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4.xml" ContentType="application/vnd.openxmlformats-officedocument.theme+xml"/>
  <Override PartName="/ppt/tags/tag18.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5.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6.xml" ContentType="application/vnd.openxmlformats-officedocument.theme+xml"/>
  <Override PartName="/ppt/tags/tag19.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7.xml" ContentType="application/vnd.openxmlformats-officedocument.theme+xml"/>
  <Override PartName="/ppt/tags/tag20.xml" ContentType="application/vnd.openxmlformats-officedocument.presentationml.tags+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8.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9.xml" ContentType="application/vnd.openxmlformats-officedocument.theme+xml"/>
  <Override PartName="/ppt/tags/tag30.xml" ContentType="application/vnd.openxmlformats-officedocument.presentationml.tags+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10.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11.xml" ContentType="application/vnd.openxmlformats-officedocument.theme+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12.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13.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14.xml" ContentType="application/vnd.openxmlformats-officedocument.theme+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theme/theme15.xml" ContentType="application/vnd.openxmlformats-officedocument.theme+xml"/>
  <Override PartName="/ppt/tags/tag76.xml" ContentType="application/vnd.openxmlformats-officedocument.presentationml.tags+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theme/theme16.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theme/theme17.xml" ContentType="application/vnd.openxmlformats-officedocument.theme+xml"/>
  <Override PartName="/ppt/tags/tag86.xml" ContentType="application/vnd.openxmlformats-officedocument.presentationml.tags+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theme/theme18.xml" ContentType="application/vnd.openxmlformats-officedocument.them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heme/theme19.xml" ContentType="application/vnd.openxmlformats-officedocument.theme+xml"/>
  <Override PartName="/ppt/theme/theme20.xml" ContentType="application/vnd.openxmlformats-officedocument.theme+xml"/>
  <Override PartName="/ppt/tags/tag10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notesSlides/notesSlide8.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notesSlides/notesSlide9.xml" ContentType="application/vnd.openxmlformats-officedocument.presentationml.notesSlide+xml"/>
  <Override PartName="/ppt/tags/tag138.xml" ContentType="application/vnd.openxmlformats-officedocument.presentationml.tags+xml"/>
  <Override PartName="/ppt/notesSlides/notesSlide10.xml" ContentType="application/vnd.openxmlformats-officedocument.presentationml.notesSlide+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44.xml" ContentType="application/vnd.openxmlformats-officedocument.presentationml.tags+xml"/>
  <Override PartName="/ppt/notesSlides/notesSlide14.xml" ContentType="application/vnd.openxmlformats-officedocument.presentationml.notesSlide+xml"/>
  <Override PartName="/ppt/tags/tag145.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notesSlides/notesSlide20.xml" ContentType="application/vnd.openxmlformats-officedocument.presentationml.notesSlide+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notesSlides/notesSlide21.xml" ContentType="application/vnd.openxmlformats-officedocument.presentationml.notesSlide+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200.xml" ContentType="application/vnd.openxmlformats-officedocument.presentationml.tags+xml"/>
  <Override PartName="/ppt/notesSlides/notesSlide25.xml" ContentType="application/vnd.openxmlformats-officedocument.presentationml.notesSlide+xml"/>
  <Override PartName="/ppt/tags/tag201.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notesSlides/notesSlide31.xml" ContentType="application/vnd.openxmlformats-officedocument.presentationml.notesSlide+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notesSlides/notesSlide32.xml" ContentType="application/vnd.openxmlformats-officedocument.presentationml.notesSlide+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255.xml" ContentType="application/vnd.openxmlformats-officedocument.presentationml.tags+xml"/>
  <Override PartName="/ppt/tags/tag256.xml" ContentType="application/vnd.openxmlformats-officedocument.presentationml.tags+xml"/>
  <Override PartName="/ppt/notesSlides/notesSlide36.xml" ContentType="application/vnd.openxmlformats-officedocument.presentationml.notesSlide+xml"/>
  <Override PartName="/ppt/tags/tag257.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notesSlides/notesSlide42.xml" ContentType="application/vnd.openxmlformats-officedocument.presentationml.notesSlide+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notesSlides/notesSlide43.xml" ContentType="application/vnd.openxmlformats-officedocument.presentationml.notesSlide+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notesSlides/notesSlide47.xml" ContentType="application/vnd.openxmlformats-officedocument.presentationml.notesSlide+xml"/>
  <Override PartName="/ppt/tags/tag287.xml" ContentType="application/vnd.openxmlformats-officedocument.presentationml.tags+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notesSlides/notesSlide53.xml" ContentType="application/vnd.openxmlformats-officedocument.presentationml.notesSlide+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notesSlides/notesSlide54.xml" ContentType="application/vnd.openxmlformats-officedocument.presentationml.notesSlide+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002" r:id="rId6"/>
    <p:sldMasterId id="2147484022" r:id="rId7"/>
    <p:sldMasterId id="2147484042" r:id="rId8"/>
    <p:sldMasterId id="2147484059" r:id="rId9"/>
    <p:sldMasterId id="2147484077" r:id="rId10"/>
    <p:sldMasterId id="2147484097" r:id="rId11"/>
    <p:sldMasterId id="2147484151" r:id="rId12"/>
    <p:sldMasterId id="2147484169" r:id="rId13"/>
    <p:sldMasterId id="2147484205" r:id="rId14"/>
    <p:sldMasterId id="2147484253" r:id="rId15"/>
    <p:sldMasterId id="2147484274" r:id="rId16"/>
    <p:sldMasterId id="2147484295" r:id="rId17"/>
    <p:sldMasterId id="2147484314" r:id="rId18"/>
    <p:sldMasterId id="2147484332" r:id="rId19"/>
    <p:sldMasterId id="2147484352" r:id="rId20"/>
    <p:sldMasterId id="2147484370" r:id="rId21"/>
    <p:sldMasterId id="2147484382" r:id="rId22"/>
    <p:sldMasterId id="2147484400" r:id="rId23"/>
  </p:sldMasterIdLst>
  <p:notesMasterIdLst>
    <p:notesMasterId r:id="rId81"/>
  </p:notesMasterIdLst>
  <p:handoutMasterIdLst>
    <p:handoutMasterId r:id="rId82"/>
  </p:handoutMasterIdLst>
  <p:sldIdLst>
    <p:sldId id="844" r:id="rId24"/>
    <p:sldId id="674" r:id="rId25"/>
    <p:sldId id="843" r:id="rId26"/>
    <p:sldId id="824" r:id="rId27"/>
    <p:sldId id="695" r:id="rId28"/>
    <p:sldId id="657" r:id="rId29"/>
    <p:sldId id="696" r:id="rId30"/>
    <p:sldId id="740" r:id="rId31"/>
    <p:sldId id="698" r:id="rId32"/>
    <p:sldId id="688" r:id="rId33"/>
    <p:sldId id="743" r:id="rId34"/>
    <p:sldId id="699" r:id="rId35"/>
    <p:sldId id="679" r:id="rId36"/>
    <p:sldId id="700" r:id="rId37"/>
    <p:sldId id="540" r:id="rId38"/>
    <p:sldId id="648" r:id="rId39"/>
    <p:sldId id="719" r:id="rId40"/>
    <p:sldId id="728" r:id="rId41"/>
    <p:sldId id="583" r:id="rId42"/>
    <p:sldId id="584" r:id="rId43"/>
    <p:sldId id="586" r:id="rId44"/>
    <p:sldId id="729" r:id="rId45"/>
    <p:sldId id="703" r:id="rId46"/>
    <p:sldId id="591" r:id="rId47"/>
    <p:sldId id="704" r:id="rId48"/>
    <p:sldId id="713" r:id="rId49"/>
    <p:sldId id="651" r:id="rId50"/>
    <p:sldId id="741" r:id="rId51"/>
    <p:sldId id="715" r:id="rId52"/>
    <p:sldId id="735" r:id="rId53"/>
    <p:sldId id="736" r:id="rId54"/>
    <p:sldId id="737" r:id="rId55"/>
    <p:sldId id="257" r:id="rId56"/>
    <p:sldId id="733" r:id="rId57"/>
    <p:sldId id="619" r:id="rId58"/>
    <p:sldId id="707" r:id="rId59"/>
    <p:sldId id="720" r:id="rId60"/>
    <p:sldId id="621" r:id="rId61"/>
    <p:sldId id="714" r:id="rId62"/>
    <p:sldId id="730" r:id="rId63"/>
    <p:sldId id="721" r:id="rId64"/>
    <p:sldId id="260" r:id="rId65"/>
    <p:sldId id="261" r:id="rId66"/>
    <p:sldId id="263" r:id="rId67"/>
    <p:sldId id="734" r:id="rId68"/>
    <p:sldId id="689" r:id="rId69"/>
    <p:sldId id="706" r:id="rId70"/>
    <p:sldId id="709" r:id="rId71"/>
    <p:sldId id="690" r:id="rId72"/>
    <p:sldId id="705" r:id="rId73"/>
    <p:sldId id="731" r:id="rId74"/>
    <p:sldId id="727" r:id="rId75"/>
    <p:sldId id="725" r:id="rId76"/>
    <p:sldId id="726" r:id="rId77"/>
    <p:sldId id="732" r:id="rId78"/>
    <p:sldId id="708" r:id="rId79"/>
    <p:sldId id="366" r:id="rId80"/>
  </p:sldIdLst>
  <p:sldSz cx="12188825" cy="6858000"/>
  <p:notesSz cx="6858000" cy="9144000"/>
  <p:defaultText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6"/>
    <a:srgbClr val="5E83BD"/>
    <a:srgbClr val="38A23D"/>
    <a:srgbClr val="E4E4E4"/>
    <a:srgbClr val="E0E0E0"/>
    <a:srgbClr val="ABABAB"/>
    <a:srgbClr val="7F7F7F"/>
    <a:srgbClr val="ADADAD"/>
    <a:srgbClr val="B4009E"/>
    <a:srgbClr val="F6FFE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D792D4-ACBA-4213-9E45-BE1D43407299}" v="1" dt="2018-07-03T18:53:39.971"/>
  </p1510:revLst>
</p1510:revInfo>
</file>

<file path=ppt/tableStyles.xml><?xml version="1.0" encoding="utf-8"?>
<a:tblStyleLst xmlns:a="http://schemas.openxmlformats.org/drawingml/2006/main" def="{5940675A-B579-460E-94D1-54222C63F5D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10" autoAdjust="0"/>
    <p:restoredTop sz="94342" autoAdjust="0"/>
  </p:normalViewPr>
  <p:slideViewPr>
    <p:cSldViewPr snapToGrid="0">
      <p:cViewPr varScale="1">
        <p:scale>
          <a:sx n="153" d="100"/>
          <a:sy n="153" d="100"/>
        </p:scale>
        <p:origin x="546" y="192"/>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8.xml"/><Relationship Id="rId18" Type="http://schemas.openxmlformats.org/officeDocument/2006/relationships/slideMaster" Target="slideMasters/slideMaster13.xml"/><Relationship Id="rId26" Type="http://schemas.openxmlformats.org/officeDocument/2006/relationships/slide" Target="slides/slide3.xml"/><Relationship Id="rId39" Type="http://schemas.openxmlformats.org/officeDocument/2006/relationships/slide" Target="slides/slide16.xml"/><Relationship Id="rId21" Type="http://schemas.openxmlformats.org/officeDocument/2006/relationships/slideMaster" Target="slideMasters/slideMaster16.xml"/><Relationship Id="rId34" Type="http://schemas.openxmlformats.org/officeDocument/2006/relationships/slide" Target="slides/slide11.xml"/><Relationship Id="rId42" Type="http://schemas.openxmlformats.org/officeDocument/2006/relationships/slide" Target="slides/slide19.xml"/><Relationship Id="rId47" Type="http://schemas.openxmlformats.org/officeDocument/2006/relationships/slide" Target="slides/slide24.xml"/><Relationship Id="rId50" Type="http://schemas.openxmlformats.org/officeDocument/2006/relationships/slide" Target="slides/slide27.xml"/><Relationship Id="rId55" Type="http://schemas.openxmlformats.org/officeDocument/2006/relationships/slide" Target="slides/slide32.xml"/><Relationship Id="rId63" Type="http://schemas.openxmlformats.org/officeDocument/2006/relationships/slide" Target="slides/slide40.xml"/><Relationship Id="rId68" Type="http://schemas.openxmlformats.org/officeDocument/2006/relationships/slide" Target="slides/slide45.xml"/><Relationship Id="rId76" Type="http://schemas.openxmlformats.org/officeDocument/2006/relationships/slide" Target="slides/slide53.xml"/><Relationship Id="rId84" Type="http://schemas.openxmlformats.org/officeDocument/2006/relationships/presProps" Target="presProps.xml"/><Relationship Id="rId7" Type="http://schemas.openxmlformats.org/officeDocument/2006/relationships/slideMaster" Target="slideMasters/slideMaster2.xml"/><Relationship Id="rId71" Type="http://schemas.openxmlformats.org/officeDocument/2006/relationships/slide" Target="slides/slide48.xml"/><Relationship Id="rId2" Type="http://schemas.openxmlformats.org/officeDocument/2006/relationships/customXml" Target="../customXml/item2.xml"/><Relationship Id="rId16" Type="http://schemas.openxmlformats.org/officeDocument/2006/relationships/slideMaster" Target="slideMasters/slideMaster11.xml"/><Relationship Id="rId29" Type="http://schemas.openxmlformats.org/officeDocument/2006/relationships/slide" Target="slides/slide6.xml"/><Relationship Id="rId11" Type="http://schemas.openxmlformats.org/officeDocument/2006/relationships/slideMaster" Target="slideMasters/slideMaster6.xml"/><Relationship Id="rId24" Type="http://schemas.openxmlformats.org/officeDocument/2006/relationships/slide" Target="slides/slide1.xml"/><Relationship Id="rId32" Type="http://schemas.openxmlformats.org/officeDocument/2006/relationships/slide" Target="slides/slide9.xml"/><Relationship Id="rId37" Type="http://schemas.openxmlformats.org/officeDocument/2006/relationships/slide" Target="slides/slide14.xml"/><Relationship Id="rId40" Type="http://schemas.openxmlformats.org/officeDocument/2006/relationships/slide" Target="slides/slide17.xml"/><Relationship Id="rId45" Type="http://schemas.openxmlformats.org/officeDocument/2006/relationships/slide" Target="slides/slide22.xml"/><Relationship Id="rId53" Type="http://schemas.openxmlformats.org/officeDocument/2006/relationships/slide" Target="slides/slide30.xml"/><Relationship Id="rId58" Type="http://schemas.openxmlformats.org/officeDocument/2006/relationships/slide" Target="slides/slide35.xml"/><Relationship Id="rId66" Type="http://schemas.openxmlformats.org/officeDocument/2006/relationships/slide" Target="slides/slide43.xml"/><Relationship Id="rId74" Type="http://schemas.openxmlformats.org/officeDocument/2006/relationships/slide" Target="slides/slide51.xml"/><Relationship Id="rId79" Type="http://schemas.openxmlformats.org/officeDocument/2006/relationships/slide" Target="slides/slide56.xml"/><Relationship Id="rId87" Type="http://schemas.openxmlformats.org/officeDocument/2006/relationships/tableStyles" Target="tableStyles.xml"/><Relationship Id="rId5" Type="http://schemas.openxmlformats.org/officeDocument/2006/relationships/customXml" Target="../customXml/item5.xml"/><Relationship Id="rId61" Type="http://schemas.openxmlformats.org/officeDocument/2006/relationships/slide" Target="slides/slide38.xml"/><Relationship Id="rId82" Type="http://schemas.openxmlformats.org/officeDocument/2006/relationships/handoutMaster" Target="handoutMasters/handoutMaster1.xml"/><Relationship Id="rId19" Type="http://schemas.openxmlformats.org/officeDocument/2006/relationships/slideMaster" Target="slideMasters/slideMaster14.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Master" Target="slideMasters/slideMaster9.xml"/><Relationship Id="rId22" Type="http://schemas.openxmlformats.org/officeDocument/2006/relationships/slideMaster" Target="slideMasters/slideMaster17.xml"/><Relationship Id="rId27" Type="http://schemas.openxmlformats.org/officeDocument/2006/relationships/slide" Target="slides/slide4.xml"/><Relationship Id="rId30" Type="http://schemas.openxmlformats.org/officeDocument/2006/relationships/slide" Target="slides/slide7.xml"/><Relationship Id="rId35" Type="http://schemas.openxmlformats.org/officeDocument/2006/relationships/slide" Target="slides/slide12.xml"/><Relationship Id="rId43" Type="http://schemas.openxmlformats.org/officeDocument/2006/relationships/slide" Target="slides/slide20.xml"/><Relationship Id="rId48" Type="http://schemas.openxmlformats.org/officeDocument/2006/relationships/slide" Target="slides/slide25.xml"/><Relationship Id="rId56" Type="http://schemas.openxmlformats.org/officeDocument/2006/relationships/slide" Target="slides/slide33.xml"/><Relationship Id="rId64" Type="http://schemas.openxmlformats.org/officeDocument/2006/relationships/slide" Target="slides/slide41.xml"/><Relationship Id="rId69" Type="http://schemas.openxmlformats.org/officeDocument/2006/relationships/slide" Target="slides/slide46.xml"/><Relationship Id="rId77" Type="http://schemas.openxmlformats.org/officeDocument/2006/relationships/slide" Target="slides/slide54.xml"/><Relationship Id="rId8" Type="http://schemas.openxmlformats.org/officeDocument/2006/relationships/slideMaster" Target="slideMasters/slideMaster3.xml"/><Relationship Id="rId51" Type="http://schemas.openxmlformats.org/officeDocument/2006/relationships/slide" Target="slides/slide28.xml"/><Relationship Id="rId72" Type="http://schemas.openxmlformats.org/officeDocument/2006/relationships/slide" Target="slides/slide49.xml"/><Relationship Id="rId80" Type="http://schemas.openxmlformats.org/officeDocument/2006/relationships/slide" Target="slides/slide57.xml"/><Relationship Id="rId85"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Master" Target="slideMasters/slideMaster7.xml"/><Relationship Id="rId17" Type="http://schemas.openxmlformats.org/officeDocument/2006/relationships/slideMaster" Target="slideMasters/slideMaster12.xml"/><Relationship Id="rId25" Type="http://schemas.openxmlformats.org/officeDocument/2006/relationships/slide" Target="slides/slide2.xml"/><Relationship Id="rId33" Type="http://schemas.openxmlformats.org/officeDocument/2006/relationships/slide" Target="slides/slide10.xml"/><Relationship Id="rId38" Type="http://schemas.openxmlformats.org/officeDocument/2006/relationships/slide" Target="slides/slide15.xml"/><Relationship Id="rId46" Type="http://schemas.openxmlformats.org/officeDocument/2006/relationships/slide" Target="slides/slide23.xml"/><Relationship Id="rId59" Type="http://schemas.openxmlformats.org/officeDocument/2006/relationships/slide" Target="slides/slide36.xml"/><Relationship Id="rId67" Type="http://schemas.openxmlformats.org/officeDocument/2006/relationships/slide" Target="slides/slide44.xml"/><Relationship Id="rId20" Type="http://schemas.openxmlformats.org/officeDocument/2006/relationships/slideMaster" Target="slideMasters/slideMaster15.xml"/><Relationship Id="rId41" Type="http://schemas.openxmlformats.org/officeDocument/2006/relationships/slide" Target="slides/slide18.xml"/><Relationship Id="rId54" Type="http://schemas.openxmlformats.org/officeDocument/2006/relationships/slide" Target="slides/slide31.xml"/><Relationship Id="rId62" Type="http://schemas.openxmlformats.org/officeDocument/2006/relationships/slide" Target="slides/slide39.xml"/><Relationship Id="rId70" Type="http://schemas.openxmlformats.org/officeDocument/2006/relationships/slide" Target="slides/slide47.xml"/><Relationship Id="rId75" Type="http://schemas.openxmlformats.org/officeDocument/2006/relationships/slide" Target="slides/slide52.xml"/><Relationship Id="rId83" Type="http://schemas.openxmlformats.org/officeDocument/2006/relationships/commentAuthors" Target="commentAuthors.xml"/><Relationship Id="rId88"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1.xml"/><Relationship Id="rId15" Type="http://schemas.openxmlformats.org/officeDocument/2006/relationships/slideMaster" Target="slideMasters/slideMaster10.xml"/><Relationship Id="rId23" Type="http://schemas.openxmlformats.org/officeDocument/2006/relationships/slideMaster" Target="slideMasters/slideMaster18.xml"/><Relationship Id="rId28" Type="http://schemas.openxmlformats.org/officeDocument/2006/relationships/slide" Target="slides/slide5.xml"/><Relationship Id="rId36" Type="http://schemas.openxmlformats.org/officeDocument/2006/relationships/slide" Target="slides/slide13.xml"/><Relationship Id="rId49" Type="http://schemas.openxmlformats.org/officeDocument/2006/relationships/slide" Target="slides/slide26.xml"/><Relationship Id="rId57" Type="http://schemas.openxmlformats.org/officeDocument/2006/relationships/slide" Target="slides/slide34.xml"/><Relationship Id="rId10" Type="http://schemas.openxmlformats.org/officeDocument/2006/relationships/slideMaster" Target="slideMasters/slideMaster5.xml"/><Relationship Id="rId31" Type="http://schemas.openxmlformats.org/officeDocument/2006/relationships/slide" Target="slides/slide8.xml"/><Relationship Id="rId44" Type="http://schemas.openxmlformats.org/officeDocument/2006/relationships/slide" Target="slides/slide21.xml"/><Relationship Id="rId52" Type="http://schemas.openxmlformats.org/officeDocument/2006/relationships/slide" Target="slides/slide29.xml"/><Relationship Id="rId60" Type="http://schemas.openxmlformats.org/officeDocument/2006/relationships/slide" Target="slides/slide37.xml"/><Relationship Id="rId65" Type="http://schemas.openxmlformats.org/officeDocument/2006/relationships/slide" Target="slides/slide42.xml"/><Relationship Id="rId73" Type="http://schemas.openxmlformats.org/officeDocument/2006/relationships/slide" Target="slides/slide50.xml"/><Relationship Id="rId78" Type="http://schemas.openxmlformats.org/officeDocument/2006/relationships/slide" Target="slides/slide55.xml"/><Relationship Id="rId81" Type="http://schemas.openxmlformats.org/officeDocument/2006/relationships/notesMaster" Target="notesMasters/notesMaster1.xml"/><Relationship Id="rId86"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A74383C-E30C-4C39-90AB-38FE6CB48DE8}" type="datetimeFigureOut">
              <a:rPr lang="en-US" smtClean="0"/>
              <a:t>7/3/20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EB3B5BF-9571-4DD3-9F54-EA710EA0BDFF}" type="slidenum">
              <a:rPr lang="en-US" smtClean="0"/>
              <a:t>‹#›</a:t>
            </a:fld>
            <a:endParaRPr lang="en-US"/>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Notes Placeholder 9"/>
          <p:cNvSpPr>
            <a:spLocks noGrp="1" noChangeArrowheads="1"/>
          </p:cNvSpPr>
          <p:nvPr>
            <p:ph type="body" sz="quarter" idx="3"/>
          </p:nvPr>
        </p:nvSpPr>
        <p:spPr bwMode="auto">
          <a:xfrm>
            <a:off x="196260" y="2348286"/>
            <a:ext cx="6506122" cy="6469501"/>
          </a:xfrm>
          <a:prstGeom prst="rect">
            <a:avLst/>
          </a:prstGeom>
          <a:noFill/>
          <a:ln w="9525">
            <a:noFill/>
            <a:miter lim="800000"/>
            <a:headEnd/>
            <a:tailEnd/>
          </a:ln>
          <a:effectLst/>
        </p:spPr>
        <p:txBody>
          <a:bodyPr vert="horz" wrap="square" lIns="95096" tIns="47549" rIns="95096" bIns="47549"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Box 12"/>
          <p:cNvSpPr txBox="1">
            <a:spLocks noChangeArrowheads="1"/>
          </p:cNvSpPr>
          <p:nvPr/>
        </p:nvSpPr>
        <p:spPr bwMode="auto">
          <a:xfrm>
            <a:off x="123103" y="2029902"/>
            <a:ext cx="2604400" cy="278901"/>
          </a:xfrm>
          <a:prstGeom prst="rect">
            <a:avLst/>
          </a:prstGeom>
          <a:noFill/>
          <a:ln w="9525" algn="ctr">
            <a:noFill/>
            <a:miter lim="800000"/>
            <a:headEnd/>
            <a:tailEnd/>
          </a:ln>
          <a:effectLst/>
        </p:spPr>
        <p:txBody>
          <a:bodyPr lIns="93324" tIns="46662" rIns="93324" bIns="46662">
            <a:spAutoFit/>
          </a:bodyPr>
          <a:lstStyle/>
          <a:p>
            <a:pPr algn="l" eaLnBrk="0" hangingPunct="0">
              <a:spcBef>
                <a:spcPct val="50000"/>
              </a:spcBef>
              <a:defRPr/>
            </a:pPr>
            <a:r>
              <a:rPr lang="en-US" sz="1200">
                <a:effectLst/>
                <a:latin typeface="Segoe UI Light" pitchFamily="34" charset="0"/>
              </a:rPr>
              <a:t>Slide Notes:</a:t>
            </a:r>
          </a:p>
        </p:txBody>
      </p:sp>
      <p:sp>
        <p:nvSpPr>
          <p:cNvPr id="10" name="Line 13"/>
          <p:cNvSpPr>
            <a:spLocks noChangeShapeType="1"/>
          </p:cNvSpPr>
          <p:nvPr/>
        </p:nvSpPr>
        <p:spPr bwMode="auto">
          <a:xfrm>
            <a:off x="202763" y="2269093"/>
            <a:ext cx="6530508" cy="0"/>
          </a:xfrm>
          <a:prstGeom prst="line">
            <a:avLst/>
          </a:prstGeom>
          <a:noFill/>
          <a:ln w="9525">
            <a:solidFill>
              <a:schemeClr val="accent6"/>
            </a:solidFill>
            <a:round/>
            <a:headEnd/>
            <a:tailEnd/>
          </a:ln>
          <a:effectLst/>
        </p:spPr>
        <p:txBody>
          <a:bodyPr wrap="none" lIns="93324" tIns="46662" rIns="93324" bIns="46662">
            <a:spAutoFit/>
          </a:bodyPr>
          <a:lstStyle/>
          <a:p>
            <a:pPr>
              <a:defRPr/>
            </a:pPr>
            <a:endParaRPr lang="en-US">
              <a:latin typeface="Arial" pitchFamily="34" charset="0"/>
            </a:endParaRPr>
          </a:p>
        </p:txBody>
      </p:sp>
      <p:sp>
        <p:nvSpPr>
          <p:cNvPr id="11" name="Text Box 14"/>
          <p:cNvSpPr txBox="1">
            <a:spLocks noChangeArrowheads="1"/>
          </p:cNvSpPr>
          <p:nvPr/>
        </p:nvSpPr>
        <p:spPr bwMode="auto">
          <a:xfrm>
            <a:off x="124728" y="849673"/>
            <a:ext cx="3185955" cy="402012"/>
          </a:xfrm>
          <a:prstGeom prst="rect">
            <a:avLst/>
          </a:prstGeom>
          <a:noFill/>
          <a:ln w="9525" algn="ctr">
            <a:noFill/>
            <a:miter lim="800000"/>
            <a:headEnd/>
            <a:tailEnd/>
          </a:ln>
          <a:effectLst/>
        </p:spPr>
        <p:txBody>
          <a:bodyPr wrap="square" lIns="93324" tIns="46662" rIns="93324" bIns="46662">
            <a:spAutoFit/>
          </a:bodyPr>
          <a:lstStyle/>
          <a:p>
            <a:pPr algn="l" eaLnBrk="0" hangingPunct="0">
              <a:spcBef>
                <a:spcPts val="0"/>
              </a:spcBef>
              <a:defRPr/>
            </a:pPr>
            <a:r>
              <a:rPr lang="en-US" sz="2000" b="0" i="0">
                <a:solidFill>
                  <a:schemeClr val="tx1"/>
                </a:solidFill>
                <a:effectLst/>
                <a:latin typeface="Segoe UI Light" pitchFamily="34" charset="0"/>
                <a:cs typeface="Arial" pitchFamily="34" charset="0"/>
              </a:rPr>
              <a:t>Microsoft</a:t>
            </a:r>
            <a:r>
              <a:rPr lang="en-US" sz="2000" b="0" i="0" baseline="0">
                <a:solidFill>
                  <a:schemeClr val="tx1"/>
                </a:solidFill>
                <a:effectLst/>
                <a:latin typeface="Segoe UI Light" pitchFamily="34" charset="0"/>
                <a:cs typeface="Arial" pitchFamily="34" charset="0"/>
              </a:rPr>
              <a:t> in the Enterprise</a:t>
            </a:r>
            <a:endParaRPr lang="en-US" sz="2000" b="0" i="1">
              <a:solidFill>
                <a:schemeClr val="tx1"/>
              </a:solidFill>
              <a:effectLst/>
              <a:latin typeface="Segoe UI Light" pitchFamily="34" charset="0"/>
              <a:cs typeface="Arial" pitchFamily="34" charset="0"/>
            </a:endParaRPr>
          </a:p>
        </p:txBody>
      </p:sp>
      <p:sp>
        <p:nvSpPr>
          <p:cNvPr id="12" name="Slide Number Placeholder 14"/>
          <p:cNvSpPr>
            <a:spLocks noGrp="1"/>
          </p:cNvSpPr>
          <p:nvPr>
            <p:ph type="sldNum" sz="quarter" idx="5"/>
          </p:nvPr>
        </p:nvSpPr>
        <p:spPr>
          <a:xfrm>
            <a:off x="6260187" y="8900371"/>
            <a:ext cx="466581" cy="254385"/>
          </a:xfrm>
          <a:prstGeom prst="rect">
            <a:avLst/>
          </a:prstGeom>
        </p:spPr>
        <p:txBody>
          <a:bodyPr vert="horz" lIns="93324" tIns="46662" rIns="93324" bIns="46662" rtlCol="0" anchor="b"/>
          <a:lstStyle>
            <a:lvl1pPr algn="r">
              <a:defRPr sz="1000">
                <a:latin typeface="Segoe UI Light" pitchFamily="34" charset="0"/>
                <a:cs typeface="Arial" pitchFamily="34" charset="0"/>
              </a:defRPr>
            </a:lvl1pPr>
          </a:lstStyle>
          <a:p>
            <a:fld id="{A5B258F2-B2E5-4175-B339-81AEE5988F5F}" type="slidenum">
              <a:rPr lang="en-US" smtClean="0"/>
              <a:pPr/>
              <a:t>‹#›</a:t>
            </a:fld>
            <a:endParaRPr lang="en-US"/>
          </a:p>
        </p:txBody>
      </p:sp>
      <p:sp>
        <p:nvSpPr>
          <p:cNvPr id="13" name="TextBox 12"/>
          <p:cNvSpPr txBox="1"/>
          <p:nvPr/>
        </p:nvSpPr>
        <p:spPr>
          <a:xfrm>
            <a:off x="101968" y="8933563"/>
            <a:ext cx="5698300" cy="188000"/>
          </a:xfrm>
          <a:prstGeom prst="rect">
            <a:avLst/>
          </a:prstGeom>
          <a:noFill/>
        </p:spPr>
        <p:txBody>
          <a:bodyPr wrap="none" lIns="93324" tIns="46662" rIns="93324" bIns="46662" rtlCol="0">
            <a:spAutoFit/>
          </a:bodyPr>
          <a:lstStyle/>
          <a:p>
            <a:pPr marL="0" marR="0" indent="0" algn="l" defTabSz="466618" rtl="0" eaLnBrk="1" fontAlgn="auto" latinLnBrk="0" hangingPunct="1">
              <a:lnSpc>
                <a:spcPct val="100000"/>
              </a:lnSpc>
              <a:spcBef>
                <a:spcPts val="0"/>
              </a:spcBef>
              <a:spcAft>
                <a:spcPts val="0"/>
              </a:spcAft>
              <a:buClrTx/>
              <a:buSzTx/>
              <a:buFontTx/>
              <a:buNone/>
              <a:tabLst/>
              <a:defRPr/>
            </a:pPr>
            <a:r>
              <a:rPr lang="en-NZ" sz="600">
                <a:latin typeface="Segoe UI Light" pitchFamily="34" charset="0"/>
                <a:cs typeface="Arial" pitchFamily="34" charset="0"/>
              </a:rPr>
              <a:t>© 2012 Microsoft Corporation. This presentation is for informational purposes only. MICROSOFT MAKES NO WARRANTIES, EXPRESS OR IMPLIED, IN THIS SUMMARY. </a:t>
            </a:r>
            <a:endParaRPr lang="en-US" sz="600">
              <a:solidFill>
                <a:srgbClr val="000000"/>
              </a:solidFill>
              <a:latin typeface="Segoe UI Light" pitchFamily="34" charset="0"/>
              <a:cs typeface="Arial" pitchFamily="34" charset="0"/>
            </a:endParaRPr>
          </a:p>
        </p:txBody>
      </p:sp>
      <p:sp>
        <p:nvSpPr>
          <p:cNvPr id="14" name="Slide Image Placeholder 15"/>
          <p:cNvSpPr>
            <a:spLocks noGrp="1" noRot="1" noChangeAspect="1"/>
          </p:cNvSpPr>
          <p:nvPr>
            <p:ph type="sldImg" idx="2"/>
          </p:nvPr>
        </p:nvSpPr>
        <p:spPr>
          <a:xfrm>
            <a:off x="3479800" y="233363"/>
            <a:ext cx="3243263" cy="1825625"/>
          </a:xfrm>
          <a:prstGeom prst="rect">
            <a:avLst/>
          </a:prstGeom>
          <a:noFill/>
          <a:ln w="12700">
            <a:solidFill>
              <a:schemeClr val="accent6"/>
            </a:solidFill>
          </a:ln>
        </p:spPr>
        <p:txBody>
          <a:bodyPr vert="horz" lIns="93324" tIns="46662" rIns="93324" bIns="46662" rtlCol="0" anchor="ctr"/>
          <a:lstStyle/>
          <a:p>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notesStyle>
    <a:lvl1pPr marL="0" algn="l" defTabSz="761787" rtl="0" eaLnBrk="1" latinLnBrk="0" hangingPunct="1">
      <a:defRPr sz="700" kern="1200">
        <a:solidFill>
          <a:schemeClr val="tx1"/>
        </a:solidFill>
        <a:latin typeface="Arial" pitchFamily="34" charset="0"/>
        <a:ea typeface="+mn-ea"/>
        <a:cs typeface="Arial" pitchFamily="34" charset="0"/>
      </a:defRPr>
    </a:lvl1pPr>
    <a:lvl2pPr marL="380893" algn="l" defTabSz="761787" rtl="0" eaLnBrk="1" latinLnBrk="0" hangingPunct="1">
      <a:defRPr sz="700" kern="1200">
        <a:solidFill>
          <a:schemeClr val="tx1"/>
        </a:solidFill>
        <a:latin typeface="Arial" pitchFamily="34" charset="0"/>
        <a:ea typeface="+mn-ea"/>
        <a:cs typeface="Arial" pitchFamily="34" charset="0"/>
      </a:defRPr>
    </a:lvl2pPr>
    <a:lvl3pPr marL="761787" algn="l" defTabSz="761787" rtl="0" eaLnBrk="1" latinLnBrk="0" hangingPunct="1">
      <a:defRPr sz="700" kern="1200">
        <a:solidFill>
          <a:schemeClr val="tx1"/>
        </a:solidFill>
        <a:latin typeface="Arial" pitchFamily="34" charset="0"/>
        <a:ea typeface="+mn-ea"/>
        <a:cs typeface="Arial" pitchFamily="34" charset="0"/>
      </a:defRPr>
    </a:lvl3pPr>
    <a:lvl4pPr marL="1142680" algn="l" defTabSz="761787" rtl="0" eaLnBrk="1" latinLnBrk="0" hangingPunct="1">
      <a:defRPr sz="700" kern="1200">
        <a:solidFill>
          <a:schemeClr val="tx1"/>
        </a:solidFill>
        <a:latin typeface="Arial" pitchFamily="34" charset="0"/>
        <a:ea typeface="+mn-ea"/>
        <a:cs typeface="Arial" pitchFamily="34" charset="0"/>
      </a:defRPr>
    </a:lvl4pPr>
    <a:lvl5pPr marL="1523573" algn="l" defTabSz="761787" rtl="0" eaLnBrk="1" latinLnBrk="0" hangingPunct="1">
      <a:defRPr sz="700" kern="1200">
        <a:solidFill>
          <a:schemeClr val="tx1"/>
        </a:solidFill>
        <a:latin typeface="Arial" pitchFamily="34" charset="0"/>
        <a:ea typeface="+mn-ea"/>
        <a:cs typeface="Arial" pitchFamily="34" charset="0"/>
      </a:defRPr>
    </a:lvl5pPr>
    <a:lvl6pPr marL="1904467" algn="l" defTabSz="761787" rtl="0" eaLnBrk="1" latinLnBrk="0" hangingPunct="1">
      <a:defRPr sz="1000" kern="1200">
        <a:solidFill>
          <a:schemeClr val="tx1"/>
        </a:solidFill>
        <a:latin typeface="+mn-lt"/>
        <a:ea typeface="+mn-ea"/>
        <a:cs typeface="+mn-cs"/>
      </a:defRPr>
    </a:lvl6pPr>
    <a:lvl7pPr marL="2285360" algn="l" defTabSz="761787" rtl="0" eaLnBrk="1" latinLnBrk="0" hangingPunct="1">
      <a:defRPr sz="1000" kern="1200">
        <a:solidFill>
          <a:schemeClr val="tx1"/>
        </a:solidFill>
        <a:latin typeface="+mn-lt"/>
        <a:ea typeface="+mn-ea"/>
        <a:cs typeface="+mn-cs"/>
      </a:defRPr>
    </a:lvl7pPr>
    <a:lvl8pPr marL="2666253" algn="l" defTabSz="761787" rtl="0" eaLnBrk="1" latinLnBrk="0" hangingPunct="1">
      <a:defRPr sz="1000" kern="1200">
        <a:solidFill>
          <a:schemeClr val="tx1"/>
        </a:solidFill>
        <a:latin typeface="+mn-lt"/>
        <a:ea typeface="+mn-ea"/>
        <a:cs typeface="+mn-cs"/>
      </a:defRPr>
    </a:lvl8pPr>
    <a:lvl9pPr marL="3047147" algn="l" defTabSz="761787" rtl="0" eaLnBrk="1" latinLnBrk="0" hangingPunct="1">
      <a:defRPr sz="10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3" Type="http://schemas.openxmlformats.org/officeDocument/2006/relationships/hyperlink" Target="http://www.industryweek.com/supply-chain/better-supply-chain-management-could-jumpstart-auto-industry" TargetMode="External"/><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7931861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srgbClr val="505050"/>
                </a:solidFill>
                <a:effectLst/>
                <a:uLnTx/>
                <a:uFillTx/>
                <a:latin typeface="Segoe UI Light"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a:ln>
                <a:noFill/>
              </a:ln>
              <a:solidFill>
                <a:srgbClr val="505050"/>
              </a:solidFill>
              <a:effectLst/>
              <a:uLnTx/>
              <a:uFillTx/>
              <a:latin typeface="Segoe UI Light" pitchFamily="34" charset="0"/>
              <a:ea typeface="+mn-ea"/>
              <a:cs typeface="Arial" pitchFamily="34" charset="0"/>
            </a:endParaRPr>
          </a:p>
        </p:txBody>
      </p:sp>
    </p:spTree>
    <p:extLst>
      <p:ext uri="{BB962C8B-B14F-4D97-AF65-F5344CB8AC3E}">
        <p14:creationId xmlns:p14="http://schemas.microsoft.com/office/powerpoint/2010/main" val="15319971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5B258F2-B2E5-4175-B339-81AEE5988F5F}" type="slidenum">
              <a:rPr lang="en-US" smtClean="0"/>
              <a:pPr/>
              <a:t>13</a:t>
            </a:fld>
            <a:endParaRPr lang="en-US"/>
          </a:p>
        </p:txBody>
      </p:sp>
    </p:spTree>
    <p:extLst>
      <p:ext uri="{BB962C8B-B14F-4D97-AF65-F5344CB8AC3E}">
        <p14:creationId xmlns:p14="http://schemas.microsoft.com/office/powerpoint/2010/main" val="4972185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41" rtl="0" eaLnBrk="1" fontAlgn="auto" latinLnBrk="0" hangingPunct="1">
              <a:lnSpc>
                <a:spcPct val="100000"/>
              </a:lnSpc>
              <a:spcBef>
                <a:spcPts val="0"/>
              </a:spcBef>
              <a:spcAft>
                <a:spcPts val="0"/>
              </a:spcAft>
              <a:buClrTx/>
              <a:buSzTx/>
              <a:buFontTx/>
              <a:buNone/>
              <a:tabLst/>
              <a:defRPr/>
            </a:pPr>
            <a:r>
              <a:rPr lang="en-US"/>
              <a:t>Here are a number of possible scenarios as starting hypotheses. </a:t>
            </a:r>
          </a:p>
          <a:p>
            <a:endParaRPr lang="en-US"/>
          </a:p>
        </p:txBody>
      </p:sp>
      <p:sp>
        <p:nvSpPr>
          <p:cNvPr id="4" name="Slide Number Placeholder 3"/>
          <p:cNvSpPr>
            <a:spLocks noGrp="1"/>
          </p:cNvSpPr>
          <p:nvPr>
            <p:ph type="sldNum" sz="quarter" idx="10"/>
          </p:nvPr>
        </p:nvSpPr>
        <p:spPr/>
        <p:txBody>
          <a:bodyPr/>
          <a:lstStyle/>
          <a:p>
            <a:fld id="{A5B258F2-B2E5-4175-B339-81AEE5988F5F}" type="slidenum">
              <a:rPr lang="en-US" smtClean="0"/>
              <a:pPr/>
              <a:t>15</a:t>
            </a:fld>
            <a:endParaRPr lang="en-US"/>
          </a:p>
        </p:txBody>
      </p:sp>
    </p:spTree>
    <p:extLst>
      <p:ext uri="{BB962C8B-B14F-4D97-AF65-F5344CB8AC3E}">
        <p14:creationId xmlns:p14="http://schemas.microsoft.com/office/powerpoint/2010/main" val="29264561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700" b="1" kern="1200" dirty="0">
              <a:solidFill>
                <a:schemeClr val="tx1"/>
              </a:solidFill>
              <a:effectLst/>
              <a:latin typeface="Arial" pitchFamily="34" charset="0"/>
              <a:ea typeface="+mn-ea"/>
              <a:cs typeface="Arial" pitchFamily="34" charset="0"/>
            </a:endParaRPr>
          </a:p>
        </p:txBody>
      </p:sp>
      <p:sp>
        <p:nvSpPr>
          <p:cNvPr id="4" name="Slide Number Placeholder 3"/>
          <p:cNvSpPr>
            <a:spLocks noGrp="1"/>
          </p:cNvSpPr>
          <p:nvPr>
            <p:ph type="sldNum" sz="quarter" idx="10"/>
          </p:nvPr>
        </p:nvSpPr>
        <p:spPr/>
        <p:txBody>
          <a:bodyPr/>
          <a:lstStyle/>
          <a:p>
            <a:fld id="{A5B258F2-B2E5-4175-B339-81AEE5988F5F}" type="slidenum">
              <a:rPr lang="en-US" smtClean="0">
                <a:solidFill>
                  <a:srgbClr val="505050"/>
                </a:solidFill>
              </a:rPr>
              <a:pPr/>
              <a:t>16</a:t>
            </a:fld>
            <a:endParaRPr lang="en-US">
              <a:solidFill>
                <a:srgbClr val="505050"/>
              </a:solidFill>
            </a:endParaRPr>
          </a:p>
        </p:txBody>
      </p:sp>
    </p:spTree>
    <p:extLst>
      <p:ext uri="{BB962C8B-B14F-4D97-AF65-F5344CB8AC3E}">
        <p14:creationId xmlns:p14="http://schemas.microsoft.com/office/powerpoint/2010/main" val="36518036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a:t>As</a:t>
            </a:r>
            <a:r>
              <a:rPr lang="en-US" sz="800" baseline="0"/>
              <a:t> a Chief Program Engineer, I am always under pressure to continuously build a better next model that is more desirable, more profitable (better margin), and improves on brand image and resale value.</a:t>
            </a:r>
          </a:p>
          <a:p>
            <a:endParaRPr lang="en-US" sz="800" baseline="0"/>
          </a:p>
          <a:p>
            <a:r>
              <a:rPr lang="en-US" sz="800" baseline="0"/>
              <a:t>Our inability to accurately analyze warranty anomalies and trends eats into our thin margins, and weakens our investments in future models.</a:t>
            </a:r>
          </a:p>
          <a:p>
            <a:r>
              <a:rPr lang="en-US" sz="800" baseline="0"/>
              <a:t>Today’s vehicles need to already be in the service bay for us to gain some insight (often vague, incomplete or erratic anomalies) that cost us a visit without much learning. Vehicle onboard diagnostic memory has a shelf life due to limited physical memory. </a:t>
            </a:r>
          </a:p>
          <a:p>
            <a:r>
              <a:rPr lang="en-US" sz="800" baseline="0"/>
              <a:t>Customers often have to interrupt their demanding day to take a vehicle for a repair that we could have easily avoided or proactively scheduled.</a:t>
            </a:r>
          </a:p>
          <a:p>
            <a:endParaRPr lang="en-US" sz="800" baseline="0"/>
          </a:p>
          <a:p>
            <a:r>
              <a:rPr lang="en-US" sz="800" baseline="0"/>
              <a:t>We dream of a connectivity that allows us to:</a:t>
            </a:r>
          </a:p>
          <a:p>
            <a:endParaRPr lang="en-US" sz="800" baseline="0"/>
          </a:p>
          <a:p>
            <a:pPr marL="228600" indent="-228600">
              <a:buAutoNum type="arabicParenR"/>
            </a:pPr>
            <a:r>
              <a:rPr lang="en-US" sz="800" baseline="0"/>
              <a:t>Understand, analyze and establish patterns/root cause analysis for anomalies and trends.</a:t>
            </a:r>
          </a:p>
          <a:p>
            <a:pPr marL="228600" indent="-228600">
              <a:buAutoNum type="arabicParenR"/>
            </a:pPr>
            <a:r>
              <a:rPr lang="en-US" sz="800" baseline="0"/>
              <a:t>Be proactive in avoiding the next model’s recalls.</a:t>
            </a:r>
          </a:p>
          <a:p>
            <a:pPr marL="228600" indent="-228600">
              <a:buAutoNum type="arabicParenR"/>
            </a:pPr>
            <a:r>
              <a:rPr lang="en-US" sz="800" baseline="0"/>
              <a:t>Generate ancillary revenue from our services/offerings or those of our partners.</a:t>
            </a:r>
          </a:p>
          <a:p>
            <a:pPr marL="228600" indent="-228600">
              <a:buAutoNum type="arabicParenR"/>
            </a:pPr>
            <a:r>
              <a:rPr lang="en-US" sz="800" baseline="0"/>
              <a:t>Gain ability to profit from the flood of data captured from connected vehicles (without jeopardizing customer privacy).</a:t>
            </a:r>
          </a:p>
          <a:p>
            <a:pPr marL="228600" indent="-228600">
              <a:buAutoNum type="arabicParenR"/>
            </a:pPr>
            <a:r>
              <a:rPr lang="en-US" sz="800" baseline="0"/>
              <a:t>Create a better brand image through proactive service combined with non-repair service offerings.</a:t>
            </a:r>
          </a:p>
          <a:p>
            <a:pPr marL="228600" indent="-228600">
              <a:buAutoNum type="arabicParenR"/>
            </a:pPr>
            <a:r>
              <a:rPr lang="en-US" sz="800" baseline="0"/>
              <a:t>Enable interested customers to provide feedback on needs and wants (for product development) and details on anomalies or troubles that helps us overcome dealer inability to accurately report on anomalies repaired.</a:t>
            </a:r>
          </a:p>
          <a:p>
            <a:pPr marL="228600" indent="-228600">
              <a:buAutoNum type="arabicParenR"/>
            </a:pPr>
            <a:r>
              <a:rPr lang="en-US" sz="800" baseline="0"/>
              <a:t>Improve our brand image through the boost to the resale value: detailed history now is made available allowing more transparent and confident resale. This bolsters the image of the OEM durability in the aftermarket and 2</a:t>
            </a:r>
            <a:r>
              <a:rPr lang="en-US" sz="800" baseline="30000"/>
              <a:t>nd</a:t>
            </a:r>
            <a:r>
              <a:rPr lang="en-US" sz="800" baseline="0"/>
              <a:t> ownership experience.</a:t>
            </a:r>
          </a:p>
          <a:p>
            <a:pPr marL="0" indent="0">
              <a:buNone/>
            </a:pPr>
            <a:endParaRPr lang="en-US" sz="800" baseline="0"/>
          </a:p>
          <a:p>
            <a:pPr marL="0" indent="0">
              <a:buNone/>
            </a:pPr>
            <a:endParaRPr lang="en-US" sz="800" baseline="0"/>
          </a:p>
        </p:txBody>
      </p:sp>
      <p:sp>
        <p:nvSpPr>
          <p:cNvPr id="4" name="Slide Number Placeholder 3"/>
          <p:cNvSpPr>
            <a:spLocks noGrp="1"/>
          </p:cNvSpPr>
          <p:nvPr>
            <p:ph type="sldNum" sz="quarter" idx="10"/>
          </p:nvPr>
        </p:nvSpPr>
        <p:spPr/>
        <p:txBody>
          <a:bodyPr/>
          <a:lstStyle/>
          <a:p>
            <a:pPr marL="0" marR="0" lvl="0" indent="0" algn="r" defTabSz="1088105"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000" b="0" i="0" u="none" strike="noStrike" kern="1200" cap="none" spc="0" normalizeH="0" baseline="0" noProof="0" smtClean="0">
                <a:ln>
                  <a:noFill/>
                </a:ln>
                <a:solidFill>
                  <a:srgbClr val="505050"/>
                </a:solidFill>
                <a:effectLst/>
                <a:uLnTx/>
                <a:uFillTx/>
                <a:latin typeface="Segoe UI Light" pitchFamily="34" charset="0"/>
                <a:ea typeface="+mn-ea"/>
                <a:cs typeface="Arial" pitchFamily="34" charset="0"/>
              </a:rPr>
              <a:pPr marL="0" marR="0" lvl="0" indent="0" algn="r" defTabSz="1088105" rtl="0" eaLnBrk="1" fontAlgn="auto" latinLnBrk="0" hangingPunct="1">
                <a:lnSpc>
                  <a:spcPct val="100000"/>
                </a:lnSpc>
                <a:spcBef>
                  <a:spcPts val="0"/>
                </a:spcBef>
                <a:spcAft>
                  <a:spcPts val="0"/>
                </a:spcAft>
                <a:buClrTx/>
                <a:buSzTx/>
                <a:buFontTx/>
                <a:buNone/>
                <a:tabLst/>
                <a:defRPr/>
              </a:pPr>
              <a:t>17</a:t>
            </a:fld>
            <a:endParaRPr kumimoji="0" lang="en-US" sz="1000" b="0" i="0" u="none" strike="noStrike" kern="1200" cap="none" spc="0" normalizeH="0" baseline="0" noProof="0">
              <a:ln>
                <a:noFill/>
              </a:ln>
              <a:solidFill>
                <a:srgbClr val="505050"/>
              </a:solidFill>
              <a:effectLst/>
              <a:uLnTx/>
              <a:uFillTx/>
              <a:latin typeface="Segoe UI Light" pitchFamily="34" charset="0"/>
              <a:ea typeface="+mn-ea"/>
              <a:cs typeface="Arial" pitchFamily="34" charset="0"/>
            </a:endParaRPr>
          </a:p>
        </p:txBody>
      </p:sp>
    </p:spTree>
    <p:extLst>
      <p:ext uri="{BB962C8B-B14F-4D97-AF65-F5344CB8AC3E}">
        <p14:creationId xmlns:p14="http://schemas.microsoft.com/office/powerpoint/2010/main" val="33348687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776261">
              <a:defRPr/>
            </a:pPr>
            <a:endParaRPr lang="en-US" u="none"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a:ln>
                  <a:noFill/>
                </a:ln>
                <a:solidFill>
                  <a:srgbClr val="50505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rgbClr val="50505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55983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5B258F2-B2E5-4175-B339-81AEE5988F5F}" type="slidenum">
              <a:rPr lang="en-US" smtClean="0"/>
              <a:pPr/>
              <a:t>19</a:t>
            </a:fld>
            <a:endParaRPr lang="en-US"/>
          </a:p>
        </p:txBody>
      </p:sp>
    </p:spTree>
    <p:extLst>
      <p:ext uri="{BB962C8B-B14F-4D97-AF65-F5344CB8AC3E}">
        <p14:creationId xmlns:p14="http://schemas.microsoft.com/office/powerpoint/2010/main" val="5878474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700" kern="1200">
                <a:solidFill>
                  <a:schemeClr val="tx1"/>
                </a:solidFill>
                <a:effectLst/>
                <a:latin typeface="Arial" pitchFamily="34" charset="0"/>
                <a:ea typeface="+mn-ea"/>
                <a:cs typeface="Arial" pitchFamily="34" charset="0"/>
              </a:rPr>
              <a:t>Sample metrics:</a:t>
            </a:r>
          </a:p>
          <a:p>
            <a:r>
              <a:rPr lang="en-US" sz="700" kern="1200">
                <a:solidFill>
                  <a:schemeClr val="tx1"/>
                </a:solidFill>
                <a:effectLst/>
                <a:latin typeface="Arial" pitchFamily="34" charset="0"/>
                <a:ea typeface="+mn-ea"/>
                <a:cs typeface="Arial" pitchFamily="34" charset="0"/>
              </a:rPr>
              <a:t>Benefit: Generate new ancillary revenue from products and services</a:t>
            </a:r>
          </a:p>
          <a:p>
            <a:r>
              <a:rPr lang="en-US" sz="700" kern="1200">
                <a:solidFill>
                  <a:schemeClr val="tx1"/>
                </a:solidFill>
                <a:effectLst/>
                <a:latin typeface="Arial" pitchFamily="34" charset="0"/>
                <a:ea typeface="+mn-ea"/>
                <a:cs typeface="Arial" pitchFamily="34" charset="0"/>
              </a:rPr>
              <a:t>	Impact: Increased revenue and gross profit</a:t>
            </a:r>
          </a:p>
          <a:p>
            <a:r>
              <a:rPr lang="en-US" sz="700" kern="1200">
                <a:solidFill>
                  <a:schemeClr val="tx1"/>
                </a:solidFill>
                <a:effectLst/>
                <a:latin typeface="Arial" pitchFamily="34" charset="0"/>
                <a:ea typeface="+mn-ea"/>
                <a:cs typeface="Arial" pitchFamily="34" charset="0"/>
              </a:rPr>
              <a:t>	Metric: Gross profit</a:t>
            </a:r>
          </a:p>
          <a:p>
            <a:r>
              <a:rPr lang="en-US" sz="700" kern="1200">
                <a:solidFill>
                  <a:schemeClr val="tx1"/>
                </a:solidFill>
                <a:effectLst/>
                <a:latin typeface="Arial" pitchFamily="34" charset="0"/>
                <a:ea typeface="+mn-ea"/>
                <a:cs typeface="Arial" pitchFamily="34" charset="0"/>
              </a:rPr>
              <a:t>Benefit: Reduced warranty and campaign costs (</a:t>
            </a:r>
            <a:r>
              <a:rPr lang="en-US" sz="700" kern="1200" err="1">
                <a:solidFill>
                  <a:schemeClr val="tx1"/>
                </a:solidFill>
                <a:effectLst/>
                <a:latin typeface="Arial" pitchFamily="34" charset="0"/>
                <a:ea typeface="+mn-ea"/>
                <a:cs typeface="Arial" pitchFamily="34" charset="0"/>
              </a:rPr>
              <a:t>IoT</a:t>
            </a:r>
            <a:r>
              <a:rPr lang="en-US" sz="700" kern="1200">
                <a:solidFill>
                  <a:schemeClr val="tx1"/>
                </a:solidFill>
                <a:effectLst/>
                <a:latin typeface="Arial" pitchFamily="34" charset="0"/>
                <a:ea typeface="+mn-ea"/>
                <a:cs typeface="Arial" pitchFamily="34" charset="0"/>
              </a:rPr>
              <a:t>/telemetry)</a:t>
            </a:r>
          </a:p>
          <a:p>
            <a:r>
              <a:rPr lang="en-US" sz="700" kern="1200">
                <a:solidFill>
                  <a:schemeClr val="tx1"/>
                </a:solidFill>
                <a:effectLst/>
                <a:latin typeface="Arial" pitchFamily="34" charset="0"/>
                <a:ea typeface="+mn-ea"/>
                <a:cs typeface="Arial" pitchFamily="34" charset="0"/>
              </a:rPr>
              <a:t>	Impact: Cost avoidance</a:t>
            </a:r>
          </a:p>
          <a:p>
            <a:r>
              <a:rPr lang="en-US" sz="700" kern="1200">
                <a:solidFill>
                  <a:schemeClr val="tx1"/>
                </a:solidFill>
                <a:effectLst/>
                <a:latin typeface="Arial" pitchFamily="34" charset="0"/>
                <a:ea typeface="+mn-ea"/>
                <a:cs typeface="Arial" pitchFamily="34" charset="0"/>
              </a:rPr>
              <a:t>	Metric: Operating cost reduction</a:t>
            </a:r>
          </a:p>
          <a:p>
            <a:r>
              <a:rPr lang="en-US" sz="700" kern="1200">
                <a:solidFill>
                  <a:schemeClr val="tx1"/>
                </a:solidFill>
                <a:effectLst/>
                <a:latin typeface="Arial" pitchFamily="34" charset="0"/>
                <a:ea typeface="+mn-ea"/>
                <a:cs typeface="Arial" pitchFamily="34" charset="0"/>
              </a:rPr>
              <a:t>Benefit: Revenue from offerings and partnerships</a:t>
            </a:r>
          </a:p>
          <a:p>
            <a:r>
              <a:rPr lang="en-US" sz="700" kern="1200">
                <a:solidFill>
                  <a:schemeClr val="tx1"/>
                </a:solidFill>
                <a:effectLst/>
                <a:latin typeface="Arial" pitchFamily="34" charset="0"/>
                <a:ea typeface="+mn-ea"/>
                <a:cs typeface="Arial" pitchFamily="34" charset="0"/>
              </a:rPr>
              <a:t>	Impact: Increased revenue and gross profit</a:t>
            </a:r>
          </a:p>
          <a:p>
            <a:r>
              <a:rPr lang="en-US" sz="700" kern="1200">
                <a:solidFill>
                  <a:schemeClr val="tx1"/>
                </a:solidFill>
                <a:effectLst/>
                <a:latin typeface="Arial" pitchFamily="34" charset="0"/>
                <a:ea typeface="+mn-ea"/>
                <a:cs typeface="Arial" pitchFamily="34" charset="0"/>
              </a:rPr>
              <a:t>	Metric: Gross profit</a:t>
            </a:r>
            <a:endParaRPr lang="en-US" sz="1200"/>
          </a:p>
          <a:p>
            <a:endParaRPr lang="en-IN"/>
          </a:p>
        </p:txBody>
      </p:sp>
      <p:sp>
        <p:nvSpPr>
          <p:cNvPr id="4" name="Slide Number Placeholder 3"/>
          <p:cNvSpPr>
            <a:spLocks noGrp="1"/>
          </p:cNvSpPr>
          <p:nvPr>
            <p:ph type="sldNum" sz="quarter" idx="10"/>
          </p:nvPr>
        </p:nvSpPr>
        <p:spPr/>
        <p:txBody>
          <a:bodyPr/>
          <a:lstStyle/>
          <a:p>
            <a:fld id="{A5B258F2-B2E5-4175-B339-81AEE5988F5F}" type="slidenum">
              <a:rPr lang="en-US" smtClean="0"/>
              <a:pPr/>
              <a:t>20</a:t>
            </a:fld>
            <a:endParaRPr lang="en-US"/>
          </a:p>
        </p:txBody>
      </p:sp>
    </p:spTree>
    <p:extLst>
      <p:ext uri="{BB962C8B-B14F-4D97-AF65-F5344CB8AC3E}">
        <p14:creationId xmlns:p14="http://schemas.microsoft.com/office/powerpoint/2010/main" val="5417809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0813" y="465138"/>
            <a:ext cx="4168775" cy="2346325"/>
          </a:xfrm>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1000"/>
              <a:t>We're moving from what is today's mobile-first, cloud-first world to a new world - one </a:t>
            </a:r>
            <a:r>
              <a:rPr lang="en-US" sz="1000" kern="1200">
                <a:solidFill>
                  <a:schemeClr val="tx1"/>
                </a:solidFill>
                <a:effectLst/>
                <a:latin typeface="Segoe UI Light" pitchFamily="34" charset="0"/>
                <a:ea typeface="+mn-ea"/>
                <a:cs typeface="Segoe UI" panose="020B0502040204020203" pitchFamily="34" charset="0"/>
              </a:rPr>
              <a:t>that is going to be made up of an </a:t>
            </a:r>
            <a:r>
              <a:rPr lang="en-US" sz="1000" b="1" kern="1200">
                <a:solidFill>
                  <a:schemeClr val="tx1"/>
                </a:solidFill>
                <a:effectLst/>
                <a:latin typeface="Segoe UI Light" pitchFamily="34" charset="0"/>
                <a:ea typeface="+mn-ea"/>
                <a:cs typeface="Segoe UI" panose="020B0502040204020203" pitchFamily="34" charset="0"/>
              </a:rPr>
              <a:t>intelligent cloud and an intelligent edge.  </a:t>
            </a:r>
            <a:endParaRPr lang="en-US" sz="1000" b="0" kern="1200">
              <a:solidFill>
                <a:schemeClr val="tx1"/>
              </a:solidFill>
              <a:effectLst/>
              <a:latin typeface="Segoe UI Light" pitchFamily="34" charset="0"/>
              <a:ea typeface="+mn-ea"/>
              <a:cs typeface="Segoe UI" panose="020B0502040204020203"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000" b="1"/>
          </a:p>
          <a:p>
            <a:pPr marL="0" marR="0" lvl="0" indent="0" algn="l" defTabSz="932742" rtl="0" eaLnBrk="1" fontAlgn="auto" latinLnBrk="0" hangingPunct="1">
              <a:lnSpc>
                <a:spcPct val="90000"/>
              </a:lnSpc>
              <a:spcBef>
                <a:spcPts val="0"/>
              </a:spcBef>
              <a:spcAft>
                <a:spcPts val="340"/>
              </a:spcAft>
              <a:buClrTx/>
              <a:buSzTx/>
              <a:buFontTx/>
              <a:buNone/>
              <a:tabLst/>
              <a:defRPr/>
            </a:pPr>
            <a:r>
              <a:rPr lang="en-US" sz="1000" b="1"/>
              <a:t>One</a:t>
            </a:r>
            <a:r>
              <a:rPr lang="en-US" sz="1000" b="1" baseline="0"/>
              <a:t> way to think about the</a:t>
            </a:r>
            <a:r>
              <a:rPr lang="en-US" sz="1000" b="1"/>
              <a:t> intelligent edge is the interface between the cloud and the real world. </a:t>
            </a:r>
          </a:p>
          <a:p>
            <a:pPr marL="0" marR="0" lvl="0" indent="0" algn="l" defTabSz="932742" rtl="0" eaLnBrk="1" fontAlgn="auto" latinLnBrk="0" hangingPunct="1">
              <a:lnSpc>
                <a:spcPct val="90000"/>
              </a:lnSpc>
              <a:spcBef>
                <a:spcPts val="0"/>
              </a:spcBef>
              <a:spcAft>
                <a:spcPts val="340"/>
              </a:spcAft>
              <a:buClrTx/>
              <a:buSzTx/>
              <a:buFontTx/>
              <a:buNone/>
              <a:tabLst/>
              <a:defRPr/>
            </a:pPr>
            <a:r>
              <a:rPr lang="en-US" sz="1000" b="1"/>
              <a:t>It is the layer of the mobile devices that we use to access the data in the cloud</a:t>
            </a:r>
            <a:r>
              <a:rPr lang="en-US" sz="1000"/>
              <a:t>.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000"/>
          </a:p>
          <a:p>
            <a:pPr marL="0" marR="0" lvl="0" indent="0" algn="l" defTabSz="932742" rtl="0" eaLnBrk="1" fontAlgn="auto" latinLnBrk="0" hangingPunct="1">
              <a:lnSpc>
                <a:spcPct val="90000"/>
              </a:lnSpc>
              <a:spcBef>
                <a:spcPts val="0"/>
              </a:spcBef>
              <a:spcAft>
                <a:spcPts val="340"/>
              </a:spcAft>
              <a:buClrTx/>
              <a:buSzTx/>
              <a:buFontTx/>
              <a:buNone/>
              <a:tabLst/>
              <a:defRPr/>
            </a:pPr>
            <a:r>
              <a:rPr lang="en-US" sz="1000"/>
              <a:t>Currently not all of those devices are connected. You can’t always easily get the stuff off of your Surface and on to your phone. Or the stuff off of your tablet and on</a:t>
            </a:r>
            <a:r>
              <a:rPr lang="en-US" sz="1400" kern="1200">
                <a:solidFill>
                  <a:schemeClr val="tx1"/>
                </a:solidFill>
                <a:effectLst/>
                <a:latin typeface="Segoe UI Light" pitchFamily="34" charset="0"/>
                <a:ea typeface="+mn-ea"/>
                <a:cs typeface="Segoe UI" panose="020B0502040204020203" pitchFamily="34" charset="0"/>
              </a:rPr>
              <a:t> </a:t>
            </a:r>
            <a:r>
              <a:rPr lang="en-US" sz="1000"/>
              <a:t>to your Xbox. Or the stuff  off of your smart fridge and into your smart car.</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000"/>
          </a:p>
          <a:p>
            <a:pPr marL="0" marR="0" lvl="0" indent="0" algn="l" defTabSz="932742" rtl="0" eaLnBrk="1" fontAlgn="auto" latinLnBrk="0" hangingPunct="1">
              <a:lnSpc>
                <a:spcPct val="90000"/>
              </a:lnSpc>
              <a:spcBef>
                <a:spcPts val="0"/>
              </a:spcBef>
              <a:spcAft>
                <a:spcPts val="340"/>
              </a:spcAft>
              <a:buClrTx/>
              <a:buSzTx/>
              <a:buFontTx/>
              <a:buNone/>
              <a:tabLst/>
              <a:defRPr/>
            </a:pPr>
            <a:r>
              <a:rPr lang="en-US" sz="1000"/>
              <a:t>However, if we ensure that all of those devices are interconnected we can leverage AI everywhere and have true </a:t>
            </a:r>
            <a:r>
              <a:rPr lang="en-US" sz="1000" err="1"/>
              <a:t>serverless</a:t>
            </a:r>
            <a:r>
              <a:rPr lang="en-US" sz="1000"/>
              <a:t> computing power to make it easier and quicker access to that</a:t>
            </a:r>
            <a:r>
              <a:rPr lang="en-US" sz="1000" baseline="0"/>
              <a:t> </a:t>
            </a:r>
            <a:r>
              <a:rPr lang="en-US" sz="1000"/>
              <a:t>data and a</a:t>
            </a:r>
            <a:r>
              <a:rPr lang="en-US" sz="1000" baseline="0"/>
              <a:t> more seamless experience</a:t>
            </a:r>
            <a:r>
              <a:rPr lang="en-US" sz="1000"/>
              <a:t>.</a:t>
            </a:r>
          </a:p>
          <a:p>
            <a:pPr>
              <a:defRPr/>
            </a:pPr>
            <a:endParaRPr lang="en-US"/>
          </a:p>
          <a:p>
            <a:r>
              <a:rPr lang="en-US"/>
              <a:t>So by pushing boundaries with the applications and experiences they build — through innovations like agents, bots and new conversational interfaces — developers can drive the evolution of these platforms–</a:t>
            </a:r>
            <a:r>
              <a:rPr lang="en-US" baseline="0"/>
              <a:t> that’s what makes this feedback loop that Satya talks about and that pushes our products and services forward. </a:t>
            </a:r>
          </a:p>
          <a:p>
            <a:endParaRPr lang="en-US" baseline="0"/>
          </a:p>
          <a:p>
            <a:r>
              <a:rPr lang="en-US" baseline="0"/>
              <a:t>Check out this example of innovations in artificial intelligence in action …</a:t>
            </a:r>
            <a:endParaRPr lang="en-US"/>
          </a:p>
          <a:p>
            <a:r>
              <a:rPr lang="en-US"/>
              <a:t> </a:t>
            </a:r>
          </a:p>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6266E11-2D6E-47D1-9B0E-710511962C2C}"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521532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5B258F2-B2E5-4175-B339-81AEE5988F5F}" type="slidenum">
              <a:rPr lang="en-US" smtClean="0"/>
              <a:pPr/>
              <a:t>21</a:t>
            </a:fld>
            <a:endParaRPr lang="en-US"/>
          </a:p>
        </p:txBody>
      </p:sp>
    </p:spTree>
    <p:extLst>
      <p:ext uri="{BB962C8B-B14F-4D97-AF65-F5344CB8AC3E}">
        <p14:creationId xmlns:p14="http://schemas.microsoft.com/office/powerpoint/2010/main" val="28498686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57258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5B258F2-B2E5-4175-B339-81AEE5988F5F}" type="slidenum">
              <a:rPr lang="en-US" smtClean="0"/>
              <a:pPr/>
              <a:t>24</a:t>
            </a:fld>
            <a:endParaRPr lang="en-US"/>
          </a:p>
        </p:txBody>
      </p:sp>
    </p:spTree>
    <p:extLst>
      <p:ext uri="{BB962C8B-B14F-4D97-AF65-F5344CB8AC3E}">
        <p14:creationId xmlns:p14="http://schemas.microsoft.com/office/powerpoint/2010/main" val="341845164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E5F7D94B-1495-4917-AC8E-775DB9023C1B}"/>
              </a:ext>
            </a:extLst>
          </p:cNvPr>
          <p:cNvSpPr>
            <a:spLocks noGrp="1"/>
          </p:cNvSpPr>
          <p:nvPr>
            <p:ph type="body" idx="1"/>
          </p:nvPr>
        </p:nvSpPr>
        <p:spPr/>
        <p:txBody>
          <a:bodyPr/>
          <a:lstStyle/>
          <a:p>
            <a:r>
              <a:rPr lang="en-US" sz="700" b="0" i="0" u="none" strike="noStrike" kern="1200" dirty="0">
                <a:solidFill>
                  <a:schemeClr val="tx1"/>
                </a:solidFill>
                <a:effectLst/>
                <a:latin typeface="Arial" pitchFamily="34" charset="0"/>
                <a:ea typeface="+mn-ea"/>
                <a:cs typeface="Arial" pitchFamily="34" charset="0"/>
              </a:rPr>
              <a:t>The market is open-ended but current uses for co-bots include machine tending, material handling, assembly tasks and packaging. They also pick and place, count, and inspect. As more co-bots are deployed, more uses will be discovered.</a:t>
            </a:r>
          </a:p>
          <a:p>
            <a:endParaRPr lang="en-US" sz="700" b="0" i="0" u="none" strike="noStrike" kern="1200" dirty="0">
              <a:solidFill>
                <a:schemeClr val="tx1"/>
              </a:solidFill>
              <a:effectLst/>
              <a:latin typeface="Arial" pitchFamily="34" charset="0"/>
              <a:ea typeface="+mn-ea"/>
              <a:cs typeface="Arial" pitchFamily="34" charset="0"/>
            </a:endParaRPr>
          </a:p>
          <a:p>
            <a:r>
              <a:rPr lang="en-US" sz="700" b="0" i="0" u="none" strike="noStrike" kern="1200" dirty="0">
                <a:solidFill>
                  <a:schemeClr val="tx1"/>
                </a:solidFill>
                <a:effectLst/>
                <a:latin typeface="Arial" pitchFamily="34" charset="0"/>
                <a:ea typeface="+mn-ea"/>
                <a:cs typeface="Arial" pitchFamily="34" charset="0"/>
              </a:rPr>
              <a:t>In a human-machine study conducted by MIT researchers at a BMW factory, it was shown that teams made of humans and robots collaborating efficiently can be more productive than teams made of either humans or robots alone. Also, the cooperative process reduced human idle time by 85 percent.</a:t>
            </a:r>
            <a:endParaRPr lang="en-US" dirty="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700" b="0" i="0" u="none" strike="noStrike" kern="1200" dirty="0">
                <a:solidFill>
                  <a:schemeClr val="tx1"/>
                </a:solidFill>
                <a:effectLst/>
                <a:latin typeface="Arial" pitchFamily="34" charset="0"/>
                <a:ea typeface="+mn-ea"/>
                <a:cs typeface="Arial" pitchFamily="34" charset="0"/>
              </a:rPr>
              <a:t>robots learn to work at a speed compatible with humans, they could begin to collaborate on trickier tasks requiring precision</a:t>
            </a:r>
            <a:endParaRPr lang="en-IN" dirty="0"/>
          </a:p>
        </p:txBody>
      </p:sp>
      <p:sp>
        <p:nvSpPr>
          <p:cNvPr id="4" name="Slide Number Placeholder 3"/>
          <p:cNvSpPr>
            <a:spLocks noGrp="1"/>
          </p:cNvSpPr>
          <p:nvPr>
            <p:ph type="sldNum" sz="quarter" idx="10"/>
          </p:nvPr>
        </p:nvSpPr>
        <p:spPr/>
        <p:txBody>
          <a:bodyPr/>
          <a:lstStyle/>
          <a:p>
            <a:fld id="{A5B258F2-B2E5-4175-B339-81AEE5988F5F}" type="slidenum">
              <a:rPr lang="en-US" smtClean="0">
                <a:solidFill>
                  <a:srgbClr val="505050"/>
                </a:solidFill>
              </a:rPr>
              <a:pPr/>
              <a:t>27</a:t>
            </a:fld>
            <a:endParaRPr lang="en-US">
              <a:solidFill>
                <a:srgbClr val="505050"/>
              </a:solidFill>
            </a:endParaRPr>
          </a:p>
        </p:txBody>
      </p:sp>
    </p:spTree>
    <p:extLst>
      <p:ext uri="{BB962C8B-B14F-4D97-AF65-F5344CB8AC3E}">
        <p14:creationId xmlns:p14="http://schemas.microsoft.com/office/powerpoint/2010/main" val="43671524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43660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1088105"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000" b="0" i="0" u="none" strike="noStrike" kern="1200" cap="none" spc="0" normalizeH="0" baseline="0" noProof="0" smtClean="0">
                <a:ln>
                  <a:noFill/>
                </a:ln>
                <a:solidFill>
                  <a:srgbClr val="505050"/>
                </a:solidFill>
                <a:effectLst/>
                <a:uLnTx/>
                <a:uFillTx/>
                <a:latin typeface="Segoe UI Light" pitchFamily="34" charset="0"/>
                <a:ea typeface="+mn-ea"/>
                <a:cs typeface="Arial" pitchFamily="34" charset="0"/>
              </a:rPr>
              <a:pPr marL="0" marR="0" lvl="0" indent="0" algn="r" defTabSz="1088105" rtl="0" eaLnBrk="1" fontAlgn="auto" latinLnBrk="0" hangingPunct="1">
                <a:lnSpc>
                  <a:spcPct val="100000"/>
                </a:lnSpc>
                <a:spcBef>
                  <a:spcPts val="0"/>
                </a:spcBef>
                <a:spcAft>
                  <a:spcPts val="0"/>
                </a:spcAft>
                <a:buClrTx/>
                <a:buSzTx/>
                <a:buFontTx/>
                <a:buNone/>
                <a:tabLst/>
                <a:defRPr/>
              </a:pPr>
              <a:t>29</a:t>
            </a:fld>
            <a:endParaRPr kumimoji="0" lang="en-US" sz="1000" b="0" i="0" u="none" strike="noStrike" kern="1200" cap="none" spc="0" normalizeH="0" baseline="0" noProof="0">
              <a:ln>
                <a:noFill/>
              </a:ln>
              <a:solidFill>
                <a:srgbClr val="505050"/>
              </a:solidFill>
              <a:effectLst/>
              <a:uLnTx/>
              <a:uFillTx/>
              <a:latin typeface="Segoe UI Light" pitchFamily="34" charset="0"/>
              <a:ea typeface="+mn-ea"/>
              <a:cs typeface="Arial" pitchFamily="34" charset="0"/>
            </a:endParaRPr>
          </a:p>
        </p:txBody>
      </p:sp>
    </p:spTree>
    <p:extLst>
      <p:ext uri="{BB962C8B-B14F-4D97-AF65-F5344CB8AC3E}">
        <p14:creationId xmlns:p14="http://schemas.microsoft.com/office/powerpoint/2010/main" val="323973700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776261">
              <a:defRPr/>
            </a:pPr>
            <a:endParaRPr lang="en-US" u="none"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a:ln>
                  <a:noFill/>
                </a:ln>
                <a:solidFill>
                  <a:srgbClr val="50505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rgbClr val="50505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86123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kern="1200">
                <a:solidFill>
                  <a:schemeClr val="tx1"/>
                </a:solidFill>
                <a:effectLst/>
                <a:latin typeface="Segoe UI" panose="020B0502040204020203" pitchFamily="34" charset="0"/>
                <a:ea typeface="+mn-ea"/>
                <a:cs typeface="Segoe UI" panose="020B0502040204020203" pitchFamily="34" charset="0"/>
              </a:rPr>
              <a:t>When it comes to the commercial solutions, it all starts with the digital transformation outcomes of our customers.  How they want to empower employees, engage customers, optimize their operations, change the very nature of the product or the service or the business model. We've learned a lot from all of these digital transformation case studies in terms of what customers expect.  That's the motivation for these solutions Microsoft</a:t>
            </a:r>
            <a:r>
              <a:rPr lang="en-US" sz="1000" kern="1200" baseline="0">
                <a:solidFill>
                  <a:schemeClr val="tx1"/>
                </a:solidFill>
                <a:effectLst/>
                <a:latin typeface="Segoe UI" panose="020B0502040204020203" pitchFamily="34" charset="0"/>
                <a:ea typeface="+mn-ea"/>
                <a:cs typeface="Segoe UI" panose="020B0502040204020203" pitchFamily="34" charset="0"/>
              </a:rPr>
              <a:t> is</a:t>
            </a:r>
            <a:r>
              <a:rPr lang="en-US" sz="1000" kern="1200">
                <a:solidFill>
                  <a:schemeClr val="tx1"/>
                </a:solidFill>
                <a:effectLst/>
                <a:latin typeface="Segoe UI" panose="020B0502040204020203" pitchFamily="34" charset="0"/>
                <a:ea typeface="+mn-ea"/>
                <a:cs typeface="Segoe UI" panose="020B0502040204020203" pitchFamily="34" charset="0"/>
              </a:rPr>
              <a:t> building.</a:t>
            </a:r>
          </a:p>
          <a:p>
            <a:r>
              <a:rPr lang="en-US" sz="1000" kern="1200">
                <a:solidFill>
                  <a:schemeClr val="tx1"/>
                </a:solidFill>
                <a:effectLst/>
                <a:latin typeface="Segoe UI" panose="020B0502040204020203" pitchFamily="34" charset="0"/>
                <a:ea typeface="+mn-ea"/>
                <a:cs typeface="Segoe UI" panose="020B0502040204020203" pitchFamily="34" charset="0"/>
              </a:rPr>
              <a:t> </a:t>
            </a:r>
          </a:p>
          <a:p>
            <a:r>
              <a:rPr lang="en-US" sz="1000" kern="1200">
                <a:solidFill>
                  <a:schemeClr val="tx1"/>
                </a:solidFill>
                <a:effectLst/>
                <a:latin typeface="Segoe UI" panose="020B0502040204020203" pitchFamily="34" charset="0"/>
                <a:ea typeface="+mn-ea"/>
                <a:cs typeface="Segoe UI" panose="020B0502040204020203" pitchFamily="34" charset="0"/>
              </a:rPr>
              <a:t>These solutions are an ingredient. The solutions we build ultimately are the ingredients to help our customers achieve their digital transformational outcomes.  </a:t>
            </a:r>
          </a:p>
          <a:p>
            <a:endParaRPr lang="en-US"/>
          </a:p>
        </p:txBody>
      </p:sp>
      <p:sp>
        <p:nvSpPr>
          <p:cNvPr id="5" name="Footer Placeholder 4"/>
          <p:cNvSpPr>
            <a:spLocks noGrp="1"/>
          </p:cNvSpPr>
          <p:nvPr>
            <p:ph type="ftr" sz="quarter" idx="11"/>
          </p:nvPr>
        </p:nvSpPr>
        <p:spPr/>
        <p:txBody>
          <a:bodyPr/>
          <a:lstStyle/>
          <a:p>
            <a:pPr marL="0" marR="0" lvl="0" indent="0" algn="l" defTabSz="9223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99739682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200" b="0" i="0" u="none" strike="noStrike" kern="1200" cap="none" spc="0" normalizeH="0" baseline="0" noProof="0" smtClean="0">
                <a:ln>
                  <a:noFill/>
                </a:ln>
                <a:solidFill>
                  <a:srgbClr val="50505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srgbClr val="50505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502800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ant operations : scientific method – can show how work was done before and how the machine helps reduce issues</a:t>
            </a:r>
          </a:p>
          <a:p>
            <a:r>
              <a:rPr lang="en-US" dirty="0"/>
              <a:t>Operations can report on how long workers are doing specific tasks, what issues exist and measure the impact of chang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045332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7968859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219977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5B258F2-B2E5-4175-B339-81AEE5988F5F}" type="slidenum">
              <a:rPr lang="en-US" smtClean="0"/>
              <a:pPr/>
              <a:t>35</a:t>
            </a:fld>
            <a:endParaRPr lang="en-US"/>
          </a:p>
        </p:txBody>
      </p:sp>
    </p:spTree>
    <p:extLst>
      <p:ext uri="{BB962C8B-B14F-4D97-AF65-F5344CB8AC3E}">
        <p14:creationId xmlns:p14="http://schemas.microsoft.com/office/powerpoint/2010/main" val="223397589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forces which are responsible for making the supply chain effective are consumer demand, globalization, competition, information and communication, government regulations and environment.</a:t>
            </a:r>
          </a:p>
          <a:p>
            <a:endParaRPr lang="en-US" dirty="0"/>
          </a:p>
          <a:p>
            <a:r>
              <a:rPr lang="en-US" sz="700" b="0" i="0" u="none" strike="noStrike" kern="1200" dirty="0">
                <a:solidFill>
                  <a:schemeClr val="tx1"/>
                </a:solidFill>
                <a:effectLst/>
                <a:latin typeface="Arial" pitchFamily="34" charset="0"/>
                <a:ea typeface="+mn-ea"/>
                <a:cs typeface="Arial" pitchFamily="34" charset="0"/>
              </a:rPr>
              <a:t>With integrated logistics, supply chain and product innovation strategies, companies are better positioned to predict demand and act accordingly. Today’s increasingly global supply chain needs to be able to spin on a dime and accommodate shorter product life cycles, emerging markets and fluctuating economies.</a:t>
            </a:r>
            <a:endParaRPr lang="en-US" dirty="0"/>
          </a:p>
          <a:p>
            <a:endParaRPr lang="en-US" dirty="0"/>
          </a:p>
          <a:p>
            <a:r>
              <a:rPr lang="en-US" dirty="0"/>
              <a:t>Product design strategy: Product design coordination, so that new and existing products can be optimally integrated into the supply chain, load management.</a:t>
            </a:r>
          </a:p>
          <a:p>
            <a:endParaRPr lang="en-US" dirty="0"/>
          </a:p>
          <a:p>
            <a:r>
              <a:rPr lang="en-US" dirty="0"/>
              <a:t>Centralized distribution: distribution network configuration, number and location of suppliers, production facilities, distribution centers, warehouses and customers. Centralized versus decentralized, direct shipment, cross docking, pull or push strategies, third party logistics.</a:t>
            </a:r>
          </a:p>
        </p:txBody>
      </p:sp>
      <p:sp>
        <p:nvSpPr>
          <p:cNvPr id="4" name="Slide Number Placeholder 3"/>
          <p:cNvSpPr>
            <a:spLocks noGrp="1"/>
          </p:cNvSpPr>
          <p:nvPr>
            <p:ph type="sldNum" sz="quarter" idx="10"/>
          </p:nvPr>
        </p:nvSpPr>
        <p:spPr/>
        <p:txBody>
          <a:bodyPr/>
          <a:lstStyle/>
          <a:p>
            <a:pPr marL="0" marR="0" lvl="0" indent="0" algn="r" defTabSz="1088105"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000" b="0" i="0" u="none" strike="noStrike" kern="1200" cap="none" spc="0" normalizeH="0" baseline="0" noProof="0" smtClean="0">
                <a:ln>
                  <a:noFill/>
                </a:ln>
                <a:solidFill>
                  <a:srgbClr val="505050"/>
                </a:solidFill>
                <a:effectLst/>
                <a:uLnTx/>
                <a:uFillTx/>
                <a:latin typeface="Segoe UI Light" pitchFamily="34" charset="0"/>
                <a:ea typeface="+mn-ea"/>
                <a:cs typeface="Arial" pitchFamily="34" charset="0"/>
              </a:rPr>
              <a:pPr marL="0" marR="0" lvl="0" indent="0" algn="r" defTabSz="1088105" rtl="0" eaLnBrk="1" fontAlgn="auto" latinLnBrk="0" hangingPunct="1">
                <a:lnSpc>
                  <a:spcPct val="100000"/>
                </a:lnSpc>
                <a:spcBef>
                  <a:spcPts val="0"/>
                </a:spcBef>
                <a:spcAft>
                  <a:spcPts val="0"/>
                </a:spcAft>
                <a:buClrTx/>
                <a:buSzTx/>
                <a:buFontTx/>
                <a:buNone/>
                <a:tabLst/>
                <a:defRPr/>
              </a:pPr>
              <a:t>37</a:t>
            </a:fld>
            <a:endParaRPr kumimoji="0" lang="en-US" sz="1000" b="0" i="0" u="none" strike="noStrike" kern="1200" cap="none" spc="0" normalizeH="0" baseline="0" noProof="0">
              <a:ln>
                <a:noFill/>
              </a:ln>
              <a:solidFill>
                <a:srgbClr val="505050"/>
              </a:solidFill>
              <a:effectLst/>
              <a:uLnTx/>
              <a:uFillTx/>
              <a:latin typeface="Segoe UI Light" pitchFamily="34" charset="0"/>
              <a:ea typeface="+mn-ea"/>
              <a:cs typeface="Arial" pitchFamily="34" charset="0"/>
            </a:endParaRPr>
          </a:p>
        </p:txBody>
      </p:sp>
    </p:spTree>
    <p:extLst>
      <p:ext uri="{BB962C8B-B14F-4D97-AF65-F5344CB8AC3E}">
        <p14:creationId xmlns:p14="http://schemas.microsoft.com/office/powerpoint/2010/main" val="101816476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5B258F2-B2E5-4175-B339-81AEE5988F5F}" type="slidenum">
              <a:rPr lang="en-US" smtClean="0"/>
              <a:pPr/>
              <a:t>38</a:t>
            </a:fld>
            <a:endParaRPr lang="en-US"/>
          </a:p>
        </p:txBody>
      </p:sp>
    </p:spTree>
    <p:extLst>
      <p:ext uri="{BB962C8B-B14F-4D97-AF65-F5344CB8AC3E}">
        <p14:creationId xmlns:p14="http://schemas.microsoft.com/office/powerpoint/2010/main" val="45407423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754212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776261">
              <a:defRPr/>
            </a:pPr>
            <a:endParaRPr lang="en-US" u="none"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a:ln>
                  <a:noFill/>
                </a:ln>
                <a:solidFill>
                  <a:srgbClr val="50505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800" b="0" i="0" u="none" strike="noStrike" kern="0" cap="none" spc="0" normalizeH="0" baseline="0" noProof="0" dirty="0">
              <a:ln>
                <a:noFill/>
              </a:ln>
              <a:solidFill>
                <a:srgbClr val="50505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45218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latin typeface="Segoe UI Light"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prstClr val="black"/>
              </a:solidFill>
              <a:effectLst/>
              <a:uLnTx/>
              <a:uFillTx/>
              <a:latin typeface="Segoe UI Light" pitchFamily="34" charset="0"/>
              <a:ea typeface="+mn-ea"/>
              <a:cs typeface="Arial" pitchFamily="34" charset="0"/>
            </a:endParaRPr>
          </a:p>
        </p:txBody>
      </p:sp>
    </p:spTree>
    <p:extLst>
      <p:ext uri="{BB962C8B-B14F-4D97-AF65-F5344CB8AC3E}">
        <p14:creationId xmlns:p14="http://schemas.microsoft.com/office/powerpoint/2010/main" val="17692142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Key challenges faced by automotive industry:</a:t>
            </a:r>
          </a:p>
          <a:p>
            <a:pPr marL="228600" indent="-228600">
              <a:buAutoNum type="arabicPeriod"/>
            </a:pPr>
            <a:r>
              <a:rPr lang="en-US" sz="700" b="0" i="0" u="none" strike="noStrike" kern="1200" dirty="0">
                <a:solidFill>
                  <a:schemeClr val="tx1"/>
                </a:solidFill>
                <a:effectLst/>
                <a:latin typeface="Arial" pitchFamily="34" charset="0"/>
                <a:ea typeface="+mn-ea"/>
                <a:cs typeface="Arial" pitchFamily="34" charset="0"/>
              </a:rPr>
              <a:t>Keeping inventories well-stocked but not overstocked - because the growth in the automotive industry over the last few years has been optimistic, it's harder to </a:t>
            </a:r>
            <a:r>
              <a:rPr lang="en-US" sz="700" b="0" i="0" u="none" strike="noStrike" kern="1200" dirty="0">
                <a:solidFill>
                  <a:schemeClr val="tx1"/>
                </a:solidFill>
                <a:effectLst/>
                <a:latin typeface="Arial" pitchFamily="34" charset="0"/>
                <a:ea typeface="+mn-ea"/>
                <a:cs typeface="Arial" pitchFamily="34" charset="0"/>
                <a:hlinkClick r:id="rId3"/>
              </a:rPr>
              <a:t>keep up with increased volumes</a:t>
            </a:r>
            <a:r>
              <a:rPr lang="en-US" sz="700" b="0" i="0" u="none" strike="noStrike" kern="1200" dirty="0">
                <a:solidFill>
                  <a:schemeClr val="tx1"/>
                </a:solidFill>
                <a:effectLst/>
                <a:latin typeface="Arial" pitchFamily="34" charset="0"/>
                <a:ea typeface="+mn-ea"/>
                <a:cs typeface="Arial" pitchFamily="34" charset="0"/>
              </a:rPr>
              <a:t>. This difficulty has led to some supply shortages, and the problem is compounded by capacity loss and the loss of employee knowledge that occurred when the industry experienced its downturn in 2008 and 2009.</a:t>
            </a:r>
          </a:p>
          <a:p>
            <a:pPr marL="228600" indent="-228600">
              <a:buAutoNum type="arabicPeriod"/>
            </a:pPr>
            <a:r>
              <a:rPr lang="en-US" sz="700" b="0" i="0" u="none" strike="noStrike" kern="1200" dirty="0">
                <a:solidFill>
                  <a:schemeClr val="tx1"/>
                </a:solidFill>
                <a:effectLst/>
                <a:latin typeface="Arial" pitchFamily="34" charset="0"/>
                <a:ea typeface="+mn-ea"/>
                <a:cs typeface="Arial" pitchFamily="34" charset="0"/>
              </a:rPr>
              <a:t>Sheer amount of recalls that have been issued in recent years - All of these recalls present a key problem to manufacturers, besides the obvious loss of revenue from the actual vehicles themselves: They have to change their products to fix the issues brought to light by the recalls, and they have to re-engineer their operations – sometimes their entire supply chain – to reflect these changes.</a:t>
            </a:r>
          </a:p>
          <a:p>
            <a:pPr marL="228600" indent="-228600">
              <a:buAutoNum type="arabicPeriod"/>
            </a:pPr>
            <a:r>
              <a:rPr lang="en-US" sz="700" b="0" i="0" u="none" strike="noStrike" kern="1200" dirty="0">
                <a:solidFill>
                  <a:schemeClr val="tx1"/>
                </a:solidFill>
                <a:effectLst/>
                <a:latin typeface="Arial" pitchFamily="34" charset="0"/>
                <a:ea typeface="+mn-ea"/>
                <a:cs typeface="Arial" pitchFamily="34" charset="0"/>
              </a:rPr>
              <a:t>Volatility of demand - Different markets will have different tastes in cars, so automotive suppliers have to find ways to account for the demand for various brands and, complicating things further, for the differing tastes within one brand (for instance, the demand for a blue vehicle versus a red one).</a:t>
            </a:r>
            <a:endParaRPr lang="en-IN" dirty="0"/>
          </a:p>
        </p:txBody>
      </p:sp>
      <p:sp>
        <p:nvSpPr>
          <p:cNvPr id="4" name="Slide Number Placeholder 3"/>
          <p:cNvSpPr>
            <a:spLocks noGrp="1"/>
          </p:cNvSpPr>
          <p:nvPr>
            <p:ph type="sldNum" sz="quarter" idx="10"/>
          </p:nvPr>
        </p:nvSpPr>
        <p:spPr/>
        <p:txBody>
          <a:bodyPr/>
          <a:lstStyle/>
          <a:p>
            <a:pPr marL="0" marR="0" lvl="0" indent="0" algn="r" defTabSz="1088105"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000" b="0" i="0" u="none" strike="noStrike" kern="1200" cap="none" spc="0" normalizeH="0" baseline="0" noProof="0" smtClean="0">
                <a:ln>
                  <a:noFill/>
                </a:ln>
                <a:solidFill>
                  <a:srgbClr val="505050"/>
                </a:solidFill>
                <a:effectLst/>
                <a:uLnTx/>
                <a:uFillTx/>
                <a:latin typeface="Segoe UI Light" pitchFamily="34" charset="0"/>
                <a:ea typeface="+mn-ea"/>
                <a:cs typeface="Arial" pitchFamily="34" charset="0"/>
              </a:rPr>
              <a:pPr marL="0" marR="0" lvl="0" indent="0" algn="r" defTabSz="1088105" rtl="0" eaLnBrk="1" fontAlgn="auto" latinLnBrk="0" hangingPunct="1">
                <a:lnSpc>
                  <a:spcPct val="100000"/>
                </a:lnSpc>
                <a:spcBef>
                  <a:spcPts val="0"/>
                </a:spcBef>
                <a:spcAft>
                  <a:spcPts val="0"/>
                </a:spcAft>
                <a:buClrTx/>
                <a:buSzTx/>
                <a:buFontTx/>
                <a:buNone/>
                <a:tabLst/>
                <a:defRPr/>
              </a:pPr>
              <a:t>41</a:t>
            </a:fld>
            <a:endParaRPr kumimoji="0" lang="en-US" sz="1000" b="0" i="0" u="none" strike="noStrike" kern="1200" cap="none" spc="0" normalizeH="0" baseline="0" noProof="0">
              <a:ln>
                <a:noFill/>
              </a:ln>
              <a:solidFill>
                <a:srgbClr val="505050"/>
              </a:solidFill>
              <a:effectLst/>
              <a:uLnTx/>
              <a:uFillTx/>
              <a:latin typeface="Segoe UI Light" pitchFamily="34" charset="0"/>
              <a:ea typeface="+mn-ea"/>
              <a:cs typeface="Arial" pitchFamily="34" charset="0"/>
            </a:endParaRPr>
          </a:p>
        </p:txBody>
      </p:sp>
    </p:spTree>
    <p:extLst>
      <p:ext uri="{BB962C8B-B14F-4D97-AF65-F5344CB8AC3E}">
        <p14:creationId xmlns:p14="http://schemas.microsoft.com/office/powerpoint/2010/main" val="427727378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861381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1088105"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000" b="0" i="0" u="none" strike="noStrike" kern="1200" cap="none" spc="0" normalizeH="0" baseline="0" noProof="0" smtClean="0">
                <a:ln>
                  <a:noFill/>
                </a:ln>
                <a:solidFill>
                  <a:srgbClr val="505050"/>
                </a:solidFill>
                <a:effectLst/>
                <a:uLnTx/>
                <a:uFillTx/>
                <a:latin typeface="Segoe UI Light" pitchFamily="34" charset="0"/>
                <a:ea typeface="+mn-ea"/>
                <a:cs typeface="Arial" pitchFamily="34" charset="0"/>
              </a:rPr>
              <a:pPr marL="0" marR="0" lvl="0" indent="0" algn="r" defTabSz="1088105" rtl="0" eaLnBrk="1" fontAlgn="auto" latinLnBrk="0" hangingPunct="1">
                <a:lnSpc>
                  <a:spcPct val="100000"/>
                </a:lnSpc>
                <a:spcBef>
                  <a:spcPts val="0"/>
                </a:spcBef>
                <a:spcAft>
                  <a:spcPts val="0"/>
                </a:spcAft>
                <a:buClrTx/>
                <a:buSzTx/>
                <a:buFontTx/>
                <a:buNone/>
                <a:tabLst/>
                <a:defRPr/>
              </a:pPr>
              <a:t>43</a:t>
            </a:fld>
            <a:endParaRPr kumimoji="0" lang="en-US" sz="1000" b="0" i="0" u="none" strike="noStrike" kern="1200" cap="none" spc="0" normalizeH="0" baseline="0" noProof="0">
              <a:ln>
                <a:noFill/>
              </a:ln>
              <a:solidFill>
                <a:srgbClr val="505050"/>
              </a:solidFill>
              <a:effectLst/>
              <a:uLnTx/>
              <a:uFillTx/>
              <a:latin typeface="Segoe UI Light" pitchFamily="34" charset="0"/>
              <a:ea typeface="+mn-ea"/>
              <a:cs typeface="Arial" pitchFamily="34" charset="0"/>
            </a:endParaRPr>
          </a:p>
        </p:txBody>
      </p:sp>
    </p:spTree>
    <p:extLst>
      <p:ext uri="{BB962C8B-B14F-4D97-AF65-F5344CB8AC3E}">
        <p14:creationId xmlns:p14="http://schemas.microsoft.com/office/powerpoint/2010/main" val="346618131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57869854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7509596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1088105"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000" b="0" i="0" u="none" strike="noStrike" kern="1200" cap="none" spc="0" normalizeH="0" baseline="0" noProof="0" smtClean="0">
                <a:ln>
                  <a:noFill/>
                </a:ln>
                <a:solidFill>
                  <a:srgbClr val="505050"/>
                </a:solidFill>
                <a:effectLst/>
                <a:uLnTx/>
                <a:uFillTx/>
                <a:latin typeface="Segoe UI Light" pitchFamily="34" charset="0"/>
                <a:ea typeface="+mn-ea"/>
                <a:cs typeface="Arial" pitchFamily="34" charset="0"/>
              </a:rPr>
              <a:pPr marL="0" marR="0" lvl="0" indent="0" algn="r" defTabSz="1088105" rtl="0" eaLnBrk="1" fontAlgn="auto" latinLnBrk="0" hangingPunct="1">
                <a:lnSpc>
                  <a:spcPct val="100000"/>
                </a:lnSpc>
                <a:spcBef>
                  <a:spcPts val="0"/>
                </a:spcBef>
                <a:spcAft>
                  <a:spcPts val="0"/>
                </a:spcAft>
                <a:buClrTx/>
                <a:buSzTx/>
                <a:buFontTx/>
                <a:buNone/>
                <a:tabLst/>
                <a:defRPr/>
              </a:pPr>
              <a:t>46</a:t>
            </a:fld>
            <a:endParaRPr kumimoji="0" lang="en-US" sz="1000" b="0" i="0" u="none" strike="noStrike" kern="1200" cap="none" spc="0" normalizeH="0" baseline="0" noProof="0">
              <a:ln>
                <a:noFill/>
              </a:ln>
              <a:solidFill>
                <a:srgbClr val="505050"/>
              </a:solidFill>
              <a:effectLst/>
              <a:uLnTx/>
              <a:uFillTx/>
              <a:latin typeface="Segoe UI Light" pitchFamily="34" charset="0"/>
              <a:ea typeface="+mn-ea"/>
              <a:cs typeface="Arial" pitchFamily="34" charset="0"/>
            </a:endParaRPr>
          </a:p>
        </p:txBody>
      </p:sp>
    </p:spTree>
    <p:extLst>
      <p:ext uri="{BB962C8B-B14F-4D97-AF65-F5344CB8AC3E}">
        <p14:creationId xmlns:p14="http://schemas.microsoft.com/office/powerpoint/2010/main" val="36500025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1088105"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000" b="0" i="0" u="none" strike="noStrike" kern="1200" cap="none" spc="0" normalizeH="0" baseline="0" noProof="0" smtClean="0">
                <a:ln>
                  <a:noFill/>
                </a:ln>
                <a:solidFill>
                  <a:srgbClr val="505050"/>
                </a:solidFill>
                <a:effectLst/>
                <a:uLnTx/>
                <a:uFillTx/>
                <a:latin typeface="Segoe UI Light" pitchFamily="34" charset="0"/>
                <a:ea typeface="+mn-ea"/>
                <a:cs typeface="Arial" pitchFamily="34" charset="0"/>
              </a:rPr>
              <a:pPr marL="0" marR="0" lvl="0" indent="0" algn="r" defTabSz="1088105" rtl="0" eaLnBrk="1" fontAlgn="auto" latinLnBrk="0" hangingPunct="1">
                <a:lnSpc>
                  <a:spcPct val="100000"/>
                </a:lnSpc>
                <a:spcBef>
                  <a:spcPts val="0"/>
                </a:spcBef>
                <a:spcAft>
                  <a:spcPts val="0"/>
                </a:spcAft>
                <a:buClrTx/>
                <a:buSzTx/>
                <a:buFontTx/>
                <a:buNone/>
                <a:tabLst/>
                <a:defRPr/>
              </a:pPr>
              <a:t>49</a:t>
            </a:fld>
            <a:endParaRPr kumimoji="0" lang="en-US" sz="1000" b="0" i="0" u="none" strike="noStrike" kern="1200" cap="none" spc="0" normalizeH="0" baseline="0" noProof="0">
              <a:ln>
                <a:noFill/>
              </a:ln>
              <a:solidFill>
                <a:srgbClr val="505050"/>
              </a:solidFill>
              <a:effectLst/>
              <a:uLnTx/>
              <a:uFillTx/>
              <a:latin typeface="Segoe UI Light" pitchFamily="34" charset="0"/>
              <a:ea typeface="+mn-ea"/>
              <a:cs typeface="Arial" pitchFamily="34" charset="0"/>
            </a:endParaRPr>
          </a:p>
        </p:txBody>
      </p:sp>
    </p:spTree>
    <p:extLst>
      <p:ext uri="{BB962C8B-B14F-4D97-AF65-F5344CB8AC3E}">
        <p14:creationId xmlns:p14="http://schemas.microsoft.com/office/powerpoint/2010/main" val="214070229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5B258F2-B2E5-4175-B339-81AEE5988F5F}" type="slidenum">
              <a:rPr lang="en-US" smtClean="0"/>
              <a:pPr/>
              <a:t>6</a:t>
            </a:fld>
            <a:endParaRPr lang="en-US"/>
          </a:p>
        </p:txBody>
      </p:sp>
    </p:spTree>
    <p:extLst>
      <p:ext uri="{BB962C8B-B14F-4D97-AF65-F5344CB8AC3E}">
        <p14:creationId xmlns:p14="http://schemas.microsoft.com/office/powerpoint/2010/main" val="81756357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833249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700" b="0" i="0" u="none" strike="noStrike" kern="1200" dirty="0">
                <a:solidFill>
                  <a:schemeClr val="tx1"/>
                </a:solidFill>
                <a:effectLst/>
                <a:latin typeface="Arial" pitchFamily="34" charset="0"/>
                <a:ea typeface="+mn-ea"/>
                <a:cs typeface="Arial" pitchFamily="34" charset="0"/>
              </a:rPr>
              <a:t>Collaborative power of co-creation: OEMs provide channels for customers, dealers, employees and suppliers to proactively engage in everything from inputs on the interior design of vehicles to innovations in their engineering. Examples include Ford’s “Your Idea” platform, which received over 3,000 ideas from customers, and Toyota’s development of the 3rd-gen Prius - one of the most advanced hybrid cars in the world, which sought Prius owners opinions via an online discussion platform during the development process. PwC is of the firm opinion that, “Companies that successfully tap the feedback will be able to enhance products, create in-depth customer experiences and gain a competitive advantage.”</a:t>
            </a:r>
            <a:endParaRPr lang="en-US" dirty="0"/>
          </a:p>
        </p:txBody>
      </p:sp>
      <p:sp>
        <p:nvSpPr>
          <p:cNvPr id="4" name="Slide Number Placeholder 3"/>
          <p:cNvSpPr>
            <a:spLocks noGrp="1"/>
          </p:cNvSpPr>
          <p:nvPr>
            <p:ph type="sldNum" sz="quarter" idx="10"/>
          </p:nvPr>
        </p:nvSpPr>
        <p:spPr/>
        <p:txBody>
          <a:bodyPr/>
          <a:lstStyle/>
          <a:p>
            <a:pPr marL="0" marR="0" lvl="0" indent="0" algn="r" defTabSz="1088105"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000" b="0" i="0" u="none" strike="noStrike" kern="1200" cap="none" spc="0" normalizeH="0" baseline="0" noProof="0" smtClean="0">
                <a:ln>
                  <a:noFill/>
                </a:ln>
                <a:solidFill>
                  <a:srgbClr val="505050"/>
                </a:solidFill>
                <a:effectLst/>
                <a:uLnTx/>
                <a:uFillTx/>
                <a:latin typeface="Segoe UI Light" pitchFamily="34" charset="0"/>
                <a:ea typeface="+mn-ea"/>
                <a:cs typeface="Arial" pitchFamily="34" charset="0"/>
              </a:rPr>
              <a:pPr marL="0" marR="0" lvl="0" indent="0" algn="r" defTabSz="1088105" rtl="0" eaLnBrk="1" fontAlgn="auto" latinLnBrk="0" hangingPunct="1">
                <a:lnSpc>
                  <a:spcPct val="100000"/>
                </a:lnSpc>
                <a:spcBef>
                  <a:spcPts val="0"/>
                </a:spcBef>
                <a:spcAft>
                  <a:spcPts val="0"/>
                </a:spcAft>
                <a:buClrTx/>
                <a:buSzTx/>
                <a:buFontTx/>
                <a:buNone/>
                <a:tabLst/>
                <a:defRPr/>
              </a:pPr>
              <a:t>52</a:t>
            </a:fld>
            <a:endParaRPr kumimoji="0" lang="en-US" sz="1000" b="0" i="0" u="none" strike="noStrike" kern="1200" cap="none" spc="0" normalizeH="0" baseline="0" noProof="0">
              <a:ln>
                <a:noFill/>
              </a:ln>
              <a:solidFill>
                <a:srgbClr val="505050"/>
              </a:solidFill>
              <a:effectLst/>
              <a:uLnTx/>
              <a:uFillTx/>
              <a:latin typeface="Segoe UI Light" pitchFamily="34" charset="0"/>
              <a:ea typeface="+mn-ea"/>
              <a:cs typeface="Arial" pitchFamily="34" charset="0"/>
            </a:endParaRPr>
          </a:p>
        </p:txBody>
      </p:sp>
    </p:spTree>
    <p:extLst>
      <p:ext uri="{BB962C8B-B14F-4D97-AF65-F5344CB8AC3E}">
        <p14:creationId xmlns:p14="http://schemas.microsoft.com/office/powerpoint/2010/main" val="302991616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700"/>
              <a:t>Sample benefits:</a:t>
            </a:r>
          </a:p>
          <a:p>
            <a:endParaRPr lang="en-US" sz="700"/>
          </a:p>
          <a:p>
            <a:r>
              <a:rPr lang="en-US" sz="700"/>
              <a:t>Best in class product innovation stories – lead dev budget, lead to dev cycle, </a:t>
            </a:r>
            <a:r>
              <a:rPr lang="en-US" sz="700" err="1"/>
              <a:t>etc</a:t>
            </a:r>
            <a:endParaRPr lang="en-US" sz="700"/>
          </a:p>
          <a:p>
            <a:r>
              <a:rPr lang="en-US" sz="700"/>
              <a:t>Improved % in product sale </a:t>
            </a:r>
          </a:p>
          <a:p>
            <a:r>
              <a:rPr lang="en-US" sz="700"/>
              <a:t>Avoid the cost of expensive clinics</a:t>
            </a:r>
          </a:p>
          <a:p>
            <a:r>
              <a:rPr lang="en-US" sz="700"/>
              <a:t>Cost of technology in the car and failures</a:t>
            </a:r>
          </a:p>
          <a:p>
            <a:r>
              <a:rPr lang="en-US" sz="700"/>
              <a:t>Quantitative and qualitative measurements</a:t>
            </a:r>
          </a:p>
          <a:p>
            <a:r>
              <a:rPr lang="en-US" sz="700"/>
              <a:t>Customer satisfaction</a:t>
            </a:r>
          </a:p>
          <a:p>
            <a:endParaRPr lang="en-US" sz="700"/>
          </a:p>
          <a:p>
            <a:r>
              <a:rPr lang="en-US" sz="700"/>
              <a:t>Benefit:</a:t>
            </a:r>
            <a:r>
              <a:rPr lang="en-US" sz="700" baseline="0"/>
              <a:t> Growth in product pipeline</a:t>
            </a:r>
          </a:p>
          <a:p>
            <a:r>
              <a:rPr lang="en-US" sz="700" baseline="0"/>
              <a:t>	Metric: Increased revenue and profit</a:t>
            </a:r>
          </a:p>
          <a:p>
            <a:r>
              <a:rPr lang="en-US" sz="700" baseline="0"/>
              <a:t>	Impact: Increased contribution profit from incremental sales</a:t>
            </a:r>
          </a:p>
          <a:p>
            <a:endParaRPr lang="en-US" sz="700" baseline="0"/>
          </a:p>
          <a:p>
            <a:r>
              <a:rPr lang="en-US" sz="700" baseline="0"/>
              <a:t>Benefit: Faster Time to Market for new product releases</a:t>
            </a:r>
          </a:p>
          <a:p>
            <a:r>
              <a:rPr lang="en-US" sz="700" baseline="0"/>
              <a:t>	Metric: Increased revenue and profits</a:t>
            </a:r>
          </a:p>
          <a:p>
            <a:r>
              <a:rPr lang="en-US" sz="700" baseline="0"/>
              <a:t>	Impact: Increased contribution profit from incremental sales</a:t>
            </a:r>
          </a:p>
          <a:p>
            <a:endParaRPr lang="en-US" sz="700" baseline="0"/>
          </a:p>
          <a:p>
            <a:r>
              <a:rPr lang="en-US" sz="700" baseline="0"/>
              <a:t>Benefit: Fostering culture of innovation</a:t>
            </a:r>
          </a:p>
          <a:p>
            <a:r>
              <a:rPr lang="en-US" sz="700" baseline="0"/>
              <a:t>	Metric: Cycle time</a:t>
            </a:r>
          </a:p>
          <a:p>
            <a:r>
              <a:rPr lang="en-US" sz="700" baseline="0"/>
              <a:t>	Impact: Total process cycle time</a:t>
            </a:r>
          </a:p>
          <a:p>
            <a:endParaRPr lang="en-US" sz="700" baseline="0"/>
          </a:p>
          <a:p>
            <a:r>
              <a:rPr lang="en-US" sz="700" baseline="0"/>
              <a:t>Benefit: Increased market relevance</a:t>
            </a:r>
          </a:p>
          <a:p>
            <a:r>
              <a:rPr lang="en-US" sz="700" baseline="0"/>
              <a:t>	Metric: Customer satisfaction</a:t>
            </a:r>
          </a:p>
          <a:p>
            <a:r>
              <a:rPr lang="en-US" sz="700" baseline="0"/>
              <a:t>	Impact: Customer survey</a:t>
            </a:r>
          </a:p>
          <a:p>
            <a:endParaRPr lang="en-US" sz="700" baseline="0"/>
          </a:p>
          <a:p>
            <a:r>
              <a:rPr lang="en-US" sz="700" baseline="0"/>
              <a:t>Benefit: Better ROI on new products</a:t>
            </a:r>
          </a:p>
          <a:p>
            <a:r>
              <a:rPr lang="en-US" sz="700" baseline="0"/>
              <a:t>	Metric: Increased revenue and profits</a:t>
            </a:r>
          </a:p>
          <a:p>
            <a:r>
              <a:rPr lang="en-US" sz="700" baseline="0"/>
              <a:t>	Impact: Increased contribution profit from incremental sales</a:t>
            </a:r>
          </a:p>
          <a:p>
            <a:endParaRPr lang="en-US" sz="700"/>
          </a:p>
          <a:p>
            <a:endParaRPr lang="en-US" sz="1100"/>
          </a:p>
        </p:txBody>
      </p:sp>
      <p:sp>
        <p:nvSpPr>
          <p:cNvPr id="4" name="Slide Number Placeholder 3"/>
          <p:cNvSpPr>
            <a:spLocks noGrp="1"/>
          </p:cNvSpPr>
          <p:nvPr>
            <p:ph type="sldNum" sz="quarter" idx="10"/>
          </p:nvPr>
        </p:nvSpPr>
        <p:spPr/>
        <p:txBody>
          <a:bodyPr/>
          <a:lstStyle/>
          <a:p>
            <a:pPr marL="0" marR="0" lvl="0" indent="0" algn="r" defTabSz="1088105"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000" b="0" i="0" u="none" strike="noStrike" kern="1200" cap="none" spc="0" normalizeH="0" baseline="0" noProof="0" smtClean="0">
                <a:ln>
                  <a:noFill/>
                </a:ln>
                <a:solidFill>
                  <a:srgbClr val="505050"/>
                </a:solidFill>
                <a:effectLst/>
                <a:uLnTx/>
                <a:uFillTx/>
                <a:latin typeface="Segoe UI Light" pitchFamily="34" charset="0"/>
                <a:ea typeface="+mn-ea"/>
                <a:cs typeface="Arial" pitchFamily="34" charset="0"/>
              </a:rPr>
              <a:pPr marL="0" marR="0" lvl="0" indent="0" algn="r" defTabSz="1088105" rtl="0" eaLnBrk="1" fontAlgn="auto" latinLnBrk="0" hangingPunct="1">
                <a:lnSpc>
                  <a:spcPct val="100000"/>
                </a:lnSpc>
                <a:spcBef>
                  <a:spcPts val="0"/>
                </a:spcBef>
                <a:spcAft>
                  <a:spcPts val="0"/>
                </a:spcAft>
                <a:buClrTx/>
                <a:buSzTx/>
                <a:buFontTx/>
                <a:buNone/>
                <a:tabLst/>
                <a:defRPr/>
              </a:pPr>
              <a:t>53</a:t>
            </a:fld>
            <a:endParaRPr kumimoji="0" lang="en-US" sz="1000" b="0" i="0" u="none" strike="noStrike" kern="1200" cap="none" spc="0" normalizeH="0" baseline="0" noProof="0">
              <a:ln>
                <a:noFill/>
              </a:ln>
              <a:solidFill>
                <a:srgbClr val="505050"/>
              </a:solidFill>
              <a:effectLst/>
              <a:uLnTx/>
              <a:uFillTx/>
              <a:latin typeface="Segoe UI Light" pitchFamily="34" charset="0"/>
              <a:ea typeface="+mn-ea"/>
              <a:cs typeface="Arial" pitchFamily="34" charset="0"/>
            </a:endParaRPr>
          </a:p>
        </p:txBody>
      </p:sp>
    </p:spTree>
    <p:extLst>
      <p:ext uri="{BB962C8B-B14F-4D97-AF65-F5344CB8AC3E}">
        <p14:creationId xmlns:p14="http://schemas.microsoft.com/office/powerpoint/2010/main" val="164845618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1088105"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000" b="0" i="0" u="none" strike="noStrike" kern="1200" cap="none" spc="0" normalizeH="0" baseline="0" noProof="0" smtClean="0">
                <a:ln>
                  <a:noFill/>
                </a:ln>
                <a:solidFill>
                  <a:srgbClr val="505050"/>
                </a:solidFill>
                <a:effectLst/>
                <a:uLnTx/>
                <a:uFillTx/>
                <a:latin typeface="Segoe UI Light" pitchFamily="34" charset="0"/>
                <a:ea typeface="+mn-ea"/>
                <a:cs typeface="Arial" pitchFamily="34" charset="0"/>
              </a:rPr>
              <a:pPr marL="0" marR="0" lvl="0" indent="0" algn="r" defTabSz="1088105" rtl="0" eaLnBrk="1" fontAlgn="auto" latinLnBrk="0" hangingPunct="1">
                <a:lnSpc>
                  <a:spcPct val="100000"/>
                </a:lnSpc>
                <a:spcBef>
                  <a:spcPts val="0"/>
                </a:spcBef>
                <a:spcAft>
                  <a:spcPts val="0"/>
                </a:spcAft>
                <a:buClrTx/>
                <a:buSzTx/>
                <a:buFontTx/>
                <a:buNone/>
                <a:tabLst/>
                <a:defRPr/>
              </a:pPr>
              <a:t>54</a:t>
            </a:fld>
            <a:endParaRPr kumimoji="0" lang="en-US" sz="1000" b="0" i="0" u="none" strike="noStrike" kern="1200" cap="none" spc="0" normalizeH="0" baseline="0" noProof="0">
              <a:ln>
                <a:noFill/>
              </a:ln>
              <a:solidFill>
                <a:srgbClr val="505050"/>
              </a:solidFill>
              <a:effectLst/>
              <a:uLnTx/>
              <a:uFillTx/>
              <a:latin typeface="Segoe UI Light" pitchFamily="34" charset="0"/>
              <a:ea typeface="+mn-ea"/>
              <a:cs typeface="Arial" pitchFamily="34" charset="0"/>
            </a:endParaRPr>
          </a:p>
        </p:txBody>
      </p:sp>
    </p:spTree>
    <p:extLst>
      <p:ext uri="{BB962C8B-B14F-4D97-AF65-F5344CB8AC3E}">
        <p14:creationId xmlns:p14="http://schemas.microsoft.com/office/powerpoint/2010/main" val="406402206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186506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249FCD-A9FA-4E9D-BD20-371DA895C422}"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92077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761787" rtl="0" eaLnBrk="1" fontAlgn="auto" latinLnBrk="0" hangingPunct="1">
              <a:lnSpc>
                <a:spcPct val="100000"/>
              </a:lnSpc>
              <a:spcBef>
                <a:spcPts val="0"/>
              </a:spcBef>
              <a:spcAft>
                <a:spcPts val="0"/>
              </a:spcAft>
              <a:buClrTx/>
              <a:buSzTx/>
              <a:buFontTx/>
              <a:buNone/>
              <a:tabLst/>
              <a:defRPr/>
            </a:pPr>
            <a:endParaRPr lang="en-GB" sz="700" kern="1200">
              <a:solidFill>
                <a:schemeClr val="tx1"/>
              </a:solidFill>
              <a:effectLst/>
              <a:latin typeface="Arial" pitchFamily="34" charset="0"/>
              <a:ea typeface="+mn-ea"/>
              <a:cs typeface="Arial"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pitchFamily="34" charset="0"/>
            </a:endParaRPr>
          </a:p>
        </p:txBody>
      </p:sp>
    </p:spTree>
    <p:extLst>
      <p:ext uri="{BB962C8B-B14F-4D97-AF65-F5344CB8AC3E}">
        <p14:creationId xmlns:p14="http://schemas.microsoft.com/office/powerpoint/2010/main" val="9379552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0360670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8" Type="http://schemas.openxmlformats.org/officeDocument/2006/relationships/tags" Target="../tags/tag28.xml"/><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image" Target="../media/image13.emf"/><Relationship Id="rId2" Type="http://schemas.openxmlformats.org/officeDocument/2006/relationships/tags" Target="../tags/tag22.xml"/><Relationship Id="rId1" Type="http://schemas.openxmlformats.org/officeDocument/2006/relationships/vmlDrawing" Target="../drawings/vmlDrawing22.vml"/><Relationship Id="rId6" Type="http://schemas.openxmlformats.org/officeDocument/2006/relationships/tags" Target="../tags/tag26.xml"/><Relationship Id="rId11" Type="http://schemas.openxmlformats.org/officeDocument/2006/relationships/oleObject" Target="../embeddings/oleObject22.bin"/><Relationship Id="rId5" Type="http://schemas.openxmlformats.org/officeDocument/2006/relationships/tags" Target="../tags/tag25.xml"/><Relationship Id="rId10" Type="http://schemas.openxmlformats.org/officeDocument/2006/relationships/slideMaster" Target="../slideMasters/slideMaster8.xml"/><Relationship Id="rId4" Type="http://schemas.openxmlformats.org/officeDocument/2006/relationships/tags" Target="../tags/tag24.xml"/><Relationship Id="rId9" Type="http://schemas.openxmlformats.org/officeDocument/2006/relationships/tags" Target="../tags/tag29.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2.xml"/><Relationship Id="rId1" Type="http://schemas.openxmlformats.org/officeDocument/2006/relationships/vmlDrawing" Target="../drawings/vmlDrawing25.vml"/><Relationship Id="rId6" Type="http://schemas.openxmlformats.org/officeDocument/2006/relationships/image" Target="../media/image1.png"/><Relationship Id="rId5" Type="http://schemas.openxmlformats.org/officeDocument/2006/relationships/image" Target="../media/image5.emf"/><Relationship Id="rId4" Type="http://schemas.openxmlformats.org/officeDocument/2006/relationships/oleObject" Target="../embeddings/oleObject25.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3.xml"/><Relationship Id="rId1" Type="http://schemas.openxmlformats.org/officeDocument/2006/relationships/vmlDrawing" Target="../drawings/vmlDrawing26.vml"/><Relationship Id="rId6" Type="http://schemas.openxmlformats.org/officeDocument/2006/relationships/image" Target="../media/image3.png"/><Relationship Id="rId5" Type="http://schemas.openxmlformats.org/officeDocument/2006/relationships/image" Target="../media/image5.emf"/><Relationship Id="rId4" Type="http://schemas.openxmlformats.org/officeDocument/2006/relationships/oleObject" Target="../embeddings/oleObject26.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4.xml"/><Relationship Id="rId1" Type="http://schemas.openxmlformats.org/officeDocument/2006/relationships/vmlDrawing" Target="../drawings/vmlDrawing27.vml"/><Relationship Id="rId5" Type="http://schemas.openxmlformats.org/officeDocument/2006/relationships/image" Target="../media/image5.emf"/><Relationship Id="rId4" Type="http://schemas.openxmlformats.org/officeDocument/2006/relationships/oleObject" Target="../embeddings/oleObject27.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5.xml"/><Relationship Id="rId1" Type="http://schemas.openxmlformats.org/officeDocument/2006/relationships/vmlDrawing" Target="../drawings/vmlDrawing28.vml"/><Relationship Id="rId5" Type="http://schemas.openxmlformats.org/officeDocument/2006/relationships/image" Target="../media/image5.emf"/><Relationship Id="rId4" Type="http://schemas.openxmlformats.org/officeDocument/2006/relationships/oleObject" Target="../embeddings/oleObject28.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6.xml"/><Relationship Id="rId1" Type="http://schemas.openxmlformats.org/officeDocument/2006/relationships/vmlDrawing" Target="../drawings/vmlDrawing29.vml"/><Relationship Id="rId5" Type="http://schemas.openxmlformats.org/officeDocument/2006/relationships/image" Target="../media/image5.emf"/><Relationship Id="rId4" Type="http://schemas.openxmlformats.org/officeDocument/2006/relationships/oleObject" Target="../embeddings/oleObject29.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7.xml"/><Relationship Id="rId1" Type="http://schemas.openxmlformats.org/officeDocument/2006/relationships/vmlDrawing" Target="../drawings/vmlDrawing30.vml"/><Relationship Id="rId5" Type="http://schemas.openxmlformats.org/officeDocument/2006/relationships/image" Target="../media/image5.emf"/><Relationship Id="rId4" Type="http://schemas.openxmlformats.org/officeDocument/2006/relationships/oleObject" Target="../embeddings/oleObject30.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8.xml"/><Relationship Id="rId1" Type="http://schemas.openxmlformats.org/officeDocument/2006/relationships/vmlDrawing" Target="../drawings/vmlDrawing31.vml"/><Relationship Id="rId5" Type="http://schemas.openxmlformats.org/officeDocument/2006/relationships/image" Target="../media/image5.emf"/><Relationship Id="rId4" Type="http://schemas.openxmlformats.org/officeDocument/2006/relationships/oleObject" Target="../embeddings/oleObject31.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9.xml"/><Relationship Id="rId1" Type="http://schemas.openxmlformats.org/officeDocument/2006/relationships/vmlDrawing" Target="../drawings/vmlDrawing32.vml"/><Relationship Id="rId5" Type="http://schemas.openxmlformats.org/officeDocument/2006/relationships/image" Target="../media/image5.emf"/><Relationship Id="rId4" Type="http://schemas.openxmlformats.org/officeDocument/2006/relationships/oleObject" Target="../embeddings/oleObject32.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0.xml"/><Relationship Id="rId1" Type="http://schemas.openxmlformats.org/officeDocument/2006/relationships/vmlDrawing" Target="../drawings/vmlDrawing33.vml"/><Relationship Id="rId5" Type="http://schemas.openxmlformats.org/officeDocument/2006/relationships/image" Target="../media/image5.emf"/><Relationship Id="rId4" Type="http://schemas.openxmlformats.org/officeDocument/2006/relationships/oleObject" Target="../embeddings/oleObject33.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1.xml"/><Relationship Id="rId1" Type="http://schemas.openxmlformats.org/officeDocument/2006/relationships/vmlDrawing" Target="../drawings/vmlDrawing34.vml"/><Relationship Id="rId5" Type="http://schemas.openxmlformats.org/officeDocument/2006/relationships/image" Target="../media/image5.emf"/><Relationship Id="rId4" Type="http://schemas.openxmlformats.org/officeDocument/2006/relationships/oleObject" Target="../embeddings/oleObject34.bin"/></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2.xml"/><Relationship Id="rId1" Type="http://schemas.openxmlformats.org/officeDocument/2006/relationships/vmlDrawing" Target="../drawings/vmlDrawing35.vml"/><Relationship Id="rId5" Type="http://schemas.openxmlformats.org/officeDocument/2006/relationships/image" Target="../media/image5.emf"/><Relationship Id="rId4" Type="http://schemas.openxmlformats.org/officeDocument/2006/relationships/oleObject" Target="../embeddings/oleObject35.bin"/></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3.xml"/><Relationship Id="rId1" Type="http://schemas.openxmlformats.org/officeDocument/2006/relationships/vmlDrawing" Target="../drawings/vmlDrawing36.vml"/><Relationship Id="rId5" Type="http://schemas.openxmlformats.org/officeDocument/2006/relationships/image" Target="../media/image5.emf"/><Relationship Id="rId4" Type="http://schemas.openxmlformats.org/officeDocument/2006/relationships/oleObject" Target="../embeddings/oleObject36.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4.xml"/><Relationship Id="rId1" Type="http://schemas.openxmlformats.org/officeDocument/2006/relationships/vmlDrawing" Target="../drawings/vmlDrawing37.vml"/><Relationship Id="rId5" Type="http://schemas.openxmlformats.org/officeDocument/2006/relationships/image" Target="../media/image5.emf"/><Relationship Id="rId4" Type="http://schemas.openxmlformats.org/officeDocument/2006/relationships/oleObject" Target="../embeddings/oleObject37.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5.xml"/><Relationship Id="rId1" Type="http://schemas.openxmlformats.org/officeDocument/2006/relationships/vmlDrawing" Target="../drawings/vmlDrawing38.vml"/><Relationship Id="rId5" Type="http://schemas.openxmlformats.org/officeDocument/2006/relationships/image" Target="../media/image5.emf"/><Relationship Id="rId4" Type="http://schemas.openxmlformats.org/officeDocument/2006/relationships/oleObject" Target="../embeddings/oleObject38.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6.xml"/><Relationship Id="rId1" Type="http://schemas.openxmlformats.org/officeDocument/2006/relationships/vmlDrawing" Target="../drawings/vmlDrawing39.vml"/><Relationship Id="rId5" Type="http://schemas.openxmlformats.org/officeDocument/2006/relationships/image" Target="../media/image5.emf"/><Relationship Id="rId4" Type="http://schemas.openxmlformats.org/officeDocument/2006/relationships/oleObject" Target="../embeddings/oleObject39.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14.png"/><Relationship Id="rId2" Type="http://schemas.openxmlformats.org/officeDocument/2006/relationships/tags" Target="../tags/tag47.xml"/><Relationship Id="rId1" Type="http://schemas.openxmlformats.org/officeDocument/2006/relationships/vmlDrawing" Target="../drawings/vmlDrawing40.vml"/><Relationship Id="rId6" Type="http://schemas.openxmlformats.org/officeDocument/2006/relationships/image" Target="../media/image4.png"/><Relationship Id="rId5" Type="http://schemas.openxmlformats.org/officeDocument/2006/relationships/image" Target="../media/image5.emf"/><Relationship Id="rId4" Type="http://schemas.openxmlformats.org/officeDocument/2006/relationships/oleObject" Target="../embeddings/oleObject40.bin"/></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5.jpg"/><Relationship Id="rId1" Type="http://schemas.openxmlformats.org/officeDocument/2006/relationships/slideMaster" Target="../slideMasters/slideMaster11.xml"/><Relationship Id="rId4" Type="http://schemas.openxmlformats.org/officeDocument/2006/relationships/image" Target="../media/image2.png"/></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49.xml"/><Relationship Id="rId1" Type="http://schemas.openxmlformats.org/officeDocument/2006/relationships/vmlDrawing" Target="../drawings/vmlDrawing42.vml"/><Relationship Id="rId6" Type="http://schemas.openxmlformats.org/officeDocument/2006/relationships/image" Target="../media/image1.png"/><Relationship Id="rId5" Type="http://schemas.openxmlformats.org/officeDocument/2006/relationships/image" Target="../media/image5.emf"/><Relationship Id="rId4" Type="http://schemas.openxmlformats.org/officeDocument/2006/relationships/oleObject" Target="../embeddings/oleObject42.bin"/></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0.xml"/><Relationship Id="rId1" Type="http://schemas.openxmlformats.org/officeDocument/2006/relationships/vmlDrawing" Target="../drawings/vmlDrawing43.vml"/><Relationship Id="rId6" Type="http://schemas.openxmlformats.org/officeDocument/2006/relationships/image" Target="../media/image3.png"/><Relationship Id="rId5" Type="http://schemas.openxmlformats.org/officeDocument/2006/relationships/image" Target="../media/image5.emf"/><Relationship Id="rId4" Type="http://schemas.openxmlformats.org/officeDocument/2006/relationships/oleObject" Target="../embeddings/oleObject43.bin"/></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1.xml"/><Relationship Id="rId1" Type="http://schemas.openxmlformats.org/officeDocument/2006/relationships/vmlDrawing" Target="../drawings/vmlDrawing44.vml"/><Relationship Id="rId5" Type="http://schemas.openxmlformats.org/officeDocument/2006/relationships/image" Target="../media/image5.emf"/><Relationship Id="rId4" Type="http://schemas.openxmlformats.org/officeDocument/2006/relationships/oleObject" Target="../embeddings/oleObject44.bin"/></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2.xml"/><Relationship Id="rId1" Type="http://schemas.openxmlformats.org/officeDocument/2006/relationships/vmlDrawing" Target="../drawings/vmlDrawing45.vml"/><Relationship Id="rId5" Type="http://schemas.openxmlformats.org/officeDocument/2006/relationships/image" Target="../media/image5.emf"/><Relationship Id="rId4" Type="http://schemas.openxmlformats.org/officeDocument/2006/relationships/oleObject" Target="../embeddings/oleObject45.bin"/></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3.xml"/><Relationship Id="rId1" Type="http://schemas.openxmlformats.org/officeDocument/2006/relationships/vmlDrawing" Target="../drawings/vmlDrawing46.vml"/><Relationship Id="rId5" Type="http://schemas.openxmlformats.org/officeDocument/2006/relationships/image" Target="../media/image5.emf"/><Relationship Id="rId4" Type="http://schemas.openxmlformats.org/officeDocument/2006/relationships/oleObject" Target="../embeddings/oleObject46.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4.xml"/><Relationship Id="rId1" Type="http://schemas.openxmlformats.org/officeDocument/2006/relationships/vmlDrawing" Target="../drawings/vmlDrawing47.vml"/><Relationship Id="rId5" Type="http://schemas.openxmlformats.org/officeDocument/2006/relationships/image" Target="../media/image5.emf"/><Relationship Id="rId4" Type="http://schemas.openxmlformats.org/officeDocument/2006/relationships/oleObject" Target="../embeddings/oleObject47.bin"/></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5.xml"/><Relationship Id="rId1" Type="http://schemas.openxmlformats.org/officeDocument/2006/relationships/vmlDrawing" Target="../drawings/vmlDrawing48.vml"/><Relationship Id="rId5" Type="http://schemas.openxmlformats.org/officeDocument/2006/relationships/image" Target="../media/image5.emf"/><Relationship Id="rId4" Type="http://schemas.openxmlformats.org/officeDocument/2006/relationships/oleObject" Target="../embeddings/oleObject48.bin"/></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6.xml"/><Relationship Id="rId1" Type="http://schemas.openxmlformats.org/officeDocument/2006/relationships/vmlDrawing" Target="../drawings/vmlDrawing49.vml"/><Relationship Id="rId5" Type="http://schemas.openxmlformats.org/officeDocument/2006/relationships/image" Target="../media/image5.emf"/><Relationship Id="rId4" Type="http://schemas.openxmlformats.org/officeDocument/2006/relationships/oleObject" Target="../embeddings/oleObject49.bin"/></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7.xml"/><Relationship Id="rId1" Type="http://schemas.openxmlformats.org/officeDocument/2006/relationships/vmlDrawing" Target="../drawings/vmlDrawing50.vml"/><Relationship Id="rId5" Type="http://schemas.openxmlformats.org/officeDocument/2006/relationships/image" Target="../media/image5.emf"/><Relationship Id="rId4" Type="http://schemas.openxmlformats.org/officeDocument/2006/relationships/oleObject" Target="../embeddings/oleObject50.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8.xml"/><Relationship Id="rId1" Type="http://schemas.openxmlformats.org/officeDocument/2006/relationships/vmlDrawing" Target="../drawings/vmlDrawing51.vml"/><Relationship Id="rId5" Type="http://schemas.openxmlformats.org/officeDocument/2006/relationships/image" Target="../media/image5.emf"/><Relationship Id="rId4" Type="http://schemas.openxmlformats.org/officeDocument/2006/relationships/oleObject" Target="../embeddings/oleObject51.bin"/></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9.xml"/><Relationship Id="rId1" Type="http://schemas.openxmlformats.org/officeDocument/2006/relationships/vmlDrawing" Target="../drawings/vmlDrawing52.vml"/><Relationship Id="rId5" Type="http://schemas.openxmlformats.org/officeDocument/2006/relationships/image" Target="../media/image5.emf"/><Relationship Id="rId4" Type="http://schemas.openxmlformats.org/officeDocument/2006/relationships/oleObject" Target="../embeddings/oleObject52.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0.xml"/><Relationship Id="rId1" Type="http://schemas.openxmlformats.org/officeDocument/2006/relationships/vmlDrawing" Target="../drawings/vmlDrawing53.vml"/><Relationship Id="rId5" Type="http://schemas.openxmlformats.org/officeDocument/2006/relationships/image" Target="../media/image5.emf"/><Relationship Id="rId4" Type="http://schemas.openxmlformats.org/officeDocument/2006/relationships/oleObject" Target="../embeddings/oleObject53.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1.xml"/><Relationship Id="rId1" Type="http://schemas.openxmlformats.org/officeDocument/2006/relationships/vmlDrawing" Target="../drawings/vmlDrawing54.vml"/><Relationship Id="rId5" Type="http://schemas.openxmlformats.org/officeDocument/2006/relationships/image" Target="../media/image5.emf"/><Relationship Id="rId4" Type="http://schemas.openxmlformats.org/officeDocument/2006/relationships/oleObject" Target="../embeddings/oleObject54.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2.xml"/><Relationship Id="rId1" Type="http://schemas.openxmlformats.org/officeDocument/2006/relationships/vmlDrawing" Target="../drawings/vmlDrawing55.vml"/><Relationship Id="rId5" Type="http://schemas.openxmlformats.org/officeDocument/2006/relationships/image" Target="../media/image5.emf"/><Relationship Id="rId4" Type="http://schemas.openxmlformats.org/officeDocument/2006/relationships/oleObject" Target="../embeddings/oleObject55.bin"/></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3.xml"/><Relationship Id="rId1" Type="http://schemas.openxmlformats.org/officeDocument/2006/relationships/vmlDrawing" Target="../drawings/vmlDrawing56.vml"/><Relationship Id="rId5" Type="http://schemas.openxmlformats.org/officeDocument/2006/relationships/image" Target="../media/image5.emf"/><Relationship Id="rId4" Type="http://schemas.openxmlformats.org/officeDocument/2006/relationships/oleObject" Target="../embeddings/oleObject56.bin"/></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6.png"/><Relationship Id="rId2" Type="http://schemas.openxmlformats.org/officeDocument/2006/relationships/tags" Target="../tags/tag64.xml"/><Relationship Id="rId1" Type="http://schemas.openxmlformats.org/officeDocument/2006/relationships/vmlDrawing" Target="../drawings/vmlDrawing57.vml"/><Relationship Id="rId6" Type="http://schemas.openxmlformats.org/officeDocument/2006/relationships/image" Target="../media/image4.png"/><Relationship Id="rId5" Type="http://schemas.openxmlformats.org/officeDocument/2006/relationships/image" Target="../media/image5.emf"/><Relationship Id="rId4" Type="http://schemas.openxmlformats.org/officeDocument/2006/relationships/oleObject" Target="../embeddings/oleObject57.bin"/></Relationships>
</file>

<file path=ppt/slideLayouts/_rels/slideLayout203.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slideMaster" Target="../slideMasters/slideMaster12.xml"/><Relationship Id="rId7" Type="http://schemas.openxmlformats.org/officeDocument/2006/relationships/image" Target="../media/image17.png"/><Relationship Id="rId2" Type="http://schemas.openxmlformats.org/officeDocument/2006/relationships/tags" Target="../tags/tag65.xml"/><Relationship Id="rId1" Type="http://schemas.openxmlformats.org/officeDocument/2006/relationships/vmlDrawing" Target="../drawings/vmlDrawing58.vml"/><Relationship Id="rId6" Type="http://schemas.openxmlformats.org/officeDocument/2006/relationships/image" Target="../media/image5.emf"/><Relationship Id="rId5" Type="http://schemas.openxmlformats.org/officeDocument/2006/relationships/oleObject" Target="../embeddings/oleObject57.bin"/><Relationship Id="rId4" Type="http://schemas.openxmlformats.org/officeDocument/2006/relationships/image" Target="../media/image16.png"/><Relationship Id="rId9" Type="http://schemas.openxmlformats.org/officeDocument/2006/relationships/image" Target="../media/image19.png"/></Relationships>
</file>

<file path=ppt/slideLayouts/_rels/slideLayout204.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slideMaster" Target="../slideMasters/slideMaster12.xml"/><Relationship Id="rId7" Type="http://schemas.openxmlformats.org/officeDocument/2006/relationships/image" Target="../media/image17.png"/><Relationship Id="rId2" Type="http://schemas.openxmlformats.org/officeDocument/2006/relationships/tags" Target="../tags/tag66.xml"/><Relationship Id="rId1" Type="http://schemas.openxmlformats.org/officeDocument/2006/relationships/vmlDrawing" Target="../drawings/vmlDrawing59.vml"/><Relationship Id="rId6" Type="http://schemas.openxmlformats.org/officeDocument/2006/relationships/image" Target="../media/image5.emf"/><Relationship Id="rId5" Type="http://schemas.openxmlformats.org/officeDocument/2006/relationships/oleObject" Target="../embeddings/oleObject57.bin"/><Relationship Id="rId4" Type="http://schemas.openxmlformats.org/officeDocument/2006/relationships/image" Target="../media/image16.png"/><Relationship Id="rId9" Type="http://schemas.openxmlformats.org/officeDocument/2006/relationships/image" Target="../media/image19.png"/></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png"/><Relationship Id="rId1" Type="http://schemas.openxmlformats.org/officeDocument/2006/relationships/slideMaster" Target="../slideMasters/slideMaster1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8" Type="http://schemas.openxmlformats.org/officeDocument/2006/relationships/tags" Target="../tags/tag74.xml"/><Relationship Id="rId3" Type="http://schemas.openxmlformats.org/officeDocument/2006/relationships/tags" Target="../tags/tag69.xml"/><Relationship Id="rId7" Type="http://schemas.openxmlformats.org/officeDocument/2006/relationships/tags" Target="../tags/tag73.xml"/><Relationship Id="rId12" Type="http://schemas.openxmlformats.org/officeDocument/2006/relationships/image" Target="../media/image13.emf"/><Relationship Id="rId2" Type="http://schemas.openxmlformats.org/officeDocument/2006/relationships/tags" Target="../tags/tag68.xml"/><Relationship Id="rId1" Type="http://schemas.openxmlformats.org/officeDocument/2006/relationships/vmlDrawing" Target="../drawings/vmlDrawing61.vml"/><Relationship Id="rId6" Type="http://schemas.openxmlformats.org/officeDocument/2006/relationships/tags" Target="../tags/tag72.xml"/><Relationship Id="rId11" Type="http://schemas.openxmlformats.org/officeDocument/2006/relationships/oleObject" Target="../embeddings/oleObject59.bin"/><Relationship Id="rId5" Type="http://schemas.openxmlformats.org/officeDocument/2006/relationships/tags" Target="../tags/tag71.xml"/><Relationship Id="rId10" Type="http://schemas.openxmlformats.org/officeDocument/2006/relationships/slideMaster" Target="../slideMasters/slideMaster13.xml"/><Relationship Id="rId4" Type="http://schemas.openxmlformats.org/officeDocument/2006/relationships/tags" Target="../tags/tag70.xml"/><Relationship Id="rId9" Type="http://schemas.openxmlformats.org/officeDocument/2006/relationships/tags" Target="../tags/tag75.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5.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png"/><Relationship Id="rId1" Type="http://schemas.openxmlformats.org/officeDocument/2006/relationships/slideMaster" Target="../slideMasters/slideMaster1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68.xml.rels><?xml version="1.0" encoding="UTF-8" standalone="yes"?>
<Relationships xmlns="http://schemas.openxmlformats.org/package/2006/relationships"><Relationship Id="rId8" Type="http://schemas.openxmlformats.org/officeDocument/2006/relationships/tags" Target="../tags/tag84.xml"/><Relationship Id="rId3" Type="http://schemas.openxmlformats.org/officeDocument/2006/relationships/tags" Target="../tags/tag79.xml"/><Relationship Id="rId7" Type="http://schemas.openxmlformats.org/officeDocument/2006/relationships/tags" Target="../tags/tag83.xml"/><Relationship Id="rId12" Type="http://schemas.openxmlformats.org/officeDocument/2006/relationships/image" Target="../media/image13.emf"/><Relationship Id="rId2" Type="http://schemas.openxmlformats.org/officeDocument/2006/relationships/tags" Target="../tags/tag78.xml"/><Relationship Id="rId1" Type="http://schemas.openxmlformats.org/officeDocument/2006/relationships/vmlDrawing" Target="../drawings/vmlDrawing64.vml"/><Relationship Id="rId6" Type="http://schemas.openxmlformats.org/officeDocument/2006/relationships/tags" Target="../tags/tag82.xml"/><Relationship Id="rId11" Type="http://schemas.openxmlformats.org/officeDocument/2006/relationships/oleObject" Target="../embeddings/oleObject62.bin"/><Relationship Id="rId5" Type="http://schemas.openxmlformats.org/officeDocument/2006/relationships/tags" Target="../tags/tag81.xml"/><Relationship Id="rId10" Type="http://schemas.openxmlformats.org/officeDocument/2006/relationships/slideMaster" Target="../slideMasters/slideMaster16.xml"/><Relationship Id="rId4" Type="http://schemas.openxmlformats.org/officeDocument/2006/relationships/tags" Target="../tags/tag80.xml"/><Relationship Id="rId9" Type="http://schemas.openxmlformats.org/officeDocument/2006/relationships/tags" Target="../tags/tag85.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8.xml"/><Relationship Id="rId1" Type="http://schemas.openxmlformats.org/officeDocument/2006/relationships/vmlDrawing" Target="../drawings/vmlDrawing67.vml"/><Relationship Id="rId6" Type="http://schemas.openxmlformats.org/officeDocument/2006/relationships/image" Target="../media/image1.png"/><Relationship Id="rId5" Type="http://schemas.openxmlformats.org/officeDocument/2006/relationships/image" Target="../media/image5.emf"/><Relationship Id="rId4" Type="http://schemas.openxmlformats.org/officeDocument/2006/relationships/oleObject" Target="../embeddings/oleObject65.bin"/></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9.xml"/><Relationship Id="rId1" Type="http://schemas.openxmlformats.org/officeDocument/2006/relationships/vmlDrawing" Target="../drawings/vmlDrawing68.vml"/><Relationship Id="rId6" Type="http://schemas.openxmlformats.org/officeDocument/2006/relationships/image" Target="../media/image3.png"/><Relationship Id="rId5" Type="http://schemas.openxmlformats.org/officeDocument/2006/relationships/image" Target="../media/image5.emf"/><Relationship Id="rId4" Type="http://schemas.openxmlformats.org/officeDocument/2006/relationships/oleObject" Target="../embeddings/oleObject66.bin"/></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90.xml"/><Relationship Id="rId1" Type="http://schemas.openxmlformats.org/officeDocument/2006/relationships/vmlDrawing" Target="../drawings/vmlDrawing69.vml"/><Relationship Id="rId5" Type="http://schemas.openxmlformats.org/officeDocument/2006/relationships/image" Target="../media/image5.emf"/><Relationship Id="rId4" Type="http://schemas.openxmlformats.org/officeDocument/2006/relationships/oleObject" Target="../embeddings/oleObject67.bin"/></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91.xml"/><Relationship Id="rId1" Type="http://schemas.openxmlformats.org/officeDocument/2006/relationships/vmlDrawing" Target="../drawings/vmlDrawing70.vml"/><Relationship Id="rId5" Type="http://schemas.openxmlformats.org/officeDocument/2006/relationships/image" Target="../media/image5.emf"/><Relationship Id="rId4" Type="http://schemas.openxmlformats.org/officeDocument/2006/relationships/oleObject" Target="../embeddings/oleObject68.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92.xml"/><Relationship Id="rId1" Type="http://schemas.openxmlformats.org/officeDocument/2006/relationships/vmlDrawing" Target="../drawings/vmlDrawing71.vml"/><Relationship Id="rId5" Type="http://schemas.openxmlformats.org/officeDocument/2006/relationships/image" Target="../media/image5.emf"/><Relationship Id="rId4" Type="http://schemas.openxmlformats.org/officeDocument/2006/relationships/oleObject" Target="../embeddings/oleObject69.bin"/></Relationships>
</file>

<file path=ppt/slideLayouts/_rels/slideLayout29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93.xml"/><Relationship Id="rId1" Type="http://schemas.openxmlformats.org/officeDocument/2006/relationships/vmlDrawing" Target="../drawings/vmlDrawing72.vml"/><Relationship Id="rId5" Type="http://schemas.openxmlformats.org/officeDocument/2006/relationships/image" Target="../media/image5.emf"/><Relationship Id="rId4" Type="http://schemas.openxmlformats.org/officeDocument/2006/relationships/oleObject" Target="../embeddings/oleObject70.bin"/></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94.xml"/><Relationship Id="rId1" Type="http://schemas.openxmlformats.org/officeDocument/2006/relationships/vmlDrawing" Target="../drawings/vmlDrawing73.vml"/><Relationship Id="rId5" Type="http://schemas.openxmlformats.org/officeDocument/2006/relationships/image" Target="../media/image5.emf"/><Relationship Id="rId4" Type="http://schemas.openxmlformats.org/officeDocument/2006/relationships/oleObject" Target="../embeddings/oleObject71.bin"/></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95.xml"/><Relationship Id="rId1" Type="http://schemas.openxmlformats.org/officeDocument/2006/relationships/vmlDrawing" Target="../drawings/vmlDrawing74.vml"/><Relationship Id="rId5" Type="http://schemas.openxmlformats.org/officeDocument/2006/relationships/image" Target="../media/image5.emf"/><Relationship Id="rId4" Type="http://schemas.openxmlformats.org/officeDocument/2006/relationships/oleObject" Target="../embeddings/oleObject72.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96.xml"/><Relationship Id="rId1" Type="http://schemas.openxmlformats.org/officeDocument/2006/relationships/vmlDrawing" Target="../drawings/vmlDrawing75.vml"/><Relationship Id="rId5" Type="http://schemas.openxmlformats.org/officeDocument/2006/relationships/image" Target="../media/image5.emf"/><Relationship Id="rId4" Type="http://schemas.openxmlformats.org/officeDocument/2006/relationships/oleObject" Target="../embeddings/oleObject73.bin"/></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97.xml"/><Relationship Id="rId1" Type="http://schemas.openxmlformats.org/officeDocument/2006/relationships/vmlDrawing" Target="../drawings/vmlDrawing76.vml"/><Relationship Id="rId5" Type="http://schemas.openxmlformats.org/officeDocument/2006/relationships/image" Target="../media/image5.emf"/><Relationship Id="rId4" Type="http://schemas.openxmlformats.org/officeDocument/2006/relationships/oleObject" Target="../embeddings/oleObject74.bin"/></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98.xml"/><Relationship Id="rId1" Type="http://schemas.openxmlformats.org/officeDocument/2006/relationships/vmlDrawing" Target="../drawings/vmlDrawing77.vml"/><Relationship Id="rId5" Type="http://schemas.openxmlformats.org/officeDocument/2006/relationships/image" Target="../media/image5.emf"/><Relationship Id="rId4" Type="http://schemas.openxmlformats.org/officeDocument/2006/relationships/oleObject" Target="../embeddings/oleObject75.bin"/></Relationships>
</file>

<file path=ppt/slideLayouts/_rels/slideLayout29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99.xml"/><Relationship Id="rId1" Type="http://schemas.openxmlformats.org/officeDocument/2006/relationships/vmlDrawing" Target="../drawings/vmlDrawing78.vml"/><Relationship Id="rId5" Type="http://schemas.openxmlformats.org/officeDocument/2006/relationships/image" Target="../media/image5.emf"/><Relationship Id="rId4" Type="http://schemas.openxmlformats.org/officeDocument/2006/relationships/oleObject" Target="../embeddings/oleObject76.bin"/></Relationships>
</file>

<file path=ppt/slideLayouts/_rels/slideLayout29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00.xml"/><Relationship Id="rId1" Type="http://schemas.openxmlformats.org/officeDocument/2006/relationships/vmlDrawing" Target="../drawings/vmlDrawing79.vml"/><Relationship Id="rId5" Type="http://schemas.openxmlformats.org/officeDocument/2006/relationships/image" Target="../media/image5.emf"/><Relationship Id="rId4" Type="http://schemas.openxmlformats.org/officeDocument/2006/relationships/oleObject" Target="../embeddings/oleObject77.bin"/></Relationships>
</file>

<file path=ppt/slideLayouts/_rels/slideLayout299.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01.xml"/><Relationship Id="rId1" Type="http://schemas.openxmlformats.org/officeDocument/2006/relationships/vmlDrawing" Target="../drawings/vmlDrawing80.vml"/><Relationship Id="rId5" Type="http://schemas.openxmlformats.org/officeDocument/2006/relationships/image" Target="../media/image5.emf"/><Relationship Id="rId4" Type="http://schemas.openxmlformats.org/officeDocument/2006/relationships/oleObject" Target="../embeddings/oleObject78.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02.xml"/><Relationship Id="rId1" Type="http://schemas.openxmlformats.org/officeDocument/2006/relationships/vmlDrawing" Target="../drawings/vmlDrawing81.vml"/><Relationship Id="rId5" Type="http://schemas.openxmlformats.org/officeDocument/2006/relationships/image" Target="../media/image5.emf"/><Relationship Id="rId4" Type="http://schemas.openxmlformats.org/officeDocument/2006/relationships/oleObject" Target="../embeddings/oleObject79.bin"/></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6.png"/><Relationship Id="rId2" Type="http://schemas.openxmlformats.org/officeDocument/2006/relationships/tags" Target="../tags/tag103.xml"/><Relationship Id="rId1" Type="http://schemas.openxmlformats.org/officeDocument/2006/relationships/vmlDrawing" Target="../drawings/vmlDrawing82.vml"/><Relationship Id="rId6" Type="http://schemas.openxmlformats.org/officeDocument/2006/relationships/image" Target="../media/image4.png"/><Relationship Id="rId5" Type="http://schemas.openxmlformats.org/officeDocument/2006/relationships/image" Target="../media/image5.emf"/><Relationship Id="rId4" Type="http://schemas.openxmlformats.org/officeDocument/2006/relationships/oleObject" Target="../embeddings/oleObject80.bin"/></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04.xml"/><Relationship Id="rId1" Type="http://schemas.openxmlformats.org/officeDocument/2006/relationships/vmlDrawing" Target="../drawings/vmlDrawing83.vml"/><Relationship Id="rId6" Type="http://schemas.openxmlformats.org/officeDocument/2006/relationships/image" Target="../media/image5.emf"/><Relationship Id="rId5" Type="http://schemas.openxmlformats.org/officeDocument/2006/relationships/oleObject" Target="../embeddings/oleObject80.bin"/><Relationship Id="rId4" Type="http://schemas.openxmlformats.org/officeDocument/2006/relationships/image" Target="../media/image20.png"/></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05.xml"/><Relationship Id="rId1" Type="http://schemas.openxmlformats.org/officeDocument/2006/relationships/vmlDrawing" Target="../drawings/vmlDrawing84.vml"/><Relationship Id="rId6" Type="http://schemas.openxmlformats.org/officeDocument/2006/relationships/image" Target="../media/image5.emf"/><Relationship Id="rId5" Type="http://schemas.openxmlformats.org/officeDocument/2006/relationships/oleObject" Target="../embeddings/oleObject80.bin"/><Relationship Id="rId4" Type="http://schemas.openxmlformats.org/officeDocument/2006/relationships/image" Target="../media/image20.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5.emf"/><Relationship Id="rId4" Type="http://schemas.openxmlformats.org/officeDocument/2006/relationships/oleObject" Target="../embeddings/oleObject13.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6.png"/><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4.png"/><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057400"/>
            <a:ext cx="5486400"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13" y="4800600"/>
            <a:ext cx="5486400"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sp>
        <p:nvSpPr>
          <p:cNvPr id="10" name="TextBox 9"/>
          <p:cNvSpPr txBox="1"/>
          <p:nvPr/>
        </p:nvSpPr>
        <p:spPr>
          <a:xfrm>
            <a:off x="7618016" y="381000"/>
            <a:ext cx="3809008" cy="1905000"/>
          </a:xfrm>
          <a:prstGeom prst="rect">
            <a:avLst/>
          </a:prstGeom>
        </p:spPr>
        <p:txBody>
          <a:bodyPr vert="horz" wrap="square" lIns="108821" tIns="54411" rIns="108821" bIns="54411" rtlCol="0" anchor="ctr">
            <a:normAutofit/>
          </a:bodyPr>
          <a:lstStyle/>
          <a:p>
            <a:r>
              <a:rPr lang="en-US" sz="2000">
                <a:solidFill>
                  <a:schemeClr val="accent6"/>
                </a:solidFill>
                <a:latin typeface="Segoe UI" pitchFamily="34" charset="0"/>
                <a:ea typeface="Segoe UI" pitchFamily="34" charset="0"/>
                <a:cs typeface="Segoe UI" pitchFamily="34" charset="0"/>
              </a:rPr>
              <a:t>Click View &gt; Slide Master to insert a photo as </a:t>
            </a:r>
            <a:r>
              <a:rPr lang="en-US" sz="2000" baseline="0">
                <a:solidFill>
                  <a:schemeClr val="accent6"/>
                </a:solidFill>
                <a:latin typeface="Segoe UI" pitchFamily="34" charset="0"/>
                <a:ea typeface="Segoe UI" pitchFamily="34" charset="0"/>
                <a:cs typeface="Segoe UI" pitchFamily="34" charset="0"/>
              </a:rPr>
              <a:t>a background behind the colored boxes.</a:t>
            </a:r>
            <a:endParaRPr lang="en-US" sz="2000">
              <a:solidFill>
                <a:schemeClr val="accent6"/>
              </a:solidFill>
              <a:latin typeface="Segoe UI" pitchFamily="34" charset="0"/>
              <a:ea typeface="Segoe UI" pitchFamily="34" charset="0"/>
              <a:cs typeface="Segoe UI" pitchFamily="34" charset="0"/>
            </a:endParaRPr>
          </a:p>
        </p:txBody>
      </p:sp>
      <p:sp>
        <p:nvSpPr>
          <p:cNvPr id="15" name="TextBox 14"/>
          <p:cNvSpPr txBox="1"/>
          <p:nvPr/>
        </p:nvSpPr>
        <p:spPr>
          <a:xfrm>
            <a:off x="7618016" y="381000"/>
            <a:ext cx="3809008" cy="1905000"/>
          </a:xfrm>
          <a:prstGeom prst="rect">
            <a:avLst/>
          </a:prstGeom>
        </p:spPr>
        <p:txBody>
          <a:bodyPr vert="horz" wrap="square" lIns="108821" tIns="54411" rIns="108821" bIns="54411" rtlCol="0" anchor="ctr">
            <a:normAutofit/>
          </a:bodyPr>
          <a:lstStyle/>
          <a:p>
            <a:r>
              <a:rPr lang="en-US" sz="2000">
                <a:solidFill>
                  <a:schemeClr val="accent6"/>
                </a:solidFill>
                <a:latin typeface="Segoe UI" pitchFamily="34" charset="0"/>
                <a:ea typeface="Segoe UI" pitchFamily="34" charset="0"/>
                <a:cs typeface="Segoe UI" pitchFamily="34" charset="0"/>
              </a:rPr>
              <a:t>Click View &gt; Slide Master to insert a photo as </a:t>
            </a:r>
            <a:r>
              <a:rPr lang="en-US" sz="2000" baseline="0">
                <a:solidFill>
                  <a:schemeClr val="accent6"/>
                </a:solidFill>
                <a:latin typeface="Segoe UI" pitchFamily="34" charset="0"/>
                <a:ea typeface="Segoe UI" pitchFamily="34" charset="0"/>
                <a:cs typeface="Segoe UI" pitchFamily="34" charset="0"/>
              </a:rPr>
              <a:t>a background behind the colored boxes.</a:t>
            </a:r>
            <a:endParaRPr lang="en-US" sz="2000">
              <a:solidFill>
                <a:schemeClr val="accent6"/>
              </a:solidFill>
              <a:latin typeface="Segoe UI" pitchFamily="34" charset="0"/>
              <a:ea typeface="Segoe UI" pitchFamily="34" charset="0"/>
              <a:cs typeface="Segoe UI" pitchFamily="34" charset="0"/>
            </a:endParaRP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216" y="198357"/>
            <a:ext cx="1946596" cy="716042"/>
          </a:xfrm>
          <a:prstGeom prst="rect">
            <a:avLst/>
          </a:prstGeom>
        </p:spPr>
      </p:pic>
      <p:sp>
        <p:nvSpPr>
          <p:cNvPr id="14" name="TextBox 13"/>
          <p:cNvSpPr txBox="1"/>
          <p:nvPr userDrawn="1"/>
        </p:nvSpPr>
        <p:spPr>
          <a:xfrm>
            <a:off x="7618016" y="381000"/>
            <a:ext cx="3809008" cy="1905000"/>
          </a:xfrm>
          <a:prstGeom prst="rect">
            <a:avLst/>
          </a:prstGeom>
        </p:spPr>
        <p:txBody>
          <a:bodyPr vert="horz" wrap="square" lIns="108821" tIns="54411" rIns="108821" bIns="54411" rtlCol="0" anchor="ctr">
            <a:normAutofit/>
          </a:bodyPr>
          <a:lstStyle/>
          <a:p>
            <a:r>
              <a:rPr lang="en-US" sz="2000">
                <a:solidFill>
                  <a:schemeClr val="accent6"/>
                </a:solidFill>
                <a:latin typeface="Segoe UI" pitchFamily="34" charset="0"/>
                <a:ea typeface="Segoe UI" pitchFamily="34" charset="0"/>
                <a:cs typeface="Segoe UI" pitchFamily="34" charset="0"/>
              </a:rPr>
              <a:t>Click View &gt; Slide Master to insert a photo as </a:t>
            </a:r>
            <a:r>
              <a:rPr lang="en-US" sz="2000" baseline="0">
                <a:solidFill>
                  <a:schemeClr val="accent6"/>
                </a:solidFill>
                <a:latin typeface="Segoe UI" pitchFamily="34" charset="0"/>
                <a:ea typeface="Segoe UI" pitchFamily="34" charset="0"/>
                <a:cs typeface="Segoe UI" pitchFamily="34" charset="0"/>
              </a:rPr>
              <a:t>a background behind the colored boxes.</a:t>
            </a:r>
            <a:endParaRPr lang="en-US" sz="2000">
              <a:solidFill>
                <a:schemeClr val="accent6"/>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0792848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13" y="1143000"/>
            <a:ext cx="1005839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50811" y="3877276"/>
            <a:ext cx="1005840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622700741"/>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4174884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7747902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763122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chemeClr val="tx1"/>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8723578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27012" y="1600200"/>
            <a:ext cx="11353800"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1" y="6238878"/>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99"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486959867"/>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a:solidFill>
                <a:prstClr val="white"/>
              </a:solidFill>
            </a:endParaRPr>
          </a:p>
        </p:txBody>
      </p:sp>
      <p:sp>
        <p:nvSpPr>
          <p:cNvPr id="4" name="Rectangle 3"/>
          <p:cNvSpPr/>
          <p:nvPr/>
        </p:nvSpPr>
        <p:spPr>
          <a:xfrm>
            <a:off x="1"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a:solidFill>
                <a:prstClr val="white"/>
              </a:solidFill>
            </a:endParaRPr>
          </a:p>
        </p:txBody>
      </p:sp>
      <p:sp>
        <p:nvSpPr>
          <p:cNvPr id="8" name="Rectangle 7"/>
          <p:cNvSpPr/>
          <p:nvPr/>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117" y="2899240"/>
            <a:ext cx="2880367" cy="1059525"/>
          </a:xfrm>
          <a:prstGeom prst="rect">
            <a:avLst/>
          </a:prstGeom>
        </p:spPr>
      </p:pic>
      <p:sp>
        <p:nvSpPr>
          <p:cNvPr id="6" name="Rectangle 5"/>
          <p:cNvSpPr/>
          <p:nvPr/>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117" y="2899240"/>
            <a:ext cx="2880367" cy="1059525"/>
          </a:xfrm>
          <a:prstGeom prst="rect">
            <a:avLst/>
          </a:prstGeom>
        </p:spPr>
      </p:pic>
      <p:sp>
        <p:nvSpPr>
          <p:cNvPr id="9" name="Rectangle 8"/>
          <p:cNvSpPr/>
          <p:nvPr userDrawn="1"/>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8759" y="2901952"/>
            <a:ext cx="2844267" cy="1046245"/>
          </a:xfrm>
          <a:prstGeom prst="rect">
            <a:avLst/>
          </a:prstGeom>
        </p:spPr>
      </p:pic>
    </p:spTree>
    <p:extLst>
      <p:ext uri="{BB962C8B-B14F-4D97-AF65-F5344CB8AC3E}">
        <p14:creationId xmlns:p14="http://schemas.microsoft.com/office/powerpoint/2010/main" val="2416536392"/>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67112683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057400"/>
            <a:ext cx="5486400" cy="2743426"/>
          </a:xfrm>
          <a:noFill/>
        </p:spPr>
        <p:txBody>
          <a:bodyPr vert="horz" lIns="137160" tIns="137160" rIns="137160" bIns="137160" rtlCol="0" anchor="t" anchorCtr="0">
            <a:normAutofit/>
          </a:bodyPr>
          <a:lstStyle>
            <a:lvl1pPr>
              <a:defRPr lang="en-US" sz="4399" spc="-98" dirty="0">
                <a:solidFill>
                  <a:schemeClr val="bg1"/>
                </a:solidFill>
              </a:defRPr>
            </a:lvl1pPr>
          </a:lstStyle>
          <a:p>
            <a:pPr lvl="0"/>
            <a:r>
              <a:rPr lang="en-US"/>
              <a:t>Presentation title</a:t>
            </a:r>
          </a:p>
        </p:txBody>
      </p:sp>
      <p:sp>
        <p:nvSpPr>
          <p:cNvPr id="4" name="Text Placeholder 3"/>
          <p:cNvSpPr>
            <a:spLocks noGrp="1"/>
          </p:cNvSpPr>
          <p:nvPr>
            <p:ph type="body" sz="quarter" idx="10" hasCustomPrompt="1"/>
          </p:nvPr>
        </p:nvSpPr>
        <p:spPr>
          <a:xfrm>
            <a:off x="150813" y="4800600"/>
            <a:ext cx="5486400" cy="914400"/>
          </a:xfrm>
        </p:spPr>
        <p:txBody>
          <a:bodyPr lIns="137160" tIns="137160" rIns="137160" bIns="137160">
            <a:noAutofit/>
          </a:bodyPr>
          <a:lstStyle>
            <a:lvl1pPr marL="0" indent="0">
              <a:spcBef>
                <a:spcPts val="0"/>
              </a:spcBef>
              <a:buNone/>
              <a:defRPr sz="1999">
                <a:solidFill>
                  <a:schemeClr val="bg1"/>
                </a:solidFill>
              </a:defRPr>
            </a:lvl1pPr>
            <a:lvl2pPr marL="281589" indent="0">
              <a:buNone/>
              <a:defRPr sz="1999">
                <a:solidFill>
                  <a:schemeClr val="bg1"/>
                </a:solidFill>
              </a:defRPr>
            </a:lvl2pPr>
            <a:lvl3pPr marL="588299" indent="0">
              <a:buNone/>
              <a:defRPr sz="1999">
                <a:solidFill>
                  <a:schemeClr val="bg1"/>
                </a:solidFill>
              </a:defRPr>
            </a:lvl3pPr>
            <a:lvl4pPr marL="869889" indent="0">
              <a:buNone/>
              <a:defRPr sz="1999">
                <a:solidFill>
                  <a:schemeClr val="bg1"/>
                </a:solidFill>
              </a:defRPr>
            </a:lvl4pPr>
            <a:lvl5pPr marL="1105208" indent="0">
              <a:buNone/>
              <a:defRPr sz="1999">
                <a:solidFill>
                  <a:schemeClr val="bg1"/>
                </a:solidFill>
              </a:defRPr>
            </a:lvl5pPr>
          </a:lstStyle>
          <a:p>
            <a:pPr lvl="0"/>
            <a:r>
              <a:rPr lang="en-US"/>
              <a:t>Speaker Name</a:t>
            </a:r>
          </a:p>
        </p:txBody>
      </p:sp>
      <p:sp>
        <p:nvSpPr>
          <p:cNvPr id="10" name="TextBox 9"/>
          <p:cNvSpPr txBox="1"/>
          <p:nvPr/>
        </p:nvSpPr>
        <p:spPr>
          <a:xfrm>
            <a:off x="7618016" y="381000"/>
            <a:ext cx="3809008" cy="1905000"/>
          </a:xfrm>
          <a:prstGeom prst="rect">
            <a:avLst/>
          </a:prstGeom>
        </p:spPr>
        <p:txBody>
          <a:bodyPr vert="horz" wrap="square" lIns="108793" tIns="54397" rIns="108793" bIns="54397" rtlCol="0" anchor="ctr">
            <a:normAutofit/>
          </a:bodyPr>
          <a:lstStyle/>
          <a:p>
            <a:r>
              <a:rPr lang="en-US" sz="1999">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2940" y="228600"/>
            <a:ext cx="1946596" cy="716042"/>
          </a:xfrm>
          <a:prstGeom prst="rect">
            <a:avLst/>
          </a:prstGeom>
        </p:spPr>
      </p:pic>
      <p:sp>
        <p:nvSpPr>
          <p:cNvPr id="15" name="TextBox 14"/>
          <p:cNvSpPr txBox="1"/>
          <p:nvPr/>
        </p:nvSpPr>
        <p:spPr>
          <a:xfrm>
            <a:off x="7618016" y="381000"/>
            <a:ext cx="3809008" cy="1905000"/>
          </a:xfrm>
          <a:prstGeom prst="rect">
            <a:avLst/>
          </a:prstGeom>
        </p:spPr>
        <p:txBody>
          <a:bodyPr vert="horz" wrap="square" lIns="108793" tIns="54397" rIns="108793" bIns="54397" rtlCol="0" anchor="ctr">
            <a:normAutofit/>
          </a:bodyPr>
          <a:lstStyle/>
          <a:p>
            <a:r>
              <a:rPr lang="en-US" sz="1999">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16" y="198357"/>
            <a:ext cx="1946596" cy="716042"/>
          </a:xfrm>
          <a:prstGeom prst="rect">
            <a:avLst/>
          </a:prstGeom>
        </p:spPr>
      </p:pic>
      <p:sp>
        <p:nvSpPr>
          <p:cNvPr id="14" name="TextBox 13"/>
          <p:cNvSpPr txBox="1"/>
          <p:nvPr userDrawn="1"/>
        </p:nvSpPr>
        <p:spPr>
          <a:xfrm>
            <a:off x="7618016" y="381000"/>
            <a:ext cx="3809008" cy="1905000"/>
          </a:xfrm>
          <a:prstGeom prst="rect">
            <a:avLst/>
          </a:prstGeom>
        </p:spPr>
        <p:txBody>
          <a:bodyPr vert="horz" wrap="square" lIns="108793" tIns="54397" rIns="108793" bIns="54397" rtlCol="0" anchor="ctr">
            <a:normAutofit/>
          </a:bodyPr>
          <a:lstStyle/>
          <a:p>
            <a:r>
              <a:rPr lang="en-US" sz="1999">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16" y="198357"/>
            <a:ext cx="1946596" cy="716042"/>
          </a:xfrm>
          <a:prstGeom prst="rect">
            <a:avLst/>
          </a:prstGeom>
        </p:spPr>
      </p:pic>
    </p:spTree>
    <p:extLst>
      <p:ext uri="{BB962C8B-B14F-4D97-AF65-F5344CB8AC3E}">
        <p14:creationId xmlns:p14="http://schemas.microsoft.com/office/powerpoint/2010/main" val="98907445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057400"/>
            <a:ext cx="5486400" cy="2743426"/>
          </a:xfrm>
          <a:noFill/>
        </p:spPr>
        <p:txBody>
          <a:bodyPr vert="horz" lIns="137160" tIns="137160" rIns="137160" bIns="137160" rtlCol="0" anchor="t" anchorCtr="0">
            <a:normAutofit/>
          </a:bodyPr>
          <a:lstStyle>
            <a:lvl1pPr>
              <a:defRPr lang="en-US" sz="4399" spc="-98" dirty="0">
                <a:solidFill>
                  <a:schemeClr val="bg1"/>
                </a:solidFill>
              </a:defRPr>
            </a:lvl1pPr>
          </a:lstStyle>
          <a:p>
            <a:pPr lvl="0"/>
            <a:r>
              <a:rPr lang="en-US"/>
              <a:t>Presentation title</a:t>
            </a:r>
          </a:p>
        </p:txBody>
      </p:sp>
      <p:sp>
        <p:nvSpPr>
          <p:cNvPr id="4" name="Text Placeholder 3"/>
          <p:cNvSpPr>
            <a:spLocks noGrp="1"/>
          </p:cNvSpPr>
          <p:nvPr>
            <p:ph type="body" sz="quarter" idx="10" hasCustomPrompt="1"/>
          </p:nvPr>
        </p:nvSpPr>
        <p:spPr>
          <a:xfrm>
            <a:off x="150813" y="4800600"/>
            <a:ext cx="5486400" cy="914400"/>
          </a:xfrm>
        </p:spPr>
        <p:txBody>
          <a:bodyPr lIns="137160" tIns="137160" rIns="137160" bIns="137160">
            <a:noAutofit/>
          </a:bodyPr>
          <a:lstStyle>
            <a:lvl1pPr marL="0" indent="0">
              <a:spcBef>
                <a:spcPts val="0"/>
              </a:spcBef>
              <a:buNone/>
              <a:defRPr sz="1999">
                <a:solidFill>
                  <a:schemeClr val="bg1"/>
                </a:solidFill>
              </a:defRPr>
            </a:lvl1pPr>
            <a:lvl2pPr marL="281589" indent="0">
              <a:buNone/>
              <a:defRPr sz="1999">
                <a:solidFill>
                  <a:schemeClr val="bg1"/>
                </a:solidFill>
              </a:defRPr>
            </a:lvl2pPr>
            <a:lvl3pPr marL="588299" indent="0">
              <a:buNone/>
              <a:defRPr sz="1999">
                <a:solidFill>
                  <a:schemeClr val="bg1"/>
                </a:solidFill>
              </a:defRPr>
            </a:lvl3pPr>
            <a:lvl4pPr marL="869889" indent="0">
              <a:buNone/>
              <a:defRPr sz="1999">
                <a:solidFill>
                  <a:schemeClr val="bg1"/>
                </a:solidFill>
              </a:defRPr>
            </a:lvl4pPr>
            <a:lvl5pPr marL="1105208" indent="0">
              <a:buNone/>
              <a:defRPr sz="1999">
                <a:solidFill>
                  <a:schemeClr val="bg1"/>
                </a:solidFill>
              </a:defRPr>
            </a:lvl5pPr>
          </a:lstStyle>
          <a:p>
            <a:pPr lvl="0"/>
            <a:r>
              <a:rPr lang="en-US"/>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1916" y="200779"/>
            <a:ext cx="1946593" cy="716042"/>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916" y="200779"/>
            <a:ext cx="1946593" cy="716042"/>
          </a:xfrm>
          <a:prstGeom prst="rect">
            <a:avLst/>
          </a:prstGeom>
        </p:spPr>
      </p:pic>
    </p:spTree>
    <p:extLst>
      <p:ext uri="{BB962C8B-B14F-4D97-AF65-F5344CB8AC3E}">
        <p14:creationId xmlns:p14="http://schemas.microsoft.com/office/powerpoint/2010/main" val="183283677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6"/>
            <a:ext cx="12188825"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a:t>Click to add subtitle</a:t>
            </a:r>
          </a:p>
        </p:txBody>
      </p:sp>
      <p:sp>
        <p:nvSpPr>
          <p:cNvPr id="16" name="Text Placeholder 15"/>
          <p:cNvSpPr>
            <a:spLocks noGrp="1"/>
          </p:cNvSpPr>
          <p:nvPr>
            <p:ph type="body" sz="quarter" idx="14"/>
          </p:nvPr>
        </p:nvSpPr>
        <p:spPr>
          <a:xfrm>
            <a:off x="150813" y="1600200"/>
            <a:ext cx="11887200"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
        <p:nvSpPr>
          <p:cNvPr id="20" name="Footer Placeholder 19"/>
          <p:cNvSpPr>
            <a:spLocks noGrp="1"/>
          </p:cNvSpPr>
          <p:nvPr>
            <p:ph type="ftr" sz="quarter" idx="16"/>
          </p:nvPr>
        </p:nvSpPr>
        <p:spPr>
          <a:xfrm>
            <a:off x="1904504" y="6477875"/>
            <a:ext cx="8379817" cy="380127"/>
          </a:xfrm>
        </p:spPr>
        <p:txBody>
          <a:bodyPr/>
          <a:lstStyle/>
          <a:p>
            <a:endParaRPr lang="en-US">
              <a:solidFill>
                <a:srgbClr val="505050"/>
              </a:solidFill>
            </a:endParaRPr>
          </a:p>
        </p:txBody>
      </p:sp>
    </p:spTree>
    <p:extLst>
      <p:ext uri="{BB962C8B-B14F-4D97-AF65-F5344CB8AC3E}">
        <p14:creationId xmlns:p14="http://schemas.microsoft.com/office/powerpoint/2010/main" val="62729808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13"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13"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13" y="1142999"/>
            <a:ext cx="1005839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a:t>Video title</a:t>
            </a:r>
          </a:p>
        </p:txBody>
      </p:sp>
      <p:sp>
        <p:nvSpPr>
          <p:cNvPr id="5" name="Text Placeholder 4"/>
          <p:cNvSpPr>
            <a:spLocks noGrp="1"/>
          </p:cNvSpPr>
          <p:nvPr>
            <p:ph type="body" sz="quarter" idx="12" hasCustomPrompt="1"/>
          </p:nvPr>
        </p:nvSpPr>
        <p:spPr>
          <a:xfrm>
            <a:off x="150813" y="3886200"/>
            <a:ext cx="1005840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13"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5108153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6"/>
            <a:ext cx="12188825"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a:t>Click to add subtitle</a:t>
            </a:r>
          </a:p>
        </p:txBody>
      </p:sp>
      <p:sp>
        <p:nvSpPr>
          <p:cNvPr id="3" name="Footer Placeholder 2"/>
          <p:cNvSpPr>
            <a:spLocks noGrp="1"/>
          </p:cNvSpPr>
          <p:nvPr>
            <p:ph type="ftr" sz="quarter" idx="14"/>
          </p:nvPr>
        </p:nvSpPr>
        <p:spPr/>
        <p:txBody>
          <a:bodyPr/>
          <a:lstStyle/>
          <a:p>
            <a:pPr defTabSz="1087779"/>
            <a:endParaRPr lang="en-US">
              <a:solidFill>
                <a:srgbClr val="505050"/>
              </a:solidFill>
            </a:endParaRPr>
          </a:p>
        </p:txBody>
      </p:sp>
      <p:sp>
        <p:nvSpPr>
          <p:cNvPr id="7" name="Slide Number Placeholder 6"/>
          <p:cNvSpPr>
            <a:spLocks noGrp="1"/>
          </p:cNvSpPr>
          <p:nvPr>
            <p:ph type="sldNum" sz="quarter" idx="15"/>
          </p:nvPr>
        </p:nvSpPr>
        <p:spPr/>
        <p:txBody>
          <a:bodyPr/>
          <a:lstStyle/>
          <a:p>
            <a:pPr defTabSz="1087779"/>
            <a:fld id="{FAADACFB-7C71-4E89-89D2-7BBA40B7BFA9}" type="slidenum">
              <a:rPr lang="en-US" smtClean="0">
                <a:solidFill>
                  <a:srgbClr val="505050"/>
                </a:solidFill>
              </a:rPr>
              <a:pPr defTabSz="1087779"/>
              <a:t>‹#›</a:t>
            </a:fld>
            <a:endParaRPr lang="en-US">
              <a:solidFill>
                <a:srgbClr val="505050"/>
              </a:solidFill>
            </a:endParaRPr>
          </a:p>
        </p:txBody>
      </p:sp>
    </p:spTree>
    <p:extLst>
      <p:ext uri="{BB962C8B-B14F-4D97-AF65-F5344CB8AC3E}">
        <p14:creationId xmlns:p14="http://schemas.microsoft.com/office/powerpoint/2010/main" val="1679249353"/>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150813" y="1600200"/>
            <a:ext cx="11887200" cy="4495800"/>
          </a:xfrm>
          <a:prstGeom prst="rect">
            <a:avLst/>
          </a:prstGeom>
        </p:spPr>
        <p:txBody>
          <a:bodyPr/>
          <a:lstStyle>
            <a:lvl1pPr marL="0" indent="0">
              <a:buNone/>
              <a:defRPr>
                <a:solidFill>
                  <a:schemeClr val="tx1"/>
                </a:solidFill>
                <a:latin typeface="Segoe UI" panose="020B0502040204020203" pitchFamily="34" charset="0"/>
                <a:cs typeface="Segoe UI" panose="020B0502040204020203" pitchFamily="34" charset="0"/>
              </a:defRPr>
            </a:lvl1pPr>
            <a:lvl2pPr marL="281589" indent="0">
              <a:buNone/>
              <a:defRPr>
                <a:solidFill>
                  <a:schemeClr val="tx1"/>
                </a:solidFill>
                <a:latin typeface="Segoe UI" panose="020B0502040204020203" pitchFamily="34" charset="0"/>
                <a:cs typeface="Segoe UI" panose="020B0502040204020203" pitchFamily="34" charset="0"/>
              </a:defRPr>
            </a:lvl2pPr>
            <a:lvl3pPr marL="588299" indent="0">
              <a:buNone/>
              <a:defRPr>
                <a:solidFill>
                  <a:schemeClr val="tx1"/>
                </a:solidFill>
                <a:latin typeface="Segoe UI" panose="020B0502040204020203" pitchFamily="34" charset="0"/>
                <a:cs typeface="Segoe UI" panose="020B0502040204020203" pitchFamily="34" charset="0"/>
              </a:defRPr>
            </a:lvl3pPr>
            <a:lvl4pPr marL="869889" indent="0">
              <a:buNone/>
              <a:defRPr>
                <a:solidFill>
                  <a:schemeClr val="tx1"/>
                </a:solidFill>
                <a:latin typeface="Segoe UI" panose="020B0502040204020203" pitchFamily="34" charset="0"/>
                <a:cs typeface="Segoe UI" panose="020B0502040204020203" pitchFamily="34" charset="0"/>
              </a:defRPr>
            </a:lvl4pPr>
            <a:lvl5pPr marL="1105208" indent="0">
              <a:buNone/>
              <a:defRPr>
                <a:solidFill>
                  <a:schemeClr val="tx1"/>
                </a:solidFill>
                <a:latin typeface="Segoe UI" panose="020B0502040204020203" pitchFamily="34" charset="0"/>
                <a:cs typeface="Segoe UI" panose="020B0502040204020203" pitchFamily="34"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nvPr>
        </p:nvSpPr>
        <p:spPr>
          <a:xfrm>
            <a:off x="1" y="573606"/>
            <a:ext cx="12188825"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a:t>Click to add subtitle</a:t>
            </a:r>
          </a:p>
        </p:txBody>
      </p:sp>
      <p:sp>
        <p:nvSpPr>
          <p:cNvPr id="6" name="Footer Placeholder 5"/>
          <p:cNvSpPr>
            <a:spLocks noGrp="1"/>
          </p:cNvSpPr>
          <p:nvPr>
            <p:ph type="ftr" sz="quarter" idx="16"/>
          </p:nvPr>
        </p:nvSpPr>
        <p:spPr/>
        <p:txBody>
          <a:bodyPr/>
          <a:lstStyle/>
          <a:p>
            <a:endParaRPr lang="en-US">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525584746"/>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212719628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14" y="1143002"/>
            <a:ext cx="1005839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50812" y="3877278"/>
            <a:ext cx="10058401" cy="1837723"/>
          </a:xfrm>
          <a:noFill/>
        </p:spPr>
        <p:txBody>
          <a:bodyPr lIns="137160" tIns="137160" rIns="137160" bIns="137160">
            <a:noAutofit/>
          </a:bodyPr>
          <a:lstStyle>
            <a:lvl1pPr marL="0" indent="0">
              <a:spcBef>
                <a:spcPts val="0"/>
              </a:spcBef>
              <a:buNone/>
              <a:defRPr sz="2799"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1593797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14"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14"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14" y="1143001"/>
            <a:ext cx="1005839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a:t>Video title</a:t>
            </a:r>
          </a:p>
        </p:txBody>
      </p:sp>
      <p:sp>
        <p:nvSpPr>
          <p:cNvPr id="5" name="Text Placeholder 4"/>
          <p:cNvSpPr>
            <a:spLocks noGrp="1"/>
          </p:cNvSpPr>
          <p:nvPr>
            <p:ph type="body" sz="quarter" idx="12" hasCustomPrompt="1"/>
          </p:nvPr>
        </p:nvSpPr>
        <p:spPr>
          <a:xfrm>
            <a:off x="150813" y="3886200"/>
            <a:ext cx="10058400" cy="1828800"/>
          </a:xfrm>
          <a:noFill/>
        </p:spPr>
        <p:txBody>
          <a:bodyPr lIns="137160" tIns="137160" rIns="137160" bIns="137160">
            <a:noAutofit/>
          </a:bodyPr>
          <a:lstStyle>
            <a:lvl1pPr marL="0" indent="0">
              <a:spcBef>
                <a:spcPts val="0"/>
              </a:spcBef>
              <a:buNone/>
              <a:defRPr sz="2799"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14"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35495989"/>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FFFFFF"/>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897913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chemeClr val="tx1"/>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0830757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7925406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078873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41476754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3348761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chemeClr val="tx1"/>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543245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27012" y="1600200"/>
            <a:ext cx="11353800"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1" y="6238878"/>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99"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3721475314"/>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a:solidFill>
                <a:prstClr val="white"/>
              </a:solidFill>
            </a:endParaRPr>
          </a:p>
        </p:txBody>
      </p:sp>
      <p:sp>
        <p:nvSpPr>
          <p:cNvPr id="4" name="Rectangle 3"/>
          <p:cNvSpPr/>
          <p:nvPr/>
        </p:nvSpPr>
        <p:spPr>
          <a:xfrm>
            <a:off x="1"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a:solidFill>
                <a:prstClr val="white"/>
              </a:solidFill>
            </a:endParaRPr>
          </a:p>
        </p:txBody>
      </p:sp>
      <p:sp>
        <p:nvSpPr>
          <p:cNvPr id="8" name="Rectangle 7"/>
          <p:cNvSpPr/>
          <p:nvPr/>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117" y="2899240"/>
            <a:ext cx="2880367" cy="1059525"/>
          </a:xfrm>
          <a:prstGeom prst="rect">
            <a:avLst/>
          </a:prstGeom>
        </p:spPr>
      </p:pic>
      <p:sp>
        <p:nvSpPr>
          <p:cNvPr id="6" name="Rectangle 5"/>
          <p:cNvSpPr/>
          <p:nvPr/>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117" y="2899240"/>
            <a:ext cx="2880367" cy="1059525"/>
          </a:xfrm>
          <a:prstGeom prst="rect">
            <a:avLst/>
          </a:prstGeom>
        </p:spPr>
      </p:pic>
      <p:sp>
        <p:nvSpPr>
          <p:cNvPr id="9" name="Rectangle 8"/>
          <p:cNvSpPr/>
          <p:nvPr userDrawn="1"/>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8759" y="2901952"/>
            <a:ext cx="2844267" cy="1046245"/>
          </a:xfrm>
          <a:prstGeom prst="rect">
            <a:avLst/>
          </a:prstGeom>
        </p:spPr>
      </p:pic>
    </p:spTree>
    <p:extLst>
      <p:ext uri="{BB962C8B-B14F-4D97-AF65-F5344CB8AC3E}">
        <p14:creationId xmlns:p14="http://schemas.microsoft.com/office/powerpoint/2010/main" val="842709998"/>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057400"/>
            <a:ext cx="5486400" cy="2743426"/>
          </a:xfrm>
          <a:noFill/>
        </p:spPr>
        <p:txBody>
          <a:bodyPr vert="horz" lIns="137160" tIns="137160" rIns="137160" bIns="137160" rtlCol="0" anchor="t" anchorCtr="0">
            <a:normAutofit/>
          </a:bodyPr>
          <a:lstStyle>
            <a:lvl1pPr>
              <a:defRPr lang="en-US" sz="4399"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13" y="4800600"/>
            <a:ext cx="5486400" cy="914400"/>
          </a:xfrm>
        </p:spPr>
        <p:txBody>
          <a:bodyPr lIns="137160" tIns="137160" rIns="137160" bIns="137160">
            <a:noAutofit/>
          </a:bodyPr>
          <a:lstStyle>
            <a:lvl1pPr marL="0" indent="0">
              <a:spcBef>
                <a:spcPts val="0"/>
              </a:spcBef>
              <a:buNone/>
              <a:defRPr sz="1999">
                <a:solidFill>
                  <a:schemeClr val="bg1"/>
                </a:solidFill>
              </a:defRPr>
            </a:lvl1pPr>
            <a:lvl2pPr marL="281589" indent="0">
              <a:buNone/>
              <a:defRPr sz="1999">
                <a:solidFill>
                  <a:schemeClr val="bg1"/>
                </a:solidFill>
              </a:defRPr>
            </a:lvl2pPr>
            <a:lvl3pPr marL="588299" indent="0">
              <a:buNone/>
              <a:defRPr sz="1999">
                <a:solidFill>
                  <a:schemeClr val="bg1"/>
                </a:solidFill>
              </a:defRPr>
            </a:lvl3pPr>
            <a:lvl4pPr marL="869889" indent="0">
              <a:buNone/>
              <a:defRPr sz="1999">
                <a:solidFill>
                  <a:schemeClr val="bg1"/>
                </a:solidFill>
              </a:defRPr>
            </a:lvl4pPr>
            <a:lvl5pPr marL="1105208" indent="0">
              <a:buNone/>
              <a:defRPr sz="1999">
                <a:solidFill>
                  <a:schemeClr val="bg1"/>
                </a:solidFill>
              </a:defRPr>
            </a:lvl5pPr>
          </a:lstStyle>
          <a:p>
            <a:pPr lvl="0"/>
            <a:r>
              <a:rPr lang="en-US"/>
              <a:t>Speaker Name</a:t>
            </a:r>
          </a:p>
        </p:txBody>
      </p:sp>
      <p:sp>
        <p:nvSpPr>
          <p:cNvPr id="10" name="TextBox 9"/>
          <p:cNvSpPr txBox="1"/>
          <p:nvPr/>
        </p:nvSpPr>
        <p:spPr>
          <a:xfrm>
            <a:off x="7618016" y="381000"/>
            <a:ext cx="3809008" cy="1905000"/>
          </a:xfrm>
          <a:prstGeom prst="rect">
            <a:avLst/>
          </a:prstGeom>
        </p:spPr>
        <p:txBody>
          <a:bodyPr vert="horz" wrap="square" lIns="108793" tIns="54397" rIns="108793" bIns="54397" rtlCol="0" anchor="ctr">
            <a:normAutofit/>
          </a:bodyPr>
          <a:lstStyle/>
          <a:p>
            <a:r>
              <a:rPr lang="en-US" sz="1999">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2940" y="228600"/>
            <a:ext cx="1946596" cy="716042"/>
          </a:xfrm>
          <a:prstGeom prst="rect">
            <a:avLst/>
          </a:prstGeom>
        </p:spPr>
      </p:pic>
      <p:sp>
        <p:nvSpPr>
          <p:cNvPr id="15" name="TextBox 14"/>
          <p:cNvSpPr txBox="1"/>
          <p:nvPr/>
        </p:nvSpPr>
        <p:spPr>
          <a:xfrm>
            <a:off x="7618016" y="381000"/>
            <a:ext cx="3809008" cy="1905000"/>
          </a:xfrm>
          <a:prstGeom prst="rect">
            <a:avLst/>
          </a:prstGeom>
        </p:spPr>
        <p:txBody>
          <a:bodyPr vert="horz" wrap="square" lIns="108793" tIns="54397" rIns="108793" bIns="54397" rtlCol="0" anchor="ctr">
            <a:normAutofit/>
          </a:bodyPr>
          <a:lstStyle/>
          <a:p>
            <a:r>
              <a:rPr lang="en-US" sz="1999">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16" y="198357"/>
            <a:ext cx="1946596" cy="716042"/>
          </a:xfrm>
          <a:prstGeom prst="rect">
            <a:avLst/>
          </a:prstGeom>
        </p:spPr>
      </p:pic>
      <p:sp>
        <p:nvSpPr>
          <p:cNvPr id="14" name="TextBox 13"/>
          <p:cNvSpPr txBox="1"/>
          <p:nvPr userDrawn="1"/>
        </p:nvSpPr>
        <p:spPr>
          <a:xfrm>
            <a:off x="7618016" y="381000"/>
            <a:ext cx="3809008" cy="1905000"/>
          </a:xfrm>
          <a:prstGeom prst="rect">
            <a:avLst/>
          </a:prstGeom>
        </p:spPr>
        <p:txBody>
          <a:bodyPr vert="horz" wrap="square" lIns="108793" tIns="54397" rIns="108793" bIns="54397" rtlCol="0" anchor="ctr">
            <a:normAutofit/>
          </a:bodyPr>
          <a:lstStyle/>
          <a:p>
            <a:r>
              <a:rPr lang="en-US" sz="1999">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16" y="198357"/>
            <a:ext cx="1946596" cy="716042"/>
          </a:xfrm>
          <a:prstGeom prst="rect">
            <a:avLst/>
          </a:prstGeom>
        </p:spPr>
      </p:pic>
    </p:spTree>
    <p:extLst>
      <p:ext uri="{BB962C8B-B14F-4D97-AF65-F5344CB8AC3E}">
        <p14:creationId xmlns:p14="http://schemas.microsoft.com/office/powerpoint/2010/main" val="3487238419"/>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420401" y="274207"/>
            <a:ext cx="1946596" cy="716043"/>
          </a:xfrm>
          <a:prstGeom prst="rect">
            <a:avLst/>
          </a:prstGeom>
        </p:spPr>
      </p:pic>
      <p:sp>
        <p:nvSpPr>
          <p:cNvPr id="13" name="Rectangle 12"/>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057400"/>
            <a:ext cx="5486400" cy="2743426"/>
          </a:xfrm>
          <a:noFill/>
        </p:spPr>
        <p:txBody>
          <a:bodyPr vert="horz" lIns="137160" tIns="137160" rIns="137160" bIns="137160" rtlCol="0" anchor="t" anchorCtr="0">
            <a:normAutofit/>
          </a:bodyPr>
          <a:lstStyle>
            <a:lvl1pPr>
              <a:defRPr lang="en-US" sz="4399"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13" y="4800600"/>
            <a:ext cx="5486400" cy="914400"/>
          </a:xfrm>
        </p:spPr>
        <p:txBody>
          <a:bodyPr lIns="137160" tIns="137160" rIns="137160" bIns="137160">
            <a:noAutofit/>
          </a:bodyPr>
          <a:lstStyle>
            <a:lvl1pPr marL="0" indent="0">
              <a:spcBef>
                <a:spcPts val="0"/>
              </a:spcBef>
              <a:buNone/>
              <a:defRPr sz="1999">
                <a:solidFill>
                  <a:schemeClr val="bg1"/>
                </a:solidFill>
              </a:defRPr>
            </a:lvl1pPr>
            <a:lvl2pPr marL="281589" indent="0">
              <a:buNone/>
              <a:defRPr sz="1999">
                <a:solidFill>
                  <a:schemeClr val="bg1"/>
                </a:solidFill>
              </a:defRPr>
            </a:lvl2pPr>
            <a:lvl3pPr marL="588299" indent="0">
              <a:buNone/>
              <a:defRPr sz="1999">
                <a:solidFill>
                  <a:schemeClr val="bg1"/>
                </a:solidFill>
              </a:defRPr>
            </a:lvl3pPr>
            <a:lvl4pPr marL="869889" indent="0">
              <a:buNone/>
              <a:defRPr sz="1999">
                <a:solidFill>
                  <a:schemeClr val="bg1"/>
                </a:solidFill>
              </a:defRPr>
            </a:lvl4pPr>
            <a:lvl5pPr marL="1105208" indent="0">
              <a:buNone/>
              <a:defRPr sz="1999">
                <a:solidFill>
                  <a:schemeClr val="bg1"/>
                </a:solidFill>
              </a:defRPr>
            </a:lvl5pPr>
          </a:lstStyle>
          <a:p>
            <a:pPr lvl="0"/>
            <a:r>
              <a:rPr lang="en-US"/>
              <a:t>Speaker Name</a:t>
            </a:r>
          </a:p>
        </p:txBody>
      </p:sp>
      <p:pic>
        <p:nvPicPr>
          <p:cNvPr id="14" name="Picture 1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1916" y="200779"/>
            <a:ext cx="1946593" cy="716042"/>
          </a:xfrm>
          <a:prstGeom prst="rect">
            <a:avLst/>
          </a:prstGeom>
        </p:spPr>
      </p:pic>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420401" y="274207"/>
            <a:ext cx="1946596" cy="716043"/>
          </a:xfrm>
          <a:prstGeom prst="rect">
            <a:avLst/>
          </a:prstGeom>
        </p:spPr>
      </p:pic>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1916" y="200779"/>
            <a:ext cx="1946593" cy="716042"/>
          </a:xfrm>
          <a:prstGeom prst="rect">
            <a:avLst/>
          </a:prstGeom>
        </p:spPr>
      </p:pic>
    </p:spTree>
    <p:extLst>
      <p:ext uri="{BB962C8B-B14F-4D97-AF65-F5344CB8AC3E}">
        <p14:creationId xmlns:p14="http://schemas.microsoft.com/office/powerpoint/2010/main" val="34037173"/>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6"/>
            <a:ext cx="12188825"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a:t>Click to add subtitle</a:t>
            </a:r>
          </a:p>
        </p:txBody>
      </p:sp>
      <p:sp>
        <p:nvSpPr>
          <p:cNvPr id="16" name="Text Placeholder 15"/>
          <p:cNvSpPr>
            <a:spLocks noGrp="1"/>
          </p:cNvSpPr>
          <p:nvPr>
            <p:ph type="body" sz="quarter" idx="14"/>
          </p:nvPr>
        </p:nvSpPr>
        <p:spPr>
          <a:xfrm>
            <a:off x="150813" y="1600200"/>
            <a:ext cx="11887200"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
        <p:nvSpPr>
          <p:cNvPr id="20" name="Footer Placeholder 19"/>
          <p:cNvSpPr>
            <a:spLocks noGrp="1"/>
          </p:cNvSpPr>
          <p:nvPr>
            <p:ph type="ftr" sz="quarter" idx="16"/>
          </p:nvPr>
        </p:nvSpPr>
        <p:spPr/>
        <p:txBody>
          <a:bodyPr/>
          <a:lstStyle/>
          <a:p>
            <a:endParaRPr lang="en-US">
              <a:solidFill>
                <a:srgbClr val="505050"/>
              </a:solidFill>
            </a:endParaRPr>
          </a:p>
        </p:txBody>
      </p:sp>
    </p:spTree>
    <p:extLst>
      <p:ext uri="{BB962C8B-B14F-4D97-AF65-F5344CB8AC3E}">
        <p14:creationId xmlns:p14="http://schemas.microsoft.com/office/powerpoint/2010/main" val="1863088091"/>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p:txBody>
          <a:bodyPr/>
          <a:lstStyle/>
          <a:p>
            <a:endParaRPr lang="en-US">
              <a:solidFill>
                <a:srgbClr val="505050"/>
              </a:solidFill>
            </a:endParaRPr>
          </a:p>
        </p:txBody>
      </p:sp>
      <p:sp>
        <p:nvSpPr>
          <p:cNvPr id="5" name="Slide Number Placeholder 4"/>
          <p:cNvSpPr>
            <a:spLocks noGrp="1"/>
          </p:cNvSpPr>
          <p:nvPr>
            <p:ph type="sldNum" sz="quarter" idx="12"/>
          </p:nvPr>
        </p:nvSpPr>
        <p:spPr>
          <a:xfrm>
            <a:off x="11427024" y="6478589"/>
            <a:ext cx="761800" cy="379413"/>
          </a:xfrm>
          <a:prstGeom prst="rect">
            <a:avLst/>
          </a:prstGeom>
        </p:spPr>
        <p:txBody>
          <a:bodyPr/>
          <a:lstStyle/>
          <a:p>
            <a:fld id="{6A4C1A4A-E5E6-4CC1-B72C-A20A4EB3E2D2}" type="slidenum">
              <a:rPr lang="en-US" smtClean="0">
                <a:solidFill>
                  <a:srgbClr val="505050"/>
                </a:solidFill>
              </a:rPr>
              <a:pPr/>
              <a:t>‹#›</a:t>
            </a:fld>
            <a:endParaRPr lang="en-US">
              <a:solidFill>
                <a:srgbClr val="505050"/>
              </a:solidFill>
            </a:endParaRPr>
          </a:p>
        </p:txBody>
      </p:sp>
      <p:sp>
        <p:nvSpPr>
          <p:cNvPr id="6" name="Text Placeholder 5"/>
          <p:cNvSpPr>
            <a:spLocks noGrp="1"/>
          </p:cNvSpPr>
          <p:nvPr>
            <p:ph type="body" sz="quarter" idx="13" hasCustomPrompt="1"/>
          </p:nvPr>
        </p:nvSpPr>
        <p:spPr>
          <a:xfrm>
            <a:off x="1" y="573606"/>
            <a:ext cx="12188825"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a:t>Click to add subtitle</a:t>
            </a:r>
          </a:p>
        </p:txBody>
      </p:sp>
    </p:spTree>
    <p:extLst>
      <p:ext uri="{BB962C8B-B14F-4D97-AF65-F5344CB8AC3E}">
        <p14:creationId xmlns:p14="http://schemas.microsoft.com/office/powerpoint/2010/main" val="1709790720"/>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150813" y="1600200"/>
            <a:ext cx="11887200"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589" indent="0">
              <a:buNone/>
              <a:defRPr>
                <a:solidFill>
                  <a:schemeClr val="tx1"/>
                </a:solidFill>
                <a:latin typeface="Courier New" pitchFamily="49" charset="0"/>
                <a:cs typeface="Courier New" pitchFamily="49" charset="0"/>
              </a:defRPr>
            </a:lvl2pPr>
            <a:lvl3pPr marL="588299" indent="0">
              <a:buNone/>
              <a:defRPr>
                <a:solidFill>
                  <a:schemeClr val="tx1"/>
                </a:solidFill>
                <a:latin typeface="Courier New" pitchFamily="49" charset="0"/>
                <a:cs typeface="Courier New" pitchFamily="49" charset="0"/>
              </a:defRPr>
            </a:lvl3pPr>
            <a:lvl4pPr marL="869889" indent="0">
              <a:buNone/>
              <a:defRPr>
                <a:solidFill>
                  <a:schemeClr val="tx1"/>
                </a:solidFill>
                <a:latin typeface="Courier New" pitchFamily="49" charset="0"/>
                <a:cs typeface="Courier New" pitchFamily="49" charset="0"/>
              </a:defRPr>
            </a:lvl4pPr>
            <a:lvl5pPr marL="1105208" indent="0">
              <a:buNone/>
              <a:defRPr>
                <a:solidFill>
                  <a:schemeClr val="tx1"/>
                </a:solidFill>
                <a:latin typeface="Courier New" pitchFamily="49" charset="0"/>
                <a:cs typeface="Courier New" pitchFamily="49"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nvPr>
        </p:nvSpPr>
        <p:spPr>
          <a:xfrm>
            <a:off x="1" y="573606"/>
            <a:ext cx="12188825"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a:t>Click to add subtitle</a:t>
            </a:r>
          </a:p>
        </p:txBody>
      </p:sp>
      <p:sp>
        <p:nvSpPr>
          <p:cNvPr id="6" name="Footer Placeholder 5"/>
          <p:cNvSpPr>
            <a:spLocks noGrp="1"/>
          </p:cNvSpPr>
          <p:nvPr>
            <p:ph type="ftr" sz="quarter" idx="16"/>
          </p:nvPr>
        </p:nvSpPr>
        <p:spPr/>
        <p:txBody>
          <a:bodyPr/>
          <a:lstStyle/>
          <a:p>
            <a:endParaRPr lang="en-US">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2784866623"/>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325974032"/>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14" y="1143002"/>
            <a:ext cx="1005839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50812" y="3877278"/>
            <a:ext cx="10058401" cy="1837723"/>
          </a:xfrm>
          <a:noFill/>
        </p:spPr>
        <p:txBody>
          <a:bodyPr lIns="137160" tIns="137160" rIns="137160" bIns="137160">
            <a:noAutofit/>
          </a:bodyPr>
          <a:lstStyle>
            <a:lvl1pPr marL="0" indent="0">
              <a:spcBef>
                <a:spcPts val="0"/>
              </a:spcBef>
              <a:buNone/>
              <a:defRPr sz="2799"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7273685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5067791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14"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14"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14" y="1143001"/>
            <a:ext cx="1005839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a:t>Video title</a:t>
            </a:r>
          </a:p>
        </p:txBody>
      </p:sp>
      <p:sp>
        <p:nvSpPr>
          <p:cNvPr id="5" name="Text Placeholder 4"/>
          <p:cNvSpPr>
            <a:spLocks noGrp="1"/>
          </p:cNvSpPr>
          <p:nvPr>
            <p:ph type="body" sz="quarter" idx="12" hasCustomPrompt="1"/>
          </p:nvPr>
        </p:nvSpPr>
        <p:spPr>
          <a:xfrm>
            <a:off x="150813" y="3886200"/>
            <a:ext cx="10058400" cy="1828800"/>
          </a:xfrm>
          <a:noFill/>
        </p:spPr>
        <p:txBody>
          <a:bodyPr lIns="137160" tIns="137160" rIns="137160" bIns="137160">
            <a:noAutofit/>
          </a:bodyPr>
          <a:lstStyle>
            <a:lvl1pPr marL="0" indent="0">
              <a:spcBef>
                <a:spcPts val="0"/>
              </a:spcBef>
              <a:buNone/>
              <a:defRPr sz="2799"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14"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60346858"/>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FFFFFF"/>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4692505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a:solidFill>
                <a:prstClr val="white"/>
              </a:solidFill>
            </a:endParaRPr>
          </a:p>
        </p:txBody>
      </p:sp>
      <p:sp>
        <p:nvSpPr>
          <p:cNvPr id="4" name="Rectangle 3"/>
          <p:cNvSpPr/>
          <p:nvPr/>
        </p:nvSpPr>
        <p:spPr>
          <a:xfrm>
            <a:off x="1"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a:solidFill>
                <a:prstClr val="white"/>
              </a:solidFill>
            </a:endParaRPr>
          </a:p>
        </p:txBody>
      </p:sp>
      <p:sp>
        <p:nvSpPr>
          <p:cNvPr id="8" name="Rectangle 7"/>
          <p:cNvSpPr/>
          <p:nvPr/>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117" y="2899240"/>
            <a:ext cx="2880367" cy="1059525"/>
          </a:xfrm>
          <a:prstGeom prst="rect">
            <a:avLst/>
          </a:prstGeom>
        </p:spPr>
      </p:pic>
      <p:sp>
        <p:nvSpPr>
          <p:cNvPr id="6" name="Rectangle 5"/>
          <p:cNvSpPr/>
          <p:nvPr/>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117" y="2899240"/>
            <a:ext cx="2880367" cy="1059525"/>
          </a:xfrm>
          <a:prstGeom prst="rect">
            <a:avLst/>
          </a:prstGeom>
        </p:spPr>
      </p:pic>
      <p:sp>
        <p:nvSpPr>
          <p:cNvPr id="9" name="Rectangle 8"/>
          <p:cNvSpPr/>
          <p:nvPr userDrawn="1"/>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8759" y="2901952"/>
            <a:ext cx="2844267" cy="1046245"/>
          </a:xfrm>
          <a:prstGeom prst="rect">
            <a:avLst/>
          </a:prstGeom>
        </p:spPr>
      </p:pic>
    </p:spTree>
    <p:extLst>
      <p:ext uri="{BB962C8B-B14F-4D97-AF65-F5344CB8AC3E}">
        <p14:creationId xmlns:p14="http://schemas.microsoft.com/office/powerpoint/2010/main" val="2056145400"/>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Title only (alterna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1"/>
          <a:ext cx="1587" cy="1587"/>
        </p:xfrm>
        <a:graphic>
          <a:graphicData uri="http://schemas.openxmlformats.org/presentationml/2006/ole">
            <mc:AlternateContent xmlns:mc="http://schemas.openxmlformats.org/markup-compatibility/2006">
              <mc:Choice xmlns:v="urn:schemas-microsoft-com:vml" Requires="v">
                <p:oleObj spid="_x0000_s22532" name="think-cell Slide" r:id="rId11" imgW="270" imgH="270" progId="TCLayout.ActiveDocument.1">
                  <p:embed/>
                </p:oleObj>
              </mc:Choice>
              <mc:Fallback>
                <p:oleObj name="think-cell Slide" r:id="rId11" imgW="270" imgH="270" progId="TCLayout.ActiveDocument.1">
                  <p:embed/>
                  <p:pic>
                    <p:nvPicPr>
                      <p:cNvPr id="3" name="Object 2" hidden="1"/>
                      <p:cNvPicPr/>
                      <p:nvPr/>
                    </p:nvPicPr>
                    <p:blipFill>
                      <a:blip r:embed="rId12"/>
                      <a:stretch>
                        <a:fillRect/>
                      </a:stretch>
                    </p:blipFill>
                    <p:spPr>
                      <a:xfrm>
                        <a:off x="1589" y="1591"/>
                        <a:ext cx="1587" cy="1587"/>
                      </a:xfrm>
                      <a:prstGeom prst="rect">
                        <a:avLst/>
                      </a:prstGeom>
                    </p:spPr>
                  </p:pic>
                </p:oleObj>
              </mc:Fallback>
            </mc:AlternateContent>
          </a:graphicData>
        </a:graphic>
      </p:graphicFrame>
      <p:sp>
        <p:nvSpPr>
          <p:cNvPr id="12" name="Rectangle 11"/>
          <p:cNvSpPr/>
          <p:nvPr userDrawn="1">
            <p:custDataLst>
              <p:tags r:id="rId3"/>
            </p:custDataLst>
          </p:nvPr>
        </p:nvSpPr>
        <p:spPr>
          <a:xfrm>
            <a:off x="7" y="6478602"/>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30" tIns="38065" rIns="76130" bIns="38065" rtlCol="0" anchor="ctr"/>
          <a:lstStyle/>
          <a:p>
            <a:pPr algn="ctr" defTabSz="1087332"/>
            <a:endParaRPr lang="en-US" sz="2198">
              <a:solidFill>
                <a:prstClr val="white"/>
              </a:solidFill>
            </a:endParaRPr>
          </a:p>
        </p:txBody>
      </p:sp>
      <p:sp>
        <p:nvSpPr>
          <p:cNvPr id="2" name="Title 1"/>
          <p:cNvSpPr>
            <a:spLocks noGrp="1"/>
          </p:cNvSpPr>
          <p:nvPr>
            <p:ph type="title"/>
            <p:custDataLst>
              <p:tags r:id="rId4"/>
            </p:custDataLst>
          </p:nvPr>
        </p:nvSpPr>
        <p:spPr>
          <a:xfrm>
            <a:off x="761806" y="2"/>
            <a:ext cx="11427023" cy="646042"/>
          </a:xfrm>
        </p:spPr>
        <p:txBody>
          <a:bodyPr>
            <a:noAutofit/>
          </a:bodyPr>
          <a:lstStyle>
            <a:lvl1pPr marL="225357" indent="0">
              <a:defRPr sz="4399"/>
            </a:lvl1pPr>
          </a:lstStyle>
          <a:p>
            <a:endParaRPr lang="en-US"/>
          </a:p>
        </p:txBody>
      </p:sp>
      <p:sp>
        <p:nvSpPr>
          <p:cNvPr id="6" name="Text Placeholder 5"/>
          <p:cNvSpPr>
            <a:spLocks noGrp="1"/>
          </p:cNvSpPr>
          <p:nvPr>
            <p:ph type="body" sz="quarter" idx="12" hasCustomPrompt="1"/>
            <p:custDataLst>
              <p:tags r:id="rId5"/>
            </p:custDataLst>
          </p:nvPr>
        </p:nvSpPr>
        <p:spPr>
          <a:xfrm>
            <a:off x="761806" y="573619"/>
            <a:ext cx="11427023" cy="373063"/>
          </a:xfrm>
          <a:prstGeom prst="rect">
            <a:avLst/>
          </a:prstGeom>
        </p:spPr>
        <p:txBody>
          <a:bodyPr lIns="380851" tIns="53319" rIns="53319" bIns="53319">
            <a:noAutofit/>
          </a:bodyPr>
          <a:lstStyle>
            <a:lvl1pPr marL="0" indent="0">
              <a:buNone/>
              <a:defRPr sz="2798">
                <a:latin typeface="Segoe UI Light" pitchFamily="34" charset="0"/>
              </a:defRPr>
            </a:lvl1pPr>
            <a:lvl2pPr marL="281475" indent="0">
              <a:buNone/>
              <a:defRPr/>
            </a:lvl2pPr>
            <a:lvl3pPr marL="588058" indent="0">
              <a:buNone/>
              <a:defRPr/>
            </a:lvl3pPr>
            <a:lvl4pPr marL="869531" indent="0">
              <a:buNone/>
              <a:defRPr/>
            </a:lvl4pPr>
            <a:lvl5pPr marL="1104753" indent="0">
              <a:buNone/>
              <a:defRPr/>
            </a:lvl5pPr>
          </a:lstStyle>
          <a:p>
            <a:pPr lvl="0"/>
            <a:r>
              <a:rPr lang="en-US"/>
              <a:t>Click to add subtitle</a:t>
            </a:r>
          </a:p>
        </p:txBody>
      </p:sp>
      <p:sp>
        <p:nvSpPr>
          <p:cNvPr id="9" name="Rectangle 8"/>
          <p:cNvSpPr/>
          <p:nvPr userDrawn="1">
            <p:custDataLst>
              <p:tags r:id="rId6"/>
            </p:custDataLst>
          </p:nvPr>
        </p:nvSpPr>
        <p:spPr>
          <a:xfrm>
            <a:off x="1" y="1"/>
            <a:ext cx="761802" cy="68564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23" tIns="38062" rIns="76123" bIns="38062" rtlCol="0" anchor="ctr">
            <a:noAutofit/>
          </a:bodyPr>
          <a:lstStyle/>
          <a:p>
            <a:pPr algn="ctr" defTabSz="1087332"/>
            <a:endParaRPr lang="en-US" sz="2198">
              <a:solidFill>
                <a:prstClr val="white"/>
              </a:solidFill>
            </a:endParaRPr>
          </a:p>
        </p:txBody>
      </p:sp>
      <p:sp>
        <p:nvSpPr>
          <p:cNvPr id="15" name="Slide Number Placeholder 4"/>
          <p:cNvSpPr>
            <a:spLocks noGrp="1"/>
          </p:cNvSpPr>
          <p:nvPr>
            <p:ph type="sldNum" sz="quarter" idx="16"/>
            <p:custDataLst>
              <p:tags r:id="rId7"/>
            </p:custDataLst>
          </p:nvPr>
        </p:nvSpPr>
        <p:spPr>
          <a:xfrm>
            <a:off x="11427032" y="6478602"/>
            <a:ext cx="761801" cy="379413"/>
          </a:xfrm>
          <a:prstGeom prst="rect">
            <a:avLst/>
          </a:prstGeom>
        </p:spPr>
        <p:txBody>
          <a:bodyPr/>
          <a:lstStyle/>
          <a:p>
            <a:pPr defTabSz="913973"/>
            <a:fld id="{6A4C1A4A-E5E6-4CC1-B72C-A20A4EB3E2D2}" type="slidenum">
              <a:rPr lang="en-US" sz="1899" smtClean="0">
                <a:solidFill>
                  <a:srgbClr val="505050"/>
                </a:solidFill>
              </a:rPr>
              <a:pPr defTabSz="913973"/>
              <a:t>‹#›</a:t>
            </a:fld>
            <a:endParaRPr lang="en-US" sz="1899">
              <a:solidFill>
                <a:srgbClr val="505050"/>
              </a:solidFill>
            </a:endParaRPr>
          </a:p>
        </p:txBody>
      </p:sp>
      <p:sp>
        <p:nvSpPr>
          <p:cNvPr id="10" name="Footer Placeholder 3"/>
          <p:cNvSpPr>
            <a:spLocks noGrp="1"/>
          </p:cNvSpPr>
          <p:nvPr>
            <p:ph type="ftr" sz="quarter" idx="11"/>
            <p:custDataLst>
              <p:tags r:id="rId8"/>
            </p:custDataLst>
          </p:nvPr>
        </p:nvSpPr>
        <p:spPr>
          <a:xfrm>
            <a:off x="3047206" y="6477888"/>
            <a:ext cx="8379817" cy="380127"/>
          </a:xfrm>
          <a:prstGeom prst="rect">
            <a:avLst/>
          </a:prstGeom>
        </p:spPr>
        <p:txBody>
          <a:bodyPr/>
          <a:lstStyle/>
          <a:p>
            <a:pPr defTabSz="913973"/>
            <a:endParaRPr lang="en-US" sz="1899">
              <a:solidFill>
                <a:srgbClr val="505050"/>
              </a:solidFill>
            </a:endParaRPr>
          </a:p>
        </p:txBody>
      </p:sp>
      <p:sp>
        <p:nvSpPr>
          <p:cNvPr id="11" name="Footer Placeholder 2"/>
          <p:cNvSpPr txBox="1">
            <a:spLocks/>
          </p:cNvSpPr>
          <p:nvPr userDrawn="1">
            <p:custDataLst>
              <p:tags r:id="rId9"/>
            </p:custDataLst>
          </p:nvPr>
        </p:nvSpPr>
        <p:spPr>
          <a:xfrm>
            <a:off x="761801" y="6478602"/>
            <a:ext cx="2285405" cy="379413"/>
          </a:xfrm>
          <a:prstGeom prst="rect">
            <a:avLst/>
          </a:prstGeom>
        </p:spPr>
        <p:txBody>
          <a:bodyPr lIns="380653" tIns="38065" rIns="76130" bIns="38065"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00">
                <a:solidFill>
                  <a:srgbClr val="505050"/>
                </a:solidFill>
                <a:ea typeface="Segoe UI" pitchFamily="34" charset="0"/>
                <a:cs typeface="Segoe UI" pitchFamily="34" charset="0"/>
              </a:rPr>
              <a:t>EPG | MICROSOFT CONFIDENTIAL</a:t>
            </a:r>
          </a:p>
        </p:txBody>
      </p:sp>
    </p:spTree>
    <p:extLst>
      <p:ext uri="{BB962C8B-B14F-4D97-AF65-F5344CB8AC3E}">
        <p14:creationId xmlns:p14="http://schemas.microsoft.com/office/powerpoint/2010/main" val="353900467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057400"/>
            <a:ext cx="5486400" cy="2743426"/>
          </a:xfrm>
          <a:noFill/>
        </p:spPr>
        <p:txBody>
          <a:bodyPr vert="horz" lIns="137160" tIns="137160" rIns="137160" bIns="137160" rtlCol="0" anchor="t" anchorCtr="0">
            <a:normAutofit/>
          </a:bodyPr>
          <a:lstStyle>
            <a:lvl1pPr>
              <a:defRPr lang="en-US" sz="4399" spc="-98" dirty="0">
                <a:solidFill>
                  <a:schemeClr val="bg1"/>
                </a:solidFill>
              </a:defRPr>
            </a:lvl1pPr>
          </a:lstStyle>
          <a:p>
            <a:pPr lvl="0"/>
            <a:r>
              <a:rPr lang="en-US"/>
              <a:t>Presentation title</a:t>
            </a:r>
          </a:p>
        </p:txBody>
      </p:sp>
      <p:sp>
        <p:nvSpPr>
          <p:cNvPr id="4" name="Text Placeholder 3"/>
          <p:cNvSpPr>
            <a:spLocks noGrp="1"/>
          </p:cNvSpPr>
          <p:nvPr>
            <p:ph type="body" sz="quarter" idx="10" hasCustomPrompt="1"/>
          </p:nvPr>
        </p:nvSpPr>
        <p:spPr>
          <a:xfrm>
            <a:off x="150813" y="4800600"/>
            <a:ext cx="5486400" cy="914400"/>
          </a:xfrm>
        </p:spPr>
        <p:txBody>
          <a:bodyPr lIns="137160" tIns="137160" rIns="137160" bIns="137160">
            <a:noAutofit/>
          </a:bodyPr>
          <a:lstStyle>
            <a:lvl1pPr marL="0" indent="0">
              <a:spcBef>
                <a:spcPts val="0"/>
              </a:spcBef>
              <a:buNone/>
              <a:defRPr sz="1999">
                <a:solidFill>
                  <a:schemeClr val="bg1"/>
                </a:solidFill>
              </a:defRPr>
            </a:lvl1pPr>
            <a:lvl2pPr marL="281589" indent="0">
              <a:buNone/>
              <a:defRPr sz="1999">
                <a:solidFill>
                  <a:schemeClr val="bg1"/>
                </a:solidFill>
              </a:defRPr>
            </a:lvl2pPr>
            <a:lvl3pPr marL="588299" indent="0">
              <a:buNone/>
              <a:defRPr sz="1999">
                <a:solidFill>
                  <a:schemeClr val="bg1"/>
                </a:solidFill>
              </a:defRPr>
            </a:lvl3pPr>
            <a:lvl4pPr marL="869889" indent="0">
              <a:buNone/>
              <a:defRPr sz="1999">
                <a:solidFill>
                  <a:schemeClr val="bg1"/>
                </a:solidFill>
              </a:defRPr>
            </a:lvl4pPr>
            <a:lvl5pPr marL="1105208" indent="0">
              <a:buNone/>
              <a:defRPr sz="1999">
                <a:solidFill>
                  <a:schemeClr val="bg1"/>
                </a:solidFill>
              </a:defRPr>
            </a:lvl5pPr>
          </a:lstStyle>
          <a:p>
            <a:pPr lvl="0"/>
            <a:r>
              <a:rPr lang="en-US"/>
              <a:t>Speaker Name</a:t>
            </a:r>
          </a:p>
        </p:txBody>
      </p:sp>
      <p:sp>
        <p:nvSpPr>
          <p:cNvPr id="10" name="TextBox 9"/>
          <p:cNvSpPr txBox="1"/>
          <p:nvPr/>
        </p:nvSpPr>
        <p:spPr>
          <a:xfrm>
            <a:off x="7618016" y="381000"/>
            <a:ext cx="3809008" cy="1905000"/>
          </a:xfrm>
          <a:prstGeom prst="rect">
            <a:avLst/>
          </a:prstGeom>
        </p:spPr>
        <p:txBody>
          <a:bodyPr vert="horz" wrap="square" lIns="108793" tIns="54397" rIns="108793" bIns="54397" rtlCol="0" anchor="ctr">
            <a:normAutofit/>
          </a:bodyPr>
          <a:lstStyle/>
          <a:p>
            <a:r>
              <a:rPr lang="en-US" sz="1999">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2940" y="228600"/>
            <a:ext cx="1946596" cy="716042"/>
          </a:xfrm>
          <a:prstGeom prst="rect">
            <a:avLst/>
          </a:prstGeom>
        </p:spPr>
      </p:pic>
      <p:sp>
        <p:nvSpPr>
          <p:cNvPr id="15" name="TextBox 14"/>
          <p:cNvSpPr txBox="1"/>
          <p:nvPr/>
        </p:nvSpPr>
        <p:spPr>
          <a:xfrm>
            <a:off x="7618016" y="381000"/>
            <a:ext cx="3809008" cy="1905000"/>
          </a:xfrm>
          <a:prstGeom prst="rect">
            <a:avLst/>
          </a:prstGeom>
        </p:spPr>
        <p:txBody>
          <a:bodyPr vert="horz" wrap="square" lIns="108793" tIns="54397" rIns="108793" bIns="54397" rtlCol="0" anchor="ctr">
            <a:normAutofit/>
          </a:bodyPr>
          <a:lstStyle/>
          <a:p>
            <a:r>
              <a:rPr lang="en-US" sz="1999">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16" y="198357"/>
            <a:ext cx="1946596" cy="716042"/>
          </a:xfrm>
          <a:prstGeom prst="rect">
            <a:avLst/>
          </a:prstGeom>
        </p:spPr>
      </p:pic>
      <p:sp>
        <p:nvSpPr>
          <p:cNvPr id="14" name="TextBox 13"/>
          <p:cNvSpPr txBox="1"/>
          <p:nvPr userDrawn="1"/>
        </p:nvSpPr>
        <p:spPr>
          <a:xfrm>
            <a:off x="7618016" y="381000"/>
            <a:ext cx="3809008" cy="1905000"/>
          </a:xfrm>
          <a:prstGeom prst="rect">
            <a:avLst/>
          </a:prstGeom>
        </p:spPr>
        <p:txBody>
          <a:bodyPr vert="horz" wrap="square" lIns="108793" tIns="54397" rIns="108793" bIns="54397" rtlCol="0" anchor="ctr">
            <a:normAutofit/>
          </a:bodyPr>
          <a:lstStyle/>
          <a:p>
            <a:r>
              <a:rPr lang="en-US" sz="1999">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16" y="198357"/>
            <a:ext cx="1946596" cy="716042"/>
          </a:xfrm>
          <a:prstGeom prst="rect">
            <a:avLst/>
          </a:prstGeom>
        </p:spPr>
      </p:pic>
    </p:spTree>
    <p:extLst>
      <p:ext uri="{BB962C8B-B14F-4D97-AF65-F5344CB8AC3E}">
        <p14:creationId xmlns:p14="http://schemas.microsoft.com/office/powerpoint/2010/main" val="2127000202"/>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057400"/>
            <a:ext cx="5486400" cy="2743426"/>
          </a:xfrm>
          <a:noFill/>
        </p:spPr>
        <p:txBody>
          <a:bodyPr vert="horz" lIns="137160" tIns="137160" rIns="137160" bIns="137160" rtlCol="0" anchor="t" anchorCtr="0">
            <a:normAutofit/>
          </a:bodyPr>
          <a:lstStyle>
            <a:lvl1pPr>
              <a:defRPr lang="en-US" sz="4399" spc="-98" dirty="0">
                <a:solidFill>
                  <a:schemeClr val="bg1"/>
                </a:solidFill>
              </a:defRPr>
            </a:lvl1pPr>
          </a:lstStyle>
          <a:p>
            <a:pPr lvl="0"/>
            <a:r>
              <a:rPr lang="en-US"/>
              <a:t>Presentation title</a:t>
            </a:r>
          </a:p>
        </p:txBody>
      </p:sp>
      <p:sp>
        <p:nvSpPr>
          <p:cNvPr id="4" name="Text Placeholder 3"/>
          <p:cNvSpPr>
            <a:spLocks noGrp="1"/>
          </p:cNvSpPr>
          <p:nvPr>
            <p:ph type="body" sz="quarter" idx="10" hasCustomPrompt="1"/>
          </p:nvPr>
        </p:nvSpPr>
        <p:spPr>
          <a:xfrm>
            <a:off x="150813" y="4800600"/>
            <a:ext cx="5486400" cy="914400"/>
          </a:xfrm>
        </p:spPr>
        <p:txBody>
          <a:bodyPr lIns="137160" tIns="137160" rIns="137160" bIns="137160">
            <a:noAutofit/>
          </a:bodyPr>
          <a:lstStyle>
            <a:lvl1pPr marL="0" indent="0">
              <a:spcBef>
                <a:spcPts val="0"/>
              </a:spcBef>
              <a:buNone/>
              <a:defRPr sz="1999">
                <a:solidFill>
                  <a:schemeClr val="bg1"/>
                </a:solidFill>
              </a:defRPr>
            </a:lvl1pPr>
            <a:lvl2pPr marL="281589" indent="0">
              <a:buNone/>
              <a:defRPr sz="1999">
                <a:solidFill>
                  <a:schemeClr val="bg1"/>
                </a:solidFill>
              </a:defRPr>
            </a:lvl2pPr>
            <a:lvl3pPr marL="588299" indent="0">
              <a:buNone/>
              <a:defRPr sz="1999">
                <a:solidFill>
                  <a:schemeClr val="bg1"/>
                </a:solidFill>
              </a:defRPr>
            </a:lvl3pPr>
            <a:lvl4pPr marL="869889" indent="0">
              <a:buNone/>
              <a:defRPr sz="1999">
                <a:solidFill>
                  <a:schemeClr val="bg1"/>
                </a:solidFill>
              </a:defRPr>
            </a:lvl4pPr>
            <a:lvl5pPr marL="1105208" indent="0">
              <a:buNone/>
              <a:defRPr sz="1999">
                <a:solidFill>
                  <a:schemeClr val="bg1"/>
                </a:solidFill>
              </a:defRPr>
            </a:lvl5pPr>
          </a:lstStyle>
          <a:p>
            <a:pPr lvl="0"/>
            <a:r>
              <a:rPr lang="en-US"/>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1916" y="200779"/>
            <a:ext cx="1946593" cy="716042"/>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916" y="200779"/>
            <a:ext cx="1946593" cy="716042"/>
          </a:xfrm>
          <a:prstGeom prst="rect">
            <a:avLst/>
          </a:prstGeom>
        </p:spPr>
      </p:pic>
    </p:spTree>
    <p:extLst>
      <p:ext uri="{BB962C8B-B14F-4D97-AF65-F5344CB8AC3E}">
        <p14:creationId xmlns:p14="http://schemas.microsoft.com/office/powerpoint/2010/main" val="3442670273"/>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6"/>
            <a:ext cx="12188825"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a:t>Click to add subtitle</a:t>
            </a:r>
          </a:p>
        </p:txBody>
      </p:sp>
      <p:sp>
        <p:nvSpPr>
          <p:cNvPr id="16" name="Text Placeholder 15"/>
          <p:cNvSpPr>
            <a:spLocks noGrp="1"/>
          </p:cNvSpPr>
          <p:nvPr>
            <p:ph type="body" sz="quarter" idx="14"/>
          </p:nvPr>
        </p:nvSpPr>
        <p:spPr>
          <a:xfrm>
            <a:off x="150813" y="1600200"/>
            <a:ext cx="11887200"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
        <p:nvSpPr>
          <p:cNvPr id="20" name="Footer Placeholder 19"/>
          <p:cNvSpPr>
            <a:spLocks noGrp="1"/>
          </p:cNvSpPr>
          <p:nvPr>
            <p:ph type="ftr" sz="quarter" idx="16"/>
          </p:nvPr>
        </p:nvSpPr>
        <p:spPr>
          <a:xfrm>
            <a:off x="1904504" y="6477875"/>
            <a:ext cx="8379817" cy="380127"/>
          </a:xfrm>
        </p:spPr>
        <p:txBody>
          <a:bodyPr/>
          <a:lstStyle/>
          <a:p>
            <a:endParaRPr lang="en-US">
              <a:solidFill>
                <a:srgbClr val="505050"/>
              </a:solidFill>
            </a:endParaRPr>
          </a:p>
        </p:txBody>
      </p:sp>
    </p:spTree>
    <p:extLst>
      <p:ext uri="{BB962C8B-B14F-4D97-AF65-F5344CB8AC3E}">
        <p14:creationId xmlns:p14="http://schemas.microsoft.com/office/powerpoint/2010/main" val="844332872"/>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6"/>
            <a:ext cx="12188825"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a:t>Click to add subtitle</a:t>
            </a:r>
          </a:p>
        </p:txBody>
      </p:sp>
      <p:sp>
        <p:nvSpPr>
          <p:cNvPr id="3" name="Footer Placeholder 2"/>
          <p:cNvSpPr>
            <a:spLocks noGrp="1"/>
          </p:cNvSpPr>
          <p:nvPr>
            <p:ph type="ftr" sz="quarter" idx="14"/>
          </p:nvPr>
        </p:nvSpPr>
        <p:spPr/>
        <p:txBody>
          <a:bodyPr/>
          <a:lstStyle/>
          <a:p>
            <a:pPr defTabSz="1087779"/>
            <a:endParaRPr lang="en-US">
              <a:solidFill>
                <a:srgbClr val="505050"/>
              </a:solidFill>
            </a:endParaRPr>
          </a:p>
        </p:txBody>
      </p:sp>
      <p:sp>
        <p:nvSpPr>
          <p:cNvPr id="7" name="Slide Number Placeholder 6"/>
          <p:cNvSpPr>
            <a:spLocks noGrp="1"/>
          </p:cNvSpPr>
          <p:nvPr>
            <p:ph type="sldNum" sz="quarter" idx="15"/>
          </p:nvPr>
        </p:nvSpPr>
        <p:spPr/>
        <p:txBody>
          <a:bodyPr/>
          <a:lstStyle/>
          <a:p>
            <a:pPr defTabSz="1087779"/>
            <a:fld id="{FAADACFB-7C71-4E89-89D2-7BBA40B7BFA9}" type="slidenum">
              <a:rPr lang="en-US" smtClean="0">
                <a:solidFill>
                  <a:srgbClr val="505050"/>
                </a:solidFill>
              </a:rPr>
              <a:pPr defTabSz="1087779"/>
              <a:t>‹#›</a:t>
            </a:fld>
            <a:endParaRPr lang="en-US">
              <a:solidFill>
                <a:srgbClr val="505050"/>
              </a:solidFill>
            </a:endParaRPr>
          </a:p>
        </p:txBody>
      </p:sp>
    </p:spTree>
    <p:extLst>
      <p:ext uri="{BB962C8B-B14F-4D97-AF65-F5344CB8AC3E}">
        <p14:creationId xmlns:p14="http://schemas.microsoft.com/office/powerpoint/2010/main" val="3156700795"/>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150813" y="1600200"/>
            <a:ext cx="11887200" cy="4495800"/>
          </a:xfrm>
          <a:prstGeom prst="rect">
            <a:avLst/>
          </a:prstGeom>
        </p:spPr>
        <p:txBody>
          <a:bodyPr/>
          <a:lstStyle>
            <a:lvl1pPr marL="0" indent="0">
              <a:buNone/>
              <a:defRPr>
                <a:solidFill>
                  <a:schemeClr val="tx1"/>
                </a:solidFill>
                <a:latin typeface="Segoe UI" panose="020B0502040204020203" pitchFamily="34" charset="0"/>
                <a:cs typeface="Segoe UI" panose="020B0502040204020203" pitchFamily="34" charset="0"/>
              </a:defRPr>
            </a:lvl1pPr>
            <a:lvl2pPr marL="281589" indent="0">
              <a:buNone/>
              <a:defRPr>
                <a:solidFill>
                  <a:schemeClr val="tx1"/>
                </a:solidFill>
                <a:latin typeface="Segoe UI" panose="020B0502040204020203" pitchFamily="34" charset="0"/>
                <a:cs typeface="Segoe UI" panose="020B0502040204020203" pitchFamily="34" charset="0"/>
              </a:defRPr>
            </a:lvl2pPr>
            <a:lvl3pPr marL="588299" indent="0">
              <a:buNone/>
              <a:defRPr>
                <a:solidFill>
                  <a:schemeClr val="tx1"/>
                </a:solidFill>
                <a:latin typeface="Segoe UI" panose="020B0502040204020203" pitchFamily="34" charset="0"/>
                <a:cs typeface="Segoe UI" panose="020B0502040204020203" pitchFamily="34" charset="0"/>
              </a:defRPr>
            </a:lvl3pPr>
            <a:lvl4pPr marL="869889" indent="0">
              <a:buNone/>
              <a:defRPr>
                <a:solidFill>
                  <a:schemeClr val="tx1"/>
                </a:solidFill>
                <a:latin typeface="Segoe UI" panose="020B0502040204020203" pitchFamily="34" charset="0"/>
                <a:cs typeface="Segoe UI" panose="020B0502040204020203" pitchFamily="34" charset="0"/>
              </a:defRPr>
            </a:lvl4pPr>
            <a:lvl5pPr marL="1105208" indent="0">
              <a:buNone/>
              <a:defRPr>
                <a:solidFill>
                  <a:schemeClr val="tx1"/>
                </a:solidFill>
                <a:latin typeface="Segoe UI" panose="020B0502040204020203" pitchFamily="34" charset="0"/>
                <a:cs typeface="Segoe UI" panose="020B0502040204020203" pitchFamily="34"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nvPr>
        </p:nvSpPr>
        <p:spPr>
          <a:xfrm>
            <a:off x="1" y="573606"/>
            <a:ext cx="12188825"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a:t>Click to add subtitle</a:t>
            </a:r>
          </a:p>
        </p:txBody>
      </p:sp>
      <p:sp>
        <p:nvSpPr>
          <p:cNvPr id="6" name="Footer Placeholder 5"/>
          <p:cNvSpPr>
            <a:spLocks noGrp="1"/>
          </p:cNvSpPr>
          <p:nvPr>
            <p:ph type="ftr" sz="quarter" idx="16"/>
          </p:nvPr>
        </p:nvSpPr>
        <p:spPr/>
        <p:txBody>
          <a:bodyPr/>
          <a:lstStyle/>
          <a:p>
            <a:endParaRPr lang="en-US">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3477600509"/>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5776372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600"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637532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14" y="1143002"/>
            <a:ext cx="1005839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50812" y="3877278"/>
            <a:ext cx="10058401" cy="1837723"/>
          </a:xfrm>
          <a:noFill/>
        </p:spPr>
        <p:txBody>
          <a:bodyPr lIns="137160" tIns="137160" rIns="137160" bIns="137160">
            <a:noAutofit/>
          </a:bodyPr>
          <a:lstStyle>
            <a:lvl1pPr marL="0" indent="0">
              <a:spcBef>
                <a:spcPts val="0"/>
              </a:spcBef>
              <a:buNone/>
              <a:defRPr sz="2799"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62128010"/>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14"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14"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14" y="1143001"/>
            <a:ext cx="1005839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a:t>Video title</a:t>
            </a:r>
          </a:p>
        </p:txBody>
      </p:sp>
      <p:sp>
        <p:nvSpPr>
          <p:cNvPr id="5" name="Text Placeholder 4"/>
          <p:cNvSpPr>
            <a:spLocks noGrp="1"/>
          </p:cNvSpPr>
          <p:nvPr>
            <p:ph type="body" sz="quarter" idx="12" hasCustomPrompt="1"/>
          </p:nvPr>
        </p:nvSpPr>
        <p:spPr>
          <a:xfrm>
            <a:off x="150813" y="3886200"/>
            <a:ext cx="10058400" cy="1828800"/>
          </a:xfrm>
          <a:noFill/>
        </p:spPr>
        <p:txBody>
          <a:bodyPr lIns="137160" tIns="137160" rIns="137160" bIns="137160">
            <a:noAutofit/>
          </a:bodyPr>
          <a:lstStyle>
            <a:lvl1pPr marL="0" indent="0">
              <a:spcBef>
                <a:spcPts val="0"/>
              </a:spcBef>
              <a:buNone/>
              <a:defRPr sz="2799"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14"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840851559"/>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FFFFFF"/>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1278697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chemeClr val="tx1"/>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9684540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0496831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8550060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921441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chemeClr val="tx1"/>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9179782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27012" y="1600200"/>
            <a:ext cx="11353800"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1" y="6238878"/>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99"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1466239743"/>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a:solidFill>
                <a:prstClr val="white"/>
              </a:solidFill>
            </a:endParaRPr>
          </a:p>
        </p:txBody>
      </p:sp>
      <p:sp>
        <p:nvSpPr>
          <p:cNvPr id="4" name="Rectangle 3"/>
          <p:cNvSpPr/>
          <p:nvPr/>
        </p:nvSpPr>
        <p:spPr>
          <a:xfrm>
            <a:off x="1"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a:solidFill>
                <a:prstClr val="white"/>
              </a:solidFill>
            </a:endParaRPr>
          </a:p>
        </p:txBody>
      </p:sp>
      <p:sp>
        <p:nvSpPr>
          <p:cNvPr id="8" name="Rectangle 7"/>
          <p:cNvSpPr/>
          <p:nvPr/>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117" y="2899240"/>
            <a:ext cx="2880367" cy="1059525"/>
          </a:xfrm>
          <a:prstGeom prst="rect">
            <a:avLst/>
          </a:prstGeom>
        </p:spPr>
      </p:pic>
      <p:sp>
        <p:nvSpPr>
          <p:cNvPr id="6" name="Rectangle 5"/>
          <p:cNvSpPr/>
          <p:nvPr/>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117" y="2899240"/>
            <a:ext cx="2880367" cy="1059525"/>
          </a:xfrm>
          <a:prstGeom prst="rect">
            <a:avLst/>
          </a:prstGeom>
        </p:spPr>
      </p:pic>
      <p:sp>
        <p:nvSpPr>
          <p:cNvPr id="9" name="Rectangle 8"/>
          <p:cNvSpPr/>
          <p:nvPr userDrawn="1"/>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8759" y="2901952"/>
            <a:ext cx="2844267" cy="1046245"/>
          </a:xfrm>
          <a:prstGeom prst="rect">
            <a:avLst/>
          </a:prstGeom>
        </p:spPr>
      </p:pic>
    </p:spTree>
    <p:extLst>
      <p:ext uri="{BB962C8B-B14F-4D97-AF65-F5344CB8AC3E}">
        <p14:creationId xmlns:p14="http://schemas.microsoft.com/office/powerpoint/2010/main" val="333740846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600"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5153674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253459788"/>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5604"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13" name="Rectangle 12"/>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057400"/>
            <a:ext cx="5486400" cy="2743426"/>
          </a:xfrm>
          <a:noFill/>
        </p:spPr>
        <p:txBody>
          <a:bodyPr vert="horz" lIns="137160" tIns="137160" rIns="137160" bIns="137160" rtlCol="0" anchor="t" anchorCtr="0">
            <a:normAutofit/>
          </a:bodyPr>
          <a:lstStyle>
            <a:lvl1pPr>
              <a:defRPr lang="en-US" sz="4399"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13" y="4800600"/>
            <a:ext cx="5486400" cy="914400"/>
          </a:xfrm>
        </p:spPr>
        <p:txBody>
          <a:bodyPr lIns="137160" tIns="137160" rIns="137160" bIns="137160">
            <a:noAutofit/>
          </a:bodyPr>
          <a:lstStyle>
            <a:lvl1pPr marL="0" indent="0">
              <a:spcBef>
                <a:spcPts val="0"/>
              </a:spcBef>
              <a:buNone/>
              <a:defRPr sz="1999">
                <a:solidFill>
                  <a:schemeClr val="bg1"/>
                </a:solidFill>
              </a:defRPr>
            </a:lvl1pPr>
            <a:lvl2pPr marL="281589" indent="0">
              <a:buNone/>
              <a:defRPr sz="1999">
                <a:solidFill>
                  <a:schemeClr val="bg1"/>
                </a:solidFill>
              </a:defRPr>
            </a:lvl2pPr>
            <a:lvl3pPr marL="588299" indent="0">
              <a:buNone/>
              <a:defRPr sz="1999">
                <a:solidFill>
                  <a:schemeClr val="bg1"/>
                </a:solidFill>
              </a:defRPr>
            </a:lvl3pPr>
            <a:lvl4pPr marL="869889" indent="0">
              <a:buNone/>
              <a:defRPr sz="1999">
                <a:solidFill>
                  <a:schemeClr val="bg1"/>
                </a:solidFill>
              </a:defRPr>
            </a:lvl4pPr>
            <a:lvl5pPr marL="1105208" indent="0">
              <a:buNone/>
              <a:defRPr sz="1999">
                <a:solidFill>
                  <a:schemeClr val="bg1"/>
                </a:solidFill>
              </a:defRPr>
            </a:lvl5pPr>
          </a:lstStyle>
          <a:p>
            <a:pPr lvl="0"/>
            <a:r>
              <a:rPr lang="en-US"/>
              <a:t>Speaker Name</a:t>
            </a:r>
          </a:p>
        </p:txBody>
      </p:sp>
      <p:sp>
        <p:nvSpPr>
          <p:cNvPr id="10" name="TextBox 9"/>
          <p:cNvSpPr txBox="1"/>
          <p:nvPr/>
        </p:nvSpPr>
        <p:spPr>
          <a:xfrm>
            <a:off x="7618016" y="381000"/>
            <a:ext cx="3809008" cy="1905000"/>
          </a:xfrm>
          <a:prstGeom prst="rect">
            <a:avLst/>
          </a:prstGeom>
        </p:spPr>
        <p:txBody>
          <a:bodyPr vert="horz" wrap="square" lIns="108793" tIns="54397" rIns="108793" bIns="54397" rtlCol="0" anchor="ctr">
            <a:normAutofit/>
          </a:bodyPr>
          <a:lstStyle/>
          <a:p>
            <a:r>
              <a:rPr lang="en-US" sz="1999">
                <a:solidFill>
                  <a:srgbClr val="D2D2D2"/>
                </a:solidFill>
                <a:ea typeface="Segoe UI" pitchFamily="34" charset="0"/>
                <a:cs typeface="Segoe UI" pitchFamily="34" charset="0"/>
              </a:rPr>
              <a:t>Click View &gt; Slide Master to insert a photo as a background behind the colored boxes.</a:t>
            </a:r>
          </a:p>
        </p:txBody>
      </p:sp>
      <p:sp>
        <p:nvSpPr>
          <p:cNvPr id="15" name="TextBox 14"/>
          <p:cNvSpPr txBox="1"/>
          <p:nvPr/>
        </p:nvSpPr>
        <p:spPr>
          <a:xfrm>
            <a:off x="7618016" y="381000"/>
            <a:ext cx="3809008" cy="1905000"/>
          </a:xfrm>
          <a:prstGeom prst="rect">
            <a:avLst/>
          </a:prstGeom>
        </p:spPr>
        <p:txBody>
          <a:bodyPr vert="horz" wrap="square" lIns="108793" tIns="54397" rIns="108793" bIns="54397" rtlCol="0" anchor="ctr">
            <a:normAutofit/>
          </a:bodyPr>
          <a:lstStyle/>
          <a:p>
            <a:r>
              <a:rPr lang="en-US" sz="1999">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216" y="198357"/>
            <a:ext cx="1946596" cy="716042"/>
          </a:xfrm>
          <a:prstGeom prst="rect">
            <a:avLst/>
          </a:prstGeom>
        </p:spPr>
      </p:pic>
      <p:sp>
        <p:nvSpPr>
          <p:cNvPr id="14" name="TextBox 13"/>
          <p:cNvSpPr txBox="1"/>
          <p:nvPr userDrawn="1"/>
        </p:nvSpPr>
        <p:spPr>
          <a:xfrm>
            <a:off x="7618016" y="381000"/>
            <a:ext cx="3809008" cy="1905000"/>
          </a:xfrm>
          <a:prstGeom prst="rect">
            <a:avLst/>
          </a:prstGeom>
        </p:spPr>
        <p:txBody>
          <a:bodyPr vert="horz" wrap="square" lIns="108793" tIns="54397" rIns="108793" bIns="54397" rtlCol="0" anchor="ctr">
            <a:normAutofit/>
          </a:bodyPr>
          <a:lstStyle/>
          <a:p>
            <a:r>
              <a:rPr lang="en-US" sz="1999">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9216" y="198357"/>
            <a:ext cx="1946596" cy="716042"/>
          </a:xfrm>
          <a:prstGeom prst="rect">
            <a:avLst/>
          </a:prstGeom>
        </p:spPr>
      </p:pic>
    </p:spTree>
    <p:extLst>
      <p:ext uri="{BB962C8B-B14F-4D97-AF65-F5344CB8AC3E}">
        <p14:creationId xmlns:p14="http://schemas.microsoft.com/office/powerpoint/2010/main" val="244915291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6628"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13" name="Rectangle 12"/>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057400"/>
            <a:ext cx="5486400" cy="2743426"/>
          </a:xfrm>
          <a:noFill/>
        </p:spPr>
        <p:txBody>
          <a:bodyPr vert="horz" lIns="137160" tIns="137160" rIns="137160" bIns="137160" rtlCol="0" anchor="t" anchorCtr="0">
            <a:normAutofit/>
          </a:bodyPr>
          <a:lstStyle>
            <a:lvl1pPr>
              <a:defRPr lang="en-US" sz="4399"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13" y="4800600"/>
            <a:ext cx="5486400" cy="914400"/>
          </a:xfrm>
        </p:spPr>
        <p:txBody>
          <a:bodyPr lIns="137160" tIns="137160" rIns="137160" bIns="137160">
            <a:noAutofit/>
          </a:bodyPr>
          <a:lstStyle>
            <a:lvl1pPr marL="0" indent="0">
              <a:spcBef>
                <a:spcPts val="0"/>
              </a:spcBef>
              <a:buNone/>
              <a:defRPr sz="1999">
                <a:solidFill>
                  <a:schemeClr val="bg1"/>
                </a:solidFill>
              </a:defRPr>
            </a:lvl1pPr>
            <a:lvl2pPr marL="281589" indent="0">
              <a:buNone/>
              <a:defRPr sz="1999">
                <a:solidFill>
                  <a:schemeClr val="bg1"/>
                </a:solidFill>
              </a:defRPr>
            </a:lvl2pPr>
            <a:lvl3pPr marL="588299" indent="0">
              <a:buNone/>
              <a:defRPr sz="1999">
                <a:solidFill>
                  <a:schemeClr val="bg1"/>
                </a:solidFill>
              </a:defRPr>
            </a:lvl3pPr>
            <a:lvl4pPr marL="869889" indent="0">
              <a:buNone/>
              <a:defRPr sz="1999">
                <a:solidFill>
                  <a:schemeClr val="bg1"/>
                </a:solidFill>
              </a:defRPr>
            </a:lvl4pPr>
            <a:lvl5pPr marL="1105208" indent="0">
              <a:buNone/>
              <a:defRPr sz="1999">
                <a:solidFill>
                  <a:schemeClr val="bg1"/>
                </a:solidFill>
              </a:defRPr>
            </a:lvl5pPr>
          </a:lstStyle>
          <a:p>
            <a:pPr lvl="0"/>
            <a:r>
              <a:rPr lang="en-US"/>
              <a:t>Speaker Name</a:t>
            </a:r>
          </a:p>
        </p:txBody>
      </p:sp>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1916" y="200779"/>
            <a:ext cx="1946593" cy="716042"/>
          </a:xfrm>
          <a:prstGeom prst="rect">
            <a:avLst/>
          </a:prstGeom>
        </p:spPr>
      </p:pic>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1916" y="200779"/>
            <a:ext cx="1946593" cy="716042"/>
          </a:xfrm>
          <a:prstGeom prst="rect">
            <a:avLst/>
          </a:prstGeom>
        </p:spPr>
      </p:pic>
    </p:spTree>
    <p:extLst>
      <p:ext uri="{BB962C8B-B14F-4D97-AF65-F5344CB8AC3E}">
        <p14:creationId xmlns:p14="http://schemas.microsoft.com/office/powerpoint/2010/main" val="2122311864"/>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765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646046"/>
            <a:ext cx="12188825"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a:t>Click to add subtitle</a:t>
            </a:r>
          </a:p>
        </p:txBody>
      </p:sp>
      <p:sp>
        <p:nvSpPr>
          <p:cNvPr id="16" name="Text Placeholder 15"/>
          <p:cNvSpPr>
            <a:spLocks noGrp="1"/>
          </p:cNvSpPr>
          <p:nvPr>
            <p:ph type="body" sz="quarter" idx="14"/>
          </p:nvPr>
        </p:nvSpPr>
        <p:spPr>
          <a:xfrm>
            <a:off x="150813" y="1600200"/>
            <a:ext cx="11887200"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
        <p:nvSpPr>
          <p:cNvPr id="20" name="Footer Placeholder 19"/>
          <p:cNvSpPr>
            <a:spLocks noGrp="1"/>
          </p:cNvSpPr>
          <p:nvPr>
            <p:ph type="ftr" sz="quarter" idx="16"/>
          </p:nvPr>
        </p:nvSpPr>
        <p:spPr/>
        <p:txBody>
          <a:bodyPr/>
          <a:lstStyle/>
          <a:p>
            <a:endParaRPr lang="en-US">
              <a:solidFill>
                <a:srgbClr val="505050"/>
              </a:solidFill>
            </a:endParaRPr>
          </a:p>
        </p:txBody>
      </p:sp>
    </p:spTree>
    <p:extLst>
      <p:ext uri="{BB962C8B-B14F-4D97-AF65-F5344CB8AC3E}">
        <p14:creationId xmlns:p14="http://schemas.microsoft.com/office/powerpoint/2010/main" val="540853654"/>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867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p:txBody>
          <a:bodyPr/>
          <a:lstStyle/>
          <a:p>
            <a:endParaRPr lang="en-US">
              <a:solidFill>
                <a:srgbClr val="505050"/>
              </a:solidFill>
            </a:endParaRPr>
          </a:p>
        </p:txBody>
      </p:sp>
      <p:sp>
        <p:nvSpPr>
          <p:cNvPr id="5" name="Slide Number Placeholder 4"/>
          <p:cNvSpPr>
            <a:spLocks noGrp="1"/>
          </p:cNvSpPr>
          <p:nvPr>
            <p:ph type="sldNum" sz="quarter" idx="12"/>
          </p:nvPr>
        </p:nvSpPr>
        <p:spPr>
          <a:xfrm>
            <a:off x="11427024" y="6478589"/>
            <a:ext cx="761800" cy="379413"/>
          </a:xfrm>
          <a:prstGeom prst="rect">
            <a:avLst/>
          </a:prstGeom>
        </p:spPr>
        <p:txBody>
          <a:bodyPr/>
          <a:lstStyle/>
          <a:p>
            <a:fld id="{6A4C1A4A-E5E6-4CC1-B72C-A20A4EB3E2D2}" type="slidenum">
              <a:rPr lang="en-US" smtClean="0">
                <a:solidFill>
                  <a:srgbClr val="505050"/>
                </a:solidFill>
              </a:rPr>
              <a:pPr/>
              <a:t>‹#›</a:t>
            </a:fld>
            <a:endParaRPr lang="en-US">
              <a:solidFill>
                <a:srgbClr val="505050"/>
              </a:solidFill>
            </a:endParaRPr>
          </a:p>
        </p:txBody>
      </p:sp>
      <p:sp>
        <p:nvSpPr>
          <p:cNvPr id="6" name="Text Placeholder 5"/>
          <p:cNvSpPr>
            <a:spLocks noGrp="1"/>
          </p:cNvSpPr>
          <p:nvPr>
            <p:ph type="body" sz="quarter" idx="13" hasCustomPrompt="1"/>
          </p:nvPr>
        </p:nvSpPr>
        <p:spPr>
          <a:xfrm>
            <a:off x="1" y="646046"/>
            <a:ext cx="12188825"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a:t>Click to add subtitle</a:t>
            </a:r>
          </a:p>
        </p:txBody>
      </p:sp>
    </p:spTree>
    <p:extLst>
      <p:ext uri="{BB962C8B-B14F-4D97-AF65-F5344CB8AC3E}">
        <p14:creationId xmlns:p14="http://schemas.microsoft.com/office/powerpoint/2010/main" val="187033582"/>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700"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150813" y="1600200"/>
            <a:ext cx="11887200" cy="4495800"/>
          </a:xfrm>
          <a:prstGeom prst="rect">
            <a:avLst/>
          </a:prstGeom>
        </p:spPr>
        <p:txBody>
          <a:bodyPr/>
          <a:lstStyle>
            <a:lvl1pPr marL="0"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1pPr>
            <a:lvl2pPr marL="281589"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2pPr>
            <a:lvl3pPr marL="588299"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3pPr>
            <a:lvl4pPr marL="869889"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4pPr>
            <a:lvl5pPr marL="1105208"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nvPr>
        </p:nvSpPr>
        <p:spPr>
          <a:xfrm>
            <a:off x="1" y="646046"/>
            <a:ext cx="12188825"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a:t>Click to add subtitle</a:t>
            </a:r>
          </a:p>
        </p:txBody>
      </p:sp>
      <p:sp>
        <p:nvSpPr>
          <p:cNvPr id="6" name="Footer Placeholder 5"/>
          <p:cNvSpPr>
            <a:spLocks noGrp="1"/>
          </p:cNvSpPr>
          <p:nvPr>
            <p:ph type="ftr" sz="quarter" idx="16"/>
          </p:nvPr>
        </p:nvSpPr>
        <p:spPr/>
        <p:txBody>
          <a:bodyPr/>
          <a:lstStyle/>
          <a:p>
            <a:endParaRPr lang="en-US">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888429264"/>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0724" name="think-cell Slide" r:id="rId4" imgW="377" imgH="377" progId="TCLayout.ActiveDocument.1">
                  <p:embed/>
                </p:oleObj>
              </mc:Choice>
              <mc:Fallback>
                <p:oleObj name="think-cell Slide" r:id="rId4" imgW="377" imgH="377" progId="TCLayout.ActiveDocument.1">
                  <p:embed/>
                  <p:pic>
                    <p:nvPicPr>
                      <p:cNvPr id="5" name="Object 4"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Footer Placeholder 1"/>
          <p:cNvSpPr>
            <a:spLocks noGrp="1"/>
          </p:cNvSpPr>
          <p:nvPr>
            <p:ph type="ftr" sz="quarter" idx="15"/>
          </p:nvPr>
        </p:nvSpPr>
        <p:spPr/>
        <p:txBody>
          <a:bodyPr/>
          <a:lstStyle/>
          <a:p>
            <a:endParaRPr lang="en-US">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
        <p:nvSpPr>
          <p:cNvPr id="4" name="Rectangle 3"/>
          <p:cNvSpPr/>
          <p:nvPr userDrawn="1"/>
        </p:nvSpPr>
        <p:spPr>
          <a:xfrm>
            <a:off x="1" y="0"/>
            <a:ext cx="12188825" cy="6858000"/>
          </a:xfrm>
          <a:prstGeom prst="rect">
            <a:avLst/>
          </a:prstGeom>
          <a:gradFill flip="none" rotWithShape="1">
            <a:gsLst>
              <a:gs pos="0">
                <a:schemeClr val="tx2"/>
              </a:gs>
              <a:gs pos="100000">
                <a:schemeClr val="bg2">
                  <a:lumMod val="90000"/>
                  <a:lumOff val="1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a:endParaRPr lang="en-US" sz="1200">
              <a:solidFill>
                <a:prstClr val="white"/>
              </a:solidFill>
            </a:endParaRPr>
          </a:p>
        </p:txBody>
      </p:sp>
    </p:spTree>
    <p:extLst>
      <p:ext uri="{BB962C8B-B14F-4D97-AF65-F5344CB8AC3E}">
        <p14:creationId xmlns:p14="http://schemas.microsoft.com/office/powerpoint/2010/main" val="444094132"/>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174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6" name="Rectangle 5"/>
          <p:cNvSpPr/>
          <p:nvPr/>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14" y="1143002"/>
            <a:ext cx="1005839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50812" y="3877278"/>
            <a:ext cx="10058401" cy="1837723"/>
          </a:xfrm>
          <a:noFill/>
        </p:spPr>
        <p:txBody>
          <a:bodyPr lIns="137160" tIns="137160" rIns="137160" bIns="137160">
            <a:noAutofit/>
          </a:bodyPr>
          <a:lstStyle>
            <a:lvl1pPr marL="0" indent="0">
              <a:spcBef>
                <a:spcPts val="0"/>
              </a:spcBef>
              <a:buNone/>
              <a:defRPr sz="2799"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48388546"/>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277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6" name="Rectangle 5"/>
          <p:cNvSpPr/>
          <p:nvPr/>
        </p:nvSpPr>
        <p:spPr bwMode="auto">
          <a:xfrm>
            <a:off x="150814"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14"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14" y="1143001"/>
            <a:ext cx="1005839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a:t>Video title</a:t>
            </a:r>
          </a:p>
        </p:txBody>
      </p:sp>
      <p:sp>
        <p:nvSpPr>
          <p:cNvPr id="5" name="Text Placeholder 4"/>
          <p:cNvSpPr>
            <a:spLocks noGrp="1"/>
          </p:cNvSpPr>
          <p:nvPr>
            <p:ph type="body" sz="quarter" idx="12" hasCustomPrompt="1"/>
          </p:nvPr>
        </p:nvSpPr>
        <p:spPr>
          <a:xfrm>
            <a:off x="150813" y="3886200"/>
            <a:ext cx="10058400" cy="1828800"/>
          </a:xfrm>
          <a:noFill/>
        </p:spPr>
        <p:txBody>
          <a:bodyPr lIns="137160" tIns="137160" rIns="137160" bIns="137160">
            <a:noAutofit/>
          </a:bodyPr>
          <a:lstStyle>
            <a:lvl1pPr marL="0" indent="0">
              <a:spcBef>
                <a:spcPts val="0"/>
              </a:spcBef>
              <a:buNone/>
              <a:defRPr sz="2799"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14"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68106142"/>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3796"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FFFFFF"/>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3401834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600"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4578750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4820"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FFFFFF"/>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4289013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5844"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7662677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6868"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9383601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7892"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4748389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8916"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chemeClr val="tx1"/>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4006043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9940"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27012" y="1600200"/>
            <a:ext cx="11353800"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1" y="6238878"/>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99"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687669067"/>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0964"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5" name="Rectangle 4"/>
          <p:cNvSpPr/>
          <p:nvPr/>
        </p:nvSpPr>
        <p:spPr>
          <a:xfrm>
            <a:off x="1"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a:solidFill>
                <a:prstClr val="white"/>
              </a:solidFill>
            </a:endParaRPr>
          </a:p>
        </p:txBody>
      </p:sp>
      <p:sp>
        <p:nvSpPr>
          <p:cNvPr id="4" name="Rectangle 3"/>
          <p:cNvSpPr/>
          <p:nvPr/>
        </p:nvSpPr>
        <p:spPr>
          <a:xfrm>
            <a:off x="1"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a:solidFill>
                <a:prstClr val="white"/>
              </a:solidFill>
            </a:endParaRPr>
          </a:p>
        </p:txBody>
      </p:sp>
      <p:sp>
        <p:nvSpPr>
          <p:cNvPr id="8" name="Rectangle 7"/>
          <p:cNvSpPr/>
          <p:nvPr/>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a:solidFill>
                <a:prstClr val="white"/>
              </a:solidFill>
            </a:endParaRPr>
          </a:p>
        </p:txBody>
      </p:sp>
      <p:pic>
        <p:nvPicPr>
          <p:cNvPr id="10" name="Picture 9"/>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446117" y="2899240"/>
            <a:ext cx="2880367" cy="1059525"/>
          </a:xfrm>
          <a:prstGeom prst="rect">
            <a:avLst/>
          </a:prstGeom>
        </p:spPr>
      </p:pic>
      <p:sp>
        <p:nvSpPr>
          <p:cNvPr id="6" name="Rectangle 5"/>
          <p:cNvSpPr/>
          <p:nvPr/>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a:solidFill>
                <a:prstClr val="white"/>
              </a:solidFill>
            </a:endParaRPr>
          </a:p>
        </p:txBody>
      </p:sp>
      <p:pic>
        <p:nvPicPr>
          <p:cNvPr id="7" name="Picture 6"/>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446117" y="2899240"/>
            <a:ext cx="2880367" cy="1059525"/>
          </a:xfrm>
          <a:prstGeom prst="rect">
            <a:avLst/>
          </a:prstGeom>
        </p:spPr>
      </p:pic>
      <p:sp>
        <p:nvSpPr>
          <p:cNvPr id="9" name="Rectangle 8"/>
          <p:cNvSpPr/>
          <p:nvPr userDrawn="1"/>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a:solidFill>
                <a:prstClr val="white"/>
              </a:solidFill>
            </a:endParaRPr>
          </a:p>
        </p:txBody>
      </p:sp>
      <p:pic>
        <p:nvPicPr>
          <p:cNvPr id="13" name="Picture 1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446117" y="2899238"/>
            <a:ext cx="2883575" cy="1060704"/>
          </a:xfrm>
          <a:prstGeom prst="rect">
            <a:avLst/>
          </a:prstGeom>
        </p:spPr>
      </p:pic>
    </p:spTree>
    <p:extLst>
      <p:ext uri="{BB962C8B-B14F-4D97-AF65-F5344CB8AC3E}">
        <p14:creationId xmlns:p14="http://schemas.microsoft.com/office/powerpoint/2010/main" val="2312228304"/>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057400"/>
            <a:ext cx="5486400" cy="2743426"/>
          </a:xfrm>
          <a:noFill/>
        </p:spPr>
        <p:txBody>
          <a:bodyPr vert="horz" lIns="137160" tIns="137160" rIns="137160" bIns="137160" rtlCol="0" anchor="t" anchorCtr="0">
            <a:normAutofit/>
          </a:bodyPr>
          <a:lstStyle>
            <a:lvl1pPr>
              <a:defRPr lang="en-US" sz="4399"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13" y="4800600"/>
            <a:ext cx="5486400" cy="914400"/>
          </a:xfrm>
        </p:spPr>
        <p:txBody>
          <a:bodyPr lIns="137160" tIns="137160" rIns="137160" bIns="137160">
            <a:noAutofit/>
          </a:bodyPr>
          <a:lstStyle>
            <a:lvl1pPr marL="0" indent="0">
              <a:spcBef>
                <a:spcPts val="0"/>
              </a:spcBef>
              <a:buNone/>
              <a:defRPr sz="1999">
                <a:solidFill>
                  <a:schemeClr val="bg1"/>
                </a:solidFill>
              </a:defRPr>
            </a:lvl1pPr>
            <a:lvl2pPr marL="281589" indent="0">
              <a:buNone/>
              <a:defRPr sz="1999">
                <a:solidFill>
                  <a:schemeClr val="bg1"/>
                </a:solidFill>
              </a:defRPr>
            </a:lvl2pPr>
            <a:lvl3pPr marL="588299" indent="0">
              <a:buNone/>
              <a:defRPr sz="1999">
                <a:solidFill>
                  <a:schemeClr val="bg1"/>
                </a:solidFill>
              </a:defRPr>
            </a:lvl3pPr>
            <a:lvl4pPr marL="869889" indent="0">
              <a:buNone/>
              <a:defRPr sz="1999">
                <a:solidFill>
                  <a:schemeClr val="bg1"/>
                </a:solidFill>
              </a:defRPr>
            </a:lvl4pPr>
            <a:lvl5pPr marL="1105208" indent="0">
              <a:buNone/>
              <a:defRPr sz="1999">
                <a:solidFill>
                  <a:schemeClr val="bg1"/>
                </a:solidFill>
              </a:defRPr>
            </a:lvl5pPr>
          </a:lstStyle>
          <a:p>
            <a:pPr lvl="0"/>
            <a:r>
              <a:rPr lang="en-US"/>
              <a:t>Speaker Name</a:t>
            </a:r>
          </a:p>
        </p:txBody>
      </p:sp>
      <p:sp>
        <p:nvSpPr>
          <p:cNvPr id="10" name="TextBox 9"/>
          <p:cNvSpPr txBox="1"/>
          <p:nvPr/>
        </p:nvSpPr>
        <p:spPr>
          <a:xfrm>
            <a:off x="7618016" y="381000"/>
            <a:ext cx="3809008" cy="1905000"/>
          </a:xfrm>
          <a:prstGeom prst="rect">
            <a:avLst/>
          </a:prstGeom>
        </p:spPr>
        <p:txBody>
          <a:bodyPr vert="horz" wrap="square" lIns="108793" tIns="54397" rIns="108793" bIns="54397" rtlCol="0" anchor="ctr">
            <a:normAutofit/>
          </a:bodyPr>
          <a:lstStyle/>
          <a:p>
            <a:r>
              <a:rPr lang="en-US" sz="1999">
                <a:solidFill>
                  <a:schemeClr val="accent6"/>
                </a:solidFill>
                <a:latin typeface="Segoe UI" pitchFamily="34" charset="0"/>
                <a:ea typeface="Segoe UI" pitchFamily="34" charset="0"/>
                <a:cs typeface="Segoe UI" pitchFamily="34" charset="0"/>
              </a:rPr>
              <a:t>Click View &gt; Slide Master to insert a photo as </a:t>
            </a:r>
            <a:r>
              <a:rPr lang="en-US" sz="1999" baseline="0">
                <a:solidFill>
                  <a:schemeClr val="accent6"/>
                </a:solidFill>
                <a:latin typeface="Segoe UI" pitchFamily="34" charset="0"/>
                <a:ea typeface="Segoe UI" pitchFamily="34" charset="0"/>
                <a:cs typeface="Segoe UI" pitchFamily="34" charset="0"/>
              </a:rPr>
              <a:t>a background behind the colored boxes.</a:t>
            </a:r>
            <a:endParaRPr lang="en-US" sz="1999">
              <a:solidFill>
                <a:schemeClr val="accent6"/>
              </a:solidFill>
              <a:latin typeface="Segoe UI" pitchFamily="34" charset="0"/>
              <a:ea typeface="Segoe UI" pitchFamily="34" charset="0"/>
              <a:cs typeface="Segoe UI" pitchFamily="34" charset="0"/>
            </a:endParaRPr>
          </a:p>
        </p:txBody>
      </p:sp>
      <p:pic>
        <p:nvPicPr>
          <p:cNvPr id="12" name="Picture 11"/>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2822940" y="228600"/>
            <a:ext cx="1946596" cy="716042"/>
          </a:xfrm>
          <a:prstGeom prst="rect">
            <a:avLst/>
          </a:prstGeom>
        </p:spPr>
      </p:pic>
      <p:sp>
        <p:nvSpPr>
          <p:cNvPr id="15" name="TextBox 14"/>
          <p:cNvSpPr txBox="1"/>
          <p:nvPr/>
        </p:nvSpPr>
        <p:spPr>
          <a:xfrm>
            <a:off x="7618016" y="381000"/>
            <a:ext cx="3809008" cy="1905000"/>
          </a:xfrm>
          <a:prstGeom prst="rect">
            <a:avLst/>
          </a:prstGeom>
        </p:spPr>
        <p:txBody>
          <a:bodyPr vert="horz" wrap="square" lIns="108793" tIns="54397" rIns="108793" bIns="54397" rtlCol="0" anchor="ctr">
            <a:normAutofit/>
          </a:bodyPr>
          <a:lstStyle/>
          <a:p>
            <a:r>
              <a:rPr lang="en-US" sz="1999">
                <a:solidFill>
                  <a:schemeClr val="accent6"/>
                </a:solidFill>
                <a:latin typeface="Segoe UI" pitchFamily="34" charset="0"/>
                <a:ea typeface="Segoe UI" pitchFamily="34" charset="0"/>
                <a:cs typeface="Segoe UI" pitchFamily="34" charset="0"/>
              </a:rPr>
              <a:t>Click View &gt; Slide Master to insert a photo as </a:t>
            </a:r>
            <a:r>
              <a:rPr lang="en-US" sz="1999" baseline="0">
                <a:solidFill>
                  <a:schemeClr val="accent6"/>
                </a:solidFill>
                <a:latin typeface="Segoe UI" pitchFamily="34" charset="0"/>
                <a:ea typeface="Segoe UI" pitchFamily="34" charset="0"/>
                <a:cs typeface="Segoe UI" pitchFamily="34" charset="0"/>
              </a:rPr>
              <a:t>a background behind the colored boxes.</a:t>
            </a:r>
            <a:endParaRPr lang="en-US" sz="1999">
              <a:solidFill>
                <a:schemeClr val="accent6"/>
              </a:solidFill>
              <a:latin typeface="Segoe UI" pitchFamily="34" charset="0"/>
              <a:ea typeface="Segoe UI" pitchFamily="34" charset="0"/>
              <a:cs typeface="Segoe UI" pitchFamily="34" charset="0"/>
            </a:endParaRP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216" y="198357"/>
            <a:ext cx="1946596" cy="716042"/>
          </a:xfrm>
          <a:prstGeom prst="rect">
            <a:avLst/>
          </a:prstGeom>
        </p:spPr>
      </p:pic>
      <p:sp>
        <p:nvSpPr>
          <p:cNvPr id="14" name="TextBox 13"/>
          <p:cNvSpPr txBox="1"/>
          <p:nvPr userDrawn="1"/>
        </p:nvSpPr>
        <p:spPr>
          <a:xfrm>
            <a:off x="7618016" y="381000"/>
            <a:ext cx="3809008" cy="1905000"/>
          </a:xfrm>
          <a:prstGeom prst="rect">
            <a:avLst/>
          </a:prstGeom>
        </p:spPr>
        <p:txBody>
          <a:bodyPr vert="horz" wrap="square" lIns="108793" tIns="54397" rIns="108793" bIns="54397" rtlCol="0" anchor="ctr">
            <a:normAutofit/>
          </a:bodyPr>
          <a:lstStyle/>
          <a:p>
            <a:r>
              <a:rPr lang="en-US" sz="1999">
                <a:solidFill>
                  <a:schemeClr val="accent6"/>
                </a:solidFill>
                <a:latin typeface="Segoe UI" pitchFamily="34" charset="0"/>
                <a:ea typeface="Segoe UI" pitchFamily="34" charset="0"/>
                <a:cs typeface="Segoe UI" pitchFamily="34" charset="0"/>
              </a:rPr>
              <a:t>Click View &gt; Slide Master to insert a photo as </a:t>
            </a:r>
            <a:r>
              <a:rPr lang="en-US" sz="1999" baseline="0">
                <a:solidFill>
                  <a:schemeClr val="accent6"/>
                </a:solidFill>
                <a:latin typeface="Segoe UI" pitchFamily="34" charset="0"/>
                <a:ea typeface="Segoe UI" pitchFamily="34" charset="0"/>
                <a:cs typeface="Segoe UI" pitchFamily="34" charset="0"/>
              </a:rPr>
              <a:t>a background behind the colored boxes.</a:t>
            </a:r>
            <a:endParaRPr lang="en-US" sz="1999">
              <a:solidFill>
                <a:schemeClr val="accent6"/>
              </a:solidFill>
              <a:latin typeface="Segoe UI" pitchFamily="34" charset="0"/>
              <a:ea typeface="Segoe UI" pitchFamily="34" charset="0"/>
              <a:cs typeface="Segoe UI" pitchFamily="34" charset="0"/>
            </a:endParaRP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216" y="198357"/>
            <a:ext cx="1946596" cy="716042"/>
          </a:xfrm>
          <a:prstGeom prst="rect">
            <a:avLst/>
          </a:prstGeom>
        </p:spPr>
      </p:pic>
    </p:spTree>
    <p:extLst>
      <p:ext uri="{BB962C8B-B14F-4D97-AF65-F5344CB8AC3E}">
        <p14:creationId xmlns:p14="http://schemas.microsoft.com/office/powerpoint/2010/main" val="193128167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2_EXAMPLE ONLY: Title with photo">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4821" r="7186" b="16890"/>
          <a:stretch/>
        </p:blipFill>
        <p:spPr>
          <a:xfrm>
            <a:off x="1" y="-10886"/>
            <a:ext cx="12192000" cy="6858000"/>
          </a:xfrm>
          <a:prstGeom prst="rect">
            <a:avLst/>
          </a:prstGeom>
        </p:spPr>
      </p:pic>
      <p:pic>
        <p:nvPicPr>
          <p:cNvPr id="21" name="Picture 20"/>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9216" y="198359"/>
            <a:ext cx="1946596" cy="716043"/>
          </a:xfrm>
          <a:prstGeom prst="rect">
            <a:avLst/>
          </a:prstGeom>
        </p:spPr>
      </p:pic>
      <p:sp>
        <p:nvSpPr>
          <p:cNvPr id="12" name="Rectangle 11"/>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057400"/>
            <a:ext cx="5486400" cy="2743426"/>
          </a:xfrm>
          <a:noFill/>
        </p:spPr>
        <p:txBody>
          <a:bodyPr vert="horz" lIns="137160" tIns="182880" rIns="146304" bIns="91440" rtlCol="0" anchor="t" anchorCtr="0">
            <a:normAutofit/>
          </a:bodyPr>
          <a:lstStyle>
            <a:lvl1pPr>
              <a:defRPr lang="en-US" sz="4399"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13" y="4800600"/>
            <a:ext cx="5486400" cy="914400"/>
          </a:xfrm>
        </p:spPr>
        <p:txBody>
          <a:bodyPr lIns="137160" tIns="91440">
            <a:noAutofit/>
          </a:bodyPr>
          <a:lstStyle>
            <a:lvl1pPr marL="0" indent="0">
              <a:spcBef>
                <a:spcPts val="0"/>
              </a:spcBef>
              <a:buNone/>
              <a:defRPr sz="1999">
                <a:solidFill>
                  <a:schemeClr val="bg1"/>
                </a:solidFill>
              </a:defRPr>
            </a:lvl1pPr>
            <a:lvl2pPr marL="281589" indent="0">
              <a:buNone/>
              <a:defRPr sz="1999">
                <a:solidFill>
                  <a:schemeClr val="bg1"/>
                </a:solidFill>
              </a:defRPr>
            </a:lvl2pPr>
            <a:lvl3pPr marL="588299" indent="0">
              <a:buNone/>
              <a:defRPr sz="1999">
                <a:solidFill>
                  <a:schemeClr val="bg1"/>
                </a:solidFill>
              </a:defRPr>
            </a:lvl3pPr>
            <a:lvl4pPr marL="869889" indent="0">
              <a:buNone/>
              <a:defRPr sz="1999">
                <a:solidFill>
                  <a:schemeClr val="bg1"/>
                </a:solidFill>
              </a:defRPr>
            </a:lvl4pPr>
            <a:lvl5pPr marL="1105208" indent="0">
              <a:buNone/>
              <a:defRPr sz="1999">
                <a:solidFill>
                  <a:schemeClr val="bg1"/>
                </a:solidFill>
              </a:defRPr>
            </a:lvl5pPr>
          </a:lstStyle>
          <a:p>
            <a:pPr lvl="0"/>
            <a:r>
              <a:rPr lang="en-US"/>
              <a:t>Speaker Name</a:t>
            </a:r>
          </a:p>
        </p:txBody>
      </p:sp>
      <p:pic>
        <p:nvPicPr>
          <p:cNvPr id="8" name="Picture 7"/>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2185881" y="-7263"/>
            <a:ext cx="1946596" cy="716042"/>
          </a:xfrm>
          <a:prstGeom prst="rect">
            <a:avLst/>
          </a:prstGeom>
        </p:spPr>
      </p:pic>
      <p:pic>
        <p:nvPicPr>
          <p:cNvPr id="15" name="Picture 14"/>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2185881" y="-7263"/>
            <a:ext cx="1946596" cy="716042"/>
          </a:xfrm>
          <a:prstGeom prst="rect">
            <a:avLst/>
          </a:prstGeom>
        </p:spPr>
      </p:pic>
      <p:sp>
        <p:nvSpPr>
          <p:cNvPr id="14" name="Rectangle 13"/>
          <p:cNvSpPr/>
          <p:nvPr userDrawn="1"/>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pic>
        <p:nvPicPr>
          <p:cNvPr id="17" name="Picture 16"/>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2185881" y="-7263"/>
            <a:ext cx="1946596" cy="716042"/>
          </a:xfrm>
          <a:prstGeom prst="rect">
            <a:avLst/>
          </a:prstGeom>
        </p:spPr>
      </p:pic>
    </p:spTree>
    <p:extLst>
      <p:ext uri="{BB962C8B-B14F-4D97-AF65-F5344CB8AC3E}">
        <p14:creationId xmlns:p14="http://schemas.microsoft.com/office/powerpoint/2010/main" val="52934168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2420401" y="274207"/>
            <a:ext cx="1946596" cy="716043"/>
          </a:xfrm>
          <a:prstGeom prst="rect">
            <a:avLst/>
          </a:prstGeom>
        </p:spPr>
      </p:pic>
      <p:sp>
        <p:nvSpPr>
          <p:cNvPr id="13" name="Rectangle 12"/>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057400"/>
            <a:ext cx="5486400" cy="2743426"/>
          </a:xfrm>
          <a:noFill/>
        </p:spPr>
        <p:txBody>
          <a:bodyPr vert="horz" lIns="137160" tIns="137160" rIns="137160" bIns="137160" rtlCol="0" anchor="t" anchorCtr="0">
            <a:normAutofit/>
          </a:bodyPr>
          <a:lstStyle>
            <a:lvl1pPr>
              <a:defRPr lang="en-US" sz="4399"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13" y="4800600"/>
            <a:ext cx="5486400" cy="914400"/>
          </a:xfrm>
        </p:spPr>
        <p:txBody>
          <a:bodyPr lIns="137160" tIns="137160" rIns="137160" bIns="137160">
            <a:noAutofit/>
          </a:bodyPr>
          <a:lstStyle>
            <a:lvl1pPr marL="0" indent="0">
              <a:spcBef>
                <a:spcPts val="0"/>
              </a:spcBef>
              <a:buNone/>
              <a:defRPr sz="1999">
                <a:solidFill>
                  <a:schemeClr val="bg1"/>
                </a:solidFill>
              </a:defRPr>
            </a:lvl1pPr>
            <a:lvl2pPr marL="281589" indent="0">
              <a:buNone/>
              <a:defRPr sz="1999">
                <a:solidFill>
                  <a:schemeClr val="bg1"/>
                </a:solidFill>
              </a:defRPr>
            </a:lvl2pPr>
            <a:lvl3pPr marL="588299" indent="0">
              <a:buNone/>
              <a:defRPr sz="1999">
                <a:solidFill>
                  <a:schemeClr val="bg1"/>
                </a:solidFill>
              </a:defRPr>
            </a:lvl3pPr>
            <a:lvl4pPr marL="869889" indent="0">
              <a:buNone/>
              <a:defRPr sz="1999">
                <a:solidFill>
                  <a:schemeClr val="bg1"/>
                </a:solidFill>
              </a:defRPr>
            </a:lvl4pPr>
            <a:lvl5pPr marL="1105208" indent="0">
              <a:buNone/>
              <a:defRPr sz="1999">
                <a:solidFill>
                  <a:schemeClr val="bg1"/>
                </a:solidFill>
              </a:defRPr>
            </a:lvl5pPr>
          </a:lstStyle>
          <a:p>
            <a:pPr lvl="0"/>
            <a:r>
              <a:rPr lang="en-US"/>
              <a:t>Speaker Name</a:t>
            </a:r>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916" y="200779"/>
            <a:ext cx="1946593" cy="716042"/>
          </a:xfrm>
          <a:prstGeom prst="rect">
            <a:avLst/>
          </a:prstGeom>
        </p:spPr>
      </p:pic>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420401" y="274207"/>
            <a:ext cx="1946596" cy="716043"/>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916" y="200779"/>
            <a:ext cx="1946593" cy="716042"/>
          </a:xfrm>
          <a:prstGeom prst="rect">
            <a:avLst/>
          </a:prstGeom>
        </p:spPr>
      </p:pic>
    </p:spTree>
    <p:extLst>
      <p:ext uri="{BB962C8B-B14F-4D97-AF65-F5344CB8AC3E}">
        <p14:creationId xmlns:p14="http://schemas.microsoft.com/office/powerpoint/2010/main" val="752562881"/>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600"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159770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6"/>
            <a:ext cx="12188825"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a:t>Click to add subtitle</a:t>
            </a:r>
          </a:p>
        </p:txBody>
      </p:sp>
      <p:sp>
        <p:nvSpPr>
          <p:cNvPr id="16" name="Text Placeholder 15"/>
          <p:cNvSpPr>
            <a:spLocks noGrp="1"/>
          </p:cNvSpPr>
          <p:nvPr>
            <p:ph type="body" sz="quarter" idx="14"/>
          </p:nvPr>
        </p:nvSpPr>
        <p:spPr>
          <a:xfrm>
            <a:off x="150813" y="1600200"/>
            <a:ext cx="11887200"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pPr/>
              <a:t>‹#›</a:t>
            </a:fld>
            <a:endParaRPr lang="en-US"/>
          </a:p>
        </p:txBody>
      </p:sp>
      <p:sp>
        <p:nvSpPr>
          <p:cNvPr id="20" name="Footer Placeholder 19"/>
          <p:cNvSpPr>
            <a:spLocks noGrp="1"/>
          </p:cNvSpPr>
          <p:nvPr>
            <p:ph type="ftr" sz="quarter" idx="16"/>
          </p:nvPr>
        </p:nvSpPr>
        <p:spPr/>
        <p:txBody>
          <a:bodyPr/>
          <a:lstStyle/>
          <a:p>
            <a:endParaRPr lang="en-US"/>
          </a:p>
        </p:txBody>
      </p:sp>
    </p:spTree>
    <p:extLst>
      <p:ext uri="{BB962C8B-B14F-4D97-AF65-F5344CB8AC3E}">
        <p14:creationId xmlns:p14="http://schemas.microsoft.com/office/powerpoint/2010/main" val="977234222"/>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11427024" y="6478589"/>
            <a:ext cx="761800" cy="379413"/>
          </a:xfrm>
          <a:prstGeom prst="rect">
            <a:avLst/>
          </a:prstGeom>
        </p:spPr>
        <p:txBody>
          <a:bodyPr/>
          <a:lstStyle/>
          <a:p>
            <a:fld id="{6A4C1A4A-E5E6-4CC1-B72C-A20A4EB3E2D2}" type="slidenum">
              <a:rPr lang="en-US" smtClean="0"/>
              <a:pPr/>
              <a:t>‹#›</a:t>
            </a:fld>
            <a:endParaRPr lang="en-US"/>
          </a:p>
        </p:txBody>
      </p:sp>
      <p:sp>
        <p:nvSpPr>
          <p:cNvPr id="6" name="Text Placeholder 5"/>
          <p:cNvSpPr>
            <a:spLocks noGrp="1"/>
          </p:cNvSpPr>
          <p:nvPr>
            <p:ph type="body" sz="quarter" idx="13" hasCustomPrompt="1"/>
          </p:nvPr>
        </p:nvSpPr>
        <p:spPr>
          <a:xfrm>
            <a:off x="1" y="573606"/>
            <a:ext cx="12188825"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a:t>Click to add subtitle</a:t>
            </a:r>
          </a:p>
        </p:txBody>
      </p:sp>
    </p:spTree>
    <p:extLst>
      <p:ext uri="{BB962C8B-B14F-4D97-AF65-F5344CB8AC3E}">
        <p14:creationId xmlns:p14="http://schemas.microsoft.com/office/powerpoint/2010/main" val="1378333528"/>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150813" y="1600200"/>
            <a:ext cx="11887200"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589" indent="0">
              <a:buNone/>
              <a:defRPr>
                <a:solidFill>
                  <a:schemeClr val="tx1"/>
                </a:solidFill>
                <a:latin typeface="Courier New" pitchFamily="49" charset="0"/>
                <a:cs typeface="Courier New" pitchFamily="49" charset="0"/>
              </a:defRPr>
            </a:lvl2pPr>
            <a:lvl3pPr marL="588299" indent="0">
              <a:buNone/>
              <a:defRPr>
                <a:solidFill>
                  <a:schemeClr val="tx1"/>
                </a:solidFill>
                <a:latin typeface="Courier New" pitchFamily="49" charset="0"/>
                <a:cs typeface="Courier New" pitchFamily="49" charset="0"/>
              </a:defRPr>
            </a:lvl3pPr>
            <a:lvl4pPr marL="869889" indent="0">
              <a:buNone/>
              <a:defRPr>
                <a:solidFill>
                  <a:schemeClr val="tx1"/>
                </a:solidFill>
                <a:latin typeface="Courier New" pitchFamily="49" charset="0"/>
                <a:cs typeface="Courier New" pitchFamily="49" charset="0"/>
              </a:defRPr>
            </a:lvl4pPr>
            <a:lvl5pPr marL="1105208" indent="0">
              <a:buNone/>
              <a:defRPr>
                <a:solidFill>
                  <a:schemeClr val="tx1"/>
                </a:solidFill>
                <a:latin typeface="Courier New" pitchFamily="49" charset="0"/>
                <a:cs typeface="Courier New" pitchFamily="49"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nvPr>
        </p:nvSpPr>
        <p:spPr>
          <a:xfrm>
            <a:off x="1" y="573606"/>
            <a:ext cx="12188825"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a:t>Click to add subtitle</a:t>
            </a:r>
          </a:p>
        </p:txBody>
      </p:sp>
      <p:sp>
        <p:nvSpPr>
          <p:cNvPr id="6" name="Footer Placeholder 5"/>
          <p:cNvSpPr>
            <a:spLocks noGrp="1"/>
          </p:cNvSpPr>
          <p:nvPr>
            <p:ph type="ftr" sz="quarter" idx="16"/>
          </p:nvPr>
        </p:nvSpPr>
        <p:spPr/>
        <p:txBody>
          <a:bodyPr/>
          <a:lstStyle/>
          <a:p>
            <a:endParaRPr lang="en-US"/>
          </a:p>
        </p:txBody>
      </p:sp>
      <p:sp>
        <p:nvSpPr>
          <p:cNvPr id="10" name="Slide Number Placeholder 9"/>
          <p:cNvSpPr>
            <a:spLocks noGrp="1"/>
          </p:cNvSpPr>
          <p:nvPr>
            <p:ph type="sldNum" sz="quarter" idx="17"/>
          </p:nvPr>
        </p:nvSpPr>
        <p:spPr/>
        <p:txBody>
          <a:bodyPr/>
          <a:lstStyle/>
          <a:p>
            <a:fld id="{FAADACFB-7C71-4E89-89D2-7BBA40B7BFA9}" type="slidenum">
              <a:rPr lang="en-US" smtClean="0"/>
              <a:pPr/>
              <a:t>‹#›</a:t>
            </a:fld>
            <a:endParaRPr lang="en-US"/>
          </a:p>
        </p:txBody>
      </p:sp>
    </p:spTree>
    <p:extLst>
      <p:ext uri="{BB962C8B-B14F-4D97-AF65-F5344CB8AC3E}">
        <p14:creationId xmlns:p14="http://schemas.microsoft.com/office/powerpoint/2010/main" val="2587207175"/>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a:p>
        </p:txBody>
      </p:sp>
      <p:sp>
        <p:nvSpPr>
          <p:cNvPr id="3" name="Slide Number Placeholder 2"/>
          <p:cNvSpPr>
            <a:spLocks noGrp="1"/>
          </p:cNvSpPr>
          <p:nvPr>
            <p:ph type="sldNum" sz="quarter" idx="16"/>
          </p:nvPr>
        </p:nvSpPr>
        <p:spPr/>
        <p:txBody>
          <a:bodyPr/>
          <a:lstStyle/>
          <a:p>
            <a:fld id="{FAADACFB-7C71-4E89-89D2-7BBA40B7BFA9}" type="slidenum">
              <a:rPr lang="en-US" smtClean="0"/>
              <a:pPr/>
              <a:t>‹#›</a:t>
            </a:fld>
            <a:endParaRPr lang="en-US"/>
          </a:p>
        </p:txBody>
      </p:sp>
    </p:spTree>
    <p:extLst>
      <p:ext uri="{BB962C8B-B14F-4D97-AF65-F5344CB8AC3E}">
        <p14:creationId xmlns:p14="http://schemas.microsoft.com/office/powerpoint/2010/main" val="3836951777"/>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14" y="1143002"/>
            <a:ext cx="1005839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50812" y="3877278"/>
            <a:ext cx="10058401" cy="1837723"/>
          </a:xfrm>
          <a:noFill/>
        </p:spPr>
        <p:txBody>
          <a:bodyPr lIns="137160" tIns="137160" rIns="137160" bIns="137160">
            <a:noAutofit/>
          </a:bodyPr>
          <a:lstStyle>
            <a:lvl1pPr marL="0" indent="0">
              <a:spcBef>
                <a:spcPts val="0"/>
              </a:spcBef>
              <a:buNone/>
              <a:defRPr sz="2799"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99543827"/>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14"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14"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14" y="1143001"/>
            <a:ext cx="1005839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a:t>Video title</a:t>
            </a:r>
          </a:p>
        </p:txBody>
      </p:sp>
      <p:sp>
        <p:nvSpPr>
          <p:cNvPr id="5" name="Text Placeholder 4"/>
          <p:cNvSpPr>
            <a:spLocks noGrp="1"/>
          </p:cNvSpPr>
          <p:nvPr>
            <p:ph type="body" sz="quarter" idx="12" hasCustomPrompt="1"/>
          </p:nvPr>
        </p:nvSpPr>
        <p:spPr>
          <a:xfrm>
            <a:off x="150813" y="3886200"/>
            <a:ext cx="10058400" cy="1828800"/>
          </a:xfrm>
          <a:noFill/>
        </p:spPr>
        <p:txBody>
          <a:bodyPr lIns="137160" tIns="137160" rIns="137160" bIns="137160">
            <a:noAutofit/>
          </a:bodyPr>
          <a:lstStyle>
            <a:lvl1pPr marL="0" indent="0">
              <a:spcBef>
                <a:spcPts val="0"/>
              </a:spcBef>
              <a:buNone/>
              <a:defRPr sz="2799"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14"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49174917"/>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FFFFFF"/>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8844390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FFFFFF"/>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1794175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4606659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5899348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27012" y="1600200"/>
            <a:ext cx="11353800"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1584044427"/>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2757297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chemeClr val="tx1"/>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0702196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27012" y="1600200"/>
            <a:ext cx="11353800"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1" y="6238878"/>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99"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1896283040"/>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1799"/>
          </a:p>
        </p:txBody>
      </p:sp>
      <p:sp>
        <p:nvSpPr>
          <p:cNvPr id="4" name="Rectangle 3"/>
          <p:cNvSpPr/>
          <p:nvPr/>
        </p:nvSpPr>
        <p:spPr>
          <a:xfrm>
            <a:off x="1"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1799"/>
          </a:p>
        </p:txBody>
      </p:sp>
      <p:sp>
        <p:nvSpPr>
          <p:cNvPr id="8" name="Rectangle 7"/>
          <p:cNvSpPr/>
          <p:nvPr/>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1799"/>
          </a:p>
        </p:txBody>
      </p:sp>
      <p:pic>
        <p:nvPicPr>
          <p:cNvPr id="10" name="Picture 9"/>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117" y="2899240"/>
            <a:ext cx="2880367" cy="1059525"/>
          </a:xfrm>
          <a:prstGeom prst="rect">
            <a:avLst/>
          </a:prstGeom>
        </p:spPr>
      </p:pic>
      <p:sp>
        <p:nvSpPr>
          <p:cNvPr id="6" name="Rectangle 5"/>
          <p:cNvSpPr/>
          <p:nvPr/>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1799"/>
          </a:p>
        </p:txBody>
      </p:sp>
      <p:pic>
        <p:nvPicPr>
          <p:cNvPr id="7" name="Picture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117" y="2899240"/>
            <a:ext cx="2880367" cy="1059525"/>
          </a:xfrm>
          <a:prstGeom prst="rect">
            <a:avLst/>
          </a:prstGeom>
        </p:spPr>
      </p:pic>
      <p:sp>
        <p:nvSpPr>
          <p:cNvPr id="9" name="Rectangle 8"/>
          <p:cNvSpPr/>
          <p:nvPr userDrawn="1"/>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1799"/>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46117" y="2899240"/>
            <a:ext cx="2880367" cy="1059525"/>
          </a:xfrm>
          <a:prstGeom prst="rect">
            <a:avLst/>
          </a:prstGeom>
        </p:spPr>
      </p:pic>
    </p:spTree>
    <p:extLst>
      <p:ext uri="{BB962C8B-B14F-4D97-AF65-F5344CB8AC3E}">
        <p14:creationId xmlns:p14="http://schemas.microsoft.com/office/powerpoint/2010/main" val="214758076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7_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3047206" y="6477875"/>
            <a:ext cx="8379817" cy="380127"/>
          </a:xfrm>
          <a:prstGeom prst="rect">
            <a:avLst/>
          </a:prstGeom>
        </p:spPr>
        <p:txBody>
          <a:bodyPr/>
          <a:lstStyle/>
          <a:p>
            <a:r>
              <a:rPr lang="en-US">
                <a:gradFill>
                  <a:gsLst>
                    <a:gs pos="0">
                      <a:srgbClr val="505050"/>
                    </a:gs>
                    <a:gs pos="100000">
                      <a:srgbClr val="505050"/>
                    </a:gs>
                  </a:gsLst>
                  <a:lin ang="5400000" scaled="1"/>
                </a:gradFill>
              </a:rPr>
              <a:t>May 7–8, 2013 | Redmond, WA</a:t>
            </a:r>
          </a:p>
        </p:txBody>
      </p:sp>
      <p:sp>
        <p:nvSpPr>
          <p:cNvPr id="3" name="Slide Number Placeholder 2"/>
          <p:cNvSpPr>
            <a:spLocks noGrp="1"/>
          </p:cNvSpPr>
          <p:nvPr>
            <p:ph type="sldNum" sz="quarter" idx="11"/>
          </p:nvPr>
        </p:nvSpPr>
        <p:spPr>
          <a:xfrm>
            <a:off x="11427025" y="6477874"/>
            <a:ext cx="761800" cy="380126"/>
          </a:xfrm>
          <a:prstGeom prst="rect">
            <a:avLst/>
          </a:prstGeom>
        </p:spPr>
        <p:txBody>
          <a:bodyPr/>
          <a:lstStyle/>
          <a:p>
            <a:fld id="{46E11C5F-37F9-41A4-9E6C-A83BC7F7D459}" type="slidenum">
              <a:rPr>
                <a:gradFill>
                  <a:gsLst>
                    <a:gs pos="0">
                      <a:srgbClr val="505050"/>
                    </a:gs>
                    <a:gs pos="100000">
                      <a:srgbClr val="505050"/>
                    </a:gs>
                  </a:gsLst>
                  <a:lin ang="5400000" scaled="1"/>
                </a:gradFill>
              </a:rPr>
              <a:pPr/>
              <a:t>‹#›</a:t>
            </a:fld>
            <a:endParaRPr>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1404806006"/>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cSld name="3_EXAMPLE ONLY: Title with photo">
    <p:bg>
      <p:bgPr>
        <a:solidFill>
          <a:srgbClr val="002050"/>
        </a:solidFill>
        <a:effectLst/>
      </p:bgPr>
    </p:bg>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9216" y="198357"/>
            <a:ext cx="1946596" cy="716042"/>
          </a:xfrm>
          <a:prstGeom prst="rect">
            <a:avLst/>
          </a:prstGeom>
        </p:spPr>
      </p:pic>
      <p:pic>
        <p:nvPicPr>
          <p:cNvPr id="21" name="Picture 20"/>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495438" y="1139489"/>
            <a:ext cx="1946596" cy="716043"/>
          </a:xfrm>
          <a:prstGeom prst="rect">
            <a:avLst/>
          </a:prstGeom>
        </p:spPr>
      </p:pic>
      <p:sp>
        <p:nvSpPr>
          <p:cNvPr id="12" name="Rectangle 11"/>
          <p:cNvSpPr/>
          <p:nvPr userDrawn="1"/>
        </p:nvSpPr>
        <p:spPr bwMode="gray">
          <a:xfrm>
            <a:off x="150813" y="2057400"/>
            <a:ext cx="5486400" cy="3657600"/>
          </a:xfrm>
          <a:prstGeom prst="rect">
            <a:avLst/>
          </a:prstGeom>
          <a:solidFill>
            <a:schemeClr val="tx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userDrawn="1">
            <p:ph type="title" hasCustomPrompt="1"/>
          </p:nvPr>
        </p:nvSpPr>
        <p:spPr bwMode="ltGray">
          <a:xfrm>
            <a:off x="150813" y="2057400"/>
            <a:ext cx="5486400" cy="2743426"/>
          </a:xfrm>
          <a:noFill/>
        </p:spPr>
        <p:txBody>
          <a:bodyPr vert="horz" lIns="137160" tIns="182880" rIns="146304" bIns="91440" rtlCol="0" anchor="t" anchorCtr="0">
            <a:normAutofit/>
          </a:bodyPr>
          <a:lstStyle>
            <a:lvl1pPr>
              <a:defRPr lang="en-US" sz="4399"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userDrawn="1">
            <p:ph type="body" sz="quarter" idx="10" hasCustomPrompt="1"/>
          </p:nvPr>
        </p:nvSpPr>
        <p:spPr>
          <a:xfrm>
            <a:off x="150813" y="4800600"/>
            <a:ext cx="5486400" cy="914400"/>
          </a:xfrm>
        </p:spPr>
        <p:txBody>
          <a:bodyPr lIns="137160" tIns="91440">
            <a:noAutofit/>
          </a:bodyPr>
          <a:lstStyle>
            <a:lvl1pPr marL="0" indent="0">
              <a:spcBef>
                <a:spcPts val="0"/>
              </a:spcBef>
              <a:buNone/>
              <a:defRPr sz="1999">
                <a:solidFill>
                  <a:schemeClr val="bg1"/>
                </a:solidFill>
              </a:defRPr>
            </a:lvl1pPr>
            <a:lvl2pPr marL="281589" indent="0">
              <a:buNone/>
              <a:defRPr sz="1999">
                <a:solidFill>
                  <a:schemeClr val="bg1"/>
                </a:solidFill>
              </a:defRPr>
            </a:lvl2pPr>
            <a:lvl3pPr marL="588299" indent="0">
              <a:buNone/>
              <a:defRPr sz="1999">
                <a:solidFill>
                  <a:schemeClr val="bg1"/>
                </a:solidFill>
              </a:defRPr>
            </a:lvl3pPr>
            <a:lvl4pPr marL="869889" indent="0">
              <a:buNone/>
              <a:defRPr sz="1999">
                <a:solidFill>
                  <a:schemeClr val="bg1"/>
                </a:solidFill>
              </a:defRPr>
            </a:lvl4pPr>
            <a:lvl5pPr marL="1105208" indent="0">
              <a:buNone/>
              <a:defRPr sz="1999">
                <a:solidFill>
                  <a:schemeClr val="bg1"/>
                </a:solidFill>
              </a:defRPr>
            </a:lvl5pPr>
          </a:lstStyle>
          <a:p>
            <a:pPr lvl="0"/>
            <a:r>
              <a:rPr lang="en-US"/>
              <a:t>Speaker Nam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185881" y="-7263"/>
            <a:ext cx="1946596" cy="716042"/>
          </a:xfrm>
          <a:prstGeom prst="rect">
            <a:avLst/>
          </a:prstGeom>
        </p:spPr>
      </p:pic>
      <p:pic>
        <p:nvPicPr>
          <p:cNvPr id="15" name="Picture 1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185881" y="-7263"/>
            <a:ext cx="1946596" cy="716042"/>
          </a:xfrm>
          <a:prstGeom prst="rect">
            <a:avLst/>
          </a:prstGeom>
        </p:spPr>
      </p:pic>
      <p:grpSp>
        <p:nvGrpSpPr>
          <p:cNvPr id="181" name="Group 180"/>
          <p:cNvGrpSpPr>
            <a:grpSpLocks noChangeAspect="1"/>
          </p:cNvGrpSpPr>
          <p:nvPr userDrawn="1"/>
        </p:nvGrpSpPr>
        <p:grpSpPr bwMode="auto">
          <a:xfrm>
            <a:off x="897328" y="2795139"/>
            <a:ext cx="11297847" cy="4062863"/>
            <a:chOff x="949" y="1906"/>
            <a:chExt cx="6735" cy="2422"/>
          </a:xfrm>
        </p:grpSpPr>
        <p:sp>
          <p:nvSpPr>
            <p:cNvPr id="185" name="AutoShape 3"/>
            <p:cNvSpPr>
              <a:spLocks noChangeAspect="1" noChangeArrowheads="1" noTextEdit="1"/>
            </p:cNvSpPr>
            <p:nvPr/>
          </p:nvSpPr>
          <p:spPr bwMode="auto">
            <a:xfrm>
              <a:off x="950" y="1921"/>
              <a:ext cx="6732" cy="24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86" name="Freeform 5"/>
            <p:cNvSpPr>
              <a:spLocks/>
            </p:cNvSpPr>
            <p:nvPr/>
          </p:nvSpPr>
          <p:spPr bwMode="auto">
            <a:xfrm>
              <a:off x="6292" y="2951"/>
              <a:ext cx="1392" cy="1188"/>
            </a:xfrm>
            <a:custGeom>
              <a:avLst/>
              <a:gdLst>
                <a:gd name="T0" fmla="*/ 0 w 1392"/>
                <a:gd name="T1" fmla="*/ 0 h 1188"/>
                <a:gd name="T2" fmla="*/ 1392 w 1392"/>
                <a:gd name="T3" fmla="*/ 0 h 1188"/>
                <a:gd name="T4" fmla="*/ 1392 w 1392"/>
                <a:gd name="T5" fmla="*/ 1188 h 1188"/>
                <a:gd name="T6" fmla="*/ 0 w 1392"/>
                <a:gd name="T7" fmla="*/ 1188 h 1188"/>
                <a:gd name="T8" fmla="*/ 0 w 1392"/>
                <a:gd name="T9" fmla="*/ 0 h 1188"/>
                <a:gd name="T10" fmla="*/ 0 w 1392"/>
                <a:gd name="T11" fmla="*/ 0 h 1188"/>
              </a:gdLst>
              <a:ahLst/>
              <a:cxnLst>
                <a:cxn ang="0">
                  <a:pos x="T0" y="T1"/>
                </a:cxn>
                <a:cxn ang="0">
                  <a:pos x="T2" y="T3"/>
                </a:cxn>
                <a:cxn ang="0">
                  <a:pos x="T4" y="T5"/>
                </a:cxn>
                <a:cxn ang="0">
                  <a:pos x="T6" y="T7"/>
                </a:cxn>
                <a:cxn ang="0">
                  <a:pos x="T8" y="T9"/>
                </a:cxn>
                <a:cxn ang="0">
                  <a:pos x="T10" y="T11"/>
                </a:cxn>
              </a:cxnLst>
              <a:rect l="0" t="0" r="r" b="b"/>
              <a:pathLst>
                <a:path w="1392" h="1188">
                  <a:moveTo>
                    <a:pt x="0" y="0"/>
                  </a:moveTo>
                  <a:lnTo>
                    <a:pt x="1392" y="0"/>
                  </a:lnTo>
                  <a:lnTo>
                    <a:pt x="1392" y="1188"/>
                  </a:lnTo>
                  <a:lnTo>
                    <a:pt x="0" y="1188"/>
                  </a:lnTo>
                  <a:lnTo>
                    <a:pt x="0" y="0"/>
                  </a:lnTo>
                  <a:lnTo>
                    <a:pt x="0"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87" name="Freeform 6"/>
            <p:cNvSpPr>
              <a:spLocks/>
            </p:cNvSpPr>
            <p:nvPr/>
          </p:nvSpPr>
          <p:spPr bwMode="auto">
            <a:xfrm>
              <a:off x="6389" y="2703"/>
              <a:ext cx="1295" cy="1172"/>
            </a:xfrm>
            <a:custGeom>
              <a:avLst/>
              <a:gdLst>
                <a:gd name="T0" fmla="*/ 0 w 1295"/>
                <a:gd name="T1" fmla="*/ 0 h 1172"/>
                <a:gd name="T2" fmla="*/ 1295 w 1295"/>
                <a:gd name="T3" fmla="*/ 0 h 1172"/>
                <a:gd name="T4" fmla="*/ 1295 w 1295"/>
                <a:gd name="T5" fmla="*/ 1172 h 1172"/>
                <a:gd name="T6" fmla="*/ 0 w 1295"/>
                <a:gd name="T7" fmla="*/ 1172 h 1172"/>
                <a:gd name="T8" fmla="*/ 0 w 1295"/>
                <a:gd name="T9" fmla="*/ 0 h 1172"/>
                <a:gd name="T10" fmla="*/ 0 w 1295"/>
                <a:gd name="T11" fmla="*/ 0 h 1172"/>
              </a:gdLst>
              <a:ahLst/>
              <a:cxnLst>
                <a:cxn ang="0">
                  <a:pos x="T0" y="T1"/>
                </a:cxn>
                <a:cxn ang="0">
                  <a:pos x="T2" y="T3"/>
                </a:cxn>
                <a:cxn ang="0">
                  <a:pos x="T4" y="T5"/>
                </a:cxn>
                <a:cxn ang="0">
                  <a:pos x="T6" y="T7"/>
                </a:cxn>
                <a:cxn ang="0">
                  <a:pos x="T8" y="T9"/>
                </a:cxn>
                <a:cxn ang="0">
                  <a:pos x="T10" y="T11"/>
                </a:cxn>
              </a:cxnLst>
              <a:rect l="0" t="0" r="r" b="b"/>
              <a:pathLst>
                <a:path w="1295" h="1172">
                  <a:moveTo>
                    <a:pt x="0" y="0"/>
                  </a:moveTo>
                  <a:lnTo>
                    <a:pt x="1295" y="0"/>
                  </a:lnTo>
                  <a:lnTo>
                    <a:pt x="1295" y="1172"/>
                  </a:lnTo>
                  <a:lnTo>
                    <a:pt x="0" y="1172"/>
                  </a:lnTo>
                  <a:lnTo>
                    <a:pt x="0" y="0"/>
                  </a:lnTo>
                  <a:lnTo>
                    <a:pt x="0" y="0"/>
                  </a:lnTo>
                  <a:close/>
                </a:path>
              </a:pathLst>
            </a:custGeom>
            <a:solidFill>
              <a:schemeClr val="bg2">
                <a:lumMod val="90000"/>
                <a:lumOff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88" name="Freeform 7"/>
            <p:cNvSpPr>
              <a:spLocks/>
            </p:cNvSpPr>
            <p:nvPr/>
          </p:nvSpPr>
          <p:spPr bwMode="auto">
            <a:xfrm>
              <a:off x="6623" y="2173"/>
              <a:ext cx="1061" cy="1074"/>
            </a:xfrm>
            <a:custGeom>
              <a:avLst/>
              <a:gdLst>
                <a:gd name="T0" fmla="*/ 0 w 1061"/>
                <a:gd name="T1" fmla="*/ 0 h 679"/>
                <a:gd name="T2" fmla="*/ 1061 w 1061"/>
                <a:gd name="T3" fmla="*/ 0 h 679"/>
                <a:gd name="T4" fmla="*/ 1061 w 1061"/>
                <a:gd name="T5" fmla="*/ 679 h 679"/>
                <a:gd name="T6" fmla="*/ 0 w 1061"/>
                <a:gd name="T7" fmla="*/ 679 h 679"/>
                <a:gd name="T8" fmla="*/ 0 w 1061"/>
                <a:gd name="T9" fmla="*/ 0 h 679"/>
                <a:gd name="T10" fmla="*/ 0 w 1061"/>
                <a:gd name="T11" fmla="*/ 0 h 679"/>
              </a:gdLst>
              <a:ahLst/>
              <a:cxnLst>
                <a:cxn ang="0">
                  <a:pos x="T0" y="T1"/>
                </a:cxn>
                <a:cxn ang="0">
                  <a:pos x="T2" y="T3"/>
                </a:cxn>
                <a:cxn ang="0">
                  <a:pos x="T4" y="T5"/>
                </a:cxn>
                <a:cxn ang="0">
                  <a:pos x="T6" y="T7"/>
                </a:cxn>
                <a:cxn ang="0">
                  <a:pos x="T8" y="T9"/>
                </a:cxn>
                <a:cxn ang="0">
                  <a:pos x="T10" y="T11"/>
                </a:cxn>
              </a:cxnLst>
              <a:rect l="0" t="0" r="r" b="b"/>
              <a:pathLst>
                <a:path w="1061" h="679">
                  <a:moveTo>
                    <a:pt x="0" y="0"/>
                  </a:moveTo>
                  <a:lnTo>
                    <a:pt x="1061" y="0"/>
                  </a:lnTo>
                  <a:lnTo>
                    <a:pt x="1061" y="679"/>
                  </a:lnTo>
                  <a:lnTo>
                    <a:pt x="0" y="679"/>
                  </a:lnTo>
                  <a:lnTo>
                    <a:pt x="0" y="0"/>
                  </a:lnTo>
                  <a:lnTo>
                    <a:pt x="0" y="0"/>
                  </a:lnTo>
                  <a:close/>
                </a:path>
              </a:pathLst>
            </a:custGeom>
            <a:solidFill>
              <a:schemeClr val="bg2">
                <a:lumMod val="90000"/>
                <a:lumOff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89" name="Freeform 8"/>
            <p:cNvSpPr>
              <a:spLocks/>
            </p:cNvSpPr>
            <p:nvPr/>
          </p:nvSpPr>
          <p:spPr bwMode="auto">
            <a:xfrm>
              <a:off x="6699" y="3404"/>
              <a:ext cx="985" cy="924"/>
            </a:xfrm>
            <a:custGeom>
              <a:avLst/>
              <a:gdLst>
                <a:gd name="T0" fmla="*/ 0 w 985"/>
                <a:gd name="T1" fmla="*/ 0 h 924"/>
                <a:gd name="T2" fmla="*/ 985 w 985"/>
                <a:gd name="T3" fmla="*/ 0 h 924"/>
                <a:gd name="T4" fmla="*/ 985 w 985"/>
                <a:gd name="T5" fmla="*/ 924 h 924"/>
                <a:gd name="T6" fmla="*/ 0 w 985"/>
                <a:gd name="T7" fmla="*/ 924 h 924"/>
                <a:gd name="T8" fmla="*/ 0 w 985"/>
                <a:gd name="T9" fmla="*/ 0 h 924"/>
                <a:gd name="T10" fmla="*/ 0 w 985"/>
                <a:gd name="T11" fmla="*/ 0 h 924"/>
              </a:gdLst>
              <a:ahLst/>
              <a:cxnLst>
                <a:cxn ang="0">
                  <a:pos x="T0" y="T1"/>
                </a:cxn>
                <a:cxn ang="0">
                  <a:pos x="T2" y="T3"/>
                </a:cxn>
                <a:cxn ang="0">
                  <a:pos x="T4" y="T5"/>
                </a:cxn>
                <a:cxn ang="0">
                  <a:pos x="T6" y="T7"/>
                </a:cxn>
                <a:cxn ang="0">
                  <a:pos x="T8" y="T9"/>
                </a:cxn>
                <a:cxn ang="0">
                  <a:pos x="T10" y="T11"/>
                </a:cxn>
              </a:cxnLst>
              <a:rect l="0" t="0" r="r" b="b"/>
              <a:pathLst>
                <a:path w="985" h="924">
                  <a:moveTo>
                    <a:pt x="0" y="0"/>
                  </a:moveTo>
                  <a:lnTo>
                    <a:pt x="985" y="0"/>
                  </a:lnTo>
                  <a:lnTo>
                    <a:pt x="985" y="924"/>
                  </a:lnTo>
                  <a:lnTo>
                    <a:pt x="0" y="924"/>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90" name="Freeform 9"/>
            <p:cNvSpPr>
              <a:spLocks/>
            </p:cNvSpPr>
            <p:nvPr/>
          </p:nvSpPr>
          <p:spPr bwMode="auto">
            <a:xfrm>
              <a:off x="5694" y="2951"/>
              <a:ext cx="837" cy="924"/>
            </a:xfrm>
            <a:custGeom>
              <a:avLst/>
              <a:gdLst>
                <a:gd name="T0" fmla="*/ 0 w 837"/>
                <a:gd name="T1" fmla="*/ 0 h 924"/>
                <a:gd name="T2" fmla="*/ 837 w 837"/>
                <a:gd name="T3" fmla="*/ 0 h 924"/>
                <a:gd name="T4" fmla="*/ 837 w 837"/>
                <a:gd name="T5" fmla="*/ 924 h 924"/>
                <a:gd name="T6" fmla="*/ 0 w 837"/>
                <a:gd name="T7" fmla="*/ 924 h 924"/>
                <a:gd name="T8" fmla="*/ 0 w 837"/>
                <a:gd name="T9" fmla="*/ 0 h 924"/>
                <a:gd name="T10" fmla="*/ 0 w 837"/>
                <a:gd name="T11" fmla="*/ 0 h 924"/>
              </a:gdLst>
              <a:ahLst/>
              <a:cxnLst>
                <a:cxn ang="0">
                  <a:pos x="T0" y="T1"/>
                </a:cxn>
                <a:cxn ang="0">
                  <a:pos x="T2" y="T3"/>
                </a:cxn>
                <a:cxn ang="0">
                  <a:pos x="T4" y="T5"/>
                </a:cxn>
                <a:cxn ang="0">
                  <a:pos x="T6" y="T7"/>
                </a:cxn>
                <a:cxn ang="0">
                  <a:pos x="T8" y="T9"/>
                </a:cxn>
                <a:cxn ang="0">
                  <a:pos x="T10" y="T11"/>
                </a:cxn>
              </a:cxnLst>
              <a:rect l="0" t="0" r="r" b="b"/>
              <a:pathLst>
                <a:path w="837" h="924">
                  <a:moveTo>
                    <a:pt x="0" y="0"/>
                  </a:moveTo>
                  <a:lnTo>
                    <a:pt x="837" y="0"/>
                  </a:lnTo>
                  <a:lnTo>
                    <a:pt x="837" y="924"/>
                  </a:lnTo>
                  <a:lnTo>
                    <a:pt x="0" y="924"/>
                  </a:lnTo>
                  <a:lnTo>
                    <a:pt x="0" y="0"/>
                  </a:lnTo>
                  <a:lnTo>
                    <a:pt x="0" y="0"/>
                  </a:lnTo>
                  <a:close/>
                </a:path>
              </a:pathLst>
            </a:custGeom>
            <a:solidFill>
              <a:schemeClr val="bg2">
                <a:lumMod val="90000"/>
                <a:lumOff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91" name="Freeform 10"/>
            <p:cNvSpPr>
              <a:spLocks/>
            </p:cNvSpPr>
            <p:nvPr/>
          </p:nvSpPr>
          <p:spPr bwMode="auto">
            <a:xfrm>
              <a:off x="3956" y="3398"/>
              <a:ext cx="189" cy="581"/>
            </a:xfrm>
            <a:custGeom>
              <a:avLst/>
              <a:gdLst>
                <a:gd name="T0" fmla="*/ 106 w 129"/>
                <a:gd name="T1" fmla="*/ 77 h 396"/>
                <a:gd name="T2" fmla="*/ 106 w 129"/>
                <a:gd name="T3" fmla="*/ 77 h 396"/>
                <a:gd name="T4" fmla="*/ 106 w 129"/>
                <a:gd name="T5" fmla="*/ 77 h 396"/>
                <a:gd name="T6" fmla="*/ 79 w 129"/>
                <a:gd name="T7" fmla="*/ 74 h 396"/>
                <a:gd name="T8" fmla="*/ 76 w 129"/>
                <a:gd name="T9" fmla="*/ 71 h 396"/>
                <a:gd name="T10" fmla="*/ 76 w 129"/>
                <a:gd name="T11" fmla="*/ 62 h 396"/>
                <a:gd name="T12" fmla="*/ 85 w 129"/>
                <a:gd name="T13" fmla="*/ 44 h 396"/>
                <a:gd name="T14" fmla="*/ 88 w 129"/>
                <a:gd name="T15" fmla="*/ 41 h 396"/>
                <a:gd name="T16" fmla="*/ 88 w 129"/>
                <a:gd name="T17" fmla="*/ 33 h 396"/>
                <a:gd name="T18" fmla="*/ 88 w 129"/>
                <a:gd name="T19" fmla="*/ 30 h 396"/>
                <a:gd name="T20" fmla="*/ 76 w 129"/>
                <a:gd name="T21" fmla="*/ 6 h 396"/>
                <a:gd name="T22" fmla="*/ 70 w 129"/>
                <a:gd name="T23" fmla="*/ 6 h 396"/>
                <a:gd name="T24" fmla="*/ 47 w 129"/>
                <a:gd name="T25" fmla="*/ 3 h 396"/>
                <a:gd name="T26" fmla="*/ 38 w 129"/>
                <a:gd name="T27" fmla="*/ 30 h 396"/>
                <a:gd name="T28" fmla="*/ 38 w 129"/>
                <a:gd name="T29" fmla="*/ 33 h 396"/>
                <a:gd name="T30" fmla="*/ 38 w 129"/>
                <a:gd name="T31" fmla="*/ 41 h 396"/>
                <a:gd name="T32" fmla="*/ 41 w 129"/>
                <a:gd name="T33" fmla="*/ 44 h 396"/>
                <a:gd name="T34" fmla="*/ 50 w 129"/>
                <a:gd name="T35" fmla="*/ 62 h 396"/>
                <a:gd name="T36" fmla="*/ 50 w 129"/>
                <a:gd name="T37" fmla="*/ 71 h 396"/>
                <a:gd name="T38" fmla="*/ 47 w 129"/>
                <a:gd name="T39" fmla="*/ 74 h 396"/>
                <a:gd name="T40" fmla="*/ 23 w 129"/>
                <a:gd name="T41" fmla="*/ 77 h 396"/>
                <a:gd name="T42" fmla="*/ 23 w 129"/>
                <a:gd name="T43" fmla="*/ 80 h 396"/>
                <a:gd name="T44" fmla="*/ 0 w 129"/>
                <a:gd name="T45" fmla="*/ 219 h 396"/>
                <a:gd name="T46" fmla="*/ 3 w 129"/>
                <a:gd name="T47" fmla="*/ 219 h 396"/>
                <a:gd name="T48" fmla="*/ 3 w 129"/>
                <a:gd name="T49" fmla="*/ 230 h 396"/>
                <a:gd name="T50" fmla="*/ 12 w 129"/>
                <a:gd name="T51" fmla="*/ 236 h 396"/>
                <a:gd name="T52" fmla="*/ 18 w 129"/>
                <a:gd name="T53" fmla="*/ 230 h 396"/>
                <a:gd name="T54" fmla="*/ 23 w 129"/>
                <a:gd name="T55" fmla="*/ 396 h 396"/>
                <a:gd name="T56" fmla="*/ 56 w 129"/>
                <a:gd name="T57" fmla="*/ 396 h 396"/>
                <a:gd name="T58" fmla="*/ 79 w 129"/>
                <a:gd name="T59" fmla="*/ 396 h 396"/>
                <a:gd name="T60" fmla="*/ 103 w 129"/>
                <a:gd name="T61" fmla="*/ 396 h 396"/>
                <a:gd name="T62" fmla="*/ 109 w 129"/>
                <a:gd name="T63" fmla="*/ 230 h 396"/>
                <a:gd name="T64" fmla="*/ 117 w 129"/>
                <a:gd name="T65" fmla="*/ 236 h 396"/>
                <a:gd name="T66" fmla="*/ 126 w 129"/>
                <a:gd name="T67" fmla="*/ 230 h 396"/>
                <a:gd name="T68" fmla="*/ 126 w 129"/>
                <a:gd name="T69" fmla="*/ 219 h 396"/>
                <a:gd name="T70" fmla="*/ 129 w 129"/>
                <a:gd name="T71" fmla="*/ 219 h 396"/>
                <a:gd name="T72" fmla="*/ 106 w 129"/>
                <a:gd name="T73" fmla="*/ 77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9" h="396">
                  <a:moveTo>
                    <a:pt x="106" y="77"/>
                  </a:moveTo>
                  <a:cubicBezTo>
                    <a:pt x="106" y="77"/>
                    <a:pt x="106" y="77"/>
                    <a:pt x="106" y="77"/>
                  </a:cubicBezTo>
                  <a:cubicBezTo>
                    <a:pt x="106" y="77"/>
                    <a:pt x="106" y="77"/>
                    <a:pt x="106" y="77"/>
                  </a:cubicBezTo>
                  <a:cubicBezTo>
                    <a:pt x="79" y="74"/>
                    <a:pt x="79" y="74"/>
                    <a:pt x="79" y="74"/>
                  </a:cubicBezTo>
                  <a:cubicBezTo>
                    <a:pt x="76" y="71"/>
                    <a:pt x="76" y="71"/>
                    <a:pt x="76" y="71"/>
                  </a:cubicBezTo>
                  <a:cubicBezTo>
                    <a:pt x="76" y="62"/>
                    <a:pt x="76" y="62"/>
                    <a:pt x="76" y="62"/>
                  </a:cubicBezTo>
                  <a:cubicBezTo>
                    <a:pt x="79" y="56"/>
                    <a:pt x="85" y="44"/>
                    <a:pt x="85" y="44"/>
                  </a:cubicBezTo>
                  <a:cubicBezTo>
                    <a:pt x="88" y="44"/>
                    <a:pt x="88" y="44"/>
                    <a:pt x="88" y="41"/>
                  </a:cubicBezTo>
                  <a:cubicBezTo>
                    <a:pt x="88" y="33"/>
                    <a:pt x="88" y="33"/>
                    <a:pt x="88" y="33"/>
                  </a:cubicBezTo>
                  <a:cubicBezTo>
                    <a:pt x="88" y="33"/>
                    <a:pt x="88" y="33"/>
                    <a:pt x="88" y="30"/>
                  </a:cubicBezTo>
                  <a:cubicBezTo>
                    <a:pt x="88" y="21"/>
                    <a:pt x="88" y="9"/>
                    <a:pt x="76" y="6"/>
                  </a:cubicBezTo>
                  <a:cubicBezTo>
                    <a:pt x="76" y="6"/>
                    <a:pt x="73" y="6"/>
                    <a:pt x="70" y="6"/>
                  </a:cubicBezTo>
                  <a:cubicBezTo>
                    <a:pt x="65" y="0"/>
                    <a:pt x="56" y="0"/>
                    <a:pt x="47" y="3"/>
                  </a:cubicBezTo>
                  <a:cubicBezTo>
                    <a:pt x="38" y="9"/>
                    <a:pt x="38" y="18"/>
                    <a:pt x="38" y="30"/>
                  </a:cubicBezTo>
                  <a:cubicBezTo>
                    <a:pt x="38" y="33"/>
                    <a:pt x="38" y="33"/>
                    <a:pt x="38" y="33"/>
                  </a:cubicBezTo>
                  <a:cubicBezTo>
                    <a:pt x="38" y="41"/>
                    <a:pt x="38" y="41"/>
                    <a:pt x="38" y="41"/>
                  </a:cubicBezTo>
                  <a:cubicBezTo>
                    <a:pt x="38" y="44"/>
                    <a:pt x="38" y="44"/>
                    <a:pt x="41" y="44"/>
                  </a:cubicBezTo>
                  <a:cubicBezTo>
                    <a:pt x="41" y="44"/>
                    <a:pt x="47" y="59"/>
                    <a:pt x="50" y="62"/>
                  </a:cubicBezTo>
                  <a:cubicBezTo>
                    <a:pt x="50" y="71"/>
                    <a:pt x="50" y="71"/>
                    <a:pt x="50" y="71"/>
                  </a:cubicBezTo>
                  <a:cubicBezTo>
                    <a:pt x="47" y="74"/>
                    <a:pt x="47" y="74"/>
                    <a:pt x="47" y="74"/>
                  </a:cubicBezTo>
                  <a:cubicBezTo>
                    <a:pt x="23" y="77"/>
                    <a:pt x="23" y="77"/>
                    <a:pt x="23" y="77"/>
                  </a:cubicBezTo>
                  <a:cubicBezTo>
                    <a:pt x="23" y="80"/>
                    <a:pt x="23" y="80"/>
                    <a:pt x="23" y="80"/>
                  </a:cubicBezTo>
                  <a:cubicBezTo>
                    <a:pt x="3" y="124"/>
                    <a:pt x="3" y="168"/>
                    <a:pt x="0" y="219"/>
                  </a:cubicBezTo>
                  <a:cubicBezTo>
                    <a:pt x="3" y="219"/>
                    <a:pt x="3" y="219"/>
                    <a:pt x="3" y="219"/>
                  </a:cubicBezTo>
                  <a:cubicBezTo>
                    <a:pt x="3" y="230"/>
                    <a:pt x="3" y="230"/>
                    <a:pt x="3" y="230"/>
                  </a:cubicBezTo>
                  <a:cubicBezTo>
                    <a:pt x="3" y="233"/>
                    <a:pt x="6" y="236"/>
                    <a:pt x="12" y="236"/>
                  </a:cubicBezTo>
                  <a:cubicBezTo>
                    <a:pt x="15" y="236"/>
                    <a:pt x="18" y="233"/>
                    <a:pt x="18" y="230"/>
                  </a:cubicBezTo>
                  <a:cubicBezTo>
                    <a:pt x="23" y="396"/>
                    <a:pt x="23" y="396"/>
                    <a:pt x="23" y="396"/>
                  </a:cubicBezTo>
                  <a:cubicBezTo>
                    <a:pt x="56" y="396"/>
                    <a:pt x="56" y="396"/>
                    <a:pt x="56" y="396"/>
                  </a:cubicBezTo>
                  <a:cubicBezTo>
                    <a:pt x="79" y="396"/>
                    <a:pt x="79" y="396"/>
                    <a:pt x="79" y="396"/>
                  </a:cubicBezTo>
                  <a:cubicBezTo>
                    <a:pt x="103" y="396"/>
                    <a:pt x="103" y="396"/>
                    <a:pt x="103" y="396"/>
                  </a:cubicBezTo>
                  <a:cubicBezTo>
                    <a:pt x="109" y="230"/>
                    <a:pt x="109" y="230"/>
                    <a:pt x="109" y="230"/>
                  </a:cubicBezTo>
                  <a:cubicBezTo>
                    <a:pt x="109" y="233"/>
                    <a:pt x="111" y="236"/>
                    <a:pt x="117" y="236"/>
                  </a:cubicBezTo>
                  <a:cubicBezTo>
                    <a:pt x="120" y="236"/>
                    <a:pt x="126" y="233"/>
                    <a:pt x="126" y="230"/>
                  </a:cubicBezTo>
                  <a:cubicBezTo>
                    <a:pt x="126" y="219"/>
                    <a:pt x="126" y="219"/>
                    <a:pt x="126" y="219"/>
                  </a:cubicBezTo>
                  <a:cubicBezTo>
                    <a:pt x="129" y="219"/>
                    <a:pt x="129" y="219"/>
                    <a:pt x="129" y="219"/>
                  </a:cubicBezTo>
                  <a:cubicBezTo>
                    <a:pt x="123" y="168"/>
                    <a:pt x="126" y="124"/>
                    <a:pt x="106" y="77"/>
                  </a:cubicBezTo>
                  <a:close/>
                </a:path>
              </a:pathLst>
            </a:custGeom>
            <a:solidFill>
              <a:schemeClr val="bg2">
                <a:lumMod val="90000"/>
                <a:lumOff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92" name="Freeform 11"/>
            <p:cNvSpPr>
              <a:spLocks/>
            </p:cNvSpPr>
            <p:nvPr/>
          </p:nvSpPr>
          <p:spPr bwMode="auto">
            <a:xfrm>
              <a:off x="4092" y="3342"/>
              <a:ext cx="192" cy="580"/>
            </a:xfrm>
            <a:custGeom>
              <a:avLst/>
              <a:gdLst>
                <a:gd name="T0" fmla="*/ 107 w 131"/>
                <a:gd name="T1" fmla="*/ 77 h 395"/>
                <a:gd name="T2" fmla="*/ 107 w 131"/>
                <a:gd name="T3" fmla="*/ 77 h 395"/>
                <a:gd name="T4" fmla="*/ 107 w 131"/>
                <a:gd name="T5" fmla="*/ 77 h 395"/>
                <a:gd name="T6" fmla="*/ 80 w 131"/>
                <a:gd name="T7" fmla="*/ 71 h 395"/>
                <a:gd name="T8" fmla="*/ 77 w 131"/>
                <a:gd name="T9" fmla="*/ 68 h 395"/>
                <a:gd name="T10" fmla="*/ 77 w 131"/>
                <a:gd name="T11" fmla="*/ 59 h 395"/>
                <a:gd name="T12" fmla="*/ 86 w 131"/>
                <a:gd name="T13" fmla="*/ 44 h 395"/>
                <a:gd name="T14" fmla="*/ 89 w 131"/>
                <a:gd name="T15" fmla="*/ 38 h 395"/>
                <a:gd name="T16" fmla="*/ 89 w 131"/>
                <a:gd name="T17" fmla="*/ 32 h 395"/>
                <a:gd name="T18" fmla="*/ 89 w 131"/>
                <a:gd name="T19" fmla="*/ 29 h 395"/>
                <a:gd name="T20" fmla="*/ 80 w 131"/>
                <a:gd name="T21" fmla="*/ 3 h 395"/>
                <a:gd name="T22" fmla="*/ 71 w 131"/>
                <a:gd name="T23" fmla="*/ 3 h 395"/>
                <a:gd name="T24" fmla="*/ 47 w 131"/>
                <a:gd name="T25" fmla="*/ 3 h 395"/>
                <a:gd name="T26" fmla="*/ 39 w 131"/>
                <a:gd name="T27" fmla="*/ 29 h 395"/>
                <a:gd name="T28" fmla="*/ 39 w 131"/>
                <a:gd name="T29" fmla="*/ 32 h 395"/>
                <a:gd name="T30" fmla="*/ 39 w 131"/>
                <a:gd name="T31" fmla="*/ 38 h 395"/>
                <a:gd name="T32" fmla="*/ 42 w 131"/>
                <a:gd name="T33" fmla="*/ 44 h 395"/>
                <a:gd name="T34" fmla="*/ 50 w 131"/>
                <a:gd name="T35" fmla="*/ 62 h 395"/>
                <a:gd name="T36" fmla="*/ 50 w 131"/>
                <a:gd name="T37" fmla="*/ 68 h 395"/>
                <a:gd name="T38" fmla="*/ 47 w 131"/>
                <a:gd name="T39" fmla="*/ 71 h 395"/>
                <a:gd name="T40" fmla="*/ 24 w 131"/>
                <a:gd name="T41" fmla="*/ 77 h 395"/>
                <a:gd name="T42" fmla="*/ 24 w 131"/>
                <a:gd name="T43" fmla="*/ 77 h 395"/>
                <a:gd name="T44" fmla="*/ 0 w 131"/>
                <a:gd name="T45" fmla="*/ 218 h 395"/>
                <a:gd name="T46" fmla="*/ 3 w 131"/>
                <a:gd name="T47" fmla="*/ 218 h 395"/>
                <a:gd name="T48" fmla="*/ 3 w 131"/>
                <a:gd name="T49" fmla="*/ 227 h 395"/>
                <a:gd name="T50" fmla="*/ 12 w 131"/>
                <a:gd name="T51" fmla="*/ 236 h 395"/>
                <a:gd name="T52" fmla="*/ 18 w 131"/>
                <a:gd name="T53" fmla="*/ 227 h 395"/>
                <a:gd name="T54" fmla="*/ 24 w 131"/>
                <a:gd name="T55" fmla="*/ 395 h 395"/>
                <a:gd name="T56" fmla="*/ 56 w 131"/>
                <a:gd name="T57" fmla="*/ 395 h 395"/>
                <a:gd name="T58" fmla="*/ 80 w 131"/>
                <a:gd name="T59" fmla="*/ 395 h 395"/>
                <a:gd name="T60" fmla="*/ 104 w 131"/>
                <a:gd name="T61" fmla="*/ 395 h 395"/>
                <a:gd name="T62" fmla="*/ 110 w 131"/>
                <a:gd name="T63" fmla="*/ 227 h 395"/>
                <a:gd name="T64" fmla="*/ 119 w 131"/>
                <a:gd name="T65" fmla="*/ 236 h 395"/>
                <a:gd name="T66" fmla="*/ 128 w 131"/>
                <a:gd name="T67" fmla="*/ 227 h 395"/>
                <a:gd name="T68" fmla="*/ 128 w 131"/>
                <a:gd name="T69" fmla="*/ 218 h 395"/>
                <a:gd name="T70" fmla="*/ 131 w 131"/>
                <a:gd name="T71" fmla="*/ 218 h 395"/>
                <a:gd name="T72" fmla="*/ 107 w 131"/>
                <a:gd name="T73" fmla="*/ 77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1" h="395">
                  <a:moveTo>
                    <a:pt x="107" y="77"/>
                  </a:moveTo>
                  <a:cubicBezTo>
                    <a:pt x="107" y="77"/>
                    <a:pt x="107" y="77"/>
                    <a:pt x="107" y="77"/>
                  </a:cubicBezTo>
                  <a:cubicBezTo>
                    <a:pt x="107" y="77"/>
                    <a:pt x="107" y="77"/>
                    <a:pt x="107" y="77"/>
                  </a:cubicBezTo>
                  <a:cubicBezTo>
                    <a:pt x="80" y="71"/>
                    <a:pt x="80" y="71"/>
                    <a:pt x="80" y="71"/>
                  </a:cubicBezTo>
                  <a:cubicBezTo>
                    <a:pt x="77" y="68"/>
                    <a:pt x="77" y="68"/>
                    <a:pt x="77" y="68"/>
                  </a:cubicBezTo>
                  <a:cubicBezTo>
                    <a:pt x="77" y="59"/>
                    <a:pt x="77" y="59"/>
                    <a:pt x="77" y="59"/>
                  </a:cubicBezTo>
                  <a:cubicBezTo>
                    <a:pt x="83" y="56"/>
                    <a:pt x="86" y="44"/>
                    <a:pt x="86" y="44"/>
                  </a:cubicBezTo>
                  <a:cubicBezTo>
                    <a:pt x="89" y="44"/>
                    <a:pt x="89" y="41"/>
                    <a:pt x="89" y="38"/>
                  </a:cubicBezTo>
                  <a:cubicBezTo>
                    <a:pt x="89" y="32"/>
                    <a:pt x="89" y="32"/>
                    <a:pt x="89" y="32"/>
                  </a:cubicBezTo>
                  <a:cubicBezTo>
                    <a:pt x="89" y="29"/>
                    <a:pt x="89" y="29"/>
                    <a:pt x="89" y="29"/>
                  </a:cubicBezTo>
                  <a:cubicBezTo>
                    <a:pt x="92" y="17"/>
                    <a:pt x="89" y="6"/>
                    <a:pt x="80" y="3"/>
                  </a:cubicBezTo>
                  <a:cubicBezTo>
                    <a:pt x="77" y="3"/>
                    <a:pt x="74" y="3"/>
                    <a:pt x="71" y="3"/>
                  </a:cubicBezTo>
                  <a:cubicBezTo>
                    <a:pt x="65" y="0"/>
                    <a:pt x="56" y="0"/>
                    <a:pt x="47" y="3"/>
                  </a:cubicBezTo>
                  <a:cubicBezTo>
                    <a:pt x="39" y="6"/>
                    <a:pt x="39" y="17"/>
                    <a:pt x="39" y="29"/>
                  </a:cubicBezTo>
                  <a:cubicBezTo>
                    <a:pt x="39" y="29"/>
                    <a:pt x="39" y="29"/>
                    <a:pt x="39" y="32"/>
                  </a:cubicBezTo>
                  <a:cubicBezTo>
                    <a:pt x="39" y="38"/>
                    <a:pt x="39" y="38"/>
                    <a:pt x="39" y="38"/>
                  </a:cubicBezTo>
                  <a:cubicBezTo>
                    <a:pt x="39" y="41"/>
                    <a:pt x="42" y="44"/>
                    <a:pt x="42" y="44"/>
                  </a:cubicBezTo>
                  <a:cubicBezTo>
                    <a:pt x="42" y="44"/>
                    <a:pt x="47" y="56"/>
                    <a:pt x="50" y="62"/>
                  </a:cubicBezTo>
                  <a:cubicBezTo>
                    <a:pt x="50" y="68"/>
                    <a:pt x="50" y="68"/>
                    <a:pt x="50" y="68"/>
                  </a:cubicBezTo>
                  <a:cubicBezTo>
                    <a:pt x="47" y="71"/>
                    <a:pt x="47" y="71"/>
                    <a:pt x="47" y="71"/>
                  </a:cubicBezTo>
                  <a:cubicBezTo>
                    <a:pt x="24" y="77"/>
                    <a:pt x="24" y="77"/>
                    <a:pt x="24" y="77"/>
                  </a:cubicBezTo>
                  <a:cubicBezTo>
                    <a:pt x="24" y="77"/>
                    <a:pt x="24" y="77"/>
                    <a:pt x="24" y="77"/>
                  </a:cubicBezTo>
                  <a:cubicBezTo>
                    <a:pt x="3" y="124"/>
                    <a:pt x="3" y="168"/>
                    <a:pt x="0" y="218"/>
                  </a:cubicBezTo>
                  <a:cubicBezTo>
                    <a:pt x="3" y="218"/>
                    <a:pt x="3" y="218"/>
                    <a:pt x="3" y="218"/>
                  </a:cubicBezTo>
                  <a:cubicBezTo>
                    <a:pt x="3" y="227"/>
                    <a:pt x="3" y="227"/>
                    <a:pt x="3" y="227"/>
                  </a:cubicBezTo>
                  <a:cubicBezTo>
                    <a:pt x="3" y="233"/>
                    <a:pt x="6" y="236"/>
                    <a:pt x="12" y="236"/>
                  </a:cubicBezTo>
                  <a:cubicBezTo>
                    <a:pt x="15" y="236"/>
                    <a:pt x="18" y="233"/>
                    <a:pt x="18" y="227"/>
                  </a:cubicBezTo>
                  <a:cubicBezTo>
                    <a:pt x="24" y="395"/>
                    <a:pt x="24" y="395"/>
                    <a:pt x="24" y="395"/>
                  </a:cubicBezTo>
                  <a:cubicBezTo>
                    <a:pt x="56" y="395"/>
                    <a:pt x="56" y="395"/>
                    <a:pt x="56" y="395"/>
                  </a:cubicBezTo>
                  <a:cubicBezTo>
                    <a:pt x="80" y="395"/>
                    <a:pt x="80" y="395"/>
                    <a:pt x="80" y="395"/>
                  </a:cubicBezTo>
                  <a:cubicBezTo>
                    <a:pt x="104" y="395"/>
                    <a:pt x="104" y="395"/>
                    <a:pt x="104" y="395"/>
                  </a:cubicBezTo>
                  <a:cubicBezTo>
                    <a:pt x="110" y="227"/>
                    <a:pt x="110" y="227"/>
                    <a:pt x="110" y="227"/>
                  </a:cubicBezTo>
                  <a:cubicBezTo>
                    <a:pt x="110" y="233"/>
                    <a:pt x="113" y="236"/>
                    <a:pt x="119" y="236"/>
                  </a:cubicBezTo>
                  <a:cubicBezTo>
                    <a:pt x="122" y="236"/>
                    <a:pt x="128" y="233"/>
                    <a:pt x="128" y="227"/>
                  </a:cubicBezTo>
                  <a:cubicBezTo>
                    <a:pt x="128" y="218"/>
                    <a:pt x="128" y="218"/>
                    <a:pt x="128" y="218"/>
                  </a:cubicBezTo>
                  <a:cubicBezTo>
                    <a:pt x="131" y="218"/>
                    <a:pt x="131" y="218"/>
                    <a:pt x="131" y="218"/>
                  </a:cubicBezTo>
                  <a:cubicBezTo>
                    <a:pt x="125" y="168"/>
                    <a:pt x="128" y="121"/>
                    <a:pt x="107" y="77"/>
                  </a:cubicBezTo>
                  <a:close/>
                </a:path>
              </a:pathLst>
            </a:custGeom>
            <a:solidFill>
              <a:schemeClr val="bg2">
                <a:lumMod val="90000"/>
                <a:lumOff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93" name="Freeform 12"/>
            <p:cNvSpPr>
              <a:spLocks/>
            </p:cNvSpPr>
            <p:nvPr/>
          </p:nvSpPr>
          <p:spPr bwMode="auto">
            <a:xfrm>
              <a:off x="4231" y="3342"/>
              <a:ext cx="192" cy="580"/>
            </a:xfrm>
            <a:custGeom>
              <a:avLst/>
              <a:gdLst>
                <a:gd name="T0" fmla="*/ 107 w 131"/>
                <a:gd name="T1" fmla="*/ 77 h 395"/>
                <a:gd name="T2" fmla="*/ 107 w 131"/>
                <a:gd name="T3" fmla="*/ 77 h 395"/>
                <a:gd name="T4" fmla="*/ 107 w 131"/>
                <a:gd name="T5" fmla="*/ 77 h 395"/>
                <a:gd name="T6" fmla="*/ 80 w 131"/>
                <a:gd name="T7" fmla="*/ 71 h 395"/>
                <a:gd name="T8" fmla="*/ 77 w 131"/>
                <a:gd name="T9" fmla="*/ 68 h 395"/>
                <a:gd name="T10" fmla="*/ 77 w 131"/>
                <a:gd name="T11" fmla="*/ 59 h 395"/>
                <a:gd name="T12" fmla="*/ 86 w 131"/>
                <a:gd name="T13" fmla="*/ 44 h 395"/>
                <a:gd name="T14" fmla="*/ 89 w 131"/>
                <a:gd name="T15" fmla="*/ 38 h 395"/>
                <a:gd name="T16" fmla="*/ 89 w 131"/>
                <a:gd name="T17" fmla="*/ 32 h 395"/>
                <a:gd name="T18" fmla="*/ 89 w 131"/>
                <a:gd name="T19" fmla="*/ 29 h 395"/>
                <a:gd name="T20" fmla="*/ 80 w 131"/>
                <a:gd name="T21" fmla="*/ 3 h 395"/>
                <a:gd name="T22" fmla="*/ 71 w 131"/>
                <a:gd name="T23" fmla="*/ 3 h 395"/>
                <a:gd name="T24" fmla="*/ 47 w 131"/>
                <a:gd name="T25" fmla="*/ 3 h 395"/>
                <a:gd name="T26" fmla="*/ 38 w 131"/>
                <a:gd name="T27" fmla="*/ 29 h 395"/>
                <a:gd name="T28" fmla="*/ 38 w 131"/>
                <a:gd name="T29" fmla="*/ 32 h 395"/>
                <a:gd name="T30" fmla="*/ 38 w 131"/>
                <a:gd name="T31" fmla="*/ 38 h 395"/>
                <a:gd name="T32" fmla="*/ 41 w 131"/>
                <a:gd name="T33" fmla="*/ 44 h 395"/>
                <a:gd name="T34" fmla="*/ 50 w 131"/>
                <a:gd name="T35" fmla="*/ 62 h 395"/>
                <a:gd name="T36" fmla="*/ 50 w 131"/>
                <a:gd name="T37" fmla="*/ 68 h 395"/>
                <a:gd name="T38" fmla="*/ 47 w 131"/>
                <a:gd name="T39" fmla="*/ 71 h 395"/>
                <a:gd name="T40" fmla="*/ 23 w 131"/>
                <a:gd name="T41" fmla="*/ 77 h 395"/>
                <a:gd name="T42" fmla="*/ 23 w 131"/>
                <a:gd name="T43" fmla="*/ 77 h 395"/>
                <a:gd name="T44" fmla="*/ 0 w 131"/>
                <a:gd name="T45" fmla="*/ 218 h 395"/>
                <a:gd name="T46" fmla="*/ 3 w 131"/>
                <a:gd name="T47" fmla="*/ 218 h 395"/>
                <a:gd name="T48" fmla="*/ 3 w 131"/>
                <a:gd name="T49" fmla="*/ 227 h 395"/>
                <a:gd name="T50" fmla="*/ 12 w 131"/>
                <a:gd name="T51" fmla="*/ 236 h 395"/>
                <a:gd name="T52" fmla="*/ 18 w 131"/>
                <a:gd name="T53" fmla="*/ 227 h 395"/>
                <a:gd name="T54" fmla="*/ 23 w 131"/>
                <a:gd name="T55" fmla="*/ 395 h 395"/>
                <a:gd name="T56" fmla="*/ 56 w 131"/>
                <a:gd name="T57" fmla="*/ 395 h 395"/>
                <a:gd name="T58" fmla="*/ 80 w 131"/>
                <a:gd name="T59" fmla="*/ 395 h 395"/>
                <a:gd name="T60" fmla="*/ 104 w 131"/>
                <a:gd name="T61" fmla="*/ 395 h 395"/>
                <a:gd name="T62" fmla="*/ 110 w 131"/>
                <a:gd name="T63" fmla="*/ 227 h 395"/>
                <a:gd name="T64" fmla="*/ 119 w 131"/>
                <a:gd name="T65" fmla="*/ 236 h 395"/>
                <a:gd name="T66" fmla="*/ 128 w 131"/>
                <a:gd name="T67" fmla="*/ 227 h 395"/>
                <a:gd name="T68" fmla="*/ 128 w 131"/>
                <a:gd name="T69" fmla="*/ 218 h 395"/>
                <a:gd name="T70" fmla="*/ 131 w 131"/>
                <a:gd name="T71" fmla="*/ 218 h 395"/>
                <a:gd name="T72" fmla="*/ 107 w 131"/>
                <a:gd name="T73" fmla="*/ 77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1" h="395">
                  <a:moveTo>
                    <a:pt x="107" y="77"/>
                  </a:moveTo>
                  <a:cubicBezTo>
                    <a:pt x="107" y="77"/>
                    <a:pt x="107" y="77"/>
                    <a:pt x="107" y="77"/>
                  </a:cubicBezTo>
                  <a:cubicBezTo>
                    <a:pt x="107" y="77"/>
                    <a:pt x="107" y="77"/>
                    <a:pt x="107" y="77"/>
                  </a:cubicBezTo>
                  <a:cubicBezTo>
                    <a:pt x="80" y="71"/>
                    <a:pt x="80" y="71"/>
                    <a:pt x="80" y="71"/>
                  </a:cubicBezTo>
                  <a:cubicBezTo>
                    <a:pt x="77" y="68"/>
                    <a:pt x="77" y="68"/>
                    <a:pt x="77" y="68"/>
                  </a:cubicBezTo>
                  <a:cubicBezTo>
                    <a:pt x="77" y="59"/>
                    <a:pt x="77" y="59"/>
                    <a:pt x="77" y="59"/>
                  </a:cubicBezTo>
                  <a:cubicBezTo>
                    <a:pt x="83" y="56"/>
                    <a:pt x="86" y="44"/>
                    <a:pt x="86" y="44"/>
                  </a:cubicBezTo>
                  <a:cubicBezTo>
                    <a:pt x="89" y="44"/>
                    <a:pt x="89" y="41"/>
                    <a:pt x="89" y="38"/>
                  </a:cubicBezTo>
                  <a:cubicBezTo>
                    <a:pt x="89" y="32"/>
                    <a:pt x="89" y="32"/>
                    <a:pt x="89" y="32"/>
                  </a:cubicBezTo>
                  <a:cubicBezTo>
                    <a:pt x="89" y="29"/>
                    <a:pt x="89" y="29"/>
                    <a:pt x="89" y="29"/>
                  </a:cubicBezTo>
                  <a:cubicBezTo>
                    <a:pt x="92" y="17"/>
                    <a:pt x="89" y="6"/>
                    <a:pt x="80" y="3"/>
                  </a:cubicBezTo>
                  <a:cubicBezTo>
                    <a:pt x="77" y="3"/>
                    <a:pt x="74" y="3"/>
                    <a:pt x="71" y="3"/>
                  </a:cubicBezTo>
                  <a:cubicBezTo>
                    <a:pt x="65" y="0"/>
                    <a:pt x="56" y="0"/>
                    <a:pt x="47" y="3"/>
                  </a:cubicBezTo>
                  <a:cubicBezTo>
                    <a:pt x="38" y="6"/>
                    <a:pt x="38" y="17"/>
                    <a:pt x="38" y="29"/>
                  </a:cubicBezTo>
                  <a:cubicBezTo>
                    <a:pt x="38" y="29"/>
                    <a:pt x="38" y="29"/>
                    <a:pt x="38" y="32"/>
                  </a:cubicBezTo>
                  <a:cubicBezTo>
                    <a:pt x="38" y="38"/>
                    <a:pt x="38" y="38"/>
                    <a:pt x="38" y="38"/>
                  </a:cubicBezTo>
                  <a:cubicBezTo>
                    <a:pt x="38" y="41"/>
                    <a:pt x="41" y="44"/>
                    <a:pt x="41" y="44"/>
                  </a:cubicBezTo>
                  <a:cubicBezTo>
                    <a:pt x="41" y="44"/>
                    <a:pt x="47" y="56"/>
                    <a:pt x="50" y="62"/>
                  </a:cubicBezTo>
                  <a:cubicBezTo>
                    <a:pt x="50" y="68"/>
                    <a:pt x="50" y="68"/>
                    <a:pt x="50" y="68"/>
                  </a:cubicBezTo>
                  <a:cubicBezTo>
                    <a:pt x="47" y="71"/>
                    <a:pt x="47" y="71"/>
                    <a:pt x="47" y="71"/>
                  </a:cubicBezTo>
                  <a:cubicBezTo>
                    <a:pt x="23" y="77"/>
                    <a:pt x="23" y="77"/>
                    <a:pt x="23" y="77"/>
                  </a:cubicBezTo>
                  <a:cubicBezTo>
                    <a:pt x="23" y="77"/>
                    <a:pt x="23" y="77"/>
                    <a:pt x="23" y="77"/>
                  </a:cubicBezTo>
                  <a:cubicBezTo>
                    <a:pt x="3" y="124"/>
                    <a:pt x="6" y="168"/>
                    <a:pt x="0" y="218"/>
                  </a:cubicBezTo>
                  <a:cubicBezTo>
                    <a:pt x="3" y="218"/>
                    <a:pt x="3" y="218"/>
                    <a:pt x="3" y="218"/>
                  </a:cubicBezTo>
                  <a:cubicBezTo>
                    <a:pt x="3" y="227"/>
                    <a:pt x="3" y="227"/>
                    <a:pt x="3" y="227"/>
                  </a:cubicBezTo>
                  <a:cubicBezTo>
                    <a:pt x="3" y="233"/>
                    <a:pt x="6" y="236"/>
                    <a:pt x="12" y="236"/>
                  </a:cubicBezTo>
                  <a:cubicBezTo>
                    <a:pt x="15" y="236"/>
                    <a:pt x="18" y="233"/>
                    <a:pt x="18" y="227"/>
                  </a:cubicBezTo>
                  <a:cubicBezTo>
                    <a:pt x="23" y="395"/>
                    <a:pt x="23" y="395"/>
                    <a:pt x="23" y="395"/>
                  </a:cubicBezTo>
                  <a:cubicBezTo>
                    <a:pt x="56" y="395"/>
                    <a:pt x="56" y="395"/>
                    <a:pt x="56" y="395"/>
                  </a:cubicBezTo>
                  <a:cubicBezTo>
                    <a:pt x="80" y="395"/>
                    <a:pt x="80" y="395"/>
                    <a:pt x="80" y="395"/>
                  </a:cubicBezTo>
                  <a:cubicBezTo>
                    <a:pt x="104" y="395"/>
                    <a:pt x="104" y="395"/>
                    <a:pt x="104" y="395"/>
                  </a:cubicBezTo>
                  <a:cubicBezTo>
                    <a:pt x="110" y="227"/>
                    <a:pt x="110" y="227"/>
                    <a:pt x="110" y="227"/>
                  </a:cubicBezTo>
                  <a:cubicBezTo>
                    <a:pt x="110" y="233"/>
                    <a:pt x="113" y="236"/>
                    <a:pt x="119" y="236"/>
                  </a:cubicBezTo>
                  <a:cubicBezTo>
                    <a:pt x="122" y="236"/>
                    <a:pt x="128" y="233"/>
                    <a:pt x="128" y="227"/>
                  </a:cubicBezTo>
                  <a:cubicBezTo>
                    <a:pt x="128" y="218"/>
                    <a:pt x="128" y="218"/>
                    <a:pt x="128" y="218"/>
                  </a:cubicBezTo>
                  <a:cubicBezTo>
                    <a:pt x="131" y="218"/>
                    <a:pt x="131" y="218"/>
                    <a:pt x="131" y="218"/>
                  </a:cubicBezTo>
                  <a:cubicBezTo>
                    <a:pt x="125" y="168"/>
                    <a:pt x="128" y="121"/>
                    <a:pt x="107" y="77"/>
                  </a:cubicBezTo>
                  <a:close/>
                </a:path>
              </a:pathLst>
            </a:custGeom>
            <a:solidFill>
              <a:schemeClr val="bg2">
                <a:lumMod val="90000"/>
                <a:lumOff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94" name="Freeform 13"/>
            <p:cNvSpPr>
              <a:spLocks/>
            </p:cNvSpPr>
            <p:nvPr/>
          </p:nvSpPr>
          <p:spPr bwMode="auto">
            <a:xfrm>
              <a:off x="4583" y="2866"/>
              <a:ext cx="259" cy="802"/>
            </a:xfrm>
            <a:custGeom>
              <a:avLst/>
              <a:gdLst>
                <a:gd name="T0" fmla="*/ 145 w 177"/>
                <a:gd name="T1" fmla="*/ 109 h 547"/>
                <a:gd name="T2" fmla="*/ 145 w 177"/>
                <a:gd name="T3" fmla="*/ 109 h 547"/>
                <a:gd name="T4" fmla="*/ 145 w 177"/>
                <a:gd name="T5" fmla="*/ 109 h 547"/>
                <a:gd name="T6" fmla="*/ 111 w 177"/>
                <a:gd name="T7" fmla="*/ 100 h 547"/>
                <a:gd name="T8" fmla="*/ 105 w 177"/>
                <a:gd name="T9" fmla="*/ 97 h 547"/>
                <a:gd name="T10" fmla="*/ 105 w 177"/>
                <a:gd name="T11" fmla="*/ 85 h 547"/>
                <a:gd name="T12" fmla="*/ 116 w 177"/>
                <a:gd name="T13" fmla="*/ 62 h 547"/>
                <a:gd name="T14" fmla="*/ 122 w 177"/>
                <a:gd name="T15" fmla="*/ 56 h 547"/>
                <a:gd name="T16" fmla="*/ 122 w 177"/>
                <a:gd name="T17" fmla="*/ 47 h 547"/>
                <a:gd name="T18" fmla="*/ 122 w 177"/>
                <a:gd name="T19" fmla="*/ 44 h 547"/>
                <a:gd name="T20" fmla="*/ 108 w 177"/>
                <a:gd name="T21" fmla="*/ 9 h 547"/>
                <a:gd name="T22" fmla="*/ 99 w 177"/>
                <a:gd name="T23" fmla="*/ 6 h 547"/>
                <a:gd name="T24" fmla="*/ 67 w 177"/>
                <a:gd name="T25" fmla="*/ 6 h 547"/>
                <a:gd name="T26" fmla="*/ 55 w 177"/>
                <a:gd name="T27" fmla="*/ 41 h 547"/>
                <a:gd name="T28" fmla="*/ 52 w 177"/>
                <a:gd name="T29" fmla="*/ 47 h 547"/>
                <a:gd name="T30" fmla="*/ 52 w 177"/>
                <a:gd name="T31" fmla="*/ 56 h 547"/>
                <a:gd name="T32" fmla="*/ 58 w 177"/>
                <a:gd name="T33" fmla="*/ 62 h 547"/>
                <a:gd name="T34" fmla="*/ 70 w 177"/>
                <a:gd name="T35" fmla="*/ 85 h 547"/>
                <a:gd name="T36" fmla="*/ 70 w 177"/>
                <a:gd name="T37" fmla="*/ 97 h 547"/>
                <a:gd name="T38" fmla="*/ 67 w 177"/>
                <a:gd name="T39" fmla="*/ 100 h 547"/>
                <a:gd name="T40" fmla="*/ 32 w 177"/>
                <a:gd name="T41" fmla="*/ 109 h 547"/>
                <a:gd name="T42" fmla="*/ 32 w 177"/>
                <a:gd name="T43" fmla="*/ 109 h 547"/>
                <a:gd name="T44" fmla="*/ 0 w 177"/>
                <a:gd name="T45" fmla="*/ 303 h 547"/>
                <a:gd name="T46" fmla="*/ 6 w 177"/>
                <a:gd name="T47" fmla="*/ 303 h 547"/>
                <a:gd name="T48" fmla="*/ 6 w 177"/>
                <a:gd name="T49" fmla="*/ 317 h 547"/>
                <a:gd name="T50" fmla="*/ 14 w 177"/>
                <a:gd name="T51" fmla="*/ 329 h 547"/>
                <a:gd name="T52" fmla="*/ 26 w 177"/>
                <a:gd name="T53" fmla="*/ 317 h 547"/>
                <a:gd name="T54" fmla="*/ 32 w 177"/>
                <a:gd name="T55" fmla="*/ 547 h 547"/>
                <a:gd name="T56" fmla="*/ 78 w 177"/>
                <a:gd name="T57" fmla="*/ 547 h 547"/>
                <a:gd name="T58" fmla="*/ 111 w 177"/>
                <a:gd name="T59" fmla="*/ 547 h 547"/>
                <a:gd name="T60" fmla="*/ 143 w 177"/>
                <a:gd name="T61" fmla="*/ 547 h 547"/>
                <a:gd name="T62" fmla="*/ 151 w 177"/>
                <a:gd name="T63" fmla="*/ 317 h 547"/>
                <a:gd name="T64" fmla="*/ 163 w 177"/>
                <a:gd name="T65" fmla="*/ 329 h 547"/>
                <a:gd name="T66" fmla="*/ 175 w 177"/>
                <a:gd name="T67" fmla="*/ 317 h 547"/>
                <a:gd name="T68" fmla="*/ 175 w 177"/>
                <a:gd name="T69" fmla="*/ 303 h 547"/>
                <a:gd name="T70" fmla="*/ 177 w 177"/>
                <a:gd name="T71" fmla="*/ 303 h 547"/>
                <a:gd name="T72" fmla="*/ 145 w 177"/>
                <a:gd name="T73" fmla="*/ 10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7" h="547">
                  <a:moveTo>
                    <a:pt x="145" y="109"/>
                  </a:moveTo>
                  <a:cubicBezTo>
                    <a:pt x="145" y="109"/>
                    <a:pt x="145" y="109"/>
                    <a:pt x="145" y="109"/>
                  </a:cubicBezTo>
                  <a:cubicBezTo>
                    <a:pt x="145" y="109"/>
                    <a:pt x="145" y="109"/>
                    <a:pt x="145" y="109"/>
                  </a:cubicBezTo>
                  <a:cubicBezTo>
                    <a:pt x="111" y="100"/>
                    <a:pt x="111" y="100"/>
                    <a:pt x="111" y="100"/>
                  </a:cubicBezTo>
                  <a:cubicBezTo>
                    <a:pt x="105" y="97"/>
                    <a:pt x="105" y="97"/>
                    <a:pt x="105" y="97"/>
                  </a:cubicBezTo>
                  <a:cubicBezTo>
                    <a:pt x="105" y="85"/>
                    <a:pt x="105" y="85"/>
                    <a:pt x="105" y="85"/>
                  </a:cubicBezTo>
                  <a:cubicBezTo>
                    <a:pt x="113" y="79"/>
                    <a:pt x="116" y="62"/>
                    <a:pt x="116" y="62"/>
                  </a:cubicBezTo>
                  <a:cubicBezTo>
                    <a:pt x="119" y="62"/>
                    <a:pt x="122" y="59"/>
                    <a:pt x="122" y="56"/>
                  </a:cubicBezTo>
                  <a:cubicBezTo>
                    <a:pt x="122" y="47"/>
                    <a:pt x="122" y="47"/>
                    <a:pt x="122" y="47"/>
                  </a:cubicBezTo>
                  <a:cubicBezTo>
                    <a:pt x="122" y="44"/>
                    <a:pt x="122" y="44"/>
                    <a:pt x="122" y="44"/>
                  </a:cubicBezTo>
                  <a:cubicBezTo>
                    <a:pt x="125" y="26"/>
                    <a:pt x="122" y="12"/>
                    <a:pt x="108" y="9"/>
                  </a:cubicBezTo>
                  <a:cubicBezTo>
                    <a:pt x="105" y="6"/>
                    <a:pt x="102" y="6"/>
                    <a:pt x="99" y="6"/>
                  </a:cubicBezTo>
                  <a:cubicBezTo>
                    <a:pt x="90" y="0"/>
                    <a:pt x="76" y="0"/>
                    <a:pt x="67" y="6"/>
                  </a:cubicBezTo>
                  <a:cubicBezTo>
                    <a:pt x="55" y="12"/>
                    <a:pt x="52" y="26"/>
                    <a:pt x="55" y="41"/>
                  </a:cubicBezTo>
                  <a:cubicBezTo>
                    <a:pt x="55" y="44"/>
                    <a:pt x="52" y="44"/>
                    <a:pt x="52" y="47"/>
                  </a:cubicBezTo>
                  <a:cubicBezTo>
                    <a:pt x="52" y="56"/>
                    <a:pt x="52" y="56"/>
                    <a:pt x="52" y="56"/>
                  </a:cubicBezTo>
                  <a:cubicBezTo>
                    <a:pt x="52" y="59"/>
                    <a:pt x="55" y="62"/>
                    <a:pt x="58" y="62"/>
                  </a:cubicBezTo>
                  <a:cubicBezTo>
                    <a:pt x="58" y="62"/>
                    <a:pt x="64" y="79"/>
                    <a:pt x="70" y="85"/>
                  </a:cubicBezTo>
                  <a:cubicBezTo>
                    <a:pt x="70" y="97"/>
                    <a:pt x="70" y="97"/>
                    <a:pt x="70" y="97"/>
                  </a:cubicBezTo>
                  <a:cubicBezTo>
                    <a:pt x="67" y="100"/>
                    <a:pt x="67" y="100"/>
                    <a:pt x="67" y="100"/>
                  </a:cubicBezTo>
                  <a:cubicBezTo>
                    <a:pt x="32" y="109"/>
                    <a:pt x="32" y="109"/>
                    <a:pt x="32" y="109"/>
                  </a:cubicBezTo>
                  <a:cubicBezTo>
                    <a:pt x="32" y="109"/>
                    <a:pt x="32" y="109"/>
                    <a:pt x="32" y="109"/>
                  </a:cubicBezTo>
                  <a:cubicBezTo>
                    <a:pt x="3" y="173"/>
                    <a:pt x="6" y="235"/>
                    <a:pt x="0" y="303"/>
                  </a:cubicBezTo>
                  <a:cubicBezTo>
                    <a:pt x="6" y="303"/>
                    <a:pt x="6" y="303"/>
                    <a:pt x="6" y="303"/>
                  </a:cubicBezTo>
                  <a:cubicBezTo>
                    <a:pt x="6" y="317"/>
                    <a:pt x="6" y="317"/>
                    <a:pt x="6" y="317"/>
                  </a:cubicBezTo>
                  <a:cubicBezTo>
                    <a:pt x="6" y="323"/>
                    <a:pt x="9" y="329"/>
                    <a:pt x="14" y="329"/>
                  </a:cubicBezTo>
                  <a:cubicBezTo>
                    <a:pt x="23" y="329"/>
                    <a:pt x="26" y="323"/>
                    <a:pt x="26" y="317"/>
                  </a:cubicBezTo>
                  <a:cubicBezTo>
                    <a:pt x="32" y="547"/>
                    <a:pt x="32" y="547"/>
                    <a:pt x="32" y="547"/>
                  </a:cubicBezTo>
                  <a:cubicBezTo>
                    <a:pt x="78" y="547"/>
                    <a:pt x="78" y="547"/>
                    <a:pt x="78" y="547"/>
                  </a:cubicBezTo>
                  <a:cubicBezTo>
                    <a:pt x="111" y="547"/>
                    <a:pt x="111" y="547"/>
                    <a:pt x="111" y="547"/>
                  </a:cubicBezTo>
                  <a:cubicBezTo>
                    <a:pt x="143" y="547"/>
                    <a:pt x="143" y="547"/>
                    <a:pt x="143" y="547"/>
                  </a:cubicBezTo>
                  <a:cubicBezTo>
                    <a:pt x="151" y="317"/>
                    <a:pt x="151" y="317"/>
                    <a:pt x="151" y="317"/>
                  </a:cubicBezTo>
                  <a:cubicBezTo>
                    <a:pt x="151" y="323"/>
                    <a:pt x="157" y="329"/>
                    <a:pt x="163" y="329"/>
                  </a:cubicBezTo>
                  <a:cubicBezTo>
                    <a:pt x="169" y="329"/>
                    <a:pt x="175" y="323"/>
                    <a:pt x="175" y="317"/>
                  </a:cubicBezTo>
                  <a:cubicBezTo>
                    <a:pt x="175" y="303"/>
                    <a:pt x="175" y="303"/>
                    <a:pt x="175" y="303"/>
                  </a:cubicBezTo>
                  <a:cubicBezTo>
                    <a:pt x="177" y="303"/>
                    <a:pt x="177" y="303"/>
                    <a:pt x="177" y="303"/>
                  </a:cubicBezTo>
                  <a:cubicBezTo>
                    <a:pt x="172" y="235"/>
                    <a:pt x="175" y="170"/>
                    <a:pt x="145" y="109"/>
                  </a:cubicBezTo>
                  <a:close/>
                </a:path>
              </a:pathLst>
            </a:custGeom>
            <a:solidFill>
              <a:schemeClr val="bg2">
                <a:lumMod val="90000"/>
                <a:lumOff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95" name="Freeform 14"/>
            <p:cNvSpPr>
              <a:spLocks/>
            </p:cNvSpPr>
            <p:nvPr/>
          </p:nvSpPr>
          <p:spPr bwMode="auto">
            <a:xfrm>
              <a:off x="4766" y="2651"/>
              <a:ext cx="325" cy="1005"/>
            </a:xfrm>
            <a:custGeom>
              <a:avLst/>
              <a:gdLst>
                <a:gd name="T0" fmla="*/ 181 w 222"/>
                <a:gd name="T1" fmla="*/ 136 h 685"/>
                <a:gd name="T2" fmla="*/ 181 w 222"/>
                <a:gd name="T3" fmla="*/ 136 h 685"/>
                <a:gd name="T4" fmla="*/ 181 w 222"/>
                <a:gd name="T5" fmla="*/ 136 h 685"/>
                <a:gd name="T6" fmla="*/ 139 w 222"/>
                <a:gd name="T7" fmla="*/ 127 h 685"/>
                <a:gd name="T8" fmla="*/ 133 w 222"/>
                <a:gd name="T9" fmla="*/ 121 h 685"/>
                <a:gd name="T10" fmla="*/ 133 w 222"/>
                <a:gd name="T11" fmla="*/ 107 h 685"/>
                <a:gd name="T12" fmla="*/ 148 w 222"/>
                <a:gd name="T13" fmla="*/ 77 h 685"/>
                <a:gd name="T14" fmla="*/ 154 w 222"/>
                <a:gd name="T15" fmla="*/ 71 h 685"/>
                <a:gd name="T16" fmla="*/ 154 w 222"/>
                <a:gd name="T17" fmla="*/ 59 h 685"/>
                <a:gd name="T18" fmla="*/ 151 w 222"/>
                <a:gd name="T19" fmla="*/ 54 h 685"/>
                <a:gd name="T20" fmla="*/ 136 w 222"/>
                <a:gd name="T21" fmla="*/ 9 h 685"/>
                <a:gd name="T22" fmla="*/ 124 w 222"/>
                <a:gd name="T23" fmla="*/ 9 h 685"/>
                <a:gd name="T24" fmla="*/ 83 w 222"/>
                <a:gd name="T25" fmla="*/ 9 h 685"/>
                <a:gd name="T26" fmla="*/ 68 w 222"/>
                <a:gd name="T27" fmla="*/ 54 h 685"/>
                <a:gd name="T28" fmla="*/ 65 w 222"/>
                <a:gd name="T29" fmla="*/ 59 h 685"/>
                <a:gd name="T30" fmla="*/ 65 w 222"/>
                <a:gd name="T31" fmla="*/ 71 h 685"/>
                <a:gd name="T32" fmla="*/ 71 w 222"/>
                <a:gd name="T33" fmla="*/ 77 h 685"/>
                <a:gd name="T34" fmla="*/ 89 w 222"/>
                <a:gd name="T35" fmla="*/ 110 h 685"/>
                <a:gd name="T36" fmla="*/ 89 w 222"/>
                <a:gd name="T37" fmla="*/ 121 h 685"/>
                <a:gd name="T38" fmla="*/ 83 w 222"/>
                <a:gd name="T39" fmla="*/ 127 h 685"/>
                <a:gd name="T40" fmla="*/ 38 w 222"/>
                <a:gd name="T41" fmla="*/ 136 h 685"/>
                <a:gd name="T42" fmla="*/ 38 w 222"/>
                <a:gd name="T43" fmla="*/ 136 h 685"/>
                <a:gd name="T44" fmla="*/ 0 w 222"/>
                <a:gd name="T45" fmla="*/ 381 h 685"/>
                <a:gd name="T46" fmla="*/ 3 w 222"/>
                <a:gd name="T47" fmla="*/ 381 h 685"/>
                <a:gd name="T48" fmla="*/ 3 w 222"/>
                <a:gd name="T49" fmla="*/ 396 h 685"/>
                <a:gd name="T50" fmla="*/ 18 w 222"/>
                <a:gd name="T51" fmla="*/ 410 h 685"/>
                <a:gd name="T52" fmla="*/ 33 w 222"/>
                <a:gd name="T53" fmla="*/ 396 h 685"/>
                <a:gd name="T54" fmla="*/ 41 w 222"/>
                <a:gd name="T55" fmla="*/ 685 h 685"/>
                <a:gd name="T56" fmla="*/ 98 w 222"/>
                <a:gd name="T57" fmla="*/ 685 h 685"/>
                <a:gd name="T58" fmla="*/ 136 w 222"/>
                <a:gd name="T59" fmla="*/ 685 h 685"/>
                <a:gd name="T60" fmla="*/ 178 w 222"/>
                <a:gd name="T61" fmla="*/ 685 h 685"/>
                <a:gd name="T62" fmla="*/ 189 w 222"/>
                <a:gd name="T63" fmla="*/ 396 h 685"/>
                <a:gd name="T64" fmla="*/ 204 w 222"/>
                <a:gd name="T65" fmla="*/ 410 h 685"/>
                <a:gd name="T66" fmla="*/ 219 w 222"/>
                <a:gd name="T67" fmla="*/ 396 h 685"/>
                <a:gd name="T68" fmla="*/ 219 w 222"/>
                <a:gd name="T69" fmla="*/ 381 h 685"/>
                <a:gd name="T70" fmla="*/ 222 w 222"/>
                <a:gd name="T71" fmla="*/ 381 h 685"/>
                <a:gd name="T72" fmla="*/ 181 w 222"/>
                <a:gd name="T73" fmla="*/ 136 h 6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2" h="685">
                  <a:moveTo>
                    <a:pt x="181" y="136"/>
                  </a:moveTo>
                  <a:cubicBezTo>
                    <a:pt x="181" y="136"/>
                    <a:pt x="181" y="136"/>
                    <a:pt x="181" y="136"/>
                  </a:cubicBezTo>
                  <a:cubicBezTo>
                    <a:pt x="181" y="136"/>
                    <a:pt x="181" y="136"/>
                    <a:pt x="181" y="136"/>
                  </a:cubicBezTo>
                  <a:cubicBezTo>
                    <a:pt x="139" y="127"/>
                    <a:pt x="139" y="127"/>
                    <a:pt x="139" y="127"/>
                  </a:cubicBezTo>
                  <a:cubicBezTo>
                    <a:pt x="133" y="121"/>
                    <a:pt x="133" y="121"/>
                    <a:pt x="133" y="121"/>
                  </a:cubicBezTo>
                  <a:cubicBezTo>
                    <a:pt x="133" y="107"/>
                    <a:pt x="133" y="107"/>
                    <a:pt x="133" y="107"/>
                  </a:cubicBezTo>
                  <a:cubicBezTo>
                    <a:pt x="139" y="98"/>
                    <a:pt x="148" y="77"/>
                    <a:pt x="148" y="77"/>
                  </a:cubicBezTo>
                  <a:cubicBezTo>
                    <a:pt x="151" y="77"/>
                    <a:pt x="154" y="74"/>
                    <a:pt x="154" y="71"/>
                  </a:cubicBezTo>
                  <a:cubicBezTo>
                    <a:pt x="154" y="59"/>
                    <a:pt x="154" y="59"/>
                    <a:pt x="154" y="59"/>
                  </a:cubicBezTo>
                  <a:cubicBezTo>
                    <a:pt x="154" y="57"/>
                    <a:pt x="154" y="57"/>
                    <a:pt x="151" y="54"/>
                  </a:cubicBezTo>
                  <a:cubicBezTo>
                    <a:pt x="157" y="36"/>
                    <a:pt x="151" y="15"/>
                    <a:pt x="136" y="9"/>
                  </a:cubicBezTo>
                  <a:cubicBezTo>
                    <a:pt x="130" y="9"/>
                    <a:pt x="127" y="9"/>
                    <a:pt x="124" y="9"/>
                  </a:cubicBezTo>
                  <a:cubicBezTo>
                    <a:pt x="112" y="0"/>
                    <a:pt x="95" y="3"/>
                    <a:pt x="83" y="9"/>
                  </a:cubicBezTo>
                  <a:cubicBezTo>
                    <a:pt x="68" y="15"/>
                    <a:pt x="65" y="33"/>
                    <a:pt x="68" y="54"/>
                  </a:cubicBezTo>
                  <a:cubicBezTo>
                    <a:pt x="68" y="54"/>
                    <a:pt x="65" y="57"/>
                    <a:pt x="65" y="59"/>
                  </a:cubicBezTo>
                  <a:cubicBezTo>
                    <a:pt x="65" y="71"/>
                    <a:pt x="65" y="71"/>
                    <a:pt x="65" y="71"/>
                  </a:cubicBezTo>
                  <a:cubicBezTo>
                    <a:pt x="65" y="74"/>
                    <a:pt x="68" y="77"/>
                    <a:pt x="71" y="77"/>
                  </a:cubicBezTo>
                  <a:cubicBezTo>
                    <a:pt x="71" y="77"/>
                    <a:pt x="80" y="101"/>
                    <a:pt x="89" y="110"/>
                  </a:cubicBezTo>
                  <a:cubicBezTo>
                    <a:pt x="89" y="121"/>
                    <a:pt x="89" y="121"/>
                    <a:pt x="89" y="121"/>
                  </a:cubicBezTo>
                  <a:cubicBezTo>
                    <a:pt x="83" y="127"/>
                    <a:pt x="83" y="127"/>
                    <a:pt x="83" y="127"/>
                  </a:cubicBezTo>
                  <a:cubicBezTo>
                    <a:pt x="38" y="136"/>
                    <a:pt x="38" y="136"/>
                    <a:pt x="38" y="136"/>
                  </a:cubicBezTo>
                  <a:cubicBezTo>
                    <a:pt x="38" y="136"/>
                    <a:pt x="38" y="136"/>
                    <a:pt x="38" y="136"/>
                  </a:cubicBezTo>
                  <a:cubicBezTo>
                    <a:pt x="3" y="216"/>
                    <a:pt x="6" y="295"/>
                    <a:pt x="0" y="381"/>
                  </a:cubicBezTo>
                  <a:cubicBezTo>
                    <a:pt x="3" y="381"/>
                    <a:pt x="3" y="381"/>
                    <a:pt x="3" y="381"/>
                  </a:cubicBezTo>
                  <a:cubicBezTo>
                    <a:pt x="3" y="396"/>
                    <a:pt x="3" y="396"/>
                    <a:pt x="3" y="396"/>
                  </a:cubicBezTo>
                  <a:cubicBezTo>
                    <a:pt x="3" y="405"/>
                    <a:pt x="9" y="410"/>
                    <a:pt x="18" y="410"/>
                  </a:cubicBezTo>
                  <a:cubicBezTo>
                    <a:pt x="27" y="410"/>
                    <a:pt x="33" y="405"/>
                    <a:pt x="33" y="396"/>
                  </a:cubicBezTo>
                  <a:cubicBezTo>
                    <a:pt x="41" y="685"/>
                    <a:pt x="41" y="685"/>
                    <a:pt x="41" y="685"/>
                  </a:cubicBezTo>
                  <a:cubicBezTo>
                    <a:pt x="98" y="685"/>
                    <a:pt x="98" y="685"/>
                    <a:pt x="98" y="685"/>
                  </a:cubicBezTo>
                  <a:cubicBezTo>
                    <a:pt x="136" y="685"/>
                    <a:pt x="136" y="685"/>
                    <a:pt x="136" y="685"/>
                  </a:cubicBezTo>
                  <a:cubicBezTo>
                    <a:pt x="178" y="685"/>
                    <a:pt x="178" y="685"/>
                    <a:pt x="178" y="685"/>
                  </a:cubicBezTo>
                  <a:cubicBezTo>
                    <a:pt x="189" y="396"/>
                    <a:pt x="189" y="396"/>
                    <a:pt x="189" y="396"/>
                  </a:cubicBezTo>
                  <a:cubicBezTo>
                    <a:pt x="189" y="405"/>
                    <a:pt x="195" y="410"/>
                    <a:pt x="204" y="410"/>
                  </a:cubicBezTo>
                  <a:cubicBezTo>
                    <a:pt x="210" y="410"/>
                    <a:pt x="219" y="405"/>
                    <a:pt x="219" y="396"/>
                  </a:cubicBezTo>
                  <a:cubicBezTo>
                    <a:pt x="219" y="381"/>
                    <a:pt x="219" y="381"/>
                    <a:pt x="219" y="381"/>
                  </a:cubicBezTo>
                  <a:cubicBezTo>
                    <a:pt x="222" y="381"/>
                    <a:pt x="222" y="381"/>
                    <a:pt x="222" y="381"/>
                  </a:cubicBezTo>
                  <a:cubicBezTo>
                    <a:pt x="216" y="292"/>
                    <a:pt x="219" y="213"/>
                    <a:pt x="181" y="136"/>
                  </a:cubicBezTo>
                  <a:close/>
                </a:path>
              </a:pathLst>
            </a:custGeom>
            <a:solidFill>
              <a:schemeClr val="bg2">
                <a:lumMod val="90000"/>
                <a:lumOff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96" name="Freeform 15"/>
            <p:cNvSpPr>
              <a:spLocks/>
            </p:cNvSpPr>
            <p:nvPr/>
          </p:nvSpPr>
          <p:spPr bwMode="auto">
            <a:xfrm>
              <a:off x="4925" y="2456"/>
              <a:ext cx="369" cy="1134"/>
            </a:xfrm>
            <a:custGeom>
              <a:avLst/>
              <a:gdLst>
                <a:gd name="T0" fmla="*/ 208 w 252"/>
                <a:gd name="T1" fmla="*/ 151 h 773"/>
                <a:gd name="T2" fmla="*/ 208 w 252"/>
                <a:gd name="T3" fmla="*/ 151 h 773"/>
                <a:gd name="T4" fmla="*/ 208 w 252"/>
                <a:gd name="T5" fmla="*/ 151 h 773"/>
                <a:gd name="T6" fmla="*/ 158 w 252"/>
                <a:gd name="T7" fmla="*/ 142 h 773"/>
                <a:gd name="T8" fmla="*/ 153 w 252"/>
                <a:gd name="T9" fmla="*/ 136 h 773"/>
                <a:gd name="T10" fmla="*/ 153 w 252"/>
                <a:gd name="T11" fmla="*/ 118 h 773"/>
                <a:gd name="T12" fmla="*/ 167 w 252"/>
                <a:gd name="T13" fmla="*/ 86 h 773"/>
                <a:gd name="T14" fmla="*/ 176 w 252"/>
                <a:gd name="T15" fmla="*/ 80 h 773"/>
                <a:gd name="T16" fmla="*/ 176 w 252"/>
                <a:gd name="T17" fmla="*/ 62 h 773"/>
                <a:gd name="T18" fmla="*/ 173 w 252"/>
                <a:gd name="T19" fmla="*/ 59 h 773"/>
                <a:gd name="T20" fmla="*/ 155 w 252"/>
                <a:gd name="T21" fmla="*/ 9 h 773"/>
                <a:gd name="T22" fmla="*/ 144 w 252"/>
                <a:gd name="T23" fmla="*/ 9 h 773"/>
                <a:gd name="T24" fmla="*/ 97 w 252"/>
                <a:gd name="T25" fmla="*/ 6 h 773"/>
                <a:gd name="T26" fmla="*/ 79 w 252"/>
                <a:gd name="T27" fmla="*/ 59 h 773"/>
                <a:gd name="T28" fmla="*/ 76 w 252"/>
                <a:gd name="T29" fmla="*/ 62 h 773"/>
                <a:gd name="T30" fmla="*/ 76 w 252"/>
                <a:gd name="T31" fmla="*/ 80 h 773"/>
                <a:gd name="T32" fmla="*/ 85 w 252"/>
                <a:gd name="T33" fmla="*/ 86 h 773"/>
                <a:gd name="T34" fmla="*/ 103 w 252"/>
                <a:gd name="T35" fmla="*/ 121 h 773"/>
                <a:gd name="T36" fmla="*/ 103 w 252"/>
                <a:gd name="T37" fmla="*/ 136 h 773"/>
                <a:gd name="T38" fmla="*/ 97 w 252"/>
                <a:gd name="T39" fmla="*/ 142 h 773"/>
                <a:gd name="T40" fmla="*/ 47 w 252"/>
                <a:gd name="T41" fmla="*/ 151 h 773"/>
                <a:gd name="T42" fmla="*/ 47 w 252"/>
                <a:gd name="T43" fmla="*/ 154 h 773"/>
                <a:gd name="T44" fmla="*/ 0 w 252"/>
                <a:gd name="T45" fmla="*/ 428 h 773"/>
                <a:gd name="T46" fmla="*/ 6 w 252"/>
                <a:gd name="T47" fmla="*/ 428 h 773"/>
                <a:gd name="T48" fmla="*/ 6 w 252"/>
                <a:gd name="T49" fmla="*/ 449 h 773"/>
                <a:gd name="T50" fmla="*/ 23 w 252"/>
                <a:gd name="T51" fmla="*/ 464 h 773"/>
                <a:gd name="T52" fmla="*/ 38 w 252"/>
                <a:gd name="T53" fmla="*/ 449 h 773"/>
                <a:gd name="T54" fmla="*/ 47 w 252"/>
                <a:gd name="T55" fmla="*/ 773 h 773"/>
                <a:gd name="T56" fmla="*/ 114 w 252"/>
                <a:gd name="T57" fmla="*/ 773 h 773"/>
                <a:gd name="T58" fmla="*/ 158 w 252"/>
                <a:gd name="T59" fmla="*/ 773 h 773"/>
                <a:gd name="T60" fmla="*/ 202 w 252"/>
                <a:gd name="T61" fmla="*/ 773 h 773"/>
                <a:gd name="T62" fmla="*/ 214 w 252"/>
                <a:gd name="T63" fmla="*/ 449 h 773"/>
                <a:gd name="T64" fmla="*/ 232 w 252"/>
                <a:gd name="T65" fmla="*/ 464 h 773"/>
                <a:gd name="T66" fmla="*/ 246 w 252"/>
                <a:gd name="T67" fmla="*/ 449 h 773"/>
                <a:gd name="T68" fmla="*/ 246 w 252"/>
                <a:gd name="T69" fmla="*/ 428 h 773"/>
                <a:gd name="T70" fmla="*/ 252 w 252"/>
                <a:gd name="T71" fmla="*/ 428 h 773"/>
                <a:gd name="T72" fmla="*/ 208 w 252"/>
                <a:gd name="T73" fmla="*/ 151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2" h="773">
                  <a:moveTo>
                    <a:pt x="208" y="151"/>
                  </a:moveTo>
                  <a:cubicBezTo>
                    <a:pt x="208" y="151"/>
                    <a:pt x="208" y="151"/>
                    <a:pt x="208" y="151"/>
                  </a:cubicBezTo>
                  <a:cubicBezTo>
                    <a:pt x="208" y="151"/>
                    <a:pt x="208" y="151"/>
                    <a:pt x="208" y="151"/>
                  </a:cubicBezTo>
                  <a:cubicBezTo>
                    <a:pt x="158" y="142"/>
                    <a:pt x="158" y="142"/>
                    <a:pt x="158" y="142"/>
                  </a:cubicBezTo>
                  <a:cubicBezTo>
                    <a:pt x="153" y="136"/>
                    <a:pt x="153" y="136"/>
                    <a:pt x="153" y="136"/>
                  </a:cubicBezTo>
                  <a:cubicBezTo>
                    <a:pt x="153" y="118"/>
                    <a:pt x="153" y="118"/>
                    <a:pt x="153" y="118"/>
                  </a:cubicBezTo>
                  <a:cubicBezTo>
                    <a:pt x="161" y="109"/>
                    <a:pt x="167" y="86"/>
                    <a:pt x="167" y="86"/>
                  </a:cubicBezTo>
                  <a:cubicBezTo>
                    <a:pt x="173" y="86"/>
                    <a:pt x="176" y="83"/>
                    <a:pt x="176" y="80"/>
                  </a:cubicBezTo>
                  <a:cubicBezTo>
                    <a:pt x="176" y="62"/>
                    <a:pt x="176" y="62"/>
                    <a:pt x="176" y="62"/>
                  </a:cubicBezTo>
                  <a:cubicBezTo>
                    <a:pt x="173" y="59"/>
                    <a:pt x="173" y="59"/>
                    <a:pt x="173" y="59"/>
                  </a:cubicBezTo>
                  <a:cubicBezTo>
                    <a:pt x="176" y="36"/>
                    <a:pt x="173" y="15"/>
                    <a:pt x="155" y="9"/>
                  </a:cubicBezTo>
                  <a:cubicBezTo>
                    <a:pt x="150" y="9"/>
                    <a:pt x="147" y="9"/>
                    <a:pt x="144" y="9"/>
                  </a:cubicBezTo>
                  <a:cubicBezTo>
                    <a:pt x="129" y="0"/>
                    <a:pt x="109" y="0"/>
                    <a:pt x="97" y="6"/>
                  </a:cubicBezTo>
                  <a:cubicBezTo>
                    <a:pt x="79" y="15"/>
                    <a:pt x="76" y="36"/>
                    <a:pt x="79" y="59"/>
                  </a:cubicBezTo>
                  <a:cubicBezTo>
                    <a:pt x="76" y="59"/>
                    <a:pt x="76" y="62"/>
                    <a:pt x="76" y="62"/>
                  </a:cubicBezTo>
                  <a:cubicBezTo>
                    <a:pt x="76" y="80"/>
                    <a:pt x="76" y="80"/>
                    <a:pt x="76" y="80"/>
                  </a:cubicBezTo>
                  <a:cubicBezTo>
                    <a:pt x="76" y="83"/>
                    <a:pt x="79" y="86"/>
                    <a:pt x="85" y="86"/>
                  </a:cubicBezTo>
                  <a:cubicBezTo>
                    <a:pt x="85" y="86"/>
                    <a:pt x="91" y="112"/>
                    <a:pt x="103" y="121"/>
                  </a:cubicBezTo>
                  <a:cubicBezTo>
                    <a:pt x="103" y="136"/>
                    <a:pt x="103" y="136"/>
                    <a:pt x="103" y="136"/>
                  </a:cubicBezTo>
                  <a:cubicBezTo>
                    <a:pt x="97" y="142"/>
                    <a:pt x="97" y="142"/>
                    <a:pt x="97" y="142"/>
                  </a:cubicBezTo>
                  <a:cubicBezTo>
                    <a:pt x="47" y="151"/>
                    <a:pt x="47" y="151"/>
                    <a:pt x="47" y="151"/>
                  </a:cubicBezTo>
                  <a:cubicBezTo>
                    <a:pt x="47" y="154"/>
                    <a:pt x="47" y="154"/>
                    <a:pt x="47" y="154"/>
                  </a:cubicBezTo>
                  <a:cubicBezTo>
                    <a:pt x="6" y="242"/>
                    <a:pt x="12" y="331"/>
                    <a:pt x="0" y="428"/>
                  </a:cubicBezTo>
                  <a:cubicBezTo>
                    <a:pt x="6" y="428"/>
                    <a:pt x="6" y="428"/>
                    <a:pt x="6" y="428"/>
                  </a:cubicBezTo>
                  <a:cubicBezTo>
                    <a:pt x="6" y="449"/>
                    <a:pt x="6" y="449"/>
                    <a:pt x="6" y="449"/>
                  </a:cubicBezTo>
                  <a:cubicBezTo>
                    <a:pt x="6" y="458"/>
                    <a:pt x="15" y="464"/>
                    <a:pt x="23" y="464"/>
                  </a:cubicBezTo>
                  <a:cubicBezTo>
                    <a:pt x="32" y="464"/>
                    <a:pt x="38" y="458"/>
                    <a:pt x="38" y="449"/>
                  </a:cubicBezTo>
                  <a:cubicBezTo>
                    <a:pt x="47" y="773"/>
                    <a:pt x="47" y="773"/>
                    <a:pt x="47" y="773"/>
                  </a:cubicBezTo>
                  <a:cubicBezTo>
                    <a:pt x="114" y="773"/>
                    <a:pt x="114" y="773"/>
                    <a:pt x="114" y="773"/>
                  </a:cubicBezTo>
                  <a:cubicBezTo>
                    <a:pt x="158" y="773"/>
                    <a:pt x="158" y="773"/>
                    <a:pt x="158" y="773"/>
                  </a:cubicBezTo>
                  <a:cubicBezTo>
                    <a:pt x="202" y="773"/>
                    <a:pt x="202" y="773"/>
                    <a:pt x="202" y="773"/>
                  </a:cubicBezTo>
                  <a:cubicBezTo>
                    <a:pt x="214" y="449"/>
                    <a:pt x="214" y="449"/>
                    <a:pt x="214" y="449"/>
                  </a:cubicBezTo>
                  <a:cubicBezTo>
                    <a:pt x="214" y="458"/>
                    <a:pt x="223" y="464"/>
                    <a:pt x="232" y="464"/>
                  </a:cubicBezTo>
                  <a:cubicBezTo>
                    <a:pt x="241" y="464"/>
                    <a:pt x="246" y="458"/>
                    <a:pt x="246" y="449"/>
                  </a:cubicBezTo>
                  <a:cubicBezTo>
                    <a:pt x="246" y="428"/>
                    <a:pt x="246" y="428"/>
                    <a:pt x="246" y="428"/>
                  </a:cubicBezTo>
                  <a:cubicBezTo>
                    <a:pt x="252" y="428"/>
                    <a:pt x="252" y="428"/>
                    <a:pt x="252" y="428"/>
                  </a:cubicBezTo>
                  <a:cubicBezTo>
                    <a:pt x="244" y="331"/>
                    <a:pt x="249" y="239"/>
                    <a:pt x="208" y="151"/>
                  </a:cubicBezTo>
                  <a:close/>
                </a:path>
              </a:pathLst>
            </a:custGeom>
            <a:solidFill>
              <a:schemeClr val="bg2">
                <a:lumMod val="90000"/>
                <a:lumOff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97" name="Freeform 16"/>
            <p:cNvSpPr>
              <a:spLocks/>
            </p:cNvSpPr>
            <p:nvPr/>
          </p:nvSpPr>
          <p:spPr bwMode="auto">
            <a:xfrm>
              <a:off x="4394" y="3150"/>
              <a:ext cx="215" cy="654"/>
            </a:xfrm>
            <a:custGeom>
              <a:avLst/>
              <a:gdLst>
                <a:gd name="T0" fmla="*/ 120 w 147"/>
                <a:gd name="T1" fmla="*/ 85 h 446"/>
                <a:gd name="T2" fmla="*/ 120 w 147"/>
                <a:gd name="T3" fmla="*/ 85 h 446"/>
                <a:gd name="T4" fmla="*/ 120 w 147"/>
                <a:gd name="T5" fmla="*/ 85 h 446"/>
                <a:gd name="T6" fmla="*/ 103 w 147"/>
                <a:gd name="T7" fmla="*/ 82 h 446"/>
                <a:gd name="T8" fmla="*/ 106 w 147"/>
                <a:gd name="T9" fmla="*/ 35 h 446"/>
                <a:gd name="T10" fmla="*/ 91 w 147"/>
                <a:gd name="T11" fmla="*/ 11 h 446"/>
                <a:gd name="T12" fmla="*/ 70 w 147"/>
                <a:gd name="T13" fmla="*/ 0 h 446"/>
                <a:gd name="T14" fmla="*/ 44 w 147"/>
                <a:gd name="T15" fmla="*/ 32 h 446"/>
                <a:gd name="T16" fmla="*/ 47 w 147"/>
                <a:gd name="T17" fmla="*/ 82 h 446"/>
                <a:gd name="T18" fmla="*/ 26 w 147"/>
                <a:gd name="T19" fmla="*/ 85 h 446"/>
                <a:gd name="T20" fmla="*/ 26 w 147"/>
                <a:gd name="T21" fmla="*/ 85 h 446"/>
                <a:gd name="T22" fmla="*/ 0 w 147"/>
                <a:gd name="T23" fmla="*/ 245 h 446"/>
                <a:gd name="T24" fmla="*/ 3 w 147"/>
                <a:gd name="T25" fmla="*/ 245 h 446"/>
                <a:gd name="T26" fmla="*/ 3 w 147"/>
                <a:gd name="T27" fmla="*/ 257 h 446"/>
                <a:gd name="T28" fmla="*/ 11 w 147"/>
                <a:gd name="T29" fmla="*/ 265 h 446"/>
                <a:gd name="T30" fmla="*/ 20 w 147"/>
                <a:gd name="T31" fmla="*/ 257 h 446"/>
                <a:gd name="T32" fmla="*/ 26 w 147"/>
                <a:gd name="T33" fmla="*/ 446 h 446"/>
                <a:gd name="T34" fmla="*/ 64 w 147"/>
                <a:gd name="T35" fmla="*/ 446 h 446"/>
                <a:gd name="T36" fmla="*/ 91 w 147"/>
                <a:gd name="T37" fmla="*/ 446 h 446"/>
                <a:gd name="T38" fmla="*/ 118 w 147"/>
                <a:gd name="T39" fmla="*/ 446 h 446"/>
                <a:gd name="T40" fmla="*/ 123 w 147"/>
                <a:gd name="T41" fmla="*/ 257 h 446"/>
                <a:gd name="T42" fmla="*/ 132 w 147"/>
                <a:gd name="T43" fmla="*/ 265 h 446"/>
                <a:gd name="T44" fmla="*/ 144 w 147"/>
                <a:gd name="T45" fmla="*/ 257 h 446"/>
                <a:gd name="T46" fmla="*/ 144 w 147"/>
                <a:gd name="T47" fmla="*/ 245 h 446"/>
                <a:gd name="T48" fmla="*/ 147 w 147"/>
                <a:gd name="T49" fmla="*/ 245 h 446"/>
                <a:gd name="T50" fmla="*/ 120 w 147"/>
                <a:gd name="T51" fmla="*/ 85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7" h="446">
                  <a:moveTo>
                    <a:pt x="120" y="85"/>
                  </a:moveTo>
                  <a:cubicBezTo>
                    <a:pt x="120" y="85"/>
                    <a:pt x="120" y="85"/>
                    <a:pt x="120" y="85"/>
                  </a:cubicBezTo>
                  <a:cubicBezTo>
                    <a:pt x="120" y="85"/>
                    <a:pt x="120" y="85"/>
                    <a:pt x="120" y="85"/>
                  </a:cubicBezTo>
                  <a:cubicBezTo>
                    <a:pt x="103" y="82"/>
                    <a:pt x="103" y="82"/>
                    <a:pt x="103" y="82"/>
                  </a:cubicBezTo>
                  <a:cubicBezTo>
                    <a:pt x="106" y="65"/>
                    <a:pt x="106" y="38"/>
                    <a:pt x="106" y="35"/>
                  </a:cubicBezTo>
                  <a:cubicBezTo>
                    <a:pt x="106" y="23"/>
                    <a:pt x="100" y="14"/>
                    <a:pt x="91" y="11"/>
                  </a:cubicBezTo>
                  <a:cubicBezTo>
                    <a:pt x="85" y="3"/>
                    <a:pt x="79" y="0"/>
                    <a:pt x="70" y="0"/>
                  </a:cubicBezTo>
                  <a:cubicBezTo>
                    <a:pt x="56" y="0"/>
                    <a:pt x="44" y="14"/>
                    <a:pt x="44" y="32"/>
                  </a:cubicBezTo>
                  <a:cubicBezTo>
                    <a:pt x="44" y="32"/>
                    <a:pt x="44" y="62"/>
                    <a:pt x="47" y="82"/>
                  </a:cubicBezTo>
                  <a:cubicBezTo>
                    <a:pt x="26" y="85"/>
                    <a:pt x="26" y="85"/>
                    <a:pt x="26" y="85"/>
                  </a:cubicBezTo>
                  <a:cubicBezTo>
                    <a:pt x="26" y="85"/>
                    <a:pt x="26" y="85"/>
                    <a:pt x="26" y="85"/>
                  </a:cubicBezTo>
                  <a:cubicBezTo>
                    <a:pt x="3" y="138"/>
                    <a:pt x="6" y="189"/>
                    <a:pt x="0" y="245"/>
                  </a:cubicBezTo>
                  <a:cubicBezTo>
                    <a:pt x="3" y="245"/>
                    <a:pt x="3" y="245"/>
                    <a:pt x="3" y="245"/>
                  </a:cubicBezTo>
                  <a:cubicBezTo>
                    <a:pt x="3" y="257"/>
                    <a:pt x="3" y="257"/>
                    <a:pt x="3" y="257"/>
                  </a:cubicBezTo>
                  <a:cubicBezTo>
                    <a:pt x="3" y="263"/>
                    <a:pt x="9" y="265"/>
                    <a:pt x="11" y="265"/>
                  </a:cubicBezTo>
                  <a:cubicBezTo>
                    <a:pt x="17" y="265"/>
                    <a:pt x="20" y="263"/>
                    <a:pt x="20" y="257"/>
                  </a:cubicBezTo>
                  <a:cubicBezTo>
                    <a:pt x="26" y="446"/>
                    <a:pt x="26" y="446"/>
                    <a:pt x="26" y="446"/>
                  </a:cubicBezTo>
                  <a:cubicBezTo>
                    <a:pt x="64" y="446"/>
                    <a:pt x="64" y="446"/>
                    <a:pt x="64" y="446"/>
                  </a:cubicBezTo>
                  <a:cubicBezTo>
                    <a:pt x="91" y="446"/>
                    <a:pt x="91" y="446"/>
                    <a:pt x="91" y="446"/>
                  </a:cubicBezTo>
                  <a:cubicBezTo>
                    <a:pt x="118" y="446"/>
                    <a:pt x="118" y="446"/>
                    <a:pt x="118" y="446"/>
                  </a:cubicBezTo>
                  <a:cubicBezTo>
                    <a:pt x="123" y="257"/>
                    <a:pt x="123" y="257"/>
                    <a:pt x="123" y="257"/>
                  </a:cubicBezTo>
                  <a:cubicBezTo>
                    <a:pt x="123" y="263"/>
                    <a:pt x="129" y="265"/>
                    <a:pt x="132" y="265"/>
                  </a:cubicBezTo>
                  <a:cubicBezTo>
                    <a:pt x="138" y="265"/>
                    <a:pt x="144" y="263"/>
                    <a:pt x="144" y="257"/>
                  </a:cubicBezTo>
                  <a:cubicBezTo>
                    <a:pt x="144" y="245"/>
                    <a:pt x="144" y="245"/>
                    <a:pt x="144" y="245"/>
                  </a:cubicBezTo>
                  <a:cubicBezTo>
                    <a:pt x="147" y="245"/>
                    <a:pt x="147" y="245"/>
                    <a:pt x="147" y="245"/>
                  </a:cubicBezTo>
                  <a:cubicBezTo>
                    <a:pt x="141" y="189"/>
                    <a:pt x="144" y="138"/>
                    <a:pt x="120" y="85"/>
                  </a:cubicBezTo>
                  <a:close/>
                </a:path>
              </a:pathLst>
            </a:custGeom>
            <a:solidFill>
              <a:schemeClr val="bg2">
                <a:lumMod val="90000"/>
                <a:lumOff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98" name="Freeform 17"/>
            <p:cNvSpPr>
              <a:spLocks noEditPoints="1"/>
            </p:cNvSpPr>
            <p:nvPr/>
          </p:nvSpPr>
          <p:spPr bwMode="auto">
            <a:xfrm>
              <a:off x="949" y="3762"/>
              <a:ext cx="1511" cy="566"/>
            </a:xfrm>
            <a:custGeom>
              <a:avLst/>
              <a:gdLst>
                <a:gd name="T0" fmla="*/ 1008 w 1032"/>
                <a:gd name="T1" fmla="*/ 248 h 386"/>
                <a:gd name="T2" fmla="*/ 999 w 1032"/>
                <a:gd name="T3" fmla="*/ 142 h 386"/>
                <a:gd name="T4" fmla="*/ 979 w 1032"/>
                <a:gd name="T5" fmla="*/ 136 h 386"/>
                <a:gd name="T6" fmla="*/ 987 w 1032"/>
                <a:gd name="T7" fmla="*/ 112 h 386"/>
                <a:gd name="T8" fmla="*/ 961 w 1032"/>
                <a:gd name="T9" fmla="*/ 95 h 386"/>
                <a:gd name="T10" fmla="*/ 958 w 1032"/>
                <a:gd name="T11" fmla="*/ 121 h 386"/>
                <a:gd name="T12" fmla="*/ 943 w 1032"/>
                <a:gd name="T13" fmla="*/ 142 h 386"/>
                <a:gd name="T14" fmla="*/ 920 w 1032"/>
                <a:gd name="T15" fmla="*/ 162 h 386"/>
                <a:gd name="T16" fmla="*/ 929 w 1032"/>
                <a:gd name="T17" fmla="*/ 139 h 386"/>
                <a:gd name="T18" fmla="*/ 902 w 1032"/>
                <a:gd name="T19" fmla="*/ 118 h 386"/>
                <a:gd name="T20" fmla="*/ 876 w 1032"/>
                <a:gd name="T21" fmla="*/ 112 h 386"/>
                <a:gd name="T22" fmla="*/ 873 w 1032"/>
                <a:gd name="T23" fmla="*/ 139 h 386"/>
                <a:gd name="T24" fmla="*/ 867 w 1032"/>
                <a:gd name="T25" fmla="*/ 159 h 386"/>
                <a:gd name="T26" fmla="*/ 841 w 1032"/>
                <a:gd name="T27" fmla="*/ 124 h 386"/>
                <a:gd name="T28" fmla="*/ 846 w 1032"/>
                <a:gd name="T29" fmla="*/ 103 h 386"/>
                <a:gd name="T30" fmla="*/ 835 w 1032"/>
                <a:gd name="T31" fmla="*/ 80 h 386"/>
                <a:gd name="T32" fmla="*/ 811 w 1032"/>
                <a:gd name="T33" fmla="*/ 95 h 386"/>
                <a:gd name="T34" fmla="*/ 791 w 1032"/>
                <a:gd name="T35" fmla="*/ 89 h 386"/>
                <a:gd name="T36" fmla="*/ 799 w 1032"/>
                <a:gd name="T37" fmla="*/ 65 h 386"/>
                <a:gd name="T38" fmla="*/ 773 w 1032"/>
                <a:gd name="T39" fmla="*/ 45 h 386"/>
                <a:gd name="T40" fmla="*/ 770 w 1032"/>
                <a:gd name="T41" fmla="*/ 71 h 386"/>
                <a:gd name="T42" fmla="*/ 761 w 1032"/>
                <a:gd name="T43" fmla="*/ 92 h 386"/>
                <a:gd name="T44" fmla="*/ 738 w 1032"/>
                <a:gd name="T45" fmla="*/ 62 h 386"/>
                <a:gd name="T46" fmla="*/ 744 w 1032"/>
                <a:gd name="T47" fmla="*/ 42 h 386"/>
                <a:gd name="T48" fmla="*/ 732 w 1032"/>
                <a:gd name="T49" fmla="*/ 21 h 386"/>
                <a:gd name="T50" fmla="*/ 711 w 1032"/>
                <a:gd name="T51" fmla="*/ 42 h 386"/>
                <a:gd name="T52" fmla="*/ 717 w 1032"/>
                <a:gd name="T53" fmla="*/ 62 h 386"/>
                <a:gd name="T54" fmla="*/ 694 w 1032"/>
                <a:gd name="T55" fmla="*/ 50 h 386"/>
                <a:gd name="T56" fmla="*/ 688 w 1032"/>
                <a:gd name="T57" fmla="*/ 24 h 386"/>
                <a:gd name="T58" fmla="*/ 652 w 1032"/>
                <a:gd name="T59" fmla="*/ 47 h 386"/>
                <a:gd name="T60" fmla="*/ 632 w 1032"/>
                <a:gd name="T61" fmla="*/ 53 h 386"/>
                <a:gd name="T62" fmla="*/ 617 w 1032"/>
                <a:gd name="T63" fmla="*/ 47 h 386"/>
                <a:gd name="T64" fmla="*/ 623 w 1032"/>
                <a:gd name="T65" fmla="*/ 27 h 386"/>
                <a:gd name="T66" fmla="*/ 600 w 1032"/>
                <a:gd name="T67" fmla="*/ 12 h 386"/>
                <a:gd name="T68" fmla="*/ 597 w 1032"/>
                <a:gd name="T69" fmla="*/ 33 h 386"/>
                <a:gd name="T70" fmla="*/ 588 w 1032"/>
                <a:gd name="T71" fmla="*/ 53 h 386"/>
                <a:gd name="T72" fmla="*/ 570 w 1032"/>
                <a:gd name="T73" fmla="*/ 65 h 386"/>
                <a:gd name="T74" fmla="*/ 558 w 1032"/>
                <a:gd name="T75" fmla="*/ 62 h 386"/>
                <a:gd name="T76" fmla="*/ 561 w 1032"/>
                <a:gd name="T77" fmla="*/ 45 h 386"/>
                <a:gd name="T78" fmla="*/ 553 w 1032"/>
                <a:gd name="T79" fmla="*/ 27 h 386"/>
                <a:gd name="T80" fmla="*/ 535 w 1032"/>
                <a:gd name="T81" fmla="*/ 45 h 386"/>
                <a:gd name="T82" fmla="*/ 541 w 1032"/>
                <a:gd name="T83" fmla="*/ 62 h 386"/>
                <a:gd name="T84" fmla="*/ 517 w 1032"/>
                <a:gd name="T85" fmla="*/ 139 h 386"/>
                <a:gd name="T86" fmla="*/ 526 w 1032"/>
                <a:gd name="T87" fmla="*/ 171 h 386"/>
                <a:gd name="T88" fmla="*/ 993 w 1032"/>
                <a:gd name="T89" fmla="*/ 351 h 386"/>
                <a:gd name="T90" fmla="*/ 940 w 1032"/>
                <a:gd name="T91" fmla="*/ 309 h 386"/>
                <a:gd name="T92" fmla="*/ 899 w 1032"/>
                <a:gd name="T93" fmla="*/ 145 h 386"/>
                <a:gd name="T94" fmla="*/ 896 w 1032"/>
                <a:gd name="T95" fmla="*/ 156 h 386"/>
                <a:gd name="T96" fmla="*/ 820 w 1032"/>
                <a:gd name="T97" fmla="*/ 121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32" h="386">
                  <a:moveTo>
                    <a:pt x="993" y="351"/>
                  </a:moveTo>
                  <a:cubicBezTo>
                    <a:pt x="996" y="351"/>
                    <a:pt x="996" y="351"/>
                    <a:pt x="996" y="351"/>
                  </a:cubicBezTo>
                  <a:cubicBezTo>
                    <a:pt x="1002" y="242"/>
                    <a:pt x="1002" y="242"/>
                    <a:pt x="1002" y="242"/>
                  </a:cubicBezTo>
                  <a:cubicBezTo>
                    <a:pt x="1002" y="245"/>
                    <a:pt x="1005" y="248"/>
                    <a:pt x="1008" y="248"/>
                  </a:cubicBezTo>
                  <a:cubicBezTo>
                    <a:pt x="1011" y="248"/>
                    <a:pt x="1011" y="245"/>
                    <a:pt x="1011" y="242"/>
                  </a:cubicBezTo>
                  <a:cubicBezTo>
                    <a:pt x="1011" y="236"/>
                    <a:pt x="1011" y="236"/>
                    <a:pt x="1011" y="236"/>
                  </a:cubicBezTo>
                  <a:cubicBezTo>
                    <a:pt x="1014" y="236"/>
                    <a:pt x="1014" y="236"/>
                    <a:pt x="1014" y="236"/>
                  </a:cubicBezTo>
                  <a:cubicBezTo>
                    <a:pt x="1011" y="203"/>
                    <a:pt x="1014" y="171"/>
                    <a:pt x="999" y="142"/>
                  </a:cubicBezTo>
                  <a:cubicBezTo>
                    <a:pt x="999" y="142"/>
                    <a:pt x="999" y="142"/>
                    <a:pt x="999" y="142"/>
                  </a:cubicBezTo>
                  <a:cubicBezTo>
                    <a:pt x="999" y="142"/>
                    <a:pt x="999" y="142"/>
                    <a:pt x="999" y="142"/>
                  </a:cubicBezTo>
                  <a:cubicBezTo>
                    <a:pt x="982" y="139"/>
                    <a:pt x="982" y="139"/>
                    <a:pt x="982" y="139"/>
                  </a:cubicBezTo>
                  <a:cubicBezTo>
                    <a:pt x="979" y="136"/>
                    <a:pt x="979" y="136"/>
                    <a:pt x="979" y="136"/>
                  </a:cubicBezTo>
                  <a:cubicBezTo>
                    <a:pt x="979" y="133"/>
                    <a:pt x="979" y="133"/>
                    <a:pt x="979" y="133"/>
                  </a:cubicBezTo>
                  <a:cubicBezTo>
                    <a:pt x="982" y="127"/>
                    <a:pt x="985" y="121"/>
                    <a:pt x="985" y="121"/>
                  </a:cubicBezTo>
                  <a:cubicBezTo>
                    <a:pt x="987" y="121"/>
                    <a:pt x="987" y="118"/>
                    <a:pt x="987" y="118"/>
                  </a:cubicBezTo>
                  <a:cubicBezTo>
                    <a:pt x="987" y="112"/>
                    <a:pt x="987" y="112"/>
                    <a:pt x="987" y="112"/>
                  </a:cubicBezTo>
                  <a:cubicBezTo>
                    <a:pt x="987" y="112"/>
                    <a:pt x="987" y="112"/>
                    <a:pt x="987" y="112"/>
                  </a:cubicBezTo>
                  <a:cubicBezTo>
                    <a:pt x="987" y="103"/>
                    <a:pt x="987" y="98"/>
                    <a:pt x="982" y="95"/>
                  </a:cubicBezTo>
                  <a:cubicBezTo>
                    <a:pt x="979" y="95"/>
                    <a:pt x="979" y="95"/>
                    <a:pt x="976" y="95"/>
                  </a:cubicBezTo>
                  <a:cubicBezTo>
                    <a:pt x="973" y="92"/>
                    <a:pt x="967" y="92"/>
                    <a:pt x="961" y="95"/>
                  </a:cubicBezTo>
                  <a:cubicBezTo>
                    <a:pt x="955" y="98"/>
                    <a:pt x="955" y="103"/>
                    <a:pt x="955" y="109"/>
                  </a:cubicBezTo>
                  <a:cubicBezTo>
                    <a:pt x="955" y="112"/>
                    <a:pt x="955" y="112"/>
                    <a:pt x="955" y="112"/>
                  </a:cubicBezTo>
                  <a:cubicBezTo>
                    <a:pt x="955" y="118"/>
                    <a:pt x="955" y="118"/>
                    <a:pt x="955" y="118"/>
                  </a:cubicBezTo>
                  <a:cubicBezTo>
                    <a:pt x="955" y="118"/>
                    <a:pt x="955" y="121"/>
                    <a:pt x="958" y="121"/>
                  </a:cubicBezTo>
                  <a:cubicBezTo>
                    <a:pt x="958" y="121"/>
                    <a:pt x="961" y="130"/>
                    <a:pt x="964" y="133"/>
                  </a:cubicBezTo>
                  <a:cubicBezTo>
                    <a:pt x="964" y="136"/>
                    <a:pt x="964" y="136"/>
                    <a:pt x="964" y="136"/>
                  </a:cubicBezTo>
                  <a:cubicBezTo>
                    <a:pt x="961" y="139"/>
                    <a:pt x="961" y="139"/>
                    <a:pt x="961" y="139"/>
                  </a:cubicBezTo>
                  <a:cubicBezTo>
                    <a:pt x="943" y="142"/>
                    <a:pt x="943" y="142"/>
                    <a:pt x="943" y="142"/>
                  </a:cubicBezTo>
                  <a:cubicBezTo>
                    <a:pt x="943" y="142"/>
                    <a:pt x="943" y="142"/>
                    <a:pt x="943" y="142"/>
                  </a:cubicBezTo>
                  <a:cubicBezTo>
                    <a:pt x="940" y="151"/>
                    <a:pt x="938" y="159"/>
                    <a:pt x="938" y="165"/>
                  </a:cubicBezTo>
                  <a:cubicBezTo>
                    <a:pt x="923" y="162"/>
                    <a:pt x="923" y="162"/>
                    <a:pt x="923" y="162"/>
                  </a:cubicBezTo>
                  <a:cubicBezTo>
                    <a:pt x="920" y="162"/>
                    <a:pt x="920" y="162"/>
                    <a:pt x="920" y="162"/>
                  </a:cubicBezTo>
                  <a:cubicBezTo>
                    <a:pt x="920" y="156"/>
                    <a:pt x="920" y="156"/>
                    <a:pt x="920" y="156"/>
                  </a:cubicBezTo>
                  <a:cubicBezTo>
                    <a:pt x="923" y="153"/>
                    <a:pt x="926" y="145"/>
                    <a:pt x="926" y="145"/>
                  </a:cubicBezTo>
                  <a:cubicBezTo>
                    <a:pt x="929" y="145"/>
                    <a:pt x="929" y="145"/>
                    <a:pt x="929" y="142"/>
                  </a:cubicBezTo>
                  <a:cubicBezTo>
                    <a:pt x="929" y="139"/>
                    <a:pt x="929" y="139"/>
                    <a:pt x="929" y="139"/>
                  </a:cubicBezTo>
                  <a:cubicBezTo>
                    <a:pt x="929" y="136"/>
                    <a:pt x="929" y="136"/>
                    <a:pt x="929" y="136"/>
                  </a:cubicBezTo>
                  <a:cubicBezTo>
                    <a:pt x="929" y="130"/>
                    <a:pt x="929" y="121"/>
                    <a:pt x="923" y="121"/>
                  </a:cubicBezTo>
                  <a:cubicBezTo>
                    <a:pt x="920" y="118"/>
                    <a:pt x="920" y="118"/>
                    <a:pt x="917" y="118"/>
                  </a:cubicBezTo>
                  <a:cubicBezTo>
                    <a:pt x="914" y="115"/>
                    <a:pt x="908" y="115"/>
                    <a:pt x="902" y="118"/>
                  </a:cubicBezTo>
                  <a:cubicBezTo>
                    <a:pt x="902" y="118"/>
                    <a:pt x="902" y="118"/>
                    <a:pt x="902" y="118"/>
                  </a:cubicBezTo>
                  <a:cubicBezTo>
                    <a:pt x="899" y="118"/>
                    <a:pt x="899" y="115"/>
                    <a:pt x="896" y="115"/>
                  </a:cubicBezTo>
                  <a:cubicBezTo>
                    <a:pt x="896" y="115"/>
                    <a:pt x="893" y="112"/>
                    <a:pt x="893" y="115"/>
                  </a:cubicBezTo>
                  <a:cubicBezTo>
                    <a:pt x="888" y="112"/>
                    <a:pt x="882" y="112"/>
                    <a:pt x="876" y="112"/>
                  </a:cubicBezTo>
                  <a:cubicBezTo>
                    <a:pt x="870" y="115"/>
                    <a:pt x="870" y="124"/>
                    <a:pt x="873" y="130"/>
                  </a:cubicBezTo>
                  <a:cubicBezTo>
                    <a:pt x="870" y="130"/>
                    <a:pt x="870" y="130"/>
                    <a:pt x="870" y="133"/>
                  </a:cubicBezTo>
                  <a:cubicBezTo>
                    <a:pt x="870" y="136"/>
                    <a:pt x="870" y="136"/>
                    <a:pt x="870" y="136"/>
                  </a:cubicBezTo>
                  <a:cubicBezTo>
                    <a:pt x="870" y="139"/>
                    <a:pt x="873" y="139"/>
                    <a:pt x="873" y="139"/>
                  </a:cubicBezTo>
                  <a:cubicBezTo>
                    <a:pt x="873" y="139"/>
                    <a:pt x="876" y="148"/>
                    <a:pt x="879" y="151"/>
                  </a:cubicBezTo>
                  <a:cubicBezTo>
                    <a:pt x="879" y="156"/>
                    <a:pt x="879" y="156"/>
                    <a:pt x="879" y="156"/>
                  </a:cubicBezTo>
                  <a:cubicBezTo>
                    <a:pt x="876" y="159"/>
                    <a:pt x="876" y="159"/>
                    <a:pt x="876" y="159"/>
                  </a:cubicBezTo>
                  <a:cubicBezTo>
                    <a:pt x="867" y="159"/>
                    <a:pt x="867" y="159"/>
                    <a:pt x="867" y="159"/>
                  </a:cubicBezTo>
                  <a:cubicBezTo>
                    <a:pt x="864" y="148"/>
                    <a:pt x="861" y="139"/>
                    <a:pt x="855" y="127"/>
                  </a:cubicBezTo>
                  <a:cubicBezTo>
                    <a:pt x="855" y="127"/>
                    <a:pt x="855" y="127"/>
                    <a:pt x="855" y="127"/>
                  </a:cubicBezTo>
                  <a:cubicBezTo>
                    <a:pt x="855" y="127"/>
                    <a:pt x="855" y="127"/>
                    <a:pt x="855" y="127"/>
                  </a:cubicBezTo>
                  <a:cubicBezTo>
                    <a:pt x="841" y="124"/>
                    <a:pt x="841" y="124"/>
                    <a:pt x="841" y="124"/>
                  </a:cubicBezTo>
                  <a:cubicBezTo>
                    <a:pt x="838" y="121"/>
                    <a:pt x="838" y="121"/>
                    <a:pt x="838" y="121"/>
                  </a:cubicBezTo>
                  <a:cubicBezTo>
                    <a:pt x="838" y="118"/>
                    <a:pt x="838" y="118"/>
                    <a:pt x="838" y="118"/>
                  </a:cubicBezTo>
                  <a:cubicBezTo>
                    <a:pt x="841" y="112"/>
                    <a:pt x="843" y="106"/>
                    <a:pt x="843" y="106"/>
                  </a:cubicBezTo>
                  <a:cubicBezTo>
                    <a:pt x="846" y="103"/>
                    <a:pt x="846" y="103"/>
                    <a:pt x="846" y="103"/>
                  </a:cubicBezTo>
                  <a:cubicBezTo>
                    <a:pt x="846" y="98"/>
                    <a:pt x="846" y="98"/>
                    <a:pt x="846" y="98"/>
                  </a:cubicBezTo>
                  <a:cubicBezTo>
                    <a:pt x="843" y="98"/>
                    <a:pt x="843" y="98"/>
                    <a:pt x="843" y="98"/>
                  </a:cubicBezTo>
                  <a:cubicBezTo>
                    <a:pt x="846" y="89"/>
                    <a:pt x="843" y="83"/>
                    <a:pt x="838" y="80"/>
                  </a:cubicBezTo>
                  <a:cubicBezTo>
                    <a:pt x="835" y="80"/>
                    <a:pt x="835" y="80"/>
                    <a:pt x="835" y="80"/>
                  </a:cubicBezTo>
                  <a:cubicBezTo>
                    <a:pt x="829" y="77"/>
                    <a:pt x="823" y="77"/>
                    <a:pt x="817" y="80"/>
                  </a:cubicBezTo>
                  <a:cubicBezTo>
                    <a:pt x="814" y="83"/>
                    <a:pt x="811" y="89"/>
                    <a:pt x="814" y="98"/>
                  </a:cubicBezTo>
                  <a:cubicBezTo>
                    <a:pt x="811" y="98"/>
                    <a:pt x="811" y="98"/>
                    <a:pt x="811" y="98"/>
                  </a:cubicBezTo>
                  <a:cubicBezTo>
                    <a:pt x="811" y="95"/>
                    <a:pt x="811" y="95"/>
                    <a:pt x="811" y="95"/>
                  </a:cubicBezTo>
                  <a:cubicBezTo>
                    <a:pt x="811" y="95"/>
                    <a:pt x="811" y="95"/>
                    <a:pt x="811" y="95"/>
                  </a:cubicBezTo>
                  <a:cubicBezTo>
                    <a:pt x="811" y="95"/>
                    <a:pt x="811" y="95"/>
                    <a:pt x="811" y="95"/>
                  </a:cubicBezTo>
                  <a:cubicBezTo>
                    <a:pt x="794" y="92"/>
                    <a:pt x="794" y="92"/>
                    <a:pt x="794" y="92"/>
                  </a:cubicBezTo>
                  <a:cubicBezTo>
                    <a:pt x="791" y="89"/>
                    <a:pt x="791" y="89"/>
                    <a:pt x="791" y="89"/>
                  </a:cubicBezTo>
                  <a:cubicBezTo>
                    <a:pt x="791" y="83"/>
                    <a:pt x="791" y="83"/>
                    <a:pt x="791" y="83"/>
                  </a:cubicBezTo>
                  <a:cubicBezTo>
                    <a:pt x="794" y="80"/>
                    <a:pt x="796" y="71"/>
                    <a:pt x="796" y="71"/>
                  </a:cubicBezTo>
                  <a:cubicBezTo>
                    <a:pt x="799" y="71"/>
                    <a:pt x="799" y="71"/>
                    <a:pt x="799" y="68"/>
                  </a:cubicBezTo>
                  <a:cubicBezTo>
                    <a:pt x="799" y="65"/>
                    <a:pt x="799" y="65"/>
                    <a:pt x="799" y="65"/>
                  </a:cubicBezTo>
                  <a:cubicBezTo>
                    <a:pt x="799" y="62"/>
                    <a:pt x="799" y="62"/>
                    <a:pt x="799" y="62"/>
                  </a:cubicBezTo>
                  <a:cubicBezTo>
                    <a:pt x="799" y="56"/>
                    <a:pt x="799" y="47"/>
                    <a:pt x="794" y="47"/>
                  </a:cubicBezTo>
                  <a:cubicBezTo>
                    <a:pt x="791" y="47"/>
                    <a:pt x="791" y="45"/>
                    <a:pt x="788" y="47"/>
                  </a:cubicBezTo>
                  <a:cubicBezTo>
                    <a:pt x="785" y="45"/>
                    <a:pt x="779" y="45"/>
                    <a:pt x="773" y="45"/>
                  </a:cubicBezTo>
                  <a:cubicBezTo>
                    <a:pt x="767" y="47"/>
                    <a:pt x="767" y="56"/>
                    <a:pt x="767" y="62"/>
                  </a:cubicBezTo>
                  <a:cubicBezTo>
                    <a:pt x="767" y="62"/>
                    <a:pt x="767" y="62"/>
                    <a:pt x="767" y="65"/>
                  </a:cubicBezTo>
                  <a:cubicBezTo>
                    <a:pt x="767" y="68"/>
                    <a:pt x="767" y="68"/>
                    <a:pt x="767" y="68"/>
                  </a:cubicBezTo>
                  <a:cubicBezTo>
                    <a:pt x="767" y="71"/>
                    <a:pt x="767" y="71"/>
                    <a:pt x="770" y="71"/>
                  </a:cubicBezTo>
                  <a:cubicBezTo>
                    <a:pt x="770" y="71"/>
                    <a:pt x="773" y="80"/>
                    <a:pt x="776" y="83"/>
                  </a:cubicBezTo>
                  <a:cubicBezTo>
                    <a:pt x="776" y="89"/>
                    <a:pt x="776" y="89"/>
                    <a:pt x="776" y="89"/>
                  </a:cubicBezTo>
                  <a:cubicBezTo>
                    <a:pt x="773" y="92"/>
                    <a:pt x="773" y="92"/>
                    <a:pt x="773" y="92"/>
                  </a:cubicBezTo>
                  <a:cubicBezTo>
                    <a:pt x="761" y="92"/>
                    <a:pt x="761" y="92"/>
                    <a:pt x="761" y="92"/>
                  </a:cubicBezTo>
                  <a:cubicBezTo>
                    <a:pt x="758" y="83"/>
                    <a:pt x="755" y="74"/>
                    <a:pt x="752" y="65"/>
                  </a:cubicBezTo>
                  <a:cubicBezTo>
                    <a:pt x="752" y="65"/>
                    <a:pt x="752" y="65"/>
                    <a:pt x="752" y="65"/>
                  </a:cubicBezTo>
                  <a:cubicBezTo>
                    <a:pt x="752" y="65"/>
                    <a:pt x="752" y="65"/>
                    <a:pt x="752" y="65"/>
                  </a:cubicBezTo>
                  <a:cubicBezTo>
                    <a:pt x="738" y="62"/>
                    <a:pt x="738" y="62"/>
                    <a:pt x="738" y="62"/>
                  </a:cubicBezTo>
                  <a:cubicBezTo>
                    <a:pt x="735" y="59"/>
                    <a:pt x="735" y="59"/>
                    <a:pt x="735" y="59"/>
                  </a:cubicBezTo>
                  <a:cubicBezTo>
                    <a:pt x="735" y="56"/>
                    <a:pt x="735" y="56"/>
                    <a:pt x="735" y="56"/>
                  </a:cubicBezTo>
                  <a:cubicBezTo>
                    <a:pt x="738" y="53"/>
                    <a:pt x="741" y="45"/>
                    <a:pt x="741" y="45"/>
                  </a:cubicBezTo>
                  <a:cubicBezTo>
                    <a:pt x="741" y="45"/>
                    <a:pt x="744" y="45"/>
                    <a:pt x="744" y="42"/>
                  </a:cubicBezTo>
                  <a:cubicBezTo>
                    <a:pt x="744" y="39"/>
                    <a:pt x="744" y="39"/>
                    <a:pt x="744" y="39"/>
                  </a:cubicBezTo>
                  <a:cubicBezTo>
                    <a:pt x="744" y="39"/>
                    <a:pt x="744" y="39"/>
                    <a:pt x="741" y="36"/>
                  </a:cubicBezTo>
                  <a:cubicBezTo>
                    <a:pt x="744" y="30"/>
                    <a:pt x="741" y="24"/>
                    <a:pt x="735" y="21"/>
                  </a:cubicBezTo>
                  <a:cubicBezTo>
                    <a:pt x="735" y="21"/>
                    <a:pt x="735" y="21"/>
                    <a:pt x="732" y="21"/>
                  </a:cubicBezTo>
                  <a:cubicBezTo>
                    <a:pt x="729" y="18"/>
                    <a:pt x="723" y="18"/>
                    <a:pt x="717" y="21"/>
                  </a:cubicBezTo>
                  <a:cubicBezTo>
                    <a:pt x="714" y="24"/>
                    <a:pt x="711" y="30"/>
                    <a:pt x="714" y="36"/>
                  </a:cubicBezTo>
                  <a:cubicBezTo>
                    <a:pt x="711" y="36"/>
                    <a:pt x="711" y="39"/>
                    <a:pt x="711" y="39"/>
                  </a:cubicBezTo>
                  <a:cubicBezTo>
                    <a:pt x="711" y="42"/>
                    <a:pt x="711" y="42"/>
                    <a:pt x="711" y="42"/>
                  </a:cubicBezTo>
                  <a:cubicBezTo>
                    <a:pt x="711" y="45"/>
                    <a:pt x="714" y="45"/>
                    <a:pt x="714" y="45"/>
                  </a:cubicBezTo>
                  <a:cubicBezTo>
                    <a:pt x="714" y="45"/>
                    <a:pt x="717" y="53"/>
                    <a:pt x="720" y="56"/>
                  </a:cubicBezTo>
                  <a:cubicBezTo>
                    <a:pt x="720" y="59"/>
                    <a:pt x="720" y="59"/>
                    <a:pt x="720" y="59"/>
                  </a:cubicBezTo>
                  <a:cubicBezTo>
                    <a:pt x="717" y="62"/>
                    <a:pt x="717" y="62"/>
                    <a:pt x="717" y="62"/>
                  </a:cubicBezTo>
                  <a:cubicBezTo>
                    <a:pt x="702" y="65"/>
                    <a:pt x="702" y="65"/>
                    <a:pt x="702" y="65"/>
                  </a:cubicBezTo>
                  <a:cubicBezTo>
                    <a:pt x="702" y="65"/>
                    <a:pt x="702" y="65"/>
                    <a:pt x="702" y="65"/>
                  </a:cubicBezTo>
                  <a:cubicBezTo>
                    <a:pt x="702" y="68"/>
                    <a:pt x="702" y="68"/>
                    <a:pt x="702" y="68"/>
                  </a:cubicBezTo>
                  <a:cubicBezTo>
                    <a:pt x="699" y="62"/>
                    <a:pt x="697" y="56"/>
                    <a:pt x="694" y="50"/>
                  </a:cubicBezTo>
                  <a:cubicBezTo>
                    <a:pt x="694" y="50"/>
                    <a:pt x="694" y="50"/>
                    <a:pt x="694" y="50"/>
                  </a:cubicBezTo>
                  <a:cubicBezTo>
                    <a:pt x="694" y="50"/>
                    <a:pt x="694" y="50"/>
                    <a:pt x="694" y="50"/>
                  </a:cubicBezTo>
                  <a:cubicBezTo>
                    <a:pt x="685" y="47"/>
                    <a:pt x="685" y="47"/>
                    <a:pt x="685" y="47"/>
                  </a:cubicBezTo>
                  <a:cubicBezTo>
                    <a:pt x="688" y="39"/>
                    <a:pt x="688" y="24"/>
                    <a:pt x="688" y="24"/>
                  </a:cubicBezTo>
                  <a:cubicBezTo>
                    <a:pt x="688" y="15"/>
                    <a:pt x="682" y="9"/>
                    <a:pt x="679" y="9"/>
                  </a:cubicBezTo>
                  <a:cubicBezTo>
                    <a:pt x="676" y="3"/>
                    <a:pt x="673" y="0"/>
                    <a:pt x="667" y="0"/>
                  </a:cubicBezTo>
                  <a:cubicBezTo>
                    <a:pt x="658" y="0"/>
                    <a:pt x="652" y="9"/>
                    <a:pt x="652" y="21"/>
                  </a:cubicBezTo>
                  <a:cubicBezTo>
                    <a:pt x="652" y="21"/>
                    <a:pt x="652" y="36"/>
                    <a:pt x="652" y="47"/>
                  </a:cubicBezTo>
                  <a:cubicBezTo>
                    <a:pt x="641" y="50"/>
                    <a:pt x="641" y="50"/>
                    <a:pt x="641" y="50"/>
                  </a:cubicBezTo>
                  <a:cubicBezTo>
                    <a:pt x="641" y="50"/>
                    <a:pt x="641" y="50"/>
                    <a:pt x="641" y="50"/>
                  </a:cubicBezTo>
                  <a:cubicBezTo>
                    <a:pt x="641" y="56"/>
                    <a:pt x="638" y="59"/>
                    <a:pt x="638" y="65"/>
                  </a:cubicBezTo>
                  <a:cubicBezTo>
                    <a:pt x="635" y="59"/>
                    <a:pt x="635" y="56"/>
                    <a:pt x="632" y="53"/>
                  </a:cubicBezTo>
                  <a:cubicBezTo>
                    <a:pt x="632" y="53"/>
                    <a:pt x="632" y="53"/>
                    <a:pt x="632" y="53"/>
                  </a:cubicBezTo>
                  <a:cubicBezTo>
                    <a:pt x="632" y="53"/>
                    <a:pt x="632" y="53"/>
                    <a:pt x="632" y="53"/>
                  </a:cubicBezTo>
                  <a:cubicBezTo>
                    <a:pt x="617" y="50"/>
                    <a:pt x="617" y="50"/>
                    <a:pt x="617" y="50"/>
                  </a:cubicBezTo>
                  <a:cubicBezTo>
                    <a:pt x="617" y="47"/>
                    <a:pt x="617" y="47"/>
                    <a:pt x="617" y="47"/>
                  </a:cubicBezTo>
                  <a:cubicBezTo>
                    <a:pt x="617" y="45"/>
                    <a:pt x="617" y="45"/>
                    <a:pt x="617" y="45"/>
                  </a:cubicBezTo>
                  <a:cubicBezTo>
                    <a:pt x="620" y="42"/>
                    <a:pt x="620" y="33"/>
                    <a:pt x="620" y="33"/>
                  </a:cubicBezTo>
                  <a:cubicBezTo>
                    <a:pt x="623" y="33"/>
                    <a:pt x="623" y="33"/>
                    <a:pt x="623" y="33"/>
                  </a:cubicBezTo>
                  <a:cubicBezTo>
                    <a:pt x="623" y="27"/>
                    <a:pt x="623" y="27"/>
                    <a:pt x="623" y="27"/>
                  </a:cubicBezTo>
                  <a:cubicBezTo>
                    <a:pt x="623" y="27"/>
                    <a:pt x="623" y="27"/>
                    <a:pt x="623" y="27"/>
                  </a:cubicBezTo>
                  <a:cubicBezTo>
                    <a:pt x="623" y="21"/>
                    <a:pt x="623" y="15"/>
                    <a:pt x="617" y="12"/>
                  </a:cubicBezTo>
                  <a:cubicBezTo>
                    <a:pt x="614" y="12"/>
                    <a:pt x="614" y="12"/>
                    <a:pt x="614" y="12"/>
                  </a:cubicBezTo>
                  <a:cubicBezTo>
                    <a:pt x="611" y="9"/>
                    <a:pt x="605" y="9"/>
                    <a:pt x="600" y="12"/>
                  </a:cubicBezTo>
                  <a:cubicBezTo>
                    <a:pt x="597" y="12"/>
                    <a:pt x="597" y="21"/>
                    <a:pt x="597" y="27"/>
                  </a:cubicBezTo>
                  <a:cubicBezTo>
                    <a:pt x="597" y="27"/>
                    <a:pt x="597" y="27"/>
                    <a:pt x="597" y="27"/>
                  </a:cubicBezTo>
                  <a:cubicBezTo>
                    <a:pt x="597" y="33"/>
                    <a:pt x="597" y="33"/>
                    <a:pt x="597" y="33"/>
                  </a:cubicBezTo>
                  <a:cubicBezTo>
                    <a:pt x="597" y="33"/>
                    <a:pt x="597" y="33"/>
                    <a:pt x="597" y="33"/>
                  </a:cubicBezTo>
                  <a:cubicBezTo>
                    <a:pt x="597" y="33"/>
                    <a:pt x="600" y="42"/>
                    <a:pt x="603" y="45"/>
                  </a:cubicBezTo>
                  <a:cubicBezTo>
                    <a:pt x="603" y="47"/>
                    <a:pt x="603" y="47"/>
                    <a:pt x="603" y="47"/>
                  </a:cubicBezTo>
                  <a:cubicBezTo>
                    <a:pt x="600" y="50"/>
                    <a:pt x="600" y="50"/>
                    <a:pt x="600" y="50"/>
                  </a:cubicBezTo>
                  <a:cubicBezTo>
                    <a:pt x="588" y="53"/>
                    <a:pt x="588" y="53"/>
                    <a:pt x="588" y="53"/>
                  </a:cubicBezTo>
                  <a:cubicBezTo>
                    <a:pt x="588" y="53"/>
                    <a:pt x="588" y="53"/>
                    <a:pt x="588" y="53"/>
                  </a:cubicBezTo>
                  <a:cubicBezTo>
                    <a:pt x="585" y="56"/>
                    <a:pt x="585" y="59"/>
                    <a:pt x="585" y="62"/>
                  </a:cubicBezTo>
                  <a:cubicBezTo>
                    <a:pt x="582" y="62"/>
                    <a:pt x="582" y="59"/>
                    <a:pt x="582" y="59"/>
                  </a:cubicBezTo>
                  <a:cubicBezTo>
                    <a:pt x="579" y="59"/>
                    <a:pt x="573" y="62"/>
                    <a:pt x="570" y="65"/>
                  </a:cubicBezTo>
                  <a:cubicBezTo>
                    <a:pt x="570" y="65"/>
                    <a:pt x="570" y="65"/>
                    <a:pt x="570" y="65"/>
                  </a:cubicBezTo>
                  <a:cubicBezTo>
                    <a:pt x="570" y="65"/>
                    <a:pt x="570" y="65"/>
                    <a:pt x="570" y="65"/>
                  </a:cubicBezTo>
                  <a:cubicBezTo>
                    <a:pt x="570" y="65"/>
                    <a:pt x="570" y="65"/>
                    <a:pt x="570" y="65"/>
                  </a:cubicBezTo>
                  <a:cubicBezTo>
                    <a:pt x="558" y="62"/>
                    <a:pt x="558" y="62"/>
                    <a:pt x="558" y="62"/>
                  </a:cubicBezTo>
                  <a:cubicBezTo>
                    <a:pt x="555" y="59"/>
                    <a:pt x="555" y="59"/>
                    <a:pt x="555" y="59"/>
                  </a:cubicBezTo>
                  <a:cubicBezTo>
                    <a:pt x="555" y="56"/>
                    <a:pt x="555" y="56"/>
                    <a:pt x="555" y="56"/>
                  </a:cubicBezTo>
                  <a:cubicBezTo>
                    <a:pt x="558" y="53"/>
                    <a:pt x="561" y="47"/>
                    <a:pt x="561" y="47"/>
                  </a:cubicBezTo>
                  <a:cubicBezTo>
                    <a:pt x="561" y="47"/>
                    <a:pt x="561" y="47"/>
                    <a:pt x="561" y="45"/>
                  </a:cubicBezTo>
                  <a:cubicBezTo>
                    <a:pt x="561" y="42"/>
                    <a:pt x="561" y="42"/>
                    <a:pt x="561" y="42"/>
                  </a:cubicBezTo>
                  <a:cubicBezTo>
                    <a:pt x="561" y="39"/>
                    <a:pt x="561" y="39"/>
                    <a:pt x="561" y="39"/>
                  </a:cubicBezTo>
                  <a:cubicBezTo>
                    <a:pt x="561" y="33"/>
                    <a:pt x="561" y="27"/>
                    <a:pt x="555" y="27"/>
                  </a:cubicBezTo>
                  <a:cubicBezTo>
                    <a:pt x="555" y="27"/>
                    <a:pt x="555" y="27"/>
                    <a:pt x="553" y="27"/>
                  </a:cubicBezTo>
                  <a:cubicBezTo>
                    <a:pt x="550" y="24"/>
                    <a:pt x="544" y="24"/>
                    <a:pt x="541" y="27"/>
                  </a:cubicBezTo>
                  <a:cubicBezTo>
                    <a:pt x="538" y="27"/>
                    <a:pt x="535" y="33"/>
                    <a:pt x="538" y="39"/>
                  </a:cubicBezTo>
                  <a:cubicBezTo>
                    <a:pt x="535" y="39"/>
                    <a:pt x="535" y="42"/>
                    <a:pt x="535" y="42"/>
                  </a:cubicBezTo>
                  <a:cubicBezTo>
                    <a:pt x="535" y="45"/>
                    <a:pt x="535" y="45"/>
                    <a:pt x="535" y="45"/>
                  </a:cubicBezTo>
                  <a:cubicBezTo>
                    <a:pt x="535" y="47"/>
                    <a:pt x="538" y="47"/>
                    <a:pt x="538" y="47"/>
                  </a:cubicBezTo>
                  <a:cubicBezTo>
                    <a:pt x="538" y="47"/>
                    <a:pt x="541" y="53"/>
                    <a:pt x="544" y="56"/>
                  </a:cubicBezTo>
                  <a:cubicBezTo>
                    <a:pt x="544" y="59"/>
                    <a:pt x="544" y="59"/>
                    <a:pt x="544" y="59"/>
                  </a:cubicBezTo>
                  <a:cubicBezTo>
                    <a:pt x="541" y="62"/>
                    <a:pt x="541" y="62"/>
                    <a:pt x="541" y="62"/>
                  </a:cubicBezTo>
                  <a:cubicBezTo>
                    <a:pt x="529" y="65"/>
                    <a:pt x="529" y="65"/>
                    <a:pt x="529" y="65"/>
                  </a:cubicBezTo>
                  <a:cubicBezTo>
                    <a:pt x="529" y="65"/>
                    <a:pt x="529" y="65"/>
                    <a:pt x="529" y="65"/>
                  </a:cubicBezTo>
                  <a:cubicBezTo>
                    <a:pt x="517" y="89"/>
                    <a:pt x="517" y="112"/>
                    <a:pt x="514" y="139"/>
                  </a:cubicBezTo>
                  <a:cubicBezTo>
                    <a:pt x="517" y="139"/>
                    <a:pt x="517" y="139"/>
                    <a:pt x="517" y="139"/>
                  </a:cubicBezTo>
                  <a:cubicBezTo>
                    <a:pt x="517" y="142"/>
                    <a:pt x="517" y="142"/>
                    <a:pt x="517" y="142"/>
                  </a:cubicBezTo>
                  <a:cubicBezTo>
                    <a:pt x="517" y="145"/>
                    <a:pt x="520" y="148"/>
                    <a:pt x="520" y="148"/>
                  </a:cubicBezTo>
                  <a:cubicBezTo>
                    <a:pt x="523" y="148"/>
                    <a:pt x="526" y="145"/>
                    <a:pt x="526" y="142"/>
                  </a:cubicBezTo>
                  <a:cubicBezTo>
                    <a:pt x="526" y="171"/>
                    <a:pt x="526" y="171"/>
                    <a:pt x="526" y="171"/>
                  </a:cubicBezTo>
                  <a:cubicBezTo>
                    <a:pt x="335" y="168"/>
                    <a:pt x="144" y="242"/>
                    <a:pt x="0" y="386"/>
                  </a:cubicBezTo>
                  <a:cubicBezTo>
                    <a:pt x="364" y="386"/>
                    <a:pt x="364" y="386"/>
                    <a:pt x="364" y="386"/>
                  </a:cubicBezTo>
                  <a:cubicBezTo>
                    <a:pt x="1032" y="386"/>
                    <a:pt x="1032" y="386"/>
                    <a:pt x="1032" y="386"/>
                  </a:cubicBezTo>
                  <a:cubicBezTo>
                    <a:pt x="1020" y="374"/>
                    <a:pt x="1008" y="362"/>
                    <a:pt x="993" y="351"/>
                  </a:cubicBezTo>
                  <a:close/>
                  <a:moveTo>
                    <a:pt x="943" y="265"/>
                  </a:moveTo>
                  <a:cubicBezTo>
                    <a:pt x="943" y="265"/>
                    <a:pt x="943" y="265"/>
                    <a:pt x="943" y="268"/>
                  </a:cubicBezTo>
                  <a:cubicBezTo>
                    <a:pt x="943" y="312"/>
                    <a:pt x="943" y="312"/>
                    <a:pt x="943" y="312"/>
                  </a:cubicBezTo>
                  <a:cubicBezTo>
                    <a:pt x="943" y="309"/>
                    <a:pt x="940" y="309"/>
                    <a:pt x="940" y="309"/>
                  </a:cubicBezTo>
                  <a:cubicBezTo>
                    <a:pt x="943" y="265"/>
                    <a:pt x="943" y="265"/>
                    <a:pt x="943" y="265"/>
                  </a:cubicBezTo>
                  <a:cubicBezTo>
                    <a:pt x="943" y="265"/>
                    <a:pt x="943" y="265"/>
                    <a:pt x="943" y="265"/>
                  </a:cubicBezTo>
                  <a:close/>
                  <a:moveTo>
                    <a:pt x="896" y="151"/>
                  </a:moveTo>
                  <a:cubicBezTo>
                    <a:pt x="896" y="151"/>
                    <a:pt x="896" y="148"/>
                    <a:pt x="899" y="145"/>
                  </a:cubicBezTo>
                  <a:cubicBezTo>
                    <a:pt x="899" y="148"/>
                    <a:pt x="902" y="153"/>
                    <a:pt x="905" y="156"/>
                  </a:cubicBezTo>
                  <a:cubicBezTo>
                    <a:pt x="905" y="159"/>
                    <a:pt x="905" y="159"/>
                    <a:pt x="905" y="159"/>
                  </a:cubicBezTo>
                  <a:cubicBezTo>
                    <a:pt x="896" y="159"/>
                    <a:pt x="896" y="159"/>
                    <a:pt x="896" y="159"/>
                  </a:cubicBezTo>
                  <a:cubicBezTo>
                    <a:pt x="896" y="156"/>
                    <a:pt x="896" y="156"/>
                    <a:pt x="896" y="156"/>
                  </a:cubicBezTo>
                  <a:cubicBezTo>
                    <a:pt x="896" y="151"/>
                    <a:pt x="896" y="151"/>
                    <a:pt x="896" y="151"/>
                  </a:cubicBezTo>
                  <a:cubicBezTo>
                    <a:pt x="896" y="151"/>
                    <a:pt x="896" y="151"/>
                    <a:pt x="896" y="151"/>
                  </a:cubicBezTo>
                  <a:close/>
                  <a:moveTo>
                    <a:pt x="820" y="118"/>
                  </a:moveTo>
                  <a:cubicBezTo>
                    <a:pt x="820" y="121"/>
                    <a:pt x="820" y="121"/>
                    <a:pt x="820" y="121"/>
                  </a:cubicBezTo>
                  <a:cubicBezTo>
                    <a:pt x="820" y="124"/>
                    <a:pt x="820" y="124"/>
                    <a:pt x="820" y="124"/>
                  </a:cubicBezTo>
                  <a:cubicBezTo>
                    <a:pt x="820" y="118"/>
                    <a:pt x="817" y="115"/>
                    <a:pt x="817" y="112"/>
                  </a:cubicBezTo>
                  <a:cubicBezTo>
                    <a:pt x="817" y="115"/>
                    <a:pt x="820" y="115"/>
                    <a:pt x="820" y="118"/>
                  </a:cubicBezTo>
                  <a:close/>
                </a:path>
              </a:pathLst>
            </a:custGeom>
            <a:solidFill>
              <a:schemeClr val="bg2">
                <a:lumMod val="90000"/>
                <a:lumOff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199" name="Freeform 18"/>
            <p:cNvSpPr>
              <a:spLocks noEditPoints="1"/>
            </p:cNvSpPr>
            <p:nvPr/>
          </p:nvSpPr>
          <p:spPr bwMode="auto">
            <a:xfrm>
              <a:off x="2098" y="3114"/>
              <a:ext cx="2822" cy="1214"/>
            </a:xfrm>
            <a:custGeom>
              <a:avLst/>
              <a:gdLst>
                <a:gd name="T0" fmla="*/ 1264 w 1926"/>
                <a:gd name="T1" fmla="*/ 410 h 828"/>
                <a:gd name="T2" fmla="*/ 1244 w 1926"/>
                <a:gd name="T3" fmla="*/ 257 h 828"/>
                <a:gd name="T4" fmla="*/ 1214 w 1926"/>
                <a:gd name="T5" fmla="*/ 242 h 828"/>
                <a:gd name="T6" fmla="*/ 1226 w 1926"/>
                <a:gd name="T7" fmla="*/ 209 h 828"/>
                <a:gd name="T8" fmla="*/ 1179 w 1926"/>
                <a:gd name="T9" fmla="*/ 209 h 828"/>
                <a:gd name="T10" fmla="*/ 1188 w 1926"/>
                <a:gd name="T11" fmla="*/ 242 h 828"/>
                <a:gd name="T12" fmla="*/ 1141 w 1926"/>
                <a:gd name="T13" fmla="*/ 180 h 828"/>
                <a:gd name="T14" fmla="*/ 1106 w 1926"/>
                <a:gd name="T15" fmla="*/ 171 h 828"/>
                <a:gd name="T16" fmla="*/ 1120 w 1926"/>
                <a:gd name="T17" fmla="*/ 127 h 828"/>
                <a:gd name="T18" fmla="*/ 1073 w 1926"/>
                <a:gd name="T19" fmla="*/ 92 h 828"/>
                <a:gd name="T20" fmla="*/ 1062 w 1926"/>
                <a:gd name="T21" fmla="*/ 115 h 828"/>
                <a:gd name="T22" fmla="*/ 1012 w 1926"/>
                <a:gd name="T23" fmla="*/ 30 h 828"/>
                <a:gd name="T24" fmla="*/ 968 w 1926"/>
                <a:gd name="T25" fmla="*/ 118 h 828"/>
                <a:gd name="T26" fmla="*/ 932 w 1926"/>
                <a:gd name="T27" fmla="*/ 98 h 828"/>
                <a:gd name="T28" fmla="*/ 909 w 1926"/>
                <a:gd name="T29" fmla="*/ 56 h 828"/>
                <a:gd name="T30" fmla="*/ 900 w 1926"/>
                <a:gd name="T31" fmla="*/ 6 h 828"/>
                <a:gd name="T32" fmla="*/ 850 w 1926"/>
                <a:gd name="T33" fmla="*/ 42 h 828"/>
                <a:gd name="T34" fmla="*/ 865 w 1926"/>
                <a:gd name="T35" fmla="*/ 89 h 828"/>
                <a:gd name="T36" fmla="*/ 823 w 1926"/>
                <a:gd name="T37" fmla="*/ 112 h 828"/>
                <a:gd name="T38" fmla="*/ 782 w 1926"/>
                <a:gd name="T39" fmla="*/ 30 h 828"/>
                <a:gd name="T40" fmla="*/ 738 w 1926"/>
                <a:gd name="T41" fmla="*/ 118 h 828"/>
                <a:gd name="T42" fmla="*/ 706 w 1926"/>
                <a:gd name="T43" fmla="*/ 162 h 828"/>
                <a:gd name="T44" fmla="*/ 718 w 1926"/>
                <a:gd name="T45" fmla="*/ 124 h 828"/>
                <a:gd name="T46" fmla="*/ 662 w 1926"/>
                <a:gd name="T47" fmla="*/ 124 h 828"/>
                <a:gd name="T48" fmla="*/ 674 w 1926"/>
                <a:gd name="T49" fmla="*/ 162 h 828"/>
                <a:gd name="T50" fmla="*/ 641 w 1926"/>
                <a:gd name="T51" fmla="*/ 183 h 828"/>
                <a:gd name="T52" fmla="*/ 626 w 1926"/>
                <a:gd name="T53" fmla="*/ 371 h 828"/>
                <a:gd name="T54" fmla="*/ 565 w 1926"/>
                <a:gd name="T55" fmla="*/ 457 h 828"/>
                <a:gd name="T56" fmla="*/ 582 w 1926"/>
                <a:gd name="T57" fmla="*/ 448 h 828"/>
                <a:gd name="T58" fmla="*/ 547 w 1926"/>
                <a:gd name="T59" fmla="*/ 315 h 828"/>
                <a:gd name="T60" fmla="*/ 500 w 1926"/>
                <a:gd name="T61" fmla="*/ 271 h 828"/>
                <a:gd name="T62" fmla="*/ 465 w 1926"/>
                <a:gd name="T63" fmla="*/ 448 h 828"/>
                <a:gd name="T64" fmla="*/ 482 w 1926"/>
                <a:gd name="T65" fmla="*/ 457 h 828"/>
                <a:gd name="T66" fmla="*/ 453 w 1926"/>
                <a:gd name="T67" fmla="*/ 525 h 828"/>
                <a:gd name="T68" fmla="*/ 444 w 1926"/>
                <a:gd name="T69" fmla="*/ 398 h 828"/>
                <a:gd name="T70" fmla="*/ 421 w 1926"/>
                <a:gd name="T71" fmla="*/ 389 h 828"/>
                <a:gd name="T72" fmla="*/ 432 w 1926"/>
                <a:gd name="T73" fmla="*/ 360 h 828"/>
                <a:gd name="T74" fmla="*/ 397 w 1926"/>
                <a:gd name="T75" fmla="*/ 336 h 828"/>
                <a:gd name="T76" fmla="*/ 394 w 1926"/>
                <a:gd name="T77" fmla="*/ 368 h 828"/>
                <a:gd name="T78" fmla="*/ 377 w 1926"/>
                <a:gd name="T79" fmla="*/ 398 h 828"/>
                <a:gd name="T80" fmla="*/ 344 w 1926"/>
                <a:gd name="T81" fmla="*/ 433 h 828"/>
                <a:gd name="T82" fmla="*/ 353 w 1926"/>
                <a:gd name="T83" fmla="*/ 404 h 828"/>
                <a:gd name="T84" fmla="*/ 321 w 1926"/>
                <a:gd name="T85" fmla="*/ 380 h 828"/>
                <a:gd name="T86" fmla="*/ 315 w 1926"/>
                <a:gd name="T87" fmla="*/ 413 h 828"/>
                <a:gd name="T88" fmla="*/ 300 w 1926"/>
                <a:gd name="T89" fmla="*/ 439 h 828"/>
                <a:gd name="T90" fmla="*/ 274 w 1926"/>
                <a:gd name="T91" fmla="*/ 489 h 828"/>
                <a:gd name="T92" fmla="*/ 285 w 1926"/>
                <a:gd name="T93" fmla="*/ 460 h 828"/>
                <a:gd name="T94" fmla="*/ 253 w 1926"/>
                <a:gd name="T95" fmla="*/ 436 h 828"/>
                <a:gd name="T96" fmla="*/ 247 w 1926"/>
                <a:gd name="T97" fmla="*/ 469 h 828"/>
                <a:gd name="T98" fmla="*/ 233 w 1926"/>
                <a:gd name="T99" fmla="*/ 495 h 828"/>
                <a:gd name="T100" fmla="*/ 218 w 1926"/>
                <a:gd name="T101" fmla="*/ 613 h 828"/>
                <a:gd name="T102" fmla="*/ 0 w 1926"/>
                <a:gd name="T103" fmla="*/ 828 h 828"/>
                <a:gd name="T104" fmla="*/ 1144 w 1926"/>
                <a:gd name="T105" fmla="*/ 416 h 828"/>
                <a:gd name="T106" fmla="*/ 1144 w 1926"/>
                <a:gd name="T107" fmla="*/ 439 h 828"/>
                <a:gd name="T108" fmla="*/ 371 w 1926"/>
                <a:gd name="T109" fmla="*/ 563 h 828"/>
                <a:gd name="T110" fmla="*/ 935 w 1926"/>
                <a:gd name="T111" fmla="*/ 427 h 828"/>
                <a:gd name="T112" fmla="*/ 965 w 1926"/>
                <a:gd name="T113" fmla="*/ 286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26" h="828">
                  <a:moveTo>
                    <a:pt x="1247" y="457"/>
                  </a:moveTo>
                  <a:cubicBezTo>
                    <a:pt x="1247" y="410"/>
                    <a:pt x="1247" y="410"/>
                    <a:pt x="1247" y="410"/>
                  </a:cubicBezTo>
                  <a:cubicBezTo>
                    <a:pt x="1247" y="413"/>
                    <a:pt x="1250" y="416"/>
                    <a:pt x="1256" y="416"/>
                  </a:cubicBezTo>
                  <a:cubicBezTo>
                    <a:pt x="1262" y="416"/>
                    <a:pt x="1264" y="413"/>
                    <a:pt x="1264" y="410"/>
                  </a:cubicBezTo>
                  <a:cubicBezTo>
                    <a:pt x="1264" y="398"/>
                    <a:pt x="1264" y="398"/>
                    <a:pt x="1264" y="398"/>
                  </a:cubicBezTo>
                  <a:cubicBezTo>
                    <a:pt x="1267" y="398"/>
                    <a:pt x="1267" y="398"/>
                    <a:pt x="1267" y="398"/>
                  </a:cubicBezTo>
                  <a:cubicBezTo>
                    <a:pt x="1262" y="348"/>
                    <a:pt x="1264" y="304"/>
                    <a:pt x="1244" y="257"/>
                  </a:cubicBezTo>
                  <a:cubicBezTo>
                    <a:pt x="1244" y="257"/>
                    <a:pt x="1244" y="257"/>
                    <a:pt x="1244" y="257"/>
                  </a:cubicBezTo>
                  <a:cubicBezTo>
                    <a:pt x="1244" y="257"/>
                    <a:pt x="1244" y="257"/>
                    <a:pt x="1244" y="257"/>
                  </a:cubicBezTo>
                  <a:cubicBezTo>
                    <a:pt x="1217" y="254"/>
                    <a:pt x="1217" y="254"/>
                    <a:pt x="1217" y="254"/>
                  </a:cubicBezTo>
                  <a:cubicBezTo>
                    <a:pt x="1214" y="251"/>
                    <a:pt x="1214" y="251"/>
                    <a:pt x="1214" y="251"/>
                  </a:cubicBezTo>
                  <a:cubicBezTo>
                    <a:pt x="1214" y="242"/>
                    <a:pt x="1214" y="242"/>
                    <a:pt x="1214" y="242"/>
                  </a:cubicBezTo>
                  <a:cubicBezTo>
                    <a:pt x="1220" y="236"/>
                    <a:pt x="1223" y="224"/>
                    <a:pt x="1223" y="224"/>
                  </a:cubicBezTo>
                  <a:cubicBezTo>
                    <a:pt x="1226" y="224"/>
                    <a:pt x="1226" y="224"/>
                    <a:pt x="1226" y="221"/>
                  </a:cubicBezTo>
                  <a:cubicBezTo>
                    <a:pt x="1226" y="212"/>
                    <a:pt x="1226" y="212"/>
                    <a:pt x="1226" y="212"/>
                  </a:cubicBezTo>
                  <a:cubicBezTo>
                    <a:pt x="1226" y="212"/>
                    <a:pt x="1226" y="212"/>
                    <a:pt x="1226" y="209"/>
                  </a:cubicBezTo>
                  <a:cubicBezTo>
                    <a:pt x="1229" y="201"/>
                    <a:pt x="1226" y="189"/>
                    <a:pt x="1217" y="186"/>
                  </a:cubicBezTo>
                  <a:cubicBezTo>
                    <a:pt x="1214" y="186"/>
                    <a:pt x="1212" y="186"/>
                    <a:pt x="1212" y="186"/>
                  </a:cubicBezTo>
                  <a:cubicBezTo>
                    <a:pt x="1203" y="180"/>
                    <a:pt x="1194" y="180"/>
                    <a:pt x="1185" y="183"/>
                  </a:cubicBezTo>
                  <a:cubicBezTo>
                    <a:pt x="1176" y="189"/>
                    <a:pt x="1176" y="198"/>
                    <a:pt x="1179" y="209"/>
                  </a:cubicBezTo>
                  <a:cubicBezTo>
                    <a:pt x="1176" y="209"/>
                    <a:pt x="1176" y="212"/>
                    <a:pt x="1176" y="212"/>
                  </a:cubicBezTo>
                  <a:cubicBezTo>
                    <a:pt x="1176" y="221"/>
                    <a:pt x="1176" y="221"/>
                    <a:pt x="1176" y="221"/>
                  </a:cubicBezTo>
                  <a:cubicBezTo>
                    <a:pt x="1176" y="224"/>
                    <a:pt x="1179" y="224"/>
                    <a:pt x="1179" y="224"/>
                  </a:cubicBezTo>
                  <a:cubicBezTo>
                    <a:pt x="1179" y="224"/>
                    <a:pt x="1185" y="239"/>
                    <a:pt x="1188" y="242"/>
                  </a:cubicBezTo>
                  <a:cubicBezTo>
                    <a:pt x="1188" y="251"/>
                    <a:pt x="1188" y="251"/>
                    <a:pt x="1188" y="251"/>
                  </a:cubicBezTo>
                  <a:cubicBezTo>
                    <a:pt x="1185" y="254"/>
                    <a:pt x="1185" y="254"/>
                    <a:pt x="1185" y="254"/>
                  </a:cubicBezTo>
                  <a:cubicBezTo>
                    <a:pt x="1162" y="257"/>
                    <a:pt x="1162" y="257"/>
                    <a:pt x="1162" y="257"/>
                  </a:cubicBezTo>
                  <a:cubicBezTo>
                    <a:pt x="1159" y="230"/>
                    <a:pt x="1153" y="207"/>
                    <a:pt x="1141" y="180"/>
                  </a:cubicBezTo>
                  <a:cubicBezTo>
                    <a:pt x="1141" y="180"/>
                    <a:pt x="1141" y="180"/>
                    <a:pt x="1141" y="180"/>
                  </a:cubicBezTo>
                  <a:cubicBezTo>
                    <a:pt x="1141" y="180"/>
                    <a:pt x="1141" y="180"/>
                    <a:pt x="1141" y="180"/>
                  </a:cubicBezTo>
                  <a:cubicBezTo>
                    <a:pt x="1112" y="174"/>
                    <a:pt x="1112" y="174"/>
                    <a:pt x="1112" y="174"/>
                  </a:cubicBezTo>
                  <a:cubicBezTo>
                    <a:pt x="1106" y="171"/>
                    <a:pt x="1106" y="171"/>
                    <a:pt x="1106" y="171"/>
                  </a:cubicBezTo>
                  <a:cubicBezTo>
                    <a:pt x="1106" y="162"/>
                    <a:pt x="1106" y="162"/>
                    <a:pt x="1106" y="162"/>
                  </a:cubicBezTo>
                  <a:cubicBezTo>
                    <a:pt x="1112" y="156"/>
                    <a:pt x="1117" y="142"/>
                    <a:pt x="1117" y="142"/>
                  </a:cubicBezTo>
                  <a:cubicBezTo>
                    <a:pt x="1120" y="142"/>
                    <a:pt x="1120" y="139"/>
                    <a:pt x="1120" y="136"/>
                  </a:cubicBezTo>
                  <a:cubicBezTo>
                    <a:pt x="1120" y="127"/>
                    <a:pt x="1120" y="127"/>
                    <a:pt x="1120" y="127"/>
                  </a:cubicBezTo>
                  <a:cubicBezTo>
                    <a:pt x="1120" y="124"/>
                    <a:pt x="1120" y="124"/>
                    <a:pt x="1120" y="124"/>
                  </a:cubicBezTo>
                  <a:cubicBezTo>
                    <a:pt x="1123" y="109"/>
                    <a:pt x="1120" y="98"/>
                    <a:pt x="1109" y="95"/>
                  </a:cubicBezTo>
                  <a:cubicBezTo>
                    <a:pt x="1106" y="95"/>
                    <a:pt x="1103" y="92"/>
                    <a:pt x="1103" y="95"/>
                  </a:cubicBezTo>
                  <a:cubicBezTo>
                    <a:pt x="1094" y="89"/>
                    <a:pt x="1082" y="89"/>
                    <a:pt x="1073" y="92"/>
                  </a:cubicBezTo>
                  <a:cubicBezTo>
                    <a:pt x="1065" y="98"/>
                    <a:pt x="1062" y="106"/>
                    <a:pt x="1062" y="118"/>
                  </a:cubicBezTo>
                  <a:cubicBezTo>
                    <a:pt x="1062" y="115"/>
                    <a:pt x="1062" y="115"/>
                    <a:pt x="1062" y="115"/>
                  </a:cubicBezTo>
                  <a:cubicBezTo>
                    <a:pt x="1062" y="115"/>
                    <a:pt x="1062" y="115"/>
                    <a:pt x="1062" y="115"/>
                  </a:cubicBezTo>
                  <a:cubicBezTo>
                    <a:pt x="1062" y="115"/>
                    <a:pt x="1062" y="115"/>
                    <a:pt x="1062" y="115"/>
                  </a:cubicBezTo>
                  <a:cubicBezTo>
                    <a:pt x="1047" y="112"/>
                    <a:pt x="1047" y="112"/>
                    <a:pt x="1047" y="112"/>
                  </a:cubicBezTo>
                  <a:cubicBezTo>
                    <a:pt x="1047" y="95"/>
                    <a:pt x="1047" y="68"/>
                    <a:pt x="1047" y="65"/>
                  </a:cubicBezTo>
                  <a:cubicBezTo>
                    <a:pt x="1047" y="53"/>
                    <a:pt x="1041" y="45"/>
                    <a:pt x="1032" y="42"/>
                  </a:cubicBezTo>
                  <a:cubicBezTo>
                    <a:pt x="1026" y="33"/>
                    <a:pt x="1020" y="30"/>
                    <a:pt x="1012" y="30"/>
                  </a:cubicBezTo>
                  <a:cubicBezTo>
                    <a:pt x="997" y="30"/>
                    <a:pt x="985" y="45"/>
                    <a:pt x="985" y="62"/>
                  </a:cubicBezTo>
                  <a:cubicBezTo>
                    <a:pt x="985" y="65"/>
                    <a:pt x="988" y="92"/>
                    <a:pt x="988" y="112"/>
                  </a:cubicBezTo>
                  <a:cubicBezTo>
                    <a:pt x="968" y="115"/>
                    <a:pt x="968" y="115"/>
                    <a:pt x="968" y="115"/>
                  </a:cubicBezTo>
                  <a:cubicBezTo>
                    <a:pt x="968" y="118"/>
                    <a:pt x="968" y="118"/>
                    <a:pt x="968" y="118"/>
                  </a:cubicBezTo>
                  <a:cubicBezTo>
                    <a:pt x="962" y="133"/>
                    <a:pt x="956" y="148"/>
                    <a:pt x="953" y="162"/>
                  </a:cubicBezTo>
                  <a:cubicBezTo>
                    <a:pt x="950" y="142"/>
                    <a:pt x="944" y="118"/>
                    <a:pt x="935" y="98"/>
                  </a:cubicBezTo>
                  <a:cubicBezTo>
                    <a:pt x="932" y="98"/>
                    <a:pt x="932" y="98"/>
                    <a:pt x="932" y="98"/>
                  </a:cubicBezTo>
                  <a:cubicBezTo>
                    <a:pt x="932" y="98"/>
                    <a:pt x="932" y="98"/>
                    <a:pt x="932" y="98"/>
                  </a:cubicBezTo>
                  <a:cubicBezTo>
                    <a:pt x="903" y="92"/>
                    <a:pt x="903" y="92"/>
                    <a:pt x="903" y="92"/>
                  </a:cubicBezTo>
                  <a:cubicBezTo>
                    <a:pt x="897" y="89"/>
                    <a:pt x="897" y="89"/>
                    <a:pt x="897" y="89"/>
                  </a:cubicBezTo>
                  <a:cubicBezTo>
                    <a:pt x="897" y="77"/>
                    <a:pt x="897" y="77"/>
                    <a:pt x="897" y="77"/>
                  </a:cubicBezTo>
                  <a:cubicBezTo>
                    <a:pt x="903" y="71"/>
                    <a:pt x="909" y="56"/>
                    <a:pt x="909" y="56"/>
                  </a:cubicBezTo>
                  <a:cubicBezTo>
                    <a:pt x="912" y="56"/>
                    <a:pt x="912" y="53"/>
                    <a:pt x="912" y="50"/>
                  </a:cubicBezTo>
                  <a:cubicBezTo>
                    <a:pt x="912" y="42"/>
                    <a:pt x="912" y="42"/>
                    <a:pt x="912" y="42"/>
                  </a:cubicBezTo>
                  <a:cubicBezTo>
                    <a:pt x="912" y="39"/>
                    <a:pt x="912" y="39"/>
                    <a:pt x="912" y="39"/>
                  </a:cubicBezTo>
                  <a:cubicBezTo>
                    <a:pt x="915" y="24"/>
                    <a:pt x="912" y="9"/>
                    <a:pt x="900" y="6"/>
                  </a:cubicBezTo>
                  <a:cubicBezTo>
                    <a:pt x="897" y="6"/>
                    <a:pt x="894" y="6"/>
                    <a:pt x="891" y="6"/>
                  </a:cubicBezTo>
                  <a:cubicBezTo>
                    <a:pt x="882" y="0"/>
                    <a:pt x="871" y="0"/>
                    <a:pt x="862" y="3"/>
                  </a:cubicBezTo>
                  <a:cubicBezTo>
                    <a:pt x="850" y="9"/>
                    <a:pt x="847" y="24"/>
                    <a:pt x="850" y="39"/>
                  </a:cubicBezTo>
                  <a:cubicBezTo>
                    <a:pt x="850" y="39"/>
                    <a:pt x="850" y="39"/>
                    <a:pt x="850" y="42"/>
                  </a:cubicBezTo>
                  <a:cubicBezTo>
                    <a:pt x="850" y="50"/>
                    <a:pt x="850" y="50"/>
                    <a:pt x="850" y="50"/>
                  </a:cubicBezTo>
                  <a:cubicBezTo>
                    <a:pt x="850" y="53"/>
                    <a:pt x="850" y="56"/>
                    <a:pt x="853" y="56"/>
                  </a:cubicBezTo>
                  <a:cubicBezTo>
                    <a:pt x="853" y="56"/>
                    <a:pt x="859" y="74"/>
                    <a:pt x="865" y="80"/>
                  </a:cubicBezTo>
                  <a:cubicBezTo>
                    <a:pt x="865" y="89"/>
                    <a:pt x="865" y="89"/>
                    <a:pt x="865" y="89"/>
                  </a:cubicBezTo>
                  <a:cubicBezTo>
                    <a:pt x="862" y="92"/>
                    <a:pt x="862" y="92"/>
                    <a:pt x="862" y="92"/>
                  </a:cubicBezTo>
                  <a:cubicBezTo>
                    <a:pt x="829" y="98"/>
                    <a:pt x="829" y="98"/>
                    <a:pt x="829" y="98"/>
                  </a:cubicBezTo>
                  <a:cubicBezTo>
                    <a:pt x="829" y="100"/>
                    <a:pt x="829" y="100"/>
                    <a:pt x="829" y="100"/>
                  </a:cubicBezTo>
                  <a:cubicBezTo>
                    <a:pt x="826" y="103"/>
                    <a:pt x="823" y="109"/>
                    <a:pt x="823" y="112"/>
                  </a:cubicBezTo>
                  <a:cubicBezTo>
                    <a:pt x="818" y="112"/>
                    <a:pt x="818" y="112"/>
                    <a:pt x="818" y="112"/>
                  </a:cubicBezTo>
                  <a:cubicBezTo>
                    <a:pt x="818" y="95"/>
                    <a:pt x="818" y="68"/>
                    <a:pt x="818" y="65"/>
                  </a:cubicBezTo>
                  <a:cubicBezTo>
                    <a:pt x="818" y="53"/>
                    <a:pt x="812" y="45"/>
                    <a:pt x="803" y="42"/>
                  </a:cubicBezTo>
                  <a:cubicBezTo>
                    <a:pt x="800" y="33"/>
                    <a:pt x="791" y="30"/>
                    <a:pt x="782" y="30"/>
                  </a:cubicBezTo>
                  <a:cubicBezTo>
                    <a:pt x="771" y="30"/>
                    <a:pt x="759" y="45"/>
                    <a:pt x="759" y="62"/>
                  </a:cubicBezTo>
                  <a:cubicBezTo>
                    <a:pt x="759" y="65"/>
                    <a:pt x="759" y="92"/>
                    <a:pt x="759" y="112"/>
                  </a:cubicBezTo>
                  <a:cubicBezTo>
                    <a:pt x="738" y="115"/>
                    <a:pt x="738" y="115"/>
                    <a:pt x="738" y="115"/>
                  </a:cubicBezTo>
                  <a:cubicBezTo>
                    <a:pt x="738" y="118"/>
                    <a:pt x="738" y="118"/>
                    <a:pt x="738" y="118"/>
                  </a:cubicBezTo>
                  <a:cubicBezTo>
                    <a:pt x="729" y="136"/>
                    <a:pt x="724" y="156"/>
                    <a:pt x="721" y="177"/>
                  </a:cubicBezTo>
                  <a:cubicBezTo>
                    <a:pt x="709" y="174"/>
                    <a:pt x="709" y="174"/>
                    <a:pt x="709" y="174"/>
                  </a:cubicBezTo>
                  <a:cubicBezTo>
                    <a:pt x="706" y="171"/>
                    <a:pt x="706" y="171"/>
                    <a:pt x="706" y="171"/>
                  </a:cubicBezTo>
                  <a:cubicBezTo>
                    <a:pt x="706" y="162"/>
                    <a:pt x="706" y="162"/>
                    <a:pt x="706" y="162"/>
                  </a:cubicBezTo>
                  <a:cubicBezTo>
                    <a:pt x="712" y="156"/>
                    <a:pt x="715" y="142"/>
                    <a:pt x="715" y="142"/>
                  </a:cubicBezTo>
                  <a:cubicBezTo>
                    <a:pt x="718" y="142"/>
                    <a:pt x="721" y="139"/>
                    <a:pt x="721" y="136"/>
                  </a:cubicBezTo>
                  <a:cubicBezTo>
                    <a:pt x="721" y="127"/>
                    <a:pt x="721" y="127"/>
                    <a:pt x="721" y="127"/>
                  </a:cubicBezTo>
                  <a:cubicBezTo>
                    <a:pt x="721" y="127"/>
                    <a:pt x="721" y="124"/>
                    <a:pt x="718" y="124"/>
                  </a:cubicBezTo>
                  <a:cubicBezTo>
                    <a:pt x="721" y="109"/>
                    <a:pt x="718" y="98"/>
                    <a:pt x="706" y="95"/>
                  </a:cubicBezTo>
                  <a:cubicBezTo>
                    <a:pt x="706" y="95"/>
                    <a:pt x="703" y="92"/>
                    <a:pt x="700" y="95"/>
                  </a:cubicBezTo>
                  <a:cubicBezTo>
                    <a:pt x="691" y="89"/>
                    <a:pt x="679" y="89"/>
                    <a:pt x="671" y="92"/>
                  </a:cubicBezTo>
                  <a:cubicBezTo>
                    <a:pt x="662" y="98"/>
                    <a:pt x="659" y="109"/>
                    <a:pt x="662" y="124"/>
                  </a:cubicBezTo>
                  <a:cubicBezTo>
                    <a:pt x="659" y="124"/>
                    <a:pt x="659" y="127"/>
                    <a:pt x="659" y="127"/>
                  </a:cubicBezTo>
                  <a:cubicBezTo>
                    <a:pt x="659" y="136"/>
                    <a:pt x="659" y="136"/>
                    <a:pt x="659" y="136"/>
                  </a:cubicBezTo>
                  <a:cubicBezTo>
                    <a:pt x="659" y="139"/>
                    <a:pt x="662" y="142"/>
                    <a:pt x="665" y="142"/>
                  </a:cubicBezTo>
                  <a:cubicBezTo>
                    <a:pt x="665" y="142"/>
                    <a:pt x="671" y="156"/>
                    <a:pt x="674" y="162"/>
                  </a:cubicBezTo>
                  <a:cubicBezTo>
                    <a:pt x="674" y="171"/>
                    <a:pt x="674" y="171"/>
                    <a:pt x="674" y="171"/>
                  </a:cubicBezTo>
                  <a:cubicBezTo>
                    <a:pt x="671" y="174"/>
                    <a:pt x="671" y="174"/>
                    <a:pt x="671" y="174"/>
                  </a:cubicBezTo>
                  <a:cubicBezTo>
                    <a:pt x="641" y="180"/>
                    <a:pt x="641" y="180"/>
                    <a:pt x="641" y="180"/>
                  </a:cubicBezTo>
                  <a:cubicBezTo>
                    <a:pt x="641" y="183"/>
                    <a:pt x="641" y="183"/>
                    <a:pt x="641" y="183"/>
                  </a:cubicBezTo>
                  <a:cubicBezTo>
                    <a:pt x="618" y="236"/>
                    <a:pt x="618" y="292"/>
                    <a:pt x="615" y="351"/>
                  </a:cubicBezTo>
                  <a:cubicBezTo>
                    <a:pt x="618" y="351"/>
                    <a:pt x="618" y="351"/>
                    <a:pt x="618" y="351"/>
                  </a:cubicBezTo>
                  <a:cubicBezTo>
                    <a:pt x="618" y="363"/>
                    <a:pt x="618" y="363"/>
                    <a:pt x="618" y="363"/>
                  </a:cubicBezTo>
                  <a:cubicBezTo>
                    <a:pt x="618" y="368"/>
                    <a:pt x="621" y="371"/>
                    <a:pt x="626" y="371"/>
                  </a:cubicBezTo>
                  <a:cubicBezTo>
                    <a:pt x="632" y="371"/>
                    <a:pt x="635" y="368"/>
                    <a:pt x="635" y="363"/>
                  </a:cubicBezTo>
                  <a:cubicBezTo>
                    <a:pt x="638" y="466"/>
                    <a:pt x="638" y="466"/>
                    <a:pt x="638" y="466"/>
                  </a:cubicBezTo>
                  <a:cubicBezTo>
                    <a:pt x="615" y="475"/>
                    <a:pt x="588" y="480"/>
                    <a:pt x="565" y="489"/>
                  </a:cubicBezTo>
                  <a:cubicBezTo>
                    <a:pt x="565" y="457"/>
                    <a:pt x="565" y="457"/>
                    <a:pt x="565" y="457"/>
                  </a:cubicBezTo>
                  <a:cubicBezTo>
                    <a:pt x="565" y="460"/>
                    <a:pt x="568" y="463"/>
                    <a:pt x="574" y="463"/>
                  </a:cubicBezTo>
                  <a:cubicBezTo>
                    <a:pt x="577" y="463"/>
                    <a:pt x="579" y="460"/>
                    <a:pt x="579" y="457"/>
                  </a:cubicBezTo>
                  <a:cubicBezTo>
                    <a:pt x="579" y="448"/>
                    <a:pt x="579" y="448"/>
                    <a:pt x="579" y="448"/>
                  </a:cubicBezTo>
                  <a:cubicBezTo>
                    <a:pt x="582" y="448"/>
                    <a:pt x="582" y="448"/>
                    <a:pt x="582" y="448"/>
                  </a:cubicBezTo>
                  <a:cubicBezTo>
                    <a:pt x="579" y="401"/>
                    <a:pt x="579" y="360"/>
                    <a:pt x="562" y="315"/>
                  </a:cubicBezTo>
                  <a:cubicBezTo>
                    <a:pt x="562" y="315"/>
                    <a:pt x="562" y="315"/>
                    <a:pt x="562" y="315"/>
                  </a:cubicBezTo>
                  <a:cubicBezTo>
                    <a:pt x="562" y="315"/>
                    <a:pt x="562" y="315"/>
                    <a:pt x="562" y="315"/>
                  </a:cubicBezTo>
                  <a:cubicBezTo>
                    <a:pt x="547" y="315"/>
                    <a:pt x="547" y="315"/>
                    <a:pt x="547" y="315"/>
                  </a:cubicBezTo>
                  <a:cubicBezTo>
                    <a:pt x="550" y="298"/>
                    <a:pt x="550" y="277"/>
                    <a:pt x="550" y="277"/>
                  </a:cubicBezTo>
                  <a:cubicBezTo>
                    <a:pt x="550" y="268"/>
                    <a:pt x="544" y="260"/>
                    <a:pt x="538" y="257"/>
                  </a:cubicBezTo>
                  <a:cubicBezTo>
                    <a:pt x="532" y="251"/>
                    <a:pt x="527" y="245"/>
                    <a:pt x="521" y="245"/>
                  </a:cubicBezTo>
                  <a:cubicBezTo>
                    <a:pt x="509" y="245"/>
                    <a:pt x="500" y="257"/>
                    <a:pt x="500" y="271"/>
                  </a:cubicBezTo>
                  <a:cubicBezTo>
                    <a:pt x="500" y="274"/>
                    <a:pt x="500" y="298"/>
                    <a:pt x="500" y="313"/>
                  </a:cubicBezTo>
                  <a:cubicBezTo>
                    <a:pt x="485" y="315"/>
                    <a:pt x="485" y="315"/>
                    <a:pt x="485" y="315"/>
                  </a:cubicBezTo>
                  <a:cubicBezTo>
                    <a:pt x="485" y="318"/>
                    <a:pt x="485" y="318"/>
                    <a:pt x="485" y="318"/>
                  </a:cubicBezTo>
                  <a:cubicBezTo>
                    <a:pt x="465" y="360"/>
                    <a:pt x="468" y="401"/>
                    <a:pt x="465" y="448"/>
                  </a:cubicBezTo>
                  <a:cubicBezTo>
                    <a:pt x="468" y="448"/>
                    <a:pt x="468" y="448"/>
                    <a:pt x="468" y="448"/>
                  </a:cubicBezTo>
                  <a:cubicBezTo>
                    <a:pt x="468" y="457"/>
                    <a:pt x="468" y="457"/>
                    <a:pt x="468" y="457"/>
                  </a:cubicBezTo>
                  <a:cubicBezTo>
                    <a:pt x="468" y="460"/>
                    <a:pt x="471" y="463"/>
                    <a:pt x="474" y="463"/>
                  </a:cubicBezTo>
                  <a:cubicBezTo>
                    <a:pt x="479" y="463"/>
                    <a:pt x="482" y="460"/>
                    <a:pt x="482" y="457"/>
                  </a:cubicBezTo>
                  <a:cubicBezTo>
                    <a:pt x="482" y="516"/>
                    <a:pt x="482" y="516"/>
                    <a:pt x="482" y="516"/>
                  </a:cubicBezTo>
                  <a:cubicBezTo>
                    <a:pt x="471" y="519"/>
                    <a:pt x="459" y="525"/>
                    <a:pt x="447" y="530"/>
                  </a:cubicBezTo>
                  <a:cubicBezTo>
                    <a:pt x="447" y="519"/>
                    <a:pt x="447" y="519"/>
                    <a:pt x="447" y="519"/>
                  </a:cubicBezTo>
                  <a:cubicBezTo>
                    <a:pt x="447" y="522"/>
                    <a:pt x="450" y="525"/>
                    <a:pt x="453" y="525"/>
                  </a:cubicBezTo>
                  <a:cubicBezTo>
                    <a:pt x="459" y="525"/>
                    <a:pt x="462" y="522"/>
                    <a:pt x="462" y="519"/>
                  </a:cubicBezTo>
                  <a:cubicBezTo>
                    <a:pt x="462" y="510"/>
                    <a:pt x="462" y="510"/>
                    <a:pt x="462" y="510"/>
                  </a:cubicBezTo>
                  <a:cubicBezTo>
                    <a:pt x="465" y="510"/>
                    <a:pt x="465" y="510"/>
                    <a:pt x="465" y="510"/>
                  </a:cubicBezTo>
                  <a:cubicBezTo>
                    <a:pt x="459" y="472"/>
                    <a:pt x="462" y="433"/>
                    <a:pt x="444" y="398"/>
                  </a:cubicBezTo>
                  <a:cubicBezTo>
                    <a:pt x="444" y="398"/>
                    <a:pt x="444" y="398"/>
                    <a:pt x="444" y="398"/>
                  </a:cubicBezTo>
                  <a:cubicBezTo>
                    <a:pt x="444" y="398"/>
                    <a:pt x="444" y="398"/>
                    <a:pt x="444" y="398"/>
                  </a:cubicBezTo>
                  <a:cubicBezTo>
                    <a:pt x="424" y="392"/>
                    <a:pt x="424" y="392"/>
                    <a:pt x="424" y="392"/>
                  </a:cubicBezTo>
                  <a:cubicBezTo>
                    <a:pt x="421" y="389"/>
                    <a:pt x="421" y="389"/>
                    <a:pt x="421" y="389"/>
                  </a:cubicBezTo>
                  <a:cubicBezTo>
                    <a:pt x="421" y="383"/>
                    <a:pt x="421" y="383"/>
                    <a:pt x="421" y="383"/>
                  </a:cubicBezTo>
                  <a:cubicBezTo>
                    <a:pt x="424" y="380"/>
                    <a:pt x="430" y="368"/>
                    <a:pt x="430" y="368"/>
                  </a:cubicBezTo>
                  <a:cubicBezTo>
                    <a:pt x="430" y="368"/>
                    <a:pt x="432" y="368"/>
                    <a:pt x="432" y="366"/>
                  </a:cubicBezTo>
                  <a:cubicBezTo>
                    <a:pt x="432" y="360"/>
                    <a:pt x="432" y="360"/>
                    <a:pt x="432" y="360"/>
                  </a:cubicBezTo>
                  <a:cubicBezTo>
                    <a:pt x="430" y="360"/>
                    <a:pt x="430" y="360"/>
                    <a:pt x="430" y="360"/>
                  </a:cubicBezTo>
                  <a:cubicBezTo>
                    <a:pt x="432" y="351"/>
                    <a:pt x="430" y="342"/>
                    <a:pt x="424" y="339"/>
                  </a:cubicBezTo>
                  <a:cubicBezTo>
                    <a:pt x="421" y="339"/>
                    <a:pt x="421" y="339"/>
                    <a:pt x="418" y="339"/>
                  </a:cubicBezTo>
                  <a:cubicBezTo>
                    <a:pt x="412" y="333"/>
                    <a:pt x="403" y="333"/>
                    <a:pt x="397" y="336"/>
                  </a:cubicBezTo>
                  <a:cubicBezTo>
                    <a:pt x="391" y="339"/>
                    <a:pt x="391" y="348"/>
                    <a:pt x="391" y="357"/>
                  </a:cubicBezTo>
                  <a:cubicBezTo>
                    <a:pt x="391" y="360"/>
                    <a:pt x="391" y="360"/>
                    <a:pt x="391" y="360"/>
                  </a:cubicBezTo>
                  <a:cubicBezTo>
                    <a:pt x="391" y="366"/>
                    <a:pt x="391" y="366"/>
                    <a:pt x="391" y="366"/>
                  </a:cubicBezTo>
                  <a:cubicBezTo>
                    <a:pt x="391" y="368"/>
                    <a:pt x="391" y="368"/>
                    <a:pt x="394" y="368"/>
                  </a:cubicBezTo>
                  <a:cubicBezTo>
                    <a:pt x="394" y="368"/>
                    <a:pt x="397" y="380"/>
                    <a:pt x="400" y="383"/>
                  </a:cubicBezTo>
                  <a:cubicBezTo>
                    <a:pt x="400" y="389"/>
                    <a:pt x="400" y="389"/>
                    <a:pt x="400" y="389"/>
                  </a:cubicBezTo>
                  <a:cubicBezTo>
                    <a:pt x="397" y="392"/>
                    <a:pt x="397" y="392"/>
                    <a:pt x="397" y="392"/>
                  </a:cubicBezTo>
                  <a:cubicBezTo>
                    <a:pt x="377" y="398"/>
                    <a:pt x="377" y="398"/>
                    <a:pt x="377" y="398"/>
                  </a:cubicBezTo>
                  <a:cubicBezTo>
                    <a:pt x="377" y="398"/>
                    <a:pt x="377" y="398"/>
                    <a:pt x="377" y="398"/>
                  </a:cubicBezTo>
                  <a:cubicBezTo>
                    <a:pt x="371" y="413"/>
                    <a:pt x="368" y="424"/>
                    <a:pt x="365" y="439"/>
                  </a:cubicBezTo>
                  <a:cubicBezTo>
                    <a:pt x="344" y="436"/>
                    <a:pt x="344" y="436"/>
                    <a:pt x="344" y="436"/>
                  </a:cubicBezTo>
                  <a:cubicBezTo>
                    <a:pt x="344" y="433"/>
                    <a:pt x="344" y="433"/>
                    <a:pt x="344" y="433"/>
                  </a:cubicBezTo>
                  <a:cubicBezTo>
                    <a:pt x="344" y="427"/>
                    <a:pt x="344" y="427"/>
                    <a:pt x="344" y="427"/>
                  </a:cubicBezTo>
                  <a:cubicBezTo>
                    <a:pt x="347" y="422"/>
                    <a:pt x="350" y="413"/>
                    <a:pt x="350" y="413"/>
                  </a:cubicBezTo>
                  <a:cubicBezTo>
                    <a:pt x="350" y="413"/>
                    <a:pt x="353" y="413"/>
                    <a:pt x="353" y="410"/>
                  </a:cubicBezTo>
                  <a:cubicBezTo>
                    <a:pt x="353" y="404"/>
                    <a:pt x="353" y="404"/>
                    <a:pt x="353" y="404"/>
                  </a:cubicBezTo>
                  <a:cubicBezTo>
                    <a:pt x="353" y="401"/>
                    <a:pt x="353" y="401"/>
                    <a:pt x="353" y="401"/>
                  </a:cubicBezTo>
                  <a:cubicBezTo>
                    <a:pt x="353" y="392"/>
                    <a:pt x="353" y="383"/>
                    <a:pt x="344" y="380"/>
                  </a:cubicBezTo>
                  <a:cubicBezTo>
                    <a:pt x="341" y="380"/>
                    <a:pt x="341" y="380"/>
                    <a:pt x="338" y="380"/>
                  </a:cubicBezTo>
                  <a:cubicBezTo>
                    <a:pt x="332" y="377"/>
                    <a:pt x="327" y="377"/>
                    <a:pt x="321" y="380"/>
                  </a:cubicBezTo>
                  <a:cubicBezTo>
                    <a:pt x="312" y="383"/>
                    <a:pt x="312" y="392"/>
                    <a:pt x="312" y="401"/>
                  </a:cubicBezTo>
                  <a:cubicBezTo>
                    <a:pt x="312" y="404"/>
                    <a:pt x="312" y="404"/>
                    <a:pt x="312" y="404"/>
                  </a:cubicBezTo>
                  <a:cubicBezTo>
                    <a:pt x="312" y="410"/>
                    <a:pt x="312" y="410"/>
                    <a:pt x="312" y="410"/>
                  </a:cubicBezTo>
                  <a:cubicBezTo>
                    <a:pt x="312" y="413"/>
                    <a:pt x="312" y="413"/>
                    <a:pt x="315" y="413"/>
                  </a:cubicBezTo>
                  <a:cubicBezTo>
                    <a:pt x="315" y="413"/>
                    <a:pt x="318" y="424"/>
                    <a:pt x="321" y="427"/>
                  </a:cubicBezTo>
                  <a:cubicBezTo>
                    <a:pt x="321" y="433"/>
                    <a:pt x="321" y="433"/>
                    <a:pt x="321" y="433"/>
                  </a:cubicBezTo>
                  <a:cubicBezTo>
                    <a:pt x="321" y="436"/>
                    <a:pt x="321" y="436"/>
                    <a:pt x="321" y="436"/>
                  </a:cubicBezTo>
                  <a:cubicBezTo>
                    <a:pt x="300" y="439"/>
                    <a:pt x="300" y="439"/>
                    <a:pt x="300" y="439"/>
                  </a:cubicBezTo>
                  <a:cubicBezTo>
                    <a:pt x="300" y="442"/>
                    <a:pt x="300" y="442"/>
                    <a:pt x="300" y="442"/>
                  </a:cubicBezTo>
                  <a:cubicBezTo>
                    <a:pt x="291" y="457"/>
                    <a:pt x="288" y="475"/>
                    <a:pt x="285" y="492"/>
                  </a:cubicBezTo>
                  <a:cubicBezTo>
                    <a:pt x="277" y="492"/>
                    <a:pt x="277" y="492"/>
                    <a:pt x="277" y="492"/>
                  </a:cubicBezTo>
                  <a:cubicBezTo>
                    <a:pt x="274" y="489"/>
                    <a:pt x="274" y="489"/>
                    <a:pt x="274" y="489"/>
                  </a:cubicBezTo>
                  <a:cubicBezTo>
                    <a:pt x="274" y="483"/>
                    <a:pt x="274" y="483"/>
                    <a:pt x="274" y="483"/>
                  </a:cubicBezTo>
                  <a:cubicBezTo>
                    <a:pt x="277" y="477"/>
                    <a:pt x="283" y="469"/>
                    <a:pt x="283" y="469"/>
                  </a:cubicBezTo>
                  <a:cubicBezTo>
                    <a:pt x="283" y="469"/>
                    <a:pt x="285" y="469"/>
                    <a:pt x="285" y="466"/>
                  </a:cubicBezTo>
                  <a:cubicBezTo>
                    <a:pt x="285" y="460"/>
                    <a:pt x="285" y="460"/>
                    <a:pt x="285" y="460"/>
                  </a:cubicBezTo>
                  <a:cubicBezTo>
                    <a:pt x="283" y="460"/>
                    <a:pt x="283" y="460"/>
                    <a:pt x="283" y="460"/>
                  </a:cubicBezTo>
                  <a:cubicBezTo>
                    <a:pt x="285" y="451"/>
                    <a:pt x="283" y="442"/>
                    <a:pt x="277" y="439"/>
                  </a:cubicBezTo>
                  <a:cubicBezTo>
                    <a:pt x="274" y="439"/>
                    <a:pt x="274" y="439"/>
                    <a:pt x="271" y="439"/>
                  </a:cubicBezTo>
                  <a:cubicBezTo>
                    <a:pt x="265" y="436"/>
                    <a:pt x="259" y="436"/>
                    <a:pt x="253" y="436"/>
                  </a:cubicBezTo>
                  <a:cubicBezTo>
                    <a:pt x="244" y="442"/>
                    <a:pt x="244" y="448"/>
                    <a:pt x="244" y="457"/>
                  </a:cubicBezTo>
                  <a:cubicBezTo>
                    <a:pt x="244" y="460"/>
                    <a:pt x="244" y="460"/>
                    <a:pt x="244" y="460"/>
                  </a:cubicBezTo>
                  <a:cubicBezTo>
                    <a:pt x="244" y="466"/>
                    <a:pt x="244" y="466"/>
                    <a:pt x="244" y="466"/>
                  </a:cubicBezTo>
                  <a:cubicBezTo>
                    <a:pt x="244" y="469"/>
                    <a:pt x="247" y="469"/>
                    <a:pt x="247" y="469"/>
                  </a:cubicBezTo>
                  <a:cubicBezTo>
                    <a:pt x="247" y="469"/>
                    <a:pt x="250" y="480"/>
                    <a:pt x="256" y="483"/>
                  </a:cubicBezTo>
                  <a:cubicBezTo>
                    <a:pt x="256" y="489"/>
                    <a:pt x="256" y="489"/>
                    <a:pt x="256" y="489"/>
                  </a:cubicBezTo>
                  <a:cubicBezTo>
                    <a:pt x="253" y="492"/>
                    <a:pt x="253" y="492"/>
                    <a:pt x="253" y="492"/>
                  </a:cubicBezTo>
                  <a:cubicBezTo>
                    <a:pt x="233" y="495"/>
                    <a:pt x="233" y="495"/>
                    <a:pt x="233" y="495"/>
                  </a:cubicBezTo>
                  <a:cubicBezTo>
                    <a:pt x="233" y="495"/>
                    <a:pt x="233" y="495"/>
                    <a:pt x="233" y="495"/>
                  </a:cubicBezTo>
                  <a:cubicBezTo>
                    <a:pt x="215" y="530"/>
                    <a:pt x="218" y="566"/>
                    <a:pt x="215" y="607"/>
                  </a:cubicBezTo>
                  <a:cubicBezTo>
                    <a:pt x="218" y="607"/>
                    <a:pt x="218" y="607"/>
                    <a:pt x="218" y="607"/>
                  </a:cubicBezTo>
                  <a:cubicBezTo>
                    <a:pt x="218" y="613"/>
                    <a:pt x="218" y="613"/>
                    <a:pt x="218" y="613"/>
                  </a:cubicBezTo>
                  <a:cubicBezTo>
                    <a:pt x="218" y="616"/>
                    <a:pt x="221" y="619"/>
                    <a:pt x="224" y="619"/>
                  </a:cubicBezTo>
                  <a:cubicBezTo>
                    <a:pt x="227" y="619"/>
                    <a:pt x="230" y="616"/>
                    <a:pt x="230" y="613"/>
                  </a:cubicBezTo>
                  <a:cubicBezTo>
                    <a:pt x="230" y="642"/>
                    <a:pt x="230" y="642"/>
                    <a:pt x="230" y="642"/>
                  </a:cubicBezTo>
                  <a:cubicBezTo>
                    <a:pt x="147" y="695"/>
                    <a:pt x="71" y="757"/>
                    <a:pt x="0" y="828"/>
                  </a:cubicBezTo>
                  <a:cubicBezTo>
                    <a:pt x="682" y="828"/>
                    <a:pt x="682" y="828"/>
                    <a:pt x="682" y="828"/>
                  </a:cubicBezTo>
                  <a:cubicBezTo>
                    <a:pt x="1926" y="828"/>
                    <a:pt x="1926" y="828"/>
                    <a:pt x="1926" y="828"/>
                  </a:cubicBezTo>
                  <a:cubicBezTo>
                    <a:pt x="1732" y="634"/>
                    <a:pt x="1494" y="510"/>
                    <a:pt x="1247" y="457"/>
                  </a:cubicBezTo>
                  <a:close/>
                  <a:moveTo>
                    <a:pt x="1144" y="416"/>
                  </a:moveTo>
                  <a:cubicBezTo>
                    <a:pt x="1147" y="416"/>
                    <a:pt x="1147" y="416"/>
                    <a:pt x="1150" y="416"/>
                  </a:cubicBezTo>
                  <a:cubicBezTo>
                    <a:pt x="1153" y="416"/>
                    <a:pt x="1159" y="413"/>
                    <a:pt x="1159" y="410"/>
                  </a:cubicBezTo>
                  <a:cubicBezTo>
                    <a:pt x="1159" y="442"/>
                    <a:pt x="1159" y="442"/>
                    <a:pt x="1159" y="442"/>
                  </a:cubicBezTo>
                  <a:cubicBezTo>
                    <a:pt x="1153" y="442"/>
                    <a:pt x="1147" y="442"/>
                    <a:pt x="1144" y="439"/>
                  </a:cubicBezTo>
                  <a:cubicBezTo>
                    <a:pt x="1144" y="416"/>
                    <a:pt x="1144" y="416"/>
                    <a:pt x="1144" y="416"/>
                  </a:cubicBezTo>
                  <a:cubicBezTo>
                    <a:pt x="1144" y="416"/>
                    <a:pt x="1144" y="416"/>
                    <a:pt x="1144" y="416"/>
                  </a:cubicBezTo>
                  <a:close/>
                  <a:moveTo>
                    <a:pt x="371" y="563"/>
                  </a:moveTo>
                  <a:cubicBezTo>
                    <a:pt x="371" y="563"/>
                    <a:pt x="371" y="563"/>
                    <a:pt x="371" y="563"/>
                  </a:cubicBezTo>
                  <a:cubicBezTo>
                    <a:pt x="371" y="563"/>
                    <a:pt x="371" y="563"/>
                    <a:pt x="368" y="563"/>
                  </a:cubicBezTo>
                  <a:cubicBezTo>
                    <a:pt x="371" y="563"/>
                    <a:pt x="371" y="563"/>
                    <a:pt x="371" y="563"/>
                  </a:cubicBezTo>
                  <a:cubicBezTo>
                    <a:pt x="371" y="563"/>
                    <a:pt x="371" y="563"/>
                    <a:pt x="371" y="563"/>
                  </a:cubicBezTo>
                  <a:close/>
                  <a:moveTo>
                    <a:pt x="935" y="427"/>
                  </a:moveTo>
                  <a:cubicBezTo>
                    <a:pt x="938" y="292"/>
                    <a:pt x="938" y="292"/>
                    <a:pt x="938" y="292"/>
                  </a:cubicBezTo>
                  <a:cubicBezTo>
                    <a:pt x="938" y="298"/>
                    <a:pt x="944" y="301"/>
                    <a:pt x="950" y="301"/>
                  </a:cubicBezTo>
                  <a:cubicBezTo>
                    <a:pt x="953" y="301"/>
                    <a:pt x="959" y="298"/>
                    <a:pt x="959" y="295"/>
                  </a:cubicBezTo>
                  <a:cubicBezTo>
                    <a:pt x="962" y="292"/>
                    <a:pt x="965" y="289"/>
                    <a:pt x="965" y="286"/>
                  </a:cubicBezTo>
                  <a:cubicBezTo>
                    <a:pt x="968" y="427"/>
                    <a:pt x="968" y="427"/>
                    <a:pt x="968" y="427"/>
                  </a:cubicBezTo>
                  <a:cubicBezTo>
                    <a:pt x="956" y="427"/>
                    <a:pt x="944" y="427"/>
                    <a:pt x="935" y="427"/>
                  </a:cubicBezTo>
                  <a:close/>
                </a:path>
              </a:pathLst>
            </a:custGeom>
            <a:solidFill>
              <a:schemeClr val="bg2">
                <a:lumMod val="90000"/>
                <a:lumOff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00" name="Freeform 19"/>
            <p:cNvSpPr>
              <a:spLocks/>
            </p:cNvSpPr>
            <p:nvPr/>
          </p:nvSpPr>
          <p:spPr bwMode="auto">
            <a:xfrm>
              <a:off x="5283" y="2453"/>
              <a:ext cx="80" cy="253"/>
            </a:xfrm>
            <a:custGeom>
              <a:avLst/>
              <a:gdLst>
                <a:gd name="T0" fmla="*/ 0 w 80"/>
                <a:gd name="T1" fmla="*/ 0 h 253"/>
                <a:gd name="T2" fmla="*/ 80 w 80"/>
                <a:gd name="T3" fmla="*/ 0 h 253"/>
                <a:gd name="T4" fmla="*/ 80 w 80"/>
                <a:gd name="T5" fmla="*/ 253 h 253"/>
                <a:gd name="T6" fmla="*/ 0 w 80"/>
                <a:gd name="T7" fmla="*/ 253 h 253"/>
                <a:gd name="T8" fmla="*/ 0 w 80"/>
                <a:gd name="T9" fmla="*/ 0 h 253"/>
                <a:gd name="T10" fmla="*/ 0 w 80"/>
                <a:gd name="T11" fmla="*/ 0 h 253"/>
              </a:gdLst>
              <a:ahLst/>
              <a:cxnLst>
                <a:cxn ang="0">
                  <a:pos x="T0" y="T1"/>
                </a:cxn>
                <a:cxn ang="0">
                  <a:pos x="T2" y="T3"/>
                </a:cxn>
                <a:cxn ang="0">
                  <a:pos x="T4" y="T5"/>
                </a:cxn>
                <a:cxn ang="0">
                  <a:pos x="T6" y="T7"/>
                </a:cxn>
                <a:cxn ang="0">
                  <a:pos x="T8" y="T9"/>
                </a:cxn>
                <a:cxn ang="0">
                  <a:pos x="T10" y="T11"/>
                </a:cxn>
              </a:cxnLst>
              <a:rect l="0" t="0" r="r" b="b"/>
              <a:pathLst>
                <a:path w="80" h="253">
                  <a:moveTo>
                    <a:pt x="0" y="0"/>
                  </a:moveTo>
                  <a:lnTo>
                    <a:pt x="80" y="0"/>
                  </a:lnTo>
                  <a:lnTo>
                    <a:pt x="80" y="253"/>
                  </a:lnTo>
                  <a:lnTo>
                    <a:pt x="0" y="253"/>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01" name="Freeform 20"/>
            <p:cNvSpPr>
              <a:spLocks/>
            </p:cNvSpPr>
            <p:nvPr/>
          </p:nvSpPr>
          <p:spPr bwMode="auto">
            <a:xfrm>
              <a:off x="5210" y="3461"/>
              <a:ext cx="108" cy="53"/>
            </a:xfrm>
            <a:custGeom>
              <a:avLst/>
              <a:gdLst>
                <a:gd name="T0" fmla="*/ 39 w 74"/>
                <a:gd name="T1" fmla="*/ 0 h 36"/>
                <a:gd name="T2" fmla="*/ 0 w 74"/>
                <a:gd name="T3" fmla="*/ 36 h 36"/>
                <a:gd name="T4" fmla="*/ 74 w 74"/>
                <a:gd name="T5" fmla="*/ 36 h 36"/>
                <a:gd name="T6" fmla="*/ 39 w 74"/>
                <a:gd name="T7" fmla="*/ 0 h 36"/>
              </a:gdLst>
              <a:ahLst/>
              <a:cxnLst>
                <a:cxn ang="0">
                  <a:pos x="T0" y="T1"/>
                </a:cxn>
                <a:cxn ang="0">
                  <a:pos x="T2" y="T3"/>
                </a:cxn>
                <a:cxn ang="0">
                  <a:pos x="T4" y="T5"/>
                </a:cxn>
                <a:cxn ang="0">
                  <a:pos x="T6" y="T7"/>
                </a:cxn>
              </a:cxnLst>
              <a:rect l="0" t="0" r="r" b="b"/>
              <a:pathLst>
                <a:path w="74" h="36">
                  <a:moveTo>
                    <a:pt x="39" y="0"/>
                  </a:moveTo>
                  <a:cubicBezTo>
                    <a:pt x="18" y="0"/>
                    <a:pt x="0" y="15"/>
                    <a:pt x="0" y="36"/>
                  </a:cubicBezTo>
                  <a:cubicBezTo>
                    <a:pt x="74" y="36"/>
                    <a:pt x="74" y="36"/>
                    <a:pt x="74" y="36"/>
                  </a:cubicBezTo>
                  <a:cubicBezTo>
                    <a:pt x="74" y="15"/>
                    <a:pt x="57" y="0"/>
                    <a:pt x="39"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02" name="Freeform 21"/>
            <p:cNvSpPr>
              <a:spLocks/>
            </p:cNvSpPr>
            <p:nvPr/>
          </p:nvSpPr>
          <p:spPr bwMode="auto">
            <a:xfrm>
              <a:off x="5328" y="3461"/>
              <a:ext cx="106" cy="53"/>
            </a:xfrm>
            <a:custGeom>
              <a:avLst/>
              <a:gdLst>
                <a:gd name="T0" fmla="*/ 37 w 72"/>
                <a:gd name="T1" fmla="*/ 0 h 36"/>
                <a:gd name="T2" fmla="*/ 0 w 72"/>
                <a:gd name="T3" fmla="*/ 36 h 36"/>
                <a:gd name="T4" fmla="*/ 72 w 72"/>
                <a:gd name="T5" fmla="*/ 36 h 36"/>
                <a:gd name="T6" fmla="*/ 37 w 72"/>
                <a:gd name="T7" fmla="*/ 0 h 36"/>
              </a:gdLst>
              <a:ahLst/>
              <a:cxnLst>
                <a:cxn ang="0">
                  <a:pos x="T0" y="T1"/>
                </a:cxn>
                <a:cxn ang="0">
                  <a:pos x="T2" y="T3"/>
                </a:cxn>
                <a:cxn ang="0">
                  <a:pos x="T4" y="T5"/>
                </a:cxn>
                <a:cxn ang="0">
                  <a:pos x="T6" y="T7"/>
                </a:cxn>
              </a:cxnLst>
              <a:rect l="0" t="0" r="r" b="b"/>
              <a:pathLst>
                <a:path w="72" h="36">
                  <a:moveTo>
                    <a:pt x="37" y="0"/>
                  </a:moveTo>
                  <a:cubicBezTo>
                    <a:pt x="17" y="0"/>
                    <a:pt x="0" y="15"/>
                    <a:pt x="0" y="36"/>
                  </a:cubicBezTo>
                  <a:cubicBezTo>
                    <a:pt x="72" y="36"/>
                    <a:pt x="72" y="36"/>
                    <a:pt x="72" y="36"/>
                  </a:cubicBezTo>
                  <a:cubicBezTo>
                    <a:pt x="72" y="15"/>
                    <a:pt x="55" y="0"/>
                    <a:pt x="37"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03" name="Freeform 22"/>
            <p:cNvSpPr>
              <a:spLocks/>
            </p:cNvSpPr>
            <p:nvPr/>
          </p:nvSpPr>
          <p:spPr bwMode="auto">
            <a:xfrm>
              <a:off x="5248" y="2238"/>
              <a:ext cx="165" cy="198"/>
            </a:xfrm>
            <a:custGeom>
              <a:avLst/>
              <a:gdLst>
                <a:gd name="T0" fmla="*/ 101 w 113"/>
                <a:gd name="T1" fmla="*/ 76 h 135"/>
                <a:gd name="T2" fmla="*/ 39 w 113"/>
                <a:gd name="T3" fmla="*/ 126 h 135"/>
                <a:gd name="T4" fmla="*/ 12 w 113"/>
                <a:gd name="T5" fmla="*/ 53 h 135"/>
                <a:gd name="T6" fmla="*/ 77 w 113"/>
                <a:gd name="T7" fmla="*/ 9 h 135"/>
                <a:gd name="T8" fmla="*/ 101 w 113"/>
                <a:gd name="T9" fmla="*/ 76 h 135"/>
              </a:gdLst>
              <a:ahLst/>
              <a:cxnLst>
                <a:cxn ang="0">
                  <a:pos x="T0" y="T1"/>
                </a:cxn>
                <a:cxn ang="0">
                  <a:pos x="T2" y="T3"/>
                </a:cxn>
                <a:cxn ang="0">
                  <a:pos x="T4" y="T5"/>
                </a:cxn>
                <a:cxn ang="0">
                  <a:pos x="T6" y="T7"/>
                </a:cxn>
                <a:cxn ang="0">
                  <a:pos x="T8" y="T9"/>
                </a:cxn>
              </a:cxnLst>
              <a:rect l="0" t="0" r="r" b="b"/>
              <a:pathLst>
                <a:path w="113" h="135">
                  <a:moveTo>
                    <a:pt x="101" y="76"/>
                  </a:moveTo>
                  <a:cubicBezTo>
                    <a:pt x="89" y="109"/>
                    <a:pt x="65" y="135"/>
                    <a:pt x="39" y="126"/>
                  </a:cubicBezTo>
                  <a:cubicBezTo>
                    <a:pt x="12" y="117"/>
                    <a:pt x="0" y="85"/>
                    <a:pt x="12" y="53"/>
                  </a:cubicBezTo>
                  <a:cubicBezTo>
                    <a:pt x="21" y="20"/>
                    <a:pt x="54" y="0"/>
                    <a:pt x="77" y="9"/>
                  </a:cubicBezTo>
                  <a:cubicBezTo>
                    <a:pt x="104" y="18"/>
                    <a:pt x="113" y="44"/>
                    <a:pt x="101" y="7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04" name="Freeform 23"/>
            <p:cNvSpPr>
              <a:spLocks/>
            </p:cNvSpPr>
            <p:nvPr/>
          </p:nvSpPr>
          <p:spPr bwMode="auto">
            <a:xfrm>
              <a:off x="5224" y="2217"/>
              <a:ext cx="163" cy="187"/>
            </a:xfrm>
            <a:custGeom>
              <a:avLst/>
              <a:gdLst>
                <a:gd name="T0" fmla="*/ 96 w 111"/>
                <a:gd name="T1" fmla="*/ 41 h 127"/>
                <a:gd name="T2" fmla="*/ 87 w 111"/>
                <a:gd name="T3" fmla="*/ 115 h 127"/>
                <a:gd name="T4" fmla="*/ 18 w 111"/>
                <a:gd name="T5" fmla="*/ 86 h 127"/>
                <a:gd name="T6" fmla="*/ 27 w 111"/>
                <a:gd name="T7" fmla="*/ 15 h 127"/>
                <a:gd name="T8" fmla="*/ 96 w 111"/>
                <a:gd name="T9" fmla="*/ 41 h 127"/>
              </a:gdLst>
              <a:ahLst/>
              <a:cxnLst>
                <a:cxn ang="0">
                  <a:pos x="T0" y="T1"/>
                </a:cxn>
                <a:cxn ang="0">
                  <a:pos x="T2" y="T3"/>
                </a:cxn>
                <a:cxn ang="0">
                  <a:pos x="T4" y="T5"/>
                </a:cxn>
                <a:cxn ang="0">
                  <a:pos x="T6" y="T7"/>
                </a:cxn>
                <a:cxn ang="0">
                  <a:pos x="T8" y="T9"/>
                </a:cxn>
              </a:cxnLst>
              <a:rect l="0" t="0" r="r" b="b"/>
              <a:pathLst>
                <a:path w="111" h="127">
                  <a:moveTo>
                    <a:pt x="96" y="41"/>
                  </a:moveTo>
                  <a:cubicBezTo>
                    <a:pt x="111" y="68"/>
                    <a:pt x="108" y="100"/>
                    <a:pt x="87" y="115"/>
                  </a:cubicBezTo>
                  <a:cubicBezTo>
                    <a:pt x="63" y="127"/>
                    <a:pt x="33" y="115"/>
                    <a:pt x="18" y="86"/>
                  </a:cubicBezTo>
                  <a:cubicBezTo>
                    <a:pt x="0" y="59"/>
                    <a:pt x="6" y="26"/>
                    <a:pt x="27" y="15"/>
                  </a:cubicBezTo>
                  <a:cubicBezTo>
                    <a:pt x="48" y="0"/>
                    <a:pt x="78" y="15"/>
                    <a:pt x="96" y="4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05" name="Freeform 24"/>
            <p:cNvSpPr>
              <a:spLocks/>
            </p:cNvSpPr>
            <p:nvPr/>
          </p:nvSpPr>
          <p:spPr bwMode="auto">
            <a:xfrm>
              <a:off x="5283" y="2392"/>
              <a:ext cx="80" cy="85"/>
            </a:xfrm>
            <a:custGeom>
              <a:avLst/>
              <a:gdLst>
                <a:gd name="T0" fmla="*/ 80 w 80"/>
                <a:gd name="T1" fmla="*/ 64 h 85"/>
                <a:gd name="T2" fmla="*/ 36 w 80"/>
                <a:gd name="T3" fmla="*/ 85 h 85"/>
                <a:gd name="T4" fmla="*/ 0 w 80"/>
                <a:gd name="T5" fmla="*/ 64 h 85"/>
                <a:gd name="T6" fmla="*/ 0 w 80"/>
                <a:gd name="T7" fmla="*/ 0 h 85"/>
                <a:gd name="T8" fmla="*/ 80 w 80"/>
                <a:gd name="T9" fmla="*/ 0 h 85"/>
                <a:gd name="T10" fmla="*/ 80 w 80"/>
                <a:gd name="T11" fmla="*/ 64 h 85"/>
                <a:gd name="T12" fmla="*/ 80 w 80"/>
                <a:gd name="T13" fmla="*/ 64 h 85"/>
                <a:gd name="T14" fmla="*/ 80 w 80"/>
                <a:gd name="T15" fmla="*/ 64 h 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 h="85">
                  <a:moveTo>
                    <a:pt x="80" y="64"/>
                  </a:moveTo>
                  <a:lnTo>
                    <a:pt x="36" y="85"/>
                  </a:lnTo>
                  <a:lnTo>
                    <a:pt x="0" y="64"/>
                  </a:lnTo>
                  <a:lnTo>
                    <a:pt x="0" y="0"/>
                  </a:lnTo>
                  <a:lnTo>
                    <a:pt x="80" y="0"/>
                  </a:lnTo>
                  <a:lnTo>
                    <a:pt x="80" y="64"/>
                  </a:lnTo>
                  <a:lnTo>
                    <a:pt x="80" y="64"/>
                  </a:lnTo>
                  <a:lnTo>
                    <a:pt x="80" y="6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06" name="Freeform 25"/>
            <p:cNvSpPr>
              <a:spLocks/>
            </p:cNvSpPr>
            <p:nvPr/>
          </p:nvSpPr>
          <p:spPr bwMode="auto">
            <a:xfrm>
              <a:off x="5297" y="2477"/>
              <a:ext cx="52" cy="326"/>
            </a:xfrm>
            <a:custGeom>
              <a:avLst/>
              <a:gdLst>
                <a:gd name="T0" fmla="*/ 36 w 52"/>
                <a:gd name="T1" fmla="*/ 25 h 326"/>
                <a:gd name="T2" fmla="*/ 52 w 52"/>
                <a:gd name="T3" fmla="*/ 16 h 326"/>
                <a:gd name="T4" fmla="*/ 22 w 52"/>
                <a:gd name="T5" fmla="*/ 0 h 326"/>
                <a:gd name="T6" fmla="*/ 0 w 52"/>
                <a:gd name="T7" fmla="*/ 16 h 326"/>
                <a:gd name="T8" fmla="*/ 11 w 52"/>
                <a:gd name="T9" fmla="*/ 25 h 326"/>
                <a:gd name="T10" fmla="*/ 11 w 52"/>
                <a:gd name="T11" fmla="*/ 302 h 326"/>
                <a:gd name="T12" fmla="*/ 22 w 52"/>
                <a:gd name="T13" fmla="*/ 326 h 326"/>
                <a:gd name="T14" fmla="*/ 36 w 52"/>
                <a:gd name="T15" fmla="*/ 302 h 326"/>
                <a:gd name="T16" fmla="*/ 36 w 52"/>
                <a:gd name="T17" fmla="*/ 25 h 326"/>
                <a:gd name="T18" fmla="*/ 36 w 52"/>
                <a:gd name="T19" fmla="*/ 25 h 326"/>
                <a:gd name="T20" fmla="*/ 36 w 52"/>
                <a:gd name="T21" fmla="*/ 25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326">
                  <a:moveTo>
                    <a:pt x="36" y="25"/>
                  </a:moveTo>
                  <a:lnTo>
                    <a:pt x="52" y="16"/>
                  </a:lnTo>
                  <a:lnTo>
                    <a:pt x="22" y="0"/>
                  </a:lnTo>
                  <a:lnTo>
                    <a:pt x="0" y="16"/>
                  </a:lnTo>
                  <a:lnTo>
                    <a:pt x="11" y="25"/>
                  </a:lnTo>
                  <a:lnTo>
                    <a:pt x="11" y="302"/>
                  </a:lnTo>
                  <a:lnTo>
                    <a:pt x="22" y="326"/>
                  </a:lnTo>
                  <a:lnTo>
                    <a:pt x="36" y="302"/>
                  </a:lnTo>
                  <a:lnTo>
                    <a:pt x="36" y="25"/>
                  </a:lnTo>
                  <a:lnTo>
                    <a:pt x="36" y="25"/>
                  </a:lnTo>
                  <a:lnTo>
                    <a:pt x="36" y="2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07" name="Freeform 26"/>
            <p:cNvSpPr>
              <a:spLocks/>
            </p:cNvSpPr>
            <p:nvPr/>
          </p:nvSpPr>
          <p:spPr bwMode="auto">
            <a:xfrm>
              <a:off x="5085" y="2480"/>
              <a:ext cx="177" cy="462"/>
            </a:xfrm>
            <a:custGeom>
              <a:avLst/>
              <a:gdLst>
                <a:gd name="T0" fmla="*/ 121 w 121"/>
                <a:gd name="T1" fmla="*/ 12 h 315"/>
                <a:gd name="T2" fmla="*/ 74 w 121"/>
                <a:gd name="T3" fmla="*/ 0 h 315"/>
                <a:gd name="T4" fmla="*/ 0 w 121"/>
                <a:gd name="T5" fmla="*/ 315 h 315"/>
                <a:gd name="T6" fmla="*/ 47 w 121"/>
                <a:gd name="T7" fmla="*/ 315 h 315"/>
                <a:gd name="T8" fmla="*/ 121 w 121"/>
                <a:gd name="T9" fmla="*/ 12 h 315"/>
              </a:gdLst>
              <a:ahLst/>
              <a:cxnLst>
                <a:cxn ang="0">
                  <a:pos x="T0" y="T1"/>
                </a:cxn>
                <a:cxn ang="0">
                  <a:pos x="T2" y="T3"/>
                </a:cxn>
                <a:cxn ang="0">
                  <a:pos x="T4" y="T5"/>
                </a:cxn>
                <a:cxn ang="0">
                  <a:pos x="T6" y="T7"/>
                </a:cxn>
                <a:cxn ang="0">
                  <a:pos x="T8" y="T9"/>
                </a:cxn>
              </a:cxnLst>
              <a:rect l="0" t="0" r="r" b="b"/>
              <a:pathLst>
                <a:path w="121" h="315">
                  <a:moveTo>
                    <a:pt x="121" y="12"/>
                  </a:moveTo>
                  <a:cubicBezTo>
                    <a:pt x="106" y="9"/>
                    <a:pt x="89" y="6"/>
                    <a:pt x="74" y="0"/>
                  </a:cubicBezTo>
                  <a:cubicBezTo>
                    <a:pt x="27" y="100"/>
                    <a:pt x="9" y="203"/>
                    <a:pt x="0" y="315"/>
                  </a:cubicBezTo>
                  <a:cubicBezTo>
                    <a:pt x="47" y="315"/>
                    <a:pt x="47" y="315"/>
                    <a:pt x="47" y="315"/>
                  </a:cubicBezTo>
                  <a:cubicBezTo>
                    <a:pt x="59" y="209"/>
                    <a:pt x="77" y="112"/>
                    <a:pt x="121" y="12"/>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08" name="Freeform 27"/>
            <p:cNvSpPr>
              <a:spLocks/>
            </p:cNvSpPr>
            <p:nvPr/>
          </p:nvSpPr>
          <p:spPr bwMode="auto">
            <a:xfrm>
              <a:off x="5387" y="2480"/>
              <a:ext cx="177" cy="462"/>
            </a:xfrm>
            <a:custGeom>
              <a:avLst/>
              <a:gdLst>
                <a:gd name="T0" fmla="*/ 0 w 121"/>
                <a:gd name="T1" fmla="*/ 12 h 315"/>
                <a:gd name="T2" fmla="*/ 47 w 121"/>
                <a:gd name="T3" fmla="*/ 0 h 315"/>
                <a:gd name="T4" fmla="*/ 121 w 121"/>
                <a:gd name="T5" fmla="*/ 315 h 315"/>
                <a:gd name="T6" fmla="*/ 74 w 121"/>
                <a:gd name="T7" fmla="*/ 315 h 315"/>
                <a:gd name="T8" fmla="*/ 0 w 121"/>
                <a:gd name="T9" fmla="*/ 12 h 315"/>
              </a:gdLst>
              <a:ahLst/>
              <a:cxnLst>
                <a:cxn ang="0">
                  <a:pos x="T0" y="T1"/>
                </a:cxn>
                <a:cxn ang="0">
                  <a:pos x="T2" y="T3"/>
                </a:cxn>
                <a:cxn ang="0">
                  <a:pos x="T4" y="T5"/>
                </a:cxn>
                <a:cxn ang="0">
                  <a:pos x="T6" y="T7"/>
                </a:cxn>
                <a:cxn ang="0">
                  <a:pos x="T8" y="T9"/>
                </a:cxn>
              </a:cxnLst>
              <a:rect l="0" t="0" r="r" b="b"/>
              <a:pathLst>
                <a:path w="121" h="315">
                  <a:moveTo>
                    <a:pt x="0" y="12"/>
                  </a:moveTo>
                  <a:cubicBezTo>
                    <a:pt x="15" y="9"/>
                    <a:pt x="32" y="6"/>
                    <a:pt x="47" y="0"/>
                  </a:cubicBezTo>
                  <a:cubicBezTo>
                    <a:pt x="94" y="100"/>
                    <a:pt x="112" y="203"/>
                    <a:pt x="121" y="315"/>
                  </a:cubicBezTo>
                  <a:cubicBezTo>
                    <a:pt x="74" y="315"/>
                    <a:pt x="74" y="315"/>
                    <a:pt x="74" y="315"/>
                  </a:cubicBezTo>
                  <a:cubicBezTo>
                    <a:pt x="62" y="209"/>
                    <a:pt x="44" y="112"/>
                    <a:pt x="0" y="12"/>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09" name="Freeform 28"/>
            <p:cNvSpPr>
              <a:spLocks/>
            </p:cNvSpPr>
            <p:nvPr/>
          </p:nvSpPr>
          <p:spPr bwMode="auto">
            <a:xfrm>
              <a:off x="5212" y="2987"/>
              <a:ext cx="109" cy="483"/>
            </a:xfrm>
            <a:custGeom>
              <a:avLst/>
              <a:gdLst>
                <a:gd name="T0" fmla="*/ 88 w 109"/>
                <a:gd name="T1" fmla="*/ 483 h 483"/>
                <a:gd name="T2" fmla="*/ 12 w 109"/>
                <a:gd name="T3" fmla="*/ 483 h 483"/>
                <a:gd name="T4" fmla="*/ 0 w 109"/>
                <a:gd name="T5" fmla="*/ 0 h 483"/>
                <a:gd name="T6" fmla="*/ 109 w 109"/>
                <a:gd name="T7" fmla="*/ 0 h 483"/>
                <a:gd name="T8" fmla="*/ 88 w 109"/>
                <a:gd name="T9" fmla="*/ 483 h 483"/>
                <a:gd name="T10" fmla="*/ 88 w 109"/>
                <a:gd name="T11" fmla="*/ 483 h 483"/>
                <a:gd name="T12" fmla="*/ 88 w 109"/>
                <a:gd name="T13" fmla="*/ 483 h 483"/>
              </a:gdLst>
              <a:ahLst/>
              <a:cxnLst>
                <a:cxn ang="0">
                  <a:pos x="T0" y="T1"/>
                </a:cxn>
                <a:cxn ang="0">
                  <a:pos x="T2" y="T3"/>
                </a:cxn>
                <a:cxn ang="0">
                  <a:pos x="T4" y="T5"/>
                </a:cxn>
                <a:cxn ang="0">
                  <a:pos x="T6" y="T7"/>
                </a:cxn>
                <a:cxn ang="0">
                  <a:pos x="T8" y="T9"/>
                </a:cxn>
                <a:cxn ang="0">
                  <a:pos x="T10" y="T11"/>
                </a:cxn>
                <a:cxn ang="0">
                  <a:pos x="T12" y="T13"/>
                </a:cxn>
              </a:cxnLst>
              <a:rect l="0" t="0" r="r" b="b"/>
              <a:pathLst>
                <a:path w="109" h="483">
                  <a:moveTo>
                    <a:pt x="88" y="483"/>
                  </a:moveTo>
                  <a:lnTo>
                    <a:pt x="12" y="483"/>
                  </a:lnTo>
                  <a:lnTo>
                    <a:pt x="0" y="0"/>
                  </a:lnTo>
                  <a:lnTo>
                    <a:pt x="109" y="0"/>
                  </a:lnTo>
                  <a:lnTo>
                    <a:pt x="88" y="483"/>
                  </a:lnTo>
                  <a:lnTo>
                    <a:pt x="88" y="483"/>
                  </a:lnTo>
                  <a:lnTo>
                    <a:pt x="88" y="48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10" name="Freeform 29"/>
            <p:cNvSpPr>
              <a:spLocks/>
            </p:cNvSpPr>
            <p:nvPr/>
          </p:nvSpPr>
          <p:spPr bwMode="auto">
            <a:xfrm>
              <a:off x="5328" y="2987"/>
              <a:ext cx="100" cy="483"/>
            </a:xfrm>
            <a:custGeom>
              <a:avLst/>
              <a:gdLst>
                <a:gd name="T0" fmla="*/ 88 w 100"/>
                <a:gd name="T1" fmla="*/ 483 h 483"/>
                <a:gd name="T2" fmla="*/ 15 w 100"/>
                <a:gd name="T3" fmla="*/ 483 h 483"/>
                <a:gd name="T4" fmla="*/ 0 w 100"/>
                <a:gd name="T5" fmla="*/ 0 h 483"/>
                <a:gd name="T6" fmla="*/ 100 w 100"/>
                <a:gd name="T7" fmla="*/ 0 h 483"/>
                <a:gd name="T8" fmla="*/ 88 w 100"/>
                <a:gd name="T9" fmla="*/ 483 h 483"/>
                <a:gd name="T10" fmla="*/ 88 w 100"/>
                <a:gd name="T11" fmla="*/ 483 h 483"/>
                <a:gd name="T12" fmla="*/ 88 w 100"/>
                <a:gd name="T13" fmla="*/ 483 h 483"/>
              </a:gdLst>
              <a:ahLst/>
              <a:cxnLst>
                <a:cxn ang="0">
                  <a:pos x="T0" y="T1"/>
                </a:cxn>
                <a:cxn ang="0">
                  <a:pos x="T2" y="T3"/>
                </a:cxn>
                <a:cxn ang="0">
                  <a:pos x="T4" y="T5"/>
                </a:cxn>
                <a:cxn ang="0">
                  <a:pos x="T6" y="T7"/>
                </a:cxn>
                <a:cxn ang="0">
                  <a:pos x="T8" y="T9"/>
                </a:cxn>
                <a:cxn ang="0">
                  <a:pos x="T10" y="T11"/>
                </a:cxn>
                <a:cxn ang="0">
                  <a:pos x="T12" y="T13"/>
                </a:cxn>
              </a:cxnLst>
              <a:rect l="0" t="0" r="r" b="b"/>
              <a:pathLst>
                <a:path w="100" h="483">
                  <a:moveTo>
                    <a:pt x="88" y="483"/>
                  </a:moveTo>
                  <a:lnTo>
                    <a:pt x="15" y="483"/>
                  </a:lnTo>
                  <a:lnTo>
                    <a:pt x="0" y="0"/>
                  </a:lnTo>
                  <a:lnTo>
                    <a:pt x="100" y="0"/>
                  </a:lnTo>
                  <a:lnTo>
                    <a:pt x="88" y="483"/>
                  </a:lnTo>
                  <a:lnTo>
                    <a:pt x="88" y="483"/>
                  </a:lnTo>
                  <a:lnTo>
                    <a:pt x="88" y="483"/>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11" name="Freeform 30"/>
            <p:cNvSpPr>
              <a:spLocks/>
            </p:cNvSpPr>
            <p:nvPr/>
          </p:nvSpPr>
          <p:spPr bwMode="auto">
            <a:xfrm>
              <a:off x="5094" y="2942"/>
              <a:ext cx="50" cy="57"/>
            </a:xfrm>
            <a:custGeom>
              <a:avLst/>
              <a:gdLst>
                <a:gd name="T0" fmla="*/ 0 w 34"/>
                <a:gd name="T1" fmla="*/ 0 h 39"/>
                <a:gd name="T2" fmla="*/ 0 w 34"/>
                <a:gd name="T3" fmla="*/ 21 h 39"/>
                <a:gd name="T4" fmla="*/ 17 w 34"/>
                <a:gd name="T5" fmla="*/ 39 h 39"/>
                <a:gd name="T6" fmla="*/ 34 w 34"/>
                <a:gd name="T7" fmla="*/ 21 h 39"/>
                <a:gd name="T8" fmla="*/ 34 w 34"/>
                <a:gd name="T9" fmla="*/ 0 h 39"/>
                <a:gd name="T10" fmla="*/ 0 w 34"/>
                <a:gd name="T11" fmla="*/ 0 h 39"/>
                <a:gd name="T12" fmla="*/ 0 w 34"/>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34" h="39">
                  <a:moveTo>
                    <a:pt x="0" y="0"/>
                  </a:moveTo>
                  <a:cubicBezTo>
                    <a:pt x="0" y="21"/>
                    <a:pt x="0" y="21"/>
                    <a:pt x="0" y="21"/>
                  </a:cubicBezTo>
                  <a:cubicBezTo>
                    <a:pt x="0" y="33"/>
                    <a:pt x="9" y="39"/>
                    <a:pt x="17" y="39"/>
                  </a:cubicBezTo>
                  <a:cubicBezTo>
                    <a:pt x="29" y="39"/>
                    <a:pt x="34" y="33"/>
                    <a:pt x="34" y="21"/>
                  </a:cubicBezTo>
                  <a:cubicBezTo>
                    <a:pt x="34" y="0"/>
                    <a:pt x="34" y="0"/>
                    <a:pt x="34" y="0"/>
                  </a:cubicBezTo>
                  <a:cubicBezTo>
                    <a:pt x="0" y="0"/>
                    <a:pt x="0" y="0"/>
                    <a:pt x="0" y="0"/>
                  </a:cubicBezTo>
                  <a:cubicBezTo>
                    <a:pt x="0" y="0"/>
                    <a:pt x="0" y="0"/>
                    <a:pt x="0"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12" name="Freeform 31"/>
            <p:cNvSpPr>
              <a:spLocks/>
            </p:cNvSpPr>
            <p:nvPr/>
          </p:nvSpPr>
          <p:spPr bwMode="auto">
            <a:xfrm>
              <a:off x="5502" y="2942"/>
              <a:ext cx="53" cy="57"/>
            </a:xfrm>
            <a:custGeom>
              <a:avLst/>
              <a:gdLst>
                <a:gd name="T0" fmla="*/ 0 w 36"/>
                <a:gd name="T1" fmla="*/ 0 h 39"/>
                <a:gd name="T2" fmla="*/ 0 w 36"/>
                <a:gd name="T3" fmla="*/ 21 h 39"/>
                <a:gd name="T4" fmla="*/ 18 w 36"/>
                <a:gd name="T5" fmla="*/ 39 h 39"/>
                <a:gd name="T6" fmla="*/ 36 w 36"/>
                <a:gd name="T7" fmla="*/ 21 h 39"/>
                <a:gd name="T8" fmla="*/ 36 w 36"/>
                <a:gd name="T9" fmla="*/ 0 h 39"/>
                <a:gd name="T10" fmla="*/ 0 w 36"/>
                <a:gd name="T11" fmla="*/ 0 h 39"/>
                <a:gd name="T12" fmla="*/ 0 w 36"/>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36" h="39">
                  <a:moveTo>
                    <a:pt x="0" y="0"/>
                  </a:moveTo>
                  <a:cubicBezTo>
                    <a:pt x="0" y="21"/>
                    <a:pt x="0" y="21"/>
                    <a:pt x="0" y="21"/>
                  </a:cubicBezTo>
                  <a:cubicBezTo>
                    <a:pt x="0" y="33"/>
                    <a:pt x="6" y="39"/>
                    <a:pt x="18" y="39"/>
                  </a:cubicBezTo>
                  <a:cubicBezTo>
                    <a:pt x="27" y="39"/>
                    <a:pt x="36" y="33"/>
                    <a:pt x="36" y="21"/>
                  </a:cubicBezTo>
                  <a:cubicBezTo>
                    <a:pt x="36" y="0"/>
                    <a:pt x="36" y="0"/>
                    <a:pt x="36" y="0"/>
                  </a:cubicBezTo>
                  <a:cubicBezTo>
                    <a:pt x="0" y="0"/>
                    <a:pt x="0" y="0"/>
                    <a:pt x="0" y="0"/>
                  </a:cubicBezTo>
                  <a:cubicBezTo>
                    <a:pt x="0" y="0"/>
                    <a:pt x="0" y="0"/>
                    <a:pt x="0"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13" name="Freeform 32"/>
            <p:cNvSpPr>
              <a:spLocks/>
            </p:cNvSpPr>
            <p:nvPr/>
          </p:nvSpPr>
          <p:spPr bwMode="auto">
            <a:xfrm>
              <a:off x="5189" y="2453"/>
              <a:ext cx="268" cy="534"/>
            </a:xfrm>
            <a:custGeom>
              <a:avLst/>
              <a:gdLst>
                <a:gd name="T0" fmla="*/ 176 w 268"/>
                <a:gd name="T1" fmla="*/ 0 h 534"/>
                <a:gd name="T2" fmla="*/ 132 w 268"/>
                <a:gd name="T3" fmla="*/ 335 h 534"/>
                <a:gd name="T4" fmla="*/ 95 w 268"/>
                <a:gd name="T5" fmla="*/ 0 h 534"/>
                <a:gd name="T6" fmla="*/ 0 w 268"/>
                <a:gd name="T7" fmla="*/ 25 h 534"/>
                <a:gd name="T8" fmla="*/ 3 w 268"/>
                <a:gd name="T9" fmla="*/ 534 h 534"/>
                <a:gd name="T10" fmla="*/ 262 w 268"/>
                <a:gd name="T11" fmla="*/ 534 h 534"/>
                <a:gd name="T12" fmla="*/ 268 w 268"/>
                <a:gd name="T13" fmla="*/ 25 h 534"/>
                <a:gd name="T14" fmla="*/ 176 w 268"/>
                <a:gd name="T15" fmla="*/ 0 h 534"/>
                <a:gd name="T16" fmla="*/ 176 w 268"/>
                <a:gd name="T17" fmla="*/ 0 h 534"/>
                <a:gd name="T18" fmla="*/ 176 w 268"/>
                <a:gd name="T19" fmla="*/ 0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534">
                  <a:moveTo>
                    <a:pt x="176" y="0"/>
                  </a:moveTo>
                  <a:lnTo>
                    <a:pt x="132" y="335"/>
                  </a:lnTo>
                  <a:lnTo>
                    <a:pt x="95" y="0"/>
                  </a:lnTo>
                  <a:lnTo>
                    <a:pt x="0" y="25"/>
                  </a:lnTo>
                  <a:lnTo>
                    <a:pt x="3" y="534"/>
                  </a:lnTo>
                  <a:lnTo>
                    <a:pt x="262" y="534"/>
                  </a:lnTo>
                  <a:lnTo>
                    <a:pt x="268" y="25"/>
                  </a:lnTo>
                  <a:lnTo>
                    <a:pt x="176" y="0"/>
                  </a:lnTo>
                  <a:lnTo>
                    <a:pt x="176" y="0"/>
                  </a:lnTo>
                  <a:lnTo>
                    <a:pt x="176"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14" name="Freeform 33"/>
            <p:cNvSpPr>
              <a:spLocks/>
            </p:cNvSpPr>
            <p:nvPr/>
          </p:nvSpPr>
          <p:spPr bwMode="auto">
            <a:xfrm>
              <a:off x="5387" y="2294"/>
              <a:ext cx="3" cy="3"/>
            </a:xfrm>
            <a:custGeom>
              <a:avLst/>
              <a:gdLst>
                <a:gd name="T0" fmla="*/ 0 w 3"/>
                <a:gd name="T1" fmla="*/ 0 h 3"/>
                <a:gd name="T2" fmla="*/ 3 w 3"/>
                <a:gd name="T3" fmla="*/ 0 h 3"/>
                <a:gd name="T4" fmla="*/ 3 w 3"/>
                <a:gd name="T5" fmla="*/ 3 h 3"/>
                <a:gd name="T6" fmla="*/ 0 w 3"/>
                <a:gd name="T7" fmla="*/ 3 h 3"/>
                <a:gd name="T8" fmla="*/ 0 w 3"/>
                <a:gd name="T9" fmla="*/ 0 h 3"/>
                <a:gd name="T10" fmla="*/ 0 w 3"/>
                <a:gd name="T11" fmla="*/ 0 h 3"/>
              </a:gdLst>
              <a:ahLst/>
              <a:cxnLst>
                <a:cxn ang="0">
                  <a:pos x="T0" y="T1"/>
                </a:cxn>
                <a:cxn ang="0">
                  <a:pos x="T2" y="T3"/>
                </a:cxn>
                <a:cxn ang="0">
                  <a:pos x="T4" y="T5"/>
                </a:cxn>
                <a:cxn ang="0">
                  <a:pos x="T6" y="T7"/>
                </a:cxn>
                <a:cxn ang="0">
                  <a:pos x="T8" y="T9"/>
                </a:cxn>
                <a:cxn ang="0">
                  <a:pos x="T10" y="T11"/>
                </a:cxn>
              </a:cxnLst>
              <a:rect l="0" t="0" r="r" b="b"/>
              <a:pathLst>
                <a:path w="3" h="3">
                  <a:moveTo>
                    <a:pt x="0" y="0"/>
                  </a:moveTo>
                  <a:lnTo>
                    <a:pt x="3" y="0"/>
                  </a:lnTo>
                  <a:lnTo>
                    <a:pt x="3" y="3"/>
                  </a:lnTo>
                  <a:lnTo>
                    <a:pt x="0" y="3"/>
                  </a:lnTo>
                  <a:lnTo>
                    <a:pt x="0" y="0"/>
                  </a:lnTo>
                  <a:lnTo>
                    <a:pt x="0" y="0"/>
                  </a:ln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15" name="Freeform 34"/>
            <p:cNvSpPr>
              <a:spLocks/>
            </p:cNvSpPr>
            <p:nvPr/>
          </p:nvSpPr>
          <p:spPr bwMode="auto">
            <a:xfrm>
              <a:off x="5242" y="2288"/>
              <a:ext cx="162" cy="148"/>
            </a:xfrm>
            <a:custGeom>
              <a:avLst/>
              <a:gdLst>
                <a:gd name="T0" fmla="*/ 105 w 111"/>
                <a:gd name="T1" fmla="*/ 24 h 101"/>
                <a:gd name="T2" fmla="*/ 102 w 111"/>
                <a:gd name="T3" fmla="*/ 24 h 101"/>
                <a:gd name="T4" fmla="*/ 102 w 111"/>
                <a:gd name="T5" fmla="*/ 15 h 101"/>
                <a:gd name="T6" fmla="*/ 102 w 111"/>
                <a:gd name="T7" fmla="*/ 15 h 101"/>
                <a:gd name="T8" fmla="*/ 102 w 111"/>
                <a:gd name="T9" fmla="*/ 12 h 101"/>
                <a:gd name="T10" fmla="*/ 102 w 111"/>
                <a:gd name="T11" fmla="*/ 12 h 101"/>
                <a:gd name="T12" fmla="*/ 102 w 111"/>
                <a:gd name="T13" fmla="*/ 12 h 101"/>
                <a:gd name="T14" fmla="*/ 102 w 111"/>
                <a:gd name="T15" fmla="*/ 9 h 101"/>
                <a:gd name="T16" fmla="*/ 102 w 111"/>
                <a:gd name="T17" fmla="*/ 9 h 101"/>
                <a:gd name="T18" fmla="*/ 102 w 111"/>
                <a:gd name="T19" fmla="*/ 9 h 101"/>
                <a:gd name="T20" fmla="*/ 99 w 111"/>
                <a:gd name="T21" fmla="*/ 6 h 101"/>
                <a:gd name="T22" fmla="*/ 99 w 111"/>
                <a:gd name="T23" fmla="*/ 6 h 101"/>
                <a:gd name="T24" fmla="*/ 99 w 111"/>
                <a:gd name="T25" fmla="*/ 3 h 101"/>
                <a:gd name="T26" fmla="*/ 99 w 111"/>
                <a:gd name="T27" fmla="*/ 3 h 101"/>
                <a:gd name="T28" fmla="*/ 99 w 111"/>
                <a:gd name="T29" fmla="*/ 3 h 101"/>
                <a:gd name="T30" fmla="*/ 99 w 111"/>
                <a:gd name="T31" fmla="*/ 3 h 101"/>
                <a:gd name="T32" fmla="*/ 91 w 111"/>
                <a:gd name="T33" fmla="*/ 3 h 101"/>
                <a:gd name="T34" fmla="*/ 73 w 111"/>
                <a:gd name="T35" fmla="*/ 0 h 101"/>
                <a:gd name="T36" fmla="*/ 44 w 111"/>
                <a:gd name="T37" fmla="*/ 3 h 101"/>
                <a:gd name="T38" fmla="*/ 15 w 111"/>
                <a:gd name="T39" fmla="*/ 0 h 101"/>
                <a:gd name="T40" fmla="*/ 12 w 111"/>
                <a:gd name="T41" fmla="*/ 3 h 101"/>
                <a:gd name="T42" fmla="*/ 12 w 111"/>
                <a:gd name="T43" fmla="*/ 3 h 101"/>
                <a:gd name="T44" fmla="*/ 9 w 111"/>
                <a:gd name="T45" fmla="*/ 6 h 101"/>
                <a:gd name="T46" fmla="*/ 9 w 111"/>
                <a:gd name="T47" fmla="*/ 6 h 101"/>
                <a:gd name="T48" fmla="*/ 9 w 111"/>
                <a:gd name="T49" fmla="*/ 9 h 101"/>
                <a:gd name="T50" fmla="*/ 9 w 111"/>
                <a:gd name="T51" fmla="*/ 9 h 101"/>
                <a:gd name="T52" fmla="*/ 9 w 111"/>
                <a:gd name="T53" fmla="*/ 12 h 101"/>
                <a:gd name="T54" fmla="*/ 9 w 111"/>
                <a:gd name="T55" fmla="*/ 12 h 101"/>
                <a:gd name="T56" fmla="*/ 9 w 111"/>
                <a:gd name="T57" fmla="*/ 12 h 101"/>
                <a:gd name="T58" fmla="*/ 9 w 111"/>
                <a:gd name="T59" fmla="*/ 15 h 101"/>
                <a:gd name="T60" fmla="*/ 9 w 111"/>
                <a:gd name="T61" fmla="*/ 15 h 101"/>
                <a:gd name="T62" fmla="*/ 9 w 111"/>
                <a:gd name="T63" fmla="*/ 24 h 101"/>
                <a:gd name="T64" fmla="*/ 6 w 111"/>
                <a:gd name="T65" fmla="*/ 24 h 101"/>
                <a:gd name="T66" fmla="*/ 0 w 111"/>
                <a:gd name="T67" fmla="*/ 30 h 101"/>
                <a:gd name="T68" fmla="*/ 0 w 111"/>
                <a:gd name="T69" fmla="*/ 48 h 101"/>
                <a:gd name="T70" fmla="*/ 9 w 111"/>
                <a:gd name="T71" fmla="*/ 57 h 101"/>
                <a:gd name="T72" fmla="*/ 35 w 111"/>
                <a:gd name="T73" fmla="*/ 101 h 101"/>
                <a:gd name="T74" fmla="*/ 76 w 111"/>
                <a:gd name="T75" fmla="*/ 101 h 101"/>
                <a:gd name="T76" fmla="*/ 102 w 111"/>
                <a:gd name="T77" fmla="*/ 57 h 101"/>
                <a:gd name="T78" fmla="*/ 111 w 111"/>
                <a:gd name="T79" fmla="*/ 48 h 101"/>
                <a:gd name="T80" fmla="*/ 111 w 111"/>
                <a:gd name="T81" fmla="*/ 30 h 101"/>
                <a:gd name="T82" fmla="*/ 105 w 111"/>
                <a:gd name="T83" fmla="*/ 2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1" h="101">
                  <a:moveTo>
                    <a:pt x="105" y="24"/>
                  </a:moveTo>
                  <a:cubicBezTo>
                    <a:pt x="105" y="24"/>
                    <a:pt x="105" y="24"/>
                    <a:pt x="102" y="24"/>
                  </a:cubicBezTo>
                  <a:cubicBezTo>
                    <a:pt x="102" y="15"/>
                    <a:pt x="102" y="15"/>
                    <a:pt x="102" y="15"/>
                  </a:cubicBezTo>
                  <a:cubicBezTo>
                    <a:pt x="102" y="15"/>
                    <a:pt x="102" y="15"/>
                    <a:pt x="102" y="15"/>
                  </a:cubicBezTo>
                  <a:cubicBezTo>
                    <a:pt x="102" y="12"/>
                    <a:pt x="102" y="12"/>
                    <a:pt x="102" y="12"/>
                  </a:cubicBezTo>
                  <a:cubicBezTo>
                    <a:pt x="102" y="12"/>
                    <a:pt x="102" y="12"/>
                    <a:pt x="102" y="12"/>
                  </a:cubicBezTo>
                  <a:cubicBezTo>
                    <a:pt x="102" y="12"/>
                    <a:pt x="102" y="12"/>
                    <a:pt x="102" y="12"/>
                  </a:cubicBezTo>
                  <a:cubicBezTo>
                    <a:pt x="102" y="9"/>
                    <a:pt x="102" y="9"/>
                    <a:pt x="102" y="9"/>
                  </a:cubicBezTo>
                  <a:cubicBezTo>
                    <a:pt x="102" y="9"/>
                    <a:pt x="102" y="9"/>
                    <a:pt x="102" y="9"/>
                  </a:cubicBezTo>
                  <a:cubicBezTo>
                    <a:pt x="102" y="9"/>
                    <a:pt x="102" y="9"/>
                    <a:pt x="102" y="9"/>
                  </a:cubicBezTo>
                  <a:cubicBezTo>
                    <a:pt x="102" y="6"/>
                    <a:pt x="102" y="6"/>
                    <a:pt x="99" y="6"/>
                  </a:cubicBezTo>
                  <a:cubicBezTo>
                    <a:pt x="99" y="6"/>
                    <a:pt x="99" y="6"/>
                    <a:pt x="99" y="6"/>
                  </a:cubicBezTo>
                  <a:cubicBezTo>
                    <a:pt x="99" y="3"/>
                    <a:pt x="99" y="3"/>
                    <a:pt x="99" y="3"/>
                  </a:cubicBezTo>
                  <a:cubicBezTo>
                    <a:pt x="99" y="3"/>
                    <a:pt x="99" y="3"/>
                    <a:pt x="99" y="3"/>
                  </a:cubicBezTo>
                  <a:cubicBezTo>
                    <a:pt x="99" y="3"/>
                    <a:pt x="99" y="3"/>
                    <a:pt x="99" y="3"/>
                  </a:cubicBezTo>
                  <a:cubicBezTo>
                    <a:pt x="99" y="3"/>
                    <a:pt x="99" y="3"/>
                    <a:pt x="99" y="3"/>
                  </a:cubicBezTo>
                  <a:cubicBezTo>
                    <a:pt x="96" y="3"/>
                    <a:pt x="93" y="3"/>
                    <a:pt x="91" y="3"/>
                  </a:cubicBezTo>
                  <a:cubicBezTo>
                    <a:pt x="82" y="3"/>
                    <a:pt x="79" y="3"/>
                    <a:pt x="73" y="0"/>
                  </a:cubicBezTo>
                  <a:cubicBezTo>
                    <a:pt x="67" y="3"/>
                    <a:pt x="55" y="3"/>
                    <a:pt x="44" y="3"/>
                  </a:cubicBezTo>
                  <a:cubicBezTo>
                    <a:pt x="32" y="3"/>
                    <a:pt x="23" y="3"/>
                    <a:pt x="15" y="0"/>
                  </a:cubicBezTo>
                  <a:cubicBezTo>
                    <a:pt x="12" y="3"/>
                    <a:pt x="12" y="3"/>
                    <a:pt x="12" y="3"/>
                  </a:cubicBezTo>
                  <a:cubicBezTo>
                    <a:pt x="12" y="3"/>
                    <a:pt x="12" y="3"/>
                    <a:pt x="12" y="3"/>
                  </a:cubicBezTo>
                  <a:cubicBezTo>
                    <a:pt x="12" y="6"/>
                    <a:pt x="9" y="6"/>
                    <a:pt x="9" y="6"/>
                  </a:cubicBezTo>
                  <a:cubicBezTo>
                    <a:pt x="9" y="6"/>
                    <a:pt x="9" y="6"/>
                    <a:pt x="9" y="6"/>
                  </a:cubicBezTo>
                  <a:cubicBezTo>
                    <a:pt x="9" y="9"/>
                    <a:pt x="9" y="9"/>
                    <a:pt x="9" y="9"/>
                  </a:cubicBezTo>
                  <a:cubicBezTo>
                    <a:pt x="9" y="9"/>
                    <a:pt x="9" y="9"/>
                    <a:pt x="9" y="9"/>
                  </a:cubicBezTo>
                  <a:cubicBezTo>
                    <a:pt x="9" y="9"/>
                    <a:pt x="9" y="9"/>
                    <a:pt x="9" y="12"/>
                  </a:cubicBezTo>
                  <a:cubicBezTo>
                    <a:pt x="9" y="12"/>
                    <a:pt x="9" y="12"/>
                    <a:pt x="9" y="12"/>
                  </a:cubicBezTo>
                  <a:cubicBezTo>
                    <a:pt x="9" y="12"/>
                    <a:pt x="9" y="12"/>
                    <a:pt x="9" y="12"/>
                  </a:cubicBezTo>
                  <a:cubicBezTo>
                    <a:pt x="9" y="12"/>
                    <a:pt x="9" y="12"/>
                    <a:pt x="9" y="15"/>
                  </a:cubicBezTo>
                  <a:cubicBezTo>
                    <a:pt x="9" y="15"/>
                    <a:pt x="9" y="15"/>
                    <a:pt x="9" y="15"/>
                  </a:cubicBezTo>
                  <a:cubicBezTo>
                    <a:pt x="9" y="24"/>
                    <a:pt x="9" y="24"/>
                    <a:pt x="9" y="24"/>
                  </a:cubicBezTo>
                  <a:cubicBezTo>
                    <a:pt x="6" y="24"/>
                    <a:pt x="6" y="24"/>
                    <a:pt x="6" y="24"/>
                  </a:cubicBezTo>
                  <a:cubicBezTo>
                    <a:pt x="3" y="24"/>
                    <a:pt x="0" y="27"/>
                    <a:pt x="0" y="30"/>
                  </a:cubicBezTo>
                  <a:cubicBezTo>
                    <a:pt x="0" y="48"/>
                    <a:pt x="0" y="48"/>
                    <a:pt x="0" y="48"/>
                  </a:cubicBezTo>
                  <a:cubicBezTo>
                    <a:pt x="0" y="54"/>
                    <a:pt x="3" y="57"/>
                    <a:pt x="9" y="57"/>
                  </a:cubicBezTo>
                  <a:cubicBezTo>
                    <a:pt x="9" y="57"/>
                    <a:pt x="20" y="101"/>
                    <a:pt x="35" y="101"/>
                  </a:cubicBezTo>
                  <a:cubicBezTo>
                    <a:pt x="76" y="101"/>
                    <a:pt x="76" y="101"/>
                    <a:pt x="76" y="101"/>
                  </a:cubicBezTo>
                  <a:cubicBezTo>
                    <a:pt x="91" y="101"/>
                    <a:pt x="102" y="57"/>
                    <a:pt x="102" y="57"/>
                  </a:cubicBezTo>
                  <a:cubicBezTo>
                    <a:pt x="108" y="57"/>
                    <a:pt x="111" y="54"/>
                    <a:pt x="111" y="48"/>
                  </a:cubicBezTo>
                  <a:cubicBezTo>
                    <a:pt x="111" y="30"/>
                    <a:pt x="111" y="30"/>
                    <a:pt x="111" y="30"/>
                  </a:cubicBezTo>
                  <a:cubicBezTo>
                    <a:pt x="111" y="27"/>
                    <a:pt x="108" y="24"/>
                    <a:pt x="105" y="24"/>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16" name="Freeform 35"/>
            <p:cNvSpPr>
              <a:spLocks noEditPoints="1"/>
            </p:cNvSpPr>
            <p:nvPr/>
          </p:nvSpPr>
          <p:spPr bwMode="auto">
            <a:xfrm>
              <a:off x="5253" y="2317"/>
              <a:ext cx="143" cy="46"/>
            </a:xfrm>
            <a:custGeom>
              <a:avLst/>
              <a:gdLst>
                <a:gd name="T0" fmla="*/ 94 w 97"/>
                <a:gd name="T1" fmla="*/ 3 h 31"/>
                <a:gd name="T2" fmla="*/ 71 w 97"/>
                <a:gd name="T3" fmla="*/ 3 h 31"/>
                <a:gd name="T4" fmla="*/ 47 w 97"/>
                <a:gd name="T5" fmla="*/ 9 h 31"/>
                <a:gd name="T6" fmla="*/ 26 w 97"/>
                <a:gd name="T7" fmla="*/ 3 h 31"/>
                <a:gd name="T8" fmla="*/ 0 w 97"/>
                <a:gd name="T9" fmla="*/ 3 h 31"/>
                <a:gd name="T10" fmla="*/ 0 w 97"/>
                <a:gd name="T11" fmla="*/ 6 h 31"/>
                <a:gd name="T12" fmla="*/ 3 w 97"/>
                <a:gd name="T13" fmla="*/ 11 h 31"/>
                <a:gd name="T14" fmla="*/ 6 w 97"/>
                <a:gd name="T15" fmla="*/ 17 h 31"/>
                <a:gd name="T16" fmla="*/ 29 w 97"/>
                <a:gd name="T17" fmla="*/ 28 h 31"/>
                <a:gd name="T18" fmla="*/ 44 w 97"/>
                <a:gd name="T19" fmla="*/ 14 h 31"/>
                <a:gd name="T20" fmla="*/ 47 w 97"/>
                <a:gd name="T21" fmla="*/ 11 h 31"/>
                <a:gd name="T22" fmla="*/ 53 w 97"/>
                <a:gd name="T23" fmla="*/ 14 h 31"/>
                <a:gd name="T24" fmla="*/ 68 w 97"/>
                <a:gd name="T25" fmla="*/ 28 h 31"/>
                <a:gd name="T26" fmla="*/ 91 w 97"/>
                <a:gd name="T27" fmla="*/ 17 h 31"/>
                <a:gd name="T28" fmla="*/ 94 w 97"/>
                <a:gd name="T29" fmla="*/ 11 h 31"/>
                <a:gd name="T30" fmla="*/ 94 w 97"/>
                <a:gd name="T31" fmla="*/ 6 h 31"/>
                <a:gd name="T32" fmla="*/ 94 w 97"/>
                <a:gd name="T33" fmla="*/ 3 h 31"/>
                <a:gd name="T34" fmla="*/ 35 w 97"/>
                <a:gd name="T35" fmla="*/ 22 h 31"/>
                <a:gd name="T36" fmla="*/ 21 w 97"/>
                <a:gd name="T37" fmla="*/ 28 h 31"/>
                <a:gd name="T38" fmla="*/ 9 w 97"/>
                <a:gd name="T39" fmla="*/ 11 h 31"/>
                <a:gd name="T40" fmla="*/ 26 w 97"/>
                <a:gd name="T41" fmla="*/ 6 h 31"/>
                <a:gd name="T42" fmla="*/ 38 w 97"/>
                <a:gd name="T43" fmla="*/ 9 h 31"/>
                <a:gd name="T44" fmla="*/ 35 w 97"/>
                <a:gd name="T45" fmla="*/ 22 h 31"/>
                <a:gd name="T46" fmla="*/ 76 w 97"/>
                <a:gd name="T47" fmla="*/ 28 h 31"/>
                <a:gd name="T48" fmla="*/ 59 w 97"/>
                <a:gd name="T49" fmla="*/ 22 h 31"/>
                <a:gd name="T50" fmla="*/ 59 w 97"/>
                <a:gd name="T51" fmla="*/ 9 h 31"/>
                <a:gd name="T52" fmla="*/ 71 w 97"/>
                <a:gd name="T53" fmla="*/ 6 h 31"/>
                <a:gd name="T54" fmla="*/ 88 w 97"/>
                <a:gd name="T55" fmla="*/ 11 h 31"/>
                <a:gd name="T56" fmla="*/ 76 w 97"/>
                <a:gd name="T57" fmla="*/ 2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7" h="31">
                  <a:moveTo>
                    <a:pt x="94" y="3"/>
                  </a:moveTo>
                  <a:cubicBezTo>
                    <a:pt x="94" y="3"/>
                    <a:pt x="82" y="0"/>
                    <a:pt x="71" y="3"/>
                  </a:cubicBezTo>
                  <a:cubicBezTo>
                    <a:pt x="62" y="3"/>
                    <a:pt x="53" y="9"/>
                    <a:pt x="47" y="9"/>
                  </a:cubicBezTo>
                  <a:cubicBezTo>
                    <a:pt x="44" y="9"/>
                    <a:pt x="35" y="3"/>
                    <a:pt x="26" y="3"/>
                  </a:cubicBezTo>
                  <a:cubicBezTo>
                    <a:pt x="15" y="0"/>
                    <a:pt x="0" y="3"/>
                    <a:pt x="0" y="3"/>
                  </a:cubicBezTo>
                  <a:cubicBezTo>
                    <a:pt x="0" y="6"/>
                    <a:pt x="0" y="6"/>
                    <a:pt x="0" y="6"/>
                  </a:cubicBezTo>
                  <a:cubicBezTo>
                    <a:pt x="0" y="9"/>
                    <a:pt x="0" y="9"/>
                    <a:pt x="3" y="11"/>
                  </a:cubicBezTo>
                  <a:cubicBezTo>
                    <a:pt x="6" y="11"/>
                    <a:pt x="6" y="17"/>
                    <a:pt x="6" y="17"/>
                  </a:cubicBezTo>
                  <a:cubicBezTo>
                    <a:pt x="9" y="28"/>
                    <a:pt x="18" y="31"/>
                    <a:pt x="29" y="28"/>
                  </a:cubicBezTo>
                  <a:cubicBezTo>
                    <a:pt x="41" y="28"/>
                    <a:pt x="44" y="14"/>
                    <a:pt x="44" y="14"/>
                  </a:cubicBezTo>
                  <a:cubicBezTo>
                    <a:pt x="47" y="11"/>
                    <a:pt x="47" y="11"/>
                    <a:pt x="47" y="11"/>
                  </a:cubicBezTo>
                  <a:cubicBezTo>
                    <a:pt x="47" y="11"/>
                    <a:pt x="50" y="11"/>
                    <a:pt x="53" y="14"/>
                  </a:cubicBezTo>
                  <a:cubicBezTo>
                    <a:pt x="53" y="14"/>
                    <a:pt x="56" y="28"/>
                    <a:pt x="68" y="28"/>
                  </a:cubicBezTo>
                  <a:cubicBezTo>
                    <a:pt x="79" y="31"/>
                    <a:pt x="88" y="28"/>
                    <a:pt x="91" y="17"/>
                  </a:cubicBezTo>
                  <a:cubicBezTo>
                    <a:pt x="91" y="17"/>
                    <a:pt x="91" y="11"/>
                    <a:pt x="94" y="11"/>
                  </a:cubicBezTo>
                  <a:cubicBezTo>
                    <a:pt x="94" y="9"/>
                    <a:pt x="94" y="9"/>
                    <a:pt x="94" y="6"/>
                  </a:cubicBezTo>
                  <a:cubicBezTo>
                    <a:pt x="97" y="6"/>
                    <a:pt x="97" y="3"/>
                    <a:pt x="94" y="3"/>
                  </a:cubicBezTo>
                  <a:close/>
                  <a:moveTo>
                    <a:pt x="35" y="22"/>
                  </a:moveTo>
                  <a:cubicBezTo>
                    <a:pt x="32" y="28"/>
                    <a:pt x="26" y="28"/>
                    <a:pt x="21" y="28"/>
                  </a:cubicBezTo>
                  <a:cubicBezTo>
                    <a:pt x="12" y="25"/>
                    <a:pt x="9" y="20"/>
                    <a:pt x="9" y="11"/>
                  </a:cubicBezTo>
                  <a:cubicBezTo>
                    <a:pt x="9" y="3"/>
                    <a:pt x="26" y="6"/>
                    <a:pt x="26" y="6"/>
                  </a:cubicBezTo>
                  <a:cubicBezTo>
                    <a:pt x="32" y="6"/>
                    <a:pt x="32" y="6"/>
                    <a:pt x="38" y="9"/>
                  </a:cubicBezTo>
                  <a:cubicBezTo>
                    <a:pt x="44" y="9"/>
                    <a:pt x="41" y="20"/>
                    <a:pt x="35" y="22"/>
                  </a:cubicBezTo>
                  <a:close/>
                  <a:moveTo>
                    <a:pt x="76" y="28"/>
                  </a:moveTo>
                  <a:cubicBezTo>
                    <a:pt x="71" y="28"/>
                    <a:pt x="65" y="28"/>
                    <a:pt x="59" y="22"/>
                  </a:cubicBezTo>
                  <a:cubicBezTo>
                    <a:pt x="56" y="20"/>
                    <a:pt x="53" y="9"/>
                    <a:pt x="59" y="9"/>
                  </a:cubicBezTo>
                  <a:cubicBezTo>
                    <a:pt x="65" y="6"/>
                    <a:pt x="65" y="6"/>
                    <a:pt x="71" y="6"/>
                  </a:cubicBezTo>
                  <a:cubicBezTo>
                    <a:pt x="71" y="6"/>
                    <a:pt x="88" y="3"/>
                    <a:pt x="88" y="11"/>
                  </a:cubicBezTo>
                  <a:cubicBezTo>
                    <a:pt x="88" y="20"/>
                    <a:pt x="85" y="25"/>
                    <a:pt x="76" y="2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17" name="Oval 36"/>
            <p:cNvSpPr>
              <a:spLocks noChangeArrowheads="1"/>
            </p:cNvSpPr>
            <p:nvPr/>
          </p:nvSpPr>
          <p:spPr bwMode="auto">
            <a:xfrm>
              <a:off x="5256" y="2326"/>
              <a:ext cx="6" cy="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18" name="Oval 37"/>
            <p:cNvSpPr>
              <a:spLocks noChangeArrowheads="1"/>
            </p:cNvSpPr>
            <p:nvPr/>
          </p:nvSpPr>
          <p:spPr bwMode="auto">
            <a:xfrm>
              <a:off x="5387" y="2326"/>
              <a:ext cx="6" cy="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19" name="Freeform 38"/>
            <p:cNvSpPr>
              <a:spLocks/>
            </p:cNvSpPr>
            <p:nvPr/>
          </p:nvSpPr>
          <p:spPr bwMode="auto">
            <a:xfrm>
              <a:off x="5520" y="3479"/>
              <a:ext cx="114" cy="58"/>
            </a:xfrm>
            <a:custGeom>
              <a:avLst/>
              <a:gdLst>
                <a:gd name="T0" fmla="*/ 41 w 78"/>
                <a:gd name="T1" fmla="*/ 0 h 40"/>
                <a:gd name="T2" fmla="*/ 0 w 78"/>
                <a:gd name="T3" fmla="*/ 40 h 40"/>
                <a:gd name="T4" fmla="*/ 78 w 78"/>
                <a:gd name="T5" fmla="*/ 40 h 40"/>
                <a:gd name="T6" fmla="*/ 41 w 78"/>
                <a:gd name="T7" fmla="*/ 0 h 40"/>
              </a:gdLst>
              <a:ahLst/>
              <a:cxnLst>
                <a:cxn ang="0">
                  <a:pos x="T0" y="T1"/>
                </a:cxn>
                <a:cxn ang="0">
                  <a:pos x="T2" y="T3"/>
                </a:cxn>
                <a:cxn ang="0">
                  <a:pos x="T4" y="T5"/>
                </a:cxn>
                <a:cxn ang="0">
                  <a:pos x="T6" y="T7"/>
                </a:cxn>
              </a:cxnLst>
              <a:rect l="0" t="0" r="r" b="b"/>
              <a:pathLst>
                <a:path w="78" h="40">
                  <a:moveTo>
                    <a:pt x="41" y="0"/>
                  </a:moveTo>
                  <a:cubicBezTo>
                    <a:pt x="17" y="0"/>
                    <a:pt x="0" y="17"/>
                    <a:pt x="0" y="40"/>
                  </a:cubicBezTo>
                  <a:cubicBezTo>
                    <a:pt x="78" y="40"/>
                    <a:pt x="78" y="40"/>
                    <a:pt x="78" y="40"/>
                  </a:cubicBezTo>
                  <a:cubicBezTo>
                    <a:pt x="78" y="17"/>
                    <a:pt x="61" y="0"/>
                    <a:pt x="4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20" name="Freeform 39"/>
            <p:cNvSpPr>
              <a:spLocks/>
            </p:cNvSpPr>
            <p:nvPr/>
          </p:nvSpPr>
          <p:spPr bwMode="auto">
            <a:xfrm>
              <a:off x="5656" y="3479"/>
              <a:ext cx="117" cy="58"/>
            </a:xfrm>
            <a:custGeom>
              <a:avLst/>
              <a:gdLst>
                <a:gd name="T0" fmla="*/ 38 w 80"/>
                <a:gd name="T1" fmla="*/ 0 h 40"/>
                <a:gd name="T2" fmla="*/ 0 w 80"/>
                <a:gd name="T3" fmla="*/ 40 h 40"/>
                <a:gd name="T4" fmla="*/ 80 w 80"/>
                <a:gd name="T5" fmla="*/ 40 h 40"/>
                <a:gd name="T6" fmla="*/ 38 w 80"/>
                <a:gd name="T7" fmla="*/ 0 h 40"/>
              </a:gdLst>
              <a:ahLst/>
              <a:cxnLst>
                <a:cxn ang="0">
                  <a:pos x="T0" y="T1"/>
                </a:cxn>
                <a:cxn ang="0">
                  <a:pos x="T2" y="T3"/>
                </a:cxn>
                <a:cxn ang="0">
                  <a:pos x="T4" y="T5"/>
                </a:cxn>
                <a:cxn ang="0">
                  <a:pos x="T6" y="T7"/>
                </a:cxn>
              </a:cxnLst>
              <a:rect l="0" t="0" r="r" b="b"/>
              <a:pathLst>
                <a:path w="80" h="40">
                  <a:moveTo>
                    <a:pt x="38" y="0"/>
                  </a:moveTo>
                  <a:cubicBezTo>
                    <a:pt x="18" y="0"/>
                    <a:pt x="0" y="17"/>
                    <a:pt x="0" y="40"/>
                  </a:cubicBezTo>
                  <a:cubicBezTo>
                    <a:pt x="80" y="40"/>
                    <a:pt x="80" y="40"/>
                    <a:pt x="80" y="40"/>
                  </a:cubicBezTo>
                  <a:cubicBezTo>
                    <a:pt x="80" y="17"/>
                    <a:pt x="62" y="0"/>
                    <a:pt x="38"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21" name="Freeform 40"/>
            <p:cNvSpPr>
              <a:spLocks/>
            </p:cNvSpPr>
            <p:nvPr/>
          </p:nvSpPr>
          <p:spPr bwMode="auto">
            <a:xfrm>
              <a:off x="5848" y="2845"/>
              <a:ext cx="62" cy="65"/>
            </a:xfrm>
            <a:custGeom>
              <a:avLst/>
              <a:gdLst>
                <a:gd name="T0" fmla="*/ 0 w 42"/>
                <a:gd name="T1" fmla="*/ 0 h 44"/>
                <a:gd name="T2" fmla="*/ 0 w 42"/>
                <a:gd name="T3" fmla="*/ 23 h 44"/>
                <a:gd name="T4" fmla="*/ 21 w 42"/>
                <a:gd name="T5" fmla="*/ 44 h 44"/>
                <a:gd name="T6" fmla="*/ 42 w 42"/>
                <a:gd name="T7" fmla="*/ 23 h 44"/>
                <a:gd name="T8" fmla="*/ 42 w 42"/>
                <a:gd name="T9" fmla="*/ 0 h 44"/>
                <a:gd name="T10" fmla="*/ 0 w 42"/>
                <a:gd name="T11" fmla="*/ 0 h 44"/>
                <a:gd name="T12" fmla="*/ 0 w 42"/>
                <a:gd name="T13" fmla="*/ 0 h 44"/>
              </a:gdLst>
              <a:ahLst/>
              <a:cxnLst>
                <a:cxn ang="0">
                  <a:pos x="T0" y="T1"/>
                </a:cxn>
                <a:cxn ang="0">
                  <a:pos x="T2" y="T3"/>
                </a:cxn>
                <a:cxn ang="0">
                  <a:pos x="T4" y="T5"/>
                </a:cxn>
                <a:cxn ang="0">
                  <a:pos x="T6" y="T7"/>
                </a:cxn>
                <a:cxn ang="0">
                  <a:pos x="T8" y="T9"/>
                </a:cxn>
                <a:cxn ang="0">
                  <a:pos x="T10" y="T11"/>
                </a:cxn>
                <a:cxn ang="0">
                  <a:pos x="T12" y="T13"/>
                </a:cxn>
              </a:cxnLst>
              <a:rect l="0" t="0" r="r" b="b"/>
              <a:pathLst>
                <a:path w="42" h="44">
                  <a:moveTo>
                    <a:pt x="0" y="0"/>
                  </a:moveTo>
                  <a:cubicBezTo>
                    <a:pt x="0" y="23"/>
                    <a:pt x="0" y="23"/>
                    <a:pt x="0" y="23"/>
                  </a:cubicBezTo>
                  <a:cubicBezTo>
                    <a:pt x="0" y="35"/>
                    <a:pt x="9" y="44"/>
                    <a:pt x="21" y="44"/>
                  </a:cubicBezTo>
                  <a:cubicBezTo>
                    <a:pt x="33" y="44"/>
                    <a:pt x="42" y="35"/>
                    <a:pt x="42" y="23"/>
                  </a:cubicBezTo>
                  <a:cubicBezTo>
                    <a:pt x="42" y="0"/>
                    <a:pt x="42" y="0"/>
                    <a:pt x="42" y="0"/>
                  </a:cubicBezTo>
                  <a:cubicBezTo>
                    <a:pt x="0" y="0"/>
                    <a:pt x="0" y="0"/>
                    <a:pt x="0" y="0"/>
                  </a:cubicBezTo>
                  <a:cubicBezTo>
                    <a:pt x="0" y="0"/>
                    <a:pt x="0" y="0"/>
                    <a:pt x="0"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22" name="Freeform 41"/>
            <p:cNvSpPr>
              <a:spLocks/>
            </p:cNvSpPr>
            <p:nvPr/>
          </p:nvSpPr>
          <p:spPr bwMode="auto">
            <a:xfrm>
              <a:off x="5706" y="3436"/>
              <a:ext cx="76" cy="37"/>
            </a:xfrm>
            <a:custGeom>
              <a:avLst/>
              <a:gdLst>
                <a:gd name="T0" fmla="*/ 26 w 52"/>
                <a:gd name="T1" fmla="*/ 0 h 25"/>
                <a:gd name="T2" fmla="*/ 0 w 52"/>
                <a:gd name="T3" fmla="*/ 25 h 25"/>
                <a:gd name="T4" fmla="*/ 52 w 52"/>
                <a:gd name="T5" fmla="*/ 25 h 25"/>
                <a:gd name="T6" fmla="*/ 26 w 52"/>
                <a:gd name="T7" fmla="*/ 0 h 25"/>
              </a:gdLst>
              <a:ahLst/>
              <a:cxnLst>
                <a:cxn ang="0">
                  <a:pos x="T0" y="T1"/>
                </a:cxn>
                <a:cxn ang="0">
                  <a:pos x="T2" y="T3"/>
                </a:cxn>
                <a:cxn ang="0">
                  <a:pos x="T4" y="T5"/>
                </a:cxn>
                <a:cxn ang="0">
                  <a:pos x="T6" y="T7"/>
                </a:cxn>
              </a:cxnLst>
              <a:rect l="0" t="0" r="r" b="b"/>
              <a:pathLst>
                <a:path w="52" h="25">
                  <a:moveTo>
                    <a:pt x="26" y="0"/>
                  </a:moveTo>
                  <a:cubicBezTo>
                    <a:pt x="12" y="0"/>
                    <a:pt x="0" y="11"/>
                    <a:pt x="0" y="25"/>
                  </a:cubicBezTo>
                  <a:cubicBezTo>
                    <a:pt x="52" y="25"/>
                    <a:pt x="52" y="25"/>
                    <a:pt x="52" y="25"/>
                  </a:cubicBezTo>
                  <a:cubicBezTo>
                    <a:pt x="52" y="11"/>
                    <a:pt x="41" y="0"/>
                    <a:pt x="26"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23" name="Freeform 42"/>
            <p:cNvSpPr>
              <a:spLocks/>
            </p:cNvSpPr>
            <p:nvPr/>
          </p:nvSpPr>
          <p:spPr bwMode="auto">
            <a:xfrm>
              <a:off x="5800" y="3436"/>
              <a:ext cx="77" cy="37"/>
            </a:xfrm>
            <a:custGeom>
              <a:avLst/>
              <a:gdLst>
                <a:gd name="T0" fmla="*/ 27 w 53"/>
                <a:gd name="T1" fmla="*/ 0 h 25"/>
                <a:gd name="T2" fmla="*/ 53 w 53"/>
                <a:gd name="T3" fmla="*/ 25 h 25"/>
                <a:gd name="T4" fmla="*/ 0 w 53"/>
                <a:gd name="T5" fmla="*/ 25 h 25"/>
                <a:gd name="T6" fmla="*/ 27 w 53"/>
                <a:gd name="T7" fmla="*/ 0 h 25"/>
              </a:gdLst>
              <a:ahLst/>
              <a:cxnLst>
                <a:cxn ang="0">
                  <a:pos x="T0" y="T1"/>
                </a:cxn>
                <a:cxn ang="0">
                  <a:pos x="T2" y="T3"/>
                </a:cxn>
                <a:cxn ang="0">
                  <a:pos x="T4" y="T5"/>
                </a:cxn>
                <a:cxn ang="0">
                  <a:pos x="T6" y="T7"/>
                </a:cxn>
              </a:cxnLst>
              <a:rect l="0" t="0" r="r" b="b"/>
              <a:pathLst>
                <a:path w="53" h="25">
                  <a:moveTo>
                    <a:pt x="27" y="0"/>
                  </a:moveTo>
                  <a:cubicBezTo>
                    <a:pt x="41" y="0"/>
                    <a:pt x="53" y="11"/>
                    <a:pt x="53" y="25"/>
                  </a:cubicBezTo>
                  <a:cubicBezTo>
                    <a:pt x="0" y="25"/>
                    <a:pt x="0" y="25"/>
                    <a:pt x="0" y="25"/>
                  </a:cubicBezTo>
                  <a:cubicBezTo>
                    <a:pt x="0" y="11"/>
                    <a:pt x="12" y="0"/>
                    <a:pt x="27"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25" name="Freeform 43"/>
            <p:cNvSpPr>
              <a:spLocks/>
            </p:cNvSpPr>
            <p:nvPr/>
          </p:nvSpPr>
          <p:spPr bwMode="auto">
            <a:xfrm>
              <a:off x="5877" y="3461"/>
              <a:ext cx="131" cy="65"/>
            </a:xfrm>
            <a:custGeom>
              <a:avLst/>
              <a:gdLst>
                <a:gd name="T0" fmla="*/ 44 w 89"/>
                <a:gd name="T1" fmla="*/ 0 h 44"/>
                <a:gd name="T2" fmla="*/ 0 w 89"/>
                <a:gd name="T3" fmla="*/ 44 h 44"/>
                <a:gd name="T4" fmla="*/ 89 w 89"/>
                <a:gd name="T5" fmla="*/ 44 h 44"/>
                <a:gd name="T6" fmla="*/ 44 w 89"/>
                <a:gd name="T7" fmla="*/ 0 h 44"/>
              </a:gdLst>
              <a:ahLst/>
              <a:cxnLst>
                <a:cxn ang="0">
                  <a:pos x="T0" y="T1"/>
                </a:cxn>
                <a:cxn ang="0">
                  <a:pos x="T2" y="T3"/>
                </a:cxn>
                <a:cxn ang="0">
                  <a:pos x="T4" y="T5"/>
                </a:cxn>
                <a:cxn ang="0">
                  <a:pos x="T6" y="T7"/>
                </a:cxn>
              </a:cxnLst>
              <a:rect l="0" t="0" r="r" b="b"/>
              <a:pathLst>
                <a:path w="89" h="44">
                  <a:moveTo>
                    <a:pt x="44" y="0"/>
                  </a:moveTo>
                  <a:cubicBezTo>
                    <a:pt x="21" y="0"/>
                    <a:pt x="0" y="20"/>
                    <a:pt x="0" y="44"/>
                  </a:cubicBezTo>
                  <a:cubicBezTo>
                    <a:pt x="89" y="44"/>
                    <a:pt x="89" y="44"/>
                    <a:pt x="89" y="44"/>
                  </a:cubicBezTo>
                  <a:cubicBezTo>
                    <a:pt x="89" y="20"/>
                    <a:pt x="68" y="0"/>
                    <a:pt x="44"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26" name="Freeform 44"/>
            <p:cNvSpPr>
              <a:spLocks/>
            </p:cNvSpPr>
            <p:nvPr/>
          </p:nvSpPr>
          <p:spPr bwMode="auto">
            <a:xfrm>
              <a:off x="6020" y="3461"/>
              <a:ext cx="127" cy="65"/>
            </a:xfrm>
            <a:custGeom>
              <a:avLst/>
              <a:gdLst>
                <a:gd name="T0" fmla="*/ 45 w 87"/>
                <a:gd name="T1" fmla="*/ 0 h 44"/>
                <a:gd name="T2" fmla="*/ 0 w 87"/>
                <a:gd name="T3" fmla="*/ 44 h 44"/>
                <a:gd name="T4" fmla="*/ 87 w 87"/>
                <a:gd name="T5" fmla="*/ 44 h 44"/>
                <a:gd name="T6" fmla="*/ 45 w 87"/>
                <a:gd name="T7" fmla="*/ 0 h 44"/>
              </a:gdLst>
              <a:ahLst/>
              <a:cxnLst>
                <a:cxn ang="0">
                  <a:pos x="T0" y="T1"/>
                </a:cxn>
                <a:cxn ang="0">
                  <a:pos x="T2" y="T3"/>
                </a:cxn>
                <a:cxn ang="0">
                  <a:pos x="T4" y="T5"/>
                </a:cxn>
                <a:cxn ang="0">
                  <a:pos x="T6" y="T7"/>
                </a:cxn>
              </a:cxnLst>
              <a:rect l="0" t="0" r="r" b="b"/>
              <a:pathLst>
                <a:path w="87" h="44">
                  <a:moveTo>
                    <a:pt x="45" y="0"/>
                  </a:moveTo>
                  <a:cubicBezTo>
                    <a:pt x="21" y="0"/>
                    <a:pt x="0" y="20"/>
                    <a:pt x="0" y="44"/>
                  </a:cubicBezTo>
                  <a:cubicBezTo>
                    <a:pt x="87" y="44"/>
                    <a:pt x="87" y="44"/>
                    <a:pt x="87" y="44"/>
                  </a:cubicBezTo>
                  <a:cubicBezTo>
                    <a:pt x="87" y="20"/>
                    <a:pt x="69" y="0"/>
                    <a:pt x="4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28" name="Freeform 45"/>
            <p:cNvSpPr>
              <a:spLocks/>
            </p:cNvSpPr>
            <p:nvPr/>
          </p:nvSpPr>
          <p:spPr bwMode="auto">
            <a:xfrm>
              <a:off x="5981" y="2203"/>
              <a:ext cx="103" cy="311"/>
            </a:xfrm>
            <a:custGeom>
              <a:avLst/>
              <a:gdLst>
                <a:gd name="T0" fmla="*/ 0 w 103"/>
                <a:gd name="T1" fmla="*/ 0 h 311"/>
                <a:gd name="T2" fmla="*/ 103 w 103"/>
                <a:gd name="T3" fmla="*/ 0 h 311"/>
                <a:gd name="T4" fmla="*/ 103 w 103"/>
                <a:gd name="T5" fmla="*/ 311 h 311"/>
                <a:gd name="T6" fmla="*/ 0 w 103"/>
                <a:gd name="T7" fmla="*/ 311 h 311"/>
                <a:gd name="T8" fmla="*/ 0 w 103"/>
                <a:gd name="T9" fmla="*/ 0 h 311"/>
                <a:gd name="T10" fmla="*/ 0 w 103"/>
                <a:gd name="T11" fmla="*/ 0 h 311"/>
              </a:gdLst>
              <a:ahLst/>
              <a:cxnLst>
                <a:cxn ang="0">
                  <a:pos x="T0" y="T1"/>
                </a:cxn>
                <a:cxn ang="0">
                  <a:pos x="T2" y="T3"/>
                </a:cxn>
                <a:cxn ang="0">
                  <a:pos x="T4" y="T5"/>
                </a:cxn>
                <a:cxn ang="0">
                  <a:pos x="T6" y="T7"/>
                </a:cxn>
                <a:cxn ang="0">
                  <a:pos x="T8" y="T9"/>
                </a:cxn>
                <a:cxn ang="0">
                  <a:pos x="T10" y="T11"/>
                </a:cxn>
              </a:cxnLst>
              <a:rect l="0" t="0" r="r" b="b"/>
              <a:pathLst>
                <a:path w="103" h="311">
                  <a:moveTo>
                    <a:pt x="0" y="0"/>
                  </a:moveTo>
                  <a:lnTo>
                    <a:pt x="103" y="0"/>
                  </a:lnTo>
                  <a:lnTo>
                    <a:pt x="103" y="311"/>
                  </a:lnTo>
                  <a:lnTo>
                    <a:pt x="0" y="311"/>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29" name="Freeform 46"/>
            <p:cNvSpPr>
              <a:spLocks/>
            </p:cNvSpPr>
            <p:nvPr/>
          </p:nvSpPr>
          <p:spPr bwMode="auto">
            <a:xfrm>
              <a:off x="5942" y="1930"/>
              <a:ext cx="205" cy="248"/>
            </a:xfrm>
            <a:custGeom>
              <a:avLst/>
              <a:gdLst>
                <a:gd name="T0" fmla="*/ 125 w 140"/>
                <a:gd name="T1" fmla="*/ 95 h 169"/>
                <a:gd name="T2" fmla="*/ 48 w 140"/>
                <a:gd name="T3" fmla="*/ 158 h 169"/>
                <a:gd name="T4" fmla="*/ 12 w 140"/>
                <a:gd name="T5" fmla="*/ 65 h 169"/>
                <a:gd name="T6" fmla="*/ 98 w 140"/>
                <a:gd name="T7" fmla="*/ 9 h 169"/>
                <a:gd name="T8" fmla="*/ 125 w 140"/>
                <a:gd name="T9" fmla="*/ 95 h 169"/>
              </a:gdLst>
              <a:ahLst/>
              <a:cxnLst>
                <a:cxn ang="0">
                  <a:pos x="T0" y="T1"/>
                </a:cxn>
                <a:cxn ang="0">
                  <a:pos x="T2" y="T3"/>
                </a:cxn>
                <a:cxn ang="0">
                  <a:pos x="T4" y="T5"/>
                </a:cxn>
                <a:cxn ang="0">
                  <a:pos x="T6" y="T7"/>
                </a:cxn>
                <a:cxn ang="0">
                  <a:pos x="T8" y="T9"/>
                </a:cxn>
              </a:cxnLst>
              <a:rect l="0" t="0" r="r" b="b"/>
              <a:pathLst>
                <a:path w="140" h="169">
                  <a:moveTo>
                    <a:pt x="125" y="95"/>
                  </a:moveTo>
                  <a:cubicBezTo>
                    <a:pt x="113" y="137"/>
                    <a:pt x="83" y="169"/>
                    <a:pt x="48" y="158"/>
                  </a:cubicBezTo>
                  <a:cubicBezTo>
                    <a:pt x="15" y="149"/>
                    <a:pt x="0" y="104"/>
                    <a:pt x="12" y="65"/>
                  </a:cubicBezTo>
                  <a:cubicBezTo>
                    <a:pt x="27" y="24"/>
                    <a:pt x="66" y="0"/>
                    <a:pt x="98" y="9"/>
                  </a:cubicBezTo>
                  <a:cubicBezTo>
                    <a:pt x="131" y="21"/>
                    <a:pt x="140" y="53"/>
                    <a:pt x="125" y="9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30" name="Freeform 47"/>
            <p:cNvSpPr>
              <a:spLocks/>
            </p:cNvSpPr>
            <p:nvPr/>
          </p:nvSpPr>
          <p:spPr bwMode="auto">
            <a:xfrm>
              <a:off x="5913" y="1906"/>
              <a:ext cx="203" cy="228"/>
            </a:xfrm>
            <a:custGeom>
              <a:avLst/>
              <a:gdLst>
                <a:gd name="T0" fmla="*/ 122 w 139"/>
                <a:gd name="T1" fmla="*/ 47 h 155"/>
                <a:gd name="T2" fmla="*/ 107 w 139"/>
                <a:gd name="T3" fmla="*/ 141 h 155"/>
                <a:gd name="T4" fmla="*/ 21 w 139"/>
                <a:gd name="T5" fmla="*/ 105 h 155"/>
                <a:gd name="T6" fmla="*/ 33 w 139"/>
                <a:gd name="T7" fmla="*/ 14 h 155"/>
                <a:gd name="T8" fmla="*/ 122 w 139"/>
                <a:gd name="T9" fmla="*/ 47 h 155"/>
              </a:gdLst>
              <a:ahLst/>
              <a:cxnLst>
                <a:cxn ang="0">
                  <a:pos x="T0" y="T1"/>
                </a:cxn>
                <a:cxn ang="0">
                  <a:pos x="T2" y="T3"/>
                </a:cxn>
                <a:cxn ang="0">
                  <a:pos x="T4" y="T5"/>
                </a:cxn>
                <a:cxn ang="0">
                  <a:pos x="T6" y="T7"/>
                </a:cxn>
                <a:cxn ang="0">
                  <a:pos x="T8" y="T9"/>
                </a:cxn>
              </a:cxnLst>
              <a:rect l="0" t="0" r="r" b="b"/>
              <a:pathLst>
                <a:path w="139" h="155">
                  <a:moveTo>
                    <a:pt x="122" y="47"/>
                  </a:moveTo>
                  <a:cubicBezTo>
                    <a:pt x="139" y="82"/>
                    <a:pt x="137" y="123"/>
                    <a:pt x="107" y="141"/>
                  </a:cubicBezTo>
                  <a:cubicBezTo>
                    <a:pt x="80" y="155"/>
                    <a:pt x="42" y="141"/>
                    <a:pt x="21" y="105"/>
                  </a:cubicBezTo>
                  <a:cubicBezTo>
                    <a:pt x="0" y="70"/>
                    <a:pt x="6" y="29"/>
                    <a:pt x="33" y="14"/>
                  </a:cubicBezTo>
                  <a:cubicBezTo>
                    <a:pt x="59" y="0"/>
                    <a:pt x="101" y="14"/>
                    <a:pt x="122" y="47"/>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31" name="Freeform 48"/>
            <p:cNvSpPr>
              <a:spLocks/>
            </p:cNvSpPr>
            <p:nvPr/>
          </p:nvSpPr>
          <p:spPr bwMode="auto">
            <a:xfrm>
              <a:off x="5548" y="2360"/>
              <a:ext cx="183" cy="110"/>
            </a:xfrm>
            <a:custGeom>
              <a:avLst/>
              <a:gdLst>
                <a:gd name="T0" fmla="*/ 0 w 183"/>
                <a:gd name="T1" fmla="*/ 0 h 110"/>
                <a:gd name="T2" fmla="*/ 183 w 183"/>
                <a:gd name="T3" fmla="*/ 0 h 110"/>
                <a:gd name="T4" fmla="*/ 183 w 183"/>
                <a:gd name="T5" fmla="*/ 110 h 110"/>
                <a:gd name="T6" fmla="*/ 0 w 183"/>
                <a:gd name="T7" fmla="*/ 110 h 110"/>
                <a:gd name="T8" fmla="*/ 0 w 183"/>
                <a:gd name="T9" fmla="*/ 0 h 110"/>
                <a:gd name="T10" fmla="*/ 0 w 183"/>
                <a:gd name="T11" fmla="*/ 0 h 110"/>
              </a:gdLst>
              <a:ahLst/>
              <a:cxnLst>
                <a:cxn ang="0">
                  <a:pos x="T0" y="T1"/>
                </a:cxn>
                <a:cxn ang="0">
                  <a:pos x="T2" y="T3"/>
                </a:cxn>
                <a:cxn ang="0">
                  <a:pos x="T4" y="T5"/>
                </a:cxn>
                <a:cxn ang="0">
                  <a:pos x="T6" y="T7"/>
                </a:cxn>
                <a:cxn ang="0">
                  <a:pos x="T8" y="T9"/>
                </a:cxn>
                <a:cxn ang="0">
                  <a:pos x="T10" y="T11"/>
                </a:cxn>
              </a:cxnLst>
              <a:rect l="0" t="0" r="r" b="b"/>
              <a:pathLst>
                <a:path w="183" h="110">
                  <a:moveTo>
                    <a:pt x="0" y="0"/>
                  </a:moveTo>
                  <a:lnTo>
                    <a:pt x="183" y="0"/>
                  </a:lnTo>
                  <a:lnTo>
                    <a:pt x="183" y="110"/>
                  </a:lnTo>
                  <a:lnTo>
                    <a:pt x="0" y="11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32" name="Freeform 49"/>
            <p:cNvSpPr>
              <a:spLocks/>
            </p:cNvSpPr>
            <p:nvPr/>
          </p:nvSpPr>
          <p:spPr bwMode="auto">
            <a:xfrm>
              <a:off x="5565" y="2401"/>
              <a:ext cx="148" cy="48"/>
            </a:xfrm>
            <a:custGeom>
              <a:avLst/>
              <a:gdLst>
                <a:gd name="T0" fmla="*/ 0 w 148"/>
                <a:gd name="T1" fmla="*/ 0 h 48"/>
                <a:gd name="T2" fmla="*/ 148 w 148"/>
                <a:gd name="T3" fmla="*/ 0 h 48"/>
                <a:gd name="T4" fmla="*/ 148 w 148"/>
                <a:gd name="T5" fmla="*/ 48 h 48"/>
                <a:gd name="T6" fmla="*/ 0 w 148"/>
                <a:gd name="T7" fmla="*/ 48 h 48"/>
                <a:gd name="T8" fmla="*/ 0 w 148"/>
                <a:gd name="T9" fmla="*/ 0 h 48"/>
                <a:gd name="T10" fmla="*/ 0 w 148"/>
                <a:gd name="T11" fmla="*/ 0 h 48"/>
              </a:gdLst>
              <a:ahLst/>
              <a:cxnLst>
                <a:cxn ang="0">
                  <a:pos x="T0" y="T1"/>
                </a:cxn>
                <a:cxn ang="0">
                  <a:pos x="T2" y="T3"/>
                </a:cxn>
                <a:cxn ang="0">
                  <a:pos x="T4" y="T5"/>
                </a:cxn>
                <a:cxn ang="0">
                  <a:pos x="T6" y="T7"/>
                </a:cxn>
                <a:cxn ang="0">
                  <a:pos x="T8" y="T9"/>
                </a:cxn>
                <a:cxn ang="0">
                  <a:pos x="T10" y="T11"/>
                </a:cxn>
              </a:cxnLst>
              <a:rect l="0" t="0" r="r" b="b"/>
              <a:pathLst>
                <a:path w="148" h="48">
                  <a:moveTo>
                    <a:pt x="0" y="0"/>
                  </a:moveTo>
                  <a:lnTo>
                    <a:pt x="148" y="0"/>
                  </a:lnTo>
                  <a:lnTo>
                    <a:pt x="148" y="48"/>
                  </a:lnTo>
                  <a:lnTo>
                    <a:pt x="0" y="48"/>
                  </a:lnTo>
                  <a:lnTo>
                    <a:pt x="0" y="0"/>
                  </a:lnTo>
                  <a:lnTo>
                    <a:pt x="0" y="0"/>
                  </a:lnTo>
                  <a:close/>
                </a:path>
              </a:pathLst>
            </a:custGeom>
            <a:solidFill>
              <a:srgbClr val="F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33" name="Freeform 50"/>
            <p:cNvSpPr>
              <a:spLocks/>
            </p:cNvSpPr>
            <p:nvPr/>
          </p:nvSpPr>
          <p:spPr bwMode="auto">
            <a:xfrm>
              <a:off x="5527" y="2255"/>
              <a:ext cx="225" cy="46"/>
            </a:xfrm>
            <a:custGeom>
              <a:avLst/>
              <a:gdLst>
                <a:gd name="T0" fmla="*/ 0 w 153"/>
                <a:gd name="T1" fmla="*/ 24 h 31"/>
                <a:gd name="T2" fmla="*/ 8 w 153"/>
                <a:gd name="T3" fmla="*/ 31 h 31"/>
                <a:gd name="T4" fmla="*/ 145 w 153"/>
                <a:gd name="T5" fmla="*/ 31 h 31"/>
                <a:gd name="T6" fmla="*/ 153 w 153"/>
                <a:gd name="T7" fmla="*/ 24 h 31"/>
                <a:gd name="T8" fmla="*/ 153 w 153"/>
                <a:gd name="T9" fmla="*/ 7 h 31"/>
                <a:gd name="T10" fmla="*/ 145 w 153"/>
                <a:gd name="T11" fmla="*/ 0 h 31"/>
                <a:gd name="T12" fmla="*/ 8 w 153"/>
                <a:gd name="T13" fmla="*/ 0 h 31"/>
                <a:gd name="T14" fmla="*/ 0 w 153"/>
                <a:gd name="T15" fmla="*/ 7 h 31"/>
                <a:gd name="T16" fmla="*/ 0 w 153"/>
                <a:gd name="T17" fmla="*/ 24 h 31"/>
                <a:gd name="T18" fmla="*/ 0 w 153"/>
                <a:gd name="T19" fmla="*/ 2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31">
                  <a:moveTo>
                    <a:pt x="0" y="24"/>
                  </a:moveTo>
                  <a:cubicBezTo>
                    <a:pt x="0" y="28"/>
                    <a:pt x="3" y="31"/>
                    <a:pt x="8" y="31"/>
                  </a:cubicBezTo>
                  <a:cubicBezTo>
                    <a:pt x="145" y="31"/>
                    <a:pt x="145" y="31"/>
                    <a:pt x="145" y="31"/>
                  </a:cubicBezTo>
                  <a:cubicBezTo>
                    <a:pt x="149" y="31"/>
                    <a:pt x="153" y="28"/>
                    <a:pt x="153" y="24"/>
                  </a:cubicBezTo>
                  <a:cubicBezTo>
                    <a:pt x="153" y="7"/>
                    <a:pt x="153" y="7"/>
                    <a:pt x="153" y="7"/>
                  </a:cubicBezTo>
                  <a:cubicBezTo>
                    <a:pt x="153" y="3"/>
                    <a:pt x="149" y="0"/>
                    <a:pt x="145" y="0"/>
                  </a:cubicBezTo>
                  <a:cubicBezTo>
                    <a:pt x="8" y="0"/>
                    <a:pt x="8" y="0"/>
                    <a:pt x="8" y="0"/>
                  </a:cubicBezTo>
                  <a:cubicBezTo>
                    <a:pt x="3" y="0"/>
                    <a:pt x="0" y="3"/>
                    <a:pt x="0" y="7"/>
                  </a:cubicBezTo>
                  <a:cubicBezTo>
                    <a:pt x="0" y="24"/>
                    <a:pt x="0" y="24"/>
                    <a:pt x="0" y="24"/>
                  </a:cubicBezTo>
                  <a:cubicBezTo>
                    <a:pt x="0" y="24"/>
                    <a:pt x="0" y="24"/>
                    <a:pt x="0" y="24"/>
                  </a:cubicBezTo>
                  <a:close/>
                </a:path>
              </a:pathLst>
            </a:custGeom>
            <a:solidFill>
              <a:srgbClr val="4937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34" name="Freeform 51"/>
            <p:cNvSpPr>
              <a:spLocks/>
            </p:cNvSpPr>
            <p:nvPr/>
          </p:nvSpPr>
          <p:spPr bwMode="auto">
            <a:xfrm>
              <a:off x="5527" y="2429"/>
              <a:ext cx="226" cy="180"/>
            </a:xfrm>
            <a:custGeom>
              <a:avLst/>
              <a:gdLst>
                <a:gd name="T0" fmla="*/ 0 w 226"/>
                <a:gd name="T1" fmla="*/ 0 h 180"/>
                <a:gd name="T2" fmla="*/ 226 w 226"/>
                <a:gd name="T3" fmla="*/ 0 h 180"/>
                <a:gd name="T4" fmla="*/ 226 w 226"/>
                <a:gd name="T5" fmla="*/ 180 h 180"/>
                <a:gd name="T6" fmla="*/ 0 w 226"/>
                <a:gd name="T7" fmla="*/ 180 h 180"/>
                <a:gd name="T8" fmla="*/ 0 w 226"/>
                <a:gd name="T9" fmla="*/ 0 h 180"/>
                <a:gd name="T10" fmla="*/ 0 w 226"/>
                <a:gd name="T11" fmla="*/ 0 h 180"/>
              </a:gdLst>
              <a:ahLst/>
              <a:cxnLst>
                <a:cxn ang="0">
                  <a:pos x="T0" y="T1"/>
                </a:cxn>
                <a:cxn ang="0">
                  <a:pos x="T2" y="T3"/>
                </a:cxn>
                <a:cxn ang="0">
                  <a:pos x="T4" y="T5"/>
                </a:cxn>
                <a:cxn ang="0">
                  <a:pos x="T6" y="T7"/>
                </a:cxn>
                <a:cxn ang="0">
                  <a:pos x="T8" y="T9"/>
                </a:cxn>
                <a:cxn ang="0">
                  <a:pos x="T10" y="T11"/>
                </a:cxn>
              </a:cxnLst>
              <a:rect l="0" t="0" r="r" b="b"/>
              <a:pathLst>
                <a:path w="226" h="180">
                  <a:moveTo>
                    <a:pt x="0" y="0"/>
                  </a:moveTo>
                  <a:lnTo>
                    <a:pt x="226" y="0"/>
                  </a:lnTo>
                  <a:lnTo>
                    <a:pt x="226" y="180"/>
                  </a:lnTo>
                  <a:lnTo>
                    <a:pt x="0" y="180"/>
                  </a:lnTo>
                  <a:lnTo>
                    <a:pt x="0" y="0"/>
                  </a:lnTo>
                  <a:lnTo>
                    <a:pt x="0" y="0"/>
                  </a:lnTo>
                  <a:close/>
                </a:path>
              </a:pathLst>
            </a:custGeom>
            <a:solidFill>
              <a:srgbClr val="6D56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35" name="Freeform 52"/>
            <p:cNvSpPr>
              <a:spLocks/>
            </p:cNvSpPr>
            <p:nvPr/>
          </p:nvSpPr>
          <p:spPr bwMode="auto">
            <a:xfrm>
              <a:off x="5699" y="2866"/>
              <a:ext cx="133" cy="522"/>
            </a:xfrm>
            <a:custGeom>
              <a:avLst/>
              <a:gdLst>
                <a:gd name="T0" fmla="*/ 0 w 133"/>
                <a:gd name="T1" fmla="*/ 522 h 522"/>
                <a:gd name="T2" fmla="*/ 133 w 133"/>
                <a:gd name="T3" fmla="*/ 522 h 522"/>
                <a:gd name="T4" fmla="*/ 63 w 133"/>
                <a:gd name="T5" fmla="*/ 0 h 522"/>
                <a:gd name="T6" fmla="*/ 0 w 133"/>
                <a:gd name="T7" fmla="*/ 0 h 522"/>
                <a:gd name="T8" fmla="*/ 0 w 133"/>
                <a:gd name="T9" fmla="*/ 522 h 522"/>
                <a:gd name="T10" fmla="*/ 0 w 133"/>
                <a:gd name="T11" fmla="*/ 522 h 522"/>
                <a:gd name="T12" fmla="*/ 0 w 133"/>
                <a:gd name="T13" fmla="*/ 522 h 522"/>
              </a:gdLst>
              <a:ahLst/>
              <a:cxnLst>
                <a:cxn ang="0">
                  <a:pos x="T0" y="T1"/>
                </a:cxn>
                <a:cxn ang="0">
                  <a:pos x="T2" y="T3"/>
                </a:cxn>
                <a:cxn ang="0">
                  <a:pos x="T4" y="T5"/>
                </a:cxn>
                <a:cxn ang="0">
                  <a:pos x="T6" y="T7"/>
                </a:cxn>
                <a:cxn ang="0">
                  <a:pos x="T8" y="T9"/>
                </a:cxn>
                <a:cxn ang="0">
                  <a:pos x="T10" y="T11"/>
                </a:cxn>
                <a:cxn ang="0">
                  <a:pos x="T12" y="T13"/>
                </a:cxn>
              </a:cxnLst>
              <a:rect l="0" t="0" r="r" b="b"/>
              <a:pathLst>
                <a:path w="133" h="522">
                  <a:moveTo>
                    <a:pt x="0" y="522"/>
                  </a:moveTo>
                  <a:lnTo>
                    <a:pt x="133" y="522"/>
                  </a:lnTo>
                  <a:lnTo>
                    <a:pt x="63" y="0"/>
                  </a:lnTo>
                  <a:lnTo>
                    <a:pt x="0" y="0"/>
                  </a:lnTo>
                  <a:lnTo>
                    <a:pt x="0" y="522"/>
                  </a:lnTo>
                  <a:lnTo>
                    <a:pt x="0" y="522"/>
                  </a:lnTo>
                  <a:lnTo>
                    <a:pt x="0" y="522"/>
                  </a:lnTo>
                  <a:close/>
                </a:path>
              </a:pathLst>
            </a:custGeom>
            <a:solidFill>
              <a:srgbClr val="F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36" name="Freeform 53"/>
            <p:cNvSpPr>
              <a:spLocks/>
            </p:cNvSpPr>
            <p:nvPr/>
          </p:nvSpPr>
          <p:spPr bwMode="auto">
            <a:xfrm>
              <a:off x="5519" y="2866"/>
              <a:ext cx="133" cy="522"/>
            </a:xfrm>
            <a:custGeom>
              <a:avLst/>
              <a:gdLst>
                <a:gd name="T0" fmla="*/ 0 w 133"/>
                <a:gd name="T1" fmla="*/ 522 h 522"/>
                <a:gd name="T2" fmla="*/ 133 w 133"/>
                <a:gd name="T3" fmla="*/ 522 h 522"/>
                <a:gd name="T4" fmla="*/ 63 w 133"/>
                <a:gd name="T5" fmla="*/ 0 h 522"/>
                <a:gd name="T6" fmla="*/ 0 w 133"/>
                <a:gd name="T7" fmla="*/ 0 h 522"/>
                <a:gd name="T8" fmla="*/ 0 w 133"/>
                <a:gd name="T9" fmla="*/ 522 h 522"/>
                <a:gd name="T10" fmla="*/ 0 w 133"/>
                <a:gd name="T11" fmla="*/ 522 h 522"/>
                <a:gd name="T12" fmla="*/ 0 w 133"/>
                <a:gd name="T13" fmla="*/ 522 h 522"/>
              </a:gdLst>
              <a:ahLst/>
              <a:cxnLst>
                <a:cxn ang="0">
                  <a:pos x="T0" y="T1"/>
                </a:cxn>
                <a:cxn ang="0">
                  <a:pos x="T2" y="T3"/>
                </a:cxn>
                <a:cxn ang="0">
                  <a:pos x="T4" y="T5"/>
                </a:cxn>
                <a:cxn ang="0">
                  <a:pos x="T6" y="T7"/>
                </a:cxn>
                <a:cxn ang="0">
                  <a:pos x="T8" y="T9"/>
                </a:cxn>
                <a:cxn ang="0">
                  <a:pos x="T10" y="T11"/>
                </a:cxn>
                <a:cxn ang="0">
                  <a:pos x="T12" y="T13"/>
                </a:cxn>
              </a:cxnLst>
              <a:rect l="0" t="0" r="r" b="b"/>
              <a:pathLst>
                <a:path w="133" h="522">
                  <a:moveTo>
                    <a:pt x="0" y="522"/>
                  </a:moveTo>
                  <a:lnTo>
                    <a:pt x="133" y="522"/>
                  </a:lnTo>
                  <a:lnTo>
                    <a:pt x="63" y="0"/>
                  </a:lnTo>
                  <a:lnTo>
                    <a:pt x="0" y="0"/>
                  </a:lnTo>
                  <a:lnTo>
                    <a:pt x="0" y="522"/>
                  </a:lnTo>
                  <a:lnTo>
                    <a:pt x="0" y="522"/>
                  </a:lnTo>
                  <a:lnTo>
                    <a:pt x="0" y="522"/>
                  </a:lnTo>
                  <a:close/>
                </a:path>
              </a:pathLst>
            </a:custGeom>
            <a:solidFill>
              <a:srgbClr val="F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37" name="Freeform 54"/>
            <p:cNvSpPr>
              <a:spLocks/>
            </p:cNvSpPr>
            <p:nvPr/>
          </p:nvSpPr>
          <p:spPr bwMode="auto">
            <a:xfrm>
              <a:off x="5697" y="3388"/>
              <a:ext cx="148" cy="76"/>
            </a:xfrm>
            <a:custGeom>
              <a:avLst/>
              <a:gdLst>
                <a:gd name="T0" fmla="*/ 44 w 101"/>
                <a:gd name="T1" fmla="*/ 0 h 52"/>
                <a:gd name="T2" fmla="*/ 101 w 101"/>
                <a:gd name="T3" fmla="*/ 52 h 52"/>
                <a:gd name="T4" fmla="*/ 44 w 101"/>
                <a:gd name="T5" fmla="*/ 52 h 52"/>
                <a:gd name="T6" fmla="*/ 0 w 101"/>
                <a:gd name="T7" fmla="*/ 52 h 52"/>
                <a:gd name="T8" fmla="*/ 0 w 101"/>
                <a:gd name="T9" fmla="*/ 0 h 52"/>
                <a:gd name="T10" fmla="*/ 44 w 101"/>
                <a:gd name="T11" fmla="*/ 0 h 52"/>
                <a:gd name="T12" fmla="*/ 44 w 101"/>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101" h="52">
                  <a:moveTo>
                    <a:pt x="44" y="0"/>
                  </a:moveTo>
                  <a:cubicBezTo>
                    <a:pt x="74" y="0"/>
                    <a:pt x="99" y="23"/>
                    <a:pt x="101" y="52"/>
                  </a:cubicBezTo>
                  <a:cubicBezTo>
                    <a:pt x="44" y="52"/>
                    <a:pt x="44" y="52"/>
                    <a:pt x="44" y="52"/>
                  </a:cubicBezTo>
                  <a:cubicBezTo>
                    <a:pt x="0" y="52"/>
                    <a:pt x="0" y="52"/>
                    <a:pt x="0" y="52"/>
                  </a:cubicBezTo>
                  <a:cubicBezTo>
                    <a:pt x="0" y="0"/>
                    <a:pt x="0" y="0"/>
                    <a:pt x="0" y="0"/>
                  </a:cubicBezTo>
                  <a:cubicBezTo>
                    <a:pt x="44" y="0"/>
                    <a:pt x="44" y="0"/>
                    <a:pt x="44" y="0"/>
                  </a:cubicBezTo>
                  <a:cubicBezTo>
                    <a:pt x="44" y="0"/>
                    <a:pt x="44" y="0"/>
                    <a:pt x="44"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38" name="Freeform 55"/>
            <p:cNvSpPr>
              <a:spLocks/>
            </p:cNvSpPr>
            <p:nvPr/>
          </p:nvSpPr>
          <p:spPr bwMode="auto">
            <a:xfrm>
              <a:off x="5440" y="2593"/>
              <a:ext cx="65" cy="390"/>
            </a:xfrm>
            <a:custGeom>
              <a:avLst/>
              <a:gdLst>
                <a:gd name="T0" fmla="*/ 0 w 65"/>
                <a:gd name="T1" fmla="*/ 0 h 390"/>
                <a:gd name="T2" fmla="*/ 65 w 65"/>
                <a:gd name="T3" fmla="*/ 0 h 390"/>
                <a:gd name="T4" fmla="*/ 65 w 65"/>
                <a:gd name="T5" fmla="*/ 390 h 390"/>
                <a:gd name="T6" fmla="*/ 0 w 65"/>
                <a:gd name="T7" fmla="*/ 390 h 390"/>
                <a:gd name="T8" fmla="*/ 0 w 65"/>
                <a:gd name="T9" fmla="*/ 0 h 390"/>
                <a:gd name="T10" fmla="*/ 0 w 65"/>
                <a:gd name="T11" fmla="*/ 0 h 390"/>
              </a:gdLst>
              <a:ahLst/>
              <a:cxnLst>
                <a:cxn ang="0">
                  <a:pos x="T0" y="T1"/>
                </a:cxn>
                <a:cxn ang="0">
                  <a:pos x="T2" y="T3"/>
                </a:cxn>
                <a:cxn ang="0">
                  <a:pos x="T4" y="T5"/>
                </a:cxn>
                <a:cxn ang="0">
                  <a:pos x="T6" y="T7"/>
                </a:cxn>
                <a:cxn ang="0">
                  <a:pos x="T8" y="T9"/>
                </a:cxn>
                <a:cxn ang="0">
                  <a:pos x="T10" y="T11"/>
                </a:cxn>
              </a:cxnLst>
              <a:rect l="0" t="0" r="r" b="b"/>
              <a:pathLst>
                <a:path w="65" h="390">
                  <a:moveTo>
                    <a:pt x="0" y="0"/>
                  </a:moveTo>
                  <a:lnTo>
                    <a:pt x="65" y="0"/>
                  </a:lnTo>
                  <a:lnTo>
                    <a:pt x="65" y="390"/>
                  </a:lnTo>
                  <a:lnTo>
                    <a:pt x="0" y="390"/>
                  </a:lnTo>
                  <a:lnTo>
                    <a:pt x="0" y="0"/>
                  </a:lnTo>
                  <a:lnTo>
                    <a:pt x="0" y="0"/>
                  </a:lnTo>
                  <a:close/>
                </a:path>
              </a:pathLst>
            </a:custGeom>
            <a:solidFill>
              <a:srgbClr val="6D56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39" name="Freeform 56"/>
            <p:cNvSpPr>
              <a:spLocks/>
            </p:cNvSpPr>
            <p:nvPr/>
          </p:nvSpPr>
          <p:spPr bwMode="auto">
            <a:xfrm>
              <a:off x="5440" y="2918"/>
              <a:ext cx="65" cy="132"/>
            </a:xfrm>
            <a:custGeom>
              <a:avLst/>
              <a:gdLst>
                <a:gd name="T0" fmla="*/ 45 w 45"/>
                <a:gd name="T1" fmla="*/ 0 h 90"/>
                <a:gd name="T2" fmla="*/ 45 w 45"/>
                <a:gd name="T3" fmla="*/ 90 h 90"/>
                <a:gd name="T4" fmla="*/ 0 w 45"/>
                <a:gd name="T5" fmla="*/ 44 h 90"/>
                <a:gd name="T6" fmla="*/ 45 w 45"/>
                <a:gd name="T7" fmla="*/ 0 h 90"/>
              </a:gdLst>
              <a:ahLst/>
              <a:cxnLst>
                <a:cxn ang="0">
                  <a:pos x="T0" y="T1"/>
                </a:cxn>
                <a:cxn ang="0">
                  <a:pos x="T2" y="T3"/>
                </a:cxn>
                <a:cxn ang="0">
                  <a:pos x="T4" y="T5"/>
                </a:cxn>
                <a:cxn ang="0">
                  <a:pos x="T6" y="T7"/>
                </a:cxn>
              </a:cxnLst>
              <a:rect l="0" t="0" r="r" b="b"/>
              <a:pathLst>
                <a:path w="45" h="90">
                  <a:moveTo>
                    <a:pt x="45" y="0"/>
                  </a:moveTo>
                  <a:cubicBezTo>
                    <a:pt x="45" y="90"/>
                    <a:pt x="45" y="90"/>
                    <a:pt x="45" y="90"/>
                  </a:cubicBezTo>
                  <a:cubicBezTo>
                    <a:pt x="20" y="90"/>
                    <a:pt x="0" y="69"/>
                    <a:pt x="0" y="44"/>
                  </a:cubicBezTo>
                  <a:cubicBezTo>
                    <a:pt x="0" y="19"/>
                    <a:pt x="20" y="0"/>
                    <a:pt x="45" y="0"/>
                  </a:cubicBezTo>
                  <a:close/>
                </a:path>
              </a:pathLst>
            </a:custGeom>
            <a:solidFill>
              <a:srgbClr val="6D56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40" name="Freeform 57"/>
            <p:cNvSpPr>
              <a:spLocks/>
            </p:cNvSpPr>
            <p:nvPr/>
          </p:nvSpPr>
          <p:spPr bwMode="auto">
            <a:xfrm>
              <a:off x="5773" y="2593"/>
              <a:ext cx="66" cy="390"/>
            </a:xfrm>
            <a:custGeom>
              <a:avLst/>
              <a:gdLst>
                <a:gd name="T0" fmla="*/ 0 w 66"/>
                <a:gd name="T1" fmla="*/ 0 h 390"/>
                <a:gd name="T2" fmla="*/ 66 w 66"/>
                <a:gd name="T3" fmla="*/ 0 h 390"/>
                <a:gd name="T4" fmla="*/ 66 w 66"/>
                <a:gd name="T5" fmla="*/ 390 h 390"/>
                <a:gd name="T6" fmla="*/ 0 w 66"/>
                <a:gd name="T7" fmla="*/ 390 h 390"/>
                <a:gd name="T8" fmla="*/ 0 w 66"/>
                <a:gd name="T9" fmla="*/ 0 h 390"/>
                <a:gd name="T10" fmla="*/ 0 w 66"/>
                <a:gd name="T11" fmla="*/ 0 h 390"/>
              </a:gdLst>
              <a:ahLst/>
              <a:cxnLst>
                <a:cxn ang="0">
                  <a:pos x="T0" y="T1"/>
                </a:cxn>
                <a:cxn ang="0">
                  <a:pos x="T2" y="T3"/>
                </a:cxn>
                <a:cxn ang="0">
                  <a:pos x="T4" y="T5"/>
                </a:cxn>
                <a:cxn ang="0">
                  <a:pos x="T6" y="T7"/>
                </a:cxn>
                <a:cxn ang="0">
                  <a:pos x="T8" y="T9"/>
                </a:cxn>
                <a:cxn ang="0">
                  <a:pos x="T10" y="T11"/>
                </a:cxn>
              </a:cxnLst>
              <a:rect l="0" t="0" r="r" b="b"/>
              <a:pathLst>
                <a:path w="66" h="390">
                  <a:moveTo>
                    <a:pt x="0" y="0"/>
                  </a:moveTo>
                  <a:lnTo>
                    <a:pt x="66" y="0"/>
                  </a:lnTo>
                  <a:lnTo>
                    <a:pt x="66" y="390"/>
                  </a:lnTo>
                  <a:lnTo>
                    <a:pt x="0" y="390"/>
                  </a:lnTo>
                  <a:lnTo>
                    <a:pt x="0" y="0"/>
                  </a:lnTo>
                  <a:lnTo>
                    <a:pt x="0" y="0"/>
                  </a:lnTo>
                  <a:close/>
                </a:path>
              </a:pathLst>
            </a:custGeom>
            <a:solidFill>
              <a:srgbClr val="6D56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41" name="Freeform 58"/>
            <p:cNvSpPr>
              <a:spLocks/>
            </p:cNvSpPr>
            <p:nvPr/>
          </p:nvSpPr>
          <p:spPr bwMode="auto">
            <a:xfrm>
              <a:off x="5773" y="2918"/>
              <a:ext cx="68" cy="132"/>
            </a:xfrm>
            <a:custGeom>
              <a:avLst/>
              <a:gdLst>
                <a:gd name="T0" fmla="*/ 0 w 46"/>
                <a:gd name="T1" fmla="*/ 0 h 90"/>
                <a:gd name="T2" fmla="*/ 0 w 46"/>
                <a:gd name="T3" fmla="*/ 90 h 90"/>
                <a:gd name="T4" fmla="*/ 46 w 46"/>
                <a:gd name="T5" fmla="*/ 44 h 90"/>
                <a:gd name="T6" fmla="*/ 0 w 46"/>
                <a:gd name="T7" fmla="*/ 0 h 90"/>
              </a:gdLst>
              <a:ahLst/>
              <a:cxnLst>
                <a:cxn ang="0">
                  <a:pos x="T0" y="T1"/>
                </a:cxn>
                <a:cxn ang="0">
                  <a:pos x="T2" y="T3"/>
                </a:cxn>
                <a:cxn ang="0">
                  <a:pos x="T4" y="T5"/>
                </a:cxn>
                <a:cxn ang="0">
                  <a:pos x="T6" y="T7"/>
                </a:cxn>
              </a:cxnLst>
              <a:rect l="0" t="0" r="r" b="b"/>
              <a:pathLst>
                <a:path w="46" h="90">
                  <a:moveTo>
                    <a:pt x="0" y="0"/>
                  </a:moveTo>
                  <a:cubicBezTo>
                    <a:pt x="0" y="90"/>
                    <a:pt x="0" y="90"/>
                    <a:pt x="0" y="90"/>
                  </a:cubicBezTo>
                  <a:cubicBezTo>
                    <a:pt x="25" y="90"/>
                    <a:pt x="46" y="69"/>
                    <a:pt x="46" y="44"/>
                  </a:cubicBezTo>
                  <a:cubicBezTo>
                    <a:pt x="46" y="19"/>
                    <a:pt x="25" y="0"/>
                    <a:pt x="0" y="0"/>
                  </a:cubicBezTo>
                  <a:close/>
                </a:path>
              </a:pathLst>
            </a:custGeom>
            <a:solidFill>
              <a:srgbClr val="6D56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42" name="Freeform 59"/>
            <p:cNvSpPr>
              <a:spLocks/>
            </p:cNvSpPr>
            <p:nvPr/>
          </p:nvSpPr>
          <p:spPr bwMode="auto">
            <a:xfrm>
              <a:off x="5601" y="2338"/>
              <a:ext cx="77" cy="127"/>
            </a:xfrm>
            <a:custGeom>
              <a:avLst/>
              <a:gdLst>
                <a:gd name="T0" fmla="*/ 38 w 77"/>
                <a:gd name="T1" fmla="*/ 127 h 127"/>
                <a:gd name="T2" fmla="*/ 77 w 77"/>
                <a:gd name="T3" fmla="*/ 124 h 127"/>
                <a:gd name="T4" fmla="*/ 77 w 77"/>
                <a:gd name="T5" fmla="*/ 0 h 127"/>
                <a:gd name="T6" fmla="*/ 0 w 77"/>
                <a:gd name="T7" fmla="*/ 0 h 127"/>
                <a:gd name="T8" fmla="*/ 0 w 77"/>
                <a:gd name="T9" fmla="*/ 127 h 127"/>
                <a:gd name="T10" fmla="*/ 38 w 77"/>
                <a:gd name="T11" fmla="*/ 127 h 127"/>
                <a:gd name="T12" fmla="*/ 38 w 77"/>
                <a:gd name="T13" fmla="*/ 127 h 127"/>
                <a:gd name="T14" fmla="*/ 38 w 77"/>
                <a:gd name="T15" fmla="*/ 127 h 1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127">
                  <a:moveTo>
                    <a:pt x="38" y="127"/>
                  </a:moveTo>
                  <a:lnTo>
                    <a:pt x="77" y="124"/>
                  </a:lnTo>
                  <a:lnTo>
                    <a:pt x="77" y="0"/>
                  </a:lnTo>
                  <a:lnTo>
                    <a:pt x="0" y="0"/>
                  </a:lnTo>
                  <a:lnTo>
                    <a:pt x="0" y="127"/>
                  </a:lnTo>
                  <a:lnTo>
                    <a:pt x="38" y="127"/>
                  </a:lnTo>
                  <a:lnTo>
                    <a:pt x="38" y="127"/>
                  </a:lnTo>
                  <a:lnTo>
                    <a:pt x="38" y="127"/>
                  </a:lnTo>
                  <a:close/>
                </a:path>
              </a:pathLst>
            </a:custGeom>
            <a:solidFill>
              <a:srgbClr val="6D56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43" name="Freeform 60"/>
            <p:cNvSpPr>
              <a:spLocks/>
            </p:cNvSpPr>
            <p:nvPr/>
          </p:nvSpPr>
          <p:spPr bwMode="auto">
            <a:xfrm>
              <a:off x="5601" y="2338"/>
              <a:ext cx="77" cy="69"/>
            </a:xfrm>
            <a:custGeom>
              <a:avLst/>
              <a:gdLst>
                <a:gd name="T0" fmla="*/ 53 w 53"/>
                <a:gd name="T1" fmla="*/ 43 h 47"/>
                <a:gd name="T2" fmla="*/ 27 w 53"/>
                <a:gd name="T3" fmla="*/ 47 h 47"/>
                <a:gd name="T4" fmla="*/ 0 w 53"/>
                <a:gd name="T5" fmla="*/ 43 h 47"/>
                <a:gd name="T6" fmla="*/ 0 w 53"/>
                <a:gd name="T7" fmla="*/ 0 h 47"/>
                <a:gd name="T8" fmla="*/ 53 w 53"/>
                <a:gd name="T9" fmla="*/ 0 h 47"/>
                <a:gd name="T10" fmla="*/ 53 w 53"/>
                <a:gd name="T11" fmla="*/ 43 h 47"/>
                <a:gd name="T12" fmla="*/ 53 w 53"/>
                <a:gd name="T13" fmla="*/ 43 h 47"/>
              </a:gdLst>
              <a:ahLst/>
              <a:cxnLst>
                <a:cxn ang="0">
                  <a:pos x="T0" y="T1"/>
                </a:cxn>
                <a:cxn ang="0">
                  <a:pos x="T2" y="T3"/>
                </a:cxn>
                <a:cxn ang="0">
                  <a:pos x="T4" y="T5"/>
                </a:cxn>
                <a:cxn ang="0">
                  <a:pos x="T6" y="T7"/>
                </a:cxn>
                <a:cxn ang="0">
                  <a:pos x="T8" y="T9"/>
                </a:cxn>
                <a:cxn ang="0">
                  <a:pos x="T10" y="T11"/>
                </a:cxn>
                <a:cxn ang="0">
                  <a:pos x="T12" y="T13"/>
                </a:cxn>
              </a:cxnLst>
              <a:rect l="0" t="0" r="r" b="b"/>
              <a:pathLst>
                <a:path w="53" h="47">
                  <a:moveTo>
                    <a:pt x="53" y="43"/>
                  </a:moveTo>
                  <a:cubicBezTo>
                    <a:pt x="44" y="46"/>
                    <a:pt x="36" y="47"/>
                    <a:pt x="27" y="47"/>
                  </a:cubicBezTo>
                  <a:cubicBezTo>
                    <a:pt x="17" y="47"/>
                    <a:pt x="8" y="45"/>
                    <a:pt x="0" y="43"/>
                  </a:cubicBezTo>
                  <a:cubicBezTo>
                    <a:pt x="0" y="0"/>
                    <a:pt x="0" y="0"/>
                    <a:pt x="0" y="0"/>
                  </a:cubicBezTo>
                  <a:cubicBezTo>
                    <a:pt x="53" y="0"/>
                    <a:pt x="53" y="0"/>
                    <a:pt x="53" y="0"/>
                  </a:cubicBezTo>
                  <a:cubicBezTo>
                    <a:pt x="53" y="43"/>
                    <a:pt x="53" y="43"/>
                    <a:pt x="53" y="43"/>
                  </a:cubicBezTo>
                  <a:cubicBezTo>
                    <a:pt x="53" y="43"/>
                    <a:pt x="53" y="43"/>
                    <a:pt x="53" y="43"/>
                  </a:cubicBezTo>
                  <a:close/>
                </a:path>
              </a:pathLst>
            </a:custGeom>
            <a:solidFill>
              <a:srgbClr val="4937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44" name="Freeform 61"/>
            <p:cNvSpPr>
              <a:spLocks/>
            </p:cNvSpPr>
            <p:nvPr/>
          </p:nvSpPr>
          <p:spPr bwMode="auto">
            <a:xfrm>
              <a:off x="5548" y="2219"/>
              <a:ext cx="183" cy="171"/>
            </a:xfrm>
            <a:custGeom>
              <a:avLst/>
              <a:gdLst>
                <a:gd name="T0" fmla="*/ 125 w 125"/>
                <a:gd name="T1" fmla="*/ 0 h 117"/>
                <a:gd name="T2" fmla="*/ 125 w 125"/>
                <a:gd name="T3" fmla="*/ 96 h 117"/>
                <a:gd name="T4" fmla="*/ 125 w 125"/>
                <a:gd name="T5" fmla="*/ 96 h 117"/>
                <a:gd name="T6" fmla="*/ 63 w 125"/>
                <a:gd name="T7" fmla="*/ 117 h 117"/>
                <a:gd name="T8" fmla="*/ 0 w 125"/>
                <a:gd name="T9" fmla="*/ 96 h 117"/>
                <a:gd name="T10" fmla="*/ 0 w 125"/>
                <a:gd name="T11" fmla="*/ 0 h 117"/>
                <a:gd name="T12" fmla="*/ 125 w 125"/>
                <a:gd name="T13" fmla="*/ 0 h 117"/>
                <a:gd name="T14" fmla="*/ 125 w 125"/>
                <a:gd name="T15" fmla="*/ 0 h 1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 h="117">
                  <a:moveTo>
                    <a:pt x="125" y="0"/>
                  </a:moveTo>
                  <a:cubicBezTo>
                    <a:pt x="125" y="96"/>
                    <a:pt x="125" y="96"/>
                    <a:pt x="125" y="96"/>
                  </a:cubicBezTo>
                  <a:cubicBezTo>
                    <a:pt x="125" y="96"/>
                    <a:pt x="125" y="96"/>
                    <a:pt x="125" y="96"/>
                  </a:cubicBezTo>
                  <a:cubicBezTo>
                    <a:pt x="108" y="109"/>
                    <a:pt x="86" y="117"/>
                    <a:pt x="63" y="117"/>
                  </a:cubicBezTo>
                  <a:cubicBezTo>
                    <a:pt x="40" y="117"/>
                    <a:pt x="17" y="109"/>
                    <a:pt x="0" y="96"/>
                  </a:cubicBezTo>
                  <a:cubicBezTo>
                    <a:pt x="0" y="0"/>
                    <a:pt x="0" y="0"/>
                    <a:pt x="0" y="0"/>
                  </a:cubicBezTo>
                  <a:cubicBezTo>
                    <a:pt x="125" y="0"/>
                    <a:pt x="125" y="0"/>
                    <a:pt x="125" y="0"/>
                  </a:cubicBezTo>
                  <a:cubicBezTo>
                    <a:pt x="125" y="0"/>
                    <a:pt x="125" y="0"/>
                    <a:pt x="125" y="0"/>
                  </a:cubicBezTo>
                  <a:close/>
                </a:path>
              </a:pathLst>
            </a:custGeom>
            <a:solidFill>
              <a:srgbClr val="6D56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45" name="Freeform 62"/>
            <p:cNvSpPr>
              <a:spLocks/>
            </p:cNvSpPr>
            <p:nvPr/>
          </p:nvSpPr>
          <p:spPr bwMode="auto">
            <a:xfrm>
              <a:off x="5602" y="2132"/>
              <a:ext cx="129" cy="135"/>
            </a:xfrm>
            <a:custGeom>
              <a:avLst/>
              <a:gdLst>
                <a:gd name="T0" fmla="*/ 0 w 88"/>
                <a:gd name="T1" fmla="*/ 5 h 92"/>
                <a:gd name="T2" fmla="*/ 25 w 88"/>
                <a:gd name="T3" fmla="*/ 0 h 92"/>
                <a:gd name="T4" fmla="*/ 88 w 88"/>
                <a:gd name="T5" fmla="*/ 62 h 92"/>
                <a:gd name="T6" fmla="*/ 88 w 88"/>
                <a:gd name="T7" fmla="*/ 92 h 92"/>
                <a:gd name="T8" fmla="*/ 0 w 88"/>
                <a:gd name="T9" fmla="*/ 5 h 92"/>
              </a:gdLst>
              <a:ahLst/>
              <a:cxnLst>
                <a:cxn ang="0">
                  <a:pos x="T0" y="T1"/>
                </a:cxn>
                <a:cxn ang="0">
                  <a:pos x="T2" y="T3"/>
                </a:cxn>
                <a:cxn ang="0">
                  <a:pos x="T4" y="T5"/>
                </a:cxn>
                <a:cxn ang="0">
                  <a:pos x="T6" y="T7"/>
                </a:cxn>
                <a:cxn ang="0">
                  <a:pos x="T8" y="T9"/>
                </a:cxn>
              </a:cxnLst>
              <a:rect l="0" t="0" r="r" b="b"/>
              <a:pathLst>
                <a:path w="88" h="92">
                  <a:moveTo>
                    <a:pt x="0" y="5"/>
                  </a:moveTo>
                  <a:cubicBezTo>
                    <a:pt x="7" y="2"/>
                    <a:pt x="16" y="0"/>
                    <a:pt x="25" y="0"/>
                  </a:cubicBezTo>
                  <a:cubicBezTo>
                    <a:pt x="60" y="0"/>
                    <a:pt x="88" y="27"/>
                    <a:pt x="88" y="62"/>
                  </a:cubicBezTo>
                  <a:cubicBezTo>
                    <a:pt x="88" y="92"/>
                    <a:pt x="88" y="92"/>
                    <a:pt x="88" y="92"/>
                  </a:cubicBezTo>
                  <a:cubicBezTo>
                    <a:pt x="42" y="87"/>
                    <a:pt x="5" y="50"/>
                    <a:pt x="0"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46" name="Freeform 63"/>
            <p:cNvSpPr>
              <a:spLocks/>
            </p:cNvSpPr>
            <p:nvPr/>
          </p:nvSpPr>
          <p:spPr bwMode="auto">
            <a:xfrm>
              <a:off x="5548" y="2132"/>
              <a:ext cx="127" cy="135"/>
            </a:xfrm>
            <a:custGeom>
              <a:avLst/>
              <a:gdLst>
                <a:gd name="T0" fmla="*/ 87 w 87"/>
                <a:gd name="T1" fmla="*/ 5 h 92"/>
                <a:gd name="T2" fmla="*/ 62 w 87"/>
                <a:gd name="T3" fmla="*/ 0 h 92"/>
                <a:gd name="T4" fmla="*/ 0 w 87"/>
                <a:gd name="T5" fmla="*/ 62 h 92"/>
                <a:gd name="T6" fmla="*/ 0 w 87"/>
                <a:gd name="T7" fmla="*/ 92 h 92"/>
                <a:gd name="T8" fmla="*/ 87 w 87"/>
                <a:gd name="T9" fmla="*/ 5 h 92"/>
              </a:gdLst>
              <a:ahLst/>
              <a:cxnLst>
                <a:cxn ang="0">
                  <a:pos x="T0" y="T1"/>
                </a:cxn>
                <a:cxn ang="0">
                  <a:pos x="T2" y="T3"/>
                </a:cxn>
                <a:cxn ang="0">
                  <a:pos x="T4" y="T5"/>
                </a:cxn>
                <a:cxn ang="0">
                  <a:pos x="T6" y="T7"/>
                </a:cxn>
                <a:cxn ang="0">
                  <a:pos x="T8" y="T9"/>
                </a:cxn>
              </a:cxnLst>
              <a:rect l="0" t="0" r="r" b="b"/>
              <a:pathLst>
                <a:path w="87" h="92">
                  <a:moveTo>
                    <a:pt x="87" y="5"/>
                  </a:moveTo>
                  <a:cubicBezTo>
                    <a:pt x="80" y="2"/>
                    <a:pt x="71" y="0"/>
                    <a:pt x="62" y="0"/>
                  </a:cubicBezTo>
                  <a:cubicBezTo>
                    <a:pt x="27" y="0"/>
                    <a:pt x="0" y="27"/>
                    <a:pt x="0" y="62"/>
                  </a:cubicBezTo>
                  <a:cubicBezTo>
                    <a:pt x="0" y="92"/>
                    <a:pt x="0" y="92"/>
                    <a:pt x="0" y="92"/>
                  </a:cubicBezTo>
                  <a:cubicBezTo>
                    <a:pt x="46" y="87"/>
                    <a:pt x="82" y="50"/>
                    <a:pt x="87" y="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47" name="Freeform 64"/>
            <p:cNvSpPr>
              <a:spLocks/>
            </p:cNvSpPr>
            <p:nvPr/>
          </p:nvSpPr>
          <p:spPr bwMode="auto">
            <a:xfrm>
              <a:off x="5426" y="2429"/>
              <a:ext cx="427" cy="525"/>
            </a:xfrm>
            <a:custGeom>
              <a:avLst/>
              <a:gdLst>
                <a:gd name="T0" fmla="*/ 62 w 291"/>
                <a:gd name="T1" fmla="*/ 0 h 358"/>
                <a:gd name="T2" fmla="*/ 96 w 291"/>
                <a:gd name="T3" fmla="*/ 0 h 358"/>
                <a:gd name="T4" fmla="*/ 145 w 291"/>
                <a:gd name="T5" fmla="*/ 108 h 358"/>
                <a:gd name="T6" fmla="*/ 194 w 291"/>
                <a:gd name="T7" fmla="*/ 0 h 358"/>
                <a:gd name="T8" fmla="*/ 231 w 291"/>
                <a:gd name="T9" fmla="*/ 0 h 358"/>
                <a:gd name="T10" fmla="*/ 291 w 291"/>
                <a:gd name="T11" fmla="*/ 61 h 358"/>
                <a:gd name="T12" fmla="*/ 291 w 291"/>
                <a:gd name="T13" fmla="*/ 229 h 358"/>
                <a:gd name="T14" fmla="*/ 238 w 291"/>
                <a:gd name="T15" fmla="*/ 229 h 358"/>
                <a:gd name="T16" fmla="*/ 238 w 291"/>
                <a:gd name="T17" fmla="*/ 112 h 358"/>
                <a:gd name="T18" fmla="*/ 231 w 291"/>
                <a:gd name="T19" fmla="*/ 112 h 358"/>
                <a:gd name="T20" fmla="*/ 229 w 291"/>
                <a:gd name="T21" fmla="*/ 358 h 358"/>
                <a:gd name="T22" fmla="*/ 63 w 291"/>
                <a:gd name="T23" fmla="*/ 358 h 358"/>
                <a:gd name="T24" fmla="*/ 62 w 291"/>
                <a:gd name="T25" fmla="*/ 112 h 358"/>
                <a:gd name="T26" fmla="*/ 54 w 291"/>
                <a:gd name="T27" fmla="*/ 112 h 358"/>
                <a:gd name="T28" fmla="*/ 54 w 291"/>
                <a:gd name="T29" fmla="*/ 223 h 358"/>
                <a:gd name="T30" fmla="*/ 0 w 291"/>
                <a:gd name="T31" fmla="*/ 223 h 358"/>
                <a:gd name="T32" fmla="*/ 0 w 291"/>
                <a:gd name="T33" fmla="*/ 61 h 358"/>
                <a:gd name="T34" fmla="*/ 62 w 291"/>
                <a:gd name="T3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1" h="358">
                  <a:moveTo>
                    <a:pt x="62" y="0"/>
                  </a:moveTo>
                  <a:cubicBezTo>
                    <a:pt x="96" y="0"/>
                    <a:pt x="96" y="0"/>
                    <a:pt x="96" y="0"/>
                  </a:cubicBezTo>
                  <a:cubicBezTo>
                    <a:pt x="145" y="108"/>
                    <a:pt x="145" y="108"/>
                    <a:pt x="145" y="108"/>
                  </a:cubicBezTo>
                  <a:cubicBezTo>
                    <a:pt x="145" y="108"/>
                    <a:pt x="181" y="31"/>
                    <a:pt x="194" y="0"/>
                  </a:cubicBezTo>
                  <a:cubicBezTo>
                    <a:pt x="231" y="0"/>
                    <a:pt x="231" y="0"/>
                    <a:pt x="231" y="0"/>
                  </a:cubicBezTo>
                  <a:cubicBezTo>
                    <a:pt x="264" y="0"/>
                    <a:pt x="291" y="27"/>
                    <a:pt x="291" y="61"/>
                  </a:cubicBezTo>
                  <a:cubicBezTo>
                    <a:pt x="291" y="229"/>
                    <a:pt x="291" y="229"/>
                    <a:pt x="291" y="229"/>
                  </a:cubicBezTo>
                  <a:cubicBezTo>
                    <a:pt x="238" y="229"/>
                    <a:pt x="238" y="229"/>
                    <a:pt x="238" y="229"/>
                  </a:cubicBezTo>
                  <a:cubicBezTo>
                    <a:pt x="238" y="112"/>
                    <a:pt x="238" y="112"/>
                    <a:pt x="238" y="112"/>
                  </a:cubicBezTo>
                  <a:cubicBezTo>
                    <a:pt x="231" y="112"/>
                    <a:pt x="231" y="112"/>
                    <a:pt x="231" y="112"/>
                  </a:cubicBezTo>
                  <a:cubicBezTo>
                    <a:pt x="229" y="358"/>
                    <a:pt x="229" y="358"/>
                    <a:pt x="229" y="358"/>
                  </a:cubicBezTo>
                  <a:cubicBezTo>
                    <a:pt x="63" y="358"/>
                    <a:pt x="63" y="358"/>
                    <a:pt x="63" y="358"/>
                  </a:cubicBezTo>
                  <a:cubicBezTo>
                    <a:pt x="62" y="112"/>
                    <a:pt x="62" y="112"/>
                    <a:pt x="62" y="112"/>
                  </a:cubicBezTo>
                  <a:cubicBezTo>
                    <a:pt x="54" y="112"/>
                    <a:pt x="54" y="112"/>
                    <a:pt x="54" y="112"/>
                  </a:cubicBezTo>
                  <a:cubicBezTo>
                    <a:pt x="54" y="223"/>
                    <a:pt x="54" y="223"/>
                    <a:pt x="54" y="223"/>
                  </a:cubicBezTo>
                  <a:cubicBezTo>
                    <a:pt x="0" y="223"/>
                    <a:pt x="0" y="223"/>
                    <a:pt x="0" y="223"/>
                  </a:cubicBezTo>
                  <a:cubicBezTo>
                    <a:pt x="0" y="61"/>
                    <a:pt x="0" y="61"/>
                    <a:pt x="0" y="61"/>
                  </a:cubicBezTo>
                  <a:cubicBezTo>
                    <a:pt x="0" y="27"/>
                    <a:pt x="28" y="0"/>
                    <a:pt x="62" y="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48" name="Freeform 65"/>
            <p:cNvSpPr>
              <a:spLocks/>
            </p:cNvSpPr>
            <p:nvPr/>
          </p:nvSpPr>
          <p:spPr bwMode="auto">
            <a:xfrm>
              <a:off x="5699" y="3388"/>
              <a:ext cx="133" cy="38"/>
            </a:xfrm>
            <a:custGeom>
              <a:avLst/>
              <a:gdLst>
                <a:gd name="T0" fmla="*/ 43 w 91"/>
                <a:gd name="T1" fmla="*/ 0 h 26"/>
                <a:gd name="T2" fmla="*/ 91 w 91"/>
                <a:gd name="T3" fmla="*/ 26 h 26"/>
                <a:gd name="T4" fmla="*/ 29 w 91"/>
                <a:gd name="T5" fmla="*/ 26 h 26"/>
                <a:gd name="T6" fmla="*/ 0 w 91"/>
                <a:gd name="T7" fmla="*/ 0 h 26"/>
                <a:gd name="T8" fmla="*/ 43 w 91"/>
                <a:gd name="T9" fmla="*/ 0 h 26"/>
                <a:gd name="T10" fmla="*/ 43 w 91"/>
                <a:gd name="T11" fmla="*/ 0 h 26"/>
              </a:gdLst>
              <a:ahLst/>
              <a:cxnLst>
                <a:cxn ang="0">
                  <a:pos x="T0" y="T1"/>
                </a:cxn>
                <a:cxn ang="0">
                  <a:pos x="T2" y="T3"/>
                </a:cxn>
                <a:cxn ang="0">
                  <a:pos x="T4" y="T5"/>
                </a:cxn>
                <a:cxn ang="0">
                  <a:pos x="T6" y="T7"/>
                </a:cxn>
                <a:cxn ang="0">
                  <a:pos x="T8" y="T9"/>
                </a:cxn>
                <a:cxn ang="0">
                  <a:pos x="T10" y="T11"/>
                </a:cxn>
              </a:cxnLst>
              <a:rect l="0" t="0" r="r" b="b"/>
              <a:pathLst>
                <a:path w="91" h="26">
                  <a:moveTo>
                    <a:pt x="43" y="0"/>
                  </a:moveTo>
                  <a:cubicBezTo>
                    <a:pt x="63" y="0"/>
                    <a:pt x="81" y="10"/>
                    <a:pt x="91" y="26"/>
                  </a:cubicBezTo>
                  <a:cubicBezTo>
                    <a:pt x="29" y="26"/>
                    <a:pt x="29" y="26"/>
                    <a:pt x="29" y="26"/>
                  </a:cubicBezTo>
                  <a:cubicBezTo>
                    <a:pt x="14" y="26"/>
                    <a:pt x="1" y="14"/>
                    <a:pt x="0" y="0"/>
                  </a:cubicBezTo>
                  <a:cubicBezTo>
                    <a:pt x="43" y="0"/>
                    <a:pt x="43" y="0"/>
                    <a:pt x="43" y="0"/>
                  </a:cubicBezTo>
                  <a:cubicBezTo>
                    <a:pt x="43" y="0"/>
                    <a:pt x="43" y="0"/>
                    <a:pt x="43" y="0"/>
                  </a:cubicBezTo>
                  <a:close/>
                </a:path>
              </a:pathLst>
            </a:custGeom>
            <a:solidFill>
              <a:srgbClr val="6D56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49" name="Freeform 66"/>
            <p:cNvSpPr>
              <a:spLocks/>
            </p:cNvSpPr>
            <p:nvPr/>
          </p:nvSpPr>
          <p:spPr bwMode="auto">
            <a:xfrm>
              <a:off x="5516" y="3388"/>
              <a:ext cx="146" cy="76"/>
            </a:xfrm>
            <a:custGeom>
              <a:avLst/>
              <a:gdLst>
                <a:gd name="T0" fmla="*/ 43 w 100"/>
                <a:gd name="T1" fmla="*/ 0 h 52"/>
                <a:gd name="T2" fmla="*/ 100 w 100"/>
                <a:gd name="T3" fmla="*/ 52 h 52"/>
                <a:gd name="T4" fmla="*/ 43 w 100"/>
                <a:gd name="T5" fmla="*/ 52 h 52"/>
                <a:gd name="T6" fmla="*/ 0 w 100"/>
                <a:gd name="T7" fmla="*/ 52 h 52"/>
                <a:gd name="T8" fmla="*/ 0 w 100"/>
                <a:gd name="T9" fmla="*/ 0 h 52"/>
                <a:gd name="T10" fmla="*/ 43 w 100"/>
                <a:gd name="T11" fmla="*/ 0 h 52"/>
                <a:gd name="T12" fmla="*/ 43 w 100"/>
                <a:gd name="T13" fmla="*/ 0 h 52"/>
              </a:gdLst>
              <a:ahLst/>
              <a:cxnLst>
                <a:cxn ang="0">
                  <a:pos x="T0" y="T1"/>
                </a:cxn>
                <a:cxn ang="0">
                  <a:pos x="T2" y="T3"/>
                </a:cxn>
                <a:cxn ang="0">
                  <a:pos x="T4" y="T5"/>
                </a:cxn>
                <a:cxn ang="0">
                  <a:pos x="T6" y="T7"/>
                </a:cxn>
                <a:cxn ang="0">
                  <a:pos x="T8" y="T9"/>
                </a:cxn>
                <a:cxn ang="0">
                  <a:pos x="T10" y="T11"/>
                </a:cxn>
                <a:cxn ang="0">
                  <a:pos x="T12" y="T13"/>
                </a:cxn>
              </a:cxnLst>
              <a:rect l="0" t="0" r="r" b="b"/>
              <a:pathLst>
                <a:path w="100" h="52">
                  <a:moveTo>
                    <a:pt x="43" y="0"/>
                  </a:moveTo>
                  <a:cubicBezTo>
                    <a:pt x="73" y="0"/>
                    <a:pt x="97" y="23"/>
                    <a:pt x="100" y="52"/>
                  </a:cubicBezTo>
                  <a:cubicBezTo>
                    <a:pt x="43" y="52"/>
                    <a:pt x="43" y="52"/>
                    <a:pt x="43" y="52"/>
                  </a:cubicBezTo>
                  <a:cubicBezTo>
                    <a:pt x="0" y="52"/>
                    <a:pt x="0" y="52"/>
                    <a:pt x="0" y="52"/>
                  </a:cubicBezTo>
                  <a:cubicBezTo>
                    <a:pt x="0" y="0"/>
                    <a:pt x="0" y="0"/>
                    <a:pt x="0" y="0"/>
                  </a:cubicBezTo>
                  <a:cubicBezTo>
                    <a:pt x="43" y="0"/>
                    <a:pt x="43" y="0"/>
                    <a:pt x="43" y="0"/>
                  </a:cubicBezTo>
                  <a:cubicBezTo>
                    <a:pt x="43" y="0"/>
                    <a:pt x="43" y="0"/>
                    <a:pt x="43"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50" name="Freeform 67"/>
            <p:cNvSpPr>
              <a:spLocks/>
            </p:cNvSpPr>
            <p:nvPr/>
          </p:nvSpPr>
          <p:spPr bwMode="auto">
            <a:xfrm>
              <a:off x="5516" y="3388"/>
              <a:ext cx="133" cy="38"/>
            </a:xfrm>
            <a:custGeom>
              <a:avLst/>
              <a:gdLst>
                <a:gd name="T0" fmla="*/ 43 w 91"/>
                <a:gd name="T1" fmla="*/ 0 h 26"/>
                <a:gd name="T2" fmla="*/ 91 w 91"/>
                <a:gd name="T3" fmla="*/ 26 h 26"/>
                <a:gd name="T4" fmla="*/ 30 w 91"/>
                <a:gd name="T5" fmla="*/ 26 h 26"/>
                <a:gd name="T6" fmla="*/ 0 w 91"/>
                <a:gd name="T7" fmla="*/ 0 h 26"/>
                <a:gd name="T8" fmla="*/ 43 w 91"/>
                <a:gd name="T9" fmla="*/ 0 h 26"/>
                <a:gd name="T10" fmla="*/ 43 w 91"/>
                <a:gd name="T11" fmla="*/ 0 h 26"/>
              </a:gdLst>
              <a:ahLst/>
              <a:cxnLst>
                <a:cxn ang="0">
                  <a:pos x="T0" y="T1"/>
                </a:cxn>
                <a:cxn ang="0">
                  <a:pos x="T2" y="T3"/>
                </a:cxn>
                <a:cxn ang="0">
                  <a:pos x="T4" y="T5"/>
                </a:cxn>
                <a:cxn ang="0">
                  <a:pos x="T6" y="T7"/>
                </a:cxn>
                <a:cxn ang="0">
                  <a:pos x="T8" y="T9"/>
                </a:cxn>
                <a:cxn ang="0">
                  <a:pos x="T10" y="T11"/>
                </a:cxn>
              </a:cxnLst>
              <a:rect l="0" t="0" r="r" b="b"/>
              <a:pathLst>
                <a:path w="91" h="26">
                  <a:moveTo>
                    <a:pt x="43" y="0"/>
                  </a:moveTo>
                  <a:cubicBezTo>
                    <a:pt x="64" y="0"/>
                    <a:pt x="80" y="10"/>
                    <a:pt x="91" y="26"/>
                  </a:cubicBezTo>
                  <a:cubicBezTo>
                    <a:pt x="30" y="26"/>
                    <a:pt x="30" y="26"/>
                    <a:pt x="30" y="26"/>
                  </a:cubicBezTo>
                  <a:cubicBezTo>
                    <a:pt x="15" y="26"/>
                    <a:pt x="2" y="14"/>
                    <a:pt x="0" y="0"/>
                  </a:cubicBezTo>
                  <a:cubicBezTo>
                    <a:pt x="43" y="0"/>
                    <a:pt x="43" y="0"/>
                    <a:pt x="43" y="0"/>
                  </a:cubicBezTo>
                  <a:cubicBezTo>
                    <a:pt x="43" y="0"/>
                    <a:pt x="43" y="0"/>
                    <a:pt x="43" y="0"/>
                  </a:cubicBezTo>
                  <a:close/>
                </a:path>
              </a:pathLst>
            </a:custGeom>
            <a:solidFill>
              <a:srgbClr val="6D56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51" name="Oval 68"/>
            <p:cNvSpPr>
              <a:spLocks noChangeArrowheads="1"/>
            </p:cNvSpPr>
            <p:nvPr/>
          </p:nvSpPr>
          <p:spPr bwMode="auto">
            <a:xfrm>
              <a:off x="5491" y="2930"/>
              <a:ext cx="25" cy="24"/>
            </a:xfrm>
            <a:prstGeom prst="ellipse">
              <a:avLst/>
            </a:pr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52" name="Oval 69"/>
            <p:cNvSpPr>
              <a:spLocks noChangeArrowheads="1"/>
            </p:cNvSpPr>
            <p:nvPr/>
          </p:nvSpPr>
          <p:spPr bwMode="auto">
            <a:xfrm>
              <a:off x="5461" y="2930"/>
              <a:ext cx="25" cy="24"/>
            </a:xfrm>
            <a:prstGeom prst="ellipse">
              <a:avLst/>
            </a:pr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53" name="Oval 70"/>
            <p:cNvSpPr>
              <a:spLocks noChangeArrowheads="1"/>
            </p:cNvSpPr>
            <p:nvPr/>
          </p:nvSpPr>
          <p:spPr bwMode="auto">
            <a:xfrm>
              <a:off x="5432" y="2930"/>
              <a:ext cx="24" cy="24"/>
            </a:xfrm>
            <a:prstGeom prst="ellipse">
              <a:avLst/>
            </a:pr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54" name="Freeform 71"/>
            <p:cNvSpPr>
              <a:spLocks/>
            </p:cNvSpPr>
            <p:nvPr/>
          </p:nvSpPr>
          <p:spPr bwMode="auto">
            <a:xfrm>
              <a:off x="5639" y="2401"/>
              <a:ext cx="142" cy="186"/>
            </a:xfrm>
            <a:custGeom>
              <a:avLst/>
              <a:gdLst>
                <a:gd name="T0" fmla="*/ 61 w 142"/>
                <a:gd name="T1" fmla="*/ 69 h 186"/>
                <a:gd name="T2" fmla="*/ 88 w 142"/>
                <a:gd name="T3" fmla="*/ 86 h 186"/>
                <a:gd name="T4" fmla="*/ 0 w 142"/>
                <a:gd name="T5" fmla="*/ 186 h 186"/>
                <a:gd name="T6" fmla="*/ 74 w 142"/>
                <a:gd name="T7" fmla="*/ 0 h 186"/>
                <a:gd name="T8" fmla="*/ 142 w 142"/>
                <a:gd name="T9" fmla="*/ 28 h 186"/>
                <a:gd name="T10" fmla="*/ 105 w 142"/>
                <a:gd name="T11" fmla="*/ 69 h 186"/>
                <a:gd name="T12" fmla="*/ 61 w 142"/>
                <a:gd name="T13" fmla="*/ 69 h 186"/>
                <a:gd name="T14" fmla="*/ 61 w 142"/>
                <a:gd name="T15" fmla="*/ 69 h 186"/>
                <a:gd name="T16" fmla="*/ 61 w 142"/>
                <a:gd name="T17" fmla="*/ 6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 h="186">
                  <a:moveTo>
                    <a:pt x="61" y="69"/>
                  </a:moveTo>
                  <a:lnTo>
                    <a:pt x="88" y="86"/>
                  </a:lnTo>
                  <a:lnTo>
                    <a:pt x="0" y="186"/>
                  </a:lnTo>
                  <a:lnTo>
                    <a:pt x="74" y="0"/>
                  </a:lnTo>
                  <a:lnTo>
                    <a:pt x="142" y="28"/>
                  </a:lnTo>
                  <a:lnTo>
                    <a:pt x="105" y="69"/>
                  </a:lnTo>
                  <a:lnTo>
                    <a:pt x="61" y="69"/>
                  </a:lnTo>
                  <a:lnTo>
                    <a:pt x="61" y="69"/>
                  </a:lnTo>
                  <a:lnTo>
                    <a:pt x="61" y="69"/>
                  </a:lnTo>
                  <a:close/>
                </a:path>
              </a:pathLst>
            </a:custGeom>
            <a:solidFill>
              <a:srgbClr val="F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55" name="Freeform 72"/>
            <p:cNvSpPr>
              <a:spLocks/>
            </p:cNvSpPr>
            <p:nvPr/>
          </p:nvSpPr>
          <p:spPr bwMode="auto">
            <a:xfrm>
              <a:off x="5497" y="2402"/>
              <a:ext cx="142" cy="185"/>
            </a:xfrm>
            <a:custGeom>
              <a:avLst/>
              <a:gdLst>
                <a:gd name="T0" fmla="*/ 80 w 142"/>
                <a:gd name="T1" fmla="*/ 68 h 185"/>
                <a:gd name="T2" fmla="*/ 54 w 142"/>
                <a:gd name="T3" fmla="*/ 85 h 185"/>
                <a:gd name="T4" fmla="*/ 142 w 142"/>
                <a:gd name="T5" fmla="*/ 185 h 185"/>
                <a:gd name="T6" fmla="*/ 67 w 142"/>
                <a:gd name="T7" fmla="*/ 0 h 185"/>
                <a:gd name="T8" fmla="*/ 0 w 142"/>
                <a:gd name="T9" fmla="*/ 27 h 185"/>
                <a:gd name="T10" fmla="*/ 38 w 142"/>
                <a:gd name="T11" fmla="*/ 68 h 185"/>
                <a:gd name="T12" fmla="*/ 80 w 142"/>
                <a:gd name="T13" fmla="*/ 68 h 185"/>
                <a:gd name="T14" fmla="*/ 80 w 142"/>
                <a:gd name="T15" fmla="*/ 68 h 185"/>
                <a:gd name="T16" fmla="*/ 80 w 142"/>
                <a:gd name="T17" fmla="*/ 68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 h="185">
                  <a:moveTo>
                    <a:pt x="80" y="68"/>
                  </a:moveTo>
                  <a:lnTo>
                    <a:pt x="54" y="85"/>
                  </a:lnTo>
                  <a:lnTo>
                    <a:pt x="142" y="185"/>
                  </a:lnTo>
                  <a:lnTo>
                    <a:pt x="67" y="0"/>
                  </a:lnTo>
                  <a:lnTo>
                    <a:pt x="0" y="27"/>
                  </a:lnTo>
                  <a:lnTo>
                    <a:pt x="38" y="68"/>
                  </a:lnTo>
                  <a:lnTo>
                    <a:pt x="80" y="68"/>
                  </a:lnTo>
                  <a:lnTo>
                    <a:pt x="80" y="68"/>
                  </a:lnTo>
                  <a:lnTo>
                    <a:pt x="80" y="68"/>
                  </a:lnTo>
                  <a:close/>
                </a:path>
              </a:pathLst>
            </a:custGeom>
            <a:solidFill>
              <a:srgbClr val="F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56" name="Oval 73"/>
            <p:cNvSpPr>
              <a:spLocks noChangeArrowheads="1"/>
            </p:cNvSpPr>
            <p:nvPr/>
          </p:nvSpPr>
          <p:spPr bwMode="auto">
            <a:xfrm>
              <a:off x="5734" y="2321"/>
              <a:ext cx="15" cy="14"/>
            </a:xfrm>
            <a:prstGeom prst="ellipse">
              <a:avLst/>
            </a:prstGeom>
            <a:solidFill>
              <a:srgbClr val="F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57" name="Oval 74"/>
            <p:cNvSpPr>
              <a:spLocks noChangeArrowheads="1"/>
            </p:cNvSpPr>
            <p:nvPr/>
          </p:nvSpPr>
          <p:spPr bwMode="auto">
            <a:xfrm>
              <a:off x="5532" y="2321"/>
              <a:ext cx="12" cy="14"/>
            </a:xfrm>
            <a:prstGeom prst="ellipse">
              <a:avLst/>
            </a:prstGeom>
            <a:solidFill>
              <a:srgbClr val="F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58" name="Freeform 75"/>
            <p:cNvSpPr>
              <a:spLocks/>
            </p:cNvSpPr>
            <p:nvPr/>
          </p:nvSpPr>
          <p:spPr bwMode="auto">
            <a:xfrm>
              <a:off x="5773" y="2723"/>
              <a:ext cx="112" cy="58"/>
            </a:xfrm>
            <a:custGeom>
              <a:avLst/>
              <a:gdLst>
                <a:gd name="T0" fmla="*/ 112 w 112"/>
                <a:gd name="T1" fmla="*/ 58 h 58"/>
                <a:gd name="T2" fmla="*/ 0 w 112"/>
                <a:gd name="T3" fmla="*/ 58 h 58"/>
                <a:gd name="T4" fmla="*/ 0 w 112"/>
                <a:gd name="T5" fmla="*/ 0 h 58"/>
                <a:gd name="T6" fmla="*/ 59 w 112"/>
                <a:gd name="T7" fmla="*/ 0 h 58"/>
                <a:gd name="T8" fmla="*/ 80 w 112"/>
                <a:gd name="T9" fmla="*/ 24 h 58"/>
                <a:gd name="T10" fmla="*/ 80 w 112"/>
                <a:gd name="T11" fmla="*/ 0 h 58"/>
                <a:gd name="T12" fmla="*/ 112 w 112"/>
                <a:gd name="T13" fmla="*/ 0 h 58"/>
                <a:gd name="T14" fmla="*/ 112 w 112"/>
                <a:gd name="T15" fmla="*/ 58 h 58"/>
                <a:gd name="T16" fmla="*/ 112 w 112"/>
                <a:gd name="T17" fmla="*/ 58 h 58"/>
                <a:gd name="T18" fmla="*/ 112 w 112"/>
                <a:gd name="T19"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2" h="58">
                  <a:moveTo>
                    <a:pt x="112" y="58"/>
                  </a:moveTo>
                  <a:lnTo>
                    <a:pt x="0" y="58"/>
                  </a:lnTo>
                  <a:lnTo>
                    <a:pt x="0" y="0"/>
                  </a:lnTo>
                  <a:lnTo>
                    <a:pt x="59" y="0"/>
                  </a:lnTo>
                  <a:lnTo>
                    <a:pt x="80" y="24"/>
                  </a:lnTo>
                  <a:lnTo>
                    <a:pt x="80" y="0"/>
                  </a:lnTo>
                  <a:lnTo>
                    <a:pt x="112" y="0"/>
                  </a:lnTo>
                  <a:lnTo>
                    <a:pt x="112" y="58"/>
                  </a:lnTo>
                  <a:lnTo>
                    <a:pt x="112" y="58"/>
                  </a:lnTo>
                  <a:lnTo>
                    <a:pt x="112" y="58"/>
                  </a:lnTo>
                  <a:close/>
                </a:path>
              </a:pathLst>
            </a:custGeom>
            <a:solidFill>
              <a:srgbClr val="F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59" name="Freeform 76"/>
            <p:cNvSpPr>
              <a:spLocks/>
            </p:cNvSpPr>
            <p:nvPr/>
          </p:nvSpPr>
          <p:spPr bwMode="auto">
            <a:xfrm>
              <a:off x="5396" y="2723"/>
              <a:ext cx="109" cy="58"/>
            </a:xfrm>
            <a:custGeom>
              <a:avLst/>
              <a:gdLst>
                <a:gd name="T0" fmla="*/ 0 w 109"/>
                <a:gd name="T1" fmla="*/ 58 h 58"/>
                <a:gd name="T2" fmla="*/ 109 w 109"/>
                <a:gd name="T3" fmla="*/ 58 h 58"/>
                <a:gd name="T4" fmla="*/ 109 w 109"/>
                <a:gd name="T5" fmla="*/ 0 h 58"/>
                <a:gd name="T6" fmla="*/ 51 w 109"/>
                <a:gd name="T7" fmla="*/ 0 h 58"/>
                <a:gd name="T8" fmla="*/ 30 w 109"/>
                <a:gd name="T9" fmla="*/ 24 h 58"/>
                <a:gd name="T10" fmla="*/ 30 w 109"/>
                <a:gd name="T11" fmla="*/ 0 h 58"/>
                <a:gd name="T12" fmla="*/ 0 w 109"/>
                <a:gd name="T13" fmla="*/ 0 h 58"/>
                <a:gd name="T14" fmla="*/ 0 w 109"/>
                <a:gd name="T15" fmla="*/ 58 h 58"/>
                <a:gd name="T16" fmla="*/ 0 w 109"/>
                <a:gd name="T17" fmla="*/ 58 h 58"/>
                <a:gd name="T18" fmla="*/ 0 w 109"/>
                <a:gd name="T19"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58">
                  <a:moveTo>
                    <a:pt x="0" y="58"/>
                  </a:moveTo>
                  <a:lnTo>
                    <a:pt x="109" y="58"/>
                  </a:lnTo>
                  <a:lnTo>
                    <a:pt x="109" y="0"/>
                  </a:lnTo>
                  <a:lnTo>
                    <a:pt x="51" y="0"/>
                  </a:lnTo>
                  <a:lnTo>
                    <a:pt x="30" y="24"/>
                  </a:lnTo>
                  <a:lnTo>
                    <a:pt x="30" y="0"/>
                  </a:lnTo>
                  <a:lnTo>
                    <a:pt x="0" y="0"/>
                  </a:lnTo>
                  <a:lnTo>
                    <a:pt x="0" y="58"/>
                  </a:lnTo>
                  <a:lnTo>
                    <a:pt x="0" y="58"/>
                  </a:lnTo>
                  <a:lnTo>
                    <a:pt x="0" y="58"/>
                  </a:lnTo>
                  <a:close/>
                </a:path>
              </a:pathLst>
            </a:custGeom>
            <a:solidFill>
              <a:srgbClr val="F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60" name="Freeform 77"/>
            <p:cNvSpPr>
              <a:spLocks/>
            </p:cNvSpPr>
            <p:nvPr/>
          </p:nvSpPr>
          <p:spPr bwMode="auto">
            <a:xfrm>
              <a:off x="5519" y="2866"/>
              <a:ext cx="254" cy="95"/>
            </a:xfrm>
            <a:custGeom>
              <a:avLst/>
              <a:gdLst>
                <a:gd name="T0" fmla="*/ 243 w 254"/>
                <a:gd name="T1" fmla="*/ 0 h 95"/>
                <a:gd name="T2" fmla="*/ 0 w 254"/>
                <a:gd name="T3" fmla="*/ 0 h 95"/>
                <a:gd name="T4" fmla="*/ 0 w 254"/>
                <a:gd name="T5" fmla="*/ 95 h 95"/>
                <a:gd name="T6" fmla="*/ 254 w 254"/>
                <a:gd name="T7" fmla="*/ 95 h 95"/>
                <a:gd name="T8" fmla="*/ 243 w 254"/>
                <a:gd name="T9" fmla="*/ 0 h 95"/>
                <a:gd name="T10" fmla="*/ 243 w 254"/>
                <a:gd name="T11" fmla="*/ 0 h 95"/>
                <a:gd name="T12" fmla="*/ 243 w 254"/>
                <a:gd name="T13" fmla="*/ 0 h 95"/>
              </a:gdLst>
              <a:ahLst/>
              <a:cxnLst>
                <a:cxn ang="0">
                  <a:pos x="T0" y="T1"/>
                </a:cxn>
                <a:cxn ang="0">
                  <a:pos x="T2" y="T3"/>
                </a:cxn>
                <a:cxn ang="0">
                  <a:pos x="T4" y="T5"/>
                </a:cxn>
                <a:cxn ang="0">
                  <a:pos x="T6" y="T7"/>
                </a:cxn>
                <a:cxn ang="0">
                  <a:pos x="T8" y="T9"/>
                </a:cxn>
                <a:cxn ang="0">
                  <a:pos x="T10" y="T11"/>
                </a:cxn>
                <a:cxn ang="0">
                  <a:pos x="T12" y="T13"/>
                </a:cxn>
              </a:cxnLst>
              <a:rect l="0" t="0" r="r" b="b"/>
              <a:pathLst>
                <a:path w="254" h="95">
                  <a:moveTo>
                    <a:pt x="243" y="0"/>
                  </a:moveTo>
                  <a:lnTo>
                    <a:pt x="0" y="0"/>
                  </a:lnTo>
                  <a:lnTo>
                    <a:pt x="0" y="95"/>
                  </a:lnTo>
                  <a:lnTo>
                    <a:pt x="254" y="95"/>
                  </a:lnTo>
                  <a:lnTo>
                    <a:pt x="243" y="0"/>
                  </a:lnTo>
                  <a:lnTo>
                    <a:pt x="243" y="0"/>
                  </a:lnTo>
                  <a:lnTo>
                    <a:pt x="243" y="0"/>
                  </a:lnTo>
                  <a:close/>
                </a:path>
              </a:pathLst>
            </a:custGeom>
            <a:solidFill>
              <a:srgbClr val="F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61" name="Freeform 78"/>
            <p:cNvSpPr>
              <a:spLocks/>
            </p:cNvSpPr>
            <p:nvPr/>
          </p:nvSpPr>
          <p:spPr bwMode="auto">
            <a:xfrm>
              <a:off x="5981" y="2116"/>
              <a:ext cx="103" cy="113"/>
            </a:xfrm>
            <a:custGeom>
              <a:avLst/>
              <a:gdLst>
                <a:gd name="T0" fmla="*/ 103 w 103"/>
                <a:gd name="T1" fmla="*/ 85 h 113"/>
                <a:gd name="T2" fmla="*/ 52 w 103"/>
                <a:gd name="T3" fmla="*/ 113 h 113"/>
                <a:gd name="T4" fmla="*/ 0 w 103"/>
                <a:gd name="T5" fmla="*/ 85 h 113"/>
                <a:gd name="T6" fmla="*/ 0 w 103"/>
                <a:gd name="T7" fmla="*/ 0 h 113"/>
                <a:gd name="T8" fmla="*/ 103 w 103"/>
                <a:gd name="T9" fmla="*/ 0 h 113"/>
                <a:gd name="T10" fmla="*/ 103 w 103"/>
                <a:gd name="T11" fmla="*/ 85 h 113"/>
                <a:gd name="T12" fmla="*/ 103 w 103"/>
                <a:gd name="T13" fmla="*/ 85 h 113"/>
                <a:gd name="T14" fmla="*/ 103 w 103"/>
                <a:gd name="T15" fmla="*/ 85 h 1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 h="113">
                  <a:moveTo>
                    <a:pt x="103" y="85"/>
                  </a:moveTo>
                  <a:lnTo>
                    <a:pt x="52" y="113"/>
                  </a:lnTo>
                  <a:lnTo>
                    <a:pt x="0" y="85"/>
                  </a:lnTo>
                  <a:lnTo>
                    <a:pt x="0" y="0"/>
                  </a:lnTo>
                  <a:lnTo>
                    <a:pt x="103" y="0"/>
                  </a:lnTo>
                  <a:lnTo>
                    <a:pt x="103" y="85"/>
                  </a:lnTo>
                  <a:lnTo>
                    <a:pt x="103" y="85"/>
                  </a:lnTo>
                  <a:lnTo>
                    <a:pt x="103" y="8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62" name="Freeform 79"/>
            <p:cNvSpPr>
              <a:spLocks/>
            </p:cNvSpPr>
            <p:nvPr/>
          </p:nvSpPr>
          <p:spPr bwMode="auto">
            <a:xfrm>
              <a:off x="6002" y="2229"/>
              <a:ext cx="61" cy="414"/>
            </a:xfrm>
            <a:custGeom>
              <a:avLst/>
              <a:gdLst>
                <a:gd name="T0" fmla="*/ 50 w 61"/>
                <a:gd name="T1" fmla="*/ 31 h 414"/>
                <a:gd name="T2" fmla="*/ 61 w 61"/>
                <a:gd name="T3" fmla="*/ 22 h 414"/>
                <a:gd name="T4" fmla="*/ 31 w 61"/>
                <a:gd name="T5" fmla="*/ 0 h 414"/>
                <a:gd name="T6" fmla="*/ 0 w 61"/>
                <a:gd name="T7" fmla="*/ 22 h 414"/>
                <a:gd name="T8" fmla="*/ 18 w 61"/>
                <a:gd name="T9" fmla="*/ 31 h 414"/>
                <a:gd name="T10" fmla="*/ 15 w 61"/>
                <a:gd name="T11" fmla="*/ 386 h 414"/>
                <a:gd name="T12" fmla="*/ 31 w 61"/>
                <a:gd name="T13" fmla="*/ 414 h 414"/>
                <a:gd name="T14" fmla="*/ 50 w 61"/>
                <a:gd name="T15" fmla="*/ 386 h 414"/>
                <a:gd name="T16" fmla="*/ 50 w 61"/>
                <a:gd name="T17" fmla="*/ 31 h 414"/>
                <a:gd name="T18" fmla="*/ 50 w 61"/>
                <a:gd name="T19" fmla="*/ 31 h 414"/>
                <a:gd name="T20" fmla="*/ 50 w 61"/>
                <a:gd name="T21" fmla="*/ 31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14">
                  <a:moveTo>
                    <a:pt x="50" y="31"/>
                  </a:moveTo>
                  <a:lnTo>
                    <a:pt x="61" y="22"/>
                  </a:lnTo>
                  <a:lnTo>
                    <a:pt x="31" y="0"/>
                  </a:lnTo>
                  <a:lnTo>
                    <a:pt x="0" y="22"/>
                  </a:lnTo>
                  <a:lnTo>
                    <a:pt x="18" y="31"/>
                  </a:lnTo>
                  <a:lnTo>
                    <a:pt x="15" y="386"/>
                  </a:lnTo>
                  <a:lnTo>
                    <a:pt x="31" y="414"/>
                  </a:lnTo>
                  <a:lnTo>
                    <a:pt x="50" y="386"/>
                  </a:lnTo>
                  <a:lnTo>
                    <a:pt x="50" y="31"/>
                  </a:lnTo>
                  <a:lnTo>
                    <a:pt x="50" y="31"/>
                  </a:lnTo>
                  <a:lnTo>
                    <a:pt x="50" y="31"/>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63" name="Freeform 80"/>
            <p:cNvSpPr>
              <a:spLocks/>
            </p:cNvSpPr>
            <p:nvPr/>
          </p:nvSpPr>
          <p:spPr bwMode="auto">
            <a:xfrm>
              <a:off x="6116" y="2232"/>
              <a:ext cx="223" cy="582"/>
            </a:xfrm>
            <a:custGeom>
              <a:avLst/>
              <a:gdLst>
                <a:gd name="T0" fmla="*/ 0 w 152"/>
                <a:gd name="T1" fmla="*/ 18 h 397"/>
                <a:gd name="T2" fmla="*/ 62 w 152"/>
                <a:gd name="T3" fmla="*/ 0 h 397"/>
                <a:gd name="T4" fmla="*/ 152 w 152"/>
                <a:gd name="T5" fmla="*/ 397 h 397"/>
                <a:gd name="T6" fmla="*/ 91 w 152"/>
                <a:gd name="T7" fmla="*/ 397 h 397"/>
                <a:gd name="T8" fmla="*/ 0 w 152"/>
                <a:gd name="T9" fmla="*/ 18 h 397"/>
              </a:gdLst>
              <a:ahLst/>
              <a:cxnLst>
                <a:cxn ang="0">
                  <a:pos x="T0" y="T1"/>
                </a:cxn>
                <a:cxn ang="0">
                  <a:pos x="T2" y="T3"/>
                </a:cxn>
                <a:cxn ang="0">
                  <a:pos x="T4" y="T5"/>
                </a:cxn>
                <a:cxn ang="0">
                  <a:pos x="T6" y="T7"/>
                </a:cxn>
                <a:cxn ang="0">
                  <a:pos x="T8" y="T9"/>
                </a:cxn>
              </a:cxnLst>
              <a:rect l="0" t="0" r="r" b="b"/>
              <a:pathLst>
                <a:path w="152" h="397">
                  <a:moveTo>
                    <a:pt x="0" y="18"/>
                  </a:moveTo>
                  <a:cubicBezTo>
                    <a:pt x="21" y="12"/>
                    <a:pt x="41" y="6"/>
                    <a:pt x="62" y="0"/>
                  </a:cubicBezTo>
                  <a:cubicBezTo>
                    <a:pt x="120" y="129"/>
                    <a:pt x="140" y="256"/>
                    <a:pt x="152" y="397"/>
                  </a:cubicBezTo>
                  <a:cubicBezTo>
                    <a:pt x="91" y="397"/>
                    <a:pt x="91" y="397"/>
                    <a:pt x="91" y="397"/>
                  </a:cubicBezTo>
                  <a:cubicBezTo>
                    <a:pt x="76" y="262"/>
                    <a:pt x="56" y="138"/>
                    <a:pt x="0" y="1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64" name="Freeform 81"/>
            <p:cNvSpPr>
              <a:spLocks/>
            </p:cNvSpPr>
            <p:nvPr/>
          </p:nvSpPr>
          <p:spPr bwMode="auto">
            <a:xfrm>
              <a:off x="5895" y="2869"/>
              <a:ext cx="133" cy="613"/>
            </a:xfrm>
            <a:custGeom>
              <a:avLst/>
              <a:gdLst>
                <a:gd name="T0" fmla="*/ 111 w 133"/>
                <a:gd name="T1" fmla="*/ 613 h 613"/>
                <a:gd name="T2" fmla="*/ 18 w 133"/>
                <a:gd name="T3" fmla="*/ 613 h 613"/>
                <a:gd name="T4" fmla="*/ 0 w 133"/>
                <a:gd name="T5" fmla="*/ 0 h 613"/>
                <a:gd name="T6" fmla="*/ 133 w 133"/>
                <a:gd name="T7" fmla="*/ 0 h 613"/>
                <a:gd name="T8" fmla="*/ 111 w 133"/>
                <a:gd name="T9" fmla="*/ 613 h 613"/>
                <a:gd name="T10" fmla="*/ 111 w 133"/>
                <a:gd name="T11" fmla="*/ 613 h 613"/>
                <a:gd name="T12" fmla="*/ 111 w 133"/>
                <a:gd name="T13" fmla="*/ 613 h 613"/>
              </a:gdLst>
              <a:ahLst/>
              <a:cxnLst>
                <a:cxn ang="0">
                  <a:pos x="T0" y="T1"/>
                </a:cxn>
                <a:cxn ang="0">
                  <a:pos x="T2" y="T3"/>
                </a:cxn>
                <a:cxn ang="0">
                  <a:pos x="T4" y="T5"/>
                </a:cxn>
                <a:cxn ang="0">
                  <a:pos x="T6" y="T7"/>
                </a:cxn>
                <a:cxn ang="0">
                  <a:pos x="T8" y="T9"/>
                </a:cxn>
                <a:cxn ang="0">
                  <a:pos x="T10" y="T11"/>
                </a:cxn>
                <a:cxn ang="0">
                  <a:pos x="T12" y="T13"/>
                </a:cxn>
              </a:cxnLst>
              <a:rect l="0" t="0" r="r" b="b"/>
              <a:pathLst>
                <a:path w="133" h="613">
                  <a:moveTo>
                    <a:pt x="111" y="613"/>
                  </a:moveTo>
                  <a:lnTo>
                    <a:pt x="18" y="613"/>
                  </a:lnTo>
                  <a:lnTo>
                    <a:pt x="0" y="0"/>
                  </a:lnTo>
                  <a:lnTo>
                    <a:pt x="133" y="0"/>
                  </a:lnTo>
                  <a:lnTo>
                    <a:pt x="111" y="613"/>
                  </a:lnTo>
                  <a:lnTo>
                    <a:pt x="111" y="613"/>
                  </a:lnTo>
                  <a:lnTo>
                    <a:pt x="111" y="6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65" name="Freeform 82"/>
            <p:cNvSpPr>
              <a:spLocks/>
            </p:cNvSpPr>
            <p:nvPr/>
          </p:nvSpPr>
          <p:spPr bwMode="auto">
            <a:xfrm>
              <a:off x="6037" y="2869"/>
              <a:ext cx="133" cy="613"/>
            </a:xfrm>
            <a:custGeom>
              <a:avLst/>
              <a:gdLst>
                <a:gd name="T0" fmla="*/ 114 w 133"/>
                <a:gd name="T1" fmla="*/ 613 h 613"/>
                <a:gd name="T2" fmla="*/ 22 w 133"/>
                <a:gd name="T3" fmla="*/ 613 h 613"/>
                <a:gd name="T4" fmla="*/ 0 w 133"/>
                <a:gd name="T5" fmla="*/ 0 h 613"/>
                <a:gd name="T6" fmla="*/ 133 w 133"/>
                <a:gd name="T7" fmla="*/ 0 h 613"/>
                <a:gd name="T8" fmla="*/ 114 w 133"/>
                <a:gd name="T9" fmla="*/ 613 h 613"/>
                <a:gd name="T10" fmla="*/ 114 w 133"/>
                <a:gd name="T11" fmla="*/ 613 h 613"/>
                <a:gd name="T12" fmla="*/ 114 w 133"/>
                <a:gd name="T13" fmla="*/ 613 h 613"/>
              </a:gdLst>
              <a:ahLst/>
              <a:cxnLst>
                <a:cxn ang="0">
                  <a:pos x="T0" y="T1"/>
                </a:cxn>
                <a:cxn ang="0">
                  <a:pos x="T2" y="T3"/>
                </a:cxn>
                <a:cxn ang="0">
                  <a:pos x="T4" y="T5"/>
                </a:cxn>
                <a:cxn ang="0">
                  <a:pos x="T6" y="T7"/>
                </a:cxn>
                <a:cxn ang="0">
                  <a:pos x="T8" y="T9"/>
                </a:cxn>
                <a:cxn ang="0">
                  <a:pos x="T10" y="T11"/>
                </a:cxn>
                <a:cxn ang="0">
                  <a:pos x="T12" y="T13"/>
                </a:cxn>
              </a:cxnLst>
              <a:rect l="0" t="0" r="r" b="b"/>
              <a:pathLst>
                <a:path w="133" h="613">
                  <a:moveTo>
                    <a:pt x="114" y="613"/>
                  </a:moveTo>
                  <a:lnTo>
                    <a:pt x="22" y="613"/>
                  </a:lnTo>
                  <a:lnTo>
                    <a:pt x="0" y="0"/>
                  </a:lnTo>
                  <a:lnTo>
                    <a:pt x="133" y="0"/>
                  </a:lnTo>
                  <a:lnTo>
                    <a:pt x="114" y="613"/>
                  </a:lnTo>
                  <a:lnTo>
                    <a:pt x="114" y="613"/>
                  </a:lnTo>
                  <a:lnTo>
                    <a:pt x="114" y="6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66" name="Freeform 83"/>
            <p:cNvSpPr>
              <a:spLocks/>
            </p:cNvSpPr>
            <p:nvPr/>
          </p:nvSpPr>
          <p:spPr bwMode="auto">
            <a:xfrm>
              <a:off x="6255" y="2814"/>
              <a:ext cx="69" cy="75"/>
            </a:xfrm>
            <a:custGeom>
              <a:avLst/>
              <a:gdLst>
                <a:gd name="T0" fmla="*/ 0 w 47"/>
                <a:gd name="T1" fmla="*/ 0 h 51"/>
                <a:gd name="T2" fmla="*/ 0 w 47"/>
                <a:gd name="T3" fmla="*/ 27 h 51"/>
                <a:gd name="T4" fmla="*/ 24 w 47"/>
                <a:gd name="T5" fmla="*/ 51 h 51"/>
                <a:gd name="T6" fmla="*/ 47 w 47"/>
                <a:gd name="T7" fmla="*/ 27 h 51"/>
                <a:gd name="T8" fmla="*/ 47 w 47"/>
                <a:gd name="T9" fmla="*/ 0 h 51"/>
                <a:gd name="T10" fmla="*/ 0 w 47"/>
                <a:gd name="T11" fmla="*/ 0 h 51"/>
                <a:gd name="T12" fmla="*/ 0 w 47"/>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47" h="51">
                  <a:moveTo>
                    <a:pt x="0" y="0"/>
                  </a:moveTo>
                  <a:cubicBezTo>
                    <a:pt x="0" y="27"/>
                    <a:pt x="0" y="27"/>
                    <a:pt x="0" y="27"/>
                  </a:cubicBezTo>
                  <a:cubicBezTo>
                    <a:pt x="0" y="42"/>
                    <a:pt x="12" y="51"/>
                    <a:pt x="24" y="51"/>
                  </a:cubicBezTo>
                  <a:cubicBezTo>
                    <a:pt x="38" y="51"/>
                    <a:pt x="47" y="42"/>
                    <a:pt x="47" y="27"/>
                  </a:cubicBezTo>
                  <a:cubicBezTo>
                    <a:pt x="47" y="0"/>
                    <a:pt x="47" y="0"/>
                    <a:pt x="47" y="0"/>
                  </a:cubicBezTo>
                  <a:cubicBezTo>
                    <a:pt x="0" y="0"/>
                    <a:pt x="0" y="0"/>
                    <a:pt x="0" y="0"/>
                  </a:cubicBezTo>
                  <a:cubicBezTo>
                    <a:pt x="0" y="0"/>
                    <a:pt x="0" y="0"/>
                    <a:pt x="0"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67" name="Freeform 84"/>
            <p:cNvSpPr>
              <a:spLocks/>
            </p:cNvSpPr>
            <p:nvPr/>
          </p:nvSpPr>
          <p:spPr bwMode="auto">
            <a:xfrm>
              <a:off x="5866" y="2203"/>
              <a:ext cx="337" cy="666"/>
            </a:xfrm>
            <a:custGeom>
              <a:avLst/>
              <a:gdLst>
                <a:gd name="T0" fmla="*/ 219 w 337"/>
                <a:gd name="T1" fmla="*/ 0 h 666"/>
                <a:gd name="T2" fmla="*/ 167 w 337"/>
                <a:gd name="T3" fmla="*/ 415 h 666"/>
                <a:gd name="T4" fmla="*/ 114 w 337"/>
                <a:gd name="T5" fmla="*/ 0 h 666"/>
                <a:gd name="T6" fmla="*/ 0 w 337"/>
                <a:gd name="T7" fmla="*/ 30 h 666"/>
                <a:gd name="T8" fmla="*/ 3 w 337"/>
                <a:gd name="T9" fmla="*/ 666 h 666"/>
                <a:gd name="T10" fmla="*/ 331 w 337"/>
                <a:gd name="T11" fmla="*/ 666 h 666"/>
                <a:gd name="T12" fmla="*/ 337 w 337"/>
                <a:gd name="T13" fmla="*/ 30 h 666"/>
                <a:gd name="T14" fmla="*/ 219 w 337"/>
                <a:gd name="T15" fmla="*/ 0 h 666"/>
                <a:gd name="T16" fmla="*/ 219 w 337"/>
                <a:gd name="T17" fmla="*/ 0 h 666"/>
                <a:gd name="T18" fmla="*/ 219 w 337"/>
                <a:gd name="T19"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7" h="666">
                  <a:moveTo>
                    <a:pt x="219" y="0"/>
                  </a:moveTo>
                  <a:lnTo>
                    <a:pt x="167" y="415"/>
                  </a:lnTo>
                  <a:lnTo>
                    <a:pt x="114" y="0"/>
                  </a:lnTo>
                  <a:lnTo>
                    <a:pt x="0" y="30"/>
                  </a:lnTo>
                  <a:lnTo>
                    <a:pt x="3" y="666"/>
                  </a:lnTo>
                  <a:lnTo>
                    <a:pt x="331" y="666"/>
                  </a:lnTo>
                  <a:lnTo>
                    <a:pt x="337" y="30"/>
                  </a:lnTo>
                  <a:lnTo>
                    <a:pt x="219" y="0"/>
                  </a:lnTo>
                  <a:lnTo>
                    <a:pt x="219" y="0"/>
                  </a:lnTo>
                  <a:lnTo>
                    <a:pt x="21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68" name="Freeform 85"/>
            <p:cNvSpPr>
              <a:spLocks/>
            </p:cNvSpPr>
            <p:nvPr/>
          </p:nvSpPr>
          <p:spPr bwMode="auto">
            <a:xfrm>
              <a:off x="6116" y="1994"/>
              <a:ext cx="3" cy="3"/>
            </a:xfrm>
            <a:custGeom>
              <a:avLst/>
              <a:gdLst>
                <a:gd name="T0" fmla="*/ 0 w 3"/>
                <a:gd name="T1" fmla="*/ 0 h 3"/>
                <a:gd name="T2" fmla="*/ 3 w 3"/>
                <a:gd name="T3" fmla="*/ 0 h 3"/>
                <a:gd name="T4" fmla="*/ 3 w 3"/>
                <a:gd name="T5" fmla="*/ 3 h 3"/>
                <a:gd name="T6" fmla="*/ 0 w 3"/>
                <a:gd name="T7" fmla="*/ 3 h 3"/>
                <a:gd name="T8" fmla="*/ 0 w 3"/>
                <a:gd name="T9" fmla="*/ 0 h 3"/>
                <a:gd name="T10" fmla="*/ 0 w 3"/>
                <a:gd name="T11" fmla="*/ 0 h 3"/>
              </a:gdLst>
              <a:ahLst/>
              <a:cxnLst>
                <a:cxn ang="0">
                  <a:pos x="T0" y="T1"/>
                </a:cxn>
                <a:cxn ang="0">
                  <a:pos x="T2" y="T3"/>
                </a:cxn>
                <a:cxn ang="0">
                  <a:pos x="T4" y="T5"/>
                </a:cxn>
                <a:cxn ang="0">
                  <a:pos x="T6" y="T7"/>
                </a:cxn>
                <a:cxn ang="0">
                  <a:pos x="T8" y="T9"/>
                </a:cxn>
                <a:cxn ang="0">
                  <a:pos x="T10" y="T11"/>
                </a:cxn>
              </a:cxnLst>
              <a:rect l="0" t="0" r="r" b="b"/>
              <a:pathLst>
                <a:path w="3" h="3">
                  <a:moveTo>
                    <a:pt x="0" y="0"/>
                  </a:moveTo>
                  <a:lnTo>
                    <a:pt x="3" y="0"/>
                  </a:lnTo>
                  <a:lnTo>
                    <a:pt x="3" y="3"/>
                  </a:lnTo>
                  <a:lnTo>
                    <a:pt x="0" y="3"/>
                  </a:lnTo>
                  <a:lnTo>
                    <a:pt x="0" y="0"/>
                  </a:lnTo>
                  <a:lnTo>
                    <a:pt x="0" y="0"/>
                  </a:ln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69" name="Freeform 86"/>
            <p:cNvSpPr>
              <a:spLocks/>
            </p:cNvSpPr>
            <p:nvPr/>
          </p:nvSpPr>
          <p:spPr bwMode="auto">
            <a:xfrm>
              <a:off x="5930" y="1991"/>
              <a:ext cx="208" cy="187"/>
            </a:xfrm>
            <a:custGeom>
              <a:avLst/>
              <a:gdLst>
                <a:gd name="T0" fmla="*/ 136 w 142"/>
                <a:gd name="T1" fmla="*/ 30 h 127"/>
                <a:gd name="T2" fmla="*/ 130 w 142"/>
                <a:gd name="T3" fmla="*/ 30 h 127"/>
                <a:gd name="T4" fmla="*/ 130 w 142"/>
                <a:gd name="T5" fmla="*/ 21 h 127"/>
                <a:gd name="T6" fmla="*/ 130 w 142"/>
                <a:gd name="T7" fmla="*/ 18 h 127"/>
                <a:gd name="T8" fmla="*/ 130 w 142"/>
                <a:gd name="T9" fmla="*/ 18 h 127"/>
                <a:gd name="T10" fmla="*/ 130 w 142"/>
                <a:gd name="T11" fmla="*/ 15 h 127"/>
                <a:gd name="T12" fmla="*/ 130 w 142"/>
                <a:gd name="T13" fmla="*/ 15 h 127"/>
                <a:gd name="T14" fmla="*/ 130 w 142"/>
                <a:gd name="T15" fmla="*/ 12 h 127"/>
                <a:gd name="T16" fmla="*/ 130 w 142"/>
                <a:gd name="T17" fmla="*/ 12 h 127"/>
                <a:gd name="T18" fmla="*/ 130 w 142"/>
                <a:gd name="T19" fmla="*/ 12 h 127"/>
                <a:gd name="T20" fmla="*/ 127 w 142"/>
                <a:gd name="T21" fmla="*/ 9 h 127"/>
                <a:gd name="T22" fmla="*/ 127 w 142"/>
                <a:gd name="T23" fmla="*/ 9 h 127"/>
                <a:gd name="T24" fmla="*/ 127 w 142"/>
                <a:gd name="T25" fmla="*/ 6 h 127"/>
                <a:gd name="T26" fmla="*/ 127 w 142"/>
                <a:gd name="T27" fmla="*/ 6 h 127"/>
                <a:gd name="T28" fmla="*/ 127 w 142"/>
                <a:gd name="T29" fmla="*/ 3 h 127"/>
                <a:gd name="T30" fmla="*/ 127 w 142"/>
                <a:gd name="T31" fmla="*/ 3 h 127"/>
                <a:gd name="T32" fmla="*/ 115 w 142"/>
                <a:gd name="T33" fmla="*/ 6 h 127"/>
                <a:gd name="T34" fmla="*/ 94 w 142"/>
                <a:gd name="T35" fmla="*/ 0 h 127"/>
                <a:gd name="T36" fmla="*/ 56 w 142"/>
                <a:gd name="T37" fmla="*/ 6 h 127"/>
                <a:gd name="T38" fmla="*/ 18 w 142"/>
                <a:gd name="T39" fmla="*/ 0 h 127"/>
                <a:gd name="T40" fmla="*/ 15 w 142"/>
                <a:gd name="T41" fmla="*/ 6 h 127"/>
                <a:gd name="T42" fmla="*/ 15 w 142"/>
                <a:gd name="T43" fmla="*/ 6 h 127"/>
                <a:gd name="T44" fmla="*/ 12 w 142"/>
                <a:gd name="T45" fmla="*/ 9 h 127"/>
                <a:gd name="T46" fmla="*/ 12 w 142"/>
                <a:gd name="T47" fmla="*/ 9 h 127"/>
                <a:gd name="T48" fmla="*/ 12 w 142"/>
                <a:gd name="T49" fmla="*/ 12 h 127"/>
                <a:gd name="T50" fmla="*/ 12 w 142"/>
                <a:gd name="T51" fmla="*/ 12 h 127"/>
                <a:gd name="T52" fmla="*/ 12 w 142"/>
                <a:gd name="T53" fmla="*/ 15 h 127"/>
                <a:gd name="T54" fmla="*/ 9 w 142"/>
                <a:gd name="T55" fmla="*/ 15 h 127"/>
                <a:gd name="T56" fmla="*/ 9 w 142"/>
                <a:gd name="T57" fmla="*/ 18 h 127"/>
                <a:gd name="T58" fmla="*/ 9 w 142"/>
                <a:gd name="T59" fmla="*/ 18 h 127"/>
                <a:gd name="T60" fmla="*/ 9 w 142"/>
                <a:gd name="T61" fmla="*/ 21 h 127"/>
                <a:gd name="T62" fmla="*/ 9 w 142"/>
                <a:gd name="T63" fmla="*/ 30 h 127"/>
                <a:gd name="T64" fmla="*/ 9 w 142"/>
                <a:gd name="T65" fmla="*/ 30 h 127"/>
                <a:gd name="T66" fmla="*/ 0 w 142"/>
                <a:gd name="T67" fmla="*/ 42 h 127"/>
                <a:gd name="T68" fmla="*/ 0 w 142"/>
                <a:gd name="T69" fmla="*/ 62 h 127"/>
                <a:gd name="T70" fmla="*/ 9 w 142"/>
                <a:gd name="T71" fmla="*/ 74 h 127"/>
                <a:gd name="T72" fmla="*/ 44 w 142"/>
                <a:gd name="T73" fmla="*/ 127 h 127"/>
                <a:gd name="T74" fmla="*/ 97 w 142"/>
                <a:gd name="T75" fmla="*/ 127 h 127"/>
                <a:gd name="T76" fmla="*/ 130 w 142"/>
                <a:gd name="T77" fmla="*/ 74 h 127"/>
                <a:gd name="T78" fmla="*/ 142 w 142"/>
                <a:gd name="T79" fmla="*/ 62 h 127"/>
                <a:gd name="T80" fmla="*/ 142 w 142"/>
                <a:gd name="T81" fmla="*/ 42 h 127"/>
                <a:gd name="T82" fmla="*/ 136 w 142"/>
                <a:gd name="T83" fmla="*/ 3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2" h="127">
                  <a:moveTo>
                    <a:pt x="136" y="30"/>
                  </a:moveTo>
                  <a:cubicBezTo>
                    <a:pt x="133" y="30"/>
                    <a:pt x="133" y="30"/>
                    <a:pt x="130" y="30"/>
                  </a:cubicBezTo>
                  <a:cubicBezTo>
                    <a:pt x="130" y="21"/>
                    <a:pt x="130" y="21"/>
                    <a:pt x="130" y="21"/>
                  </a:cubicBezTo>
                  <a:cubicBezTo>
                    <a:pt x="130" y="21"/>
                    <a:pt x="130" y="21"/>
                    <a:pt x="130" y="18"/>
                  </a:cubicBezTo>
                  <a:cubicBezTo>
                    <a:pt x="130" y="18"/>
                    <a:pt x="130" y="18"/>
                    <a:pt x="130" y="18"/>
                  </a:cubicBezTo>
                  <a:cubicBezTo>
                    <a:pt x="130" y="18"/>
                    <a:pt x="130" y="18"/>
                    <a:pt x="130" y="15"/>
                  </a:cubicBezTo>
                  <a:cubicBezTo>
                    <a:pt x="130" y="15"/>
                    <a:pt x="130" y="15"/>
                    <a:pt x="130" y="15"/>
                  </a:cubicBezTo>
                  <a:cubicBezTo>
                    <a:pt x="130" y="15"/>
                    <a:pt x="130" y="15"/>
                    <a:pt x="130" y="12"/>
                  </a:cubicBezTo>
                  <a:cubicBezTo>
                    <a:pt x="130" y="12"/>
                    <a:pt x="130" y="12"/>
                    <a:pt x="130" y="12"/>
                  </a:cubicBezTo>
                  <a:cubicBezTo>
                    <a:pt x="130" y="12"/>
                    <a:pt x="130" y="12"/>
                    <a:pt x="130" y="12"/>
                  </a:cubicBezTo>
                  <a:cubicBezTo>
                    <a:pt x="130" y="9"/>
                    <a:pt x="130" y="9"/>
                    <a:pt x="127" y="9"/>
                  </a:cubicBezTo>
                  <a:cubicBezTo>
                    <a:pt x="127" y="9"/>
                    <a:pt x="127" y="9"/>
                    <a:pt x="127" y="9"/>
                  </a:cubicBezTo>
                  <a:cubicBezTo>
                    <a:pt x="127" y="6"/>
                    <a:pt x="127" y="6"/>
                    <a:pt x="127" y="6"/>
                  </a:cubicBezTo>
                  <a:cubicBezTo>
                    <a:pt x="127" y="6"/>
                    <a:pt x="127" y="6"/>
                    <a:pt x="127" y="6"/>
                  </a:cubicBezTo>
                  <a:cubicBezTo>
                    <a:pt x="127" y="6"/>
                    <a:pt x="127" y="6"/>
                    <a:pt x="127" y="3"/>
                  </a:cubicBezTo>
                  <a:cubicBezTo>
                    <a:pt x="127" y="3"/>
                    <a:pt x="127" y="3"/>
                    <a:pt x="127" y="3"/>
                  </a:cubicBezTo>
                  <a:cubicBezTo>
                    <a:pt x="121" y="6"/>
                    <a:pt x="118" y="6"/>
                    <a:pt x="115" y="6"/>
                  </a:cubicBezTo>
                  <a:cubicBezTo>
                    <a:pt x="106" y="6"/>
                    <a:pt x="97" y="3"/>
                    <a:pt x="94" y="0"/>
                  </a:cubicBezTo>
                  <a:cubicBezTo>
                    <a:pt x="86" y="3"/>
                    <a:pt x="71" y="6"/>
                    <a:pt x="56" y="6"/>
                  </a:cubicBezTo>
                  <a:cubicBezTo>
                    <a:pt x="42" y="6"/>
                    <a:pt x="27" y="3"/>
                    <a:pt x="18" y="0"/>
                  </a:cubicBezTo>
                  <a:cubicBezTo>
                    <a:pt x="18" y="3"/>
                    <a:pt x="15" y="3"/>
                    <a:pt x="15" y="6"/>
                  </a:cubicBezTo>
                  <a:cubicBezTo>
                    <a:pt x="15" y="6"/>
                    <a:pt x="15" y="6"/>
                    <a:pt x="15" y="6"/>
                  </a:cubicBezTo>
                  <a:cubicBezTo>
                    <a:pt x="12" y="9"/>
                    <a:pt x="12" y="9"/>
                    <a:pt x="12" y="9"/>
                  </a:cubicBezTo>
                  <a:cubicBezTo>
                    <a:pt x="12" y="9"/>
                    <a:pt x="12" y="9"/>
                    <a:pt x="12" y="9"/>
                  </a:cubicBezTo>
                  <a:cubicBezTo>
                    <a:pt x="12" y="12"/>
                    <a:pt x="12" y="12"/>
                    <a:pt x="12" y="12"/>
                  </a:cubicBezTo>
                  <a:cubicBezTo>
                    <a:pt x="12" y="12"/>
                    <a:pt x="12" y="12"/>
                    <a:pt x="12" y="12"/>
                  </a:cubicBezTo>
                  <a:cubicBezTo>
                    <a:pt x="12" y="15"/>
                    <a:pt x="12" y="15"/>
                    <a:pt x="12" y="15"/>
                  </a:cubicBezTo>
                  <a:cubicBezTo>
                    <a:pt x="9" y="15"/>
                    <a:pt x="9" y="15"/>
                    <a:pt x="9" y="15"/>
                  </a:cubicBezTo>
                  <a:cubicBezTo>
                    <a:pt x="9" y="18"/>
                    <a:pt x="9" y="18"/>
                    <a:pt x="9" y="18"/>
                  </a:cubicBezTo>
                  <a:cubicBezTo>
                    <a:pt x="9" y="18"/>
                    <a:pt x="9" y="18"/>
                    <a:pt x="9" y="18"/>
                  </a:cubicBezTo>
                  <a:cubicBezTo>
                    <a:pt x="9" y="21"/>
                    <a:pt x="9" y="21"/>
                    <a:pt x="9" y="21"/>
                  </a:cubicBezTo>
                  <a:cubicBezTo>
                    <a:pt x="9" y="30"/>
                    <a:pt x="9" y="30"/>
                    <a:pt x="9" y="30"/>
                  </a:cubicBezTo>
                  <a:cubicBezTo>
                    <a:pt x="9" y="30"/>
                    <a:pt x="9" y="30"/>
                    <a:pt x="9" y="30"/>
                  </a:cubicBezTo>
                  <a:cubicBezTo>
                    <a:pt x="3" y="30"/>
                    <a:pt x="0" y="36"/>
                    <a:pt x="0" y="42"/>
                  </a:cubicBezTo>
                  <a:cubicBezTo>
                    <a:pt x="0" y="62"/>
                    <a:pt x="0" y="62"/>
                    <a:pt x="0" y="62"/>
                  </a:cubicBezTo>
                  <a:cubicBezTo>
                    <a:pt x="0" y="68"/>
                    <a:pt x="3" y="74"/>
                    <a:pt x="9" y="74"/>
                  </a:cubicBezTo>
                  <a:cubicBezTo>
                    <a:pt x="9" y="74"/>
                    <a:pt x="27" y="127"/>
                    <a:pt x="44" y="127"/>
                  </a:cubicBezTo>
                  <a:cubicBezTo>
                    <a:pt x="97" y="127"/>
                    <a:pt x="97" y="127"/>
                    <a:pt x="97" y="127"/>
                  </a:cubicBezTo>
                  <a:cubicBezTo>
                    <a:pt x="112" y="127"/>
                    <a:pt x="130" y="74"/>
                    <a:pt x="130" y="74"/>
                  </a:cubicBezTo>
                  <a:cubicBezTo>
                    <a:pt x="136" y="74"/>
                    <a:pt x="142" y="68"/>
                    <a:pt x="142" y="62"/>
                  </a:cubicBezTo>
                  <a:cubicBezTo>
                    <a:pt x="142" y="42"/>
                    <a:pt x="142" y="42"/>
                    <a:pt x="142" y="42"/>
                  </a:cubicBezTo>
                  <a:cubicBezTo>
                    <a:pt x="142" y="36"/>
                    <a:pt x="139" y="33"/>
                    <a:pt x="136" y="3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70" name="Freeform 87"/>
            <p:cNvSpPr>
              <a:spLocks/>
            </p:cNvSpPr>
            <p:nvPr/>
          </p:nvSpPr>
          <p:spPr bwMode="auto">
            <a:xfrm>
              <a:off x="3390" y="3072"/>
              <a:ext cx="4294" cy="1256"/>
            </a:xfrm>
            <a:custGeom>
              <a:avLst/>
              <a:gdLst>
                <a:gd name="T0" fmla="*/ 0 w 2931"/>
                <a:gd name="T1" fmla="*/ 856 h 856"/>
                <a:gd name="T2" fmla="*/ 2931 w 2931"/>
                <a:gd name="T3" fmla="*/ 856 h 856"/>
                <a:gd name="T4" fmla="*/ 2931 w 2931"/>
                <a:gd name="T5" fmla="*/ 688 h 856"/>
                <a:gd name="T6" fmla="*/ 0 w 2931"/>
                <a:gd name="T7" fmla="*/ 856 h 856"/>
              </a:gdLst>
              <a:ahLst/>
              <a:cxnLst>
                <a:cxn ang="0">
                  <a:pos x="T0" y="T1"/>
                </a:cxn>
                <a:cxn ang="0">
                  <a:pos x="T2" y="T3"/>
                </a:cxn>
                <a:cxn ang="0">
                  <a:pos x="T4" y="T5"/>
                </a:cxn>
                <a:cxn ang="0">
                  <a:pos x="T6" y="T7"/>
                </a:cxn>
              </a:cxnLst>
              <a:rect l="0" t="0" r="r" b="b"/>
              <a:pathLst>
                <a:path w="2931" h="856">
                  <a:moveTo>
                    <a:pt x="0" y="856"/>
                  </a:moveTo>
                  <a:cubicBezTo>
                    <a:pt x="2931" y="856"/>
                    <a:pt x="2931" y="856"/>
                    <a:pt x="2931" y="856"/>
                  </a:cubicBezTo>
                  <a:cubicBezTo>
                    <a:pt x="2931" y="688"/>
                    <a:pt x="2931" y="688"/>
                    <a:pt x="2931" y="688"/>
                  </a:cubicBezTo>
                  <a:cubicBezTo>
                    <a:pt x="2066" y="0"/>
                    <a:pt x="801" y="53"/>
                    <a:pt x="0" y="856"/>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71" name="Freeform 88"/>
            <p:cNvSpPr>
              <a:spLocks/>
            </p:cNvSpPr>
            <p:nvPr/>
          </p:nvSpPr>
          <p:spPr bwMode="auto">
            <a:xfrm>
              <a:off x="6989" y="2910"/>
              <a:ext cx="607" cy="418"/>
            </a:xfrm>
            <a:custGeom>
              <a:avLst/>
              <a:gdLst>
                <a:gd name="T0" fmla="*/ 405 w 414"/>
                <a:gd name="T1" fmla="*/ 285 h 285"/>
                <a:gd name="T2" fmla="*/ 414 w 414"/>
                <a:gd name="T3" fmla="*/ 276 h 285"/>
                <a:gd name="T4" fmla="*/ 414 w 414"/>
                <a:gd name="T5" fmla="*/ 6 h 285"/>
                <a:gd name="T6" fmla="*/ 405 w 414"/>
                <a:gd name="T7" fmla="*/ 0 h 285"/>
                <a:gd name="T8" fmla="*/ 6 w 414"/>
                <a:gd name="T9" fmla="*/ 0 h 285"/>
                <a:gd name="T10" fmla="*/ 0 w 414"/>
                <a:gd name="T11" fmla="*/ 6 h 285"/>
                <a:gd name="T12" fmla="*/ 0 w 414"/>
                <a:gd name="T13" fmla="*/ 276 h 285"/>
                <a:gd name="T14" fmla="*/ 6 w 414"/>
                <a:gd name="T15" fmla="*/ 285 h 285"/>
                <a:gd name="T16" fmla="*/ 405 w 414"/>
                <a:gd name="T17" fmla="*/ 285 h 285"/>
                <a:gd name="T18" fmla="*/ 405 w 414"/>
                <a:gd name="T19" fmla="*/ 285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4" h="285">
                  <a:moveTo>
                    <a:pt x="405" y="285"/>
                  </a:moveTo>
                  <a:cubicBezTo>
                    <a:pt x="411" y="285"/>
                    <a:pt x="414" y="282"/>
                    <a:pt x="414" y="276"/>
                  </a:cubicBezTo>
                  <a:cubicBezTo>
                    <a:pt x="414" y="6"/>
                    <a:pt x="414" y="6"/>
                    <a:pt x="414" y="6"/>
                  </a:cubicBezTo>
                  <a:cubicBezTo>
                    <a:pt x="414" y="3"/>
                    <a:pt x="411" y="0"/>
                    <a:pt x="405" y="0"/>
                  </a:cubicBezTo>
                  <a:cubicBezTo>
                    <a:pt x="6" y="0"/>
                    <a:pt x="6" y="0"/>
                    <a:pt x="6" y="0"/>
                  </a:cubicBezTo>
                  <a:cubicBezTo>
                    <a:pt x="3" y="0"/>
                    <a:pt x="0" y="3"/>
                    <a:pt x="0" y="6"/>
                  </a:cubicBezTo>
                  <a:cubicBezTo>
                    <a:pt x="0" y="276"/>
                    <a:pt x="0" y="276"/>
                    <a:pt x="0" y="276"/>
                  </a:cubicBezTo>
                  <a:cubicBezTo>
                    <a:pt x="0" y="282"/>
                    <a:pt x="3" y="285"/>
                    <a:pt x="6" y="285"/>
                  </a:cubicBezTo>
                  <a:cubicBezTo>
                    <a:pt x="405" y="285"/>
                    <a:pt x="405" y="285"/>
                    <a:pt x="405" y="285"/>
                  </a:cubicBezTo>
                  <a:cubicBezTo>
                    <a:pt x="405" y="285"/>
                    <a:pt x="405" y="285"/>
                    <a:pt x="405" y="285"/>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72" name="Freeform 89"/>
            <p:cNvSpPr>
              <a:spLocks/>
            </p:cNvSpPr>
            <p:nvPr/>
          </p:nvSpPr>
          <p:spPr bwMode="auto">
            <a:xfrm>
              <a:off x="7013" y="2930"/>
              <a:ext cx="559" cy="305"/>
            </a:xfrm>
            <a:custGeom>
              <a:avLst/>
              <a:gdLst>
                <a:gd name="T0" fmla="*/ 0 w 559"/>
                <a:gd name="T1" fmla="*/ 0 h 305"/>
                <a:gd name="T2" fmla="*/ 559 w 559"/>
                <a:gd name="T3" fmla="*/ 0 h 305"/>
                <a:gd name="T4" fmla="*/ 559 w 559"/>
                <a:gd name="T5" fmla="*/ 305 h 305"/>
                <a:gd name="T6" fmla="*/ 0 w 559"/>
                <a:gd name="T7" fmla="*/ 305 h 305"/>
                <a:gd name="T8" fmla="*/ 0 w 559"/>
                <a:gd name="T9" fmla="*/ 0 h 305"/>
                <a:gd name="T10" fmla="*/ 0 w 559"/>
                <a:gd name="T11" fmla="*/ 0 h 305"/>
              </a:gdLst>
              <a:ahLst/>
              <a:cxnLst>
                <a:cxn ang="0">
                  <a:pos x="T0" y="T1"/>
                </a:cxn>
                <a:cxn ang="0">
                  <a:pos x="T2" y="T3"/>
                </a:cxn>
                <a:cxn ang="0">
                  <a:pos x="T4" y="T5"/>
                </a:cxn>
                <a:cxn ang="0">
                  <a:pos x="T6" y="T7"/>
                </a:cxn>
                <a:cxn ang="0">
                  <a:pos x="T8" y="T9"/>
                </a:cxn>
                <a:cxn ang="0">
                  <a:pos x="T10" y="T11"/>
                </a:cxn>
              </a:cxnLst>
              <a:rect l="0" t="0" r="r" b="b"/>
              <a:pathLst>
                <a:path w="559" h="305">
                  <a:moveTo>
                    <a:pt x="0" y="0"/>
                  </a:moveTo>
                  <a:lnTo>
                    <a:pt x="559" y="0"/>
                  </a:lnTo>
                  <a:lnTo>
                    <a:pt x="559" y="305"/>
                  </a:lnTo>
                  <a:lnTo>
                    <a:pt x="0" y="305"/>
                  </a:lnTo>
                  <a:lnTo>
                    <a:pt x="0" y="0"/>
                  </a:lnTo>
                  <a:lnTo>
                    <a:pt x="0"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73" name="Freeform 90"/>
            <p:cNvSpPr>
              <a:spLocks/>
            </p:cNvSpPr>
            <p:nvPr/>
          </p:nvSpPr>
          <p:spPr bwMode="auto">
            <a:xfrm>
              <a:off x="6841" y="2839"/>
              <a:ext cx="607" cy="423"/>
            </a:xfrm>
            <a:custGeom>
              <a:avLst/>
              <a:gdLst>
                <a:gd name="T0" fmla="*/ 408 w 414"/>
                <a:gd name="T1" fmla="*/ 288 h 288"/>
                <a:gd name="T2" fmla="*/ 414 w 414"/>
                <a:gd name="T3" fmla="*/ 279 h 288"/>
                <a:gd name="T4" fmla="*/ 414 w 414"/>
                <a:gd name="T5" fmla="*/ 8 h 288"/>
                <a:gd name="T6" fmla="*/ 408 w 414"/>
                <a:gd name="T7" fmla="*/ 0 h 288"/>
                <a:gd name="T8" fmla="*/ 9 w 414"/>
                <a:gd name="T9" fmla="*/ 0 h 288"/>
                <a:gd name="T10" fmla="*/ 0 w 414"/>
                <a:gd name="T11" fmla="*/ 8 h 288"/>
                <a:gd name="T12" fmla="*/ 0 w 414"/>
                <a:gd name="T13" fmla="*/ 279 h 288"/>
                <a:gd name="T14" fmla="*/ 9 w 414"/>
                <a:gd name="T15" fmla="*/ 288 h 288"/>
                <a:gd name="T16" fmla="*/ 408 w 414"/>
                <a:gd name="T17" fmla="*/ 288 h 288"/>
                <a:gd name="T18" fmla="*/ 408 w 414"/>
                <a:gd name="T19" fmla="*/ 28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4" h="288">
                  <a:moveTo>
                    <a:pt x="408" y="288"/>
                  </a:moveTo>
                  <a:cubicBezTo>
                    <a:pt x="411" y="288"/>
                    <a:pt x="414" y="282"/>
                    <a:pt x="414" y="279"/>
                  </a:cubicBezTo>
                  <a:cubicBezTo>
                    <a:pt x="414" y="8"/>
                    <a:pt x="414" y="8"/>
                    <a:pt x="414" y="8"/>
                  </a:cubicBezTo>
                  <a:cubicBezTo>
                    <a:pt x="414" y="3"/>
                    <a:pt x="411" y="0"/>
                    <a:pt x="408" y="0"/>
                  </a:cubicBezTo>
                  <a:cubicBezTo>
                    <a:pt x="9" y="0"/>
                    <a:pt x="9" y="0"/>
                    <a:pt x="9" y="0"/>
                  </a:cubicBezTo>
                  <a:cubicBezTo>
                    <a:pt x="3" y="0"/>
                    <a:pt x="0" y="3"/>
                    <a:pt x="0" y="8"/>
                  </a:cubicBezTo>
                  <a:cubicBezTo>
                    <a:pt x="0" y="279"/>
                    <a:pt x="0" y="279"/>
                    <a:pt x="0" y="279"/>
                  </a:cubicBezTo>
                  <a:cubicBezTo>
                    <a:pt x="0" y="282"/>
                    <a:pt x="3" y="288"/>
                    <a:pt x="9" y="288"/>
                  </a:cubicBezTo>
                  <a:cubicBezTo>
                    <a:pt x="408" y="288"/>
                    <a:pt x="408" y="288"/>
                    <a:pt x="408" y="288"/>
                  </a:cubicBezTo>
                  <a:cubicBezTo>
                    <a:pt x="408" y="288"/>
                    <a:pt x="408" y="288"/>
                    <a:pt x="408" y="288"/>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74" name="Freeform 91"/>
            <p:cNvSpPr>
              <a:spLocks/>
            </p:cNvSpPr>
            <p:nvPr/>
          </p:nvSpPr>
          <p:spPr bwMode="auto">
            <a:xfrm>
              <a:off x="6871" y="2866"/>
              <a:ext cx="553" cy="305"/>
            </a:xfrm>
            <a:custGeom>
              <a:avLst/>
              <a:gdLst>
                <a:gd name="T0" fmla="*/ 0 w 553"/>
                <a:gd name="T1" fmla="*/ 0 h 305"/>
                <a:gd name="T2" fmla="*/ 553 w 553"/>
                <a:gd name="T3" fmla="*/ 0 h 305"/>
                <a:gd name="T4" fmla="*/ 553 w 553"/>
                <a:gd name="T5" fmla="*/ 305 h 305"/>
                <a:gd name="T6" fmla="*/ 0 w 553"/>
                <a:gd name="T7" fmla="*/ 305 h 305"/>
                <a:gd name="T8" fmla="*/ 0 w 553"/>
                <a:gd name="T9" fmla="*/ 0 h 305"/>
                <a:gd name="T10" fmla="*/ 0 w 553"/>
                <a:gd name="T11" fmla="*/ 0 h 305"/>
              </a:gdLst>
              <a:ahLst/>
              <a:cxnLst>
                <a:cxn ang="0">
                  <a:pos x="T0" y="T1"/>
                </a:cxn>
                <a:cxn ang="0">
                  <a:pos x="T2" y="T3"/>
                </a:cxn>
                <a:cxn ang="0">
                  <a:pos x="T4" y="T5"/>
                </a:cxn>
                <a:cxn ang="0">
                  <a:pos x="T6" y="T7"/>
                </a:cxn>
                <a:cxn ang="0">
                  <a:pos x="T8" y="T9"/>
                </a:cxn>
                <a:cxn ang="0">
                  <a:pos x="T10" y="T11"/>
                </a:cxn>
              </a:cxnLst>
              <a:rect l="0" t="0" r="r" b="b"/>
              <a:pathLst>
                <a:path w="553" h="305">
                  <a:moveTo>
                    <a:pt x="0" y="0"/>
                  </a:moveTo>
                  <a:lnTo>
                    <a:pt x="553" y="0"/>
                  </a:lnTo>
                  <a:lnTo>
                    <a:pt x="553" y="305"/>
                  </a:lnTo>
                  <a:lnTo>
                    <a:pt x="0" y="305"/>
                  </a:lnTo>
                  <a:lnTo>
                    <a:pt x="0" y="0"/>
                  </a:lnTo>
                  <a:lnTo>
                    <a:pt x="0"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75" name="Freeform 92"/>
            <p:cNvSpPr>
              <a:spLocks/>
            </p:cNvSpPr>
            <p:nvPr/>
          </p:nvSpPr>
          <p:spPr bwMode="auto">
            <a:xfrm>
              <a:off x="6424" y="2599"/>
              <a:ext cx="80" cy="116"/>
            </a:xfrm>
            <a:custGeom>
              <a:avLst/>
              <a:gdLst>
                <a:gd name="T0" fmla="*/ 52 w 55"/>
                <a:gd name="T1" fmla="*/ 0 h 79"/>
                <a:gd name="T2" fmla="*/ 3 w 55"/>
                <a:gd name="T3" fmla="*/ 0 h 79"/>
                <a:gd name="T4" fmla="*/ 0 w 55"/>
                <a:gd name="T5" fmla="*/ 3 h 79"/>
                <a:gd name="T6" fmla="*/ 0 w 55"/>
                <a:gd name="T7" fmla="*/ 24 h 79"/>
                <a:gd name="T8" fmla="*/ 0 w 55"/>
                <a:gd name="T9" fmla="*/ 24 h 79"/>
                <a:gd name="T10" fmla="*/ 0 w 55"/>
                <a:gd name="T11" fmla="*/ 36 h 79"/>
                <a:gd name="T12" fmla="*/ 0 w 55"/>
                <a:gd name="T13" fmla="*/ 76 h 79"/>
                <a:gd name="T14" fmla="*/ 3 w 55"/>
                <a:gd name="T15" fmla="*/ 79 h 79"/>
                <a:gd name="T16" fmla="*/ 52 w 55"/>
                <a:gd name="T17" fmla="*/ 79 h 79"/>
                <a:gd name="T18" fmla="*/ 55 w 55"/>
                <a:gd name="T19" fmla="*/ 76 h 79"/>
                <a:gd name="T20" fmla="*/ 55 w 55"/>
                <a:gd name="T21" fmla="*/ 3 h 79"/>
                <a:gd name="T22" fmla="*/ 52 w 55"/>
                <a:gd name="T23"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79">
                  <a:moveTo>
                    <a:pt x="52" y="0"/>
                  </a:moveTo>
                  <a:cubicBezTo>
                    <a:pt x="3" y="0"/>
                    <a:pt x="3" y="0"/>
                    <a:pt x="3" y="0"/>
                  </a:cubicBezTo>
                  <a:cubicBezTo>
                    <a:pt x="0" y="0"/>
                    <a:pt x="0" y="3"/>
                    <a:pt x="0" y="3"/>
                  </a:cubicBezTo>
                  <a:cubicBezTo>
                    <a:pt x="0" y="24"/>
                    <a:pt x="0" y="24"/>
                    <a:pt x="0" y="24"/>
                  </a:cubicBezTo>
                  <a:cubicBezTo>
                    <a:pt x="0" y="24"/>
                    <a:pt x="0" y="24"/>
                    <a:pt x="0" y="24"/>
                  </a:cubicBezTo>
                  <a:cubicBezTo>
                    <a:pt x="0" y="36"/>
                    <a:pt x="0" y="36"/>
                    <a:pt x="0" y="36"/>
                  </a:cubicBezTo>
                  <a:cubicBezTo>
                    <a:pt x="0" y="76"/>
                    <a:pt x="0" y="76"/>
                    <a:pt x="0" y="76"/>
                  </a:cubicBezTo>
                  <a:cubicBezTo>
                    <a:pt x="0" y="76"/>
                    <a:pt x="0" y="79"/>
                    <a:pt x="3" y="79"/>
                  </a:cubicBezTo>
                  <a:cubicBezTo>
                    <a:pt x="52" y="79"/>
                    <a:pt x="52" y="79"/>
                    <a:pt x="52" y="79"/>
                  </a:cubicBezTo>
                  <a:cubicBezTo>
                    <a:pt x="55" y="76"/>
                    <a:pt x="55" y="76"/>
                    <a:pt x="55" y="76"/>
                  </a:cubicBezTo>
                  <a:cubicBezTo>
                    <a:pt x="55" y="3"/>
                    <a:pt x="55" y="3"/>
                    <a:pt x="55" y="3"/>
                  </a:cubicBezTo>
                  <a:cubicBezTo>
                    <a:pt x="52" y="0"/>
                    <a:pt x="52" y="0"/>
                    <a:pt x="52" y="0"/>
                  </a:cubicBezTo>
                  <a:close/>
                </a:path>
              </a:pathLst>
            </a:custGeom>
            <a:solidFill>
              <a:schemeClr val="bg2">
                <a:lumMod val="90000"/>
                <a:lumOff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76" name="Freeform 93"/>
            <p:cNvSpPr>
              <a:spLocks/>
            </p:cNvSpPr>
            <p:nvPr/>
          </p:nvSpPr>
          <p:spPr bwMode="auto">
            <a:xfrm>
              <a:off x="6525" y="2599"/>
              <a:ext cx="78" cy="116"/>
            </a:xfrm>
            <a:custGeom>
              <a:avLst/>
              <a:gdLst>
                <a:gd name="T0" fmla="*/ 50 w 53"/>
                <a:gd name="T1" fmla="*/ 0 h 79"/>
                <a:gd name="T2" fmla="*/ 3 w 53"/>
                <a:gd name="T3" fmla="*/ 0 h 79"/>
                <a:gd name="T4" fmla="*/ 0 w 53"/>
                <a:gd name="T5" fmla="*/ 3 h 79"/>
                <a:gd name="T6" fmla="*/ 0 w 53"/>
                <a:gd name="T7" fmla="*/ 24 h 79"/>
                <a:gd name="T8" fmla="*/ 0 w 53"/>
                <a:gd name="T9" fmla="*/ 24 h 79"/>
                <a:gd name="T10" fmla="*/ 0 w 53"/>
                <a:gd name="T11" fmla="*/ 36 h 79"/>
                <a:gd name="T12" fmla="*/ 0 w 53"/>
                <a:gd name="T13" fmla="*/ 76 h 79"/>
                <a:gd name="T14" fmla="*/ 3 w 53"/>
                <a:gd name="T15" fmla="*/ 79 h 79"/>
                <a:gd name="T16" fmla="*/ 50 w 53"/>
                <a:gd name="T17" fmla="*/ 79 h 79"/>
                <a:gd name="T18" fmla="*/ 53 w 53"/>
                <a:gd name="T19" fmla="*/ 76 h 79"/>
                <a:gd name="T20" fmla="*/ 53 w 53"/>
                <a:gd name="T21" fmla="*/ 3 h 79"/>
                <a:gd name="T22" fmla="*/ 50 w 53"/>
                <a:gd name="T23"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 h="79">
                  <a:moveTo>
                    <a:pt x="50" y="0"/>
                  </a:moveTo>
                  <a:cubicBezTo>
                    <a:pt x="3" y="0"/>
                    <a:pt x="3" y="0"/>
                    <a:pt x="3" y="0"/>
                  </a:cubicBezTo>
                  <a:cubicBezTo>
                    <a:pt x="0" y="3"/>
                    <a:pt x="0" y="3"/>
                    <a:pt x="0" y="3"/>
                  </a:cubicBezTo>
                  <a:cubicBezTo>
                    <a:pt x="0" y="24"/>
                    <a:pt x="0" y="24"/>
                    <a:pt x="0" y="24"/>
                  </a:cubicBezTo>
                  <a:cubicBezTo>
                    <a:pt x="0" y="24"/>
                    <a:pt x="0" y="24"/>
                    <a:pt x="0" y="24"/>
                  </a:cubicBezTo>
                  <a:cubicBezTo>
                    <a:pt x="0" y="36"/>
                    <a:pt x="0" y="36"/>
                    <a:pt x="0" y="36"/>
                  </a:cubicBezTo>
                  <a:cubicBezTo>
                    <a:pt x="0" y="76"/>
                    <a:pt x="0" y="76"/>
                    <a:pt x="0" y="76"/>
                  </a:cubicBezTo>
                  <a:cubicBezTo>
                    <a:pt x="3" y="79"/>
                    <a:pt x="3" y="79"/>
                    <a:pt x="3" y="79"/>
                  </a:cubicBezTo>
                  <a:cubicBezTo>
                    <a:pt x="50" y="79"/>
                    <a:pt x="50" y="79"/>
                    <a:pt x="50" y="79"/>
                  </a:cubicBezTo>
                  <a:cubicBezTo>
                    <a:pt x="53" y="79"/>
                    <a:pt x="53" y="76"/>
                    <a:pt x="53" y="76"/>
                  </a:cubicBezTo>
                  <a:cubicBezTo>
                    <a:pt x="53" y="3"/>
                    <a:pt x="53" y="3"/>
                    <a:pt x="53" y="3"/>
                  </a:cubicBezTo>
                  <a:cubicBezTo>
                    <a:pt x="53" y="3"/>
                    <a:pt x="53" y="0"/>
                    <a:pt x="50" y="0"/>
                  </a:cubicBezTo>
                  <a:close/>
                </a:path>
              </a:pathLst>
            </a:custGeom>
            <a:solidFill>
              <a:schemeClr val="bg2">
                <a:lumMod val="90000"/>
                <a:lumOff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77" name="Freeform 94"/>
            <p:cNvSpPr>
              <a:spLocks/>
            </p:cNvSpPr>
            <p:nvPr/>
          </p:nvSpPr>
          <p:spPr bwMode="auto">
            <a:xfrm>
              <a:off x="7282" y="3114"/>
              <a:ext cx="198" cy="290"/>
            </a:xfrm>
            <a:custGeom>
              <a:avLst/>
              <a:gdLst>
                <a:gd name="T0" fmla="*/ 126 w 135"/>
                <a:gd name="T1" fmla="*/ 0 h 198"/>
                <a:gd name="T2" fmla="*/ 9 w 135"/>
                <a:gd name="T3" fmla="*/ 0 h 198"/>
                <a:gd name="T4" fmla="*/ 0 w 135"/>
                <a:gd name="T5" fmla="*/ 9 h 198"/>
                <a:gd name="T6" fmla="*/ 0 w 135"/>
                <a:gd name="T7" fmla="*/ 62 h 198"/>
                <a:gd name="T8" fmla="*/ 0 w 135"/>
                <a:gd name="T9" fmla="*/ 62 h 198"/>
                <a:gd name="T10" fmla="*/ 0 w 135"/>
                <a:gd name="T11" fmla="*/ 92 h 198"/>
                <a:gd name="T12" fmla="*/ 0 w 135"/>
                <a:gd name="T13" fmla="*/ 189 h 198"/>
                <a:gd name="T14" fmla="*/ 9 w 135"/>
                <a:gd name="T15" fmla="*/ 198 h 198"/>
                <a:gd name="T16" fmla="*/ 126 w 135"/>
                <a:gd name="T17" fmla="*/ 198 h 198"/>
                <a:gd name="T18" fmla="*/ 135 w 135"/>
                <a:gd name="T19" fmla="*/ 189 h 198"/>
                <a:gd name="T20" fmla="*/ 135 w 135"/>
                <a:gd name="T21" fmla="*/ 9 h 198"/>
                <a:gd name="T22" fmla="*/ 126 w 135"/>
                <a:gd name="T23"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5" h="198">
                  <a:moveTo>
                    <a:pt x="126" y="0"/>
                  </a:moveTo>
                  <a:cubicBezTo>
                    <a:pt x="9" y="0"/>
                    <a:pt x="9" y="0"/>
                    <a:pt x="9" y="0"/>
                  </a:cubicBezTo>
                  <a:cubicBezTo>
                    <a:pt x="3" y="0"/>
                    <a:pt x="0" y="6"/>
                    <a:pt x="0" y="9"/>
                  </a:cubicBezTo>
                  <a:cubicBezTo>
                    <a:pt x="0" y="62"/>
                    <a:pt x="0" y="62"/>
                    <a:pt x="0" y="62"/>
                  </a:cubicBezTo>
                  <a:cubicBezTo>
                    <a:pt x="0" y="62"/>
                    <a:pt x="0" y="62"/>
                    <a:pt x="0" y="62"/>
                  </a:cubicBezTo>
                  <a:cubicBezTo>
                    <a:pt x="0" y="92"/>
                    <a:pt x="0" y="92"/>
                    <a:pt x="0" y="92"/>
                  </a:cubicBezTo>
                  <a:cubicBezTo>
                    <a:pt x="0" y="189"/>
                    <a:pt x="0" y="189"/>
                    <a:pt x="0" y="189"/>
                  </a:cubicBezTo>
                  <a:cubicBezTo>
                    <a:pt x="0" y="195"/>
                    <a:pt x="3" y="198"/>
                    <a:pt x="9" y="198"/>
                  </a:cubicBezTo>
                  <a:cubicBezTo>
                    <a:pt x="126" y="198"/>
                    <a:pt x="126" y="198"/>
                    <a:pt x="126" y="198"/>
                  </a:cubicBezTo>
                  <a:cubicBezTo>
                    <a:pt x="129" y="198"/>
                    <a:pt x="135" y="195"/>
                    <a:pt x="135" y="189"/>
                  </a:cubicBezTo>
                  <a:cubicBezTo>
                    <a:pt x="135" y="9"/>
                    <a:pt x="135" y="9"/>
                    <a:pt x="135" y="9"/>
                  </a:cubicBezTo>
                  <a:cubicBezTo>
                    <a:pt x="135" y="6"/>
                    <a:pt x="129" y="0"/>
                    <a:pt x="126"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78" name="Freeform 95"/>
            <p:cNvSpPr>
              <a:spLocks/>
            </p:cNvSpPr>
            <p:nvPr/>
          </p:nvSpPr>
          <p:spPr bwMode="auto">
            <a:xfrm>
              <a:off x="7404" y="3197"/>
              <a:ext cx="146" cy="207"/>
            </a:xfrm>
            <a:custGeom>
              <a:avLst/>
              <a:gdLst>
                <a:gd name="T0" fmla="*/ 95 w 100"/>
                <a:gd name="T1" fmla="*/ 0 h 141"/>
                <a:gd name="T2" fmla="*/ 8 w 100"/>
                <a:gd name="T3" fmla="*/ 0 h 141"/>
                <a:gd name="T4" fmla="*/ 0 w 100"/>
                <a:gd name="T5" fmla="*/ 6 h 141"/>
                <a:gd name="T6" fmla="*/ 0 w 100"/>
                <a:gd name="T7" fmla="*/ 41 h 141"/>
                <a:gd name="T8" fmla="*/ 0 w 100"/>
                <a:gd name="T9" fmla="*/ 44 h 141"/>
                <a:gd name="T10" fmla="*/ 0 w 100"/>
                <a:gd name="T11" fmla="*/ 65 h 141"/>
                <a:gd name="T12" fmla="*/ 0 w 100"/>
                <a:gd name="T13" fmla="*/ 135 h 141"/>
                <a:gd name="T14" fmla="*/ 8 w 100"/>
                <a:gd name="T15" fmla="*/ 141 h 141"/>
                <a:gd name="T16" fmla="*/ 95 w 100"/>
                <a:gd name="T17" fmla="*/ 141 h 141"/>
                <a:gd name="T18" fmla="*/ 100 w 100"/>
                <a:gd name="T19" fmla="*/ 135 h 141"/>
                <a:gd name="T20" fmla="*/ 100 w 100"/>
                <a:gd name="T21" fmla="*/ 6 h 141"/>
                <a:gd name="T22" fmla="*/ 95 w 100"/>
                <a:gd name="T23"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41">
                  <a:moveTo>
                    <a:pt x="95" y="0"/>
                  </a:moveTo>
                  <a:cubicBezTo>
                    <a:pt x="8" y="0"/>
                    <a:pt x="8" y="0"/>
                    <a:pt x="8" y="0"/>
                  </a:cubicBezTo>
                  <a:cubicBezTo>
                    <a:pt x="2" y="0"/>
                    <a:pt x="0" y="3"/>
                    <a:pt x="0" y="6"/>
                  </a:cubicBezTo>
                  <a:cubicBezTo>
                    <a:pt x="0" y="41"/>
                    <a:pt x="0" y="41"/>
                    <a:pt x="0" y="41"/>
                  </a:cubicBezTo>
                  <a:cubicBezTo>
                    <a:pt x="0" y="44"/>
                    <a:pt x="0" y="44"/>
                    <a:pt x="0" y="44"/>
                  </a:cubicBezTo>
                  <a:cubicBezTo>
                    <a:pt x="0" y="65"/>
                    <a:pt x="0" y="65"/>
                    <a:pt x="0" y="65"/>
                  </a:cubicBezTo>
                  <a:cubicBezTo>
                    <a:pt x="0" y="135"/>
                    <a:pt x="0" y="135"/>
                    <a:pt x="0" y="135"/>
                  </a:cubicBezTo>
                  <a:cubicBezTo>
                    <a:pt x="0" y="138"/>
                    <a:pt x="2" y="141"/>
                    <a:pt x="8" y="141"/>
                  </a:cubicBezTo>
                  <a:cubicBezTo>
                    <a:pt x="95" y="141"/>
                    <a:pt x="95" y="141"/>
                    <a:pt x="95" y="141"/>
                  </a:cubicBezTo>
                  <a:cubicBezTo>
                    <a:pt x="97" y="141"/>
                    <a:pt x="100" y="138"/>
                    <a:pt x="100" y="135"/>
                  </a:cubicBezTo>
                  <a:cubicBezTo>
                    <a:pt x="100" y="6"/>
                    <a:pt x="100" y="6"/>
                    <a:pt x="100" y="6"/>
                  </a:cubicBezTo>
                  <a:cubicBezTo>
                    <a:pt x="100" y="3"/>
                    <a:pt x="97" y="0"/>
                    <a:pt x="95"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79" name="Freeform 96"/>
            <p:cNvSpPr>
              <a:spLocks/>
            </p:cNvSpPr>
            <p:nvPr/>
          </p:nvSpPr>
          <p:spPr bwMode="auto">
            <a:xfrm>
              <a:off x="7509" y="3241"/>
              <a:ext cx="113" cy="163"/>
            </a:xfrm>
            <a:custGeom>
              <a:avLst/>
              <a:gdLst>
                <a:gd name="T0" fmla="*/ 74 w 77"/>
                <a:gd name="T1" fmla="*/ 0 h 111"/>
                <a:gd name="T2" fmla="*/ 6 w 77"/>
                <a:gd name="T3" fmla="*/ 0 h 111"/>
                <a:gd name="T4" fmla="*/ 0 w 77"/>
                <a:gd name="T5" fmla="*/ 6 h 111"/>
                <a:gd name="T6" fmla="*/ 0 w 77"/>
                <a:gd name="T7" fmla="*/ 35 h 111"/>
                <a:gd name="T8" fmla="*/ 0 w 77"/>
                <a:gd name="T9" fmla="*/ 35 h 111"/>
                <a:gd name="T10" fmla="*/ 0 w 77"/>
                <a:gd name="T11" fmla="*/ 53 h 111"/>
                <a:gd name="T12" fmla="*/ 0 w 77"/>
                <a:gd name="T13" fmla="*/ 108 h 111"/>
                <a:gd name="T14" fmla="*/ 6 w 77"/>
                <a:gd name="T15" fmla="*/ 111 h 111"/>
                <a:gd name="T16" fmla="*/ 74 w 77"/>
                <a:gd name="T17" fmla="*/ 111 h 111"/>
                <a:gd name="T18" fmla="*/ 77 w 77"/>
                <a:gd name="T19" fmla="*/ 108 h 111"/>
                <a:gd name="T20" fmla="*/ 77 w 77"/>
                <a:gd name="T21" fmla="*/ 6 h 111"/>
                <a:gd name="T22" fmla="*/ 74 w 77"/>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 h="111">
                  <a:moveTo>
                    <a:pt x="74" y="0"/>
                  </a:moveTo>
                  <a:cubicBezTo>
                    <a:pt x="6" y="0"/>
                    <a:pt x="6" y="0"/>
                    <a:pt x="6" y="0"/>
                  </a:cubicBezTo>
                  <a:cubicBezTo>
                    <a:pt x="3" y="0"/>
                    <a:pt x="0" y="3"/>
                    <a:pt x="0" y="6"/>
                  </a:cubicBezTo>
                  <a:cubicBezTo>
                    <a:pt x="0" y="35"/>
                    <a:pt x="0" y="35"/>
                    <a:pt x="0" y="35"/>
                  </a:cubicBezTo>
                  <a:cubicBezTo>
                    <a:pt x="0" y="35"/>
                    <a:pt x="0" y="35"/>
                    <a:pt x="0" y="35"/>
                  </a:cubicBezTo>
                  <a:cubicBezTo>
                    <a:pt x="0" y="53"/>
                    <a:pt x="0" y="53"/>
                    <a:pt x="0" y="53"/>
                  </a:cubicBezTo>
                  <a:cubicBezTo>
                    <a:pt x="0" y="108"/>
                    <a:pt x="0" y="108"/>
                    <a:pt x="0" y="108"/>
                  </a:cubicBezTo>
                  <a:cubicBezTo>
                    <a:pt x="0" y="111"/>
                    <a:pt x="3" y="111"/>
                    <a:pt x="6" y="111"/>
                  </a:cubicBezTo>
                  <a:cubicBezTo>
                    <a:pt x="74" y="111"/>
                    <a:pt x="74" y="111"/>
                    <a:pt x="74" y="111"/>
                  </a:cubicBezTo>
                  <a:cubicBezTo>
                    <a:pt x="74" y="111"/>
                    <a:pt x="77" y="111"/>
                    <a:pt x="77" y="108"/>
                  </a:cubicBezTo>
                  <a:cubicBezTo>
                    <a:pt x="77" y="6"/>
                    <a:pt x="77" y="6"/>
                    <a:pt x="77" y="6"/>
                  </a:cubicBezTo>
                  <a:cubicBezTo>
                    <a:pt x="77" y="3"/>
                    <a:pt x="74" y="0"/>
                    <a:pt x="74"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80" name="Freeform 97"/>
            <p:cNvSpPr>
              <a:spLocks/>
            </p:cNvSpPr>
            <p:nvPr/>
          </p:nvSpPr>
          <p:spPr bwMode="auto">
            <a:xfrm>
              <a:off x="7584" y="3319"/>
              <a:ext cx="76" cy="117"/>
            </a:xfrm>
            <a:custGeom>
              <a:avLst/>
              <a:gdLst>
                <a:gd name="T0" fmla="*/ 49 w 52"/>
                <a:gd name="T1" fmla="*/ 0 h 80"/>
                <a:gd name="T2" fmla="*/ 3 w 52"/>
                <a:gd name="T3" fmla="*/ 0 h 80"/>
                <a:gd name="T4" fmla="*/ 0 w 52"/>
                <a:gd name="T5" fmla="*/ 3 h 80"/>
                <a:gd name="T6" fmla="*/ 0 w 52"/>
                <a:gd name="T7" fmla="*/ 24 h 80"/>
                <a:gd name="T8" fmla="*/ 0 w 52"/>
                <a:gd name="T9" fmla="*/ 27 h 80"/>
                <a:gd name="T10" fmla="*/ 0 w 52"/>
                <a:gd name="T11" fmla="*/ 39 h 80"/>
                <a:gd name="T12" fmla="*/ 0 w 52"/>
                <a:gd name="T13" fmla="*/ 77 h 80"/>
                <a:gd name="T14" fmla="*/ 3 w 52"/>
                <a:gd name="T15" fmla="*/ 80 h 80"/>
                <a:gd name="T16" fmla="*/ 49 w 52"/>
                <a:gd name="T17" fmla="*/ 80 h 80"/>
                <a:gd name="T18" fmla="*/ 52 w 52"/>
                <a:gd name="T19" fmla="*/ 77 h 80"/>
                <a:gd name="T20" fmla="*/ 52 w 52"/>
                <a:gd name="T21" fmla="*/ 3 h 80"/>
                <a:gd name="T22" fmla="*/ 49 w 52"/>
                <a:gd name="T2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80">
                  <a:moveTo>
                    <a:pt x="49" y="0"/>
                  </a:moveTo>
                  <a:cubicBezTo>
                    <a:pt x="3" y="0"/>
                    <a:pt x="3" y="0"/>
                    <a:pt x="3" y="0"/>
                  </a:cubicBezTo>
                  <a:cubicBezTo>
                    <a:pt x="0" y="0"/>
                    <a:pt x="0" y="3"/>
                    <a:pt x="0" y="3"/>
                  </a:cubicBezTo>
                  <a:cubicBezTo>
                    <a:pt x="0" y="24"/>
                    <a:pt x="0" y="24"/>
                    <a:pt x="0" y="24"/>
                  </a:cubicBezTo>
                  <a:cubicBezTo>
                    <a:pt x="0" y="27"/>
                    <a:pt x="0" y="27"/>
                    <a:pt x="0" y="27"/>
                  </a:cubicBezTo>
                  <a:cubicBezTo>
                    <a:pt x="0" y="39"/>
                    <a:pt x="0" y="39"/>
                    <a:pt x="0" y="39"/>
                  </a:cubicBezTo>
                  <a:cubicBezTo>
                    <a:pt x="0" y="77"/>
                    <a:pt x="0" y="77"/>
                    <a:pt x="0" y="77"/>
                  </a:cubicBezTo>
                  <a:cubicBezTo>
                    <a:pt x="0" y="80"/>
                    <a:pt x="0" y="80"/>
                    <a:pt x="3" y="80"/>
                  </a:cubicBezTo>
                  <a:cubicBezTo>
                    <a:pt x="49" y="80"/>
                    <a:pt x="49" y="80"/>
                    <a:pt x="49" y="80"/>
                  </a:cubicBezTo>
                  <a:cubicBezTo>
                    <a:pt x="52" y="80"/>
                    <a:pt x="52" y="80"/>
                    <a:pt x="52" y="77"/>
                  </a:cubicBezTo>
                  <a:cubicBezTo>
                    <a:pt x="52" y="3"/>
                    <a:pt x="52" y="3"/>
                    <a:pt x="52" y="3"/>
                  </a:cubicBezTo>
                  <a:cubicBezTo>
                    <a:pt x="52" y="3"/>
                    <a:pt x="52" y="0"/>
                    <a:pt x="49" y="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81" name="Freeform 98"/>
            <p:cNvSpPr>
              <a:spLocks/>
            </p:cNvSpPr>
            <p:nvPr/>
          </p:nvSpPr>
          <p:spPr bwMode="auto">
            <a:xfrm>
              <a:off x="7062" y="3008"/>
              <a:ext cx="288" cy="422"/>
            </a:xfrm>
            <a:custGeom>
              <a:avLst/>
              <a:gdLst>
                <a:gd name="T0" fmla="*/ 0 w 196"/>
                <a:gd name="T1" fmla="*/ 132 h 288"/>
                <a:gd name="T2" fmla="*/ 0 w 196"/>
                <a:gd name="T3" fmla="*/ 274 h 288"/>
                <a:gd name="T4" fmla="*/ 15 w 196"/>
                <a:gd name="T5" fmla="*/ 288 h 288"/>
                <a:gd name="T6" fmla="*/ 182 w 196"/>
                <a:gd name="T7" fmla="*/ 288 h 288"/>
                <a:gd name="T8" fmla="*/ 196 w 196"/>
                <a:gd name="T9" fmla="*/ 274 h 288"/>
                <a:gd name="T10" fmla="*/ 196 w 196"/>
                <a:gd name="T11" fmla="*/ 14 h 288"/>
                <a:gd name="T12" fmla="*/ 182 w 196"/>
                <a:gd name="T13" fmla="*/ 0 h 288"/>
                <a:gd name="T14" fmla="*/ 15 w 196"/>
                <a:gd name="T15" fmla="*/ 0 h 288"/>
                <a:gd name="T16" fmla="*/ 0 w 196"/>
                <a:gd name="T17" fmla="*/ 14 h 288"/>
                <a:gd name="T18" fmla="*/ 0 w 196"/>
                <a:gd name="T19" fmla="*/ 91 h 288"/>
                <a:gd name="T20" fmla="*/ 0 w 196"/>
                <a:gd name="T21" fmla="*/ 132 h 288"/>
                <a:gd name="T22" fmla="*/ 0 w 196"/>
                <a:gd name="T23" fmla="*/ 13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6" h="288">
                  <a:moveTo>
                    <a:pt x="0" y="132"/>
                  </a:moveTo>
                  <a:cubicBezTo>
                    <a:pt x="0" y="274"/>
                    <a:pt x="0" y="274"/>
                    <a:pt x="0" y="274"/>
                  </a:cubicBezTo>
                  <a:cubicBezTo>
                    <a:pt x="0" y="282"/>
                    <a:pt x="6" y="288"/>
                    <a:pt x="15" y="288"/>
                  </a:cubicBezTo>
                  <a:cubicBezTo>
                    <a:pt x="182" y="288"/>
                    <a:pt x="182" y="288"/>
                    <a:pt x="182" y="288"/>
                  </a:cubicBezTo>
                  <a:cubicBezTo>
                    <a:pt x="190" y="288"/>
                    <a:pt x="196" y="282"/>
                    <a:pt x="196" y="274"/>
                  </a:cubicBezTo>
                  <a:cubicBezTo>
                    <a:pt x="196" y="14"/>
                    <a:pt x="196" y="14"/>
                    <a:pt x="196" y="14"/>
                  </a:cubicBezTo>
                  <a:cubicBezTo>
                    <a:pt x="196" y="6"/>
                    <a:pt x="190" y="0"/>
                    <a:pt x="182" y="0"/>
                  </a:cubicBezTo>
                  <a:cubicBezTo>
                    <a:pt x="15" y="0"/>
                    <a:pt x="15" y="0"/>
                    <a:pt x="15" y="0"/>
                  </a:cubicBezTo>
                  <a:cubicBezTo>
                    <a:pt x="6" y="0"/>
                    <a:pt x="0" y="6"/>
                    <a:pt x="0" y="14"/>
                  </a:cubicBezTo>
                  <a:cubicBezTo>
                    <a:pt x="0" y="91"/>
                    <a:pt x="0" y="91"/>
                    <a:pt x="0" y="91"/>
                  </a:cubicBezTo>
                  <a:cubicBezTo>
                    <a:pt x="0" y="132"/>
                    <a:pt x="0" y="132"/>
                    <a:pt x="0" y="132"/>
                  </a:cubicBezTo>
                  <a:cubicBezTo>
                    <a:pt x="0" y="132"/>
                    <a:pt x="0" y="132"/>
                    <a:pt x="0" y="132"/>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82" name="Freeform 99"/>
            <p:cNvSpPr>
              <a:spLocks/>
            </p:cNvSpPr>
            <p:nvPr/>
          </p:nvSpPr>
          <p:spPr bwMode="auto">
            <a:xfrm>
              <a:off x="7093" y="3037"/>
              <a:ext cx="230" cy="361"/>
            </a:xfrm>
            <a:custGeom>
              <a:avLst/>
              <a:gdLst>
                <a:gd name="T0" fmla="*/ 0 w 230"/>
                <a:gd name="T1" fmla="*/ 0 h 361"/>
                <a:gd name="T2" fmla="*/ 230 w 230"/>
                <a:gd name="T3" fmla="*/ 0 h 361"/>
                <a:gd name="T4" fmla="*/ 230 w 230"/>
                <a:gd name="T5" fmla="*/ 361 h 361"/>
                <a:gd name="T6" fmla="*/ 0 w 230"/>
                <a:gd name="T7" fmla="*/ 361 h 361"/>
                <a:gd name="T8" fmla="*/ 0 w 230"/>
                <a:gd name="T9" fmla="*/ 0 h 361"/>
                <a:gd name="T10" fmla="*/ 0 w 230"/>
                <a:gd name="T11" fmla="*/ 0 h 361"/>
              </a:gdLst>
              <a:ahLst/>
              <a:cxnLst>
                <a:cxn ang="0">
                  <a:pos x="T0" y="T1"/>
                </a:cxn>
                <a:cxn ang="0">
                  <a:pos x="T2" y="T3"/>
                </a:cxn>
                <a:cxn ang="0">
                  <a:pos x="T4" y="T5"/>
                </a:cxn>
                <a:cxn ang="0">
                  <a:pos x="T6" y="T7"/>
                </a:cxn>
                <a:cxn ang="0">
                  <a:pos x="T8" y="T9"/>
                </a:cxn>
                <a:cxn ang="0">
                  <a:pos x="T10" y="T11"/>
                </a:cxn>
              </a:cxnLst>
              <a:rect l="0" t="0" r="r" b="b"/>
              <a:pathLst>
                <a:path w="230" h="361">
                  <a:moveTo>
                    <a:pt x="0" y="0"/>
                  </a:moveTo>
                  <a:lnTo>
                    <a:pt x="230" y="0"/>
                  </a:lnTo>
                  <a:lnTo>
                    <a:pt x="230" y="361"/>
                  </a:lnTo>
                  <a:lnTo>
                    <a:pt x="0" y="361"/>
                  </a:lnTo>
                  <a:lnTo>
                    <a:pt x="0" y="0"/>
                  </a:lnTo>
                  <a:lnTo>
                    <a:pt x="0"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83" name="Freeform 100"/>
            <p:cNvSpPr>
              <a:spLocks/>
            </p:cNvSpPr>
            <p:nvPr/>
          </p:nvSpPr>
          <p:spPr bwMode="auto">
            <a:xfrm>
              <a:off x="7114" y="3084"/>
              <a:ext cx="123" cy="116"/>
            </a:xfrm>
            <a:custGeom>
              <a:avLst/>
              <a:gdLst>
                <a:gd name="T0" fmla="*/ 0 w 123"/>
                <a:gd name="T1" fmla="*/ 0 h 116"/>
                <a:gd name="T2" fmla="*/ 123 w 123"/>
                <a:gd name="T3" fmla="*/ 0 h 116"/>
                <a:gd name="T4" fmla="*/ 123 w 123"/>
                <a:gd name="T5" fmla="*/ 116 h 116"/>
                <a:gd name="T6" fmla="*/ 0 w 123"/>
                <a:gd name="T7" fmla="*/ 116 h 116"/>
                <a:gd name="T8" fmla="*/ 0 w 123"/>
                <a:gd name="T9" fmla="*/ 0 h 116"/>
                <a:gd name="T10" fmla="*/ 0 w 123"/>
                <a:gd name="T11" fmla="*/ 0 h 116"/>
              </a:gdLst>
              <a:ahLst/>
              <a:cxnLst>
                <a:cxn ang="0">
                  <a:pos x="T0" y="T1"/>
                </a:cxn>
                <a:cxn ang="0">
                  <a:pos x="T2" y="T3"/>
                </a:cxn>
                <a:cxn ang="0">
                  <a:pos x="T4" y="T5"/>
                </a:cxn>
                <a:cxn ang="0">
                  <a:pos x="T6" y="T7"/>
                </a:cxn>
                <a:cxn ang="0">
                  <a:pos x="T8" y="T9"/>
                </a:cxn>
                <a:cxn ang="0">
                  <a:pos x="T10" y="T11"/>
                </a:cxn>
              </a:cxnLst>
              <a:rect l="0" t="0" r="r" b="b"/>
              <a:pathLst>
                <a:path w="123" h="116">
                  <a:moveTo>
                    <a:pt x="0" y="0"/>
                  </a:moveTo>
                  <a:lnTo>
                    <a:pt x="123" y="0"/>
                  </a:lnTo>
                  <a:lnTo>
                    <a:pt x="123" y="116"/>
                  </a:lnTo>
                  <a:lnTo>
                    <a:pt x="0" y="116"/>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84" name="Freeform 101"/>
            <p:cNvSpPr>
              <a:spLocks/>
            </p:cNvSpPr>
            <p:nvPr/>
          </p:nvSpPr>
          <p:spPr bwMode="auto">
            <a:xfrm>
              <a:off x="7250" y="3084"/>
              <a:ext cx="53" cy="54"/>
            </a:xfrm>
            <a:custGeom>
              <a:avLst/>
              <a:gdLst>
                <a:gd name="T0" fmla="*/ 0 w 53"/>
                <a:gd name="T1" fmla="*/ 0 h 54"/>
                <a:gd name="T2" fmla="*/ 53 w 53"/>
                <a:gd name="T3" fmla="*/ 0 h 54"/>
                <a:gd name="T4" fmla="*/ 53 w 53"/>
                <a:gd name="T5" fmla="*/ 54 h 54"/>
                <a:gd name="T6" fmla="*/ 0 w 53"/>
                <a:gd name="T7" fmla="*/ 54 h 54"/>
                <a:gd name="T8" fmla="*/ 0 w 53"/>
                <a:gd name="T9" fmla="*/ 0 h 54"/>
                <a:gd name="T10" fmla="*/ 0 w 53"/>
                <a:gd name="T11" fmla="*/ 0 h 54"/>
              </a:gdLst>
              <a:ahLst/>
              <a:cxnLst>
                <a:cxn ang="0">
                  <a:pos x="T0" y="T1"/>
                </a:cxn>
                <a:cxn ang="0">
                  <a:pos x="T2" y="T3"/>
                </a:cxn>
                <a:cxn ang="0">
                  <a:pos x="T4" y="T5"/>
                </a:cxn>
                <a:cxn ang="0">
                  <a:pos x="T6" y="T7"/>
                </a:cxn>
                <a:cxn ang="0">
                  <a:pos x="T8" y="T9"/>
                </a:cxn>
                <a:cxn ang="0">
                  <a:pos x="T10" y="T11"/>
                </a:cxn>
              </a:cxnLst>
              <a:rect l="0" t="0" r="r" b="b"/>
              <a:pathLst>
                <a:path w="53" h="54">
                  <a:moveTo>
                    <a:pt x="0" y="0"/>
                  </a:moveTo>
                  <a:lnTo>
                    <a:pt x="53" y="0"/>
                  </a:lnTo>
                  <a:lnTo>
                    <a:pt x="53" y="54"/>
                  </a:lnTo>
                  <a:lnTo>
                    <a:pt x="0" y="54"/>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85" name="Freeform 102"/>
            <p:cNvSpPr>
              <a:spLocks/>
            </p:cNvSpPr>
            <p:nvPr/>
          </p:nvSpPr>
          <p:spPr bwMode="auto">
            <a:xfrm>
              <a:off x="7114" y="3215"/>
              <a:ext cx="52" cy="53"/>
            </a:xfrm>
            <a:custGeom>
              <a:avLst/>
              <a:gdLst>
                <a:gd name="T0" fmla="*/ 0 w 52"/>
                <a:gd name="T1" fmla="*/ 0 h 53"/>
                <a:gd name="T2" fmla="*/ 52 w 52"/>
                <a:gd name="T3" fmla="*/ 0 h 53"/>
                <a:gd name="T4" fmla="*/ 52 w 52"/>
                <a:gd name="T5" fmla="*/ 53 h 53"/>
                <a:gd name="T6" fmla="*/ 0 w 52"/>
                <a:gd name="T7" fmla="*/ 53 h 53"/>
                <a:gd name="T8" fmla="*/ 0 w 52"/>
                <a:gd name="T9" fmla="*/ 0 h 53"/>
                <a:gd name="T10" fmla="*/ 0 w 52"/>
                <a:gd name="T11" fmla="*/ 0 h 53"/>
              </a:gdLst>
              <a:ahLst/>
              <a:cxnLst>
                <a:cxn ang="0">
                  <a:pos x="T0" y="T1"/>
                </a:cxn>
                <a:cxn ang="0">
                  <a:pos x="T2" y="T3"/>
                </a:cxn>
                <a:cxn ang="0">
                  <a:pos x="T4" y="T5"/>
                </a:cxn>
                <a:cxn ang="0">
                  <a:pos x="T6" y="T7"/>
                </a:cxn>
                <a:cxn ang="0">
                  <a:pos x="T8" y="T9"/>
                </a:cxn>
                <a:cxn ang="0">
                  <a:pos x="T10" y="T11"/>
                </a:cxn>
              </a:cxnLst>
              <a:rect l="0" t="0" r="r" b="b"/>
              <a:pathLst>
                <a:path w="52" h="53">
                  <a:moveTo>
                    <a:pt x="0" y="0"/>
                  </a:moveTo>
                  <a:lnTo>
                    <a:pt x="52" y="0"/>
                  </a:lnTo>
                  <a:lnTo>
                    <a:pt x="52" y="53"/>
                  </a:lnTo>
                  <a:lnTo>
                    <a:pt x="0" y="53"/>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86" name="Freeform 103"/>
            <p:cNvSpPr>
              <a:spLocks/>
            </p:cNvSpPr>
            <p:nvPr/>
          </p:nvSpPr>
          <p:spPr bwMode="auto">
            <a:xfrm>
              <a:off x="7178" y="3215"/>
              <a:ext cx="59" cy="53"/>
            </a:xfrm>
            <a:custGeom>
              <a:avLst/>
              <a:gdLst>
                <a:gd name="T0" fmla="*/ 0 w 59"/>
                <a:gd name="T1" fmla="*/ 0 h 53"/>
                <a:gd name="T2" fmla="*/ 59 w 59"/>
                <a:gd name="T3" fmla="*/ 0 h 53"/>
                <a:gd name="T4" fmla="*/ 59 w 59"/>
                <a:gd name="T5" fmla="*/ 53 h 53"/>
                <a:gd name="T6" fmla="*/ 0 w 59"/>
                <a:gd name="T7" fmla="*/ 53 h 53"/>
                <a:gd name="T8" fmla="*/ 0 w 59"/>
                <a:gd name="T9" fmla="*/ 0 h 53"/>
                <a:gd name="T10" fmla="*/ 0 w 59"/>
                <a:gd name="T11" fmla="*/ 0 h 53"/>
              </a:gdLst>
              <a:ahLst/>
              <a:cxnLst>
                <a:cxn ang="0">
                  <a:pos x="T0" y="T1"/>
                </a:cxn>
                <a:cxn ang="0">
                  <a:pos x="T2" y="T3"/>
                </a:cxn>
                <a:cxn ang="0">
                  <a:pos x="T4" y="T5"/>
                </a:cxn>
                <a:cxn ang="0">
                  <a:pos x="T6" y="T7"/>
                </a:cxn>
                <a:cxn ang="0">
                  <a:pos x="T8" y="T9"/>
                </a:cxn>
                <a:cxn ang="0">
                  <a:pos x="T10" y="T11"/>
                </a:cxn>
              </a:cxnLst>
              <a:rect l="0" t="0" r="r" b="b"/>
              <a:pathLst>
                <a:path w="59" h="53">
                  <a:moveTo>
                    <a:pt x="0" y="0"/>
                  </a:moveTo>
                  <a:lnTo>
                    <a:pt x="59" y="0"/>
                  </a:lnTo>
                  <a:lnTo>
                    <a:pt x="59" y="53"/>
                  </a:lnTo>
                  <a:lnTo>
                    <a:pt x="0" y="53"/>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87" name="Freeform 104"/>
            <p:cNvSpPr>
              <a:spLocks/>
            </p:cNvSpPr>
            <p:nvPr/>
          </p:nvSpPr>
          <p:spPr bwMode="auto">
            <a:xfrm>
              <a:off x="7250" y="3215"/>
              <a:ext cx="53" cy="53"/>
            </a:xfrm>
            <a:custGeom>
              <a:avLst/>
              <a:gdLst>
                <a:gd name="T0" fmla="*/ 0 w 53"/>
                <a:gd name="T1" fmla="*/ 0 h 53"/>
                <a:gd name="T2" fmla="*/ 53 w 53"/>
                <a:gd name="T3" fmla="*/ 0 h 53"/>
                <a:gd name="T4" fmla="*/ 53 w 53"/>
                <a:gd name="T5" fmla="*/ 53 h 53"/>
                <a:gd name="T6" fmla="*/ 0 w 53"/>
                <a:gd name="T7" fmla="*/ 53 h 53"/>
                <a:gd name="T8" fmla="*/ 0 w 53"/>
                <a:gd name="T9" fmla="*/ 0 h 53"/>
                <a:gd name="T10" fmla="*/ 0 w 53"/>
                <a:gd name="T11" fmla="*/ 0 h 53"/>
              </a:gdLst>
              <a:ahLst/>
              <a:cxnLst>
                <a:cxn ang="0">
                  <a:pos x="T0" y="T1"/>
                </a:cxn>
                <a:cxn ang="0">
                  <a:pos x="T2" y="T3"/>
                </a:cxn>
                <a:cxn ang="0">
                  <a:pos x="T4" y="T5"/>
                </a:cxn>
                <a:cxn ang="0">
                  <a:pos x="T6" y="T7"/>
                </a:cxn>
                <a:cxn ang="0">
                  <a:pos x="T8" y="T9"/>
                </a:cxn>
                <a:cxn ang="0">
                  <a:pos x="T10" y="T11"/>
                </a:cxn>
              </a:cxnLst>
              <a:rect l="0" t="0" r="r" b="b"/>
              <a:pathLst>
                <a:path w="53" h="53">
                  <a:moveTo>
                    <a:pt x="0" y="0"/>
                  </a:moveTo>
                  <a:lnTo>
                    <a:pt x="53" y="0"/>
                  </a:lnTo>
                  <a:lnTo>
                    <a:pt x="53" y="53"/>
                  </a:lnTo>
                  <a:lnTo>
                    <a:pt x="0" y="53"/>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88" name="Freeform 105"/>
            <p:cNvSpPr>
              <a:spLocks/>
            </p:cNvSpPr>
            <p:nvPr/>
          </p:nvSpPr>
          <p:spPr bwMode="auto">
            <a:xfrm>
              <a:off x="7114" y="3285"/>
              <a:ext cx="52" cy="49"/>
            </a:xfrm>
            <a:custGeom>
              <a:avLst/>
              <a:gdLst>
                <a:gd name="T0" fmla="*/ 0 w 52"/>
                <a:gd name="T1" fmla="*/ 0 h 49"/>
                <a:gd name="T2" fmla="*/ 52 w 52"/>
                <a:gd name="T3" fmla="*/ 0 h 49"/>
                <a:gd name="T4" fmla="*/ 52 w 52"/>
                <a:gd name="T5" fmla="*/ 49 h 49"/>
                <a:gd name="T6" fmla="*/ 0 w 52"/>
                <a:gd name="T7" fmla="*/ 49 h 49"/>
                <a:gd name="T8" fmla="*/ 0 w 52"/>
                <a:gd name="T9" fmla="*/ 0 h 49"/>
                <a:gd name="T10" fmla="*/ 0 w 52"/>
                <a:gd name="T11" fmla="*/ 0 h 49"/>
              </a:gdLst>
              <a:ahLst/>
              <a:cxnLst>
                <a:cxn ang="0">
                  <a:pos x="T0" y="T1"/>
                </a:cxn>
                <a:cxn ang="0">
                  <a:pos x="T2" y="T3"/>
                </a:cxn>
                <a:cxn ang="0">
                  <a:pos x="T4" y="T5"/>
                </a:cxn>
                <a:cxn ang="0">
                  <a:pos x="T6" y="T7"/>
                </a:cxn>
                <a:cxn ang="0">
                  <a:pos x="T8" y="T9"/>
                </a:cxn>
                <a:cxn ang="0">
                  <a:pos x="T10" y="T11"/>
                </a:cxn>
              </a:cxnLst>
              <a:rect l="0" t="0" r="r" b="b"/>
              <a:pathLst>
                <a:path w="52" h="49">
                  <a:moveTo>
                    <a:pt x="0" y="0"/>
                  </a:moveTo>
                  <a:lnTo>
                    <a:pt x="52" y="0"/>
                  </a:lnTo>
                  <a:lnTo>
                    <a:pt x="52" y="49"/>
                  </a:lnTo>
                  <a:lnTo>
                    <a:pt x="0" y="49"/>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89" name="Freeform 106"/>
            <p:cNvSpPr>
              <a:spLocks/>
            </p:cNvSpPr>
            <p:nvPr/>
          </p:nvSpPr>
          <p:spPr bwMode="auto">
            <a:xfrm>
              <a:off x="7178" y="3285"/>
              <a:ext cx="59" cy="49"/>
            </a:xfrm>
            <a:custGeom>
              <a:avLst/>
              <a:gdLst>
                <a:gd name="T0" fmla="*/ 0 w 59"/>
                <a:gd name="T1" fmla="*/ 0 h 49"/>
                <a:gd name="T2" fmla="*/ 59 w 59"/>
                <a:gd name="T3" fmla="*/ 0 h 49"/>
                <a:gd name="T4" fmla="*/ 59 w 59"/>
                <a:gd name="T5" fmla="*/ 49 h 49"/>
                <a:gd name="T6" fmla="*/ 0 w 59"/>
                <a:gd name="T7" fmla="*/ 49 h 49"/>
                <a:gd name="T8" fmla="*/ 0 w 59"/>
                <a:gd name="T9" fmla="*/ 0 h 49"/>
                <a:gd name="T10" fmla="*/ 0 w 59"/>
                <a:gd name="T11" fmla="*/ 0 h 49"/>
              </a:gdLst>
              <a:ahLst/>
              <a:cxnLst>
                <a:cxn ang="0">
                  <a:pos x="T0" y="T1"/>
                </a:cxn>
                <a:cxn ang="0">
                  <a:pos x="T2" y="T3"/>
                </a:cxn>
                <a:cxn ang="0">
                  <a:pos x="T4" y="T5"/>
                </a:cxn>
                <a:cxn ang="0">
                  <a:pos x="T6" y="T7"/>
                </a:cxn>
                <a:cxn ang="0">
                  <a:pos x="T8" y="T9"/>
                </a:cxn>
                <a:cxn ang="0">
                  <a:pos x="T10" y="T11"/>
                </a:cxn>
              </a:cxnLst>
              <a:rect l="0" t="0" r="r" b="b"/>
              <a:pathLst>
                <a:path w="59" h="49">
                  <a:moveTo>
                    <a:pt x="0" y="0"/>
                  </a:moveTo>
                  <a:lnTo>
                    <a:pt x="59" y="0"/>
                  </a:lnTo>
                  <a:lnTo>
                    <a:pt x="59" y="49"/>
                  </a:lnTo>
                  <a:lnTo>
                    <a:pt x="0" y="49"/>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90" name="Freeform 107"/>
            <p:cNvSpPr>
              <a:spLocks/>
            </p:cNvSpPr>
            <p:nvPr/>
          </p:nvSpPr>
          <p:spPr bwMode="auto">
            <a:xfrm>
              <a:off x="7250" y="3285"/>
              <a:ext cx="53" cy="49"/>
            </a:xfrm>
            <a:custGeom>
              <a:avLst/>
              <a:gdLst>
                <a:gd name="T0" fmla="*/ 0 w 53"/>
                <a:gd name="T1" fmla="*/ 0 h 49"/>
                <a:gd name="T2" fmla="*/ 53 w 53"/>
                <a:gd name="T3" fmla="*/ 0 h 49"/>
                <a:gd name="T4" fmla="*/ 53 w 53"/>
                <a:gd name="T5" fmla="*/ 49 h 49"/>
                <a:gd name="T6" fmla="*/ 0 w 53"/>
                <a:gd name="T7" fmla="*/ 49 h 49"/>
                <a:gd name="T8" fmla="*/ 0 w 53"/>
                <a:gd name="T9" fmla="*/ 0 h 49"/>
                <a:gd name="T10" fmla="*/ 0 w 53"/>
                <a:gd name="T11" fmla="*/ 0 h 49"/>
              </a:gdLst>
              <a:ahLst/>
              <a:cxnLst>
                <a:cxn ang="0">
                  <a:pos x="T0" y="T1"/>
                </a:cxn>
                <a:cxn ang="0">
                  <a:pos x="T2" y="T3"/>
                </a:cxn>
                <a:cxn ang="0">
                  <a:pos x="T4" y="T5"/>
                </a:cxn>
                <a:cxn ang="0">
                  <a:pos x="T6" y="T7"/>
                </a:cxn>
                <a:cxn ang="0">
                  <a:pos x="T8" y="T9"/>
                </a:cxn>
                <a:cxn ang="0">
                  <a:pos x="T10" y="T11"/>
                </a:cxn>
              </a:cxnLst>
              <a:rect l="0" t="0" r="r" b="b"/>
              <a:pathLst>
                <a:path w="53" h="49">
                  <a:moveTo>
                    <a:pt x="0" y="0"/>
                  </a:moveTo>
                  <a:lnTo>
                    <a:pt x="53" y="0"/>
                  </a:lnTo>
                  <a:lnTo>
                    <a:pt x="53" y="49"/>
                  </a:lnTo>
                  <a:lnTo>
                    <a:pt x="0" y="49"/>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91" name="Freeform 108"/>
            <p:cNvSpPr>
              <a:spLocks/>
            </p:cNvSpPr>
            <p:nvPr/>
          </p:nvSpPr>
          <p:spPr bwMode="auto">
            <a:xfrm>
              <a:off x="7114" y="3348"/>
              <a:ext cx="189" cy="56"/>
            </a:xfrm>
            <a:custGeom>
              <a:avLst/>
              <a:gdLst>
                <a:gd name="T0" fmla="*/ 0 w 189"/>
                <a:gd name="T1" fmla="*/ 0 h 56"/>
                <a:gd name="T2" fmla="*/ 189 w 189"/>
                <a:gd name="T3" fmla="*/ 0 h 56"/>
                <a:gd name="T4" fmla="*/ 189 w 189"/>
                <a:gd name="T5" fmla="*/ 56 h 56"/>
                <a:gd name="T6" fmla="*/ 0 w 189"/>
                <a:gd name="T7" fmla="*/ 56 h 56"/>
                <a:gd name="T8" fmla="*/ 0 w 189"/>
                <a:gd name="T9" fmla="*/ 0 h 56"/>
                <a:gd name="T10" fmla="*/ 0 w 189"/>
                <a:gd name="T11" fmla="*/ 0 h 56"/>
              </a:gdLst>
              <a:ahLst/>
              <a:cxnLst>
                <a:cxn ang="0">
                  <a:pos x="T0" y="T1"/>
                </a:cxn>
                <a:cxn ang="0">
                  <a:pos x="T2" y="T3"/>
                </a:cxn>
                <a:cxn ang="0">
                  <a:pos x="T4" y="T5"/>
                </a:cxn>
                <a:cxn ang="0">
                  <a:pos x="T6" y="T7"/>
                </a:cxn>
                <a:cxn ang="0">
                  <a:pos x="T8" y="T9"/>
                </a:cxn>
                <a:cxn ang="0">
                  <a:pos x="T10" y="T11"/>
                </a:cxn>
              </a:cxnLst>
              <a:rect l="0" t="0" r="r" b="b"/>
              <a:pathLst>
                <a:path w="189" h="56">
                  <a:moveTo>
                    <a:pt x="0" y="0"/>
                  </a:moveTo>
                  <a:lnTo>
                    <a:pt x="189" y="0"/>
                  </a:lnTo>
                  <a:lnTo>
                    <a:pt x="189" y="56"/>
                  </a:lnTo>
                  <a:lnTo>
                    <a:pt x="0" y="56"/>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92" name="Freeform 109"/>
            <p:cNvSpPr>
              <a:spLocks/>
            </p:cNvSpPr>
            <p:nvPr/>
          </p:nvSpPr>
          <p:spPr bwMode="auto">
            <a:xfrm>
              <a:off x="7250" y="3150"/>
              <a:ext cx="53" cy="50"/>
            </a:xfrm>
            <a:custGeom>
              <a:avLst/>
              <a:gdLst>
                <a:gd name="T0" fmla="*/ 0 w 53"/>
                <a:gd name="T1" fmla="*/ 0 h 50"/>
                <a:gd name="T2" fmla="*/ 53 w 53"/>
                <a:gd name="T3" fmla="*/ 0 h 50"/>
                <a:gd name="T4" fmla="*/ 53 w 53"/>
                <a:gd name="T5" fmla="*/ 50 h 50"/>
                <a:gd name="T6" fmla="*/ 0 w 53"/>
                <a:gd name="T7" fmla="*/ 50 h 50"/>
                <a:gd name="T8" fmla="*/ 0 w 53"/>
                <a:gd name="T9" fmla="*/ 0 h 50"/>
                <a:gd name="T10" fmla="*/ 0 w 53"/>
                <a:gd name="T11" fmla="*/ 0 h 50"/>
              </a:gdLst>
              <a:ahLst/>
              <a:cxnLst>
                <a:cxn ang="0">
                  <a:pos x="T0" y="T1"/>
                </a:cxn>
                <a:cxn ang="0">
                  <a:pos x="T2" y="T3"/>
                </a:cxn>
                <a:cxn ang="0">
                  <a:pos x="T4" y="T5"/>
                </a:cxn>
                <a:cxn ang="0">
                  <a:pos x="T6" y="T7"/>
                </a:cxn>
                <a:cxn ang="0">
                  <a:pos x="T8" y="T9"/>
                </a:cxn>
                <a:cxn ang="0">
                  <a:pos x="T10" y="T11"/>
                </a:cxn>
              </a:cxnLst>
              <a:rect l="0" t="0" r="r" b="b"/>
              <a:pathLst>
                <a:path w="53" h="50">
                  <a:moveTo>
                    <a:pt x="0" y="0"/>
                  </a:moveTo>
                  <a:lnTo>
                    <a:pt x="53" y="0"/>
                  </a:lnTo>
                  <a:lnTo>
                    <a:pt x="53" y="50"/>
                  </a:lnTo>
                  <a:lnTo>
                    <a:pt x="0" y="50"/>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93" name="Freeform 110"/>
            <p:cNvSpPr>
              <a:spLocks/>
            </p:cNvSpPr>
            <p:nvPr/>
          </p:nvSpPr>
          <p:spPr bwMode="auto">
            <a:xfrm>
              <a:off x="6838" y="3156"/>
              <a:ext cx="178" cy="257"/>
            </a:xfrm>
            <a:custGeom>
              <a:avLst/>
              <a:gdLst>
                <a:gd name="T0" fmla="*/ 0 w 121"/>
                <a:gd name="T1" fmla="*/ 79 h 175"/>
                <a:gd name="T2" fmla="*/ 0 w 121"/>
                <a:gd name="T3" fmla="*/ 166 h 175"/>
                <a:gd name="T4" fmla="*/ 9 w 121"/>
                <a:gd name="T5" fmla="*/ 175 h 175"/>
                <a:gd name="T6" fmla="*/ 115 w 121"/>
                <a:gd name="T7" fmla="*/ 175 h 175"/>
                <a:gd name="T8" fmla="*/ 121 w 121"/>
                <a:gd name="T9" fmla="*/ 166 h 175"/>
                <a:gd name="T10" fmla="*/ 121 w 121"/>
                <a:gd name="T11" fmla="*/ 5 h 175"/>
                <a:gd name="T12" fmla="*/ 115 w 121"/>
                <a:gd name="T13" fmla="*/ 0 h 175"/>
                <a:gd name="T14" fmla="*/ 9 w 121"/>
                <a:gd name="T15" fmla="*/ 0 h 175"/>
                <a:gd name="T16" fmla="*/ 0 w 121"/>
                <a:gd name="T17" fmla="*/ 5 h 175"/>
                <a:gd name="T18" fmla="*/ 0 w 121"/>
                <a:gd name="T19" fmla="*/ 55 h 175"/>
                <a:gd name="T20" fmla="*/ 0 w 121"/>
                <a:gd name="T21" fmla="*/ 79 h 175"/>
                <a:gd name="T22" fmla="*/ 0 w 121"/>
                <a:gd name="T23" fmla="*/ 79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1" h="175">
                  <a:moveTo>
                    <a:pt x="0" y="79"/>
                  </a:moveTo>
                  <a:cubicBezTo>
                    <a:pt x="0" y="166"/>
                    <a:pt x="0" y="166"/>
                    <a:pt x="0" y="166"/>
                  </a:cubicBezTo>
                  <a:cubicBezTo>
                    <a:pt x="0" y="172"/>
                    <a:pt x="6" y="175"/>
                    <a:pt x="9" y="175"/>
                  </a:cubicBezTo>
                  <a:cubicBezTo>
                    <a:pt x="115" y="175"/>
                    <a:pt x="115" y="175"/>
                    <a:pt x="115" y="175"/>
                  </a:cubicBezTo>
                  <a:cubicBezTo>
                    <a:pt x="118" y="175"/>
                    <a:pt x="121" y="172"/>
                    <a:pt x="121" y="166"/>
                  </a:cubicBezTo>
                  <a:cubicBezTo>
                    <a:pt x="121" y="5"/>
                    <a:pt x="121" y="5"/>
                    <a:pt x="121" y="5"/>
                  </a:cubicBezTo>
                  <a:cubicBezTo>
                    <a:pt x="121" y="3"/>
                    <a:pt x="118" y="0"/>
                    <a:pt x="115" y="0"/>
                  </a:cubicBezTo>
                  <a:cubicBezTo>
                    <a:pt x="9" y="0"/>
                    <a:pt x="9" y="0"/>
                    <a:pt x="9" y="0"/>
                  </a:cubicBezTo>
                  <a:cubicBezTo>
                    <a:pt x="6" y="0"/>
                    <a:pt x="0" y="3"/>
                    <a:pt x="0" y="5"/>
                  </a:cubicBezTo>
                  <a:cubicBezTo>
                    <a:pt x="0" y="55"/>
                    <a:pt x="0" y="55"/>
                    <a:pt x="0" y="55"/>
                  </a:cubicBezTo>
                  <a:cubicBezTo>
                    <a:pt x="0" y="79"/>
                    <a:pt x="0" y="79"/>
                    <a:pt x="0" y="79"/>
                  </a:cubicBezTo>
                  <a:cubicBezTo>
                    <a:pt x="0" y="79"/>
                    <a:pt x="0" y="79"/>
                    <a:pt x="0" y="79"/>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94" name="Freeform 111"/>
            <p:cNvSpPr>
              <a:spLocks/>
            </p:cNvSpPr>
            <p:nvPr/>
          </p:nvSpPr>
          <p:spPr bwMode="auto">
            <a:xfrm>
              <a:off x="6856" y="3171"/>
              <a:ext cx="148" cy="224"/>
            </a:xfrm>
            <a:custGeom>
              <a:avLst/>
              <a:gdLst>
                <a:gd name="T0" fmla="*/ 0 w 148"/>
                <a:gd name="T1" fmla="*/ 0 h 224"/>
                <a:gd name="T2" fmla="*/ 148 w 148"/>
                <a:gd name="T3" fmla="*/ 0 h 224"/>
                <a:gd name="T4" fmla="*/ 148 w 148"/>
                <a:gd name="T5" fmla="*/ 224 h 224"/>
                <a:gd name="T6" fmla="*/ 0 w 148"/>
                <a:gd name="T7" fmla="*/ 224 h 224"/>
                <a:gd name="T8" fmla="*/ 0 w 148"/>
                <a:gd name="T9" fmla="*/ 0 h 224"/>
                <a:gd name="T10" fmla="*/ 0 w 148"/>
                <a:gd name="T11" fmla="*/ 0 h 224"/>
              </a:gdLst>
              <a:ahLst/>
              <a:cxnLst>
                <a:cxn ang="0">
                  <a:pos x="T0" y="T1"/>
                </a:cxn>
                <a:cxn ang="0">
                  <a:pos x="T2" y="T3"/>
                </a:cxn>
                <a:cxn ang="0">
                  <a:pos x="T4" y="T5"/>
                </a:cxn>
                <a:cxn ang="0">
                  <a:pos x="T6" y="T7"/>
                </a:cxn>
                <a:cxn ang="0">
                  <a:pos x="T8" y="T9"/>
                </a:cxn>
                <a:cxn ang="0">
                  <a:pos x="T10" y="T11"/>
                </a:cxn>
              </a:cxnLst>
              <a:rect l="0" t="0" r="r" b="b"/>
              <a:pathLst>
                <a:path w="148" h="224">
                  <a:moveTo>
                    <a:pt x="0" y="0"/>
                  </a:moveTo>
                  <a:lnTo>
                    <a:pt x="148" y="0"/>
                  </a:lnTo>
                  <a:lnTo>
                    <a:pt x="148" y="224"/>
                  </a:lnTo>
                  <a:lnTo>
                    <a:pt x="0" y="224"/>
                  </a:lnTo>
                  <a:lnTo>
                    <a:pt x="0" y="0"/>
                  </a:lnTo>
                  <a:lnTo>
                    <a:pt x="0"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95" name="Freeform 112"/>
            <p:cNvSpPr>
              <a:spLocks/>
            </p:cNvSpPr>
            <p:nvPr/>
          </p:nvSpPr>
          <p:spPr bwMode="auto">
            <a:xfrm>
              <a:off x="6874" y="3197"/>
              <a:ext cx="74" cy="71"/>
            </a:xfrm>
            <a:custGeom>
              <a:avLst/>
              <a:gdLst>
                <a:gd name="T0" fmla="*/ 0 w 74"/>
                <a:gd name="T1" fmla="*/ 0 h 71"/>
                <a:gd name="T2" fmla="*/ 74 w 74"/>
                <a:gd name="T3" fmla="*/ 0 h 71"/>
                <a:gd name="T4" fmla="*/ 74 w 74"/>
                <a:gd name="T5" fmla="*/ 71 h 71"/>
                <a:gd name="T6" fmla="*/ 0 w 74"/>
                <a:gd name="T7" fmla="*/ 71 h 71"/>
                <a:gd name="T8" fmla="*/ 0 w 74"/>
                <a:gd name="T9" fmla="*/ 0 h 71"/>
                <a:gd name="T10" fmla="*/ 0 w 74"/>
                <a:gd name="T11" fmla="*/ 0 h 71"/>
              </a:gdLst>
              <a:ahLst/>
              <a:cxnLst>
                <a:cxn ang="0">
                  <a:pos x="T0" y="T1"/>
                </a:cxn>
                <a:cxn ang="0">
                  <a:pos x="T2" y="T3"/>
                </a:cxn>
                <a:cxn ang="0">
                  <a:pos x="T4" y="T5"/>
                </a:cxn>
                <a:cxn ang="0">
                  <a:pos x="T6" y="T7"/>
                </a:cxn>
                <a:cxn ang="0">
                  <a:pos x="T8" y="T9"/>
                </a:cxn>
                <a:cxn ang="0">
                  <a:pos x="T10" y="T11"/>
                </a:cxn>
              </a:cxnLst>
              <a:rect l="0" t="0" r="r" b="b"/>
              <a:pathLst>
                <a:path w="74" h="71">
                  <a:moveTo>
                    <a:pt x="0" y="0"/>
                  </a:moveTo>
                  <a:lnTo>
                    <a:pt x="74" y="0"/>
                  </a:lnTo>
                  <a:lnTo>
                    <a:pt x="74" y="71"/>
                  </a:lnTo>
                  <a:lnTo>
                    <a:pt x="0" y="71"/>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96" name="Freeform 113"/>
            <p:cNvSpPr>
              <a:spLocks/>
            </p:cNvSpPr>
            <p:nvPr/>
          </p:nvSpPr>
          <p:spPr bwMode="auto">
            <a:xfrm>
              <a:off x="6957" y="3197"/>
              <a:ext cx="26" cy="35"/>
            </a:xfrm>
            <a:custGeom>
              <a:avLst/>
              <a:gdLst>
                <a:gd name="T0" fmla="*/ 0 w 26"/>
                <a:gd name="T1" fmla="*/ 0 h 35"/>
                <a:gd name="T2" fmla="*/ 26 w 26"/>
                <a:gd name="T3" fmla="*/ 0 h 35"/>
                <a:gd name="T4" fmla="*/ 26 w 26"/>
                <a:gd name="T5" fmla="*/ 35 h 35"/>
                <a:gd name="T6" fmla="*/ 0 w 26"/>
                <a:gd name="T7" fmla="*/ 35 h 35"/>
                <a:gd name="T8" fmla="*/ 0 w 26"/>
                <a:gd name="T9" fmla="*/ 0 h 35"/>
                <a:gd name="T10" fmla="*/ 0 w 26"/>
                <a:gd name="T11" fmla="*/ 0 h 35"/>
              </a:gdLst>
              <a:ahLst/>
              <a:cxnLst>
                <a:cxn ang="0">
                  <a:pos x="T0" y="T1"/>
                </a:cxn>
                <a:cxn ang="0">
                  <a:pos x="T2" y="T3"/>
                </a:cxn>
                <a:cxn ang="0">
                  <a:pos x="T4" y="T5"/>
                </a:cxn>
                <a:cxn ang="0">
                  <a:pos x="T6" y="T7"/>
                </a:cxn>
                <a:cxn ang="0">
                  <a:pos x="T8" y="T9"/>
                </a:cxn>
                <a:cxn ang="0">
                  <a:pos x="T10" y="T11"/>
                </a:cxn>
              </a:cxnLst>
              <a:rect l="0" t="0" r="r" b="b"/>
              <a:pathLst>
                <a:path w="26" h="35">
                  <a:moveTo>
                    <a:pt x="0" y="0"/>
                  </a:moveTo>
                  <a:lnTo>
                    <a:pt x="26" y="0"/>
                  </a:lnTo>
                  <a:lnTo>
                    <a:pt x="26" y="35"/>
                  </a:lnTo>
                  <a:lnTo>
                    <a:pt x="0" y="35"/>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97" name="Freeform 114"/>
            <p:cNvSpPr>
              <a:spLocks/>
            </p:cNvSpPr>
            <p:nvPr/>
          </p:nvSpPr>
          <p:spPr bwMode="auto">
            <a:xfrm>
              <a:off x="6874" y="3279"/>
              <a:ext cx="29" cy="34"/>
            </a:xfrm>
            <a:custGeom>
              <a:avLst/>
              <a:gdLst>
                <a:gd name="T0" fmla="*/ 0 w 29"/>
                <a:gd name="T1" fmla="*/ 0 h 34"/>
                <a:gd name="T2" fmla="*/ 29 w 29"/>
                <a:gd name="T3" fmla="*/ 0 h 34"/>
                <a:gd name="T4" fmla="*/ 29 w 29"/>
                <a:gd name="T5" fmla="*/ 34 h 34"/>
                <a:gd name="T6" fmla="*/ 0 w 29"/>
                <a:gd name="T7" fmla="*/ 34 h 34"/>
                <a:gd name="T8" fmla="*/ 0 w 29"/>
                <a:gd name="T9" fmla="*/ 0 h 34"/>
                <a:gd name="T10" fmla="*/ 0 w 29"/>
                <a:gd name="T11" fmla="*/ 0 h 34"/>
              </a:gdLst>
              <a:ahLst/>
              <a:cxnLst>
                <a:cxn ang="0">
                  <a:pos x="T0" y="T1"/>
                </a:cxn>
                <a:cxn ang="0">
                  <a:pos x="T2" y="T3"/>
                </a:cxn>
                <a:cxn ang="0">
                  <a:pos x="T4" y="T5"/>
                </a:cxn>
                <a:cxn ang="0">
                  <a:pos x="T6" y="T7"/>
                </a:cxn>
                <a:cxn ang="0">
                  <a:pos x="T8" y="T9"/>
                </a:cxn>
                <a:cxn ang="0">
                  <a:pos x="T10" y="T11"/>
                </a:cxn>
              </a:cxnLst>
              <a:rect l="0" t="0" r="r" b="b"/>
              <a:pathLst>
                <a:path w="29" h="34">
                  <a:moveTo>
                    <a:pt x="0" y="0"/>
                  </a:moveTo>
                  <a:lnTo>
                    <a:pt x="29" y="0"/>
                  </a:lnTo>
                  <a:lnTo>
                    <a:pt x="29" y="34"/>
                  </a:lnTo>
                  <a:lnTo>
                    <a:pt x="0" y="34"/>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98" name="Freeform 115"/>
            <p:cNvSpPr>
              <a:spLocks/>
            </p:cNvSpPr>
            <p:nvPr/>
          </p:nvSpPr>
          <p:spPr bwMode="auto">
            <a:xfrm>
              <a:off x="6912" y="3279"/>
              <a:ext cx="36" cy="34"/>
            </a:xfrm>
            <a:custGeom>
              <a:avLst/>
              <a:gdLst>
                <a:gd name="T0" fmla="*/ 0 w 36"/>
                <a:gd name="T1" fmla="*/ 0 h 34"/>
                <a:gd name="T2" fmla="*/ 36 w 36"/>
                <a:gd name="T3" fmla="*/ 0 h 34"/>
                <a:gd name="T4" fmla="*/ 36 w 36"/>
                <a:gd name="T5" fmla="*/ 34 h 34"/>
                <a:gd name="T6" fmla="*/ 0 w 36"/>
                <a:gd name="T7" fmla="*/ 34 h 34"/>
                <a:gd name="T8" fmla="*/ 0 w 36"/>
                <a:gd name="T9" fmla="*/ 0 h 34"/>
                <a:gd name="T10" fmla="*/ 0 w 36"/>
                <a:gd name="T11" fmla="*/ 0 h 34"/>
              </a:gdLst>
              <a:ahLst/>
              <a:cxnLst>
                <a:cxn ang="0">
                  <a:pos x="T0" y="T1"/>
                </a:cxn>
                <a:cxn ang="0">
                  <a:pos x="T2" y="T3"/>
                </a:cxn>
                <a:cxn ang="0">
                  <a:pos x="T4" y="T5"/>
                </a:cxn>
                <a:cxn ang="0">
                  <a:pos x="T6" y="T7"/>
                </a:cxn>
                <a:cxn ang="0">
                  <a:pos x="T8" y="T9"/>
                </a:cxn>
                <a:cxn ang="0">
                  <a:pos x="T10" y="T11"/>
                </a:cxn>
              </a:cxnLst>
              <a:rect l="0" t="0" r="r" b="b"/>
              <a:pathLst>
                <a:path w="36" h="34">
                  <a:moveTo>
                    <a:pt x="0" y="0"/>
                  </a:moveTo>
                  <a:lnTo>
                    <a:pt x="36" y="0"/>
                  </a:lnTo>
                  <a:lnTo>
                    <a:pt x="36" y="34"/>
                  </a:lnTo>
                  <a:lnTo>
                    <a:pt x="0" y="34"/>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299" name="Freeform 116"/>
            <p:cNvSpPr>
              <a:spLocks/>
            </p:cNvSpPr>
            <p:nvPr/>
          </p:nvSpPr>
          <p:spPr bwMode="auto">
            <a:xfrm>
              <a:off x="6957" y="3279"/>
              <a:ext cx="26" cy="34"/>
            </a:xfrm>
            <a:custGeom>
              <a:avLst/>
              <a:gdLst>
                <a:gd name="T0" fmla="*/ 0 w 26"/>
                <a:gd name="T1" fmla="*/ 0 h 34"/>
                <a:gd name="T2" fmla="*/ 26 w 26"/>
                <a:gd name="T3" fmla="*/ 0 h 34"/>
                <a:gd name="T4" fmla="*/ 26 w 26"/>
                <a:gd name="T5" fmla="*/ 34 h 34"/>
                <a:gd name="T6" fmla="*/ 0 w 26"/>
                <a:gd name="T7" fmla="*/ 34 h 34"/>
                <a:gd name="T8" fmla="*/ 0 w 26"/>
                <a:gd name="T9" fmla="*/ 0 h 34"/>
                <a:gd name="T10" fmla="*/ 0 w 26"/>
                <a:gd name="T11" fmla="*/ 0 h 34"/>
              </a:gdLst>
              <a:ahLst/>
              <a:cxnLst>
                <a:cxn ang="0">
                  <a:pos x="T0" y="T1"/>
                </a:cxn>
                <a:cxn ang="0">
                  <a:pos x="T2" y="T3"/>
                </a:cxn>
                <a:cxn ang="0">
                  <a:pos x="T4" y="T5"/>
                </a:cxn>
                <a:cxn ang="0">
                  <a:pos x="T6" y="T7"/>
                </a:cxn>
                <a:cxn ang="0">
                  <a:pos x="T8" y="T9"/>
                </a:cxn>
                <a:cxn ang="0">
                  <a:pos x="T10" y="T11"/>
                </a:cxn>
              </a:cxnLst>
              <a:rect l="0" t="0" r="r" b="b"/>
              <a:pathLst>
                <a:path w="26" h="34">
                  <a:moveTo>
                    <a:pt x="0" y="0"/>
                  </a:moveTo>
                  <a:lnTo>
                    <a:pt x="26" y="0"/>
                  </a:lnTo>
                  <a:lnTo>
                    <a:pt x="26" y="34"/>
                  </a:lnTo>
                  <a:lnTo>
                    <a:pt x="0" y="34"/>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00" name="Freeform 117"/>
            <p:cNvSpPr>
              <a:spLocks/>
            </p:cNvSpPr>
            <p:nvPr/>
          </p:nvSpPr>
          <p:spPr bwMode="auto">
            <a:xfrm>
              <a:off x="6874" y="3322"/>
              <a:ext cx="29" cy="32"/>
            </a:xfrm>
            <a:custGeom>
              <a:avLst/>
              <a:gdLst>
                <a:gd name="T0" fmla="*/ 0 w 29"/>
                <a:gd name="T1" fmla="*/ 0 h 32"/>
                <a:gd name="T2" fmla="*/ 29 w 29"/>
                <a:gd name="T3" fmla="*/ 0 h 32"/>
                <a:gd name="T4" fmla="*/ 29 w 29"/>
                <a:gd name="T5" fmla="*/ 32 h 32"/>
                <a:gd name="T6" fmla="*/ 0 w 29"/>
                <a:gd name="T7" fmla="*/ 32 h 32"/>
                <a:gd name="T8" fmla="*/ 0 w 29"/>
                <a:gd name="T9" fmla="*/ 0 h 32"/>
                <a:gd name="T10" fmla="*/ 0 w 29"/>
                <a:gd name="T11" fmla="*/ 0 h 32"/>
              </a:gdLst>
              <a:ahLst/>
              <a:cxnLst>
                <a:cxn ang="0">
                  <a:pos x="T0" y="T1"/>
                </a:cxn>
                <a:cxn ang="0">
                  <a:pos x="T2" y="T3"/>
                </a:cxn>
                <a:cxn ang="0">
                  <a:pos x="T4" y="T5"/>
                </a:cxn>
                <a:cxn ang="0">
                  <a:pos x="T6" y="T7"/>
                </a:cxn>
                <a:cxn ang="0">
                  <a:pos x="T8" y="T9"/>
                </a:cxn>
                <a:cxn ang="0">
                  <a:pos x="T10" y="T11"/>
                </a:cxn>
              </a:cxnLst>
              <a:rect l="0" t="0" r="r" b="b"/>
              <a:pathLst>
                <a:path w="29" h="32">
                  <a:moveTo>
                    <a:pt x="0" y="0"/>
                  </a:moveTo>
                  <a:lnTo>
                    <a:pt x="29" y="0"/>
                  </a:lnTo>
                  <a:lnTo>
                    <a:pt x="29" y="32"/>
                  </a:lnTo>
                  <a:lnTo>
                    <a:pt x="0" y="32"/>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01" name="Freeform 118"/>
            <p:cNvSpPr>
              <a:spLocks/>
            </p:cNvSpPr>
            <p:nvPr/>
          </p:nvSpPr>
          <p:spPr bwMode="auto">
            <a:xfrm>
              <a:off x="6912" y="3322"/>
              <a:ext cx="36" cy="32"/>
            </a:xfrm>
            <a:custGeom>
              <a:avLst/>
              <a:gdLst>
                <a:gd name="T0" fmla="*/ 0 w 36"/>
                <a:gd name="T1" fmla="*/ 0 h 32"/>
                <a:gd name="T2" fmla="*/ 36 w 36"/>
                <a:gd name="T3" fmla="*/ 0 h 32"/>
                <a:gd name="T4" fmla="*/ 36 w 36"/>
                <a:gd name="T5" fmla="*/ 32 h 32"/>
                <a:gd name="T6" fmla="*/ 0 w 36"/>
                <a:gd name="T7" fmla="*/ 32 h 32"/>
                <a:gd name="T8" fmla="*/ 0 w 36"/>
                <a:gd name="T9" fmla="*/ 0 h 32"/>
                <a:gd name="T10" fmla="*/ 0 w 36"/>
                <a:gd name="T11" fmla="*/ 0 h 32"/>
              </a:gdLst>
              <a:ahLst/>
              <a:cxnLst>
                <a:cxn ang="0">
                  <a:pos x="T0" y="T1"/>
                </a:cxn>
                <a:cxn ang="0">
                  <a:pos x="T2" y="T3"/>
                </a:cxn>
                <a:cxn ang="0">
                  <a:pos x="T4" y="T5"/>
                </a:cxn>
                <a:cxn ang="0">
                  <a:pos x="T6" y="T7"/>
                </a:cxn>
                <a:cxn ang="0">
                  <a:pos x="T8" y="T9"/>
                </a:cxn>
                <a:cxn ang="0">
                  <a:pos x="T10" y="T11"/>
                </a:cxn>
              </a:cxnLst>
              <a:rect l="0" t="0" r="r" b="b"/>
              <a:pathLst>
                <a:path w="36" h="32">
                  <a:moveTo>
                    <a:pt x="0" y="0"/>
                  </a:moveTo>
                  <a:lnTo>
                    <a:pt x="36" y="0"/>
                  </a:lnTo>
                  <a:lnTo>
                    <a:pt x="36" y="32"/>
                  </a:lnTo>
                  <a:lnTo>
                    <a:pt x="0" y="32"/>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02" name="Freeform 119"/>
            <p:cNvSpPr>
              <a:spLocks/>
            </p:cNvSpPr>
            <p:nvPr/>
          </p:nvSpPr>
          <p:spPr bwMode="auto">
            <a:xfrm>
              <a:off x="6957" y="3322"/>
              <a:ext cx="26" cy="32"/>
            </a:xfrm>
            <a:custGeom>
              <a:avLst/>
              <a:gdLst>
                <a:gd name="T0" fmla="*/ 0 w 26"/>
                <a:gd name="T1" fmla="*/ 0 h 32"/>
                <a:gd name="T2" fmla="*/ 26 w 26"/>
                <a:gd name="T3" fmla="*/ 0 h 32"/>
                <a:gd name="T4" fmla="*/ 26 w 26"/>
                <a:gd name="T5" fmla="*/ 32 h 32"/>
                <a:gd name="T6" fmla="*/ 0 w 26"/>
                <a:gd name="T7" fmla="*/ 32 h 32"/>
                <a:gd name="T8" fmla="*/ 0 w 26"/>
                <a:gd name="T9" fmla="*/ 0 h 32"/>
                <a:gd name="T10" fmla="*/ 0 w 26"/>
                <a:gd name="T11" fmla="*/ 0 h 32"/>
              </a:gdLst>
              <a:ahLst/>
              <a:cxnLst>
                <a:cxn ang="0">
                  <a:pos x="T0" y="T1"/>
                </a:cxn>
                <a:cxn ang="0">
                  <a:pos x="T2" y="T3"/>
                </a:cxn>
                <a:cxn ang="0">
                  <a:pos x="T4" y="T5"/>
                </a:cxn>
                <a:cxn ang="0">
                  <a:pos x="T6" y="T7"/>
                </a:cxn>
                <a:cxn ang="0">
                  <a:pos x="T8" y="T9"/>
                </a:cxn>
                <a:cxn ang="0">
                  <a:pos x="T10" y="T11"/>
                </a:cxn>
              </a:cxnLst>
              <a:rect l="0" t="0" r="r" b="b"/>
              <a:pathLst>
                <a:path w="26" h="32">
                  <a:moveTo>
                    <a:pt x="0" y="0"/>
                  </a:moveTo>
                  <a:lnTo>
                    <a:pt x="26" y="0"/>
                  </a:lnTo>
                  <a:lnTo>
                    <a:pt x="26" y="32"/>
                  </a:lnTo>
                  <a:lnTo>
                    <a:pt x="0" y="32"/>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03" name="Freeform 120"/>
            <p:cNvSpPr>
              <a:spLocks/>
            </p:cNvSpPr>
            <p:nvPr/>
          </p:nvSpPr>
          <p:spPr bwMode="auto">
            <a:xfrm>
              <a:off x="6874" y="3363"/>
              <a:ext cx="109" cy="35"/>
            </a:xfrm>
            <a:custGeom>
              <a:avLst/>
              <a:gdLst>
                <a:gd name="T0" fmla="*/ 0 w 109"/>
                <a:gd name="T1" fmla="*/ 0 h 35"/>
                <a:gd name="T2" fmla="*/ 109 w 109"/>
                <a:gd name="T3" fmla="*/ 0 h 35"/>
                <a:gd name="T4" fmla="*/ 109 w 109"/>
                <a:gd name="T5" fmla="*/ 35 h 35"/>
                <a:gd name="T6" fmla="*/ 0 w 109"/>
                <a:gd name="T7" fmla="*/ 35 h 35"/>
                <a:gd name="T8" fmla="*/ 0 w 109"/>
                <a:gd name="T9" fmla="*/ 0 h 35"/>
                <a:gd name="T10" fmla="*/ 0 w 109"/>
                <a:gd name="T11" fmla="*/ 0 h 35"/>
              </a:gdLst>
              <a:ahLst/>
              <a:cxnLst>
                <a:cxn ang="0">
                  <a:pos x="T0" y="T1"/>
                </a:cxn>
                <a:cxn ang="0">
                  <a:pos x="T2" y="T3"/>
                </a:cxn>
                <a:cxn ang="0">
                  <a:pos x="T4" y="T5"/>
                </a:cxn>
                <a:cxn ang="0">
                  <a:pos x="T6" y="T7"/>
                </a:cxn>
                <a:cxn ang="0">
                  <a:pos x="T8" y="T9"/>
                </a:cxn>
                <a:cxn ang="0">
                  <a:pos x="T10" y="T11"/>
                </a:cxn>
              </a:cxnLst>
              <a:rect l="0" t="0" r="r" b="b"/>
              <a:pathLst>
                <a:path w="109" h="35">
                  <a:moveTo>
                    <a:pt x="0" y="0"/>
                  </a:moveTo>
                  <a:lnTo>
                    <a:pt x="109" y="0"/>
                  </a:lnTo>
                  <a:lnTo>
                    <a:pt x="109" y="35"/>
                  </a:lnTo>
                  <a:lnTo>
                    <a:pt x="0" y="35"/>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04" name="Freeform 121"/>
            <p:cNvSpPr>
              <a:spLocks/>
            </p:cNvSpPr>
            <p:nvPr/>
          </p:nvSpPr>
          <p:spPr bwMode="auto">
            <a:xfrm>
              <a:off x="6957" y="3241"/>
              <a:ext cx="26" cy="27"/>
            </a:xfrm>
            <a:custGeom>
              <a:avLst/>
              <a:gdLst>
                <a:gd name="T0" fmla="*/ 0 w 26"/>
                <a:gd name="T1" fmla="*/ 0 h 27"/>
                <a:gd name="T2" fmla="*/ 26 w 26"/>
                <a:gd name="T3" fmla="*/ 0 h 27"/>
                <a:gd name="T4" fmla="*/ 26 w 26"/>
                <a:gd name="T5" fmla="*/ 27 h 27"/>
                <a:gd name="T6" fmla="*/ 0 w 26"/>
                <a:gd name="T7" fmla="*/ 27 h 27"/>
                <a:gd name="T8" fmla="*/ 0 w 26"/>
                <a:gd name="T9" fmla="*/ 0 h 27"/>
                <a:gd name="T10" fmla="*/ 0 w 26"/>
                <a:gd name="T11" fmla="*/ 0 h 27"/>
              </a:gdLst>
              <a:ahLst/>
              <a:cxnLst>
                <a:cxn ang="0">
                  <a:pos x="T0" y="T1"/>
                </a:cxn>
                <a:cxn ang="0">
                  <a:pos x="T2" y="T3"/>
                </a:cxn>
                <a:cxn ang="0">
                  <a:pos x="T4" y="T5"/>
                </a:cxn>
                <a:cxn ang="0">
                  <a:pos x="T6" y="T7"/>
                </a:cxn>
                <a:cxn ang="0">
                  <a:pos x="T8" y="T9"/>
                </a:cxn>
                <a:cxn ang="0">
                  <a:pos x="T10" y="T11"/>
                </a:cxn>
              </a:cxnLst>
              <a:rect l="0" t="0" r="r" b="b"/>
              <a:pathLst>
                <a:path w="26" h="27">
                  <a:moveTo>
                    <a:pt x="0" y="0"/>
                  </a:moveTo>
                  <a:lnTo>
                    <a:pt x="26" y="0"/>
                  </a:lnTo>
                  <a:lnTo>
                    <a:pt x="26" y="27"/>
                  </a:lnTo>
                  <a:lnTo>
                    <a:pt x="0" y="27"/>
                  </a:lnTo>
                  <a:lnTo>
                    <a:pt x="0" y="0"/>
                  </a:ln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05" name="Freeform 122"/>
            <p:cNvSpPr>
              <a:spLocks/>
            </p:cNvSpPr>
            <p:nvPr/>
          </p:nvSpPr>
          <p:spPr bwMode="auto">
            <a:xfrm>
              <a:off x="6359" y="3348"/>
              <a:ext cx="1278" cy="885"/>
            </a:xfrm>
            <a:custGeom>
              <a:avLst/>
              <a:gdLst>
                <a:gd name="T0" fmla="*/ 857 w 872"/>
                <a:gd name="T1" fmla="*/ 603 h 603"/>
                <a:gd name="T2" fmla="*/ 872 w 872"/>
                <a:gd name="T3" fmla="*/ 586 h 603"/>
                <a:gd name="T4" fmla="*/ 872 w 872"/>
                <a:gd name="T5" fmla="*/ 17 h 603"/>
                <a:gd name="T6" fmla="*/ 857 w 872"/>
                <a:gd name="T7" fmla="*/ 0 h 603"/>
                <a:gd name="T8" fmla="*/ 18 w 872"/>
                <a:gd name="T9" fmla="*/ 0 h 603"/>
                <a:gd name="T10" fmla="*/ 0 w 872"/>
                <a:gd name="T11" fmla="*/ 17 h 603"/>
                <a:gd name="T12" fmla="*/ 0 w 872"/>
                <a:gd name="T13" fmla="*/ 586 h 603"/>
                <a:gd name="T14" fmla="*/ 18 w 872"/>
                <a:gd name="T15" fmla="*/ 603 h 603"/>
                <a:gd name="T16" fmla="*/ 857 w 872"/>
                <a:gd name="T17" fmla="*/ 603 h 603"/>
                <a:gd name="T18" fmla="*/ 857 w 872"/>
                <a:gd name="T19" fmla="*/ 603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2" h="603">
                  <a:moveTo>
                    <a:pt x="857" y="603"/>
                  </a:moveTo>
                  <a:cubicBezTo>
                    <a:pt x="866" y="603"/>
                    <a:pt x="872" y="597"/>
                    <a:pt x="872" y="586"/>
                  </a:cubicBezTo>
                  <a:cubicBezTo>
                    <a:pt x="872" y="17"/>
                    <a:pt x="872" y="17"/>
                    <a:pt x="872" y="17"/>
                  </a:cubicBezTo>
                  <a:cubicBezTo>
                    <a:pt x="872" y="6"/>
                    <a:pt x="866" y="0"/>
                    <a:pt x="857" y="0"/>
                  </a:cubicBezTo>
                  <a:cubicBezTo>
                    <a:pt x="18" y="0"/>
                    <a:pt x="18" y="0"/>
                    <a:pt x="18" y="0"/>
                  </a:cubicBezTo>
                  <a:cubicBezTo>
                    <a:pt x="9" y="0"/>
                    <a:pt x="0" y="6"/>
                    <a:pt x="0" y="17"/>
                  </a:cubicBezTo>
                  <a:cubicBezTo>
                    <a:pt x="0" y="586"/>
                    <a:pt x="0" y="586"/>
                    <a:pt x="0" y="586"/>
                  </a:cubicBezTo>
                  <a:cubicBezTo>
                    <a:pt x="0" y="597"/>
                    <a:pt x="9" y="603"/>
                    <a:pt x="18" y="603"/>
                  </a:cubicBezTo>
                  <a:cubicBezTo>
                    <a:pt x="857" y="603"/>
                    <a:pt x="857" y="603"/>
                    <a:pt x="857" y="603"/>
                  </a:cubicBezTo>
                  <a:cubicBezTo>
                    <a:pt x="857" y="603"/>
                    <a:pt x="857" y="603"/>
                    <a:pt x="857" y="60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06" name="Freeform 123"/>
            <p:cNvSpPr>
              <a:spLocks/>
            </p:cNvSpPr>
            <p:nvPr/>
          </p:nvSpPr>
          <p:spPr bwMode="auto">
            <a:xfrm>
              <a:off x="6412" y="3395"/>
              <a:ext cx="1175" cy="651"/>
            </a:xfrm>
            <a:custGeom>
              <a:avLst/>
              <a:gdLst>
                <a:gd name="T0" fmla="*/ 0 w 1175"/>
                <a:gd name="T1" fmla="*/ 0 h 651"/>
                <a:gd name="T2" fmla="*/ 1175 w 1175"/>
                <a:gd name="T3" fmla="*/ 0 h 651"/>
                <a:gd name="T4" fmla="*/ 1175 w 1175"/>
                <a:gd name="T5" fmla="*/ 651 h 651"/>
                <a:gd name="T6" fmla="*/ 0 w 1175"/>
                <a:gd name="T7" fmla="*/ 651 h 651"/>
                <a:gd name="T8" fmla="*/ 0 w 1175"/>
                <a:gd name="T9" fmla="*/ 0 h 651"/>
                <a:gd name="T10" fmla="*/ 0 w 1175"/>
                <a:gd name="T11" fmla="*/ 0 h 651"/>
              </a:gdLst>
              <a:ahLst/>
              <a:cxnLst>
                <a:cxn ang="0">
                  <a:pos x="T0" y="T1"/>
                </a:cxn>
                <a:cxn ang="0">
                  <a:pos x="T2" y="T3"/>
                </a:cxn>
                <a:cxn ang="0">
                  <a:pos x="T4" y="T5"/>
                </a:cxn>
                <a:cxn ang="0">
                  <a:pos x="T6" y="T7"/>
                </a:cxn>
                <a:cxn ang="0">
                  <a:pos x="T8" y="T9"/>
                </a:cxn>
                <a:cxn ang="0">
                  <a:pos x="T10" y="T11"/>
                </a:cxn>
              </a:cxnLst>
              <a:rect l="0" t="0" r="r" b="b"/>
              <a:pathLst>
                <a:path w="1175" h="651">
                  <a:moveTo>
                    <a:pt x="0" y="0"/>
                  </a:moveTo>
                  <a:lnTo>
                    <a:pt x="1175" y="0"/>
                  </a:lnTo>
                  <a:lnTo>
                    <a:pt x="1175" y="651"/>
                  </a:lnTo>
                  <a:lnTo>
                    <a:pt x="0" y="651"/>
                  </a:lnTo>
                  <a:lnTo>
                    <a:pt x="0" y="0"/>
                  </a:lnTo>
                  <a:lnTo>
                    <a:pt x="0"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07" name="Freeform 124"/>
            <p:cNvSpPr>
              <a:spLocks/>
            </p:cNvSpPr>
            <p:nvPr/>
          </p:nvSpPr>
          <p:spPr bwMode="auto">
            <a:xfrm>
              <a:off x="5759" y="3479"/>
              <a:ext cx="370" cy="541"/>
            </a:xfrm>
            <a:custGeom>
              <a:avLst/>
              <a:gdLst>
                <a:gd name="T0" fmla="*/ 0 w 253"/>
                <a:gd name="T1" fmla="*/ 171 h 369"/>
                <a:gd name="T2" fmla="*/ 0 w 253"/>
                <a:gd name="T3" fmla="*/ 354 h 369"/>
                <a:gd name="T4" fmla="*/ 15 w 253"/>
                <a:gd name="T5" fmla="*/ 369 h 369"/>
                <a:gd name="T6" fmla="*/ 235 w 253"/>
                <a:gd name="T7" fmla="*/ 369 h 369"/>
                <a:gd name="T8" fmla="*/ 253 w 253"/>
                <a:gd name="T9" fmla="*/ 354 h 369"/>
                <a:gd name="T10" fmla="*/ 253 w 253"/>
                <a:gd name="T11" fmla="*/ 14 h 369"/>
                <a:gd name="T12" fmla="*/ 235 w 253"/>
                <a:gd name="T13" fmla="*/ 0 h 369"/>
                <a:gd name="T14" fmla="*/ 15 w 253"/>
                <a:gd name="T15" fmla="*/ 0 h 369"/>
                <a:gd name="T16" fmla="*/ 0 w 253"/>
                <a:gd name="T17" fmla="*/ 14 h 369"/>
                <a:gd name="T18" fmla="*/ 0 w 253"/>
                <a:gd name="T19" fmla="*/ 115 h 369"/>
                <a:gd name="T20" fmla="*/ 0 w 253"/>
                <a:gd name="T21" fmla="*/ 171 h 369"/>
                <a:gd name="T22" fmla="*/ 0 w 253"/>
                <a:gd name="T23" fmla="*/ 171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3" h="369">
                  <a:moveTo>
                    <a:pt x="0" y="171"/>
                  </a:moveTo>
                  <a:cubicBezTo>
                    <a:pt x="0" y="354"/>
                    <a:pt x="0" y="354"/>
                    <a:pt x="0" y="354"/>
                  </a:cubicBezTo>
                  <a:cubicBezTo>
                    <a:pt x="0" y="363"/>
                    <a:pt x="6" y="369"/>
                    <a:pt x="15" y="369"/>
                  </a:cubicBezTo>
                  <a:cubicBezTo>
                    <a:pt x="235" y="369"/>
                    <a:pt x="235" y="369"/>
                    <a:pt x="235" y="369"/>
                  </a:cubicBezTo>
                  <a:cubicBezTo>
                    <a:pt x="244" y="369"/>
                    <a:pt x="253" y="363"/>
                    <a:pt x="253" y="354"/>
                  </a:cubicBezTo>
                  <a:cubicBezTo>
                    <a:pt x="253" y="14"/>
                    <a:pt x="253" y="14"/>
                    <a:pt x="253" y="14"/>
                  </a:cubicBezTo>
                  <a:cubicBezTo>
                    <a:pt x="253" y="6"/>
                    <a:pt x="244" y="0"/>
                    <a:pt x="235" y="0"/>
                  </a:cubicBezTo>
                  <a:cubicBezTo>
                    <a:pt x="15" y="0"/>
                    <a:pt x="15" y="0"/>
                    <a:pt x="15" y="0"/>
                  </a:cubicBezTo>
                  <a:cubicBezTo>
                    <a:pt x="6" y="0"/>
                    <a:pt x="0" y="6"/>
                    <a:pt x="0" y="14"/>
                  </a:cubicBezTo>
                  <a:cubicBezTo>
                    <a:pt x="0" y="115"/>
                    <a:pt x="0" y="115"/>
                    <a:pt x="0" y="115"/>
                  </a:cubicBezTo>
                  <a:cubicBezTo>
                    <a:pt x="0" y="171"/>
                    <a:pt x="0" y="171"/>
                    <a:pt x="0" y="171"/>
                  </a:cubicBezTo>
                  <a:cubicBezTo>
                    <a:pt x="0" y="171"/>
                    <a:pt x="0" y="171"/>
                    <a:pt x="0" y="171"/>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08" name="Freeform 125"/>
            <p:cNvSpPr>
              <a:spLocks/>
            </p:cNvSpPr>
            <p:nvPr/>
          </p:nvSpPr>
          <p:spPr bwMode="auto">
            <a:xfrm>
              <a:off x="5791" y="3514"/>
              <a:ext cx="302" cy="468"/>
            </a:xfrm>
            <a:custGeom>
              <a:avLst/>
              <a:gdLst>
                <a:gd name="T0" fmla="*/ 0 w 302"/>
                <a:gd name="T1" fmla="*/ 0 h 468"/>
                <a:gd name="T2" fmla="*/ 302 w 302"/>
                <a:gd name="T3" fmla="*/ 0 h 468"/>
                <a:gd name="T4" fmla="*/ 302 w 302"/>
                <a:gd name="T5" fmla="*/ 468 h 468"/>
                <a:gd name="T6" fmla="*/ 0 w 302"/>
                <a:gd name="T7" fmla="*/ 468 h 468"/>
                <a:gd name="T8" fmla="*/ 0 w 302"/>
                <a:gd name="T9" fmla="*/ 0 h 468"/>
                <a:gd name="T10" fmla="*/ 0 w 302"/>
                <a:gd name="T11" fmla="*/ 0 h 468"/>
              </a:gdLst>
              <a:ahLst/>
              <a:cxnLst>
                <a:cxn ang="0">
                  <a:pos x="T0" y="T1"/>
                </a:cxn>
                <a:cxn ang="0">
                  <a:pos x="T2" y="T3"/>
                </a:cxn>
                <a:cxn ang="0">
                  <a:pos x="T4" y="T5"/>
                </a:cxn>
                <a:cxn ang="0">
                  <a:pos x="T6" y="T7"/>
                </a:cxn>
                <a:cxn ang="0">
                  <a:pos x="T8" y="T9"/>
                </a:cxn>
                <a:cxn ang="0">
                  <a:pos x="T10" y="T11"/>
                </a:cxn>
              </a:cxnLst>
              <a:rect l="0" t="0" r="r" b="b"/>
              <a:pathLst>
                <a:path w="302" h="468">
                  <a:moveTo>
                    <a:pt x="0" y="0"/>
                  </a:moveTo>
                  <a:lnTo>
                    <a:pt x="302" y="0"/>
                  </a:lnTo>
                  <a:lnTo>
                    <a:pt x="302" y="468"/>
                  </a:lnTo>
                  <a:lnTo>
                    <a:pt x="0" y="468"/>
                  </a:lnTo>
                  <a:lnTo>
                    <a:pt x="0" y="0"/>
                  </a:lnTo>
                  <a:lnTo>
                    <a:pt x="0"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09" name="Freeform 126"/>
            <p:cNvSpPr>
              <a:spLocks/>
            </p:cNvSpPr>
            <p:nvPr/>
          </p:nvSpPr>
          <p:spPr bwMode="auto">
            <a:xfrm>
              <a:off x="5825" y="3570"/>
              <a:ext cx="154" cy="160"/>
            </a:xfrm>
            <a:custGeom>
              <a:avLst/>
              <a:gdLst>
                <a:gd name="T0" fmla="*/ 0 w 154"/>
                <a:gd name="T1" fmla="*/ 0 h 160"/>
                <a:gd name="T2" fmla="*/ 154 w 154"/>
                <a:gd name="T3" fmla="*/ 0 h 160"/>
                <a:gd name="T4" fmla="*/ 154 w 154"/>
                <a:gd name="T5" fmla="*/ 160 h 160"/>
                <a:gd name="T6" fmla="*/ 0 w 154"/>
                <a:gd name="T7" fmla="*/ 160 h 160"/>
                <a:gd name="T8" fmla="*/ 0 w 154"/>
                <a:gd name="T9" fmla="*/ 0 h 160"/>
                <a:gd name="T10" fmla="*/ 0 w 154"/>
                <a:gd name="T11" fmla="*/ 0 h 160"/>
              </a:gdLst>
              <a:ahLst/>
              <a:cxnLst>
                <a:cxn ang="0">
                  <a:pos x="T0" y="T1"/>
                </a:cxn>
                <a:cxn ang="0">
                  <a:pos x="T2" y="T3"/>
                </a:cxn>
                <a:cxn ang="0">
                  <a:pos x="T4" y="T5"/>
                </a:cxn>
                <a:cxn ang="0">
                  <a:pos x="T6" y="T7"/>
                </a:cxn>
                <a:cxn ang="0">
                  <a:pos x="T8" y="T9"/>
                </a:cxn>
                <a:cxn ang="0">
                  <a:pos x="T10" y="T11"/>
                </a:cxn>
              </a:cxnLst>
              <a:rect l="0" t="0" r="r" b="b"/>
              <a:pathLst>
                <a:path w="154" h="160">
                  <a:moveTo>
                    <a:pt x="0" y="0"/>
                  </a:moveTo>
                  <a:lnTo>
                    <a:pt x="154" y="0"/>
                  </a:lnTo>
                  <a:lnTo>
                    <a:pt x="154" y="160"/>
                  </a:lnTo>
                  <a:lnTo>
                    <a:pt x="0" y="160"/>
                  </a:lnTo>
                  <a:lnTo>
                    <a:pt x="0" y="0"/>
                  </a:lnTo>
                  <a:lnTo>
                    <a:pt x="0"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10" name="Freeform 127"/>
            <p:cNvSpPr>
              <a:spLocks/>
            </p:cNvSpPr>
            <p:nvPr/>
          </p:nvSpPr>
          <p:spPr bwMode="auto">
            <a:xfrm>
              <a:off x="5996" y="3570"/>
              <a:ext cx="67" cy="72"/>
            </a:xfrm>
            <a:custGeom>
              <a:avLst/>
              <a:gdLst>
                <a:gd name="T0" fmla="*/ 0 w 67"/>
                <a:gd name="T1" fmla="*/ 0 h 72"/>
                <a:gd name="T2" fmla="*/ 67 w 67"/>
                <a:gd name="T3" fmla="*/ 0 h 72"/>
                <a:gd name="T4" fmla="*/ 67 w 67"/>
                <a:gd name="T5" fmla="*/ 72 h 72"/>
                <a:gd name="T6" fmla="*/ 0 w 67"/>
                <a:gd name="T7" fmla="*/ 72 h 72"/>
                <a:gd name="T8" fmla="*/ 0 w 67"/>
                <a:gd name="T9" fmla="*/ 0 h 72"/>
                <a:gd name="T10" fmla="*/ 0 w 67"/>
                <a:gd name="T11" fmla="*/ 0 h 72"/>
              </a:gdLst>
              <a:ahLst/>
              <a:cxnLst>
                <a:cxn ang="0">
                  <a:pos x="T0" y="T1"/>
                </a:cxn>
                <a:cxn ang="0">
                  <a:pos x="T2" y="T3"/>
                </a:cxn>
                <a:cxn ang="0">
                  <a:pos x="T4" y="T5"/>
                </a:cxn>
                <a:cxn ang="0">
                  <a:pos x="T6" y="T7"/>
                </a:cxn>
                <a:cxn ang="0">
                  <a:pos x="T8" y="T9"/>
                </a:cxn>
                <a:cxn ang="0">
                  <a:pos x="T10" y="T11"/>
                </a:cxn>
              </a:cxnLst>
              <a:rect l="0" t="0" r="r" b="b"/>
              <a:pathLst>
                <a:path w="67" h="72">
                  <a:moveTo>
                    <a:pt x="0" y="0"/>
                  </a:moveTo>
                  <a:lnTo>
                    <a:pt x="67" y="0"/>
                  </a:lnTo>
                  <a:lnTo>
                    <a:pt x="67" y="72"/>
                  </a:lnTo>
                  <a:lnTo>
                    <a:pt x="0" y="72"/>
                  </a:lnTo>
                  <a:lnTo>
                    <a:pt x="0" y="0"/>
                  </a:lnTo>
                  <a:lnTo>
                    <a:pt x="0"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11" name="Freeform 128"/>
            <p:cNvSpPr>
              <a:spLocks/>
            </p:cNvSpPr>
            <p:nvPr/>
          </p:nvSpPr>
          <p:spPr bwMode="auto">
            <a:xfrm>
              <a:off x="5825" y="3741"/>
              <a:ext cx="64" cy="69"/>
            </a:xfrm>
            <a:custGeom>
              <a:avLst/>
              <a:gdLst>
                <a:gd name="T0" fmla="*/ 0 w 64"/>
                <a:gd name="T1" fmla="*/ 0 h 69"/>
                <a:gd name="T2" fmla="*/ 64 w 64"/>
                <a:gd name="T3" fmla="*/ 0 h 69"/>
                <a:gd name="T4" fmla="*/ 64 w 64"/>
                <a:gd name="T5" fmla="*/ 69 h 69"/>
                <a:gd name="T6" fmla="*/ 0 w 64"/>
                <a:gd name="T7" fmla="*/ 69 h 69"/>
                <a:gd name="T8" fmla="*/ 0 w 64"/>
                <a:gd name="T9" fmla="*/ 0 h 69"/>
                <a:gd name="T10" fmla="*/ 0 w 64"/>
                <a:gd name="T11" fmla="*/ 0 h 69"/>
              </a:gdLst>
              <a:ahLst/>
              <a:cxnLst>
                <a:cxn ang="0">
                  <a:pos x="T0" y="T1"/>
                </a:cxn>
                <a:cxn ang="0">
                  <a:pos x="T2" y="T3"/>
                </a:cxn>
                <a:cxn ang="0">
                  <a:pos x="T4" y="T5"/>
                </a:cxn>
                <a:cxn ang="0">
                  <a:pos x="T6" y="T7"/>
                </a:cxn>
                <a:cxn ang="0">
                  <a:pos x="T8" y="T9"/>
                </a:cxn>
                <a:cxn ang="0">
                  <a:pos x="T10" y="T11"/>
                </a:cxn>
              </a:cxnLst>
              <a:rect l="0" t="0" r="r" b="b"/>
              <a:pathLst>
                <a:path w="64" h="69">
                  <a:moveTo>
                    <a:pt x="0" y="0"/>
                  </a:moveTo>
                  <a:lnTo>
                    <a:pt x="64" y="0"/>
                  </a:lnTo>
                  <a:lnTo>
                    <a:pt x="64" y="69"/>
                  </a:lnTo>
                  <a:lnTo>
                    <a:pt x="0" y="69"/>
                  </a:lnTo>
                  <a:lnTo>
                    <a:pt x="0" y="0"/>
                  </a:lnTo>
                  <a:lnTo>
                    <a:pt x="0"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12" name="Freeform 129"/>
            <p:cNvSpPr>
              <a:spLocks/>
            </p:cNvSpPr>
            <p:nvPr/>
          </p:nvSpPr>
          <p:spPr bwMode="auto">
            <a:xfrm>
              <a:off x="5910" y="3741"/>
              <a:ext cx="69" cy="69"/>
            </a:xfrm>
            <a:custGeom>
              <a:avLst/>
              <a:gdLst>
                <a:gd name="T0" fmla="*/ 0 w 69"/>
                <a:gd name="T1" fmla="*/ 0 h 69"/>
                <a:gd name="T2" fmla="*/ 69 w 69"/>
                <a:gd name="T3" fmla="*/ 0 h 69"/>
                <a:gd name="T4" fmla="*/ 69 w 69"/>
                <a:gd name="T5" fmla="*/ 69 h 69"/>
                <a:gd name="T6" fmla="*/ 0 w 69"/>
                <a:gd name="T7" fmla="*/ 69 h 69"/>
                <a:gd name="T8" fmla="*/ 0 w 69"/>
                <a:gd name="T9" fmla="*/ 0 h 69"/>
                <a:gd name="T10" fmla="*/ 0 w 69"/>
                <a:gd name="T11" fmla="*/ 0 h 69"/>
              </a:gdLst>
              <a:ahLst/>
              <a:cxnLst>
                <a:cxn ang="0">
                  <a:pos x="T0" y="T1"/>
                </a:cxn>
                <a:cxn ang="0">
                  <a:pos x="T2" y="T3"/>
                </a:cxn>
                <a:cxn ang="0">
                  <a:pos x="T4" y="T5"/>
                </a:cxn>
                <a:cxn ang="0">
                  <a:pos x="T6" y="T7"/>
                </a:cxn>
                <a:cxn ang="0">
                  <a:pos x="T8" y="T9"/>
                </a:cxn>
                <a:cxn ang="0">
                  <a:pos x="T10" y="T11"/>
                </a:cxn>
              </a:cxnLst>
              <a:rect l="0" t="0" r="r" b="b"/>
              <a:pathLst>
                <a:path w="69" h="69">
                  <a:moveTo>
                    <a:pt x="0" y="0"/>
                  </a:moveTo>
                  <a:lnTo>
                    <a:pt x="69" y="0"/>
                  </a:lnTo>
                  <a:lnTo>
                    <a:pt x="69" y="69"/>
                  </a:lnTo>
                  <a:lnTo>
                    <a:pt x="0" y="69"/>
                  </a:lnTo>
                  <a:lnTo>
                    <a:pt x="0" y="0"/>
                  </a:lnTo>
                  <a:lnTo>
                    <a:pt x="0"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13" name="Freeform 130"/>
            <p:cNvSpPr>
              <a:spLocks/>
            </p:cNvSpPr>
            <p:nvPr/>
          </p:nvSpPr>
          <p:spPr bwMode="auto">
            <a:xfrm>
              <a:off x="5996" y="3741"/>
              <a:ext cx="67" cy="69"/>
            </a:xfrm>
            <a:custGeom>
              <a:avLst/>
              <a:gdLst>
                <a:gd name="T0" fmla="*/ 0 w 67"/>
                <a:gd name="T1" fmla="*/ 0 h 69"/>
                <a:gd name="T2" fmla="*/ 67 w 67"/>
                <a:gd name="T3" fmla="*/ 0 h 69"/>
                <a:gd name="T4" fmla="*/ 67 w 67"/>
                <a:gd name="T5" fmla="*/ 69 h 69"/>
                <a:gd name="T6" fmla="*/ 0 w 67"/>
                <a:gd name="T7" fmla="*/ 69 h 69"/>
                <a:gd name="T8" fmla="*/ 0 w 67"/>
                <a:gd name="T9" fmla="*/ 0 h 69"/>
                <a:gd name="T10" fmla="*/ 0 w 67"/>
                <a:gd name="T11" fmla="*/ 0 h 69"/>
              </a:gdLst>
              <a:ahLst/>
              <a:cxnLst>
                <a:cxn ang="0">
                  <a:pos x="T0" y="T1"/>
                </a:cxn>
                <a:cxn ang="0">
                  <a:pos x="T2" y="T3"/>
                </a:cxn>
                <a:cxn ang="0">
                  <a:pos x="T4" y="T5"/>
                </a:cxn>
                <a:cxn ang="0">
                  <a:pos x="T6" y="T7"/>
                </a:cxn>
                <a:cxn ang="0">
                  <a:pos x="T8" y="T9"/>
                </a:cxn>
                <a:cxn ang="0">
                  <a:pos x="T10" y="T11"/>
                </a:cxn>
              </a:cxnLst>
              <a:rect l="0" t="0" r="r" b="b"/>
              <a:pathLst>
                <a:path w="67" h="69">
                  <a:moveTo>
                    <a:pt x="0" y="0"/>
                  </a:moveTo>
                  <a:lnTo>
                    <a:pt x="67" y="0"/>
                  </a:lnTo>
                  <a:lnTo>
                    <a:pt x="67" y="69"/>
                  </a:lnTo>
                  <a:lnTo>
                    <a:pt x="0" y="69"/>
                  </a:lnTo>
                  <a:lnTo>
                    <a:pt x="0" y="0"/>
                  </a:lnTo>
                  <a:lnTo>
                    <a:pt x="0"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14" name="Freeform 131"/>
            <p:cNvSpPr>
              <a:spLocks/>
            </p:cNvSpPr>
            <p:nvPr/>
          </p:nvSpPr>
          <p:spPr bwMode="auto">
            <a:xfrm>
              <a:off x="5825" y="3828"/>
              <a:ext cx="64" cy="67"/>
            </a:xfrm>
            <a:custGeom>
              <a:avLst/>
              <a:gdLst>
                <a:gd name="T0" fmla="*/ 0 w 64"/>
                <a:gd name="T1" fmla="*/ 0 h 67"/>
                <a:gd name="T2" fmla="*/ 64 w 64"/>
                <a:gd name="T3" fmla="*/ 0 h 67"/>
                <a:gd name="T4" fmla="*/ 64 w 64"/>
                <a:gd name="T5" fmla="*/ 67 h 67"/>
                <a:gd name="T6" fmla="*/ 0 w 64"/>
                <a:gd name="T7" fmla="*/ 67 h 67"/>
                <a:gd name="T8" fmla="*/ 0 w 64"/>
                <a:gd name="T9" fmla="*/ 0 h 67"/>
                <a:gd name="T10" fmla="*/ 0 w 64"/>
                <a:gd name="T11" fmla="*/ 0 h 67"/>
              </a:gdLst>
              <a:ahLst/>
              <a:cxnLst>
                <a:cxn ang="0">
                  <a:pos x="T0" y="T1"/>
                </a:cxn>
                <a:cxn ang="0">
                  <a:pos x="T2" y="T3"/>
                </a:cxn>
                <a:cxn ang="0">
                  <a:pos x="T4" y="T5"/>
                </a:cxn>
                <a:cxn ang="0">
                  <a:pos x="T6" y="T7"/>
                </a:cxn>
                <a:cxn ang="0">
                  <a:pos x="T8" y="T9"/>
                </a:cxn>
                <a:cxn ang="0">
                  <a:pos x="T10" y="T11"/>
                </a:cxn>
              </a:cxnLst>
              <a:rect l="0" t="0" r="r" b="b"/>
              <a:pathLst>
                <a:path w="64" h="67">
                  <a:moveTo>
                    <a:pt x="0" y="0"/>
                  </a:moveTo>
                  <a:lnTo>
                    <a:pt x="64" y="0"/>
                  </a:lnTo>
                  <a:lnTo>
                    <a:pt x="64" y="67"/>
                  </a:lnTo>
                  <a:lnTo>
                    <a:pt x="0" y="67"/>
                  </a:lnTo>
                  <a:lnTo>
                    <a:pt x="0" y="0"/>
                  </a:lnTo>
                  <a:lnTo>
                    <a:pt x="0"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15" name="Freeform 132"/>
            <p:cNvSpPr>
              <a:spLocks/>
            </p:cNvSpPr>
            <p:nvPr/>
          </p:nvSpPr>
          <p:spPr bwMode="auto">
            <a:xfrm>
              <a:off x="5910" y="3828"/>
              <a:ext cx="69" cy="67"/>
            </a:xfrm>
            <a:custGeom>
              <a:avLst/>
              <a:gdLst>
                <a:gd name="T0" fmla="*/ 0 w 69"/>
                <a:gd name="T1" fmla="*/ 0 h 67"/>
                <a:gd name="T2" fmla="*/ 69 w 69"/>
                <a:gd name="T3" fmla="*/ 0 h 67"/>
                <a:gd name="T4" fmla="*/ 69 w 69"/>
                <a:gd name="T5" fmla="*/ 67 h 67"/>
                <a:gd name="T6" fmla="*/ 0 w 69"/>
                <a:gd name="T7" fmla="*/ 67 h 67"/>
                <a:gd name="T8" fmla="*/ 0 w 69"/>
                <a:gd name="T9" fmla="*/ 0 h 67"/>
                <a:gd name="T10" fmla="*/ 0 w 69"/>
                <a:gd name="T11" fmla="*/ 0 h 67"/>
              </a:gdLst>
              <a:ahLst/>
              <a:cxnLst>
                <a:cxn ang="0">
                  <a:pos x="T0" y="T1"/>
                </a:cxn>
                <a:cxn ang="0">
                  <a:pos x="T2" y="T3"/>
                </a:cxn>
                <a:cxn ang="0">
                  <a:pos x="T4" y="T5"/>
                </a:cxn>
                <a:cxn ang="0">
                  <a:pos x="T6" y="T7"/>
                </a:cxn>
                <a:cxn ang="0">
                  <a:pos x="T8" y="T9"/>
                </a:cxn>
                <a:cxn ang="0">
                  <a:pos x="T10" y="T11"/>
                </a:cxn>
              </a:cxnLst>
              <a:rect l="0" t="0" r="r" b="b"/>
              <a:pathLst>
                <a:path w="69" h="67">
                  <a:moveTo>
                    <a:pt x="0" y="0"/>
                  </a:moveTo>
                  <a:lnTo>
                    <a:pt x="69" y="0"/>
                  </a:lnTo>
                  <a:lnTo>
                    <a:pt x="69" y="67"/>
                  </a:lnTo>
                  <a:lnTo>
                    <a:pt x="0" y="67"/>
                  </a:lnTo>
                  <a:lnTo>
                    <a:pt x="0" y="0"/>
                  </a:lnTo>
                  <a:lnTo>
                    <a:pt x="0"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16" name="Freeform 133"/>
            <p:cNvSpPr>
              <a:spLocks/>
            </p:cNvSpPr>
            <p:nvPr/>
          </p:nvSpPr>
          <p:spPr bwMode="auto">
            <a:xfrm>
              <a:off x="5996" y="3828"/>
              <a:ext cx="67" cy="67"/>
            </a:xfrm>
            <a:custGeom>
              <a:avLst/>
              <a:gdLst>
                <a:gd name="T0" fmla="*/ 0 w 67"/>
                <a:gd name="T1" fmla="*/ 0 h 67"/>
                <a:gd name="T2" fmla="*/ 67 w 67"/>
                <a:gd name="T3" fmla="*/ 0 h 67"/>
                <a:gd name="T4" fmla="*/ 67 w 67"/>
                <a:gd name="T5" fmla="*/ 67 h 67"/>
                <a:gd name="T6" fmla="*/ 0 w 67"/>
                <a:gd name="T7" fmla="*/ 67 h 67"/>
                <a:gd name="T8" fmla="*/ 0 w 67"/>
                <a:gd name="T9" fmla="*/ 0 h 67"/>
                <a:gd name="T10" fmla="*/ 0 w 67"/>
                <a:gd name="T11" fmla="*/ 0 h 67"/>
              </a:gdLst>
              <a:ahLst/>
              <a:cxnLst>
                <a:cxn ang="0">
                  <a:pos x="T0" y="T1"/>
                </a:cxn>
                <a:cxn ang="0">
                  <a:pos x="T2" y="T3"/>
                </a:cxn>
                <a:cxn ang="0">
                  <a:pos x="T4" y="T5"/>
                </a:cxn>
                <a:cxn ang="0">
                  <a:pos x="T6" y="T7"/>
                </a:cxn>
                <a:cxn ang="0">
                  <a:pos x="T8" y="T9"/>
                </a:cxn>
                <a:cxn ang="0">
                  <a:pos x="T10" y="T11"/>
                </a:cxn>
              </a:cxnLst>
              <a:rect l="0" t="0" r="r" b="b"/>
              <a:pathLst>
                <a:path w="67" h="67">
                  <a:moveTo>
                    <a:pt x="0" y="0"/>
                  </a:moveTo>
                  <a:lnTo>
                    <a:pt x="67" y="0"/>
                  </a:lnTo>
                  <a:lnTo>
                    <a:pt x="67" y="67"/>
                  </a:lnTo>
                  <a:lnTo>
                    <a:pt x="0" y="67"/>
                  </a:lnTo>
                  <a:lnTo>
                    <a:pt x="0" y="0"/>
                  </a:lnTo>
                  <a:lnTo>
                    <a:pt x="0"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17" name="Freeform 134"/>
            <p:cNvSpPr>
              <a:spLocks/>
            </p:cNvSpPr>
            <p:nvPr/>
          </p:nvSpPr>
          <p:spPr bwMode="auto">
            <a:xfrm>
              <a:off x="5825" y="3913"/>
              <a:ext cx="238" cy="69"/>
            </a:xfrm>
            <a:custGeom>
              <a:avLst/>
              <a:gdLst>
                <a:gd name="T0" fmla="*/ 0 w 238"/>
                <a:gd name="T1" fmla="*/ 0 h 69"/>
                <a:gd name="T2" fmla="*/ 238 w 238"/>
                <a:gd name="T3" fmla="*/ 0 h 69"/>
                <a:gd name="T4" fmla="*/ 238 w 238"/>
                <a:gd name="T5" fmla="*/ 69 h 69"/>
                <a:gd name="T6" fmla="*/ 0 w 238"/>
                <a:gd name="T7" fmla="*/ 69 h 69"/>
                <a:gd name="T8" fmla="*/ 0 w 238"/>
                <a:gd name="T9" fmla="*/ 0 h 69"/>
                <a:gd name="T10" fmla="*/ 0 w 238"/>
                <a:gd name="T11" fmla="*/ 0 h 69"/>
              </a:gdLst>
              <a:ahLst/>
              <a:cxnLst>
                <a:cxn ang="0">
                  <a:pos x="T0" y="T1"/>
                </a:cxn>
                <a:cxn ang="0">
                  <a:pos x="T2" y="T3"/>
                </a:cxn>
                <a:cxn ang="0">
                  <a:pos x="T4" y="T5"/>
                </a:cxn>
                <a:cxn ang="0">
                  <a:pos x="T6" y="T7"/>
                </a:cxn>
                <a:cxn ang="0">
                  <a:pos x="T8" y="T9"/>
                </a:cxn>
                <a:cxn ang="0">
                  <a:pos x="T10" y="T11"/>
                </a:cxn>
              </a:cxnLst>
              <a:rect l="0" t="0" r="r" b="b"/>
              <a:pathLst>
                <a:path w="238" h="69">
                  <a:moveTo>
                    <a:pt x="0" y="0"/>
                  </a:moveTo>
                  <a:lnTo>
                    <a:pt x="238" y="0"/>
                  </a:lnTo>
                  <a:lnTo>
                    <a:pt x="238" y="69"/>
                  </a:lnTo>
                  <a:lnTo>
                    <a:pt x="0" y="69"/>
                  </a:lnTo>
                  <a:lnTo>
                    <a:pt x="0" y="0"/>
                  </a:lnTo>
                  <a:lnTo>
                    <a:pt x="0"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18" name="Freeform 135"/>
            <p:cNvSpPr>
              <a:spLocks/>
            </p:cNvSpPr>
            <p:nvPr/>
          </p:nvSpPr>
          <p:spPr bwMode="auto">
            <a:xfrm>
              <a:off x="5996" y="3659"/>
              <a:ext cx="67" cy="71"/>
            </a:xfrm>
            <a:custGeom>
              <a:avLst/>
              <a:gdLst>
                <a:gd name="T0" fmla="*/ 0 w 67"/>
                <a:gd name="T1" fmla="*/ 0 h 71"/>
                <a:gd name="T2" fmla="*/ 67 w 67"/>
                <a:gd name="T3" fmla="*/ 0 h 71"/>
                <a:gd name="T4" fmla="*/ 67 w 67"/>
                <a:gd name="T5" fmla="*/ 71 h 71"/>
                <a:gd name="T6" fmla="*/ 0 w 67"/>
                <a:gd name="T7" fmla="*/ 71 h 71"/>
                <a:gd name="T8" fmla="*/ 0 w 67"/>
                <a:gd name="T9" fmla="*/ 0 h 71"/>
                <a:gd name="T10" fmla="*/ 0 w 67"/>
                <a:gd name="T11" fmla="*/ 0 h 71"/>
              </a:gdLst>
              <a:ahLst/>
              <a:cxnLst>
                <a:cxn ang="0">
                  <a:pos x="T0" y="T1"/>
                </a:cxn>
                <a:cxn ang="0">
                  <a:pos x="T2" y="T3"/>
                </a:cxn>
                <a:cxn ang="0">
                  <a:pos x="T4" y="T5"/>
                </a:cxn>
                <a:cxn ang="0">
                  <a:pos x="T6" y="T7"/>
                </a:cxn>
                <a:cxn ang="0">
                  <a:pos x="T8" y="T9"/>
                </a:cxn>
                <a:cxn ang="0">
                  <a:pos x="T10" y="T11"/>
                </a:cxn>
              </a:cxnLst>
              <a:rect l="0" t="0" r="r" b="b"/>
              <a:pathLst>
                <a:path w="67" h="71">
                  <a:moveTo>
                    <a:pt x="0" y="0"/>
                  </a:moveTo>
                  <a:lnTo>
                    <a:pt x="67" y="0"/>
                  </a:lnTo>
                  <a:lnTo>
                    <a:pt x="67" y="71"/>
                  </a:lnTo>
                  <a:lnTo>
                    <a:pt x="0" y="71"/>
                  </a:lnTo>
                  <a:lnTo>
                    <a:pt x="0" y="0"/>
                  </a:lnTo>
                  <a:lnTo>
                    <a:pt x="0" y="0"/>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19" name="Freeform 136"/>
            <p:cNvSpPr>
              <a:spLocks/>
            </p:cNvSpPr>
            <p:nvPr/>
          </p:nvSpPr>
          <p:spPr bwMode="auto">
            <a:xfrm>
              <a:off x="6762" y="3558"/>
              <a:ext cx="469" cy="683"/>
            </a:xfrm>
            <a:custGeom>
              <a:avLst/>
              <a:gdLst>
                <a:gd name="T0" fmla="*/ 0 w 320"/>
                <a:gd name="T1" fmla="*/ 216 h 466"/>
                <a:gd name="T2" fmla="*/ 0 w 320"/>
                <a:gd name="T3" fmla="*/ 446 h 466"/>
                <a:gd name="T4" fmla="*/ 20 w 320"/>
                <a:gd name="T5" fmla="*/ 466 h 466"/>
                <a:gd name="T6" fmla="*/ 300 w 320"/>
                <a:gd name="T7" fmla="*/ 466 h 466"/>
                <a:gd name="T8" fmla="*/ 320 w 320"/>
                <a:gd name="T9" fmla="*/ 446 h 466"/>
                <a:gd name="T10" fmla="*/ 320 w 320"/>
                <a:gd name="T11" fmla="*/ 21 h 466"/>
                <a:gd name="T12" fmla="*/ 300 w 320"/>
                <a:gd name="T13" fmla="*/ 0 h 466"/>
                <a:gd name="T14" fmla="*/ 20 w 320"/>
                <a:gd name="T15" fmla="*/ 0 h 466"/>
                <a:gd name="T16" fmla="*/ 0 w 320"/>
                <a:gd name="T17" fmla="*/ 21 h 466"/>
                <a:gd name="T18" fmla="*/ 0 w 320"/>
                <a:gd name="T19" fmla="*/ 148 h 466"/>
                <a:gd name="T20" fmla="*/ 0 w 320"/>
                <a:gd name="T21" fmla="*/ 216 h 466"/>
                <a:gd name="T22" fmla="*/ 0 w 320"/>
                <a:gd name="T23" fmla="*/ 216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0" h="466">
                  <a:moveTo>
                    <a:pt x="0" y="216"/>
                  </a:moveTo>
                  <a:cubicBezTo>
                    <a:pt x="0" y="446"/>
                    <a:pt x="0" y="446"/>
                    <a:pt x="0" y="446"/>
                  </a:cubicBezTo>
                  <a:cubicBezTo>
                    <a:pt x="0" y="458"/>
                    <a:pt x="8" y="466"/>
                    <a:pt x="20" y="466"/>
                  </a:cubicBezTo>
                  <a:cubicBezTo>
                    <a:pt x="300" y="466"/>
                    <a:pt x="300" y="466"/>
                    <a:pt x="300" y="466"/>
                  </a:cubicBezTo>
                  <a:cubicBezTo>
                    <a:pt x="312" y="466"/>
                    <a:pt x="320" y="458"/>
                    <a:pt x="320" y="446"/>
                  </a:cubicBezTo>
                  <a:cubicBezTo>
                    <a:pt x="320" y="21"/>
                    <a:pt x="320" y="21"/>
                    <a:pt x="320" y="21"/>
                  </a:cubicBezTo>
                  <a:cubicBezTo>
                    <a:pt x="320" y="9"/>
                    <a:pt x="312" y="0"/>
                    <a:pt x="300" y="0"/>
                  </a:cubicBezTo>
                  <a:cubicBezTo>
                    <a:pt x="20" y="0"/>
                    <a:pt x="20" y="0"/>
                    <a:pt x="20" y="0"/>
                  </a:cubicBezTo>
                  <a:cubicBezTo>
                    <a:pt x="8" y="0"/>
                    <a:pt x="0" y="9"/>
                    <a:pt x="0" y="21"/>
                  </a:cubicBezTo>
                  <a:cubicBezTo>
                    <a:pt x="0" y="148"/>
                    <a:pt x="0" y="148"/>
                    <a:pt x="0" y="148"/>
                  </a:cubicBezTo>
                  <a:cubicBezTo>
                    <a:pt x="0" y="216"/>
                    <a:pt x="0" y="216"/>
                    <a:pt x="0" y="216"/>
                  </a:cubicBezTo>
                  <a:cubicBezTo>
                    <a:pt x="0" y="216"/>
                    <a:pt x="0" y="216"/>
                    <a:pt x="0" y="216"/>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20" name="Freeform 137"/>
            <p:cNvSpPr>
              <a:spLocks/>
            </p:cNvSpPr>
            <p:nvPr/>
          </p:nvSpPr>
          <p:spPr bwMode="auto">
            <a:xfrm>
              <a:off x="6806" y="3602"/>
              <a:ext cx="378" cy="595"/>
            </a:xfrm>
            <a:custGeom>
              <a:avLst/>
              <a:gdLst>
                <a:gd name="T0" fmla="*/ 0 w 378"/>
                <a:gd name="T1" fmla="*/ 0 h 595"/>
                <a:gd name="T2" fmla="*/ 378 w 378"/>
                <a:gd name="T3" fmla="*/ 0 h 595"/>
                <a:gd name="T4" fmla="*/ 378 w 378"/>
                <a:gd name="T5" fmla="*/ 595 h 595"/>
                <a:gd name="T6" fmla="*/ 0 w 378"/>
                <a:gd name="T7" fmla="*/ 595 h 595"/>
                <a:gd name="T8" fmla="*/ 0 w 378"/>
                <a:gd name="T9" fmla="*/ 0 h 595"/>
                <a:gd name="T10" fmla="*/ 0 w 378"/>
                <a:gd name="T11" fmla="*/ 0 h 595"/>
              </a:gdLst>
              <a:ahLst/>
              <a:cxnLst>
                <a:cxn ang="0">
                  <a:pos x="T0" y="T1"/>
                </a:cxn>
                <a:cxn ang="0">
                  <a:pos x="T2" y="T3"/>
                </a:cxn>
                <a:cxn ang="0">
                  <a:pos x="T4" y="T5"/>
                </a:cxn>
                <a:cxn ang="0">
                  <a:pos x="T6" y="T7"/>
                </a:cxn>
                <a:cxn ang="0">
                  <a:pos x="T8" y="T9"/>
                </a:cxn>
                <a:cxn ang="0">
                  <a:pos x="T10" y="T11"/>
                </a:cxn>
              </a:cxnLst>
              <a:rect l="0" t="0" r="r" b="b"/>
              <a:pathLst>
                <a:path w="378" h="595">
                  <a:moveTo>
                    <a:pt x="0" y="0"/>
                  </a:moveTo>
                  <a:lnTo>
                    <a:pt x="378" y="0"/>
                  </a:lnTo>
                  <a:lnTo>
                    <a:pt x="378" y="595"/>
                  </a:lnTo>
                  <a:lnTo>
                    <a:pt x="0" y="595"/>
                  </a:lnTo>
                  <a:lnTo>
                    <a:pt x="0" y="0"/>
                  </a:lnTo>
                  <a:lnTo>
                    <a:pt x="0"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21" name="Freeform 138"/>
            <p:cNvSpPr>
              <a:spLocks/>
            </p:cNvSpPr>
            <p:nvPr/>
          </p:nvSpPr>
          <p:spPr bwMode="auto">
            <a:xfrm>
              <a:off x="6841" y="3680"/>
              <a:ext cx="201" cy="195"/>
            </a:xfrm>
            <a:custGeom>
              <a:avLst/>
              <a:gdLst>
                <a:gd name="T0" fmla="*/ 0 w 201"/>
                <a:gd name="T1" fmla="*/ 0 h 195"/>
                <a:gd name="T2" fmla="*/ 201 w 201"/>
                <a:gd name="T3" fmla="*/ 0 h 195"/>
                <a:gd name="T4" fmla="*/ 201 w 201"/>
                <a:gd name="T5" fmla="*/ 195 h 195"/>
                <a:gd name="T6" fmla="*/ 0 w 201"/>
                <a:gd name="T7" fmla="*/ 195 h 195"/>
                <a:gd name="T8" fmla="*/ 0 w 201"/>
                <a:gd name="T9" fmla="*/ 0 h 195"/>
                <a:gd name="T10" fmla="*/ 0 w 201"/>
                <a:gd name="T11" fmla="*/ 0 h 195"/>
              </a:gdLst>
              <a:ahLst/>
              <a:cxnLst>
                <a:cxn ang="0">
                  <a:pos x="T0" y="T1"/>
                </a:cxn>
                <a:cxn ang="0">
                  <a:pos x="T2" y="T3"/>
                </a:cxn>
                <a:cxn ang="0">
                  <a:pos x="T4" y="T5"/>
                </a:cxn>
                <a:cxn ang="0">
                  <a:pos x="T6" y="T7"/>
                </a:cxn>
                <a:cxn ang="0">
                  <a:pos x="T8" y="T9"/>
                </a:cxn>
                <a:cxn ang="0">
                  <a:pos x="T10" y="T11"/>
                </a:cxn>
              </a:cxnLst>
              <a:rect l="0" t="0" r="r" b="b"/>
              <a:pathLst>
                <a:path w="201" h="195">
                  <a:moveTo>
                    <a:pt x="0" y="0"/>
                  </a:moveTo>
                  <a:lnTo>
                    <a:pt x="201" y="0"/>
                  </a:lnTo>
                  <a:lnTo>
                    <a:pt x="201" y="195"/>
                  </a:lnTo>
                  <a:lnTo>
                    <a:pt x="0" y="195"/>
                  </a:lnTo>
                  <a:lnTo>
                    <a:pt x="0" y="0"/>
                  </a:lnTo>
                  <a:lnTo>
                    <a:pt x="0"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22" name="Freeform 139"/>
            <p:cNvSpPr>
              <a:spLocks/>
            </p:cNvSpPr>
            <p:nvPr/>
          </p:nvSpPr>
          <p:spPr bwMode="auto">
            <a:xfrm>
              <a:off x="7057" y="3680"/>
              <a:ext cx="95" cy="85"/>
            </a:xfrm>
            <a:custGeom>
              <a:avLst/>
              <a:gdLst>
                <a:gd name="T0" fmla="*/ 0 w 95"/>
                <a:gd name="T1" fmla="*/ 0 h 85"/>
                <a:gd name="T2" fmla="*/ 95 w 95"/>
                <a:gd name="T3" fmla="*/ 0 h 85"/>
                <a:gd name="T4" fmla="*/ 95 w 95"/>
                <a:gd name="T5" fmla="*/ 85 h 85"/>
                <a:gd name="T6" fmla="*/ 0 w 95"/>
                <a:gd name="T7" fmla="*/ 85 h 85"/>
                <a:gd name="T8" fmla="*/ 0 w 95"/>
                <a:gd name="T9" fmla="*/ 0 h 85"/>
                <a:gd name="T10" fmla="*/ 0 w 95"/>
                <a:gd name="T11" fmla="*/ 0 h 85"/>
              </a:gdLst>
              <a:ahLst/>
              <a:cxnLst>
                <a:cxn ang="0">
                  <a:pos x="T0" y="T1"/>
                </a:cxn>
                <a:cxn ang="0">
                  <a:pos x="T2" y="T3"/>
                </a:cxn>
                <a:cxn ang="0">
                  <a:pos x="T4" y="T5"/>
                </a:cxn>
                <a:cxn ang="0">
                  <a:pos x="T6" y="T7"/>
                </a:cxn>
                <a:cxn ang="0">
                  <a:pos x="T8" y="T9"/>
                </a:cxn>
                <a:cxn ang="0">
                  <a:pos x="T10" y="T11"/>
                </a:cxn>
              </a:cxnLst>
              <a:rect l="0" t="0" r="r" b="b"/>
              <a:pathLst>
                <a:path w="95" h="85">
                  <a:moveTo>
                    <a:pt x="0" y="0"/>
                  </a:moveTo>
                  <a:lnTo>
                    <a:pt x="95" y="0"/>
                  </a:lnTo>
                  <a:lnTo>
                    <a:pt x="95" y="85"/>
                  </a:lnTo>
                  <a:lnTo>
                    <a:pt x="0" y="85"/>
                  </a:lnTo>
                  <a:lnTo>
                    <a:pt x="0" y="0"/>
                  </a:lnTo>
                  <a:lnTo>
                    <a:pt x="0"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23" name="Freeform 140"/>
            <p:cNvSpPr>
              <a:spLocks/>
            </p:cNvSpPr>
            <p:nvPr/>
          </p:nvSpPr>
          <p:spPr bwMode="auto">
            <a:xfrm>
              <a:off x="6841" y="3895"/>
              <a:ext cx="95" cy="87"/>
            </a:xfrm>
            <a:custGeom>
              <a:avLst/>
              <a:gdLst>
                <a:gd name="T0" fmla="*/ 0 w 95"/>
                <a:gd name="T1" fmla="*/ 0 h 87"/>
                <a:gd name="T2" fmla="*/ 95 w 95"/>
                <a:gd name="T3" fmla="*/ 0 h 87"/>
                <a:gd name="T4" fmla="*/ 95 w 95"/>
                <a:gd name="T5" fmla="*/ 87 h 87"/>
                <a:gd name="T6" fmla="*/ 0 w 95"/>
                <a:gd name="T7" fmla="*/ 87 h 87"/>
                <a:gd name="T8" fmla="*/ 0 w 95"/>
                <a:gd name="T9" fmla="*/ 0 h 87"/>
                <a:gd name="T10" fmla="*/ 0 w 95"/>
                <a:gd name="T11" fmla="*/ 0 h 87"/>
              </a:gdLst>
              <a:ahLst/>
              <a:cxnLst>
                <a:cxn ang="0">
                  <a:pos x="T0" y="T1"/>
                </a:cxn>
                <a:cxn ang="0">
                  <a:pos x="T2" y="T3"/>
                </a:cxn>
                <a:cxn ang="0">
                  <a:pos x="T4" y="T5"/>
                </a:cxn>
                <a:cxn ang="0">
                  <a:pos x="T6" y="T7"/>
                </a:cxn>
                <a:cxn ang="0">
                  <a:pos x="T8" y="T9"/>
                </a:cxn>
                <a:cxn ang="0">
                  <a:pos x="T10" y="T11"/>
                </a:cxn>
              </a:cxnLst>
              <a:rect l="0" t="0" r="r" b="b"/>
              <a:pathLst>
                <a:path w="95" h="87">
                  <a:moveTo>
                    <a:pt x="0" y="0"/>
                  </a:moveTo>
                  <a:lnTo>
                    <a:pt x="95" y="0"/>
                  </a:lnTo>
                  <a:lnTo>
                    <a:pt x="95" y="87"/>
                  </a:lnTo>
                  <a:lnTo>
                    <a:pt x="0" y="87"/>
                  </a:lnTo>
                  <a:lnTo>
                    <a:pt x="0" y="0"/>
                  </a:lnTo>
                  <a:lnTo>
                    <a:pt x="0"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24" name="Freeform 141"/>
            <p:cNvSpPr>
              <a:spLocks/>
            </p:cNvSpPr>
            <p:nvPr/>
          </p:nvSpPr>
          <p:spPr bwMode="auto">
            <a:xfrm>
              <a:off x="6951" y="3895"/>
              <a:ext cx="91" cy="87"/>
            </a:xfrm>
            <a:custGeom>
              <a:avLst/>
              <a:gdLst>
                <a:gd name="T0" fmla="*/ 0 w 91"/>
                <a:gd name="T1" fmla="*/ 0 h 87"/>
                <a:gd name="T2" fmla="*/ 91 w 91"/>
                <a:gd name="T3" fmla="*/ 0 h 87"/>
                <a:gd name="T4" fmla="*/ 91 w 91"/>
                <a:gd name="T5" fmla="*/ 87 h 87"/>
                <a:gd name="T6" fmla="*/ 0 w 91"/>
                <a:gd name="T7" fmla="*/ 87 h 87"/>
                <a:gd name="T8" fmla="*/ 0 w 91"/>
                <a:gd name="T9" fmla="*/ 0 h 87"/>
                <a:gd name="T10" fmla="*/ 0 w 91"/>
                <a:gd name="T11" fmla="*/ 0 h 87"/>
              </a:gdLst>
              <a:ahLst/>
              <a:cxnLst>
                <a:cxn ang="0">
                  <a:pos x="T0" y="T1"/>
                </a:cxn>
                <a:cxn ang="0">
                  <a:pos x="T2" y="T3"/>
                </a:cxn>
                <a:cxn ang="0">
                  <a:pos x="T4" y="T5"/>
                </a:cxn>
                <a:cxn ang="0">
                  <a:pos x="T6" y="T7"/>
                </a:cxn>
                <a:cxn ang="0">
                  <a:pos x="T8" y="T9"/>
                </a:cxn>
                <a:cxn ang="0">
                  <a:pos x="T10" y="T11"/>
                </a:cxn>
              </a:cxnLst>
              <a:rect l="0" t="0" r="r" b="b"/>
              <a:pathLst>
                <a:path w="91" h="87">
                  <a:moveTo>
                    <a:pt x="0" y="0"/>
                  </a:moveTo>
                  <a:lnTo>
                    <a:pt x="91" y="0"/>
                  </a:lnTo>
                  <a:lnTo>
                    <a:pt x="91" y="87"/>
                  </a:lnTo>
                  <a:lnTo>
                    <a:pt x="0" y="87"/>
                  </a:lnTo>
                  <a:lnTo>
                    <a:pt x="0" y="0"/>
                  </a:lnTo>
                  <a:lnTo>
                    <a:pt x="0"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25" name="Freeform 142"/>
            <p:cNvSpPr>
              <a:spLocks/>
            </p:cNvSpPr>
            <p:nvPr/>
          </p:nvSpPr>
          <p:spPr bwMode="auto">
            <a:xfrm>
              <a:off x="7057" y="3895"/>
              <a:ext cx="95" cy="87"/>
            </a:xfrm>
            <a:custGeom>
              <a:avLst/>
              <a:gdLst>
                <a:gd name="T0" fmla="*/ 0 w 95"/>
                <a:gd name="T1" fmla="*/ 0 h 87"/>
                <a:gd name="T2" fmla="*/ 95 w 95"/>
                <a:gd name="T3" fmla="*/ 0 h 87"/>
                <a:gd name="T4" fmla="*/ 95 w 95"/>
                <a:gd name="T5" fmla="*/ 87 h 87"/>
                <a:gd name="T6" fmla="*/ 0 w 95"/>
                <a:gd name="T7" fmla="*/ 87 h 87"/>
                <a:gd name="T8" fmla="*/ 0 w 95"/>
                <a:gd name="T9" fmla="*/ 0 h 87"/>
                <a:gd name="T10" fmla="*/ 0 w 95"/>
                <a:gd name="T11" fmla="*/ 0 h 87"/>
              </a:gdLst>
              <a:ahLst/>
              <a:cxnLst>
                <a:cxn ang="0">
                  <a:pos x="T0" y="T1"/>
                </a:cxn>
                <a:cxn ang="0">
                  <a:pos x="T2" y="T3"/>
                </a:cxn>
                <a:cxn ang="0">
                  <a:pos x="T4" y="T5"/>
                </a:cxn>
                <a:cxn ang="0">
                  <a:pos x="T6" y="T7"/>
                </a:cxn>
                <a:cxn ang="0">
                  <a:pos x="T8" y="T9"/>
                </a:cxn>
                <a:cxn ang="0">
                  <a:pos x="T10" y="T11"/>
                </a:cxn>
              </a:cxnLst>
              <a:rect l="0" t="0" r="r" b="b"/>
              <a:pathLst>
                <a:path w="95" h="87">
                  <a:moveTo>
                    <a:pt x="0" y="0"/>
                  </a:moveTo>
                  <a:lnTo>
                    <a:pt x="95" y="0"/>
                  </a:lnTo>
                  <a:lnTo>
                    <a:pt x="95" y="87"/>
                  </a:lnTo>
                  <a:lnTo>
                    <a:pt x="0" y="87"/>
                  </a:lnTo>
                  <a:lnTo>
                    <a:pt x="0" y="0"/>
                  </a:lnTo>
                  <a:lnTo>
                    <a:pt x="0"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26" name="Freeform 143"/>
            <p:cNvSpPr>
              <a:spLocks/>
            </p:cNvSpPr>
            <p:nvPr/>
          </p:nvSpPr>
          <p:spPr bwMode="auto">
            <a:xfrm>
              <a:off x="6841" y="4002"/>
              <a:ext cx="95" cy="85"/>
            </a:xfrm>
            <a:custGeom>
              <a:avLst/>
              <a:gdLst>
                <a:gd name="T0" fmla="*/ 0 w 95"/>
                <a:gd name="T1" fmla="*/ 0 h 85"/>
                <a:gd name="T2" fmla="*/ 95 w 95"/>
                <a:gd name="T3" fmla="*/ 0 h 85"/>
                <a:gd name="T4" fmla="*/ 95 w 95"/>
                <a:gd name="T5" fmla="*/ 85 h 85"/>
                <a:gd name="T6" fmla="*/ 0 w 95"/>
                <a:gd name="T7" fmla="*/ 85 h 85"/>
                <a:gd name="T8" fmla="*/ 0 w 95"/>
                <a:gd name="T9" fmla="*/ 0 h 85"/>
                <a:gd name="T10" fmla="*/ 0 w 95"/>
                <a:gd name="T11" fmla="*/ 0 h 85"/>
              </a:gdLst>
              <a:ahLst/>
              <a:cxnLst>
                <a:cxn ang="0">
                  <a:pos x="T0" y="T1"/>
                </a:cxn>
                <a:cxn ang="0">
                  <a:pos x="T2" y="T3"/>
                </a:cxn>
                <a:cxn ang="0">
                  <a:pos x="T4" y="T5"/>
                </a:cxn>
                <a:cxn ang="0">
                  <a:pos x="T6" y="T7"/>
                </a:cxn>
                <a:cxn ang="0">
                  <a:pos x="T8" y="T9"/>
                </a:cxn>
                <a:cxn ang="0">
                  <a:pos x="T10" y="T11"/>
                </a:cxn>
              </a:cxnLst>
              <a:rect l="0" t="0" r="r" b="b"/>
              <a:pathLst>
                <a:path w="95" h="85">
                  <a:moveTo>
                    <a:pt x="0" y="0"/>
                  </a:moveTo>
                  <a:lnTo>
                    <a:pt x="95" y="0"/>
                  </a:lnTo>
                  <a:lnTo>
                    <a:pt x="95" y="85"/>
                  </a:lnTo>
                  <a:lnTo>
                    <a:pt x="0" y="85"/>
                  </a:lnTo>
                  <a:lnTo>
                    <a:pt x="0" y="0"/>
                  </a:lnTo>
                  <a:lnTo>
                    <a:pt x="0"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27" name="Freeform 144"/>
            <p:cNvSpPr>
              <a:spLocks/>
            </p:cNvSpPr>
            <p:nvPr/>
          </p:nvSpPr>
          <p:spPr bwMode="auto">
            <a:xfrm>
              <a:off x="6951" y="4002"/>
              <a:ext cx="91" cy="85"/>
            </a:xfrm>
            <a:custGeom>
              <a:avLst/>
              <a:gdLst>
                <a:gd name="T0" fmla="*/ 0 w 91"/>
                <a:gd name="T1" fmla="*/ 0 h 85"/>
                <a:gd name="T2" fmla="*/ 91 w 91"/>
                <a:gd name="T3" fmla="*/ 0 h 85"/>
                <a:gd name="T4" fmla="*/ 91 w 91"/>
                <a:gd name="T5" fmla="*/ 85 h 85"/>
                <a:gd name="T6" fmla="*/ 0 w 91"/>
                <a:gd name="T7" fmla="*/ 85 h 85"/>
                <a:gd name="T8" fmla="*/ 0 w 91"/>
                <a:gd name="T9" fmla="*/ 0 h 85"/>
                <a:gd name="T10" fmla="*/ 0 w 91"/>
                <a:gd name="T11" fmla="*/ 0 h 85"/>
              </a:gdLst>
              <a:ahLst/>
              <a:cxnLst>
                <a:cxn ang="0">
                  <a:pos x="T0" y="T1"/>
                </a:cxn>
                <a:cxn ang="0">
                  <a:pos x="T2" y="T3"/>
                </a:cxn>
                <a:cxn ang="0">
                  <a:pos x="T4" y="T5"/>
                </a:cxn>
                <a:cxn ang="0">
                  <a:pos x="T6" y="T7"/>
                </a:cxn>
                <a:cxn ang="0">
                  <a:pos x="T8" y="T9"/>
                </a:cxn>
                <a:cxn ang="0">
                  <a:pos x="T10" y="T11"/>
                </a:cxn>
              </a:cxnLst>
              <a:rect l="0" t="0" r="r" b="b"/>
              <a:pathLst>
                <a:path w="91" h="85">
                  <a:moveTo>
                    <a:pt x="0" y="0"/>
                  </a:moveTo>
                  <a:lnTo>
                    <a:pt x="91" y="0"/>
                  </a:lnTo>
                  <a:lnTo>
                    <a:pt x="91" y="85"/>
                  </a:lnTo>
                  <a:lnTo>
                    <a:pt x="0" y="85"/>
                  </a:lnTo>
                  <a:lnTo>
                    <a:pt x="0" y="0"/>
                  </a:lnTo>
                  <a:lnTo>
                    <a:pt x="0"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28" name="Freeform 145"/>
            <p:cNvSpPr>
              <a:spLocks/>
            </p:cNvSpPr>
            <p:nvPr/>
          </p:nvSpPr>
          <p:spPr bwMode="auto">
            <a:xfrm>
              <a:off x="7057" y="4002"/>
              <a:ext cx="95" cy="85"/>
            </a:xfrm>
            <a:custGeom>
              <a:avLst/>
              <a:gdLst>
                <a:gd name="T0" fmla="*/ 0 w 95"/>
                <a:gd name="T1" fmla="*/ 0 h 85"/>
                <a:gd name="T2" fmla="*/ 95 w 95"/>
                <a:gd name="T3" fmla="*/ 0 h 85"/>
                <a:gd name="T4" fmla="*/ 95 w 95"/>
                <a:gd name="T5" fmla="*/ 85 h 85"/>
                <a:gd name="T6" fmla="*/ 0 w 95"/>
                <a:gd name="T7" fmla="*/ 85 h 85"/>
                <a:gd name="T8" fmla="*/ 0 w 95"/>
                <a:gd name="T9" fmla="*/ 0 h 85"/>
                <a:gd name="T10" fmla="*/ 0 w 95"/>
                <a:gd name="T11" fmla="*/ 0 h 85"/>
              </a:gdLst>
              <a:ahLst/>
              <a:cxnLst>
                <a:cxn ang="0">
                  <a:pos x="T0" y="T1"/>
                </a:cxn>
                <a:cxn ang="0">
                  <a:pos x="T2" y="T3"/>
                </a:cxn>
                <a:cxn ang="0">
                  <a:pos x="T4" y="T5"/>
                </a:cxn>
                <a:cxn ang="0">
                  <a:pos x="T6" y="T7"/>
                </a:cxn>
                <a:cxn ang="0">
                  <a:pos x="T8" y="T9"/>
                </a:cxn>
                <a:cxn ang="0">
                  <a:pos x="T10" y="T11"/>
                </a:cxn>
              </a:cxnLst>
              <a:rect l="0" t="0" r="r" b="b"/>
              <a:pathLst>
                <a:path w="95" h="85">
                  <a:moveTo>
                    <a:pt x="0" y="0"/>
                  </a:moveTo>
                  <a:lnTo>
                    <a:pt x="95" y="0"/>
                  </a:lnTo>
                  <a:lnTo>
                    <a:pt x="95" y="85"/>
                  </a:lnTo>
                  <a:lnTo>
                    <a:pt x="0" y="85"/>
                  </a:lnTo>
                  <a:lnTo>
                    <a:pt x="0" y="0"/>
                  </a:lnTo>
                  <a:lnTo>
                    <a:pt x="0"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29" name="Freeform 146"/>
            <p:cNvSpPr>
              <a:spLocks/>
            </p:cNvSpPr>
            <p:nvPr/>
          </p:nvSpPr>
          <p:spPr bwMode="auto">
            <a:xfrm>
              <a:off x="6841" y="4112"/>
              <a:ext cx="311" cy="85"/>
            </a:xfrm>
            <a:custGeom>
              <a:avLst/>
              <a:gdLst>
                <a:gd name="T0" fmla="*/ 0 w 311"/>
                <a:gd name="T1" fmla="*/ 0 h 85"/>
                <a:gd name="T2" fmla="*/ 311 w 311"/>
                <a:gd name="T3" fmla="*/ 0 h 85"/>
                <a:gd name="T4" fmla="*/ 311 w 311"/>
                <a:gd name="T5" fmla="*/ 85 h 85"/>
                <a:gd name="T6" fmla="*/ 0 w 311"/>
                <a:gd name="T7" fmla="*/ 85 h 85"/>
                <a:gd name="T8" fmla="*/ 0 w 311"/>
                <a:gd name="T9" fmla="*/ 0 h 85"/>
                <a:gd name="T10" fmla="*/ 0 w 311"/>
                <a:gd name="T11" fmla="*/ 0 h 85"/>
              </a:gdLst>
              <a:ahLst/>
              <a:cxnLst>
                <a:cxn ang="0">
                  <a:pos x="T0" y="T1"/>
                </a:cxn>
                <a:cxn ang="0">
                  <a:pos x="T2" y="T3"/>
                </a:cxn>
                <a:cxn ang="0">
                  <a:pos x="T4" y="T5"/>
                </a:cxn>
                <a:cxn ang="0">
                  <a:pos x="T6" y="T7"/>
                </a:cxn>
                <a:cxn ang="0">
                  <a:pos x="T8" y="T9"/>
                </a:cxn>
                <a:cxn ang="0">
                  <a:pos x="T10" y="T11"/>
                </a:cxn>
              </a:cxnLst>
              <a:rect l="0" t="0" r="r" b="b"/>
              <a:pathLst>
                <a:path w="311" h="85">
                  <a:moveTo>
                    <a:pt x="0" y="0"/>
                  </a:moveTo>
                  <a:lnTo>
                    <a:pt x="311" y="0"/>
                  </a:lnTo>
                  <a:lnTo>
                    <a:pt x="311" y="85"/>
                  </a:lnTo>
                  <a:lnTo>
                    <a:pt x="0" y="85"/>
                  </a:lnTo>
                  <a:lnTo>
                    <a:pt x="0" y="0"/>
                  </a:lnTo>
                  <a:lnTo>
                    <a:pt x="0"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30" name="Freeform 147"/>
            <p:cNvSpPr>
              <a:spLocks/>
            </p:cNvSpPr>
            <p:nvPr/>
          </p:nvSpPr>
          <p:spPr bwMode="auto">
            <a:xfrm>
              <a:off x="7057" y="3787"/>
              <a:ext cx="95" cy="88"/>
            </a:xfrm>
            <a:custGeom>
              <a:avLst/>
              <a:gdLst>
                <a:gd name="T0" fmla="*/ 0 w 95"/>
                <a:gd name="T1" fmla="*/ 0 h 88"/>
                <a:gd name="T2" fmla="*/ 95 w 95"/>
                <a:gd name="T3" fmla="*/ 0 h 88"/>
                <a:gd name="T4" fmla="*/ 95 w 95"/>
                <a:gd name="T5" fmla="*/ 88 h 88"/>
                <a:gd name="T6" fmla="*/ 0 w 95"/>
                <a:gd name="T7" fmla="*/ 88 h 88"/>
                <a:gd name="T8" fmla="*/ 0 w 95"/>
                <a:gd name="T9" fmla="*/ 0 h 88"/>
                <a:gd name="T10" fmla="*/ 0 w 95"/>
                <a:gd name="T11" fmla="*/ 0 h 88"/>
              </a:gdLst>
              <a:ahLst/>
              <a:cxnLst>
                <a:cxn ang="0">
                  <a:pos x="T0" y="T1"/>
                </a:cxn>
                <a:cxn ang="0">
                  <a:pos x="T2" y="T3"/>
                </a:cxn>
                <a:cxn ang="0">
                  <a:pos x="T4" y="T5"/>
                </a:cxn>
                <a:cxn ang="0">
                  <a:pos x="T6" y="T7"/>
                </a:cxn>
                <a:cxn ang="0">
                  <a:pos x="T8" y="T9"/>
                </a:cxn>
                <a:cxn ang="0">
                  <a:pos x="T10" y="T11"/>
                </a:cxn>
              </a:cxnLst>
              <a:rect l="0" t="0" r="r" b="b"/>
              <a:pathLst>
                <a:path w="95" h="88">
                  <a:moveTo>
                    <a:pt x="0" y="0"/>
                  </a:moveTo>
                  <a:lnTo>
                    <a:pt x="95" y="0"/>
                  </a:lnTo>
                  <a:lnTo>
                    <a:pt x="95" y="88"/>
                  </a:lnTo>
                  <a:lnTo>
                    <a:pt x="0" y="88"/>
                  </a:lnTo>
                  <a:lnTo>
                    <a:pt x="0" y="0"/>
                  </a:lnTo>
                  <a:lnTo>
                    <a:pt x="0" y="0"/>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31" name="Freeform 148"/>
            <p:cNvSpPr>
              <a:spLocks/>
            </p:cNvSpPr>
            <p:nvPr/>
          </p:nvSpPr>
          <p:spPr bwMode="auto">
            <a:xfrm>
              <a:off x="5026" y="3819"/>
              <a:ext cx="2356" cy="509"/>
            </a:xfrm>
            <a:custGeom>
              <a:avLst/>
              <a:gdLst>
                <a:gd name="T0" fmla="*/ 1258 w 1608"/>
                <a:gd name="T1" fmla="*/ 109 h 347"/>
                <a:gd name="T2" fmla="*/ 994 w 1608"/>
                <a:gd name="T3" fmla="*/ 29 h 347"/>
                <a:gd name="T4" fmla="*/ 858 w 1608"/>
                <a:gd name="T5" fmla="*/ 14 h 347"/>
                <a:gd name="T6" fmla="*/ 0 w 1608"/>
                <a:gd name="T7" fmla="*/ 347 h 347"/>
                <a:gd name="T8" fmla="*/ 570 w 1608"/>
                <a:gd name="T9" fmla="*/ 347 h 347"/>
                <a:gd name="T10" fmla="*/ 1608 w 1608"/>
                <a:gd name="T11" fmla="*/ 347 h 347"/>
                <a:gd name="T12" fmla="*/ 1258 w 1608"/>
                <a:gd name="T13" fmla="*/ 109 h 347"/>
              </a:gdLst>
              <a:ahLst/>
              <a:cxnLst>
                <a:cxn ang="0">
                  <a:pos x="T0" y="T1"/>
                </a:cxn>
                <a:cxn ang="0">
                  <a:pos x="T2" y="T3"/>
                </a:cxn>
                <a:cxn ang="0">
                  <a:pos x="T4" y="T5"/>
                </a:cxn>
                <a:cxn ang="0">
                  <a:pos x="T6" y="T7"/>
                </a:cxn>
                <a:cxn ang="0">
                  <a:pos x="T8" y="T9"/>
                </a:cxn>
                <a:cxn ang="0">
                  <a:pos x="T10" y="T11"/>
                </a:cxn>
                <a:cxn ang="0">
                  <a:pos x="T12" y="T13"/>
                </a:cxn>
              </a:cxnLst>
              <a:rect l="0" t="0" r="r" b="b"/>
              <a:pathLst>
                <a:path w="1608" h="347">
                  <a:moveTo>
                    <a:pt x="1258" y="109"/>
                  </a:moveTo>
                  <a:cubicBezTo>
                    <a:pt x="1173" y="70"/>
                    <a:pt x="1085" y="44"/>
                    <a:pt x="994" y="29"/>
                  </a:cubicBezTo>
                  <a:cubicBezTo>
                    <a:pt x="950" y="23"/>
                    <a:pt x="903" y="17"/>
                    <a:pt x="858" y="14"/>
                  </a:cubicBezTo>
                  <a:cubicBezTo>
                    <a:pt x="550" y="0"/>
                    <a:pt x="238" y="112"/>
                    <a:pt x="0" y="347"/>
                  </a:cubicBezTo>
                  <a:cubicBezTo>
                    <a:pt x="570" y="347"/>
                    <a:pt x="570" y="347"/>
                    <a:pt x="570" y="347"/>
                  </a:cubicBezTo>
                  <a:cubicBezTo>
                    <a:pt x="1608" y="347"/>
                    <a:pt x="1608" y="347"/>
                    <a:pt x="1608" y="347"/>
                  </a:cubicBezTo>
                  <a:cubicBezTo>
                    <a:pt x="1503" y="244"/>
                    <a:pt x="1385" y="165"/>
                    <a:pt x="1258" y="10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32" name="Freeform 149"/>
            <p:cNvSpPr>
              <a:spLocks/>
            </p:cNvSpPr>
            <p:nvPr/>
          </p:nvSpPr>
          <p:spPr bwMode="auto">
            <a:xfrm>
              <a:off x="6283" y="3840"/>
              <a:ext cx="588" cy="438"/>
            </a:xfrm>
            <a:custGeom>
              <a:avLst/>
              <a:gdLst>
                <a:gd name="T0" fmla="*/ 194 w 401"/>
                <a:gd name="T1" fmla="*/ 299 h 299"/>
                <a:gd name="T2" fmla="*/ 401 w 401"/>
                <a:gd name="T3" fmla="*/ 95 h 299"/>
                <a:gd name="T4" fmla="*/ 135 w 401"/>
                <a:gd name="T5" fmla="*/ 15 h 299"/>
                <a:gd name="T6" fmla="*/ 0 w 401"/>
                <a:gd name="T7" fmla="*/ 0 h 299"/>
                <a:gd name="T8" fmla="*/ 73 w 401"/>
                <a:gd name="T9" fmla="*/ 254 h 299"/>
                <a:gd name="T10" fmla="*/ 194 w 401"/>
                <a:gd name="T11" fmla="*/ 299 h 299"/>
                <a:gd name="T12" fmla="*/ 194 w 401"/>
                <a:gd name="T13" fmla="*/ 299 h 299"/>
              </a:gdLst>
              <a:ahLst/>
              <a:cxnLst>
                <a:cxn ang="0">
                  <a:pos x="T0" y="T1"/>
                </a:cxn>
                <a:cxn ang="0">
                  <a:pos x="T2" y="T3"/>
                </a:cxn>
                <a:cxn ang="0">
                  <a:pos x="T4" y="T5"/>
                </a:cxn>
                <a:cxn ang="0">
                  <a:pos x="T6" y="T7"/>
                </a:cxn>
                <a:cxn ang="0">
                  <a:pos x="T8" y="T9"/>
                </a:cxn>
                <a:cxn ang="0">
                  <a:pos x="T10" y="T11"/>
                </a:cxn>
                <a:cxn ang="0">
                  <a:pos x="T12" y="T13"/>
                </a:cxn>
              </a:cxnLst>
              <a:rect l="0" t="0" r="r" b="b"/>
              <a:pathLst>
                <a:path w="401" h="299">
                  <a:moveTo>
                    <a:pt x="194" y="299"/>
                  </a:moveTo>
                  <a:cubicBezTo>
                    <a:pt x="401" y="95"/>
                    <a:pt x="401" y="95"/>
                    <a:pt x="401" y="95"/>
                  </a:cubicBezTo>
                  <a:cubicBezTo>
                    <a:pt x="316" y="56"/>
                    <a:pt x="227" y="29"/>
                    <a:pt x="135" y="15"/>
                  </a:cubicBezTo>
                  <a:cubicBezTo>
                    <a:pt x="91" y="9"/>
                    <a:pt x="44" y="3"/>
                    <a:pt x="0" y="0"/>
                  </a:cubicBezTo>
                  <a:cubicBezTo>
                    <a:pt x="73" y="254"/>
                    <a:pt x="73" y="254"/>
                    <a:pt x="73" y="254"/>
                  </a:cubicBezTo>
                  <a:cubicBezTo>
                    <a:pt x="194" y="299"/>
                    <a:pt x="194" y="299"/>
                    <a:pt x="194" y="299"/>
                  </a:cubicBezTo>
                  <a:cubicBezTo>
                    <a:pt x="194" y="299"/>
                    <a:pt x="194" y="299"/>
                    <a:pt x="194" y="299"/>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33" name="Freeform 150"/>
            <p:cNvSpPr>
              <a:spLocks/>
            </p:cNvSpPr>
            <p:nvPr/>
          </p:nvSpPr>
          <p:spPr bwMode="auto">
            <a:xfrm>
              <a:off x="6075" y="3514"/>
              <a:ext cx="528" cy="764"/>
            </a:xfrm>
            <a:custGeom>
              <a:avLst/>
              <a:gdLst>
                <a:gd name="T0" fmla="*/ 0 w 360"/>
                <a:gd name="T1" fmla="*/ 241 h 521"/>
                <a:gd name="T2" fmla="*/ 0 w 360"/>
                <a:gd name="T3" fmla="*/ 500 h 521"/>
                <a:gd name="T4" fmla="*/ 24 w 360"/>
                <a:gd name="T5" fmla="*/ 521 h 521"/>
                <a:gd name="T6" fmla="*/ 336 w 360"/>
                <a:gd name="T7" fmla="*/ 521 h 521"/>
                <a:gd name="T8" fmla="*/ 360 w 360"/>
                <a:gd name="T9" fmla="*/ 500 h 521"/>
                <a:gd name="T10" fmla="*/ 360 w 360"/>
                <a:gd name="T11" fmla="*/ 23 h 521"/>
                <a:gd name="T12" fmla="*/ 336 w 360"/>
                <a:gd name="T13" fmla="*/ 0 h 521"/>
                <a:gd name="T14" fmla="*/ 24 w 360"/>
                <a:gd name="T15" fmla="*/ 0 h 521"/>
                <a:gd name="T16" fmla="*/ 0 w 360"/>
                <a:gd name="T17" fmla="*/ 23 h 521"/>
                <a:gd name="T18" fmla="*/ 0 w 360"/>
                <a:gd name="T19" fmla="*/ 165 h 521"/>
                <a:gd name="T20" fmla="*/ 0 w 360"/>
                <a:gd name="T21" fmla="*/ 241 h 521"/>
                <a:gd name="T22" fmla="*/ 0 w 360"/>
                <a:gd name="T23" fmla="*/ 24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0" h="521">
                  <a:moveTo>
                    <a:pt x="0" y="241"/>
                  </a:moveTo>
                  <a:cubicBezTo>
                    <a:pt x="0" y="500"/>
                    <a:pt x="0" y="500"/>
                    <a:pt x="0" y="500"/>
                  </a:cubicBezTo>
                  <a:cubicBezTo>
                    <a:pt x="0" y="512"/>
                    <a:pt x="12" y="521"/>
                    <a:pt x="24" y="521"/>
                  </a:cubicBezTo>
                  <a:cubicBezTo>
                    <a:pt x="336" y="521"/>
                    <a:pt x="336" y="521"/>
                    <a:pt x="336" y="521"/>
                  </a:cubicBezTo>
                  <a:cubicBezTo>
                    <a:pt x="348" y="521"/>
                    <a:pt x="360" y="512"/>
                    <a:pt x="360" y="500"/>
                  </a:cubicBezTo>
                  <a:cubicBezTo>
                    <a:pt x="360" y="23"/>
                    <a:pt x="360" y="23"/>
                    <a:pt x="360" y="23"/>
                  </a:cubicBezTo>
                  <a:cubicBezTo>
                    <a:pt x="360" y="9"/>
                    <a:pt x="348" y="0"/>
                    <a:pt x="336" y="0"/>
                  </a:cubicBezTo>
                  <a:cubicBezTo>
                    <a:pt x="24" y="0"/>
                    <a:pt x="24" y="0"/>
                    <a:pt x="24" y="0"/>
                  </a:cubicBezTo>
                  <a:cubicBezTo>
                    <a:pt x="12" y="0"/>
                    <a:pt x="0" y="9"/>
                    <a:pt x="0" y="23"/>
                  </a:cubicBezTo>
                  <a:cubicBezTo>
                    <a:pt x="0" y="165"/>
                    <a:pt x="0" y="165"/>
                    <a:pt x="0" y="165"/>
                  </a:cubicBezTo>
                  <a:cubicBezTo>
                    <a:pt x="0" y="241"/>
                    <a:pt x="0" y="241"/>
                    <a:pt x="0" y="241"/>
                  </a:cubicBezTo>
                  <a:cubicBezTo>
                    <a:pt x="0" y="241"/>
                    <a:pt x="0" y="241"/>
                    <a:pt x="0" y="241"/>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34" name="Freeform 151"/>
            <p:cNvSpPr>
              <a:spLocks/>
            </p:cNvSpPr>
            <p:nvPr/>
          </p:nvSpPr>
          <p:spPr bwMode="auto">
            <a:xfrm>
              <a:off x="6129" y="3564"/>
              <a:ext cx="419" cy="663"/>
            </a:xfrm>
            <a:custGeom>
              <a:avLst/>
              <a:gdLst>
                <a:gd name="T0" fmla="*/ 0 w 419"/>
                <a:gd name="T1" fmla="*/ 0 h 663"/>
                <a:gd name="T2" fmla="*/ 419 w 419"/>
                <a:gd name="T3" fmla="*/ 0 h 663"/>
                <a:gd name="T4" fmla="*/ 419 w 419"/>
                <a:gd name="T5" fmla="*/ 663 h 663"/>
                <a:gd name="T6" fmla="*/ 0 w 419"/>
                <a:gd name="T7" fmla="*/ 663 h 663"/>
                <a:gd name="T8" fmla="*/ 0 w 419"/>
                <a:gd name="T9" fmla="*/ 0 h 663"/>
                <a:gd name="T10" fmla="*/ 0 w 419"/>
                <a:gd name="T11" fmla="*/ 0 h 663"/>
              </a:gdLst>
              <a:ahLst/>
              <a:cxnLst>
                <a:cxn ang="0">
                  <a:pos x="T0" y="T1"/>
                </a:cxn>
                <a:cxn ang="0">
                  <a:pos x="T2" y="T3"/>
                </a:cxn>
                <a:cxn ang="0">
                  <a:pos x="T4" y="T5"/>
                </a:cxn>
                <a:cxn ang="0">
                  <a:pos x="T6" y="T7"/>
                </a:cxn>
                <a:cxn ang="0">
                  <a:pos x="T8" y="T9"/>
                </a:cxn>
                <a:cxn ang="0">
                  <a:pos x="T10" y="T11"/>
                </a:cxn>
              </a:cxnLst>
              <a:rect l="0" t="0" r="r" b="b"/>
              <a:pathLst>
                <a:path w="419" h="663">
                  <a:moveTo>
                    <a:pt x="0" y="0"/>
                  </a:moveTo>
                  <a:lnTo>
                    <a:pt x="419" y="0"/>
                  </a:lnTo>
                  <a:lnTo>
                    <a:pt x="419" y="663"/>
                  </a:lnTo>
                  <a:lnTo>
                    <a:pt x="0" y="663"/>
                  </a:lnTo>
                  <a:lnTo>
                    <a:pt x="0" y="0"/>
                  </a:lnTo>
                  <a:lnTo>
                    <a:pt x="0" y="0"/>
                  </a:ln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35" name="Freeform 152"/>
            <p:cNvSpPr>
              <a:spLocks/>
            </p:cNvSpPr>
            <p:nvPr/>
          </p:nvSpPr>
          <p:spPr bwMode="auto">
            <a:xfrm>
              <a:off x="6170" y="3644"/>
              <a:ext cx="216" cy="222"/>
            </a:xfrm>
            <a:custGeom>
              <a:avLst/>
              <a:gdLst>
                <a:gd name="T0" fmla="*/ 0 w 216"/>
                <a:gd name="T1" fmla="*/ 0 h 222"/>
                <a:gd name="T2" fmla="*/ 216 w 216"/>
                <a:gd name="T3" fmla="*/ 0 h 222"/>
                <a:gd name="T4" fmla="*/ 216 w 216"/>
                <a:gd name="T5" fmla="*/ 222 h 222"/>
                <a:gd name="T6" fmla="*/ 0 w 216"/>
                <a:gd name="T7" fmla="*/ 222 h 222"/>
                <a:gd name="T8" fmla="*/ 0 w 216"/>
                <a:gd name="T9" fmla="*/ 0 h 222"/>
                <a:gd name="T10" fmla="*/ 0 w 216"/>
                <a:gd name="T11" fmla="*/ 0 h 222"/>
              </a:gdLst>
              <a:ahLst/>
              <a:cxnLst>
                <a:cxn ang="0">
                  <a:pos x="T0" y="T1"/>
                </a:cxn>
                <a:cxn ang="0">
                  <a:pos x="T2" y="T3"/>
                </a:cxn>
                <a:cxn ang="0">
                  <a:pos x="T4" y="T5"/>
                </a:cxn>
                <a:cxn ang="0">
                  <a:pos x="T6" y="T7"/>
                </a:cxn>
                <a:cxn ang="0">
                  <a:pos x="T8" y="T9"/>
                </a:cxn>
                <a:cxn ang="0">
                  <a:pos x="T10" y="T11"/>
                </a:cxn>
              </a:cxnLst>
              <a:rect l="0" t="0" r="r" b="b"/>
              <a:pathLst>
                <a:path w="216" h="222">
                  <a:moveTo>
                    <a:pt x="0" y="0"/>
                  </a:moveTo>
                  <a:lnTo>
                    <a:pt x="216" y="0"/>
                  </a:lnTo>
                  <a:lnTo>
                    <a:pt x="216" y="222"/>
                  </a:lnTo>
                  <a:lnTo>
                    <a:pt x="0" y="222"/>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36" name="Freeform 153"/>
            <p:cNvSpPr>
              <a:spLocks/>
            </p:cNvSpPr>
            <p:nvPr/>
          </p:nvSpPr>
          <p:spPr bwMode="auto">
            <a:xfrm>
              <a:off x="6412" y="3644"/>
              <a:ext cx="95" cy="100"/>
            </a:xfrm>
            <a:custGeom>
              <a:avLst/>
              <a:gdLst>
                <a:gd name="T0" fmla="*/ 0 w 95"/>
                <a:gd name="T1" fmla="*/ 0 h 100"/>
                <a:gd name="T2" fmla="*/ 95 w 95"/>
                <a:gd name="T3" fmla="*/ 0 h 100"/>
                <a:gd name="T4" fmla="*/ 95 w 95"/>
                <a:gd name="T5" fmla="*/ 100 h 100"/>
                <a:gd name="T6" fmla="*/ 0 w 95"/>
                <a:gd name="T7" fmla="*/ 100 h 100"/>
                <a:gd name="T8" fmla="*/ 0 w 95"/>
                <a:gd name="T9" fmla="*/ 0 h 100"/>
                <a:gd name="T10" fmla="*/ 0 w 95"/>
                <a:gd name="T11" fmla="*/ 0 h 100"/>
              </a:gdLst>
              <a:ahLst/>
              <a:cxnLst>
                <a:cxn ang="0">
                  <a:pos x="T0" y="T1"/>
                </a:cxn>
                <a:cxn ang="0">
                  <a:pos x="T2" y="T3"/>
                </a:cxn>
                <a:cxn ang="0">
                  <a:pos x="T4" y="T5"/>
                </a:cxn>
                <a:cxn ang="0">
                  <a:pos x="T6" y="T7"/>
                </a:cxn>
                <a:cxn ang="0">
                  <a:pos x="T8" y="T9"/>
                </a:cxn>
                <a:cxn ang="0">
                  <a:pos x="T10" y="T11"/>
                </a:cxn>
              </a:cxnLst>
              <a:rect l="0" t="0" r="r" b="b"/>
              <a:pathLst>
                <a:path w="95" h="100">
                  <a:moveTo>
                    <a:pt x="0" y="0"/>
                  </a:moveTo>
                  <a:lnTo>
                    <a:pt x="95" y="0"/>
                  </a:lnTo>
                  <a:lnTo>
                    <a:pt x="95" y="100"/>
                  </a:lnTo>
                  <a:lnTo>
                    <a:pt x="0" y="100"/>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37" name="Freeform 154"/>
            <p:cNvSpPr>
              <a:spLocks/>
            </p:cNvSpPr>
            <p:nvPr/>
          </p:nvSpPr>
          <p:spPr bwMode="auto">
            <a:xfrm>
              <a:off x="6170" y="3889"/>
              <a:ext cx="97" cy="99"/>
            </a:xfrm>
            <a:custGeom>
              <a:avLst/>
              <a:gdLst>
                <a:gd name="T0" fmla="*/ 0 w 97"/>
                <a:gd name="T1" fmla="*/ 0 h 99"/>
                <a:gd name="T2" fmla="*/ 97 w 97"/>
                <a:gd name="T3" fmla="*/ 0 h 99"/>
                <a:gd name="T4" fmla="*/ 97 w 97"/>
                <a:gd name="T5" fmla="*/ 99 h 99"/>
                <a:gd name="T6" fmla="*/ 0 w 97"/>
                <a:gd name="T7" fmla="*/ 99 h 99"/>
                <a:gd name="T8" fmla="*/ 0 w 97"/>
                <a:gd name="T9" fmla="*/ 0 h 99"/>
                <a:gd name="T10" fmla="*/ 0 w 97"/>
                <a:gd name="T11" fmla="*/ 0 h 99"/>
              </a:gdLst>
              <a:ahLst/>
              <a:cxnLst>
                <a:cxn ang="0">
                  <a:pos x="T0" y="T1"/>
                </a:cxn>
                <a:cxn ang="0">
                  <a:pos x="T2" y="T3"/>
                </a:cxn>
                <a:cxn ang="0">
                  <a:pos x="T4" y="T5"/>
                </a:cxn>
                <a:cxn ang="0">
                  <a:pos x="T6" y="T7"/>
                </a:cxn>
                <a:cxn ang="0">
                  <a:pos x="T8" y="T9"/>
                </a:cxn>
                <a:cxn ang="0">
                  <a:pos x="T10" y="T11"/>
                </a:cxn>
              </a:cxnLst>
              <a:rect l="0" t="0" r="r" b="b"/>
              <a:pathLst>
                <a:path w="97" h="99">
                  <a:moveTo>
                    <a:pt x="0" y="0"/>
                  </a:moveTo>
                  <a:lnTo>
                    <a:pt x="97" y="0"/>
                  </a:lnTo>
                  <a:lnTo>
                    <a:pt x="97" y="99"/>
                  </a:lnTo>
                  <a:lnTo>
                    <a:pt x="0" y="99"/>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38" name="Freeform 155"/>
            <p:cNvSpPr>
              <a:spLocks/>
            </p:cNvSpPr>
            <p:nvPr/>
          </p:nvSpPr>
          <p:spPr bwMode="auto">
            <a:xfrm>
              <a:off x="6292" y="3889"/>
              <a:ext cx="94" cy="99"/>
            </a:xfrm>
            <a:custGeom>
              <a:avLst/>
              <a:gdLst>
                <a:gd name="T0" fmla="*/ 0 w 94"/>
                <a:gd name="T1" fmla="*/ 0 h 99"/>
                <a:gd name="T2" fmla="*/ 94 w 94"/>
                <a:gd name="T3" fmla="*/ 0 h 99"/>
                <a:gd name="T4" fmla="*/ 94 w 94"/>
                <a:gd name="T5" fmla="*/ 99 h 99"/>
                <a:gd name="T6" fmla="*/ 0 w 94"/>
                <a:gd name="T7" fmla="*/ 99 h 99"/>
                <a:gd name="T8" fmla="*/ 0 w 94"/>
                <a:gd name="T9" fmla="*/ 0 h 99"/>
                <a:gd name="T10" fmla="*/ 0 w 94"/>
                <a:gd name="T11" fmla="*/ 0 h 99"/>
              </a:gdLst>
              <a:ahLst/>
              <a:cxnLst>
                <a:cxn ang="0">
                  <a:pos x="T0" y="T1"/>
                </a:cxn>
                <a:cxn ang="0">
                  <a:pos x="T2" y="T3"/>
                </a:cxn>
                <a:cxn ang="0">
                  <a:pos x="T4" y="T5"/>
                </a:cxn>
                <a:cxn ang="0">
                  <a:pos x="T6" y="T7"/>
                </a:cxn>
                <a:cxn ang="0">
                  <a:pos x="T8" y="T9"/>
                </a:cxn>
                <a:cxn ang="0">
                  <a:pos x="T10" y="T11"/>
                </a:cxn>
              </a:cxnLst>
              <a:rect l="0" t="0" r="r" b="b"/>
              <a:pathLst>
                <a:path w="94" h="99">
                  <a:moveTo>
                    <a:pt x="0" y="0"/>
                  </a:moveTo>
                  <a:lnTo>
                    <a:pt x="94" y="0"/>
                  </a:lnTo>
                  <a:lnTo>
                    <a:pt x="94" y="99"/>
                  </a:lnTo>
                  <a:lnTo>
                    <a:pt x="0" y="99"/>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39" name="Freeform 156"/>
            <p:cNvSpPr>
              <a:spLocks/>
            </p:cNvSpPr>
            <p:nvPr/>
          </p:nvSpPr>
          <p:spPr bwMode="auto">
            <a:xfrm>
              <a:off x="6412" y="3889"/>
              <a:ext cx="95" cy="99"/>
            </a:xfrm>
            <a:custGeom>
              <a:avLst/>
              <a:gdLst>
                <a:gd name="T0" fmla="*/ 0 w 95"/>
                <a:gd name="T1" fmla="*/ 0 h 99"/>
                <a:gd name="T2" fmla="*/ 95 w 95"/>
                <a:gd name="T3" fmla="*/ 0 h 99"/>
                <a:gd name="T4" fmla="*/ 95 w 95"/>
                <a:gd name="T5" fmla="*/ 99 h 99"/>
                <a:gd name="T6" fmla="*/ 0 w 95"/>
                <a:gd name="T7" fmla="*/ 99 h 99"/>
                <a:gd name="T8" fmla="*/ 0 w 95"/>
                <a:gd name="T9" fmla="*/ 0 h 99"/>
                <a:gd name="T10" fmla="*/ 0 w 95"/>
                <a:gd name="T11" fmla="*/ 0 h 99"/>
              </a:gdLst>
              <a:ahLst/>
              <a:cxnLst>
                <a:cxn ang="0">
                  <a:pos x="T0" y="T1"/>
                </a:cxn>
                <a:cxn ang="0">
                  <a:pos x="T2" y="T3"/>
                </a:cxn>
                <a:cxn ang="0">
                  <a:pos x="T4" y="T5"/>
                </a:cxn>
                <a:cxn ang="0">
                  <a:pos x="T6" y="T7"/>
                </a:cxn>
                <a:cxn ang="0">
                  <a:pos x="T8" y="T9"/>
                </a:cxn>
                <a:cxn ang="0">
                  <a:pos x="T10" y="T11"/>
                </a:cxn>
              </a:cxnLst>
              <a:rect l="0" t="0" r="r" b="b"/>
              <a:pathLst>
                <a:path w="95" h="99">
                  <a:moveTo>
                    <a:pt x="0" y="0"/>
                  </a:moveTo>
                  <a:lnTo>
                    <a:pt x="95" y="0"/>
                  </a:lnTo>
                  <a:lnTo>
                    <a:pt x="95" y="99"/>
                  </a:lnTo>
                  <a:lnTo>
                    <a:pt x="0" y="99"/>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40" name="Freeform 157"/>
            <p:cNvSpPr>
              <a:spLocks/>
            </p:cNvSpPr>
            <p:nvPr/>
          </p:nvSpPr>
          <p:spPr bwMode="auto">
            <a:xfrm>
              <a:off x="6170" y="4008"/>
              <a:ext cx="97" cy="101"/>
            </a:xfrm>
            <a:custGeom>
              <a:avLst/>
              <a:gdLst>
                <a:gd name="T0" fmla="*/ 0 w 97"/>
                <a:gd name="T1" fmla="*/ 0 h 101"/>
                <a:gd name="T2" fmla="*/ 97 w 97"/>
                <a:gd name="T3" fmla="*/ 0 h 101"/>
                <a:gd name="T4" fmla="*/ 97 w 97"/>
                <a:gd name="T5" fmla="*/ 101 h 101"/>
                <a:gd name="T6" fmla="*/ 0 w 97"/>
                <a:gd name="T7" fmla="*/ 101 h 101"/>
                <a:gd name="T8" fmla="*/ 0 w 97"/>
                <a:gd name="T9" fmla="*/ 0 h 101"/>
                <a:gd name="T10" fmla="*/ 0 w 97"/>
                <a:gd name="T11" fmla="*/ 0 h 101"/>
              </a:gdLst>
              <a:ahLst/>
              <a:cxnLst>
                <a:cxn ang="0">
                  <a:pos x="T0" y="T1"/>
                </a:cxn>
                <a:cxn ang="0">
                  <a:pos x="T2" y="T3"/>
                </a:cxn>
                <a:cxn ang="0">
                  <a:pos x="T4" y="T5"/>
                </a:cxn>
                <a:cxn ang="0">
                  <a:pos x="T6" y="T7"/>
                </a:cxn>
                <a:cxn ang="0">
                  <a:pos x="T8" y="T9"/>
                </a:cxn>
                <a:cxn ang="0">
                  <a:pos x="T10" y="T11"/>
                </a:cxn>
              </a:cxnLst>
              <a:rect l="0" t="0" r="r" b="b"/>
              <a:pathLst>
                <a:path w="97" h="101">
                  <a:moveTo>
                    <a:pt x="0" y="0"/>
                  </a:moveTo>
                  <a:lnTo>
                    <a:pt x="97" y="0"/>
                  </a:lnTo>
                  <a:lnTo>
                    <a:pt x="97" y="101"/>
                  </a:lnTo>
                  <a:lnTo>
                    <a:pt x="0" y="101"/>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41" name="Freeform 158"/>
            <p:cNvSpPr>
              <a:spLocks/>
            </p:cNvSpPr>
            <p:nvPr/>
          </p:nvSpPr>
          <p:spPr bwMode="auto">
            <a:xfrm>
              <a:off x="6292" y="4008"/>
              <a:ext cx="94" cy="101"/>
            </a:xfrm>
            <a:custGeom>
              <a:avLst/>
              <a:gdLst>
                <a:gd name="T0" fmla="*/ 0 w 94"/>
                <a:gd name="T1" fmla="*/ 0 h 101"/>
                <a:gd name="T2" fmla="*/ 94 w 94"/>
                <a:gd name="T3" fmla="*/ 0 h 101"/>
                <a:gd name="T4" fmla="*/ 94 w 94"/>
                <a:gd name="T5" fmla="*/ 101 h 101"/>
                <a:gd name="T6" fmla="*/ 0 w 94"/>
                <a:gd name="T7" fmla="*/ 101 h 101"/>
                <a:gd name="T8" fmla="*/ 0 w 94"/>
                <a:gd name="T9" fmla="*/ 0 h 101"/>
                <a:gd name="T10" fmla="*/ 0 w 94"/>
                <a:gd name="T11" fmla="*/ 0 h 101"/>
              </a:gdLst>
              <a:ahLst/>
              <a:cxnLst>
                <a:cxn ang="0">
                  <a:pos x="T0" y="T1"/>
                </a:cxn>
                <a:cxn ang="0">
                  <a:pos x="T2" y="T3"/>
                </a:cxn>
                <a:cxn ang="0">
                  <a:pos x="T4" y="T5"/>
                </a:cxn>
                <a:cxn ang="0">
                  <a:pos x="T6" y="T7"/>
                </a:cxn>
                <a:cxn ang="0">
                  <a:pos x="T8" y="T9"/>
                </a:cxn>
                <a:cxn ang="0">
                  <a:pos x="T10" y="T11"/>
                </a:cxn>
              </a:cxnLst>
              <a:rect l="0" t="0" r="r" b="b"/>
              <a:pathLst>
                <a:path w="94" h="101">
                  <a:moveTo>
                    <a:pt x="0" y="0"/>
                  </a:moveTo>
                  <a:lnTo>
                    <a:pt x="94" y="0"/>
                  </a:lnTo>
                  <a:lnTo>
                    <a:pt x="94" y="101"/>
                  </a:lnTo>
                  <a:lnTo>
                    <a:pt x="0" y="101"/>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42" name="Freeform 159"/>
            <p:cNvSpPr>
              <a:spLocks/>
            </p:cNvSpPr>
            <p:nvPr/>
          </p:nvSpPr>
          <p:spPr bwMode="auto">
            <a:xfrm>
              <a:off x="6412" y="4008"/>
              <a:ext cx="95" cy="101"/>
            </a:xfrm>
            <a:custGeom>
              <a:avLst/>
              <a:gdLst>
                <a:gd name="T0" fmla="*/ 0 w 95"/>
                <a:gd name="T1" fmla="*/ 0 h 101"/>
                <a:gd name="T2" fmla="*/ 95 w 95"/>
                <a:gd name="T3" fmla="*/ 0 h 101"/>
                <a:gd name="T4" fmla="*/ 95 w 95"/>
                <a:gd name="T5" fmla="*/ 101 h 101"/>
                <a:gd name="T6" fmla="*/ 0 w 95"/>
                <a:gd name="T7" fmla="*/ 101 h 101"/>
                <a:gd name="T8" fmla="*/ 0 w 95"/>
                <a:gd name="T9" fmla="*/ 0 h 101"/>
                <a:gd name="T10" fmla="*/ 0 w 95"/>
                <a:gd name="T11" fmla="*/ 0 h 101"/>
              </a:gdLst>
              <a:ahLst/>
              <a:cxnLst>
                <a:cxn ang="0">
                  <a:pos x="T0" y="T1"/>
                </a:cxn>
                <a:cxn ang="0">
                  <a:pos x="T2" y="T3"/>
                </a:cxn>
                <a:cxn ang="0">
                  <a:pos x="T4" y="T5"/>
                </a:cxn>
                <a:cxn ang="0">
                  <a:pos x="T6" y="T7"/>
                </a:cxn>
                <a:cxn ang="0">
                  <a:pos x="T8" y="T9"/>
                </a:cxn>
                <a:cxn ang="0">
                  <a:pos x="T10" y="T11"/>
                </a:cxn>
              </a:cxnLst>
              <a:rect l="0" t="0" r="r" b="b"/>
              <a:pathLst>
                <a:path w="95" h="101">
                  <a:moveTo>
                    <a:pt x="0" y="0"/>
                  </a:moveTo>
                  <a:lnTo>
                    <a:pt x="95" y="0"/>
                  </a:lnTo>
                  <a:lnTo>
                    <a:pt x="95" y="101"/>
                  </a:lnTo>
                  <a:lnTo>
                    <a:pt x="0" y="101"/>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43" name="Freeform 160"/>
            <p:cNvSpPr>
              <a:spLocks/>
            </p:cNvSpPr>
            <p:nvPr/>
          </p:nvSpPr>
          <p:spPr bwMode="auto">
            <a:xfrm>
              <a:off x="6170" y="4130"/>
              <a:ext cx="337" cy="97"/>
            </a:xfrm>
            <a:custGeom>
              <a:avLst/>
              <a:gdLst>
                <a:gd name="T0" fmla="*/ 0 w 337"/>
                <a:gd name="T1" fmla="*/ 0 h 97"/>
                <a:gd name="T2" fmla="*/ 337 w 337"/>
                <a:gd name="T3" fmla="*/ 0 h 97"/>
                <a:gd name="T4" fmla="*/ 337 w 337"/>
                <a:gd name="T5" fmla="*/ 97 h 97"/>
                <a:gd name="T6" fmla="*/ 0 w 337"/>
                <a:gd name="T7" fmla="*/ 97 h 97"/>
                <a:gd name="T8" fmla="*/ 0 w 337"/>
                <a:gd name="T9" fmla="*/ 0 h 97"/>
                <a:gd name="T10" fmla="*/ 0 w 337"/>
                <a:gd name="T11" fmla="*/ 0 h 97"/>
              </a:gdLst>
              <a:ahLst/>
              <a:cxnLst>
                <a:cxn ang="0">
                  <a:pos x="T0" y="T1"/>
                </a:cxn>
                <a:cxn ang="0">
                  <a:pos x="T2" y="T3"/>
                </a:cxn>
                <a:cxn ang="0">
                  <a:pos x="T4" y="T5"/>
                </a:cxn>
                <a:cxn ang="0">
                  <a:pos x="T6" y="T7"/>
                </a:cxn>
                <a:cxn ang="0">
                  <a:pos x="T8" y="T9"/>
                </a:cxn>
                <a:cxn ang="0">
                  <a:pos x="T10" y="T11"/>
                </a:cxn>
              </a:cxnLst>
              <a:rect l="0" t="0" r="r" b="b"/>
              <a:pathLst>
                <a:path w="337" h="97">
                  <a:moveTo>
                    <a:pt x="0" y="0"/>
                  </a:moveTo>
                  <a:lnTo>
                    <a:pt x="337" y="0"/>
                  </a:lnTo>
                  <a:lnTo>
                    <a:pt x="337" y="97"/>
                  </a:lnTo>
                  <a:lnTo>
                    <a:pt x="0" y="97"/>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44" name="Freeform 161"/>
            <p:cNvSpPr>
              <a:spLocks/>
            </p:cNvSpPr>
            <p:nvPr/>
          </p:nvSpPr>
          <p:spPr bwMode="auto">
            <a:xfrm>
              <a:off x="6412" y="3765"/>
              <a:ext cx="95" cy="101"/>
            </a:xfrm>
            <a:custGeom>
              <a:avLst/>
              <a:gdLst>
                <a:gd name="T0" fmla="*/ 0 w 95"/>
                <a:gd name="T1" fmla="*/ 0 h 101"/>
                <a:gd name="T2" fmla="*/ 95 w 95"/>
                <a:gd name="T3" fmla="*/ 0 h 101"/>
                <a:gd name="T4" fmla="*/ 95 w 95"/>
                <a:gd name="T5" fmla="*/ 101 h 101"/>
                <a:gd name="T6" fmla="*/ 0 w 95"/>
                <a:gd name="T7" fmla="*/ 101 h 101"/>
                <a:gd name="T8" fmla="*/ 0 w 95"/>
                <a:gd name="T9" fmla="*/ 0 h 101"/>
                <a:gd name="T10" fmla="*/ 0 w 95"/>
                <a:gd name="T11" fmla="*/ 0 h 101"/>
              </a:gdLst>
              <a:ahLst/>
              <a:cxnLst>
                <a:cxn ang="0">
                  <a:pos x="T0" y="T1"/>
                </a:cxn>
                <a:cxn ang="0">
                  <a:pos x="T2" y="T3"/>
                </a:cxn>
                <a:cxn ang="0">
                  <a:pos x="T4" y="T5"/>
                </a:cxn>
                <a:cxn ang="0">
                  <a:pos x="T6" y="T7"/>
                </a:cxn>
                <a:cxn ang="0">
                  <a:pos x="T8" y="T9"/>
                </a:cxn>
                <a:cxn ang="0">
                  <a:pos x="T10" y="T11"/>
                </a:cxn>
              </a:cxnLst>
              <a:rect l="0" t="0" r="r" b="b"/>
              <a:pathLst>
                <a:path w="95" h="101">
                  <a:moveTo>
                    <a:pt x="0" y="0"/>
                  </a:moveTo>
                  <a:lnTo>
                    <a:pt x="95" y="0"/>
                  </a:lnTo>
                  <a:lnTo>
                    <a:pt x="95" y="101"/>
                  </a:lnTo>
                  <a:lnTo>
                    <a:pt x="0" y="101"/>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45" name="Freeform 162"/>
            <p:cNvSpPr>
              <a:spLocks/>
            </p:cNvSpPr>
            <p:nvPr/>
          </p:nvSpPr>
          <p:spPr bwMode="auto">
            <a:xfrm>
              <a:off x="5730" y="2232"/>
              <a:ext cx="224" cy="582"/>
            </a:xfrm>
            <a:custGeom>
              <a:avLst/>
              <a:gdLst>
                <a:gd name="T0" fmla="*/ 153 w 153"/>
                <a:gd name="T1" fmla="*/ 18 h 397"/>
                <a:gd name="T2" fmla="*/ 94 w 153"/>
                <a:gd name="T3" fmla="*/ 0 h 397"/>
                <a:gd name="T4" fmla="*/ 0 w 153"/>
                <a:gd name="T5" fmla="*/ 397 h 397"/>
                <a:gd name="T6" fmla="*/ 62 w 153"/>
                <a:gd name="T7" fmla="*/ 397 h 397"/>
                <a:gd name="T8" fmla="*/ 153 w 153"/>
                <a:gd name="T9" fmla="*/ 18 h 397"/>
              </a:gdLst>
              <a:ahLst/>
              <a:cxnLst>
                <a:cxn ang="0">
                  <a:pos x="T0" y="T1"/>
                </a:cxn>
                <a:cxn ang="0">
                  <a:pos x="T2" y="T3"/>
                </a:cxn>
                <a:cxn ang="0">
                  <a:pos x="T4" y="T5"/>
                </a:cxn>
                <a:cxn ang="0">
                  <a:pos x="T6" y="T7"/>
                </a:cxn>
                <a:cxn ang="0">
                  <a:pos x="T8" y="T9"/>
                </a:cxn>
              </a:cxnLst>
              <a:rect l="0" t="0" r="r" b="b"/>
              <a:pathLst>
                <a:path w="153" h="397">
                  <a:moveTo>
                    <a:pt x="153" y="18"/>
                  </a:moveTo>
                  <a:cubicBezTo>
                    <a:pt x="133" y="12"/>
                    <a:pt x="112" y="6"/>
                    <a:pt x="94" y="0"/>
                  </a:cubicBezTo>
                  <a:cubicBezTo>
                    <a:pt x="32" y="129"/>
                    <a:pt x="15" y="256"/>
                    <a:pt x="0" y="397"/>
                  </a:cubicBezTo>
                  <a:cubicBezTo>
                    <a:pt x="62" y="397"/>
                    <a:pt x="62" y="397"/>
                    <a:pt x="62" y="397"/>
                  </a:cubicBezTo>
                  <a:cubicBezTo>
                    <a:pt x="77" y="262"/>
                    <a:pt x="97" y="138"/>
                    <a:pt x="153" y="1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sp>
          <p:nvSpPr>
            <p:cNvPr id="346" name="Freeform 163"/>
            <p:cNvSpPr>
              <a:spLocks/>
            </p:cNvSpPr>
            <p:nvPr/>
          </p:nvSpPr>
          <p:spPr bwMode="auto">
            <a:xfrm>
              <a:off x="5741" y="2814"/>
              <a:ext cx="72" cy="75"/>
            </a:xfrm>
            <a:custGeom>
              <a:avLst/>
              <a:gdLst>
                <a:gd name="T0" fmla="*/ 0 w 49"/>
                <a:gd name="T1" fmla="*/ 0 h 51"/>
                <a:gd name="T2" fmla="*/ 0 w 49"/>
                <a:gd name="T3" fmla="*/ 27 h 51"/>
                <a:gd name="T4" fmla="*/ 24 w 49"/>
                <a:gd name="T5" fmla="*/ 51 h 51"/>
                <a:gd name="T6" fmla="*/ 49 w 49"/>
                <a:gd name="T7" fmla="*/ 27 h 51"/>
                <a:gd name="T8" fmla="*/ 49 w 49"/>
                <a:gd name="T9" fmla="*/ 0 h 51"/>
                <a:gd name="T10" fmla="*/ 0 w 49"/>
                <a:gd name="T11" fmla="*/ 0 h 51"/>
                <a:gd name="T12" fmla="*/ 0 w 49"/>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49" h="51">
                  <a:moveTo>
                    <a:pt x="0" y="0"/>
                  </a:moveTo>
                  <a:cubicBezTo>
                    <a:pt x="0" y="27"/>
                    <a:pt x="0" y="27"/>
                    <a:pt x="0" y="27"/>
                  </a:cubicBezTo>
                  <a:cubicBezTo>
                    <a:pt x="0" y="42"/>
                    <a:pt x="9" y="51"/>
                    <a:pt x="24" y="51"/>
                  </a:cubicBezTo>
                  <a:cubicBezTo>
                    <a:pt x="36" y="51"/>
                    <a:pt x="49" y="42"/>
                    <a:pt x="49" y="27"/>
                  </a:cubicBezTo>
                  <a:cubicBezTo>
                    <a:pt x="49" y="0"/>
                    <a:pt x="49" y="0"/>
                    <a:pt x="49" y="0"/>
                  </a:cubicBezTo>
                  <a:cubicBezTo>
                    <a:pt x="0" y="0"/>
                    <a:pt x="0" y="0"/>
                    <a:pt x="0" y="0"/>
                  </a:cubicBezTo>
                  <a:cubicBezTo>
                    <a:pt x="0" y="0"/>
                    <a:pt x="0" y="0"/>
                    <a:pt x="0"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a:p>
          </p:txBody>
        </p:sp>
      </p:grpSp>
      <p:sp>
        <p:nvSpPr>
          <p:cNvPr id="2" name="Rectangle 1"/>
          <p:cNvSpPr/>
          <p:nvPr userDrawn="1"/>
        </p:nvSpPr>
        <p:spPr>
          <a:xfrm>
            <a:off x="11234455" y="1493373"/>
            <a:ext cx="927477" cy="2787851"/>
          </a:xfrm>
          <a:prstGeom prst="rect">
            <a:avLst/>
          </a:prstGeom>
          <a:solidFill>
            <a:schemeClr val="bg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a:endParaRPr lang="en-US" sz="1200" err="1"/>
          </a:p>
        </p:txBody>
      </p:sp>
      <p:sp>
        <p:nvSpPr>
          <p:cNvPr id="348" name="Rectangle 347"/>
          <p:cNvSpPr/>
          <p:nvPr userDrawn="1"/>
        </p:nvSpPr>
        <p:spPr>
          <a:xfrm>
            <a:off x="10711531" y="2340429"/>
            <a:ext cx="472705" cy="1526564"/>
          </a:xfrm>
          <a:prstGeom prst="rect">
            <a:avLst/>
          </a:prstGeom>
          <a:solidFill>
            <a:schemeClr val="bg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a:endParaRPr lang="en-US" sz="1200" err="1"/>
          </a:p>
        </p:txBody>
      </p:sp>
    </p:spTree>
    <p:extLst>
      <p:ext uri="{BB962C8B-B14F-4D97-AF65-F5344CB8AC3E}">
        <p14:creationId xmlns:p14="http://schemas.microsoft.com/office/powerpoint/2010/main" val="43335109"/>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8080756"/>
      </p:ext>
    </p:extLst>
  </p:cSld>
  <p:clrMapOvr>
    <a:masterClrMapping/>
  </p:clrMapOvr>
  <mc:AlternateContent xmlns:mc="http://schemas.openxmlformats.org/markup-compatibility/2006" xmlns:p14="http://schemas.microsoft.com/office/powerpoint/2010/main">
    <mc:Choice Requires="p14">
      <p:transition spd="slow" p14:dur="2000">
        <p:push/>
      </p:transition>
    </mc:Choice>
    <mc:Fallback xmlns="">
      <p:transition spd="slow">
        <p:push/>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3012"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13" name="Rectangle 12"/>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057400"/>
            <a:ext cx="5486400" cy="2743426"/>
          </a:xfrm>
          <a:noFill/>
        </p:spPr>
        <p:txBody>
          <a:bodyPr vert="horz" lIns="137160" tIns="137160" rIns="137160" bIns="137160" rtlCol="0" anchor="t" anchorCtr="0">
            <a:normAutofit/>
          </a:bodyPr>
          <a:lstStyle>
            <a:lvl1pPr>
              <a:defRPr lang="en-US" sz="4399"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13" y="4800600"/>
            <a:ext cx="5486400" cy="914400"/>
          </a:xfrm>
        </p:spPr>
        <p:txBody>
          <a:bodyPr lIns="137160" tIns="137160" rIns="137160" bIns="137160">
            <a:noAutofit/>
          </a:bodyPr>
          <a:lstStyle>
            <a:lvl1pPr marL="0" indent="0">
              <a:spcBef>
                <a:spcPts val="0"/>
              </a:spcBef>
              <a:buNone/>
              <a:defRPr sz="1999">
                <a:solidFill>
                  <a:schemeClr val="bg1"/>
                </a:solidFill>
              </a:defRPr>
            </a:lvl1pPr>
            <a:lvl2pPr marL="281589" indent="0">
              <a:buNone/>
              <a:defRPr sz="1999">
                <a:solidFill>
                  <a:schemeClr val="bg1"/>
                </a:solidFill>
              </a:defRPr>
            </a:lvl2pPr>
            <a:lvl3pPr marL="588299" indent="0">
              <a:buNone/>
              <a:defRPr sz="1999">
                <a:solidFill>
                  <a:schemeClr val="bg1"/>
                </a:solidFill>
              </a:defRPr>
            </a:lvl3pPr>
            <a:lvl4pPr marL="869889" indent="0">
              <a:buNone/>
              <a:defRPr sz="1999">
                <a:solidFill>
                  <a:schemeClr val="bg1"/>
                </a:solidFill>
              </a:defRPr>
            </a:lvl4pPr>
            <a:lvl5pPr marL="1105208" indent="0">
              <a:buNone/>
              <a:defRPr sz="1999">
                <a:solidFill>
                  <a:schemeClr val="bg1"/>
                </a:solidFill>
              </a:defRPr>
            </a:lvl5pPr>
          </a:lstStyle>
          <a:p>
            <a:pPr lvl="0"/>
            <a:r>
              <a:rPr lang="en-US"/>
              <a:t>Speaker Name</a:t>
            </a:r>
          </a:p>
        </p:txBody>
      </p:sp>
      <p:sp>
        <p:nvSpPr>
          <p:cNvPr id="10" name="TextBox 9"/>
          <p:cNvSpPr txBox="1"/>
          <p:nvPr/>
        </p:nvSpPr>
        <p:spPr>
          <a:xfrm>
            <a:off x="7618016" y="381000"/>
            <a:ext cx="3809008" cy="1905000"/>
          </a:xfrm>
          <a:prstGeom prst="rect">
            <a:avLst/>
          </a:prstGeom>
        </p:spPr>
        <p:txBody>
          <a:bodyPr vert="horz" wrap="square" lIns="108793" tIns="54397" rIns="108793" bIns="54397" rtlCol="0" anchor="ctr">
            <a:normAutofit/>
          </a:bodyPr>
          <a:lstStyle/>
          <a:p>
            <a:pPr defTabSz="1087779"/>
            <a:r>
              <a:rPr lang="en-US" sz="1999">
                <a:solidFill>
                  <a:srgbClr val="D2D2D2"/>
                </a:solidFill>
                <a:ea typeface="Segoe UI" pitchFamily="34" charset="0"/>
                <a:cs typeface="Segoe UI" pitchFamily="34" charset="0"/>
              </a:rPr>
              <a:t>Click View &gt; Slide Master to insert a photo as a background behind the colored boxes.</a:t>
            </a:r>
          </a:p>
        </p:txBody>
      </p:sp>
      <p:sp>
        <p:nvSpPr>
          <p:cNvPr id="15" name="TextBox 14"/>
          <p:cNvSpPr txBox="1"/>
          <p:nvPr/>
        </p:nvSpPr>
        <p:spPr>
          <a:xfrm>
            <a:off x="7618016" y="381000"/>
            <a:ext cx="3809008" cy="1905000"/>
          </a:xfrm>
          <a:prstGeom prst="rect">
            <a:avLst/>
          </a:prstGeom>
        </p:spPr>
        <p:txBody>
          <a:bodyPr vert="horz" wrap="square" lIns="108793" tIns="54397" rIns="108793" bIns="54397" rtlCol="0" anchor="ctr">
            <a:normAutofit/>
          </a:bodyPr>
          <a:lstStyle/>
          <a:p>
            <a:pPr defTabSz="1087779"/>
            <a:r>
              <a:rPr lang="en-US" sz="1999">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216" y="198357"/>
            <a:ext cx="1946596" cy="716042"/>
          </a:xfrm>
          <a:prstGeom prst="rect">
            <a:avLst/>
          </a:prstGeom>
        </p:spPr>
      </p:pic>
      <p:sp>
        <p:nvSpPr>
          <p:cNvPr id="14" name="TextBox 13"/>
          <p:cNvSpPr txBox="1"/>
          <p:nvPr userDrawn="1"/>
        </p:nvSpPr>
        <p:spPr>
          <a:xfrm>
            <a:off x="7618016" y="381000"/>
            <a:ext cx="3809008" cy="1905000"/>
          </a:xfrm>
          <a:prstGeom prst="rect">
            <a:avLst/>
          </a:prstGeom>
        </p:spPr>
        <p:txBody>
          <a:bodyPr vert="horz" wrap="square" lIns="108793" tIns="54397" rIns="108793" bIns="54397" rtlCol="0" anchor="ctr">
            <a:normAutofit/>
          </a:bodyPr>
          <a:lstStyle/>
          <a:p>
            <a:pPr defTabSz="1087779"/>
            <a:r>
              <a:rPr lang="en-US" sz="1999">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9216" y="198357"/>
            <a:ext cx="1946596" cy="716042"/>
          </a:xfrm>
          <a:prstGeom prst="rect">
            <a:avLst/>
          </a:prstGeom>
        </p:spPr>
      </p:pic>
    </p:spTree>
    <p:extLst>
      <p:ext uri="{BB962C8B-B14F-4D97-AF65-F5344CB8AC3E}">
        <p14:creationId xmlns:p14="http://schemas.microsoft.com/office/powerpoint/2010/main" val="3037410487"/>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403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13" name="Rectangle 12"/>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057400"/>
            <a:ext cx="5486400" cy="2743426"/>
          </a:xfrm>
          <a:noFill/>
        </p:spPr>
        <p:txBody>
          <a:bodyPr vert="horz" lIns="137160" tIns="137160" rIns="137160" bIns="137160" rtlCol="0" anchor="t" anchorCtr="0">
            <a:normAutofit/>
          </a:bodyPr>
          <a:lstStyle>
            <a:lvl1pPr>
              <a:defRPr lang="en-US" sz="4399"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13" y="4800600"/>
            <a:ext cx="5486400" cy="914400"/>
          </a:xfrm>
        </p:spPr>
        <p:txBody>
          <a:bodyPr lIns="137160" tIns="137160" rIns="137160" bIns="137160">
            <a:noAutofit/>
          </a:bodyPr>
          <a:lstStyle>
            <a:lvl1pPr marL="0" indent="0">
              <a:spcBef>
                <a:spcPts val="0"/>
              </a:spcBef>
              <a:buNone/>
              <a:defRPr sz="1999">
                <a:solidFill>
                  <a:schemeClr val="bg1"/>
                </a:solidFill>
              </a:defRPr>
            </a:lvl1pPr>
            <a:lvl2pPr marL="281589" indent="0">
              <a:buNone/>
              <a:defRPr sz="1999">
                <a:solidFill>
                  <a:schemeClr val="bg1"/>
                </a:solidFill>
              </a:defRPr>
            </a:lvl2pPr>
            <a:lvl3pPr marL="588299" indent="0">
              <a:buNone/>
              <a:defRPr sz="1999">
                <a:solidFill>
                  <a:schemeClr val="bg1"/>
                </a:solidFill>
              </a:defRPr>
            </a:lvl3pPr>
            <a:lvl4pPr marL="869889" indent="0">
              <a:buNone/>
              <a:defRPr sz="1999">
                <a:solidFill>
                  <a:schemeClr val="bg1"/>
                </a:solidFill>
              </a:defRPr>
            </a:lvl4pPr>
            <a:lvl5pPr marL="1105208" indent="0">
              <a:buNone/>
              <a:defRPr sz="1999">
                <a:solidFill>
                  <a:schemeClr val="bg1"/>
                </a:solidFill>
              </a:defRPr>
            </a:lvl5pPr>
          </a:lstStyle>
          <a:p>
            <a:pPr lvl="0"/>
            <a:r>
              <a:rPr lang="en-US"/>
              <a:t>Speaker Name</a:t>
            </a:r>
          </a:p>
        </p:txBody>
      </p:sp>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1916" y="200779"/>
            <a:ext cx="1946593" cy="716042"/>
          </a:xfrm>
          <a:prstGeom prst="rect">
            <a:avLst/>
          </a:prstGeom>
        </p:spPr>
      </p:pic>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1916" y="200779"/>
            <a:ext cx="1946593" cy="716042"/>
          </a:xfrm>
          <a:prstGeom prst="rect">
            <a:avLst/>
          </a:prstGeom>
        </p:spPr>
      </p:pic>
    </p:spTree>
    <p:extLst>
      <p:ext uri="{BB962C8B-B14F-4D97-AF65-F5344CB8AC3E}">
        <p14:creationId xmlns:p14="http://schemas.microsoft.com/office/powerpoint/2010/main" val="3031602063"/>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5060"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646046"/>
            <a:ext cx="12188825"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a:t>Click to add subtitle</a:t>
            </a:r>
          </a:p>
        </p:txBody>
      </p:sp>
      <p:sp>
        <p:nvSpPr>
          <p:cNvPr id="16" name="Text Placeholder 15"/>
          <p:cNvSpPr>
            <a:spLocks noGrp="1"/>
          </p:cNvSpPr>
          <p:nvPr>
            <p:ph type="body" sz="quarter" idx="14"/>
          </p:nvPr>
        </p:nvSpPr>
        <p:spPr>
          <a:xfrm>
            <a:off x="150813" y="1600200"/>
            <a:ext cx="11887200"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
        <p:nvSpPr>
          <p:cNvPr id="20" name="Footer Placeholder 19"/>
          <p:cNvSpPr>
            <a:spLocks noGrp="1"/>
          </p:cNvSpPr>
          <p:nvPr>
            <p:ph type="ftr" sz="quarter" idx="16"/>
          </p:nvPr>
        </p:nvSpPr>
        <p:spPr/>
        <p:txBody>
          <a:bodyPr/>
          <a:lstStyle/>
          <a:p>
            <a:endParaRPr lang="en-US">
              <a:solidFill>
                <a:srgbClr val="505050"/>
              </a:solidFill>
            </a:endParaRPr>
          </a:p>
        </p:txBody>
      </p:sp>
    </p:spTree>
    <p:extLst>
      <p:ext uri="{BB962C8B-B14F-4D97-AF65-F5344CB8AC3E}">
        <p14:creationId xmlns:p14="http://schemas.microsoft.com/office/powerpoint/2010/main" val="53199998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0"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a:p>
        </p:txBody>
      </p:sp>
      <p:sp>
        <p:nvSpPr>
          <p:cNvPr id="4" name="Rectangle 3"/>
          <p:cNvSpPr/>
          <p:nvPr/>
        </p:nvSpPr>
        <p:spPr>
          <a:xfrm>
            <a:off x="0"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a:p>
        </p:txBody>
      </p:sp>
      <p:sp>
        <p:nvSpPr>
          <p:cNvPr id="8" name="Rectangle 7"/>
          <p:cNvSpPr/>
          <p:nvPr/>
        </p:nvSpPr>
        <p:spPr>
          <a:xfrm>
            <a:off x="0"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a:p>
        </p:txBody>
      </p:sp>
      <p:pic>
        <p:nvPicPr>
          <p:cNvPr id="10" name="Picture 9"/>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116" y="2899238"/>
            <a:ext cx="2880367" cy="1059525"/>
          </a:xfrm>
          <a:prstGeom prst="rect">
            <a:avLst/>
          </a:prstGeom>
        </p:spPr>
      </p:pic>
      <p:sp>
        <p:nvSpPr>
          <p:cNvPr id="6" name="Rectangle 5"/>
          <p:cNvSpPr/>
          <p:nvPr/>
        </p:nvSpPr>
        <p:spPr>
          <a:xfrm>
            <a:off x="0"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a:p>
        </p:txBody>
      </p:sp>
      <p:pic>
        <p:nvPicPr>
          <p:cNvPr id="7" name="Picture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116" y="2899238"/>
            <a:ext cx="2880367" cy="1059525"/>
          </a:xfrm>
          <a:prstGeom prst="rect">
            <a:avLst/>
          </a:prstGeom>
        </p:spPr>
      </p:pic>
      <p:sp>
        <p:nvSpPr>
          <p:cNvPr id="9" name="Rectangle 8"/>
          <p:cNvSpPr/>
          <p:nvPr userDrawn="1"/>
        </p:nvSpPr>
        <p:spPr>
          <a:xfrm>
            <a:off x="0"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46116" y="2899238"/>
            <a:ext cx="2880367" cy="1059525"/>
          </a:xfrm>
          <a:prstGeom prst="rect">
            <a:avLst/>
          </a:prstGeom>
        </p:spPr>
      </p:pic>
    </p:spTree>
    <p:extLst>
      <p:ext uri="{BB962C8B-B14F-4D97-AF65-F5344CB8AC3E}">
        <p14:creationId xmlns:p14="http://schemas.microsoft.com/office/powerpoint/2010/main" val="3549262509"/>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6084"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p:txBody>
          <a:bodyPr/>
          <a:lstStyle/>
          <a:p>
            <a:endParaRPr lang="en-US">
              <a:solidFill>
                <a:srgbClr val="505050"/>
              </a:solidFill>
            </a:endParaRPr>
          </a:p>
        </p:txBody>
      </p:sp>
      <p:sp>
        <p:nvSpPr>
          <p:cNvPr id="5" name="Slide Number Placeholder 4"/>
          <p:cNvSpPr>
            <a:spLocks noGrp="1"/>
          </p:cNvSpPr>
          <p:nvPr>
            <p:ph type="sldNum" sz="quarter" idx="12"/>
          </p:nvPr>
        </p:nvSpPr>
        <p:spPr>
          <a:xfrm>
            <a:off x="11427024" y="6478589"/>
            <a:ext cx="761800" cy="379413"/>
          </a:xfrm>
          <a:prstGeom prst="rect">
            <a:avLst/>
          </a:prstGeom>
        </p:spPr>
        <p:txBody>
          <a:bodyPr/>
          <a:lstStyle/>
          <a:p>
            <a:fld id="{6A4C1A4A-E5E6-4CC1-B72C-A20A4EB3E2D2}" type="slidenum">
              <a:rPr lang="en-US" smtClean="0">
                <a:solidFill>
                  <a:srgbClr val="505050"/>
                </a:solidFill>
              </a:rPr>
              <a:pPr/>
              <a:t>‹#›</a:t>
            </a:fld>
            <a:endParaRPr lang="en-US">
              <a:solidFill>
                <a:srgbClr val="505050"/>
              </a:solidFill>
            </a:endParaRPr>
          </a:p>
        </p:txBody>
      </p:sp>
      <p:sp>
        <p:nvSpPr>
          <p:cNvPr id="6" name="Text Placeholder 5"/>
          <p:cNvSpPr>
            <a:spLocks noGrp="1"/>
          </p:cNvSpPr>
          <p:nvPr>
            <p:ph type="body" sz="quarter" idx="13" hasCustomPrompt="1"/>
          </p:nvPr>
        </p:nvSpPr>
        <p:spPr>
          <a:xfrm>
            <a:off x="1" y="646046"/>
            <a:ext cx="12188825"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a:t>Click to add subtitle</a:t>
            </a:r>
          </a:p>
        </p:txBody>
      </p:sp>
    </p:spTree>
    <p:extLst>
      <p:ext uri="{BB962C8B-B14F-4D97-AF65-F5344CB8AC3E}">
        <p14:creationId xmlns:p14="http://schemas.microsoft.com/office/powerpoint/2010/main" val="2981128636"/>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710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150813" y="1600200"/>
            <a:ext cx="11887200" cy="4495800"/>
          </a:xfrm>
          <a:prstGeom prst="rect">
            <a:avLst/>
          </a:prstGeom>
        </p:spPr>
        <p:txBody>
          <a:bodyPr/>
          <a:lstStyle>
            <a:lvl1pPr marL="0"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1pPr>
            <a:lvl2pPr marL="281589"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2pPr>
            <a:lvl3pPr marL="588299"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3pPr>
            <a:lvl4pPr marL="869889"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4pPr>
            <a:lvl5pPr marL="1105208"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nvPr>
        </p:nvSpPr>
        <p:spPr>
          <a:xfrm>
            <a:off x="1" y="646046"/>
            <a:ext cx="12188825"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a:t>Click to add subtitle</a:t>
            </a:r>
          </a:p>
        </p:txBody>
      </p:sp>
      <p:sp>
        <p:nvSpPr>
          <p:cNvPr id="6" name="Footer Placeholder 5"/>
          <p:cNvSpPr>
            <a:spLocks noGrp="1"/>
          </p:cNvSpPr>
          <p:nvPr>
            <p:ph type="ftr" sz="quarter" idx="16"/>
          </p:nvPr>
        </p:nvSpPr>
        <p:spPr/>
        <p:txBody>
          <a:bodyPr/>
          <a:lstStyle/>
          <a:p>
            <a:endParaRPr lang="en-US">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254550143"/>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8132" name="think-cell Slide" r:id="rId4" imgW="377" imgH="377" progId="TCLayout.ActiveDocument.1">
                  <p:embed/>
                </p:oleObj>
              </mc:Choice>
              <mc:Fallback>
                <p:oleObj name="think-cell Slide" r:id="rId4" imgW="377" imgH="377" progId="TCLayout.ActiveDocument.1">
                  <p:embed/>
                  <p:pic>
                    <p:nvPicPr>
                      <p:cNvPr id="5" name="Object 4"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Footer Placeholder 1"/>
          <p:cNvSpPr>
            <a:spLocks noGrp="1"/>
          </p:cNvSpPr>
          <p:nvPr>
            <p:ph type="ftr" sz="quarter" idx="15"/>
          </p:nvPr>
        </p:nvSpPr>
        <p:spPr/>
        <p:txBody>
          <a:bodyPr/>
          <a:lstStyle/>
          <a:p>
            <a:endParaRPr lang="en-US">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
        <p:nvSpPr>
          <p:cNvPr id="4" name="Rectangle 3"/>
          <p:cNvSpPr/>
          <p:nvPr userDrawn="1"/>
        </p:nvSpPr>
        <p:spPr>
          <a:xfrm>
            <a:off x="1" y="0"/>
            <a:ext cx="12188825" cy="6858000"/>
          </a:xfrm>
          <a:prstGeom prst="rect">
            <a:avLst/>
          </a:prstGeom>
          <a:gradFill flip="none" rotWithShape="1">
            <a:gsLst>
              <a:gs pos="0">
                <a:schemeClr val="tx2"/>
              </a:gs>
              <a:gs pos="100000">
                <a:schemeClr val="bg2">
                  <a:lumMod val="90000"/>
                  <a:lumOff val="1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1087779"/>
            <a:endParaRPr lang="en-US" sz="1200">
              <a:solidFill>
                <a:prstClr val="white"/>
              </a:solidFill>
            </a:endParaRPr>
          </a:p>
        </p:txBody>
      </p:sp>
    </p:spTree>
    <p:extLst>
      <p:ext uri="{BB962C8B-B14F-4D97-AF65-F5344CB8AC3E}">
        <p14:creationId xmlns:p14="http://schemas.microsoft.com/office/powerpoint/2010/main" val="2959332930"/>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915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6" name="Rectangle 5"/>
          <p:cNvSpPr/>
          <p:nvPr/>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14" y="1143002"/>
            <a:ext cx="1005839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50812" y="3877278"/>
            <a:ext cx="10058401" cy="1837723"/>
          </a:xfrm>
          <a:noFill/>
        </p:spPr>
        <p:txBody>
          <a:bodyPr lIns="137160" tIns="137160" rIns="137160" bIns="137160">
            <a:noAutofit/>
          </a:bodyPr>
          <a:lstStyle>
            <a:lvl1pPr marL="0" indent="0">
              <a:spcBef>
                <a:spcPts val="0"/>
              </a:spcBef>
              <a:buNone/>
              <a:defRPr sz="2799"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7339150"/>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0180"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6" name="Rectangle 5"/>
          <p:cNvSpPr/>
          <p:nvPr/>
        </p:nvSpPr>
        <p:spPr bwMode="auto">
          <a:xfrm>
            <a:off x="150814"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14"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14" y="1143001"/>
            <a:ext cx="1005839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a:t>Video title</a:t>
            </a:r>
          </a:p>
        </p:txBody>
      </p:sp>
      <p:sp>
        <p:nvSpPr>
          <p:cNvPr id="5" name="Text Placeholder 4"/>
          <p:cNvSpPr>
            <a:spLocks noGrp="1"/>
          </p:cNvSpPr>
          <p:nvPr>
            <p:ph type="body" sz="quarter" idx="12" hasCustomPrompt="1"/>
          </p:nvPr>
        </p:nvSpPr>
        <p:spPr>
          <a:xfrm>
            <a:off x="150813" y="3886200"/>
            <a:ext cx="10058400" cy="1828800"/>
          </a:xfrm>
          <a:noFill/>
        </p:spPr>
        <p:txBody>
          <a:bodyPr lIns="137160" tIns="137160" rIns="137160" bIns="137160">
            <a:noAutofit/>
          </a:bodyPr>
          <a:lstStyle>
            <a:lvl1pPr marL="0" indent="0">
              <a:spcBef>
                <a:spcPts val="0"/>
              </a:spcBef>
              <a:buNone/>
              <a:defRPr sz="2799"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14"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373892466"/>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1204"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FFFFFF"/>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021148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2228"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FFFFFF"/>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5370143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3252"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8787867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4276"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2268514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5300"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6473177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2_EXAMPLE ONLY: Title with photo">
    <p:spTree>
      <p:nvGrpSpPr>
        <p:cNvPr id="1" name=""/>
        <p:cNvGrpSpPr/>
        <p:nvPr/>
      </p:nvGrpSpPr>
      <p:grpSpPr>
        <a:xfrm>
          <a:off x="0" y="0"/>
          <a:ext cx="0" cy="0"/>
          <a:chOff x="0" y="0"/>
          <a:chExt cx="0" cy="0"/>
        </a:xfrm>
      </p:grpSpPr>
      <p:pic>
        <p:nvPicPr>
          <p:cNvPr id="16" name="Picture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216" y="198357"/>
            <a:ext cx="1946596" cy="716042"/>
          </a:xfrm>
          <a:prstGeom prst="rect">
            <a:avLst/>
          </a:prstGeom>
        </p:spPr>
      </p:pic>
      <p:sp>
        <p:nvSpPr>
          <p:cNvPr id="14" name="Rectangle 13"/>
          <p:cNvSpPr/>
          <p:nvPr userDrawn="1"/>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057400"/>
            <a:ext cx="5486400" cy="2743426"/>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13" y="4800600"/>
            <a:ext cx="5486400" cy="914400"/>
          </a:xfrm>
        </p:spPr>
        <p:txBody>
          <a:bodyPr lIns="137160" tIns="9144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spTree>
    <p:extLst>
      <p:ext uri="{BB962C8B-B14F-4D97-AF65-F5344CB8AC3E}">
        <p14:creationId xmlns:p14="http://schemas.microsoft.com/office/powerpoint/2010/main" val="326585847"/>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057400"/>
            <a:ext cx="5486400" cy="2743426"/>
          </a:xfrm>
          <a:noFill/>
        </p:spPr>
        <p:txBody>
          <a:bodyPr vert="horz" lIns="137160" tIns="137160" rIns="137160" bIns="137160" rtlCol="0" anchor="t" anchorCtr="0">
            <a:normAutofit/>
          </a:bodyPr>
          <a:lstStyle>
            <a:lvl1pPr>
              <a:defRPr lang="en-US" sz="4399"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13" y="4800600"/>
            <a:ext cx="5486400" cy="914400"/>
          </a:xfrm>
        </p:spPr>
        <p:txBody>
          <a:bodyPr lIns="137160" tIns="137160" rIns="137160" bIns="137160">
            <a:noAutofit/>
          </a:bodyPr>
          <a:lstStyle>
            <a:lvl1pPr marL="0" indent="0">
              <a:spcBef>
                <a:spcPts val="0"/>
              </a:spcBef>
              <a:buNone/>
              <a:defRPr sz="1999">
                <a:solidFill>
                  <a:schemeClr val="bg1"/>
                </a:solidFill>
              </a:defRPr>
            </a:lvl1pPr>
            <a:lvl2pPr marL="281589" indent="0">
              <a:buNone/>
              <a:defRPr sz="1999">
                <a:solidFill>
                  <a:schemeClr val="bg1"/>
                </a:solidFill>
              </a:defRPr>
            </a:lvl2pPr>
            <a:lvl3pPr marL="588299" indent="0">
              <a:buNone/>
              <a:defRPr sz="1999">
                <a:solidFill>
                  <a:schemeClr val="bg1"/>
                </a:solidFill>
              </a:defRPr>
            </a:lvl3pPr>
            <a:lvl4pPr marL="869889" indent="0">
              <a:buNone/>
              <a:defRPr sz="1999">
                <a:solidFill>
                  <a:schemeClr val="bg1"/>
                </a:solidFill>
              </a:defRPr>
            </a:lvl4pPr>
            <a:lvl5pPr marL="1105208" indent="0">
              <a:buNone/>
              <a:defRPr sz="1999">
                <a:solidFill>
                  <a:schemeClr val="bg1"/>
                </a:solidFill>
              </a:defRPr>
            </a:lvl5pPr>
          </a:lstStyle>
          <a:p>
            <a:pPr lvl="0"/>
            <a:r>
              <a:rPr lang="en-US"/>
              <a:t>Speaker Name</a:t>
            </a:r>
          </a:p>
        </p:txBody>
      </p:sp>
      <p:sp>
        <p:nvSpPr>
          <p:cNvPr id="10" name="TextBox 9"/>
          <p:cNvSpPr txBox="1"/>
          <p:nvPr/>
        </p:nvSpPr>
        <p:spPr>
          <a:xfrm>
            <a:off x="7618016" y="381000"/>
            <a:ext cx="3809008" cy="1905000"/>
          </a:xfrm>
          <a:prstGeom prst="rect">
            <a:avLst/>
          </a:prstGeom>
        </p:spPr>
        <p:txBody>
          <a:bodyPr vert="horz" wrap="square" lIns="108793" tIns="54397" rIns="108793" bIns="54397" rtlCol="0" anchor="ctr">
            <a:normAutofit/>
          </a:bodyPr>
          <a:lstStyle/>
          <a:p>
            <a:r>
              <a:rPr lang="en-US" sz="1999">
                <a:solidFill>
                  <a:srgbClr val="D2D2D2"/>
                </a:solidFill>
                <a:ea typeface="Segoe UI" pitchFamily="34" charset="0"/>
                <a:cs typeface="Segoe UI" pitchFamily="34" charset="0"/>
              </a:rPr>
              <a:t>Click View &gt; Slide Master to insert a photo as a background behind the colored boxes.</a:t>
            </a:r>
          </a:p>
        </p:txBody>
      </p:sp>
      <p:sp>
        <p:nvSpPr>
          <p:cNvPr id="15" name="TextBox 14"/>
          <p:cNvSpPr txBox="1"/>
          <p:nvPr/>
        </p:nvSpPr>
        <p:spPr>
          <a:xfrm>
            <a:off x="7618016" y="381000"/>
            <a:ext cx="3809008" cy="1905000"/>
          </a:xfrm>
          <a:prstGeom prst="rect">
            <a:avLst/>
          </a:prstGeom>
        </p:spPr>
        <p:txBody>
          <a:bodyPr vert="horz" wrap="square" lIns="108793" tIns="54397" rIns="108793" bIns="54397" rtlCol="0" anchor="ctr">
            <a:normAutofit/>
          </a:bodyPr>
          <a:lstStyle/>
          <a:p>
            <a:r>
              <a:rPr lang="en-US" sz="1999">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216" y="198357"/>
            <a:ext cx="1946596" cy="716042"/>
          </a:xfrm>
          <a:prstGeom prst="rect">
            <a:avLst/>
          </a:prstGeom>
        </p:spPr>
      </p:pic>
      <p:sp>
        <p:nvSpPr>
          <p:cNvPr id="14" name="TextBox 13"/>
          <p:cNvSpPr txBox="1"/>
          <p:nvPr userDrawn="1"/>
        </p:nvSpPr>
        <p:spPr>
          <a:xfrm>
            <a:off x="7618016" y="381000"/>
            <a:ext cx="3809008" cy="1905000"/>
          </a:xfrm>
          <a:prstGeom prst="rect">
            <a:avLst/>
          </a:prstGeom>
        </p:spPr>
        <p:txBody>
          <a:bodyPr vert="horz" wrap="square" lIns="108793" tIns="54397" rIns="108793" bIns="54397" rtlCol="0" anchor="ctr">
            <a:normAutofit/>
          </a:bodyPr>
          <a:lstStyle/>
          <a:p>
            <a:r>
              <a:rPr lang="en-US" sz="1999">
                <a:solidFill>
                  <a:srgbClr val="D2D2D2"/>
                </a:solidFill>
                <a:ea typeface="Segoe UI" pitchFamily="34" charset="0"/>
                <a:cs typeface="Segoe UI" pitchFamily="34" charset="0"/>
              </a:rPr>
              <a:t>Click View &gt; Slide Master to insert a photo as a background behind the colored boxes.</a:t>
            </a:r>
          </a:p>
        </p:txBody>
      </p:sp>
    </p:spTree>
    <p:extLst>
      <p:ext uri="{BB962C8B-B14F-4D97-AF65-F5344CB8AC3E}">
        <p14:creationId xmlns:p14="http://schemas.microsoft.com/office/powerpoint/2010/main" val="1494876452"/>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6324"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chemeClr val="tx1"/>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7824715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734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27012" y="1600200"/>
            <a:ext cx="11353800"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1" y="6238878"/>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99"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2272691926"/>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8372"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5" name="Rectangle 4"/>
          <p:cNvSpPr/>
          <p:nvPr/>
        </p:nvSpPr>
        <p:spPr>
          <a:xfrm>
            <a:off x="1"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defTabSz="1087779"/>
            <a:endParaRPr lang="en-US" sz="2199">
              <a:solidFill>
                <a:prstClr val="white"/>
              </a:solidFill>
            </a:endParaRPr>
          </a:p>
        </p:txBody>
      </p:sp>
      <p:sp>
        <p:nvSpPr>
          <p:cNvPr id="4" name="Rectangle 3"/>
          <p:cNvSpPr/>
          <p:nvPr/>
        </p:nvSpPr>
        <p:spPr>
          <a:xfrm>
            <a:off x="1"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defTabSz="1087779"/>
            <a:endParaRPr lang="en-US" sz="2199">
              <a:solidFill>
                <a:prstClr val="white"/>
              </a:solidFill>
            </a:endParaRPr>
          </a:p>
        </p:txBody>
      </p:sp>
      <p:sp>
        <p:nvSpPr>
          <p:cNvPr id="8" name="Rectangle 7"/>
          <p:cNvSpPr/>
          <p:nvPr/>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defTabSz="1087779"/>
            <a:endParaRPr lang="en-US" sz="2199">
              <a:solidFill>
                <a:prstClr val="white"/>
              </a:solidFill>
            </a:endParaRPr>
          </a:p>
        </p:txBody>
      </p:sp>
      <p:pic>
        <p:nvPicPr>
          <p:cNvPr id="10" name="Picture 9"/>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446117" y="2899240"/>
            <a:ext cx="2880367" cy="1059525"/>
          </a:xfrm>
          <a:prstGeom prst="rect">
            <a:avLst/>
          </a:prstGeom>
        </p:spPr>
      </p:pic>
      <p:sp>
        <p:nvSpPr>
          <p:cNvPr id="6" name="Rectangle 5"/>
          <p:cNvSpPr/>
          <p:nvPr/>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defTabSz="1087779"/>
            <a:endParaRPr lang="en-US" sz="2199">
              <a:solidFill>
                <a:prstClr val="white"/>
              </a:solidFill>
            </a:endParaRPr>
          </a:p>
        </p:txBody>
      </p:sp>
      <p:pic>
        <p:nvPicPr>
          <p:cNvPr id="7" name="Picture 6"/>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446117" y="2899240"/>
            <a:ext cx="2880367" cy="1059525"/>
          </a:xfrm>
          <a:prstGeom prst="rect">
            <a:avLst/>
          </a:prstGeom>
        </p:spPr>
      </p:pic>
      <p:sp>
        <p:nvSpPr>
          <p:cNvPr id="9" name="Rectangle 8"/>
          <p:cNvSpPr/>
          <p:nvPr userDrawn="1"/>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defTabSz="1087779"/>
            <a:endParaRPr lang="en-US" sz="2199">
              <a:solidFill>
                <a:prstClr val="white"/>
              </a:solidFill>
            </a:endParaRPr>
          </a:p>
        </p:txBody>
      </p:sp>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46117" y="2899238"/>
            <a:ext cx="2883575" cy="1060704"/>
          </a:xfrm>
          <a:prstGeom prst="rect">
            <a:avLst/>
          </a:prstGeom>
        </p:spPr>
      </p:pic>
    </p:spTree>
    <p:extLst>
      <p:ext uri="{BB962C8B-B14F-4D97-AF65-F5344CB8AC3E}">
        <p14:creationId xmlns:p14="http://schemas.microsoft.com/office/powerpoint/2010/main" val="2827778736"/>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1_Microsoft logo 4">
    <p:spTree>
      <p:nvGrpSpPr>
        <p:cNvPr id="1" name=""/>
        <p:cNvGrpSpPr/>
        <p:nvPr/>
      </p:nvGrpSpPr>
      <p:grpSpPr>
        <a:xfrm>
          <a:off x="0" y="0"/>
          <a:ext cx="0" cy="0"/>
          <a:chOff x="0" y="0"/>
          <a:chExt cx="0" cy="0"/>
        </a:xfrm>
      </p:grpSpPr>
      <p:pic>
        <p:nvPicPr>
          <p:cNvPr id="42" name="Picture 41"/>
          <p:cNvPicPr>
            <a:picLocks noChangeAspect="1"/>
          </p:cNvPicPr>
          <p:nvPr userDrawn="1"/>
        </p:nvPicPr>
        <p:blipFill rotWithShape="1">
          <a:blip r:embed="rId4"/>
          <a:srcRect l="10417" t="6705" r="5809" b="2028"/>
          <a:stretch/>
        </p:blipFill>
        <p:spPr>
          <a:xfrm>
            <a:off x="0" y="0"/>
            <a:ext cx="12188825" cy="6858000"/>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9396"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grpSp>
        <p:nvGrpSpPr>
          <p:cNvPr id="12" name="Group 6049"/>
          <p:cNvGrpSpPr>
            <a:grpSpLocks noChangeAspect="1"/>
          </p:cNvGrpSpPr>
          <p:nvPr userDrawn="1"/>
        </p:nvGrpSpPr>
        <p:grpSpPr bwMode="auto">
          <a:xfrm>
            <a:off x="3294258" y="1545772"/>
            <a:ext cx="5600309" cy="3418114"/>
            <a:chOff x="-2221" y="1217"/>
            <a:chExt cx="2219" cy="1354"/>
          </a:xfrm>
          <a:solidFill>
            <a:schemeClr val="bg1"/>
          </a:solidFill>
        </p:grpSpPr>
        <p:sp>
          <p:nvSpPr>
            <p:cNvPr id="14" name="Freeform 6050"/>
            <p:cNvSpPr>
              <a:spLocks noEditPoints="1"/>
            </p:cNvSpPr>
            <p:nvPr/>
          </p:nvSpPr>
          <p:spPr bwMode="auto">
            <a:xfrm>
              <a:off x="-1107" y="2409"/>
              <a:ext cx="149" cy="162"/>
            </a:xfrm>
            <a:custGeom>
              <a:avLst/>
              <a:gdLst>
                <a:gd name="T0" fmla="*/ 39 w 78"/>
                <a:gd name="T1" fmla="*/ 85 h 85"/>
                <a:gd name="T2" fmla="*/ 19 w 78"/>
                <a:gd name="T3" fmla="*/ 80 h 85"/>
                <a:gd name="T4" fmla="*/ 5 w 78"/>
                <a:gd name="T5" fmla="*/ 65 h 85"/>
                <a:gd name="T6" fmla="*/ 0 w 78"/>
                <a:gd name="T7" fmla="*/ 43 h 85"/>
                <a:gd name="T8" fmla="*/ 5 w 78"/>
                <a:gd name="T9" fmla="*/ 20 h 85"/>
                <a:gd name="T10" fmla="*/ 19 w 78"/>
                <a:gd name="T11" fmla="*/ 5 h 85"/>
                <a:gd name="T12" fmla="*/ 40 w 78"/>
                <a:gd name="T13" fmla="*/ 0 h 85"/>
                <a:gd name="T14" fmla="*/ 60 w 78"/>
                <a:gd name="T15" fmla="*/ 5 h 85"/>
                <a:gd name="T16" fmla="*/ 73 w 78"/>
                <a:gd name="T17" fmla="*/ 20 h 85"/>
                <a:gd name="T18" fmla="*/ 78 w 78"/>
                <a:gd name="T19" fmla="*/ 41 h 85"/>
                <a:gd name="T20" fmla="*/ 73 w 78"/>
                <a:gd name="T21" fmla="*/ 64 h 85"/>
                <a:gd name="T22" fmla="*/ 60 w 78"/>
                <a:gd name="T23" fmla="*/ 80 h 85"/>
                <a:gd name="T24" fmla="*/ 39 w 78"/>
                <a:gd name="T25" fmla="*/ 85 h 85"/>
                <a:gd name="T26" fmla="*/ 39 w 78"/>
                <a:gd name="T27" fmla="*/ 5 h 85"/>
                <a:gd name="T28" fmla="*/ 22 w 78"/>
                <a:gd name="T29" fmla="*/ 10 h 85"/>
                <a:gd name="T30" fmla="*/ 11 w 78"/>
                <a:gd name="T31" fmla="*/ 23 h 85"/>
                <a:gd name="T32" fmla="*/ 6 w 78"/>
                <a:gd name="T33" fmla="*/ 43 h 85"/>
                <a:gd name="T34" fmla="*/ 10 w 78"/>
                <a:gd name="T35" fmla="*/ 62 h 85"/>
                <a:gd name="T36" fmla="*/ 22 w 78"/>
                <a:gd name="T37" fmla="*/ 75 h 85"/>
                <a:gd name="T38" fmla="*/ 39 w 78"/>
                <a:gd name="T39" fmla="*/ 80 h 85"/>
                <a:gd name="T40" fmla="*/ 63 w 78"/>
                <a:gd name="T41" fmla="*/ 70 h 85"/>
                <a:gd name="T42" fmla="*/ 72 w 78"/>
                <a:gd name="T43" fmla="*/ 42 h 85"/>
                <a:gd name="T44" fmla="*/ 68 w 78"/>
                <a:gd name="T45" fmla="*/ 22 h 85"/>
                <a:gd name="T46" fmla="*/ 57 w 78"/>
                <a:gd name="T47" fmla="*/ 9 h 85"/>
                <a:gd name="T48" fmla="*/ 39 w 78"/>
                <a:gd name="T49" fmla="*/ 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85">
                  <a:moveTo>
                    <a:pt x="39" y="85"/>
                  </a:moveTo>
                  <a:cubicBezTo>
                    <a:pt x="31" y="85"/>
                    <a:pt x="25" y="83"/>
                    <a:pt x="19" y="80"/>
                  </a:cubicBezTo>
                  <a:cubicBezTo>
                    <a:pt x="13" y="77"/>
                    <a:pt x="8" y="72"/>
                    <a:pt x="5" y="65"/>
                  </a:cubicBezTo>
                  <a:cubicBezTo>
                    <a:pt x="2" y="59"/>
                    <a:pt x="0" y="51"/>
                    <a:pt x="0" y="43"/>
                  </a:cubicBezTo>
                  <a:cubicBezTo>
                    <a:pt x="0" y="35"/>
                    <a:pt x="2" y="27"/>
                    <a:pt x="5" y="20"/>
                  </a:cubicBezTo>
                  <a:cubicBezTo>
                    <a:pt x="9" y="14"/>
                    <a:pt x="13" y="8"/>
                    <a:pt x="19" y="5"/>
                  </a:cubicBezTo>
                  <a:cubicBezTo>
                    <a:pt x="25" y="1"/>
                    <a:pt x="32" y="0"/>
                    <a:pt x="40" y="0"/>
                  </a:cubicBezTo>
                  <a:cubicBezTo>
                    <a:pt x="48" y="0"/>
                    <a:pt x="54" y="1"/>
                    <a:pt x="60" y="5"/>
                  </a:cubicBezTo>
                  <a:cubicBezTo>
                    <a:pt x="66" y="8"/>
                    <a:pt x="70" y="13"/>
                    <a:pt x="73" y="20"/>
                  </a:cubicBezTo>
                  <a:cubicBezTo>
                    <a:pt x="76" y="26"/>
                    <a:pt x="78" y="33"/>
                    <a:pt x="78" y="41"/>
                  </a:cubicBezTo>
                  <a:cubicBezTo>
                    <a:pt x="78" y="50"/>
                    <a:pt x="76" y="58"/>
                    <a:pt x="73" y="64"/>
                  </a:cubicBezTo>
                  <a:cubicBezTo>
                    <a:pt x="70" y="71"/>
                    <a:pt x="65" y="76"/>
                    <a:pt x="60" y="80"/>
                  </a:cubicBezTo>
                  <a:cubicBezTo>
                    <a:pt x="54" y="83"/>
                    <a:pt x="47" y="85"/>
                    <a:pt x="39" y="85"/>
                  </a:cubicBezTo>
                  <a:close/>
                  <a:moveTo>
                    <a:pt x="39" y="5"/>
                  </a:moveTo>
                  <a:cubicBezTo>
                    <a:pt x="33" y="5"/>
                    <a:pt x="27" y="6"/>
                    <a:pt x="22" y="10"/>
                  </a:cubicBezTo>
                  <a:cubicBezTo>
                    <a:pt x="17" y="13"/>
                    <a:pt x="13" y="17"/>
                    <a:pt x="11" y="23"/>
                  </a:cubicBezTo>
                  <a:cubicBezTo>
                    <a:pt x="8" y="29"/>
                    <a:pt x="6" y="35"/>
                    <a:pt x="6" y="43"/>
                  </a:cubicBezTo>
                  <a:cubicBezTo>
                    <a:pt x="6" y="50"/>
                    <a:pt x="8" y="57"/>
                    <a:pt x="10" y="62"/>
                  </a:cubicBezTo>
                  <a:cubicBezTo>
                    <a:pt x="13" y="68"/>
                    <a:pt x="17" y="72"/>
                    <a:pt x="22" y="75"/>
                  </a:cubicBezTo>
                  <a:cubicBezTo>
                    <a:pt x="27" y="78"/>
                    <a:pt x="32" y="80"/>
                    <a:pt x="39" y="80"/>
                  </a:cubicBezTo>
                  <a:cubicBezTo>
                    <a:pt x="49" y="80"/>
                    <a:pt x="57" y="77"/>
                    <a:pt x="63" y="70"/>
                  </a:cubicBezTo>
                  <a:cubicBezTo>
                    <a:pt x="69" y="63"/>
                    <a:pt x="72" y="54"/>
                    <a:pt x="72" y="42"/>
                  </a:cubicBezTo>
                  <a:cubicBezTo>
                    <a:pt x="72" y="34"/>
                    <a:pt x="71" y="28"/>
                    <a:pt x="68" y="22"/>
                  </a:cubicBezTo>
                  <a:cubicBezTo>
                    <a:pt x="66" y="17"/>
                    <a:pt x="62" y="12"/>
                    <a:pt x="57" y="9"/>
                  </a:cubicBezTo>
                  <a:cubicBezTo>
                    <a:pt x="52" y="6"/>
                    <a:pt x="46" y="5"/>
                    <a:pt x="39"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15" name="Freeform 6051"/>
            <p:cNvSpPr>
              <a:spLocks/>
            </p:cNvSpPr>
            <p:nvPr/>
          </p:nvSpPr>
          <p:spPr bwMode="auto">
            <a:xfrm>
              <a:off x="-929" y="2411"/>
              <a:ext cx="72" cy="158"/>
            </a:xfrm>
            <a:custGeom>
              <a:avLst/>
              <a:gdLst>
                <a:gd name="T0" fmla="*/ 9 w 72"/>
                <a:gd name="T1" fmla="*/ 9 h 158"/>
                <a:gd name="T2" fmla="*/ 9 w 72"/>
                <a:gd name="T3" fmla="*/ 74 h 158"/>
                <a:gd name="T4" fmla="*/ 68 w 72"/>
                <a:gd name="T5" fmla="*/ 74 h 158"/>
                <a:gd name="T6" fmla="*/ 68 w 72"/>
                <a:gd name="T7" fmla="*/ 84 h 158"/>
                <a:gd name="T8" fmla="*/ 9 w 72"/>
                <a:gd name="T9" fmla="*/ 84 h 158"/>
                <a:gd name="T10" fmla="*/ 9 w 72"/>
                <a:gd name="T11" fmla="*/ 158 h 158"/>
                <a:gd name="T12" fmla="*/ 0 w 72"/>
                <a:gd name="T13" fmla="*/ 158 h 158"/>
                <a:gd name="T14" fmla="*/ 0 w 72"/>
                <a:gd name="T15" fmla="*/ 0 h 158"/>
                <a:gd name="T16" fmla="*/ 72 w 72"/>
                <a:gd name="T17" fmla="*/ 0 h 158"/>
                <a:gd name="T18" fmla="*/ 72 w 72"/>
                <a:gd name="T19" fmla="*/ 9 h 158"/>
                <a:gd name="T20" fmla="*/ 9 w 72"/>
                <a:gd name="T21" fmla="*/ 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158">
                  <a:moveTo>
                    <a:pt x="9" y="9"/>
                  </a:moveTo>
                  <a:lnTo>
                    <a:pt x="9" y="74"/>
                  </a:lnTo>
                  <a:lnTo>
                    <a:pt x="68" y="74"/>
                  </a:lnTo>
                  <a:lnTo>
                    <a:pt x="68" y="84"/>
                  </a:lnTo>
                  <a:lnTo>
                    <a:pt x="9" y="84"/>
                  </a:lnTo>
                  <a:lnTo>
                    <a:pt x="9" y="158"/>
                  </a:lnTo>
                  <a:lnTo>
                    <a:pt x="0" y="158"/>
                  </a:lnTo>
                  <a:lnTo>
                    <a:pt x="0" y="0"/>
                  </a:lnTo>
                  <a:lnTo>
                    <a:pt x="72" y="0"/>
                  </a:lnTo>
                  <a:lnTo>
                    <a:pt x="72" y="9"/>
                  </a:lnTo>
                  <a:lnTo>
                    <a:pt x="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16" name="Freeform 6052"/>
            <p:cNvSpPr>
              <a:spLocks noEditPoints="1"/>
            </p:cNvSpPr>
            <p:nvPr/>
          </p:nvSpPr>
          <p:spPr bwMode="auto">
            <a:xfrm>
              <a:off x="-780" y="2411"/>
              <a:ext cx="120" cy="158"/>
            </a:xfrm>
            <a:custGeom>
              <a:avLst/>
              <a:gdLst>
                <a:gd name="T0" fmla="*/ 0 w 63"/>
                <a:gd name="T1" fmla="*/ 83 h 83"/>
                <a:gd name="T2" fmla="*/ 0 w 63"/>
                <a:gd name="T3" fmla="*/ 0 h 83"/>
                <a:gd name="T4" fmla="*/ 21 w 63"/>
                <a:gd name="T5" fmla="*/ 0 h 83"/>
                <a:gd name="T6" fmla="*/ 52 w 63"/>
                <a:gd name="T7" fmla="*/ 10 h 83"/>
                <a:gd name="T8" fmla="*/ 63 w 63"/>
                <a:gd name="T9" fmla="*/ 40 h 83"/>
                <a:gd name="T10" fmla="*/ 58 w 63"/>
                <a:gd name="T11" fmla="*/ 62 h 83"/>
                <a:gd name="T12" fmla="*/ 42 w 63"/>
                <a:gd name="T13" fmla="*/ 77 h 83"/>
                <a:gd name="T14" fmla="*/ 19 w 63"/>
                <a:gd name="T15" fmla="*/ 83 h 83"/>
                <a:gd name="T16" fmla="*/ 0 w 63"/>
                <a:gd name="T17" fmla="*/ 83 h 83"/>
                <a:gd name="T18" fmla="*/ 6 w 63"/>
                <a:gd name="T19" fmla="*/ 5 h 83"/>
                <a:gd name="T20" fmla="*/ 6 w 63"/>
                <a:gd name="T21" fmla="*/ 78 h 83"/>
                <a:gd name="T22" fmla="*/ 19 w 63"/>
                <a:gd name="T23" fmla="*/ 78 h 83"/>
                <a:gd name="T24" fmla="*/ 47 w 63"/>
                <a:gd name="T25" fmla="*/ 68 h 83"/>
                <a:gd name="T26" fmla="*/ 57 w 63"/>
                <a:gd name="T27" fmla="*/ 40 h 83"/>
                <a:gd name="T28" fmla="*/ 20 w 63"/>
                <a:gd name="T29" fmla="*/ 5 h 83"/>
                <a:gd name="T30" fmla="*/ 6 w 63"/>
                <a:gd name="T31"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83">
                  <a:moveTo>
                    <a:pt x="0" y="83"/>
                  </a:moveTo>
                  <a:cubicBezTo>
                    <a:pt x="0" y="0"/>
                    <a:pt x="0" y="0"/>
                    <a:pt x="0" y="0"/>
                  </a:cubicBezTo>
                  <a:cubicBezTo>
                    <a:pt x="21" y="0"/>
                    <a:pt x="21" y="0"/>
                    <a:pt x="21" y="0"/>
                  </a:cubicBezTo>
                  <a:cubicBezTo>
                    <a:pt x="34" y="0"/>
                    <a:pt x="45" y="3"/>
                    <a:pt x="52" y="10"/>
                  </a:cubicBezTo>
                  <a:cubicBezTo>
                    <a:pt x="59" y="17"/>
                    <a:pt x="63" y="27"/>
                    <a:pt x="63" y="40"/>
                  </a:cubicBezTo>
                  <a:cubicBezTo>
                    <a:pt x="63" y="49"/>
                    <a:pt x="61" y="56"/>
                    <a:pt x="58" y="62"/>
                  </a:cubicBezTo>
                  <a:cubicBezTo>
                    <a:pt x="54" y="69"/>
                    <a:pt x="49" y="74"/>
                    <a:pt x="42" y="77"/>
                  </a:cubicBezTo>
                  <a:cubicBezTo>
                    <a:pt x="36" y="81"/>
                    <a:pt x="28" y="83"/>
                    <a:pt x="19" y="83"/>
                  </a:cubicBezTo>
                  <a:lnTo>
                    <a:pt x="0" y="83"/>
                  </a:lnTo>
                  <a:close/>
                  <a:moveTo>
                    <a:pt x="6" y="5"/>
                  </a:moveTo>
                  <a:cubicBezTo>
                    <a:pt x="6" y="78"/>
                    <a:pt x="6" y="78"/>
                    <a:pt x="6" y="78"/>
                  </a:cubicBezTo>
                  <a:cubicBezTo>
                    <a:pt x="19" y="78"/>
                    <a:pt x="19" y="78"/>
                    <a:pt x="19" y="78"/>
                  </a:cubicBezTo>
                  <a:cubicBezTo>
                    <a:pt x="31" y="78"/>
                    <a:pt x="40" y="74"/>
                    <a:pt x="47" y="68"/>
                  </a:cubicBezTo>
                  <a:cubicBezTo>
                    <a:pt x="54" y="62"/>
                    <a:pt x="57" y="52"/>
                    <a:pt x="57" y="40"/>
                  </a:cubicBezTo>
                  <a:cubicBezTo>
                    <a:pt x="57" y="17"/>
                    <a:pt x="44" y="5"/>
                    <a:pt x="20" y="5"/>
                  </a:cubicBez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17" name="Freeform 6053"/>
            <p:cNvSpPr>
              <a:spLocks noEditPoints="1"/>
            </p:cNvSpPr>
            <p:nvPr/>
          </p:nvSpPr>
          <p:spPr bwMode="auto">
            <a:xfrm>
              <a:off x="-633" y="2411"/>
              <a:ext cx="93" cy="158"/>
            </a:xfrm>
            <a:custGeom>
              <a:avLst/>
              <a:gdLst>
                <a:gd name="T0" fmla="*/ 43 w 49"/>
                <a:gd name="T1" fmla="*/ 83 h 83"/>
                <a:gd name="T2" fmla="*/ 32 w 49"/>
                <a:gd name="T3" fmla="*/ 59 h 83"/>
                <a:gd name="T4" fmla="*/ 25 w 49"/>
                <a:gd name="T5" fmla="*/ 49 h 83"/>
                <a:gd name="T6" fmla="*/ 16 w 49"/>
                <a:gd name="T7" fmla="*/ 46 h 83"/>
                <a:gd name="T8" fmla="*/ 6 w 49"/>
                <a:gd name="T9" fmla="*/ 46 h 83"/>
                <a:gd name="T10" fmla="*/ 6 w 49"/>
                <a:gd name="T11" fmla="*/ 83 h 83"/>
                <a:gd name="T12" fmla="*/ 0 w 49"/>
                <a:gd name="T13" fmla="*/ 83 h 83"/>
                <a:gd name="T14" fmla="*/ 0 w 49"/>
                <a:gd name="T15" fmla="*/ 0 h 83"/>
                <a:gd name="T16" fmla="*/ 23 w 49"/>
                <a:gd name="T17" fmla="*/ 0 h 83"/>
                <a:gd name="T18" fmla="*/ 41 w 49"/>
                <a:gd name="T19" fmla="*/ 6 h 83"/>
                <a:gd name="T20" fmla="*/ 47 w 49"/>
                <a:gd name="T21" fmla="*/ 22 h 83"/>
                <a:gd name="T22" fmla="*/ 42 w 49"/>
                <a:gd name="T23" fmla="*/ 36 h 83"/>
                <a:gd name="T24" fmla="*/ 27 w 49"/>
                <a:gd name="T25" fmla="*/ 44 h 83"/>
                <a:gd name="T26" fmla="*/ 27 w 49"/>
                <a:gd name="T27" fmla="*/ 44 h 83"/>
                <a:gd name="T28" fmla="*/ 37 w 49"/>
                <a:gd name="T29" fmla="*/ 56 h 83"/>
                <a:gd name="T30" fmla="*/ 49 w 49"/>
                <a:gd name="T31" fmla="*/ 83 h 83"/>
                <a:gd name="T32" fmla="*/ 43 w 49"/>
                <a:gd name="T33" fmla="*/ 83 h 83"/>
                <a:gd name="T34" fmla="*/ 6 w 49"/>
                <a:gd name="T35" fmla="*/ 5 h 83"/>
                <a:gd name="T36" fmla="*/ 6 w 49"/>
                <a:gd name="T37" fmla="*/ 41 h 83"/>
                <a:gd name="T38" fmla="*/ 20 w 49"/>
                <a:gd name="T39" fmla="*/ 41 h 83"/>
                <a:gd name="T40" fmla="*/ 36 w 49"/>
                <a:gd name="T41" fmla="*/ 36 h 83"/>
                <a:gd name="T42" fmla="*/ 41 w 49"/>
                <a:gd name="T43" fmla="*/ 22 h 83"/>
                <a:gd name="T44" fmla="*/ 36 w 49"/>
                <a:gd name="T45" fmla="*/ 10 h 83"/>
                <a:gd name="T46" fmla="*/ 22 w 49"/>
                <a:gd name="T47" fmla="*/ 5 h 83"/>
                <a:gd name="T48" fmla="*/ 6 w 49"/>
                <a:gd name="T49"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83">
                  <a:moveTo>
                    <a:pt x="43" y="83"/>
                  </a:moveTo>
                  <a:cubicBezTo>
                    <a:pt x="32" y="59"/>
                    <a:pt x="32" y="59"/>
                    <a:pt x="32" y="59"/>
                  </a:cubicBezTo>
                  <a:cubicBezTo>
                    <a:pt x="30" y="54"/>
                    <a:pt x="27" y="50"/>
                    <a:pt x="25" y="49"/>
                  </a:cubicBezTo>
                  <a:cubicBezTo>
                    <a:pt x="23" y="47"/>
                    <a:pt x="20" y="46"/>
                    <a:pt x="16" y="46"/>
                  </a:cubicBezTo>
                  <a:cubicBezTo>
                    <a:pt x="6" y="46"/>
                    <a:pt x="6" y="46"/>
                    <a:pt x="6" y="46"/>
                  </a:cubicBezTo>
                  <a:cubicBezTo>
                    <a:pt x="6" y="83"/>
                    <a:pt x="6" y="83"/>
                    <a:pt x="6" y="83"/>
                  </a:cubicBezTo>
                  <a:cubicBezTo>
                    <a:pt x="0" y="83"/>
                    <a:pt x="0" y="83"/>
                    <a:pt x="0" y="83"/>
                  </a:cubicBezTo>
                  <a:cubicBezTo>
                    <a:pt x="0" y="0"/>
                    <a:pt x="0" y="0"/>
                    <a:pt x="0" y="0"/>
                  </a:cubicBezTo>
                  <a:cubicBezTo>
                    <a:pt x="23" y="0"/>
                    <a:pt x="23" y="0"/>
                    <a:pt x="23" y="0"/>
                  </a:cubicBezTo>
                  <a:cubicBezTo>
                    <a:pt x="31" y="0"/>
                    <a:pt x="36" y="2"/>
                    <a:pt x="41" y="6"/>
                  </a:cubicBezTo>
                  <a:cubicBezTo>
                    <a:pt x="45" y="10"/>
                    <a:pt x="47" y="15"/>
                    <a:pt x="47" y="22"/>
                  </a:cubicBezTo>
                  <a:cubicBezTo>
                    <a:pt x="47" y="27"/>
                    <a:pt x="45" y="32"/>
                    <a:pt x="42" y="36"/>
                  </a:cubicBezTo>
                  <a:cubicBezTo>
                    <a:pt x="38" y="40"/>
                    <a:pt x="34" y="43"/>
                    <a:pt x="27" y="44"/>
                  </a:cubicBezTo>
                  <a:cubicBezTo>
                    <a:pt x="27" y="44"/>
                    <a:pt x="27" y="44"/>
                    <a:pt x="27" y="44"/>
                  </a:cubicBezTo>
                  <a:cubicBezTo>
                    <a:pt x="31" y="46"/>
                    <a:pt x="34" y="50"/>
                    <a:pt x="37" y="56"/>
                  </a:cubicBezTo>
                  <a:cubicBezTo>
                    <a:pt x="49" y="83"/>
                    <a:pt x="49" y="83"/>
                    <a:pt x="49" y="83"/>
                  </a:cubicBezTo>
                  <a:lnTo>
                    <a:pt x="43" y="83"/>
                  </a:lnTo>
                  <a:close/>
                  <a:moveTo>
                    <a:pt x="6" y="5"/>
                  </a:moveTo>
                  <a:cubicBezTo>
                    <a:pt x="6" y="41"/>
                    <a:pt x="6" y="41"/>
                    <a:pt x="6" y="41"/>
                  </a:cubicBezTo>
                  <a:cubicBezTo>
                    <a:pt x="20" y="41"/>
                    <a:pt x="20" y="41"/>
                    <a:pt x="20" y="41"/>
                  </a:cubicBezTo>
                  <a:cubicBezTo>
                    <a:pt x="27" y="41"/>
                    <a:pt x="32" y="39"/>
                    <a:pt x="36" y="36"/>
                  </a:cubicBezTo>
                  <a:cubicBezTo>
                    <a:pt x="39" y="32"/>
                    <a:pt x="41" y="28"/>
                    <a:pt x="41" y="22"/>
                  </a:cubicBezTo>
                  <a:cubicBezTo>
                    <a:pt x="41" y="17"/>
                    <a:pt x="39" y="13"/>
                    <a:pt x="36" y="10"/>
                  </a:cubicBezTo>
                  <a:cubicBezTo>
                    <a:pt x="33" y="7"/>
                    <a:pt x="28" y="5"/>
                    <a:pt x="22" y="5"/>
                  </a:cubicBez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18" name="Freeform 6054"/>
            <p:cNvSpPr>
              <a:spLocks/>
            </p:cNvSpPr>
            <p:nvPr/>
          </p:nvSpPr>
          <p:spPr bwMode="auto">
            <a:xfrm>
              <a:off x="-511" y="2411"/>
              <a:ext cx="78" cy="158"/>
            </a:xfrm>
            <a:custGeom>
              <a:avLst/>
              <a:gdLst>
                <a:gd name="T0" fmla="*/ 0 w 78"/>
                <a:gd name="T1" fmla="*/ 158 h 158"/>
                <a:gd name="T2" fmla="*/ 0 w 78"/>
                <a:gd name="T3" fmla="*/ 0 h 158"/>
                <a:gd name="T4" fmla="*/ 74 w 78"/>
                <a:gd name="T5" fmla="*/ 0 h 158"/>
                <a:gd name="T6" fmla="*/ 74 w 78"/>
                <a:gd name="T7" fmla="*/ 9 h 158"/>
                <a:gd name="T8" fmla="*/ 11 w 78"/>
                <a:gd name="T9" fmla="*/ 9 h 158"/>
                <a:gd name="T10" fmla="*/ 11 w 78"/>
                <a:gd name="T11" fmla="*/ 72 h 158"/>
                <a:gd name="T12" fmla="*/ 68 w 78"/>
                <a:gd name="T13" fmla="*/ 72 h 158"/>
                <a:gd name="T14" fmla="*/ 68 w 78"/>
                <a:gd name="T15" fmla="*/ 84 h 158"/>
                <a:gd name="T16" fmla="*/ 11 w 78"/>
                <a:gd name="T17" fmla="*/ 84 h 158"/>
                <a:gd name="T18" fmla="*/ 11 w 78"/>
                <a:gd name="T19" fmla="*/ 149 h 158"/>
                <a:gd name="T20" fmla="*/ 78 w 78"/>
                <a:gd name="T21" fmla="*/ 149 h 158"/>
                <a:gd name="T22" fmla="*/ 78 w 78"/>
                <a:gd name="T23" fmla="*/ 158 h 158"/>
                <a:gd name="T24" fmla="*/ 0 w 78"/>
                <a:gd name="T2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158">
                  <a:moveTo>
                    <a:pt x="0" y="158"/>
                  </a:moveTo>
                  <a:lnTo>
                    <a:pt x="0" y="0"/>
                  </a:lnTo>
                  <a:lnTo>
                    <a:pt x="74" y="0"/>
                  </a:lnTo>
                  <a:lnTo>
                    <a:pt x="74" y="9"/>
                  </a:lnTo>
                  <a:lnTo>
                    <a:pt x="11" y="9"/>
                  </a:lnTo>
                  <a:lnTo>
                    <a:pt x="11" y="72"/>
                  </a:lnTo>
                  <a:lnTo>
                    <a:pt x="68" y="72"/>
                  </a:lnTo>
                  <a:lnTo>
                    <a:pt x="68" y="84"/>
                  </a:lnTo>
                  <a:lnTo>
                    <a:pt x="11" y="84"/>
                  </a:lnTo>
                  <a:lnTo>
                    <a:pt x="11" y="149"/>
                  </a:lnTo>
                  <a:lnTo>
                    <a:pt x="78" y="149"/>
                  </a:lnTo>
                  <a:lnTo>
                    <a:pt x="78" y="158"/>
                  </a:lnTo>
                  <a:lnTo>
                    <a:pt x="0"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19" name="Freeform 6055"/>
            <p:cNvSpPr>
              <a:spLocks noEditPoints="1"/>
            </p:cNvSpPr>
            <p:nvPr/>
          </p:nvSpPr>
          <p:spPr bwMode="auto">
            <a:xfrm>
              <a:off x="-416" y="2411"/>
              <a:ext cx="128" cy="158"/>
            </a:xfrm>
            <a:custGeom>
              <a:avLst/>
              <a:gdLst>
                <a:gd name="T0" fmla="*/ 61 w 67"/>
                <a:gd name="T1" fmla="*/ 83 h 83"/>
                <a:gd name="T2" fmla="*/ 51 w 67"/>
                <a:gd name="T3" fmla="*/ 57 h 83"/>
                <a:gd name="T4" fmla="*/ 16 w 67"/>
                <a:gd name="T5" fmla="*/ 57 h 83"/>
                <a:gd name="T6" fmla="*/ 6 w 67"/>
                <a:gd name="T7" fmla="*/ 83 h 83"/>
                <a:gd name="T8" fmla="*/ 0 w 67"/>
                <a:gd name="T9" fmla="*/ 83 h 83"/>
                <a:gd name="T10" fmla="*/ 31 w 67"/>
                <a:gd name="T11" fmla="*/ 0 h 83"/>
                <a:gd name="T12" fmla="*/ 36 w 67"/>
                <a:gd name="T13" fmla="*/ 0 h 83"/>
                <a:gd name="T14" fmla="*/ 67 w 67"/>
                <a:gd name="T15" fmla="*/ 83 h 83"/>
                <a:gd name="T16" fmla="*/ 61 w 67"/>
                <a:gd name="T17" fmla="*/ 83 h 83"/>
                <a:gd name="T18" fmla="*/ 34 w 67"/>
                <a:gd name="T19" fmla="*/ 7 h 83"/>
                <a:gd name="T20" fmla="*/ 33 w 67"/>
                <a:gd name="T21" fmla="*/ 7 h 83"/>
                <a:gd name="T22" fmla="*/ 31 w 67"/>
                <a:gd name="T23" fmla="*/ 13 h 83"/>
                <a:gd name="T24" fmla="*/ 18 w 67"/>
                <a:gd name="T25" fmla="*/ 52 h 83"/>
                <a:gd name="T26" fmla="*/ 50 w 67"/>
                <a:gd name="T27" fmla="*/ 52 h 83"/>
                <a:gd name="T28" fmla="*/ 36 w 67"/>
                <a:gd name="T29" fmla="*/ 13 h 83"/>
                <a:gd name="T30" fmla="*/ 34 w 67"/>
                <a:gd name="T31" fmla="*/ 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7" h="83">
                  <a:moveTo>
                    <a:pt x="61" y="83"/>
                  </a:moveTo>
                  <a:cubicBezTo>
                    <a:pt x="51" y="57"/>
                    <a:pt x="51" y="57"/>
                    <a:pt x="51" y="57"/>
                  </a:cubicBezTo>
                  <a:cubicBezTo>
                    <a:pt x="16" y="57"/>
                    <a:pt x="16" y="57"/>
                    <a:pt x="16" y="57"/>
                  </a:cubicBezTo>
                  <a:cubicBezTo>
                    <a:pt x="6" y="83"/>
                    <a:pt x="6" y="83"/>
                    <a:pt x="6" y="83"/>
                  </a:cubicBezTo>
                  <a:cubicBezTo>
                    <a:pt x="0" y="83"/>
                    <a:pt x="0" y="83"/>
                    <a:pt x="0" y="83"/>
                  </a:cubicBezTo>
                  <a:cubicBezTo>
                    <a:pt x="31" y="0"/>
                    <a:pt x="31" y="0"/>
                    <a:pt x="31" y="0"/>
                  </a:cubicBezTo>
                  <a:cubicBezTo>
                    <a:pt x="36" y="0"/>
                    <a:pt x="36" y="0"/>
                    <a:pt x="36" y="0"/>
                  </a:cubicBezTo>
                  <a:cubicBezTo>
                    <a:pt x="67" y="83"/>
                    <a:pt x="67" y="83"/>
                    <a:pt x="67" y="83"/>
                  </a:cubicBezTo>
                  <a:lnTo>
                    <a:pt x="61" y="83"/>
                  </a:lnTo>
                  <a:close/>
                  <a:moveTo>
                    <a:pt x="34" y="7"/>
                  </a:moveTo>
                  <a:cubicBezTo>
                    <a:pt x="33" y="7"/>
                    <a:pt x="33" y="7"/>
                    <a:pt x="33" y="7"/>
                  </a:cubicBezTo>
                  <a:cubicBezTo>
                    <a:pt x="33" y="10"/>
                    <a:pt x="32" y="12"/>
                    <a:pt x="31" y="13"/>
                  </a:cubicBezTo>
                  <a:cubicBezTo>
                    <a:pt x="18" y="52"/>
                    <a:pt x="18" y="52"/>
                    <a:pt x="18" y="52"/>
                  </a:cubicBezTo>
                  <a:cubicBezTo>
                    <a:pt x="50" y="52"/>
                    <a:pt x="50" y="52"/>
                    <a:pt x="50" y="52"/>
                  </a:cubicBezTo>
                  <a:cubicBezTo>
                    <a:pt x="36" y="13"/>
                    <a:pt x="36" y="13"/>
                    <a:pt x="36" y="13"/>
                  </a:cubicBezTo>
                  <a:lnTo>
                    <a:pt x="3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20" name="Freeform 6056"/>
            <p:cNvSpPr>
              <a:spLocks/>
            </p:cNvSpPr>
            <p:nvPr/>
          </p:nvSpPr>
          <p:spPr bwMode="auto">
            <a:xfrm>
              <a:off x="-265" y="2411"/>
              <a:ext cx="149" cy="158"/>
            </a:xfrm>
            <a:custGeom>
              <a:avLst/>
              <a:gdLst>
                <a:gd name="T0" fmla="*/ 72 w 78"/>
                <a:gd name="T1" fmla="*/ 83 h 83"/>
                <a:gd name="T2" fmla="*/ 72 w 78"/>
                <a:gd name="T3" fmla="*/ 24 h 83"/>
                <a:gd name="T4" fmla="*/ 73 w 78"/>
                <a:gd name="T5" fmla="*/ 12 h 83"/>
                <a:gd name="T6" fmla="*/ 73 w 78"/>
                <a:gd name="T7" fmla="*/ 12 h 83"/>
                <a:gd name="T8" fmla="*/ 69 w 78"/>
                <a:gd name="T9" fmla="*/ 19 h 83"/>
                <a:gd name="T10" fmla="*/ 40 w 78"/>
                <a:gd name="T11" fmla="*/ 83 h 83"/>
                <a:gd name="T12" fmla="*/ 38 w 78"/>
                <a:gd name="T13" fmla="*/ 83 h 83"/>
                <a:gd name="T14" fmla="*/ 9 w 78"/>
                <a:gd name="T15" fmla="*/ 19 h 83"/>
                <a:gd name="T16" fmla="*/ 6 w 78"/>
                <a:gd name="T17" fmla="*/ 12 h 83"/>
                <a:gd name="T18" fmla="*/ 6 w 78"/>
                <a:gd name="T19" fmla="*/ 12 h 83"/>
                <a:gd name="T20" fmla="*/ 6 w 78"/>
                <a:gd name="T21" fmla="*/ 23 h 83"/>
                <a:gd name="T22" fmla="*/ 6 w 78"/>
                <a:gd name="T23" fmla="*/ 83 h 83"/>
                <a:gd name="T24" fmla="*/ 0 w 78"/>
                <a:gd name="T25" fmla="*/ 83 h 83"/>
                <a:gd name="T26" fmla="*/ 0 w 78"/>
                <a:gd name="T27" fmla="*/ 0 h 83"/>
                <a:gd name="T28" fmla="*/ 6 w 78"/>
                <a:gd name="T29" fmla="*/ 0 h 83"/>
                <a:gd name="T30" fmla="*/ 36 w 78"/>
                <a:gd name="T31" fmla="*/ 67 h 83"/>
                <a:gd name="T32" fmla="*/ 37 w 78"/>
                <a:gd name="T33" fmla="*/ 68 h 83"/>
                <a:gd name="T34" fmla="*/ 39 w 78"/>
                <a:gd name="T35" fmla="*/ 74 h 83"/>
                <a:gd name="T36" fmla="*/ 39 w 78"/>
                <a:gd name="T37" fmla="*/ 74 h 83"/>
                <a:gd name="T38" fmla="*/ 42 w 78"/>
                <a:gd name="T39" fmla="*/ 66 h 83"/>
                <a:gd name="T40" fmla="*/ 73 w 78"/>
                <a:gd name="T41" fmla="*/ 0 h 83"/>
                <a:gd name="T42" fmla="*/ 78 w 78"/>
                <a:gd name="T43" fmla="*/ 0 h 83"/>
                <a:gd name="T44" fmla="*/ 78 w 78"/>
                <a:gd name="T45" fmla="*/ 83 h 83"/>
                <a:gd name="T46" fmla="*/ 72 w 78"/>
                <a:gd name="T4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 h="83">
                  <a:moveTo>
                    <a:pt x="72" y="83"/>
                  </a:moveTo>
                  <a:cubicBezTo>
                    <a:pt x="72" y="24"/>
                    <a:pt x="72" y="24"/>
                    <a:pt x="72" y="24"/>
                  </a:cubicBezTo>
                  <a:cubicBezTo>
                    <a:pt x="73" y="12"/>
                    <a:pt x="73" y="12"/>
                    <a:pt x="73" y="12"/>
                  </a:cubicBezTo>
                  <a:cubicBezTo>
                    <a:pt x="73" y="12"/>
                    <a:pt x="73" y="12"/>
                    <a:pt x="73" y="12"/>
                  </a:cubicBezTo>
                  <a:cubicBezTo>
                    <a:pt x="69" y="19"/>
                    <a:pt x="69" y="19"/>
                    <a:pt x="69" y="19"/>
                  </a:cubicBezTo>
                  <a:cubicBezTo>
                    <a:pt x="40" y="83"/>
                    <a:pt x="40" y="83"/>
                    <a:pt x="40" y="83"/>
                  </a:cubicBezTo>
                  <a:cubicBezTo>
                    <a:pt x="38" y="83"/>
                    <a:pt x="38" y="83"/>
                    <a:pt x="38" y="83"/>
                  </a:cubicBezTo>
                  <a:cubicBezTo>
                    <a:pt x="9" y="19"/>
                    <a:pt x="9" y="19"/>
                    <a:pt x="9" y="19"/>
                  </a:cubicBezTo>
                  <a:cubicBezTo>
                    <a:pt x="7" y="17"/>
                    <a:pt x="7" y="15"/>
                    <a:pt x="6" y="12"/>
                  </a:cubicBezTo>
                  <a:cubicBezTo>
                    <a:pt x="6" y="12"/>
                    <a:pt x="6" y="12"/>
                    <a:pt x="6" y="12"/>
                  </a:cubicBezTo>
                  <a:cubicBezTo>
                    <a:pt x="6" y="15"/>
                    <a:pt x="6" y="18"/>
                    <a:pt x="6" y="23"/>
                  </a:cubicBezTo>
                  <a:cubicBezTo>
                    <a:pt x="6" y="83"/>
                    <a:pt x="6" y="83"/>
                    <a:pt x="6" y="83"/>
                  </a:cubicBezTo>
                  <a:cubicBezTo>
                    <a:pt x="0" y="83"/>
                    <a:pt x="0" y="83"/>
                    <a:pt x="0" y="83"/>
                  </a:cubicBezTo>
                  <a:cubicBezTo>
                    <a:pt x="0" y="0"/>
                    <a:pt x="0" y="0"/>
                    <a:pt x="0" y="0"/>
                  </a:cubicBezTo>
                  <a:cubicBezTo>
                    <a:pt x="6" y="0"/>
                    <a:pt x="6" y="0"/>
                    <a:pt x="6" y="0"/>
                  </a:cubicBezTo>
                  <a:cubicBezTo>
                    <a:pt x="36" y="67"/>
                    <a:pt x="36" y="67"/>
                    <a:pt x="36" y="67"/>
                  </a:cubicBezTo>
                  <a:cubicBezTo>
                    <a:pt x="37" y="68"/>
                    <a:pt x="37" y="68"/>
                    <a:pt x="37" y="68"/>
                  </a:cubicBezTo>
                  <a:cubicBezTo>
                    <a:pt x="39" y="74"/>
                    <a:pt x="39" y="74"/>
                    <a:pt x="39" y="74"/>
                  </a:cubicBezTo>
                  <a:cubicBezTo>
                    <a:pt x="39" y="74"/>
                    <a:pt x="39" y="74"/>
                    <a:pt x="39" y="74"/>
                  </a:cubicBezTo>
                  <a:cubicBezTo>
                    <a:pt x="42" y="66"/>
                    <a:pt x="42" y="66"/>
                    <a:pt x="42" y="66"/>
                  </a:cubicBezTo>
                  <a:cubicBezTo>
                    <a:pt x="73" y="0"/>
                    <a:pt x="73" y="0"/>
                    <a:pt x="73" y="0"/>
                  </a:cubicBezTo>
                  <a:cubicBezTo>
                    <a:pt x="78" y="0"/>
                    <a:pt x="78" y="0"/>
                    <a:pt x="78" y="0"/>
                  </a:cubicBezTo>
                  <a:cubicBezTo>
                    <a:pt x="78" y="83"/>
                    <a:pt x="78" y="83"/>
                    <a:pt x="78" y="83"/>
                  </a:cubicBezTo>
                  <a:lnTo>
                    <a:pt x="7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21" name="Freeform 6057"/>
            <p:cNvSpPr>
              <a:spLocks/>
            </p:cNvSpPr>
            <p:nvPr/>
          </p:nvSpPr>
          <p:spPr bwMode="auto">
            <a:xfrm>
              <a:off x="-86" y="2409"/>
              <a:ext cx="84" cy="162"/>
            </a:xfrm>
            <a:custGeom>
              <a:avLst/>
              <a:gdLst>
                <a:gd name="T0" fmla="*/ 0 w 44"/>
                <a:gd name="T1" fmla="*/ 81 h 85"/>
                <a:gd name="T2" fmla="*/ 0 w 44"/>
                <a:gd name="T3" fmla="*/ 74 h 85"/>
                <a:gd name="T4" fmla="*/ 18 w 44"/>
                <a:gd name="T5" fmla="*/ 80 h 85"/>
                <a:gd name="T6" fmla="*/ 33 w 44"/>
                <a:gd name="T7" fmla="*/ 76 h 85"/>
                <a:gd name="T8" fmla="*/ 38 w 44"/>
                <a:gd name="T9" fmla="*/ 65 h 85"/>
                <a:gd name="T10" fmla="*/ 34 w 44"/>
                <a:gd name="T11" fmla="*/ 54 h 85"/>
                <a:gd name="T12" fmla="*/ 20 w 44"/>
                <a:gd name="T13" fmla="*/ 44 h 85"/>
                <a:gd name="T14" fmla="*/ 4 w 44"/>
                <a:gd name="T15" fmla="*/ 32 h 85"/>
                <a:gd name="T16" fmla="*/ 0 w 44"/>
                <a:gd name="T17" fmla="*/ 21 h 85"/>
                <a:gd name="T18" fmla="*/ 4 w 44"/>
                <a:gd name="T19" fmla="*/ 10 h 85"/>
                <a:gd name="T20" fmla="*/ 13 w 44"/>
                <a:gd name="T21" fmla="*/ 2 h 85"/>
                <a:gd name="T22" fmla="*/ 26 w 44"/>
                <a:gd name="T23" fmla="*/ 0 h 85"/>
                <a:gd name="T24" fmla="*/ 40 w 44"/>
                <a:gd name="T25" fmla="*/ 2 h 85"/>
                <a:gd name="T26" fmla="*/ 40 w 44"/>
                <a:gd name="T27" fmla="*/ 8 h 85"/>
                <a:gd name="T28" fmla="*/ 25 w 44"/>
                <a:gd name="T29" fmla="*/ 5 h 85"/>
                <a:gd name="T30" fmla="*/ 12 w 44"/>
                <a:gd name="T31" fmla="*/ 9 h 85"/>
                <a:gd name="T32" fmla="*/ 6 w 44"/>
                <a:gd name="T33" fmla="*/ 20 h 85"/>
                <a:gd name="T34" fmla="*/ 8 w 44"/>
                <a:gd name="T35" fmla="*/ 27 h 85"/>
                <a:gd name="T36" fmla="*/ 12 w 44"/>
                <a:gd name="T37" fmla="*/ 32 h 85"/>
                <a:gd name="T38" fmla="*/ 24 w 44"/>
                <a:gd name="T39" fmla="*/ 40 h 85"/>
                <a:gd name="T40" fmla="*/ 36 w 44"/>
                <a:gd name="T41" fmla="*/ 48 h 85"/>
                <a:gd name="T42" fmla="*/ 42 w 44"/>
                <a:gd name="T43" fmla="*/ 55 h 85"/>
                <a:gd name="T44" fmla="*/ 44 w 44"/>
                <a:gd name="T45" fmla="*/ 64 h 85"/>
                <a:gd name="T46" fmla="*/ 37 w 44"/>
                <a:gd name="T47" fmla="*/ 79 h 85"/>
                <a:gd name="T48" fmla="*/ 18 w 44"/>
                <a:gd name="T49" fmla="*/ 85 h 85"/>
                <a:gd name="T50" fmla="*/ 9 w 44"/>
                <a:gd name="T51" fmla="*/ 84 h 85"/>
                <a:gd name="T52" fmla="*/ 0 w 44"/>
                <a:gd name="T53"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 h="85">
                  <a:moveTo>
                    <a:pt x="0" y="81"/>
                  </a:moveTo>
                  <a:cubicBezTo>
                    <a:pt x="0" y="74"/>
                    <a:pt x="0" y="74"/>
                    <a:pt x="0" y="74"/>
                  </a:cubicBezTo>
                  <a:cubicBezTo>
                    <a:pt x="6" y="78"/>
                    <a:pt x="12" y="80"/>
                    <a:pt x="18" y="80"/>
                  </a:cubicBezTo>
                  <a:cubicBezTo>
                    <a:pt x="25" y="80"/>
                    <a:pt x="30" y="79"/>
                    <a:pt x="33" y="76"/>
                  </a:cubicBezTo>
                  <a:cubicBezTo>
                    <a:pt x="36" y="73"/>
                    <a:pt x="38" y="70"/>
                    <a:pt x="38" y="65"/>
                  </a:cubicBezTo>
                  <a:cubicBezTo>
                    <a:pt x="38" y="60"/>
                    <a:pt x="37" y="57"/>
                    <a:pt x="34" y="54"/>
                  </a:cubicBezTo>
                  <a:cubicBezTo>
                    <a:pt x="32" y="52"/>
                    <a:pt x="27" y="49"/>
                    <a:pt x="20" y="44"/>
                  </a:cubicBezTo>
                  <a:cubicBezTo>
                    <a:pt x="12" y="40"/>
                    <a:pt x="7" y="36"/>
                    <a:pt x="4" y="32"/>
                  </a:cubicBezTo>
                  <a:cubicBezTo>
                    <a:pt x="2" y="29"/>
                    <a:pt x="0" y="25"/>
                    <a:pt x="0" y="21"/>
                  </a:cubicBezTo>
                  <a:cubicBezTo>
                    <a:pt x="0" y="17"/>
                    <a:pt x="2" y="13"/>
                    <a:pt x="4" y="10"/>
                  </a:cubicBezTo>
                  <a:cubicBezTo>
                    <a:pt x="6" y="7"/>
                    <a:pt x="9" y="4"/>
                    <a:pt x="13" y="2"/>
                  </a:cubicBezTo>
                  <a:cubicBezTo>
                    <a:pt x="16" y="0"/>
                    <a:pt x="21" y="0"/>
                    <a:pt x="26" y="0"/>
                  </a:cubicBezTo>
                  <a:cubicBezTo>
                    <a:pt x="31" y="0"/>
                    <a:pt x="35" y="0"/>
                    <a:pt x="40" y="2"/>
                  </a:cubicBezTo>
                  <a:cubicBezTo>
                    <a:pt x="40" y="8"/>
                    <a:pt x="40" y="8"/>
                    <a:pt x="40" y="8"/>
                  </a:cubicBezTo>
                  <a:cubicBezTo>
                    <a:pt x="35" y="6"/>
                    <a:pt x="30" y="5"/>
                    <a:pt x="25" y="5"/>
                  </a:cubicBezTo>
                  <a:cubicBezTo>
                    <a:pt x="19" y="5"/>
                    <a:pt x="15" y="6"/>
                    <a:pt x="12" y="9"/>
                  </a:cubicBezTo>
                  <a:cubicBezTo>
                    <a:pt x="8" y="12"/>
                    <a:pt x="6" y="15"/>
                    <a:pt x="6" y="20"/>
                  </a:cubicBezTo>
                  <a:cubicBezTo>
                    <a:pt x="6" y="23"/>
                    <a:pt x="7" y="25"/>
                    <a:pt x="8" y="27"/>
                  </a:cubicBezTo>
                  <a:cubicBezTo>
                    <a:pt x="9" y="29"/>
                    <a:pt x="10" y="31"/>
                    <a:pt x="12" y="32"/>
                  </a:cubicBezTo>
                  <a:cubicBezTo>
                    <a:pt x="14" y="34"/>
                    <a:pt x="18" y="37"/>
                    <a:pt x="24" y="40"/>
                  </a:cubicBezTo>
                  <a:cubicBezTo>
                    <a:pt x="29" y="43"/>
                    <a:pt x="33" y="46"/>
                    <a:pt x="36" y="48"/>
                  </a:cubicBezTo>
                  <a:cubicBezTo>
                    <a:pt x="39" y="50"/>
                    <a:pt x="41" y="53"/>
                    <a:pt x="42" y="55"/>
                  </a:cubicBezTo>
                  <a:cubicBezTo>
                    <a:pt x="43" y="57"/>
                    <a:pt x="44" y="60"/>
                    <a:pt x="44" y="64"/>
                  </a:cubicBezTo>
                  <a:cubicBezTo>
                    <a:pt x="44" y="70"/>
                    <a:pt x="41" y="76"/>
                    <a:pt x="37" y="79"/>
                  </a:cubicBezTo>
                  <a:cubicBezTo>
                    <a:pt x="32" y="83"/>
                    <a:pt x="26" y="85"/>
                    <a:pt x="18" y="85"/>
                  </a:cubicBezTo>
                  <a:cubicBezTo>
                    <a:pt x="16" y="85"/>
                    <a:pt x="13" y="85"/>
                    <a:pt x="9" y="84"/>
                  </a:cubicBezTo>
                  <a:cubicBezTo>
                    <a:pt x="5" y="83"/>
                    <a:pt x="2" y="82"/>
                    <a:pt x="0"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22" name="Freeform 6058"/>
            <p:cNvSpPr>
              <a:spLocks noEditPoints="1"/>
            </p:cNvSpPr>
            <p:nvPr/>
          </p:nvSpPr>
          <p:spPr bwMode="auto">
            <a:xfrm>
              <a:off x="-1107" y="2409"/>
              <a:ext cx="149" cy="162"/>
            </a:xfrm>
            <a:custGeom>
              <a:avLst/>
              <a:gdLst>
                <a:gd name="T0" fmla="*/ 39 w 78"/>
                <a:gd name="T1" fmla="*/ 85 h 85"/>
                <a:gd name="T2" fmla="*/ 19 w 78"/>
                <a:gd name="T3" fmla="*/ 80 h 85"/>
                <a:gd name="T4" fmla="*/ 5 w 78"/>
                <a:gd name="T5" fmla="*/ 65 h 85"/>
                <a:gd name="T6" fmla="*/ 0 w 78"/>
                <a:gd name="T7" fmla="*/ 43 h 85"/>
                <a:gd name="T8" fmla="*/ 5 w 78"/>
                <a:gd name="T9" fmla="*/ 20 h 85"/>
                <a:gd name="T10" fmla="*/ 19 w 78"/>
                <a:gd name="T11" fmla="*/ 5 h 85"/>
                <a:gd name="T12" fmla="*/ 40 w 78"/>
                <a:gd name="T13" fmla="*/ 0 h 85"/>
                <a:gd name="T14" fmla="*/ 60 w 78"/>
                <a:gd name="T15" fmla="*/ 5 h 85"/>
                <a:gd name="T16" fmla="*/ 73 w 78"/>
                <a:gd name="T17" fmla="*/ 20 h 85"/>
                <a:gd name="T18" fmla="*/ 78 w 78"/>
                <a:gd name="T19" fmla="*/ 41 h 85"/>
                <a:gd name="T20" fmla="*/ 73 w 78"/>
                <a:gd name="T21" fmla="*/ 64 h 85"/>
                <a:gd name="T22" fmla="*/ 60 w 78"/>
                <a:gd name="T23" fmla="*/ 80 h 85"/>
                <a:gd name="T24" fmla="*/ 39 w 78"/>
                <a:gd name="T25" fmla="*/ 85 h 85"/>
                <a:gd name="T26" fmla="*/ 39 w 78"/>
                <a:gd name="T27" fmla="*/ 5 h 85"/>
                <a:gd name="T28" fmla="*/ 22 w 78"/>
                <a:gd name="T29" fmla="*/ 10 h 85"/>
                <a:gd name="T30" fmla="*/ 11 w 78"/>
                <a:gd name="T31" fmla="*/ 23 h 85"/>
                <a:gd name="T32" fmla="*/ 6 w 78"/>
                <a:gd name="T33" fmla="*/ 43 h 85"/>
                <a:gd name="T34" fmla="*/ 10 w 78"/>
                <a:gd name="T35" fmla="*/ 62 h 85"/>
                <a:gd name="T36" fmla="*/ 22 w 78"/>
                <a:gd name="T37" fmla="*/ 75 h 85"/>
                <a:gd name="T38" fmla="*/ 39 w 78"/>
                <a:gd name="T39" fmla="*/ 80 h 85"/>
                <a:gd name="T40" fmla="*/ 63 w 78"/>
                <a:gd name="T41" fmla="*/ 70 h 85"/>
                <a:gd name="T42" fmla="*/ 72 w 78"/>
                <a:gd name="T43" fmla="*/ 42 h 85"/>
                <a:gd name="T44" fmla="*/ 68 w 78"/>
                <a:gd name="T45" fmla="*/ 22 h 85"/>
                <a:gd name="T46" fmla="*/ 57 w 78"/>
                <a:gd name="T47" fmla="*/ 9 h 85"/>
                <a:gd name="T48" fmla="*/ 39 w 78"/>
                <a:gd name="T49" fmla="*/ 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85">
                  <a:moveTo>
                    <a:pt x="39" y="85"/>
                  </a:moveTo>
                  <a:cubicBezTo>
                    <a:pt x="31" y="85"/>
                    <a:pt x="25" y="83"/>
                    <a:pt x="19" y="80"/>
                  </a:cubicBezTo>
                  <a:cubicBezTo>
                    <a:pt x="13" y="77"/>
                    <a:pt x="8" y="72"/>
                    <a:pt x="5" y="65"/>
                  </a:cubicBezTo>
                  <a:cubicBezTo>
                    <a:pt x="2" y="59"/>
                    <a:pt x="0" y="51"/>
                    <a:pt x="0" y="43"/>
                  </a:cubicBezTo>
                  <a:cubicBezTo>
                    <a:pt x="0" y="35"/>
                    <a:pt x="2" y="27"/>
                    <a:pt x="5" y="20"/>
                  </a:cubicBezTo>
                  <a:cubicBezTo>
                    <a:pt x="9" y="14"/>
                    <a:pt x="13" y="8"/>
                    <a:pt x="19" y="5"/>
                  </a:cubicBezTo>
                  <a:cubicBezTo>
                    <a:pt x="25" y="1"/>
                    <a:pt x="32" y="0"/>
                    <a:pt x="40" y="0"/>
                  </a:cubicBezTo>
                  <a:cubicBezTo>
                    <a:pt x="48" y="0"/>
                    <a:pt x="54" y="1"/>
                    <a:pt x="60" y="5"/>
                  </a:cubicBezTo>
                  <a:cubicBezTo>
                    <a:pt x="66" y="8"/>
                    <a:pt x="70" y="13"/>
                    <a:pt x="73" y="20"/>
                  </a:cubicBezTo>
                  <a:cubicBezTo>
                    <a:pt x="76" y="26"/>
                    <a:pt x="78" y="33"/>
                    <a:pt x="78" y="41"/>
                  </a:cubicBezTo>
                  <a:cubicBezTo>
                    <a:pt x="78" y="50"/>
                    <a:pt x="76" y="58"/>
                    <a:pt x="73" y="64"/>
                  </a:cubicBezTo>
                  <a:cubicBezTo>
                    <a:pt x="70" y="71"/>
                    <a:pt x="65" y="76"/>
                    <a:pt x="60" y="80"/>
                  </a:cubicBezTo>
                  <a:cubicBezTo>
                    <a:pt x="54" y="83"/>
                    <a:pt x="47" y="85"/>
                    <a:pt x="39" y="85"/>
                  </a:cubicBezTo>
                  <a:close/>
                  <a:moveTo>
                    <a:pt x="39" y="5"/>
                  </a:moveTo>
                  <a:cubicBezTo>
                    <a:pt x="33" y="5"/>
                    <a:pt x="27" y="6"/>
                    <a:pt x="22" y="10"/>
                  </a:cubicBezTo>
                  <a:cubicBezTo>
                    <a:pt x="17" y="13"/>
                    <a:pt x="13" y="17"/>
                    <a:pt x="11" y="23"/>
                  </a:cubicBezTo>
                  <a:cubicBezTo>
                    <a:pt x="8" y="29"/>
                    <a:pt x="6" y="35"/>
                    <a:pt x="6" y="43"/>
                  </a:cubicBezTo>
                  <a:cubicBezTo>
                    <a:pt x="6" y="50"/>
                    <a:pt x="8" y="57"/>
                    <a:pt x="10" y="62"/>
                  </a:cubicBezTo>
                  <a:cubicBezTo>
                    <a:pt x="13" y="68"/>
                    <a:pt x="17" y="72"/>
                    <a:pt x="22" y="75"/>
                  </a:cubicBezTo>
                  <a:cubicBezTo>
                    <a:pt x="27" y="78"/>
                    <a:pt x="32" y="80"/>
                    <a:pt x="39" y="80"/>
                  </a:cubicBezTo>
                  <a:cubicBezTo>
                    <a:pt x="49" y="80"/>
                    <a:pt x="57" y="77"/>
                    <a:pt x="63" y="70"/>
                  </a:cubicBezTo>
                  <a:cubicBezTo>
                    <a:pt x="69" y="63"/>
                    <a:pt x="72" y="54"/>
                    <a:pt x="72" y="42"/>
                  </a:cubicBezTo>
                  <a:cubicBezTo>
                    <a:pt x="72" y="34"/>
                    <a:pt x="71" y="28"/>
                    <a:pt x="68" y="22"/>
                  </a:cubicBezTo>
                  <a:cubicBezTo>
                    <a:pt x="66" y="17"/>
                    <a:pt x="62" y="12"/>
                    <a:pt x="57" y="9"/>
                  </a:cubicBezTo>
                  <a:cubicBezTo>
                    <a:pt x="52" y="6"/>
                    <a:pt x="46" y="5"/>
                    <a:pt x="39"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23" name="Freeform 6059"/>
            <p:cNvSpPr>
              <a:spLocks/>
            </p:cNvSpPr>
            <p:nvPr/>
          </p:nvSpPr>
          <p:spPr bwMode="auto">
            <a:xfrm>
              <a:off x="-929" y="2411"/>
              <a:ext cx="72" cy="158"/>
            </a:xfrm>
            <a:custGeom>
              <a:avLst/>
              <a:gdLst>
                <a:gd name="T0" fmla="*/ 9 w 72"/>
                <a:gd name="T1" fmla="*/ 9 h 158"/>
                <a:gd name="T2" fmla="*/ 9 w 72"/>
                <a:gd name="T3" fmla="*/ 74 h 158"/>
                <a:gd name="T4" fmla="*/ 68 w 72"/>
                <a:gd name="T5" fmla="*/ 74 h 158"/>
                <a:gd name="T6" fmla="*/ 68 w 72"/>
                <a:gd name="T7" fmla="*/ 84 h 158"/>
                <a:gd name="T8" fmla="*/ 9 w 72"/>
                <a:gd name="T9" fmla="*/ 84 h 158"/>
                <a:gd name="T10" fmla="*/ 9 w 72"/>
                <a:gd name="T11" fmla="*/ 158 h 158"/>
                <a:gd name="T12" fmla="*/ 0 w 72"/>
                <a:gd name="T13" fmla="*/ 158 h 158"/>
                <a:gd name="T14" fmla="*/ 0 w 72"/>
                <a:gd name="T15" fmla="*/ 0 h 158"/>
                <a:gd name="T16" fmla="*/ 72 w 72"/>
                <a:gd name="T17" fmla="*/ 0 h 158"/>
                <a:gd name="T18" fmla="*/ 72 w 72"/>
                <a:gd name="T19" fmla="*/ 9 h 158"/>
                <a:gd name="T20" fmla="*/ 9 w 72"/>
                <a:gd name="T21" fmla="*/ 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158">
                  <a:moveTo>
                    <a:pt x="9" y="9"/>
                  </a:moveTo>
                  <a:lnTo>
                    <a:pt x="9" y="74"/>
                  </a:lnTo>
                  <a:lnTo>
                    <a:pt x="68" y="74"/>
                  </a:lnTo>
                  <a:lnTo>
                    <a:pt x="68" y="84"/>
                  </a:lnTo>
                  <a:lnTo>
                    <a:pt x="9" y="84"/>
                  </a:lnTo>
                  <a:lnTo>
                    <a:pt x="9" y="158"/>
                  </a:lnTo>
                  <a:lnTo>
                    <a:pt x="0" y="158"/>
                  </a:lnTo>
                  <a:lnTo>
                    <a:pt x="0" y="0"/>
                  </a:lnTo>
                  <a:lnTo>
                    <a:pt x="72" y="0"/>
                  </a:lnTo>
                  <a:lnTo>
                    <a:pt x="72" y="9"/>
                  </a:lnTo>
                  <a:lnTo>
                    <a:pt x="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24" name="Freeform 6060"/>
            <p:cNvSpPr>
              <a:spLocks noEditPoints="1"/>
            </p:cNvSpPr>
            <p:nvPr/>
          </p:nvSpPr>
          <p:spPr bwMode="auto">
            <a:xfrm>
              <a:off x="-780" y="2411"/>
              <a:ext cx="120" cy="158"/>
            </a:xfrm>
            <a:custGeom>
              <a:avLst/>
              <a:gdLst>
                <a:gd name="T0" fmla="*/ 0 w 63"/>
                <a:gd name="T1" fmla="*/ 83 h 83"/>
                <a:gd name="T2" fmla="*/ 0 w 63"/>
                <a:gd name="T3" fmla="*/ 0 h 83"/>
                <a:gd name="T4" fmla="*/ 21 w 63"/>
                <a:gd name="T5" fmla="*/ 0 h 83"/>
                <a:gd name="T6" fmla="*/ 52 w 63"/>
                <a:gd name="T7" fmla="*/ 10 h 83"/>
                <a:gd name="T8" fmla="*/ 63 w 63"/>
                <a:gd name="T9" fmla="*/ 40 h 83"/>
                <a:gd name="T10" fmla="*/ 58 w 63"/>
                <a:gd name="T11" fmla="*/ 62 h 83"/>
                <a:gd name="T12" fmla="*/ 42 w 63"/>
                <a:gd name="T13" fmla="*/ 77 h 83"/>
                <a:gd name="T14" fmla="*/ 19 w 63"/>
                <a:gd name="T15" fmla="*/ 83 h 83"/>
                <a:gd name="T16" fmla="*/ 0 w 63"/>
                <a:gd name="T17" fmla="*/ 83 h 83"/>
                <a:gd name="T18" fmla="*/ 6 w 63"/>
                <a:gd name="T19" fmla="*/ 5 h 83"/>
                <a:gd name="T20" fmla="*/ 6 w 63"/>
                <a:gd name="T21" fmla="*/ 78 h 83"/>
                <a:gd name="T22" fmla="*/ 19 w 63"/>
                <a:gd name="T23" fmla="*/ 78 h 83"/>
                <a:gd name="T24" fmla="*/ 47 w 63"/>
                <a:gd name="T25" fmla="*/ 68 h 83"/>
                <a:gd name="T26" fmla="*/ 57 w 63"/>
                <a:gd name="T27" fmla="*/ 40 h 83"/>
                <a:gd name="T28" fmla="*/ 20 w 63"/>
                <a:gd name="T29" fmla="*/ 5 h 83"/>
                <a:gd name="T30" fmla="*/ 6 w 63"/>
                <a:gd name="T31"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83">
                  <a:moveTo>
                    <a:pt x="0" y="83"/>
                  </a:moveTo>
                  <a:cubicBezTo>
                    <a:pt x="0" y="0"/>
                    <a:pt x="0" y="0"/>
                    <a:pt x="0" y="0"/>
                  </a:cubicBezTo>
                  <a:cubicBezTo>
                    <a:pt x="21" y="0"/>
                    <a:pt x="21" y="0"/>
                    <a:pt x="21" y="0"/>
                  </a:cubicBezTo>
                  <a:cubicBezTo>
                    <a:pt x="34" y="0"/>
                    <a:pt x="45" y="3"/>
                    <a:pt x="52" y="10"/>
                  </a:cubicBezTo>
                  <a:cubicBezTo>
                    <a:pt x="59" y="17"/>
                    <a:pt x="63" y="27"/>
                    <a:pt x="63" y="40"/>
                  </a:cubicBezTo>
                  <a:cubicBezTo>
                    <a:pt x="63" y="49"/>
                    <a:pt x="61" y="56"/>
                    <a:pt x="58" y="62"/>
                  </a:cubicBezTo>
                  <a:cubicBezTo>
                    <a:pt x="54" y="69"/>
                    <a:pt x="49" y="74"/>
                    <a:pt x="42" y="77"/>
                  </a:cubicBezTo>
                  <a:cubicBezTo>
                    <a:pt x="36" y="81"/>
                    <a:pt x="28" y="83"/>
                    <a:pt x="19" y="83"/>
                  </a:cubicBezTo>
                  <a:lnTo>
                    <a:pt x="0" y="83"/>
                  </a:lnTo>
                  <a:close/>
                  <a:moveTo>
                    <a:pt x="6" y="5"/>
                  </a:moveTo>
                  <a:cubicBezTo>
                    <a:pt x="6" y="78"/>
                    <a:pt x="6" y="78"/>
                    <a:pt x="6" y="78"/>
                  </a:cubicBezTo>
                  <a:cubicBezTo>
                    <a:pt x="19" y="78"/>
                    <a:pt x="19" y="78"/>
                    <a:pt x="19" y="78"/>
                  </a:cubicBezTo>
                  <a:cubicBezTo>
                    <a:pt x="31" y="78"/>
                    <a:pt x="40" y="74"/>
                    <a:pt x="47" y="68"/>
                  </a:cubicBezTo>
                  <a:cubicBezTo>
                    <a:pt x="54" y="62"/>
                    <a:pt x="57" y="52"/>
                    <a:pt x="57" y="40"/>
                  </a:cubicBezTo>
                  <a:cubicBezTo>
                    <a:pt x="57" y="17"/>
                    <a:pt x="44" y="5"/>
                    <a:pt x="20" y="5"/>
                  </a:cubicBez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25" name="Freeform 6061"/>
            <p:cNvSpPr>
              <a:spLocks noEditPoints="1"/>
            </p:cNvSpPr>
            <p:nvPr/>
          </p:nvSpPr>
          <p:spPr bwMode="auto">
            <a:xfrm>
              <a:off x="-633" y="2411"/>
              <a:ext cx="93" cy="158"/>
            </a:xfrm>
            <a:custGeom>
              <a:avLst/>
              <a:gdLst>
                <a:gd name="T0" fmla="*/ 43 w 49"/>
                <a:gd name="T1" fmla="*/ 83 h 83"/>
                <a:gd name="T2" fmla="*/ 32 w 49"/>
                <a:gd name="T3" fmla="*/ 59 h 83"/>
                <a:gd name="T4" fmla="*/ 25 w 49"/>
                <a:gd name="T5" fmla="*/ 49 h 83"/>
                <a:gd name="T6" fmla="*/ 16 w 49"/>
                <a:gd name="T7" fmla="*/ 46 h 83"/>
                <a:gd name="T8" fmla="*/ 6 w 49"/>
                <a:gd name="T9" fmla="*/ 46 h 83"/>
                <a:gd name="T10" fmla="*/ 6 w 49"/>
                <a:gd name="T11" fmla="*/ 83 h 83"/>
                <a:gd name="T12" fmla="*/ 0 w 49"/>
                <a:gd name="T13" fmla="*/ 83 h 83"/>
                <a:gd name="T14" fmla="*/ 0 w 49"/>
                <a:gd name="T15" fmla="*/ 0 h 83"/>
                <a:gd name="T16" fmla="*/ 23 w 49"/>
                <a:gd name="T17" fmla="*/ 0 h 83"/>
                <a:gd name="T18" fmla="*/ 41 w 49"/>
                <a:gd name="T19" fmla="*/ 6 h 83"/>
                <a:gd name="T20" fmla="*/ 47 w 49"/>
                <a:gd name="T21" fmla="*/ 22 h 83"/>
                <a:gd name="T22" fmla="*/ 42 w 49"/>
                <a:gd name="T23" fmla="*/ 36 h 83"/>
                <a:gd name="T24" fmla="*/ 27 w 49"/>
                <a:gd name="T25" fmla="*/ 44 h 83"/>
                <a:gd name="T26" fmla="*/ 27 w 49"/>
                <a:gd name="T27" fmla="*/ 44 h 83"/>
                <a:gd name="T28" fmla="*/ 37 w 49"/>
                <a:gd name="T29" fmla="*/ 56 h 83"/>
                <a:gd name="T30" fmla="*/ 49 w 49"/>
                <a:gd name="T31" fmla="*/ 83 h 83"/>
                <a:gd name="T32" fmla="*/ 43 w 49"/>
                <a:gd name="T33" fmla="*/ 83 h 83"/>
                <a:gd name="T34" fmla="*/ 6 w 49"/>
                <a:gd name="T35" fmla="*/ 5 h 83"/>
                <a:gd name="T36" fmla="*/ 6 w 49"/>
                <a:gd name="T37" fmla="*/ 41 h 83"/>
                <a:gd name="T38" fmla="*/ 20 w 49"/>
                <a:gd name="T39" fmla="*/ 41 h 83"/>
                <a:gd name="T40" fmla="*/ 36 w 49"/>
                <a:gd name="T41" fmla="*/ 36 h 83"/>
                <a:gd name="T42" fmla="*/ 41 w 49"/>
                <a:gd name="T43" fmla="*/ 22 h 83"/>
                <a:gd name="T44" fmla="*/ 36 w 49"/>
                <a:gd name="T45" fmla="*/ 10 h 83"/>
                <a:gd name="T46" fmla="*/ 22 w 49"/>
                <a:gd name="T47" fmla="*/ 5 h 83"/>
                <a:gd name="T48" fmla="*/ 6 w 49"/>
                <a:gd name="T49"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83">
                  <a:moveTo>
                    <a:pt x="43" y="83"/>
                  </a:moveTo>
                  <a:cubicBezTo>
                    <a:pt x="32" y="59"/>
                    <a:pt x="32" y="59"/>
                    <a:pt x="32" y="59"/>
                  </a:cubicBezTo>
                  <a:cubicBezTo>
                    <a:pt x="30" y="54"/>
                    <a:pt x="27" y="50"/>
                    <a:pt x="25" y="49"/>
                  </a:cubicBezTo>
                  <a:cubicBezTo>
                    <a:pt x="23" y="47"/>
                    <a:pt x="20" y="46"/>
                    <a:pt x="16" y="46"/>
                  </a:cubicBezTo>
                  <a:cubicBezTo>
                    <a:pt x="6" y="46"/>
                    <a:pt x="6" y="46"/>
                    <a:pt x="6" y="46"/>
                  </a:cubicBezTo>
                  <a:cubicBezTo>
                    <a:pt x="6" y="83"/>
                    <a:pt x="6" y="83"/>
                    <a:pt x="6" y="83"/>
                  </a:cubicBezTo>
                  <a:cubicBezTo>
                    <a:pt x="0" y="83"/>
                    <a:pt x="0" y="83"/>
                    <a:pt x="0" y="83"/>
                  </a:cubicBezTo>
                  <a:cubicBezTo>
                    <a:pt x="0" y="0"/>
                    <a:pt x="0" y="0"/>
                    <a:pt x="0" y="0"/>
                  </a:cubicBezTo>
                  <a:cubicBezTo>
                    <a:pt x="23" y="0"/>
                    <a:pt x="23" y="0"/>
                    <a:pt x="23" y="0"/>
                  </a:cubicBezTo>
                  <a:cubicBezTo>
                    <a:pt x="31" y="0"/>
                    <a:pt x="36" y="2"/>
                    <a:pt x="41" y="6"/>
                  </a:cubicBezTo>
                  <a:cubicBezTo>
                    <a:pt x="45" y="10"/>
                    <a:pt x="47" y="15"/>
                    <a:pt x="47" y="22"/>
                  </a:cubicBezTo>
                  <a:cubicBezTo>
                    <a:pt x="47" y="27"/>
                    <a:pt x="45" y="32"/>
                    <a:pt x="42" y="36"/>
                  </a:cubicBezTo>
                  <a:cubicBezTo>
                    <a:pt x="38" y="40"/>
                    <a:pt x="34" y="43"/>
                    <a:pt x="27" y="44"/>
                  </a:cubicBezTo>
                  <a:cubicBezTo>
                    <a:pt x="27" y="44"/>
                    <a:pt x="27" y="44"/>
                    <a:pt x="27" y="44"/>
                  </a:cubicBezTo>
                  <a:cubicBezTo>
                    <a:pt x="31" y="46"/>
                    <a:pt x="34" y="50"/>
                    <a:pt x="37" y="56"/>
                  </a:cubicBezTo>
                  <a:cubicBezTo>
                    <a:pt x="49" y="83"/>
                    <a:pt x="49" y="83"/>
                    <a:pt x="49" y="83"/>
                  </a:cubicBezTo>
                  <a:lnTo>
                    <a:pt x="43" y="83"/>
                  </a:lnTo>
                  <a:close/>
                  <a:moveTo>
                    <a:pt x="6" y="5"/>
                  </a:moveTo>
                  <a:cubicBezTo>
                    <a:pt x="6" y="41"/>
                    <a:pt x="6" y="41"/>
                    <a:pt x="6" y="41"/>
                  </a:cubicBezTo>
                  <a:cubicBezTo>
                    <a:pt x="20" y="41"/>
                    <a:pt x="20" y="41"/>
                    <a:pt x="20" y="41"/>
                  </a:cubicBezTo>
                  <a:cubicBezTo>
                    <a:pt x="27" y="41"/>
                    <a:pt x="32" y="39"/>
                    <a:pt x="36" y="36"/>
                  </a:cubicBezTo>
                  <a:cubicBezTo>
                    <a:pt x="39" y="32"/>
                    <a:pt x="41" y="28"/>
                    <a:pt x="41" y="22"/>
                  </a:cubicBezTo>
                  <a:cubicBezTo>
                    <a:pt x="41" y="17"/>
                    <a:pt x="39" y="13"/>
                    <a:pt x="36" y="10"/>
                  </a:cubicBezTo>
                  <a:cubicBezTo>
                    <a:pt x="33" y="7"/>
                    <a:pt x="28" y="5"/>
                    <a:pt x="22" y="5"/>
                  </a:cubicBez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26" name="Freeform 6062"/>
            <p:cNvSpPr>
              <a:spLocks/>
            </p:cNvSpPr>
            <p:nvPr/>
          </p:nvSpPr>
          <p:spPr bwMode="auto">
            <a:xfrm>
              <a:off x="-511" y="2411"/>
              <a:ext cx="78" cy="158"/>
            </a:xfrm>
            <a:custGeom>
              <a:avLst/>
              <a:gdLst>
                <a:gd name="T0" fmla="*/ 0 w 78"/>
                <a:gd name="T1" fmla="*/ 158 h 158"/>
                <a:gd name="T2" fmla="*/ 0 w 78"/>
                <a:gd name="T3" fmla="*/ 0 h 158"/>
                <a:gd name="T4" fmla="*/ 74 w 78"/>
                <a:gd name="T5" fmla="*/ 0 h 158"/>
                <a:gd name="T6" fmla="*/ 74 w 78"/>
                <a:gd name="T7" fmla="*/ 9 h 158"/>
                <a:gd name="T8" fmla="*/ 11 w 78"/>
                <a:gd name="T9" fmla="*/ 9 h 158"/>
                <a:gd name="T10" fmla="*/ 11 w 78"/>
                <a:gd name="T11" fmla="*/ 72 h 158"/>
                <a:gd name="T12" fmla="*/ 68 w 78"/>
                <a:gd name="T13" fmla="*/ 72 h 158"/>
                <a:gd name="T14" fmla="*/ 68 w 78"/>
                <a:gd name="T15" fmla="*/ 84 h 158"/>
                <a:gd name="T16" fmla="*/ 11 w 78"/>
                <a:gd name="T17" fmla="*/ 84 h 158"/>
                <a:gd name="T18" fmla="*/ 11 w 78"/>
                <a:gd name="T19" fmla="*/ 149 h 158"/>
                <a:gd name="T20" fmla="*/ 78 w 78"/>
                <a:gd name="T21" fmla="*/ 149 h 158"/>
                <a:gd name="T22" fmla="*/ 78 w 78"/>
                <a:gd name="T23" fmla="*/ 158 h 158"/>
                <a:gd name="T24" fmla="*/ 0 w 78"/>
                <a:gd name="T2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158">
                  <a:moveTo>
                    <a:pt x="0" y="158"/>
                  </a:moveTo>
                  <a:lnTo>
                    <a:pt x="0" y="0"/>
                  </a:lnTo>
                  <a:lnTo>
                    <a:pt x="74" y="0"/>
                  </a:lnTo>
                  <a:lnTo>
                    <a:pt x="74" y="9"/>
                  </a:lnTo>
                  <a:lnTo>
                    <a:pt x="11" y="9"/>
                  </a:lnTo>
                  <a:lnTo>
                    <a:pt x="11" y="72"/>
                  </a:lnTo>
                  <a:lnTo>
                    <a:pt x="68" y="72"/>
                  </a:lnTo>
                  <a:lnTo>
                    <a:pt x="68" y="84"/>
                  </a:lnTo>
                  <a:lnTo>
                    <a:pt x="11" y="84"/>
                  </a:lnTo>
                  <a:lnTo>
                    <a:pt x="11" y="149"/>
                  </a:lnTo>
                  <a:lnTo>
                    <a:pt x="78" y="149"/>
                  </a:lnTo>
                  <a:lnTo>
                    <a:pt x="78" y="158"/>
                  </a:lnTo>
                  <a:lnTo>
                    <a:pt x="0"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27" name="Freeform 6063"/>
            <p:cNvSpPr>
              <a:spLocks noEditPoints="1"/>
            </p:cNvSpPr>
            <p:nvPr/>
          </p:nvSpPr>
          <p:spPr bwMode="auto">
            <a:xfrm>
              <a:off x="-416" y="2411"/>
              <a:ext cx="128" cy="158"/>
            </a:xfrm>
            <a:custGeom>
              <a:avLst/>
              <a:gdLst>
                <a:gd name="T0" fmla="*/ 61 w 67"/>
                <a:gd name="T1" fmla="*/ 83 h 83"/>
                <a:gd name="T2" fmla="*/ 51 w 67"/>
                <a:gd name="T3" fmla="*/ 57 h 83"/>
                <a:gd name="T4" fmla="*/ 16 w 67"/>
                <a:gd name="T5" fmla="*/ 57 h 83"/>
                <a:gd name="T6" fmla="*/ 6 w 67"/>
                <a:gd name="T7" fmla="*/ 83 h 83"/>
                <a:gd name="T8" fmla="*/ 0 w 67"/>
                <a:gd name="T9" fmla="*/ 83 h 83"/>
                <a:gd name="T10" fmla="*/ 31 w 67"/>
                <a:gd name="T11" fmla="*/ 0 h 83"/>
                <a:gd name="T12" fmla="*/ 36 w 67"/>
                <a:gd name="T13" fmla="*/ 0 h 83"/>
                <a:gd name="T14" fmla="*/ 67 w 67"/>
                <a:gd name="T15" fmla="*/ 83 h 83"/>
                <a:gd name="T16" fmla="*/ 61 w 67"/>
                <a:gd name="T17" fmla="*/ 83 h 83"/>
                <a:gd name="T18" fmla="*/ 34 w 67"/>
                <a:gd name="T19" fmla="*/ 7 h 83"/>
                <a:gd name="T20" fmla="*/ 33 w 67"/>
                <a:gd name="T21" fmla="*/ 7 h 83"/>
                <a:gd name="T22" fmla="*/ 31 w 67"/>
                <a:gd name="T23" fmla="*/ 13 h 83"/>
                <a:gd name="T24" fmla="*/ 18 w 67"/>
                <a:gd name="T25" fmla="*/ 52 h 83"/>
                <a:gd name="T26" fmla="*/ 50 w 67"/>
                <a:gd name="T27" fmla="*/ 52 h 83"/>
                <a:gd name="T28" fmla="*/ 36 w 67"/>
                <a:gd name="T29" fmla="*/ 13 h 83"/>
                <a:gd name="T30" fmla="*/ 34 w 67"/>
                <a:gd name="T31" fmla="*/ 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7" h="83">
                  <a:moveTo>
                    <a:pt x="61" y="83"/>
                  </a:moveTo>
                  <a:cubicBezTo>
                    <a:pt x="51" y="57"/>
                    <a:pt x="51" y="57"/>
                    <a:pt x="51" y="57"/>
                  </a:cubicBezTo>
                  <a:cubicBezTo>
                    <a:pt x="16" y="57"/>
                    <a:pt x="16" y="57"/>
                    <a:pt x="16" y="57"/>
                  </a:cubicBezTo>
                  <a:cubicBezTo>
                    <a:pt x="6" y="83"/>
                    <a:pt x="6" y="83"/>
                    <a:pt x="6" y="83"/>
                  </a:cubicBezTo>
                  <a:cubicBezTo>
                    <a:pt x="0" y="83"/>
                    <a:pt x="0" y="83"/>
                    <a:pt x="0" y="83"/>
                  </a:cubicBezTo>
                  <a:cubicBezTo>
                    <a:pt x="31" y="0"/>
                    <a:pt x="31" y="0"/>
                    <a:pt x="31" y="0"/>
                  </a:cubicBezTo>
                  <a:cubicBezTo>
                    <a:pt x="36" y="0"/>
                    <a:pt x="36" y="0"/>
                    <a:pt x="36" y="0"/>
                  </a:cubicBezTo>
                  <a:cubicBezTo>
                    <a:pt x="67" y="83"/>
                    <a:pt x="67" y="83"/>
                    <a:pt x="67" y="83"/>
                  </a:cubicBezTo>
                  <a:lnTo>
                    <a:pt x="61" y="83"/>
                  </a:lnTo>
                  <a:close/>
                  <a:moveTo>
                    <a:pt x="34" y="7"/>
                  </a:moveTo>
                  <a:cubicBezTo>
                    <a:pt x="33" y="7"/>
                    <a:pt x="33" y="7"/>
                    <a:pt x="33" y="7"/>
                  </a:cubicBezTo>
                  <a:cubicBezTo>
                    <a:pt x="33" y="10"/>
                    <a:pt x="32" y="12"/>
                    <a:pt x="31" y="13"/>
                  </a:cubicBezTo>
                  <a:cubicBezTo>
                    <a:pt x="18" y="52"/>
                    <a:pt x="18" y="52"/>
                    <a:pt x="18" y="52"/>
                  </a:cubicBezTo>
                  <a:cubicBezTo>
                    <a:pt x="50" y="52"/>
                    <a:pt x="50" y="52"/>
                    <a:pt x="50" y="52"/>
                  </a:cubicBezTo>
                  <a:cubicBezTo>
                    <a:pt x="36" y="13"/>
                    <a:pt x="36" y="13"/>
                    <a:pt x="36" y="13"/>
                  </a:cubicBezTo>
                  <a:lnTo>
                    <a:pt x="3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28" name="Freeform 6064"/>
            <p:cNvSpPr>
              <a:spLocks/>
            </p:cNvSpPr>
            <p:nvPr/>
          </p:nvSpPr>
          <p:spPr bwMode="auto">
            <a:xfrm>
              <a:off x="-265" y="2411"/>
              <a:ext cx="149" cy="158"/>
            </a:xfrm>
            <a:custGeom>
              <a:avLst/>
              <a:gdLst>
                <a:gd name="T0" fmla="*/ 72 w 78"/>
                <a:gd name="T1" fmla="*/ 83 h 83"/>
                <a:gd name="T2" fmla="*/ 72 w 78"/>
                <a:gd name="T3" fmla="*/ 24 h 83"/>
                <a:gd name="T4" fmla="*/ 73 w 78"/>
                <a:gd name="T5" fmla="*/ 12 h 83"/>
                <a:gd name="T6" fmla="*/ 73 w 78"/>
                <a:gd name="T7" fmla="*/ 12 h 83"/>
                <a:gd name="T8" fmla="*/ 69 w 78"/>
                <a:gd name="T9" fmla="*/ 19 h 83"/>
                <a:gd name="T10" fmla="*/ 40 w 78"/>
                <a:gd name="T11" fmla="*/ 83 h 83"/>
                <a:gd name="T12" fmla="*/ 38 w 78"/>
                <a:gd name="T13" fmla="*/ 83 h 83"/>
                <a:gd name="T14" fmla="*/ 9 w 78"/>
                <a:gd name="T15" fmla="*/ 19 h 83"/>
                <a:gd name="T16" fmla="*/ 6 w 78"/>
                <a:gd name="T17" fmla="*/ 12 h 83"/>
                <a:gd name="T18" fmla="*/ 6 w 78"/>
                <a:gd name="T19" fmla="*/ 12 h 83"/>
                <a:gd name="T20" fmla="*/ 6 w 78"/>
                <a:gd name="T21" fmla="*/ 23 h 83"/>
                <a:gd name="T22" fmla="*/ 6 w 78"/>
                <a:gd name="T23" fmla="*/ 83 h 83"/>
                <a:gd name="T24" fmla="*/ 0 w 78"/>
                <a:gd name="T25" fmla="*/ 83 h 83"/>
                <a:gd name="T26" fmla="*/ 0 w 78"/>
                <a:gd name="T27" fmla="*/ 0 h 83"/>
                <a:gd name="T28" fmla="*/ 6 w 78"/>
                <a:gd name="T29" fmla="*/ 0 h 83"/>
                <a:gd name="T30" fmla="*/ 36 w 78"/>
                <a:gd name="T31" fmla="*/ 67 h 83"/>
                <a:gd name="T32" fmla="*/ 37 w 78"/>
                <a:gd name="T33" fmla="*/ 68 h 83"/>
                <a:gd name="T34" fmla="*/ 39 w 78"/>
                <a:gd name="T35" fmla="*/ 74 h 83"/>
                <a:gd name="T36" fmla="*/ 39 w 78"/>
                <a:gd name="T37" fmla="*/ 74 h 83"/>
                <a:gd name="T38" fmla="*/ 42 w 78"/>
                <a:gd name="T39" fmla="*/ 66 h 83"/>
                <a:gd name="T40" fmla="*/ 73 w 78"/>
                <a:gd name="T41" fmla="*/ 0 h 83"/>
                <a:gd name="T42" fmla="*/ 78 w 78"/>
                <a:gd name="T43" fmla="*/ 0 h 83"/>
                <a:gd name="T44" fmla="*/ 78 w 78"/>
                <a:gd name="T45" fmla="*/ 83 h 83"/>
                <a:gd name="T46" fmla="*/ 72 w 78"/>
                <a:gd name="T4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 h="83">
                  <a:moveTo>
                    <a:pt x="72" y="83"/>
                  </a:moveTo>
                  <a:cubicBezTo>
                    <a:pt x="72" y="24"/>
                    <a:pt x="72" y="24"/>
                    <a:pt x="72" y="24"/>
                  </a:cubicBezTo>
                  <a:cubicBezTo>
                    <a:pt x="73" y="12"/>
                    <a:pt x="73" y="12"/>
                    <a:pt x="73" y="12"/>
                  </a:cubicBezTo>
                  <a:cubicBezTo>
                    <a:pt x="73" y="12"/>
                    <a:pt x="73" y="12"/>
                    <a:pt x="73" y="12"/>
                  </a:cubicBezTo>
                  <a:cubicBezTo>
                    <a:pt x="69" y="19"/>
                    <a:pt x="69" y="19"/>
                    <a:pt x="69" y="19"/>
                  </a:cubicBezTo>
                  <a:cubicBezTo>
                    <a:pt x="40" y="83"/>
                    <a:pt x="40" y="83"/>
                    <a:pt x="40" y="83"/>
                  </a:cubicBezTo>
                  <a:cubicBezTo>
                    <a:pt x="38" y="83"/>
                    <a:pt x="38" y="83"/>
                    <a:pt x="38" y="83"/>
                  </a:cubicBezTo>
                  <a:cubicBezTo>
                    <a:pt x="9" y="19"/>
                    <a:pt x="9" y="19"/>
                    <a:pt x="9" y="19"/>
                  </a:cubicBezTo>
                  <a:cubicBezTo>
                    <a:pt x="7" y="17"/>
                    <a:pt x="7" y="15"/>
                    <a:pt x="6" y="12"/>
                  </a:cubicBezTo>
                  <a:cubicBezTo>
                    <a:pt x="6" y="12"/>
                    <a:pt x="6" y="12"/>
                    <a:pt x="6" y="12"/>
                  </a:cubicBezTo>
                  <a:cubicBezTo>
                    <a:pt x="6" y="15"/>
                    <a:pt x="6" y="18"/>
                    <a:pt x="6" y="23"/>
                  </a:cubicBezTo>
                  <a:cubicBezTo>
                    <a:pt x="6" y="83"/>
                    <a:pt x="6" y="83"/>
                    <a:pt x="6" y="83"/>
                  </a:cubicBezTo>
                  <a:cubicBezTo>
                    <a:pt x="0" y="83"/>
                    <a:pt x="0" y="83"/>
                    <a:pt x="0" y="83"/>
                  </a:cubicBezTo>
                  <a:cubicBezTo>
                    <a:pt x="0" y="0"/>
                    <a:pt x="0" y="0"/>
                    <a:pt x="0" y="0"/>
                  </a:cubicBezTo>
                  <a:cubicBezTo>
                    <a:pt x="6" y="0"/>
                    <a:pt x="6" y="0"/>
                    <a:pt x="6" y="0"/>
                  </a:cubicBezTo>
                  <a:cubicBezTo>
                    <a:pt x="36" y="67"/>
                    <a:pt x="36" y="67"/>
                    <a:pt x="36" y="67"/>
                  </a:cubicBezTo>
                  <a:cubicBezTo>
                    <a:pt x="37" y="68"/>
                    <a:pt x="37" y="68"/>
                    <a:pt x="37" y="68"/>
                  </a:cubicBezTo>
                  <a:cubicBezTo>
                    <a:pt x="39" y="74"/>
                    <a:pt x="39" y="74"/>
                    <a:pt x="39" y="74"/>
                  </a:cubicBezTo>
                  <a:cubicBezTo>
                    <a:pt x="39" y="74"/>
                    <a:pt x="39" y="74"/>
                    <a:pt x="39" y="74"/>
                  </a:cubicBezTo>
                  <a:cubicBezTo>
                    <a:pt x="42" y="66"/>
                    <a:pt x="42" y="66"/>
                    <a:pt x="42" y="66"/>
                  </a:cubicBezTo>
                  <a:cubicBezTo>
                    <a:pt x="73" y="0"/>
                    <a:pt x="73" y="0"/>
                    <a:pt x="73" y="0"/>
                  </a:cubicBezTo>
                  <a:cubicBezTo>
                    <a:pt x="78" y="0"/>
                    <a:pt x="78" y="0"/>
                    <a:pt x="78" y="0"/>
                  </a:cubicBezTo>
                  <a:cubicBezTo>
                    <a:pt x="78" y="83"/>
                    <a:pt x="78" y="83"/>
                    <a:pt x="78" y="83"/>
                  </a:cubicBezTo>
                  <a:lnTo>
                    <a:pt x="7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29" name="Freeform 6065"/>
            <p:cNvSpPr>
              <a:spLocks/>
            </p:cNvSpPr>
            <p:nvPr/>
          </p:nvSpPr>
          <p:spPr bwMode="auto">
            <a:xfrm>
              <a:off x="-86" y="2409"/>
              <a:ext cx="84" cy="162"/>
            </a:xfrm>
            <a:custGeom>
              <a:avLst/>
              <a:gdLst>
                <a:gd name="T0" fmla="*/ 0 w 44"/>
                <a:gd name="T1" fmla="*/ 81 h 85"/>
                <a:gd name="T2" fmla="*/ 0 w 44"/>
                <a:gd name="T3" fmla="*/ 74 h 85"/>
                <a:gd name="T4" fmla="*/ 18 w 44"/>
                <a:gd name="T5" fmla="*/ 80 h 85"/>
                <a:gd name="T6" fmla="*/ 33 w 44"/>
                <a:gd name="T7" fmla="*/ 76 h 85"/>
                <a:gd name="T8" fmla="*/ 38 w 44"/>
                <a:gd name="T9" fmla="*/ 65 h 85"/>
                <a:gd name="T10" fmla="*/ 34 w 44"/>
                <a:gd name="T11" fmla="*/ 54 h 85"/>
                <a:gd name="T12" fmla="*/ 20 w 44"/>
                <a:gd name="T13" fmla="*/ 44 h 85"/>
                <a:gd name="T14" fmla="*/ 4 w 44"/>
                <a:gd name="T15" fmla="*/ 32 h 85"/>
                <a:gd name="T16" fmla="*/ 0 w 44"/>
                <a:gd name="T17" fmla="*/ 21 h 85"/>
                <a:gd name="T18" fmla="*/ 4 w 44"/>
                <a:gd name="T19" fmla="*/ 10 h 85"/>
                <a:gd name="T20" fmla="*/ 13 w 44"/>
                <a:gd name="T21" fmla="*/ 2 h 85"/>
                <a:gd name="T22" fmla="*/ 26 w 44"/>
                <a:gd name="T23" fmla="*/ 0 h 85"/>
                <a:gd name="T24" fmla="*/ 40 w 44"/>
                <a:gd name="T25" fmla="*/ 2 h 85"/>
                <a:gd name="T26" fmla="*/ 40 w 44"/>
                <a:gd name="T27" fmla="*/ 8 h 85"/>
                <a:gd name="T28" fmla="*/ 25 w 44"/>
                <a:gd name="T29" fmla="*/ 5 h 85"/>
                <a:gd name="T30" fmla="*/ 12 w 44"/>
                <a:gd name="T31" fmla="*/ 9 h 85"/>
                <a:gd name="T32" fmla="*/ 6 w 44"/>
                <a:gd name="T33" fmla="*/ 20 h 85"/>
                <a:gd name="T34" fmla="*/ 8 w 44"/>
                <a:gd name="T35" fmla="*/ 27 h 85"/>
                <a:gd name="T36" fmla="*/ 12 w 44"/>
                <a:gd name="T37" fmla="*/ 32 h 85"/>
                <a:gd name="T38" fmla="*/ 24 w 44"/>
                <a:gd name="T39" fmla="*/ 40 h 85"/>
                <a:gd name="T40" fmla="*/ 36 w 44"/>
                <a:gd name="T41" fmla="*/ 48 h 85"/>
                <a:gd name="T42" fmla="*/ 42 w 44"/>
                <a:gd name="T43" fmla="*/ 55 h 85"/>
                <a:gd name="T44" fmla="*/ 44 w 44"/>
                <a:gd name="T45" fmla="*/ 64 h 85"/>
                <a:gd name="T46" fmla="*/ 37 w 44"/>
                <a:gd name="T47" fmla="*/ 79 h 85"/>
                <a:gd name="T48" fmla="*/ 18 w 44"/>
                <a:gd name="T49" fmla="*/ 85 h 85"/>
                <a:gd name="T50" fmla="*/ 9 w 44"/>
                <a:gd name="T51" fmla="*/ 84 h 85"/>
                <a:gd name="T52" fmla="*/ 0 w 44"/>
                <a:gd name="T53"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 h="85">
                  <a:moveTo>
                    <a:pt x="0" y="81"/>
                  </a:moveTo>
                  <a:cubicBezTo>
                    <a:pt x="0" y="74"/>
                    <a:pt x="0" y="74"/>
                    <a:pt x="0" y="74"/>
                  </a:cubicBezTo>
                  <a:cubicBezTo>
                    <a:pt x="6" y="78"/>
                    <a:pt x="12" y="80"/>
                    <a:pt x="18" y="80"/>
                  </a:cubicBezTo>
                  <a:cubicBezTo>
                    <a:pt x="25" y="80"/>
                    <a:pt x="30" y="79"/>
                    <a:pt x="33" y="76"/>
                  </a:cubicBezTo>
                  <a:cubicBezTo>
                    <a:pt x="36" y="73"/>
                    <a:pt x="38" y="70"/>
                    <a:pt x="38" y="65"/>
                  </a:cubicBezTo>
                  <a:cubicBezTo>
                    <a:pt x="38" y="60"/>
                    <a:pt x="37" y="57"/>
                    <a:pt x="34" y="54"/>
                  </a:cubicBezTo>
                  <a:cubicBezTo>
                    <a:pt x="32" y="52"/>
                    <a:pt x="27" y="49"/>
                    <a:pt x="20" y="44"/>
                  </a:cubicBezTo>
                  <a:cubicBezTo>
                    <a:pt x="12" y="40"/>
                    <a:pt x="7" y="36"/>
                    <a:pt x="4" y="32"/>
                  </a:cubicBezTo>
                  <a:cubicBezTo>
                    <a:pt x="2" y="29"/>
                    <a:pt x="0" y="25"/>
                    <a:pt x="0" y="21"/>
                  </a:cubicBezTo>
                  <a:cubicBezTo>
                    <a:pt x="0" y="17"/>
                    <a:pt x="2" y="13"/>
                    <a:pt x="4" y="10"/>
                  </a:cubicBezTo>
                  <a:cubicBezTo>
                    <a:pt x="6" y="7"/>
                    <a:pt x="9" y="4"/>
                    <a:pt x="13" y="2"/>
                  </a:cubicBezTo>
                  <a:cubicBezTo>
                    <a:pt x="16" y="0"/>
                    <a:pt x="21" y="0"/>
                    <a:pt x="26" y="0"/>
                  </a:cubicBezTo>
                  <a:cubicBezTo>
                    <a:pt x="31" y="0"/>
                    <a:pt x="35" y="0"/>
                    <a:pt x="40" y="2"/>
                  </a:cubicBezTo>
                  <a:cubicBezTo>
                    <a:pt x="40" y="8"/>
                    <a:pt x="40" y="8"/>
                    <a:pt x="40" y="8"/>
                  </a:cubicBezTo>
                  <a:cubicBezTo>
                    <a:pt x="35" y="6"/>
                    <a:pt x="30" y="5"/>
                    <a:pt x="25" y="5"/>
                  </a:cubicBezTo>
                  <a:cubicBezTo>
                    <a:pt x="19" y="5"/>
                    <a:pt x="15" y="6"/>
                    <a:pt x="12" y="9"/>
                  </a:cubicBezTo>
                  <a:cubicBezTo>
                    <a:pt x="8" y="12"/>
                    <a:pt x="6" y="15"/>
                    <a:pt x="6" y="20"/>
                  </a:cubicBezTo>
                  <a:cubicBezTo>
                    <a:pt x="6" y="23"/>
                    <a:pt x="7" y="25"/>
                    <a:pt x="8" y="27"/>
                  </a:cubicBezTo>
                  <a:cubicBezTo>
                    <a:pt x="9" y="29"/>
                    <a:pt x="10" y="31"/>
                    <a:pt x="12" y="32"/>
                  </a:cubicBezTo>
                  <a:cubicBezTo>
                    <a:pt x="14" y="34"/>
                    <a:pt x="18" y="37"/>
                    <a:pt x="24" y="40"/>
                  </a:cubicBezTo>
                  <a:cubicBezTo>
                    <a:pt x="29" y="43"/>
                    <a:pt x="33" y="46"/>
                    <a:pt x="36" y="48"/>
                  </a:cubicBezTo>
                  <a:cubicBezTo>
                    <a:pt x="39" y="50"/>
                    <a:pt x="41" y="53"/>
                    <a:pt x="42" y="55"/>
                  </a:cubicBezTo>
                  <a:cubicBezTo>
                    <a:pt x="43" y="57"/>
                    <a:pt x="44" y="60"/>
                    <a:pt x="44" y="64"/>
                  </a:cubicBezTo>
                  <a:cubicBezTo>
                    <a:pt x="44" y="70"/>
                    <a:pt x="41" y="76"/>
                    <a:pt x="37" y="79"/>
                  </a:cubicBezTo>
                  <a:cubicBezTo>
                    <a:pt x="32" y="83"/>
                    <a:pt x="26" y="85"/>
                    <a:pt x="18" y="85"/>
                  </a:cubicBezTo>
                  <a:cubicBezTo>
                    <a:pt x="16" y="85"/>
                    <a:pt x="13" y="85"/>
                    <a:pt x="9" y="84"/>
                  </a:cubicBezTo>
                  <a:cubicBezTo>
                    <a:pt x="5" y="83"/>
                    <a:pt x="2" y="82"/>
                    <a:pt x="0"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30" name="Freeform 6066"/>
            <p:cNvSpPr>
              <a:spLocks/>
            </p:cNvSpPr>
            <p:nvPr/>
          </p:nvSpPr>
          <p:spPr bwMode="auto">
            <a:xfrm>
              <a:off x="-1584" y="1930"/>
              <a:ext cx="246" cy="300"/>
            </a:xfrm>
            <a:custGeom>
              <a:avLst/>
              <a:gdLst>
                <a:gd name="T0" fmla="*/ 111 w 129"/>
                <a:gd name="T1" fmla="*/ 137 h 157"/>
                <a:gd name="T2" fmla="*/ 129 w 129"/>
                <a:gd name="T3" fmla="*/ 80 h 157"/>
                <a:gd name="T4" fmla="*/ 112 w 129"/>
                <a:gd name="T5" fmla="*/ 21 h 157"/>
                <a:gd name="T6" fmla="*/ 65 w 129"/>
                <a:gd name="T7" fmla="*/ 0 h 157"/>
                <a:gd name="T8" fmla="*/ 18 w 129"/>
                <a:gd name="T9" fmla="*/ 22 h 157"/>
                <a:gd name="T10" fmla="*/ 0 w 129"/>
                <a:gd name="T11" fmla="*/ 79 h 157"/>
                <a:gd name="T12" fmla="*/ 8 w 129"/>
                <a:gd name="T13" fmla="*/ 120 h 157"/>
                <a:gd name="T14" fmla="*/ 31 w 129"/>
                <a:gd name="T15" fmla="*/ 148 h 157"/>
                <a:gd name="T16" fmla="*/ 64 w 129"/>
                <a:gd name="T17" fmla="*/ 157 h 157"/>
                <a:gd name="T18" fmla="*/ 111 w 129"/>
                <a:gd name="T19" fmla="*/ 13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157">
                  <a:moveTo>
                    <a:pt x="111" y="137"/>
                  </a:moveTo>
                  <a:cubicBezTo>
                    <a:pt x="123" y="124"/>
                    <a:pt x="129" y="104"/>
                    <a:pt x="129" y="80"/>
                  </a:cubicBezTo>
                  <a:cubicBezTo>
                    <a:pt x="129" y="55"/>
                    <a:pt x="123" y="35"/>
                    <a:pt x="112" y="21"/>
                  </a:cubicBezTo>
                  <a:cubicBezTo>
                    <a:pt x="101" y="7"/>
                    <a:pt x="85" y="0"/>
                    <a:pt x="65" y="0"/>
                  </a:cubicBezTo>
                  <a:cubicBezTo>
                    <a:pt x="45" y="0"/>
                    <a:pt x="29" y="8"/>
                    <a:pt x="18" y="22"/>
                  </a:cubicBezTo>
                  <a:cubicBezTo>
                    <a:pt x="6" y="37"/>
                    <a:pt x="0" y="56"/>
                    <a:pt x="0" y="79"/>
                  </a:cubicBezTo>
                  <a:cubicBezTo>
                    <a:pt x="0" y="94"/>
                    <a:pt x="2" y="108"/>
                    <a:pt x="8" y="120"/>
                  </a:cubicBezTo>
                  <a:cubicBezTo>
                    <a:pt x="13" y="132"/>
                    <a:pt x="21" y="141"/>
                    <a:pt x="31" y="148"/>
                  </a:cubicBezTo>
                  <a:cubicBezTo>
                    <a:pt x="40" y="154"/>
                    <a:pt x="51" y="157"/>
                    <a:pt x="64" y="157"/>
                  </a:cubicBezTo>
                  <a:cubicBezTo>
                    <a:pt x="84" y="157"/>
                    <a:pt x="100" y="151"/>
                    <a:pt x="111" y="1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31" name="Freeform 6067"/>
            <p:cNvSpPr>
              <a:spLocks/>
            </p:cNvSpPr>
            <p:nvPr/>
          </p:nvSpPr>
          <p:spPr bwMode="auto">
            <a:xfrm>
              <a:off x="-1899" y="1934"/>
              <a:ext cx="115" cy="113"/>
            </a:xfrm>
            <a:custGeom>
              <a:avLst/>
              <a:gdLst>
                <a:gd name="T0" fmla="*/ 60 w 60"/>
                <a:gd name="T1" fmla="*/ 26 h 59"/>
                <a:gd name="T2" fmla="*/ 51 w 60"/>
                <a:gd name="T3" fmla="*/ 7 h 59"/>
                <a:gd name="T4" fmla="*/ 23 w 60"/>
                <a:gd name="T5" fmla="*/ 0 h 59"/>
                <a:gd name="T6" fmla="*/ 0 w 60"/>
                <a:gd name="T7" fmla="*/ 0 h 59"/>
                <a:gd name="T8" fmla="*/ 0 w 60"/>
                <a:gd name="T9" fmla="*/ 59 h 59"/>
                <a:gd name="T10" fmla="*/ 22 w 60"/>
                <a:gd name="T11" fmla="*/ 59 h 59"/>
                <a:gd name="T12" fmla="*/ 50 w 60"/>
                <a:gd name="T13" fmla="*/ 50 h 59"/>
                <a:gd name="T14" fmla="*/ 60 w 60"/>
                <a:gd name="T15" fmla="*/ 26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59">
                  <a:moveTo>
                    <a:pt x="60" y="26"/>
                  </a:moveTo>
                  <a:cubicBezTo>
                    <a:pt x="60" y="18"/>
                    <a:pt x="57" y="11"/>
                    <a:pt x="51" y="7"/>
                  </a:cubicBezTo>
                  <a:cubicBezTo>
                    <a:pt x="44" y="2"/>
                    <a:pt x="35" y="0"/>
                    <a:pt x="23" y="0"/>
                  </a:cubicBezTo>
                  <a:cubicBezTo>
                    <a:pt x="0" y="0"/>
                    <a:pt x="0" y="0"/>
                    <a:pt x="0" y="0"/>
                  </a:cubicBezTo>
                  <a:cubicBezTo>
                    <a:pt x="0" y="59"/>
                    <a:pt x="0" y="59"/>
                    <a:pt x="0" y="59"/>
                  </a:cubicBezTo>
                  <a:cubicBezTo>
                    <a:pt x="22" y="59"/>
                    <a:pt x="22" y="59"/>
                    <a:pt x="22" y="59"/>
                  </a:cubicBezTo>
                  <a:cubicBezTo>
                    <a:pt x="34" y="59"/>
                    <a:pt x="44" y="56"/>
                    <a:pt x="50" y="50"/>
                  </a:cubicBezTo>
                  <a:cubicBezTo>
                    <a:pt x="57" y="45"/>
                    <a:pt x="60" y="37"/>
                    <a:pt x="60"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32" name="Freeform 6068"/>
            <p:cNvSpPr>
              <a:spLocks/>
            </p:cNvSpPr>
            <p:nvPr/>
          </p:nvSpPr>
          <p:spPr bwMode="auto">
            <a:xfrm>
              <a:off x="-1899" y="2102"/>
              <a:ext cx="134" cy="126"/>
            </a:xfrm>
            <a:custGeom>
              <a:avLst/>
              <a:gdLst>
                <a:gd name="T0" fmla="*/ 0 w 70"/>
                <a:gd name="T1" fmla="*/ 66 h 66"/>
                <a:gd name="T2" fmla="*/ 30 w 70"/>
                <a:gd name="T3" fmla="*/ 66 h 66"/>
                <a:gd name="T4" fmla="*/ 59 w 70"/>
                <a:gd name="T5" fmla="*/ 57 h 66"/>
                <a:gd name="T6" fmla="*/ 70 w 70"/>
                <a:gd name="T7" fmla="*/ 32 h 66"/>
                <a:gd name="T8" fmla="*/ 59 w 70"/>
                <a:gd name="T9" fmla="*/ 8 h 66"/>
                <a:gd name="T10" fmla="*/ 26 w 70"/>
                <a:gd name="T11" fmla="*/ 0 h 66"/>
                <a:gd name="T12" fmla="*/ 0 w 70"/>
                <a:gd name="T13" fmla="*/ 0 h 66"/>
                <a:gd name="T14" fmla="*/ 0 w 70"/>
                <a:gd name="T15" fmla="*/ 66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66">
                  <a:moveTo>
                    <a:pt x="0" y="66"/>
                  </a:moveTo>
                  <a:cubicBezTo>
                    <a:pt x="30" y="66"/>
                    <a:pt x="30" y="66"/>
                    <a:pt x="30" y="66"/>
                  </a:cubicBezTo>
                  <a:cubicBezTo>
                    <a:pt x="42" y="66"/>
                    <a:pt x="52" y="63"/>
                    <a:pt x="59" y="57"/>
                  </a:cubicBezTo>
                  <a:cubicBezTo>
                    <a:pt x="67" y="50"/>
                    <a:pt x="70" y="42"/>
                    <a:pt x="70" y="32"/>
                  </a:cubicBezTo>
                  <a:cubicBezTo>
                    <a:pt x="70" y="22"/>
                    <a:pt x="66" y="14"/>
                    <a:pt x="59" y="8"/>
                  </a:cubicBezTo>
                  <a:cubicBezTo>
                    <a:pt x="52" y="3"/>
                    <a:pt x="41" y="0"/>
                    <a:pt x="26" y="0"/>
                  </a:cubicBezTo>
                  <a:cubicBezTo>
                    <a:pt x="0" y="0"/>
                    <a:pt x="0" y="0"/>
                    <a:pt x="0" y="0"/>
                  </a:cubicBezTo>
                  <a:lnTo>
                    <a:pt x="0"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33" name="Oval 6069"/>
            <p:cNvSpPr>
              <a:spLocks noChangeArrowheads="1"/>
            </p:cNvSpPr>
            <p:nvPr/>
          </p:nvSpPr>
          <p:spPr bwMode="auto">
            <a:xfrm>
              <a:off x="-227" y="2352"/>
              <a:ext cx="72" cy="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34" name="Freeform 6070"/>
            <p:cNvSpPr>
              <a:spLocks/>
            </p:cNvSpPr>
            <p:nvPr/>
          </p:nvSpPr>
          <p:spPr bwMode="auto">
            <a:xfrm>
              <a:off x="-1160" y="1930"/>
              <a:ext cx="248" cy="300"/>
            </a:xfrm>
            <a:custGeom>
              <a:avLst/>
              <a:gdLst>
                <a:gd name="T0" fmla="*/ 112 w 130"/>
                <a:gd name="T1" fmla="*/ 137 h 157"/>
                <a:gd name="T2" fmla="*/ 130 w 130"/>
                <a:gd name="T3" fmla="*/ 80 h 157"/>
                <a:gd name="T4" fmla="*/ 113 w 130"/>
                <a:gd name="T5" fmla="*/ 21 h 157"/>
                <a:gd name="T6" fmla="*/ 66 w 130"/>
                <a:gd name="T7" fmla="*/ 0 h 157"/>
                <a:gd name="T8" fmla="*/ 18 w 130"/>
                <a:gd name="T9" fmla="*/ 22 h 157"/>
                <a:gd name="T10" fmla="*/ 0 w 130"/>
                <a:gd name="T11" fmla="*/ 79 h 157"/>
                <a:gd name="T12" fmla="*/ 9 w 130"/>
                <a:gd name="T13" fmla="*/ 120 h 157"/>
                <a:gd name="T14" fmla="*/ 31 w 130"/>
                <a:gd name="T15" fmla="*/ 148 h 157"/>
                <a:gd name="T16" fmla="*/ 64 w 130"/>
                <a:gd name="T17" fmla="*/ 157 h 157"/>
                <a:gd name="T18" fmla="*/ 112 w 130"/>
                <a:gd name="T19" fmla="*/ 13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 h="157">
                  <a:moveTo>
                    <a:pt x="112" y="137"/>
                  </a:moveTo>
                  <a:cubicBezTo>
                    <a:pt x="124" y="124"/>
                    <a:pt x="130" y="104"/>
                    <a:pt x="130" y="80"/>
                  </a:cubicBezTo>
                  <a:cubicBezTo>
                    <a:pt x="130" y="55"/>
                    <a:pt x="124" y="35"/>
                    <a:pt x="113" y="21"/>
                  </a:cubicBezTo>
                  <a:cubicBezTo>
                    <a:pt x="101" y="7"/>
                    <a:pt x="86" y="0"/>
                    <a:pt x="66" y="0"/>
                  </a:cubicBezTo>
                  <a:cubicBezTo>
                    <a:pt x="46" y="0"/>
                    <a:pt x="30" y="8"/>
                    <a:pt x="18" y="22"/>
                  </a:cubicBezTo>
                  <a:cubicBezTo>
                    <a:pt x="6" y="37"/>
                    <a:pt x="0" y="56"/>
                    <a:pt x="0" y="79"/>
                  </a:cubicBezTo>
                  <a:cubicBezTo>
                    <a:pt x="0" y="94"/>
                    <a:pt x="3" y="108"/>
                    <a:pt x="9" y="120"/>
                  </a:cubicBezTo>
                  <a:cubicBezTo>
                    <a:pt x="14" y="132"/>
                    <a:pt x="21" y="141"/>
                    <a:pt x="31" y="148"/>
                  </a:cubicBezTo>
                  <a:cubicBezTo>
                    <a:pt x="41" y="154"/>
                    <a:pt x="52" y="157"/>
                    <a:pt x="64" y="157"/>
                  </a:cubicBezTo>
                  <a:cubicBezTo>
                    <a:pt x="84" y="157"/>
                    <a:pt x="100" y="151"/>
                    <a:pt x="112" y="1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35" name="Freeform 6071"/>
            <p:cNvSpPr>
              <a:spLocks/>
            </p:cNvSpPr>
            <p:nvPr/>
          </p:nvSpPr>
          <p:spPr bwMode="auto">
            <a:xfrm>
              <a:off x="-2221" y="1217"/>
              <a:ext cx="2053" cy="1127"/>
            </a:xfrm>
            <a:custGeom>
              <a:avLst/>
              <a:gdLst>
                <a:gd name="T0" fmla="*/ 1062 w 1076"/>
                <a:gd name="T1" fmla="*/ 513 h 591"/>
                <a:gd name="T2" fmla="*/ 988 w 1076"/>
                <a:gd name="T3" fmla="*/ 386 h 591"/>
                <a:gd name="T4" fmla="*/ 982 w 1076"/>
                <a:gd name="T5" fmla="*/ 384 h 591"/>
                <a:gd name="T6" fmla="*/ 810 w 1076"/>
                <a:gd name="T7" fmla="*/ 212 h 591"/>
                <a:gd name="T8" fmla="*/ 397 w 1076"/>
                <a:gd name="T9" fmla="*/ 113 h 591"/>
                <a:gd name="T10" fmla="*/ 120 w 1076"/>
                <a:gd name="T11" fmla="*/ 270 h 591"/>
                <a:gd name="T12" fmla="*/ 0 w 1076"/>
                <a:gd name="T13" fmla="*/ 416 h 591"/>
                <a:gd name="T14" fmla="*/ 134 w 1076"/>
                <a:gd name="T15" fmla="*/ 347 h 591"/>
                <a:gd name="T16" fmla="*/ 249 w 1076"/>
                <a:gd name="T17" fmla="*/ 360 h 591"/>
                <a:gd name="T18" fmla="*/ 256 w 1076"/>
                <a:gd name="T19" fmla="*/ 426 h 591"/>
                <a:gd name="T20" fmla="*/ 228 w 1076"/>
                <a:gd name="T21" fmla="*/ 445 h 591"/>
                <a:gd name="T22" fmla="*/ 276 w 1076"/>
                <a:gd name="T23" fmla="*/ 497 h 591"/>
                <a:gd name="T24" fmla="*/ 224 w 1076"/>
                <a:gd name="T25" fmla="*/ 557 h 591"/>
                <a:gd name="T26" fmla="*/ 345 w 1076"/>
                <a:gd name="T27" fmla="*/ 549 h 591"/>
                <a:gd name="T28" fmla="*/ 296 w 1076"/>
                <a:gd name="T29" fmla="*/ 456 h 591"/>
                <a:gd name="T30" fmla="*/ 346 w 1076"/>
                <a:gd name="T31" fmla="*/ 357 h 591"/>
                <a:gd name="T32" fmla="*/ 452 w 1076"/>
                <a:gd name="T33" fmla="*/ 356 h 591"/>
                <a:gd name="T34" fmla="*/ 500 w 1076"/>
                <a:gd name="T35" fmla="*/ 451 h 591"/>
                <a:gd name="T36" fmla="*/ 451 w 1076"/>
                <a:gd name="T37" fmla="*/ 549 h 591"/>
                <a:gd name="T38" fmla="*/ 540 w 1076"/>
                <a:gd name="T39" fmla="*/ 557 h 591"/>
                <a:gd name="T40" fmla="*/ 567 w 1076"/>
                <a:gd name="T41" fmla="*/ 549 h 591"/>
                <a:gd name="T42" fmla="*/ 519 w 1076"/>
                <a:gd name="T43" fmla="*/ 456 h 591"/>
                <a:gd name="T44" fmla="*/ 568 w 1076"/>
                <a:gd name="T45" fmla="*/ 357 h 591"/>
                <a:gd name="T46" fmla="*/ 675 w 1076"/>
                <a:gd name="T47" fmla="*/ 356 h 591"/>
                <a:gd name="T48" fmla="*/ 723 w 1076"/>
                <a:gd name="T49" fmla="*/ 451 h 591"/>
                <a:gd name="T50" fmla="*/ 674 w 1076"/>
                <a:gd name="T51" fmla="*/ 549 h 591"/>
                <a:gd name="T52" fmla="*/ 756 w 1076"/>
                <a:gd name="T53" fmla="*/ 557 h 591"/>
                <a:gd name="T54" fmla="*/ 792 w 1076"/>
                <a:gd name="T55" fmla="*/ 347 h 591"/>
                <a:gd name="T56" fmla="*/ 792 w 1076"/>
                <a:gd name="T57" fmla="*/ 447 h 591"/>
                <a:gd name="T58" fmla="*/ 869 w 1076"/>
                <a:gd name="T59" fmla="*/ 347 h 591"/>
                <a:gd name="T60" fmla="*/ 827 w 1076"/>
                <a:gd name="T61" fmla="*/ 448 h 591"/>
                <a:gd name="T62" fmla="*/ 987 w 1076"/>
                <a:gd name="T63" fmla="*/ 557 h 591"/>
                <a:gd name="T64" fmla="*/ 1076 w 1076"/>
                <a:gd name="T65" fmla="*/ 546 h 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6" h="591">
                  <a:moveTo>
                    <a:pt x="1076" y="546"/>
                  </a:moveTo>
                  <a:cubicBezTo>
                    <a:pt x="1076" y="533"/>
                    <a:pt x="1071" y="522"/>
                    <a:pt x="1062" y="513"/>
                  </a:cubicBezTo>
                  <a:cubicBezTo>
                    <a:pt x="1069" y="501"/>
                    <a:pt x="1073" y="487"/>
                    <a:pt x="1073" y="471"/>
                  </a:cubicBezTo>
                  <a:cubicBezTo>
                    <a:pt x="1073" y="424"/>
                    <a:pt x="1035" y="386"/>
                    <a:pt x="988" y="386"/>
                  </a:cubicBezTo>
                  <a:cubicBezTo>
                    <a:pt x="986" y="386"/>
                    <a:pt x="984" y="386"/>
                    <a:pt x="982" y="387"/>
                  </a:cubicBezTo>
                  <a:cubicBezTo>
                    <a:pt x="982" y="386"/>
                    <a:pt x="982" y="385"/>
                    <a:pt x="982" y="384"/>
                  </a:cubicBezTo>
                  <a:cubicBezTo>
                    <a:pt x="982" y="289"/>
                    <a:pt x="905" y="212"/>
                    <a:pt x="810" y="212"/>
                  </a:cubicBezTo>
                  <a:cubicBezTo>
                    <a:pt x="810" y="212"/>
                    <a:pt x="810" y="212"/>
                    <a:pt x="810" y="212"/>
                  </a:cubicBezTo>
                  <a:cubicBezTo>
                    <a:pt x="806" y="94"/>
                    <a:pt x="709" y="0"/>
                    <a:pt x="590" y="0"/>
                  </a:cubicBezTo>
                  <a:cubicBezTo>
                    <a:pt x="507" y="0"/>
                    <a:pt x="435" y="45"/>
                    <a:pt x="397" y="113"/>
                  </a:cubicBezTo>
                  <a:cubicBezTo>
                    <a:pt x="370" y="96"/>
                    <a:pt x="338" y="87"/>
                    <a:pt x="304" y="87"/>
                  </a:cubicBezTo>
                  <a:cubicBezTo>
                    <a:pt x="203" y="87"/>
                    <a:pt x="120" y="169"/>
                    <a:pt x="120" y="270"/>
                  </a:cubicBezTo>
                  <a:cubicBezTo>
                    <a:pt x="120" y="273"/>
                    <a:pt x="120" y="275"/>
                    <a:pt x="121" y="278"/>
                  </a:cubicBezTo>
                  <a:cubicBezTo>
                    <a:pt x="53" y="287"/>
                    <a:pt x="0" y="346"/>
                    <a:pt x="0" y="416"/>
                  </a:cubicBezTo>
                  <a:cubicBezTo>
                    <a:pt x="0" y="492"/>
                    <a:pt x="59" y="553"/>
                    <a:pt x="134" y="556"/>
                  </a:cubicBezTo>
                  <a:cubicBezTo>
                    <a:pt x="134" y="347"/>
                    <a:pt x="134" y="347"/>
                    <a:pt x="134" y="347"/>
                  </a:cubicBezTo>
                  <a:cubicBezTo>
                    <a:pt x="201" y="347"/>
                    <a:pt x="201" y="347"/>
                    <a:pt x="201" y="347"/>
                  </a:cubicBezTo>
                  <a:cubicBezTo>
                    <a:pt x="221" y="347"/>
                    <a:pt x="237" y="351"/>
                    <a:pt x="249" y="360"/>
                  </a:cubicBezTo>
                  <a:cubicBezTo>
                    <a:pt x="261" y="369"/>
                    <a:pt x="266" y="381"/>
                    <a:pt x="266" y="396"/>
                  </a:cubicBezTo>
                  <a:cubicBezTo>
                    <a:pt x="266" y="407"/>
                    <a:pt x="263" y="417"/>
                    <a:pt x="256" y="426"/>
                  </a:cubicBezTo>
                  <a:cubicBezTo>
                    <a:pt x="249" y="435"/>
                    <a:pt x="240" y="441"/>
                    <a:pt x="228" y="445"/>
                  </a:cubicBezTo>
                  <a:cubicBezTo>
                    <a:pt x="228" y="445"/>
                    <a:pt x="228" y="445"/>
                    <a:pt x="228" y="445"/>
                  </a:cubicBezTo>
                  <a:cubicBezTo>
                    <a:pt x="243" y="447"/>
                    <a:pt x="255" y="453"/>
                    <a:pt x="264" y="462"/>
                  </a:cubicBezTo>
                  <a:cubicBezTo>
                    <a:pt x="272" y="471"/>
                    <a:pt x="276" y="483"/>
                    <a:pt x="276" y="497"/>
                  </a:cubicBezTo>
                  <a:cubicBezTo>
                    <a:pt x="276" y="516"/>
                    <a:pt x="270" y="530"/>
                    <a:pt x="256" y="542"/>
                  </a:cubicBezTo>
                  <a:cubicBezTo>
                    <a:pt x="247" y="549"/>
                    <a:pt x="237" y="554"/>
                    <a:pt x="224" y="557"/>
                  </a:cubicBezTo>
                  <a:cubicBezTo>
                    <a:pt x="361" y="557"/>
                    <a:pt x="361" y="557"/>
                    <a:pt x="361" y="557"/>
                  </a:cubicBezTo>
                  <a:cubicBezTo>
                    <a:pt x="356" y="555"/>
                    <a:pt x="350" y="552"/>
                    <a:pt x="345" y="549"/>
                  </a:cubicBezTo>
                  <a:cubicBezTo>
                    <a:pt x="329" y="540"/>
                    <a:pt x="318" y="528"/>
                    <a:pt x="309" y="511"/>
                  </a:cubicBezTo>
                  <a:cubicBezTo>
                    <a:pt x="301" y="495"/>
                    <a:pt x="296" y="476"/>
                    <a:pt x="296" y="456"/>
                  </a:cubicBezTo>
                  <a:cubicBezTo>
                    <a:pt x="296" y="433"/>
                    <a:pt x="301" y="414"/>
                    <a:pt x="309" y="397"/>
                  </a:cubicBezTo>
                  <a:cubicBezTo>
                    <a:pt x="318" y="379"/>
                    <a:pt x="330" y="366"/>
                    <a:pt x="346" y="357"/>
                  </a:cubicBezTo>
                  <a:cubicBezTo>
                    <a:pt x="361" y="348"/>
                    <a:pt x="380" y="343"/>
                    <a:pt x="401" y="343"/>
                  </a:cubicBezTo>
                  <a:cubicBezTo>
                    <a:pt x="420" y="343"/>
                    <a:pt x="437" y="348"/>
                    <a:pt x="452" y="356"/>
                  </a:cubicBezTo>
                  <a:cubicBezTo>
                    <a:pt x="468" y="365"/>
                    <a:pt x="479" y="378"/>
                    <a:pt x="488" y="394"/>
                  </a:cubicBezTo>
                  <a:cubicBezTo>
                    <a:pt x="496" y="411"/>
                    <a:pt x="500" y="429"/>
                    <a:pt x="500" y="451"/>
                  </a:cubicBezTo>
                  <a:cubicBezTo>
                    <a:pt x="500" y="473"/>
                    <a:pt x="496" y="493"/>
                    <a:pt x="488" y="509"/>
                  </a:cubicBezTo>
                  <a:cubicBezTo>
                    <a:pt x="479" y="526"/>
                    <a:pt x="467" y="539"/>
                    <a:pt x="451" y="549"/>
                  </a:cubicBezTo>
                  <a:cubicBezTo>
                    <a:pt x="446" y="552"/>
                    <a:pt x="440" y="555"/>
                    <a:pt x="434" y="557"/>
                  </a:cubicBezTo>
                  <a:cubicBezTo>
                    <a:pt x="540" y="557"/>
                    <a:pt x="540" y="557"/>
                    <a:pt x="540" y="557"/>
                  </a:cubicBezTo>
                  <a:cubicBezTo>
                    <a:pt x="584" y="557"/>
                    <a:pt x="584" y="557"/>
                    <a:pt x="584" y="557"/>
                  </a:cubicBezTo>
                  <a:cubicBezTo>
                    <a:pt x="578" y="555"/>
                    <a:pt x="573" y="552"/>
                    <a:pt x="567" y="549"/>
                  </a:cubicBezTo>
                  <a:cubicBezTo>
                    <a:pt x="552" y="540"/>
                    <a:pt x="540" y="528"/>
                    <a:pt x="532" y="511"/>
                  </a:cubicBezTo>
                  <a:cubicBezTo>
                    <a:pt x="523" y="495"/>
                    <a:pt x="519" y="476"/>
                    <a:pt x="519" y="456"/>
                  </a:cubicBezTo>
                  <a:cubicBezTo>
                    <a:pt x="519" y="433"/>
                    <a:pt x="523" y="414"/>
                    <a:pt x="532" y="397"/>
                  </a:cubicBezTo>
                  <a:cubicBezTo>
                    <a:pt x="540" y="379"/>
                    <a:pt x="552" y="366"/>
                    <a:pt x="568" y="357"/>
                  </a:cubicBezTo>
                  <a:cubicBezTo>
                    <a:pt x="584" y="348"/>
                    <a:pt x="602" y="343"/>
                    <a:pt x="623" y="343"/>
                  </a:cubicBezTo>
                  <a:cubicBezTo>
                    <a:pt x="643" y="343"/>
                    <a:pt x="660" y="348"/>
                    <a:pt x="675" y="356"/>
                  </a:cubicBezTo>
                  <a:cubicBezTo>
                    <a:pt x="690" y="365"/>
                    <a:pt x="702" y="378"/>
                    <a:pt x="710" y="394"/>
                  </a:cubicBezTo>
                  <a:cubicBezTo>
                    <a:pt x="719" y="411"/>
                    <a:pt x="723" y="429"/>
                    <a:pt x="723" y="451"/>
                  </a:cubicBezTo>
                  <a:cubicBezTo>
                    <a:pt x="723" y="473"/>
                    <a:pt x="719" y="493"/>
                    <a:pt x="710" y="509"/>
                  </a:cubicBezTo>
                  <a:cubicBezTo>
                    <a:pt x="702" y="526"/>
                    <a:pt x="690" y="539"/>
                    <a:pt x="674" y="549"/>
                  </a:cubicBezTo>
                  <a:cubicBezTo>
                    <a:pt x="668" y="552"/>
                    <a:pt x="663" y="555"/>
                    <a:pt x="657" y="557"/>
                  </a:cubicBezTo>
                  <a:cubicBezTo>
                    <a:pt x="756" y="557"/>
                    <a:pt x="756" y="557"/>
                    <a:pt x="756" y="557"/>
                  </a:cubicBezTo>
                  <a:cubicBezTo>
                    <a:pt x="756" y="347"/>
                    <a:pt x="756" y="347"/>
                    <a:pt x="756" y="347"/>
                  </a:cubicBezTo>
                  <a:cubicBezTo>
                    <a:pt x="792" y="347"/>
                    <a:pt x="792" y="347"/>
                    <a:pt x="792" y="347"/>
                  </a:cubicBezTo>
                  <a:cubicBezTo>
                    <a:pt x="792" y="447"/>
                    <a:pt x="792" y="447"/>
                    <a:pt x="792" y="447"/>
                  </a:cubicBezTo>
                  <a:cubicBezTo>
                    <a:pt x="792" y="447"/>
                    <a:pt x="792" y="447"/>
                    <a:pt x="792" y="447"/>
                  </a:cubicBezTo>
                  <a:cubicBezTo>
                    <a:pt x="798" y="437"/>
                    <a:pt x="798" y="437"/>
                    <a:pt x="798" y="437"/>
                  </a:cubicBezTo>
                  <a:cubicBezTo>
                    <a:pt x="869" y="347"/>
                    <a:pt x="869" y="347"/>
                    <a:pt x="869" y="347"/>
                  </a:cubicBezTo>
                  <a:cubicBezTo>
                    <a:pt x="912" y="347"/>
                    <a:pt x="912" y="347"/>
                    <a:pt x="912" y="347"/>
                  </a:cubicBezTo>
                  <a:cubicBezTo>
                    <a:pt x="827" y="448"/>
                    <a:pt x="827" y="448"/>
                    <a:pt x="827" y="448"/>
                  </a:cubicBezTo>
                  <a:cubicBezTo>
                    <a:pt x="917" y="557"/>
                    <a:pt x="917" y="557"/>
                    <a:pt x="917" y="557"/>
                  </a:cubicBezTo>
                  <a:cubicBezTo>
                    <a:pt x="987" y="557"/>
                    <a:pt x="987" y="557"/>
                    <a:pt x="987" y="557"/>
                  </a:cubicBezTo>
                  <a:cubicBezTo>
                    <a:pt x="992" y="576"/>
                    <a:pt x="1010" y="591"/>
                    <a:pt x="1031" y="591"/>
                  </a:cubicBezTo>
                  <a:cubicBezTo>
                    <a:pt x="1056" y="591"/>
                    <a:pt x="1076" y="571"/>
                    <a:pt x="1076" y="5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36" name="Freeform 6072"/>
            <p:cNvSpPr>
              <a:spLocks/>
            </p:cNvSpPr>
            <p:nvPr/>
          </p:nvSpPr>
          <p:spPr bwMode="auto">
            <a:xfrm>
              <a:off x="-710" y="2085"/>
              <a:ext cx="149" cy="194"/>
            </a:xfrm>
            <a:custGeom>
              <a:avLst/>
              <a:gdLst>
                <a:gd name="T0" fmla="*/ 12 w 149"/>
                <a:gd name="T1" fmla="*/ 19 h 194"/>
                <a:gd name="T2" fmla="*/ 0 w 149"/>
                <a:gd name="T3" fmla="*/ 0 h 194"/>
                <a:gd name="T4" fmla="*/ 0 w 149"/>
                <a:gd name="T5" fmla="*/ 0 h 194"/>
                <a:gd name="T6" fmla="*/ 0 w 149"/>
                <a:gd name="T7" fmla="*/ 194 h 194"/>
                <a:gd name="T8" fmla="*/ 35 w 149"/>
                <a:gd name="T9" fmla="*/ 194 h 194"/>
                <a:gd name="T10" fmla="*/ 149 w 149"/>
                <a:gd name="T11" fmla="*/ 194 h 194"/>
                <a:gd name="T12" fmla="*/ 12 w 149"/>
                <a:gd name="T13" fmla="*/ 19 h 194"/>
              </a:gdLst>
              <a:ahLst/>
              <a:cxnLst>
                <a:cxn ang="0">
                  <a:pos x="T0" y="T1"/>
                </a:cxn>
                <a:cxn ang="0">
                  <a:pos x="T2" y="T3"/>
                </a:cxn>
                <a:cxn ang="0">
                  <a:pos x="T4" y="T5"/>
                </a:cxn>
                <a:cxn ang="0">
                  <a:pos x="T6" y="T7"/>
                </a:cxn>
                <a:cxn ang="0">
                  <a:pos x="T8" y="T9"/>
                </a:cxn>
                <a:cxn ang="0">
                  <a:pos x="T10" y="T11"/>
                </a:cxn>
                <a:cxn ang="0">
                  <a:pos x="T12" y="T13"/>
                </a:cxn>
              </a:cxnLst>
              <a:rect l="0" t="0" r="r" b="b"/>
              <a:pathLst>
                <a:path w="149" h="194">
                  <a:moveTo>
                    <a:pt x="12" y="19"/>
                  </a:moveTo>
                  <a:lnTo>
                    <a:pt x="0" y="0"/>
                  </a:lnTo>
                  <a:lnTo>
                    <a:pt x="0" y="0"/>
                  </a:lnTo>
                  <a:lnTo>
                    <a:pt x="0" y="194"/>
                  </a:lnTo>
                  <a:lnTo>
                    <a:pt x="35" y="194"/>
                  </a:lnTo>
                  <a:lnTo>
                    <a:pt x="149" y="194"/>
                  </a:lnTo>
                  <a:lnTo>
                    <a:pt x="12"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grpSp>
      <p:sp>
        <p:nvSpPr>
          <p:cNvPr id="37" name="Rectangle 36"/>
          <p:cNvSpPr/>
          <p:nvPr userDrawn="1"/>
        </p:nvSpPr>
        <p:spPr>
          <a:xfrm>
            <a:off x="8172761" y="5791200"/>
            <a:ext cx="4016065" cy="522514"/>
          </a:xfrm>
          <a:prstGeom prst="rect">
            <a:avLst/>
          </a:prstGeom>
          <a:solidFill>
            <a:srgbClr val="F265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497" tIns="91416" rIns="1828324" bIns="91416" numCol="1" spcCol="0" rtlCol="0" fromWordArt="0" anchor="ctr" anchorCtr="0" forceAA="0" compatLnSpc="1">
            <a:prstTxWarp prst="textNoShape">
              <a:avLst/>
            </a:prstTxWarp>
            <a:noAutofit/>
          </a:bodyPr>
          <a:lstStyle/>
          <a:p>
            <a:pPr lvl="0" algn="r"/>
            <a:endParaRPr lang="en-US" sz="2399" dirty="0">
              <a:latin typeface="Segoe Pro Semibold" panose="020B0702040504020203" pitchFamily="34" charset="0"/>
            </a:endParaRPr>
          </a:p>
        </p:txBody>
      </p:sp>
      <p:sp>
        <p:nvSpPr>
          <p:cNvPr id="39" name="Text Placeholder 38"/>
          <p:cNvSpPr>
            <a:spLocks noGrp="1"/>
          </p:cNvSpPr>
          <p:nvPr>
            <p:ph type="body" sz="quarter" idx="10" hasCustomPrompt="1"/>
          </p:nvPr>
        </p:nvSpPr>
        <p:spPr>
          <a:xfrm>
            <a:off x="8424829" y="5791200"/>
            <a:ext cx="2189606" cy="522514"/>
          </a:xfrm>
        </p:spPr>
        <p:txBody>
          <a:bodyPr lIns="0" tIns="0" rIns="0" bIns="0" anchor="ctr">
            <a:noAutofit/>
          </a:bodyPr>
          <a:lstStyle>
            <a:lvl1pPr algn="r">
              <a:defRPr sz="2799">
                <a:solidFill>
                  <a:schemeClr val="bg1"/>
                </a:solidFill>
                <a:latin typeface="Segoe Pro Semibold" panose="020B0702040504020203" pitchFamily="34" charset="0"/>
              </a:defRPr>
            </a:lvl1pPr>
          </a:lstStyle>
          <a:p>
            <a:pPr lvl="0"/>
            <a:r>
              <a:rPr lang="en-US" dirty="0"/>
              <a:t>Text</a:t>
            </a:r>
          </a:p>
        </p:txBody>
      </p:sp>
      <p:pic>
        <p:nvPicPr>
          <p:cNvPr id="43" name="Graphic 42"/>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652382" y="5772150"/>
            <a:ext cx="1240033" cy="541564"/>
          </a:xfrm>
          <a:prstGeom prst="rect">
            <a:avLst/>
          </a:prstGeom>
        </p:spPr>
      </p:pic>
      <p:pic>
        <p:nvPicPr>
          <p:cNvPr id="38" name="Picture 37"/>
          <p:cNvPicPr>
            <a:picLocks noChangeAspect="1"/>
          </p:cNvPicPr>
          <p:nvPr userDrawn="1"/>
        </p:nvPicPr>
        <p:blipFill>
          <a:blip r:embed="rId9">
            <a:biLevel thresh="25000"/>
          </a:blip>
          <a:stretch>
            <a:fillRect/>
          </a:stretch>
        </p:blipFill>
        <p:spPr>
          <a:xfrm>
            <a:off x="304721" y="6248403"/>
            <a:ext cx="1409229" cy="304799"/>
          </a:xfrm>
          <a:prstGeom prst="rect">
            <a:avLst/>
          </a:prstGeom>
        </p:spPr>
      </p:pic>
    </p:spTree>
    <p:extLst>
      <p:ext uri="{BB962C8B-B14F-4D97-AF65-F5344CB8AC3E}">
        <p14:creationId xmlns:p14="http://schemas.microsoft.com/office/powerpoint/2010/main" val="2498800963"/>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_Microsoft logo 4">
    <p:spTree>
      <p:nvGrpSpPr>
        <p:cNvPr id="1" name=""/>
        <p:cNvGrpSpPr/>
        <p:nvPr/>
      </p:nvGrpSpPr>
      <p:grpSpPr>
        <a:xfrm>
          <a:off x="0" y="0"/>
          <a:ext cx="0" cy="0"/>
          <a:chOff x="0" y="0"/>
          <a:chExt cx="0" cy="0"/>
        </a:xfrm>
      </p:grpSpPr>
      <p:pic>
        <p:nvPicPr>
          <p:cNvPr id="19" name="Picture 18"/>
          <p:cNvPicPr>
            <a:picLocks noChangeAspect="1"/>
          </p:cNvPicPr>
          <p:nvPr userDrawn="1"/>
        </p:nvPicPr>
        <p:blipFill rotWithShape="1">
          <a:blip r:embed="rId4"/>
          <a:srcRect l="10417" t="6705" r="5809" b="2028"/>
          <a:stretch/>
        </p:blipFill>
        <p:spPr>
          <a:xfrm>
            <a:off x="0" y="0"/>
            <a:ext cx="12188825" cy="6858000"/>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0420"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2" name="Rectangle 11"/>
          <p:cNvSpPr/>
          <p:nvPr userDrawn="1"/>
        </p:nvSpPr>
        <p:spPr>
          <a:xfrm>
            <a:off x="-1" y="2921000"/>
            <a:ext cx="12188826" cy="1016000"/>
          </a:xfrm>
          <a:prstGeom prst="rect">
            <a:avLst/>
          </a:prstGeom>
          <a:solidFill>
            <a:srgbClr val="F265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497" tIns="91416" rIns="1828324" bIns="91416" numCol="1" spcCol="0" rtlCol="0" fromWordArt="0" anchor="ctr" anchorCtr="0" forceAA="0" compatLnSpc="1">
            <a:prstTxWarp prst="textNoShape">
              <a:avLst/>
            </a:prstTxWarp>
            <a:noAutofit/>
          </a:bodyPr>
          <a:lstStyle/>
          <a:p>
            <a:pPr lvl="0" algn="r"/>
            <a:endParaRPr lang="en-US" sz="2399" dirty="0">
              <a:latin typeface="Segoe Pro Semibold" panose="020B0702040504020203" pitchFamily="34" charset="0"/>
            </a:endParaRPr>
          </a:p>
        </p:txBody>
      </p:sp>
      <p:sp>
        <p:nvSpPr>
          <p:cNvPr id="15" name="Text Placeholder 14"/>
          <p:cNvSpPr>
            <a:spLocks noGrp="1"/>
          </p:cNvSpPr>
          <p:nvPr>
            <p:ph type="body" sz="quarter" idx="10" hasCustomPrompt="1"/>
          </p:nvPr>
        </p:nvSpPr>
        <p:spPr>
          <a:xfrm>
            <a:off x="2399675" y="2921000"/>
            <a:ext cx="4278785" cy="1016000"/>
          </a:xfrm>
        </p:spPr>
        <p:txBody>
          <a:bodyPr anchor="ctr">
            <a:normAutofit/>
          </a:bodyPr>
          <a:lstStyle>
            <a:lvl1pPr>
              <a:defRPr sz="4799" cap="all" baseline="0">
                <a:solidFill>
                  <a:schemeClr val="bg1"/>
                </a:solidFill>
                <a:latin typeface="Segoe Pro Semibold" panose="020B0702040504020203" pitchFamily="34" charset="0"/>
              </a:defRPr>
            </a:lvl1pPr>
            <a:lvl2pPr>
              <a:defRPr cap="all" baseline="0"/>
            </a:lvl2pPr>
            <a:lvl3pPr>
              <a:defRPr cap="all" baseline="0"/>
            </a:lvl3pPr>
            <a:lvl4pPr>
              <a:defRPr cap="all" baseline="0"/>
            </a:lvl4pPr>
            <a:lvl5pPr>
              <a:defRPr cap="all" baseline="0"/>
            </a:lvl5pPr>
          </a:lstStyle>
          <a:p>
            <a:pPr lvl="0"/>
            <a:r>
              <a:rPr lang="en-US" dirty="0"/>
              <a:t>Text</a:t>
            </a:r>
          </a:p>
        </p:txBody>
      </p:sp>
      <p:pic>
        <p:nvPicPr>
          <p:cNvPr id="18" name="Graphic 17"/>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393455" y="3160628"/>
            <a:ext cx="1777680" cy="776372"/>
          </a:xfrm>
          <a:prstGeom prst="rect">
            <a:avLst/>
          </a:prstGeom>
        </p:spPr>
      </p:pic>
      <p:pic>
        <p:nvPicPr>
          <p:cNvPr id="7" name="Picture 6"/>
          <p:cNvPicPr>
            <a:picLocks noChangeAspect="1"/>
          </p:cNvPicPr>
          <p:nvPr userDrawn="1"/>
        </p:nvPicPr>
        <p:blipFill>
          <a:blip r:embed="rId9">
            <a:biLevel thresh="25000"/>
          </a:blip>
          <a:stretch>
            <a:fillRect/>
          </a:stretch>
        </p:blipFill>
        <p:spPr>
          <a:xfrm>
            <a:off x="304721" y="6248403"/>
            <a:ext cx="1409229" cy="304799"/>
          </a:xfrm>
          <a:prstGeom prst="rect">
            <a:avLst/>
          </a:prstGeom>
        </p:spPr>
      </p:pic>
    </p:spTree>
    <p:extLst>
      <p:ext uri="{BB962C8B-B14F-4D97-AF65-F5344CB8AC3E}">
        <p14:creationId xmlns:p14="http://schemas.microsoft.com/office/powerpoint/2010/main" val="2467448838"/>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057400"/>
            <a:ext cx="5486400" cy="2743426"/>
          </a:xfrm>
          <a:noFill/>
        </p:spPr>
        <p:txBody>
          <a:bodyPr vert="horz" lIns="137160" tIns="137160" rIns="137160" bIns="137160" rtlCol="0" anchor="t" anchorCtr="0">
            <a:normAutofit/>
          </a:bodyPr>
          <a:lstStyle>
            <a:lvl1pPr>
              <a:defRPr lang="en-US" sz="4399"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13" y="4800600"/>
            <a:ext cx="5486400" cy="914400"/>
          </a:xfrm>
        </p:spPr>
        <p:txBody>
          <a:bodyPr lIns="137160" tIns="137160" rIns="137160" bIns="137160">
            <a:noAutofit/>
          </a:bodyPr>
          <a:lstStyle>
            <a:lvl1pPr marL="0" indent="0">
              <a:spcBef>
                <a:spcPts val="0"/>
              </a:spcBef>
              <a:buNone/>
              <a:defRPr sz="1999">
                <a:solidFill>
                  <a:schemeClr val="bg1"/>
                </a:solidFill>
              </a:defRPr>
            </a:lvl1pPr>
            <a:lvl2pPr marL="281589" indent="0">
              <a:buNone/>
              <a:defRPr sz="1999">
                <a:solidFill>
                  <a:schemeClr val="bg1"/>
                </a:solidFill>
              </a:defRPr>
            </a:lvl2pPr>
            <a:lvl3pPr marL="588299" indent="0">
              <a:buNone/>
              <a:defRPr sz="1999">
                <a:solidFill>
                  <a:schemeClr val="bg1"/>
                </a:solidFill>
              </a:defRPr>
            </a:lvl3pPr>
            <a:lvl4pPr marL="869889" indent="0">
              <a:buNone/>
              <a:defRPr sz="1999">
                <a:solidFill>
                  <a:schemeClr val="bg1"/>
                </a:solidFill>
              </a:defRPr>
            </a:lvl4pPr>
            <a:lvl5pPr marL="1105208" indent="0">
              <a:buNone/>
              <a:defRPr sz="1999">
                <a:solidFill>
                  <a:schemeClr val="bg1"/>
                </a:solidFill>
              </a:defRPr>
            </a:lvl5pPr>
          </a:lstStyle>
          <a:p>
            <a:pPr lvl="0"/>
            <a:r>
              <a:rPr lang="en-US"/>
              <a:t>Speaker Name</a:t>
            </a:r>
          </a:p>
        </p:txBody>
      </p:sp>
      <p:sp>
        <p:nvSpPr>
          <p:cNvPr id="10" name="TextBox 9"/>
          <p:cNvSpPr txBox="1"/>
          <p:nvPr/>
        </p:nvSpPr>
        <p:spPr>
          <a:xfrm>
            <a:off x="7618016" y="381000"/>
            <a:ext cx="3809008" cy="1905000"/>
          </a:xfrm>
          <a:prstGeom prst="rect">
            <a:avLst/>
          </a:prstGeom>
        </p:spPr>
        <p:txBody>
          <a:bodyPr vert="horz" wrap="square" lIns="108793" tIns="54397" rIns="108793" bIns="54397" rtlCol="0" anchor="ctr">
            <a:normAutofit/>
          </a:bodyPr>
          <a:lstStyle/>
          <a:p>
            <a:pPr defTabSz="1087779"/>
            <a:r>
              <a:rPr lang="en-US" sz="1999">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2940" y="228600"/>
            <a:ext cx="1946596" cy="716042"/>
          </a:xfrm>
          <a:prstGeom prst="rect">
            <a:avLst/>
          </a:prstGeom>
        </p:spPr>
      </p:pic>
      <p:sp>
        <p:nvSpPr>
          <p:cNvPr id="15" name="TextBox 14"/>
          <p:cNvSpPr txBox="1"/>
          <p:nvPr/>
        </p:nvSpPr>
        <p:spPr>
          <a:xfrm>
            <a:off x="7618016" y="381000"/>
            <a:ext cx="3809008" cy="1905000"/>
          </a:xfrm>
          <a:prstGeom prst="rect">
            <a:avLst/>
          </a:prstGeom>
        </p:spPr>
        <p:txBody>
          <a:bodyPr vert="horz" wrap="square" lIns="108793" tIns="54397" rIns="108793" bIns="54397" rtlCol="0" anchor="ctr">
            <a:normAutofit/>
          </a:bodyPr>
          <a:lstStyle/>
          <a:p>
            <a:pPr defTabSz="1087779"/>
            <a:r>
              <a:rPr lang="en-US" sz="1999">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16" y="198357"/>
            <a:ext cx="1946596" cy="716042"/>
          </a:xfrm>
          <a:prstGeom prst="rect">
            <a:avLst/>
          </a:prstGeom>
        </p:spPr>
      </p:pic>
      <p:sp>
        <p:nvSpPr>
          <p:cNvPr id="14" name="TextBox 13"/>
          <p:cNvSpPr txBox="1"/>
          <p:nvPr userDrawn="1"/>
        </p:nvSpPr>
        <p:spPr>
          <a:xfrm>
            <a:off x="7618016" y="381000"/>
            <a:ext cx="3809008" cy="1905000"/>
          </a:xfrm>
          <a:prstGeom prst="rect">
            <a:avLst/>
          </a:prstGeom>
        </p:spPr>
        <p:txBody>
          <a:bodyPr vert="horz" wrap="square" lIns="108793" tIns="54397" rIns="108793" bIns="54397" rtlCol="0" anchor="ctr">
            <a:normAutofit/>
          </a:bodyPr>
          <a:lstStyle/>
          <a:p>
            <a:pPr defTabSz="1087779"/>
            <a:r>
              <a:rPr lang="en-US" sz="1999">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16" y="198357"/>
            <a:ext cx="1946596" cy="716042"/>
          </a:xfrm>
          <a:prstGeom prst="rect">
            <a:avLst/>
          </a:prstGeom>
        </p:spPr>
      </p:pic>
    </p:spTree>
    <p:extLst>
      <p:ext uri="{BB962C8B-B14F-4D97-AF65-F5344CB8AC3E}">
        <p14:creationId xmlns:p14="http://schemas.microsoft.com/office/powerpoint/2010/main" val="256523566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420401" y="274207"/>
            <a:ext cx="1946596" cy="716043"/>
          </a:xfrm>
          <a:prstGeom prst="rect">
            <a:avLst/>
          </a:prstGeom>
        </p:spPr>
      </p:pic>
      <p:sp>
        <p:nvSpPr>
          <p:cNvPr id="13" name="Rectangle 12"/>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057400"/>
            <a:ext cx="5486400" cy="2743426"/>
          </a:xfrm>
          <a:noFill/>
        </p:spPr>
        <p:txBody>
          <a:bodyPr vert="horz" lIns="137160" tIns="137160" rIns="137160" bIns="137160" rtlCol="0" anchor="t" anchorCtr="0">
            <a:normAutofit/>
          </a:bodyPr>
          <a:lstStyle>
            <a:lvl1pPr>
              <a:defRPr lang="en-US" sz="4399"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13" y="4800600"/>
            <a:ext cx="5486400" cy="914400"/>
          </a:xfrm>
        </p:spPr>
        <p:txBody>
          <a:bodyPr lIns="137160" tIns="137160" rIns="137160" bIns="137160">
            <a:noAutofit/>
          </a:bodyPr>
          <a:lstStyle>
            <a:lvl1pPr marL="0" indent="0">
              <a:spcBef>
                <a:spcPts val="0"/>
              </a:spcBef>
              <a:buNone/>
              <a:defRPr sz="1999">
                <a:solidFill>
                  <a:schemeClr val="bg1"/>
                </a:solidFill>
              </a:defRPr>
            </a:lvl1pPr>
            <a:lvl2pPr marL="281589" indent="0">
              <a:buNone/>
              <a:defRPr sz="1999">
                <a:solidFill>
                  <a:schemeClr val="bg1"/>
                </a:solidFill>
              </a:defRPr>
            </a:lvl2pPr>
            <a:lvl3pPr marL="588299" indent="0">
              <a:buNone/>
              <a:defRPr sz="1999">
                <a:solidFill>
                  <a:schemeClr val="bg1"/>
                </a:solidFill>
              </a:defRPr>
            </a:lvl3pPr>
            <a:lvl4pPr marL="869889" indent="0">
              <a:buNone/>
              <a:defRPr sz="1999">
                <a:solidFill>
                  <a:schemeClr val="bg1"/>
                </a:solidFill>
              </a:defRPr>
            </a:lvl4pPr>
            <a:lvl5pPr marL="1105208" indent="0">
              <a:buNone/>
              <a:defRPr sz="1999">
                <a:solidFill>
                  <a:schemeClr val="bg1"/>
                </a:solidFill>
              </a:defRPr>
            </a:lvl5pPr>
          </a:lstStyle>
          <a:p>
            <a:pPr lvl="0"/>
            <a:r>
              <a:rPr lang="en-US"/>
              <a:t>Speaker Name</a:t>
            </a:r>
          </a:p>
        </p:txBody>
      </p:sp>
      <p:pic>
        <p:nvPicPr>
          <p:cNvPr id="14" name="Picture 1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1916" y="200779"/>
            <a:ext cx="1946593" cy="716042"/>
          </a:xfrm>
          <a:prstGeom prst="rect">
            <a:avLst/>
          </a:prstGeom>
        </p:spPr>
      </p:pic>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420401" y="274207"/>
            <a:ext cx="1946596" cy="716043"/>
          </a:xfrm>
          <a:prstGeom prst="rect">
            <a:avLst/>
          </a:prstGeom>
        </p:spPr>
      </p:pic>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1916" y="200779"/>
            <a:ext cx="1946593" cy="716042"/>
          </a:xfrm>
          <a:prstGeom prst="rect">
            <a:avLst/>
          </a:prstGeom>
        </p:spPr>
      </p:pic>
    </p:spTree>
    <p:extLst>
      <p:ext uri="{BB962C8B-B14F-4D97-AF65-F5344CB8AC3E}">
        <p14:creationId xmlns:p14="http://schemas.microsoft.com/office/powerpoint/2010/main" val="170256312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6"/>
            <a:ext cx="12188825"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a:t>Click to add subtitle</a:t>
            </a:r>
          </a:p>
        </p:txBody>
      </p:sp>
      <p:sp>
        <p:nvSpPr>
          <p:cNvPr id="16" name="Text Placeholder 15"/>
          <p:cNvSpPr>
            <a:spLocks noGrp="1"/>
          </p:cNvSpPr>
          <p:nvPr>
            <p:ph type="body" sz="quarter" idx="14"/>
          </p:nvPr>
        </p:nvSpPr>
        <p:spPr>
          <a:xfrm>
            <a:off x="150813" y="1600200"/>
            <a:ext cx="11887200"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
        <p:nvSpPr>
          <p:cNvPr id="20" name="Footer Placeholder 19"/>
          <p:cNvSpPr>
            <a:spLocks noGrp="1"/>
          </p:cNvSpPr>
          <p:nvPr>
            <p:ph type="ftr" sz="quarter" idx="16"/>
          </p:nvPr>
        </p:nvSpPr>
        <p:spPr/>
        <p:txBody>
          <a:bodyPr/>
          <a:lstStyle/>
          <a:p>
            <a:endParaRPr lang="en-US">
              <a:solidFill>
                <a:srgbClr val="505050"/>
              </a:solidFill>
            </a:endParaRPr>
          </a:p>
        </p:txBody>
      </p:sp>
    </p:spTree>
    <p:extLst>
      <p:ext uri="{BB962C8B-B14F-4D97-AF65-F5344CB8AC3E}">
        <p14:creationId xmlns:p14="http://schemas.microsoft.com/office/powerpoint/2010/main" val="978733185"/>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p:txBody>
          <a:bodyPr/>
          <a:lstStyle/>
          <a:p>
            <a:endParaRPr lang="en-US">
              <a:solidFill>
                <a:srgbClr val="505050"/>
              </a:solidFill>
            </a:endParaRPr>
          </a:p>
        </p:txBody>
      </p:sp>
      <p:sp>
        <p:nvSpPr>
          <p:cNvPr id="5" name="Slide Number Placeholder 4"/>
          <p:cNvSpPr>
            <a:spLocks noGrp="1"/>
          </p:cNvSpPr>
          <p:nvPr>
            <p:ph type="sldNum" sz="quarter" idx="12"/>
          </p:nvPr>
        </p:nvSpPr>
        <p:spPr>
          <a:xfrm>
            <a:off x="11427024" y="6478589"/>
            <a:ext cx="761800" cy="379413"/>
          </a:xfrm>
          <a:prstGeom prst="rect">
            <a:avLst/>
          </a:prstGeom>
        </p:spPr>
        <p:txBody>
          <a:bodyPr/>
          <a:lstStyle/>
          <a:p>
            <a:fld id="{6A4C1A4A-E5E6-4CC1-B72C-A20A4EB3E2D2}" type="slidenum">
              <a:rPr lang="en-US" smtClean="0">
                <a:solidFill>
                  <a:srgbClr val="505050"/>
                </a:solidFill>
              </a:rPr>
              <a:pPr/>
              <a:t>‹#›</a:t>
            </a:fld>
            <a:endParaRPr lang="en-US">
              <a:solidFill>
                <a:srgbClr val="505050"/>
              </a:solidFill>
            </a:endParaRPr>
          </a:p>
        </p:txBody>
      </p:sp>
      <p:sp>
        <p:nvSpPr>
          <p:cNvPr id="6" name="Text Placeholder 5"/>
          <p:cNvSpPr>
            <a:spLocks noGrp="1"/>
          </p:cNvSpPr>
          <p:nvPr>
            <p:ph type="body" sz="quarter" idx="13" hasCustomPrompt="1"/>
          </p:nvPr>
        </p:nvSpPr>
        <p:spPr>
          <a:xfrm>
            <a:off x="1" y="573606"/>
            <a:ext cx="12188825"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a:t>Click to add subtitle</a:t>
            </a:r>
          </a:p>
        </p:txBody>
      </p:sp>
    </p:spTree>
    <p:extLst>
      <p:ext uri="{BB962C8B-B14F-4D97-AF65-F5344CB8AC3E}">
        <p14:creationId xmlns:p14="http://schemas.microsoft.com/office/powerpoint/2010/main" val="2534061065"/>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150813" y="1600200"/>
            <a:ext cx="11887200"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589" indent="0">
              <a:buNone/>
              <a:defRPr>
                <a:solidFill>
                  <a:schemeClr val="tx1"/>
                </a:solidFill>
                <a:latin typeface="Courier New" pitchFamily="49" charset="0"/>
                <a:cs typeface="Courier New" pitchFamily="49" charset="0"/>
              </a:defRPr>
            </a:lvl2pPr>
            <a:lvl3pPr marL="588299" indent="0">
              <a:buNone/>
              <a:defRPr>
                <a:solidFill>
                  <a:schemeClr val="tx1"/>
                </a:solidFill>
                <a:latin typeface="Courier New" pitchFamily="49" charset="0"/>
                <a:cs typeface="Courier New" pitchFamily="49" charset="0"/>
              </a:defRPr>
            </a:lvl3pPr>
            <a:lvl4pPr marL="869889" indent="0">
              <a:buNone/>
              <a:defRPr>
                <a:solidFill>
                  <a:schemeClr val="tx1"/>
                </a:solidFill>
                <a:latin typeface="Courier New" pitchFamily="49" charset="0"/>
                <a:cs typeface="Courier New" pitchFamily="49" charset="0"/>
              </a:defRPr>
            </a:lvl4pPr>
            <a:lvl5pPr marL="1105208" indent="0">
              <a:buNone/>
              <a:defRPr>
                <a:solidFill>
                  <a:schemeClr val="tx1"/>
                </a:solidFill>
                <a:latin typeface="Courier New" pitchFamily="49" charset="0"/>
                <a:cs typeface="Courier New" pitchFamily="49"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nvPr>
        </p:nvSpPr>
        <p:spPr>
          <a:xfrm>
            <a:off x="1" y="573606"/>
            <a:ext cx="12188825"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a:t>Click to add subtitle</a:t>
            </a:r>
          </a:p>
        </p:txBody>
      </p:sp>
      <p:sp>
        <p:nvSpPr>
          <p:cNvPr id="6" name="Footer Placeholder 5"/>
          <p:cNvSpPr>
            <a:spLocks noGrp="1"/>
          </p:cNvSpPr>
          <p:nvPr>
            <p:ph type="ftr" sz="quarter" idx="16"/>
          </p:nvPr>
        </p:nvSpPr>
        <p:spPr/>
        <p:txBody>
          <a:bodyPr/>
          <a:lstStyle/>
          <a:p>
            <a:endParaRPr lang="en-US">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227975679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_EXAMPLE ONLY: Title with photo">
    <p:spTree>
      <p:nvGrpSpPr>
        <p:cNvPr id="1" name=""/>
        <p:cNvGrpSpPr/>
        <p:nvPr/>
      </p:nvGrpSpPr>
      <p:grpSpPr>
        <a:xfrm>
          <a:off x="0" y="0"/>
          <a:ext cx="0" cy="0"/>
          <a:chOff x="0" y="0"/>
          <a:chExt cx="0" cy="0"/>
        </a:xfrm>
      </p:grpSpPr>
      <p:pic>
        <p:nvPicPr>
          <p:cNvPr id="16" name="Picture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216" y="198357"/>
            <a:ext cx="1946596" cy="716042"/>
          </a:xfrm>
          <a:prstGeom prst="rect">
            <a:avLst/>
          </a:prstGeom>
        </p:spPr>
      </p:pic>
      <p:sp>
        <p:nvSpPr>
          <p:cNvPr id="14" name="Rectangle 13"/>
          <p:cNvSpPr/>
          <p:nvPr userDrawn="1"/>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057400"/>
            <a:ext cx="5486400" cy="2743426"/>
          </a:xfrm>
          <a:noFill/>
        </p:spPr>
        <p:txBody>
          <a:bodyPr vert="horz" lIns="137160" tIns="182880" rIns="146304" bIns="91440" rtlCol="0" anchor="t" anchorCtr="0">
            <a:normAutofit/>
          </a:bodyPr>
          <a:lstStyle>
            <a:lvl1pPr>
              <a:defRPr lang="en-US" sz="4399"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13" y="4800600"/>
            <a:ext cx="5486400" cy="914400"/>
          </a:xfrm>
        </p:spPr>
        <p:txBody>
          <a:bodyPr lIns="137160" tIns="91440">
            <a:noAutofit/>
          </a:bodyPr>
          <a:lstStyle>
            <a:lvl1pPr marL="0" indent="0">
              <a:spcBef>
                <a:spcPts val="0"/>
              </a:spcBef>
              <a:buNone/>
              <a:defRPr sz="1999">
                <a:solidFill>
                  <a:schemeClr val="bg1"/>
                </a:solidFill>
              </a:defRPr>
            </a:lvl1pPr>
            <a:lvl2pPr marL="281589" indent="0">
              <a:buNone/>
              <a:defRPr sz="1999">
                <a:solidFill>
                  <a:schemeClr val="bg1"/>
                </a:solidFill>
              </a:defRPr>
            </a:lvl2pPr>
            <a:lvl3pPr marL="588299" indent="0">
              <a:buNone/>
              <a:defRPr sz="1999">
                <a:solidFill>
                  <a:schemeClr val="bg1"/>
                </a:solidFill>
              </a:defRPr>
            </a:lvl3pPr>
            <a:lvl4pPr marL="869889" indent="0">
              <a:buNone/>
              <a:defRPr sz="1999">
                <a:solidFill>
                  <a:schemeClr val="bg1"/>
                </a:solidFill>
              </a:defRPr>
            </a:lvl4pPr>
            <a:lvl5pPr marL="1105208" indent="0">
              <a:buNone/>
              <a:defRPr sz="1999">
                <a:solidFill>
                  <a:schemeClr val="bg1"/>
                </a:solidFill>
              </a:defRPr>
            </a:lvl5pPr>
          </a:lstStyle>
          <a:p>
            <a:pPr lvl="0"/>
            <a:r>
              <a:rPr lang="en-US"/>
              <a:t>Speaker Name</a:t>
            </a:r>
          </a:p>
        </p:txBody>
      </p:sp>
    </p:spTree>
    <p:extLst>
      <p:ext uri="{BB962C8B-B14F-4D97-AF65-F5344CB8AC3E}">
        <p14:creationId xmlns:p14="http://schemas.microsoft.com/office/powerpoint/2010/main" val="2955476963"/>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534290463"/>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14" y="1143002"/>
            <a:ext cx="1005839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50812" y="3877278"/>
            <a:ext cx="10058401" cy="1837723"/>
          </a:xfrm>
          <a:noFill/>
        </p:spPr>
        <p:txBody>
          <a:bodyPr lIns="137160" tIns="137160" rIns="137160" bIns="137160">
            <a:noAutofit/>
          </a:bodyPr>
          <a:lstStyle>
            <a:lvl1pPr marL="0" indent="0">
              <a:spcBef>
                <a:spcPts val="0"/>
              </a:spcBef>
              <a:buNone/>
              <a:defRPr sz="2799"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52277696"/>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14"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14"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14" y="1143001"/>
            <a:ext cx="1005839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a:t>Video title</a:t>
            </a:r>
          </a:p>
        </p:txBody>
      </p:sp>
      <p:sp>
        <p:nvSpPr>
          <p:cNvPr id="5" name="Text Placeholder 4"/>
          <p:cNvSpPr>
            <a:spLocks noGrp="1"/>
          </p:cNvSpPr>
          <p:nvPr>
            <p:ph type="body" sz="quarter" idx="12" hasCustomPrompt="1"/>
          </p:nvPr>
        </p:nvSpPr>
        <p:spPr>
          <a:xfrm>
            <a:off x="150813" y="3886200"/>
            <a:ext cx="10058400" cy="1828800"/>
          </a:xfrm>
          <a:noFill/>
        </p:spPr>
        <p:txBody>
          <a:bodyPr lIns="137160" tIns="137160" rIns="137160" bIns="137160">
            <a:noAutofit/>
          </a:bodyPr>
          <a:lstStyle>
            <a:lvl1pPr marL="0" indent="0">
              <a:spcBef>
                <a:spcPts val="0"/>
              </a:spcBef>
              <a:buNone/>
              <a:defRPr sz="2799"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14"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68121878"/>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FFFFFF"/>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7635438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FFFFFF"/>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7641998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5563370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9187395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2638325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chemeClr val="tx1"/>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920158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27012" y="1600200"/>
            <a:ext cx="11353800"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1" y="6238878"/>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99"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157701071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3_EXAMPLE ONLY: Title with photo">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1916" y="200779"/>
            <a:ext cx="1946596" cy="716042"/>
          </a:xfrm>
          <a:prstGeom prst="rect">
            <a:avLst/>
          </a:prstGeom>
        </p:spPr>
      </p:pic>
      <p:sp>
        <p:nvSpPr>
          <p:cNvPr id="17" name="Rectangle 16"/>
          <p:cNvSpPr/>
          <p:nvPr userDrawn="1"/>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057400"/>
            <a:ext cx="5486400" cy="2743426"/>
          </a:xfrm>
          <a:noFill/>
        </p:spPr>
        <p:txBody>
          <a:bodyPr vert="horz" lIns="137160" tIns="182880" rIns="146304" bIns="91440" rtlCol="0" anchor="t" anchorCtr="0">
            <a:normAutofit/>
          </a:bodyPr>
          <a:lstStyle>
            <a:lvl1pPr>
              <a:defRPr lang="en-US" sz="4399"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13" y="4800600"/>
            <a:ext cx="5486400" cy="914400"/>
          </a:xfrm>
        </p:spPr>
        <p:txBody>
          <a:bodyPr lIns="137160" tIns="91440">
            <a:noAutofit/>
          </a:bodyPr>
          <a:lstStyle>
            <a:lvl1pPr marL="0" indent="0">
              <a:spcBef>
                <a:spcPts val="0"/>
              </a:spcBef>
              <a:buNone/>
              <a:defRPr sz="1999">
                <a:solidFill>
                  <a:schemeClr val="bg1"/>
                </a:solidFill>
              </a:defRPr>
            </a:lvl1pPr>
            <a:lvl2pPr marL="281589" indent="0">
              <a:buNone/>
              <a:defRPr sz="1999">
                <a:solidFill>
                  <a:schemeClr val="bg1"/>
                </a:solidFill>
              </a:defRPr>
            </a:lvl2pPr>
            <a:lvl3pPr marL="588299" indent="0">
              <a:buNone/>
              <a:defRPr sz="1999">
                <a:solidFill>
                  <a:schemeClr val="bg1"/>
                </a:solidFill>
              </a:defRPr>
            </a:lvl3pPr>
            <a:lvl4pPr marL="869889" indent="0">
              <a:buNone/>
              <a:defRPr sz="1999">
                <a:solidFill>
                  <a:schemeClr val="bg1"/>
                </a:solidFill>
              </a:defRPr>
            </a:lvl4pPr>
            <a:lvl5pPr marL="1105208" indent="0">
              <a:buNone/>
              <a:defRPr sz="1999">
                <a:solidFill>
                  <a:schemeClr val="bg1"/>
                </a:solidFill>
              </a:defRPr>
            </a:lvl5pPr>
          </a:lstStyle>
          <a:p>
            <a:pPr lvl="0"/>
            <a:r>
              <a:rPr lang="en-US"/>
              <a:t>Speaker Name</a:t>
            </a:r>
          </a:p>
        </p:txBody>
      </p:sp>
    </p:spTree>
    <p:extLst>
      <p:ext uri="{BB962C8B-B14F-4D97-AF65-F5344CB8AC3E}">
        <p14:creationId xmlns:p14="http://schemas.microsoft.com/office/powerpoint/2010/main" val="1141551419"/>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defTabSz="1087779"/>
            <a:endParaRPr lang="en-US" sz="2199">
              <a:solidFill>
                <a:prstClr val="white"/>
              </a:solidFill>
            </a:endParaRPr>
          </a:p>
        </p:txBody>
      </p:sp>
      <p:sp>
        <p:nvSpPr>
          <p:cNvPr id="4" name="Rectangle 3"/>
          <p:cNvSpPr/>
          <p:nvPr/>
        </p:nvSpPr>
        <p:spPr>
          <a:xfrm>
            <a:off x="1"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defTabSz="1087779"/>
            <a:endParaRPr lang="en-US" sz="2199">
              <a:solidFill>
                <a:prstClr val="white"/>
              </a:solidFill>
            </a:endParaRPr>
          </a:p>
        </p:txBody>
      </p:sp>
      <p:sp>
        <p:nvSpPr>
          <p:cNvPr id="8" name="Rectangle 7"/>
          <p:cNvSpPr/>
          <p:nvPr/>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defTabSz="1087779"/>
            <a:endParaRPr lang="en-US" sz="2199">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117" y="2899240"/>
            <a:ext cx="2880367" cy="1059525"/>
          </a:xfrm>
          <a:prstGeom prst="rect">
            <a:avLst/>
          </a:prstGeom>
        </p:spPr>
      </p:pic>
      <p:sp>
        <p:nvSpPr>
          <p:cNvPr id="6" name="Rectangle 5"/>
          <p:cNvSpPr/>
          <p:nvPr/>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defTabSz="1087779"/>
            <a:endParaRPr lang="en-US" sz="2199">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117" y="2899240"/>
            <a:ext cx="2880367" cy="1059525"/>
          </a:xfrm>
          <a:prstGeom prst="rect">
            <a:avLst/>
          </a:prstGeom>
        </p:spPr>
      </p:pic>
      <p:sp>
        <p:nvSpPr>
          <p:cNvPr id="9" name="Rectangle 8"/>
          <p:cNvSpPr/>
          <p:nvPr userDrawn="1"/>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defTabSz="1087779"/>
            <a:endParaRPr lang="en-US" sz="2199">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8759" y="2901952"/>
            <a:ext cx="2844267" cy="1046245"/>
          </a:xfrm>
          <a:prstGeom prst="rect">
            <a:avLst/>
          </a:prstGeom>
        </p:spPr>
      </p:pic>
    </p:spTree>
    <p:extLst>
      <p:ext uri="{BB962C8B-B14F-4D97-AF65-F5344CB8AC3E}">
        <p14:creationId xmlns:p14="http://schemas.microsoft.com/office/powerpoint/2010/main" val="1734285916"/>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Title only (alterna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1"/>
          <a:ext cx="1587" cy="1587"/>
        </p:xfrm>
        <a:graphic>
          <a:graphicData uri="http://schemas.openxmlformats.org/presentationml/2006/ole">
            <mc:AlternateContent xmlns:mc="http://schemas.openxmlformats.org/markup-compatibility/2006">
              <mc:Choice xmlns:v="urn:schemas-microsoft-com:vml" Requires="v">
                <p:oleObj spid="_x0000_s62468" name="think-cell Slide" r:id="rId11" imgW="270" imgH="270" progId="TCLayout.ActiveDocument.1">
                  <p:embed/>
                </p:oleObj>
              </mc:Choice>
              <mc:Fallback>
                <p:oleObj name="think-cell Slide" r:id="rId11" imgW="270" imgH="270" progId="TCLayout.ActiveDocument.1">
                  <p:embed/>
                  <p:pic>
                    <p:nvPicPr>
                      <p:cNvPr id="3" name="Object 2" hidden="1"/>
                      <p:cNvPicPr/>
                      <p:nvPr/>
                    </p:nvPicPr>
                    <p:blipFill>
                      <a:blip r:embed="rId12"/>
                      <a:stretch>
                        <a:fillRect/>
                      </a:stretch>
                    </p:blipFill>
                    <p:spPr>
                      <a:xfrm>
                        <a:off x="1589" y="1591"/>
                        <a:ext cx="1587" cy="1587"/>
                      </a:xfrm>
                      <a:prstGeom prst="rect">
                        <a:avLst/>
                      </a:prstGeom>
                    </p:spPr>
                  </p:pic>
                </p:oleObj>
              </mc:Fallback>
            </mc:AlternateContent>
          </a:graphicData>
        </a:graphic>
      </p:graphicFrame>
      <p:sp>
        <p:nvSpPr>
          <p:cNvPr id="12" name="Rectangle 11"/>
          <p:cNvSpPr/>
          <p:nvPr userDrawn="1">
            <p:custDataLst>
              <p:tags r:id="rId3"/>
            </p:custDataLst>
          </p:nvPr>
        </p:nvSpPr>
        <p:spPr>
          <a:xfrm>
            <a:off x="7" y="6478602"/>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30" tIns="38065" rIns="76130" bIns="38065" rtlCol="0" anchor="ctr"/>
          <a:lstStyle/>
          <a:p>
            <a:pPr algn="ctr" defTabSz="1087332"/>
            <a:endParaRPr lang="en-US" sz="2198">
              <a:solidFill>
                <a:prstClr val="white"/>
              </a:solidFill>
            </a:endParaRPr>
          </a:p>
        </p:txBody>
      </p:sp>
      <p:sp>
        <p:nvSpPr>
          <p:cNvPr id="2" name="Title 1"/>
          <p:cNvSpPr>
            <a:spLocks noGrp="1"/>
          </p:cNvSpPr>
          <p:nvPr>
            <p:ph type="title"/>
            <p:custDataLst>
              <p:tags r:id="rId4"/>
            </p:custDataLst>
          </p:nvPr>
        </p:nvSpPr>
        <p:spPr>
          <a:xfrm>
            <a:off x="761806" y="2"/>
            <a:ext cx="11427023" cy="646042"/>
          </a:xfrm>
        </p:spPr>
        <p:txBody>
          <a:bodyPr>
            <a:noAutofit/>
          </a:bodyPr>
          <a:lstStyle>
            <a:lvl1pPr marL="225357" indent="0">
              <a:defRPr sz="4399"/>
            </a:lvl1pPr>
          </a:lstStyle>
          <a:p>
            <a:endParaRPr lang="en-US"/>
          </a:p>
        </p:txBody>
      </p:sp>
      <p:sp>
        <p:nvSpPr>
          <p:cNvPr id="6" name="Text Placeholder 5"/>
          <p:cNvSpPr>
            <a:spLocks noGrp="1"/>
          </p:cNvSpPr>
          <p:nvPr>
            <p:ph type="body" sz="quarter" idx="12" hasCustomPrompt="1"/>
            <p:custDataLst>
              <p:tags r:id="rId5"/>
            </p:custDataLst>
          </p:nvPr>
        </p:nvSpPr>
        <p:spPr>
          <a:xfrm>
            <a:off x="761806" y="573619"/>
            <a:ext cx="11427023" cy="373063"/>
          </a:xfrm>
          <a:prstGeom prst="rect">
            <a:avLst/>
          </a:prstGeom>
        </p:spPr>
        <p:txBody>
          <a:bodyPr lIns="380851" tIns="53319" rIns="53319" bIns="53319">
            <a:noAutofit/>
          </a:bodyPr>
          <a:lstStyle>
            <a:lvl1pPr marL="0" indent="0">
              <a:buNone/>
              <a:defRPr sz="2798">
                <a:latin typeface="Segoe UI Light" pitchFamily="34" charset="0"/>
              </a:defRPr>
            </a:lvl1pPr>
            <a:lvl2pPr marL="281475" indent="0">
              <a:buNone/>
              <a:defRPr/>
            </a:lvl2pPr>
            <a:lvl3pPr marL="588058" indent="0">
              <a:buNone/>
              <a:defRPr/>
            </a:lvl3pPr>
            <a:lvl4pPr marL="869531" indent="0">
              <a:buNone/>
              <a:defRPr/>
            </a:lvl4pPr>
            <a:lvl5pPr marL="1104753" indent="0">
              <a:buNone/>
              <a:defRPr/>
            </a:lvl5pPr>
          </a:lstStyle>
          <a:p>
            <a:pPr lvl="0"/>
            <a:r>
              <a:rPr lang="en-US"/>
              <a:t>Click to add subtitle</a:t>
            </a:r>
          </a:p>
        </p:txBody>
      </p:sp>
      <p:sp>
        <p:nvSpPr>
          <p:cNvPr id="9" name="Rectangle 8"/>
          <p:cNvSpPr/>
          <p:nvPr userDrawn="1">
            <p:custDataLst>
              <p:tags r:id="rId6"/>
            </p:custDataLst>
          </p:nvPr>
        </p:nvSpPr>
        <p:spPr>
          <a:xfrm>
            <a:off x="1" y="1"/>
            <a:ext cx="761802" cy="68564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23" tIns="38062" rIns="76123" bIns="38062" rtlCol="0" anchor="ctr">
            <a:noAutofit/>
          </a:bodyPr>
          <a:lstStyle/>
          <a:p>
            <a:pPr algn="ctr" defTabSz="1087332"/>
            <a:endParaRPr lang="en-US" sz="2198">
              <a:solidFill>
                <a:prstClr val="white"/>
              </a:solidFill>
            </a:endParaRPr>
          </a:p>
        </p:txBody>
      </p:sp>
      <p:sp>
        <p:nvSpPr>
          <p:cNvPr id="15" name="Slide Number Placeholder 4"/>
          <p:cNvSpPr>
            <a:spLocks noGrp="1"/>
          </p:cNvSpPr>
          <p:nvPr>
            <p:ph type="sldNum" sz="quarter" idx="16"/>
            <p:custDataLst>
              <p:tags r:id="rId7"/>
            </p:custDataLst>
          </p:nvPr>
        </p:nvSpPr>
        <p:spPr>
          <a:xfrm>
            <a:off x="11427032" y="6478602"/>
            <a:ext cx="761801" cy="379413"/>
          </a:xfrm>
          <a:prstGeom prst="rect">
            <a:avLst/>
          </a:prstGeom>
        </p:spPr>
        <p:txBody>
          <a:bodyPr/>
          <a:lstStyle/>
          <a:p>
            <a:pPr defTabSz="913973"/>
            <a:fld id="{6A4C1A4A-E5E6-4CC1-B72C-A20A4EB3E2D2}" type="slidenum">
              <a:rPr lang="en-US" sz="1899" smtClean="0">
                <a:solidFill>
                  <a:srgbClr val="505050"/>
                </a:solidFill>
              </a:rPr>
              <a:pPr defTabSz="913973"/>
              <a:t>‹#›</a:t>
            </a:fld>
            <a:endParaRPr lang="en-US" sz="1899">
              <a:solidFill>
                <a:srgbClr val="505050"/>
              </a:solidFill>
            </a:endParaRPr>
          </a:p>
        </p:txBody>
      </p:sp>
      <p:sp>
        <p:nvSpPr>
          <p:cNvPr id="10" name="Footer Placeholder 3"/>
          <p:cNvSpPr>
            <a:spLocks noGrp="1"/>
          </p:cNvSpPr>
          <p:nvPr>
            <p:ph type="ftr" sz="quarter" idx="11"/>
            <p:custDataLst>
              <p:tags r:id="rId8"/>
            </p:custDataLst>
          </p:nvPr>
        </p:nvSpPr>
        <p:spPr>
          <a:xfrm>
            <a:off x="3047206" y="6477888"/>
            <a:ext cx="8379817" cy="380127"/>
          </a:xfrm>
          <a:prstGeom prst="rect">
            <a:avLst/>
          </a:prstGeom>
        </p:spPr>
        <p:txBody>
          <a:bodyPr/>
          <a:lstStyle/>
          <a:p>
            <a:pPr defTabSz="913973"/>
            <a:endParaRPr lang="en-US" sz="1899">
              <a:solidFill>
                <a:srgbClr val="505050"/>
              </a:solidFill>
            </a:endParaRPr>
          </a:p>
        </p:txBody>
      </p:sp>
      <p:sp>
        <p:nvSpPr>
          <p:cNvPr id="11" name="Footer Placeholder 2"/>
          <p:cNvSpPr txBox="1">
            <a:spLocks/>
          </p:cNvSpPr>
          <p:nvPr userDrawn="1">
            <p:custDataLst>
              <p:tags r:id="rId9"/>
            </p:custDataLst>
          </p:nvPr>
        </p:nvSpPr>
        <p:spPr>
          <a:xfrm>
            <a:off x="761801" y="6478602"/>
            <a:ext cx="2285405" cy="379413"/>
          </a:xfrm>
          <a:prstGeom prst="rect">
            <a:avLst/>
          </a:prstGeom>
        </p:spPr>
        <p:txBody>
          <a:bodyPr lIns="380653" tIns="38065" rIns="76130" bIns="38065"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00">
                <a:solidFill>
                  <a:srgbClr val="505050"/>
                </a:solidFill>
                <a:ea typeface="Segoe UI" pitchFamily="34" charset="0"/>
                <a:cs typeface="Segoe UI" pitchFamily="34" charset="0"/>
              </a:rPr>
              <a:t>EPG | MICROSOFT CONFIDENTIAL</a:t>
            </a:r>
          </a:p>
        </p:txBody>
      </p:sp>
    </p:spTree>
    <p:extLst>
      <p:ext uri="{BB962C8B-B14F-4D97-AF65-F5344CB8AC3E}">
        <p14:creationId xmlns:p14="http://schemas.microsoft.com/office/powerpoint/2010/main" val="3087121038"/>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057400"/>
            <a:ext cx="5486400" cy="2743426"/>
          </a:xfrm>
          <a:noFill/>
        </p:spPr>
        <p:txBody>
          <a:bodyPr vert="horz" lIns="137160" tIns="137160" rIns="137160" bIns="137160" rtlCol="0" anchor="t" anchorCtr="0">
            <a:normAutofit/>
          </a:bodyPr>
          <a:lstStyle>
            <a:lvl1pPr>
              <a:defRPr lang="en-US" sz="4399"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13" y="4800600"/>
            <a:ext cx="5486400" cy="914400"/>
          </a:xfrm>
        </p:spPr>
        <p:txBody>
          <a:bodyPr lIns="137160" tIns="137160" rIns="137160" bIns="137160">
            <a:noAutofit/>
          </a:bodyPr>
          <a:lstStyle>
            <a:lvl1pPr marL="0" indent="0">
              <a:spcBef>
                <a:spcPts val="0"/>
              </a:spcBef>
              <a:buNone/>
              <a:defRPr sz="1999">
                <a:solidFill>
                  <a:schemeClr val="bg1"/>
                </a:solidFill>
              </a:defRPr>
            </a:lvl1pPr>
            <a:lvl2pPr marL="281589" indent="0">
              <a:buNone/>
              <a:defRPr sz="1999">
                <a:solidFill>
                  <a:schemeClr val="bg1"/>
                </a:solidFill>
              </a:defRPr>
            </a:lvl2pPr>
            <a:lvl3pPr marL="588299" indent="0">
              <a:buNone/>
              <a:defRPr sz="1999">
                <a:solidFill>
                  <a:schemeClr val="bg1"/>
                </a:solidFill>
              </a:defRPr>
            </a:lvl3pPr>
            <a:lvl4pPr marL="869889" indent="0">
              <a:buNone/>
              <a:defRPr sz="1999">
                <a:solidFill>
                  <a:schemeClr val="bg1"/>
                </a:solidFill>
              </a:defRPr>
            </a:lvl4pPr>
            <a:lvl5pPr marL="1105208" indent="0">
              <a:buNone/>
              <a:defRPr sz="1999">
                <a:solidFill>
                  <a:schemeClr val="bg1"/>
                </a:solidFill>
              </a:defRPr>
            </a:lvl5pPr>
          </a:lstStyle>
          <a:p>
            <a:pPr lvl="0"/>
            <a:r>
              <a:rPr lang="en-US"/>
              <a:t>Speaker Name</a:t>
            </a:r>
          </a:p>
        </p:txBody>
      </p:sp>
      <p:sp>
        <p:nvSpPr>
          <p:cNvPr id="10" name="TextBox 9"/>
          <p:cNvSpPr txBox="1"/>
          <p:nvPr/>
        </p:nvSpPr>
        <p:spPr>
          <a:xfrm>
            <a:off x="7618016" y="381000"/>
            <a:ext cx="3809008" cy="1905000"/>
          </a:xfrm>
          <a:prstGeom prst="rect">
            <a:avLst/>
          </a:prstGeom>
        </p:spPr>
        <p:txBody>
          <a:bodyPr vert="horz" wrap="square" lIns="108793" tIns="54397" rIns="108793" bIns="54397" rtlCol="0" anchor="ctr">
            <a:normAutofit/>
          </a:bodyPr>
          <a:lstStyle/>
          <a:p>
            <a:r>
              <a:rPr lang="en-US" sz="1999">
                <a:solidFill>
                  <a:schemeClr val="accent6"/>
                </a:solidFill>
                <a:latin typeface="Segoe UI" pitchFamily="34" charset="0"/>
                <a:ea typeface="Segoe UI" pitchFamily="34" charset="0"/>
                <a:cs typeface="Segoe UI" pitchFamily="34" charset="0"/>
              </a:rPr>
              <a:t>Click View &gt; Slide Master to insert a photo as </a:t>
            </a:r>
            <a:r>
              <a:rPr lang="en-US" sz="1999" baseline="0">
                <a:solidFill>
                  <a:schemeClr val="accent6"/>
                </a:solidFill>
                <a:latin typeface="Segoe UI" pitchFamily="34" charset="0"/>
                <a:ea typeface="Segoe UI" pitchFamily="34" charset="0"/>
                <a:cs typeface="Segoe UI" pitchFamily="34" charset="0"/>
              </a:rPr>
              <a:t>a background behind the colored boxes.</a:t>
            </a:r>
            <a:endParaRPr lang="en-US" sz="1999">
              <a:solidFill>
                <a:schemeClr val="accent6"/>
              </a:solidFill>
              <a:latin typeface="Segoe UI" pitchFamily="34" charset="0"/>
              <a:ea typeface="Segoe UI" pitchFamily="34" charset="0"/>
              <a:cs typeface="Segoe UI" pitchFamily="34" charset="0"/>
            </a:endParaRPr>
          </a:p>
        </p:txBody>
      </p:sp>
      <p:sp>
        <p:nvSpPr>
          <p:cNvPr id="15" name="TextBox 14"/>
          <p:cNvSpPr txBox="1"/>
          <p:nvPr/>
        </p:nvSpPr>
        <p:spPr>
          <a:xfrm>
            <a:off x="7618016" y="381000"/>
            <a:ext cx="3809008" cy="1905000"/>
          </a:xfrm>
          <a:prstGeom prst="rect">
            <a:avLst/>
          </a:prstGeom>
        </p:spPr>
        <p:txBody>
          <a:bodyPr vert="horz" wrap="square" lIns="108793" tIns="54397" rIns="108793" bIns="54397" rtlCol="0" anchor="ctr">
            <a:normAutofit/>
          </a:bodyPr>
          <a:lstStyle/>
          <a:p>
            <a:r>
              <a:rPr lang="en-US" sz="1999">
                <a:solidFill>
                  <a:schemeClr val="accent6"/>
                </a:solidFill>
                <a:latin typeface="Segoe UI" pitchFamily="34" charset="0"/>
                <a:ea typeface="Segoe UI" pitchFamily="34" charset="0"/>
                <a:cs typeface="Segoe UI" pitchFamily="34" charset="0"/>
              </a:rPr>
              <a:t>Click View &gt; Slide Master to insert a photo as </a:t>
            </a:r>
            <a:r>
              <a:rPr lang="en-US" sz="1999" baseline="0">
                <a:solidFill>
                  <a:schemeClr val="accent6"/>
                </a:solidFill>
                <a:latin typeface="Segoe UI" pitchFamily="34" charset="0"/>
                <a:ea typeface="Segoe UI" pitchFamily="34" charset="0"/>
                <a:cs typeface="Segoe UI" pitchFamily="34" charset="0"/>
              </a:rPr>
              <a:t>a background behind the colored boxes.</a:t>
            </a:r>
            <a:endParaRPr lang="en-US" sz="1999">
              <a:solidFill>
                <a:schemeClr val="accent6"/>
              </a:solidFill>
              <a:latin typeface="Segoe UI" pitchFamily="34" charset="0"/>
              <a:ea typeface="Segoe UI" pitchFamily="34" charset="0"/>
              <a:cs typeface="Segoe UI" pitchFamily="34" charset="0"/>
            </a:endParaRP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216" y="198357"/>
            <a:ext cx="1946596" cy="716042"/>
          </a:xfrm>
          <a:prstGeom prst="rect">
            <a:avLst/>
          </a:prstGeom>
        </p:spPr>
      </p:pic>
      <p:sp>
        <p:nvSpPr>
          <p:cNvPr id="14" name="TextBox 13"/>
          <p:cNvSpPr txBox="1"/>
          <p:nvPr userDrawn="1"/>
        </p:nvSpPr>
        <p:spPr>
          <a:xfrm>
            <a:off x="7618016" y="381000"/>
            <a:ext cx="3809008" cy="1905000"/>
          </a:xfrm>
          <a:prstGeom prst="rect">
            <a:avLst/>
          </a:prstGeom>
        </p:spPr>
        <p:txBody>
          <a:bodyPr vert="horz" wrap="square" lIns="108793" tIns="54397" rIns="108793" bIns="54397" rtlCol="0" anchor="ctr">
            <a:normAutofit/>
          </a:bodyPr>
          <a:lstStyle/>
          <a:p>
            <a:r>
              <a:rPr lang="en-US" sz="1999">
                <a:solidFill>
                  <a:schemeClr val="accent6"/>
                </a:solidFill>
                <a:latin typeface="Segoe UI" pitchFamily="34" charset="0"/>
                <a:ea typeface="Segoe UI" pitchFamily="34" charset="0"/>
                <a:cs typeface="Segoe UI" pitchFamily="34" charset="0"/>
              </a:rPr>
              <a:t>Click View &gt; Slide Master to insert a photo as </a:t>
            </a:r>
            <a:r>
              <a:rPr lang="en-US" sz="1999" baseline="0">
                <a:solidFill>
                  <a:schemeClr val="accent6"/>
                </a:solidFill>
                <a:latin typeface="Segoe UI" pitchFamily="34" charset="0"/>
                <a:ea typeface="Segoe UI" pitchFamily="34" charset="0"/>
                <a:cs typeface="Segoe UI" pitchFamily="34" charset="0"/>
              </a:rPr>
              <a:t>a background behind the colored boxes.</a:t>
            </a:r>
            <a:endParaRPr lang="en-US" sz="1999">
              <a:solidFill>
                <a:schemeClr val="accent6"/>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774562211"/>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2_EXAMPLE ONLY: Title with photo">
    <p:spTree>
      <p:nvGrpSpPr>
        <p:cNvPr id="1" name=""/>
        <p:cNvGrpSpPr/>
        <p:nvPr/>
      </p:nvGrpSpPr>
      <p:grpSpPr>
        <a:xfrm>
          <a:off x="0" y="0"/>
          <a:ext cx="0" cy="0"/>
          <a:chOff x="0" y="0"/>
          <a:chExt cx="0" cy="0"/>
        </a:xfrm>
      </p:grpSpPr>
      <p:pic>
        <p:nvPicPr>
          <p:cNvPr id="16" name="Picture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216" y="198357"/>
            <a:ext cx="1946596" cy="716042"/>
          </a:xfrm>
          <a:prstGeom prst="rect">
            <a:avLst/>
          </a:prstGeom>
        </p:spPr>
      </p:pic>
      <p:sp>
        <p:nvSpPr>
          <p:cNvPr id="14" name="Rectangle 13"/>
          <p:cNvSpPr/>
          <p:nvPr userDrawn="1"/>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057400"/>
            <a:ext cx="5486400" cy="2743426"/>
          </a:xfrm>
          <a:noFill/>
        </p:spPr>
        <p:txBody>
          <a:bodyPr vert="horz" lIns="137160" tIns="182880" rIns="146304" bIns="91440" rtlCol="0" anchor="t" anchorCtr="0">
            <a:normAutofit/>
          </a:bodyPr>
          <a:lstStyle>
            <a:lvl1pPr>
              <a:defRPr lang="en-US" sz="4399"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13" y="4800600"/>
            <a:ext cx="5486400" cy="914400"/>
          </a:xfrm>
        </p:spPr>
        <p:txBody>
          <a:bodyPr lIns="137160" tIns="91440">
            <a:noAutofit/>
          </a:bodyPr>
          <a:lstStyle>
            <a:lvl1pPr marL="0" indent="0">
              <a:spcBef>
                <a:spcPts val="0"/>
              </a:spcBef>
              <a:buNone/>
              <a:defRPr sz="1999">
                <a:solidFill>
                  <a:schemeClr val="bg1"/>
                </a:solidFill>
              </a:defRPr>
            </a:lvl1pPr>
            <a:lvl2pPr marL="281589" indent="0">
              <a:buNone/>
              <a:defRPr sz="1999">
                <a:solidFill>
                  <a:schemeClr val="bg1"/>
                </a:solidFill>
              </a:defRPr>
            </a:lvl2pPr>
            <a:lvl3pPr marL="588299" indent="0">
              <a:buNone/>
              <a:defRPr sz="1999">
                <a:solidFill>
                  <a:schemeClr val="bg1"/>
                </a:solidFill>
              </a:defRPr>
            </a:lvl3pPr>
            <a:lvl4pPr marL="869889" indent="0">
              <a:buNone/>
              <a:defRPr sz="1999">
                <a:solidFill>
                  <a:schemeClr val="bg1"/>
                </a:solidFill>
              </a:defRPr>
            </a:lvl4pPr>
            <a:lvl5pPr marL="1105208" indent="0">
              <a:buNone/>
              <a:defRPr sz="1999">
                <a:solidFill>
                  <a:schemeClr val="bg1"/>
                </a:solidFill>
              </a:defRPr>
            </a:lvl5pPr>
          </a:lstStyle>
          <a:p>
            <a:pPr lvl="0"/>
            <a:r>
              <a:rPr lang="en-US"/>
              <a:t>Speaker Name</a:t>
            </a:r>
          </a:p>
        </p:txBody>
      </p:sp>
    </p:spTree>
    <p:extLst>
      <p:ext uri="{BB962C8B-B14F-4D97-AF65-F5344CB8AC3E}">
        <p14:creationId xmlns:p14="http://schemas.microsoft.com/office/powerpoint/2010/main" val="1073639966"/>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3_EXAMPLE ONLY: Title with photo">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1916" y="200779"/>
            <a:ext cx="1946596" cy="716042"/>
          </a:xfrm>
          <a:prstGeom prst="rect">
            <a:avLst/>
          </a:prstGeom>
        </p:spPr>
      </p:pic>
      <p:sp>
        <p:nvSpPr>
          <p:cNvPr id="17" name="Rectangle 16"/>
          <p:cNvSpPr/>
          <p:nvPr userDrawn="1"/>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057400"/>
            <a:ext cx="5486400" cy="2743426"/>
          </a:xfrm>
          <a:noFill/>
        </p:spPr>
        <p:txBody>
          <a:bodyPr vert="horz" lIns="137160" tIns="182880" rIns="146304" bIns="91440" rtlCol="0" anchor="t" anchorCtr="0">
            <a:normAutofit/>
          </a:bodyPr>
          <a:lstStyle>
            <a:lvl1pPr>
              <a:defRPr lang="en-US" sz="4399"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13" y="4800600"/>
            <a:ext cx="5486400" cy="914400"/>
          </a:xfrm>
        </p:spPr>
        <p:txBody>
          <a:bodyPr lIns="137160" tIns="91440">
            <a:noAutofit/>
          </a:bodyPr>
          <a:lstStyle>
            <a:lvl1pPr marL="0" indent="0">
              <a:spcBef>
                <a:spcPts val="0"/>
              </a:spcBef>
              <a:buNone/>
              <a:defRPr sz="1999">
                <a:solidFill>
                  <a:schemeClr val="bg1"/>
                </a:solidFill>
              </a:defRPr>
            </a:lvl1pPr>
            <a:lvl2pPr marL="281589" indent="0">
              <a:buNone/>
              <a:defRPr sz="1999">
                <a:solidFill>
                  <a:schemeClr val="bg1"/>
                </a:solidFill>
              </a:defRPr>
            </a:lvl2pPr>
            <a:lvl3pPr marL="588299" indent="0">
              <a:buNone/>
              <a:defRPr sz="1999">
                <a:solidFill>
                  <a:schemeClr val="bg1"/>
                </a:solidFill>
              </a:defRPr>
            </a:lvl3pPr>
            <a:lvl4pPr marL="869889" indent="0">
              <a:buNone/>
              <a:defRPr sz="1999">
                <a:solidFill>
                  <a:schemeClr val="bg1"/>
                </a:solidFill>
              </a:defRPr>
            </a:lvl4pPr>
            <a:lvl5pPr marL="1105208" indent="0">
              <a:buNone/>
              <a:defRPr sz="1999">
                <a:solidFill>
                  <a:schemeClr val="bg1"/>
                </a:solidFill>
              </a:defRPr>
            </a:lvl5pPr>
          </a:lstStyle>
          <a:p>
            <a:pPr lvl="0"/>
            <a:r>
              <a:rPr lang="en-US"/>
              <a:t>Speaker Name</a:t>
            </a:r>
          </a:p>
        </p:txBody>
      </p:sp>
    </p:spTree>
    <p:extLst>
      <p:ext uri="{BB962C8B-B14F-4D97-AF65-F5344CB8AC3E}">
        <p14:creationId xmlns:p14="http://schemas.microsoft.com/office/powerpoint/2010/main" val="332917457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057400"/>
            <a:ext cx="5486400" cy="2743426"/>
          </a:xfrm>
          <a:noFill/>
        </p:spPr>
        <p:txBody>
          <a:bodyPr vert="horz" lIns="137160" tIns="137160" rIns="137160" bIns="137160" rtlCol="0" anchor="t" anchorCtr="0">
            <a:normAutofit/>
          </a:bodyPr>
          <a:lstStyle>
            <a:lvl1pPr>
              <a:defRPr lang="en-US" sz="4399"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13" y="4800600"/>
            <a:ext cx="5486400" cy="914400"/>
          </a:xfrm>
        </p:spPr>
        <p:txBody>
          <a:bodyPr lIns="137160" tIns="137160" rIns="137160" bIns="137160">
            <a:noAutofit/>
          </a:bodyPr>
          <a:lstStyle>
            <a:lvl1pPr marL="0" indent="0">
              <a:spcBef>
                <a:spcPts val="0"/>
              </a:spcBef>
              <a:buNone/>
              <a:defRPr sz="1999">
                <a:solidFill>
                  <a:schemeClr val="bg1"/>
                </a:solidFill>
              </a:defRPr>
            </a:lvl1pPr>
            <a:lvl2pPr marL="281589" indent="0">
              <a:buNone/>
              <a:defRPr sz="1999">
                <a:solidFill>
                  <a:schemeClr val="bg1"/>
                </a:solidFill>
              </a:defRPr>
            </a:lvl2pPr>
            <a:lvl3pPr marL="588299" indent="0">
              <a:buNone/>
              <a:defRPr sz="1999">
                <a:solidFill>
                  <a:schemeClr val="bg1"/>
                </a:solidFill>
              </a:defRPr>
            </a:lvl3pPr>
            <a:lvl4pPr marL="869889" indent="0">
              <a:buNone/>
              <a:defRPr sz="1999">
                <a:solidFill>
                  <a:schemeClr val="bg1"/>
                </a:solidFill>
              </a:defRPr>
            </a:lvl4pPr>
            <a:lvl5pPr marL="1105208" indent="0">
              <a:buNone/>
              <a:defRPr sz="1999">
                <a:solidFill>
                  <a:schemeClr val="bg1"/>
                </a:solidFill>
              </a:defRPr>
            </a:lvl5pPr>
          </a:lstStyle>
          <a:p>
            <a:pPr lvl="0"/>
            <a:r>
              <a:rPr lang="en-US"/>
              <a:t>Speaker Name</a:t>
            </a: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916" y="200779"/>
            <a:ext cx="1946593" cy="716042"/>
          </a:xfrm>
          <a:prstGeom prst="rect">
            <a:avLst/>
          </a:prstGeom>
        </p:spPr>
      </p:pic>
    </p:spTree>
    <p:extLst>
      <p:ext uri="{BB962C8B-B14F-4D97-AF65-F5344CB8AC3E}">
        <p14:creationId xmlns:p14="http://schemas.microsoft.com/office/powerpoint/2010/main" val="1352869230"/>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6"/>
            <a:ext cx="12188825"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a:t>Click to add subtitle</a:t>
            </a:r>
          </a:p>
        </p:txBody>
      </p:sp>
      <p:sp>
        <p:nvSpPr>
          <p:cNvPr id="16" name="Text Placeholder 15"/>
          <p:cNvSpPr>
            <a:spLocks noGrp="1"/>
          </p:cNvSpPr>
          <p:nvPr>
            <p:ph type="body" sz="quarter" idx="14"/>
          </p:nvPr>
        </p:nvSpPr>
        <p:spPr>
          <a:xfrm>
            <a:off x="150813" y="1600200"/>
            <a:ext cx="11887200"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pPr/>
              <a:t>‹#›</a:t>
            </a:fld>
            <a:endParaRPr lang="en-US"/>
          </a:p>
        </p:txBody>
      </p:sp>
    </p:spTree>
    <p:extLst>
      <p:ext uri="{BB962C8B-B14F-4D97-AF65-F5344CB8AC3E}">
        <p14:creationId xmlns:p14="http://schemas.microsoft.com/office/powerpoint/2010/main" val="3177602019"/>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6"/>
            <a:ext cx="12188825"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a:t>Click to add subtitle</a:t>
            </a:r>
          </a:p>
        </p:txBody>
      </p:sp>
      <p:sp>
        <p:nvSpPr>
          <p:cNvPr id="3" name="Slide Number Placeholder 2"/>
          <p:cNvSpPr>
            <a:spLocks noGrp="1"/>
          </p:cNvSpPr>
          <p:nvPr>
            <p:ph type="sldNum" sz="quarter" idx="14"/>
          </p:nvPr>
        </p:nvSpPr>
        <p:spPr/>
        <p:txBody>
          <a:bodyPr/>
          <a:lstStyle/>
          <a:p>
            <a:fld id="{FAADACFB-7C71-4E89-89D2-7BBA40B7BFA9}" type="slidenum">
              <a:rPr lang="en-US" smtClean="0"/>
              <a:pPr/>
              <a:t>‹#›</a:t>
            </a:fld>
            <a:endParaRPr lang="en-US"/>
          </a:p>
        </p:txBody>
      </p:sp>
    </p:spTree>
    <p:extLst>
      <p:ext uri="{BB962C8B-B14F-4D97-AF65-F5344CB8AC3E}">
        <p14:creationId xmlns:p14="http://schemas.microsoft.com/office/powerpoint/2010/main" val="3948488507"/>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3" name="Slide Number Placeholder 2"/>
          <p:cNvSpPr>
            <a:spLocks noGrp="1"/>
          </p:cNvSpPr>
          <p:nvPr>
            <p:ph type="sldNum" sz="quarter" idx="14"/>
          </p:nvPr>
        </p:nvSpPr>
        <p:spPr/>
        <p:txBody>
          <a:bodyPr/>
          <a:lstStyle/>
          <a:p>
            <a:fld id="{FAADACFB-7C71-4E89-89D2-7BBA40B7BFA9}" type="slidenum">
              <a:rPr lang="en-US" smtClean="0"/>
              <a:pPr/>
              <a:t>‹#›</a:t>
            </a:fld>
            <a:endParaRPr lang="en-US"/>
          </a:p>
        </p:txBody>
      </p:sp>
    </p:spTree>
    <p:extLst>
      <p:ext uri="{BB962C8B-B14F-4D97-AF65-F5344CB8AC3E}">
        <p14:creationId xmlns:p14="http://schemas.microsoft.com/office/powerpoint/2010/main" val="4059314983"/>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150813" y="1600200"/>
            <a:ext cx="11887200"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589" indent="0">
              <a:buNone/>
              <a:defRPr>
                <a:solidFill>
                  <a:schemeClr val="tx1"/>
                </a:solidFill>
                <a:latin typeface="Courier New" pitchFamily="49" charset="0"/>
                <a:cs typeface="Courier New" pitchFamily="49" charset="0"/>
              </a:defRPr>
            </a:lvl2pPr>
            <a:lvl3pPr marL="588299" indent="0">
              <a:buNone/>
              <a:defRPr>
                <a:solidFill>
                  <a:schemeClr val="tx1"/>
                </a:solidFill>
                <a:latin typeface="Courier New" pitchFamily="49" charset="0"/>
                <a:cs typeface="Courier New" pitchFamily="49" charset="0"/>
              </a:defRPr>
            </a:lvl3pPr>
            <a:lvl4pPr marL="869889" indent="0">
              <a:buNone/>
              <a:defRPr>
                <a:solidFill>
                  <a:schemeClr val="tx1"/>
                </a:solidFill>
                <a:latin typeface="Courier New" pitchFamily="49" charset="0"/>
                <a:cs typeface="Courier New" pitchFamily="49" charset="0"/>
              </a:defRPr>
            </a:lvl4pPr>
            <a:lvl5pPr marL="1105208" indent="0">
              <a:buNone/>
              <a:defRPr>
                <a:solidFill>
                  <a:schemeClr val="tx1"/>
                </a:solidFill>
                <a:latin typeface="Courier New" pitchFamily="49" charset="0"/>
                <a:cs typeface="Courier New" pitchFamily="49"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nvPr>
        </p:nvSpPr>
        <p:spPr>
          <a:xfrm>
            <a:off x="1" y="573606"/>
            <a:ext cx="12188825"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a:t>Click to add subtitle</a:t>
            </a:r>
          </a:p>
        </p:txBody>
      </p:sp>
      <p:sp>
        <p:nvSpPr>
          <p:cNvPr id="10" name="Slide Number Placeholder 9"/>
          <p:cNvSpPr>
            <a:spLocks noGrp="1"/>
          </p:cNvSpPr>
          <p:nvPr>
            <p:ph type="sldNum" sz="quarter" idx="17"/>
          </p:nvPr>
        </p:nvSpPr>
        <p:spPr/>
        <p:txBody>
          <a:bodyPr/>
          <a:lstStyle/>
          <a:p>
            <a:fld id="{FAADACFB-7C71-4E89-89D2-7BBA40B7BFA9}" type="slidenum">
              <a:rPr lang="en-US" smtClean="0"/>
              <a:pPr/>
              <a:t>‹#›</a:t>
            </a:fld>
            <a:endParaRPr lang="en-US"/>
          </a:p>
        </p:txBody>
      </p:sp>
    </p:spTree>
    <p:extLst>
      <p:ext uri="{BB962C8B-B14F-4D97-AF65-F5344CB8AC3E}">
        <p14:creationId xmlns:p14="http://schemas.microsoft.com/office/powerpoint/2010/main" val="86685741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057400"/>
            <a:ext cx="5486400" cy="2743426"/>
          </a:xfrm>
          <a:noFill/>
        </p:spPr>
        <p:txBody>
          <a:bodyPr vert="horz" lIns="137160" tIns="137160" rIns="137160" bIns="137160" rtlCol="0" anchor="t" anchorCtr="0">
            <a:normAutofit/>
          </a:bodyPr>
          <a:lstStyle>
            <a:lvl1pPr>
              <a:defRPr lang="en-US" sz="4399"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13" y="4800600"/>
            <a:ext cx="5486400" cy="914400"/>
          </a:xfrm>
        </p:spPr>
        <p:txBody>
          <a:bodyPr lIns="137160" tIns="137160" rIns="137160" bIns="137160">
            <a:noAutofit/>
          </a:bodyPr>
          <a:lstStyle>
            <a:lvl1pPr marL="0" indent="0">
              <a:spcBef>
                <a:spcPts val="0"/>
              </a:spcBef>
              <a:buNone/>
              <a:defRPr sz="1999">
                <a:solidFill>
                  <a:schemeClr val="bg1"/>
                </a:solidFill>
              </a:defRPr>
            </a:lvl1pPr>
            <a:lvl2pPr marL="281589" indent="0">
              <a:buNone/>
              <a:defRPr sz="1999">
                <a:solidFill>
                  <a:schemeClr val="bg1"/>
                </a:solidFill>
              </a:defRPr>
            </a:lvl2pPr>
            <a:lvl3pPr marL="588299" indent="0">
              <a:buNone/>
              <a:defRPr sz="1999">
                <a:solidFill>
                  <a:schemeClr val="bg1"/>
                </a:solidFill>
              </a:defRPr>
            </a:lvl3pPr>
            <a:lvl4pPr marL="869889" indent="0">
              <a:buNone/>
              <a:defRPr sz="1999">
                <a:solidFill>
                  <a:schemeClr val="bg1"/>
                </a:solidFill>
              </a:defRPr>
            </a:lvl4pPr>
            <a:lvl5pPr marL="1105208" indent="0">
              <a:buNone/>
              <a:defRPr sz="1999">
                <a:solidFill>
                  <a:schemeClr val="bg1"/>
                </a:solidFill>
              </a:defRPr>
            </a:lvl5pPr>
          </a:lstStyle>
          <a:p>
            <a:pPr lvl="0"/>
            <a:r>
              <a:rPr lang="en-US"/>
              <a:t>Speaker Name</a:t>
            </a: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916" y="200779"/>
            <a:ext cx="1946593" cy="716042"/>
          </a:xfrm>
          <a:prstGeom prst="rect">
            <a:avLst/>
          </a:prstGeom>
        </p:spPr>
      </p:pic>
    </p:spTree>
    <p:extLst>
      <p:ext uri="{BB962C8B-B14F-4D97-AF65-F5344CB8AC3E}">
        <p14:creationId xmlns:p14="http://schemas.microsoft.com/office/powerpoint/2010/main" val="2994194069"/>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p:txBody>
          <a:bodyPr/>
          <a:lstStyle/>
          <a:p>
            <a:fld id="{FAADACFB-7C71-4E89-89D2-7BBA40B7BFA9}" type="slidenum">
              <a:rPr lang="en-US" smtClean="0"/>
              <a:pPr/>
              <a:t>‹#›</a:t>
            </a:fld>
            <a:endParaRPr lang="en-US"/>
          </a:p>
        </p:txBody>
      </p:sp>
    </p:spTree>
    <p:extLst>
      <p:ext uri="{BB962C8B-B14F-4D97-AF65-F5344CB8AC3E}">
        <p14:creationId xmlns:p14="http://schemas.microsoft.com/office/powerpoint/2010/main" val="1879058280"/>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14" y="1143002"/>
            <a:ext cx="1005839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50812" y="3877278"/>
            <a:ext cx="10058401" cy="1837723"/>
          </a:xfrm>
          <a:noFill/>
        </p:spPr>
        <p:txBody>
          <a:bodyPr lIns="137160" tIns="137160" rIns="137160" bIns="137160">
            <a:noAutofit/>
          </a:bodyPr>
          <a:lstStyle>
            <a:lvl1pPr marL="0" indent="0">
              <a:spcBef>
                <a:spcPts val="0"/>
              </a:spcBef>
              <a:buNone/>
              <a:defRPr sz="2799"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40757121"/>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14"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14"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14" y="1143001"/>
            <a:ext cx="1005839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a:t>Video title</a:t>
            </a:r>
          </a:p>
        </p:txBody>
      </p:sp>
      <p:sp>
        <p:nvSpPr>
          <p:cNvPr id="5" name="Text Placeholder 4"/>
          <p:cNvSpPr>
            <a:spLocks noGrp="1"/>
          </p:cNvSpPr>
          <p:nvPr>
            <p:ph type="body" sz="quarter" idx="12" hasCustomPrompt="1"/>
          </p:nvPr>
        </p:nvSpPr>
        <p:spPr>
          <a:xfrm>
            <a:off x="150813" y="3886200"/>
            <a:ext cx="10058400" cy="1828800"/>
          </a:xfrm>
          <a:noFill/>
        </p:spPr>
        <p:txBody>
          <a:bodyPr lIns="137160" tIns="137160" rIns="137160" bIns="137160">
            <a:noAutofit/>
          </a:bodyPr>
          <a:lstStyle>
            <a:lvl1pPr marL="0" indent="0">
              <a:spcBef>
                <a:spcPts val="0"/>
              </a:spcBef>
              <a:buNone/>
              <a:defRPr sz="2799"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14"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89602837"/>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FFFFFF"/>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00713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FFFFFF"/>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807259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4095154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chemeClr val="tx1"/>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1000511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5038280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chemeClr val="tx1"/>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3601195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27012" y="1600200"/>
            <a:ext cx="11353800"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1" y="6238878"/>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99"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361408165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6"/>
            <a:ext cx="12188825"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a:t>Click to add subtitle</a:t>
            </a:r>
          </a:p>
        </p:txBody>
      </p:sp>
      <p:sp>
        <p:nvSpPr>
          <p:cNvPr id="16" name="Text Placeholder 15"/>
          <p:cNvSpPr>
            <a:spLocks noGrp="1"/>
          </p:cNvSpPr>
          <p:nvPr>
            <p:ph type="body" sz="quarter" idx="14"/>
          </p:nvPr>
        </p:nvSpPr>
        <p:spPr>
          <a:xfrm>
            <a:off x="150813" y="1600200"/>
            <a:ext cx="11887200"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283404322"/>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1799"/>
          </a:p>
        </p:txBody>
      </p:sp>
      <p:sp>
        <p:nvSpPr>
          <p:cNvPr id="4" name="Rectangle 3"/>
          <p:cNvSpPr/>
          <p:nvPr/>
        </p:nvSpPr>
        <p:spPr>
          <a:xfrm>
            <a:off x="1"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1799"/>
          </a:p>
        </p:txBody>
      </p:sp>
      <p:sp>
        <p:nvSpPr>
          <p:cNvPr id="8" name="Rectangle 7"/>
          <p:cNvSpPr/>
          <p:nvPr/>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1799"/>
          </a:p>
        </p:txBody>
      </p:sp>
      <p:pic>
        <p:nvPicPr>
          <p:cNvPr id="10" name="Picture 9"/>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117" y="2899240"/>
            <a:ext cx="2880367" cy="1059525"/>
          </a:xfrm>
          <a:prstGeom prst="rect">
            <a:avLst/>
          </a:prstGeom>
        </p:spPr>
      </p:pic>
      <p:sp>
        <p:nvSpPr>
          <p:cNvPr id="6" name="Rectangle 5"/>
          <p:cNvSpPr/>
          <p:nvPr/>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1799"/>
          </a:p>
        </p:txBody>
      </p:sp>
      <p:pic>
        <p:nvPicPr>
          <p:cNvPr id="7" name="Picture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117" y="2899240"/>
            <a:ext cx="2880367" cy="1059525"/>
          </a:xfrm>
          <a:prstGeom prst="rect">
            <a:avLst/>
          </a:prstGeom>
        </p:spPr>
      </p:pic>
      <p:sp>
        <p:nvSpPr>
          <p:cNvPr id="9" name="Rectangle 8"/>
          <p:cNvSpPr/>
          <p:nvPr userDrawn="1"/>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1799"/>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46117" y="2899240"/>
            <a:ext cx="2880367" cy="1059525"/>
          </a:xfrm>
          <a:prstGeom prst="rect">
            <a:avLst/>
          </a:prstGeom>
        </p:spPr>
      </p:pic>
    </p:spTree>
    <p:extLst>
      <p:ext uri="{BB962C8B-B14F-4D97-AF65-F5344CB8AC3E}">
        <p14:creationId xmlns:p14="http://schemas.microsoft.com/office/powerpoint/2010/main" val="821307777"/>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057400"/>
            <a:ext cx="5486400" cy="2743426"/>
          </a:xfrm>
          <a:noFill/>
        </p:spPr>
        <p:txBody>
          <a:bodyPr vert="horz" lIns="137160" tIns="137160" rIns="137160" bIns="137160" rtlCol="0" anchor="t" anchorCtr="0">
            <a:normAutofit/>
          </a:bodyPr>
          <a:lstStyle>
            <a:lvl1pPr>
              <a:defRPr lang="en-US" sz="4399" spc="-98" dirty="0">
                <a:solidFill>
                  <a:schemeClr val="bg1"/>
                </a:solidFill>
              </a:defRPr>
            </a:lvl1pPr>
          </a:lstStyle>
          <a:p>
            <a:pPr lvl="0"/>
            <a:r>
              <a:rPr lang="en-US"/>
              <a:t>Presentation title</a:t>
            </a:r>
          </a:p>
        </p:txBody>
      </p:sp>
      <p:sp>
        <p:nvSpPr>
          <p:cNvPr id="4" name="Text Placeholder 3"/>
          <p:cNvSpPr>
            <a:spLocks noGrp="1"/>
          </p:cNvSpPr>
          <p:nvPr>
            <p:ph type="body" sz="quarter" idx="10" hasCustomPrompt="1"/>
          </p:nvPr>
        </p:nvSpPr>
        <p:spPr>
          <a:xfrm>
            <a:off x="150813" y="4800600"/>
            <a:ext cx="5486400" cy="914400"/>
          </a:xfrm>
        </p:spPr>
        <p:txBody>
          <a:bodyPr lIns="137160" tIns="137160" rIns="137160" bIns="137160">
            <a:noAutofit/>
          </a:bodyPr>
          <a:lstStyle>
            <a:lvl1pPr marL="0" indent="0">
              <a:spcBef>
                <a:spcPts val="0"/>
              </a:spcBef>
              <a:buNone/>
              <a:defRPr sz="1999">
                <a:solidFill>
                  <a:schemeClr val="bg1"/>
                </a:solidFill>
              </a:defRPr>
            </a:lvl1pPr>
            <a:lvl2pPr marL="281589" indent="0">
              <a:buNone/>
              <a:defRPr sz="1999">
                <a:solidFill>
                  <a:schemeClr val="bg1"/>
                </a:solidFill>
              </a:defRPr>
            </a:lvl2pPr>
            <a:lvl3pPr marL="588299" indent="0">
              <a:buNone/>
              <a:defRPr sz="1999">
                <a:solidFill>
                  <a:schemeClr val="bg1"/>
                </a:solidFill>
              </a:defRPr>
            </a:lvl3pPr>
            <a:lvl4pPr marL="869889" indent="0">
              <a:buNone/>
              <a:defRPr sz="1999">
                <a:solidFill>
                  <a:schemeClr val="bg1"/>
                </a:solidFill>
              </a:defRPr>
            </a:lvl4pPr>
            <a:lvl5pPr marL="1105208" indent="0">
              <a:buNone/>
              <a:defRPr sz="1999">
                <a:solidFill>
                  <a:schemeClr val="bg1"/>
                </a:solidFill>
              </a:defRPr>
            </a:lvl5pPr>
          </a:lstStyle>
          <a:p>
            <a:pPr lvl="0"/>
            <a:r>
              <a:rPr lang="en-US"/>
              <a:t>Speaker Name</a:t>
            </a:r>
          </a:p>
        </p:txBody>
      </p:sp>
      <p:sp>
        <p:nvSpPr>
          <p:cNvPr id="10" name="TextBox 9"/>
          <p:cNvSpPr txBox="1"/>
          <p:nvPr/>
        </p:nvSpPr>
        <p:spPr>
          <a:xfrm>
            <a:off x="7618016" y="381000"/>
            <a:ext cx="3809008" cy="1905000"/>
          </a:xfrm>
          <a:prstGeom prst="rect">
            <a:avLst/>
          </a:prstGeom>
        </p:spPr>
        <p:txBody>
          <a:bodyPr vert="horz" wrap="square" lIns="108793" tIns="54397" rIns="108793" bIns="54397" rtlCol="0" anchor="ctr">
            <a:normAutofit/>
          </a:bodyPr>
          <a:lstStyle/>
          <a:p>
            <a:pPr defTabSz="1087779"/>
            <a:r>
              <a:rPr lang="en-US" sz="1999">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2940" y="228600"/>
            <a:ext cx="1946596" cy="716042"/>
          </a:xfrm>
          <a:prstGeom prst="rect">
            <a:avLst/>
          </a:prstGeom>
        </p:spPr>
      </p:pic>
      <p:sp>
        <p:nvSpPr>
          <p:cNvPr id="15" name="TextBox 14"/>
          <p:cNvSpPr txBox="1"/>
          <p:nvPr/>
        </p:nvSpPr>
        <p:spPr>
          <a:xfrm>
            <a:off x="7618016" y="381000"/>
            <a:ext cx="3809008" cy="1905000"/>
          </a:xfrm>
          <a:prstGeom prst="rect">
            <a:avLst/>
          </a:prstGeom>
        </p:spPr>
        <p:txBody>
          <a:bodyPr vert="horz" wrap="square" lIns="108793" tIns="54397" rIns="108793" bIns="54397" rtlCol="0" anchor="ctr">
            <a:normAutofit/>
          </a:bodyPr>
          <a:lstStyle/>
          <a:p>
            <a:pPr defTabSz="1087779"/>
            <a:r>
              <a:rPr lang="en-US" sz="1999">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16" y="198357"/>
            <a:ext cx="1946596" cy="716042"/>
          </a:xfrm>
          <a:prstGeom prst="rect">
            <a:avLst/>
          </a:prstGeom>
        </p:spPr>
      </p:pic>
      <p:sp>
        <p:nvSpPr>
          <p:cNvPr id="14" name="TextBox 13"/>
          <p:cNvSpPr txBox="1"/>
          <p:nvPr userDrawn="1"/>
        </p:nvSpPr>
        <p:spPr>
          <a:xfrm>
            <a:off x="7618016" y="381000"/>
            <a:ext cx="3809008" cy="1905000"/>
          </a:xfrm>
          <a:prstGeom prst="rect">
            <a:avLst/>
          </a:prstGeom>
        </p:spPr>
        <p:txBody>
          <a:bodyPr vert="horz" wrap="square" lIns="108793" tIns="54397" rIns="108793" bIns="54397" rtlCol="0" anchor="ctr">
            <a:normAutofit/>
          </a:bodyPr>
          <a:lstStyle/>
          <a:p>
            <a:pPr defTabSz="1087779"/>
            <a:r>
              <a:rPr lang="en-US" sz="1999">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16" y="198357"/>
            <a:ext cx="1946596" cy="716042"/>
          </a:xfrm>
          <a:prstGeom prst="rect">
            <a:avLst/>
          </a:prstGeom>
        </p:spPr>
      </p:pic>
    </p:spTree>
    <p:extLst>
      <p:ext uri="{BB962C8B-B14F-4D97-AF65-F5344CB8AC3E}">
        <p14:creationId xmlns:p14="http://schemas.microsoft.com/office/powerpoint/2010/main" val="4081723393"/>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057400"/>
            <a:ext cx="5486400" cy="2743426"/>
          </a:xfrm>
          <a:noFill/>
        </p:spPr>
        <p:txBody>
          <a:bodyPr vert="horz" lIns="137160" tIns="137160" rIns="137160" bIns="137160" rtlCol="0" anchor="t" anchorCtr="0">
            <a:normAutofit/>
          </a:bodyPr>
          <a:lstStyle>
            <a:lvl1pPr>
              <a:defRPr lang="en-US" sz="4399" spc="-98" dirty="0">
                <a:solidFill>
                  <a:schemeClr val="bg1"/>
                </a:solidFill>
              </a:defRPr>
            </a:lvl1pPr>
          </a:lstStyle>
          <a:p>
            <a:pPr lvl="0"/>
            <a:r>
              <a:rPr lang="en-US"/>
              <a:t>Presentation title</a:t>
            </a:r>
          </a:p>
        </p:txBody>
      </p:sp>
      <p:sp>
        <p:nvSpPr>
          <p:cNvPr id="4" name="Text Placeholder 3"/>
          <p:cNvSpPr>
            <a:spLocks noGrp="1"/>
          </p:cNvSpPr>
          <p:nvPr>
            <p:ph type="body" sz="quarter" idx="10" hasCustomPrompt="1"/>
          </p:nvPr>
        </p:nvSpPr>
        <p:spPr>
          <a:xfrm>
            <a:off x="150813" y="4800600"/>
            <a:ext cx="5486400" cy="914400"/>
          </a:xfrm>
        </p:spPr>
        <p:txBody>
          <a:bodyPr lIns="137160" tIns="137160" rIns="137160" bIns="137160">
            <a:noAutofit/>
          </a:bodyPr>
          <a:lstStyle>
            <a:lvl1pPr marL="0" indent="0">
              <a:spcBef>
                <a:spcPts val="0"/>
              </a:spcBef>
              <a:buNone/>
              <a:defRPr sz="1999">
                <a:solidFill>
                  <a:schemeClr val="bg1"/>
                </a:solidFill>
              </a:defRPr>
            </a:lvl1pPr>
            <a:lvl2pPr marL="281589" indent="0">
              <a:buNone/>
              <a:defRPr sz="1999">
                <a:solidFill>
                  <a:schemeClr val="bg1"/>
                </a:solidFill>
              </a:defRPr>
            </a:lvl2pPr>
            <a:lvl3pPr marL="588299" indent="0">
              <a:buNone/>
              <a:defRPr sz="1999">
                <a:solidFill>
                  <a:schemeClr val="bg1"/>
                </a:solidFill>
              </a:defRPr>
            </a:lvl3pPr>
            <a:lvl4pPr marL="869889" indent="0">
              <a:buNone/>
              <a:defRPr sz="1999">
                <a:solidFill>
                  <a:schemeClr val="bg1"/>
                </a:solidFill>
              </a:defRPr>
            </a:lvl4pPr>
            <a:lvl5pPr marL="1105208" indent="0">
              <a:buNone/>
              <a:defRPr sz="1999">
                <a:solidFill>
                  <a:schemeClr val="bg1"/>
                </a:solidFill>
              </a:defRPr>
            </a:lvl5pPr>
          </a:lstStyle>
          <a:p>
            <a:pPr lvl="0"/>
            <a:r>
              <a:rPr lang="en-US"/>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1916" y="200779"/>
            <a:ext cx="1946593" cy="716042"/>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916" y="200779"/>
            <a:ext cx="1946593" cy="716042"/>
          </a:xfrm>
          <a:prstGeom prst="rect">
            <a:avLst/>
          </a:prstGeom>
        </p:spPr>
      </p:pic>
    </p:spTree>
    <p:extLst>
      <p:ext uri="{BB962C8B-B14F-4D97-AF65-F5344CB8AC3E}">
        <p14:creationId xmlns:p14="http://schemas.microsoft.com/office/powerpoint/2010/main" val="338753230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6"/>
            <a:ext cx="12188825"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a:t>Click to add subtitle</a:t>
            </a:r>
          </a:p>
        </p:txBody>
      </p:sp>
      <p:sp>
        <p:nvSpPr>
          <p:cNvPr id="16" name="Text Placeholder 15"/>
          <p:cNvSpPr>
            <a:spLocks noGrp="1"/>
          </p:cNvSpPr>
          <p:nvPr>
            <p:ph type="body" sz="quarter" idx="14"/>
          </p:nvPr>
        </p:nvSpPr>
        <p:spPr>
          <a:xfrm>
            <a:off x="150813" y="1600200"/>
            <a:ext cx="11887200"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
        <p:nvSpPr>
          <p:cNvPr id="20" name="Footer Placeholder 19"/>
          <p:cNvSpPr>
            <a:spLocks noGrp="1"/>
          </p:cNvSpPr>
          <p:nvPr>
            <p:ph type="ftr" sz="quarter" idx="16"/>
          </p:nvPr>
        </p:nvSpPr>
        <p:spPr>
          <a:xfrm>
            <a:off x="1904504" y="6477875"/>
            <a:ext cx="8379817" cy="380127"/>
          </a:xfrm>
        </p:spPr>
        <p:txBody>
          <a:bodyPr/>
          <a:lstStyle/>
          <a:p>
            <a:endParaRPr lang="en-US">
              <a:solidFill>
                <a:srgbClr val="505050"/>
              </a:solidFill>
            </a:endParaRPr>
          </a:p>
        </p:txBody>
      </p:sp>
    </p:spTree>
    <p:extLst>
      <p:ext uri="{BB962C8B-B14F-4D97-AF65-F5344CB8AC3E}">
        <p14:creationId xmlns:p14="http://schemas.microsoft.com/office/powerpoint/2010/main" val="4019282951"/>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6"/>
            <a:ext cx="12188825"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a:t>Click to add subtitle</a:t>
            </a:r>
          </a:p>
        </p:txBody>
      </p:sp>
      <p:sp>
        <p:nvSpPr>
          <p:cNvPr id="3" name="Footer Placeholder 2"/>
          <p:cNvSpPr>
            <a:spLocks noGrp="1"/>
          </p:cNvSpPr>
          <p:nvPr>
            <p:ph type="ftr" sz="quarter" idx="14"/>
          </p:nvPr>
        </p:nvSpPr>
        <p:spPr/>
        <p:txBody>
          <a:bodyPr/>
          <a:lstStyle/>
          <a:p>
            <a:pPr defTabSz="1087779"/>
            <a:endParaRPr lang="en-US">
              <a:solidFill>
                <a:srgbClr val="505050"/>
              </a:solidFill>
            </a:endParaRPr>
          </a:p>
        </p:txBody>
      </p:sp>
      <p:sp>
        <p:nvSpPr>
          <p:cNvPr id="7" name="Slide Number Placeholder 6"/>
          <p:cNvSpPr>
            <a:spLocks noGrp="1"/>
          </p:cNvSpPr>
          <p:nvPr>
            <p:ph type="sldNum" sz="quarter" idx="15"/>
          </p:nvPr>
        </p:nvSpPr>
        <p:spPr/>
        <p:txBody>
          <a:bodyPr/>
          <a:lstStyle/>
          <a:p>
            <a:pPr defTabSz="1087779"/>
            <a:fld id="{FAADACFB-7C71-4E89-89D2-7BBA40B7BFA9}" type="slidenum">
              <a:rPr lang="en-US" smtClean="0">
                <a:solidFill>
                  <a:srgbClr val="505050"/>
                </a:solidFill>
              </a:rPr>
              <a:pPr defTabSz="1087779"/>
              <a:t>‹#›</a:t>
            </a:fld>
            <a:endParaRPr lang="en-US">
              <a:solidFill>
                <a:srgbClr val="505050"/>
              </a:solidFill>
            </a:endParaRPr>
          </a:p>
        </p:txBody>
      </p:sp>
    </p:spTree>
    <p:extLst>
      <p:ext uri="{BB962C8B-B14F-4D97-AF65-F5344CB8AC3E}">
        <p14:creationId xmlns:p14="http://schemas.microsoft.com/office/powerpoint/2010/main" val="2757704029"/>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150813" y="1600200"/>
            <a:ext cx="11887200"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589" indent="0">
              <a:buNone/>
              <a:defRPr>
                <a:solidFill>
                  <a:schemeClr val="tx1"/>
                </a:solidFill>
                <a:latin typeface="Courier New" pitchFamily="49" charset="0"/>
                <a:cs typeface="Courier New" pitchFamily="49" charset="0"/>
              </a:defRPr>
            </a:lvl2pPr>
            <a:lvl3pPr marL="588299" indent="0">
              <a:buNone/>
              <a:defRPr>
                <a:solidFill>
                  <a:schemeClr val="tx1"/>
                </a:solidFill>
                <a:latin typeface="Courier New" pitchFamily="49" charset="0"/>
                <a:cs typeface="Courier New" pitchFamily="49" charset="0"/>
              </a:defRPr>
            </a:lvl3pPr>
            <a:lvl4pPr marL="869889" indent="0">
              <a:buNone/>
              <a:defRPr>
                <a:solidFill>
                  <a:schemeClr val="tx1"/>
                </a:solidFill>
                <a:latin typeface="Courier New" pitchFamily="49" charset="0"/>
                <a:cs typeface="Courier New" pitchFamily="49" charset="0"/>
              </a:defRPr>
            </a:lvl4pPr>
            <a:lvl5pPr marL="1105208" indent="0">
              <a:buNone/>
              <a:defRPr>
                <a:solidFill>
                  <a:schemeClr val="tx1"/>
                </a:solidFill>
                <a:latin typeface="Courier New" pitchFamily="49" charset="0"/>
                <a:cs typeface="Courier New" pitchFamily="49"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nvPr>
        </p:nvSpPr>
        <p:spPr>
          <a:xfrm>
            <a:off x="1" y="573606"/>
            <a:ext cx="12188825"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a:t>Click to add subtitle</a:t>
            </a:r>
          </a:p>
        </p:txBody>
      </p:sp>
      <p:sp>
        <p:nvSpPr>
          <p:cNvPr id="6" name="Footer Placeholder 5"/>
          <p:cNvSpPr>
            <a:spLocks noGrp="1"/>
          </p:cNvSpPr>
          <p:nvPr>
            <p:ph type="ftr" sz="quarter" idx="16"/>
          </p:nvPr>
        </p:nvSpPr>
        <p:spPr/>
        <p:txBody>
          <a:bodyPr/>
          <a:lstStyle/>
          <a:p>
            <a:endParaRPr lang="en-US">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2832017785"/>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3812549670"/>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14" y="1143002"/>
            <a:ext cx="1005839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50812" y="3877278"/>
            <a:ext cx="10058401" cy="1837723"/>
          </a:xfrm>
          <a:noFill/>
        </p:spPr>
        <p:txBody>
          <a:bodyPr lIns="137160" tIns="137160" rIns="137160" bIns="137160">
            <a:noAutofit/>
          </a:bodyPr>
          <a:lstStyle>
            <a:lvl1pPr marL="0" indent="0">
              <a:spcBef>
                <a:spcPts val="0"/>
              </a:spcBef>
              <a:buNone/>
              <a:defRPr sz="2799"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19972410"/>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14"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14"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14" y="1143001"/>
            <a:ext cx="1005839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a:t>Video title</a:t>
            </a:r>
          </a:p>
        </p:txBody>
      </p:sp>
      <p:sp>
        <p:nvSpPr>
          <p:cNvPr id="5" name="Text Placeholder 4"/>
          <p:cNvSpPr>
            <a:spLocks noGrp="1"/>
          </p:cNvSpPr>
          <p:nvPr>
            <p:ph type="body" sz="quarter" idx="12" hasCustomPrompt="1"/>
          </p:nvPr>
        </p:nvSpPr>
        <p:spPr>
          <a:xfrm>
            <a:off x="150813" y="3886200"/>
            <a:ext cx="10058400" cy="1828800"/>
          </a:xfrm>
          <a:noFill/>
        </p:spPr>
        <p:txBody>
          <a:bodyPr lIns="137160" tIns="137160" rIns="137160" bIns="137160">
            <a:noAutofit/>
          </a:bodyPr>
          <a:lstStyle>
            <a:lvl1pPr marL="0" indent="0">
              <a:spcBef>
                <a:spcPts val="0"/>
              </a:spcBef>
              <a:buNone/>
              <a:defRPr sz="2799"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14"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10417794"/>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FFFFFF"/>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9638889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6"/>
            <a:ext cx="12188825"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a:t>Click to add subtitle</a:t>
            </a:r>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409952021"/>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chemeClr val="tx1"/>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0317698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6378557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7429508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116665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chemeClr val="tx1"/>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2009687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27012" y="1600200"/>
            <a:ext cx="11353800"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1" y="6238878"/>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99"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2840962244"/>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defTabSz="1087779"/>
            <a:endParaRPr lang="en-US" sz="2199">
              <a:solidFill>
                <a:prstClr val="white"/>
              </a:solidFill>
            </a:endParaRPr>
          </a:p>
        </p:txBody>
      </p:sp>
      <p:sp>
        <p:nvSpPr>
          <p:cNvPr id="4" name="Rectangle 3"/>
          <p:cNvSpPr/>
          <p:nvPr/>
        </p:nvSpPr>
        <p:spPr>
          <a:xfrm>
            <a:off x="1"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defTabSz="1087779"/>
            <a:endParaRPr lang="en-US" sz="2199">
              <a:solidFill>
                <a:prstClr val="white"/>
              </a:solidFill>
            </a:endParaRPr>
          </a:p>
        </p:txBody>
      </p:sp>
      <p:sp>
        <p:nvSpPr>
          <p:cNvPr id="8" name="Rectangle 7"/>
          <p:cNvSpPr/>
          <p:nvPr/>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defTabSz="1087779"/>
            <a:endParaRPr lang="en-US" sz="2199">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117" y="2899240"/>
            <a:ext cx="2880367" cy="1059525"/>
          </a:xfrm>
          <a:prstGeom prst="rect">
            <a:avLst/>
          </a:prstGeom>
        </p:spPr>
      </p:pic>
      <p:sp>
        <p:nvSpPr>
          <p:cNvPr id="6" name="Rectangle 5"/>
          <p:cNvSpPr/>
          <p:nvPr/>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defTabSz="1087779"/>
            <a:endParaRPr lang="en-US" sz="2199">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117" y="2899240"/>
            <a:ext cx="2880367" cy="1059525"/>
          </a:xfrm>
          <a:prstGeom prst="rect">
            <a:avLst/>
          </a:prstGeom>
        </p:spPr>
      </p:pic>
      <p:sp>
        <p:nvSpPr>
          <p:cNvPr id="9" name="Rectangle 8"/>
          <p:cNvSpPr/>
          <p:nvPr userDrawn="1"/>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defTabSz="1087779"/>
            <a:endParaRPr lang="en-US" sz="2199">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8759" y="2901952"/>
            <a:ext cx="2844267" cy="1046245"/>
          </a:xfrm>
          <a:prstGeom prst="rect">
            <a:avLst/>
          </a:prstGeom>
        </p:spPr>
      </p:pic>
    </p:spTree>
    <p:extLst>
      <p:ext uri="{BB962C8B-B14F-4D97-AF65-F5344CB8AC3E}">
        <p14:creationId xmlns:p14="http://schemas.microsoft.com/office/powerpoint/2010/main" val="2801058622"/>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pPr defTabSz="914126">
              <a:defRPr/>
            </a:pPr>
            <a:fld id="{FAADACFB-7C71-4E89-89D2-7BBA40B7BFA9}" type="slidenum">
              <a:rPr lang="en-US" smtClean="0">
                <a:solidFill>
                  <a:srgbClr val="505050"/>
                </a:solidFill>
              </a:rPr>
              <a:pPr defTabSz="914126">
                <a:defRPr/>
              </a:pPr>
              <a:t>‹#›</a:t>
            </a:fld>
            <a:endParaRPr lang="en-US" dirty="0">
              <a:solidFill>
                <a:srgbClr val="505050"/>
              </a:solidFill>
            </a:endParaRPr>
          </a:p>
        </p:txBody>
      </p:sp>
    </p:spTree>
    <p:extLst>
      <p:ext uri="{BB962C8B-B14F-4D97-AF65-F5344CB8AC3E}">
        <p14:creationId xmlns:p14="http://schemas.microsoft.com/office/powerpoint/2010/main" val="2242054096"/>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5" tIns="143333" rIns="179165" bIns="143333" numCol="1" spcCol="0" rtlCol="0" fromWordArt="0" anchor="t" anchorCtr="0" forceAA="0" compatLnSpc="1">
            <a:prstTxWarp prst="textNoShape">
              <a:avLst/>
            </a:prstTxWarp>
            <a:noAutofit/>
          </a:bodyPr>
          <a:lstStyle/>
          <a:p>
            <a:pPr algn="ctr" defTabSz="913461" fontAlgn="base">
              <a:lnSpc>
                <a:spcPct val="90000"/>
              </a:lnSpc>
              <a:spcBef>
                <a:spcPct val="0"/>
              </a:spcBef>
              <a:spcAft>
                <a:spcPct val="0"/>
              </a:spcAft>
            </a:pPr>
            <a:endParaRPr lang="en-US" sz="239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057400"/>
            <a:ext cx="5486400" cy="2743426"/>
          </a:xfrm>
          <a:noFill/>
        </p:spPr>
        <p:txBody>
          <a:bodyPr vert="horz" lIns="137160" tIns="137160" rIns="137160" bIns="137160" rtlCol="0" anchor="t" anchorCtr="0">
            <a:normAutofit/>
          </a:bodyPr>
          <a:lstStyle>
            <a:lvl1pPr>
              <a:defRPr lang="en-US" sz="4398"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13" y="4800600"/>
            <a:ext cx="5486400" cy="914400"/>
          </a:xfrm>
        </p:spPr>
        <p:txBody>
          <a:bodyPr lIns="137160" tIns="137160" rIns="137160" bIns="137160">
            <a:noAutofit/>
          </a:bodyPr>
          <a:lstStyle>
            <a:lvl1pPr marL="0" indent="0">
              <a:spcBef>
                <a:spcPts val="0"/>
              </a:spcBef>
              <a:buNone/>
              <a:defRPr sz="1998">
                <a:solidFill>
                  <a:schemeClr val="bg1"/>
                </a:solidFill>
              </a:defRPr>
            </a:lvl1pPr>
            <a:lvl2pPr marL="281505" indent="0">
              <a:buNone/>
              <a:defRPr sz="1998">
                <a:solidFill>
                  <a:schemeClr val="bg1"/>
                </a:solidFill>
              </a:defRPr>
            </a:lvl2pPr>
            <a:lvl3pPr marL="588123" indent="0">
              <a:buNone/>
              <a:defRPr sz="1998">
                <a:solidFill>
                  <a:schemeClr val="bg1"/>
                </a:solidFill>
              </a:defRPr>
            </a:lvl3pPr>
            <a:lvl4pPr marL="869628" indent="0">
              <a:buNone/>
              <a:defRPr sz="1998">
                <a:solidFill>
                  <a:schemeClr val="bg1"/>
                </a:solidFill>
              </a:defRPr>
            </a:lvl4pPr>
            <a:lvl5pPr marL="1104876" indent="0">
              <a:buNone/>
              <a:defRPr sz="1998">
                <a:solidFill>
                  <a:schemeClr val="bg1"/>
                </a:solidFill>
              </a:defRPr>
            </a:lvl5pPr>
          </a:lstStyle>
          <a:p>
            <a:pPr lvl="0"/>
            <a:r>
              <a:rPr lang="en-US" dirty="0"/>
              <a:t>Speaker Name</a:t>
            </a:r>
          </a:p>
        </p:txBody>
      </p:sp>
      <p:sp>
        <p:nvSpPr>
          <p:cNvPr id="10" name="TextBox 9"/>
          <p:cNvSpPr txBox="1"/>
          <p:nvPr/>
        </p:nvSpPr>
        <p:spPr>
          <a:xfrm>
            <a:off x="7618016" y="381000"/>
            <a:ext cx="3809008" cy="1905000"/>
          </a:xfrm>
          <a:prstGeom prst="rect">
            <a:avLst/>
          </a:prstGeom>
        </p:spPr>
        <p:txBody>
          <a:bodyPr vert="horz" wrap="square" lIns="108765" tIns="54383" rIns="108765" bIns="54383" rtlCol="0" anchor="ctr">
            <a:normAutofit/>
          </a:bodyPr>
          <a:lstStyle/>
          <a:p>
            <a:r>
              <a:rPr lang="en-US" sz="1998"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2939" y="228600"/>
            <a:ext cx="1946596" cy="716042"/>
          </a:xfrm>
          <a:prstGeom prst="rect">
            <a:avLst/>
          </a:prstGeom>
        </p:spPr>
      </p:pic>
      <p:sp>
        <p:nvSpPr>
          <p:cNvPr id="15" name="TextBox 14"/>
          <p:cNvSpPr txBox="1"/>
          <p:nvPr/>
        </p:nvSpPr>
        <p:spPr>
          <a:xfrm>
            <a:off x="7618016" y="381000"/>
            <a:ext cx="3809008" cy="1905000"/>
          </a:xfrm>
          <a:prstGeom prst="rect">
            <a:avLst/>
          </a:prstGeom>
        </p:spPr>
        <p:txBody>
          <a:bodyPr vert="horz" wrap="square" lIns="108765" tIns="54383" rIns="108765" bIns="54383" rtlCol="0" anchor="ctr">
            <a:normAutofit/>
          </a:bodyPr>
          <a:lstStyle/>
          <a:p>
            <a:r>
              <a:rPr lang="en-US" sz="1998"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16" y="198357"/>
            <a:ext cx="1946596" cy="716042"/>
          </a:xfrm>
          <a:prstGeom prst="rect">
            <a:avLst/>
          </a:prstGeom>
        </p:spPr>
      </p:pic>
      <p:sp>
        <p:nvSpPr>
          <p:cNvPr id="14" name="TextBox 13"/>
          <p:cNvSpPr txBox="1"/>
          <p:nvPr userDrawn="1"/>
        </p:nvSpPr>
        <p:spPr>
          <a:xfrm>
            <a:off x="7618016" y="381000"/>
            <a:ext cx="3809008" cy="1905000"/>
          </a:xfrm>
          <a:prstGeom prst="rect">
            <a:avLst/>
          </a:prstGeom>
        </p:spPr>
        <p:txBody>
          <a:bodyPr vert="horz" wrap="square" lIns="108765" tIns="54383" rIns="108765" bIns="54383" rtlCol="0" anchor="ctr">
            <a:normAutofit/>
          </a:bodyPr>
          <a:lstStyle/>
          <a:p>
            <a:r>
              <a:rPr lang="en-US" sz="1998"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16" y="198357"/>
            <a:ext cx="1946596" cy="716042"/>
          </a:xfrm>
          <a:prstGeom prst="rect">
            <a:avLst/>
          </a:prstGeom>
        </p:spPr>
      </p:pic>
    </p:spTree>
    <p:extLst>
      <p:ext uri="{BB962C8B-B14F-4D97-AF65-F5344CB8AC3E}">
        <p14:creationId xmlns:p14="http://schemas.microsoft.com/office/powerpoint/2010/main" val="2053155549"/>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420400" y="274209"/>
            <a:ext cx="1946596" cy="716043"/>
          </a:xfrm>
          <a:prstGeom prst="rect">
            <a:avLst/>
          </a:prstGeom>
        </p:spPr>
      </p:pic>
      <p:sp>
        <p:nvSpPr>
          <p:cNvPr id="13" name="Rectangle 12"/>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5" tIns="143333" rIns="179165" bIns="143333" numCol="1" spcCol="0" rtlCol="0" fromWordArt="0" anchor="t" anchorCtr="0" forceAA="0" compatLnSpc="1">
            <a:prstTxWarp prst="textNoShape">
              <a:avLst/>
            </a:prstTxWarp>
            <a:noAutofit/>
          </a:bodyPr>
          <a:lstStyle/>
          <a:p>
            <a:pPr algn="ctr" defTabSz="913461" fontAlgn="base">
              <a:lnSpc>
                <a:spcPct val="90000"/>
              </a:lnSpc>
              <a:spcBef>
                <a:spcPct val="0"/>
              </a:spcBef>
              <a:spcAft>
                <a:spcPct val="0"/>
              </a:spcAft>
            </a:pPr>
            <a:endParaRPr lang="en-US" sz="239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057400"/>
            <a:ext cx="5486400" cy="2743426"/>
          </a:xfrm>
          <a:noFill/>
        </p:spPr>
        <p:txBody>
          <a:bodyPr vert="horz" lIns="137160" tIns="137160" rIns="137160" bIns="137160" rtlCol="0" anchor="t" anchorCtr="0">
            <a:normAutofit/>
          </a:bodyPr>
          <a:lstStyle>
            <a:lvl1pPr>
              <a:defRPr lang="en-US" sz="4398"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13" y="4800600"/>
            <a:ext cx="5486400" cy="914400"/>
          </a:xfrm>
        </p:spPr>
        <p:txBody>
          <a:bodyPr lIns="137160" tIns="137160" rIns="137160" bIns="137160">
            <a:noAutofit/>
          </a:bodyPr>
          <a:lstStyle>
            <a:lvl1pPr marL="0" indent="0">
              <a:spcBef>
                <a:spcPts val="0"/>
              </a:spcBef>
              <a:buNone/>
              <a:defRPr sz="1998">
                <a:solidFill>
                  <a:schemeClr val="bg1"/>
                </a:solidFill>
              </a:defRPr>
            </a:lvl1pPr>
            <a:lvl2pPr marL="281505" indent="0">
              <a:buNone/>
              <a:defRPr sz="1998">
                <a:solidFill>
                  <a:schemeClr val="bg1"/>
                </a:solidFill>
              </a:defRPr>
            </a:lvl2pPr>
            <a:lvl3pPr marL="588123" indent="0">
              <a:buNone/>
              <a:defRPr sz="1998">
                <a:solidFill>
                  <a:schemeClr val="bg1"/>
                </a:solidFill>
              </a:defRPr>
            </a:lvl3pPr>
            <a:lvl4pPr marL="869628" indent="0">
              <a:buNone/>
              <a:defRPr sz="1998">
                <a:solidFill>
                  <a:schemeClr val="bg1"/>
                </a:solidFill>
              </a:defRPr>
            </a:lvl4pPr>
            <a:lvl5pPr marL="1104876" indent="0">
              <a:buNone/>
              <a:defRPr sz="1998">
                <a:solidFill>
                  <a:schemeClr val="bg1"/>
                </a:solidFill>
              </a:defRPr>
            </a:lvl5pPr>
          </a:lstStyle>
          <a:p>
            <a:pPr lvl="0"/>
            <a:r>
              <a:rPr lang="en-US" dirty="0"/>
              <a:t>Speaker Name</a:t>
            </a:r>
          </a:p>
        </p:txBody>
      </p:sp>
      <p:pic>
        <p:nvPicPr>
          <p:cNvPr id="14" name="Picture 1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1916" y="200779"/>
            <a:ext cx="1946593" cy="716042"/>
          </a:xfrm>
          <a:prstGeom prst="rect">
            <a:avLst/>
          </a:prstGeom>
        </p:spPr>
      </p:pic>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420400" y="274209"/>
            <a:ext cx="1946596" cy="716043"/>
          </a:xfrm>
          <a:prstGeom prst="rect">
            <a:avLst/>
          </a:prstGeom>
        </p:spPr>
      </p:pic>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1916" y="200779"/>
            <a:ext cx="1946593" cy="716042"/>
          </a:xfrm>
          <a:prstGeom prst="rect">
            <a:avLst/>
          </a:prstGeom>
        </p:spPr>
      </p:pic>
    </p:spTree>
    <p:extLst>
      <p:ext uri="{BB962C8B-B14F-4D97-AF65-F5344CB8AC3E}">
        <p14:creationId xmlns:p14="http://schemas.microsoft.com/office/powerpoint/2010/main" val="388544450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939715152"/>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2" y="573608"/>
            <a:ext cx="12188825" cy="373063"/>
          </a:xfrm>
          <a:prstGeom prst="rect">
            <a:avLst/>
          </a:prstGeom>
        </p:spPr>
        <p:txBody>
          <a:bodyPr lIns="320040" tIns="53325" rIns="53325" bIns="53325">
            <a:noAutofit/>
          </a:bodyPr>
          <a:lstStyle>
            <a:lvl1pPr marL="0" indent="0">
              <a:buNone/>
              <a:defRPr sz="2798">
                <a:solidFill>
                  <a:schemeClr val="tx1"/>
                </a:solidFill>
                <a:latin typeface="Segoe UI Light" pitchFamily="34" charset="0"/>
              </a:defRPr>
            </a:lvl1pPr>
            <a:lvl2pPr marL="281505" indent="0">
              <a:buNone/>
              <a:defRPr/>
            </a:lvl2pPr>
            <a:lvl3pPr marL="588123" indent="0">
              <a:buNone/>
              <a:defRPr/>
            </a:lvl3pPr>
            <a:lvl4pPr marL="869628" indent="0">
              <a:buNone/>
              <a:defRPr/>
            </a:lvl4pPr>
            <a:lvl5pPr marL="1104876" indent="0">
              <a:buNone/>
              <a:defRPr/>
            </a:lvl5pPr>
          </a:lstStyle>
          <a:p>
            <a:pPr lvl="0"/>
            <a:r>
              <a:rPr lang="en-US" dirty="0"/>
              <a:t>Click to add subtitle</a:t>
            </a:r>
          </a:p>
        </p:txBody>
      </p:sp>
      <p:sp>
        <p:nvSpPr>
          <p:cNvPr id="16" name="Text Placeholder 15"/>
          <p:cNvSpPr>
            <a:spLocks noGrp="1"/>
          </p:cNvSpPr>
          <p:nvPr>
            <p:ph type="body" sz="quarter" idx="14"/>
          </p:nvPr>
        </p:nvSpPr>
        <p:spPr>
          <a:xfrm>
            <a:off x="150813" y="1600200"/>
            <a:ext cx="11887200"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p:txBody>
          <a:bodyPr/>
          <a:lstStyle/>
          <a:p>
            <a:endParaRPr lang="en-US" dirty="0">
              <a:solidFill>
                <a:srgbClr val="505050"/>
              </a:solidFill>
            </a:endParaRPr>
          </a:p>
        </p:txBody>
      </p:sp>
    </p:spTree>
    <p:extLst>
      <p:ext uri="{BB962C8B-B14F-4D97-AF65-F5344CB8AC3E}">
        <p14:creationId xmlns:p14="http://schemas.microsoft.com/office/powerpoint/2010/main" val="3025079614"/>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27024" y="6478591"/>
            <a:ext cx="761800"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2" y="573608"/>
            <a:ext cx="12188825" cy="373063"/>
          </a:xfrm>
          <a:prstGeom prst="rect">
            <a:avLst/>
          </a:prstGeom>
        </p:spPr>
        <p:txBody>
          <a:bodyPr lIns="320040" tIns="53325" rIns="53325" bIns="53325">
            <a:noAutofit/>
          </a:bodyPr>
          <a:lstStyle>
            <a:lvl1pPr marL="0" indent="0">
              <a:buNone/>
              <a:defRPr sz="2798">
                <a:solidFill>
                  <a:schemeClr val="tx1"/>
                </a:solidFill>
                <a:latin typeface="Segoe UI Light" pitchFamily="34" charset="0"/>
              </a:defRPr>
            </a:lvl1pPr>
            <a:lvl2pPr marL="281505" indent="0">
              <a:buNone/>
              <a:defRPr/>
            </a:lvl2pPr>
            <a:lvl3pPr marL="588123" indent="0">
              <a:buNone/>
              <a:defRPr/>
            </a:lvl3pPr>
            <a:lvl4pPr marL="869628" indent="0">
              <a:buNone/>
              <a:defRPr/>
            </a:lvl4pPr>
            <a:lvl5pPr marL="1104876" indent="0">
              <a:buNone/>
              <a:defRPr/>
            </a:lvl5pPr>
          </a:lstStyle>
          <a:p>
            <a:pPr lvl="0"/>
            <a:r>
              <a:rPr lang="en-US" dirty="0"/>
              <a:t>Click to add subtitle</a:t>
            </a:r>
          </a:p>
        </p:txBody>
      </p:sp>
    </p:spTree>
    <p:extLst>
      <p:ext uri="{BB962C8B-B14F-4D97-AF65-F5344CB8AC3E}">
        <p14:creationId xmlns:p14="http://schemas.microsoft.com/office/powerpoint/2010/main" val="260674202"/>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13" y="1600200"/>
            <a:ext cx="11887200"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505" indent="0">
              <a:buNone/>
              <a:defRPr>
                <a:solidFill>
                  <a:schemeClr val="tx1"/>
                </a:solidFill>
                <a:latin typeface="Courier New" pitchFamily="49" charset="0"/>
                <a:cs typeface="Courier New" pitchFamily="49" charset="0"/>
              </a:defRPr>
            </a:lvl2pPr>
            <a:lvl3pPr marL="588123" indent="0">
              <a:buNone/>
              <a:defRPr>
                <a:solidFill>
                  <a:schemeClr val="tx1"/>
                </a:solidFill>
                <a:latin typeface="Courier New" pitchFamily="49" charset="0"/>
                <a:cs typeface="Courier New" pitchFamily="49" charset="0"/>
              </a:defRPr>
            </a:lvl3pPr>
            <a:lvl4pPr marL="869628" indent="0">
              <a:buNone/>
              <a:defRPr>
                <a:solidFill>
                  <a:schemeClr val="tx1"/>
                </a:solidFill>
                <a:latin typeface="Courier New" pitchFamily="49" charset="0"/>
                <a:cs typeface="Courier New" pitchFamily="49" charset="0"/>
              </a:defRPr>
            </a:lvl4pPr>
            <a:lvl5pPr marL="1104876"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2" y="573608"/>
            <a:ext cx="12188825" cy="373063"/>
          </a:xfrm>
          <a:prstGeom prst="rect">
            <a:avLst/>
          </a:prstGeom>
        </p:spPr>
        <p:txBody>
          <a:bodyPr lIns="320040" tIns="53325" rIns="53325" bIns="53325">
            <a:noAutofit/>
          </a:bodyPr>
          <a:lstStyle>
            <a:lvl1pPr marL="0" indent="0">
              <a:buNone/>
              <a:defRPr sz="2798">
                <a:solidFill>
                  <a:schemeClr val="tx1"/>
                </a:solidFill>
                <a:latin typeface="Segoe UI Light" pitchFamily="34" charset="0"/>
              </a:defRPr>
            </a:lvl1pPr>
            <a:lvl2pPr marL="281505" indent="0">
              <a:buNone/>
              <a:defRPr/>
            </a:lvl2pPr>
            <a:lvl3pPr marL="588123" indent="0">
              <a:buNone/>
              <a:defRPr/>
            </a:lvl3pPr>
            <a:lvl4pPr marL="869628" indent="0">
              <a:buNone/>
              <a:defRPr/>
            </a:lvl4pPr>
            <a:lvl5pPr marL="1104876"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876251012"/>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073703764"/>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5" tIns="143333" rIns="179165" bIns="143333" numCol="1" spcCol="0" rtlCol="0" fromWordArt="0" anchor="t" anchorCtr="0" forceAA="0" compatLnSpc="1">
            <a:prstTxWarp prst="textNoShape">
              <a:avLst/>
            </a:prstTxWarp>
            <a:noAutofit/>
          </a:bodyPr>
          <a:lstStyle/>
          <a:p>
            <a:pPr algn="ctr" defTabSz="913461" fontAlgn="base">
              <a:lnSpc>
                <a:spcPct val="90000"/>
              </a:lnSpc>
              <a:spcBef>
                <a:spcPct val="0"/>
              </a:spcBef>
              <a:spcAft>
                <a:spcPct val="0"/>
              </a:spcAft>
            </a:pPr>
            <a:endParaRPr lang="en-US" sz="239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5" tIns="143333" rIns="179165" bIns="143333" numCol="1" spcCol="0" rtlCol="0" fromWordArt="0" anchor="t" anchorCtr="0" forceAA="0" compatLnSpc="1">
            <a:prstTxWarp prst="textNoShape">
              <a:avLst/>
            </a:prstTxWarp>
            <a:noAutofit/>
          </a:bodyPr>
          <a:lstStyle/>
          <a:p>
            <a:pPr algn="ctr" defTabSz="913461" fontAlgn="base">
              <a:lnSpc>
                <a:spcPct val="90000"/>
              </a:lnSpc>
              <a:spcBef>
                <a:spcPct val="0"/>
              </a:spcBef>
              <a:spcAft>
                <a:spcPct val="0"/>
              </a:spcAft>
            </a:pPr>
            <a:endParaRPr lang="en-US" sz="239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15" y="1143004"/>
            <a:ext cx="10058399" cy="2734277"/>
          </a:xfrm>
          <a:noFill/>
        </p:spPr>
        <p:txBody>
          <a:bodyPr lIns="137160" tIns="137160" rIns="137160" bIns="137160" anchor="t" anchorCtr="0"/>
          <a:lstStyle>
            <a:lvl1pPr>
              <a:defRPr sz="7096"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13" y="3877280"/>
            <a:ext cx="10058401" cy="1837723"/>
          </a:xfrm>
          <a:noFill/>
        </p:spPr>
        <p:txBody>
          <a:bodyPr lIns="137160" tIns="137160" rIns="137160" bIns="137160">
            <a:noAutofit/>
          </a:bodyPr>
          <a:lstStyle>
            <a:lvl1pPr marL="0" indent="0">
              <a:spcBef>
                <a:spcPts val="0"/>
              </a:spcBef>
              <a:buNone/>
              <a:defRPr sz="2798"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5" tIns="143333" rIns="179165" bIns="143333" numCol="1" spcCol="0" rtlCol="0" fromWordArt="0" anchor="t" anchorCtr="0" forceAA="0" compatLnSpc="1">
            <a:prstTxWarp prst="textNoShape">
              <a:avLst/>
            </a:prstTxWarp>
            <a:noAutofit/>
          </a:bodyPr>
          <a:lstStyle/>
          <a:p>
            <a:pPr algn="ctr" defTabSz="913461" fontAlgn="base">
              <a:lnSpc>
                <a:spcPct val="90000"/>
              </a:lnSpc>
              <a:spcBef>
                <a:spcPct val="0"/>
              </a:spcBef>
              <a:spcAft>
                <a:spcPct val="0"/>
              </a:spcAft>
            </a:pPr>
            <a:endParaRPr lang="en-US" sz="239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9717986"/>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15"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5" tIns="143333" rIns="179165" bIns="143333" numCol="1" spcCol="0" rtlCol="0" fromWordArt="0" anchor="t" anchorCtr="0" forceAA="0" compatLnSpc="1">
            <a:prstTxWarp prst="textNoShape">
              <a:avLst/>
            </a:prstTxWarp>
            <a:noAutofit/>
          </a:bodyPr>
          <a:lstStyle/>
          <a:p>
            <a:pPr algn="ctr" defTabSz="913461" fontAlgn="base">
              <a:lnSpc>
                <a:spcPct val="90000"/>
              </a:lnSpc>
              <a:spcBef>
                <a:spcPct val="0"/>
              </a:spcBef>
              <a:spcAft>
                <a:spcPct val="0"/>
              </a:spcAft>
            </a:pPr>
            <a:endParaRPr lang="en-US" sz="239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15"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5" tIns="143333" rIns="179165" bIns="143333" numCol="1" spcCol="0" rtlCol="0" fromWordArt="0" anchor="t" anchorCtr="0" forceAA="0" compatLnSpc="1">
            <a:prstTxWarp prst="textNoShape">
              <a:avLst/>
            </a:prstTxWarp>
            <a:noAutofit/>
          </a:bodyPr>
          <a:lstStyle/>
          <a:p>
            <a:pPr algn="ctr" defTabSz="913461" fontAlgn="base">
              <a:lnSpc>
                <a:spcPct val="90000"/>
              </a:lnSpc>
              <a:spcBef>
                <a:spcPct val="0"/>
              </a:spcBef>
              <a:spcAft>
                <a:spcPct val="0"/>
              </a:spcAft>
            </a:pPr>
            <a:endParaRPr lang="en-US" sz="239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15" y="1143003"/>
            <a:ext cx="10058399" cy="2734277"/>
          </a:xfrm>
          <a:noFill/>
        </p:spPr>
        <p:txBody>
          <a:bodyPr lIns="137160" tIns="137160" rIns="137160" bIns="137160" anchor="t" anchorCtr="0"/>
          <a:lstStyle>
            <a:lvl1pPr>
              <a:defRPr sz="7096"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13" y="3886200"/>
            <a:ext cx="10058400" cy="1828800"/>
          </a:xfrm>
          <a:noFill/>
        </p:spPr>
        <p:txBody>
          <a:bodyPr lIns="137160" tIns="137160" rIns="137160" bIns="137160">
            <a:noAutofit/>
          </a:bodyPr>
          <a:lstStyle>
            <a:lvl1pPr marL="0" indent="0">
              <a:spcBef>
                <a:spcPts val="0"/>
              </a:spcBef>
              <a:buNone/>
              <a:defRPr sz="2798"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15"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5" tIns="143333" rIns="179165" bIns="143333" numCol="1" spcCol="0" rtlCol="0" fromWordArt="0" anchor="t" anchorCtr="0" forceAA="0" compatLnSpc="1">
            <a:prstTxWarp prst="textNoShape">
              <a:avLst/>
            </a:prstTxWarp>
            <a:noAutofit/>
          </a:bodyPr>
          <a:lstStyle/>
          <a:p>
            <a:pPr algn="ctr" defTabSz="913461" fontAlgn="base">
              <a:lnSpc>
                <a:spcPct val="90000"/>
              </a:lnSpc>
              <a:spcBef>
                <a:spcPct val="0"/>
              </a:spcBef>
              <a:spcAft>
                <a:spcPct val="0"/>
              </a:spcAft>
            </a:pPr>
            <a:endParaRPr lang="en-US" sz="2398"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15332432"/>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4"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14" indent="-190314">
              <a:lnSpc>
                <a:spcPct val="80000"/>
              </a:lnSpc>
              <a:buNone/>
              <a:defRPr lang="en-US" sz="1998" kern="1200" dirty="0">
                <a:solidFill>
                  <a:srgbClr val="FFFFFF"/>
                </a:solidFill>
                <a:latin typeface="Segoe UI" pitchFamily="34" charset="0"/>
                <a:ea typeface="Segoe UI" pitchFamily="34" charset="0"/>
                <a:cs typeface="Segoe UI" pitchFamily="34" charset="0"/>
              </a:defRPr>
            </a:lvl1pPr>
          </a:lstStyle>
          <a:p>
            <a:pPr marL="0" lvl="0" indent="0" algn="l" defTabSz="1087453"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4804248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2"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39" tIns="38069" rIns="76139" bIns="38069" rtlCol="0" anchor="ctr"/>
          <a:lstStyle/>
          <a:p>
            <a:pPr algn="ctr"/>
            <a:endParaRPr lang="en-US" sz="2198">
              <a:solidFill>
                <a:prstClr val="white"/>
              </a:solidFill>
            </a:endParaRPr>
          </a:p>
        </p:txBody>
      </p:sp>
      <p:sp>
        <p:nvSpPr>
          <p:cNvPr id="4" name="Rectangle 3"/>
          <p:cNvSpPr/>
          <p:nvPr/>
        </p:nvSpPr>
        <p:spPr>
          <a:xfrm>
            <a:off x="2"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39" tIns="38069" rIns="76139" bIns="38069" rtlCol="0" anchor="ctr"/>
          <a:lstStyle/>
          <a:p>
            <a:pPr algn="ctr"/>
            <a:endParaRPr lang="en-US" sz="2198">
              <a:solidFill>
                <a:prstClr val="white"/>
              </a:solidFill>
            </a:endParaRPr>
          </a:p>
        </p:txBody>
      </p:sp>
      <p:sp>
        <p:nvSpPr>
          <p:cNvPr id="8" name="Rectangle 7"/>
          <p:cNvSpPr/>
          <p:nvPr/>
        </p:nvSpPr>
        <p:spPr>
          <a:xfrm>
            <a:off x="2"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39" tIns="38069" rIns="76139" bIns="38069" rtlCol="0" anchor="ctr"/>
          <a:lstStyle/>
          <a:p>
            <a:pPr algn="ctr"/>
            <a:endParaRPr lang="en-US" sz="2198">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118" y="2899241"/>
            <a:ext cx="2880367" cy="1059525"/>
          </a:xfrm>
          <a:prstGeom prst="rect">
            <a:avLst/>
          </a:prstGeom>
        </p:spPr>
      </p:pic>
      <p:sp>
        <p:nvSpPr>
          <p:cNvPr id="6" name="Rectangle 5"/>
          <p:cNvSpPr/>
          <p:nvPr/>
        </p:nvSpPr>
        <p:spPr>
          <a:xfrm>
            <a:off x="2"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39" tIns="38069" rIns="76139" bIns="38069" rtlCol="0" anchor="ctr"/>
          <a:lstStyle/>
          <a:p>
            <a:pPr algn="ctr"/>
            <a:endParaRPr lang="en-US" sz="2198">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118" y="2899241"/>
            <a:ext cx="2880367" cy="1059525"/>
          </a:xfrm>
          <a:prstGeom prst="rect">
            <a:avLst/>
          </a:prstGeom>
        </p:spPr>
      </p:pic>
      <p:sp>
        <p:nvSpPr>
          <p:cNvPr id="9" name="Rectangle 8"/>
          <p:cNvSpPr/>
          <p:nvPr userDrawn="1"/>
        </p:nvSpPr>
        <p:spPr>
          <a:xfrm>
            <a:off x="2"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39" tIns="38069" rIns="76139" bIns="38069" rtlCol="0" anchor="ctr"/>
          <a:lstStyle/>
          <a:p>
            <a:pPr algn="ctr"/>
            <a:endParaRPr lang="en-US" sz="2198">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8760" y="2901954"/>
            <a:ext cx="2844267" cy="1046245"/>
          </a:xfrm>
          <a:prstGeom prst="rect">
            <a:avLst/>
          </a:prstGeom>
        </p:spPr>
      </p:pic>
    </p:spTree>
    <p:extLst>
      <p:ext uri="{BB962C8B-B14F-4D97-AF65-F5344CB8AC3E}">
        <p14:creationId xmlns:p14="http://schemas.microsoft.com/office/powerpoint/2010/main" val="996199743"/>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Title only (alterna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0" y="1593"/>
          <a:ext cx="1587" cy="1587"/>
        </p:xfrm>
        <a:graphic>
          <a:graphicData uri="http://schemas.openxmlformats.org/presentationml/2006/ole">
            <mc:AlternateContent xmlns:mc="http://schemas.openxmlformats.org/markup-compatibility/2006">
              <mc:Choice xmlns:v="urn:schemas-microsoft-com:vml" Requires="v">
                <p:oleObj spid="_x0000_s65540" name="think-cell Slide" r:id="rId11" imgW="270" imgH="270" progId="TCLayout.ActiveDocument.1">
                  <p:embed/>
                </p:oleObj>
              </mc:Choice>
              <mc:Fallback>
                <p:oleObj name="think-cell Slide" r:id="rId11" imgW="270" imgH="270" progId="TCLayout.ActiveDocument.1">
                  <p:embed/>
                  <p:pic>
                    <p:nvPicPr>
                      <p:cNvPr id="3" name="Object 2" hidden="1"/>
                      <p:cNvPicPr/>
                      <p:nvPr/>
                    </p:nvPicPr>
                    <p:blipFill>
                      <a:blip r:embed="rId12"/>
                      <a:stretch>
                        <a:fillRect/>
                      </a:stretch>
                    </p:blipFill>
                    <p:spPr>
                      <a:xfrm>
                        <a:off x="1590" y="1593"/>
                        <a:ext cx="1587" cy="1587"/>
                      </a:xfrm>
                      <a:prstGeom prst="rect">
                        <a:avLst/>
                      </a:prstGeom>
                    </p:spPr>
                  </p:pic>
                </p:oleObj>
              </mc:Fallback>
            </mc:AlternateContent>
          </a:graphicData>
        </a:graphic>
      </p:graphicFrame>
      <p:sp>
        <p:nvSpPr>
          <p:cNvPr id="12" name="Rectangle 11"/>
          <p:cNvSpPr/>
          <p:nvPr userDrawn="1">
            <p:custDataLst>
              <p:tags r:id="rId3"/>
            </p:custDataLst>
          </p:nvPr>
        </p:nvSpPr>
        <p:spPr>
          <a:xfrm>
            <a:off x="7" y="6478604"/>
            <a:ext cx="12188824"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10" tIns="38055" rIns="76110" bIns="38055" rtlCol="0" anchor="ctr"/>
          <a:lstStyle/>
          <a:p>
            <a:pPr algn="ctr" defTabSz="1087006"/>
            <a:endParaRPr lang="en-US" sz="2197">
              <a:solidFill>
                <a:prstClr val="white"/>
              </a:solidFill>
            </a:endParaRPr>
          </a:p>
        </p:txBody>
      </p:sp>
      <p:sp>
        <p:nvSpPr>
          <p:cNvPr id="2" name="Title 1"/>
          <p:cNvSpPr>
            <a:spLocks noGrp="1"/>
          </p:cNvSpPr>
          <p:nvPr>
            <p:ph type="title"/>
            <p:custDataLst>
              <p:tags r:id="rId4"/>
            </p:custDataLst>
          </p:nvPr>
        </p:nvSpPr>
        <p:spPr>
          <a:xfrm>
            <a:off x="761807" y="2"/>
            <a:ext cx="11427023" cy="646042"/>
          </a:xfrm>
        </p:spPr>
        <p:txBody>
          <a:bodyPr>
            <a:noAutofit/>
          </a:bodyPr>
          <a:lstStyle>
            <a:lvl1pPr marL="225289" indent="0">
              <a:defRPr sz="4398"/>
            </a:lvl1pPr>
          </a:lstStyle>
          <a:p>
            <a:endParaRPr lang="en-US" dirty="0"/>
          </a:p>
        </p:txBody>
      </p:sp>
      <p:sp>
        <p:nvSpPr>
          <p:cNvPr id="6" name="Text Placeholder 5"/>
          <p:cNvSpPr>
            <a:spLocks noGrp="1"/>
          </p:cNvSpPr>
          <p:nvPr>
            <p:ph type="body" sz="quarter" idx="12" hasCustomPrompt="1"/>
            <p:custDataLst>
              <p:tags r:id="rId5"/>
            </p:custDataLst>
          </p:nvPr>
        </p:nvSpPr>
        <p:spPr>
          <a:xfrm>
            <a:off x="761807" y="573621"/>
            <a:ext cx="11427023" cy="373063"/>
          </a:xfrm>
          <a:prstGeom prst="rect">
            <a:avLst/>
          </a:prstGeom>
        </p:spPr>
        <p:txBody>
          <a:bodyPr lIns="380851" tIns="53319" rIns="53319" bIns="53319">
            <a:noAutofit/>
          </a:bodyPr>
          <a:lstStyle>
            <a:lvl1pPr marL="0" indent="0">
              <a:buNone/>
              <a:defRPr sz="2797">
                <a:latin typeface="Segoe UI Light" pitchFamily="34" charset="0"/>
              </a:defRPr>
            </a:lvl1pPr>
            <a:lvl2pPr marL="281391" indent="0">
              <a:buNone/>
              <a:defRPr/>
            </a:lvl2pPr>
            <a:lvl3pPr marL="587882" indent="0">
              <a:buNone/>
              <a:defRPr/>
            </a:lvl3pPr>
            <a:lvl4pPr marL="869270" indent="0">
              <a:buNone/>
              <a:defRPr/>
            </a:lvl4pPr>
            <a:lvl5pPr marL="1104422" indent="0">
              <a:buNone/>
              <a:defRPr/>
            </a:lvl5pPr>
          </a:lstStyle>
          <a:p>
            <a:pPr lvl="0"/>
            <a:r>
              <a:rPr lang="en-US" dirty="0"/>
              <a:t>Click to add subtitle</a:t>
            </a:r>
          </a:p>
        </p:txBody>
      </p:sp>
      <p:sp>
        <p:nvSpPr>
          <p:cNvPr id="9" name="Rectangle 8"/>
          <p:cNvSpPr/>
          <p:nvPr userDrawn="1">
            <p:custDataLst>
              <p:tags r:id="rId6"/>
            </p:custDataLst>
          </p:nvPr>
        </p:nvSpPr>
        <p:spPr>
          <a:xfrm>
            <a:off x="1" y="1"/>
            <a:ext cx="761802" cy="68564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03" tIns="38052" rIns="76103" bIns="38052" rtlCol="0" anchor="ctr">
            <a:noAutofit/>
          </a:bodyPr>
          <a:lstStyle/>
          <a:p>
            <a:pPr algn="ctr" defTabSz="1087006"/>
            <a:endParaRPr lang="en-US" sz="2197">
              <a:solidFill>
                <a:prstClr val="white"/>
              </a:solidFill>
            </a:endParaRPr>
          </a:p>
        </p:txBody>
      </p:sp>
      <p:sp>
        <p:nvSpPr>
          <p:cNvPr id="15" name="Slide Number Placeholder 4"/>
          <p:cNvSpPr>
            <a:spLocks noGrp="1"/>
          </p:cNvSpPr>
          <p:nvPr>
            <p:ph type="sldNum" sz="quarter" idx="16"/>
            <p:custDataLst>
              <p:tags r:id="rId7"/>
            </p:custDataLst>
          </p:nvPr>
        </p:nvSpPr>
        <p:spPr>
          <a:xfrm>
            <a:off x="11427033" y="6478604"/>
            <a:ext cx="761801" cy="379413"/>
          </a:xfrm>
          <a:prstGeom prst="rect">
            <a:avLst/>
          </a:prstGeom>
        </p:spPr>
        <p:txBody>
          <a:bodyPr/>
          <a:lstStyle/>
          <a:p>
            <a:pPr defTabSz="913699"/>
            <a:fld id="{6A4C1A4A-E5E6-4CC1-B72C-A20A4EB3E2D2}" type="slidenum">
              <a:rPr lang="en-US" sz="1898" smtClean="0">
                <a:solidFill>
                  <a:srgbClr val="505050"/>
                </a:solidFill>
              </a:rPr>
              <a:pPr defTabSz="913699"/>
              <a:t>‹#›</a:t>
            </a:fld>
            <a:endParaRPr lang="en-US" sz="1898" dirty="0">
              <a:solidFill>
                <a:srgbClr val="505050"/>
              </a:solidFill>
            </a:endParaRPr>
          </a:p>
        </p:txBody>
      </p:sp>
      <p:sp>
        <p:nvSpPr>
          <p:cNvPr id="10" name="Footer Placeholder 3"/>
          <p:cNvSpPr>
            <a:spLocks noGrp="1"/>
          </p:cNvSpPr>
          <p:nvPr>
            <p:ph type="ftr" sz="quarter" idx="11"/>
            <p:custDataLst>
              <p:tags r:id="rId8"/>
            </p:custDataLst>
          </p:nvPr>
        </p:nvSpPr>
        <p:spPr>
          <a:xfrm>
            <a:off x="3047206" y="6477890"/>
            <a:ext cx="8379817" cy="380127"/>
          </a:xfrm>
          <a:prstGeom prst="rect">
            <a:avLst/>
          </a:prstGeom>
        </p:spPr>
        <p:txBody>
          <a:bodyPr/>
          <a:lstStyle/>
          <a:p>
            <a:pPr defTabSz="913699"/>
            <a:endParaRPr lang="en-US" sz="1898" dirty="0">
              <a:solidFill>
                <a:srgbClr val="505050"/>
              </a:solidFill>
            </a:endParaRPr>
          </a:p>
        </p:txBody>
      </p:sp>
      <p:sp>
        <p:nvSpPr>
          <p:cNvPr id="11" name="Footer Placeholder 2"/>
          <p:cNvSpPr txBox="1">
            <a:spLocks/>
          </p:cNvSpPr>
          <p:nvPr userDrawn="1">
            <p:custDataLst>
              <p:tags r:id="rId9"/>
            </p:custDataLst>
          </p:nvPr>
        </p:nvSpPr>
        <p:spPr>
          <a:xfrm>
            <a:off x="761801" y="6478604"/>
            <a:ext cx="2285405" cy="379413"/>
          </a:xfrm>
          <a:prstGeom prst="rect">
            <a:avLst/>
          </a:prstGeom>
        </p:spPr>
        <p:txBody>
          <a:bodyPr lIns="380554" tIns="38055" rIns="76110" bIns="38055"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800" dirty="0">
                <a:solidFill>
                  <a:srgbClr val="505050"/>
                </a:solidFill>
                <a:ea typeface="Segoe UI" pitchFamily="34" charset="0"/>
                <a:cs typeface="Segoe UI" pitchFamily="34" charset="0"/>
              </a:rPr>
              <a:t>EPG | MICROSOFT CONFIDENTIAL</a:t>
            </a:r>
          </a:p>
        </p:txBody>
      </p:sp>
    </p:spTree>
    <p:extLst>
      <p:ext uri="{BB962C8B-B14F-4D97-AF65-F5344CB8AC3E}">
        <p14:creationId xmlns:p14="http://schemas.microsoft.com/office/powerpoint/2010/main" val="3078470770"/>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057400"/>
            <a:ext cx="5486400" cy="2743426"/>
          </a:xfrm>
          <a:noFill/>
        </p:spPr>
        <p:txBody>
          <a:bodyPr vert="horz" lIns="137160" tIns="137160" rIns="137160" bIns="137160" rtlCol="0" anchor="t" anchorCtr="0">
            <a:normAutofit/>
          </a:bodyPr>
          <a:lstStyle>
            <a:lvl1pPr>
              <a:defRPr lang="en-US" sz="4399"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13" y="4800600"/>
            <a:ext cx="5486400" cy="914400"/>
          </a:xfrm>
        </p:spPr>
        <p:txBody>
          <a:bodyPr lIns="137160" tIns="137160" rIns="137160" bIns="137160">
            <a:noAutofit/>
          </a:bodyPr>
          <a:lstStyle>
            <a:lvl1pPr marL="0" indent="0">
              <a:spcBef>
                <a:spcPts val="0"/>
              </a:spcBef>
              <a:buNone/>
              <a:defRPr sz="1999">
                <a:solidFill>
                  <a:schemeClr val="bg1"/>
                </a:solidFill>
              </a:defRPr>
            </a:lvl1pPr>
            <a:lvl2pPr marL="281589" indent="0">
              <a:buNone/>
              <a:defRPr sz="1999">
                <a:solidFill>
                  <a:schemeClr val="bg1"/>
                </a:solidFill>
              </a:defRPr>
            </a:lvl2pPr>
            <a:lvl3pPr marL="588299" indent="0">
              <a:buNone/>
              <a:defRPr sz="1999">
                <a:solidFill>
                  <a:schemeClr val="bg1"/>
                </a:solidFill>
              </a:defRPr>
            </a:lvl3pPr>
            <a:lvl4pPr marL="869889" indent="0">
              <a:buNone/>
              <a:defRPr sz="1999">
                <a:solidFill>
                  <a:schemeClr val="bg1"/>
                </a:solidFill>
              </a:defRPr>
            </a:lvl4pPr>
            <a:lvl5pPr marL="1105208" indent="0">
              <a:buNone/>
              <a:defRPr sz="1999">
                <a:solidFill>
                  <a:schemeClr val="bg1"/>
                </a:solidFill>
              </a:defRPr>
            </a:lvl5pPr>
          </a:lstStyle>
          <a:p>
            <a:pPr lvl="0"/>
            <a:r>
              <a:rPr lang="en-US" dirty="0"/>
              <a:t>Speaker Name</a:t>
            </a:r>
          </a:p>
        </p:txBody>
      </p:sp>
      <p:sp>
        <p:nvSpPr>
          <p:cNvPr id="10" name="TextBox 9"/>
          <p:cNvSpPr txBox="1"/>
          <p:nvPr/>
        </p:nvSpPr>
        <p:spPr>
          <a:xfrm>
            <a:off x="7618016" y="381000"/>
            <a:ext cx="3809008" cy="1905000"/>
          </a:xfrm>
          <a:prstGeom prst="rect">
            <a:avLst/>
          </a:prstGeom>
        </p:spPr>
        <p:txBody>
          <a:bodyPr vert="horz" wrap="square" lIns="108793" tIns="54397" rIns="108793" bIns="54397" rtlCol="0" anchor="ctr">
            <a:normAutofit/>
          </a:bodyPr>
          <a:lstStyle/>
          <a:p>
            <a:pPr defTabSz="1087779"/>
            <a:r>
              <a:rPr lang="en-US" sz="1999" dirty="0">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2940" y="228600"/>
            <a:ext cx="1946596" cy="716042"/>
          </a:xfrm>
          <a:prstGeom prst="rect">
            <a:avLst/>
          </a:prstGeom>
        </p:spPr>
      </p:pic>
      <p:sp>
        <p:nvSpPr>
          <p:cNvPr id="15" name="TextBox 14"/>
          <p:cNvSpPr txBox="1"/>
          <p:nvPr/>
        </p:nvSpPr>
        <p:spPr>
          <a:xfrm>
            <a:off x="7618016" y="381000"/>
            <a:ext cx="3809008" cy="1905000"/>
          </a:xfrm>
          <a:prstGeom prst="rect">
            <a:avLst/>
          </a:prstGeom>
        </p:spPr>
        <p:txBody>
          <a:bodyPr vert="horz" wrap="square" lIns="108793" tIns="54397" rIns="108793" bIns="54397" rtlCol="0" anchor="ctr">
            <a:normAutofit/>
          </a:bodyPr>
          <a:lstStyle/>
          <a:p>
            <a:pPr defTabSz="1087779"/>
            <a:r>
              <a:rPr lang="en-US" sz="1999" dirty="0">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16" y="198357"/>
            <a:ext cx="1946596" cy="716042"/>
          </a:xfrm>
          <a:prstGeom prst="rect">
            <a:avLst/>
          </a:prstGeom>
        </p:spPr>
      </p:pic>
      <p:sp>
        <p:nvSpPr>
          <p:cNvPr id="14" name="TextBox 13"/>
          <p:cNvSpPr txBox="1"/>
          <p:nvPr userDrawn="1"/>
        </p:nvSpPr>
        <p:spPr>
          <a:xfrm>
            <a:off x="7618016" y="381000"/>
            <a:ext cx="3809008" cy="1905000"/>
          </a:xfrm>
          <a:prstGeom prst="rect">
            <a:avLst/>
          </a:prstGeom>
        </p:spPr>
        <p:txBody>
          <a:bodyPr vert="horz" wrap="square" lIns="108793" tIns="54397" rIns="108793" bIns="54397" rtlCol="0" anchor="ctr">
            <a:normAutofit/>
          </a:bodyPr>
          <a:lstStyle/>
          <a:p>
            <a:pPr defTabSz="1087779"/>
            <a:r>
              <a:rPr lang="en-US" sz="1999" dirty="0">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16" y="198357"/>
            <a:ext cx="1946596" cy="716042"/>
          </a:xfrm>
          <a:prstGeom prst="rect">
            <a:avLst/>
          </a:prstGeom>
        </p:spPr>
      </p:pic>
    </p:spTree>
    <p:extLst>
      <p:ext uri="{BB962C8B-B14F-4D97-AF65-F5344CB8AC3E}">
        <p14:creationId xmlns:p14="http://schemas.microsoft.com/office/powerpoint/2010/main" val="1805642121"/>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150813" y="1600200"/>
            <a:ext cx="11887200"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589" indent="0">
              <a:buNone/>
              <a:defRPr>
                <a:solidFill>
                  <a:schemeClr val="tx1"/>
                </a:solidFill>
                <a:latin typeface="Courier New" pitchFamily="49" charset="0"/>
                <a:cs typeface="Courier New" pitchFamily="49" charset="0"/>
              </a:defRPr>
            </a:lvl2pPr>
            <a:lvl3pPr marL="588299" indent="0">
              <a:buNone/>
              <a:defRPr>
                <a:solidFill>
                  <a:schemeClr val="tx1"/>
                </a:solidFill>
                <a:latin typeface="Courier New" pitchFamily="49" charset="0"/>
                <a:cs typeface="Courier New" pitchFamily="49" charset="0"/>
              </a:defRPr>
            </a:lvl3pPr>
            <a:lvl4pPr marL="869889" indent="0">
              <a:buNone/>
              <a:defRPr>
                <a:solidFill>
                  <a:schemeClr val="tx1"/>
                </a:solidFill>
                <a:latin typeface="Courier New" pitchFamily="49" charset="0"/>
                <a:cs typeface="Courier New" pitchFamily="49" charset="0"/>
              </a:defRPr>
            </a:lvl4pPr>
            <a:lvl5pPr marL="1105208" indent="0">
              <a:buNone/>
              <a:defRPr>
                <a:solidFill>
                  <a:schemeClr val="tx1"/>
                </a:solidFill>
                <a:latin typeface="Courier New" pitchFamily="49" charset="0"/>
                <a:cs typeface="Courier New" pitchFamily="49"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nvPr>
        </p:nvSpPr>
        <p:spPr>
          <a:xfrm>
            <a:off x="1" y="573606"/>
            <a:ext cx="12188825"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a:t>Click to add subtitle</a:t>
            </a: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3246998963"/>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057400"/>
            <a:ext cx="5486400" cy="2743426"/>
          </a:xfrm>
          <a:noFill/>
        </p:spPr>
        <p:txBody>
          <a:bodyPr vert="horz" lIns="137160" tIns="137160" rIns="137160" bIns="137160" rtlCol="0" anchor="t" anchorCtr="0">
            <a:normAutofit/>
          </a:bodyPr>
          <a:lstStyle>
            <a:lvl1pPr>
              <a:defRPr lang="en-US" sz="4399" spc="-98" dirty="0">
                <a:solidFill>
                  <a:schemeClr val="bg1"/>
                </a:solidFill>
              </a:defRPr>
            </a:lvl1pPr>
          </a:lstStyle>
          <a:p>
            <a:pPr lvl="0"/>
            <a:r>
              <a:rPr lang="en-US" dirty="0"/>
              <a:t>Presentation title</a:t>
            </a:r>
          </a:p>
        </p:txBody>
      </p:sp>
      <p:sp>
        <p:nvSpPr>
          <p:cNvPr id="4" name="Text Placeholder 3"/>
          <p:cNvSpPr>
            <a:spLocks noGrp="1"/>
          </p:cNvSpPr>
          <p:nvPr>
            <p:ph type="body" sz="quarter" idx="10" hasCustomPrompt="1"/>
          </p:nvPr>
        </p:nvSpPr>
        <p:spPr>
          <a:xfrm>
            <a:off x="150813" y="4800600"/>
            <a:ext cx="5486400" cy="914400"/>
          </a:xfrm>
        </p:spPr>
        <p:txBody>
          <a:bodyPr lIns="137160" tIns="137160" rIns="137160" bIns="137160">
            <a:noAutofit/>
          </a:bodyPr>
          <a:lstStyle>
            <a:lvl1pPr marL="0" indent="0">
              <a:spcBef>
                <a:spcPts val="0"/>
              </a:spcBef>
              <a:buNone/>
              <a:defRPr sz="1999">
                <a:solidFill>
                  <a:schemeClr val="bg1"/>
                </a:solidFill>
              </a:defRPr>
            </a:lvl1pPr>
            <a:lvl2pPr marL="281589" indent="0">
              <a:buNone/>
              <a:defRPr sz="1999">
                <a:solidFill>
                  <a:schemeClr val="bg1"/>
                </a:solidFill>
              </a:defRPr>
            </a:lvl2pPr>
            <a:lvl3pPr marL="588299" indent="0">
              <a:buNone/>
              <a:defRPr sz="1999">
                <a:solidFill>
                  <a:schemeClr val="bg1"/>
                </a:solidFill>
              </a:defRPr>
            </a:lvl3pPr>
            <a:lvl4pPr marL="869889" indent="0">
              <a:buNone/>
              <a:defRPr sz="1999">
                <a:solidFill>
                  <a:schemeClr val="bg1"/>
                </a:solidFill>
              </a:defRPr>
            </a:lvl4pPr>
            <a:lvl5pPr marL="1105208" indent="0">
              <a:buNone/>
              <a:defRPr sz="1999">
                <a:solidFill>
                  <a:schemeClr val="bg1"/>
                </a:solidFill>
              </a:defRPr>
            </a:lvl5pPr>
          </a:lstStyle>
          <a:p>
            <a:pPr lvl="0"/>
            <a:r>
              <a:rPr lang="en-US" dirty="0"/>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1916" y="200779"/>
            <a:ext cx="1946593" cy="716042"/>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916" y="200779"/>
            <a:ext cx="1946593" cy="716042"/>
          </a:xfrm>
          <a:prstGeom prst="rect">
            <a:avLst/>
          </a:prstGeom>
        </p:spPr>
      </p:pic>
    </p:spTree>
    <p:extLst>
      <p:ext uri="{BB962C8B-B14F-4D97-AF65-F5344CB8AC3E}">
        <p14:creationId xmlns:p14="http://schemas.microsoft.com/office/powerpoint/2010/main" val="1652238522"/>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6"/>
            <a:ext cx="12188825"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dirty="0"/>
              <a:t>Click to add subtitle</a:t>
            </a:r>
          </a:p>
        </p:txBody>
      </p:sp>
      <p:sp>
        <p:nvSpPr>
          <p:cNvPr id="16" name="Text Placeholder 15"/>
          <p:cNvSpPr>
            <a:spLocks noGrp="1"/>
          </p:cNvSpPr>
          <p:nvPr>
            <p:ph type="body" sz="quarter" idx="14"/>
          </p:nvPr>
        </p:nvSpPr>
        <p:spPr>
          <a:xfrm>
            <a:off x="150813" y="1600200"/>
            <a:ext cx="11887200"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1904504" y="6477875"/>
            <a:ext cx="8379817" cy="380127"/>
          </a:xfrm>
        </p:spPr>
        <p:txBody>
          <a:bodyPr/>
          <a:lstStyle/>
          <a:p>
            <a:endParaRPr lang="en-US" dirty="0">
              <a:solidFill>
                <a:srgbClr val="505050"/>
              </a:solidFill>
            </a:endParaRPr>
          </a:p>
        </p:txBody>
      </p:sp>
    </p:spTree>
    <p:extLst>
      <p:ext uri="{BB962C8B-B14F-4D97-AF65-F5344CB8AC3E}">
        <p14:creationId xmlns:p14="http://schemas.microsoft.com/office/powerpoint/2010/main" val="2174414176"/>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6"/>
            <a:ext cx="12188825"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dirty="0"/>
              <a:t>Click to add subtitle</a:t>
            </a:r>
          </a:p>
        </p:txBody>
      </p:sp>
      <p:sp>
        <p:nvSpPr>
          <p:cNvPr id="3" name="Footer Placeholder 2"/>
          <p:cNvSpPr>
            <a:spLocks noGrp="1"/>
          </p:cNvSpPr>
          <p:nvPr>
            <p:ph type="ftr" sz="quarter" idx="14"/>
          </p:nvPr>
        </p:nvSpPr>
        <p:spPr/>
        <p:txBody>
          <a:bodyPr/>
          <a:lstStyle/>
          <a:p>
            <a:pPr defTabSz="1087779"/>
            <a:endParaRPr lang="en-US" dirty="0">
              <a:solidFill>
                <a:srgbClr val="505050"/>
              </a:solidFill>
            </a:endParaRPr>
          </a:p>
        </p:txBody>
      </p:sp>
      <p:sp>
        <p:nvSpPr>
          <p:cNvPr id="7" name="Slide Number Placeholder 6"/>
          <p:cNvSpPr>
            <a:spLocks noGrp="1"/>
          </p:cNvSpPr>
          <p:nvPr>
            <p:ph type="sldNum" sz="quarter" idx="15"/>
          </p:nvPr>
        </p:nvSpPr>
        <p:spPr/>
        <p:txBody>
          <a:bodyPr/>
          <a:lstStyle/>
          <a:p>
            <a:pPr defTabSz="1087779"/>
            <a:fld id="{FAADACFB-7C71-4E89-89D2-7BBA40B7BFA9}" type="slidenum">
              <a:rPr lang="en-US" smtClean="0">
                <a:solidFill>
                  <a:srgbClr val="505050"/>
                </a:solidFill>
              </a:rPr>
              <a:pPr defTabSz="1087779"/>
              <a:t>‹#›</a:t>
            </a:fld>
            <a:endParaRPr lang="en-US" dirty="0">
              <a:solidFill>
                <a:srgbClr val="505050"/>
              </a:solidFill>
            </a:endParaRPr>
          </a:p>
        </p:txBody>
      </p:sp>
    </p:spTree>
    <p:extLst>
      <p:ext uri="{BB962C8B-B14F-4D97-AF65-F5344CB8AC3E}">
        <p14:creationId xmlns:p14="http://schemas.microsoft.com/office/powerpoint/2010/main" val="3012403338"/>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13" y="1600200"/>
            <a:ext cx="11887200"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589" indent="0">
              <a:buNone/>
              <a:defRPr>
                <a:solidFill>
                  <a:schemeClr val="tx1"/>
                </a:solidFill>
                <a:latin typeface="Courier New" pitchFamily="49" charset="0"/>
                <a:cs typeface="Courier New" pitchFamily="49" charset="0"/>
              </a:defRPr>
            </a:lvl2pPr>
            <a:lvl3pPr marL="588299" indent="0">
              <a:buNone/>
              <a:defRPr>
                <a:solidFill>
                  <a:schemeClr val="tx1"/>
                </a:solidFill>
                <a:latin typeface="Courier New" pitchFamily="49" charset="0"/>
                <a:cs typeface="Courier New" pitchFamily="49" charset="0"/>
              </a:defRPr>
            </a:lvl3pPr>
            <a:lvl4pPr marL="869889" indent="0">
              <a:buNone/>
              <a:defRPr>
                <a:solidFill>
                  <a:schemeClr val="tx1"/>
                </a:solidFill>
                <a:latin typeface="Courier New" pitchFamily="49" charset="0"/>
                <a:cs typeface="Courier New" pitchFamily="49" charset="0"/>
              </a:defRPr>
            </a:lvl4pPr>
            <a:lvl5pPr marL="1105208"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06"/>
            <a:ext cx="12188825"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4206759815"/>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26022967"/>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14" y="1143002"/>
            <a:ext cx="1005839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12" y="3877278"/>
            <a:ext cx="10058401" cy="1837723"/>
          </a:xfrm>
          <a:noFill/>
        </p:spPr>
        <p:txBody>
          <a:bodyPr lIns="137160" tIns="137160" rIns="137160" bIns="137160">
            <a:noAutofit/>
          </a:bodyPr>
          <a:lstStyle>
            <a:lvl1pPr marL="0" indent="0">
              <a:spcBef>
                <a:spcPts val="0"/>
              </a:spcBef>
              <a:buNone/>
              <a:defRPr sz="2799"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10188040"/>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14"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14"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14" y="1143001"/>
            <a:ext cx="1005839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13" y="3886200"/>
            <a:ext cx="10058400" cy="1828800"/>
          </a:xfrm>
          <a:noFill/>
        </p:spPr>
        <p:txBody>
          <a:bodyPr lIns="137160" tIns="137160" rIns="137160" bIns="137160">
            <a:noAutofit/>
          </a:bodyPr>
          <a:lstStyle>
            <a:lvl1pPr marL="0" indent="0">
              <a:spcBef>
                <a:spcPts val="0"/>
              </a:spcBef>
              <a:buNone/>
              <a:defRPr sz="2799"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14"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3632598"/>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FFFFFF"/>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6801699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chemeClr val="tx1"/>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25916018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dirty="0"/>
              <a:t>Click to edit Master text styles</a:t>
            </a:r>
          </a:p>
        </p:txBody>
      </p:sp>
    </p:spTree>
    <p:extLst>
      <p:ext uri="{BB962C8B-B14F-4D97-AF65-F5344CB8AC3E}">
        <p14:creationId xmlns:p14="http://schemas.microsoft.com/office/powerpoint/2010/main" val="31087510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483277234"/>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0257582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7944265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chemeClr val="tx1"/>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0611915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12" y="1600200"/>
            <a:ext cx="11353800"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1" y="6238878"/>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99"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46854268"/>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defTabSz="1087779"/>
            <a:endParaRPr lang="en-US" sz="2199">
              <a:solidFill>
                <a:prstClr val="white"/>
              </a:solidFill>
            </a:endParaRPr>
          </a:p>
        </p:txBody>
      </p:sp>
      <p:sp>
        <p:nvSpPr>
          <p:cNvPr id="4" name="Rectangle 3"/>
          <p:cNvSpPr/>
          <p:nvPr/>
        </p:nvSpPr>
        <p:spPr>
          <a:xfrm>
            <a:off x="1"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defTabSz="1087779"/>
            <a:endParaRPr lang="en-US" sz="2199">
              <a:solidFill>
                <a:prstClr val="white"/>
              </a:solidFill>
            </a:endParaRPr>
          </a:p>
        </p:txBody>
      </p:sp>
      <p:sp>
        <p:nvSpPr>
          <p:cNvPr id="8" name="Rectangle 7"/>
          <p:cNvSpPr/>
          <p:nvPr/>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defTabSz="1087779"/>
            <a:endParaRPr lang="en-US" sz="2199">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117" y="2899240"/>
            <a:ext cx="2880367" cy="1059525"/>
          </a:xfrm>
          <a:prstGeom prst="rect">
            <a:avLst/>
          </a:prstGeom>
        </p:spPr>
      </p:pic>
      <p:sp>
        <p:nvSpPr>
          <p:cNvPr id="6" name="Rectangle 5"/>
          <p:cNvSpPr/>
          <p:nvPr/>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defTabSz="1087779"/>
            <a:endParaRPr lang="en-US" sz="2199">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6117" y="2899240"/>
            <a:ext cx="2880367" cy="1059525"/>
          </a:xfrm>
          <a:prstGeom prst="rect">
            <a:avLst/>
          </a:prstGeom>
        </p:spPr>
      </p:pic>
      <p:sp>
        <p:nvSpPr>
          <p:cNvPr id="9" name="Rectangle 8"/>
          <p:cNvSpPr/>
          <p:nvPr userDrawn="1"/>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defTabSz="1087779"/>
            <a:endParaRPr lang="en-US" sz="2199">
              <a:solidFill>
                <a:prstClr val="white"/>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8759" y="2901952"/>
            <a:ext cx="2844267" cy="1046245"/>
          </a:xfrm>
          <a:prstGeom prst="rect">
            <a:avLst/>
          </a:prstGeom>
        </p:spPr>
      </p:pic>
    </p:spTree>
    <p:extLst>
      <p:ext uri="{BB962C8B-B14F-4D97-AF65-F5344CB8AC3E}">
        <p14:creationId xmlns:p14="http://schemas.microsoft.com/office/powerpoint/2010/main" val="3872417386"/>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45288915"/>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8612"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13" name="Rectangle 12"/>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057400"/>
            <a:ext cx="5486400" cy="2743426"/>
          </a:xfrm>
          <a:noFill/>
        </p:spPr>
        <p:txBody>
          <a:bodyPr vert="horz" lIns="137160" tIns="137160" rIns="137160" bIns="137160" rtlCol="0" anchor="t" anchorCtr="0">
            <a:normAutofit/>
          </a:bodyPr>
          <a:lstStyle>
            <a:lvl1pPr>
              <a:defRPr lang="en-US" sz="4399"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13" y="4800600"/>
            <a:ext cx="5486400" cy="914400"/>
          </a:xfrm>
        </p:spPr>
        <p:txBody>
          <a:bodyPr lIns="137160" tIns="137160" rIns="137160" bIns="137160">
            <a:noAutofit/>
          </a:bodyPr>
          <a:lstStyle>
            <a:lvl1pPr marL="0" indent="0">
              <a:spcBef>
                <a:spcPts val="0"/>
              </a:spcBef>
              <a:buNone/>
              <a:defRPr sz="1999">
                <a:solidFill>
                  <a:schemeClr val="bg1"/>
                </a:solidFill>
              </a:defRPr>
            </a:lvl1pPr>
            <a:lvl2pPr marL="281589" indent="0">
              <a:buNone/>
              <a:defRPr sz="1999">
                <a:solidFill>
                  <a:schemeClr val="bg1"/>
                </a:solidFill>
              </a:defRPr>
            </a:lvl2pPr>
            <a:lvl3pPr marL="588299" indent="0">
              <a:buNone/>
              <a:defRPr sz="1999">
                <a:solidFill>
                  <a:schemeClr val="bg1"/>
                </a:solidFill>
              </a:defRPr>
            </a:lvl3pPr>
            <a:lvl4pPr marL="869889" indent="0">
              <a:buNone/>
              <a:defRPr sz="1999">
                <a:solidFill>
                  <a:schemeClr val="bg1"/>
                </a:solidFill>
              </a:defRPr>
            </a:lvl4pPr>
            <a:lvl5pPr marL="1105208" indent="0">
              <a:buNone/>
              <a:defRPr sz="1999">
                <a:solidFill>
                  <a:schemeClr val="bg1"/>
                </a:solidFill>
              </a:defRPr>
            </a:lvl5pPr>
          </a:lstStyle>
          <a:p>
            <a:pPr lvl="0"/>
            <a:r>
              <a:rPr lang="en-US"/>
              <a:t>Speaker Name</a:t>
            </a:r>
          </a:p>
        </p:txBody>
      </p:sp>
      <p:sp>
        <p:nvSpPr>
          <p:cNvPr id="10" name="TextBox 9"/>
          <p:cNvSpPr txBox="1"/>
          <p:nvPr/>
        </p:nvSpPr>
        <p:spPr>
          <a:xfrm>
            <a:off x="7618016" y="381000"/>
            <a:ext cx="3809008" cy="1905000"/>
          </a:xfrm>
          <a:prstGeom prst="rect">
            <a:avLst/>
          </a:prstGeom>
        </p:spPr>
        <p:txBody>
          <a:bodyPr vert="horz" wrap="square" lIns="108793" tIns="54397" rIns="108793" bIns="54397" rtlCol="0" anchor="ctr">
            <a:normAutofit/>
          </a:bodyPr>
          <a:lstStyle/>
          <a:p>
            <a:pPr defTabSz="1087779"/>
            <a:r>
              <a:rPr lang="en-US" sz="1999">
                <a:solidFill>
                  <a:srgbClr val="D2D2D2"/>
                </a:solidFill>
                <a:ea typeface="Segoe UI" pitchFamily="34" charset="0"/>
                <a:cs typeface="Segoe UI" pitchFamily="34" charset="0"/>
              </a:rPr>
              <a:t>Click View &gt; Slide Master to insert a photo as a background behind the colored boxes.</a:t>
            </a:r>
          </a:p>
        </p:txBody>
      </p:sp>
      <p:sp>
        <p:nvSpPr>
          <p:cNvPr id="15" name="TextBox 14"/>
          <p:cNvSpPr txBox="1"/>
          <p:nvPr/>
        </p:nvSpPr>
        <p:spPr>
          <a:xfrm>
            <a:off x="7618016" y="381000"/>
            <a:ext cx="3809008" cy="1905000"/>
          </a:xfrm>
          <a:prstGeom prst="rect">
            <a:avLst/>
          </a:prstGeom>
        </p:spPr>
        <p:txBody>
          <a:bodyPr vert="horz" wrap="square" lIns="108793" tIns="54397" rIns="108793" bIns="54397" rtlCol="0" anchor="ctr">
            <a:normAutofit/>
          </a:bodyPr>
          <a:lstStyle/>
          <a:p>
            <a:pPr defTabSz="1087779"/>
            <a:r>
              <a:rPr lang="en-US" sz="1999">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216" y="198357"/>
            <a:ext cx="1946596" cy="716042"/>
          </a:xfrm>
          <a:prstGeom prst="rect">
            <a:avLst/>
          </a:prstGeom>
        </p:spPr>
      </p:pic>
      <p:sp>
        <p:nvSpPr>
          <p:cNvPr id="14" name="TextBox 13"/>
          <p:cNvSpPr txBox="1"/>
          <p:nvPr userDrawn="1"/>
        </p:nvSpPr>
        <p:spPr>
          <a:xfrm>
            <a:off x="7618016" y="381000"/>
            <a:ext cx="3809008" cy="1905000"/>
          </a:xfrm>
          <a:prstGeom prst="rect">
            <a:avLst/>
          </a:prstGeom>
        </p:spPr>
        <p:txBody>
          <a:bodyPr vert="horz" wrap="square" lIns="108793" tIns="54397" rIns="108793" bIns="54397" rtlCol="0" anchor="ctr">
            <a:normAutofit/>
          </a:bodyPr>
          <a:lstStyle/>
          <a:p>
            <a:pPr defTabSz="1087779"/>
            <a:r>
              <a:rPr lang="en-US" sz="1999">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9216" y="198357"/>
            <a:ext cx="1946596" cy="716042"/>
          </a:xfrm>
          <a:prstGeom prst="rect">
            <a:avLst/>
          </a:prstGeom>
        </p:spPr>
      </p:pic>
    </p:spTree>
    <p:extLst>
      <p:ext uri="{BB962C8B-B14F-4D97-AF65-F5344CB8AC3E}">
        <p14:creationId xmlns:p14="http://schemas.microsoft.com/office/powerpoint/2010/main" val="3177860038"/>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963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13" name="Rectangle 12"/>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057400"/>
            <a:ext cx="5486400" cy="2743426"/>
          </a:xfrm>
          <a:noFill/>
        </p:spPr>
        <p:txBody>
          <a:bodyPr vert="horz" lIns="137160" tIns="137160" rIns="137160" bIns="137160" rtlCol="0" anchor="t" anchorCtr="0">
            <a:normAutofit/>
          </a:bodyPr>
          <a:lstStyle>
            <a:lvl1pPr>
              <a:defRPr lang="en-US" sz="4399"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13" y="4800600"/>
            <a:ext cx="5486400" cy="914400"/>
          </a:xfrm>
        </p:spPr>
        <p:txBody>
          <a:bodyPr lIns="137160" tIns="137160" rIns="137160" bIns="137160">
            <a:noAutofit/>
          </a:bodyPr>
          <a:lstStyle>
            <a:lvl1pPr marL="0" indent="0">
              <a:spcBef>
                <a:spcPts val="0"/>
              </a:spcBef>
              <a:buNone/>
              <a:defRPr sz="1999">
                <a:solidFill>
                  <a:schemeClr val="bg1"/>
                </a:solidFill>
              </a:defRPr>
            </a:lvl1pPr>
            <a:lvl2pPr marL="281589" indent="0">
              <a:buNone/>
              <a:defRPr sz="1999">
                <a:solidFill>
                  <a:schemeClr val="bg1"/>
                </a:solidFill>
              </a:defRPr>
            </a:lvl2pPr>
            <a:lvl3pPr marL="588299" indent="0">
              <a:buNone/>
              <a:defRPr sz="1999">
                <a:solidFill>
                  <a:schemeClr val="bg1"/>
                </a:solidFill>
              </a:defRPr>
            </a:lvl3pPr>
            <a:lvl4pPr marL="869889" indent="0">
              <a:buNone/>
              <a:defRPr sz="1999">
                <a:solidFill>
                  <a:schemeClr val="bg1"/>
                </a:solidFill>
              </a:defRPr>
            </a:lvl4pPr>
            <a:lvl5pPr marL="1105208" indent="0">
              <a:buNone/>
              <a:defRPr sz="1999">
                <a:solidFill>
                  <a:schemeClr val="bg1"/>
                </a:solidFill>
              </a:defRPr>
            </a:lvl5pPr>
          </a:lstStyle>
          <a:p>
            <a:pPr lvl="0"/>
            <a:r>
              <a:rPr lang="en-US"/>
              <a:t>Speaker Name</a:t>
            </a:r>
          </a:p>
        </p:txBody>
      </p:sp>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1916" y="200779"/>
            <a:ext cx="1946593" cy="716042"/>
          </a:xfrm>
          <a:prstGeom prst="rect">
            <a:avLst/>
          </a:prstGeom>
        </p:spPr>
      </p:pic>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1916" y="200779"/>
            <a:ext cx="1946593" cy="716042"/>
          </a:xfrm>
          <a:prstGeom prst="rect">
            <a:avLst/>
          </a:prstGeom>
        </p:spPr>
      </p:pic>
    </p:spTree>
    <p:extLst>
      <p:ext uri="{BB962C8B-B14F-4D97-AF65-F5344CB8AC3E}">
        <p14:creationId xmlns:p14="http://schemas.microsoft.com/office/powerpoint/2010/main" val="2159496078"/>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70660"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646046"/>
            <a:ext cx="12188825"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a:t>Click to add subtitle</a:t>
            </a:r>
          </a:p>
        </p:txBody>
      </p:sp>
      <p:sp>
        <p:nvSpPr>
          <p:cNvPr id="16" name="Text Placeholder 15"/>
          <p:cNvSpPr>
            <a:spLocks noGrp="1"/>
          </p:cNvSpPr>
          <p:nvPr>
            <p:ph type="body" sz="quarter" idx="14"/>
          </p:nvPr>
        </p:nvSpPr>
        <p:spPr>
          <a:xfrm>
            <a:off x="150813" y="1600200"/>
            <a:ext cx="11887200"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
        <p:nvSpPr>
          <p:cNvPr id="20" name="Footer Placeholder 19"/>
          <p:cNvSpPr>
            <a:spLocks noGrp="1"/>
          </p:cNvSpPr>
          <p:nvPr>
            <p:ph type="ftr" sz="quarter" idx="16"/>
          </p:nvPr>
        </p:nvSpPr>
        <p:spPr/>
        <p:txBody>
          <a:bodyPr/>
          <a:lstStyle/>
          <a:p>
            <a:endParaRPr lang="en-US">
              <a:solidFill>
                <a:srgbClr val="505050"/>
              </a:solidFill>
            </a:endParaRPr>
          </a:p>
        </p:txBody>
      </p:sp>
    </p:spTree>
    <p:extLst>
      <p:ext uri="{BB962C8B-B14F-4D97-AF65-F5344CB8AC3E}">
        <p14:creationId xmlns:p14="http://schemas.microsoft.com/office/powerpoint/2010/main" val="977291139"/>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71684"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p:txBody>
          <a:bodyPr/>
          <a:lstStyle/>
          <a:p>
            <a:endParaRPr lang="en-US">
              <a:solidFill>
                <a:srgbClr val="505050"/>
              </a:solidFill>
            </a:endParaRPr>
          </a:p>
        </p:txBody>
      </p:sp>
      <p:sp>
        <p:nvSpPr>
          <p:cNvPr id="5" name="Slide Number Placeholder 4"/>
          <p:cNvSpPr>
            <a:spLocks noGrp="1"/>
          </p:cNvSpPr>
          <p:nvPr>
            <p:ph type="sldNum" sz="quarter" idx="12"/>
          </p:nvPr>
        </p:nvSpPr>
        <p:spPr>
          <a:xfrm>
            <a:off x="11427024" y="6478589"/>
            <a:ext cx="761800" cy="379413"/>
          </a:xfrm>
          <a:prstGeom prst="rect">
            <a:avLst/>
          </a:prstGeom>
        </p:spPr>
        <p:txBody>
          <a:bodyPr/>
          <a:lstStyle/>
          <a:p>
            <a:fld id="{6A4C1A4A-E5E6-4CC1-B72C-A20A4EB3E2D2}" type="slidenum">
              <a:rPr lang="en-US" smtClean="0">
                <a:solidFill>
                  <a:srgbClr val="505050"/>
                </a:solidFill>
              </a:rPr>
              <a:pPr/>
              <a:t>‹#›</a:t>
            </a:fld>
            <a:endParaRPr lang="en-US">
              <a:solidFill>
                <a:srgbClr val="505050"/>
              </a:solidFill>
            </a:endParaRPr>
          </a:p>
        </p:txBody>
      </p:sp>
      <p:sp>
        <p:nvSpPr>
          <p:cNvPr id="6" name="Text Placeholder 5"/>
          <p:cNvSpPr>
            <a:spLocks noGrp="1"/>
          </p:cNvSpPr>
          <p:nvPr>
            <p:ph type="body" sz="quarter" idx="13" hasCustomPrompt="1"/>
          </p:nvPr>
        </p:nvSpPr>
        <p:spPr>
          <a:xfrm>
            <a:off x="1" y="646046"/>
            <a:ext cx="12188825"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a:t>Click to add subtitle</a:t>
            </a:r>
          </a:p>
        </p:txBody>
      </p:sp>
    </p:spTree>
    <p:extLst>
      <p:ext uri="{BB962C8B-B14F-4D97-AF65-F5344CB8AC3E}">
        <p14:creationId xmlns:p14="http://schemas.microsoft.com/office/powerpoint/2010/main" val="53327564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14" y="1143002"/>
            <a:ext cx="1005839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50812" y="3877278"/>
            <a:ext cx="10058401" cy="1837723"/>
          </a:xfrm>
          <a:noFill/>
        </p:spPr>
        <p:txBody>
          <a:bodyPr lIns="137160" tIns="137160" rIns="137160" bIns="137160">
            <a:noAutofit/>
          </a:bodyPr>
          <a:lstStyle>
            <a:lvl1pPr marL="0" indent="0">
              <a:spcBef>
                <a:spcPts val="0"/>
              </a:spcBef>
              <a:buNone/>
              <a:defRPr sz="2799"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95981735"/>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7270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150813" y="1600200"/>
            <a:ext cx="11887200" cy="4495800"/>
          </a:xfrm>
          <a:prstGeom prst="rect">
            <a:avLst/>
          </a:prstGeom>
        </p:spPr>
        <p:txBody>
          <a:bodyPr/>
          <a:lstStyle>
            <a:lvl1pPr marL="0"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1pPr>
            <a:lvl2pPr marL="281589"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2pPr>
            <a:lvl3pPr marL="588299"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3pPr>
            <a:lvl4pPr marL="869889"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4pPr>
            <a:lvl5pPr marL="1105208"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nvPr>
        </p:nvSpPr>
        <p:spPr>
          <a:xfrm>
            <a:off x="1" y="646046"/>
            <a:ext cx="12188825"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a:t>Click to add subtitle</a:t>
            </a:r>
          </a:p>
        </p:txBody>
      </p:sp>
      <p:sp>
        <p:nvSpPr>
          <p:cNvPr id="6" name="Footer Placeholder 5"/>
          <p:cNvSpPr>
            <a:spLocks noGrp="1"/>
          </p:cNvSpPr>
          <p:nvPr>
            <p:ph type="ftr" sz="quarter" idx="16"/>
          </p:nvPr>
        </p:nvSpPr>
        <p:spPr/>
        <p:txBody>
          <a:bodyPr/>
          <a:lstStyle/>
          <a:p>
            <a:endParaRPr lang="en-US">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2933869669"/>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73732" name="think-cell Slide" r:id="rId4" imgW="377" imgH="377" progId="TCLayout.ActiveDocument.1">
                  <p:embed/>
                </p:oleObj>
              </mc:Choice>
              <mc:Fallback>
                <p:oleObj name="think-cell Slide" r:id="rId4" imgW="377" imgH="377" progId="TCLayout.ActiveDocument.1">
                  <p:embed/>
                  <p:pic>
                    <p:nvPicPr>
                      <p:cNvPr id="5" name="Object 4"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Footer Placeholder 1"/>
          <p:cNvSpPr>
            <a:spLocks noGrp="1"/>
          </p:cNvSpPr>
          <p:nvPr>
            <p:ph type="ftr" sz="quarter" idx="15"/>
          </p:nvPr>
        </p:nvSpPr>
        <p:spPr/>
        <p:txBody>
          <a:bodyPr/>
          <a:lstStyle/>
          <a:p>
            <a:endParaRPr lang="en-US">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
        <p:nvSpPr>
          <p:cNvPr id="4" name="Rectangle 3"/>
          <p:cNvSpPr/>
          <p:nvPr userDrawn="1"/>
        </p:nvSpPr>
        <p:spPr>
          <a:xfrm>
            <a:off x="1" y="0"/>
            <a:ext cx="12188825" cy="6858000"/>
          </a:xfrm>
          <a:prstGeom prst="rect">
            <a:avLst/>
          </a:prstGeom>
          <a:gradFill flip="none" rotWithShape="1">
            <a:gsLst>
              <a:gs pos="0">
                <a:schemeClr val="tx2"/>
              </a:gs>
              <a:gs pos="100000">
                <a:schemeClr val="bg2">
                  <a:lumMod val="90000"/>
                  <a:lumOff val="1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1087779"/>
            <a:endParaRPr lang="en-US" sz="1200">
              <a:solidFill>
                <a:prstClr val="white"/>
              </a:solidFill>
            </a:endParaRPr>
          </a:p>
        </p:txBody>
      </p:sp>
    </p:spTree>
    <p:extLst>
      <p:ext uri="{BB962C8B-B14F-4D97-AF65-F5344CB8AC3E}">
        <p14:creationId xmlns:p14="http://schemas.microsoft.com/office/powerpoint/2010/main" val="1648376869"/>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7475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6" name="Rectangle 5"/>
          <p:cNvSpPr/>
          <p:nvPr/>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14" y="1143002"/>
            <a:ext cx="1005839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50812" y="3877278"/>
            <a:ext cx="10058401" cy="1837723"/>
          </a:xfrm>
          <a:noFill/>
        </p:spPr>
        <p:txBody>
          <a:bodyPr lIns="137160" tIns="137160" rIns="137160" bIns="137160">
            <a:noAutofit/>
          </a:bodyPr>
          <a:lstStyle>
            <a:lvl1pPr marL="0" indent="0">
              <a:spcBef>
                <a:spcPts val="0"/>
              </a:spcBef>
              <a:buNone/>
              <a:defRPr sz="2799"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893625257"/>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75780"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6" name="Rectangle 5"/>
          <p:cNvSpPr/>
          <p:nvPr/>
        </p:nvSpPr>
        <p:spPr bwMode="auto">
          <a:xfrm>
            <a:off x="150814"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14"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14" y="1143001"/>
            <a:ext cx="1005839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a:t>Video title</a:t>
            </a:r>
          </a:p>
        </p:txBody>
      </p:sp>
      <p:sp>
        <p:nvSpPr>
          <p:cNvPr id="5" name="Text Placeholder 4"/>
          <p:cNvSpPr>
            <a:spLocks noGrp="1"/>
          </p:cNvSpPr>
          <p:nvPr>
            <p:ph type="body" sz="quarter" idx="12" hasCustomPrompt="1"/>
          </p:nvPr>
        </p:nvSpPr>
        <p:spPr>
          <a:xfrm>
            <a:off x="150813" y="3886200"/>
            <a:ext cx="10058400" cy="1828800"/>
          </a:xfrm>
          <a:noFill/>
        </p:spPr>
        <p:txBody>
          <a:bodyPr lIns="137160" tIns="137160" rIns="137160" bIns="137160">
            <a:noAutofit/>
          </a:bodyPr>
          <a:lstStyle>
            <a:lvl1pPr marL="0" indent="0">
              <a:spcBef>
                <a:spcPts val="0"/>
              </a:spcBef>
              <a:buNone/>
              <a:defRPr sz="2799"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14"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705578805"/>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76804"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FFFFFF"/>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4002559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77828"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FFFFFF"/>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7975004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78852"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8374714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79876"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5933896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80900"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7839454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81924"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chemeClr val="tx1"/>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9462990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3_EXAMPLE ONLY: Title with photo">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1915" y="200779"/>
            <a:ext cx="1946596" cy="716042"/>
          </a:xfrm>
          <a:prstGeom prst="rect">
            <a:avLst/>
          </a:prstGeom>
        </p:spPr>
      </p:pic>
      <p:sp>
        <p:nvSpPr>
          <p:cNvPr id="17" name="Rectangle 16"/>
          <p:cNvSpPr/>
          <p:nvPr userDrawn="1"/>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057400"/>
            <a:ext cx="5486400" cy="2743426"/>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13" y="4800600"/>
            <a:ext cx="5486400" cy="914400"/>
          </a:xfrm>
        </p:spPr>
        <p:txBody>
          <a:bodyPr lIns="137160" tIns="9144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spTree>
    <p:extLst>
      <p:ext uri="{BB962C8B-B14F-4D97-AF65-F5344CB8AC3E}">
        <p14:creationId xmlns:p14="http://schemas.microsoft.com/office/powerpoint/2010/main" val="256460719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14"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14"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14" y="1143001"/>
            <a:ext cx="1005839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a:t>Video title</a:t>
            </a:r>
          </a:p>
        </p:txBody>
      </p:sp>
      <p:sp>
        <p:nvSpPr>
          <p:cNvPr id="5" name="Text Placeholder 4"/>
          <p:cNvSpPr>
            <a:spLocks noGrp="1"/>
          </p:cNvSpPr>
          <p:nvPr>
            <p:ph type="body" sz="quarter" idx="12" hasCustomPrompt="1"/>
          </p:nvPr>
        </p:nvSpPr>
        <p:spPr>
          <a:xfrm>
            <a:off x="150813" y="3886200"/>
            <a:ext cx="10058400" cy="1828800"/>
          </a:xfrm>
          <a:noFill/>
        </p:spPr>
        <p:txBody>
          <a:bodyPr lIns="137160" tIns="137160" rIns="137160" bIns="137160">
            <a:noAutofit/>
          </a:bodyPr>
          <a:lstStyle>
            <a:lvl1pPr marL="0" indent="0">
              <a:spcBef>
                <a:spcPts val="0"/>
              </a:spcBef>
              <a:buNone/>
              <a:defRPr sz="2799"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14"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51850149"/>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8294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27012" y="1600200"/>
            <a:ext cx="11353800"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1" y="6238878"/>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99"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31873838"/>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83972"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5" name="Rectangle 4"/>
          <p:cNvSpPr/>
          <p:nvPr/>
        </p:nvSpPr>
        <p:spPr>
          <a:xfrm>
            <a:off x="1"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defTabSz="1087779"/>
            <a:endParaRPr lang="en-US" sz="2199">
              <a:solidFill>
                <a:prstClr val="white"/>
              </a:solidFill>
            </a:endParaRPr>
          </a:p>
        </p:txBody>
      </p:sp>
      <p:sp>
        <p:nvSpPr>
          <p:cNvPr id="4" name="Rectangle 3"/>
          <p:cNvSpPr/>
          <p:nvPr/>
        </p:nvSpPr>
        <p:spPr>
          <a:xfrm>
            <a:off x="1"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defTabSz="1087779"/>
            <a:endParaRPr lang="en-US" sz="2199">
              <a:solidFill>
                <a:prstClr val="white"/>
              </a:solidFill>
            </a:endParaRPr>
          </a:p>
        </p:txBody>
      </p:sp>
      <p:sp>
        <p:nvSpPr>
          <p:cNvPr id="8" name="Rectangle 7"/>
          <p:cNvSpPr/>
          <p:nvPr/>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defTabSz="1087779"/>
            <a:endParaRPr lang="en-US" sz="2199">
              <a:solidFill>
                <a:prstClr val="white"/>
              </a:solidFill>
            </a:endParaRPr>
          </a:p>
        </p:txBody>
      </p:sp>
      <p:pic>
        <p:nvPicPr>
          <p:cNvPr id="10" name="Picture 9"/>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446117" y="2899240"/>
            <a:ext cx="2880367" cy="1059525"/>
          </a:xfrm>
          <a:prstGeom prst="rect">
            <a:avLst/>
          </a:prstGeom>
        </p:spPr>
      </p:pic>
      <p:sp>
        <p:nvSpPr>
          <p:cNvPr id="6" name="Rectangle 5"/>
          <p:cNvSpPr/>
          <p:nvPr/>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defTabSz="1087779"/>
            <a:endParaRPr lang="en-US" sz="2199">
              <a:solidFill>
                <a:prstClr val="white"/>
              </a:solidFill>
            </a:endParaRPr>
          </a:p>
        </p:txBody>
      </p:sp>
      <p:pic>
        <p:nvPicPr>
          <p:cNvPr id="7" name="Picture 6"/>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446117" y="2899240"/>
            <a:ext cx="2880367" cy="1059525"/>
          </a:xfrm>
          <a:prstGeom prst="rect">
            <a:avLst/>
          </a:prstGeom>
        </p:spPr>
      </p:pic>
      <p:sp>
        <p:nvSpPr>
          <p:cNvPr id="9" name="Rectangle 8"/>
          <p:cNvSpPr/>
          <p:nvPr userDrawn="1"/>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defTabSz="1087779"/>
            <a:endParaRPr lang="en-US" sz="2199">
              <a:solidFill>
                <a:prstClr val="white"/>
              </a:solidFill>
            </a:endParaRPr>
          </a:p>
        </p:txBody>
      </p:sp>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46117" y="2899238"/>
            <a:ext cx="2883575" cy="1060704"/>
          </a:xfrm>
          <a:prstGeom prst="rect">
            <a:avLst/>
          </a:prstGeom>
        </p:spPr>
      </p:pic>
    </p:spTree>
    <p:extLst>
      <p:ext uri="{BB962C8B-B14F-4D97-AF65-F5344CB8AC3E}">
        <p14:creationId xmlns:p14="http://schemas.microsoft.com/office/powerpoint/2010/main" val="678535366"/>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1_Microsoft logo 4">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F2A99D2-6FBE-4900-A2EB-8A4EF90B4684}"/>
              </a:ext>
            </a:extLst>
          </p:cNvPr>
          <p:cNvPicPr>
            <a:picLocks noChangeAspect="1"/>
          </p:cNvPicPr>
          <p:nvPr userDrawn="1"/>
        </p:nvPicPr>
        <p:blipFill rotWithShape="1">
          <a:blip r:embed="rId4"/>
          <a:srcRect l="1" r="-46"/>
          <a:stretch/>
        </p:blipFill>
        <p:spPr>
          <a:xfrm>
            <a:off x="0" y="0"/>
            <a:ext cx="12269486" cy="6929718"/>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84996"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grpSp>
        <p:nvGrpSpPr>
          <p:cNvPr id="12" name="Group 6049"/>
          <p:cNvGrpSpPr>
            <a:grpSpLocks noChangeAspect="1"/>
          </p:cNvGrpSpPr>
          <p:nvPr userDrawn="1"/>
        </p:nvGrpSpPr>
        <p:grpSpPr bwMode="auto">
          <a:xfrm>
            <a:off x="3294258" y="1545772"/>
            <a:ext cx="5600309" cy="3418114"/>
            <a:chOff x="-2221" y="1217"/>
            <a:chExt cx="2219" cy="1354"/>
          </a:xfrm>
          <a:solidFill>
            <a:schemeClr val="bg1"/>
          </a:solidFill>
        </p:grpSpPr>
        <p:sp>
          <p:nvSpPr>
            <p:cNvPr id="14" name="Freeform 6050"/>
            <p:cNvSpPr>
              <a:spLocks noEditPoints="1"/>
            </p:cNvSpPr>
            <p:nvPr/>
          </p:nvSpPr>
          <p:spPr bwMode="auto">
            <a:xfrm>
              <a:off x="-1107" y="2409"/>
              <a:ext cx="149" cy="162"/>
            </a:xfrm>
            <a:custGeom>
              <a:avLst/>
              <a:gdLst>
                <a:gd name="T0" fmla="*/ 39 w 78"/>
                <a:gd name="T1" fmla="*/ 85 h 85"/>
                <a:gd name="T2" fmla="*/ 19 w 78"/>
                <a:gd name="T3" fmla="*/ 80 h 85"/>
                <a:gd name="T4" fmla="*/ 5 w 78"/>
                <a:gd name="T5" fmla="*/ 65 h 85"/>
                <a:gd name="T6" fmla="*/ 0 w 78"/>
                <a:gd name="T7" fmla="*/ 43 h 85"/>
                <a:gd name="T8" fmla="*/ 5 w 78"/>
                <a:gd name="T9" fmla="*/ 20 h 85"/>
                <a:gd name="T10" fmla="*/ 19 w 78"/>
                <a:gd name="T11" fmla="*/ 5 h 85"/>
                <a:gd name="T12" fmla="*/ 40 w 78"/>
                <a:gd name="T13" fmla="*/ 0 h 85"/>
                <a:gd name="T14" fmla="*/ 60 w 78"/>
                <a:gd name="T15" fmla="*/ 5 h 85"/>
                <a:gd name="T16" fmla="*/ 73 w 78"/>
                <a:gd name="T17" fmla="*/ 20 h 85"/>
                <a:gd name="T18" fmla="*/ 78 w 78"/>
                <a:gd name="T19" fmla="*/ 41 h 85"/>
                <a:gd name="T20" fmla="*/ 73 w 78"/>
                <a:gd name="T21" fmla="*/ 64 h 85"/>
                <a:gd name="T22" fmla="*/ 60 w 78"/>
                <a:gd name="T23" fmla="*/ 80 h 85"/>
                <a:gd name="T24" fmla="*/ 39 w 78"/>
                <a:gd name="T25" fmla="*/ 85 h 85"/>
                <a:gd name="T26" fmla="*/ 39 w 78"/>
                <a:gd name="T27" fmla="*/ 5 h 85"/>
                <a:gd name="T28" fmla="*/ 22 w 78"/>
                <a:gd name="T29" fmla="*/ 10 h 85"/>
                <a:gd name="T30" fmla="*/ 11 w 78"/>
                <a:gd name="T31" fmla="*/ 23 h 85"/>
                <a:gd name="T32" fmla="*/ 6 w 78"/>
                <a:gd name="T33" fmla="*/ 43 h 85"/>
                <a:gd name="T34" fmla="*/ 10 w 78"/>
                <a:gd name="T35" fmla="*/ 62 h 85"/>
                <a:gd name="T36" fmla="*/ 22 w 78"/>
                <a:gd name="T37" fmla="*/ 75 h 85"/>
                <a:gd name="T38" fmla="*/ 39 w 78"/>
                <a:gd name="T39" fmla="*/ 80 h 85"/>
                <a:gd name="T40" fmla="*/ 63 w 78"/>
                <a:gd name="T41" fmla="*/ 70 h 85"/>
                <a:gd name="T42" fmla="*/ 72 w 78"/>
                <a:gd name="T43" fmla="*/ 42 h 85"/>
                <a:gd name="T44" fmla="*/ 68 w 78"/>
                <a:gd name="T45" fmla="*/ 22 h 85"/>
                <a:gd name="T46" fmla="*/ 57 w 78"/>
                <a:gd name="T47" fmla="*/ 9 h 85"/>
                <a:gd name="T48" fmla="*/ 39 w 78"/>
                <a:gd name="T49" fmla="*/ 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85">
                  <a:moveTo>
                    <a:pt x="39" y="85"/>
                  </a:moveTo>
                  <a:cubicBezTo>
                    <a:pt x="31" y="85"/>
                    <a:pt x="25" y="83"/>
                    <a:pt x="19" y="80"/>
                  </a:cubicBezTo>
                  <a:cubicBezTo>
                    <a:pt x="13" y="77"/>
                    <a:pt x="8" y="72"/>
                    <a:pt x="5" y="65"/>
                  </a:cubicBezTo>
                  <a:cubicBezTo>
                    <a:pt x="2" y="59"/>
                    <a:pt x="0" y="51"/>
                    <a:pt x="0" y="43"/>
                  </a:cubicBezTo>
                  <a:cubicBezTo>
                    <a:pt x="0" y="35"/>
                    <a:pt x="2" y="27"/>
                    <a:pt x="5" y="20"/>
                  </a:cubicBezTo>
                  <a:cubicBezTo>
                    <a:pt x="9" y="14"/>
                    <a:pt x="13" y="8"/>
                    <a:pt x="19" y="5"/>
                  </a:cubicBezTo>
                  <a:cubicBezTo>
                    <a:pt x="25" y="1"/>
                    <a:pt x="32" y="0"/>
                    <a:pt x="40" y="0"/>
                  </a:cubicBezTo>
                  <a:cubicBezTo>
                    <a:pt x="48" y="0"/>
                    <a:pt x="54" y="1"/>
                    <a:pt x="60" y="5"/>
                  </a:cubicBezTo>
                  <a:cubicBezTo>
                    <a:pt x="66" y="8"/>
                    <a:pt x="70" y="13"/>
                    <a:pt x="73" y="20"/>
                  </a:cubicBezTo>
                  <a:cubicBezTo>
                    <a:pt x="76" y="26"/>
                    <a:pt x="78" y="33"/>
                    <a:pt x="78" y="41"/>
                  </a:cubicBezTo>
                  <a:cubicBezTo>
                    <a:pt x="78" y="50"/>
                    <a:pt x="76" y="58"/>
                    <a:pt x="73" y="64"/>
                  </a:cubicBezTo>
                  <a:cubicBezTo>
                    <a:pt x="70" y="71"/>
                    <a:pt x="65" y="76"/>
                    <a:pt x="60" y="80"/>
                  </a:cubicBezTo>
                  <a:cubicBezTo>
                    <a:pt x="54" y="83"/>
                    <a:pt x="47" y="85"/>
                    <a:pt x="39" y="85"/>
                  </a:cubicBezTo>
                  <a:close/>
                  <a:moveTo>
                    <a:pt x="39" y="5"/>
                  </a:moveTo>
                  <a:cubicBezTo>
                    <a:pt x="33" y="5"/>
                    <a:pt x="27" y="6"/>
                    <a:pt x="22" y="10"/>
                  </a:cubicBezTo>
                  <a:cubicBezTo>
                    <a:pt x="17" y="13"/>
                    <a:pt x="13" y="17"/>
                    <a:pt x="11" y="23"/>
                  </a:cubicBezTo>
                  <a:cubicBezTo>
                    <a:pt x="8" y="29"/>
                    <a:pt x="6" y="35"/>
                    <a:pt x="6" y="43"/>
                  </a:cubicBezTo>
                  <a:cubicBezTo>
                    <a:pt x="6" y="50"/>
                    <a:pt x="8" y="57"/>
                    <a:pt x="10" y="62"/>
                  </a:cubicBezTo>
                  <a:cubicBezTo>
                    <a:pt x="13" y="68"/>
                    <a:pt x="17" y="72"/>
                    <a:pt x="22" y="75"/>
                  </a:cubicBezTo>
                  <a:cubicBezTo>
                    <a:pt x="27" y="78"/>
                    <a:pt x="32" y="80"/>
                    <a:pt x="39" y="80"/>
                  </a:cubicBezTo>
                  <a:cubicBezTo>
                    <a:pt x="49" y="80"/>
                    <a:pt x="57" y="77"/>
                    <a:pt x="63" y="70"/>
                  </a:cubicBezTo>
                  <a:cubicBezTo>
                    <a:pt x="69" y="63"/>
                    <a:pt x="72" y="54"/>
                    <a:pt x="72" y="42"/>
                  </a:cubicBezTo>
                  <a:cubicBezTo>
                    <a:pt x="72" y="34"/>
                    <a:pt x="71" y="28"/>
                    <a:pt x="68" y="22"/>
                  </a:cubicBezTo>
                  <a:cubicBezTo>
                    <a:pt x="66" y="17"/>
                    <a:pt x="62" y="12"/>
                    <a:pt x="57" y="9"/>
                  </a:cubicBezTo>
                  <a:cubicBezTo>
                    <a:pt x="52" y="6"/>
                    <a:pt x="46" y="5"/>
                    <a:pt x="39"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15" name="Freeform 6051"/>
            <p:cNvSpPr>
              <a:spLocks/>
            </p:cNvSpPr>
            <p:nvPr/>
          </p:nvSpPr>
          <p:spPr bwMode="auto">
            <a:xfrm>
              <a:off x="-929" y="2411"/>
              <a:ext cx="72" cy="158"/>
            </a:xfrm>
            <a:custGeom>
              <a:avLst/>
              <a:gdLst>
                <a:gd name="T0" fmla="*/ 9 w 72"/>
                <a:gd name="T1" fmla="*/ 9 h 158"/>
                <a:gd name="T2" fmla="*/ 9 w 72"/>
                <a:gd name="T3" fmla="*/ 74 h 158"/>
                <a:gd name="T4" fmla="*/ 68 w 72"/>
                <a:gd name="T5" fmla="*/ 74 h 158"/>
                <a:gd name="T6" fmla="*/ 68 w 72"/>
                <a:gd name="T7" fmla="*/ 84 h 158"/>
                <a:gd name="T8" fmla="*/ 9 w 72"/>
                <a:gd name="T9" fmla="*/ 84 h 158"/>
                <a:gd name="T10" fmla="*/ 9 w 72"/>
                <a:gd name="T11" fmla="*/ 158 h 158"/>
                <a:gd name="T12" fmla="*/ 0 w 72"/>
                <a:gd name="T13" fmla="*/ 158 h 158"/>
                <a:gd name="T14" fmla="*/ 0 w 72"/>
                <a:gd name="T15" fmla="*/ 0 h 158"/>
                <a:gd name="T16" fmla="*/ 72 w 72"/>
                <a:gd name="T17" fmla="*/ 0 h 158"/>
                <a:gd name="T18" fmla="*/ 72 w 72"/>
                <a:gd name="T19" fmla="*/ 9 h 158"/>
                <a:gd name="T20" fmla="*/ 9 w 72"/>
                <a:gd name="T21" fmla="*/ 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158">
                  <a:moveTo>
                    <a:pt x="9" y="9"/>
                  </a:moveTo>
                  <a:lnTo>
                    <a:pt x="9" y="74"/>
                  </a:lnTo>
                  <a:lnTo>
                    <a:pt x="68" y="74"/>
                  </a:lnTo>
                  <a:lnTo>
                    <a:pt x="68" y="84"/>
                  </a:lnTo>
                  <a:lnTo>
                    <a:pt x="9" y="84"/>
                  </a:lnTo>
                  <a:lnTo>
                    <a:pt x="9" y="158"/>
                  </a:lnTo>
                  <a:lnTo>
                    <a:pt x="0" y="158"/>
                  </a:lnTo>
                  <a:lnTo>
                    <a:pt x="0" y="0"/>
                  </a:lnTo>
                  <a:lnTo>
                    <a:pt x="72" y="0"/>
                  </a:lnTo>
                  <a:lnTo>
                    <a:pt x="72" y="9"/>
                  </a:lnTo>
                  <a:lnTo>
                    <a:pt x="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16" name="Freeform 6052"/>
            <p:cNvSpPr>
              <a:spLocks noEditPoints="1"/>
            </p:cNvSpPr>
            <p:nvPr/>
          </p:nvSpPr>
          <p:spPr bwMode="auto">
            <a:xfrm>
              <a:off x="-780" y="2411"/>
              <a:ext cx="120" cy="158"/>
            </a:xfrm>
            <a:custGeom>
              <a:avLst/>
              <a:gdLst>
                <a:gd name="T0" fmla="*/ 0 w 63"/>
                <a:gd name="T1" fmla="*/ 83 h 83"/>
                <a:gd name="T2" fmla="*/ 0 w 63"/>
                <a:gd name="T3" fmla="*/ 0 h 83"/>
                <a:gd name="T4" fmla="*/ 21 w 63"/>
                <a:gd name="T5" fmla="*/ 0 h 83"/>
                <a:gd name="T6" fmla="*/ 52 w 63"/>
                <a:gd name="T7" fmla="*/ 10 h 83"/>
                <a:gd name="T8" fmla="*/ 63 w 63"/>
                <a:gd name="T9" fmla="*/ 40 h 83"/>
                <a:gd name="T10" fmla="*/ 58 w 63"/>
                <a:gd name="T11" fmla="*/ 62 h 83"/>
                <a:gd name="T12" fmla="*/ 42 w 63"/>
                <a:gd name="T13" fmla="*/ 77 h 83"/>
                <a:gd name="T14" fmla="*/ 19 w 63"/>
                <a:gd name="T15" fmla="*/ 83 h 83"/>
                <a:gd name="T16" fmla="*/ 0 w 63"/>
                <a:gd name="T17" fmla="*/ 83 h 83"/>
                <a:gd name="T18" fmla="*/ 6 w 63"/>
                <a:gd name="T19" fmla="*/ 5 h 83"/>
                <a:gd name="T20" fmla="*/ 6 w 63"/>
                <a:gd name="T21" fmla="*/ 78 h 83"/>
                <a:gd name="T22" fmla="*/ 19 w 63"/>
                <a:gd name="T23" fmla="*/ 78 h 83"/>
                <a:gd name="T24" fmla="*/ 47 w 63"/>
                <a:gd name="T25" fmla="*/ 68 h 83"/>
                <a:gd name="T26" fmla="*/ 57 w 63"/>
                <a:gd name="T27" fmla="*/ 40 h 83"/>
                <a:gd name="T28" fmla="*/ 20 w 63"/>
                <a:gd name="T29" fmla="*/ 5 h 83"/>
                <a:gd name="T30" fmla="*/ 6 w 63"/>
                <a:gd name="T31"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83">
                  <a:moveTo>
                    <a:pt x="0" y="83"/>
                  </a:moveTo>
                  <a:cubicBezTo>
                    <a:pt x="0" y="0"/>
                    <a:pt x="0" y="0"/>
                    <a:pt x="0" y="0"/>
                  </a:cubicBezTo>
                  <a:cubicBezTo>
                    <a:pt x="21" y="0"/>
                    <a:pt x="21" y="0"/>
                    <a:pt x="21" y="0"/>
                  </a:cubicBezTo>
                  <a:cubicBezTo>
                    <a:pt x="34" y="0"/>
                    <a:pt x="45" y="3"/>
                    <a:pt x="52" y="10"/>
                  </a:cubicBezTo>
                  <a:cubicBezTo>
                    <a:pt x="59" y="17"/>
                    <a:pt x="63" y="27"/>
                    <a:pt x="63" y="40"/>
                  </a:cubicBezTo>
                  <a:cubicBezTo>
                    <a:pt x="63" y="49"/>
                    <a:pt x="61" y="56"/>
                    <a:pt x="58" y="62"/>
                  </a:cubicBezTo>
                  <a:cubicBezTo>
                    <a:pt x="54" y="69"/>
                    <a:pt x="49" y="74"/>
                    <a:pt x="42" y="77"/>
                  </a:cubicBezTo>
                  <a:cubicBezTo>
                    <a:pt x="36" y="81"/>
                    <a:pt x="28" y="83"/>
                    <a:pt x="19" y="83"/>
                  </a:cubicBezTo>
                  <a:lnTo>
                    <a:pt x="0" y="83"/>
                  </a:lnTo>
                  <a:close/>
                  <a:moveTo>
                    <a:pt x="6" y="5"/>
                  </a:moveTo>
                  <a:cubicBezTo>
                    <a:pt x="6" y="78"/>
                    <a:pt x="6" y="78"/>
                    <a:pt x="6" y="78"/>
                  </a:cubicBezTo>
                  <a:cubicBezTo>
                    <a:pt x="19" y="78"/>
                    <a:pt x="19" y="78"/>
                    <a:pt x="19" y="78"/>
                  </a:cubicBezTo>
                  <a:cubicBezTo>
                    <a:pt x="31" y="78"/>
                    <a:pt x="40" y="74"/>
                    <a:pt x="47" y="68"/>
                  </a:cubicBezTo>
                  <a:cubicBezTo>
                    <a:pt x="54" y="62"/>
                    <a:pt x="57" y="52"/>
                    <a:pt x="57" y="40"/>
                  </a:cubicBezTo>
                  <a:cubicBezTo>
                    <a:pt x="57" y="17"/>
                    <a:pt x="44" y="5"/>
                    <a:pt x="20" y="5"/>
                  </a:cubicBez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17" name="Freeform 6053"/>
            <p:cNvSpPr>
              <a:spLocks noEditPoints="1"/>
            </p:cNvSpPr>
            <p:nvPr/>
          </p:nvSpPr>
          <p:spPr bwMode="auto">
            <a:xfrm>
              <a:off x="-633" y="2411"/>
              <a:ext cx="93" cy="158"/>
            </a:xfrm>
            <a:custGeom>
              <a:avLst/>
              <a:gdLst>
                <a:gd name="T0" fmla="*/ 43 w 49"/>
                <a:gd name="T1" fmla="*/ 83 h 83"/>
                <a:gd name="T2" fmla="*/ 32 w 49"/>
                <a:gd name="T3" fmla="*/ 59 h 83"/>
                <a:gd name="T4" fmla="*/ 25 w 49"/>
                <a:gd name="T5" fmla="*/ 49 h 83"/>
                <a:gd name="T6" fmla="*/ 16 w 49"/>
                <a:gd name="T7" fmla="*/ 46 h 83"/>
                <a:gd name="T8" fmla="*/ 6 w 49"/>
                <a:gd name="T9" fmla="*/ 46 h 83"/>
                <a:gd name="T10" fmla="*/ 6 w 49"/>
                <a:gd name="T11" fmla="*/ 83 h 83"/>
                <a:gd name="T12" fmla="*/ 0 w 49"/>
                <a:gd name="T13" fmla="*/ 83 h 83"/>
                <a:gd name="T14" fmla="*/ 0 w 49"/>
                <a:gd name="T15" fmla="*/ 0 h 83"/>
                <a:gd name="T16" fmla="*/ 23 w 49"/>
                <a:gd name="T17" fmla="*/ 0 h 83"/>
                <a:gd name="T18" fmla="*/ 41 w 49"/>
                <a:gd name="T19" fmla="*/ 6 h 83"/>
                <a:gd name="T20" fmla="*/ 47 w 49"/>
                <a:gd name="T21" fmla="*/ 22 h 83"/>
                <a:gd name="T22" fmla="*/ 42 w 49"/>
                <a:gd name="T23" fmla="*/ 36 h 83"/>
                <a:gd name="T24" fmla="*/ 27 w 49"/>
                <a:gd name="T25" fmla="*/ 44 h 83"/>
                <a:gd name="T26" fmla="*/ 27 w 49"/>
                <a:gd name="T27" fmla="*/ 44 h 83"/>
                <a:gd name="T28" fmla="*/ 37 w 49"/>
                <a:gd name="T29" fmla="*/ 56 h 83"/>
                <a:gd name="T30" fmla="*/ 49 w 49"/>
                <a:gd name="T31" fmla="*/ 83 h 83"/>
                <a:gd name="T32" fmla="*/ 43 w 49"/>
                <a:gd name="T33" fmla="*/ 83 h 83"/>
                <a:gd name="T34" fmla="*/ 6 w 49"/>
                <a:gd name="T35" fmla="*/ 5 h 83"/>
                <a:gd name="T36" fmla="*/ 6 w 49"/>
                <a:gd name="T37" fmla="*/ 41 h 83"/>
                <a:gd name="T38" fmla="*/ 20 w 49"/>
                <a:gd name="T39" fmla="*/ 41 h 83"/>
                <a:gd name="T40" fmla="*/ 36 w 49"/>
                <a:gd name="T41" fmla="*/ 36 h 83"/>
                <a:gd name="T42" fmla="*/ 41 w 49"/>
                <a:gd name="T43" fmla="*/ 22 h 83"/>
                <a:gd name="T44" fmla="*/ 36 w 49"/>
                <a:gd name="T45" fmla="*/ 10 h 83"/>
                <a:gd name="T46" fmla="*/ 22 w 49"/>
                <a:gd name="T47" fmla="*/ 5 h 83"/>
                <a:gd name="T48" fmla="*/ 6 w 49"/>
                <a:gd name="T49"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83">
                  <a:moveTo>
                    <a:pt x="43" y="83"/>
                  </a:moveTo>
                  <a:cubicBezTo>
                    <a:pt x="32" y="59"/>
                    <a:pt x="32" y="59"/>
                    <a:pt x="32" y="59"/>
                  </a:cubicBezTo>
                  <a:cubicBezTo>
                    <a:pt x="30" y="54"/>
                    <a:pt x="27" y="50"/>
                    <a:pt x="25" y="49"/>
                  </a:cubicBezTo>
                  <a:cubicBezTo>
                    <a:pt x="23" y="47"/>
                    <a:pt x="20" y="46"/>
                    <a:pt x="16" y="46"/>
                  </a:cubicBezTo>
                  <a:cubicBezTo>
                    <a:pt x="6" y="46"/>
                    <a:pt x="6" y="46"/>
                    <a:pt x="6" y="46"/>
                  </a:cubicBezTo>
                  <a:cubicBezTo>
                    <a:pt x="6" y="83"/>
                    <a:pt x="6" y="83"/>
                    <a:pt x="6" y="83"/>
                  </a:cubicBezTo>
                  <a:cubicBezTo>
                    <a:pt x="0" y="83"/>
                    <a:pt x="0" y="83"/>
                    <a:pt x="0" y="83"/>
                  </a:cubicBezTo>
                  <a:cubicBezTo>
                    <a:pt x="0" y="0"/>
                    <a:pt x="0" y="0"/>
                    <a:pt x="0" y="0"/>
                  </a:cubicBezTo>
                  <a:cubicBezTo>
                    <a:pt x="23" y="0"/>
                    <a:pt x="23" y="0"/>
                    <a:pt x="23" y="0"/>
                  </a:cubicBezTo>
                  <a:cubicBezTo>
                    <a:pt x="31" y="0"/>
                    <a:pt x="36" y="2"/>
                    <a:pt x="41" y="6"/>
                  </a:cubicBezTo>
                  <a:cubicBezTo>
                    <a:pt x="45" y="10"/>
                    <a:pt x="47" y="15"/>
                    <a:pt x="47" y="22"/>
                  </a:cubicBezTo>
                  <a:cubicBezTo>
                    <a:pt x="47" y="27"/>
                    <a:pt x="45" y="32"/>
                    <a:pt x="42" y="36"/>
                  </a:cubicBezTo>
                  <a:cubicBezTo>
                    <a:pt x="38" y="40"/>
                    <a:pt x="34" y="43"/>
                    <a:pt x="27" y="44"/>
                  </a:cubicBezTo>
                  <a:cubicBezTo>
                    <a:pt x="27" y="44"/>
                    <a:pt x="27" y="44"/>
                    <a:pt x="27" y="44"/>
                  </a:cubicBezTo>
                  <a:cubicBezTo>
                    <a:pt x="31" y="46"/>
                    <a:pt x="34" y="50"/>
                    <a:pt x="37" y="56"/>
                  </a:cubicBezTo>
                  <a:cubicBezTo>
                    <a:pt x="49" y="83"/>
                    <a:pt x="49" y="83"/>
                    <a:pt x="49" y="83"/>
                  </a:cubicBezTo>
                  <a:lnTo>
                    <a:pt x="43" y="83"/>
                  </a:lnTo>
                  <a:close/>
                  <a:moveTo>
                    <a:pt x="6" y="5"/>
                  </a:moveTo>
                  <a:cubicBezTo>
                    <a:pt x="6" y="41"/>
                    <a:pt x="6" y="41"/>
                    <a:pt x="6" y="41"/>
                  </a:cubicBezTo>
                  <a:cubicBezTo>
                    <a:pt x="20" y="41"/>
                    <a:pt x="20" y="41"/>
                    <a:pt x="20" y="41"/>
                  </a:cubicBezTo>
                  <a:cubicBezTo>
                    <a:pt x="27" y="41"/>
                    <a:pt x="32" y="39"/>
                    <a:pt x="36" y="36"/>
                  </a:cubicBezTo>
                  <a:cubicBezTo>
                    <a:pt x="39" y="32"/>
                    <a:pt x="41" y="28"/>
                    <a:pt x="41" y="22"/>
                  </a:cubicBezTo>
                  <a:cubicBezTo>
                    <a:pt x="41" y="17"/>
                    <a:pt x="39" y="13"/>
                    <a:pt x="36" y="10"/>
                  </a:cubicBezTo>
                  <a:cubicBezTo>
                    <a:pt x="33" y="7"/>
                    <a:pt x="28" y="5"/>
                    <a:pt x="22" y="5"/>
                  </a:cubicBez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18" name="Freeform 6054"/>
            <p:cNvSpPr>
              <a:spLocks/>
            </p:cNvSpPr>
            <p:nvPr/>
          </p:nvSpPr>
          <p:spPr bwMode="auto">
            <a:xfrm>
              <a:off x="-511" y="2411"/>
              <a:ext cx="78" cy="158"/>
            </a:xfrm>
            <a:custGeom>
              <a:avLst/>
              <a:gdLst>
                <a:gd name="T0" fmla="*/ 0 w 78"/>
                <a:gd name="T1" fmla="*/ 158 h 158"/>
                <a:gd name="T2" fmla="*/ 0 w 78"/>
                <a:gd name="T3" fmla="*/ 0 h 158"/>
                <a:gd name="T4" fmla="*/ 74 w 78"/>
                <a:gd name="T5" fmla="*/ 0 h 158"/>
                <a:gd name="T6" fmla="*/ 74 w 78"/>
                <a:gd name="T7" fmla="*/ 9 h 158"/>
                <a:gd name="T8" fmla="*/ 11 w 78"/>
                <a:gd name="T9" fmla="*/ 9 h 158"/>
                <a:gd name="T10" fmla="*/ 11 w 78"/>
                <a:gd name="T11" fmla="*/ 72 h 158"/>
                <a:gd name="T12" fmla="*/ 68 w 78"/>
                <a:gd name="T13" fmla="*/ 72 h 158"/>
                <a:gd name="T14" fmla="*/ 68 w 78"/>
                <a:gd name="T15" fmla="*/ 84 h 158"/>
                <a:gd name="T16" fmla="*/ 11 w 78"/>
                <a:gd name="T17" fmla="*/ 84 h 158"/>
                <a:gd name="T18" fmla="*/ 11 w 78"/>
                <a:gd name="T19" fmla="*/ 149 h 158"/>
                <a:gd name="T20" fmla="*/ 78 w 78"/>
                <a:gd name="T21" fmla="*/ 149 h 158"/>
                <a:gd name="T22" fmla="*/ 78 w 78"/>
                <a:gd name="T23" fmla="*/ 158 h 158"/>
                <a:gd name="T24" fmla="*/ 0 w 78"/>
                <a:gd name="T2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158">
                  <a:moveTo>
                    <a:pt x="0" y="158"/>
                  </a:moveTo>
                  <a:lnTo>
                    <a:pt x="0" y="0"/>
                  </a:lnTo>
                  <a:lnTo>
                    <a:pt x="74" y="0"/>
                  </a:lnTo>
                  <a:lnTo>
                    <a:pt x="74" y="9"/>
                  </a:lnTo>
                  <a:lnTo>
                    <a:pt x="11" y="9"/>
                  </a:lnTo>
                  <a:lnTo>
                    <a:pt x="11" y="72"/>
                  </a:lnTo>
                  <a:lnTo>
                    <a:pt x="68" y="72"/>
                  </a:lnTo>
                  <a:lnTo>
                    <a:pt x="68" y="84"/>
                  </a:lnTo>
                  <a:lnTo>
                    <a:pt x="11" y="84"/>
                  </a:lnTo>
                  <a:lnTo>
                    <a:pt x="11" y="149"/>
                  </a:lnTo>
                  <a:lnTo>
                    <a:pt x="78" y="149"/>
                  </a:lnTo>
                  <a:lnTo>
                    <a:pt x="78" y="158"/>
                  </a:lnTo>
                  <a:lnTo>
                    <a:pt x="0"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19" name="Freeform 6055"/>
            <p:cNvSpPr>
              <a:spLocks noEditPoints="1"/>
            </p:cNvSpPr>
            <p:nvPr/>
          </p:nvSpPr>
          <p:spPr bwMode="auto">
            <a:xfrm>
              <a:off x="-416" y="2411"/>
              <a:ext cx="128" cy="158"/>
            </a:xfrm>
            <a:custGeom>
              <a:avLst/>
              <a:gdLst>
                <a:gd name="T0" fmla="*/ 61 w 67"/>
                <a:gd name="T1" fmla="*/ 83 h 83"/>
                <a:gd name="T2" fmla="*/ 51 w 67"/>
                <a:gd name="T3" fmla="*/ 57 h 83"/>
                <a:gd name="T4" fmla="*/ 16 w 67"/>
                <a:gd name="T5" fmla="*/ 57 h 83"/>
                <a:gd name="T6" fmla="*/ 6 w 67"/>
                <a:gd name="T7" fmla="*/ 83 h 83"/>
                <a:gd name="T8" fmla="*/ 0 w 67"/>
                <a:gd name="T9" fmla="*/ 83 h 83"/>
                <a:gd name="T10" fmla="*/ 31 w 67"/>
                <a:gd name="T11" fmla="*/ 0 h 83"/>
                <a:gd name="T12" fmla="*/ 36 w 67"/>
                <a:gd name="T13" fmla="*/ 0 h 83"/>
                <a:gd name="T14" fmla="*/ 67 w 67"/>
                <a:gd name="T15" fmla="*/ 83 h 83"/>
                <a:gd name="T16" fmla="*/ 61 w 67"/>
                <a:gd name="T17" fmla="*/ 83 h 83"/>
                <a:gd name="T18" fmla="*/ 34 w 67"/>
                <a:gd name="T19" fmla="*/ 7 h 83"/>
                <a:gd name="T20" fmla="*/ 33 w 67"/>
                <a:gd name="T21" fmla="*/ 7 h 83"/>
                <a:gd name="T22" fmla="*/ 31 w 67"/>
                <a:gd name="T23" fmla="*/ 13 h 83"/>
                <a:gd name="T24" fmla="*/ 18 w 67"/>
                <a:gd name="T25" fmla="*/ 52 h 83"/>
                <a:gd name="T26" fmla="*/ 50 w 67"/>
                <a:gd name="T27" fmla="*/ 52 h 83"/>
                <a:gd name="T28" fmla="*/ 36 w 67"/>
                <a:gd name="T29" fmla="*/ 13 h 83"/>
                <a:gd name="T30" fmla="*/ 34 w 67"/>
                <a:gd name="T31" fmla="*/ 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7" h="83">
                  <a:moveTo>
                    <a:pt x="61" y="83"/>
                  </a:moveTo>
                  <a:cubicBezTo>
                    <a:pt x="51" y="57"/>
                    <a:pt x="51" y="57"/>
                    <a:pt x="51" y="57"/>
                  </a:cubicBezTo>
                  <a:cubicBezTo>
                    <a:pt x="16" y="57"/>
                    <a:pt x="16" y="57"/>
                    <a:pt x="16" y="57"/>
                  </a:cubicBezTo>
                  <a:cubicBezTo>
                    <a:pt x="6" y="83"/>
                    <a:pt x="6" y="83"/>
                    <a:pt x="6" y="83"/>
                  </a:cubicBezTo>
                  <a:cubicBezTo>
                    <a:pt x="0" y="83"/>
                    <a:pt x="0" y="83"/>
                    <a:pt x="0" y="83"/>
                  </a:cubicBezTo>
                  <a:cubicBezTo>
                    <a:pt x="31" y="0"/>
                    <a:pt x="31" y="0"/>
                    <a:pt x="31" y="0"/>
                  </a:cubicBezTo>
                  <a:cubicBezTo>
                    <a:pt x="36" y="0"/>
                    <a:pt x="36" y="0"/>
                    <a:pt x="36" y="0"/>
                  </a:cubicBezTo>
                  <a:cubicBezTo>
                    <a:pt x="67" y="83"/>
                    <a:pt x="67" y="83"/>
                    <a:pt x="67" y="83"/>
                  </a:cubicBezTo>
                  <a:lnTo>
                    <a:pt x="61" y="83"/>
                  </a:lnTo>
                  <a:close/>
                  <a:moveTo>
                    <a:pt x="34" y="7"/>
                  </a:moveTo>
                  <a:cubicBezTo>
                    <a:pt x="33" y="7"/>
                    <a:pt x="33" y="7"/>
                    <a:pt x="33" y="7"/>
                  </a:cubicBezTo>
                  <a:cubicBezTo>
                    <a:pt x="33" y="10"/>
                    <a:pt x="32" y="12"/>
                    <a:pt x="31" y="13"/>
                  </a:cubicBezTo>
                  <a:cubicBezTo>
                    <a:pt x="18" y="52"/>
                    <a:pt x="18" y="52"/>
                    <a:pt x="18" y="52"/>
                  </a:cubicBezTo>
                  <a:cubicBezTo>
                    <a:pt x="50" y="52"/>
                    <a:pt x="50" y="52"/>
                    <a:pt x="50" y="52"/>
                  </a:cubicBezTo>
                  <a:cubicBezTo>
                    <a:pt x="36" y="13"/>
                    <a:pt x="36" y="13"/>
                    <a:pt x="36" y="13"/>
                  </a:cubicBezTo>
                  <a:lnTo>
                    <a:pt x="3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20" name="Freeform 6056"/>
            <p:cNvSpPr>
              <a:spLocks/>
            </p:cNvSpPr>
            <p:nvPr/>
          </p:nvSpPr>
          <p:spPr bwMode="auto">
            <a:xfrm>
              <a:off x="-265" y="2411"/>
              <a:ext cx="149" cy="158"/>
            </a:xfrm>
            <a:custGeom>
              <a:avLst/>
              <a:gdLst>
                <a:gd name="T0" fmla="*/ 72 w 78"/>
                <a:gd name="T1" fmla="*/ 83 h 83"/>
                <a:gd name="T2" fmla="*/ 72 w 78"/>
                <a:gd name="T3" fmla="*/ 24 h 83"/>
                <a:gd name="T4" fmla="*/ 73 w 78"/>
                <a:gd name="T5" fmla="*/ 12 h 83"/>
                <a:gd name="T6" fmla="*/ 73 w 78"/>
                <a:gd name="T7" fmla="*/ 12 h 83"/>
                <a:gd name="T8" fmla="*/ 69 w 78"/>
                <a:gd name="T9" fmla="*/ 19 h 83"/>
                <a:gd name="T10" fmla="*/ 40 w 78"/>
                <a:gd name="T11" fmla="*/ 83 h 83"/>
                <a:gd name="T12" fmla="*/ 38 w 78"/>
                <a:gd name="T13" fmla="*/ 83 h 83"/>
                <a:gd name="T14" fmla="*/ 9 w 78"/>
                <a:gd name="T15" fmla="*/ 19 h 83"/>
                <a:gd name="T16" fmla="*/ 6 w 78"/>
                <a:gd name="T17" fmla="*/ 12 h 83"/>
                <a:gd name="T18" fmla="*/ 6 w 78"/>
                <a:gd name="T19" fmla="*/ 12 h 83"/>
                <a:gd name="T20" fmla="*/ 6 w 78"/>
                <a:gd name="T21" fmla="*/ 23 h 83"/>
                <a:gd name="T22" fmla="*/ 6 w 78"/>
                <a:gd name="T23" fmla="*/ 83 h 83"/>
                <a:gd name="T24" fmla="*/ 0 w 78"/>
                <a:gd name="T25" fmla="*/ 83 h 83"/>
                <a:gd name="T26" fmla="*/ 0 w 78"/>
                <a:gd name="T27" fmla="*/ 0 h 83"/>
                <a:gd name="T28" fmla="*/ 6 w 78"/>
                <a:gd name="T29" fmla="*/ 0 h 83"/>
                <a:gd name="T30" fmla="*/ 36 w 78"/>
                <a:gd name="T31" fmla="*/ 67 h 83"/>
                <a:gd name="T32" fmla="*/ 37 w 78"/>
                <a:gd name="T33" fmla="*/ 68 h 83"/>
                <a:gd name="T34" fmla="*/ 39 w 78"/>
                <a:gd name="T35" fmla="*/ 74 h 83"/>
                <a:gd name="T36" fmla="*/ 39 w 78"/>
                <a:gd name="T37" fmla="*/ 74 h 83"/>
                <a:gd name="T38" fmla="*/ 42 w 78"/>
                <a:gd name="T39" fmla="*/ 66 h 83"/>
                <a:gd name="T40" fmla="*/ 73 w 78"/>
                <a:gd name="T41" fmla="*/ 0 h 83"/>
                <a:gd name="T42" fmla="*/ 78 w 78"/>
                <a:gd name="T43" fmla="*/ 0 h 83"/>
                <a:gd name="T44" fmla="*/ 78 w 78"/>
                <a:gd name="T45" fmla="*/ 83 h 83"/>
                <a:gd name="T46" fmla="*/ 72 w 78"/>
                <a:gd name="T4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 h="83">
                  <a:moveTo>
                    <a:pt x="72" y="83"/>
                  </a:moveTo>
                  <a:cubicBezTo>
                    <a:pt x="72" y="24"/>
                    <a:pt x="72" y="24"/>
                    <a:pt x="72" y="24"/>
                  </a:cubicBezTo>
                  <a:cubicBezTo>
                    <a:pt x="73" y="12"/>
                    <a:pt x="73" y="12"/>
                    <a:pt x="73" y="12"/>
                  </a:cubicBezTo>
                  <a:cubicBezTo>
                    <a:pt x="73" y="12"/>
                    <a:pt x="73" y="12"/>
                    <a:pt x="73" y="12"/>
                  </a:cubicBezTo>
                  <a:cubicBezTo>
                    <a:pt x="69" y="19"/>
                    <a:pt x="69" y="19"/>
                    <a:pt x="69" y="19"/>
                  </a:cubicBezTo>
                  <a:cubicBezTo>
                    <a:pt x="40" y="83"/>
                    <a:pt x="40" y="83"/>
                    <a:pt x="40" y="83"/>
                  </a:cubicBezTo>
                  <a:cubicBezTo>
                    <a:pt x="38" y="83"/>
                    <a:pt x="38" y="83"/>
                    <a:pt x="38" y="83"/>
                  </a:cubicBezTo>
                  <a:cubicBezTo>
                    <a:pt x="9" y="19"/>
                    <a:pt x="9" y="19"/>
                    <a:pt x="9" y="19"/>
                  </a:cubicBezTo>
                  <a:cubicBezTo>
                    <a:pt x="7" y="17"/>
                    <a:pt x="7" y="15"/>
                    <a:pt x="6" y="12"/>
                  </a:cubicBezTo>
                  <a:cubicBezTo>
                    <a:pt x="6" y="12"/>
                    <a:pt x="6" y="12"/>
                    <a:pt x="6" y="12"/>
                  </a:cubicBezTo>
                  <a:cubicBezTo>
                    <a:pt x="6" y="15"/>
                    <a:pt x="6" y="18"/>
                    <a:pt x="6" y="23"/>
                  </a:cubicBezTo>
                  <a:cubicBezTo>
                    <a:pt x="6" y="83"/>
                    <a:pt x="6" y="83"/>
                    <a:pt x="6" y="83"/>
                  </a:cubicBezTo>
                  <a:cubicBezTo>
                    <a:pt x="0" y="83"/>
                    <a:pt x="0" y="83"/>
                    <a:pt x="0" y="83"/>
                  </a:cubicBezTo>
                  <a:cubicBezTo>
                    <a:pt x="0" y="0"/>
                    <a:pt x="0" y="0"/>
                    <a:pt x="0" y="0"/>
                  </a:cubicBezTo>
                  <a:cubicBezTo>
                    <a:pt x="6" y="0"/>
                    <a:pt x="6" y="0"/>
                    <a:pt x="6" y="0"/>
                  </a:cubicBezTo>
                  <a:cubicBezTo>
                    <a:pt x="36" y="67"/>
                    <a:pt x="36" y="67"/>
                    <a:pt x="36" y="67"/>
                  </a:cubicBezTo>
                  <a:cubicBezTo>
                    <a:pt x="37" y="68"/>
                    <a:pt x="37" y="68"/>
                    <a:pt x="37" y="68"/>
                  </a:cubicBezTo>
                  <a:cubicBezTo>
                    <a:pt x="39" y="74"/>
                    <a:pt x="39" y="74"/>
                    <a:pt x="39" y="74"/>
                  </a:cubicBezTo>
                  <a:cubicBezTo>
                    <a:pt x="39" y="74"/>
                    <a:pt x="39" y="74"/>
                    <a:pt x="39" y="74"/>
                  </a:cubicBezTo>
                  <a:cubicBezTo>
                    <a:pt x="42" y="66"/>
                    <a:pt x="42" y="66"/>
                    <a:pt x="42" y="66"/>
                  </a:cubicBezTo>
                  <a:cubicBezTo>
                    <a:pt x="73" y="0"/>
                    <a:pt x="73" y="0"/>
                    <a:pt x="73" y="0"/>
                  </a:cubicBezTo>
                  <a:cubicBezTo>
                    <a:pt x="78" y="0"/>
                    <a:pt x="78" y="0"/>
                    <a:pt x="78" y="0"/>
                  </a:cubicBezTo>
                  <a:cubicBezTo>
                    <a:pt x="78" y="83"/>
                    <a:pt x="78" y="83"/>
                    <a:pt x="78" y="83"/>
                  </a:cubicBezTo>
                  <a:lnTo>
                    <a:pt x="7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21" name="Freeform 6057"/>
            <p:cNvSpPr>
              <a:spLocks/>
            </p:cNvSpPr>
            <p:nvPr/>
          </p:nvSpPr>
          <p:spPr bwMode="auto">
            <a:xfrm>
              <a:off x="-86" y="2409"/>
              <a:ext cx="84" cy="162"/>
            </a:xfrm>
            <a:custGeom>
              <a:avLst/>
              <a:gdLst>
                <a:gd name="T0" fmla="*/ 0 w 44"/>
                <a:gd name="T1" fmla="*/ 81 h 85"/>
                <a:gd name="T2" fmla="*/ 0 w 44"/>
                <a:gd name="T3" fmla="*/ 74 h 85"/>
                <a:gd name="T4" fmla="*/ 18 w 44"/>
                <a:gd name="T5" fmla="*/ 80 h 85"/>
                <a:gd name="T6" fmla="*/ 33 w 44"/>
                <a:gd name="T7" fmla="*/ 76 h 85"/>
                <a:gd name="T8" fmla="*/ 38 w 44"/>
                <a:gd name="T9" fmla="*/ 65 h 85"/>
                <a:gd name="T10" fmla="*/ 34 w 44"/>
                <a:gd name="T11" fmla="*/ 54 h 85"/>
                <a:gd name="T12" fmla="*/ 20 w 44"/>
                <a:gd name="T13" fmla="*/ 44 h 85"/>
                <a:gd name="T14" fmla="*/ 4 w 44"/>
                <a:gd name="T15" fmla="*/ 32 h 85"/>
                <a:gd name="T16" fmla="*/ 0 w 44"/>
                <a:gd name="T17" fmla="*/ 21 h 85"/>
                <a:gd name="T18" fmla="*/ 4 w 44"/>
                <a:gd name="T19" fmla="*/ 10 h 85"/>
                <a:gd name="T20" fmla="*/ 13 w 44"/>
                <a:gd name="T21" fmla="*/ 2 h 85"/>
                <a:gd name="T22" fmla="*/ 26 w 44"/>
                <a:gd name="T23" fmla="*/ 0 h 85"/>
                <a:gd name="T24" fmla="*/ 40 w 44"/>
                <a:gd name="T25" fmla="*/ 2 h 85"/>
                <a:gd name="T26" fmla="*/ 40 w 44"/>
                <a:gd name="T27" fmla="*/ 8 h 85"/>
                <a:gd name="T28" fmla="*/ 25 w 44"/>
                <a:gd name="T29" fmla="*/ 5 h 85"/>
                <a:gd name="T30" fmla="*/ 12 w 44"/>
                <a:gd name="T31" fmla="*/ 9 h 85"/>
                <a:gd name="T32" fmla="*/ 6 w 44"/>
                <a:gd name="T33" fmla="*/ 20 h 85"/>
                <a:gd name="T34" fmla="*/ 8 w 44"/>
                <a:gd name="T35" fmla="*/ 27 h 85"/>
                <a:gd name="T36" fmla="*/ 12 w 44"/>
                <a:gd name="T37" fmla="*/ 32 h 85"/>
                <a:gd name="T38" fmla="*/ 24 w 44"/>
                <a:gd name="T39" fmla="*/ 40 h 85"/>
                <a:gd name="T40" fmla="*/ 36 w 44"/>
                <a:gd name="T41" fmla="*/ 48 h 85"/>
                <a:gd name="T42" fmla="*/ 42 w 44"/>
                <a:gd name="T43" fmla="*/ 55 h 85"/>
                <a:gd name="T44" fmla="*/ 44 w 44"/>
                <a:gd name="T45" fmla="*/ 64 h 85"/>
                <a:gd name="T46" fmla="*/ 37 w 44"/>
                <a:gd name="T47" fmla="*/ 79 h 85"/>
                <a:gd name="T48" fmla="*/ 18 w 44"/>
                <a:gd name="T49" fmla="*/ 85 h 85"/>
                <a:gd name="T50" fmla="*/ 9 w 44"/>
                <a:gd name="T51" fmla="*/ 84 h 85"/>
                <a:gd name="T52" fmla="*/ 0 w 44"/>
                <a:gd name="T53"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 h="85">
                  <a:moveTo>
                    <a:pt x="0" y="81"/>
                  </a:moveTo>
                  <a:cubicBezTo>
                    <a:pt x="0" y="74"/>
                    <a:pt x="0" y="74"/>
                    <a:pt x="0" y="74"/>
                  </a:cubicBezTo>
                  <a:cubicBezTo>
                    <a:pt x="6" y="78"/>
                    <a:pt x="12" y="80"/>
                    <a:pt x="18" y="80"/>
                  </a:cubicBezTo>
                  <a:cubicBezTo>
                    <a:pt x="25" y="80"/>
                    <a:pt x="30" y="79"/>
                    <a:pt x="33" y="76"/>
                  </a:cubicBezTo>
                  <a:cubicBezTo>
                    <a:pt x="36" y="73"/>
                    <a:pt x="38" y="70"/>
                    <a:pt x="38" y="65"/>
                  </a:cubicBezTo>
                  <a:cubicBezTo>
                    <a:pt x="38" y="60"/>
                    <a:pt x="37" y="57"/>
                    <a:pt x="34" y="54"/>
                  </a:cubicBezTo>
                  <a:cubicBezTo>
                    <a:pt x="32" y="52"/>
                    <a:pt x="27" y="49"/>
                    <a:pt x="20" y="44"/>
                  </a:cubicBezTo>
                  <a:cubicBezTo>
                    <a:pt x="12" y="40"/>
                    <a:pt x="7" y="36"/>
                    <a:pt x="4" y="32"/>
                  </a:cubicBezTo>
                  <a:cubicBezTo>
                    <a:pt x="2" y="29"/>
                    <a:pt x="0" y="25"/>
                    <a:pt x="0" y="21"/>
                  </a:cubicBezTo>
                  <a:cubicBezTo>
                    <a:pt x="0" y="17"/>
                    <a:pt x="2" y="13"/>
                    <a:pt x="4" y="10"/>
                  </a:cubicBezTo>
                  <a:cubicBezTo>
                    <a:pt x="6" y="7"/>
                    <a:pt x="9" y="4"/>
                    <a:pt x="13" y="2"/>
                  </a:cubicBezTo>
                  <a:cubicBezTo>
                    <a:pt x="16" y="0"/>
                    <a:pt x="21" y="0"/>
                    <a:pt x="26" y="0"/>
                  </a:cubicBezTo>
                  <a:cubicBezTo>
                    <a:pt x="31" y="0"/>
                    <a:pt x="35" y="0"/>
                    <a:pt x="40" y="2"/>
                  </a:cubicBezTo>
                  <a:cubicBezTo>
                    <a:pt x="40" y="8"/>
                    <a:pt x="40" y="8"/>
                    <a:pt x="40" y="8"/>
                  </a:cubicBezTo>
                  <a:cubicBezTo>
                    <a:pt x="35" y="6"/>
                    <a:pt x="30" y="5"/>
                    <a:pt x="25" y="5"/>
                  </a:cubicBezTo>
                  <a:cubicBezTo>
                    <a:pt x="19" y="5"/>
                    <a:pt x="15" y="6"/>
                    <a:pt x="12" y="9"/>
                  </a:cubicBezTo>
                  <a:cubicBezTo>
                    <a:pt x="8" y="12"/>
                    <a:pt x="6" y="15"/>
                    <a:pt x="6" y="20"/>
                  </a:cubicBezTo>
                  <a:cubicBezTo>
                    <a:pt x="6" y="23"/>
                    <a:pt x="7" y="25"/>
                    <a:pt x="8" y="27"/>
                  </a:cubicBezTo>
                  <a:cubicBezTo>
                    <a:pt x="9" y="29"/>
                    <a:pt x="10" y="31"/>
                    <a:pt x="12" y="32"/>
                  </a:cubicBezTo>
                  <a:cubicBezTo>
                    <a:pt x="14" y="34"/>
                    <a:pt x="18" y="37"/>
                    <a:pt x="24" y="40"/>
                  </a:cubicBezTo>
                  <a:cubicBezTo>
                    <a:pt x="29" y="43"/>
                    <a:pt x="33" y="46"/>
                    <a:pt x="36" y="48"/>
                  </a:cubicBezTo>
                  <a:cubicBezTo>
                    <a:pt x="39" y="50"/>
                    <a:pt x="41" y="53"/>
                    <a:pt x="42" y="55"/>
                  </a:cubicBezTo>
                  <a:cubicBezTo>
                    <a:pt x="43" y="57"/>
                    <a:pt x="44" y="60"/>
                    <a:pt x="44" y="64"/>
                  </a:cubicBezTo>
                  <a:cubicBezTo>
                    <a:pt x="44" y="70"/>
                    <a:pt x="41" y="76"/>
                    <a:pt x="37" y="79"/>
                  </a:cubicBezTo>
                  <a:cubicBezTo>
                    <a:pt x="32" y="83"/>
                    <a:pt x="26" y="85"/>
                    <a:pt x="18" y="85"/>
                  </a:cubicBezTo>
                  <a:cubicBezTo>
                    <a:pt x="16" y="85"/>
                    <a:pt x="13" y="85"/>
                    <a:pt x="9" y="84"/>
                  </a:cubicBezTo>
                  <a:cubicBezTo>
                    <a:pt x="5" y="83"/>
                    <a:pt x="2" y="82"/>
                    <a:pt x="0"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22" name="Freeform 6058"/>
            <p:cNvSpPr>
              <a:spLocks noEditPoints="1"/>
            </p:cNvSpPr>
            <p:nvPr/>
          </p:nvSpPr>
          <p:spPr bwMode="auto">
            <a:xfrm>
              <a:off x="-1107" y="2409"/>
              <a:ext cx="149" cy="162"/>
            </a:xfrm>
            <a:custGeom>
              <a:avLst/>
              <a:gdLst>
                <a:gd name="T0" fmla="*/ 39 w 78"/>
                <a:gd name="T1" fmla="*/ 85 h 85"/>
                <a:gd name="T2" fmla="*/ 19 w 78"/>
                <a:gd name="T3" fmla="*/ 80 h 85"/>
                <a:gd name="T4" fmla="*/ 5 w 78"/>
                <a:gd name="T5" fmla="*/ 65 h 85"/>
                <a:gd name="T6" fmla="*/ 0 w 78"/>
                <a:gd name="T7" fmla="*/ 43 h 85"/>
                <a:gd name="T8" fmla="*/ 5 w 78"/>
                <a:gd name="T9" fmla="*/ 20 h 85"/>
                <a:gd name="T10" fmla="*/ 19 w 78"/>
                <a:gd name="T11" fmla="*/ 5 h 85"/>
                <a:gd name="T12" fmla="*/ 40 w 78"/>
                <a:gd name="T13" fmla="*/ 0 h 85"/>
                <a:gd name="T14" fmla="*/ 60 w 78"/>
                <a:gd name="T15" fmla="*/ 5 h 85"/>
                <a:gd name="T16" fmla="*/ 73 w 78"/>
                <a:gd name="T17" fmla="*/ 20 h 85"/>
                <a:gd name="T18" fmla="*/ 78 w 78"/>
                <a:gd name="T19" fmla="*/ 41 h 85"/>
                <a:gd name="T20" fmla="*/ 73 w 78"/>
                <a:gd name="T21" fmla="*/ 64 h 85"/>
                <a:gd name="T22" fmla="*/ 60 w 78"/>
                <a:gd name="T23" fmla="*/ 80 h 85"/>
                <a:gd name="T24" fmla="*/ 39 w 78"/>
                <a:gd name="T25" fmla="*/ 85 h 85"/>
                <a:gd name="T26" fmla="*/ 39 w 78"/>
                <a:gd name="T27" fmla="*/ 5 h 85"/>
                <a:gd name="T28" fmla="*/ 22 w 78"/>
                <a:gd name="T29" fmla="*/ 10 h 85"/>
                <a:gd name="T30" fmla="*/ 11 w 78"/>
                <a:gd name="T31" fmla="*/ 23 h 85"/>
                <a:gd name="T32" fmla="*/ 6 w 78"/>
                <a:gd name="T33" fmla="*/ 43 h 85"/>
                <a:gd name="T34" fmla="*/ 10 w 78"/>
                <a:gd name="T35" fmla="*/ 62 h 85"/>
                <a:gd name="T36" fmla="*/ 22 w 78"/>
                <a:gd name="T37" fmla="*/ 75 h 85"/>
                <a:gd name="T38" fmla="*/ 39 w 78"/>
                <a:gd name="T39" fmla="*/ 80 h 85"/>
                <a:gd name="T40" fmla="*/ 63 w 78"/>
                <a:gd name="T41" fmla="*/ 70 h 85"/>
                <a:gd name="T42" fmla="*/ 72 w 78"/>
                <a:gd name="T43" fmla="*/ 42 h 85"/>
                <a:gd name="T44" fmla="*/ 68 w 78"/>
                <a:gd name="T45" fmla="*/ 22 h 85"/>
                <a:gd name="T46" fmla="*/ 57 w 78"/>
                <a:gd name="T47" fmla="*/ 9 h 85"/>
                <a:gd name="T48" fmla="*/ 39 w 78"/>
                <a:gd name="T49" fmla="*/ 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85">
                  <a:moveTo>
                    <a:pt x="39" y="85"/>
                  </a:moveTo>
                  <a:cubicBezTo>
                    <a:pt x="31" y="85"/>
                    <a:pt x="25" y="83"/>
                    <a:pt x="19" y="80"/>
                  </a:cubicBezTo>
                  <a:cubicBezTo>
                    <a:pt x="13" y="77"/>
                    <a:pt x="8" y="72"/>
                    <a:pt x="5" y="65"/>
                  </a:cubicBezTo>
                  <a:cubicBezTo>
                    <a:pt x="2" y="59"/>
                    <a:pt x="0" y="51"/>
                    <a:pt x="0" y="43"/>
                  </a:cubicBezTo>
                  <a:cubicBezTo>
                    <a:pt x="0" y="35"/>
                    <a:pt x="2" y="27"/>
                    <a:pt x="5" y="20"/>
                  </a:cubicBezTo>
                  <a:cubicBezTo>
                    <a:pt x="9" y="14"/>
                    <a:pt x="13" y="8"/>
                    <a:pt x="19" y="5"/>
                  </a:cubicBezTo>
                  <a:cubicBezTo>
                    <a:pt x="25" y="1"/>
                    <a:pt x="32" y="0"/>
                    <a:pt x="40" y="0"/>
                  </a:cubicBezTo>
                  <a:cubicBezTo>
                    <a:pt x="48" y="0"/>
                    <a:pt x="54" y="1"/>
                    <a:pt x="60" y="5"/>
                  </a:cubicBezTo>
                  <a:cubicBezTo>
                    <a:pt x="66" y="8"/>
                    <a:pt x="70" y="13"/>
                    <a:pt x="73" y="20"/>
                  </a:cubicBezTo>
                  <a:cubicBezTo>
                    <a:pt x="76" y="26"/>
                    <a:pt x="78" y="33"/>
                    <a:pt x="78" y="41"/>
                  </a:cubicBezTo>
                  <a:cubicBezTo>
                    <a:pt x="78" y="50"/>
                    <a:pt x="76" y="58"/>
                    <a:pt x="73" y="64"/>
                  </a:cubicBezTo>
                  <a:cubicBezTo>
                    <a:pt x="70" y="71"/>
                    <a:pt x="65" y="76"/>
                    <a:pt x="60" y="80"/>
                  </a:cubicBezTo>
                  <a:cubicBezTo>
                    <a:pt x="54" y="83"/>
                    <a:pt x="47" y="85"/>
                    <a:pt x="39" y="85"/>
                  </a:cubicBezTo>
                  <a:close/>
                  <a:moveTo>
                    <a:pt x="39" y="5"/>
                  </a:moveTo>
                  <a:cubicBezTo>
                    <a:pt x="33" y="5"/>
                    <a:pt x="27" y="6"/>
                    <a:pt x="22" y="10"/>
                  </a:cubicBezTo>
                  <a:cubicBezTo>
                    <a:pt x="17" y="13"/>
                    <a:pt x="13" y="17"/>
                    <a:pt x="11" y="23"/>
                  </a:cubicBezTo>
                  <a:cubicBezTo>
                    <a:pt x="8" y="29"/>
                    <a:pt x="6" y="35"/>
                    <a:pt x="6" y="43"/>
                  </a:cubicBezTo>
                  <a:cubicBezTo>
                    <a:pt x="6" y="50"/>
                    <a:pt x="8" y="57"/>
                    <a:pt x="10" y="62"/>
                  </a:cubicBezTo>
                  <a:cubicBezTo>
                    <a:pt x="13" y="68"/>
                    <a:pt x="17" y="72"/>
                    <a:pt x="22" y="75"/>
                  </a:cubicBezTo>
                  <a:cubicBezTo>
                    <a:pt x="27" y="78"/>
                    <a:pt x="32" y="80"/>
                    <a:pt x="39" y="80"/>
                  </a:cubicBezTo>
                  <a:cubicBezTo>
                    <a:pt x="49" y="80"/>
                    <a:pt x="57" y="77"/>
                    <a:pt x="63" y="70"/>
                  </a:cubicBezTo>
                  <a:cubicBezTo>
                    <a:pt x="69" y="63"/>
                    <a:pt x="72" y="54"/>
                    <a:pt x="72" y="42"/>
                  </a:cubicBezTo>
                  <a:cubicBezTo>
                    <a:pt x="72" y="34"/>
                    <a:pt x="71" y="28"/>
                    <a:pt x="68" y="22"/>
                  </a:cubicBezTo>
                  <a:cubicBezTo>
                    <a:pt x="66" y="17"/>
                    <a:pt x="62" y="12"/>
                    <a:pt x="57" y="9"/>
                  </a:cubicBezTo>
                  <a:cubicBezTo>
                    <a:pt x="52" y="6"/>
                    <a:pt x="46" y="5"/>
                    <a:pt x="39"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23" name="Freeform 6059"/>
            <p:cNvSpPr>
              <a:spLocks/>
            </p:cNvSpPr>
            <p:nvPr/>
          </p:nvSpPr>
          <p:spPr bwMode="auto">
            <a:xfrm>
              <a:off x="-929" y="2411"/>
              <a:ext cx="72" cy="158"/>
            </a:xfrm>
            <a:custGeom>
              <a:avLst/>
              <a:gdLst>
                <a:gd name="T0" fmla="*/ 9 w 72"/>
                <a:gd name="T1" fmla="*/ 9 h 158"/>
                <a:gd name="T2" fmla="*/ 9 w 72"/>
                <a:gd name="T3" fmla="*/ 74 h 158"/>
                <a:gd name="T4" fmla="*/ 68 w 72"/>
                <a:gd name="T5" fmla="*/ 74 h 158"/>
                <a:gd name="T6" fmla="*/ 68 w 72"/>
                <a:gd name="T7" fmla="*/ 84 h 158"/>
                <a:gd name="T8" fmla="*/ 9 w 72"/>
                <a:gd name="T9" fmla="*/ 84 h 158"/>
                <a:gd name="T10" fmla="*/ 9 w 72"/>
                <a:gd name="T11" fmla="*/ 158 h 158"/>
                <a:gd name="T12" fmla="*/ 0 w 72"/>
                <a:gd name="T13" fmla="*/ 158 h 158"/>
                <a:gd name="T14" fmla="*/ 0 w 72"/>
                <a:gd name="T15" fmla="*/ 0 h 158"/>
                <a:gd name="T16" fmla="*/ 72 w 72"/>
                <a:gd name="T17" fmla="*/ 0 h 158"/>
                <a:gd name="T18" fmla="*/ 72 w 72"/>
                <a:gd name="T19" fmla="*/ 9 h 158"/>
                <a:gd name="T20" fmla="*/ 9 w 72"/>
                <a:gd name="T21" fmla="*/ 9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158">
                  <a:moveTo>
                    <a:pt x="9" y="9"/>
                  </a:moveTo>
                  <a:lnTo>
                    <a:pt x="9" y="74"/>
                  </a:lnTo>
                  <a:lnTo>
                    <a:pt x="68" y="74"/>
                  </a:lnTo>
                  <a:lnTo>
                    <a:pt x="68" y="84"/>
                  </a:lnTo>
                  <a:lnTo>
                    <a:pt x="9" y="84"/>
                  </a:lnTo>
                  <a:lnTo>
                    <a:pt x="9" y="158"/>
                  </a:lnTo>
                  <a:lnTo>
                    <a:pt x="0" y="158"/>
                  </a:lnTo>
                  <a:lnTo>
                    <a:pt x="0" y="0"/>
                  </a:lnTo>
                  <a:lnTo>
                    <a:pt x="72" y="0"/>
                  </a:lnTo>
                  <a:lnTo>
                    <a:pt x="72" y="9"/>
                  </a:lnTo>
                  <a:lnTo>
                    <a:pt x="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24" name="Freeform 6060"/>
            <p:cNvSpPr>
              <a:spLocks noEditPoints="1"/>
            </p:cNvSpPr>
            <p:nvPr/>
          </p:nvSpPr>
          <p:spPr bwMode="auto">
            <a:xfrm>
              <a:off x="-780" y="2411"/>
              <a:ext cx="120" cy="158"/>
            </a:xfrm>
            <a:custGeom>
              <a:avLst/>
              <a:gdLst>
                <a:gd name="T0" fmla="*/ 0 w 63"/>
                <a:gd name="T1" fmla="*/ 83 h 83"/>
                <a:gd name="T2" fmla="*/ 0 w 63"/>
                <a:gd name="T3" fmla="*/ 0 h 83"/>
                <a:gd name="T4" fmla="*/ 21 w 63"/>
                <a:gd name="T5" fmla="*/ 0 h 83"/>
                <a:gd name="T6" fmla="*/ 52 w 63"/>
                <a:gd name="T7" fmla="*/ 10 h 83"/>
                <a:gd name="T8" fmla="*/ 63 w 63"/>
                <a:gd name="T9" fmla="*/ 40 h 83"/>
                <a:gd name="T10" fmla="*/ 58 w 63"/>
                <a:gd name="T11" fmla="*/ 62 h 83"/>
                <a:gd name="T12" fmla="*/ 42 w 63"/>
                <a:gd name="T13" fmla="*/ 77 h 83"/>
                <a:gd name="T14" fmla="*/ 19 w 63"/>
                <a:gd name="T15" fmla="*/ 83 h 83"/>
                <a:gd name="T16" fmla="*/ 0 w 63"/>
                <a:gd name="T17" fmla="*/ 83 h 83"/>
                <a:gd name="T18" fmla="*/ 6 w 63"/>
                <a:gd name="T19" fmla="*/ 5 h 83"/>
                <a:gd name="T20" fmla="*/ 6 w 63"/>
                <a:gd name="T21" fmla="*/ 78 h 83"/>
                <a:gd name="T22" fmla="*/ 19 w 63"/>
                <a:gd name="T23" fmla="*/ 78 h 83"/>
                <a:gd name="T24" fmla="*/ 47 w 63"/>
                <a:gd name="T25" fmla="*/ 68 h 83"/>
                <a:gd name="T26" fmla="*/ 57 w 63"/>
                <a:gd name="T27" fmla="*/ 40 h 83"/>
                <a:gd name="T28" fmla="*/ 20 w 63"/>
                <a:gd name="T29" fmla="*/ 5 h 83"/>
                <a:gd name="T30" fmla="*/ 6 w 63"/>
                <a:gd name="T31"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83">
                  <a:moveTo>
                    <a:pt x="0" y="83"/>
                  </a:moveTo>
                  <a:cubicBezTo>
                    <a:pt x="0" y="0"/>
                    <a:pt x="0" y="0"/>
                    <a:pt x="0" y="0"/>
                  </a:cubicBezTo>
                  <a:cubicBezTo>
                    <a:pt x="21" y="0"/>
                    <a:pt x="21" y="0"/>
                    <a:pt x="21" y="0"/>
                  </a:cubicBezTo>
                  <a:cubicBezTo>
                    <a:pt x="34" y="0"/>
                    <a:pt x="45" y="3"/>
                    <a:pt x="52" y="10"/>
                  </a:cubicBezTo>
                  <a:cubicBezTo>
                    <a:pt x="59" y="17"/>
                    <a:pt x="63" y="27"/>
                    <a:pt x="63" y="40"/>
                  </a:cubicBezTo>
                  <a:cubicBezTo>
                    <a:pt x="63" y="49"/>
                    <a:pt x="61" y="56"/>
                    <a:pt x="58" y="62"/>
                  </a:cubicBezTo>
                  <a:cubicBezTo>
                    <a:pt x="54" y="69"/>
                    <a:pt x="49" y="74"/>
                    <a:pt x="42" y="77"/>
                  </a:cubicBezTo>
                  <a:cubicBezTo>
                    <a:pt x="36" y="81"/>
                    <a:pt x="28" y="83"/>
                    <a:pt x="19" y="83"/>
                  </a:cubicBezTo>
                  <a:lnTo>
                    <a:pt x="0" y="83"/>
                  </a:lnTo>
                  <a:close/>
                  <a:moveTo>
                    <a:pt x="6" y="5"/>
                  </a:moveTo>
                  <a:cubicBezTo>
                    <a:pt x="6" y="78"/>
                    <a:pt x="6" y="78"/>
                    <a:pt x="6" y="78"/>
                  </a:cubicBezTo>
                  <a:cubicBezTo>
                    <a:pt x="19" y="78"/>
                    <a:pt x="19" y="78"/>
                    <a:pt x="19" y="78"/>
                  </a:cubicBezTo>
                  <a:cubicBezTo>
                    <a:pt x="31" y="78"/>
                    <a:pt x="40" y="74"/>
                    <a:pt x="47" y="68"/>
                  </a:cubicBezTo>
                  <a:cubicBezTo>
                    <a:pt x="54" y="62"/>
                    <a:pt x="57" y="52"/>
                    <a:pt x="57" y="40"/>
                  </a:cubicBezTo>
                  <a:cubicBezTo>
                    <a:pt x="57" y="17"/>
                    <a:pt x="44" y="5"/>
                    <a:pt x="20" y="5"/>
                  </a:cubicBez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25" name="Freeform 6061"/>
            <p:cNvSpPr>
              <a:spLocks noEditPoints="1"/>
            </p:cNvSpPr>
            <p:nvPr/>
          </p:nvSpPr>
          <p:spPr bwMode="auto">
            <a:xfrm>
              <a:off x="-633" y="2411"/>
              <a:ext cx="93" cy="158"/>
            </a:xfrm>
            <a:custGeom>
              <a:avLst/>
              <a:gdLst>
                <a:gd name="T0" fmla="*/ 43 w 49"/>
                <a:gd name="T1" fmla="*/ 83 h 83"/>
                <a:gd name="T2" fmla="*/ 32 w 49"/>
                <a:gd name="T3" fmla="*/ 59 h 83"/>
                <a:gd name="T4" fmla="*/ 25 w 49"/>
                <a:gd name="T5" fmla="*/ 49 h 83"/>
                <a:gd name="T6" fmla="*/ 16 w 49"/>
                <a:gd name="T7" fmla="*/ 46 h 83"/>
                <a:gd name="T8" fmla="*/ 6 w 49"/>
                <a:gd name="T9" fmla="*/ 46 h 83"/>
                <a:gd name="T10" fmla="*/ 6 w 49"/>
                <a:gd name="T11" fmla="*/ 83 h 83"/>
                <a:gd name="T12" fmla="*/ 0 w 49"/>
                <a:gd name="T13" fmla="*/ 83 h 83"/>
                <a:gd name="T14" fmla="*/ 0 w 49"/>
                <a:gd name="T15" fmla="*/ 0 h 83"/>
                <a:gd name="T16" fmla="*/ 23 w 49"/>
                <a:gd name="T17" fmla="*/ 0 h 83"/>
                <a:gd name="T18" fmla="*/ 41 w 49"/>
                <a:gd name="T19" fmla="*/ 6 h 83"/>
                <a:gd name="T20" fmla="*/ 47 w 49"/>
                <a:gd name="T21" fmla="*/ 22 h 83"/>
                <a:gd name="T22" fmla="*/ 42 w 49"/>
                <a:gd name="T23" fmla="*/ 36 h 83"/>
                <a:gd name="T24" fmla="*/ 27 w 49"/>
                <a:gd name="T25" fmla="*/ 44 h 83"/>
                <a:gd name="T26" fmla="*/ 27 w 49"/>
                <a:gd name="T27" fmla="*/ 44 h 83"/>
                <a:gd name="T28" fmla="*/ 37 w 49"/>
                <a:gd name="T29" fmla="*/ 56 h 83"/>
                <a:gd name="T30" fmla="*/ 49 w 49"/>
                <a:gd name="T31" fmla="*/ 83 h 83"/>
                <a:gd name="T32" fmla="*/ 43 w 49"/>
                <a:gd name="T33" fmla="*/ 83 h 83"/>
                <a:gd name="T34" fmla="*/ 6 w 49"/>
                <a:gd name="T35" fmla="*/ 5 h 83"/>
                <a:gd name="T36" fmla="*/ 6 w 49"/>
                <a:gd name="T37" fmla="*/ 41 h 83"/>
                <a:gd name="T38" fmla="*/ 20 w 49"/>
                <a:gd name="T39" fmla="*/ 41 h 83"/>
                <a:gd name="T40" fmla="*/ 36 w 49"/>
                <a:gd name="T41" fmla="*/ 36 h 83"/>
                <a:gd name="T42" fmla="*/ 41 w 49"/>
                <a:gd name="T43" fmla="*/ 22 h 83"/>
                <a:gd name="T44" fmla="*/ 36 w 49"/>
                <a:gd name="T45" fmla="*/ 10 h 83"/>
                <a:gd name="T46" fmla="*/ 22 w 49"/>
                <a:gd name="T47" fmla="*/ 5 h 83"/>
                <a:gd name="T48" fmla="*/ 6 w 49"/>
                <a:gd name="T49" fmla="*/ 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 h="83">
                  <a:moveTo>
                    <a:pt x="43" y="83"/>
                  </a:moveTo>
                  <a:cubicBezTo>
                    <a:pt x="32" y="59"/>
                    <a:pt x="32" y="59"/>
                    <a:pt x="32" y="59"/>
                  </a:cubicBezTo>
                  <a:cubicBezTo>
                    <a:pt x="30" y="54"/>
                    <a:pt x="27" y="50"/>
                    <a:pt x="25" y="49"/>
                  </a:cubicBezTo>
                  <a:cubicBezTo>
                    <a:pt x="23" y="47"/>
                    <a:pt x="20" y="46"/>
                    <a:pt x="16" y="46"/>
                  </a:cubicBezTo>
                  <a:cubicBezTo>
                    <a:pt x="6" y="46"/>
                    <a:pt x="6" y="46"/>
                    <a:pt x="6" y="46"/>
                  </a:cubicBezTo>
                  <a:cubicBezTo>
                    <a:pt x="6" y="83"/>
                    <a:pt x="6" y="83"/>
                    <a:pt x="6" y="83"/>
                  </a:cubicBezTo>
                  <a:cubicBezTo>
                    <a:pt x="0" y="83"/>
                    <a:pt x="0" y="83"/>
                    <a:pt x="0" y="83"/>
                  </a:cubicBezTo>
                  <a:cubicBezTo>
                    <a:pt x="0" y="0"/>
                    <a:pt x="0" y="0"/>
                    <a:pt x="0" y="0"/>
                  </a:cubicBezTo>
                  <a:cubicBezTo>
                    <a:pt x="23" y="0"/>
                    <a:pt x="23" y="0"/>
                    <a:pt x="23" y="0"/>
                  </a:cubicBezTo>
                  <a:cubicBezTo>
                    <a:pt x="31" y="0"/>
                    <a:pt x="36" y="2"/>
                    <a:pt x="41" y="6"/>
                  </a:cubicBezTo>
                  <a:cubicBezTo>
                    <a:pt x="45" y="10"/>
                    <a:pt x="47" y="15"/>
                    <a:pt x="47" y="22"/>
                  </a:cubicBezTo>
                  <a:cubicBezTo>
                    <a:pt x="47" y="27"/>
                    <a:pt x="45" y="32"/>
                    <a:pt x="42" y="36"/>
                  </a:cubicBezTo>
                  <a:cubicBezTo>
                    <a:pt x="38" y="40"/>
                    <a:pt x="34" y="43"/>
                    <a:pt x="27" y="44"/>
                  </a:cubicBezTo>
                  <a:cubicBezTo>
                    <a:pt x="27" y="44"/>
                    <a:pt x="27" y="44"/>
                    <a:pt x="27" y="44"/>
                  </a:cubicBezTo>
                  <a:cubicBezTo>
                    <a:pt x="31" y="46"/>
                    <a:pt x="34" y="50"/>
                    <a:pt x="37" y="56"/>
                  </a:cubicBezTo>
                  <a:cubicBezTo>
                    <a:pt x="49" y="83"/>
                    <a:pt x="49" y="83"/>
                    <a:pt x="49" y="83"/>
                  </a:cubicBezTo>
                  <a:lnTo>
                    <a:pt x="43" y="83"/>
                  </a:lnTo>
                  <a:close/>
                  <a:moveTo>
                    <a:pt x="6" y="5"/>
                  </a:moveTo>
                  <a:cubicBezTo>
                    <a:pt x="6" y="41"/>
                    <a:pt x="6" y="41"/>
                    <a:pt x="6" y="41"/>
                  </a:cubicBezTo>
                  <a:cubicBezTo>
                    <a:pt x="20" y="41"/>
                    <a:pt x="20" y="41"/>
                    <a:pt x="20" y="41"/>
                  </a:cubicBezTo>
                  <a:cubicBezTo>
                    <a:pt x="27" y="41"/>
                    <a:pt x="32" y="39"/>
                    <a:pt x="36" y="36"/>
                  </a:cubicBezTo>
                  <a:cubicBezTo>
                    <a:pt x="39" y="32"/>
                    <a:pt x="41" y="28"/>
                    <a:pt x="41" y="22"/>
                  </a:cubicBezTo>
                  <a:cubicBezTo>
                    <a:pt x="41" y="17"/>
                    <a:pt x="39" y="13"/>
                    <a:pt x="36" y="10"/>
                  </a:cubicBezTo>
                  <a:cubicBezTo>
                    <a:pt x="33" y="7"/>
                    <a:pt x="28" y="5"/>
                    <a:pt x="22" y="5"/>
                  </a:cubicBezTo>
                  <a:lnTo>
                    <a:pt x="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26" name="Freeform 6062"/>
            <p:cNvSpPr>
              <a:spLocks/>
            </p:cNvSpPr>
            <p:nvPr/>
          </p:nvSpPr>
          <p:spPr bwMode="auto">
            <a:xfrm>
              <a:off x="-511" y="2411"/>
              <a:ext cx="78" cy="158"/>
            </a:xfrm>
            <a:custGeom>
              <a:avLst/>
              <a:gdLst>
                <a:gd name="T0" fmla="*/ 0 w 78"/>
                <a:gd name="T1" fmla="*/ 158 h 158"/>
                <a:gd name="T2" fmla="*/ 0 w 78"/>
                <a:gd name="T3" fmla="*/ 0 h 158"/>
                <a:gd name="T4" fmla="*/ 74 w 78"/>
                <a:gd name="T5" fmla="*/ 0 h 158"/>
                <a:gd name="T6" fmla="*/ 74 w 78"/>
                <a:gd name="T7" fmla="*/ 9 h 158"/>
                <a:gd name="T8" fmla="*/ 11 w 78"/>
                <a:gd name="T9" fmla="*/ 9 h 158"/>
                <a:gd name="T10" fmla="*/ 11 w 78"/>
                <a:gd name="T11" fmla="*/ 72 h 158"/>
                <a:gd name="T12" fmla="*/ 68 w 78"/>
                <a:gd name="T13" fmla="*/ 72 h 158"/>
                <a:gd name="T14" fmla="*/ 68 w 78"/>
                <a:gd name="T15" fmla="*/ 84 h 158"/>
                <a:gd name="T16" fmla="*/ 11 w 78"/>
                <a:gd name="T17" fmla="*/ 84 h 158"/>
                <a:gd name="T18" fmla="*/ 11 w 78"/>
                <a:gd name="T19" fmla="*/ 149 h 158"/>
                <a:gd name="T20" fmla="*/ 78 w 78"/>
                <a:gd name="T21" fmla="*/ 149 h 158"/>
                <a:gd name="T22" fmla="*/ 78 w 78"/>
                <a:gd name="T23" fmla="*/ 158 h 158"/>
                <a:gd name="T24" fmla="*/ 0 w 78"/>
                <a:gd name="T25"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158">
                  <a:moveTo>
                    <a:pt x="0" y="158"/>
                  </a:moveTo>
                  <a:lnTo>
                    <a:pt x="0" y="0"/>
                  </a:lnTo>
                  <a:lnTo>
                    <a:pt x="74" y="0"/>
                  </a:lnTo>
                  <a:lnTo>
                    <a:pt x="74" y="9"/>
                  </a:lnTo>
                  <a:lnTo>
                    <a:pt x="11" y="9"/>
                  </a:lnTo>
                  <a:lnTo>
                    <a:pt x="11" y="72"/>
                  </a:lnTo>
                  <a:lnTo>
                    <a:pt x="68" y="72"/>
                  </a:lnTo>
                  <a:lnTo>
                    <a:pt x="68" y="84"/>
                  </a:lnTo>
                  <a:lnTo>
                    <a:pt x="11" y="84"/>
                  </a:lnTo>
                  <a:lnTo>
                    <a:pt x="11" y="149"/>
                  </a:lnTo>
                  <a:lnTo>
                    <a:pt x="78" y="149"/>
                  </a:lnTo>
                  <a:lnTo>
                    <a:pt x="78" y="158"/>
                  </a:lnTo>
                  <a:lnTo>
                    <a:pt x="0" y="1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27" name="Freeform 6063"/>
            <p:cNvSpPr>
              <a:spLocks noEditPoints="1"/>
            </p:cNvSpPr>
            <p:nvPr/>
          </p:nvSpPr>
          <p:spPr bwMode="auto">
            <a:xfrm>
              <a:off x="-416" y="2411"/>
              <a:ext cx="128" cy="158"/>
            </a:xfrm>
            <a:custGeom>
              <a:avLst/>
              <a:gdLst>
                <a:gd name="T0" fmla="*/ 61 w 67"/>
                <a:gd name="T1" fmla="*/ 83 h 83"/>
                <a:gd name="T2" fmla="*/ 51 w 67"/>
                <a:gd name="T3" fmla="*/ 57 h 83"/>
                <a:gd name="T4" fmla="*/ 16 w 67"/>
                <a:gd name="T5" fmla="*/ 57 h 83"/>
                <a:gd name="T6" fmla="*/ 6 w 67"/>
                <a:gd name="T7" fmla="*/ 83 h 83"/>
                <a:gd name="T8" fmla="*/ 0 w 67"/>
                <a:gd name="T9" fmla="*/ 83 h 83"/>
                <a:gd name="T10" fmla="*/ 31 w 67"/>
                <a:gd name="T11" fmla="*/ 0 h 83"/>
                <a:gd name="T12" fmla="*/ 36 w 67"/>
                <a:gd name="T13" fmla="*/ 0 h 83"/>
                <a:gd name="T14" fmla="*/ 67 w 67"/>
                <a:gd name="T15" fmla="*/ 83 h 83"/>
                <a:gd name="T16" fmla="*/ 61 w 67"/>
                <a:gd name="T17" fmla="*/ 83 h 83"/>
                <a:gd name="T18" fmla="*/ 34 w 67"/>
                <a:gd name="T19" fmla="*/ 7 h 83"/>
                <a:gd name="T20" fmla="*/ 33 w 67"/>
                <a:gd name="T21" fmla="*/ 7 h 83"/>
                <a:gd name="T22" fmla="*/ 31 w 67"/>
                <a:gd name="T23" fmla="*/ 13 h 83"/>
                <a:gd name="T24" fmla="*/ 18 w 67"/>
                <a:gd name="T25" fmla="*/ 52 h 83"/>
                <a:gd name="T26" fmla="*/ 50 w 67"/>
                <a:gd name="T27" fmla="*/ 52 h 83"/>
                <a:gd name="T28" fmla="*/ 36 w 67"/>
                <a:gd name="T29" fmla="*/ 13 h 83"/>
                <a:gd name="T30" fmla="*/ 34 w 67"/>
                <a:gd name="T31" fmla="*/ 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7" h="83">
                  <a:moveTo>
                    <a:pt x="61" y="83"/>
                  </a:moveTo>
                  <a:cubicBezTo>
                    <a:pt x="51" y="57"/>
                    <a:pt x="51" y="57"/>
                    <a:pt x="51" y="57"/>
                  </a:cubicBezTo>
                  <a:cubicBezTo>
                    <a:pt x="16" y="57"/>
                    <a:pt x="16" y="57"/>
                    <a:pt x="16" y="57"/>
                  </a:cubicBezTo>
                  <a:cubicBezTo>
                    <a:pt x="6" y="83"/>
                    <a:pt x="6" y="83"/>
                    <a:pt x="6" y="83"/>
                  </a:cubicBezTo>
                  <a:cubicBezTo>
                    <a:pt x="0" y="83"/>
                    <a:pt x="0" y="83"/>
                    <a:pt x="0" y="83"/>
                  </a:cubicBezTo>
                  <a:cubicBezTo>
                    <a:pt x="31" y="0"/>
                    <a:pt x="31" y="0"/>
                    <a:pt x="31" y="0"/>
                  </a:cubicBezTo>
                  <a:cubicBezTo>
                    <a:pt x="36" y="0"/>
                    <a:pt x="36" y="0"/>
                    <a:pt x="36" y="0"/>
                  </a:cubicBezTo>
                  <a:cubicBezTo>
                    <a:pt x="67" y="83"/>
                    <a:pt x="67" y="83"/>
                    <a:pt x="67" y="83"/>
                  </a:cubicBezTo>
                  <a:lnTo>
                    <a:pt x="61" y="83"/>
                  </a:lnTo>
                  <a:close/>
                  <a:moveTo>
                    <a:pt x="34" y="7"/>
                  </a:moveTo>
                  <a:cubicBezTo>
                    <a:pt x="33" y="7"/>
                    <a:pt x="33" y="7"/>
                    <a:pt x="33" y="7"/>
                  </a:cubicBezTo>
                  <a:cubicBezTo>
                    <a:pt x="33" y="10"/>
                    <a:pt x="32" y="12"/>
                    <a:pt x="31" y="13"/>
                  </a:cubicBezTo>
                  <a:cubicBezTo>
                    <a:pt x="18" y="52"/>
                    <a:pt x="18" y="52"/>
                    <a:pt x="18" y="52"/>
                  </a:cubicBezTo>
                  <a:cubicBezTo>
                    <a:pt x="50" y="52"/>
                    <a:pt x="50" y="52"/>
                    <a:pt x="50" y="52"/>
                  </a:cubicBezTo>
                  <a:cubicBezTo>
                    <a:pt x="36" y="13"/>
                    <a:pt x="36" y="13"/>
                    <a:pt x="36" y="13"/>
                  </a:cubicBezTo>
                  <a:lnTo>
                    <a:pt x="3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28" name="Freeform 6064"/>
            <p:cNvSpPr>
              <a:spLocks/>
            </p:cNvSpPr>
            <p:nvPr/>
          </p:nvSpPr>
          <p:spPr bwMode="auto">
            <a:xfrm>
              <a:off x="-265" y="2411"/>
              <a:ext cx="149" cy="158"/>
            </a:xfrm>
            <a:custGeom>
              <a:avLst/>
              <a:gdLst>
                <a:gd name="T0" fmla="*/ 72 w 78"/>
                <a:gd name="T1" fmla="*/ 83 h 83"/>
                <a:gd name="T2" fmla="*/ 72 w 78"/>
                <a:gd name="T3" fmla="*/ 24 h 83"/>
                <a:gd name="T4" fmla="*/ 73 w 78"/>
                <a:gd name="T5" fmla="*/ 12 h 83"/>
                <a:gd name="T6" fmla="*/ 73 w 78"/>
                <a:gd name="T7" fmla="*/ 12 h 83"/>
                <a:gd name="T8" fmla="*/ 69 w 78"/>
                <a:gd name="T9" fmla="*/ 19 h 83"/>
                <a:gd name="T10" fmla="*/ 40 w 78"/>
                <a:gd name="T11" fmla="*/ 83 h 83"/>
                <a:gd name="T12" fmla="*/ 38 w 78"/>
                <a:gd name="T13" fmla="*/ 83 h 83"/>
                <a:gd name="T14" fmla="*/ 9 w 78"/>
                <a:gd name="T15" fmla="*/ 19 h 83"/>
                <a:gd name="T16" fmla="*/ 6 w 78"/>
                <a:gd name="T17" fmla="*/ 12 h 83"/>
                <a:gd name="T18" fmla="*/ 6 w 78"/>
                <a:gd name="T19" fmla="*/ 12 h 83"/>
                <a:gd name="T20" fmla="*/ 6 w 78"/>
                <a:gd name="T21" fmla="*/ 23 h 83"/>
                <a:gd name="T22" fmla="*/ 6 w 78"/>
                <a:gd name="T23" fmla="*/ 83 h 83"/>
                <a:gd name="T24" fmla="*/ 0 w 78"/>
                <a:gd name="T25" fmla="*/ 83 h 83"/>
                <a:gd name="T26" fmla="*/ 0 w 78"/>
                <a:gd name="T27" fmla="*/ 0 h 83"/>
                <a:gd name="T28" fmla="*/ 6 w 78"/>
                <a:gd name="T29" fmla="*/ 0 h 83"/>
                <a:gd name="T30" fmla="*/ 36 w 78"/>
                <a:gd name="T31" fmla="*/ 67 h 83"/>
                <a:gd name="T32" fmla="*/ 37 w 78"/>
                <a:gd name="T33" fmla="*/ 68 h 83"/>
                <a:gd name="T34" fmla="*/ 39 w 78"/>
                <a:gd name="T35" fmla="*/ 74 h 83"/>
                <a:gd name="T36" fmla="*/ 39 w 78"/>
                <a:gd name="T37" fmla="*/ 74 h 83"/>
                <a:gd name="T38" fmla="*/ 42 w 78"/>
                <a:gd name="T39" fmla="*/ 66 h 83"/>
                <a:gd name="T40" fmla="*/ 73 w 78"/>
                <a:gd name="T41" fmla="*/ 0 h 83"/>
                <a:gd name="T42" fmla="*/ 78 w 78"/>
                <a:gd name="T43" fmla="*/ 0 h 83"/>
                <a:gd name="T44" fmla="*/ 78 w 78"/>
                <a:gd name="T45" fmla="*/ 83 h 83"/>
                <a:gd name="T46" fmla="*/ 72 w 78"/>
                <a:gd name="T4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 h="83">
                  <a:moveTo>
                    <a:pt x="72" y="83"/>
                  </a:moveTo>
                  <a:cubicBezTo>
                    <a:pt x="72" y="24"/>
                    <a:pt x="72" y="24"/>
                    <a:pt x="72" y="24"/>
                  </a:cubicBezTo>
                  <a:cubicBezTo>
                    <a:pt x="73" y="12"/>
                    <a:pt x="73" y="12"/>
                    <a:pt x="73" y="12"/>
                  </a:cubicBezTo>
                  <a:cubicBezTo>
                    <a:pt x="73" y="12"/>
                    <a:pt x="73" y="12"/>
                    <a:pt x="73" y="12"/>
                  </a:cubicBezTo>
                  <a:cubicBezTo>
                    <a:pt x="69" y="19"/>
                    <a:pt x="69" y="19"/>
                    <a:pt x="69" y="19"/>
                  </a:cubicBezTo>
                  <a:cubicBezTo>
                    <a:pt x="40" y="83"/>
                    <a:pt x="40" y="83"/>
                    <a:pt x="40" y="83"/>
                  </a:cubicBezTo>
                  <a:cubicBezTo>
                    <a:pt x="38" y="83"/>
                    <a:pt x="38" y="83"/>
                    <a:pt x="38" y="83"/>
                  </a:cubicBezTo>
                  <a:cubicBezTo>
                    <a:pt x="9" y="19"/>
                    <a:pt x="9" y="19"/>
                    <a:pt x="9" y="19"/>
                  </a:cubicBezTo>
                  <a:cubicBezTo>
                    <a:pt x="7" y="17"/>
                    <a:pt x="7" y="15"/>
                    <a:pt x="6" y="12"/>
                  </a:cubicBezTo>
                  <a:cubicBezTo>
                    <a:pt x="6" y="12"/>
                    <a:pt x="6" y="12"/>
                    <a:pt x="6" y="12"/>
                  </a:cubicBezTo>
                  <a:cubicBezTo>
                    <a:pt x="6" y="15"/>
                    <a:pt x="6" y="18"/>
                    <a:pt x="6" y="23"/>
                  </a:cubicBezTo>
                  <a:cubicBezTo>
                    <a:pt x="6" y="83"/>
                    <a:pt x="6" y="83"/>
                    <a:pt x="6" y="83"/>
                  </a:cubicBezTo>
                  <a:cubicBezTo>
                    <a:pt x="0" y="83"/>
                    <a:pt x="0" y="83"/>
                    <a:pt x="0" y="83"/>
                  </a:cubicBezTo>
                  <a:cubicBezTo>
                    <a:pt x="0" y="0"/>
                    <a:pt x="0" y="0"/>
                    <a:pt x="0" y="0"/>
                  </a:cubicBezTo>
                  <a:cubicBezTo>
                    <a:pt x="6" y="0"/>
                    <a:pt x="6" y="0"/>
                    <a:pt x="6" y="0"/>
                  </a:cubicBezTo>
                  <a:cubicBezTo>
                    <a:pt x="36" y="67"/>
                    <a:pt x="36" y="67"/>
                    <a:pt x="36" y="67"/>
                  </a:cubicBezTo>
                  <a:cubicBezTo>
                    <a:pt x="37" y="68"/>
                    <a:pt x="37" y="68"/>
                    <a:pt x="37" y="68"/>
                  </a:cubicBezTo>
                  <a:cubicBezTo>
                    <a:pt x="39" y="74"/>
                    <a:pt x="39" y="74"/>
                    <a:pt x="39" y="74"/>
                  </a:cubicBezTo>
                  <a:cubicBezTo>
                    <a:pt x="39" y="74"/>
                    <a:pt x="39" y="74"/>
                    <a:pt x="39" y="74"/>
                  </a:cubicBezTo>
                  <a:cubicBezTo>
                    <a:pt x="42" y="66"/>
                    <a:pt x="42" y="66"/>
                    <a:pt x="42" y="66"/>
                  </a:cubicBezTo>
                  <a:cubicBezTo>
                    <a:pt x="73" y="0"/>
                    <a:pt x="73" y="0"/>
                    <a:pt x="73" y="0"/>
                  </a:cubicBezTo>
                  <a:cubicBezTo>
                    <a:pt x="78" y="0"/>
                    <a:pt x="78" y="0"/>
                    <a:pt x="78" y="0"/>
                  </a:cubicBezTo>
                  <a:cubicBezTo>
                    <a:pt x="78" y="83"/>
                    <a:pt x="78" y="83"/>
                    <a:pt x="78" y="83"/>
                  </a:cubicBezTo>
                  <a:lnTo>
                    <a:pt x="7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29" name="Freeform 6065"/>
            <p:cNvSpPr>
              <a:spLocks/>
            </p:cNvSpPr>
            <p:nvPr/>
          </p:nvSpPr>
          <p:spPr bwMode="auto">
            <a:xfrm>
              <a:off x="-86" y="2409"/>
              <a:ext cx="84" cy="162"/>
            </a:xfrm>
            <a:custGeom>
              <a:avLst/>
              <a:gdLst>
                <a:gd name="T0" fmla="*/ 0 w 44"/>
                <a:gd name="T1" fmla="*/ 81 h 85"/>
                <a:gd name="T2" fmla="*/ 0 w 44"/>
                <a:gd name="T3" fmla="*/ 74 h 85"/>
                <a:gd name="T4" fmla="*/ 18 w 44"/>
                <a:gd name="T5" fmla="*/ 80 h 85"/>
                <a:gd name="T6" fmla="*/ 33 w 44"/>
                <a:gd name="T7" fmla="*/ 76 h 85"/>
                <a:gd name="T8" fmla="*/ 38 w 44"/>
                <a:gd name="T9" fmla="*/ 65 h 85"/>
                <a:gd name="T10" fmla="*/ 34 w 44"/>
                <a:gd name="T11" fmla="*/ 54 h 85"/>
                <a:gd name="T12" fmla="*/ 20 w 44"/>
                <a:gd name="T13" fmla="*/ 44 h 85"/>
                <a:gd name="T14" fmla="*/ 4 w 44"/>
                <a:gd name="T15" fmla="*/ 32 h 85"/>
                <a:gd name="T16" fmla="*/ 0 w 44"/>
                <a:gd name="T17" fmla="*/ 21 h 85"/>
                <a:gd name="T18" fmla="*/ 4 w 44"/>
                <a:gd name="T19" fmla="*/ 10 h 85"/>
                <a:gd name="T20" fmla="*/ 13 w 44"/>
                <a:gd name="T21" fmla="*/ 2 h 85"/>
                <a:gd name="T22" fmla="*/ 26 w 44"/>
                <a:gd name="T23" fmla="*/ 0 h 85"/>
                <a:gd name="T24" fmla="*/ 40 w 44"/>
                <a:gd name="T25" fmla="*/ 2 h 85"/>
                <a:gd name="T26" fmla="*/ 40 w 44"/>
                <a:gd name="T27" fmla="*/ 8 h 85"/>
                <a:gd name="T28" fmla="*/ 25 w 44"/>
                <a:gd name="T29" fmla="*/ 5 h 85"/>
                <a:gd name="T30" fmla="*/ 12 w 44"/>
                <a:gd name="T31" fmla="*/ 9 h 85"/>
                <a:gd name="T32" fmla="*/ 6 w 44"/>
                <a:gd name="T33" fmla="*/ 20 h 85"/>
                <a:gd name="T34" fmla="*/ 8 w 44"/>
                <a:gd name="T35" fmla="*/ 27 h 85"/>
                <a:gd name="T36" fmla="*/ 12 w 44"/>
                <a:gd name="T37" fmla="*/ 32 h 85"/>
                <a:gd name="T38" fmla="*/ 24 w 44"/>
                <a:gd name="T39" fmla="*/ 40 h 85"/>
                <a:gd name="T40" fmla="*/ 36 w 44"/>
                <a:gd name="T41" fmla="*/ 48 h 85"/>
                <a:gd name="T42" fmla="*/ 42 w 44"/>
                <a:gd name="T43" fmla="*/ 55 h 85"/>
                <a:gd name="T44" fmla="*/ 44 w 44"/>
                <a:gd name="T45" fmla="*/ 64 h 85"/>
                <a:gd name="T46" fmla="*/ 37 w 44"/>
                <a:gd name="T47" fmla="*/ 79 h 85"/>
                <a:gd name="T48" fmla="*/ 18 w 44"/>
                <a:gd name="T49" fmla="*/ 85 h 85"/>
                <a:gd name="T50" fmla="*/ 9 w 44"/>
                <a:gd name="T51" fmla="*/ 84 h 85"/>
                <a:gd name="T52" fmla="*/ 0 w 44"/>
                <a:gd name="T53"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 h="85">
                  <a:moveTo>
                    <a:pt x="0" y="81"/>
                  </a:moveTo>
                  <a:cubicBezTo>
                    <a:pt x="0" y="74"/>
                    <a:pt x="0" y="74"/>
                    <a:pt x="0" y="74"/>
                  </a:cubicBezTo>
                  <a:cubicBezTo>
                    <a:pt x="6" y="78"/>
                    <a:pt x="12" y="80"/>
                    <a:pt x="18" y="80"/>
                  </a:cubicBezTo>
                  <a:cubicBezTo>
                    <a:pt x="25" y="80"/>
                    <a:pt x="30" y="79"/>
                    <a:pt x="33" y="76"/>
                  </a:cubicBezTo>
                  <a:cubicBezTo>
                    <a:pt x="36" y="73"/>
                    <a:pt x="38" y="70"/>
                    <a:pt x="38" y="65"/>
                  </a:cubicBezTo>
                  <a:cubicBezTo>
                    <a:pt x="38" y="60"/>
                    <a:pt x="37" y="57"/>
                    <a:pt x="34" y="54"/>
                  </a:cubicBezTo>
                  <a:cubicBezTo>
                    <a:pt x="32" y="52"/>
                    <a:pt x="27" y="49"/>
                    <a:pt x="20" y="44"/>
                  </a:cubicBezTo>
                  <a:cubicBezTo>
                    <a:pt x="12" y="40"/>
                    <a:pt x="7" y="36"/>
                    <a:pt x="4" y="32"/>
                  </a:cubicBezTo>
                  <a:cubicBezTo>
                    <a:pt x="2" y="29"/>
                    <a:pt x="0" y="25"/>
                    <a:pt x="0" y="21"/>
                  </a:cubicBezTo>
                  <a:cubicBezTo>
                    <a:pt x="0" y="17"/>
                    <a:pt x="2" y="13"/>
                    <a:pt x="4" y="10"/>
                  </a:cubicBezTo>
                  <a:cubicBezTo>
                    <a:pt x="6" y="7"/>
                    <a:pt x="9" y="4"/>
                    <a:pt x="13" y="2"/>
                  </a:cubicBezTo>
                  <a:cubicBezTo>
                    <a:pt x="16" y="0"/>
                    <a:pt x="21" y="0"/>
                    <a:pt x="26" y="0"/>
                  </a:cubicBezTo>
                  <a:cubicBezTo>
                    <a:pt x="31" y="0"/>
                    <a:pt x="35" y="0"/>
                    <a:pt x="40" y="2"/>
                  </a:cubicBezTo>
                  <a:cubicBezTo>
                    <a:pt x="40" y="8"/>
                    <a:pt x="40" y="8"/>
                    <a:pt x="40" y="8"/>
                  </a:cubicBezTo>
                  <a:cubicBezTo>
                    <a:pt x="35" y="6"/>
                    <a:pt x="30" y="5"/>
                    <a:pt x="25" y="5"/>
                  </a:cubicBezTo>
                  <a:cubicBezTo>
                    <a:pt x="19" y="5"/>
                    <a:pt x="15" y="6"/>
                    <a:pt x="12" y="9"/>
                  </a:cubicBezTo>
                  <a:cubicBezTo>
                    <a:pt x="8" y="12"/>
                    <a:pt x="6" y="15"/>
                    <a:pt x="6" y="20"/>
                  </a:cubicBezTo>
                  <a:cubicBezTo>
                    <a:pt x="6" y="23"/>
                    <a:pt x="7" y="25"/>
                    <a:pt x="8" y="27"/>
                  </a:cubicBezTo>
                  <a:cubicBezTo>
                    <a:pt x="9" y="29"/>
                    <a:pt x="10" y="31"/>
                    <a:pt x="12" y="32"/>
                  </a:cubicBezTo>
                  <a:cubicBezTo>
                    <a:pt x="14" y="34"/>
                    <a:pt x="18" y="37"/>
                    <a:pt x="24" y="40"/>
                  </a:cubicBezTo>
                  <a:cubicBezTo>
                    <a:pt x="29" y="43"/>
                    <a:pt x="33" y="46"/>
                    <a:pt x="36" y="48"/>
                  </a:cubicBezTo>
                  <a:cubicBezTo>
                    <a:pt x="39" y="50"/>
                    <a:pt x="41" y="53"/>
                    <a:pt x="42" y="55"/>
                  </a:cubicBezTo>
                  <a:cubicBezTo>
                    <a:pt x="43" y="57"/>
                    <a:pt x="44" y="60"/>
                    <a:pt x="44" y="64"/>
                  </a:cubicBezTo>
                  <a:cubicBezTo>
                    <a:pt x="44" y="70"/>
                    <a:pt x="41" y="76"/>
                    <a:pt x="37" y="79"/>
                  </a:cubicBezTo>
                  <a:cubicBezTo>
                    <a:pt x="32" y="83"/>
                    <a:pt x="26" y="85"/>
                    <a:pt x="18" y="85"/>
                  </a:cubicBezTo>
                  <a:cubicBezTo>
                    <a:pt x="16" y="85"/>
                    <a:pt x="13" y="85"/>
                    <a:pt x="9" y="84"/>
                  </a:cubicBezTo>
                  <a:cubicBezTo>
                    <a:pt x="5" y="83"/>
                    <a:pt x="2" y="82"/>
                    <a:pt x="0"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30" name="Freeform 6066"/>
            <p:cNvSpPr>
              <a:spLocks/>
            </p:cNvSpPr>
            <p:nvPr/>
          </p:nvSpPr>
          <p:spPr bwMode="auto">
            <a:xfrm>
              <a:off x="-1584" y="1930"/>
              <a:ext cx="246" cy="300"/>
            </a:xfrm>
            <a:custGeom>
              <a:avLst/>
              <a:gdLst>
                <a:gd name="T0" fmla="*/ 111 w 129"/>
                <a:gd name="T1" fmla="*/ 137 h 157"/>
                <a:gd name="T2" fmla="*/ 129 w 129"/>
                <a:gd name="T3" fmla="*/ 80 h 157"/>
                <a:gd name="T4" fmla="*/ 112 w 129"/>
                <a:gd name="T5" fmla="*/ 21 h 157"/>
                <a:gd name="T6" fmla="*/ 65 w 129"/>
                <a:gd name="T7" fmla="*/ 0 h 157"/>
                <a:gd name="T8" fmla="*/ 18 w 129"/>
                <a:gd name="T9" fmla="*/ 22 h 157"/>
                <a:gd name="T10" fmla="*/ 0 w 129"/>
                <a:gd name="T11" fmla="*/ 79 h 157"/>
                <a:gd name="T12" fmla="*/ 8 w 129"/>
                <a:gd name="T13" fmla="*/ 120 h 157"/>
                <a:gd name="T14" fmla="*/ 31 w 129"/>
                <a:gd name="T15" fmla="*/ 148 h 157"/>
                <a:gd name="T16" fmla="*/ 64 w 129"/>
                <a:gd name="T17" fmla="*/ 157 h 157"/>
                <a:gd name="T18" fmla="*/ 111 w 129"/>
                <a:gd name="T19" fmla="*/ 13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157">
                  <a:moveTo>
                    <a:pt x="111" y="137"/>
                  </a:moveTo>
                  <a:cubicBezTo>
                    <a:pt x="123" y="124"/>
                    <a:pt x="129" y="104"/>
                    <a:pt x="129" y="80"/>
                  </a:cubicBezTo>
                  <a:cubicBezTo>
                    <a:pt x="129" y="55"/>
                    <a:pt x="123" y="35"/>
                    <a:pt x="112" y="21"/>
                  </a:cubicBezTo>
                  <a:cubicBezTo>
                    <a:pt x="101" y="7"/>
                    <a:pt x="85" y="0"/>
                    <a:pt x="65" y="0"/>
                  </a:cubicBezTo>
                  <a:cubicBezTo>
                    <a:pt x="45" y="0"/>
                    <a:pt x="29" y="8"/>
                    <a:pt x="18" y="22"/>
                  </a:cubicBezTo>
                  <a:cubicBezTo>
                    <a:pt x="6" y="37"/>
                    <a:pt x="0" y="56"/>
                    <a:pt x="0" y="79"/>
                  </a:cubicBezTo>
                  <a:cubicBezTo>
                    <a:pt x="0" y="94"/>
                    <a:pt x="2" y="108"/>
                    <a:pt x="8" y="120"/>
                  </a:cubicBezTo>
                  <a:cubicBezTo>
                    <a:pt x="13" y="132"/>
                    <a:pt x="21" y="141"/>
                    <a:pt x="31" y="148"/>
                  </a:cubicBezTo>
                  <a:cubicBezTo>
                    <a:pt x="40" y="154"/>
                    <a:pt x="51" y="157"/>
                    <a:pt x="64" y="157"/>
                  </a:cubicBezTo>
                  <a:cubicBezTo>
                    <a:pt x="84" y="157"/>
                    <a:pt x="100" y="151"/>
                    <a:pt x="111" y="1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31" name="Freeform 6067"/>
            <p:cNvSpPr>
              <a:spLocks/>
            </p:cNvSpPr>
            <p:nvPr/>
          </p:nvSpPr>
          <p:spPr bwMode="auto">
            <a:xfrm>
              <a:off x="-1899" y="1934"/>
              <a:ext cx="115" cy="113"/>
            </a:xfrm>
            <a:custGeom>
              <a:avLst/>
              <a:gdLst>
                <a:gd name="T0" fmla="*/ 60 w 60"/>
                <a:gd name="T1" fmla="*/ 26 h 59"/>
                <a:gd name="T2" fmla="*/ 51 w 60"/>
                <a:gd name="T3" fmla="*/ 7 h 59"/>
                <a:gd name="T4" fmla="*/ 23 w 60"/>
                <a:gd name="T5" fmla="*/ 0 h 59"/>
                <a:gd name="T6" fmla="*/ 0 w 60"/>
                <a:gd name="T7" fmla="*/ 0 h 59"/>
                <a:gd name="T8" fmla="*/ 0 w 60"/>
                <a:gd name="T9" fmla="*/ 59 h 59"/>
                <a:gd name="T10" fmla="*/ 22 w 60"/>
                <a:gd name="T11" fmla="*/ 59 h 59"/>
                <a:gd name="T12" fmla="*/ 50 w 60"/>
                <a:gd name="T13" fmla="*/ 50 h 59"/>
                <a:gd name="T14" fmla="*/ 60 w 60"/>
                <a:gd name="T15" fmla="*/ 26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59">
                  <a:moveTo>
                    <a:pt x="60" y="26"/>
                  </a:moveTo>
                  <a:cubicBezTo>
                    <a:pt x="60" y="18"/>
                    <a:pt x="57" y="11"/>
                    <a:pt x="51" y="7"/>
                  </a:cubicBezTo>
                  <a:cubicBezTo>
                    <a:pt x="44" y="2"/>
                    <a:pt x="35" y="0"/>
                    <a:pt x="23" y="0"/>
                  </a:cubicBezTo>
                  <a:cubicBezTo>
                    <a:pt x="0" y="0"/>
                    <a:pt x="0" y="0"/>
                    <a:pt x="0" y="0"/>
                  </a:cubicBezTo>
                  <a:cubicBezTo>
                    <a:pt x="0" y="59"/>
                    <a:pt x="0" y="59"/>
                    <a:pt x="0" y="59"/>
                  </a:cubicBezTo>
                  <a:cubicBezTo>
                    <a:pt x="22" y="59"/>
                    <a:pt x="22" y="59"/>
                    <a:pt x="22" y="59"/>
                  </a:cubicBezTo>
                  <a:cubicBezTo>
                    <a:pt x="34" y="59"/>
                    <a:pt x="44" y="56"/>
                    <a:pt x="50" y="50"/>
                  </a:cubicBezTo>
                  <a:cubicBezTo>
                    <a:pt x="57" y="45"/>
                    <a:pt x="60" y="37"/>
                    <a:pt x="60"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32" name="Freeform 6068"/>
            <p:cNvSpPr>
              <a:spLocks/>
            </p:cNvSpPr>
            <p:nvPr/>
          </p:nvSpPr>
          <p:spPr bwMode="auto">
            <a:xfrm>
              <a:off x="-1899" y="2102"/>
              <a:ext cx="134" cy="126"/>
            </a:xfrm>
            <a:custGeom>
              <a:avLst/>
              <a:gdLst>
                <a:gd name="T0" fmla="*/ 0 w 70"/>
                <a:gd name="T1" fmla="*/ 66 h 66"/>
                <a:gd name="T2" fmla="*/ 30 w 70"/>
                <a:gd name="T3" fmla="*/ 66 h 66"/>
                <a:gd name="T4" fmla="*/ 59 w 70"/>
                <a:gd name="T5" fmla="*/ 57 h 66"/>
                <a:gd name="T6" fmla="*/ 70 w 70"/>
                <a:gd name="T7" fmla="*/ 32 h 66"/>
                <a:gd name="T8" fmla="*/ 59 w 70"/>
                <a:gd name="T9" fmla="*/ 8 h 66"/>
                <a:gd name="T10" fmla="*/ 26 w 70"/>
                <a:gd name="T11" fmla="*/ 0 h 66"/>
                <a:gd name="T12" fmla="*/ 0 w 70"/>
                <a:gd name="T13" fmla="*/ 0 h 66"/>
                <a:gd name="T14" fmla="*/ 0 w 70"/>
                <a:gd name="T15" fmla="*/ 66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66">
                  <a:moveTo>
                    <a:pt x="0" y="66"/>
                  </a:moveTo>
                  <a:cubicBezTo>
                    <a:pt x="30" y="66"/>
                    <a:pt x="30" y="66"/>
                    <a:pt x="30" y="66"/>
                  </a:cubicBezTo>
                  <a:cubicBezTo>
                    <a:pt x="42" y="66"/>
                    <a:pt x="52" y="63"/>
                    <a:pt x="59" y="57"/>
                  </a:cubicBezTo>
                  <a:cubicBezTo>
                    <a:pt x="67" y="50"/>
                    <a:pt x="70" y="42"/>
                    <a:pt x="70" y="32"/>
                  </a:cubicBezTo>
                  <a:cubicBezTo>
                    <a:pt x="70" y="22"/>
                    <a:pt x="66" y="14"/>
                    <a:pt x="59" y="8"/>
                  </a:cubicBezTo>
                  <a:cubicBezTo>
                    <a:pt x="52" y="3"/>
                    <a:pt x="41" y="0"/>
                    <a:pt x="26" y="0"/>
                  </a:cubicBezTo>
                  <a:cubicBezTo>
                    <a:pt x="0" y="0"/>
                    <a:pt x="0" y="0"/>
                    <a:pt x="0" y="0"/>
                  </a:cubicBezTo>
                  <a:lnTo>
                    <a:pt x="0"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33" name="Oval 6069"/>
            <p:cNvSpPr>
              <a:spLocks noChangeArrowheads="1"/>
            </p:cNvSpPr>
            <p:nvPr/>
          </p:nvSpPr>
          <p:spPr bwMode="auto">
            <a:xfrm>
              <a:off x="-227" y="2352"/>
              <a:ext cx="72" cy="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34" name="Freeform 6070"/>
            <p:cNvSpPr>
              <a:spLocks/>
            </p:cNvSpPr>
            <p:nvPr/>
          </p:nvSpPr>
          <p:spPr bwMode="auto">
            <a:xfrm>
              <a:off x="-1160" y="1930"/>
              <a:ext cx="248" cy="300"/>
            </a:xfrm>
            <a:custGeom>
              <a:avLst/>
              <a:gdLst>
                <a:gd name="T0" fmla="*/ 112 w 130"/>
                <a:gd name="T1" fmla="*/ 137 h 157"/>
                <a:gd name="T2" fmla="*/ 130 w 130"/>
                <a:gd name="T3" fmla="*/ 80 h 157"/>
                <a:gd name="T4" fmla="*/ 113 w 130"/>
                <a:gd name="T5" fmla="*/ 21 h 157"/>
                <a:gd name="T6" fmla="*/ 66 w 130"/>
                <a:gd name="T7" fmla="*/ 0 h 157"/>
                <a:gd name="T8" fmla="*/ 18 w 130"/>
                <a:gd name="T9" fmla="*/ 22 h 157"/>
                <a:gd name="T10" fmla="*/ 0 w 130"/>
                <a:gd name="T11" fmla="*/ 79 h 157"/>
                <a:gd name="T12" fmla="*/ 9 w 130"/>
                <a:gd name="T13" fmla="*/ 120 h 157"/>
                <a:gd name="T14" fmla="*/ 31 w 130"/>
                <a:gd name="T15" fmla="*/ 148 h 157"/>
                <a:gd name="T16" fmla="*/ 64 w 130"/>
                <a:gd name="T17" fmla="*/ 157 h 157"/>
                <a:gd name="T18" fmla="*/ 112 w 130"/>
                <a:gd name="T19" fmla="*/ 13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 h="157">
                  <a:moveTo>
                    <a:pt x="112" y="137"/>
                  </a:moveTo>
                  <a:cubicBezTo>
                    <a:pt x="124" y="124"/>
                    <a:pt x="130" y="104"/>
                    <a:pt x="130" y="80"/>
                  </a:cubicBezTo>
                  <a:cubicBezTo>
                    <a:pt x="130" y="55"/>
                    <a:pt x="124" y="35"/>
                    <a:pt x="113" y="21"/>
                  </a:cubicBezTo>
                  <a:cubicBezTo>
                    <a:pt x="101" y="7"/>
                    <a:pt x="86" y="0"/>
                    <a:pt x="66" y="0"/>
                  </a:cubicBezTo>
                  <a:cubicBezTo>
                    <a:pt x="46" y="0"/>
                    <a:pt x="30" y="8"/>
                    <a:pt x="18" y="22"/>
                  </a:cubicBezTo>
                  <a:cubicBezTo>
                    <a:pt x="6" y="37"/>
                    <a:pt x="0" y="56"/>
                    <a:pt x="0" y="79"/>
                  </a:cubicBezTo>
                  <a:cubicBezTo>
                    <a:pt x="0" y="94"/>
                    <a:pt x="3" y="108"/>
                    <a:pt x="9" y="120"/>
                  </a:cubicBezTo>
                  <a:cubicBezTo>
                    <a:pt x="14" y="132"/>
                    <a:pt x="21" y="141"/>
                    <a:pt x="31" y="148"/>
                  </a:cubicBezTo>
                  <a:cubicBezTo>
                    <a:pt x="41" y="154"/>
                    <a:pt x="52" y="157"/>
                    <a:pt x="64" y="157"/>
                  </a:cubicBezTo>
                  <a:cubicBezTo>
                    <a:pt x="84" y="157"/>
                    <a:pt x="100" y="151"/>
                    <a:pt x="112" y="1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35" name="Freeform 6071"/>
            <p:cNvSpPr>
              <a:spLocks/>
            </p:cNvSpPr>
            <p:nvPr/>
          </p:nvSpPr>
          <p:spPr bwMode="auto">
            <a:xfrm>
              <a:off x="-2221" y="1217"/>
              <a:ext cx="2053" cy="1127"/>
            </a:xfrm>
            <a:custGeom>
              <a:avLst/>
              <a:gdLst>
                <a:gd name="T0" fmla="*/ 1062 w 1076"/>
                <a:gd name="T1" fmla="*/ 513 h 591"/>
                <a:gd name="T2" fmla="*/ 988 w 1076"/>
                <a:gd name="T3" fmla="*/ 386 h 591"/>
                <a:gd name="T4" fmla="*/ 982 w 1076"/>
                <a:gd name="T5" fmla="*/ 384 h 591"/>
                <a:gd name="T6" fmla="*/ 810 w 1076"/>
                <a:gd name="T7" fmla="*/ 212 h 591"/>
                <a:gd name="T8" fmla="*/ 397 w 1076"/>
                <a:gd name="T9" fmla="*/ 113 h 591"/>
                <a:gd name="T10" fmla="*/ 120 w 1076"/>
                <a:gd name="T11" fmla="*/ 270 h 591"/>
                <a:gd name="T12" fmla="*/ 0 w 1076"/>
                <a:gd name="T13" fmla="*/ 416 h 591"/>
                <a:gd name="T14" fmla="*/ 134 w 1076"/>
                <a:gd name="T15" fmla="*/ 347 h 591"/>
                <a:gd name="T16" fmla="*/ 249 w 1076"/>
                <a:gd name="T17" fmla="*/ 360 h 591"/>
                <a:gd name="T18" fmla="*/ 256 w 1076"/>
                <a:gd name="T19" fmla="*/ 426 h 591"/>
                <a:gd name="T20" fmla="*/ 228 w 1076"/>
                <a:gd name="T21" fmla="*/ 445 h 591"/>
                <a:gd name="T22" fmla="*/ 276 w 1076"/>
                <a:gd name="T23" fmla="*/ 497 h 591"/>
                <a:gd name="T24" fmla="*/ 224 w 1076"/>
                <a:gd name="T25" fmla="*/ 557 h 591"/>
                <a:gd name="T26" fmla="*/ 345 w 1076"/>
                <a:gd name="T27" fmla="*/ 549 h 591"/>
                <a:gd name="T28" fmla="*/ 296 w 1076"/>
                <a:gd name="T29" fmla="*/ 456 h 591"/>
                <a:gd name="T30" fmla="*/ 346 w 1076"/>
                <a:gd name="T31" fmla="*/ 357 h 591"/>
                <a:gd name="T32" fmla="*/ 452 w 1076"/>
                <a:gd name="T33" fmla="*/ 356 h 591"/>
                <a:gd name="T34" fmla="*/ 500 w 1076"/>
                <a:gd name="T35" fmla="*/ 451 h 591"/>
                <a:gd name="T36" fmla="*/ 451 w 1076"/>
                <a:gd name="T37" fmla="*/ 549 h 591"/>
                <a:gd name="T38" fmla="*/ 540 w 1076"/>
                <a:gd name="T39" fmla="*/ 557 h 591"/>
                <a:gd name="T40" fmla="*/ 567 w 1076"/>
                <a:gd name="T41" fmla="*/ 549 h 591"/>
                <a:gd name="T42" fmla="*/ 519 w 1076"/>
                <a:gd name="T43" fmla="*/ 456 h 591"/>
                <a:gd name="T44" fmla="*/ 568 w 1076"/>
                <a:gd name="T45" fmla="*/ 357 h 591"/>
                <a:gd name="T46" fmla="*/ 675 w 1076"/>
                <a:gd name="T47" fmla="*/ 356 h 591"/>
                <a:gd name="T48" fmla="*/ 723 w 1076"/>
                <a:gd name="T49" fmla="*/ 451 h 591"/>
                <a:gd name="T50" fmla="*/ 674 w 1076"/>
                <a:gd name="T51" fmla="*/ 549 h 591"/>
                <a:gd name="T52" fmla="*/ 756 w 1076"/>
                <a:gd name="T53" fmla="*/ 557 h 591"/>
                <a:gd name="T54" fmla="*/ 792 w 1076"/>
                <a:gd name="T55" fmla="*/ 347 h 591"/>
                <a:gd name="T56" fmla="*/ 792 w 1076"/>
                <a:gd name="T57" fmla="*/ 447 h 591"/>
                <a:gd name="T58" fmla="*/ 869 w 1076"/>
                <a:gd name="T59" fmla="*/ 347 h 591"/>
                <a:gd name="T60" fmla="*/ 827 w 1076"/>
                <a:gd name="T61" fmla="*/ 448 h 591"/>
                <a:gd name="T62" fmla="*/ 987 w 1076"/>
                <a:gd name="T63" fmla="*/ 557 h 591"/>
                <a:gd name="T64" fmla="*/ 1076 w 1076"/>
                <a:gd name="T65" fmla="*/ 546 h 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6" h="591">
                  <a:moveTo>
                    <a:pt x="1076" y="546"/>
                  </a:moveTo>
                  <a:cubicBezTo>
                    <a:pt x="1076" y="533"/>
                    <a:pt x="1071" y="522"/>
                    <a:pt x="1062" y="513"/>
                  </a:cubicBezTo>
                  <a:cubicBezTo>
                    <a:pt x="1069" y="501"/>
                    <a:pt x="1073" y="487"/>
                    <a:pt x="1073" y="471"/>
                  </a:cubicBezTo>
                  <a:cubicBezTo>
                    <a:pt x="1073" y="424"/>
                    <a:pt x="1035" y="386"/>
                    <a:pt x="988" y="386"/>
                  </a:cubicBezTo>
                  <a:cubicBezTo>
                    <a:pt x="986" y="386"/>
                    <a:pt x="984" y="386"/>
                    <a:pt x="982" y="387"/>
                  </a:cubicBezTo>
                  <a:cubicBezTo>
                    <a:pt x="982" y="386"/>
                    <a:pt x="982" y="385"/>
                    <a:pt x="982" y="384"/>
                  </a:cubicBezTo>
                  <a:cubicBezTo>
                    <a:pt x="982" y="289"/>
                    <a:pt x="905" y="212"/>
                    <a:pt x="810" y="212"/>
                  </a:cubicBezTo>
                  <a:cubicBezTo>
                    <a:pt x="810" y="212"/>
                    <a:pt x="810" y="212"/>
                    <a:pt x="810" y="212"/>
                  </a:cubicBezTo>
                  <a:cubicBezTo>
                    <a:pt x="806" y="94"/>
                    <a:pt x="709" y="0"/>
                    <a:pt x="590" y="0"/>
                  </a:cubicBezTo>
                  <a:cubicBezTo>
                    <a:pt x="507" y="0"/>
                    <a:pt x="435" y="45"/>
                    <a:pt x="397" y="113"/>
                  </a:cubicBezTo>
                  <a:cubicBezTo>
                    <a:pt x="370" y="96"/>
                    <a:pt x="338" y="87"/>
                    <a:pt x="304" y="87"/>
                  </a:cubicBezTo>
                  <a:cubicBezTo>
                    <a:pt x="203" y="87"/>
                    <a:pt x="120" y="169"/>
                    <a:pt x="120" y="270"/>
                  </a:cubicBezTo>
                  <a:cubicBezTo>
                    <a:pt x="120" y="273"/>
                    <a:pt x="120" y="275"/>
                    <a:pt x="121" y="278"/>
                  </a:cubicBezTo>
                  <a:cubicBezTo>
                    <a:pt x="53" y="287"/>
                    <a:pt x="0" y="346"/>
                    <a:pt x="0" y="416"/>
                  </a:cubicBezTo>
                  <a:cubicBezTo>
                    <a:pt x="0" y="492"/>
                    <a:pt x="59" y="553"/>
                    <a:pt x="134" y="556"/>
                  </a:cubicBezTo>
                  <a:cubicBezTo>
                    <a:pt x="134" y="347"/>
                    <a:pt x="134" y="347"/>
                    <a:pt x="134" y="347"/>
                  </a:cubicBezTo>
                  <a:cubicBezTo>
                    <a:pt x="201" y="347"/>
                    <a:pt x="201" y="347"/>
                    <a:pt x="201" y="347"/>
                  </a:cubicBezTo>
                  <a:cubicBezTo>
                    <a:pt x="221" y="347"/>
                    <a:pt x="237" y="351"/>
                    <a:pt x="249" y="360"/>
                  </a:cubicBezTo>
                  <a:cubicBezTo>
                    <a:pt x="261" y="369"/>
                    <a:pt x="266" y="381"/>
                    <a:pt x="266" y="396"/>
                  </a:cubicBezTo>
                  <a:cubicBezTo>
                    <a:pt x="266" y="407"/>
                    <a:pt x="263" y="417"/>
                    <a:pt x="256" y="426"/>
                  </a:cubicBezTo>
                  <a:cubicBezTo>
                    <a:pt x="249" y="435"/>
                    <a:pt x="240" y="441"/>
                    <a:pt x="228" y="445"/>
                  </a:cubicBezTo>
                  <a:cubicBezTo>
                    <a:pt x="228" y="445"/>
                    <a:pt x="228" y="445"/>
                    <a:pt x="228" y="445"/>
                  </a:cubicBezTo>
                  <a:cubicBezTo>
                    <a:pt x="243" y="447"/>
                    <a:pt x="255" y="453"/>
                    <a:pt x="264" y="462"/>
                  </a:cubicBezTo>
                  <a:cubicBezTo>
                    <a:pt x="272" y="471"/>
                    <a:pt x="276" y="483"/>
                    <a:pt x="276" y="497"/>
                  </a:cubicBezTo>
                  <a:cubicBezTo>
                    <a:pt x="276" y="516"/>
                    <a:pt x="270" y="530"/>
                    <a:pt x="256" y="542"/>
                  </a:cubicBezTo>
                  <a:cubicBezTo>
                    <a:pt x="247" y="549"/>
                    <a:pt x="237" y="554"/>
                    <a:pt x="224" y="557"/>
                  </a:cubicBezTo>
                  <a:cubicBezTo>
                    <a:pt x="361" y="557"/>
                    <a:pt x="361" y="557"/>
                    <a:pt x="361" y="557"/>
                  </a:cubicBezTo>
                  <a:cubicBezTo>
                    <a:pt x="356" y="555"/>
                    <a:pt x="350" y="552"/>
                    <a:pt x="345" y="549"/>
                  </a:cubicBezTo>
                  <a:cubicBezTo>
                    <a:pt x="329" y="540"/>
                    <a:pt x="318" y="528"/>
                    <a:pt x="309" y="511"/>
                  </a:cubicBezTo>
                  <a:cubicBezTo>
                    <a:pt x="301" y="495"/>
                    <a:pt x="296" y="476"/>
                    <a:pt x="296" y="456"/>
                  </a:cubicBezTo>
                  <a:cubicBezTo>
                    <a:pt x="296" y="433"/>
                    <a:pt x="301" y="414"/>
                    <a:pt x="309" y="397"/>
                  </a:cubicBezTo>
                  <a:cubicBezTo>
                    <a:pt x="318" y="379"/>
                    <a:pt x="330" y="366"/>
                    <a:pt x="346" y="357"/>
                  </a:cubicBezTo>
                  <a:cubicBezTo>
                    <a:pt x="361" y="348"/>
                    <a:pt x="380" y="343"/>
                    <a:pt x="401" y="343"/>
                  </a:cubicBezTo>
                  <a:cubicBezTo>
                    <a:pt x="420" y="343"/>
                    <a:pt x="437" y="348"/>
                    <a:pt x="452" y="356"/>
                  </a:cubicBezTo>
                  <a:cubicBezTo>
                    <a:pt x="468" y="365"/>
                    <a:pt x="479" y="378"/>
                    <a:pt x="488" y="394"/>
                  </a:cubicBezTo>
                  <a:cubicBezTo>
                    <a:pt x="496" y="411"/>
                    <a:pt x="500" y="429"/>
                    <a:pt x="500" y="451"/>
                  </a:cubicBezTo>
                  <a:cubicBezTo>
                    <a:pt x="500" y="473"/>
                    <a:pt x="496" y="493"/>
                    <a:pt x="488" y="509"/>
                  </a:cubicBezTo>
                  <a:cubicBezTo>
                    <a:pt x="479" y="526"/>
                    <a:pt x="467" y="539"/>
                    <a:pt x="451" y="549"/>
                  </a:cubicBezTo>
                  <a:cubicBezTo>
                    <a:pt x="446" y="552"/>
                    <a:pt x="440" y="555"/>
                    <a:pt x="434" y="557"/>
                  </a:cubicBezTo>
                  <a:cubicBezTo>
                    <a:pt x="540" y="557"/>
                    <a:pt x="540" y="557"/>
                    <a:pt x="540" y="557"/>
                  </a:cubicBezTo>
                  <a:cubicBezTo>
                    <a:pt x="584" y="557"/>
                    <a:pt x="584" y="557"/>
                    <a:pt x="584" y="557"/>
                  </a:cubicBezTo>
                  <a:cubicBezTo>
                    <a:pt x="578" y="555"/>
                    <a:pt x="573" y="552"/>
                    <a:pt x="567" y="549"/>
                  </a:cubicBezTo>
                  <a:cubicBezTo>
                    <a:pt x="552" y="540"/>
                    <a:pt x="540" y="528"/>
                    <a:pt x="532" y="511"/>
                  </a:cubicBezTo>
                  <a:cubicBezTo>
                    <a:pt x="523" y="495"/>
                    <a:pt x="519" y="476"/>
                    <a:pt x="519" y="456"/>
                  </a:cubicBezTo>
                  <a:cubicBezTo>
                    <a:pt x="519" y="433"/>
                    <a:pt x="523" y="414"/>
                    <a:pt x="532" y="397"/>
                  </a:cubicBezTo>
                  <a:cubicBezTo>
                    <a:pt x="540" y="379"/>
                    <a:pt x="552" y="366"/>
                    <a:pt x="568" y="357"/>
                  </a:cubicBezTo>
                  <a:cubicBezTo>
                    <a:pt x="584" y="348"/>
                    <a:pt x="602" y="343"/>
                    <a:pt x="623" y="343"/>
                  </a:cubicBezTo>
                  <a:cubicBezTo>
                    <a:pt x="643" y="343"/>
                    <a:pt x="660" y="348"/>
                    <a:pt x="675" y="356"/>
                  </a:cubicBezTo>
                  <a:cubicBezTo>
                    <a:pt x="690" y="365"/>
                    <a:pt x="702" y="378"/>
                    <a:pt x="710" y="394"/>
                  </a:cubicBezTo>
                  <a:cubicBezTo>
                    <a:pt x="719" y="411"/>
                    <a:pt x="723" y="429"/>
                    <a:pt x="723" y="451"/>
                  </a:cubicBezTo>
                  <a:cubicBezTo>
                    <a:pt x="723" y="473"/>
                    <a:pt x="719" y="493"/>
                    <a:pt x="710" y="509"/>
                  </a:cubicBezTo>
                  <a:cubicBezTo>
                    <a:pt x="702" y="526"/>
                    <a:pt x="690" y="539"/>
                    <a:pt x="674" y="549"/>
                  </a:cubicBezTo>
                  <a:cubicBezTo>
                    <a:pt x="668" y="552"/>
                    <a:pt x="663" y="555"/>
                    <a:pt x="657" y="557"/>
                  </a:cubicBezTo>
                  <a:cubicBezTo>
                    <a:pt x="756" y="557"/>
                    <a:pt x="756" y="557"/>
                    <a:pt x="756" y="557"/>
                  </a:cubicBezTo>
                  <a:cubicBezTo>
                    <a:pt x="756" y="347"/>
                    <a:pt x="756" y="347"/>
                    <a:pt x="756" y="347"/>
                  </a:cubicBezTo>
                  <a:cubicBezTo>
                    <a:pt x="792" y="347"/>
                    <a:pt x="792" y="347"/>
                    <a:pt x="792" y="347"/>
                  </a:cubicBezTo>
                  <a:cubicBezTo>
                    <a:pt x="792" y="447"/>
                    <a:pt x="792" y="447"/>
                    <a:pt x="792" y="447"/>
                  </a:cubicBezTo>
                  <a:cubicBezTo>
                    <a:pt x="792" y="447"/>
                    <a:pt x="792" y="447"/>
                    <a:pt x="792" y="447"/>
                  </a:cubicBezTo>
                  <a:cubicBezTo>
                    <a:pt x="798" y="437"/>
                    <a:pt x="798" y="437"/>
                    <a:pt x="798" y="437"/>
                  </a:cubicBezTo>
                  <a:cubicBezTo>
                    <a:pt x="869" y="347"/>
                    <a:pt x="869" y="347"/>
                    <a:pt x="869" y="347"/>
                  </a:cubicBezTo>
                  <a:cubicBezTo>
                    <a:pt x="912" y="347"/>
                    <a:pt x="912" y="347"/>
                    <a:pt x="912" y="347"/>
                  </a:cubicBezTo>
                  <a:cubicBezTo>
                    <a:pt x="827" y="448"/>
                    <a:pt x="827" y="448"/>
                    <a:pt x="827" y="448"/>
                  </a:cubicBezTo>
                  <a:cubicBezTo>
                    <a:pt x="917" y="557"/>
                    <a:pt x="917" y="557"/>
                    <a:pt x="917" y="557"/>
                  </a:cubicBezTo>
                  <a:cubicBezTo>
                    <a:pt x="987" y="557"/>
                    <a:pt x="987" y="557"/>
                    <a:pt x="987" y="557"/>
                  </a:cubicBezTo>
                  <a:cubicBezTo>
                    <a:pt x="992" y="576"/>
                    <a:pt x="1010" y="591"/>
                    <a:pt x="1031" y="591"/>
                  </a:cubicBezTo>
                  <a:cubicBezTo>
                    <a:pt x="1056" y="591"/>
                    <a:pt x="1076" y="571"/>
                    <a:pt x="1076" y="5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36" name="Freeform 6072"/>
            <p:cNvSpPr>
              <a:spLocks/>
            </p:cNvSpPr>
            <p:nvPr/>
          </p:nvSpPr>
          <p:spPr bwMode="auto">
            <a:xfrm>
              <a:off x="-710" y="2085"/>
              <a:ext cx="149" cy="194"/>
            </a:xfrm>
            <a:custGeom>
              <a:avLst/>
              <a:gdLst>
                <a:gd name="T0" fmla="*/ 12 w 149"/>
                <a:gd name="T1" fmla="*/ 19 h 194"/>
                <a:gd name="T2" fmla="*/ 0 w 149"/>
                <a:gd name="T3" fmla="*/ 0 h 194"/>
                <a:gd name="T4" fmla="*/ 0 w 149"/>
                <a:gd name="T5" fmla="*/ 0 h 194"/>
                <a:gd name="T6" fmla="*/ 0 w 149"/>
                <a:gd name="T7" fmla="*/ 194 h 194"/>
                <a:gd name="T8" fmla="*/ 35 w 149"/>
                <a:gd name="T9" fmla="*/ 194 h 194"/>
                <a:gd name="T10" fmla="*/ 149 w 149"/>
                <a:gd name="T11" fmla="*/ 194 h 194"/>
                <a:gd name="T12" fmla="*/ 12 w 149"/>
                <a:gd name="T13" fmla="*/ 19 h 194"/>
              </a:gdLst>
              <a:ahLst/>
              <a:cxnLst>
                <a:cxn ang="0">
                  <a:pos x="T0" y="T1"/>
                </a:cxn>
                <a:cxn ang="0">
                  <a:pos x="T2" y="T3"/>
                </a:cxn>
                <a:cxn ang="0">
                  <a:pos x="T4" y="T5"/>
                </a:cxn>
                <a:cxn ang="0">
                  <a:pos x="T6" y="T7"/>
                </a:cxn>
                <a:cxn ang="0">
                  <a:pos x="T8" y="T9"/>
                </a:cxn>
                <a:cxn ang="0">
                  <a:pos x="T10" y="T11"/>
                </a:cxn>
                <a:cxn ang="0">
                  <a:pos x="T12" y="T13"/>
                </a:cxn>
              </a:cxnLst>
              <a:rect l="0" t="0" r="r" b="b"/>
              <a:pathLst>
                <a:path w="149" h="194">
                  <a:moveTo>
                    <a:pt x="12" y="19"/>
                  </a:moveTo>
                  <a:lnTo>
                    <a:pt x="0" y="0"/>
                  </a:lnTo>
                  <a:lnTo>
                    <a:pt x="0" y="0"/>
                  </a:lnTo>
                  <a:lnTo>
                    <a:pt x="0" y="194"/>
                  </a:lnTo>
                  <a:lnTo>
                    <a:pt x="35" y="194"/>
                  </a:lnTo>
                  <a:lnTo>
                    <a:pt x="149" y="194"/>
                  </a:lnTo>
                  <a:lnTo>
                    <a:pt x="12"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grpSp>
      <p:sp>
        <p:nvSpPr>
          <p:cNvPr id="37" name="Rectangle 36"/>
          <p:cNvSpPr/>
          <p:nvPr userDrawn="1"/>
        </p:nvSpPr>
        <p:spPr>
          <a:xfrm>
            <a:off x="7437088" y="5791200"/>
            <a:ext cx="4751738" cy="522514"/>
          </a:xfrm>
          <a:prstGeom prst="rect">
            <a:avLst/>
          </a:prstGeom>
          <a:solidFill>
            <a:srgbClr val="F2652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62659" tIns="91416" rIns="91416" bIns="91416" numCol="1" spcCol="0" rtlCol="0" fromWordArt="0" anchor="ctr" anchorCtr="0" forceAA="0" compatLnSpc="1">
            <a:prstTxWarp prst="textNoShape">
              <a:avLst/>
            </a:prstTxWarp>
            <a:noAutofit/>
          </a:bodyPr>
          <a:lstStyle/>
          <a:p>
            <a:endParaRPr lang="en-US" sz="2399" dirty="0">
              <a:latin typeface="Segoe Pro Semibold" panose="020B0702040504020203" pitchFamily="34" charset="0"/>
            </a:endParaRPr>
          </a:p>
        </p:txBody>
      </p:sp>
      <p:sp>
        <p:nvSpPr>
          <p:cNvPr id="39" name="Text Placeholder 38"/>
          <p:cNvSpPr>
            <a:spLocks noGrp="1"/>
          </p:cNvSpPr>
          <p:nvPr>
            <p:ph type="body" sz="quarter" idx="10" hasCustomPrompt="1"/>
          </p:nvPr>
        </p:nvSpPr>
        <p:spPr>
          <a:xfrm>
            <a:off x="7646582" y="5791200"/>
            <a:ext cx="3018640" cy="522514"/>
          </a:xfrm>
        </p:spPr>
        <p:txBody>
          <a:bodyPr lIns="0" tIns="0" rIns="0" bIns="0" anchor="ctr">
            <a:noAutofit/>
          </a:bodyPr>
          <a:lstStyle>
            <a:lvl1pPr algn="r">
              <a:defRPr sz="2399">
                <a:solidFill>
                  <a:schemeClr val="bg1"/>
                </a:solidFill>
                <a:latin typeface="Segoe Pro Semibold" panose="020B0702040504020203" pitchFamily="34" charset="0"/>
              </a:defRPr>
            </a:lvl1pPr>
          </a:lstStyle>
          <a:p>
            <a:pPr lvl="0"/>
            <a:r>
              <a:rPr lang="en-US" dirty="0"/>
              <a:t>Text</a:t>
            </a:r>
          </a:p>
        </p:txBody>
      </p:sp>
      <p:sp>
        <p:nvSpPr>
          <p:cNvPr id="38" name="TextBox 37">
            <a:extLst>
              <a:ext uri="{FF2B5EF4-FFF2-40B4-BE49-F238E27FC236}">
                <a16:creationId xmlns:a16="http://schemas.microsoft.com/office/drawing/2014/main" id="{FD33530E-1A9A-40C9-9B00-DEC564C1292C}"/>
              </a:ext>
            </a:extLst>
          </p:cNvPr>
          <p:cNvSpPr txBox="1"/>
          <p:nvPr userDrawn="1"/>
        </p:nvSpPr>
        <p:spPr>
          <a:xfrm>
            <a:off x="10833561" y="6472021"/>
            <a:ext cx="1035270" cy="246221"/>
          </a:xfrm>
          <a:prstGeom prst="rect">
            <a:avLst/>
          </a:prstGeom>
        </p:spPr>
        <p:txBody>
          <a:bodyPr vert="horz" wrap="none" lIns="0" tIns="0" rIns="0" bIns="0" rtlCol="0" anchor="t">
            <a:spAutoFit/>
          </a:bodyPr>
          <a:lstStyle/>
          <a:p>
            <a:pPr marL="0" indent="0">
              <a:buFont typeface="Wingdings" pitchFamily="2" charset="2"/>
              <a:buNone/>
            </a:pPr>
            <a:r>
              <a:rPr lang="en-US" sz="1600" dirty="0">
                <a:solidFill>
                  <a:schemeClr val="bg1"/>
                </a:solidFill>
                <a:latin typeface="+mj-lt"/>
                <a:ea typeface="Segoe UI" pitchFamily="34" charset="0"/>
                <a:cs typeface="Segoe UI" pitchFamily="34" charset="0"/>
              </a:rPr>
              <a:t>2018 Edition</a:t>
            </a:r>
            <a:endParaRPr lang="en-IN" sz="1600" dirty="0" err="1">
              <a:solidFill>
                <a:schemeClr val="bg1"/>
              </a:solidFill>
              <a:latin typeface="+mj-lt"/>
              <a:ea typeface="Segoe UI" pitchFamily="34" charset="0"/>
              <a:cs typeface="Segoe UI" pitchFamily="34" charset="0"/>
            </a:endParaRPr>
          </a:p>
        </p:txBody>
      </p:sp>
      <p:grpSp>
        <p:nvGrpSpPr>
          <p:cNvPr id="65" name="Group 74">
            <a:extLst>
              <a:ext uri="{FF2B5EF4-FFF2-40B4-BE49-F238E27FC236}">
                <a16:creationId xmlns:a16="http://schemas.microsoft.com/office/drawing/2014/main" id="{5CFE284F-4F19-4A9B-9DC8-C4B6F3BA4D8E}"/>
              </a:ext>
            </a:extLst>
          </p:cNvPr>
          <p:cNvGrpSpPr>
            <a:grpSpLocks noChangeAspect="1"/>
          </p:cNvGrpSpPr>
          <p:nvPr userDrawn="1"/>
        </p:nvGrpSpPr>
        <p:grpSpPr bwMode="auto">
          <a:xfrm>
            <a:off x="304721" y="6248403"/>
            <a:ext cx="1406953" cy="307265"/>
            <a:chOff x="3238" y="2031"/>
            <a:chExt cx="1200" cy="262"/>
          </a:xfrm>
        </p:grpSpPr>
        <p:sp>
          <p:nvSpPr>
            <p:cNvPr id="66" name="Freeform 75">
              <a:extLst>
                <a:ext uri="{FF2B5EF4-FFF2-40B4-BE49-F238E27FC236}">
                  <a16:creationId xmlns:a16="http://schemas.microsoft.com/office/drawing/2014/main" id="{894F8CC2-24E6-401D-A922-4BCE881CB199}"/>
                </a:ext>
              </a:extLst>
            </p:cNvPr>
            <p:cNvSpPr>
              <a:spLocks/>
            </p:cNvSpPr>
            <p:nvPr userDrawn="1"/>
          </p:nvSpPr>
          <p:spPr bwMode="auto">
            <a:xfrm>
              <a:off x="3569" y="2082"/>
              <a:ext cx="168" cy="158"/>
            </a:xfrm>
            <a:custGeom>
              <a:avLst/>
              <a:gdLst>
                <a:gd name="T0" fmla="*/ 39 w 71"/>
                <a:gd name="T1" fmla="*/ 41 h 65"/>
                <a:gd name="T2" fmla="*/ 36 w 71"/>
                <a:gd name="T3" fmla="*/ 50 h 65"/>
                <a:gd name="T4" fmla="*/ 36 w 71"/>
                <a:gd name="T5" fmla="*/ 50 h 65"/>
                <a:gd name="T6" fmla="*/ 33 w 71"/>
                <a:gd name="T7" fmla="*/ 41 h 65"/>
                <a:gd name="T8" fmla="*/ 16 w 71"/>
                <a:gd name="T9" fmla="*/ 0 h 65"/>
                <a:gd name="T10" fmla="*/ 0 w 71"/>
                <a:gd name="T11" fmla="*/ 0 h 65"/>
                <a:gd name="T12" fmla="*/ 0 w 71"/>
                <a:gd name="T13" fmla="*/ 65 h 65"/>
                <a:gd name="T14" fmla="*/ 11 w 71"/>
                <a:gd name="T15" fmla="*/ 65 h 65"/>
                <a:gd name="T16" fmla="*/ 11 w 71"/>
                <a:gd name="T17" fmla="*/ 25 h 65"/>
                <a:gd name="T18" fmla="*/ 11 w 71"/>
                <a:gd name="T19" fmla="*/ 17 h 65"/>
                <a:gd name="T20" fmla="*/ 11 w 71"/>
                <a:gd name="T21" fmla="*/ 12 h 65"/>
                <a:gd name="T22" fmla="*/ 11 w 71"/>
                <a:gd name="T23" fmla="*/ 12 h 65"/>
                <a:gd name="T24" fmla="*/ 12 w 71"/>
                <a:gd name="T25" fmla="*/ 18 h 65"/>
                <a:gd name="T26" fmla="*/ 32 w 71"/>
                <a:gd name="T27" fmla="*/ 65 h 65"/>
                <a:gd name="T28" fmla="*/ 39 w 71"/>
                <a:gd name="T29" fmla="*/ 65 h 65"/>
                <a:gd name="T30" fmla="*/ 58 w 71"/>
                <a:gd name="T31" fmla="*/ 18 h 65"/>
                <a:gd name="T32" fmla="*/ 60 w 71"/>
                <a:gd name="T33" fmla="*/ 12 h 65"/>
                <a:gd name="T34" fmla="*/ 60 w 71"/>
                <a:gd name="T35" fmla="*/ 12 h 65"/>
                <a:gd name="T36" fmla="*/ 60 w 71"/>
                <a:gd name="T37" fmla="*/ 24 h 65"/>
                <a:gd name="T38" fmla="*/ 60 w 71"/>
                <a:gd name="T39" fmla="*/ 65 h 65"/>
                <a:gd name="T40" fmla="*/ 71 w 71"/>
                <a:gd name="T41" fmla="*/ 65 h 65"/>
                <a:gd name="T42" fmla="*/ 71 w 71"/>
                <a:gd name="T43" fmla="*/ 0 h 65"/>
                <a:gd name="T44" fmla="*/ 55 w 71"/>
                <a:gd name="T45" fmla="*/ 0 h 65"/>
                <a:gd name="T46" fmla="*/ 39 w 71"/>
                <a:gd name="T47" fmla="*/ 4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1" h="65">
                  <a:moveTo>
                    <a:pt x="39" y="41"/>
                  </a:moveTo>
                  <a:cubicBezTo>
                    <a:pt x="36" y="50"/>
                    <a:pt x="36" y="50"/>
                    <a:pt x="36" y="50"/>
                  </a:cubicBezTo>
                  <a:cubicBezTo>
                    <a:pt x="36" y="50"/>
                    <a:pt x="36" y="50"/>
                    <a:pt x="36" y="50"/>
                  </a:cubicBezTo>
                  <a:cubicBezTo>
                    <a:pt x="35" y="48"/>
                    <a:pt x="34" y="45"/>
                    <a:pt x="33" y="41"/>
                  </a:cubicBezTo>
                  <a:cubicBezTo>
                    <a:pt x="16" y="0"/>
                    <a:pt x="16" y="0"/>
                    <a:pt x="16" y="0"/>
                  </a:cubicBezTo>
                  <a:cubicBezTo>
                    <a:pt x="0" y="0"/>
                    <a:pt x="0" y="0"/>
                    <a:pt x="0" y="0"/>
                  </a:cubicBezTo>
                  <a:cubicBezTo>
                    <a:pt x="0" y="65"/>
                    <a:pt x="0" y="65"/>
                    <a:pt x="0" y="65"/>
                  </a:cubicBezTo>
                  <a:cubicBezTo>
                    <a:pt x="11" y="65"/>
                    <a:pt x="11" y="65"/>
                    <a:pt x="11" y="65"/>
                  </a:cubicBezTo>
                  <a:cubicBezTo>
                    <a:pt x="11" y="25"/>
                    <a:pt x="11" y="25"/>
                    <a:pt x="11" y="25"/>
                  </a:cubicBezTo>
                  <a:cubicBezTo>
                    <a:pt x="11" y="23"/>
                    <a:pt x="11" y="20"/>
                    <a:pt x="11" y="17"/>
                  </a:cubicBezTo>
                  <a:cubicBezTo>
                    <a:pt x="11" y="15"/>
                    <a:pt x="11" y="13"/>
                    <a:pt x="11" y="12"/>
                  </a:cubicBezTo>
                  <a:cubicBezTo>
                    <a:pt x="11" y="12"/>
                    <a:pt x="11" y="12"/>
                    <a:pt x="11" y="12"/>
                  </a:cubicBezTo>
                  <a:cubicBezTo>
                    <a:pt x="11" y="15"/>
                    <a:pt x="12" y="17"/>
                    <a:pt x="12" y="18"/>
                  </a:cubicBezTo>
                  <a:cubicBezTo>
                    <a:pt x="32" y="65"/>
                    <a:pt x="32" y="65"/>
                    <a:pt x="32" y="65"/>
                  </a:cubicBezTo>
                  <a:cubicBezTo>
                    <a:pt x="39" y="65"/>
                    <a:pt x="39" y="65"/>
                    <a:pt x="39" y="65"/>
                  </a:cubicBezTo>
                  <a:cubicBezTo>
                    <a:pt x="58" y="18"/>
                    <a:pt x="58" y="18"/>
                    <a:pt x="58" y="18"/>
                  </a:cubicBezTo>
                  <a:cubicBezTo>
                    <a:pt x="59" y="16"/>
                    <a:pt x="59" y="14"/>
                    <a:pt x="60" y="12"/>
                  </a:cubicBezTo>
                  <a:cubicBezTo>
                    <a:pt x="60" y="12"/>
                    <a:pt x="60" y="12"/>
                    <a:pt x="60" y="12"/>
                  </a:cubicBezTo>
                  <a:cubicBezTo>
                    <a:pt x="60" y="17"/>
                    <a:pt x="60" y="21"/>
                    <a:pt x="60" y="24"/>
                  </a:cubicBezTo>
                  <a:cubicBezTo>
                    <a:pt x="60" y="65"/>
                    <a:pt x="60" y="65"/>
                    <a:pt x="60" y="65"/>
                  </a:cubicBezTo>
                  <a:cubicBezTo>
                    <a:pt x="71" y="65"/>
                    <a:pt x="71" y="65"/>
                    <a:pt x="71" y="65"/>
                  </a:cubicBezTo>
                  <a:cubicBezTo>
                    <a:pt x="71" y="0"/>
                    <a:pt x="71" y="0"/>
                    <a:pt x="71" y="0"/>
                  </a:cubicBezTo>
                  <a:cubicBezTo>
                    <a:pt x="55" y="0"/>
                    <a:pt x="55" y="0"/>
                    <a:pt x="55" y="0"/>
                  </a:cubicBezTo>
                  <a:lnTo>
                    <a:pt x="39"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67" name="Rectangle 76">
              <a:extLst>
                <a:ext uri="{FF2B5EF4-FFF2-40B4-BE49-F238E27FC236}">
                  <a16:creationId xmlns:a16="http://schemas.microsoft.com/office/drawing/2014/main" id="{A96E685E-EC7D-45DA-8AA1-493019CB86A0}"/>
                </a:ext>
              </a:extLst>
            </p:cNvPr>
            <p:cNvSpPr>
              <a:spLocks noChangeArrowheads="1"/>
            </p:cNvSpPr>
            <p:nvPr userDrawn="1"/>
          </p:nvSpPr>
          <p:spPr bwMode="auto">
            <a:xfrm>
              <a:off x="3761" y="2128"/>
              <a:ext cx="26" cy="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68" name="Freeform 77">
              <a:extLst>
                <a:ext uri="{FF2B5EF4-FFF2-40B4-BE49-F238E27FC236}">
                  <a16:creationId xmlns:a16="http://schemas.microsoft.com/office/drawing/2014/main" id="{636F984B-CECA-46D5-8574-03FE24E5037D}"/>
                </a:ext>
              </a:extLst>
            </p:cNvPr>
            <p:cNvSpPr>
              <a:spLocks/>
            </p:cNvSpPr>
            <p:nvPr userDrawn="1"/>
          </p:nvSpPr>
          <p:spPr bwMode="auto">
            <a:xfrm>
              <a:off x="3758" y="2080"/>
              <a:ext cx="31" cy="32"/>
            </a:xfrm>
            <a:custGeom>
              <a:avLst/>
              <a:gdLst>
                <a:gd name="T0" fmla="*/ 7 w 13"/>
                <a:gd name="T1" fmla="*/ 0 h 13"/>
                <a:gd name="T2" fmla="*/ 2 w 13"/>
                <a:gd name="T3" fmla="*/ 2 h 13"/>
                <a:gd name="T4" fmla="*/ 0 w 13"/>
                <a:gd name="T5" fmla="*/ 6 h 13"/>
                <a:gd name="T6" fmla="*/ 2 w 13"/>
                <a:gd name="T7" fmla="*/ 11 h 13"/>
                <a:gd name="T8" fmla="*/ 7 w 13"/>
                <a:gd name="T9" fmla="*/ 13 h 13"/>
                <a:gd name="T10" fmla="*/ 12 w 13"/>
                <a:gd name="T11" fmla="*/ 11 h 13"/>
                <a:gd name="T12" fmla="*/ 13 w 13"/>
                <a:gd name="T13" fmla="*/ 6 h 13"/>
                <a:gd name="T14" fmla="*/ 12 w 13"/>
                <a:gd name="T15" fmla="*/ 2 h 13"/>
                <a:gd name="T16" fmla="*/ 7 w 13"/>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3">
                  <a:moveTo>
                    <a:pt x="7" y="0"/>
                  </a:moveTo>
                  <a:cubicBezTo>
                    <a:pt x="5" y="0"/>
                    <a:pt x="3" y="1"/>
                    <a:pt x="2" y="2"/>
                  </a:cubicBezTo>
                  <a:cubicBezTo>
                    <a:pt x="1" y="3"/>
                    <a:pt x="0" y="5"/>
                    <a:pt x="0" y="6"/>
                  </a:cubicBezTo>
                  <a:cubicBezTo>
                    <a:pt x="0" y="8"/>
                    <a:pt x="1" y="10"/>
                    <a:pt x="2" y="11"/>
                  </a:cubicBezTo>
                  <a:cubicBezTo>
                    <a:pt x="3" y="12"/>
                    <a:pt x="5" y="13"/>
                    <a:pt x="7" y="13"/>
                  </a:cubicBezTo>
                  <a:cubicBezTo>
                    <a:pt x="9" y="13"/>
                    <a:pt x="10" y="12"/>
                    <a:pt x="12" y="11"/>
                  </a:cubicBezTo>
                  <a:cubicBezTo>
                    <a:pt x="13" y="10"/>
                    <a:pt x="13" y="8"/>
                    <a:pt x="13" y="6"/>
                  </a:cubicBezTo>
                  <a:cubicBezTo>
                    <a:pt x="13" y="5"/>
                    <a:pt x="13" y="3"/>
                    <a:pt x="12" y="2"/>
                  </a:cubicBezTo>
                  <a:cubicBezTo>
                    <a:pt x="10" y="1"/>
                    <a:pt x="9" y="0"/>
                    <a:pt x="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69" name="Freeform 78">
              <a:extLst>
                <a:ext uri="{FF2B5EF4-FFF2-40B4-BE49-F238E27FC236}">
                  <a16:creationId xmlns:a16="http://schemas.microsoft.com/office/drawing/2014/main" id="{050E1867-6B7E-4191-87EB-8620CD4E3697}"/>
                </a:ext>
              </a:extLst>
            </p:cNvPr>
            <p:cNvSpPr>
              <a:spLocks/>
            </p:cNvSpPr>
            <p:nvPr userDrawn="1"/>
          </p:nvSpPr>
          <p:spPr bwMode="auto">
            <a:xfrm>
              <a:off x="3806" y="2126"/>
              <a:ext cx="85" cy="117"/>
            </a:xfrm>
            <a:custGeom>
              <a:avLst/>
              <a:gdLst>
                <a:gd name="T0" fmla="*/ 31 w 36"/>
                <a:gd name="T1" fmla="*/ 0 h 48"/>
                <a:gd name="T2" fmla="*/ 25 w 36"/>
                <a:gd name="T3" fmla="*/ 0 h 48"/>
                <a:gd name="T4" fmla="*/ 11 w 36"/>
                <a:gd name="T5" fmla="*/ 3 h 48"/>
                <a:gd name="T6" fmla="*/ 3 w 36"/>
                <a:gd name="T7" fmla="*/ 12 h 48"/>
                <a:gd name="T8" fmla="*/ 0 w 36"/>
                <a:gd name="T9" fmla="*/ 25 h 48"/>
                <a:gd name="T10" fmla="*/ 3 w 36"/>
                <a:gd name="T11" fmla="*/ 37 h 48"/>
                <a:gd name="T12" fmla="*/ 11 w 36"/>
                <a:gd name="T13" fmla="*/ 46 h 48"/>
                <a:gd name="T14" fmla="*/ 23 w 36"/>
                <a:gd name="T15" fmla="*/ 48 h 48"/>
                <a:gd name="T16" fmla="*/ 36 w 36"/>
                <a:gd name="T17" fmla="*/ 45 h 48"/>
                <a:gd name="T18" fmla="*/ 36 w 36"/>
                <a:gd name="T19" fmla="*/ 45 h 48"/>
                <a:gd name="T20" fmla="*/ 36 w 36"/>
                <a:gd name="T21" fmla="*/ 35 h 48"/>
                <a:gd name="T22" fmla="*/ 36 w 36"/>
                <a:gd name="T23" fmla="*/ 36 h 48"/>
                <a:gd name="T24" fmla="*/ 30 w 36"/>
                <a:gd name="T25" fmla="*/ 38 h 48"/>
                <a:gd name="T26" fmla="*/ 25 w 36"/>
                <a:gd name="T27" fmla="*/ 39 h 48"/>
                <a:gd name="T28" fmla="*/ 15 w 36"/>
                <a:gd name="T29" fmla="*/ 35 h 48"/>
                <a:gd name="T30" fmla="*/ 11 w 36"/>
                <a:gd name="T31" fmla="*/ 24 h 48"/>
                <a:gd name="T32" fmla="*/ 15 w 36"/>
                <a:gd name="T33" fmla="*/ 13 h 48"/>
                <a:gd name="T34" fmla="*/ 25 w 36"/>
                <a:gd name="T35" fmla="*/ 9 h 48"/>
                <a:gd name="T36" fmla="*/ 36 w 36"/>
                <a:gd name="T37" fmla="*/ 12 h 48"/>
                <a:gd name="T38" fmla="*/ 36 w 36"/>
                <a:gd name="T39" fmla="*/ 13 h 48"/>
                <a:gd name="T40" fmla="*/ 36 w 36"/>
                <a:gd name="T41" fmla="*/ 2 h 48"/>
                <a:gd name="T42" fmla="*/ 36 w 36"/>
                <a:gd name="T43" fmla="*/ 2 h 48"/>
                <a:gd name="T44" fmla="*/ 31 w 36"/>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48">
                  <a:moveTo>
                    <a:pt x="31" y="0"/>
                  </a:moveTo>
                  <a:cubicBezTo>
                    <a:pt x="29" y="0"/>
                    <a:pt x="27" y="0"/>
                    <a:pt x="25" y="0"/>
                  </a:cubicBezTo>
                  <a:cubicBezTo>
                    <a:pt x="20" y="0"/>
                    <a:pt x="15" y="1"/>
                    <a:pt x="11" y="3"/>
                  </a:cubicBezTo>
                  <a:cubicBezTo>
                    <a:pt x="8" y="5"/>
                    <a:pt x="5" y="8"/>
                    <a:pt x="3" y="12"/>
                  </a:cubicBezTo>
                  <a:cubicBezTo>
                    <a:pt x="1" y="16"/>
                    <a:pt x="0" y="20"/>
                    <a:pt x="0" y="25"/>
                  </a:cubicBezTo>
                  <a:cubicBezTo>
                    <a:pt x="0" y="30"/>
                    <a:pt x="1" y="34"/>
                    <a:pt x="3" y="37"/>
                  </a:cubicBezTo>
                  <a:cubicBezTo>
                    <a:pt x="5" y="41"/>
                    <a:pt x="7" y="44"/>
                    <a:pt x="11" y="46"/>
                  </a:cubicBezTo>
                  <a:cubicBezTo>
                    <a:pt x="14" y="47"/>
                    <a:pt x="18" y="48"/>
                    <a:pt x="23" y="48"/>
                  </a:cubicBezTo>
                  <a:cubicBezTo>
                    <a:pt x="28" y="48"/>
                    <a:pt x="32" y="47"/>
                    <a:pt x="36" y="45"/>
                  </a:cubicBezTo>
                  <a:cubicBezTo>
                    <a:pt x="36" y="45"/>
                    <a:pt x="36" y="45"/>
                    <a:pt x="36" y="45"/>
                  </a:cubicBezTo>
                  <a:cubicBezTo>
                    <a:pt x="36" y="35"/>
                    <a:pt x="36" y="35"/>
                    <a:pt x="36" y="35"/>
                  </a:cubicBezTo>
                  <a:cubicBezTo>
                    <a:pt x="36" y="36"/>
                    <a:pt x="36" y="36"/>
                    <a:pt x="36" y="36"/>
                  </a:cubicBezTo>
                  <a:cubicBezTo>
                    <a:pt x="34" y="37"/>
                    <a:pt x="32" y="38"/>
                    <a:pt x="30" y="38"/>
                  </a:cubicBezTo>
                  <a:cubicBezTo>
                    <a:pt x="28" y="39"/>
                    <a:pt x="27" y="39"/>
                    <a:pt x="25" y="39"/>
                  </a:cubicBezTo>
                  <a:cubicBezTo>
                    <a:pt x="21" y="39"/>
                    <a:pt x="17" y="38"/>
                    <a:pt x="15" y="35"/>
                  </a:cubicBezTo>
                  <a:cubicBezTo>
                    <a:pt x="12" y="33"/>
                    <a:pt x="11" y="29"/>
                    <a:pt x="11" y="24"/>
                  </a:cubicBezTo>
                  <a:cubicBezTo>
                    <a:pt x="11" y="20"/>
                    <a:pt x="12" y="16"/>
                    <a:pt x="15" y="13"/>
                  </a:cubicBezTo>
                  <a:cubicBezTo>
                    <a:pt x="18" y="10"/>
                    <a:pt x="21" y="9"/>
                    <a:pt x="25" y="9"/>
                  </a:cubicBezTo>
                  <a:cubicBezTo>
                    <a:pt x="29" y="9"/>
                    <a:pt x="32" y="10"/>
                    <a:pt x="36" y="12"/>
                  </a:cubicBezTo>
                  <a:cubicBezTo>
                    <a:pt x="36" y="13"/>
                    <a:pt x="36" y="13"/>
                    <a:pt x="36" y="13"/>
                  </a:cubicBezTo>
                  <a:cubicBezTo>
                    <a:pt x="36" y="2"/>
                    <a:pt x="36" y="2"/>
                    <a:pt x="36" y="2"/>
                  </a:cubicBezTo>
                  <a:cubicBezTo>
                    <a:pt x="36" y="2"/>
                    <a:pt x="36" y="2"/>
                    <a:pt x="36" y="2"/>
                  </a:cubicBezTo>
                  <a:cubicBezTo>
                    <a:pt x="35" y="1"/>
                    <a:pt x="33" y="1"/>
                    <a:pt x="3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70" name="Freeform 79">
              <a:extLst>
                <a:ext uri="{FF2B5EF4-FFF2-40B4-BE49-F238E27FC236}">
                  <a16:creationId xmlns:a16="http://schemas.microsoft.com/office/drawing/2014/main" id="{A7FC8174-1F5A-42C8-873D-2FC8E855D576}"/>
                </a:ext>
              </a:extLst>
            </p:cNvPr>
            <p:cNvSpPr>
              <a:spLocks/>
            </p:cNvSpPr>
            <p:nvPr userDrawn="1"/>
          </p:nvSpPr>
          <p:spPr bwMode="auto">
            <a:xfrm>
              <a:off x="3910" y="2126"/>
              <a:ext cx="64" cy="114"/>
            </a:xfrm>
            <a:custGeom>
              <a:avLst/>
              <a:gdLst>
                <a:gd name="T0" fmla="*/ 23 w 27"/>
                <a:gd name="T1" fmla="*/ 0 h 47"/>
                <a:gd name="T2" fmla="*/ 16 w 27"/>
                <a:gd name="T3" fmla="*/ 3 h 47"/>
                <a:gd name="T4" fmla="*/ 11 w 27"/>
                <a:gd name="T5" fmla="*/ 9 h 47"/>
                <a:gd name="T6" fmla="*/ 11 w 27"/>
                <a:gd name="T7" fmla="*/ 9 h 47"/>
                <a:gd name="T8" fmla="*/ 11 w 27"/>
                <a:gd name="T9" fmla="*/ 1 h 47"/>
                <a:gd name="T10" fmla="*/ 0 w 27"/>
                <a:gd name="T11" fmla="*/ 1 h 47"/>
                <a:gd name="T12" fmla="*/ 0 w 27"/>
                <a:gd name="T13" fmla="*/ 47 h 47"/>
                <a:gd name="T14" fmla="*/ 11 w 27"/>
                <a:gd name="T15" fmla="*/ 47 h 47"/>
                <a:gd name="T16" fmla="*/ 11 w 27"/>
                <a:gd name="T17" fmla="*/ 24 h 47"/>
                <a:gd name="T18" fmla="*/ 14 w 27"/>
                <a:gd name="T19" fmla="*/ 14 h 47"/>
                <a:gd name="T20" fmla="*/ 21 w 27"/>
                <a:gd name="T21" fmla="*/ 10 h 47"/>
                <a:gd name="T22" fmla="*/ 24 w 27"/>
                <a:gd name="T23" fmla="*/ 10 h 47"/>
                <a:gd name="T24" fmla="*/ 27 w 27"/>
                <a:gd name="T25" fmla="*/ 11 h 47"/>
                <a:gd name="T26" fmla="*/ 27 w 27"/>
                <a:gd name="T27" fmla="*/ 12 h 47"/>
                <a:gd name="T28" fmla="*/ 27 w 27"/>
                <a:gd name="T29" fmla="*/ 1 h 47"/>
                <a:gd name="T30" fmla="*/ 27 w 27"/>
                <a:gd name="T31" fmla="*/ 1 h 47"/>
                <a:gd name="T32" fmla="*/ 23 w 27"/>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 h="47">
                  <a:moveTo>
                    <a:pt x="23" y="0"/>
                  </a:moveTo>
                  <a:cubicBezTo>
                    <a:pt x="20" y="0"/>
                    <a:pt x="18" y="1"/>
                    <a:pt x="16" y="3"/>
                  </a:cubicBezTo>
                  <a:cubicBezTo>
                    <a:pt x="14" y="4"/>
                    <a:pt x="12" y="6"/>
                    <a:pt x="11" y="9"/>
                  </a:cubicBezTo>
                  <a:cubicBezTo>
                    <a:pt x="11" y="9"/>
                    <a:pt x="11" y="9"/>
                    <a:pt x="11" y="9"/>
                  </a:cubicBezTo>
                  <a:cubicBezTo>
                    <a:pt x="11" y="1"/>
                    <a:pt x="11" y="1"/>
                    <a:pt x="11" y="1"/>
                  </a:cubicBezTo>
                  <a:cubicBezTo>
                    <a:pt x="0" y="1"/>
                    <a:pt x="0" y="1"/>
                    <a:pt x="0" y="1"/>
                  </a:cubicBezTo>
                  <a:cubicBezTo>
                    <a:pt x="0" y="47"/>
                    <a:pt x="0" y="47"/>
                    <a:pt x="0" y="47"/>
                  </a:cubicBezTo>
                  <a:cubicBezTo>
                    <a:pt x="11" y="47"/>
                    <a:pt x="11" y="47"/>
                    <a:pt x="11" y="47"/>
                  </a:cubicBezTo>
                  <a:cubicBezTo>
                    <a:pt x="11" y="24"/>
                    <a:pt x="11" y="24"/>
                    <a:pt x="11" y="24"/>
                  </a:cubicBezTo>
                  <a:cubicBezTo>
                    <a:pt x="11" y="19"/>
                    <a:pt x="12" y="16"/>
                    <a:pt x="14" y="14"/>
                  </a:cubicBezTo>
                  <a:cubicBezTo>
                    <a:pt x="16" y="11"/>
                    <a:pt x="18" y="10"/>
                    <a:pt x="21" y="10"/>
                  </a:cubicBezTo>
                  <a:cubicBezTo>
                    <a:pt x="22" y="10"/>
                    <a:pt x="23" y="10"/>
                    <a:pt x="24" y="10"/>
                  </a:cubicBezTo>
                  <a:cubicBezTo>
                    <a:pt x="26" y="11"/>
                    <a:pt x="26" y="11"/>
                    <a:pt x="27" y="11"/>
                  </a:cubicBezTo>
                  <a:cubicBezTo>
                    <a:pt x="27" y="12"/>
                    <a:pt x="27" y="12"/>
                    <a:pt x="27" y="12"/>
                  </a:cubicBezTo>
                  <a:cubicBezTo>
                    <a:pt x="27" y="1"/>
                    <a:pt x="27" y="1"/>
                    <a:pt x="27" y="1"/>
                  </a:cubicBezTo>
                  <a:cubicBezTo>
                    <a:pt x="27" y="1"/>
                    <a:pt x="27" y="1"/>
                    <a:pt x="27" y="1"/>
                  </a:cubicBezTo>
                  <a:cubicBezTo>
                    <a:pt x="26" y="0"/>
                    <a:pt x="25" y="0"/>
                    <a:pt x="2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71" name="Freeform 80">
              <a:extLst>
                <a:ext uri="{FF2B5EF4-FFF2-40B4-BE49-F238E27FC236}">
                  <a16:creationId xmlns:a16="http://schemas.microsoft.com/office/drawing/2014/main" id="{18CF035F-07FA-4D4D-B8BD-F97078E08093}"/>
                </a:ext>
              </a:extLst>
            </p:cNvPr>
            <p:cNvSpPr>
              <a:spLocks noEditPoints="1"/>
            </p:cNvSpPr>
            <p:nvPr userDrawn="1"/>
          </p:nvSpPr>
          <p:spPr bwMode="auto">
            <a:xfrm>
              <a:off x="3976" y="2126"/>
              <a:ext cx="114" cy="117"/>
            </a:xfrm>
            <a:custGeom>
              <a:avLst/>
              <a:gdLst>
                <a:gd name="T0" fmla="*/ 33 w 48"/>
                <a:gd name="T1" fmla="*/ 35 h 48"/>
                <a:gd name="T2" fmla="*/ 24 w 48"/>
                <a:gd name="T3" fmla="*/ 39 h 48"/>
                <a:gd name="T4" fmla="*/ 15 w 48"/>
                <a:gd name="T5" fmla="*/ 35 h 48"/>
                <a:gd name="T6" fmla="*/ 11 w 48"/>
                <a:gd name="T7" fmla="*/ 24 h 48"/>
                <a:gd name="T8" fmla="*/ 15 w 48"/>
                <a:gd name="T9" fmla="*/ 13 h 48"/>
                <a:gd name="T10" fmla="*/ 24 w 48"/>
                <a:gd name="T11" fmla="*/ 9 h 48"/>
                <a:gd name="T12" fmla="*/ 33 w 48"/>
                <a:gd name="T13" fmla="*/ 13 h 48"/>
                <a:gd name="T14" fmla="*/ 36 w 48"/>
                <a:gd name="T15" fmla="*/ 24 h 48"/>
                <a:gd name="T16" fmla="*/ 33 w 48"/>
                <a:gd name="T17" fmla="*/ 35 h 48"/>
                <a:gd name="T18" fmla="*/ 25 w 48"/>
                <a:gd name="T19" fmla="*/ 0 h 48"/>
                <a:gd name="T20" fmla="*/ 7 w 48"/>
                <a:gd name="T21" fmla="*/ 6 h 48"/>
                <a:gd name="T22" fmla="*/ 0 w 48"/>
                <a:gd name="T23" fmla="*/ 25 h 48"/>
                <a:gd name="T24" fmla="*/ 6 w 48"/>
                <a:gd name="T25" fmla="*/ 42 h 48"/>
                <a:gd name="T26" fmla="*/ 24 w 48"/>
                <a:gd name="T27" fmla="*/ 48 h 48"/>
                <a:gd name="T28" fmla="*/ 41 w 48"/>
                <a:gd name="T29" fmla="*/ 42 h 48"/>
                <a:gd name="T30" fmla="*/ 48 w 48"/>
                <a:gd name="T31" fmla="*/ 24 h 48"/>
                <a:gd name="T32" fmla="*/ 42 w 48"/>
                <a:gd name="T33" fmla="*/ 6 h 48"/>
                <a:gd name="T34" fmla="*/ 25 w 48"/>
                <a:gd name="T3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48">
                  <a:moveTo>
                    <a:pt x="33" y="35"/>
                  </a:moveTo>
                  <a:cubicBezTo>
                    <a:pt x="31" y="38"/>
                    <a:pt x="28" y="39"/>
                    <a:pt x="24" y="39"/>
                  </a:cubicBezTo>
                  <a:cubicBezTo>
                    <a:pt x="20" y="39"/>
                    <a:pt x="17" y="38"/>
                    <a:pt x="15" y="35"/>
                  </a:cubicBezTo>
                  <a:cubicBezTo>
                    <a:pt x="12" y="33"/>
                    <a:pt x="11" y="29"/>
                    <a:pt x="11" y="24"/>
                  </a:cubicBezTo>
                  <a:cubicBezTo>
                    <a:pt x="11" y="19"/>
                    <a:pt x="12" y="15"/>
                    <a:pt x="15" y="13"/>
                  </a:cubicBezTo>
                  <a:cubicBezTo>
                    <a:pt x="17" y="10"/>
                    <a:pt x="20" y="9"/>
                    <a:pt x="24" y="9"/>
                  </a:cubicBezTo>
                  <a:cubicBezTo>
                    <a:pt x="28" y="9"/>
                    <a:pt x="31" y="10"/>
                    <a:pt x="33" y="13"/>
                  </a:cubicBezTo>
                  <a:cubicBezTo>
                    <a:pt x="35" y="15"/>
                    <a:pt x="36" y="19"/>
                    <a:pt x="36" y="24"/>
                  </a:cubicBezTo>
                  <a:cubicBezTo>
                    <a:pt x="36" y="29"/>
                    <a:pt x="35" y="33"/>
                    <a:pt x="33" y="35"/>
                  </a:cubicBezTo>
                  <a:moveTo>
                    <a:pt x="25" y="0"/>
                  </a:moveTo>
                  <a:cubicBezTo>
                    <a:pt x="17" y="0"/>
                    <a:pt x="11" y="2"/>
                    <a:pt x="7" y="6"/>
                  </a:cubicBezTo>
                  <a:cubicBezTo>
                    <a:pt x="2" y="11"/>
                    <a:pt x="0" y="17"/>
                    <a:pt x="0" y="25"/>
                  </a:cubicBezTo>
                  <a:cubicBezTo>
                    <a:pt x="0" y="32"/>
                    <a:pt x="2" y="38"/>
                    <a:pt x="6" y="42"/>
                  </a:cubicBezTo>
                  <a:cubicBezTo>
                    <a:pt x="11" y="46"/>
                    <a:pt x="16" y="48"/>
                    <a:pt x="24" y="48"/>
                  </a:cubicBezTo>
                  <a:cubicBezTo>
                    <a:pt x="31" y="48"/>
                    <a:pt x="37" y="46"/>
                    <a:pt x="41" y="42"/>
                  </a:cubicBezTo>
                  <a:cubicBezTo>
                    <a:pt x="46" y="37"/>
                    <a:pt x="48" y="31"/>
                    <a:pt x="48" y="24"/>
                  </a:cubicBezTo>
                  <a:cubicBezTo>
                    <a:pt x="48" y="16"/>
                    <a:pt x="46" y="10"/>
                    <a:pt x="42" y="6"/>
                  </a:cubicBezTo>
                  <a:cubicBezTo>
                    <a:pt x="38" y="2"/>
                    <a:pt x="32" y="0"/>
                    <a:pt x="2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72" name="Freeform 81">
              <a:extLst>
                <a:ext uri="{FF2B5EF4-FFF2-40B4-BE49-F238E27FC236}">
                  <a16:creationId xmlns:a16="http://schemas.microsoft.com/office/drawing/2014/main" id="{E46ECE4F-850E-4CC0-BA48-89DD110E5F86}"/>
                </a:ext>
              </a:extLst>
            </p:cNvPr>
            <p:cNvSpPr>
              <a:spLocks/>
            </p:cNvSpPr>
            <p:nvPr userDrawn="1"/>
          </p:nvSpPr>
          <p:spPr bwMode="auto">
            <a:xfrm>
              <a:off x="4102" y="2126"/>
              <a:ext cx="73" cy="117"/>
            </a:xfrm>
            <a:custGeom>
              <a:avLst/>
              <a:gdLst>
                <a:gd name="T0" fmla="*/ 19 w 31"/>
                <a:gd name="T1" fmla="*/ 20 h 48"/>
                <a:gd name="T2" fmla="*/ 13 w 31"/>
                <a:gd name="T3" fmla="*/ 17 h 48"/>
                <a:gd name="T4" fmla="*/ 11 w 31"/>
                <a:gd name="T5" fmla="*/ 13 h 48"/>
                <a:gd name="T6" fmla="*/ 13 w 31"/>
                <a:gd name="T7" fmla="*/ 10 h 48"/>
                <a:gd name="T8" fmla="*/ 18 w 31"/>
                <a:gd name="T9" fmla="*/ 8 h 48"/>
                <a:gd name="T10" fmla="*/ 23 w 31"/>
                <a:gd name="T11" fmla="*/ 9 h 48"/>
                <a:gd name="T12" fmla="*/ 28 w 31"/>
                <a:gd name="T13" fmla="*/ 12 h 48"/>
                <a:gd name="T14" fmla="*/ 29 w 31"/>
                <a:gd name="T15" fmla="*/ 12 h 48"/>
                <a:gd name="T16" fmla="*/ 29 w 31"/>
                <a:gd name="T17" fmla="*/ 2 h 48"/>
                <a:gd name="T18" fmla="*/ 28 w 31"/>
                <a:gd name="T19" fmla="*/ 2 h 48"/>
                <a:gd name="T20" fmla="*/ 23 w 31"/>
                <a:gd name="T21" fmla="*/ 0 h 48"/>
                <a:gd name="T22" fmla="*/ 18 w 31"/>
                <a:gd name="T23" fmla="*/ 0 h 48"/>
                <a:gd name="T24" fmla="*/ 5 w 31"/>
                <a:gd name="T25" fmla="*/ 4 h 48"/>
                <a:gd name="T26" fmla="*/ 0 w 31"/>
                <a:gd name="T27" fmla="*/ 14 h 48"/>
                <a:gd name="T28" fmla="*/ 1 w 31"/>
                <a:gd name="T29" fmla="*/ 20 h 48"/>
                <a:gd name="T30" fmla="*/ 4 w 31"/>
                <a:gd name="T31" fmla="*/ 24 h 48"/>
                <a:gd name="T32" fmla="*/ 11 w 31"/>
                <a:gd name="T33" fmla="*/ 28 h 48"/>
                <a:gd name="T34" fmla="*/ 17 w 31"/>
                <a:gd name="T35" fmla="*/ 30 h 48"/>
                <a:gd name="T36" fmla="*/ 19 w 31"/>
                <a:gd name="T37" fmla="*/ 32 h 48"/>
                <a:gd name="T38" fmla="*/ 20 w 31"/>
                <a:gd name="T39" fmla="*/ 35 h 48"/>
                <a:gd name="T40" fmla="*/ 13 w 31"/>
                <a:gd name="T41" fmla="*/ 40 h 48"/>
                <a:gd name="T42" fmla="*/ 7 w 31"/>
                <a:gd name="T43" fmla="*/ 39 h 48"/>
                <a:gd name="T44" fmla="*/ 1 w 31"/>
                <a:gd name="T45" fmla="*/ 35 h 48"/>
                <a:gd name="T46" fmla="*/ 0 w 31"/>
                <a:gd name="T47" fmla="*/ 35 h 48"/>
                <a:gd name="T48" fmla="*/ 0 w 31"/>
                <a:gd name="T49" fmla="*/ 46 h 48"/>
                <a:gd name="T50" fmla="*/ 0 w 31"/>
                <a:gd name="T51" fmla="*/ 46 h 48"/>
                <a:gd name="T52" fmla="*/ 6 w 31"/>
                <a:gd name="T53" fmla="*/ 48 h 48"/>
                <a:gd name="T54" fmla="*/ 12 w 31"/>
                <a:gd name="T55" fmla="*/ 48 h 48"/>
                <a:gd name="T56" fmla="*/ 26 w 31"/>
                <a:gd name="T57" fmla="*/ 44 h 48"/>
                <a:gd name="T58" fmla="*/ 31 w 31"/>
                <a:gd name="T59" fmla="*/ 34 h 48"/>
                <a:gd name="T60" fmla="*/ 28 w 31"/>
                <a:gd name="T61" fmla="*/ 26 h 48"/>
                <a:gd name="T62" fmla="*/ 19 w 31"/>
                <a:gd name="T63" fmla="*/ 2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1" h="48">
                  <a:moveTo>
                    <a:pt x="19" y="20"/>
                  </a:moveTo>
                  <a:cubicBezTo>
                    <a:pt x="16" y="19"/>
                    <a:pt x="13" y="17"/>
                    <a:pt x="13" y="17"/>
                  </a:cubicBezTo>
                  <a:cubicBezTo>
                    <a:pt x="12" y="16"/>
                    <a:pt x="11" y="15"/>
                    <a:pt x="11" y="13"/>
                  </a:cubicBezTo>
                  <a:cubicBezTo>
                    <a:pt x="11" y="12"/>
                    <a:pt x="12" y="11"/>
                    <a:pt x="13" y="10"/>
                  </a:cubicBezTo>
                  <a:cubicBezTo>
                    <a:pt x="14" y="9"/>
                    <a:pt x="16" y="8"/>
                    <a:pt x="18" y="8"/>
                  </a:cubicBezTo>
                  <a:cubicBezTo>
                    <a:pt x="19" y="8"/>
                    <a:pt x="21" y="9"/>
                    <a:pt x="23" y="9"/>
                  </a:cubicBezTo>
                  <a:cubicBezTo>
                    <a:pt x="25" y="10"/>
                    <a:pt x="27" y="11"/>
                    <a:pt x="28" y="12"/>
                  </a:cubicBezTo>
                  <a:cubicBezTo>
                    <a:pt x="29" y="12"/>
                    <a:pt x="29" y="12"/>
                    <a:pt x="29" y="12"/>
                  </a:cubicBezTo>
                  <a:cubicBezTo>
                    <a:pt x="29" y="2"/>
                    <a:pt x="29" y="2"/>
                    <a:pt x="29" y="2"/>
                  </a:cubicBezTo>
                  <a:cubicBezTo>
                    <a:pt x="28" y="2"/>
                    <a:pt x="28" y="2"/>
                    <a:pt x="28" y="2"/>
                  </a:cubicBezTo>
                  <a:cubicBezTo>
                    <a:pt x="27" y="1"/>
                    <a:pt x="25" y="1"/>
                    <a:pt x="23" y="0"/>
                  </a:cubicBezTo>
                  <a:cubicBezTo>
                    <a:pt x="21" y="0"/>
                    <a:pt x="20" y="0"/>
                    <a:pt x="18" y="0"/>
                  </a:cubicBezTo>
                  <a:cubicBezTo>
                    <a:pt x="13" y="0"/>
                    <a:pt x="8" y="1"/>
                    <a:pt x="5" y="4"/>
                  </a:cubicBezTo>
                  <a:cubicBezTo>
                    <a:pt x="2" y="6"/>
                    <a:pt x="0" y="10"/>
                    <a:pt x="0" y="14"/>
                  </a:cubicBezTo>
                  <a:cubicBezTo>
                    <a:pt x="0" y="16"/>
                    <a:pt x="0" y="18"/>
                    <a:pt x="1" y="20"/>
                  </a:cubicBezTo>
                  <a:cubicBezTo>
                    <a:pt x="2" y="21"/>
                    <a:pt x="3" y="23"/>
                    <a:pt x="4" y="24"/>
                  </a:cubicBezTo>
                  <a:cubicBezTo>
                    <a:pt x="6" y="25"/>
                    <a:pt x="8" y="27"/>
                    <a:pt x="11" y="28"/>
                  </a:cubicBezTo>
                  <a:cubicBezTo>
                    <a:pt x="14" y="29"/>
                    <a:pt x="16" y="30"/>
                    <a:pt x="17" y="30"/>
                  </a:cubicBezTo>
                  <a:cubicBezTo>
                    <a:pt x="18" y="31"/>
                    <a:pt x="19" y="32"/>
                    <a:pt x="19" y="32"/>
                  </a:cubicBezTo>
                  <a:cubicBezTo>
                    <a:pt x="20" y="33"/>
                    <a:pt x="20" y="34"/>
                    <a:pt x="20" y="35"/>
                  </a:cubicBezTo>
                  <a:cubicBezTo>
                    <a:pt x="20" y="38"/>
                    <a:pt x="18" y="40"/>
                    <a:pt x="13" y="40"/>
                  </a:cubicBezTo>
                  <a:cubicBezTo>
                    <a:pt x="11" y="40"/>
                    <a:pt x="9" y="39"/>
                    <a:pt x="7" y="39"/>
                  </a:cubicBezTo>
                  <a:cubicBezTo>
                    <a:pt x="5" y="38"/>
                    <a:pt x="2" y="37"/>
                    <a:pt x="1" y="35"/>
                  </a:cubicBezTo>
                  <a:cubicBezTo>
                    <a:pt x="0" y="35"/>
                    <a:pt x="0" y="35"/>
                    <a:pt x="0" y="35"/>
                  </a:cubicBezTo>
                  <a:cubicBezTo>
                    <a:pt x="0" y="46"/>
                    <a:pt x="0" y="46"/>
                    <a:pt x="0" y="46"/>
                  </a:cubicBezTo>
                  <a:cubicBezTo>
                    <a:pt x="0" y="46"/>
                    <a:pt x="0" y="46"/>
                    <a:pt x="0" y="46"/>
                  </a:cubicBezTo>
                  <a:cubicBezTo>
                    <a:pt x="2" y="47"/>
                    <a:pt x="4" y="47"/>
                    <a:pt x="6" y="48"/>
                  </a:cubicBezTo>
                  <a:cubicBezTo>
                    <a:pt x="8" y="48"/>
                    <a:pt x="11" y="48"/>
                    <a:pt x="12" y="48"/>
                  </a:cubicBezTo>
                  <a:cubicBezTo>
                    <a:pt x="18" y="48"/>
                    <a:pt x="23" y="47"/>
                    <a:pt x="26" y="44"/>
                  </a:cubicBezTo>
                  <a:cubicBezTo>
                    <a:pt x="29" y="42"/>
                    <a:pt x="31" y="38"/>
                    <a:pt x="31" y="34"/>
                  </a:cubicBezTo>
                  <a:cubicBezTo>
                    <a:pt x="31" y="31"/>
                    <a:pt x="30" y="28"/>
                    <a:pt x="28" y="26"/>
                  </a:cubicBezTo>
                  <a:cubicBezTo>
                    <a:pt x="26" y="24"/>
                    <a:pt x="23" y="22"/>
                    <a:pt x="19" y="2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73" name="Freeform 82">
              <a:extLst>
                <a:ext uri="{FF2B5EF4-FFF2-40B4-BE49-F238E27FC236}">
                  <a16:creationId xmlns:a16="http://schemas.microsoft.com/office/drawing/2014/main" id="{1724FCA1-AFF1-4199-858D-03104FC37577}"/>
                </a:ext>
              </a:extLst>
            </p:cNvPr>
            <p:cNvSpPr>
              <a:spLocks noEditPoints="1"/>
            </p:cNvSpPr>
            <p:nvPr userDrawn="1"/>
          </p:nvSpPr>
          <p:spPr bwMode="auto">
            <a:xfrm>
              <a:off x="4187" y="2126"/>
              <a:ext cx="113" cy="117"/>
            </a:xfrm>
            <a:custGeom>
              <a:avLst/>
              <a:gdLst>
                <a:gd name="T0" fmla="*/ 33 w 48"/>
                <a:gd name="T1" fmla="*/ 35 h 48"/>
                <a:gd name="T2" fmla="*/ 24 w 48"/>
                <a:gd name="T3" fmla="*/ 39 h 48"/>
                <a:gd name="T4" fmla="*/ 14 w 48"/>
                <a:gd name="T5" fmla="*/ 35 h 48"/>
                <a:gd name="T6" fmla="*/ 11 w 48"/>
                <a:gd name="T7" fmla="*/ 24 h 48"/>
                <a:gd name="T8" fmla="*/ 14 w 48"/>
                <a:gd name="T9" fmla="*/ 13 h 48"/>
                <a:gd name="T10" fmla="*/ 24 w 48"/>
                <a:gd name="T11" fmla="*/ 9 h 48"/>
                <a:gd name="T12" fmla="*/ 33 w 48"/>
                <a:gd name="T13" fmla="*/ 13 h 48"/>
                <a:gd name="T14" fmla="*/ 36 w 48"/>
                <a:gd name="T15" fmla="*/ 24 h 48"/>
                <a:gd name="T16" fmla="*/ 33 w 48"/>
                <a:gd name="T17" fmla="*/ 35 h 48"/>
                <a:gd name="T18" fmla="*/ 24 w 48"/>
                <a:gd name="T19" fmla="*/ 0 h 48"/>
                <a:gd name="T20" fmla="*/ 6 w 48"/>
                <a:gd name="T21" fmla="*/ 6 h 48"/>
                <a:gd name="T22" fmla="*/ 0 w 48"/>
                <a:gd name="T23" fmla="*/ 25 h 48"/>
                <a:gd name="T24" fmla="*/ 6 w 48"/>
                <a:gd name="T25" fmla="*/ 42 h 48"/>
                <a:gd name="T26" fmla="*/ 23 w 48"/>
                <a:gd name="T27" fmla="*/ 48 h 48"/>
                <a:gd name="T28" fmla="*/ 41 w 48"/>
                <a:gd name="T29" fmla="*/ 42 h 48"/>
                <a:gd name="T30" fmla="*/ 48 w 48"/>
                <a:gd name="T31" fmla="*/ 24 h 48"/>
                <a:gd name="T32" fmla="*/ 41 w 48"/>
                <a:gd name="T33" fmla="*/ 6 h 48"/>
                <a:gd name="T34" fmla="*/ 24 w 48"/>
                <a:gd name="T3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48">
                  <a:moveTo>
                    <a:pt x="33" y="35"/>
                  </a:moveTo>
                  <a:cubicBezTo>
                    <a:pt x="31" y="38"/>
                    <a:pt x="28" y="39"/>
                    <a:pt x="24" y="39"/>
                  </a:cubicBezTo>
                  <a:cubicBezTo>
                    <a:pt x="20" y="39"/>
                    <a:pt x="17" y="38"/>
                    <a:pt x="14" y="35"/>
                  </a:cubicBezTo>
                  <a:cubicBezTo>
                    <a:pt x="12" y="33"/>
                    <a:pt x="11" y="29"/>
                    <a:pt x="11" y="24"/>
                  </a:cubicBezTo>
                  <a:cubicBezTo>
                    <a:pt x="11" y="19"/>
                    <a:pt x="12" y="15"/>
                    <a:pt x="14" y="13"/>
                  </a:cubicBezTo>
                  <a:cubicBezTo>
                    <a:pt x="17" y="10"/>
                    <a:pt x="20" y="9"/>
                    <a:pt x="24" y="9"/>
                  </a:cubicBezTo>
                  <a:cubicBezTo>
                    <a:pt x="28" y="9"/>
                    <a:pt x="31" y="10"/>
                    <a:pt x="33" y="13"/>
                  </a:cubicBezTo>
                  <a:cubicBezTo>
                    <a:pt x="35" y="15"/>
                    <a:pt x="36" y="19"/>
                    <a:pt x="36" y="24"/>
                  </a:cubicBezTo>
                  <a:cubicBezTo>
                    <a:pt x="36" y="29"/>
                    <a:pt x="35" y="33"/>
                    <a:pt x="33" y="35"/>
                  </a:cubicBezTo>
                  <a:moveTo>
                    <a:pt x="24" y="0"/>
                  </a:moveTo>
                  <a:cubicBezTo>
                    <a:pt x="17" y="0"/>
                    <a:pt x="11" y="2"/>
                    <a:pt x="6" y="6"/>
                  </a:cubicBezTo>
                  <a:cubicBezTo>
                    <a:pt x="2" y="11"/>
                    <a:pt x="0" y="17"/>
                    <a:pt x="0" y="25"/>
                  </a:cubicBezTo>
                  <a:cubicBezTo>
                    <a:pt x="0" y="32"/>
                    <a:pt x="2" y="38"/>
                    <a:pt x="6" y="42"/>
                  </a:cubicBezTo>
                  <a:cubicBezTo>
                    <a:pt x="10" y="46"/>
                    <a:pt x="16" y="48"/>
                    <a:pt x="23" y="48"/>
                  </a:cubicBezTo>
                  <a:cubicBezTo>
                    <a:pt x="31" y="48"/>
                    <a:pt x="37" y="46"/>
                    <a:pt x="41" y="42"/>
                  </a:cubicBezTo>
                  <a:cubicBezTo>
                    <a:pt x="45" y="37"/>
                    <a:pt x="48" y="31"/>
                    <a:pt x="48" y="24"/>
                  </a:cubicBezTo>
                  <a:cubicBezTo>
                    <a:pt x="48" y="16"/>
                    <a:pt x="46" y="10"/>
                    <a:pt x="41" y="6"/>
                  </a:cubicBezTo>
                  <a:cubicBezTo>
                    <a:pt x="37" y="2"/>
                    <a:pt x="32" y="0"/>
                    <a:pt x="2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74" name="Freeform 83">
              <a:extLst>
                <a:ext uri="{FF2B5EF4-FFF2-40B4-BE49-F238E27FC236}">
                  <a16:creationId xmlns:a16="http://schemas.microsoft.com/office/drawing/2014/main" id="{1C6F292D-89F8-4E85-8B95-27DA8B16C9EE}"/>
                </a:ext>
              </a:extLst>
            </p:cNvPr>
            <p:cNvSpPr>
              <a:spLocks/>
            </p:cNvSpPr>
            <p:nvPr userDrawn="1"/>
          </p:nvSpPr>
          <p:spPr bwMode="auto">
            <a:xfrm>
              <a:off x="4303" y="2073"/>
              <a:ext cx="135" cy="170"/>
            </a:xfrm>
            <a:custGeom>
              <a:avLst/>
              <a:gdLst>
                <a:gd name="T0" fmla="*/ 57 w 57"/>
                <a:gd name="T1" fmla="*/ 32 h 70"/>
                <a:gd name="T2" fmla="*/ 57 w 57"/>
                <a:gd name="T3" fmla="*/ 23 h 70"/>
                <a:gd name="T4" fmla="*/ 46 w 57"/>
                <a:gd name="T5" fmla="*/ 23 h 70"/>
                <a:gd name="T6" fmla="*/ 46 w 57"/>
                <a:gd name="T7" fmla="*/ 9 h 70"/>
                <a:gd name="T8" fmla="*/ 45 w 57"/>
                <a:gd name="T9" fmla="*/ 9 h 70"/>
                <a:gd name="T10" fmla="*/ 35 w 57"/>
                <a:gd name="T11" fmla="*/ 12 h 70"/>
                <a:gd name="T12" fmla="*/ 35 w 57"/>
                <a:gd name="T13" fmla="*/ 12 h 70"/>
                <a:gd name="T14" fmla="*/ 35 w 57"/>
                <a:gd name="T15" fmla="*/ 23 h 70"/>
                <a:gd name="T16" fmla="*/ 18 w 57"/>
                <a:gd name="T17" fmla="*/ 23 h 70"/>
                <a:gd name="T18" fmla="*/ 18 w 57"/>
                <a:gd name="T19" fmla="*/ 17 h 70"/>
                <a:gd name="T20" fmla="*/ 20 w 57"/>
                <a:gd name="T21" fmla="*/ 11 h 70"/>
                <a:gd name="T22" fmla="*/ 25 w 57"/>
                <a:gd name="T23" fmla="*/ 9 h 70"/>
                <a:gd name="T24" fmla="*/ 30 w 57"/>
                <a:gd name="T25" fmla="*/ 10 h 70"/>
                <a:gd name="T26" fmla="*/ 31 w 57"/>
                <a:gd name="T27" fmla="*/ 10 h 70"/>
                <a:gd name="T28" fmla="*/ 31 w 57"/>
                <a:gd name="T29" fmla="*/ 1 h 70"/>
                <a:gd name="T30" fmla="*/ 30 w 57"/>
                <a:gd name="T31" fmla="*/ 0 h 70"/>
                <a:gd name="T32" fmla="*/ 24 w 57"/>
                <a:gd name="T33" fmla="*/ 0 h 70"/>
                <a:gd name="T34" fmla="*/ 15 w 57"/>
                <a:gd name="T35" fmla="*/ 2 h 70"/>
                <a:gd name="T36" fmla="*/ 9 w 57"/>
                <a:gd name="T37" fmla="*/ 8 h 70"/>
                <a:gd name="T38" fmla="*/ 7 w 57"/>
                <a:gd name="T39" fmla="*/ 16 h 70"/>
                <a:gd name="T40" fmla="*/ 7 w 57"/>
                <a:gd name="T41" fmla="*/ 23 h 70"/>
                <a:gd name="T42" fmla="*/ 0 w 57"/>
                <a:gd name="T43" fmla="*/ 23 h 70"/>
                <a:gd name="T44" fmla="*/ 0 w 57"/>
                <a:gd name="T45" fmla="*/ 32 h 70"/>
                <a:gd name="T46" fmla="*/ 7 w 57"/>
                <a:gd name="T47" fmla="*/ 32 h 70"/>
                <a:gd name="T48" fmla="*/ 7 w 57"/>
                <a:gd name="T49" fmla="*/ 69 h 70"/>
                <a:gd name="T50" fmla="*/ 18 w 57"/>
                <a:gd name="T51" fmla="*/ 69 h 70"/>
                <a:gd name="T52" fmla="*/ 18 w 57"/>
                <a:gd name="T53" fmla="*/ 32 h 70"/>
                <a:gd name="T54" fmla="*/ 35 w 57"/>
                <a:gd name="T55" fmla="*/ 32 h 70"/>
                <a:gd name="T56" fmla="*/ 35 w 57"/>
                <a:gd name="T57" fmla="*/ 56 h 70"/>
                <a:gd name="T58" fmla="*/ 49 w 57"/>
                <a:gd name="T59" fmla="*/ 70 h 70"/>
                <a:gd name="T60" fmla="*/ 53 w 57"/>
                <a:gd name="T61" fmla="*/ 70 h 70"/>
                <a:gd name="T62" fmla="*/ 57 w 57"/>
                <a:gd name="T63" fmla="*/ 69 h 70"/>
                <a:gd name="T64" fmla="*/ 57 w 57"/>
                <a:gd name="T65" fmla="*/ 69 h 70"/>
                <a:gd name="T66" fmla="*/ 57 w 57"/>
                <a:gd name="T67" fmla="*/ 60 h 70"/>
                <a:gd name="T68" fmla="*/ 56 w 57"/>
                <a:gd name="T69" fmla="*/ 60 h 70"/>
                <a:gd name="T70" fmla="*/ 54 w 57"/>
                <a:gd name="T71" fmla="*/ 61 h 70"/>
                <a:gd name="T72" fmla="*/ 52 w 57"/>
                <a:gd name="T73" fmla="*/ 61 h 70"/>
                <a:gd name="T74" fmla="*/ 47 w 57"/>
                <a:gd name="T75" fmla="*/ 60 h 70"/>
                <a:gd name="T76" fmla="*/ 46 w 57"/>
                <a:gd name="T77" fmla="*/ 54 h 70"/>
                <a:gd name="T78" fmla="*/ 46 w 57"/>
                <a:gd name="T79" fmla="*/ 32 h 70"/>
                <a:gd name="T80" fmla="*/ 57 w 57"/>
                <a:gd name="T81" fmla="*/ 3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7" h="70">
                  <a:moveTo>
                    <a:pt x="57" y="32"/>
                  </a:moveTo>
                  <a:cubicBezTo>
                    <a:pt x="57" y="23"/>
                    <a:pt x="57" y="23"/>
                    <a:pt x="57" y="23"/>
                  </a:cubicBezTo>
                  <a:cubicBezTo>
                    <a:pt x="46" y="23"/>
                    <a:pt x="46" y="23"/>
                    <a:pt x="46" y="23"/>
                  </a:cubicBezTo>
                  <a:cubicBezTo>
                    <a:pt x="46" y="9"/>
                    <a:pt x="46" y="9"/>
                    <a:pt x="46" y="9"/>
                  </a:cubicBezTo>
                  <a:cubicBezTo>
                    <a:pt x="45" y="9"/>
                    <a:pt x="45" y="9"/>
                    <a:pt x="45" y="9"/>
                  </a:cubicBezTo>
                  <a:cubicBezTo>
                    <a:pt x="35" y="12"/>
                    <a:pt x="35" y="12"/>
                    <a:pt x="35" y="12"/>
                  </a:cubicBezTo>
                  <a:cubicBezTo>
                    <a:pt x="35" y="12"/>
                    <a:pt x="35" y="12"/>
                    <a:pt x="35" y="12"/>
                  </a:cubicBezTo>
                  <a:cubicBezTo>
                    <a:pt x="35" y="23"/>
                    <a:pt x="35" y="23"/>
                    <a:pt x="35" y="23"/>
                  </a:cubicBezTo>
                  <a:cubicBezTo>
                    <a:pt x="18" y="23"/>
                    <a:pt x="18" y="23"/>
                    <a:pt x="18" y="23"/>
                  </a:cubicBezTo>
                  <a:cubicBezTo>
                    <a:pt x="18" y="17"/>
                    <a:pt x="18" y="17"/>
                    <a:pt x="18" y="17"/>
                  </a:cubicBezTo>
                  <a:cubicBezTo>
                    <a:pt x="18" y="14"/>
                    <a:pt x="19" y="12"/>
                    <a:pt x="20" y="11"/>
                  </a:cubicBezTo>
                  <a:cubicBezTo>
                    <a:pt x="21" y="9"/>
                    <a:pt x="23" y="9"/>
                    <a:pt x="25" y="9"/>
                  </a:cubicBezTo>
                  <a:cubicBezTo>
                    <a:pt x="27" y="9"/>
                    <a:pt x="28" y="9"/>
                    <a:pt x="30" y="10"/>
                  </a:cubicBezTo>
                  <a:cubicBezTo>
                    <a:pt x="31" y="10"/>
                    <a:pt x="31" y="10"/>
                    <a:pt x="31" y="10"/>
                  </a:cubicBezTo>
                  <a:cubicBezTo>
                    <a:pt x="31" y="1"/>
                    <a:pt x="31" y="1"/>
                    <a:pt x="31" y="1"/>
                  </a:cubicBezTo>
                  <a:cubicBezTo>
                    <a:pt x="30" y="0"/>
                    <a:pt x="30" y="0"/>
                    <a:pt x="30" y="0"/>
                  </a:cubicBezTo>
                  <a:cubicBezTo>
                    <a:pt x="29" y="0"/>
                    <a:pt x="27" y="0"/>
                    <a:pt x="24" y="0"/>
                  </a:cubicBezTo>
                  <a:cubicBezTo>
                    <a:pt x="21" y="0"/>
                    <a:pt x="18" y="0"/>
                    <a:pt x="15" y="2"/>
                  </a:cubicBezTo>
                  <a:cubicBezTo>
                    <a:pt x="13" y="3"/>
                    <a:pt x="11" y="5"/>
                    <a:pt x="9" y="8"/>
                  </a:cubicBezTo>
                  <a:cubicBezTo>
                    <a:pt x="8" y="10"/>
                    <a:pt x="7" y="13"/>
                    <a:pt x="7" y="16"/>
                  </a:cubicBezTo>
                  <a:cubicBezTo>
                    <a:pt x="7" y="23"/>
                    <a:pt x="7" y="23"/>
                    <a:pt x="7" y="23"/>
                  </a:cubicBezTo>
                  <a:cubicBezTo>
                    <a:pt x="0" y="23"/>
                    <a:pt x="0" y="23"/>
                    <a:pt x="0" y="23"/>
                  </a:cubicBezTo>
                  <a:cubicBezTo>
                    <a:pt x="0" y="32"/>
                    <a:pt x="0" y="32"/>
                    <a:pt x="0" y="32"/>
                  </a:cubicBezTo>
                  <a:cubicBezTo>
                    <a:pt x="7" y="32"/>
                    <a:pt x="7" y="32"/>
                    <a:pt x="7" y="32"/>
                  </a:cubicBezTo>
                  <a:cubicBezTo>
                    <a:pt x="7" y="69"/>
                    <a:pt x="7" y="69"/>
                    <a:pt x="7" y="69"/>
                  </a:cubicBezTo>
                  <a:cubicBezTo>
                    <a:pt x="18" y="69"/>
                    <a:pt x="18" y="69"/>
                    <a:pt x="18" y="69"/>
                  </a:cubicBezTo>
                  <a:cubicBezTo>
                    <a:pt x="18" y="32"/>
                    <a:pt x="18" y="32"/>
                    <a:pt x="18" y="32"/>
                  </a:cubicBezTo>
                  <a:cubicBezTo>
                    <a:pt x="35" y="32"/>
                    <a:pt x="35" y="32"/>
                    <a:pt x="35" y="32"/>
                  </a:cubicBezTo>
                  <a:cubicBezTo>
                    <a:pt x="35" y="56"/>
                    <a:pt x="35" y="56"/>
                    <a:pt x="35" y="56"/>
                  </a:cubicBezTo>
                  <a:cubicBezTo>
                    <a:pt x="35" y="65"/>
                    <a:pt x="39" y="70"/>
                    <a:pt x="49" y="70"/>
                  </a:cubicBezTo>
                  <a:cubicBezTo>
                    <a:pt x="50" y="70"/>
                    <a:pt x="52" y="70"/>
                    <a:pt x="53" y="70"/>
                  </a:cubicBezTo>
                  <a:cubicBezTo>
                    <a:pt x="55" y="70"/>
                    <a:pt x="56" y="69"/>
                    <a:pt x="57" y="69"/>
                  </a:cubicBezTo>
                  <a:cubicBezTo>
                    <a:pt x="57" y="69"/>
                    <a:pt x="57" y="69"/>
                    <a:pt x="57" y="69"/>
                  </a:cubicBezTo>
                  <a:cubicBezTo>
                    <a:pt x="57" y="60"/>
                    <a:pt x="57" y="60"/>
                    <a:pt x="57" y="60"/>
                  </a:cubicBezTo>
                  <a:cubicBezTo>
                    <a:pt x="56" y="60"/>
                    <a:pt x="56" y="60"/>
                    <a:pt x="56" y="60"/>
                  </a:cubicBezTo>
                  <a:cubicBezTo>
                    <a:pt x="56" y="60"/>
                    <a:pt x="55" y="61"/>
                    <a:pt x="54" y="61"/>
                  </a:cubicBezTo>
                  <a:cubicBezTo>
                    <a:pt x="53" y="61"/>
                    <a:pt x="53" y="61"/>
                    <a:pt x="52" y="61"/>
                  </a:cubicBezTo>
                  <a:cubicBezTo>
                    <a:pt x="50" y="61"/>
                    <a:pt x="48" y="61"/>
                    <a:pt x="47" y="60"/>
                  </a:cubicBezTo>
                  <a:cubicBezTo>
                    <a:pt x="46" y="59"/>
                    <a:pt x="46" y="56"/>
                    <a:pt x="46" y="54"/>
                  </a:cubicBezTo>
                  <a:cubicBezTo>
                    <a:pt x="46" y="32"/>
                    <a:pt x="46" y="32"/>
                    <a:pt x="46" y="32"/>
                  </a:cubicBezTo>
                  <a:lnTo>
                    <a:pt x="57"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75" name="Rectangle 84">
              <a:extLst>
                <a:ext uri="{FF2B5EF4-FFF2-40B4-BE49-F238E27FC236}">
                  <a16:creationId xmlns:a16="http://schemas.microsoft.com/office/drawing/2014/main" id="{9DDA74F0-D370-4680-BE4F-25996A3D8705}"/>
                </a:ext>
              </a:extLst>
            </p:cNvPr>
            <p:cNvSpPr>
              <a:spLocks noChangeArrowheads="1"/>
            </p:cNvSpPr>
            <p:nvPr userDrawn="1"/>
          </p:nvSpPr>
          <p:spPr bwMode="auto">
            <a:xfrm>
              <a:off x="3238" y="2031"/>
              <a:ext cx="120" cy="1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76" name="Rectangle 85">
              <a:extLst>
                <a:ext uri="{FF2B5EF4-FFF2-40B4-BE49-F238E27FC236}">
                  <a16:creationId xmlns:a16="http://schemas.microsoft.com/office/drawing/2014/main" id="{FB477778-EAA6-43EB-8488-2A296386FADC}"/>
                </a:ext>
              </a:extLst>
            </p:cNvPr>
            <p:cNvSpPr>
              <a:spLocks noChangeArrowheads="1"/>
            </p:cNvSpPr>
            <p:nvPr userDrawn="1"/>
          </p:nvSpPr>
          <p:spPr bwMode="auto">
            <a:xfrm>
              <a:off x="3373" y="2031"/>
              <a:ext cx="120" cy="1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77" name="Rectangle 86">
              <a:extLst>
                <a:ext uri="{FF2B5EF4-FFF2-40B4-BE49-F238E27FC236}">
                  <a16:creationId xmlns:a16="http://schemas.microsoft.com/office/drawing/2014/main" id="{A2B81FDB-6E70-4F02-A473-28E291E1959A}"/>
                </a:ext>
              </a:extLst>
            </p:cNvPr>
            <p:cNvSpPr>
              <a:spLocks noChangeArrowheads="1"/>
            </p:cNvSpPr>
            <p:nvPr userDrawn="1"/>
          </p:nvSpPr>
          <p:spPr bwMode="auto">
            <a:xfrm>
              <a:off x="3238" y="2170"/>
              <a:ext cx="120" cy="1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78" name="Rectangle 87">
              <a:extLst>
                <a:ext uri="{FF2B5EF4-FFF2-40B4-BE49-F238E27FC236}">
                  <a16:creationId xmlns:a16="http://schemas.microsoft.com/office/drawing/2014/main" id="{375466FE-2F69-416E-AA43-7DA00A151AA7}"/>
                </a:ext>
              </a:extLst>
            </p:cNvPr>
            <p:cNvSpPr>
              <a:spLocks noChangeArrowheads="1"/>
            </p:cNvSpPr>
            <p:nvPr userDrawn="1"/>
          </p:nvSpPr>
          <p:spPr bwMode="auto">
            <a:xfrm>
              <a:off x="3373" y="2170"/>
              <a:ext cx="120" cy="1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grpSp>
      <p:grpSp>
        <p:nvGrpSpPr>
          <p:cNvPr id="80" name="Group 91">
            <a:extLst>
              <a:ext uri="{FF2B5EF4-FFF2-40B4-BE49-F238E27FC236}">
                <a16:creationId xmlns:a16="http://schemas.microsoft.com/office/drawing/2014/main" id="{74923466-BCD0-4FC8-AD3E-EFB5C30362C3}"/>
              </a:ext>
            </a:extLst>
          </p:cNvPr>
          <p:cNvGrpSpPr>
            <a:grpSpLocks noChangeAspect="1"/>
          </p:cNvGrpSpPr>
          <p:nvPr userDrawn="1"/>
        </p:nvGrpSpPr>
        <p:grpSpPr bwMode="auto">
          <a:xfrm>
            <a:off x="10723449" y="5710518"/>
            <a:ext cx="1145383" cy="603196"/>
            <a:chOff x="3550" y="2005"/>
            <a:chExt cx="585" cy="308"/>
          </a:xfrm>
        </p:grpSpPr>
        <p:sp>
          <p:nvSpPr>
            <p:cNvPr id="82" name="Freeform 92">
              <a:extLst>
                <a:ext uri="{FF2B5EF4-FFF2-40B4-BE49-F238E27FC236}">
                  <a16:creationId xmlns:a16="http://schemas.microsoft.com/office/drawing/2014/main" id="{329604AF-44AC-454D-BCA9-D57D3B330E4A}"/>
                </a:ext>
              </a:extLst>
            </p:cNvPr>
            <p:cNvSpPr>
              <a:spLocks/>
            </p:cNvSpPr>
            <p:nvPr userDrawn="1"/>
          </p:nvSpPr>
          <p:spPr bwMode="auto">
            <a:xfrm>
              <a:off x="3552" y="2178"/>
              <a:ext cx="561" cy="135"/>
            </a:xfrm>
            <a:custGeom>
              <a:avLst/>
              <a:gdLst>
                <a:gd name="T0" fmla="*/ 0 w 235"/>
                <a:gd name="T1" fmla="*/ 56 h 56"/>
                <a:gd name="T2" fmla="*/ 235 w 235"/>
                <a:gd name="T3" fmla="*/ 56 h 56"/>
                <a:gd name="T4" fmla="*/ 0 w 235"/>
                <a:gd name="T5" fmla="*/ 56 h 56"/>
              </a:gdLst>
              <a:ahLst/>
              <a:cxnLst>
                <a:cxn ang="0">
                  <a:pos x="T0" y="T1"/>
                </a:cxn>
                <a:cxn ang="0">
                  <a:pos x="T2" y="T3"/>
                </a:cxn>
                <a:cxn ang="0">
                  <a:pos x="T4" y="T5"/>
                </a:cxn>
              </a:cxnLst>
              <a:rect l="0" t="0" r="r" b="b"/>
              <a:pathLst>
                <a:path w="235" h="56">
                  <a:moveTo>
                    <a:pt x="0" y="56"/>
                  </a:moveTo>
                  <a:cubicBezTo>
                    <a:pt x="235" y="56"/>
                    <a:pt x="235" y="56"/>
                    <a:pt x="235" y="56"/>
                  </a:cubicBezTo>
                  <a:cubicBezTo>
                    <a:pt x="235" y="56"/>
                    <a:pt x="124" y="0"/>
                    <a:pt x="0" y="5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83" name="Freeform 93">
              <a:extLst>
                <a:ext uri="{FF2B5EF4-FFF2-40B4-BE49-F238E27FC236}">
                  <a16:creationId xmlns:a16="http://schemas.microsoft.com/office/drawing/2014/main" id="{BC44AA65-1A0D-45AB-A0F9-70E80617DD9F}"/>
                </a:ext>
              </a:extLst>
            </p:cNvPr>
            <p:cNvSpPr>
              <a:spLocks noEditPoints="1"/>
            </p:cNvSpPr>
            <p:nvPr userDrawn="1"/>
          </p:nvSpPr>
          <p:spPr bwMode="auto">
            <a:xfrm>
              <a:off x="3643" y="2169"/>
              <a:ext cx="103" cy="100"/>
            </a:xfrm>
            <a:custGeom>
              <a:avLst/>
              <a:gdLst>
                <a:gd name="T0" fmla="*/ 22 w 43"/>
                <a:gd name="T1" fmla="*/ 31 h 42"/>
                <a:gd name="T2" fmla="*/ 12 w 43"/>
                <a:gd name="T3" fmla="*/ 21 h 42"/>
                <a:gd name="T4" fmla="*/ 22 w 43"/>
                <a:gd name="T5" fmla="*/ 11 h 42"/>
                <a:gd name="T6" fmla="*/ 31 w 43"/>
                <a:gd name="T7" fmla="*/ 21 h 42"/>
                <a:gd name="T8" fmla="*/ 22 w 43"/>
                <a:gd name="T9" fmla="*/ 31 h 42"/>
                <a:gd name="T10" fmla="*/ 22 w 43"/>
                <a:gd name="T11" fmla="*/ 0 h 42"/>
                <a:gd name="T12" fmla="*/ 0 w 43"/>
                <a:gd name="T13" fmla="*/ 21 h 42"/>
                <a:gd name="T14" fmla="*/ 22 w 43"/>
                <a:gd name="T15" fmla="*/ 42 h 42"/>
                <a:gd name="T16" fmla="*/ 43 w 43"/>
                <a:gd name="T17" fmla="*/ 21 h 42"/>
                <a:gd name="T18" fmla="*/ 22 w 43"/>
                <a:gd name="T1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2">
                  <a:moveTo>
                    <a:pt x="22" y="31"/>
                  </a:moveTo>
                  <a:cubicBezTo>
                    <a:pt x="16" y="31"/>
                    <a:pt x="12" y="26"/>
                    <a:pt x="12" y="21"/>
                  </a:cubicBezTo>
                  <a:cubicBezTo>
                    <a:pt x="12" y="16"/>
                    <a:pt x="16" y="11"/>
                    <a:pt x="22" y="11"/>
                  </a:cubicBezTo>
                  <a:cubicBezTo>
                    <a:pt x="27" y="11"/>
                    <a:pt x="31" y="16"/>
                    <a:pt x="31" y="21"/>
                  </a:cubicBezTo>
                  <a:cubicBezTo>
                    <a:pt x="31" y="26"/>
                    <a:pt x="27" y="31"/>
                    <a:pt x="22" y="31"/>
                  </a:cubicBezTo>
                  <a:moveTo>
                    <a:pt x="22" y="0"/>
                  </a:moveTo>
                  <a:cubicBezTo>
                    <a:pt x="10" y="0"/>
                    <a:pt x="0" y="9"/>
                    <a:pt x="0" y="21"/>
                  </a:cubicBezTo>
                  <a:cubicBezTo>
                    <a:pt x="0" y="33"/>
                    <a:pt x="10" y="42"/>
                    <a:pt x="22" y="42"/>
                  </a:cubicBezTo>
                  <a:cubicBezTo>
                    <a:pt x="33" y="42"/>
                    <a:pt x="43" y="33"/>
                    <a:pt x="43" y="21"/>
                  </a:cubicBezTo>
                  <a:cubicBezTo>
                    <a:pt x="43" y="9"/>
                    <a:pt x="33" y="0"/>
                    <a:pt x="2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84" name="Freeform 94">
              <a:extLst>
                <a:ext uri="{FF2B5EF4-FFF2-40B4-BE49-F238E27FC236}">
                  <a16:creationId xmlns:a16="http://schemas.microsoft.com/office/drawing/2014/main" id="{B32C1E65-FAFD-4AF9-8195-F1F95F53E00D}"/>
                </a:ext>
              </a:extLst>
            </p:cNvPr>
            <p:cNvSpPr>
              <a:spLocks noEditPoints="1"/>
            </p:cNvSpPr>
            <p:nvPr userDrawn="1"/>
          </p:nvSpPr>
          <p:spPr bwMode="auto">
            <a:xfrm>
              <a:off x="3934" y="2169"/>
              <a:ext cx="100" cy="100"/>
            </a:xfrm>
            <a:custGeom>
              <a:avLst/>
              <a:gdLst>
                <a:gd name="T0" fmla="*/ 21 w 42"/>
                <a:gd name="T1" fmla="*/ 31 h 42"/>
                <a:gd name="T2" fmla="*/ 11 w 42"/>
                <a:gd name="T3" fmla="*/ 21 h 42"/>
                <a:gd name="T4" fmla="*/ 21 w 42"/>
                <a:gd name="T5" fmla="*/ 11 h 42"/>
                <a:gd name="T6" fmla="*/ 30 w 42"/>
                <a:gd name="T7" fmla="*/ 21 h 42"/>
                <a:gd name="T8" fmla="*/ 21 w 42"/>
                <a:gd name="T9" fmla="*/ 31 h 42"/>
                <a:gd name="T10" fmla="*/ 21 w 42"/>
                <a:gd name="T11" fmla="*/ 0 h 42"/>
                <a:gd name="T12" fmla="*/ 0 w 42"/>
                <a:gd name="T13" fmla="*/ 21 h 42"/>
                <a:gd name="T14" fmla="*/ 21 w 42"/>
                <a:gd name="T15" fmla="*/ 42 h 42"/>
                <a:gd name="T16" fmla="*/ 42 w 42"/>
                <a:gd name="T17" fmla="*/ 21 h 42"/>
                <a:gd name="T18" fmla="*/ 21 w 42"/>
                <a:gd name="T1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2">
                  <a:moveTo>
                    <a:pt x="21" y="31"/>
                  </a:moveTo>
                  <a:cubicBezTo>
                    <a:pt x="15" y="31"/>
                    <a:pt x="11" y="26"/>
                    <a:pt x="11" y="21"/>
                  </a:cubicBezTo>
                  <a:cubicBezTo>
                    <a:pt x="11" y="16"/>
                    <a:pt x="15" y="11"/>
                    <a:pt x="21" y="11"/>
                  </a:cubicBezTo>
                  <a:cubicBezTo>
                    <a:pt x="26" y="11"/>
                    <a:pt x="30" y="16"/>
                    <a:pt x="30" y="21"/>
                  </a:cubicBezTo>
                  <a:cubicBezTo>
                    <a:pt x="30" y="26"/>
                    <a:pt x="26" y="31"/>
                    <a:pt x="21" y="31"/>
                  </a:cubicBezTo>
                  <a:moveTo>
                    <a:pt x="21" y="0"/>
                  </a:moveTo>
                  <a:cubicBezTo>
                    <a:pt x="9" y="0"/>
                    <a:pt x="0" y="9"/>
                    <a:pt x="0" y="21"/>
                  </a:cubicBezTo>
                  <a:cubicBezTo>
                    <a:pt x="0" y="33"/>
                    <a:pt x="9" y="42"/>
                    <a:pt x="21" y="42"/>
                  </a:cubicBezTo>
                  <a:cubicBezTo>
                    <a:pt x="32" y="42"/>
                    <a:pt x="42" y="33"/>
                    <a:pt x="42" y="21"/>
                  </a:cubicBezTo>
                  <a:cubicBezTo>
                    <a:pt x="42" y="9"/>
                    <a:pt x="32" y="0"/>
                    <a:pt x="2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85" name="Freeform 95">
              <a:extLst>
                <a:ext uri="{FF2B5EF4-FFF2-40B4-BE49-F238E27FC236}">
                  <a16:creationId xmlns:a16="http://schemas.microsoft.com/office/drawing/2014/main" id="{75EFE5C6-2DD4-431D-AB1D-A45B079D4F00}"/>
                </a:ext>
              </a:extLst>
            </p:cNvPr>
            <p:cNvSpPr>
              <a:spLocks noEditPoints="1"/>
            </p:cNvSpPr>
            <p:nvPr userDrawn="1"/>
          </p:nvSpPr>
          <p:spPr bwMode="auto">
            <a:xfrm>
              <a:off x="3550" y="2005"/>
              <a:ext cx="585" cy="214"/>
            </a:xfrm>
            <a:custGeom>
              <a:avLst/>
              <a:gdLst>
                <a:gd name="T0" fmla="*/ 141 w 245"/>
                <a:gd name="T1" fmla="*/ 42 h 89"/>
                <a:gd name="T2" fmla="*/ 86 w 245"/>
                <a:gd name="T3" fmla="*/ 9 h 89"/>
                <a:gd name="T4" fmla="*/ 99 w 245"/>
                <a:gd name="T5" fmla="*/ 8 h 89"/>
                <a:gd name="T6" fmla="*/ 138 w 245"/>
                <a:gd name="T7" fmla="*/ 23 h 89"/>
                <a:gd name="T8" fmla="*/ 145 w 245"/>
                <a:gd name="T9" fmla="*/ 29 h 89"/>
                <a:gd name="T10" fmla="*/ 165 w 245"/>
                <a:gd name="T11" fmla="*/ 42 h 89"/>
                <a:gd name="T12" fmla="*/ 141 w 245"/>
                <a:gd name="T13" fmla="*/ 42 h 89"/>
                <a:gd name="T14" fmla="*/ 243 w 245"/>
                <a:gd name="T15" fmla="*/ 80 h 89"/>
                <a:gd name="T16" fmla="*/ 243 w 245"/>
                <a:gd name="T17" fmla="*/ 80 h 89"/>
                <a:gd name="T18" fmla="*/ 219 w 245"/>
                <a:gd name="T19" fmla="*/ 51 h 89"/>
                <a:gd name="T20" fmla="*/ 181 w 245"/>
                <a:gd name="T21" fmla="*/ 39 h 89"/>
                <a:gd name="T22" fmla="*/ 151 w 245"/>
                <a:gd name="T23" fmla="*/ 22 h 89"/>
                <a:gd name="T24" fmla="*/ 144 w 245"/>
                <a:gd name="T25" fmla="*/ 16 h 89"/>
                <a:gd name="T26" fmla="*/ 101 w 245"/>
                <a:gd name="T27" fmla="*/ 0 h 89"/>
                <a:gd name="T28" fmla="*/ 63 w 245"/>
                <a:gd name="T29" fmla="*/ 2 h 89"/>
                <a:gd name="T30" fmla="*/ 42 w 245"/>
                <a:gd name="T31" fmla="*/ 14 h 89"/>
                <a:gd name="T32" fmla="*/ 28 w 245"/>
                <a:gd name="T33" fmla="*/ 36 h 89"/>
                <a:gd name="T34" fmla="*/ 11 w 245"/>
                <a:gd name="T35" fmla="*/ 48 h 89"/>
                <a:gd name="T36" fmla="*/ 2 w 245"/>
                <a:gd name="T37" fmla="*/ 68 h 89"/>
                <a:gd name="T38" fmla="*/ 5 w 245"/>
                <a:gd name="T39" fmla="*/ 84 h 89"/>
                <a:gd name="T40" fmla="*/ 11 w 245"/>
                <a:gd name="T41" fmla="*/ 89 h 89"/>
                <a:gd name="T42" fmla="*/ 30 w 245"/>
                <a:gd name="T43" fmla="*/ 89 h 89"/>
                <a:gd name="T44" fmla="*/ 61 w 245"/>
                <a:gd name="T45" fmla="*/ 59 h 89"/>
                <a:gd name="T46" fmla="*/ 91 w 245"/>
                <a:gd name="T47" fmla="*/ 89 h 89"/>
                <a:gd name="T48" fmla="*/ 151 w 245"/>
                <a:gd name="T49" fmla="*/ 89 h 89"/>
                <a:gd name="T50" fmla="*/ 182 w 245"/>
                <a:gd name="T51" fmla="*/ 59 h 89"/>
                <a:gd name="T52" fmla="*/ 212 w 245"/>
                <a:gd name="T53" fmla="*/ 89 h 89"/>
                <a:gd name="T54" fmla="*/ 237 w 245"/>
                <a:gd name="T55" fmla="*/ 89 h 89"/>
                <a:gd name="T56" fmla="*/ 243 w 245"/>
                <a:gd name="T57" fmla="*/ 8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5" h="89">
                  <a:moveTo>
                    <a:pt x="141" y="42"/>
                  </a:moveTo>
                  <a:cubicBezTo>
                    <a:pt x="106" y="42"/>
                    <a:pt x="108" y="18"/>
                    <a:pt x="86" y="9"/>
                  </a:cubicBezTo>
                  <a:cubicBezTo>
                    <a:pt x="99" y="8"/>
                    <a:pt x="99" y="8"/>
                    <a:pt x="99" y="8"/>
                  </a:cubicBezTo>
                  <a:cubicBezTo>
                    <a:pt x="113" y="8"/>
                    <a:pt x="127" y="14"/>
                    <a:pt x="138" y="23"/>
                  </a:cubicBezTo>
                  <a:cubicBezTo>
                    <a:pt x="145" y="29"/>
                    <a:pt x="145" y="29"/>
                    <a:pt x="145" y="29"/>
                  </a:cubicBezTo>
                  <a:cubicBezTo>
                    <a:pt x="151" y="34"/>
                    <a:pt x="158" y="39"/>
                    <a:pt x="165" y="42"/>
                  </a:cubicBezTo>
                  <a:lnTo>
                    <a:pt x="141" y="42"/>
                  </a:lnTo>
                  <a:close/>
                  <a:moveTo>
                    <a:pt x="243" y="80"/>
                  </a:moveTo>
                  <a:cubicBezTo>
                    <a:pt x="243" y="80"/>
                    <a:pt x="243" y="80"/>
                    <a:pt x="243" y="80"/>
                  </a:cubicBezTo>
                  <a:cubicBezTo>
                    <a:pt x="238" y="66"/>
                    <a:pt x="233" y="55"/>
                    <a:pt x="219" y="51"/>
                  </a:cubicBezTo>
                  <a:cubicBezTo>
                    <a:pt x="181" y="39"/>
                    <a:pt x="181" y="39"/>
                    <a:pt x="181" y="39"/>
                  </a:cubicBezTo>
                  <a:cubicBezTo>
                    <a:pt x="170" y="36"/>
                    <a:pt x="160" y="30"/>
                    <a:pt x="151" y="22"/>
                  </a:cubicBezTo>
                  <a:cubicBezTo>
                    <a:pt x="144" y="16"/>
                    <a:pt x="144" y="16"/>
                    <a:pt x="144" y="16"/>
                  </a:cubicBezTo>
                  <a:cubicBezTo>
                    <a:pt x="132" y="6"/>
                    <a:pt x="117" y="0"/>
                    <a:pt x="101" y="0"/>
                  </a:cubicBezTo>
                  <a:cubicBezTo>
                    <a:pt x="63" y="2"/>
                    <a:pt x="63" y="2"/>
                    <a:pt x="63" y="2"/>
                  </a:cubicBezTo>
                  <a:cubicBezTo>
                    <a:pt x="55" y="2"/>
                    <a:pt x="47" y="7"/>
                    <a:pt x="42" y="14"/>
                  </a:cubicBezTo>
                  <a:cubicBezTo>
                    <a:pt x="36" y="25"/>
                    <a:pt x="28" y="36"/>
                    <a:pt x="28" y="36"/>
                  </a:cubicBezTo>
                  <a:cubicBezTo>
                    <a:pt x="11" y="48"/>
                    <a:pt x="11" y="48"/>
                    <a:pt x="11" y="48"/>
                  </a:cubicBezTo>
                  <a:cubicBezTo>
                    <a:pt x="4" y="52"/>
                    <a:pt x="0" y="60"/>
                    <a:pt x="2" y="68"/>
                  </a:cubicBezTo>
                  <a:cubicBezTo>
                    <a:pt x="5" y="84"/>
                    <a:pt x="5" y="84"/>
                    <a:pt x="5" y="84"/>
                  </a:cubicBezTo>
                  <a:cubicBezTo>
                    <a:pt x="5" y="87"/>
                    <a:pt x="8" y="89"/>
                    <a:pt x="11" y="89"/>
                  </a:cubicBezTo>
                  <a:cubicBezTo>
                    <a:pt x="30" y="89"/>
                    <a:pt x="30" y="89"/>
                    <a:pt x="30" y="89"/>
                  </a:cubicBezTo>
                  <a:cubicBezTo>
                    <a:pt x="30" y="72"/>
                    <a:pt x="44" y="59"/>
                    <a:pt x="61" y="59"/>
                  </a:cubicBezTo>
                  <a:cubicBezTo>
                    <a:pt x="77" y="59"/>
                    <a:pt x="91" y="72"/>
                    <a:pt x="91" y="89"/>
                  </a:cubicBezTo>
                  <a:cubicBezTo>
                    <a:pt x="151" y="89"/>
                    <a:pt x="151" y="89"/>
                    <a:pt x="151" y="89"/>
                  </a:cubicBezTo>
                  <a:cubicBezTo>
                    <a:pt x="151" y="72"/>
                    <a:pt x="165" y="59"/>
                    <a:pt x="182" y="59"/>
                  </a:cubicBezTo>
                  <a:cubicBezTo>
                    <a:pt x="198" y="59"/>
                    <a:pt x="212" y="72"/>
                    <a:pt x="212" y="89"/>
                  </a:cubicBezTo>
                  <a:cubicBezTo>
                    <a:pt x="237" y="89"/>
                    <a:pt x="237" y="89"/>
                    <a:pt x="237" y="89"/>
                  </a:cubicBezTo>
                  <a:cubicBezTo>
                    <a:pt x="242" y="89"/>
                    <a:pt x="245" y="84"/>
                    <a:pt x="243" y="8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grpSp>
    </p:spTree>
    <p:extLst>
      <p:ext uri="{BB962C8B-B14F-4D97-AF65-F5344CB8AC3E}">
        <p14:creationId xmlns:p14="http://schemas.microsoft.com/office/powerpoint/2010/main" val="4208659834"/>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2_Microsoft logo 4">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2EF8E560-2011-41AC-8CDF-FD804CBF621B}"/>
              </a:ext>
            </a:extLst>
          </p:cNvPr>
          <p:cNvPicPr>
            <a:picLocks noChangeAspect="1"/>
          </p:cNvPicPr>
          <p:nvPr userDrawn="1"/>
        </p:nvPicPr>
        <p:blipFill rotWithShape="1">
          <a:blip r:embed="rId4"/>
          <a:srcRect l="1" r="-46"/>
          <a:stretch/>
        </p:blipFill>
        <p:spPr>
          <a:xfrm>
            <a:off x="0" y="0"/>
            <a:ext cx="12269486" cy="6929718"/>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86020" name="think-cell Slide" r:id="rId5" imgW="377" imgH="377" progId="TCLayout.ActiveDocument.1">
                  <p:embed/>
                </p:oleObj>
              </mc:Choice>
              <mc:Fallback>
                <p:oleObj name="think-cell Slide" r:id="rId5" imgW="377" imgH="377"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sp>
        <p:nvSpPr>
          <p:cNvPr id="12" name="Rectangle 11"/>
          <p:cNvSpPr/>
          <p:nvPr userDrawn="1"/>
        </p:nvSpPr>
        <p:spPr>
          <a:xfrm>
            <a:off x="-1" y="2921000"/>
            <a:ext cx="12188826" cy="1016000"/>
          </a:xfrm>
          <a:prstGeom prst="rect">
            <a:avLst/>
          </a:prstGeom>
          <a:solidFill>
            <a:srgbClr val="F2652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62659" tIns="91416" rIns="91416" bIns="91416" numCol="1" spcCol="0" rtlCol="0" fromWordArt="0" anchor="ctr" anchorCtr="0" forceAA="0" compatLnSpc="1">
            <a:prstTxWarp prst="textNoShape">
              <a:avLst/>
            </a:prstTxWarp>
            <a:noAutofit/>
          </a:bodyPr>
          <a:lstStyle/>
          <a:p>
            <a:pPr lvl="0"/>
            <a:endParaRPr lang="en-US" sz="2399" dirty="0">
              <a:latin typeface="Segoe Pro Semibold" panose="020B0702040504020203" pitchFamily="34" charset="0"/>
            </a:endParaRPr>
          </a:p>
        </p:txBody>
      </p:sp>
      <p:sp>
        <p:nvSpPr>
          <p:cNvPr id="15" name="Text Placeholder 14"/>
          <p:cNvSpPr>
            <a:spLocks noGrp="1"/>
          </p:cNvSpPr>
          <p:nvPr>
            <p:ph type="body" sz="quarter" idx="10" hasCustomPrompt="1"/>
          </p:nvPr>
        </p:nvSpPr>
        <p:spPr>
          <a:xfrm>
            <a:off x="2399674" y="2921000"/>
            <a:ext cx="7917295" cy="1016000"/>
          </a:xfrm>
        </p:spPr>
        <p:txBody>
          <a:bodyPr anchor="ctr">
            <a:normAutofit/>
          </a:bodyPr>
          <a:lstStyle>
            <a:lvl1pPr>
              <a:defRPr sz="4799" cap="all" baseline="0">
                <a:solidFill>
                  <a:schemeClr val="bg1"/>
                </a:solidFill>
                <a:latin typeface="Segoe Pro Semibold" panose="020B0702040504020203" pitchFamily="34" charset="0"/>
              </a:defRPr>
            </a:lvl1pPr>
            <a:lvl2pPr>
              <a:defRPr cap="all" baseline="0"/>
            </a:lvl2pPr>
            <a:lvl3pPr>
              <a:defRPr cap="all" baseline="0"/>
            </a:lvl3pPr>
            <a:lvl4pPr>
              <a:defRPr cap="all" baseline="0"/>
            </a:lvl4pPr>
            <a:lvl5pPr>
              <a:defRPr cap="all" baseline="0"/>
            </a:lvl5pPr>
          </a:lstStyle>
          <a:p>
            <a:pPr lvl="0"/>
            <a:r>
              <a:rPr lang="en-US" dirty="0"/>
              <a:t>Text</a:t>
            </a:r>
          </a:p>
        </p:txBody>
      </p:sp>
      <p:grpSp>
        <p:nvGrpSpPr>
          <p:cNvPr id="30" name="Group 74">
            <a:extLst>
              <a:ext uri="{FF2B5EF4-FFF2-40B4-BE49-F238E27FC236}">
                <a16:creationId xmlns:a16="http://schemas.microsoft.com/office/drawing/2014/main" id="{78B33117-CB85-4422-94DF-A3AE6CA4CB0B}"/>
              </a:ext>
            </a:extLst>
          </p:cNvPr>
          <p:cNvGrpSpPr>
            <a:grpSpLocks noChangeAspect="1"/>
          </p:cNvGrpSpPr>
          <p:nvPr userDrawn="1"/>
        </p:nvGrpSpPr>
        <p:grpSpPr bwMode="auto">
          <a:xfrm>
            <a:off x="304721" y="6248403"/>
            <a:ext cx="1406953" cy="307265"/>
            <a:chOff x="3238" y="2031"/>
            <a:chExt cx="1200" cy="262"/>
          </a:xfrm>
        </p:grpSpPr>
        <p:sp>
          <p:nvSpPr>
            <p:cNvPr id="31" name="Freeform 75">
              <a:extLst>
                <a:ext uri="{FF2B5EF4-FFF2-40B4-BE49-F238E27FC236}">
                  <a16:creationId xmlns:a16="http://schemas.microsoft.com/office/drawing/2014/main" id="{E4D0FA7C-C0D7-4672-A8BA-300AC9A48131}"/>
                </a:ext>
              </a:extLst>
            </p:cNvPr>
            <p:cNvSpPr>
              <a:spLocks/>
            </p:cNvSpPr>
            <p:nvPr userDrawn="1"/>
          </p:nvSpPr>
          <p:spPr bwMode="auto">
            <a:xfrm>
              <a:off x="3569" y="2082"/>
              <a:ext cx="168" cy="158"/>
            </a:xfrm>
            <a:custGeom>
              <a:avLst/>
              <a:gdLst>
                <a:gd name="T0" fmla="*/ 39 w 71"/>
                <a:gd name="T1" fmla="*/ 41 h 65"/>
                <a:gd name="T2" fmla="*/ 36 w 71"/>
                <a:gd name="T3" fmla="*/ 50 h 65"/>
                <a:gd name="T4" fmla="*/ 36 w 71"/>
                <a:gd name="T5" fmla="*/ 50 h 65"/>
                <a:gd name="T6" fmla="*/ 33 w 71"/>
                <a:gd name="T7" fmla="*/ 41 h 65"/>
                <a:gd name="T8" fmla="*/ 16 w 71"/>
                <a:gd name="T9" fmla="*/ 0 h 65"/>
                <a:gd name="T10" fmla="*/ 0 w 71"/>
                <a:gd name="T11" fmla="*/ 0 h 65"/>
                <a:gd name="T12" fmla="*/ 0 w 71"/>
                <a:gd name="T13" fmla="*/ 65 h 65"/>
                <a:gd name="T14" fmla="*/ 11 w 71"/>
                <a:gd name="T15" fmla="*/ 65 h 65"/>
                <a:gd name="T16" fmla="*/ 11 w 71"/>
                <a:gd name="T17" fmla="*/ 25 h 65"/>
                <a:gd name="T18" fmla="*/ 11 w 71"/>
                <a:gd name="T19" fmla="*/ 17 h 65"/>
                <a:gd name="T20" fmla="*/ 11 w 71"/>
                <a:gd name="T21" fmla="*/ 12 h 65"/>
                <a:gd name="T22" fmla="*/ 11 w 71"/>
                <a:gd name="T23" fmla="*/ 12 h 65"/>
                <a:gd name="T24" fmla="*/ 12 w 71"/>
                <a:gd name="T25" fmla="*/ 18 h 65"/>
                <a:gd name="T26" fmla="*/ 32 w 71"/>
                <a:gd name="T27" fmla="*/ 65 h 65"/>
                <a:gd name="T28" fmla="*/ 39 w 71"/>
                <a:gd name="T29" fmla="*/ 65 h 65"/>
                <a:gd name="T30" fmla="*/ 58 w 71"/>
                <a:gd name="T31" fmla="*/ 18 h 65"/>
                <a:gd name="T32" fmla="*/ 60 w 71"/>
                <a:gd name="T33" fmla="*/ 12 h 65"/>
                <a:gd name="T34" fmla="*/ 60 w 71"/>
                <a:gd name="T35" fmla="*/ 12 h 65"/>
                <a:gd name="T36" fmla="*/ 60 w 71"/>
                <a:gd name="T37" fmla="*/ 24 h 65"/>
                <a:gd name="T38" fmla="*/ 60 w 71"/>
                <a:gd name="T39" fmla="*/ 65 h 65"/>
                <a:gd name="T40" fmla="*/ 71 w 71"/>
                <a:gd name="T41" fmla="*/ 65 h 65"/>
                <a:gd name="T42" fmla="*/ 71 w 71"/>
                <a:gd name="T43" fmla="*/ 0 h 65"/>
                <a:gd name="T44" fmla="*/ 55 w 71"/>
                <a:gd name="T45" fmla="*/ 0 h 65"/>
                <a:gd name="T46" fmla="*/ 39 w 71"/>
                <a:gd name="T47" fmla="*/ 41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1" h="65">
                  <a:moveTo>
                    <a:pt x="39" y="41"/>
                  </a:moveTo>
                  <a:cubicBezTo>
                    <a:pt x="36" y="50"/>
                    <a:pt x="36" y="50"/>
                    <a:pt x="36" y="50"/>
                  </a:cubicBezTo>
                  <a:cubicBezTo>
                    <a:pt x="36" y="50"/>
                    <a:pt x="36" y="50"/>
                    <a:pt x="36" y="50"/>
                  </a:cubicBezTo>
                  <a:cubicBezTo>
                    <a:pt x="35" y="48"/>
                    <a:pt x="34" y="45"/>
                    <a:pt x="33" y="41"/>
                  </a:cubicBezTo>
                  <a:cubicBezTo>
                    <a:pt x="16" y="0"/>
                    <a:pt x="16" y="0"/>
                    <a:pt x="16" y="0"/>
                  </a:cubicBezTo>
                  <a:cubicBezTo>
                    <a:pt x="0" y="0"/>
                    <a:pt x="0" y="0"/>
                    <a:pt x="0" y="0"/>
                  </a:cubicBezTo>
                  <a:cubicBezTo>
                    <a:pt x="0" y="65"/>
                    <a:pt x="0" y="65"/>
                    <a:pt x="0" y="65"/>
                  </a:cubicBezTo>
                  <a:cubicBezTo>
                    <a:pt x="11" y="65"/>
                    <a:pt x="11" y="65"/>
                    <a:pt x="11" y="65"/>
                  </a:cubicBezTo>
                  <a:cubicBezTo>
                    <a:pt x="11" y="25"/>
                    <a:pt x="11" y="25"/>
                    <a:pt x="11" y="25"/>
                  </a:cubicBezTo>
                  <a:cubicBezTo>
                    <a:pt x="11" y="23"/>
                    <a:pt x="11" y="20"/>
                    <a:pt x="11" y="17"/>
                  </a:cubicBezTo>
                  <a:cubicBezTo>
                    <a:pt x="11" y="15"/>
                    <a:pt x="11" y="13"/>
                    <a:pt x="11" y="12"/>
                  </a:cubicBezTo>
                  <a:cubicBezTo>
                    <a:pt x="11" y="12"/>
                    <a:pt x="11" y="12"/>
                    <a:pt x="11" y="12"/>
                  </a:cubicBezTo>
                  <a:cubicBezTo>
                    <a:pt x="11" y="15"/>
                    <a:pt x="12" y="17"/>
                    <a:pt x="12" y="18"/>
                  </a:cubicBezTo>
                  <a:cubicBezTo>
                    <a:pt x="32" y="65"/>
                    <a:pt x="32" y="65"/>
                    <a:pt x="32" y="65"/>
                  </a:cubicBezTo>
                  <a:cubicBezTo>
                    <a:pt x="39" y="65"/>
                    <a:pt x="39" y="65"/>
                    <a:pt x="39" y="65"/>
                  </a:cubicBezTo>
                  <a:cubicBezTo>
                    <a:pt x="58" y="18"/>
                    <a:pt x="58" y="18"/>
                    <a:pt x="58" y="18"/>
                  </a:cubicBezTo>
                  <a:cubicBezTo>
                    <a:pt x="59" y="16"/>
                    <a:pt x="59" y="14"/>
                    <a:pt x="60" y="12"/>
                  </a:cubicBezTo>
                  <a:cubicBezTo>
                    <a:pt x="60" y="12"/>
                    <a:pt x="60" y="12"/>
                    <a:pt x="60" y="12"/>
                  </a:cubicBezTo>
                  <a:cubicBezTo>
                    <a:pt x="60" y="17"/>
                    <a:pt x="60" y="21"/>
                    <a:pt x="60" y="24"/>
                  </a:cubicBezTo>
                  <a:cubicBezTo>
                    <a:pt x="60" y="65"/>
                    <a:pt x="60" y="65"/>
                    <a:pt x="60" y="65"/>
                  </a:cubicBezTo>
                  <a:cubicBezTo>
                    <a:pt x="71" y="65"/>
                    <a:pt x="71" y="65"/>
                    <a:pt x="71" y="65"/>
                  </a:cubicBezTo>
                  <a:cubicBezTo>
                    <a:pt x="71" y="0"/>
                    <a:pt x="71" y="0"/>
                    <a:pt x="71" y="0"/>
                  </a:cubicBezTo>
                  <a:cubicBezTo>
                    <a:pt x="55" y="0"/>
                    <a:pt x="55" y="0"/>
                    <a:pt x="55" y="0"/>
                  </a:cubicBezTo>
                  <a:lnTo>
                    <a:pt x="39"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32" name="Rectangle 76">
              <a:extLst>
                <a:ext uri="{FF2B5EF4-FFF2-40B4-BE49-F238E27FC236}">
                  <a16:creationId xmlns:a16="http://schemas.microsoft.com/office/drawing/2014/main" id="{55558209-1D2D-4A42-A5F7-00269B6D32B0}"/>
                </a:ext>
              </a:extLst>
            </p:cNvPr>
            <p:cNvSpPr>
              <a:spLocks noChangeArrowheads="1"/>
            </p:cNvSpPr>
            <p:nvPr userDrawn="1"/>
          </p:nvSpPr>
          <p:spPr bwMode="auto">
            <a:xfrm>
              <a:off x="3761" y="2128"/>
              <a:ext cx="26" cy="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33" name="Freeform 77">
              <a:extLst>
                <a:ext uri="{FF2B5EF4-FFF2-40B4-BE49-F238E27FC236}">
                  <a16:creationId xmlns:a16="http://schemas.microsoft.com/office/drawing/2014/main" id="{3B4BD8F5-9719-4A21-9CC0-AD5774C2E83D}"/>
                </a:ext>
              </a:extLst>
            </p:cNvPr>
            <p:cNvSpPr>
              <a:spLocks/>
            </p:cNvSpPr>
            <p:nvPr userDrawn="1"/>
          </p:nvSpPr>
          <p:spPr bwMode="auto">
            <a:xfrm>
              <a:off x="3758" y="2080"/>
              <a:ext cx="31" cy="32"/>
            </a:xfrm>
            <a:custGeom>
              <a:avLst/>
              <a:gdLst>
                <a:gd name="T0" fmla="*/ 7 w 13"/>
                <a:gd name="T1" fmla="*/ 0 h 13"/>
                <a:gd name="T2" fmla="*/ 2 w 13"/>
                <a:gd name="T3" fmla="*/ 2 h 13"/>
                <a:gd name="T4" fmla="*/ 0 w 13"/>
                <a:gd name="T5" fmla="*/ 6 h 13"/>
                <a:gd name="T6" fmla="*/ 2 w 13"/>
                <a:gd name="T7" fmla="*/ 11 h 13"/>
                <a:gd name="T8" fmla="*/ 7 w 13"/>
                <a:gd name="T9" fmla="*/ 13 h 13"/>
                <a:gd name="T10" fmla="*/ 12 w 13"/>
                <a:gd name="T11" fmla="*/ 11 h 13"/>
                <a:gd name="T12" fmla="*/ 13 w 13"/>
                <a:gd name="T13" fmla="*/ 6 h 13"/>
                <a:gd name="T14" fmla="*/ 12 w 13"/>
                <a:gd name="T15" fmla="*/ 2 h 13"/>
                <a:gd name="T16" fmla="*/ 7 w 13"/>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3">
                  <a:moveTo>
                    <a:pt x="7" y="0"/>
                  </a:moveTo>
                  <a:cubicBezTo>
                    <a:pt x="5" y="0"/>
                    <a:pt x="3" y="1"/>
                    <a:pt x="2" y="2"/>
                  </a:cubicBezTo>
                  <a:cubicBezTo>
                    <a:pt x="1" y="3"/>
                    <a:pt x="0" y="5"/>
                    <a:pt x="0" y="6"/>
                  </a:cubicBezTo>
                  <a:cubicBezTo>
                    <a:pt x="0" y="8"/>
                    <a:pt x="1" y="10"/>
                    <a:pt x="2" y="11"/>
                  </a:cubicBezTo>
                  <a:cubicBezTo>
                    <a:pt x="3" y="12"/>
                    <a:pt x="5" y="13"/>
                    <a:pt x="7" y="13"/>
                  </a:cubicBezTo>
                  <a:cubicBezTo>
                    <a:pt x="9" y="13"/>
                    <a:pt x="10" y="12"/>
                    <a:pt x="12" y="11"/>
                  </a:cubicBezTo>
                  <a:cubicBezTo>
                    <a:pt x="13" y="10"/>
                    <a:pt x="13" y="8"/>
                    <a:pt x="13" y="6"/>
                  </a:cubicBezTo>
                  <a:cubicBezTo>
                    <a:pt x="13" y="5"/>
                    <a:pt x="13" y="3"/>
                    <a:pt x="12" y="2"/>
                  </a:cubicBezTo>
                  <a:cubicBezTo>
                    <a:pt x="10" y="1"/>
                    <a:pt x="9" y="0"/>
                    <a:pt x="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34" name="Freeform 78">
              <a:extLst>
                <a:ext uri="{FF2B5EF4-FFF2-40B4-BE49-F238E27FC236}">
                  <a16:creationId xmlns:a16="http://schemas.microsoft.com/office/drawing/2014/main" id="{BA18E720-7304-4969-A504-C5FA23E4906B}"/>
                </a:ext>
              </a:extLst>
            </p:cNvPr>
            <p:cNvSpPr>
              <a:spLocks/>
            </p:cNvSpPr>
            <p:nvPr userDrawn="1"/>
          </p:nvSpPr>
          <p:spPr bwMode="auto">
            <a:xfrm>
              <a:off x="3806" y="2126"/>
              <a:ext cx="85" cy="117"/>
            </a:xfrm>
            <a:custGeom>
              <a:avLst/>
              <a:gdLst>
                <a:gd name="T0" fmla="*/ 31 w 36"/>
                <a:gd name="T1" fmla="*/ 0 h 48"/>
                <a:gd name="T2" fmla="*/ 25 w 36"/>
                <a:gd name="T3" fmla="*/ 0 h 48"/>
                <a:gd name="T4" fmla="*/ 11 w 36"/>
                <a:gd name="T5" fmla="*/ 3 h 48"/>
                <a:gd name="T6" fmla="*/ 3 w 36"/>
                <a:gd name="T7" fmla="*/ 12 h 48"/>
                <a:gd name="T8" fmla="*/ 0 w 36"/>
                <a:gd name="T9" fmla="*/ 25 h 48"/>
                <a:gd name="T10" fmla="*/ 3 w 36"/>
                <a:gd name="T11" fmla="*/ 37 h 48"/>
                <a:gd name="T12" fmla="*/ 11 w 36"/>
                <a:gd name="T13" fmla="*/ 46 h 48"/>
                <a:gd name="T14" fmla="*/ 23 w 36"/>
                <a:gd name="T15" fmla="*/ 48 h 48"/>
                <a:gd name="T16" fmla="*/ 36 w 36"/>
                <a:gd name="T17" fmla="*/ 45 h 48"/>
                <a:gd name="T18" fmla="*/ 36 w 36"/>
                <a:gd name="T19" fmla="*/ 45 h 48"/>
                <a:gd name="T20" fmla="*/ 36 w 36"/>
                <a:gd name="T21" fmla="*/ 35 h 48"/>
                <a:gd name="T22" fmla="*/ 36 w 36"/>
                <a:gd name="T23" fmla="*/ 36 h 48"/>
                <a:gd name="T24" fmla="*/ 30 w 36"/>
                <a:gd name="T25" fmla="*/ 38 h 48"/>
                <a:gd name="T26" fmla="*/ 25 w 36"/>
                <a:gd name="T27" fmla="*/ 39 h 48"/>
                <a:gd name="T28" fmla="*/ 15 w 36"/>
                <a:gd name="T29" fmla="*/ 35 h 48"/>
                <a:gd name="T30" fmla="*/ 11 w 36"/>
                <a:gd name="T31" fmla="*/ 24 h 48"/>
                <a:gd name="T32" fmla="*/ 15 w 36"/>
                <a:gd name="T33" fmla="*/ 13 h 48"/>
                <a:gd name="T34" fmla="*/ 25 w 36"/>
                <a:gd name="T35" fmla="*/ 9 h 48"/>
                <a:gd name="T36" fmla="*/ 36 w 36"/>
                <a:gd name="T37" fmla="*/ 12 h 48"/>
                <a:gd name="T38" fmla="*/ 36 w 36"/>
                <a:gd name="T39" fmla="*/ 13 h 48"/>
                <a:gd name="T40" fmla="*/ 36 w 36"/>
                <a:gd name="T41" fmla="*/ 2 h 48"/>
                <a:gd name="T42" fmla="*/ 36 w 36"/>
                <a:gd name="T43" fmla="*/ 2 h 48"/>
                <a:gd name="T44" fmla="*/ 31 w 36"/>
                <a:gd name="T4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48">
                  <a:moveTo>
                    <a:pt x="31" y="0"/>
                  </a:moveTo>
                  <a:cubicBezTo>
                    <a:pt x="29" y="0"/>
                    <a:pt x="27" y="0"/>
                    <a:pt x="25" y="0"/>
                  </a:cubicBezTo>
                  <a:cubicBezTo>
                    <a:pt x="20" y="0"/>
                    <a:pt x="15" y="1"/>
                    <a:pt x="11" y="3"/>
                  </a:cubicBezTo>
                  <a:cubicBezTo>
                    <a:pt x="8" y="5"/>
                    <a:pt x="5" y="8"/>
                    <a:pt x="3" y="12"/>
                  </a:cubicBezTo>
                  <a:cubicBezTo>
                    <a:pt x="1" y="16"/>
                    <a:pt x="0" y="20"/>
                    <a:pt x="0" y="25"/>
                  </a:cubicBezTo>
                  <a:cubicBezTo>
                    <a:pt x="0" y="30"/>
                    <a:pt x="1" y="34"/>
                    <a:pt x="3" y="37"/>
                  </a:cubicBezTo>
                  <a:cubicBezTo>
                    <a:pt x="5" y="41"/>
                    <a:pt x="7" y="44"/>
                    <a:pt x="11" y="46"/>
                  </a:cubicBezTo>
                  <a:cubicBezTo>
                    <a:pt x="14" y="47"/>
                    <a:pt x="18" y="48"/>
                    <a:pt x="23" y="48"/>
                  </a:cubicBezTo>
                  <a:cubicBezTo>
                    <a:pt x="28" y="48"/>
                    <a:pt x="32" y="47"/>
                    <a:pt x="36" y="45"/>
                  </a:cubicBezTo>
                  <a:cubicBezTo>
                    <a:pt x="36" y="45"/>
                    <a:pt x="36" y="45"/>
                    <a:pt x="36" y="45"/>
                  </a:cubicBezTo>
                  <a:cubicBezTo>
                    <a:pt x="36" y="35"/>
                    <a:pt x="36" y="35"/>
                    <a:pt x="36" y="35"/>
                  </a:cubicBezTo>
                  <a:cubicBezTo>
                    <a:pt x="36" y="36"/>
                    <a:pt x="36" y="36"/>
                    <a:pt x="36" y="36"/>
                  </a:cubicBezTo>
                  <a:cubicBezTo>
                    <a:pt x="34" y="37"/>
                    <a:pt x="32" y="38"/>
                    <a:pt x="30" y="38"/>
                  </a:cubicBezTo>
                  <a:cubicBezTo>
                    <a:pt x="28" y="39"/>
                    <a:pt x="27" y="39"/>
                    <a:pt x="25" y="39"/>
                  </a:cubicBezTo>
                  <a:cubicBezTo>
                    <a:pt x="21" y="39"/>
                    <a:pt x="17" y="38"/>
                    <a:pt x="15" y="35"/>
                  </a:cubicBezTo>
                  <a:cubicBezTo>
                    <a:pt x="12" y="33"/>
                    <a:pt x="11" y="29"/>
                    <a:pt x="11" y="24"/>
                  </a:cubicBezTo>
                  <a:cubicBezTo>
                    <a:pt x="11" y="20"/>
                    <a:pt x="12" y="16"/>
                    <a:pt x="15" y="13"/>
                  </a:cubicBezTo>
                  <a:cubicBezTo>
                    <a:pt x="18" y="10"/>
                    <a:pt x="21" y="9"/>
                    <a:pt x="25" y="9"/>
                  </a:cubicBezTo>
                  <a:cubicBezTo>
                    <a:pt x="29" y="9"/>
                    <a:pt x="32" y="10"/>
                    <a:pt x="36" y="12"/>
                  </a:cubicBezTo>
                  <a:cubicBezTo>
                    <a:pt x="36" y="13"/>
                    <a:pt x="36" y="13"/>
                    <a:pt x="36" y="13"/>
                  </a:cubicBezTo>
                  <a:cubicBezTo>
                    <a:pt x="36" y="2"/>
                    <a:pt x="36" y="2"/>
                    <a:pt x="36" y="2"/>
                  </a:cubicBezTo>
                  <a:cubicBezTo>
                    <a:pt x="36" y="2"/>
                    <a:pt x="36" y="2"/>
                    <a:pt x="36" y="2"/>
                  </a:cubicBezTo>
                  <a:cubicBezTo>
                    <a:pt x="35" y="1"/>
                    <a:pt x="33" y="1"/>
                    <a:pt x="3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35" name="Freeform 79">
              <a:extLst>
                <a:ext uri="{FF2B5EF4-FFF2-40B4-BE49-F238E27FC236}">
                  <a16:creationId xmlns:a16="http://schemas.microsoft.com/office/drawing/2014/main" id="{E64B1896-81F7-48D6-80C2-265FDC18EB01}"/>
                </a:ext>
              </a:extLst>
            </p:cNvPr>
            <p:cNvSpPr>
              <a:spLocks/>
            </p:cNvSpPr>
            <p:nvPr userDrawn="1"/>
          </p:nvSpPr>
          <p:spPr bwMode="auto">
            <a:xfrm>
              <a:off x="3910" y="2126"/>
              <a:ext cx="64" cy="114"/>
            </a:xfrm>
            <a:custGeom>
              <a:avLst/>
              <a:gdLst>
                <a:gd name="T0" fmla="*/ 23 w 27"/>
                <a:gd name="T1" fmla="*/ 0 h 47"/>
                <a:gd name="T2" fmla="*/ 16 w 27"/>
                <a:gd name="T3" fmla="*/ 3 h 47"/>
                <a:gd name="T4" fmla="*/ 11 w 27"/>
                <a:gd name="T5" fmla="*/ 9 h 47"/>
                <a:gd name="T6" fmla="*/ 11 w 27"/>
                <a:gd name="T7" fmla="*/ 9 h 47"/>
                <a:gd name="T8" fmla="*/ 11 w 27"/>
                <a:gd name="T9" fmla="*/ 1 h 47"/>
                <a:gd name="T10" fmla="*/ 0 w 27"/>
                <a:gd name="T11" fmla="*/ 1 h 47"/>
                <a:gd name="T12" fmla="*/ 0 w 27"/>
                <a:gd name="T13" fmla="*/ 47 h 47"/>
                <a:gd name="T14" fmla="*/ 11 w 27"/>
                <a:gd name="T15" fmla="*/ 47 h 47"/>
                <a:gd name="T16" fmla="*/ 11 w 27"/>
                <a:gd name="T17" fmla="*/ 24 h 47"/>
                <a:gd name="T18" fmla="*/ 14 w 27"/>
                <a:gd name="T19" fmla="*/ 14 h 47"/>
                <a:gd name="T20" fmla="*/ 21 w 27"/>
                <a:gd name="T21" fmla="*/ 10 h 47"/>
                <a:gd name="T22" fmla="*/ 24 w 27"/>
                <a:gd name="T23" fmla="*/ 10 h 47"/>
                <a:gd name="T24" fmla="*/ 27 w 27"/>
                <a:gd name="T25" fmla="*/ 11 h 47"/>
                <a:gd name="T26" fmla="*/ 27 w 27"/>
                <a:gd name="T27" fmla="*/ 12 h 47"/>
                <a:gd name="T28" fmla="*/ 27 w 27"/>
                <a:gd name="T29" fmla="*/ 1 h 47"/>
                <a:gd name="T30" fmla="*/ 27 w 27"/>
                <a:gd name="T31" fmla="*/ 1 h 47"/>
                <a:gd name="T32" fmla="*/ 23 w 27"/>
                <a:gd name="T3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 h="47">
                  <a:moveTo>
                    <a:pt x="23" y="0"/>
                  </a:moveTo>
                  <a:cubicBezTo>
                    <a:pt x="20" y="0"/>
                    <a:pt x="18" y="1"/>
                    <a:pt x="16" y="3"/>
                  </a:cubicBezTo>
                  <a:cubicBezTo>
                    <a:pt x="14" y="4"/>
                    <a:pt x="12" y="6"/>
                    <a:pt x="11" y="9"/>
                  </a:cubicBezTo>
                  <a:cubicBezTo>
                    <a:pt x="11" y="9"/>
                    <a:pt x="11" y="9"/>
                    <a:pt x="11" y="9"/>
                  </a:cubicBezTo>
                  <a:cubicBezTo>
                    <a:pt x="11" y="1"/>
                    <a:pt x="11" y="1"/>
                    <a:pt x="11" y="1"/>
                  </a:cubicBezTo>
                  <a:cubicBezTo>
                    <a:pt x="0" y="1"/>
                    <a:pt x="0" y="1"/>
                    <a:pt x="0" y="1"/>
                  </a:cubicBezTo>
                  <a:cubicBezTo>
                    <a:pt x="0" y="47"/>
                    <a:pt x="0" y="47"/>
                    <a:pt x="0" y="47"/>
                  </a:cubicBezTo>
                  <a:cubicBezTo>
                    <a:pt x="11" y="47"/>
                    <a:pt x="11" y="47"/>
                    <a:pt x="11" y="47"/>
                  </a:cubicBezTo>
                  <a:cubicBezTo>
                    <a:pt x="11" y="24"/>
                    <a:pt x="11" y="24"/>
                    <a:pt x="11" y="24"/>
                  </a:cubicBezTo>
                  <a:cubicBezTo>
                    <a:pt x="11" y="19"/>
                    <a:pt x="12" y="16"/>
                    <a:pt x="14" y="14"/>
                  </a:cubicBezTo>
                  <a:cubicBezTo>
                    <a:pt x="16" y="11"/>
                    <a:pt x="18" y="10"/>
                    <a:pt x="21" y="10"/>
                  </a:cubicBezTo>
                  <a:cubicBezTo>
                    <a:pt x="22" y="10"/>
                    <a:pt x="23" y="10"/>
                    <a:pt x="24" y="10"/>
                  </a:cubicBezTo>
                  <a:cubicBezTo>
                    <a:pt x="26" y="11"/>
                    <a:pt x="26" y="11"/>
                    <a:pt x="27" y="11"/>
                  </a:cubicBezTo>
                  <a:cubicBezTo>
                    <a:pt x="27" y="12"/>
                    <a:pt x="27" y="12"/>
                    <a:pt x="27" y="12"/>
                  </a:cubicBezTo>
                  <a:cubicBezTo>
                    <a:pt x="27" y="1"/>
                    <a:pt x="27" y="1"/>
                    <a:pt x="27" y="1"/>
                  </a:cubicBezTo>
                  <a:cubicBezTo>
                    <a:pt x="27" y="1"/>
                    <a:pt x="27" y="1"/>
                    <a:pt x="27" y="1"/>
                  </a:cubicBezTo>
                  <a:cubicBezTo>
                    <a:pt x="26" y="0"/>
                    <a:pt x="25" y="0"/>
                    <a:pt x="2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36" name="Freeform 80">
              <a:extLst>
                <a:ext uri="{FF2B5EF4-FFF2-40B4-BE49-F238E27FC236}">
                  <a16:creationId xmlns:a16="http://schemas.microsoft.com/office/drawing/2014/main" id="{A38BADD1-D2DC-426A-BE57-12C6B3FE0C73}"/>
                </a:ext>
              </a:extLst>
            </p:cNvPr>
            <p:cNvSpPr>
              <a:spLocks noEditPoints="1"/>
            </p:cNvSpPr>
            <p:nvPr userDrawn="1"/>
          </p:nvSpPr>
          <p:spPr bwMode="auto">
            <a:xfrm>
              <a:off x="3976" y="2126"/>
              <a:ext cx="114" cy="117"/>
            </a:xfrm>
            <a:custGeom>
              <a:avLst/>
              <a:gdLst>
                <a:gd name="T0" fmla="*/ 33 w 48"/>
                <a:gd name="T1" fmla="*/ 35 h 48"/>
                <a:gd name="T2" fmla="*/ 24 w 48"/>
                <a:gd name="T3" fmla="*/ 39 h 48"/>
                <a:gd name="T4" fmla="*/ 15 w 48"/>
                <a:gd name="T5" fmla="*/ 35 h 48"/>
                <a:gd name="T6" fmla="*/ 11 w 48"/>
                <a:gd name="T7" fmla="*/ 24 h 48"/>
                <a:gd name="T8" fmla="*/ 15 w 48"/>
                <a:gd name="T9" fmla="*/ 13 h 48"/>
                <a:gd name="T10" fmla="*/ 24 w 48"/>
                <a:gd name="T11" fmla="*/ 9 h 48"/>
                <a:gd name="T12" fmla="*/ 33 w 48"/>
                <a:gd name="T13" fmla="*/ 13 h 48"/>
                <a:gd name="T14" fmla="*/ 36 w 48"/>
                <a:gd name="T15" fmla="*/ 24 h 48"/>
                <a:gd name="T16" fmla="*/ 33 w 48"/>
                <a:gd name="T17" fmla="*/ 35 h 48"/>
                <a:gd name="T18" fmla="*/ 25 w 48"/>
                <a:gd name="T19" fmla="*/ 0 h 48"/>
                <a:gd name="T20" fmla="*/ 7 w 48"/>
                <a:gd name="T21" fmla="*/ 6 h 48"/>
                <a:gd name="T22" fmla="*/ 0 w 48"/>
                <a:gd name="T23" fmla="*/ 25 h 48"/>
                <a:gd name="T24" fmla="*/ 6 w 48"/>
                <a:gd name="T25" fmla="*/ 42 h 48"/>
                <a:gd name="T26" fmla="*/ 24 w 48"/>
                <a:gd name="T27" fmla="*/ 48 h 48"/>
                <a:gd name="T28" fmla="*/ 41 w 48"/>
                <a:gd name="T29" fmla="*/ 42 h 48"/>
                <a:gd name="T30" fmla="*/ 48 w 48"/>
                <a:gd name="T31" fmla="*/ 24 h 48"/>
                <a:gd name="T32" fmla="*/ 42 w 48"/>
                <a:gd name="T33" fmla="*/ 6 h 48"/>
                <a:gd name="T34" fmla="*/ 25 w 48"/>
                <a:gd name="T3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48">
                  <a:moveTo>
                    <a:pt x="33" y="35"/>
                  </a:moveTo>
                  <a:cubicBezTo>
                    <a:pt x="31" y="38"/>
                    <a:pt x="28" y="39"/>
                    <a:pt x="24" y="39"/>
                  </a:cubicBezTo>
                  <a:cubicBezTo>
                    <a:pt x="20" y="39"/>
                    <a:pt x="17" y="38"/>
                    <a:pt x="15" y="35"/>
                  </a:cubicBezTo>
                  <a:cubicBezTo>
                    <a:pt x="12" y="33"/>
                    <a:pt x="11" y="29"/>
                    <a:pt x="11" y="24"/>
                  </a:cubicBezTo>
                  <a:cubicBezTo>
                    <a:pt x="11" y="19"/>
                    <a:pt x="12" y="15"/>
                    <a:pt x="15" y="13"/>
                  </a:cubicBezTo>
                  <a:cubicBezTo>
                    <a:pt x="17" y="10"/>
                    <a:pt x="20" y="9"/>
                    <a:pt x="24" y="9"/>
                  </a:cubicBezTo>
                  <a:cubicBezTo>
                    <a:pt x="28" y="9"/>
                    <a:pt x="31" y="10"/>
                    <a:pt x="33" y="13"/>
                  </a:cubicBezTo>
                  <a:cubicBezTo>
                    <a:pt x="35" y="15"/>
                    <a:pt x="36" y="19"/>
                    <a:pt x="36" y="24"/>
                  </a:cubicBezTo>
                  <a:cubicBezTo>
                    <a:pt x="36" y="29"/>
                    <a:pt x="35" y="33"/>
                    <a:pt x="33" y="35"/>
                  </a:cubicBezTo>
                  <a:moveTo>
                    <a:pt x="25" y="0"/>
                  </a:moveTo>
                  <a:cubicBezTo>
                    <a:pt x="17" y="0"/>
                    <a:pt x="11" y="2"/>
                    <a:pt x="7" y="6"/>
                  </a:cubicBezTo>
                  <a:cubicBezTo>
                    <a:pt x="2" y="11"/>
                    <a:pt x="0" y="17"/>
                    <a:pt x="0" y="25"/>
                  </a:cubicBezTo>
                  <a:cubicBezTo>
                    <a:pt x="0" y="32"/>
                    <a:pt x="2" y="38"/>
                    <a:pt x="6" y="42"/>
                  </a:cubicBezTo>
                  <a:cubicBezTo>
                    <a:pt x="11" y="46"/>
                    <a:pt x="16" y="48"/>
                    <a:pt x="24" y="48"/>
                  </a:cubicBezTo>
                  <a:cubicBezTo>
                    <a:pt x="31" y="48"/>
                    <a:pt x="37" y="46"/>
                    <a:pt x="41" y="42"/>
                  </a:cubicBezTo>
                  <a:cubicBezTo>
                    <a:pt x="46" y="37"/>
                    <a:pt x="48" y="31"/>
                    <a:pt x="48" y="24"/>
                  </a:cubicBezTo>
                  <a:cubicBezTo>
                    <a:pt x="48" y="16"/>
                    <a:pt x="46" y="10"/>
                    <a:pt x="42" y="6"/>
                  </a:cubicBezTo>
                  <a:cubicBezTo>
                    <a:pt x="38" y="2"/>
                    <a:pt x="32" y="0"/>
                    <a:pt x="2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37" name="Freeform 81">
              <a:extLst>
                <a:ext uri="{FF2B5EF4-FFF2-40B4-BE49-F238E27FC236}">
                  <a16:creationId xmlns:a16="http://schemas.microsoft.com/office/drawing/2014/main" id="{F84754C7-170E-4610-9D93-4A22DA8453E2}"/>
                </a:ext>
              </a:extLst>
            </p:cNvPr>
            <p:cNvSpPr>
              <a:spLocks/>
            </p:cNvSpPr>
            <p:nvPr userDrawn="1"/>
          </p:nvSpPr>
          <p:spPr bwMode="auto">
            <a:xfrm>
              <a:off x="4102" y="2126"/>
              <a:ext cx="73" cy="117"/>
            </a:xfrm>
            <a:custGeom>
              <a:avLst/>
              <a:gdLst>
                <a:gd name="T0" fmla="*/ 19 w 31"/>
                <a:gd name="T1" fmla="*/ 20 h 48"/>
                <a:gd name="T2" fmla="*/ 13 w 31"/>
                <a:gd name="T3" fmla="*/ 17 h 48"/>
                <a:gd name="T4" fmla="*/ 11 w 31"/>
                <a:gd name="T5" fmla="*/ 13 h 48"/>
                <a:gd name="T6" fmla="*/ 13 w 31"/>
                <a:gd name="T7" fmla="*/ 10 h 48"/>
                <a:gd name="T8" fmla="*/ 18 w 31"/>
                <a:gd name="T9" fmla="*/ 8 h 48"/>
                <a:gd name="T10" fmla="*/ 23 w 31"/>
                <a:gd name="T11" fmla="*/ 9 h 48"/>
                <a:gd name="T12" fmla="*/ 28 w 31"/>
                <a:gd name="T13" fmla="*/ 12 h 48"/>
                <a:gd name="T14" fmla="*/ 29 w 31"/>
                <a:gd name="T15" fmla="*/ 12 h 48"/>
                <a:gd name="T16" fmla="*/ 29 w 31"/>
                <a:gd name="T17" fmla="*/ 2 h 48"/>
                <a:gd name="T18" fmla="*/ 28 w 31"/>
                <a:gd name="T19" fmla="*/ 2 h 48"/>
                <a:gd name="T20" fmla="*/ 23 w 31"/>
                <a:gd name="T21" fmla="*/ 0 h 48"/>
                <a:gd name="T22" fmla="*/ 18 w 31"/>
                <a:gd name="T23" fmla="*/ 0 h 48"/>
                <a:gd name="T24" fmla="*/ 5 w 31"/>
                <a:gd name="T25" fmla="*/ 4 h 48"/>
                <a:gd name="T26" fmla="*/ 0 w 31"/>
                <a:gd name="T27" fmla="*/ 14 h 48"/>
                <a:gd name="T28" fmla="*/ 1 w 31"/>
                <a:gd name="T29" fmla="*/ 20 h 48"/>
                <a:gd name="T30" fmla="*/ 4 w 31"/>
                <a:gd name="T31" fmla="*/ 24 h 48"/>
                <a:gd name="T32" fmla="*/ 11 w 31"/>
                <a:gd name="T33" fmla="*/ 28 h 48"/>
                <a:gd name="T34" fmla="*/ 17 w 31"/>
                <a:gd name="T35" fmla="*/ 30 h 48"/>
                <a:gd name="T36" fmla="*/ 19 w 31"/>
                <a:gd name="T37" fmla="*/ 32 h 48"/>
                <a:gd name="T38" fmla="*/ 20 w 31"/>
                <a:gd name="T39" fmla="*/ 35 h 48"/>
                <a:gd name="T40" fmla="*/ 13 w 31"/>
                <a:gd name="T41" fmla="*/ 40 h 48"/>
                <a:gd name="T42" fmla="*/ 7 w 31"/>
                <a:gd name="T43" fmla="*/ 39 h 48"/>
                <a:gd name="T44" fmla="*/ 1 w 31"/>
                <a:gd name="T45" fmla="*/ 35 h 48"/>
                <a:gd name="T46" fmla="*/ 0 w 31"/>
                <a:gd name="T47" fmla="*/ 35 h 48"/>
                <a:gd name="T48" fmla="*/ 0 w 31"/>
                <a:gd name="T49" fmla="*/ 46 h 48"/>
                <a:gd name="T50" fmla="*/ 0 w 31"/>
                <a:gd name="T51" fmla="*/ 46 h 48"/>
                <a:gd name="T52" fmla="*/ 6 w 31"/>
                <a:gd name="T53" fmla="*/ 48 h 48"/>
                <a:gd name="T54" fmla="*/ 12 w 31"/>
                <a:gd name="T55" fmla="*/ 48 h 48"/>
                <a:gd name="T56" fmla="*/ 26 w 31"/>
                <a:gd name="T57" fmla="*/ 44 h 48"/>
                <a:gd name="T58" fmla="*/ 31 w 31"/>
                <a:gd name="T59" fmla="*/ 34 h 48"/>
                <a:gd name="T60" fmla="*/ 28 w 31"/>
                <a:gd name="T61" fmla="*/ 26 h 48"/>
                <a:gd name="T62" fmla="*/ 19 w 31"/>
                <a:gd name="T63" fmla="*/ 2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1" h="48">
                  <a:moveTo>
                    <a:pt x="19" y="20"/>
                  </a:moveTo>
                  <a:cubicBezTo>
                    <a:pt x="16" y="19"/>
                    <a:pt x="13" y="17"/>
                    <a:pt x="13" y="17"/>
                  </a:cubicBezTo>
                  <a:cubicBezTo>
                    <a:pt x="12" y="16"/>
                    <a:pt x="11" y="15"/>
                    <a:pt x="11" y="13"/>
                  </a:cubicBezTo>
                  <a:cubicBezTo>
                    <a:pt x="11" y="12"/>
                    <a:pt x="12" y="11"/>
                    <a:pt x="13" y="10"/>
                  </a:cubicBezTo>
                  <a:cubicBezTo>
                    <a:pt x="14" y="9"/>
                    <a:pt x="16" y="8"/>
                    <a:pt x="18" y="8"/>
                  </a:cubicBezTo>
                  <a:cubicBezTo>
                    <a:pt x="19" y="8"/>
                    <a:pt x="21" y="9"/>
                    <a:pt x="23" y="9"/>
                  </a:cubicBezTo>
                  <a:cubicBezTo>
                    <a:pt x="25" y="10"/>
                    <a:pt x="27" y="11"/>
                    <a:pt x="28" y="12"/>
                  </a:cubicBezTo>
                  <a:cubicBezTo>
                    <a:pt x="29" y="12"/>
                    <a:pt x="29" y="12"/>
                    <a:pt x="29" y="12"/>
                  </a:cubicBezTo>
                  <a:cubicBezTo>
                    <a:pt x="29" y="2"/>
                    <a:pt x="29" y="2"/>
                    <a:pt x="29" y="2"/>
                  </a:cubicBezTo>
                  <a:cubicBezTo>
                    <a:pt x="28" y="2"/>
                    <a:pt x="28" y="2"/>
                    <a:pt x="28" y="2"/>
                  </a:cubicBezTo>
                  <a:cubicBezTo>
                    <a:pt x="27" y="1"/>
                    <a:pt x="25" y="1"/>
                    <a:pt x="23" y="0"/>
                  </a:cubicBezTo>
                  <a:cubicBezTo>
                    <a:pt x="21" y="0"/>
                    <a:pt x="20" y="0"/>
                    <a:pt x="18" y="0"/>
                  </a:cubicBezTo>
                  <a:cubicBezTo>
                    <a:pt x="13" y="0"/>
                    <a:pt x="8" y="1"/>
                    <a:pt x="5" y="4"/>
                  </a:cubicBezTo>
                  <a:cubicBezTo>
                    <a:pt x="2" y="6"/>
                    <a:pt x="0" y="10"/>
                    <a:pt x="0" y="14"/>
                  </a:cubicBezTo>
                  <a:cubicBezTo>
                    <a:pt x="0" y="16"/>
                    <a:pt x="0" y="18"/>
                    <a:pt x="1" y="20"/>
                  </a:cubicBezTo>
                  <a:cubicBezTo>
                    <a:pt x="2" y="21"/>
                    <a:pt x="3" y="23"/>
                    <a:pt x="4" y="24"/>
                  </a:cubicBezTo>
                  <a:cubicBezTo>
                    <a:pt x="6" y="25"/>
                    <a:pt x="8" y="27"/>
                    <a:pt x="11" y="28"/>
                  </a:cubicBezTo>
                  <a:cubicBezTo>
                    <a:pt x="14" y="29"/>
                    <a:pt x="16" y="30"/>
                    <a:pt x="17" y="30"/>
                  </a:cubicBezTo>
                  <a:cubicBezTo>
                    <a:pt x="18" y="31"/>
                    <a:pt x="19" y="32"/>
                    <a:pt x="19" y="32"/>
                  </a:cubicBezTo>
                  <a:cubicBezTo>
                    <a:pt x="20" y="33"/>
                    <a:pt x="20" y="34"/>
                    <a:pt x="20" y="35"/>
                  </a:cubicBezTo>
                  <a:cubicBezTo>
                    <a:pt x="20" y="38"/>
                    <a:pt x="18" y="40"/>
                    <a:pt x="13" y="40"/>
                  </a:cubicBezTo>
                  <a:cubicBezTo>
                    <a:pt x="11" y="40"/>
                    <a:pt x="9" y="39"/>
                    <a:pt x="7" y="39"/>
                  </a:cubicBezTo>
                  <a:cubicBezTo>
                    <a:pt x="5" y="38"/>
                    <a:pt x="2" y="37"/>
                    <a:pt x="1" y="35"/>
                  </a:cubicBezTo>
                  <a:cubicBezTo>
                    <a:pt x="0" y="35"/>
                    <a:pt x="0" y="35"/>
                    <a:pt x="0" y="35"/>
                  </a:cubicBezTo>
                  <a:cubicBezTo>
                    <a:pt x="0" y="46"/>
                    <a:pt x="0" y="46"/>
                    <a:pt x="0" y="46"/>
                  </a:cubicBezTo>
                  <a:cubicBezTo>
                    <a:pt x="0" y="46"/>
                    <a:pt x="0" y="46"/>
                    <a:pt x="0" y="46"/>
                  </a:cubicBezTo>
                  <a:cubicBezTo>
                    <a:pt x="2" y="47"/>
                    <a:pt x="4" y="47"/>
                    <a:pt x="6" y="48"/>
                  </a:cubicBezTo>
                  <a:cubicBezTo>
                    <a:pt x="8" y="48"/>
                    <a:pt x="11" y="48"/>
                    <a:pt x="12" y="48"/>
                  </a:cubicBezTo>
                  <a:cubicBezTo>
                    <a:pt x="18" y="48"/>
                    <a:pt x="23" y="47"/>
                    <a:pt x="26" y="44"/>
                  </a:cubicBezTo>
                  <a:cubicBezTo>
                    <a:pt x="29" y="42"/>
                    <a:pt x="31" y="38"/>
                    <a:pt x="31" y="34"/>
                  </a:cubicBezTo>
                  <a:cubicBezTo>
                    <a:pt x="31" y="31"/>
                    <a:pt x="30" y="28"/>
                    <a:pt x="28" y="26"/>
                  </a:cubicBezTo>
                  <a:cubicBezTo>
                    <a:pt x="26" y="24"/>
                    <a:pt x="23" y="22"/>
                    <a:pt x="19" y="2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38" name="Freeform 82">
              <a:extLst>
                <a:ext uri="{FF2B5EF4-FFF2-40B4-BE49-F238E27FC236}">
                  <a16:creationId xmlns:a16="http://schemas.microsoft.com/office/drawing/2014/main" id="{2C12A851-4A11-4D1C-BD2B-E8A1C17C5642}"/>
                </a:ext>
              </a:extLst>
            </p:cNvPr>
            <p:cNvSpPr>
              <a:spLocks noEditPoints="1"/>
            </p:cNvSpPr>
            <p:nvPr userDrawn="1"/>
          </p:nvSpPr>
          <p:spPr bwMode="auto">
            <a:xfrm>
              <a:off x="4187" y="2126"/>
              <a:ext cx="113" cy="117"/>
            </a:xfrm>
            <a:custGeom>
              <a:avLst/>
              <a:gdLst>
                <a:gd name="T0" fmla="*/ 33 w 48"/>
                <a:gd name="T1" fmla="*/ 35 h 48"/>
                <a:gd name="T2" fmla="*/ 24 w 48"/>
                <a:gd name="T3" fmla="*/ 39 h 48"/>
                <a:gd name="T4" fmla="*/ 14 w 48"/>
                <a:gd name="T5" fmla="*/ 35 h 48"/>
                <a:gd name="T6" fmla="*/ 11 w 48"/>
                <a:gd name="T7" fmla="*/ 24 h 48"/>
                <a:gd name="T8" fmla="*/ 14 w 48"/>
                <a:gd name="T9" fmla="*/ 13 h 48"/>
                <a:gd name="T10" fmla="*/ 24 w 48"/>
                <a:gd name="T11" fmla="*/ 9 h 48"/>
                <a:gd name="T12" fmla="*/ 33 w 48"/>
                <a:gd name="T13" fmla="*/ 13 h 48"/>
                <a:gd name="T14" fmla="*/ 36 w 48"/>
                <a:gd name="T15" fmla="*/ 24 h 48"/>
                <a:gd name="T16" fmla="*/ 33 w 48"/>
                <a:gd name="T17" fmla="*/ 35 h 48"/>
                <a:gd name="T18" fmla="*/ 24 w 48"/>
                <a:gd name="T19" fmla="*/ 0 h 48"/>
                <a:gd name="T20" fmla="*/ 6 w 48"/>
                <a:gd name="T21" fmla="*/ 6 h 48"/>
                <a:gd name="T22" fmla="*/ 0 w 48"/>
                <a:gd name="T23" fmla="*/ 25 h 48"/>
                <a:gd name="T24" fmla="*/ 6 w 48"/>
                <a:gd name="T25" fmla="*/ 42 h 48"/>
                <a:gd name="T26" fmla="*/ 23 w 48"/>
                <a:gd name="T27" fmla="*/ 48 h 48"/>
                <a:gd name="T28" fmla="*/ 41 w 48"/>
                <a:gd name="T29" fmla="*/ 42 h 48"/>
                <a:gd name="T30" fmla="*/ 48 w 48"/>
                <a:gd name="T31" fmla="*/ 24 h 48"/>
                <a:gd name="T32" fmla="*/ 41 w 48"/>
                <a:gd name="T33" fmla="*/ 6 h 48"/>
                <a:gd name="T34" fmla="*/ 24 w 48"/>
                <a:gd name="T3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48">
                  <a:moveTo>
                    <a:pt x="33" y="35"/>
                  </a:moveTo>
                  <a:cubicBezTo>
                    <a:pt x="31" y="38"/>
                    <a:pt x="28" y="39"/>
                    <a:pt x="24" y="39"/>
                  </a:cubicBezTo>
                  <a:cubicBezTo>
                    <a:pt x="20" y="39"/>
                    <a:pt x="17" y="38"/>
                    <a:pt x="14" y="35"/>
                  </a:cubicBezTo>
                  <a:cubicBezTo>
                    <a:pt x="12" y="33"/>
                    <a:pt x="11" y="29"/>
                    <a:pt x="11" y="24"/>
                  </a:cubicBezTo>
                  <a:cubicBezTo>
                    <a:pt x="11" y="19"/>
                    <a:pt x="12" y="15"/>
                    <a:pt x="14" y="13"/>
                  </a:cubicBezTo>
                  <a:cubicBezTo>
                    <a:pt x="17" y="10"/>
                    <a:pt x="20" y="9"/>
                    <a:pt x="24" y="9"/>
                  </a:cubicBezTo>
                  <a:cubicBezTo>
                    <a:pt x="28" y="9"/>
                    <a:pt x="31" y="10"/>
                    <a:pt x="33" y="13"/>
                  </a:cubicBezTo>
                  <a:cubicBezTo>
                    <a:pt x="35" y="15"/>
                    <a:pt x="36" y="19"/>
                    <a:pt x="36" y="24"/>
                  </a:cubicBezTo>
                  <a:cubicBezTo>
                    <a:pt x="36" y="29"/>
                    <a:pt x="35" y="33"/>
                    <a:pt x="33" y="35"/>
                  </a:cubicBezTo>
                  <a:moveTo>
                    <a:pt x="24" y="0"/>
                  </a:moveTo>
                  <a:cubicBezTo>
                    <a:pt x="17" y="0"/>
                    <a:pt x="11" y="2"/>
                    <a:pt x="6" y="6"/>
                  </a:cubicBezTo>
                  <a:cubicBezTo>
                    <a:pt x="2" y="11"/>
                    <a:pt x="0" y="17"/>
                    <a:pt x="0" y="25"/>
                  </a:cubicBezTo>
                  <a:cubicBezTo>
                    <a:pt x="0" y="32"/>
                    <a:pt x="2" y="38"/>
                    <a:pt x="6" y="42"/>
                  </a:cubicBezTo>
                  <a:cubicBezTo>
                    <a:pt x="10" y="46"/>
                    <a:pt x="16" y="48"/>
                    <a:pt x="23" y="48"/>
                  </a:cubicBezTo>
                  <a:cubicBezTo>
                    <a:pt x="31" y="48"/>
                    <a:pt x="37" y="46"/>
                    <a:pt x="41" y="42"/>
                  </a:cubicBezTo>
                  <a:cubicBezTo>
                    <a:pt x="45" y="37"/>
                    <a:pt x="48" y="31"/>
                    <a:pt x="48" y="24"/>
                  </a:cubicBezTo>
                  <a:cubicBezTo>
                    <a:pt x="48" y="16"/>
                    <a:pt x="46" y="10"/>
                    <a:pt x="41" y="6"/>
                  </a:cubicBezTo>
                  <a:cubicBezTo>
                    <a:pt x="37" y="2"/>
                    <a:pt x="32" y="0"/>
                    <a:pt x="24"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39" name="Freeform 83">
              <a:extLst>
                <a:ext uri="{FF2B5EF4-FFF2-40B4-BE49-F238E27FC236}">
                  <a16:creationId xmlns:a16="http://schemas.microsoft.com/office/drawing/2014/main" id="{6348A877-F5B9-4889-8858-73411499BE93}"/>
                </a:ext>
              </a:extLst>
            </p:cNvPr>
            <p:cNvSpPr>
              <a:spLocks/>
            </p:cNvSpPr>
            <p:nvPr userDrawn="1"/>
          </p:nvSpPr>
          <p:spPr bwMode="auto">
            <a:xfrm>
              <a:off x="4303" y="2073"/>
              <a:ext cx="135" cy="170"/>
            </a:xfrm>
            <a:custGeom>
              <a:avLst/>
              <a:gdLst>
                <a:gd name="T0" fmla="*/ 57 w 57"/>
                <a:gd name="T1" fmla="*/ 32 h 70"/>
                <a:gd name="T2" fmla="*/ 57 w 57"/>
                <a:gd name="T3" fmla="*/ 23 h 70"/>
                <a:gd name="T4" fmla="*/ 46 w 57"/>
                <a:gd name="T5" fmla="*/ 23 h 70"/>
                <a:gd name="T6" fmla="*/ 46 w 57"/>
                <a:gd name="T7" fmla="*/ 9 h 70"/>
                <a:gd name="T8" fmla="*/ 45 w 57"/>
                <a:gd name="T9" fmla="*/ 9 h 70"/>
                <a:gd name="T10" fmla="*/ 35 w 57"/>
                <a:gd name="T11" fmla="*/ 12 h 70"/>
                <a:gd name="T12" fmla="*/ 35 w 57"/>
                <a:gd name="T13" fmla="*/ 12 h 70"/>
                <a:gd name="T14" fmla="*/ 35 w 57"/>
                <a:gd name="T15" fmla="*/ 23 h 70"/>
                <a:gd name="T16" fmla="*/ 18 w 57"/>
                <a:gd name="T17" fmla="*/ 23 h 70"/>
                <a:gd name="T18" fmla="*/ 18 w 57"/>
                <a:gd name="T19" fmla="*/ 17 h 70"/>
                <a:gd name="T20" fmla="*/ 20 w 57"/>
                <a:gd name="T21" fmla="*/ 11 h 70"/>
                <a:gd name="T22" fmla="*/ 25 w 57"/>
                <a:gd name="T23" fmla="*/ 9 h 70"/>
                <a:gd name="T24" fmla="*/ 30 w 57"/>
                <a:gd name="T25" fmla="*/ 10 h 70"/>
                <a:gd name="T26" fmla="*/ 31 w 57"/>
                <a:gd name="T27" fmla="*/ 10 h 70"/>
                <a:gd name="T28" fmla="*/ 31 w 57"/>
                <a:gd name="T29" fmla="*/ 1 h 70"/>
                <a:gd name="T30" fmla="*/ 30 w 57"/>
                <a:gd name="T31" fmla="*/ 0 h 70"/>
                <a:gd name="T32" fmla="*/ 24 w 57"/>
                <a:gd name="T33" fmla="*/ 0 h 70"/>
                <a:gd name="T34" fmla="*/ 15 w 57"/>
                <a:gd name="T35" fmla="*/ 2 h 70"/>
                <a:gd name="T36" fmla="*/ 9 w 57"/>
                <a:gd name="T37" fmla="*/ 8 h 70"/>
                <a:gd name="T38" fmla="*/ 7 w 57"/>
                <a:gd name="T39" fmla="*/ 16 h 70"/>
                <a:gd name="T40" fmla="*/ 7 w 57"/>
                <a:gd name="T41" fmla="*/ 23 h 70"/>
                <a:gd name="T42" fmla="*/ 0 w 57"/>
                <a:gd name="T43" fmla="*/ 23 h 70"/>
                <a:gd name="T44" fmla="*/ 0 w 57"/>
                <a:gd name="T45" fmla="*/ 32 h 70"/>
                <a:gd name="T46" fmla="*/ 7 w 57"/>
                <a:gd name="T47" fmla="*/ 32 h 70"/>
                <a:gd name="T48" fmla="*/ 7 w 57"/>
                <a:gd name="T49" fmla="*/ 69 h 70"/>
                <a:gd name="T50" fmla="*/ 18 w 57"/>
                <a:gd name="T51" fmla="*/ 69 h 70"/>
                <a:gd name="T52" fmla="*/ 18 w 57"/>
                <a:gd name="T53" fmla="*/ 32 h 70"/>
                <a:gd name="T54" fmla="*/ 35 w 57"/>
                <a:gd name="T55" fmla="*/ 32 h 70"/>
                <a:gd name="T56" fmla="*/ 35 w 57"/>
                <a:gd name="T57" fmla="*/ 56 h 70"/>
                <a:gd name="T58" fmla="*/ 49 w 57"/>
                <a:gd name="T59" fmla="*/ 70 h 70"/>
                <a:gd name="T60" fmla="*/ 53 w 57"/>
                <a:gd name="T61" fmla="*/ 70 h 70"/>
                <a:gd name="T62" fmla="*/ 57 w 57"/>
                <a:gd name="T63" fmla="*/ 69 h 70"/>
                <a:gd name="T64" fmla="*/ 57 w 57"/>
                <a:gd name="T65" fmla="*/ 69 h 70"/>
                <a:gd name="T66" fmla="*/ 57 w 57"/>
                <a:gd name="T67" fmla="*/ 60 h 70"/>
                <a:gd name="T68" fmla="*/ 56 w 57"/>
                <a:gd name="T69" fmla="*/ 60 h 70"/>
                <a:gd name="T70" fmla="*/ 54 w 57"/>
                <a:gd name="T71" fmla="*/ 61 h 70"/>
                <a:gd name="T72" fmla="*/ 52 w 57"/>
                <a:gd name="T73" fmla="*/ 61 h 70"/>
                <a:gd name="T74" fmla="*/ 47 w 57"/>
                <a:gd name="T75" fmla="*/ 60 h 70"/>
                <a:gd name="T76" fmla="*/ 46 w 57"/>
                <a:gd name="T77" fmla="*/ 54 h 70"/>
                <a:gd name="T78" fmla="*/ 46 w 57"/>
                <a:gd name="T79" fmla="*/ 32 h 70"/>
                <a:gd name="T80" fmla="*/ 57 w 57"/>
                <a:gd name="T81" fmla="*/ 3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7" h="70">
                  <a:moveTo>
                    <a:pt x="57" y="32"/>
                  </a:moveTo>
                  <a:cubicBezTo>
                    <a:pt x="57" y="23"/>
                    <a:pt x="57" y="23"/>
                    <a:pt x="57" y="23"/>
                  </a:cubicBezTo>
                  <a:cubicBezTo>
                    <a:pt x="46" y="23"/>
                    <a:pt x="46" y="23"/>
                    <a:pt x="46" y="23"/>
                  </a:cubicBezTo>
                  <a:cubicBezTo>
                    <a:pt x="46" y="9"/>
                    <a:pt x="46" y="9"/>
                    <a:pt x="46" y="9"/>
                  </a:cubicBezTo>
                  <a:cubicBezTo>
                    <a:pt x="45" y="9"/>
                    <a:pt x="45" y="9"/>
                    <a:pt x="45" y="9"/>
                  </a:cubicBezTo>
                  <a:cubicBezTo>
                    <a:pt x="35" y="12"/>
                    <a:pt x="35" y="12"/>
                    <a:pt x="35" y="12"/>
                  </a:cubicBezTo>
                  <a:cubicBezTo>
                    <a:pt x="35" y="12"/>
                    <a:pt x="35" y="12"/>
                    <a:pt x="35" y="12"/>
                  </a:cubicBezTo>
                  <a:cubicBezTo>
                    <a:pt x="35" y="23"/>
                    <a:pt x="35" y="23"/>
                    <a:pt x="35" y="23"/>
                  </a:cubicBezTo>
                  <a:cubicBezTo>
                    <a:pt x="18" y="23"/>
                    <a:pt x="18" y="23"/>
                    <a:pt x="18" y="23"/>
                  </a:cubicBezTo>
                  <a:cubicBezTo>
                    <a:pt x="18" y="17"/>
                    <a:pt x="18" y="17"/>
                    <a:pt x="18" y="17"/>
                  </a:cubicBezTo>
                  <a:cubicBezTo>
                    <a:pt x="18" y="14"/>
                    <a:pt x="19" y="12"/>
                    <a:pt x="20" y="11"/>
                  </a:cubicBezTo>
                  <a:cubicBezTo>
                    <a:pt x="21" y="9"/>
                    <a:pt x="23" y="9"/>
                    <a:pt x="25" y="9"/>
                  </a:cubicBezTo>
                  <a:cubicBezTo>
                    <a:pt x="27" y="9"/>
                    <a:pt x="28" y="9"/>
                    <a:pt x="30" y="10"/>
                  </a:cubicBezTo>
                  <a:cubicBezTo>
                    <a:pt x="31" y="10"/>
                    <a:pt x="31" y="10"/>
                    <a:pt x="31" y="10"/>
                  </a:cubicBezTo>
                  <a:cubicBezTo>
                    <a:pt x="31" y="1"/>
                    <a:pt x="31" y="1"/>
                    <a:pt x="31" y="1"/>
                  </a:cubicBezTo>
                  <a:cubicBezTo>
                    <a:pt x="30" y="0"/>
                    <a:pt x="30" y="0"/>
                    <a:pt x="30" y="0"/>
                  </a:cubicBezTo>
                  <a:cubicBezTo>
                    <a:pt x="29" y="0"/>
                    <a:pt x="27" y="0"/>
                    <a:pt x="24" y="0"/>
                  </a:cubicBezTo>
                  <a:cubicBezTo>
                    <a:pt x="21" y="0"/>
                    <a:pt x="18" y="0"/>
                    <a:pt x="15" y="2"/>
                  </a:cubicBezTo>
                  <a:cubicBezTo>
                    <a:pt x="13" y="3"/>
                    <a:pt x="11" y="5"/>
                    <a:pt x="9" y="8"/>
                  </a:cubicBezTo>
                  <a:cubicBezTo>
                    <a:pt x="8" y="10"/>
                    <a:pt x="7" y="13"/>
                    <a:pt x="7" y="16"/>
                  </a:cubicBezTo>
                  <a:cubicBezTo>
                    <a:pt x="7" y="23"/>
                    <a:pt x="7" y="23"/>
                    <a:pt x="7" y="23"/>
                  </a:cubicBezTo>
                  <a:cubicBezTo>
                    <a:pt x="0" y="23"/>
                    <a:pt x="0" y="23"/>
                    <a:pt x="0" y="23"/>
                  </a:cubicBezTo>
                  <a:cubicBezTo>
                    <a:pt x="0" y="32"/>
                    <a:pt x="0" y="32"/>
                    <a:pt x="0" y="32"/>
                  </a:cubicBezTo>
                  <a:cubicBezTo>
                    <a:pt x="7" y="32"/>
                    <a:pt x="7" y="32"/>
                    <a:pt x="7" y="32"/>
                  </a:cubicBezTo>
                  <a:cubicBezTo>
                    <a:pt x="7" y="69"/>
                    <a:pt x="7" y="69"/>
                    <a:pt x="7" y="69"/>
                  </a:cubicBezTo>
                  <a:cubicBezTo>
                    <a:pt x="18" y="69"/>
                    <a:pt x="18" y="69"/>
                    <a:pt x="18" y="69"/>
                  </a:cubicBezTo>
                  <a:cubicBezTo>
                    <a:pt x="18" y="32"/>
                    <a:pt x="18" y="32"/>
                    <a:pt x="18" y="32"/>
                  </a:cubicBezTo>
                  <a:cubicBezTo>
                    <a:pt x="35" y="32"/>
                    <a:pt x="35" y="32"/>
                    <a:pt x="35" y="32"/>
                  </a:cubicBezTo>
                  <a:cubicBezTo>
                    <a:pt x="35" y="56"/>
                    <a:pt x="35" y="56"/>
                    <a:pt x="35" y="56"/>
                  </a:cubicBezTo>
                  <a:cubicBezTo>
                    <a:pt x="35" y="65"/>
                    <a:pt x="39" y="70"/>
                    <a:pt x="49" y="70"/>
                  </a:cubicBezTo>
                  <a:cubicBezTo>
                    <a:pt x="50" y="70"/>
                    <a:pt x="52" y="70"/>
                    <a:pt x="53" y="70"/>
                  </a:cubicBezTo>
                  <a:cubicBezTo>
                    <a:pt x="55" y="70"/>
                    <a:pt x="56" y="69"/>
                    <a:pt x="57" y="69"/>
                  </a:cubicBezTo>
                  <a:cubicBezTo>
                    <a:pt x="57" y="69"/>
                    <a:pt x="57" y="69"/>
                    <a:pt x="57" y="69"/>
                  </a:cubicBezTo>
                  <a:cubicBezTo>
                    <a:pt x="57" y="60"/>
                    <a:pt x="57" y="60"/>
                    <a:pt x="57" y="60"/>
                  </a:cubicBezTo>
                  <a:cubicBezTo>
                    <a:pt x="56" y="60"/>
                    <a:pt x="56" y="60"/>
                    <a:pt x="56" y="60"/>
                  </a:cubicBezTo>
                  <a:cubicBezTo>
                    <a:pt x="56" y="60"/>
                    <a:pt x="55" y="61"/>
                    <a:pt x="54" y="61"/>
                  </a:cubicBezTo>
                  <a:cubicBezTo>
                    <a:pt x="53" y="61"/>
                    <a:pt x="53" y="61"/>
                    <a:pt x="52" y="61"/>
                  </a:cubicBezTo>
                  <a:cubicBezTo>
                    <a:pt x="50" y="61"/>
                    <a:pt x="48" y="61"/>
                    <a:pt x="47" y="60"/>
                  </a:cubicBezTo>
                  <a:cubicBezTo>
                    <a:pt x="46" y="59"/>
                    <a:pt x="46" y="56"/>
                    <a:pt x="46" y="54"/>
                  </a:cubicBezTo>
                  <a:cubicBezTo>
                    <a:pt x="46" y="32"/>
                    <a:pt x="46" y="32"/>
                    <a:pt x="46" y="32"/>
                  </a:cubicBezTo>
                  <a:lnTo>
                    <a:pt x="57"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40" name="Rectangle 84">
              <a:extLst>
                <a:ext uri="{FF2B5EF4-FFF2-40B4-BE49-F238E27FC236}">
                  <a16:creationId xmlns:a16="http://schemas.microsoft.com/office/drawing/2014/main" id="{FC1A6DBD-30C7-47CA-8814-5B6E12AACA54}"/>
                </a:ext>
              </a:extLst>
            </p:cNvPr>
            <p:cNvSpPr>
              <a:spLocks noChangeArrowheads="1"/>
            </p:cNvSpPr>
            <p:nvPr userDrawn="1"/>
          </p:nvSpPr>
          <p:spPr bwMode="auto">
            <a:xfrm>
              <a:off x="3238" y="2031"/>
              <a:ext cx="120" cy="1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41" name="Rectangle 85">
              <a:extLst>
                <a:ext uri="{FF2B5EF4-FFF2-40B4-BE49-F238E27FC236}">
                  <a16:creationId xmlns:a16="http://schemas.microsoft.com/office/drawing/2014/main" id="{55D70226-A519-41C6-A64D-E6FD5014C85D}"/>
                </a:ext>
              </a:extLst>
            </p:cNvPr>
            <p:cNvSpPr>
              <a:spLocks noChangeArrowheads="1"/>
            </p:cNvSpPr>
            <p:nvPr userDrawn="1"/>
          </p:nvSpPr>
          <p:spPr bwMode="auto">
            <a:xfrm>
              <a:off x="3373" y="2031"/>
              <a:ext cx="120" cy="1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42" name="Rectangle 86">
              <a:extLst>
                <a:ext uri="{FF2B5EF4-FFF2-40B4-BE49-F238E27FC236}">
                  <a16:creationId xmlns:a16="http://schemas.microsoft.com/office/drawing/2014/main" id="{E14BE01F-48A6-4BC9-9713-F6C217383C5C}"/>
                </a:ext>
              </a:extLst>
            </p:cNvPr>
            <p:cNvSpPr>
              <a:spLocks noChangeArrowheads="1"/>
            </p:cNvSpPr>
            <p:nvPr userDrawn="1"/>
          </p:nvSpPr>
          <p:spPr bwMode="auto">
            <a:xfrm>
              <a:off x="3238" y="2170"/>
              <a:ext cx="120" cy="1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43" name="Rectangle 87">
              <a:extLst>
                <a:ext uri="{FF2B5EF4-FFF2-40B4-BE49-F238E27FC236}">
                  <a16:creationId xmlns:a16="http://schemas.microsoft.com/office/drawing/2014/main" id="{F13D6AD2-8FC8-4BF7-9DF5-0075A4563ABF}"/>
                </a:ext>
              </a:extLst>
            </p:cNvPr>
            <p:cNvSpPr>
              <a:spLocks noChangeArrowheads="1"/>
            </p:cNvSpPr>
            <p:nvPr userDrawn="1"/>
          </p:nvSpPr>
          <p:spPr bwMode="auto">
            <a:xfrm>
              <a:off x="3373" y="2170"/>
              <a:ext cx="120" cy="1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grpSp>
      <p:grpSp>
        <p:nvGrpSpPr>
          <p:cNvPr id="44" name="Group 91">
            <a:extLst>
              <a:ext uri="{FF2B5EF4-FFF2-40B4-BE49-F238E27FC236}">
                <a16:creationId xmlns:a16="http://schemas.microsoft.com/office/drawing/2014/main" id="{FE3125F0-B583-4714-96A6-C75ADFC9E9CB}"/>
              </a:ext>
            </a:extLst>
          </p:cNvPr>
          <p:cNvGrpSpPr>
            <a:grpSpLocks noChangeAspect="1"/>
          </p:cNvGrpSpPr>
          <p:nvPr userDrawn="1"/>
        </p:nvGrpSpPr>
        <p:grpSpPr bwMode="auto">
          <a:xfrm>
            <a:off x="369133" y="2922494"/>
            <a:ext cx="1926401" cy="1014506"/>
            <a:chOff x="3550" y="2005"/>
            <a:chExt cx="585" cy="308"/>
          </a:xfrm>
        </p:grpSpPr>
        <p:sp>
          <p:nvSpPr>
            <p:cNvPr id="45" name="Freeform 92">
              <a:extLst>
                <a:ext uri="{FF2B5EF4-FFF2-40B4-BE49-F238E27FC236}">
                  <a16:creationId xmlns:a16="http://schemas.microsoft.com/office/drawing/2014/main" id="{B8B6C2EB-6933-4DD5-8919-3F6FA1F2FBA4}"/>
                </a:ext>
              </a:extLst>
            </p:cNvPr>
            <p:cNvSpPr>
              <a:spLocks/>
            </p:cNvSpPr>
            <p:nvPr userDrawn="1"/>
          </p:nvSpPr>
          <p:spPr bwMode="auto">
            <a:xfrm>
              <a:off x="3552" y="2178"/>
              <a:ext cx="561" cy="135"/>
            </a:xfrm>
            <a:custGeom>
              <a:avLst/>
              <a:gdLst>
                <a:gd name="T0" fmla="*/ 0 w 235"/>
                <a:gd name="T1" fmla="*/ 56 h 56"/>
                <a:gd name="T2" fmla="*/ 235 w 235"/>
                <a:gd name="T3" fmla="*/ 56 h 56"/>
                <a:gd name="T4" fmla="*/ 0 w 235"/>
                <a:gd name="T5" fmla="*/ 56 h 56"/>
              </a:gdLst>
              <a:ahLst/>
              <a:cxnLst>
                <a:cxn ang="0">
                  <a:pos x="T0" y="T1"/>
                </a:cxn>
                <a:cxn ang="0">
                  <a:pos x="T2" y="T3"/>
                </a:cxn>
                <a:cxn ang="0">
                  <a:pos x="T4" y="T5"/>
                </a:cxn>
              </a:cxnLst>
              <a:rect l="0" t="0" r="r" b="b"/>
              <a:pathLst>
                <a:path w="235" h="56">
                  <a:moveTo>
                    <a:pt x="0" y="56"/>
                  </a:moveTo>
                  <a:cubicBezTo>
                    <a:pt x="235" y="56"/>
                    <a:pt x="235" y="56"/>
                    <a:pt x="235" y="56"/>
                  </a:cubicBezTo>
                  <a:cubicBezTo>
                    <a:pt x="235" y="56"/>
                    <a:pt x="124" y="0"/>
                    <a:pt x="0" y="5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46" name="Freeform 93">
              <a:extLst>
                <a:ext uri="{FF2B5EF4-FFF2-40B4-BE49-F238E27FC236}">
                  <a16:creationId xmlns:a16="http://schemas.microsoft.com/office/drawing/2014/main" id="{1EA63BBE-4AD1-44BE-A811-4F7B43E61ACE}"/>
                </a:ext>
              </a:extLst>
            </p:cNvPr>
            <p:cNvSpPr>
              <a:spLocks noEditPoints="1"/>
            </p:cNvSpPr>
            <p:nvPr userDrawn="1"/>
          </p:nvSpPr>
          <p:spPr bwMode="auto">
            <a:xfrm>
              <a:off x="3643" y="2169"/>
              <a:ext cx="103" cy="100"/>
            </a:xfrm>
            <a:custGeom>
              <a:avLst/>
              <a:gdLst>
                <a:gd name="T0" fmla="*/ 22 w 43"/>
                <a:gd name="T1" fmla="*/ 31 h 42"/>
                <a:gd name="T2" fmla="*/ 12 w 43"/>
                <a:gd name="T3" fmla="*/ 21 h 42"/>
                <a:gd name="T4" fmla="*/ 22 w 43"/>
                <a:gd name="T5" fmla="*/ 11 h 42"/>
                <a:gd name="T6" fmla="*/ 31 w 43"/>
                <a:gd name="T7" fmla="*/ 21 h 42"/>
                <a:gd name="T8" fmla="*/ 22 w 43"/>
                <a:gd name="T9" fmla="*/ 31 h 42"/>
                <a:gd name="T10" fmla="*/ 22 w 43"/>
                <a:gd name="T11" fmla="*/ 0 h 42"/>
                <a:gd name="T12" fmla="*/ 0 w 43"/>
                <a:gd name="T13" fmla="*/ 21 h 42"/>
                <a:gd name="T14" fmla="*/ 22 w 43"/>
                <a:gd name="T15" fmla="*/ 42 h 42"/>
                <a:gd name="T16" fmla="*/ 43 w 43"/>
                <a:gd name="T17" fmla="*/ 21 h 42"/>
                <a:gd name="T18" fmla="*/ 22 w 43"/>
                <a:gd name="T1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2">
                  <a:moveTo>
                    <a:pt x="22" y="31"/>
                  </a:moveTo>
                  <a:cubicBezTo>
                    <a:pt x="16" y="31"/>
                    <a:pt x="12" y="26"/>
                    <a:pt x="12" y="21"/>
                  </a:cubicBezTo>
                  <a:cubicBezTo>
                    <a:pt x="12" y="16"/>
                    <a:pt x="16" y="11"/>
                    <a:pt x="22" y="11"/>
                  </a:cubicBezTo>
                  <a:cubicBezTo>
                    <a:pt x="27" y="11"/>
                    <a:pt x="31" y="16"/>
                    <a:pt x="31" y="21"/>
                  </a:cubicBezTo>
                  <a:cubicBezTo>
                    <a:pt x="31" y="26"/>
                    <a:pt x="27" y="31"/>
                    <a:pt x="22" y="31"/>
                  </a:cubicBezTo>
                  <a:moveTo>
                    <a:pt x="22" y="0"/>
                  </a:moveTo>
                  <a:cubicBezTo>
                    <a:pt x="10" y="0"/>
                    <a:pt x="0" y="9"/>
                    <a:pt x="0" y="21"/>
                  </a:cubicBezTo>
                  <a:cubicBezTo>
                    <a:pt x="0" y="33"/>
                    <a:pt x="10" y="42"/>
                    <a:pt x="22" y="42"/>
                  </a:cubicBezTo>
                  <a:cubicBezTo>
                    <a:pt x="33" y="42"/>
                    <a:pt x="43" y="33"/>
                    <a:pt x="43" y="21"/>
                  </a:cubicBezTo>
                  <a:cubicBezTo>
                    <a:pt x="43" y="9"/>
                    <a:pt x="33" y="0"/>
                    <a:pt x="2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47" name="Freeform 94">
              <a:extLst>
                <a:ext uri="{FF2B5EF4-FFF2-40B4-BE49-F238E27FC236}">
                  <a16:creationId xmlns:a16="http://schemas.microsoft.com/office/drawing/2014/main" id="{AA2970D3-52CC-4977-83AB-8C9DDE345F51}"/>
                </a:ext>
              </a:extLst>
            </p:cNvPr>
            <p:cNvSpPr>
              <a:spLocks noEditPoints="1"/>
            </p:cNvSpPr>
            <p:nvPr userDrawn="1"/>
          </p:nvSpPr>
          <p:spPr bwMode="auto">
            <a:xfrm>
              <a:off x="3934" y="2169"/>
              <a:ext cx="100" cy="100"/>
            </a:xfrm>
            <a:custGeom>
              <a:avLst/>
              <a:gdLst>
                <a:gd name="T0" fmla="*/ 21 w 42"/>
                <a:gd name="T1" fmla="*/ 31 h 42"/>
                <a:gd name="T2" fmla="*/ 11 w 42"/>
                <a:gd name="T3" fmla="*/ 21 h 42"/>
                <a:gd name="T4" fmla="*/ 21 w 42"/>
                <a:gd name="T5" fmla="*/ 11 h 42"/>
                <a:gd name="T6" fmla="*/ 30 w 42"/>
                <a:gd name="T7" fmla="*/ 21 h 42"/>
                <a:gd name="T8" fmla="*/ 21 w 42"/>
                <a:gd name="T9" fmla="*/ 31 h 42"/>
                <a:gd name="T10" fmla="*/ 21 w 42"/>
                <a:gd name="T11" fmla="*/ 0 h 42"/>
                <a:gd name="T12" fmla="*/ 0 w 42"/>
                <a:gd name="T13" fmla="*/ 21 h 42"/>
                <a:gd name="T14" fmla="*/ 21 w 42"/>
                <a:gd name="T15" fmla="*/ 42 h 42"/>
                <a:gd name="T16" fmla="*/ 42 w 42"/>
                <a:gd name="T17" fmla="*/ 21 h 42"/>
                <a:gd name="T18" fmla="*/ 21 w 42"/>
                <a:gd name="T1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2">
                  <a:moveTo>
                    <a:pt x="21" y="31"/>
                  </a:moveTo>
                  <a:cubicBezTo>
                    <a:pt x="15" y="31"/>
                    <a:pt x="11" y="26"/>
                    <a:pt x="11" y="21"/>
                  </a:cubicBezTo>
                  <a:cubicBezTo>
                    <a:pt x="11" y="16"/>
                    <a:pt x="15" y="11"/>
                    <a:pt x="21" y="11"/>
                  </a:cubicBezTo>
                  <a:cubicBezTo>
                    <a:pt x="26" y="11"/>
                    <a:pt x="30" y="16"/>
                    <a:pt x="30" y="21"/>
                  </a:cubicBezTo>
                  <a:cubicBezTo>
                    <a:pt x="30" y="26"/>
                    <a:pt x="26" y="31"/>
                    <a:pt x="21" y="31"/>
                  </a:cubicBezTo>
                  <a:moveTo>
                    <a:pt x="21" y="0"/>
                  </a:moveTo>
                  <a:cubicBezTo>
                    <a:pt x="9" y="0"/>
                    <a:pt x="0" y="9"/>
                    <a:pt x="0" y="21"/>
                  </a:cubicBezTo>
                  <a:cubicBezTo>
                    <a:pt x="0" y="33"/>
                    <a:pt x="9" y="42"/>
                    <a:pt x="21" y="42"/>
                  </a:cubicBezTo>
                  <a:cubicBezTo>
                    <a:pt x="32" y="42"/>
                    <a:pt x="42" y="33"/>
                    <a:pt x="42" y="21"/>
                  </a:cubicBezTo>
                  <a:cubicBezTo>
                    <a:pt x="42" y="9"/>
                    <a:pt x="32" y="0"/>
                    <a:pt x="2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sp>
          <p:nvSpPr>
            <p:cNvPr id="48" name="Freeform 95">
              <a:extLst>
                <a:ext uri="{FF2B5EF4-FFF2-40B4-BE49-F238E27FC236}">
                  <a16:creationId xmlns:a16="http://schemas.microsoft.com/office/drawing/2014/main" id="{A2B1743B-54AD-4B43-B6C2-8B2F8D95B274}"/>
                </a:ext>
              </a:extLst>
            </p:cNvPr>
            <p:cNvSpPr>
              <a:spLocks noEditPoints="1"/>
            </p:cNvSpPr>
            <p:nvPr userDrawn="1"/>
          </p:nvSpPr>
          <p:spPr bwMode="auto">
            <a:xfrm>
              <a:off x="3550" y="2005"/>
              <a:ext cx="585" cy="214"/>
            </a:xfrm>
            <a:custGeom>
              <a:avLst/>
              <a:gdLst>
                <a:gd name="T0" fmla="*/ 141 w 245"/>
                <a:gd name="T1" fmla="*/ 42 h 89"/>
                <a:gd name="T2" fmla="*/ 86 w 245"/>
                <a:gd name="T3" fmla="*/ 9 h 89"/>
                <a:gd name="T4" fmla="*/ 99 w 245"/>
                <a:gd name="T5" fmla="*/ 8 h 89"/>
                <a:gd name="T6" fmla="*/ 138 w 245"/>
                <a:gd name="T7" fmla="*/ 23 h 89"/>
                <a:gd name="T8" fmla="*/ 145 w 245"/>
                <a:gd name="T9" fmla="*/ 29 h 89"/>
                <a:gd name="T10" fmla="*/ 165 w 245"/>
                <a:gd name="T11" fmla="*/ 42 h 89"/>
                <a:gd name="T12" fmla="*/ 141 w 245"/>
                <a:gd name="T13" fmla="*/ 42 h 89"/>
                <a:gd name="T14" fmla="*/ 243 w 245"/>
                <a:gd name="T15" fmla="*/ 80 h 89"/>
                <a:gd name="T16" fmla="*/ 243 w 245"/>
                <a:gd name="T17" fmla="*/ 80 h 89"/>
                <a:gd name="T18" fmla="*/ 219 w 245"/>
                <a:gd name="T19" fmla="*/ 51 h 89"/>
                <a:gd name="T20" fmla="*/ 181 w 245"/>
                <a:gd name="T21" fmla="*/ 39 h 89"/>
                <a:gd name="T22" fmla="*/ 151 w 245"/>
                <a:gd name="T23" fmla="*/ 22 h 89"/>
                <a:gd name="T24" fmla="*/ 144 w 245"/>
                <a:gd name="T25" fmla="*/ 16 h 89"/>
                <a:gd name="T26" fmla="*/ 101 w 245"/>
                <a:gd name="T27" fmla="*/ 0 h 89"/>
                <a:gd name="T28" fmla="*/ 63 w 245"/>
                <a:gd name="T29" fmla="*/ 2 h 89"/>
                <a:gd name="T30" fmla="*/ 42 w 245"/>
                <a:gd name="T31" fmla="*/ 14 h 89"/>
                <a:gd name="T32" fmla="*/ 28 w 245"/>
                <a:gd name="T33" fmla="*/ 36 h 89"/>
                <a:gd name="T34" fmla="*/ 11 w 245"/>
                <a:gd name="T35" fmla="*/ 48 h 89"/>
                <a:gd name="T36" fmla="*/ 2 w 245"/>
                <a:gd name="T37" fmla="*/ 68 h 89"/>
                <a:gd name="T38" fmla="*/ 5 w 245"/>
                <a:gd name="T39" fmla="*/ 84 h 89"/>
                <a:gd name="T40" fmla="*/ 11 w 245"/>
                <a:gd name="T41" fmla="*/ 89 h 89"/>
                <a:gd name="T42" fmla="*/ 30 w 245"/>
                <a:gd name="T43" fmla="*/ 89 h 89"/>
                <a:gd name="T44" fmla="*/ 61 w 245"/>
                <a:gd name="T45" fmla="*/ 59 h 89"/>
                <a:gd name="T46" fmla="*/ 91 w 245"/>
                <a:gd name="T47" fmla="*/ 89 h 89"/>
                <a:gd name="T48" fmla="*/ 151 w 245"/>
                <a:gd name="T49" fmla="*/ 89 h 89"/>
                <a:gd name="T50" fmla="*/ 182 w 245"/>
                <a:gd name="T51" fmla="*/ 59 h 89"/>
                <a:gd name="T52" fmla="*/ 212 w 245"/>
                <a:gd name="T53" fmla="*/ 89 h 89"/>
                <a:gd name="T54" fmla="*/ 237 w 245"/>
                <a:gd name="T55" fmla="*/ 89 h 89"/>
                <a:gd name="T56" fmla="*/ 243 w 245"/>
                <a:gd name="T57" fmla="*/ 8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5" h="89">
                  <a:moveTo>
                    <a:pt x="141" y="42"/>
                  </a:moveTo>
                  <a:cubicBezTo>
                    <a:pt x="106" y="42"/>
                    <a:pt x="108" y="18"/>
                    <a:pt x="86" y="9"/>
                  </a:cubicBezTo>
                  <a:cubicBezTo>
                    <a:pt x="99" y="8"/>
                    <a:pt x="99" y="8"/>
                    <a:pt x="99" y="8"/>
                  </a:cubicBezTo>
                  <a:cubicBezTo>
                    <a:pt x="113" y="8"/>
                    <a:pt x="127" y="14"/>
                    <a:pt x="138" y="23"/>
                  </a:cubicBezTo>
                  <a:cubicBezTo>
                    <a:pt x="145" y="29"/>
                    <a:pt x="145" y="29"/>
                    <a:pt x="145" y="29"/>
                  </a:cubicBezTo>
                  <a:cubicBezTo>
                    <a:pt x="151" y="34"/>
                    <a:pt x="158" y="39"/>
                    <a:pt x="165" y="42"/>
                  </a:cubicBezTo>
                  <a:lnTo>
                    <a:pt x="141" y="42"/>
                  </a:lnTo>
                  <a:close/>
                  <a:moveTo>
                    <a:pt x="243" y="80"/>
                  </a:moveTo>
                  <a:cubicBezTo>
                    <a:pt x="243" y="80"/>
                    <a:pt x="243" y="80"/>
                    <a:pt x="243" y="80"/>
                  </a:cubicBezTo>
                  <a:cubicBezTo>
                    <a:pt x="238" y="66"/>
                    <a:pt x="233" y="55"/>
                    <a:pt x="219" y="51"/>
                  </a:cubicBezTo>
                  <a:cubicBezTo>
                    <a:pt x="181" y="39"/>
                    <a:pt x="181" y="39"/>
                    <a:pt x="181" y="39"/>
                  </a:cubicBezTo>
                  <a:cubicBezTo>
                    <a:pt x="170" y="36"/>
                    <a:pt x="160" y="30"/>
                    <a:pt x="151" y="22"/>
                  </a:cubicBezTo>
                  <a:cubicBezTo>
                    <a:pt x="144" y="16"/>
                    <a:pt x="144" y="16"/>
                    <a:pt x="144" y="16"/>
                  </a:cubicBezTo>
                  <a:cubicBezTo>
                    <a:pt x="132" y="6"/>
                    <a:pt x="117" y="0"/>
                    <a:pt x="101" y="0"/>
                  </a:cubicBezTo>
                  <a:cubicBezTo>
                    <a:pt x="63" y="2"/>
                    <a:pt x="63" y="2"/>
                    <a:pt x="63" y="2"/>
                  </a:cubicBezTo>
                  <a:cubicBezTo>
                    <a:pt x="55" y="2"/>
                    <a:pt x="47" y="7"/>
                    <a:pt x="42" y="14"/>
                  </a:cubicBezTo>
                  <a:cubicBezTo>
                    <a:pt x="36" y="25"/>
                    <a:pt x="28" y="36"/>
                    <a:pt x="28" y="36"/>
                  </a:cubicBezTo>
                  <a:cubicBezTo>
                    <a:pt x="11" y="48"/>
                    <a:pt x="11" y="48"/>
                    <a:pt x="11" y="48"/>
                  </a:cubicBezTo>
                  <a:cubicBezTo>
                    <a:pt x="4" y="52"/>
                    <a:pt x="0" y="60"/>
                    <a:pt x="2" y="68"/>
                  </a:cubicBezTo>
                  <a:cubicBezTo>
                    <a:pt x="5" y="84"/>
                    <a:pt x="5" y="84"/>
                    <a:pt x="5" y="84"/>
                  </a:cubicBezTo>
                  <a:cubicBezTo>
                    <a:pt x="5" y="87"/>
                    <a:pt x="8" y="89"/>
                    <a:pt x="11" y="89"/>
                  </a:cubicBezTo>
                  <a:cubicBezTo>
                    <a:pt x="30" y="89"/>
                    <a:pt x="30" y="89"/>
                    <a:pt x="30" y="89"/>
                  </a:cubicBezTo>
                  <a:cubicBezTo>
                    <a:pt x="30" y="72"/>
                    <a:pt x="44" y="59"/>
                    <a:pt x="61" y="59"/>
                  </a:cubicBezTo>
                  <a:cubicBezTo>
                    <a:pt x="77" y="59"/>
                    <a:pt x="91" y="72"/>
                    <a:pt x="91" y="89"/>
                  </a:cubicBezTo>
                  <a:cubicBezTo>
                    <a:pt x="151" y="89"/>
                    <a:pt x="151" y="89"/>
                    <a:pt x="151" y="89"/>
                  </a:cubicBezTo>
                  <a:cubicBezTo>
                    <a:pt x="151" y="72"/>
                    <a:pt x="165" y="59"/>
                    <a:pt x="182" y="59"/>
                  </a:cubicBezTo>
                  <a:cubicBezTo>
                    <a:pt x="198" y="59"/>
                    <a:pt x="212" y="72"/>
                    <a:pt x="212" y="89"/>
                  </a:cubicBezTo>
                  <a:cubicBezTo>
                    <a:pt x="237" y="89"/>
                    <a:pt x="237" y="89"/>
                    <a:pt x="237" y="89"/>
                  </a:cubicBezTo>
                  <a:cubicBezTo>
                    <a:pt x="242" y="89"/>
                    <a:pt x="245" y="84"/>
                    <a:pt x="243" y="8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199"/>
            </a:p>
          </p:txBody>
        </p:sp>
      </p:grpSp>
      <p:sp>
        <p:nvSpPr>
          <p:cNvPr id="26" name="TextBox 25">
            <a:extLst>
              <a:ext uri="{FF2B5EF4-FFF2-40B4-BE49-F238E27FC236}">
                <a16:creationId xmlns:a16="http://schemas.microsoft.com/office/drawing/2014/main" id="{4092EF46-ACD6-4214-9871-C09DF5145796}"/>
              </a:ext>
            </a:extLst>
          </p:cNvPr>
          <p:cNvSpPr txBox="1"/>
          <p:nvPr userDrawn="1"/>
        </p:nvSpPr>
        <p:spPr>
          <a:xfrm>
            <a:off x="10833561" y="6472021"/>
            <a:ext cx="1035270" cy="246221"/>
          </a:xfrm>
          <a:prstGeom prst="rect">
            <a:avLst/>
          </a:prstGeom>
        </p:spPr>
        <p:txBody>
          <a:bodyPr vert="horz" wrap="none" lIns="0" tIns="0" rIns="0" bIns="0" rtlCol="0" anchor="t">
            <a:spAutoFit/>
          </a:bodyPr>
          <a:lstStyle/>
          <a:p>
            <a:pPr marL="0" indent="0">
              <a:buFont typeface="Wingdings" pitchFamily="2" charset="2"/>
              <a:buNone/>
            </a:pPr>
            <a:r>
              <a:rPr lang="en-US" sz="1600" dirty="0">
                <a:solidFill>
                  <a:schemeClr val="bg1"/>
                </a:solidFill>
                <a:latin typeface="+mj-lt"/>
                <a:ea typeface="Segoe UI" pitchFamily="34" charset="0"/>
                <a:cs typeface="Segoe UI" pitchFamily="34" charset="0"/>
              </a:rPr>
              <a:t>2018 Edition</a:t>
            </a:r>
            <a:endParaRPr lang="en-IN" sz="1600" dirty="0" err="1">
              <a:solidFill>
                <a:schemeClr val="bg1"/>
              </a:solidFill>
              <a:latin typeface="+mj-lt"/>
              <a:ea typeface="Segoe UI" pitchFamily="34" charset="0"/>
              <a:cs typeface="Segoe UI" pitchFamily="34" charset="0"/>
            </a:endParaRPr>
          </a:p>
        </p:txBody>
      </p:sp>
    </p:spTree>
    <p:extLst>
      <p:ext uri="{BB962C8B-B14F-4D97-AF65-F5344CB8AC3E}">
        <p14:creationId xmlns:p14="http://schemas.microsoft.com/office/powerpoint/2010/main" val="68872837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FFFFFF"/>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3217954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FFFFFF"/>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2917475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9674347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chemeClr val="tx1"/>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2378921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0688037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chemeClr val="tx1"/>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4680630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27012" y="1600200"/>
            <a:ext cx="11353800"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1" y="6238878"/>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99"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132293140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a:solidFill>
                <a:prstClr val="white"/>
              </a:solidFill>
            </a:endParaRPr>
          </a:p>
        </p:txBody>
      </p:sp>
      <p:sp>
        <p:nvSpPr>
          <p:cNvPr id="4" name="Rectangle 3"/>
          <p:cNvSpPr/>
          <p:nvPr/>
        </p:nvSpPr>
        <p:spPr>
          <a:xfrm>
            <a:off x="1"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a:solidFill>
                <a:prstClr val="white"/>
              </a:solidFill>
            </a:endParaRPr>
          </a:p>
        </p:txBody>
      </p:sp>
      <p:sp>
        <p:nvSpPr>
          <p:cNvPr id="8" name="Rectangle 7"/>
          <p:cNvSpPr/>
          <p:nvPr/>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117" y="2899240"/>
            <a:ext cx="2880367" cy="1059525"/>
          </a:xfrm>
          <a:prstGeom prst="rect">
            <a:avLst/>
          </a:prstGeom>
        </p:spPr>
      </p:pic>
      <p:sp>
        <p:nvSpPr>
          <p:cNvPr id="6" name="Rectangle 5"/>
          <p:cNvSpPr/>
          <p:nvPr/>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117" y="2899240"/>
            <a:ext cx="2880367" cy="1059525"/>
          </a:xfrm>
          <a:prstGeom prst="rect">
            <a:avLst/>
          </a:prstGeom>
        </p:spPr>
      </p:pic>
      <p:sp>
        <p:nvSpPr>
          <p:cNvPr id="9" name="Rectangle 8"/>
          <p:cNvSpPr/>
          <p:nvPr userDrawn="1"/>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a:solidFill>
                <a:prstClr val="white"/>
              </a:solidFill>
            </a:endParaRP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46117" y="2899240"/>
            <a:ext cx="2880367" cy="1059525"/>
          </a:xfrm>
          <a:prstGeom prst="rect">
            <a:avLst/>
          </a:prstGeom>
        </p:spPr>
      </p:pic>
    </p:spTree>
    <p:extLst>
      <p:ext uri="{BB962C8B-B14F-4D97-AF65-F5344CB8AC3E}">
        <p14:creationId xmlns:p14="http://schemas.microsoft.com/office/powerpoint/2010/main" val="183269920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052"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13" name="Rectangle 12"/>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057400"/>
            <a:ext cx="5486400" cy="2743426"/>
          </a:xfrm>
          <a:noFill/>
        </p:spPr>
        <p:txBody>
          <a:bodyPr vert="horz" lIns="137160" tIns="137160" rIns="137160" bIns="137160" rtlCol="0" anchor="t" anchorCtr="0">
            <a:normAutofit/>
          </a:bodyPr>
          <a:lstStyle>
            <a:lvl1pPr>
              <a:defRPr lang="en-US" sz="4399"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13" y="4800600"/>
            <a:ext cx="5486400" cy="914400"/>
          </a:xfrm>
        </p:spPr>
        <p:txBody>
          <a:bodyPr lIns="137160" tIns="137160" rIns="137160" bIns="137160">
            <a:noAutofit/>
          </a:bodyPr>
          <a:lstStyle>
            <a:lvl1pPr marL="0" indent="0">
              <a:spcBef>
                <a:spcPts val="0"/>
              </a:spcBef>
              <a:buNone/>
              <a:defRPr sz="1999">
                <a:solidFill>
                  <a:schemeClr val="bg1"/>
                </a:solidFill>
              </a:defRPr>
            </a:lvl1pPr>
            <a:lvl2pPr marL="281589" indent="0">
              <a:buNone/>
              <a:defRPr sz="1999">
                <a:solidFill>
                  <a:schemeClr val="bg1"/>
                </a:solidFill>
              </a:defRPr>
            </a:lvl2pPr>
            <a:lvl3pPr marL="588299" indent="0">
              <a:buNone/>
              <a:defRPr sz="1999">
                <a:solidFill>
                  <a:schemeClr val="bg1"/>
                </a:solidFill>
              </a:defRPr>
            </a:lvl3pPr>
            <a:lvl4pPr marL="869889" indent="0">
              <a:buNone/>
              <a:defRPr sz="1999">
                <a:solidFill>
                  <a:schemeClr val="bg1"/>
                </a:solidFill>
              </a:defRPr>
            </a:lvl4pPr>
            <a:lvl5pPr marL="1105208" indent="0">
              <a:buNone/>
              <a:defRPr sz="1999">
                <a:solidFill>
                  <a:schemeClr val="bg1"/>
                </a:solidFill>
              </a:defRPr>
            </a:lvl5pPr>
          </a:lstStyle>
          <a:p>
            <a:pPr lvl="0"/>
            <a:r>
              <a:rPr lang="en-US"/>
              <a:t>Speaker Name</a:t>
            </a:r>
          </a:p>
        </p:txBody>
      </p:sp>
      <p:sp>
        <p:nvSpPr>
          <p:cNvPr id="10" name="TextBox 9"/>
          <p:cNvSpPr txBox="1"/>
          <p:nvPr/>
        </p:nvSpPr>
        <p:spPr>
          <a:xfrm>
            <a:off x="7618016" y="381000"/>
            <a:ext cx="3809008" cy="1905000"/>
          </a:xfrm>
          <a:prstGeom prst="rect">
            <a:avLst/>
          </a:prstGeom>
        </p:spPr>
        <p:txBody>
          <a:bodyPr vert="horz" wrap="square" lIns="108793" tIns="54397" rIns="108793" bIns="54397" rtlCol="0" anchor="ctr">
            <a:normAutofit/>
          </a:bodyPr>
          <a:lstStyle/>
          <a:p>
            <a:r>
              <a:rPr lang="en-US" sz="1999">
                <a:solidFill>
                  <a:srgbClr val="D2D2D2"/>
                </a:solidFill>
                <a:ea typeface="Segoe UI" pitchFamily="34" charset="0"/>
                <a:cs typeface="Segoe UI" pitchFamily="34" charset="0"/>
              </a:rPr>
              <a:t>Click View &gt; Slide Master to insert a photo as a background behind the colored boxes.</a:t>
            </a:r>
          </a:p>
        </p:txBody>
      </p:sp>
      <p:sp>
        <p:nvSpPr>
          <p:cNvPr id="15" name="TextBox 14"/>
          <p:cNvSpPr txBox="1"/>
          <p:nvPr/>
        </p:nvSpPr>
        <p:spPr>
          <a:xfrm>
            <a:off x="7618016" y="381000"/>
            <a:ext cx="3809008" cy="1905000"/>
          </a:xfrm>
          <a:prstGeom prst="rect">
            <a:avLst/>
          </a:prstGeom>
        </p:spPr>
        <p:txBody>
          <a:bodyPr vert="horz" wrap="square" lIns="108793" tIns="54397" rIns="108793" bIns="54397" rtlCol="0" anchor="ctr">
            <a:normAutofit/>
          </a:bodyPr>
          <a:lstStyle/>
          <a:p>
            <a:r>
              <a:rPr lang="en-US" sz="1999">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9216" y="198357"/>
            <a:ext cx="1946596" cy="716042"/>
          </a:xfrm>
          <a:prstGeom prst="rect">
            <a:avLst/>
          </a:prstGeom>
        </p:spPr>
      </p:pic>
      <p:sp>
        <p:nvSpPr>
          <p:cNvPr id="14" name="TextBox 13"/>
          <p:cNvSpPr txBox="1"/>
          <p:nvPr userDrawn="1"/>
        </p:nvSpPr>
        <p:spPr>
          <a:xfrm>
            <a:off x="7618016" y="381000"/>
            <a:ext cx="3809008" cy="1905000"/>
          </a:xfrm>
          <a:prstGeom prst="rect">
            <a:avLst/>
          </a:prstGeom>
        </p:spPr>
        <p:txBody>
          <a:bodyPr vert="horz" wrap="square" lIns="108793" tIns="54397" rIns="108793" bIns="54397" rtlCol="0" anchor="ctr">
            <a:normAutofit/>
          </a:bodyPr>
          <a:lstStyle/>
          <a:p>
            <a:r>
              <a:rPr lang="en-US" sz="1999">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9216" y="198357"/>
            <a:ext cx="1946596" cy="716042"/>
          </a:xfrm>
          <a:prstGeom prst="rect">
            <a:avLst/>
          </a:prstGeom>
        </p:spPr>
      </p:pic>
    </p:spTree>
    <p:extLst>
      <p:ext uri="{BB962C8B-B14F-4D97-AF65-F5344CB8AC3E}">
        <p14:creationId xmlns:p14="http://schemas.microsoft.com/office/powerpoint/2010/main" val="2348330182"/>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057400"/>
            <a:ext cx="5486400"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13" y="4800600"/>
            <a:ext cx="5486400"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a:t>Speaker Name</a:t>
            </a: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916" y="200779"/>
            <a:ext cx="1946593" cy="716042"/>
          </a:xfrm>
          <a:prstGeom prst="rect">
            <a:avLst/>
          </a:prstGeom>
        </p:spPr>
      </p:pic>
    </p:spTree>
    <p:extLst>
      <p:ext uri="{BB962C8B-B14F-4D97-AF65-F5344CB8AC3E}">
        <p14:creationId xmlns:p14="http://schemas.microsoft.com/office/powerpoint/2010/main" val="3063975589"/>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07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13" name="Rectangle 12"/>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057400"/>
            <a:ext cx="5486400" cy="2743426"/>
          </a:xfrm>
          <a:noFill/>
        </p:spPr>
        <p:txBody>
          <a:bodyPr vert="horz" lIns="137160" tIns="137160" rIns="137160" bIns="137160" rtlCol="0" anchor="t" anchorCtr="0">
            <a:normAutofit/>
          </a:bodyPr>
          <a:lstStyle>
            <a:lvl1pPr>
              <a:defRPr lang="en-US" sz="4399"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13" y="4800600"/>
            <a:ext cx="5486400" cy="914400"/>
          </a:xfrm>
        </p:spPr>
        <p:txBody>
          <a:bodyPr lIns="137160" tIns="137160" rIns="137160" bIns="137160">
            <a:noAutofit/>
          </a:bodyPr>
          <a:lstStyle>
            <a:lvl1pPr marL="0" indent="0">
              <a:spcBef>
                <a:spcPts val="0"/>
              </a:spcBef>
              <a:buNone/>
              <a:defRPr sz="1999">
                <a:solidFill>
                  <a:schemeClr val="bg1"/>
                </a:solidFill>
              </a:defRPr>
            </a:lvl1pPr>
            <a:lvl2pPr marL="281589" indent="0">
              <a:buNone/>
              <a:defRPr sz="1999">
                <a:solidFill>
                  <a:schemeClr val="bg1"/>
                </a:solidFill>
              </a:defRPr>
            </a:lvl2pPr>
            <a:lvl3pPr marL="588299" indent="0">
              <a:buNone/>
              <a:defRPr sz="1999">
                <a:solidFill>
                  <a:schemeClr val="bg1"/>
                </a:solidFill>
              </a:defRPr>
            </a:lvl3pPr>
            <a:lvl4pPr marL="869889" indent="0">
              <a:buNone/>
              <a:defRPr sz="1999">
                <a:solidFill>
                  <a:schemeClr val="bg1"/>
                </a:solidFill>
              </a:defRPr>
            </a:lvl4pPr>
            <a:lvl5pPr marL="1105208" indent="0">
              <a:buNone/>
              <a:defRPr sz="1999">
                <a:solidFill>
                  <a:schemeClr val="bg1"/>
                </a:solidFill>
              </a:defRPr>
            </a:lvl5pPr>
          </a:lstStyle>
          <a:p>
            <a:pPr lvl="0"/>
            <a:r>
              <a:rPr lang="en-US"/>
              <a:t>Speaker Name</a:t>
            </a:r>
          </a:p>
        </p:txBody>
      </p:sp>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1916" y="200779"/>
            <a:ext cx="1946593" cy="716042"/>
          </a:xfrm>
          <a:prstGeom prst="rect">
            <a:avLst/>
          </a:prstGeom>
        </p:spPr>
      </p:pic>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1916" y="200779"/>
            <a:ext cx="1946593" cy="716042"/>
          </a:xfrm>
          <a:prstGeom prst="rect">
            <a:avLst/>
          </a:prstGeom>
        </p:spPr>
      </p:pic>
    </p:spTree>
    <p:extLst>
      <p:ext uri="{BB962C8B-B14F-4D97-AF65-F5344CB8AC3E}">
        <p14:creationId xmlns:p14="http://schemas.microsoft.com/office/powerpoint/2010/main" val="3814547072"/>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100"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646046"/>
            <a:ext cx="12188825"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a:t>Click to add subtitle</a:t>
            </a:r>
          </a:p>
        </p:txBody>
      </p:sp>
      <p:sp>
        <p:nvSpPr>
          <p:cNvPr id="16" name="Text Placeholder 15"/>
          <p:cNvSpPr>
            <a:spLocks noGrp="1"/>
          </p:cNvSpPr>
          <p:nvPr>
            <p:ph type="body" sz="quarter" idx="14"/>
          </p:nvPr>
        </p:nvSpPr>
        <p:spPr>
          <a:xfrm>
            <a:off x="150813" y="1600200"/>
            <a:ext cx="11887200"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
        <p:nvSpPr>
          <p:cNvPr id="20" name="Footer Placeholder 19"/>
          <p:cNvSpPr>
            <a:spLocks noGrp="1"/>
          </p:cNvSpPr>
          <p:nvPr>
            <p:ph type="ftr" sz="quarter" idx="16"/>
          </p:nvPr>
        </p:nvSpPr>
        <p:spPr/>
        <p:txBody>
          <a:bodyPr/>
          <a:lstStyle/>
          <a:p>
            <a:endParaRPr lang="en-US">
              <a:solidFill>
                <a:srgbClr val="505050"/>
              </a:solidFill>
            </a:endParaRPr>
          </a:p>
        </p:txBody>
      </p:sp>
    </p:spTree>
    <p:extLst>
      <p:ext uri="{BB962C8B-B14F-4D97-AF65-F5344CB8AC3E}">
        <p14:creationId xmlns:p14="http://schemas.microsoft.com/office/powerpoint/2010/main" val="98659237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124"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p:txBody>
          <a:bodyPr/>
          <a:lstStyle/>
          <a:p>
            <a:endParaRPr lang="en-US">
              <a:solidFill>
                <a:srgbClr val="505050"/>
              </a:solidFill>
            </a:endParaRPr>
          </a:p>
        </p:txBody>
      </p:sp>
      <p:sp>
        <p:nvSpPr>
          <p:cNvPr id="5" name="Slide Number Placeholder 4"/>
          <p:cNvSpPr>
            <a:spLocks noGrp="1"/>
          </p:cNvSpPr>
          <p:nvPr>
            <p:ph type="sldNum" sz="quarter" idx="12"/>
          </p:nvPr>
        </p:nvSpPr>
        <p:spPr>
          <a:xfrm>
            <a:off x="11427024" y="6478589"/>
            <a:ext cx="761800" cy="379413"/>
          </a:xfrm>
          <a:prstGeom prst="rect">
            <a:avLst/>
          </a:prstGeom>
        </p:spPr>
        <p:txBody>
          <a:bodyPr/>
          <a:lstStyle/>
          <a:p>
            <a:fld id="{6A4C1A4A-E5E6-4CC1-B72C-A20A4EB3E2D2}" type="slidenum">
              <a:rPr lang="en-US" smtClean="0">
                <a:solidFill>
                  <a:srgbClr val="505050"/>
                </a:solidFill>
              </a:rPr>
              <a:pPr/>
              <a:t>‹#›</a:t>
            </a:fld>
            <a:endParaRPr lang="en-US">
              <a:solidFill>
                <a:srgbClr val="505050"/>
              </a:solidFill>
            </a:endParaRPr>
          </a:p>
        </p:txBody>
      </p:sp>
      <p:sp>
        <p:nvSpPr>
          <p:cNvPr id="6" name="Text Placeholder 5"/>
          <p:cNvSpPr>
            <a:spLocks noGrp="1"/>
          </p:cNvSpPr>
          <p:nvPr>
            <p:ph type="body" sz="quarter" idx="13" hasCustomPrompt="1"/>
          </p:nvPr>
        </p:nvSpPr>
        <p:spPr>
          <a:xfrm>
            <a:off x="1" y="646046"/>
            <a:ext cx="12188825"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a:t>Click to add subtitle</a:t>
            </a:r>
          </a:p>
        </p:txBody>
      </p:sp>
    </p:spTree>
    <p:extLst>
      <p:ext uri="{BB962C8B-B14F-4D97-AF65-F5344CB8AC3E}">
        <p14:creationId xmlns:p14="http://schemas.microsoft.com/office/powerpoint/2010/main" val="316014840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14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150813" y="1600200"/>
            <a:ext cx="11887200" cy="4495800"/>
          </a:xfrm>
          <a:prstGeom prst="rect">
            <a:avLst/>
          </a:prstGeom>
        </p:spPr>
        <p:txBody>
          <a:bodyPr/>
          <a:lstStyle>
            <a:lvl1pPr marL="0"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1pPr>
            <a:lvl2pPr marL="281589"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2pPr>
            <a:lvl3pPr marL="588299"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3pPr>
            <a:lvl4pPr marL="869889"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4pPr>
            <a:lvl5pPr marL="1105208" indent="0">
              <a:buNone/>
              <a:defRPr>
                <a:solidFill>
                  <a:schemeClr val="tx1"/>
                </a:solidFill>
                <a:latin typeface="Segoe UI" panose="020B0502040204020203" pitchFamily="34" charset="0"/>
                <a:cs typeface="Segoe UI" panose="020B0502040204020203" pitchFamily="34" charset="0"/>
                <a:sym typeface="Segoe UI" panose="020B0502040204020203" pitchFamily="34"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nvPr>
        </p:nvSpPr>
        <p:spPr>
          <a:xfrm>
            <a:off x="1" y="646046"/>
            <a:ext cx="12188825"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a:t>Click to add subtitle</a:t>
            </a:r>
          </a:p>
        </p:txBody>
      </p:sp>
      <p:sp>
        <p:nvSpPr>
          <p:cNvPr id="6" name="Footer Placeholder 5"/>
          <p:cNvSpPr>
            <a:spLocks noGrp="1"/>
          </p:cNvSpPr>
          <p:nvPr>
            <p:ph type="ftr" sz="quarter" idx="16"/>
          </p:nvPr>
        </p:nvSpPr>
        <p:spPr/>
        <p:txBody>
          <a:bodyPr/>
          <a:lstStyle/>
          <a:p>
            <a:endParaRPr lang="en-US">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45262170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7172" name="think-cell Slide" r:id="rId4" imgW="377" imgH="377" progId="TCLayout.ActiveDocument.1">
                  <p:embed/>
                </p:oleObj>
              </mc:Choice>
              <mc:Fallback>
                <p:oleObj name="think-cell Slide" r:id="rId4" imgW="377" imgH="377" progId="TCLayout.ActiveDocument.1">
                  <p:embed/>
                  <p:pic>
                    <p:nvPicPr>
                      <p:cNvPr id="5" name="Object 4"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Footer Placeholder 1"/>
          <p:cNvSpPr>
            <a:spLocks noGrp="1"/>
          </p:cNvSpPr>
          <p:nvPr>
            <p:ph type="ftr" sz="quarter" idx="15"/>
          </p:nvPr>
        </p:nvSpPr>
        <p:spPr/>
        <p:txBody>
          <a:bodyPr/>
          <a:lstStyle/>
          <a:p>
            <a:endParaRPr lang="en-US">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
        <p:nvSpPr>
          <p:cNvPr id="4" name="Rectangle 3"/>
          <p:cNvSpPr/>
          <p:nvPr userDrawn="1"/>
        </p:nvSpPr>
        <p:spPr>
          <a:xfrm>
            <a:off x="1" y="0"/>
            <a:ext cx="12188825" cy="6858000"/>
          </a:xfrm>
          <a:prstGeom prst="rect">
            <a:avLst/>
          </a:prstGeom>
          <a:gradFill flip="none" rotWithShape="1">
            <a:gsLst>
              <a:gs pos="0">
                <a:schemeClr val="tx2"/>
              </a:gs>
              <a:gs pos="100000">
                <a:schemeClr val="bg2">
                  <a:lumMod val="90000"/>
                  <a:lumOff val="1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a:endParaRPr lang="en-US" sz="1200">
              <a:solidFill>
                <a:prstClr val="white"/>
              </a:solidFill>
            </a:endParaRPr>
          </a:p>
        </p:txBody>
      </p:sp>
    </p:spTree>
    <p:extLst>
      <p:ext uri="{BB962C8B-B14F-4D97-AF65-F5344CB8AC3E}">
        <p14:creationId xmlns:p14="http://schemas.microsoft.com/office/powerpoint/2010/main" val="92153647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819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6" name="Rectangle 5"/>
          <p:cNvSpPr/>
          <p:nvPr/>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14" y="1143002"/>
            <a:ext cx="1005839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50812" y="3877278"/>
            <a:ext cx="10058401" cy="1837723"/>
          </a:xfrm>
          <a:noFill/>
        </p:spPr>
        <p:txBody>
          <a:bodyPr lIns="137160" tIns="137160" rIns="137160" bIns="137160">
            <a:noAutofit/>
          </a:bodyPr>
          <a:lstStyle>
            <a:lvl1pPr marL="0" indent="0">
              <a:spcBef>
                <a:spcPts val="0"/>
              </a:spcBef>
              <a:buNone/>
              <a:defRPr sz="2799"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2191530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9220"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6" name="Rectangle 5"/>
          <p:cNvSpPr/>
          <p:nvPr/>
        </p:nvSpPr>
        <p:spPr bwMode="auto">
          <a:xfrm>
            <a:off x="150814"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14"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14" y="1143001"/>
            <a:ext cx="1005839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a:t>Video title</a:t>
            </a:r>
          </a:p>
        </p:txBody>
      </p:sp>
      <p:sp>
        <p:nvSpPr>
          <p:cNvPr id="5" name="Text Placeholder 4"/>
          <p:cNvSpPr>
            <a:spLocks noGrp="1"/>
          </p:cNvSpPr>
          <p:nvPr>
            <p:ph type="body" sz="quarter" idx="12" hasCustomPrompt="1"/>
          </p:nvPr>
        </p:nvSpPr>
        <p:spPr>
          <a:xfrm>
            <a:off x="150813" y="3886200"/>
            <a:ext cx="10058400" cy="1828800"/>
          </a:xfrm>
          <a:noFill/>
        </p:spPr>
        <p:txBody>
          <a:bodyPr lIns="137160" tIns="137160" rIns="137160" bIns="137160">
            <a:noAutofit/>
          </a:bodyPr>
          <a:lstStyle>
            <a:lvl1pPr marL="0" indent="0">
              <a:spcBef>
                <a:spcPts val="0"/>
              </a:spcBef>
              <a:buNone/>
              <a:defRPr sz="2799"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14"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3509130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0244"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FFFFFF"/>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8876364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1268"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FFFFFF"/>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3580972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2292"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0797113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0" y="573604"/>
            <a:ext cx="12188825"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16" name="Text Placeholder 15"/>
          <p:cNvSpPr>
            <a:spLocks noGrp="1"/>
          </p:cNvSpPr>
          <p:nvPr>
            <p:ph type="body" sz="quarter" idx="14"/>
          </p:nvPr>
        </p:nvSpPr>
        <p:spPr>
          <a:xfrm>
            <a:off x="150813" y="1600200"/>
            <a:ext cx="11887200"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pPr/>
              <a:t>‹#›</a:t>
            </a:fld>
            <a:endParaRPr lang="en-US"/>
          </a:p>
        </p:txBody>
      </p:sp>
    </p:spTree>
    <p:extLst>
      <p:ext uri="{BB962C8B-B14F-4D97-AF65-F5344CB8AC3E}">
        <p14:creationId xmlns:p14="http://schemas.microsoft.com/office/powerpoint/2010/main" val="2523104015"/>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3316"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3233444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340"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40163525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5364"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chemeClr val="tx1"/>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2843307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638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27012" y="1600200"/>
            <a:ext cx="11353800"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1" y="6238878"/>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99"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76782200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7412"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5" name="Rectangle 4"/>
          <p:cNvSpPr/>
          <p:nvPr/>
        </p:nvSpPr>
        <p:spPr>
          <a:xfrm>
            <a:off x="1"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a:solidFill>
                <a:prstClr val="white"/>
              </a:solidFill>
            </a:endParaRPr>
          </a:p>
        </p:txBody>
      </p:sp>
      <p:sp>
        <p:nvSpPr>
          <p:cNvPr id="4" name="Rectangle 3"/>
          <p:cNvSpPr/>
          <p:nvPr/>
        </p:nvSpPr>
        <p:spPr>
          <a:xfrm>
            <a:off x="1"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a:solidFill>
                <a:prstClr val="white"/>
              </a:solidFill>
            </a:endParaRPr>
          </a:p>
        </p:txBody>
      </p:sp>
      <p:sp>
        <p:nvSpPr>
          <p:cNvPr id="8" name="Rectangle 7"/>
          <p:cNvSpPr/>
          <p:nvPr/>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a:solidFill>
                <a:prstClr val="white"/>
              </a:solidFill>
            </a:endParaRPr>
          </a:p>
        </p:txBody>
      </p:sp>
      <p:pic>
        <p:nvPicPr>
          <p:cNvPr id="10" name="Picture 9"/>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446117" y="2899240"/>
            <a:ext cx="2880367" cy="1059525"/>
          </a:xfrm>
          <a:prstGeom prst="rect">
            <a:avLst/>
          </a:prstGeom>
        </p:spPr>
      </p:pic>
      <p:sp>
        <p:nvSpPr>
          <p:cNvPr id="6" name="Rectangle 5"/>
          <p:cNvSpPr/>
          <p:nvPr/>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a:solidFill>
                <a:prstClr val="white"/>
              </a:solidFill>
            </a:endParaRPr>
          </a:p>
        </p:txBody>
      </p:sp>
      <p:pic>
        <p:nvPicPr>
          <p:cNvPr id="7" name="Picture 6"/>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446117" y="2899240"/>
            <a:ext cx="2880367" cy="1059525"/>
          </a:xfrm>
          <a:prstGeom prst="rect">
            <a:avLst/>
          </a:prstGeom>
        </p:spPr>
      </p:pic>
      <p:sp>
        <p:nvSpPr>
          <p:cNvPr id="9" name="Rectangle 8"/>
          <p:cNvSpPr/>
          <p:nvPr userDrawn="1"/>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a:solidFill>
                <a:prstClr val="white"/>
              </a:solidFill>
            </a:endParaRPr>
          </a:p>
        </p:txBody>
      </p:sp>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46117" y="2899238"/>
            <a:ext cx="2883575" cy="1060704"/>
          </a:xfrm>
          <a:prstGeom prst="rect">
            <a:avLst/>
          </a:prstGeom>
        </p:spPr>
      </p:pic>
    </p:spTree>
    <p:extLst>
      <p:ext uri="{BB962C8B-B14F-4D97-AF65-F5344CB8AC3E}">
        <p14:creationId xmlns:p14="http://schemas.microsoft.com/office/powerpoint/2010/main" val="416344852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6"/>
            <a:ext cx="11650488" cy="1796217"/>
          </a:xfrm>
          <a:noFill/>
        </p:spPr>
        <p:txBody>
          <a:bodyPr tIns="91440" bIns="91440" anchor="t" anchorCtr="0"/>
          <a:lstStyle>
            <a:lvl1pPr algn="l" defTabSz="913819" rtl="0" eaLnBrk="1" latinLnBrk="0" hangingPunct="1">
              <a:lnSpc>
                <a:spcPct val="90000"/>
              </a:lnSpc>
              <a:spcBef>
                <a:spcPct val="0"/>
              </a:spcBef>
              <a:buNone/>
              <a:defRPr lang="en-US" sz="8621" b="0" kern="1200" cap="none" spc="-98" baseline="0" dirty="0">
                <a:ln w="3175">
                  <a:noFill/>
                </a:ln>
                <a:gradFill>
                  <a:gsLst>
                    <a:gs pos="91241">
                      <a:srgbClr val="000000"/>
                    </a:gs>
                    <a:gs pos="60000">
                      <a:srgbClr val="000000"/>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621091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173" y="1189182"/>
            <a:ext cx="11652805" cy="2018835"/>
          </a:xfrm>
        </p:spPr>
        <p:txBody>
          <a:bodyPr/>
          <a:lstStyle>
            <a:lvl1pPr marL="0" indent="0">
              <a:buNone/>
              <a:defRPr/>
            </a:lvl1pPr>
            <a:lvl2pPr marL="27996" indent="0">
              <a:buNone/>
              <a:defRPr sz="1959"/>
            </a:lvl2pPr>
            <a:lvl3pPr marL="219296" indent="0">
              <a:buNone/>
              <a:defRPr sz="1959"/>
            </a:lvl3pPr>
            <a:lvl4pPr marL="466588" indent="0">
              <a:buNone/>
              <a:defRPr sz="1763"/>
            </a:lvl4pPr>
            <a:lvl5pPr marL="724766" indent="0">
              <a:buNone/>
              <a:defRPr sz="176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p:cNvSpPr>
            <a:spLocks noGrp="1"/>
          </p:cNvSpPr>
          <p:nvPr>
            <p:ph type="sldNum" sz="quarter" idx="12"/>
          </p:nvPr>
        </p:nvSpPr>
        <p:spPr/>
        <p:txBody>
          <a:bodyPr/>
          <a:lstStyle/>
          <a:p>
            <a:pPr marL="167972"/>
            <a:fld id="{C9A871AC-A86D-4E3C-88B8-BCF6B56DF8AD}" type="slidenum">
              <a:rPr lang="en-US" smtClean="0">
                <a:solidFill>
                  <a:srgbClr val="505050">
                    <a:tint val="75000"/>
                  </a:srgbClr>
                </a:solidFill>
              </a:rPr>
              <a:pPr marL="167972"/>
              <a:t>‹#›</a:t>
            </a:fld>
            <a:endParaRPr lang="en-US">
              <a:solidFill>
                <a:srgbClr val="505050">
                  <a:tint val="75000"/>
                </a:srgbClr>
              </a:solidFill>
            </a:endParaRPr>
          </a:p>
        </p:txBody>
      </p:sp>
    </p:spTree>
    <p:extLst>
      <p:ext uri="{BB962C8B-B14F-4D97-AF65-F5344CB8AC3E}">
        <p14:creationId xmlns:p14="http://schemas.microsoft.com/office/powerpoint/2010/main" val="41794683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2_Title Only">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11797" y="-101208"/>
            <a:ext cx="1061829" cy="390689"/>
          </a:xfrm>
          <a:prstGeom prst="rect">
            <a:avLst/>
          </a:prstGeom>
        </p:spPr>
      </p:pic>
      <p:sp>
        <p:nvSpPr>
          <p:cNvPr id="11" name="Title 1"/>
          <p:cNvSpPr>
            <a:spLocks noGrp="1"/>
          </p:cNvSpPr>
          <p:nvPr>
            <p:ph type="title"/>
          </p:nvPr>
        </p:nvSpPr>
        <p:spPr>
          <a:xfrm>
            <a:off x="131668" y="616682"/>
            <a:ext cx="11652805" cy="362372"/>
          </a:xfrm>
        </p:spPr>
        <p:txBody>
          <a:bodyPr/>
          <a:lstStyle>
            <a:lvl1pPr>
              <a:defRPr sz="2398"/>
            </a:lvl1pPr>
          </a:lstStyle>
          <a:p>
            <a:r>
              <a:rPr lang="en-US"/>
              <a:t>Click to edit Master title style</a:t>
            </a:r>
          </a:p>
        </p:txBody>
      </p:sp>
      <p:sp>
        <p:nvSpPr>
          <p:cNvPr id="12" name="Rectangle 11"/>
          <p:cNvSpPr/>
          <p:nvPr userDrawn="1"/>
        </p:nvSpPr>
        <p:spPr bwMode="auto">
          <a:xfrm>
            <a:off x="54350" y="190103"/>
            <a:ext cx="12116874" cy="26517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4" tIns="146228" rIns="182784" bIns="146228" numCol="1" spcCol="0" rtlCol="0" fromWordArt="0" anchor="t" anchorCtr="0" forceAA="0" compatLnSpc="1">
            <a:prstTxWarp prst="textNoShape">
              <a:avLst/>
            </a:prstTxWarp>
            <a:noAutofit/>
          </a:bodyPr>
          <a:lstStyle/>
          <a:p>
            <a:pPr algn="ctr" defTabSz="931912" fontAlgn="base">
              <a:lnSpc>
                <a:spcPct val="90000"/>
              </a:lnSpc>
              <a:spcBef>
                <a:spcPct val="0"/>
              </a:spcBef>
              <a:spcAft>
                <a:spcPct val="0"/>
              </a:spcAft>
            </a:pPr>
            <a:endParaRPr lang="en-US" sz="800">
              <a:gradFill>
                <a:gsLst>
                  <a:gs pos="0">
                    <a:srgbClr val="FFFFFF"/>
                  </a:gs>
                  <a:gs pos="100000">
                    <a:srgbClr val="FFFFFF"/>
                  </a:gs>
                </a:gsLst>
                <a:lin ang="5400000" scaled="0"/>
              </a:gradFill>
              <a:ea typeface="Segoe UI" pitchFamily="34" charset="0"/>
              <a:cs typeface="Segoe UI" pitchFamily="34" charset="0"/>
            </a:endParaRPr>
          </a:p>
        </p:txBody>
      </p:sp>
      <p:sp>
        <p:nvSpPr>
          <p:cNvPr id="16" name="Minus 15"/>
          <p:cNvSpPr/>
          <p:nvPr userDrawn="1"/>
        </p:nvSpPr>
        <p:spPr bwMode="auto">
          <a:xfrm>
            <a:off x="-45421" y="453306"/>
            <a:ext cx="341817" cy="45719"/>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784" tIns="146228" rIns="182784" bIns="146228" numCol="1" spcCol="0" rtlCol="0" fromWordArt="0" anchor="t" anchorCtr="0" forceAA="0" compatLnSpc="1">
            <a:prstTxWarp prst="textNoShape">
              <a:avLst/>
            </a:prstTxWarp>
            <a:noAutofit/>
          </a:bodyPr>
          <a:lstStyle/>
          <a:p>
            <a:pPr algn="ctr" defTabSz="931912" fontAlgn="base">
              <a:lnSpc>
                <a:spcPct val="90000"/>
              </a:lnSpc>
              <a:spcBef>
                <a:spcPct val="0"/>
              </a:spcBef>
              <a:spcAft>
                <a:spcPct val="0"/>
              </a:spcAft>
            </a:pPr>
            <a:endParaRPr lang="en-US" sz="2398" err="1">
              <a:gradFill>
                <a:gsLst>
                  <a:gs pos="0">
                    <a:srgbClr val="FFFFFF"/>
                  </a:gs>
                  <a:gs pos="100000">
                    <a:srgbClr val="FFFFFF"/>
                  </a:gs>
                </a:gsLst>
                <a:lin ang="5400000" scaled="0"/>
              </a:gradFill>
              <a:ea typeface="Segoe UI" pitchFamily="34" charset="0"/>
              <a:cs typeface="Segoe UI" pitchFamily="34" charset="0"/>
            </a:endParaRPr>
          </a:p>
        </p:txBody>
      </p:sp>
      <p:sp>
        <p:nvSpPr>
          <p:cNvPr id="18" name="Round Same Side Corner Rectangle 17"/>
          <p:cNvSpPr/>
          <p:nvPr userDrawn="1"/>
        </p:nvSpPr>
        <p:spPr>
          <a:xfrm>
            <a:off x="2715420"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Enterprise Strategy @ Microsoft</a:t>
            </a:r>
            <a:endParaRPr lang="en-US" sz="900" b="1" kern="0">
              <a:solidFill>
                <a:srgbClr val="002050"/>
              </a:solidFill>
              <a:ea typeface="Segoe UI" pitchFamily="34" charset="0"/>
              <a:cs typeface="Segoe UI" pitchFamily="34" charset="0"/>
              <a:hlinkClick r:id="" action="ppaction://noaction"/>
            </a:endParaRPr>
          </a:p>
        </p:txBody>
      </p:sp>
      <p:sp>
        <p:nvSpPr>
          <p:cNvPr id="19" name="Round Same Side Corner Rectangle 18"/>
          <p:cNvSpPr/>
          <p:nvPr userDrawn="1"/>
        </p:nvSpPr>
        <p:spPr>
          <a:xfrm>
            <a:off x="5307995"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Accelerate Azure Usage</a:t>
            </a:r>
            <a:endParaRPr lang="en-US" sz="900" b="1" kern="0">
              <a:solidFill>
                <a:srgbClr val="002050"/>
              </a:solidFill>
              <a:ea typeface="Segoe UI" pitchFamily="34" charset="0"/>
              <a:cs typeface="Segoe UI" pitchFamily="34" charset="0"/>
              <a:hlinkClick r:id="" action="ppaction://noaction"/>
            </a:endParaRPr>
          </a:p>
        </p:txBody>
      </p:sp>
      <p:sp>
        <p:nvSpPr>
          <p:cNvPr id="22" name="Round Same Side Corner Rectangle 21"/>
          <p:cNvSpPr/>
          <p:nvPr userDrawn="1"/>
        </p:nvSpPr>
        <p:spPr>
          <a:xfrm>
            <a:off x="6609364"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Sustained Presence</a:t>
            </a:r>
            <a:endParaRPr lang="en-US" sz="900" b="1" kern="0">
              <a:solidFill>
                <a:srgbClr val="002050"/>
              </a:solidFill>
              <a:ea typeface="Segoe UI" pitchFamily="34" charset="0"/>
              <a:cs typeface="Segoe UI" pitchFamily="34" charset="0"/>
              <a:hlinkClick r:id="" action="ppaction://noaction"/>
            </a:endParaRPr>
          </a:p>
        </p:txBody>
      </p:sp>
      <p:sp>
        <p:nvSpPr>
          <p:cNvPr id="23" name="Round Same Side Corner Rectangle 22"/>
          <p:cNvSpPr/>
          <p:nvPr userDrawn="1"/>
        </p:nvSpPr>
        <p:spPr>
          <a:xfrm>
            <a:off x="9228752"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505050"/>
                </a:solidFill>
                <a:ea typeface="Segoe UI" pitchFamily="34" charset="0"/>
                <a:cs typeface="Segoe UI" pitchFamily="34" charset="0"/>
                <a:hlinkClick r:id="" action="ppaction://noaction"/>
              </a:rPr>
              <a:t>Customer Evidence</a:t>
            </a:r>
          </a:p>
        </p:txBody>
      </p:sp>
      <p:sp>
        <p:nvSpPr>
          <p:cNvPr id="24" name="Round Same Side Corner Rectangle 23"/>
          <p:cNvSpPr/>
          <p:nvPr userDrawn="1"/>
        </p:nvSpPr>
        <p:spPr>
          <a:xfrm>
            <a:off x="4016787"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Lead with the Cloud</a:t>
            </a:r>
            <a:endParaRPr lang="en-US" sz="900" b="1" kern="0">
              <a:solidFill>
                <a:srgbClr val="002050"/>
              </a:solidFill>
              <a:ea typeface="Segoe UI" pitchFamily="34" charset="0"/>
              <a:cs typeface="Segoe UI" pitchFamily="34" charset="0"/>
              <a:hlinkClick r:id="" action="ppaction://noaction"/>
            </a:endParaRPr>
          </a:p>
        </p:txBody>
      </p:sp>
      <p:sp>
        <p:nvSpPr>
          <p:cNvPr id="25" name="Round Same Side Corner Rectangle 24"/>
          <p:cNvSpPr/>
          <p:nvPr userDrawn="1"/>
        </p:nvSpPr>
        <p:spPr>
          <a:xfrm>
            <a:off x="112686" y="228992"/>
            <a:ext cx="1279827" cy="292608"/>
          </a:xfrm>
          <a:prstGeom prst="round2SameRect">
            <a:avLst/>
          </a:prstGeom>
          <a:solidFill>
            <a:schemeClr val="bg1"/>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505050"/>
                </a:solidFill>
                <a:ea typeface="Segoe UI" pitchFamily="34" charset="0"/>
                <a:cs typeface="Segoe UI" pitchFamily="34" charset="0"/>
                <a:hlinkClick r:id="" action="ppaction://noaction"/>
              </a:rPr>
              <a:t>ReadMe</a:t>
            </a:r>
          </a:p>
        </p:txBody>
      </p:sp>
      <p:sp>
        <p:nvSpPr>
          <p:cNvPr id="26" name="Minus 25"/>
          <p:cNvSpPr/>
          <p:nvPr userDrawn="1"/>
        </p:nvSpPr>
        <p:spPr bwMode="auto">
          <a:xfrm>
            <a:off x="11739548" y="437585"/>
            <a:ext cx="508569" cy="45720"/>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784" tIns="146228" rIns="182784" bIns="146228" numCol="1" spcCol="0" rtlCol="0" fromWordArt="0" anchor="t" anchorCtr="0" forceAA="0" compatLnSpc="1">
            <a:prstTxWarp prst="textNoShape">
              <a:avLst/>
            </a:prstTxWarp>
            <a:noAutofit/>
          </a:bodyPr>
          <a:lstStyle/>
          <a:p>
            <a:pPr algn="ctr" defTabSz="931912" fontAlgn="base">
              <a:lnSpc>
                <a:spcPct val="90000"/>
              </a:lnSpc>
              <a:spcBef>
                <a:spcPct val="0"/>
              </a:spcBef>
              <a:spcAft>
                <a:spcPct val="0"/>
              </a:spcAft>
            </a:pPr>
            <a:endParaRPr lang="en-US" sz="800" err="1">
              <a:gradFill>
                <a:gsLst>
                  <a:gs pos="0">
                    <a:srgbClr val="FFFFFF"/>
                  </a:gs>
                  <a:gs pos="100000">
                    <a:srgbClr val="FFFFFF"/>
                  </a:gs>
                </a:gsLst>
                <a:lin ang="5400000" scaled="0"/>
              </a:gradFill>
              <a:ea typeface="Segoe UI" pitchFamily="34" charset="0"/>
              <a:cs typeface="Segoe UI" pitchFamily="34" charset="0"/>
            </a:endParaRPr>
          </a:p>
        </p:txBody>
      </p:sp>
      <p:sp>
        <p:nvSpPr>
          <p:cNvPr id="29" name="Round Same Side Corner Rectangle 28"/>
          <p:cNvSpPr/>
          <p:nvPr userDrawn="1"/>
        </p:nvSpPr>
        <p:spPr>
          <a:xfrm>
            <a:off x="7920892"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Stand Alone</a:t>
            </a:r>
            <a:endParaRPr lang="en-US" sz="900" b="1" kern="0">
              <a:solidFill>
                <a:srgbClr val="002050"/>
              </a:solidFill>
              <a:ea typeface="Segoe UI" pitchFamily="34" charset="0"/>
              <a:cs typeface="Segoe UI" pitchFamily="34" charset="0"/>
              <a:hlinkClick r:id="" action="ppaction://noaction"/>
            </a:endParaRPr>
          </a:p>
        </p:txBody>
      </p:sp>
      <p:sp>
        <p:nvSpPr>
          <p:cNvPr id="20" name="Round Same Side Corner Rectangle 19"/>
          <p:cNvSpPr/>
          <p:nvPr userDrawn="1"/>
        </p:nvSpPr>
        <p:spPr>
          <a:xfrm>
            <a:off x="10536611"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Resources</a:t>
            </a:r>
            <a:endParaRPr lang="en-US" sz="900" b="1" kern="0">
              <a:solidFill>
                <a:srgbClr val="002050"/>
              </a:solidFill>
              <a:ea typeface="Segoe UI" pitchFamily="34" charset="0"/>
              <a:cs typeface="Segoe UI" pitchFamily="34" charset="0"/>
              <a:hlinkClick r:id="" action="ppaction://noaction"/>
            </a:endParaRPr>
          </a:p>
        </p:txBody>
      </p:sp>
      <p:sp>
        <p:nvSpPr>
          <p:cNvPr id="21" name="Round Same Side Corner Rectangle 20"/>
          <p:cNvSpPr/>
          <p:nvPr userDrawn="1"/>
        </p:nvSpPr>
        <p:spPr>
          <a:xfrm>
            <a:off x="1414051"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505050"/>
                </a:solidFill>
                <a:ea typeface="Segoe UI" pitchFamily="34" charset="0"/>
                <a:cs typeface="Segoe UI" pitchFamily="34" charset="0"/>
                <a:hlinkClick r:id="" action="ppaction://noaction"/>
              </a:rPr>
              <a:t>Introduction</a:t>
            </a:r>
            <a:endParaRPr lang="en-US" sz="900" b="1" kern="0">
              <a:solidFill>
                <a:srgbClr val="505050"/>
              </a:solidFill>
              <a:ea typeface="Segoe UI" pitchFamily="34" charset="0"/>
              <a:cs typeface="Segoe UI" pitchFamily="34" charset="0"/>
            </a:endParaRPr>
          </a:p>
        </p:txBody>
      </p:sp>
      <p:sp>
        <p:nvSpPr>
          <p:cNvPr id="31" name="Slide Number Placeholder 2"/>
          <p:cNvSpPr>
            <a:spLocks noGrp="1"/>
          </p:cNvSpPr>
          <p:nvPr>
            <p:ph type="sldNum" sz="quarter" idx="10"/>
          </p:nvPr>
        </p:nvSpPr>
        <p:spPr>
          <a:xfrm>
            <a:off x="7780" y="6486818"/>
            <a:ext cx="2741474" cy="364224"/>
          </a:xfrm>
        </p:spPr>
        <p:txBody>
          <a:bodyPr/>
          <a:lstStyle/>
          <a:p>
            <a:pPr marL="167972"/>
            <a:fld id="{C9A871AC-A86D-4E3C-88B8-BCF6B56DF8AD}" type="slidenum">
              <a:rPr lang="en-US" smtClean="0">
                <a:solidFill>
                  <a:srgbClr val="505050">
                    <a:tint val="75000"/>
                  </a:srgbClr>
                </a:solidFill>
              </a:rPr>
              <a:pPr marL="167972"/>
              <a:t>‹#›</a:t>
            </a:fld>
            <a:endParaRPr lang="en-US">
              <a:solidFill>
                <a:srgbClr val="505050">
                  <a:tint val="75000"/>
                </a:srgbClr>
              </a:solidFill>
            </a:endParaRPr>
          </a:p>
        </p:txBody>
      </p:sp>
      <p:pic>
        <p:nvPicPr>
          <p:cNvPr id="30" name="Picture 29"/>
          <p:cNvPicPr>
            <a:picLocks noChangeAspect="1"/>
          </p:cNvPicPr>
          <p:nvPr userDrawn="1"/>
        </p:nvPicPr>
        <p:blipFill>
          <a:blip r:embed="rId3"/>
          <a:stretch>
            <a:fillRect/>
          </a:stretch>
        </p:blipFill>
        <p:spPr>
          <a:xfrm>
            <a:off x="11502662" y="6324740"/>
            <a:ext cx="627555" cy="486716"/>
          </a:xfrm>
          <a:prstGeom prst="rect">
            <a:avLst/>
          </a:prstGeom>
        </p:spPr>
      </p:pic>
      <p:sp>
        <p:nvSpPr>
          <p:cNvPr id="33" name="TextBox 32"/>
          <p:cNvSpPr txBox="1"/>
          <p:nvPr userDrawn="1"/>
        </p:nvSpPr>
        <p:spPr>
          <a:xfrm>
            <a:off x="11485066" y="6375544"/>
            <a:ext cx="645151" cy="373949"/>
          </a:xfrm>
          <a:prstGeom prst="rect">
            <a:avLst/>
          </a:prstGeom>
          <a:noFill/>
        </p:spPr>
        <p:txBody>
          <a:bodyPr wrap="square" lIns="91392" tIns="0" rIns="91392" bIns="0" rtlCol="0">
            <a:spAutoFit/>
          </a:bodyPr>
          <a:lstStyle/>
          <a:p>
            <a:pPr defTabSz="913852">
              <a:lnSpc>
                <a:spcPct val="90000"/>
              </a:lnSpc>
              <a:spcAft>
                <a:spcPts val="600"/>
              </a:spcAft>
            </a:pPr>
            <a:r>
              <a:rPr lang="en-US" sz="900" b="1">
                <a:solidFill>
                  <a:srgbClr val="FFFFFF"/>
                </a:solidFill>
              </a:rPr>
              <a:t>LEAD with the  Cloud</a:t>
            </a:r>
          </a:p>
        </p:txBody>
      </p:sp>
    </p:spTree>
    <p:extLst>
      <p:ext uri="{BB962C8B-B14F-4D97-AF65-F5344CB8AC3E}">
        <p14:creationId xmlns:p14="http://schemas.microsoft.com/office/powerpoint/2010/main" val="55449857"/>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marL="167972"/>
            <a:fld id="{C9A871AC-A86D-4E3C-88B8-BCF6B56DF8AD}" type="slidenum">
              <a:rPr lang="en-US" smtClean="0">
                <a:solidFill>
                  <a:srgbClr val="505050">
                    <a:tint val="75000"/>
                  </a:srgbClr>
                </a:solidFill>
              </a:rPr>
              <a:pPr marL="167972"/>
              <a:t>‹#›</a:t>
            </a:fld>
            <a:endParaRPr lang="en-US">
              <a:solidFill>
                <a:srgbClr val="505050">
                  <a:tint val="75000"/>
                </a:srgbClr>
              </a:solidFill>
            </a:endParaRPr>
          </a:p>
        </p:txBody>
      </p:sp>
      <p:sp>
        <p:nvSpPr>
          <p:cNvPr id="45" name="Title 1"/>
          <p:cNvSpPr>
            <a:spLocks noGrp="1"/>
          </p:cNvSpPr>
          <p:nvPr>
            <p:ph type="title"/>
          </p:nvPr>
        </p:nvSpPr>
        <p:spPr>
          <a:xfrm>
            <a:off x="121506" y="632401"/>
            <a:ext cx="11652805" cy="362372"/>
          </a:xfrm>
        </p:spPr>
        <p:txBody>
          <a:bodyPr/>
          <a:lstStyle>
            <a:lvl1pPr>
              <a:defRPr sz="2398"/>
            </a:lvl1pPr>
          </a:lstStyle>
          <a:p>
            <a:r>
              <a:rPr lang="en-US"/>
              <a:t>Click to edit Master title style</a:t>
            </a:r>
          </a:p>
        </p:txBody>
      </p:sp>
      <p:sp>
        <p:nvSpPr>
          <p:cNvPr id="24" name="Minus 23"/>
          <p:cNvSpPr/>
          <p:nvPr userDrawn="1"/>
        </p:nvSpPr>
        <p:spPr bwMode="auto">
          <a:xfrm>
            <a:off x="-45421" y="453306"/>
            <a:ext cx="341817" cy="45719"/>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784" tIns="146228" rIns="182784" bIns="146228" numCol="1" spcCol="0" rtlCol="0" fromWordArt="0" anchor="t" anchorCtr="0" forceAA="0" compatLnSpc="1">
            <a:prstTxWarp prst="textNoShape">
              <a:avLst/>
            </a:prstTxWarp>
            <a:noAutofit/>
          </a:bodyPr>
          <a:lstStyle/>
          <a:p>
            <a:pPr algn="ctr" defTabSz="931912" fontAlgn="base">
              <a:lnSpc>
                <a:spcPct val="90000"/>
              </a:lnSpc>
              <a:spcBef>
                <a:spcPct val="0"/>
              </a:spcBef>
              <a:spcAft>
                <a:spcPct val="0"/>
              </a:spcAft>
            </a:pPr>
            <a:endParaRPr lang="en-US" sz="2398" err="1">
              <a:gradFill>
                <a:gsLst>
                  <a:gs pos="0">
                    <a:srgbClr val="FFFFFF"/>
                  </a:gs>
                  <a:gs pos="100000">
                    <a:srgbClr val="FFFFFF"/>
                  </a:gs>
                </a:gsLst>
                <a:lin ang="5400000" scaled="0"/>
              </a:gradFill>
              <a:ea typeface="Segoe UI" pitchFamily="34" charset="0"/>
              <a:cs typeface="Segoe UI" pitchFamily="34" charset="0"/>
            </a:endParaRPr>
          </a:p>
        </p:txBody>
      </p:sp>
      <p:sp>
        <p:nvSpPr>
          <p:cNvPr id="25" name="Round Same Side Corner Rectangle 24"/>
          <p:cNvSpPr/>
          <p:nvPr userDrawn="1"/>
        </p:nvSpPr>
        <p:spPr>
          <a:xfrm>
            <a:off x="2715420"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Enterprise Strategy @ Microsoft</a:t>
            </a:r>
            <a:endParaRPr lang="en-US" sz="900" b="1" kern="0">
              <a:solidFill>
                <a:srgbClr val="002050"/>
              </a:solidFill>
              <a:ea typeface="Segoe UI" pitchFamily="34" charset="0"/>
              <a:cs typeface="Segoe UI" pitchFamily="34" charset="0"/>
              <a:hlinkClick r:id="" action="ppaction://noaction"/>
            </a:endParaRPr>
          </a:p>
        </p:txBody>
      </p:sp>
      <p:sp>
        <p:nvSpPr>
          <p:cNvPr id="26" name="Round Same Side Corner Rectangle 25"/>
          <p:cNvSpPr/>
          <p:nvPr userDrawn="1"/>
        </p:nvSpPr>
        <p:spPr>
          <a:xfrm>
            <a:off x="5307995"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Accelerate Azure Usage</a:t>
            </a:r>
            <a:endParaRPr lang="en-US" sz="900" b="1" kern="0">
              <a:solidFill>
                <a:srgbClr val="002050"/>
              </a:solidFill>
              <a:ea typeface="Segoe UI" pitchFamily="34" charset="0"/>
              <a:cs typeface="Segoe UI" pitchFamily="34" charset="0"/>
              <a:hlinkClick r:id="" action="ppaction://noaction"/>
            </a:endParaRPr>
          </a:p>
        </p:txBody>
      </p:sp>
      <p:sp>
        <p:nvSpPr>
          <p:cNvPr id="27" name="Round Same Side Corner Rectangle 26"/>
          <p:cNvSpPr/>
          <p:nvPr userDrawn="1"/>
        </p:nvSpPr>
        <p:spPr>
          <a:xfrm>
            <a:off x="6609364"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Sustained Presence</a:t>
            </a:r>
            <a:endParaRPr lang="en-US" sz="900" b="1" kern="0">
              <a:solidFill>
                <a:srgbClr val="002050"/>
              </a:solidFill>
              <a:ea typeface="Segoe UI" pitchFamily="34" charset="0"/>
              <a:cs typeface="Segoe UI" pitchFamily="34" charset="0"/>
              <a:hlinkClick r:id="" action="ppaction://noaction"/>
            </a:endParaRPr>
          </a:p>
        </p:txBody>
      </p:sp>
      <p:sp>
        <p:nvSpPr>
          <p:cNvPr id="28" name="Round Same Side Corner Rectangle 27"/>
          <p:cNvSpPr/>
          <p:nvPr userDrawn="1"/>
        </p:nvSpPr>
        <p:spPr>
          <a:xfrm>
            <a:off x="9228752"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505050"/>
                </a:solidFill>
                <a:ea typeface="Segoe UI" pitchFamily="34" charset="0"/>
                <a:cs typeface="Segoe UI" pitchFamily="34" charset="0"/>
                <a:hlinkClick r:id="" action="ppaction://noaction"/>
              </a:rPr>
              <a:t>Customer Evidence</a:t>
            </a:r>
          </a:p>
        </p:txBody>
      </p:sp>
      <p:sp>
        <p:nvSpPr>
          <p:cNvPr id="29" name="Round Same Side Corner Rectangle 28"/>
          <p:cNvSpPr/>
          <p:nvPr userDrawn="1"/>
        </p:nvSpPr>
        <p:spPr>
          <a:xfrm>
            <a:off x="4016787"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Lead with the Cloud</a:t>
            </a:r>
            <a:endParaRPr lang="en-US" sz="900" b="1" kern="0">
              <a:solidFill>
                <a:srgbClr val="002050"/>
              </a:solidFill>
              <a:ea typeface="Segoe UI" pitchFamily="34" charset="0"/>
              <a:cs typeface="Segoe UI" pitchFamily="34" charset="0"/>
              <a:hlinkClick r:id="" action="ppaction://noaction"/>
            </a:endParaRPr>
          </a:p>
        </p:txBody>
      </p:sp>
      <p:sp>
        <p:nvSpPr>
          <p:cNvPr id="30" name="Round Same Side Corner Rectangle 29"/>
          <p:cNvSpPr/>
          <p:nvPr userDrawn="1"/>
        </p:nvSpPr>
        <p:spPr>
          <a:xfrm>
            <a:off x="112686"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505050"/>
                </a:solidFill>
                <a:ea typeface="Segoe UI" pitchFamily="34" charset="0"/>
                <a:cs typeface="Segoe UI" pitchFamily="34" charset="0"/>
                <a:hlinkClick r:id="" action="ppaction://noaction"/>
              </a:rPr>
              <a:t>ReadMe</a:t>
            </a:r>
          </a:p>
        </p:txBody>
      </p:sp>
      <p:sp>
        <p:nvSpPr>
          <p:cNvPr id="31" name="Minus 30"/>
          <p:cNvSpPr/>
          <p:nvPr userDrawn="1"/>
        </p:nvSpPr>
        <p:spPr bwMode="auto">
          <a:xfrm>
            <a:off x="11739548" y="437585"/>
            <a:ext cx="508569" cy="45720"/>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784" tIns="146228" rIns="182784" bIns="146228" numCol="1" spcCol="0" rtlCol="0" fromWordArt="0" anchor="t" anchorCtr="0" forceAA="0" compatLnSpc="1">
            <a:prstTxWarp prst="textNoShape">
              <a:avLst/>
            </a:prstTxWarp>
            <a:noAutofit/>
          </a:bodyPr>
          <a:lstStyle/>
          <a:p>
            <a:pPr algn="ctr" defTabSz="931912" fontAlgn="base">
              <a:lnSpc>
                <a:spcPct val="90000"/>
              </a:lnSpc>
              <a:spcBef>
                <a:spcPct val="0"/>
              </a:spcBef>
              <a:spcAft>
                <a:spcPct val="0"/>
              </a:spcAft>
            </a:pPr>
            <a:endParaRPr lang="en-US" sz="800" err="1">
              <a:gradFill>
                <a:gsLst>
                  <a:gs pos="0">
                    <a:srgbClr val="FFFFFF"/>
                  </a:gs>
                  <a:gs pos="100000">
                    <a:srgbClr val="FFFFFF"/>
                  </a:gs>
                </a:gsLst>
                <a:lin ang="5400000" scaled="0"/>
              </a:gradFill>
              <a:ea typeface="Segoe UI" pitchFamily="34" charset="0"/>
              <a:cs typeface="Segoe UI" pitchFamily="34" charset="0"/>
            </a:endParaRPr>
          </a:p>
        </p:txBody>
      </p:sp>
      <p:sp>
        <p:nvSpPr>
          <p:cNvPr id="32" name="Round Same Side Corner Rectangle 31"/>
          <p:cNvSpPr/>
          <p:nvPr userDrawn="1"/>
        </p:nvSpPr>
        <p:spPr>
          <a:xfrm>
            <a:off x="7920892"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Stand Alone</a:t>
            </a:r>
            <a:endParaRPr lang="en-US" sz="900" b="1" kern="0">
              <a:solidFill>
                <a:srgbClr val="002050"/>
              </a:solidFill>
              <a:ea typeface="Segoe UI" pitchFamily="34" charset="0"/>
              <a:cs typeface="Segoe UI" pitchFamily="34" charset="0"/>
              <a:hlinkClick r:id="" action="ppaction://noaction"/>
            </a:endParaRPr>
          </a:p>
        </p:txBody>
      </p:sp>
      <p:sp>
        <p:nvSpPr>
          <p:cNvPr id="33" name="Round Same Side Corner Rectangle 32"/>
          <p:cNvSpPr/>
          <p:nvPr userDrawn="1"/>
        </p:nvSpPr>
        <p:spPr>
          <a:xfrm>
            <a:off x="10536611"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Resources</a:t>
            </a:r>
            <a:endParaRPr lang="en-US" sz="900" b="1" kern="0">
              <a:solidFill>
                <a:srgbClr val="002050"/>
              </a:solidFill>
              <a:ea typeface="Segoe UI" pitchFamily="34" charset="0"/>
              <a:cs typeface="Segoe UI" pitchFamily="34" charset="0"/>
              <a:hlinkClick r:id="" action="ppaction://noaction"/>
            </a:endParaRPr>
          </a:p>
        </p:txBody>
      </p:sp>
      <p:sp>
        <p:nvSpPr>
          <p:cNvPr id="34" name="Round Same Side Corner Rectangle 33"/>
          <p:cNvSpPr/>
          <p:nvPr userDrawn="1"/>
        </p:nvSpPr>
        <p:spPr>
          <a:xfrm>
            <a:off x="1414051" y="228992"/>
            <a:ext cx="1279827" cy="292608"/>
          </a:xfrm>
          <a:prstGeom prst="round2SameRect">
            <a:avLst/>
          </a:prstGeom>
          <a:solidFill>
            <a:schemeClr val="bg1"/>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505050"/>
                </a:solidFill>
                <a:ea typeface="Segoe UI" pitchFamily="34" charset="0"/>
                <a:cs typeface="Segoe UI" pitchFamily="34" charset="0"/>
                <a:hlinkClick r:id="" action="ppaction://noaction"/>
              </a:rPr>
              <a:t>Introduction</a:t>
            </a:r>
            <a:endParaRPr lang="en-US" sz="900" b="1" kern="0">
              <a:solidFill>
                <a:srgbClr val="505050"/>
              </a:solidFill>
              <a:ea typeface="Segoe UI" pitchFamily="34" charset="0"/>
              <a:cs typeface="Segoe UI" pitchFamily="34" charset="0"/>
            </a:endParaRPr>
          </a:p>
        </p:txBody>
      </p:sp>
      <p:pic>
        <p:nvPicPr>
          <p:cNvPr id="35" name="Picture 3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11797" y="-101208"/>
            <a:ext cx="1061829" cy="390689"/>
          </a:xfrm>
          <a:prstGeom prst="rect">
            <a:avLst/>
          </a:prstGeom>
        </p:spPr>
      </p:pic>
      <p:pic>
        <p:nvPicPr>
          <p:cNvPr id="39" name="Picture 38"/>
          <p:cNvPicPr>
            <a:picLocks noChangeAspect="1"/>
          </p:cNvPicPr>
          <p:nvPr userDrawn="1"/>
        </p:nvPicPr>
        <p:blipFill>
          <a:blip r:embed="rId3"/>
          <a:stretch>
            <a:fillRect/>
          </a:stretch>
        </p:blipFill>
        <p:spPr>
          <a:xfrm>
            <a:off x="11502662" y="6324740"/>
            <a:ext cx="627555" cy="486716"/>
          </a:xfrm>
          <a:prstGeom prst="rect">
            <a:avLst/>
          </a:prstGeom>
        </p:spPr>
      </p:pic>
      <p:sp>
        <p:nvSpPr>
          <p:cNvPr id="43" name="TextBox 42"/>
          <p:cNvSpPr txBox="1"/>
          <p:nvPr userDrawn="1"/>
        </p:nvSpPr>
        <p:spPr>
          <a:xfrm>
            <a:off x="11485066" y="6375544"/>
            <a:ext cx="645151" cy="373949"/>
          </a:xfrm>
          <a:prstGeom prst="rect">
            <a:avLst/>
          </a:prstGeom>
          <a:noFill/>
        </p:spPr>
        <p:txBody>
          <a:bodyPr wrap="square" lIns="91392" tIns="0" rIns="91392" bIns="0" rtlCol="0">
            <a:spAutoFit/>
          </a:bodyPr>
          <a:lstStyle/>
          <a:p>
            <a:pPr defTabSz="913852">
              <a:lnSpc>
                <a:spcPct val="90000"/>
              </a:lnSpc>
              <a:spcAft>
                <a:spcPts val="600"/>
              </a:spcAft>
            </a:pPr>
            <a:r>
              <a:rPr lang="en-US" sz="900" b="1">
                <a:solidFill>
                  <a:srgbClr val="FFFFFF"/>
                </a:solidFill>
              </a:rPr>
              <a:t>LEAD with the  Cloud</a:t>
            </a:r>
          </a:p>
        </p:txBody>
      </p:sp>
    </p:spTree>
    <p:extLst>
      <p:ext uri="{BB962C8B-B14F-4D97-AF65-F5344CB8AC3E}">
        <p14:creationId xmlns:p14="http://schemas.microsoft.com/office/powerpoint/2010/main" val="410928424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25" name="Title 1"/>
          <p:cNvSpPr>
            <a:spLocks noGrp="1"/>
          </p:cNvSpPr>
          <p:nvPr>
            <p:ph type="title"/>
          </p:nvPr>
        </p:nvSpPr>
        <p:spPr>
          <a:xfrm>
            <a:off x="131668" y="654183"/>
            <a:ext cx="11652805" cy="362372"/>
          </a:xfrm>
        </p:spPr>
        <p:txBody>
          <a:bodyPr/>
          <a:lstStyle>
            <a:lvl1pPr>
              <a:defRPr sz="2398"/>
            </a:lvl1pPr>
          </a:lstStyle>
          <a:p>
            <a:r>
              <a:rPr lang="en-US"/>
              <a:t>Click to edit Master title style</a:t>
            </a:r>
          </a:p>
        </p:txBody>
      </p:sp>
      <p:sp>
        <p:nvSpPr>
          <p:cNvPr id="52" name="Slide Number Placeholder 2"/>
          <p:cNvSpPr>
            <a:spLocks noGrp="1"/>
          </p:cNvSpPr>
          <p:nvPr>
            <p:ph type="sldNum" sz="quarter" idx="10"/>
          </p:nvPr>
        </p:nvSpPr>
        <p:spPr>
          <a:xfrm>
            <a:off x="7780" y="6486818"/>
            <a:ext cx="2741474" cy="364224"/>
          </a:xfrm>
        </p:spPr>
        <p:txBody>
          <a:bodyPr/>
          <a:lstStyle/>
          <a:p>
            <a:pPr marL="167972"/>
            <a:fld id="{C9A871AC-A86D-4E3C-88B8-BCF6B56DF8AD}" type="slidenum">
              <a:rPr lang="en-US" smtClean="0">
                <a:solidFill>
                  <a:srgbClr val="505050">
                    <a:tint val="75000"/>
                  </a:srgbClr>
                </a:solidFill>
              </a:rPr>
              <a:pPr marL="167972"/>
              <a:t>‹#›</a:t>
            </a:fld>
            <a:endParaRPr lang="en-US">
              <a:solidFill>
                <a:srgbClr val="505050">
                  <a:tint val="75000"/>
                </a:srgbClr>
              </a:solidFill>
            </a:endParaRPr>
          </a:p>
        </p:txBody>
      </p:sp>
      <p:sp>
        <p:nvSpPr>
          <p:cNvPr id="24" name="Minus 23"/>
          <p:cNvSpPr/>
          <p:nvPr userDrawn="1"/>
        </p:nvSpPr>
        <p:spPr bwMode="auto">
          <a:xfrm>
            <a:off x="-45421" y="453306"/>
            <a:ext cx="341817" cy="45719"/>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784" tIns="146228" rIns="182784" bIns="146228" numCol="1" spcCol="0" rtlCol="0" fromWordArt="0" anchor="t" anchorCtr="0" forceAA="0" compatLnSpc="1">
            <a:prstTxWarp prst="textNoShape">
              <a:avLst/>
            </a:prstTxWarp>
            <a:noAutofit/>
          </a:bodyPr>
          <a:lstStyle/>
          <a:p>
            <a:pPr algn="ctr" defTabSz="931912" fontAlgn="base">
              <a:lnSpc>
                <a:spcPct val="90000"/>
              </a:lnSpc>
              <a:spcBef>
                <a:spcPct val="0"/>
              </a:spcBef>
              <a:spcAft>
                <a:spcPct val="0"/>
              </a:spcAft>
            </a:pPr>
            <a:endParaRPr lang="en-US" sz="2398" err="1">
              <a:gradFill>
                <a:gsLst>
                  <a:gs pos="0">
                    <a:srgbClr val="FFFFFF"/>
                  </a:gs>
                  <a:gs pos="100000">
                    <a:srgbClr val="FFFFFF"/>
                  </a:gs>
                </a:gsLst>
                <a:lin ang="5400000" scaled="0"/>
              </a:gradFill>
              <a:ea typeface="Segoe UI" pitchFamily="34" charset="0"/>
              <a:cs typeface="Segoe UI" pitchFamily="34" charset="0"/>
            </a:endParaRPr>
          </a:p>
        </p:txBody>
      </p:sp>
      <p:sp>
        <p:nvSpPr>
          <p:cNvPr id="26" name="Round Same Side Corner Rectangle 25"/>
          <p:cNvSpPr/>
          <p:nvPr userDrawn="1"/>
        </p:nvSpPr>
        <p:spPr>
          <a:xfrm>
            <a:off x="2715420" y="228992"/>
            <a:ext cx="1279827" cy="292608"/>
          </a:xfrm>
          <a:prstGeom prst="round2SameRect">
            <a:avLst/>
          </a:prstGeom>
          <a:solidFill>
            <a:schemeClr val="bg1"/>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Enterprise Strategy @ Microsoft</a:t>
            </a:r>
            <a:endParaRPr lang="en-US" sz="900" b="1" kern="0">
              <a:solidFill>
                <a:srgbClr val="002050"/>
              </a:solidFill>
              <a:ea typeface="Segoe UI" pitchFamily="34" charset="0"/>
              <a:cs typeface="Segoe UI" pitchFamily="34" charset="0"/>
              <a:hlinkClick r:id="" action="ppaction://noaction"/>
            </a:endParaRPr>
          </a:p>
        </p:txBody>
      </p:sp>
      <p:sp>
        <p:nvSpPr>
          <p:cNvPr id="32" name="Round Same Side Corner Rectangle 31"/>
          <p:cNvSpPr/>
          <p:nvPr userDrawn="1"/>
        </p:nvSpPr>
        <p:spPr>
          <a:xfrm>
            <a:off x="5307995"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Accelerate Azure Usage</a:t>
            </a:r>
            <a:endParaRPr lang="en-US" sz="900" b="1" kern="0">
              <a:solidFill>
                <a:srgbClr val="002050"/>
              </a:solidFill>
              <a:ea typeface="Segoe UI" pitchFamily="34" charset="0"/>
              <a:cs typeface="Segoe UI" pitchFamily="34" charset="0"/>
              <a:hlinkClick r:id="" action="ppaction://noaction"/>
            </a:endParaRPr>
          </a:p>
        </p:txBody>
      </p:sp>
      <p:sp>
        <p:nvSpPr>
          <p:cNvPr id="33" name="Round Same Side Corner Rectangle 32"/>
          <p:cNvSpPr/>
          <p:nvPr userDrawn="1"/>
        </p:nvSpPr>
        <p:spPr>
          <a:xfrm>
            <a:off x="6609364"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Sustained Presence</a:t>
            </a:r>
            <a:endParaRPr lang="en-US" sz="900" b="1" kern="0">
              <a:solidFill>
                <a:srgbClr val="002050"/>
              </a:solidFill>
              <a:ea typeface="Segoe UI" pitchFamily="34" charset="0"/>
              <a:cs typeface="Segoe UI" pitchFamily="34" charset="0"/>
              <a:hlinkClick r:id="" action="ppaction://noaction"/>
            </a:endParaRPr>
          </a:p>
        </p:txBody>
      </p:sp>
      <p:sp>
        <p:nvSpPr>
          <p:cNvPr id="34" name="Round Same Side Corner Rectangle 33"/>
          <p:cNvSpPr/>
          <p:nvPr userDrawn="1"/>
        </p:nvSpPr>
        <p:spPr>
          <a:xfrm>
            <a:off x="9228752"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505050"/>
                </a:solidFill>
                <a:ea typeface="Segoe UI" pitchFamily="34" charset="0"/>
                <a:cs typeface="Segoe UI" pitchFamily="34" charset="0"/>
                <a:hlinkClick r:id="" action="ppaction://noaction"/>
              </a:rPr>
              <a:t>Customer Evidence</a:t>
            </a:r>
          </a:p>
        </p:txBody>
      </p:sp>
      <p:sp>
        <p:nvSpPr>
          <p:cNvPr id="36" name="Round Same Side Corner Rectangle 35"/>
          <p:cNvSpPr/>
          <p:nvPr userDrawn="1"/>
        </p:nvSpPr>
        <p:spPr>
          <a:xfrm>
            <a:off x="4016787"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Lead with the Cloud</a:t>
            </a:r>
            <a:endParaRPr lang="en-US" sz="900" b="1" kern="0">
              <a:solidFill>
                <a:srgbClr val="002050"/>
              </a:solidFill>
              <a:ea typeface="Segoe UI" pitchFamily="34" charset="0"/>
              <a:cs typeface="Segoe UI" pitchFamily="34" charset="0"/>
              <a:hlinkClick r:id="" action="ppaction://noaction"/>
            </a:endParaRPr>
          </a:p>
        </p:txBody>
      </p:sp>
      <p:sp>
        <p:nvSpPr>
          <p:cNvPr id="37" name="Round Same Side Corner Rectangle 36"/>
          <p:cNvSpPr/>
          <p:nvPr userDrawn="1"/>
        </p:nvSpPr>
        <p:spPr>
          <a:xfrm>
            <a:off x="112686"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505050"/>
                </a:solidFill>
                <a:ea typeface="Segoe UI" pitchFamily="34" charset="0"/>
                <a:cs typeface="Segoe UI" pitchFamily="34" charset="0"/>
                <a:hlinkClick r:id="" action="ppaction://noaction"/>
              </a:rPr>
              <a:t>ReadMe</a:t>
            </a:r>
          </a:p>
        </p:txBody>
      </p:sp>
      <p:sp>
        <p:nvSpPr>
          <p:cNvPr id="38" name="Minus 37"/>
          <p:cNvSpPr/>
          <p:nvPr userDrawn="1"/>
        </p:nvSpPr>
        <p:spPr bwMode="auto">
          <a:xfrm>
            <a:off x="11739548" y="437585"/>
            <a:ext cx="508569" cy="45720"/>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784" tIns="146228" rIns="182784" bIns="146228" numCol="1" spcCol="0" rtlCol="0" fromWordArt="0" anchor="t" anchorCtr="0" forceAA="0" compatLnSpc="1">
            <a:prstTxWarp prst="textNoShape">
              <a:avLst/>
            </a:prstTxWarp>
            <a:noAutofit/>
          </a:bodyPr>
          <a:lstStyle/>
          <a:p>
            <a:pPr algn="ctr" defTabSz="931912" fontAlgn="base">
              <a:lnSpc>
                <a:spcPct val="90000"/>
              </a:lnSpc>
              <a:spcBef>
                <a:spcPct val="0"/>
              </a:spcBef>
              <a:spcAft>
                <a:spcPct val="0"/>
              </a:spcAft>
            </a:pPr>
            <a:endParaRPr lang="en-US" sz="800" err="1">
              <a:gradFill>
                <a:gsLst>
                  <a:gs pos="0">
                    <a:srgbClr val="FFFFFF"/>
                  </a:gs>
                  <a:gs pos="100000">
                    <a:srgbClr val="FFFFFF"/>
                  </a:gs>
                </a:gsLst>
                <a:lin ang="5400000" scaled="0"/>
              </a:gradFill>
              <a:ea typeface="Segoe UI" pitchFamily="34" charset="0"/>
              <a:cs typeface="Segoe UI" pitchFamily="34" charset="0"/>
            </a:endParaRPr>
          </a:p>
        </p:txBody>
      </p:sp>
      <p:sp>
        <p:nvSpPr>
          <p:cNvPr id="39" name="Round Same Side Corner Rectangle 38"/>
          <p:cNvSpPr/>
          <p:nvPr userDrawn="1"/>
        </p:nvSpPr>
        <p:spPr>
          <a:xfrm>
            <a:off x="7920892"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Stand Alone</a:t>
            </a:r>
            <a:endParaRPr lang="en-US" sz="900" b="1" kern="0">
              <a:solidFill>
                <a:srgbClr val="002050"/>
              </a:solidFill>
              <a:ea typeface="Segoe UI" pitchFamily="34" charset="0"/>
              <a:cs typeface="Segoe UI" pitchFamily="34" charset="0"/>
              <a:hlinkClick r:id="" action="ppaction://noaction"/>
            </a:endParaRPr>
          </a:p>
        </p:txBody>
      </p:sp>
      <p:sp>
        <p:nvSpPr>
          <p:cNvPr id="40" name="Round Same Side Corner Rectangle 39"/>
          <p:cNvSpPr/>
          <p:nvPr userDrawn="1"/>
        </p:nvSpPr>
        <p:spPr>
          <a:xfrm>
            <a:off x="10536611"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Resources</a:t>
            </a:r>
            <a:endParaRPr lang="en-US" sz="900" b="1" kern="0">
              <a:solidFill>
                <a:srgbClr val="002050"/>
              </a:solidFill>
              <a:ea typeface="Segoe UI" pitchFamily="34" charset="0"/>
              <a:cs typeface="Segoe UI" pitchFamily="34" charset="0"/>
              <a:hlinkClick r:id="" action="ppaction://noaction"/>
            </a:endParaRPr>
          </a:p>
        </p:txBody>
      </p:sp>
      <p:sp>
        <p:nvSpPr>
          <p:cNvPr id="41" name="Round Same Side Corner Rectangle 40"/>
          <p:cNvSpPr/>
          <p:nvPr userDrawn="1"/>
        </p:nvSpPr>
        <p:spPr>
          <a:xfrm>
            <a:off x="1414051"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505050"/>
                </a:solidFill>
                <a:ea typeface="Segoe UI" pitchFamily="34" charset="0"/>
                <a:cs typeface="Segoe UI" pitchFamily="34" charset="0"/>
                <a:hlinkClick r:id="" action="ppaction://noaction"/>
              </a:rPr>
              <a:t>Introduction</a:t>
            </a:r>
            <a:endParaRPr lang="en-US" sz="900" b="1" kern="0">
              <a:solidFill>
                <a:srgbClr val="505050"/>
              </a:solidFill>
              <a:ea typeface="Segoe UI" pitchFamily="34" charset="0"/>
              <a:cs typeface="Segoe UI" pitchFamily="34" charset="0"/>
            </a:endParaRP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11797" y="-101208"/>
            <a:ext cx="1061829" cy="390689"/>
          </a:xfrm>
          <a:prstGeom prst="rect">
            <a:avLst/>
          </a:prstGeom>
        </p:spPr>
      </p:pic>
      <p:pic>
        <p:nvPicPr>
          <p:cNvPr id="43" name="Picture 42"/>
          <p:cNvPicPr>
            <a:picLocks noChangeAspect="1"/>
          </p:cNvPicPr>
          <p:nvPr userDrawn="1"/>
        </p:nvPicPr>
        <p:blipFill>
          <a:blip r:embed="rId3"/>
          <a:stretch>
            <a:fillRect/>
          </a:stretch>
        </p:blipFill>
        <p:spPr>
          <a:xfrm>
            <a:off x="11502662" y="6324740"/>
            <a:ext cx="627555" cy="486716"/>
          </a:xfrm>
          <a:prstGeom prst="rect">
            <a:avLst/>
          </a:prstGeom>
        </p:spPr>
      </p:pic>
      <p:sp>
        <p:nvSpPr>
          <p:cNvPr id="44" name="TextBox 43"/>
          <p:cNvSpPr txBox="1"/>
          <p:nvPr userDrawn="1"/>
        </p:nvSpPr>
        <p:spPr>
          <a:xfrm>
            <a:off x="11485066" y="6375544"/>
            <a:ext cx="645151" cy="373949"/>
          </a:xfrm>
          <a:prstGeom prst="rect">
            <a:avLst/>
          </a:prstGeom>
          <a:noFill/>
        </p:spPr>
        <p:txBody>
          <a:bodyPr wrap="square" lIns="91392" tIns="0" rIns="91392" bIns="0" rtlCol="0">
            <a:spAutoFit/>
          </a:bodyPr>
          <a:lstStyle/>
          <a:p>
            <a:pPr defTabSz="913852">
              <a:lnSpc>
                <a:spcPct val="90000"/>
              </a:lnSpc>
              <a:spcAft>
                <a:spcPts val="600"/>
              </a:spcAft>
            </a:pPr>
            <a:r>
              <a:rPr lang="en-US" sz="900" b="1">
                <a:solidFill>
                  <a:srgbClr val="FFFFFF"/>
                </a:solidFill>
              </a:rPr>
              <a:t>LEAD with the  Cloud</a:t>
            </a:r>
          </a:p>
        </p:txBody>
      </p:sp>
    </p:spTree>
    <p:extLst>
      <p:ext uri="{BB962C8B-B14F-4D97-AF65-F5344CB8AC3E}">
        <p14:creationId xmlns:p14="http://schemas.microsoft.com/office/powerpoint/2010/main" val="112901735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0" y="573604"/>
            <a:ext cx="12188825"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3" name="Slide Number Placeholder 2"/>
          <p:cNvSpPr>
            <a:spLocks noGrp="1"/>
          </p:cNvSpPr>
          <p:nvPr>
            <p:ph type="sldNum" sz="quarter" idx="14"/>
          </p:nvPr>
        </p:nvSpPr>
        <p:spPr/>
        <p:txBody>
          <a:bodyPr/>
          <a:lstStyle/>
          <a:p>
            <a:fld id="{FAADACFB-7C71-4E89-89D2-7BBA40B7BFA9}" type="slidenum">
              <a:rPr lang="en-US" smtClean="0"/>
              <a:pPr/>
              <a:t>‹#›</a:t>
            </a:fld>
            <a:endParaRPr lang="en-US"/>
          </a:p>
        </p:txBody>
      </p:sp>
    </p:spTree>
    <p:extLst>
      <p:ext uri="{BB962C8B-B14F-4D97-AF65-F5344CB8AC3E}">
        <p14:creationId xmlns:p14="http://schemas.microsoft.com/office/powerpoint/2010/main" val="40003498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5" name="Title 1"/>
          <p:cNvSpPr>
            <a:spLocks noGrp="1"/>
          </p:cNvSpPr>
          <p:nvPr>
            <p:ph type="title"/>
          </p:nvPr>
        </p:nvSpPr>
        <p:spPr>
          <a:xfrm>
            <a:off x="121506" y="616682"/>
            <a:ext cx="11652805" cy="362372"/>
          </a:xfrm>
        </p:spPr>
        <p:txBody>
          <a:bodyPr/>
          <a:lstStyle>
            <a:lvl1pPr>
              <a:defRPr sz="2398"/>
            </a:lvl1pPr>
          </a:lstStyle>
          <a:p>
            <a:r>
              <a:rPr lang="en-US"/>
              <a:t>Click to edit Master title style</a:t>
            </a:r>
          </a:p>
        </p:txBody>
      </p:sp>
      <p:sp>
        <p:nvSpPr>
          <p:cNvPr id="52" name="Slide Number Placeholder 2"/>
          <p:cNvSpPr>
            <a:spLocks noGrp="1"/>
          </p:cNvSpPr>
          <p:nvPr>
            <p:ph type="sldNum" sz="quarter" idx="10"/>
          </p:nvPr>
        </p:nvSpPr>
        <p:spPr>
          <a:xfrm>
            <a:off x="7780" y="6486818"/>
            <a:ext cx="2741474" cy="364224"/>
          </a:xfrm>
        </p:spPr>
        <p:txBody>
          <a:bodyPr/>
          <a:lstStyle/>
          <a:p>
            <a:pPr marL="167972"/>
            <a:fld id="{C9A871AC-A86D-4E3C-88B8-BCF6B56DF8AD}" type="slidenum">
              <a:rPr lang="en-US" smtClean="0">
                <a:solidFill>
                  <a:srgbClr val="505050">
                    <a:tint val="75000"/>
                  </a:srgbClr>
                </a:solidFill>
              </a:rPr>
              <a:pPr marL="167972"/>
              <a:t>‹#›</a:t>
            </a:fld>
            <a:endParaRPr lang="en-US">
              <a:solidFill>
                <a:srgbClr val="505050">
                  <a:tint val="75000"/>
                </a:srgbClr>
              </a:solidFill>
            </a:endParaRPr>
          </a:p>
        </p:txBody>
      </p:sp>
      <p:sp>
        <p:nvSpPr>
          <p:cNvPr id="24" name="Minus 23"/>
          <p:cNvSpPr/>
          <p:nvPr userDrawn="1"/>
        </p:nvSpPr>
        <p:spPr bwMode="auto">
          <a:xfrm>
            <a:off x="-45421" y="453306"/>
            <a:ext cx="341817" cy="45719"/>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784" tIns="146228" rIns="182784" bIns="146228" numCol="1" spcCol="0" rtlCol="0" fromWordArt="0" anchor="t" anchorCtr="0" forceAA="0" compatLnSpc="1">
            <a:prstTxWarp prst="textNoShape">
              <a:avLst/>
            </a:prstTxWarp>
            <a:noAutofit/>
          </a:bodyPr>
          <a:lstStyle/>
          <a:p>
            <a:pPr algn="ctr" defTabSz="931912" fontAlgn="base">
              <a:lnSpc>
                <a:spcPct val="90000"/>
              </a:lnSpc>
              <a:spcBef>
                <a:spcPct val="0"/>
              </a:spcBef>
              <a:spcAft>
                <a:spcPct val="0"/>
              </a:spcAft>
            </a:pPr>
            <a:endParaRPr lang="en-US" sz="2398" err="1">
              <a:gradFill>
                <a:gsLst>
                  <a:gs pos="0">
                    <a:srgbClr val="FFFFFF"/>
                  </a:gs>
                  <a:gs pos="100000">
                    <a:srgbClr val="FFFFFF"/>
                  </a:gs>
                </a:gsLst>
                <a:lin ang="5400000" scaled="0"/>
              </a:gradFill>
              <a:ea typeface="Segoe UI" pitchFamily="34" charset="0"/>
              <a:cs typeface="Segoe UI" pitchFamily="34" charset="0"/>
            </a:endParaRPr>
          </a:p>
        </p:txBody>
      </p:sp>
      <p:sp>
        <p:nvSpPr>
          <p:cNvPr id="32" name="Round Same Side Corner Rectangle 31"/>
          <p:cNvSpPr/>
          <p:nvPr userDrawn="1"/>
        </p:nvSpPr>
        <p:spPr>
          <a:xfrm>
            <a:off x="2715420"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Enterprise Strategy @ Microsoft</a:t>
            </a:r>
            <a:endParaRPr lang="en-US" sz="900" b="1" kern="0">
              <a:solidFill>
                <a:srgbClr val="002050"/>
              </a:solidFill>
              <a:ea typeface="Segoe UI" pitchFamily="34" charset="0"/>
              <a:cs typeface="Segoe UI" pitchFamily="34" charset="0"/>
              <a:hlinkClick r:id="" action="ppaction://noaction"/>
            </a:endParaRPr>
          </a:p>
        </p:txBody>
      </p:sp>
      <p:sp>
        <p:nvSpPr>
          <p:cNvPr id="33" name="Round Same Side Corner Rectangle 32"/>
          <p:cNvSpPr/>
          <p:nvPr userDrawn="1"/>
        </p:nvSpPr>
        <p:spPr>
          <a:xfrm>
            <a:off x="5307995"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Accelerate Azure Usage</a:t>
            </a:r>
            <a:endParaRPr lang="en-US" sz="900" b="1" kern="0">
              <a:solidFill>
                <a:srgbClr val="002050"/>
              </a:solidFill>
              <a:ea typeface="Segoe UI" pitchFamily="34" charset="0"/>
              <a:cs typeface="Segoe UI" pitchFamily="34" charset="0"/>
              <a:hlinkClick r:id="" action="ppaction://noaction"/>
            </a:endParaRPr>
          </a:p>
        </p:txBody>
      </p:sp>
      <p:sp>
        <p:nvSpPr>
          <p:cNvPr id="34" name="Round Same Side Corner Rectangle 33"/>
          <p:cNvSpPr/>
          <p:nvPr userDrawn="1"/>
        </p:nvSpPr>
        <p:spPr>
          <a:xfrm>
            <a:off x="6609364"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Sustained Presence</a:t>
            </a:r>
            <a:endParaRPr lang="en-US" sz="900" b="1" kern="0">
              <a:solidFill>
                <a:srgbClr val="002050"/>
              </a:solidFill>
              <a:ea typeface="Segoe UI" pitchFamily="34" charset="0"/>
              <a:cs typeface="Segoe UI" pitchFamily="34" charset="0"/>
              <a:hlinkClick r:id="" action="ppaction://noaction"/>
            </a:endParaRPr>
          </a:p>
        </p:txBody>
      </p:sp>
      <p:sp>
        <p:nvSpPr>
          <p:cNvPr id="35" name="Round Same Side Corner Rectangle 34"/>
          <p:cNvSpPr/>
          <p:nvPr userDrawn="1"/>
        </p:nvSpPr>
        <p:spPr>
          <a:xfrm>
            <a:off x="9228752"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505050"/>
                </a:solidFill>
                <a:ea typeface="Segoe UI" pitchFamily="34" charset="0"/>
                <a:cs typeface="Segoe UI" pitchFamily="34" charset="0"/>
                <a:hlinkClick r:id="" action="ppaction://noaction"/>
              </a:rPr>
              <a:t>Customer Evidence</a:t>
            </a:r>
          </a:p>
        </p:txBody>
      </p:sp>
      <p:sp>
        <p:nvSpPr>
          <p:cNvPr id="36" name="Round Same Side Corner Rectangle 35"/>
          <p:cNvSpPr/>
          <p:nvPr userDrawn="1"/>
        </p:nvSpPr>
        <p:spPr>
          <a:xfrm>
            <a:off x="4016787" y="228992"/>
            <a:ext cx="1279827" cy="292608"/>
          </a:xfrm>
          <a:prstGeom prst="round2SameRect">
            <a:avLst/>
          </a:prstGeom>
          <a:solidFill>
            <a:schemeClr val="bg1"/>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Lead with the Cloud</a:t>
            </a:r>
            <a:endParaRPr lang="en-US" sz="900" b="1" kern="0">
              <a:solidFill>
                <a:srgbClr val="002050"/>
              </a:solidFill>
              <a:ea typeface="Segoe UI" pitchFamily="34" charset="0"/>
              <a:cs typeface="Segoe UI" pitchFamily="34" charset="0"/>
              <a:hlinkClick r:id="" action="ppaction://noaction"/>
            </a:endParaRPr>
          </a:p>
        </p:txBody>
      </p:sp>
      <p:sp>
        <p:nvSpPr>
          <p:cNvPr id="38" name="Round Same Side Corner Rectangle 37"/>
          <p:cNvSpPr/>
          <p:nvPr userDrawn="1"/>
        </p:nvSpPr>
        <p:spPr>
          <a:xfrm>
            <a:off x="112686"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505050"/>
                </a:solidFill>
                <a:ea typeface="Segoe UI" pitchFamily="34" charset="0"/>
                <a:cs typeface="Segoe UI" pitchFamily="34" charset="0"/>
                <a:hlinkClick r:id="" action="ppaction://noaction"/>
              </a:rPr>
              <a:t>ReadMe</a:t>
            </a:r>
          </a:p>
        </p:txBody>
      </p:sp>
      <p:sp>
        <p:nvSpPr>
          <p:cNvPr id="39" name="Minus 38"/>
          <p:cNvSpPr/>
          <p:nvPr userDrawn="1"/>
        </p:nvSpPr>
        <p:spPr bwMode="auto">
          <a:xfrm>
            <a:off x="11739548" y="437585"/>
            <a:ext cx="508569" cy="45720"/>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784" tIns="146228" rIns="182784" bIns="146228" numCol="1" spcCol="0" rtlCol="0" fromWordArt="0" anchor="t" anchorCtr="0" forceAA="0" compatLnSpc="1">
            <a:prstTxWarp prst="textNoShape">
              <a:avLst/>
            </a:prstTxWarp>
            <a:noAutofit/>
          </a:bodyPr>
          <a:lstStyle/>
          <a:p>
            <a:pPr algn="ctr" defTabSz="931912" fontAlgn="base">
              <a:lnSpc>
                <a:spcPct val="90000"/>
              </a:lnSpc>
              <a:spcBef>
                <a:spcPct val="0"/>
              </a:spcBef>
              <a:spcAft>
                <a:spcPct val="0"/>
              </a:spcAft>
            </a:pPr>
            <a:endParaRPr lang="en-US" sz="800" err="1">
              <a:gradFill>
                <a:gsLst>
                  <a:gs pos="0">
                    <a:srgbClr val="FFFFFF"/>
                  </a:gs>
                  <a:gs pos="100000">
                    <a:srgbClr val="FFFFFF"/>
                  </a:gs>
                </a:gsLst>
                <a:lin ang="5400000" scaled="0"/>
              </a:gradFill>
              <a:ea typeface="Segoe UI" pitchFamily="34" charset="0"/>
              <a:cs typeface="Segoe UI" pitchFamily="34" charset="0"/>
            </a:endParaRPr>
          </a:p>
        </p:txBody>
      </p:sp>
      <p:sp>
        <p:nvSpPr>
          <p:cNvPr id="40" name="Round Same Side Corner Rectangle 39"/>
          <p:cNvSpPr/>
          <p:nvPr userDrawn="1"/>
        </p:nvSpPr>
        <p:spPr>
          <a:xfrm>
            <a:off x="7920892"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Stand Alone</a:t>
            </a:r>
            <a:endParaRPr lang="en-US" sz="900" b="1" kern="0">
              <a:solidFill>
                <a:srgbClr val="002050"/>
              </a:solidFill>
              <a:ea typeface="Segoe UI" pitchFamily="34" charset="0"/>
              <a:cs typeface="Segoe UI" pitchFamily="34" charset="0"/>
              <a:hlinkClick r:id="" action="ppaction://noaction"/>
            </a:endParaRPr>
          </a:p>
        </p:txBody>
      </p:sp>
      <p:sp>
        <p:nvSpPr>
          <p:cNvPr id="41" name="Round Same Side Corner Rectangle 40"/>
          <p:cNvSpPr/>
          <p:nvPr userDrawn="1"/>
        </p:nvSpPr>
        <p:spPr>
          <a:xfrm>
            <a:off x="10536611"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Resources</a:t>
            </a:r>
            <a:endParaRPr lang="en-US" sz="900" b="1" kern="0">
              <a:solidFill>
                <a:srgbClr val="002050"/>
              </a:solidFill>
              <a:ea typeface="Segoe UI" pitchFamily="34" charset="0"/>
              <a:cs typeface="Segoe UI" pitchFamily="34" charset="0"/>
              <a:hlinkClick r:id="" action="ppaction://noaction"/>
            </a:endParaRPr>
          </a:p>
        </p:txBody>
      </p:sp>
      <p:sp>
        <p:nvSpPr>
          <p:cNvPr id="42" name="Round Same Side Corner Rectangle 41"/>
          <p:cNvSpPr/>
          <p:nvPr userDrawn="1"/>
        </p:nvSpPr>
        <p:spPr>
          <a:xfrm>
            <a:off x="1414051"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505050"/>
                </a:solidFill>
                <a:ea typeface="Segoe UI" pitchFamily="34" charset="0"/>
                <a:cs typeface="Segoe UI" pitchFamily="34" charset="0"/>
                <a:hlinkClick r:id="" action="ppaction://noaction"/>
              </a:rPr>
              <a:t>Introduction</a:t>
            </a:r>
            <a:endParaRPr lang="en-US" sz="900" b="1" kern="0">
              <a:solidFill>
                <a:srgbClr val="505050"/>
              </a:solidFill>
              <a:ea typeface="Segoe UI" pitchFamily="34" charset="0"/>
              <a:cs typeface="Segoe UI" pitchFamily="34" charset="0"/>
            </a:endParaRPr>
          </a:p>
        </p:txBody>
      </p:sp>
      <p:pic>
        <p:nvPicPr>
          <p:cNvPr id="43" name="Picture 4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11797" y="-101208"/>
            <a:ext cx="1061829" cy="390689"/>
          </a:xfrm>
          <a:prstGeom prst="rect">
            <a:avLst/>
          </a:prstGeom>
        </p:spPr>
      </p:pic>
      <p:pic>
        <p:nvPicPr>
          <p:cNvPr id="44" name="Picture 43"/>
          <p:cNvPicPr>
            <a:picLocks noChangeAspect="1"/>
          </p:cNvPicPr>
          <p:nvPr userDrawn="1"/>
        </p:nvPicPr>
        <p:blipFill>
          <a:blip r:embed="rId3"/>
          <a:stretch>
            <a:fillRect/>
          </a:stretch>
        </p:blipFill>
        <p:spPr>
          <a:xfrm>
            <a:off x="11502662" y="6324740"/>
            <a:ext cx="627555" cy="486716"/>
          </a:xfrm>
          <a:prstGeom prst="rect">
            <a:avLst/>
          </a:prstGeom>
        </p:spPr>
      </p:pic>
      <p:sp>
        <p:nvSpPr>
          <p:cNvPr id="45" name="TextBox 44"/>
          <p:cNvSpPr txBox="1"/>
          <p:nvPr userDrawn="1"/>
        </p:nvSpPr>
        <p:spPr>
          <a:xfrm>
            <a:off x="11485066" y="6375544"/>
            <a:ext cx="645151" cy="373949"/>
          </a:xfrm>
          <a:prstGeom prst="rect">
            <a:avLst/>
          </a:prstGeom>
          <a:noFill/>
        </p:spPr>
        <p:txBody>
          <a:bodyPr wrap="square" lIns="91392" tIns="0" rIns="91392" bIns="0" rtlCol="0">
            <a:spAutoFit/>
          </a:bodyPr>
          <a:lstStyle/>
          <a:p>
            <a:pPr defTabSz="913852">
              <a:lnSpc>
                <a:spcPct val="90000"/>
              </a:lnSpc>
              <a:spcAft>
                <a:spcPts val="600"/>
              </a:spcAft>
            </a:pPr>
            <a:r>
              <a:rPr lang="en-US" sz="900" b="1">
                <a:solidFill>
                  <a:srgbClr val="FFFFFF"/>
                </a:solidFill>
              </a:rPr>
              <a:t>LEAD with the  Cloud</a:t>
            </a:r>
          </a:p>
        </p:txBody>
      </p:sp>
    </p:spTree>
    <p:extLst>
      <p:ext uri="{BB962C8B-B14F-4D97-AF65-F5344CB8AC3E}">
        <p14:creationId xmlns:p14="http://schemas.microsoft.com/office/powerpoint/2010/main" val="351781653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marL="167972"/>
            <a:fld id="{C9A871AC-A86D-4E3C-88B8-BCF6B56DF8AD}" type="slidenum">
              <a:rPr lang="en-US" smtClean="0">
                <a:solidFill>
                  <a:srgbClr val="505050">
                    <a:tint val="75000"/>
                  </a:srgbClr>
                </a:solidFill>
              </a:rPr>
              <a:pPr marL="167972"/>
              <a:t>‹#›</a:t>
            </a:fld>
            <a:endParaRPr lang="en-US">
              <a:solidFill>
                <a:srgbClr val="505050">
                  <a:tint val="75000"/>
                </a:srgbClr>
              </a:solidFill>
            </a:endParaRPr>
          </a:p>
        </p:txBody>
      </p:sp>
      <p:sp>
        <p:nvSpPr>
          <p:cNvPr id="47" name="Title 1"/>
          <p:cNvSpPr>
            <a:spLocks noGrp="1"/>
          </p:cNvSpPr>
          <p:nvPr>
            <p:ph type="title"/>
          </p:nvPr>
        </p:nvSpPr>
        <p:spPr>
          <a:xfrm>
            <a:off x="125486" y="616682"/>
            <a:ext cx="11652805" cy="362372"/>
          </a:xfrm>
        </p:spPr>
        <p:txBody>
          <a:bodyPr/>
          <a:lstStyle>
            <a:lvl1pPr>
              <a:defRPr sz="2398"/>
            </a:lvl1pPr>
          </a:lstStyle>
          <a:p>
            <a:r>
              <a:rPr lang="en-US"/>
              <a:t>Click to edit Master title style</a:t>
            </a:r>
          </a:p>
        </p:txBody>
      </p:sp>
      <p:sp>
        <p:nvSpPr>
          <p:cNvPr id="24" name="Minus 23"/>
          <p:cNvSpPr/>
          <p:nvPr userDrawn="1"/>
        </p:nvSpPr>
        <p:spPr bwMode="auto">
          <a:xfrm>
            <a:off x="-45421" y="453306"/>
            <a:ext cx="341817" cy="45719"/>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784" tIns="146228" rIns="182784" bIns="146228" numCol="1" spcCol="0" rtlCol="0" fromWordArt="0" anchor="t" anchorCtr="0" forceAA="0" compatLnSpc="1">
            <a:prstTxWarp prst="textNoShape">
              <a:avLst/>
            </a:prstTxWarp>
            <a:noAutofit/>
          </a:bodyPr>
          <a:lstStyle/>
          <a:p>
            <a:pPr algn="ctr" defTabSz="931912" fontAlgn="base">
              <a:lnSpc>
                <a:spcPct val="90000"/>
              </a:lnSpc>
              <a:spcBef>
                <a:spcPct val="0"/>
              </a:spcBef>
              <a:spcAft>
                <a:spcPct val="0"/>
              </a:spcAft>
            </a:pPr>
            <a:endParaRPr lang="en-US" sz="2398" err="1">
              <a:gradFill>
                <a:gsLst>
                  <a:gs pos="0">
                    <a:srgbClr val="FFFFFF"/>
                  </a:gs>
                  <a:gs pos="100000">
                    <a:srgbClr val="FFFFFF"/>
                  </a:gs>
                </a:gsLst>
                <a:lin ang="5400000" scaled="0"/>
              </a:gradFill>
              <a:ea typeface="Segoe UI" pitchFamily="34" charset="0"/>
              <a:cs typeface="Segoe UI" pitchFamily="34" charset="0"/>
            </a:endParaRPr>
          </a:p>
        </p:txBody>
      </p:sp>
      <p:sp>
        <p:nvSpPr>
          <p:cNvPr id="25" name="Round Same Side Corner Rectangle 24"/>
          <p:cNvSpPr/>
          <p:nvPr userDrawn="1"/>
        </p:nvSpPr>
        <p:spPr>
          <a:xfrm>
            <a:off x="2715420"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Enterprise Strategy @ Microsoft</a:t>
            </a:r>
            <a:endParaRPr lang="en-US" sz="900" b="1" kern="0">
              <a:solidFill>
                <a:srgbClr val="002050"/>
              </a:solidFill>
              <a:ea typeface="Segoe UI" pitchFamily="34" charset="0"/>
              <a:cs typeface="Segoe UI" pitchFamily="34" charset="0"/>
              <a:hlinkClick r:id="" action="ppaction://noaction"/>
            </a:endParaRPr>
          </a:p>
        </p:txBody>
      </p:sp>
      <p:sp>
        <p:nvSpPr>
          <p:cNvPr id="26" name="Round Same Side Corner Rectangle 25"/>
          <p:cNvSpPr/>
          <p:nvPr userDrawn="1"/>
        </p:nvSpPr>
        <p:spPr>
          <a:xfrm>
            <a:off x="5307995" y="228992"/>
            <a:ext cx="1279827" cy="292608"/>
          </a:xfrm>
          <a:prstGeom prst="round2SameRect">
            <a:avLst/>
          </a:prstGeom>
          <a:solidFill>
            <a:schemeClr val="bg1"/>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Accelerate Azure Usage</a:t>
            </a:r>
            <a:endParaRPr lang="en-US" sz="900" b="1" kern="0">
              <a:solidFill>
                <a:srgbClr val="002050"/>
              </a:solidFill>
              <a:ea typeface="Segoe UI" pitchFamily="34" charset="0"/>
              <a:cs typeface="Segoe UI" pitchFamily="34" charset="0"/>
              <a:hlinkClick r:id="" action="ppaction://noaction"/>
            </a:endParaRPr>
          </a:p>
        </p:txBody>
      </p:sp>
      <p:sp>
        <p:nvSpPr>
          <p:cNvPr id="27" name="Round Same Side Corner Rectangle 26"/>
          <p:cNvSpPr/>
          <p:nvPr userDrawn="1"/>
        </p:nvSpPr>
        <p:spPr>
          <a:xfrm>
            <a:off x="6609364"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Sustained Presence</a:t>
            </a:r>
            <a:endParaRPr lang="en-US" sz="900" b="1" kern="0">
              <a:solidFill>
                <a:srgbClr val="002050"/>
              </a:solidFill>
              <a:ea typeface="Segoe UI" pitchFamily="34" charset="0"/>
              <a:cs typeface="Segoe UI" pitchFamily="34" charset="0"/>
              <a:hlinkClick r:id="" action="ppaction://noaction"/>
            </a:endParaRPr>
          </a:p>
        </p:txBody>
      </p:sp>
      <p:sp>
        <p:nvSpPr>
          <p:cNvPr id="28" name="Round Same Side Corner Rectangle 27"/>
          <p:cNvSpPr/>
          <p:nvPr userDrawn="1"/>
        </p:nvSpPr>
        <p:spPr>
          <a:xfrm>
            <a:off x="9228752"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505050"/>
                </a:solidFill>
                <a:ea typeface="Segoe UI" pitchFamily="34" charset="0"/>
                <a:cs typeface="Segoe UI" pitchFamily="34" charset="0"/>
                <a:hlinkClick r:id="" action="ppaction://noaction"/>
              </a:rPr>
              <a:t>Customer Evidence</a:t>
            </a:r>
          </a:p>
        </p:txBody>
      </p:sp>
      <p:sp>
        <p:nvSpPr>
          <p:cNvPr id="29" name="Round Same Side Corner Rectangle 28"/>
          <p:cNvSpPr/>
          <p:nvPr userDrawn="1"/>
        </p:nvSpPr>
        <p:spPr>
          <a:xfrm>
            <a:off x="4016787"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Lead with the Cloud</a:t>
            </a:r>
            <a:endParaRPr lang="en-US" sz="900" b="1" kern="0">
              <a:solidFill>
                <a:srgbClr val="002050"/>
              </a:solidFill>
              <a:ea typeface="Segoe UI" pitchFamily="34" charset="0"/>
              <a:cs typeface="Segoe UI" pitchFamily="34" charset="0"/>
              <a:hlinkClick r:id="" action="ppaction://noaction"/>
            </a:endParaRPr>
          </a:p>
        </p:txBody>
      </p:sp>
      <p:sp>
        <p:nvSpPr>
          <p:cNvPr id="30" name="Round Same Side Corner Rectangle 29"/>
          <p:cNvSpPr/>
          <p:nvPr userDrawn="1"/>
        </p:nvSpPr>
        <p:spPr>
          <a:xfrm>
            <a:off x="112686"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505050"/>
                </a:solidFill>
                <a:ea typeface="Segoe UI" pitchFamily="34" charset="0"/>
                <a:cs typeface="Segoe UI" pitchFamily="34" charset="0"/>
                <a:hlinkClick r:id="" action="ppaction://noaction"/>
              </a:rPr>
              <a:t>ReadMe</a:t>
            </a:r>
          </a:p>
        </p:txBody>
      </p:sp>
      <p:sp>
        <p:nvSpPr>
          <p:cNvPr id="31" name="Minus 30"/>
          <p:cNvSpPr/>
          <p:nvPr userDrawn="1"/>
        </p:nvSpPr>
        <p:spPr bwMode="auto">
          <a:xfrm>
            <a:off x="11739548" y="437585"/>
            <a:ext cx="508569" cy="45720"/>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784" tIns="146228" rIns="182784" bIns="146228" numCol="1" spcCol="0" rtlCol="0" fromWordArt="0" anchor="t" anchorCtr="0" forceAA="0" compatLnSpc="1">
            <a:prstTxWarp prst="textNoShape">
              <a:avLst/>
            </a:prstTxWarp>
            <a:noAutofit/>
          </a:bodyPr>
          <a:lstStyle/>
          <a:p>
            <a:pPr algn="ctr" defTabSz="931912" fontAlgn="base">
              <a:lnSpc>
                <a:spcPct val="90000"/>
              </a:lnSpc>
              <a:spcBef>
                <a:spcPct val="0"/>
              </a:spcBef>
              <a:spcAft>
                <a:spcPct val="0"/>
              </a:spcAft>
            </a:pPr>
            <a:endParaRPr lang="en-US" sz="800" err="1">
              <a:gradFill>
                <a:gsLst>
                  <a:gs pos="0">
                    <a:srgbClr val="FFFFFF"/>
                  </a:gs>
                  <a:gs pos="100000">
                    <a:srgbClr val="FFFFFF"/>
                  </a:gs>
                </a:gsLst>
                <a:lin ang="5400000" scaled="0"/>
              </a:gradFill>
              <a:ea typeface="Segoe UI" pitchFamily="34" charset="0"/>
              <a:cs typeface="Segoe UI" pitchFamily="34" charset="0"/>
            </a:endParaRPr>
          </a:p>
        </p:txBody>
      </p:sp>
      <p:sp>
        <p:nvSpPr>
          <p:cNvPr id="33" name="Round Same Side Corner Rectangle 32"/>
          <p:cNvSpPr/>
          <p:nvPr userDrawn="1"/>
        </p:nvSpPr>
        <p:spPr>
          <a:xfrm>
            <a:off x="7920892"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Stand Alone</a:t>
            </a:r>
            <a:endParaRPr lang="en-US" sz="900" b="1" kern="0">
              <a:solidFill>
                <a:srgbClr val="002050"/>
              </a:solidFill>
              <a:ea typeface="Segoe UI" pitchFamily="34" charset="0"/>
              <a:cs typeface="Segoe UI" pitchFamily="34" charset="0"/>
              <a:hlinkClick r:id="" action="ppaction://noaction"/>
            </a:endParaRPr>
          </a:p>
        </p:txBody>
      </p:sp>
      <p:sp>
        <p:nvSpPr>
          <p:cNvPr id="34" name="Round Same Side Corner Rectangle 33"/>
          <p:cNvSpPr/>
          <p:nvPr userDrawn="1"/>
        </p:nvSpPr>
        <p:spPr>
          <a:xfrm>
            <a:off x="10536611"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Resources</a:t>
            </a:r>
            <a:endParaRPr lang="en-US" sz="900" b="1" kern="0">
              <a:solidFill>
                <a:srgbClr val="002050"/>
              </a:solidFill>
              <a:ea typeface="Segoe UI" pitchFamily="34" charset="0"/>
              <a:cs typeface="Segoe UI" pitchFamily="34" charset="0"/>
              <a:hlinkClick r:id="" action="ppaction://noaction"/>
            </a:endParaRPr>
          </a:p>
        </p:txBody>
      </p:sp>
      <p:sp>
        <p:nvSpPr>
          <p:cNvPr id="35" name="Round Same Side Corner Rectangle 34"/>
          <p:cNvSpPr/>
          <p:nvPr userDrawn="1"/>
        </p:nvSpPr>
        <p:spPr>
          <a:xfrm>
            <a:off x="1414051"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505050"/>
                </a:solidFill>
                <a:ea typeface="Segoe UI" pitchFamily="34" charset="0"/>
                <a:cs typeface="Segoe UI" pitchFamily="34" charset="0"/>
                <a:hlinkClick r:id="" action="ppaction://noaction"/>
              </a:rPr>
              <a:t>Introduction</a:t>
            </a:r>
            <a:endParaRPr lang="en-US" sz="900" b="1" kern="0">
              <a:solidFill>
                <a:srgbClr val="505050"/>
              </a:solidFill>
              <a:ea typeface="Segoe UI" pitchFamily="34" charset="0"/>
              <a:cs typeface="Segoe UI" pitchFamily="34" charset="0"/>
            </a:endParaRPr>
          </a:p>
        </p:txBody>
      </p:sp>
      <p:pic>
        <p:nvPicPr>
          <p:cNvPr id="36" name="Picture 3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11797" y="-101208"/>
            <a:ext cx="1061829" cy="390689"/>
          </a:xfrm>
          <a:prstGeom prst="rect">
            <a:avLst/>
          </a:prstGeom>
        </p:spPr>
      </p:pic>
      <p:pic>
        <p:nvPicPr>
          <p:cNvPr id="37" name="Picture 36"/>
          <p:cNvPicPr>
            <a:picLocks noChangeAspect="1"/>
          </p:cNvPicPr>
          <p:nvPr userDrawn="1"/>
        </p:nvPicPr>
        <p:blipFill>
          <a:blip r:embed="rId3"/>
          <a:stretch>
            <a:fillRect/>
          </a:stretch>
        </p:blipFill>
        <p:spPr>
          <a:xfrm>
            <a:off x="11502662" y="6324740"/>
            <a:ext cx="627555" cy="486716"/>
          </a:xfrm>
          <a:prstGeom prst="rect">
            <a:avLst/>
          </a:prstGeom>
        </p:spPr>
      </p:pic>
      <p:sp>
        <p:nvSpPr>
          <p:cNvPr id="38" name="TextBox 37"/>
          <p:cNvSpPr txBox="1"/>
          <p:nvPr userDrawn="1"/>
        </p:nvSpPr>
        <p:spPr>
          <a:xfrm>
            <a:off x="11485066" y="6375544"/>
            <a:ext cx="645151" cy="373949"/>
          </a:xfrm>
          <a:prstGeom prst="rect">
            <a:avLst/>
          </a:prstGeom>
          <a:noFill/>
        </p:spPr>
        <p:txBody>
          <a:bodyPr wrap="square" lIns="91392" tIns="0" rIns="91392" bIns="0" rtlCol="0">
            <a:spAutoFit/>
          </a:bodyPr>
          <a:lstStyle/>
          <a:p>
            <a:pPr defTabSz="913852">
              <a:lnSpc>
                <a:spcPct val="90000"/>
              </a:lnSpc>
              <a:spcAft>
                <a:spcPts val="600"/>
              </a:spcAft>
            </a:pPr>
            <a:r>
              <a:rPr lang="en-US" sz="900" b="1">
                <a:solidFill>
                  <a:srgbClr val="FFFFFF"/>
                </a:solidFill>
              </a:rPr>
              <a:t>LEAD with the  Cloud</a:t>
            </a:r>
          </a:p>
        </p:txBody>
      </p:sp>
    </p:spTree>
    <p:extLst>
      <p:ext uri="{BB962C8B-B14F-4D97-AF65-F5344CB8AC3E}">
        <p14:creationId xmlns:p14="http://schemas.microsoft.com/office/powerpoint/2010/main" val="360993775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marL="167972"/>
            <a:fld id="{C9A871AC-A86D-4E3C-88B8-BCF6B56DF8AD}" type="slidenum">
              <a:rPr lang="en-US" smtClean="0">
                <a:solidFill>
                  <a:srgbClr val="505050">
                    <a:tint val="75000"/>
                  </a:srgbClr>
                </a:solidFill>
              </a:rPr>
              <a:pPr marL="167972"/>
              <a:t>‹#›</a:t>
            </a:fld>
            <a:endParaRPr lang="en-US">
              <a:solidFill>
                <a:srgbClr val="505050">
                  <a:tint val="75000"/>
                </a:srgbClr>
              </a:solidFill>
            </a:endParaRPr>
          </a:p>
        </p:txBody>
      </p:sp>
      <p:sp>
        <p:nvSpPr>
          <p:cNvPr id="47" name="Title 1"/>
          <p:cNvSpPr>
            <a:spLocks noGrp="1"/>
          </p:cNvSpPr>
          <p:nvPr>
            <p:ph type="title"/>
          </p:nvPr>
        </p:nvSpPr>
        <p:spPr>
          <a:xfrm>
            <a:off x="121506" y="621334"/>
            <a:ext cx="11652805" cy="362372"/>
          </a:xfrm>
        </p:spPr>
        <p:txBody>
          <a:bodyPr/>
          <a:lstStyle>
            <a:lvl1pPr>
              <a:defRPr sz="2398"/>
            </a:lvl1pPr>
          </a:lstStyle>
          <a:p>
            <a:r>
              <a:rPr lang="en-US"/>
              <a:t>Click to edit Master title style</a:t>
            </a:r>
          </a:p>
        </p:txBody>
      </p:sp>
      <p:sp>
        <p:nvSpPr>
          <p:cNvPr id="24" name="Minus 23"/>
          <p:cNvSpPr/>
          <p:nvPr userDrawn="1"/>
        </p:nvSpPr>
        <p:spPr bwMode="auto">
          <a:xfrm>
            <a:off x="-45421" y="453306"/>
            <a:ext cx="341817" cy="45719"/>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784" tIns="146228" rIns="182784" bIns="146228" numCol="1" spcCol="0" rtlCol="0" fromWordArt="0" anchor="t" anchorCtr="0" forceAA="0" compatLnSpc="1">
            <a:prstTxWarp prst="textNoShape">
              <a:avLst/>
            </a:prstTxWarp>
            <a:noAutofit/>
          </a:bodyPr>
          <a:lstStyle/>
          <a:p>
            <a:pPr algn="ctr" defTabSz="931912" fontAlgn="base">
              <a:lnSpc>
                <a:spcPct val="90000"/>
              </a:lnSpc>
              <a:spcBef>
                <a:spcPct val="0"/>
              </a:spcBef>
              <a:spcAft>
                <a:spcPct val="0"/>
              </a:spcAft>
            </a:pPr>
            <a:endParaRPr lang="en-US" sz="2398" err="1">
              <a:gradFill>
                <a:gsLst>
                  <a:gs pos="0">
                    <a:srgbClr val="FFFFFF"/>
                  </a:gs>
                  <a:gs pos="100000">
                    <a:srgbClr val="FFFFFF"/>
                  </a:gs>
                </a:gsLst>
                <a:lin ang="5400000" scaled="0"/>
              </a:gradFill>
              <a:ea typeface="Segoe UI" pitchFamily="34" charset="0"/>
              <a:cs typeface="Segoe UI" pitchFamily="34" charset="0"/>
            </a:endParaRPr>
          </a:p>
        </p:txBody>
      </p:sp>
      <p:sp>
        <p:nvSpPr>
          <p:cNvPr id="25" name="Round Same Side Corner Rectangle 24"/>
          <p:cNvSpPr/>
          <p:nvPr userDrawn="1"/>
        </p:nvSpPr>
        <p:spPr>
          <a:xfrm>
            <a:off x="2715420"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Enterprise Strategy @ Microsoft</a:t>
            </a:r>
            <a:endParaRPr lang="en-US" sz="900" b="1" kern="0">
              <a:solidFill>
                <a:srgbClr val="002050"/>
              </a:solidFill>
              <a:ea typeface="Segoe UI" pitchFamily="34" charset="0"/>
              <a:cs typeface="Segoe UI" pitchFamily="34" charset="0"/>
              <a:hlinkClick r:id="" action="ppaction://noaction"/>
            </a:endParaRPr>
          </a:p>
        </p:txBody>
      </p:sp>
      <p:sp>
        <p:nvSpPr>
          <p:cNvPr id="26" name="Round Same Side Corner Rectangle 25"/>
          <p:cNvSpPr/>
          <p:nvPr userDrawn="1"/>
        </p:nvSpPr>
        <p:spPr>
          <a:xfrm>
            <a:off x="5307995"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Accelerate Azure Usage</a:t>
            </a:r>
            <a:endParaRPr lang="en-US" sz="900" b="1" kern="0">
              <a:solidFill>
                <a:srgbClr val="002050"/>
              </a:solidFill>
              <a:ea typeface="Segoe UI" pitchFamily="34" charset="0"/>
              <a:cs typeface="Segoe UI" pitchFamily="34" charset="0"/>
              <a:hlinkClick r:id="" action="ppaction://noaction"/>
            </a:endParaRPr>
          </a:p>
        </p:txBody>
      </p:sp>
      <p:sp>
        <p:nvSpPr>
          <p:cNvPr id="27" name="Round Same Side Corner Rectangle 26"/>
          <p:cNvSpPr/>
          <p:nvPr userDrawn="1"/>
        </p:nvSpPr>
        <p:spPr>
          <a:xfrm>
            <a:off x="6609364" y="228992"/>
            <a:ext cx="1279827" cy="292608"/>
          </a:xfrm>
          <a:prstGeom prst="round2SameRect">
            <a:avLst/>
          </a:prstGeom>
          <a:solidFill>
            <a:schemeClr val="bg1"/>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Sustained Presence</a:t>
            </a:r>
            <a:endParaRPr lang="en-US" sz="900" b="1" kern="0">
              <a:solidFill>
                <a:srgbClr val="002050"/>
              </a:solidFill>
              <a:ea typeface="Segoe UI" pitchFamily="34" charset="0"/>
              <a:cs typeface="Segoe UI" pitchFamily="34" charset="0"/>
              <a:hlinkClick r:id="" action="ppaction://noaction"/>
            </a:endParaRPr>
          </a:p>
        </p:txBody>
      </p:sp>
      <p:sp>
        <p:nvSpPr>
          <p:cNvPr id="28" name="Round Same Side Corner Rectangle 27"/>
          <p:cNvSpPr/>
          <p:nvPr userDrawn="1"/>
        </p:nvSpPr>
        <p:spPr>
          <a:xfrm>
            <a:off x="9228752"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505050"/>
                </a:solidFill>
                <a:ea typeface="Segoe UI" pitchFamily="34" charset="0"/>
                <a:cs typeface="Segoe UI" pitchFamily="34" charset="0"/>
                <a:hlinkClick r:id="" action="ppaction://noaction"/>
              </a:rPr>
              <a:t>Customer Evidence</a:t>
            </a:r>
          </a:p>
        </p:txBody>
      </p:sp>
      <p:sp>
        <p:nvSpPr>
          <p:cNvPr id="29" name="Round Same Side Corner Rectangle 28"/>
          <p:cNvSpPr/>
          <p:nvPr userDrawn="1"/>
        </p:nvSpPr>
        <p:spPr>
          <a:xfrm>
            <a:off x="4016787"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Lead with the Cloud</a:t>
            </a:r>
            <a:endParaRPr lang="en-US" sz="900" b="1" kern="0">
              <a:solidFill>
                <a:srgbClr val="002050"/>
              </a:solidFill>
              <a:ea typeface="Segoe UI" pitchFamily="34" charset="0"/>
              <a:cs typeface="Segoe UI" pitchFamily="34" charset="0"/>
              <a:hlinkClick r:id="" action="ppaction://noaction"/>
            </a:endParaRPr>
          </a:p>
        </p:txBody>
      </p:sp>
      <p:sp>
        <p:nvSpPr>
          <p:cNvPr id="30" name="Round Same Side Corner Rectangle 29"/>
          <p:cNvSpPr/>
          <p:nvPr userDrawn="1"/>
        </p:nvSpPr>
        <p:spPr>
          <a:xfrm>
            <a:off x="112686"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505050"/>
                </a:solidFill>
                <a:ea typeface="Segoe UI" pitchFamily="34" charset="0"/>
                <a:cs typeface="Segoe UI" pitchFamily="34" charset="0"/>
                <a:hlinkClick r:id="" action="ppaction://noaction"/>
              </a:rPr>
              <a:t>ReadMe</a:t>
            </a:r>
          </a:p>
        </p:txBody>
      </p:sp>
      <p:sp>
        <p:nvSpPr>
          <p:cNvPr id="31" name="Minus 30"/>
          <p:cNvSpPr/>
          <p:nvPr userDrawn="1"/>
        </p:nvSpPr>
        <p:spPr bwMode="auto">
          <a:xfrm>
            <a:off x="11739548" y="437585"/>
            <a:ext cx="508569" cy="45720"/>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784" tIns="146228" rIns="182784" bIns="146228" numCol="1" spcCol="0" rtlCol="0" fromWordArt="0" anchor="t" anchorCtr="0" forceAA="0" compatLnSpc="1">
            <a:prstTxWarp prst="textNoShape">
              <a:avLst/>
            </a:prstTxWarp>
            <a:noAutofit/>
          </a:bodyPr>
          <a:lstStyle/>
          <a:p>
            <a:pPr algn="ctr" defTabSz="931912" fontAlgn="base">
              <a:lnSpc>
                <a:spcPct val="90000"/>
              </a:lnSpc>
              <a:spcBef>
                <a:spcPct val="0"/>
              </a:spcBef>
              <a:spcAft>
                <a:spcPct val="0"/>
              </a:spcAft>
            </a:pPr>
            <a:endParaRPr lang="en-US" sz="800" err="1">
              <a:gradFill>
                <a:gsLst>
                  <a:gs pos="0">
                    <a:srgbClr val="FFFFFF"/>
                  </a:gs>
                  <a:gs pos="100000">
                    <a:srgbClr val="FFFFFF"/>
                  </a:gs>
                </a:gsLst>
                <a:lin ang="5400000" scaled="0"/>
              </a:gradFill>
              <a:ea typeface="Segoe UI" pitchFamily="34" charset="0"/>
              <a:cs typeface="Segoe UI" pitchFamily="34" charset="0"/>
            </a:endParaRPr>
          </a:p>
        </p:txBody>
      </p:sp>
      <p:sp>
        <p:nvSpPr>
          <p:cNvPr id="32" name="Round Same Side Corner Rectangle 31"/>
          <p:cNvSpPr/>
          <p:nvPr userDrawn="1"/>
        </p:nvSpPr>
        <p:spPr>
          <a:xfrm>
            <a:off x="7920892"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Stand Alone</a:t>
            </a:r>
            <a:endParaRPr lang="en-US" sz="900" b="1" kern="0">
              <a:solidFill>
                <a:srgbClr val="002050"/>
              </a:solidFill>
              <a:ea typeface="Segoe UI" pitchFamily="34" charset="0"/>
              <a:cs typeface="Segoe UI" pitchFamily="34" charset="0"/>
              <a:hlinkClick r:id="" action="ppaction://noaction"/>
            </a:endParaRPr>
          </a:p>
        </p:txBody>
      </p:sp>
      <p:sp>
        <p:nvSpPr>
          <p:cNvPr id="33" name="Round Same Side Corner Rectangle 32"/>
          <p:cNvSpPr/>
          <p:nvPr userDrawn="1"/>
        </p:nvSpPr>
        <p:spPr>
          <a:xfrm>
            <a:off x="10536611"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Resources</a:t>
            </a:r>
            <a:endParaRPr lang="en-US" sz="900" b="1" kern="0">
              <a:solidFill>
                <a:srgbClr val="002050"/>
              </a:solidFill>
              <a:ea typeface="Segoe UI" pitchFamily="34" charset="0"/>
              <a:cs typeface="Segoe UI" pitchFamily="34" charset="0"/>
              <a:hlinkClick r:id="" action="ppaction://noaction"/>
            </a:endParaRPr>
          </a:p>
        </p:txBody>
      </p:sp>
      <p:sp>
        <p:nvSpPr>
          <p:cNvPr id="34" name="Round Same Side Corner Rectangle 33"/>
          <p:cNvSpPr/>
          <p:nvPr userDrawn="1"/>
        </p:nvSpPr>
        <p:spPr>
          <a:xfrm>
            <a:off x="1414051"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505050"/>
                </a:solidFill>
                <a:ea typeface="Segoe UI" pitchFamily="34" charset="0"/>
                <a:cs typeface="Segoe UI" pitchFamily="34" charset="0"/>
                <a:hlinkClick r:id="" action="ppaction://noaction"/>
              </a:rPr>
              <a:t>Introduction</a:t>
            </a:r>
            <a:endParaRPr lang="en-US" sz="900" b="1" kern="0">
              <a:solidFill>
                <a:srgbClr val="505050"/>
              </a:solidFill>
              <a:ea typeface="Segoe UI" pitchFamily="34" charset="0"/>
              <a:cs typeface="Segoe UI" pitchFamily="34" charset="0"/>
            </a:endParaRPr>
          </a:p>
        </p:txBody>
      </p:sp>
      <p:pic>
        <p:nvPicPr>
          <p:cNvPr id="35" name="Picture 3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11797" y="-101208"/>
            <a:ext cx="1061829" cy="390689"/>
          </a:xfrm>
          <a:prstGeom prst="rect">
            <a:avLst/>
          </a:prstGeom>
        </p:spPr>
      </p:pic>
      <p:pic>
        <p:nvPicPr>
          <p:cNvPr id="36" name="Picture 35"/>
          <p:cNvPicPr>
            <a:picLocks noChangeAspect="1"/>
          </p:cNvPicPr>
          <p:nvPr userDrawn="1"/>
        </p:nvPicPr>
        <p:blipFill>
          <a:blip r:embed="rId3"/>
          <a:stretch>
            <a:fillRect/>
          </a:stretch>
        </p:blipFill>
        <p:spPr>
          <a:xfrm>
            <a:off x="11502662" y="6324740"/>
            <a:ext cx="627555" cy="486716"/>
          </a:xfrm>
          <a:prstGeom prst="rect">
            <a:avLst/>
          </a:prstGeom>
        </p:spPr>
      </p:pic>
      <p:sp>
        <p:nvSpPr>
          <p:cNvPr id="37" name="TextBox 36"/>
          <p:cNvSpPr txBox="1"/>
          <p:nvPr userDrawn="1"/>
        </p:nvSpPr>
        <p:spPr>
          <a:xfrm>
            <a:off x="11485066" y="6375544"/>
            <a:ext cx="645151" cy="373949"/>
          </a:xfrm>
          <a:prstGeom prst="rect">
            <a:avLst/>
          </a:prstGeom>
          <a:noFill/>
        </p:spPr>
        <p:txBody>
          <a:bodyPr wrap="square" lIns="91392" tIns="0" rIns="91392" bIns="0" rtlCol="0">
            <a:spAutoFit/>
          </a:bodyPr>
          <a:lstStyle/>
          <a:p>
            <a:pPr defTabSz="913852">
              <a:lnSpc>
                <a:spcPct val="90000"/>
              </a:lnSpc>
              <a:spcAft>
                <a:spcPts val="600"/>
              </a:spcAft>
            </a:pPr>
            <a:r>
              <a:rPr lang="en-US" sz="900" b="1">
                <a:solidFill>
                  <a:srgbClr val="FFFFFF"/>
                </a:solidFill>
              </a:rPr>
              <a:t>LEAD with the  Cloud</a:t>
            </a:r>
          </a:p>
        </p:txBody>
      </p:sp>
    </p:spTree>
    <p:extLst>
      <p:ext uri="{BB962C8B-B14F-4D97-AF65-F5344CB8AC3E}">
        <p14:creationId xmlns:p14="http://schemas.microsoft.com/office/powerpoint/2010/main" val="4233621419"/>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marL="167972"/>
            <a:fld id="{C9A871AC-A86D-4E3C-88B8-BCF6B56DF8AD}" type="slidenum">
              <a:rPr lang="en-US" smtClean="0">
                <a:solidFill>
                  <a:srgbClr val="505050">
                    <a:tint val="75000"/>
                  </a:srgbClr>
                </a:solidFill>
              </a:rPr>
              <a:pPr marL="167972"/>
              <a:t>‹#›</a:t>
            </a:fld>
            <a:endParaRPr lang="en-US">
              <a:solidFill>
                <a:srgbClr val="505050">
                  <a:tint val="75000"/>
                </a:srgbClr>
              </a:solidFill>
            </a:endParaRPr>
          </a:p>
        </p:txBody>
      </p:sp>
      <p:sp>
        <p:nvSpPr>
          <p:cNvPr id="34" name="Title 1"/>
          <p:cNvSpPr>
            <a:spLocks noGrp="1"/>
          </p:cNvSpPr>
          <p:nvPr>
            <p:ph type="title"/>
          </p:nvPr>
        </p:nvSpPr>
        <p:spPr>
          <a:xfrm>
            <a:off x="131668" y="616682"/>
            <a:ext cx="11652805" cy="362372"/>
          </a:xfrm>
        </p:spPr>
        <p:txBody>
          <a:bodyPr/>
          <a:lstStyle>
            <a:lvl1pPr>
              <a:defRPr sz="2398"/>
            </a:lvl1pPr>
          </a:lstStyle>
          <a:p>
            <a:r>
              <a:rPr lang="en-US"/>
              <a:t>Click to edit Master title style</a:t>
            </a:r>
          </a:p>
        </p:txBody>
      </p:sp>
      <p:sp>
        <p:nvSpPr>
          <p:cNvPr id="24" name="Minus 23"/>
          <p:cNvSpPr/>
          <p:nvPr userDrawn="1"/>
        </p:nvSpPr>
        <p:spPr bwMode="auto">
          <a:xfrm>
            <a:off x="-45421" y="453306"/>
            <a:ext cx="341817" cy="45719"/>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784" tIns="146228" rIns="182784" bIns="146228" numCol="1" spcCol="0" rtlCol="0" fromWordArt="0" anchor="t" anchorCtr="0" forceAA="0" compatLnSpc="1">
            <a:prstTxWarp prst="textNoShape">
              <a:avLst/>
            </a:prstTxWarp>
            <a:noAutofit/>
          </a:bodyPr>
          <a:lstStyle/>
          <a:p>
            <a:pPr algn="ctr" defTabSz="931912" fontAlgn="base">
              <a:lnSpc>
                <a:spcPct val="90000"/>
              </a:lnSpc>
              <a:spcBef>
                <a:spcPct val="0"/>
              </a:spcBef>
              <a:spcAft>
                <a:spcPct val="0"/>
              </a:spcAft>
            </a:pPr>
            <a:endParaRPr lang="en-US" sz="2398" err="1">
              <a:gradFill>
                <a:gsLst>
                  <a:gs pos="0">
                    <a:srgbClr val="FFFFFF"/>
                  </a:gs>
                  <a:gs pos="100000">
                    <a:srgbClr val="FFFFFF"/>
                  </a:gs>
                </a:gsLst>
                <a:lin ang="5400000" scaled="0"/>
              </a:gradFill>
              <a:ea typeface="Segoe UI" pitchFamily="34" charset="0"/>
              <a:cs typeface="Segoe UI" pitchFamily="34" charset="0"/>
            </a:endParaRPr>
          </a:p>
        </p:txBody>
      </p:sp>
      <p:sp>
        <p:nvSpPr>
          <p:cNvPr id="25" name="Round Same Side Corner Rectangle 24"/>
          <p:cNvSpPr/>
          <p:nvPr userDrawn="1"/>
        </p:nvSpPr>
        <p:spPr>
          <a:xfrm>
            <a:off x="2715420"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Enterprise Strategy @ Microsoft</a:t>
            </a:r>
            <a:endParaRPr lang="en-US" sz="900" b="1" kern="0">
              <a:solidFill>
                <a:srgbClr val="002050"/>
              </a:solidFill>
              <a:ea typeface="Segoe UI" pitchFamily="34" charset="0"/>
              <a:cs typeface="Segoe UI" pitchFamily="34" charset="0"/>
              <a:hlinkClick r:id="" action="ppaction://noaction"/>
            </a:endParaRPr>
          </a:p>
        </p:txBody>
      </p:sp>
      <p:sp>
        <p:nvSpPr>
          <p:cNvPr id="26" name="Round Same Side Corner Rectangle 25"/>
          <p:cNvSpPr/>
          <p:nvPr userDrawn="1"/>
        </p:nvSpPr>
        <p:spPr>
          <a:xfrm>
            <a:off x="5307995"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Accelerate Azure Usage</a:t>
            </a:r>
            <a:endParaRPr lang="en-US" sz="900" b="1" kern="0">
              <a:solidFill>
                <a:srgbClr val="002050"/>
              </a:solidFill>
              <a:ea typeface="Segoe UI" pitchFamily="34" charset="0"/>
              <a:cs typeface="Segoe UI" pitchFamily="34" charset="0"/>
              <a:hlinkClick r:id="" action="ppaction://noaction"/>
            </a:endParaRPr>
          </a:p>
        </p:txBody>
      </p:sp>
      <p:sp>
        <p:nvSpPr>
          <p:cNvPr id="27" name="Round Same Side Corner Rectangle 26"/>
          <p:cNvSpPr/>
          <p:nvPr userDrawn="1"/>
        </p:nvSpPr>
        <p:spPr>
          <a:xfrm>
            <a:off x="6609364"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Sustained Presence</a:t>
            </a:r>
            <a:endParaRPr lang="en-US" sz="900" b="1" kern="0">
              <a:solidFill>
                <a:srgbClr val="002050"/>
              </a:solidFill>
              <a:ea typeface="Segoe UI" pitchFamily="34" charset="0"/>
              <a:cs typeface="Segoe UI" pitchFamily="34" charset="0"/>
              <a:hlinkClick r:id="" action="ppaction://noaction"/>
            </a:endParaRPr>
          </a:p>
        </p:txBody>
      </p:sp>
      <p:sp>
        <p:nvSpPr>
          <p:cNvPr id="28" name="Round Same Side Corner Rectangle 27"/>
          <p:cNvSpPr/>
          <p:nvPr userDrawn="1"/>
        </p:nvSpPr>
        <p:spPr>
          <a:xfrm>
            <a:off x="9228752"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505050"/>
                </a:solidFill>
                <a:ea typeface="Segoe UI" pitchFamily="34" charset="0"/>
                <a:cs typeface="Segoe UI" pitchFamily="34" charset="0"/>
                <a:hlinkClick r:id="" action="ppaction://noaction"/>
              </a:rPr>
              <a:t>Customer Evidence</a:t>
            </a:r>
          </a:p>
        </p:txBody>
      </p:sp>
      <p:sp>
        <p:nvSpPr>
          <p:cNvPr id="29" name="Round Same Side Corner Rectangle 28"/>
          <p:cNvSpPr/>
          <p:nvPr userDrawn="1"/>
        </p:nvSpPr>
        <p:spPr>
          <a:xfrm>
            <a:off x="4016787"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Lead with the Cloud</a:t>
            </a:r>
            <a:endParaRPr lang="en-US" sz="900" b="1" kern="0">
              <a:solidFill>
                <a:srgbClr val="002050"/>
              </a:solidFill>
              <a:ea typeface="Segoe UI" pitchFamily="34" charset="0"/>
              <a:cs typeface="Segoe UI" pitchFamily="34" charset="0"/>
              <a:hlinkClick r:id="" action="ppaction://noaction"/>
            </a:endParaRPr>
          </a:p>
        </p:txBody>
      </p:sp>
      <p:sp>
        <p:nvSpPr>
          <p:cNvPr id="30" name="Round Same Side Corner Rectangle 29"/>
          <p:cNvSpPr/>
          <p:nvPr userDrawn="1"/>
        </p:nvSpPr>
        <p:spPr>
          <a:xfrm>
            <a:off x="112686"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505050"/>
                </a:solidFill>
                <a:ea typeface="Segoe UI" pitchFamily="34" charset="0"/>
                <a:cs typeface="Segoe UI" pitchFamily="34" charset="0"/>
                <a:hlinkClick r:id="" action="ppaction://noaction"/>
              </a:rPr>
              <a:t>ReadMe</a:t>
            </a:r>
          </a:p>
        </p:txBody>
      </p:sp>
      <p:sp>
        <p:nvSpPr>
          <p:cNvPr id="31" name="Minus 30"/>
          <p:cNvSpPr/>
          <p:nvPr userDrawn="1"/>
        </p:nvSpPr>
        <p:spPr bwMode="auto">
          <a:xfrm>
            <a:off x="11739548" y="437585"/>
            <a:ext cx="508569" cy="45720"/>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784" tIns="146228" rIns="182784" bIns="146228" numCol="1" spcCol="0" rtlCol="0" fromWordArt="0" anchor="t" anchorCtr="0" forceAA="0" compatLnSpc="1">
            <a:prstTxWarp prst="textNoShape">
              <a:avLst/>
            </a:prstTxWarp>
            <a:noAutofit/>
          </a:bodyPr>
          <a:lstStyle/>
          <a:p>
            <a:pPr algn="ctr" defTabSz="931912" fontAlgn="base">
              <a:lnSpc>
                <a:spcPct val="90000"/>
              </a:lnSpc>
              <a:spcBef>
                <a:spcPct val="0"/>
              </a:spcBef>
              <a:spcAft>
                <a:spcPct val="0"/>
              </a:spcAft>
            </a:pPr>
            <a:endParaRPr lang="en-US" sz="800" err="1">
              <a:gradFill>
                <a:gsLst>
                  <a:gs pos="0">
                    <a:srgbClr val="FFFFFF"/>
                  </a:gs>
                  <a:gs pos="100000">
                    <a:srgbClr val="FFFFFF"/>
                  </a:gs>
                </a:gsLst>
                <a:lin ang="5400000" scaled="0"/>
              </a:gradFill>
              <a:ea typeface="Segoe UI" pitchFamily="34" charset="0"/>
              <a:cs typeface="Segoe UI" pitchFamily="34" charset="0"/>
            </a:endParaRPr>
          </a:p>
        </p:txBody>
      </p:sp>
      <p:sp>
        <p:nvSpPr>
          <p:cNvPr id="32" name="Round Same Side Corner Rectangle 31"/>
          <p:cNvSpPr/>
          <p:nvPr userDrawn="1"/>
        </p:nvSpPr>
        <p:spPr>
          <a:xfrm>
            <a:off x="7920892" y="228992"/>
            <a:ext cx="1279827" cy="292608"/>
          </a:xfrm>
          <a:prstGeom prst="round2SameRect">
            <a:avLst/>
          </a:prstGeom>
          <a:solidFill>
            <a:schemeClr val="bg1"/>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Stand Alone</a:t>
            </a:r>
            <a:endParaRPr lang="en-US" sz="900" b="1" kern="0">
              <a:solidFill>
                <a:srgbClr val="002050"/>
              </a:solidFill>
              <a:ea typeface="Segoe UI" pitchFamily="34" charset="0"/>
              <a:cs typeface="Segoe UI" pitchFamily="34" charset="0"/>
              <a:hlinkClick r:id="" action="ppaction://noaction"/>
            </a:endParaRPr>
          </a:p>
        </p:txBody>
      </p:sp>
      <p:sp>
        <p:nvSpPr>
          <p:cNvPr id="33" name="Round Same Side Corner Rectangle 32"/>
          <p:cNvSpPr/>
          <p:nvPr userDrawn="1"/>
        </p:nvSpPr>
        <p:spPr>
          <a:xfrm>
            <a:off x="10536611"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Resources</a:t>
            </a:r>
            <a:endParaRPr lang="en-US" sz="900" b="1" kern="0">
              <a:solidFill>
                <a:srgbClr val="002050"/>
              </a:solidFill>
              <a:ea typeface="Segoe UI" pitchFamily="34" charset="0"/>
              <a:cs typeface="Segoe UI" pitchFamily="34" charset="0"/>
              <a:hlinkClick r:id="" action="ppaction://noaction"/>
            </a:endParaRPr>
          </a:p>
        </p:txBody>
      </p:sp>
      <p:sp>
        <p:nvSpPr>
          <p:cNvPr id="41" name="Round Same Side Corner Rectangle 40"/>
          <p:cNvSpPr/>
          <p:nvPr userDrawn="1"/>
        </p:nvSpPr>
        <p:spPr>
          <a:xfrm>
            <a:off x="1414051"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505050"/>
                </a:solidFill>
                <a:ea typeface="Segoe UI" pitchFamily="34" charset="0"/>
                <a:cs typeface="Segoe UI" pitchFamily="34" charset="0"/>
                <a:hlinkClick r:id="" action="ppaction://noaction"/>
              </a:rPr>
              <a:t>Introduction</a:t>
            </a:r>
            <a:endParaRPr lang="en-US" sz="900" b="1" kern="0">
              <a:solidFill>
                <a:srgbClr val="505050"/>
              </a:solidFill>
              <a:ea typeface="Segoe UI" pitchFamily="34" charset="0"/>
              <a:cs typeface="Segoe UI" pitchFamily="34" charset="0"/>
            </a:endParaRPr>
          </a:p>
        </p:txBody>
      </p:sp>
      <p:pic>
        <p:nvPicPr>
          <p:cNvPr id="42" name="Picture 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11797" y="-101208"/>
            <a:ext cx="1061829" cy="390689"/>
          </a:xfrm>
          <a:prstGeom prst="rect">
            <a:avLst/>
          </a:prstGeom>
        </p:spPr>
      </p:pic>
      <p:pic>
        <p:nvPicPr>
          <p:cNvPr id="43" name="Picture 42"/>
          <p:cNvPicPr>
            <a:picLocks noChangeAspect="1"/>
          </p:cNvPicPr>
          <p:nvPr userDrawn="1"/>
        </p:nvPicPr>
        <p:blipFill>
          <a:blip r:embed="rId3"/>
          <a:stretch>
            <a:fillRect/>
          </a:stretch>
        </p:blipFill>
        <p:spPr>
          <a:xfrm>
            <a:off x="11502662" y="6324740"/>
            <a:ext cx="627555" cy="486716"/>
          </a:xfrm>
          <a:prstGeom prst="rect">
            <a:avLst/>
          </a:prstGeom>
        </p:spPr>
      </p:pic>
      <p:sp>
        <p:nvSpPr>
          <p:cNvPr id="44" name="TextBox 43"/>
          <p:cNvSpPr txBox="1"/>
          <p:nvPr userDrawn="1"/>
        </p:nvSpPr>
        <p:spPr>
          <a:xfrm>
            <a:off x="11485066" y="6375544"/>
            <a:ext cx="645151" cy="373949"/>
          </a:xfrm>
          <a:prstGeom prst="rect">
            <a:avLst/>
          </a:prstGeom>
          <a:noFill/>
        </p:spPr>
        <p:txBody>
          <a:bodyPr wrap="square" lIns="91392" tIns="0" rIns="91392" bIns="0" rtlCol="0">
            <a:spAutoFit/>
          </a:bodyPr>
          <a:lstStyle/>
          <a:p>
            <a:pPr defTabSz="913852">
              <a:lnSpc>
                <a:spcPct val="90000"/>
              </a:lnSpc>
              <a:spcAft>
                <a:spcPts val="600"/>
              </a:spcAft>
            </a:pPr>
            <a:r>
              <a:rPr lang="en-US" sz="900" b="1">
                <a:solidFill>
                  <a:srgbClr val="FFFFFF"/>
                </a:solidFill>
              </a:rPr>
              <a:t>LEAD with the  Cloud</a:t>
            </a:r>
          </a:p>
        </p:txBody>
      </p:sp>
    </p:spTree>
    <p:extLst>
      <p:ext uri="{BB962C8B-B14F-4D97-AF65-F5344CB8AC3E}">
        <p14:creationId xmlns:p14="http://schemas.microsoft.com/office/powerpoint/2010/main" val="376667292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marL="167972"/>
            <a:fld id="{C9A871AC-A86D-4E3C-88B8-BCF6B56DF8AD}" type="slidenum">
              <a:rPr lang="en-US" smtClean="0">
                <a:solidFill>
                  <a:srgbClr val="505050">
                    <a:tint val="75000"/>
                  </a:srgbClr>
                </a:solidFill>
              </a:rPr>
              <a:pPr marL="167972"/>
              <a:t>‹#›</a:t>
            </a:fld>
            <a:endParaRPr lang="en-US">
              <a:solidFill>
                <a:srgbClr val="505050">
                  <a:tint val="75000"/>
                </a:srgbClr>
              </a:solidFill>
            </a:endParaRPr>
          </a:p>
        </p:txBody>
      </p:sp>
      <p:sp>
        <p:nvSpPr>
          <p:cNvPr id="47" name="Title 1"/>
          <p:cNvSpPr>
            <a:spLocks noGrp="1"/>
          </p:cNvSpPr>
          <p:nvPr>
            <p:ph type="title"/>
          </p:nvPr>
        </p:nvSpPr>
        <p:spPr>
          <a:xfrm>
            <a:off x="121506" y="616682"/>
            <a:ext cx="11652805" cy="362372"/>
          </a:xfrm>
        </p:spPr>
        <p:txBody>
          <a:bodyPr/>
          <a:lstStyle>
            <a:lvl1pPr>
              <a:defRPr sz="2398"/>
            </a:lvl1pPr>
          </a:lstStyle>
          <a:p>
            <a:r>
              <a:rPr lang="en-US"/>
              <a:t>Click to edit Master title style</a:t>
            </a:r>
          </a:p>
        </p:txBody>
      </p:sp>
      <p:sp>
        <p:nvSpPr>
          <p:cNvPr id="24" name="Minus 23"/>
          <p:cNvSpPr/>
          <p:nvPr userDrawn="1"/>
        </p:nvSpPr>
        <p:spPr bwMode="auto">
          <a:xfrm>
            <a:off x="-45421" y="453306"/>
            <a:ext cx="341817" cy="45719"/>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784" tIns="146228" rIns="182784" bIns="146228" numCol="1" spcCol="0" rtlCol="0" fromWordArt="0" anchor="t" anchorCtr="0" forceAA="0" compatLnSpc="1">
            <a:prstTxWarp prst="textNoShape">
              <a:avLst/>
            </a:prstTxWarp>
            <a:noAutofit/>
          </a:bodyPr>
          <a:lstStyle/>
          <a:p>
            <a:pPr algn="ctr" defTabSz="931912" fontAlgn="base">
              <a:lnSpc>
                <a:spcPct val="90000"/>
              </a:lnSpc>
              <a:spcBef>
                <a:spcPct val="0"/>
              </a:spcBef>
              <a:spcAft>
                <a:spcPct val="0"/>
              </a:spcAft>
            </a:pPr>
            <a:endParaRPr lang="en-US" sz="2398" err="1">
              <a:gradFill>
                <a:gsLst>
                  <a:gs pos="0">
                    <a:srgbClr val="FFFFFF"/>
                  </a:gs>
                  <a:gs pos="100000">
                    <a:srgbClr val="FFFFFF"/>
                  </a:gs>
                </a:gsLst>
                <a:lin ang="5400000" scaled="0"/>
              </a:gradFill>
              <a:ea typeface="Segoe UI" pitchFamily="34" charset="0"/>
              <a:cs typeface="Segoe UI" pitchFamily="34" charset="0"/>
            </a:endParaRPr>
          </a:p>
        </p:txBody>
      </p:sp>
      <p:sp>
        <p:nvSpPr>
          <p:cNvPr id="25" name="Round Same Side Corner Rectangle 24"/>
          <p:cNvSpPr/>
          <p:nvPr userDrawn="1"/>
        </p:nvSpPr>
        <p:spPr>
          <a:xfrm>
            <a:off x="2715420"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Enterprise Strategy @ Microsoft</a:t>
            </a:r>
            <a:endParaRPr lang="en-US" sz="900" b="1" kern="0">
              <a:solidFill>
                <a:srgbClr val="002050"/>
              </a:solidFill>
              <a:ea typeface="Segoe UI" pitchFamily="34" charset="0"/>
              <a:cs typeface="Segoe UI" pitchFamily="34" charset="0"/>
              <a:hlinkClick r:id="" action="ppaction://noaction"/>
            </a:endParaRPr>
          </a:p>
        </p:txBody>
      </p:sp>
      <p:sp>
        <p:nvSpPr>
          <p:cNvPr id="26" name="Round Same Side Corner Rectangle 25"/>
          <p:cNvSpPr/>
          <p:nvPr userDrawn="1"/>
        </p:nvSpPr>
        <p:spPr>
          <a:xfrm>
            <a:off x="5307995"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Accelerate Azure Usage</a:t>
            </a:r>
            <a:endParaRPr lang="en-US" sz="900" b="1" kern="0">
              <a:solidFill>
                <a:srgbClr val="002050"/>
              </a:solidFill>
              <a:ea typeface="Segoe UI" pitchFamily="34" charset="0"/>
              <a:cs typeface="Segoe UI" pitchFamily="34" charset="0"/>
              <a:hlinkClick r:id="" action="ppaction://noaction"/>
            </a:endParaRPr>
          </a:p>
        </p:txBody>
      </p:sp>
      <p:sp>
        <p:nvSpPr>
          <p:cNvPr id="27" name="Round Same Side Corner Rectangle 26"/>
          <p:cNvSpPr/>
          <p:nvPr userDrawn="1"/>
        </p:nvSpPr>
        <p:spPr>
          <a:xfrm>
            <a:off x="6609364"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Sustained Presence</a:t>
            </a:r>
            <a:endParaRPr lang="en-US" sz="900" b="1" kern="0">
              <a:solidFill>
                <a:srgbClr val="002050"/>
              </a:solidFill>
              <a:ea typeface="Segoe UI" pitchFamily="34" charset="0"/>
              <a:cs typeface="Segoe UI" pitchFamily="34" charset="0"/>
              <a:hlinkClick r:id="" action="ppaction://noaction"/>
            </a:endParaRPr>
          </a:p>
        </p:txBody>
      </p:sp>
      <p:sp>
        <p:nvSpPr>
          <p:cNvPr id="28" name="Round Same Side Corner Rectangle 27"/>
          <p:cNvSpPr/>
          <p:nvPr userDrawn="1"/>
        </p:nvSpPr>
        <p:spPr>
          <a:xfrm>
            <a:off x="9228752" y="228992"/>
            <a:ext cx="1279827" cy="292608"/>
          </a:xfrm>
          <a:prstGeom prst="round2SameRect">
            <a:avLst/>
          </a:prstGeom>
          <a:solidFill>
            <a:schemeClr val="bg1"/>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505050"/>
                </a:solidFill>
                <a:ea typeface="Segoe UI" pitchFamily="34" charset="0"/>
                <a:cs typeface="Segoe UI" pitchFamily="34" charset="0"/>
                <a:hlinkClick r:id="" action="ppaction://noaction"/>
              </a:rPr>
              <a:t>Customer Evidence</a:t>
            </a:r>
          </a:p>
        </p:txBody>
      </p:sp>
      <p:sp>
        <p:nvSpPr>
          <p:cNvPr id="29" name="Round Same Side Corner Rectangle 28"/>
          <p:cNvSpPr/>
          <p:nvPr userDrawn="1"/>
        </p:nvSpPr>
        <p:spPr>
          <a:xfrm>
            <a:off x="4016787"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Lead with the Cloud</a:t>
            </a:r>
            <a:endParaRPr lang="en-US" sz="900" b="1" kern="0">
              <a:solidFill>
                <a:srgbClr val="002050"/>
              </a:solidFill>
              <a:ea typeface="Segoe UI" pitchFamily="34" charset="0"/>
              <a:cs typeface="Segoe UI" pitchFamily="34" charset="0"/>
              <a:hlinkClick r:id="" action="ppaction://noaction"/>
            </a:endParaRPr>
          </a:p>
        </p:txBody>
      </p:sp>
      <p:sp>
        <p:nvSpPr>
          <p:cNvPr id="31" name="Round Same Side Corner Rectangle 30"/>
          <p:cNvSpPr/>
          <p:nvPr userDrawn="1"/>
        </p:nvSpPr>
        <p:spPr>
          <a:xfrm>
            <a:off x="112686"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505050"/>
                </a:solidFill>
                <a:ea typeface="Segoe UI" pitchFamily="34" charset="0"/>
                <a:cs typeface="Segoe UI" pitchFamily="34" charset="0"/>
                <a:hlinkClick r:id="" action="ppaction://noaction"/>
              </a:rPr>
              <a:t>ReadMe</a:t>
            </a:r>
          </a:p>
        </p:txBody>
      </p:sp>
      <p:sp>
        <p:nvSpPr>
          <p:cNvPr id="34" name="Minus 33"/>
          <p:cNvSpPr/>
          <p:nvPr userDrawn="1"/>
        </p:nvSpPr>
        <p:spPr bwMode="auto">
          <a:xfrm>
            <a:off x="11739548" y="437585"/>
            <a:ext cx="508569" cy="45720"/>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784" tIns="146228" rIns="182784" bIns="146228" numCol="1" spcCol="0" rtlCol="0" fromWordArt="0" anchor="t" anchorCtr="0" forceAA="0" compatLnSpc="1">
            <a:prstTxWarp prst="textNoShape">
              <a:avLst/>
            </a:prstTxWarp>
            <a:noAutofit/>
          </a:bodyPr>
          <a:lstStyle/>
          <a:p>
            <a:pPr algn="ctr" defTabSz="931912" fontAlgn="base">
              <a:lnSpc>
                <a:spcPct val="90000"/>
              </a:lnSpc>
              <a:spcBef>
                <a:spcPct val="0"/>
              </a:spcBef>
              <a:spcAft>
                <a:spcPct val="0"/>
              </a:spcAft>
            </a:pPr>
            <a:endParaRPr lang="en-US" sz="800" err="1">
              <a:gradFill>
                <a:gsLst>
                  <a:gs pos="0">
                    <a:srgbClr val="FFFFFF"/>
                  </a:gs>
                  <a:gs pos="100000">
                    <a:srgbClr val="FFFFFF"/>
                  </a:gs>
                </a:gsLst>
                <a:lin ang="5400000" scaled="0"/>
              </a:gradFill>
              <a:ea typeface="Segoe UI" pitchFamily="34" charset="0"/>
              <a:cs typeface="Segoe UI" pitchFamily="34" charset="0"/>
            </a:endParaRPr>
          </a:p>
        </p:txBody>
      </p:sp>
      <p:sp>
        <p:nvSpPr>
          <p:cNvPr id="35" name="Round Same Side Corner Rectangle 34"/>
          <p:cNvSpPr/>
          <p:nvPr userDrawn="1"/>
        </p:nvSpPr>
        <p:spPr>
          <a:xfrm>
            <a:off x="7920892"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Stand Alone</a:t>
            </a:r>
            <a:endParaRPr lang="en-US" sz="900" b="1" kern="0">
              <a:solidFill>
                <a:srgbClr val="002050"/>
              </a:solidFill>
              <a:ea typeface="Segoe UI" pitchFamily="34" charset="0"/>
              <a:cs typeface="Segoe UI" pitchFamily="34" charset="0"/>
              <a:hlinkClick r:id="" action="ppaction://noaction"/>
            </a:endParaRPr>
          </a:p>
        </p:txBody>
      </p:sp>
      <p:sp>
        <p:nvSpPr>
          <p:cNvPr id="36" name="Round Same Side Corner Rectangle 35"/>
          <p:cNvSpPr/>
          <p:nvPr userDrawn="1"/>
        </p:nvSpPr>
        <p:spPr>
          <a:xfrm>
            <a:off x="10536611"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Resources</a:t>
            </a:r>
            <a:endParaRPr lang="en-US" sz="900" b="1" kern="0">
              <a:solidFill>
                <a:srgbClr val="002050"/>
              </a:solidFill>
              <a:ea typeface="Segoe UI" pitchFamily="34" charset="0"/>
              <a:cs typeface="Segoe UI" pitchFamily="34" charset="0"/>
              <a:hlinkClick r:id="" action="ppaction://noaction"/>
            </a:endParaRPr>
          </a:p>
        </p:txBody>
      </p:sp>
      <p:sp>
        <p:nvSpPr>
          <p:cNvPr id="37" name="Round Same Side Corner Rectangle 36"/>
          <p:cNvSpPr/>
          <p:nvPr userDrawn="1"/>
        </p:nvSpPr>
        <p:spPr>
          <a:xfrm>
            <a:off x="1414051"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505050"/>
                </a:solidFill>
                <a:ea typeface="Segoe UI" pitchFamily="34" charset="0"/>
                <a:cs typeface="Segoe UI" pitchFamily="34" charset="0"/>
                <a:hlinkClick r:id="" action="ppaction://noaction"/>
              </a:rPr>
              <a:t>Introduction</a:t>
            </a:r>
            <a:endParaRPr lang="en-US" sz="900" b="1" kern="0">
              <a:solidFill>
                <a:srgbClr val="505050"/>
              </a:solidFill>
              <a:ea typeface="Segoe UI" pitchFamily="34" charset="0"/>
              <a:cs typeface="Segoe UI" pitchFamily="34" charset="0"/>
            </a:endParaRPr>
          </a:p>
        </p:txBody>
      </p:sp>
      <p:pic>
        <p:nvPicPr>
          <p:cNvPr id="38" name="Picture 3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11797" y="-101208"/>
            <a:ext cx="1061829" cy="390689"/>
          </a:xfrm>
          <a:prstGeom prst="rect">
            <a:avLst/>
          </a:prstGeom>
        </p:spPr>
      </p:pic>
      <p:pic>
        <p:nvPicPr>
          <p:cNvPr id="39" name="Picture 38"/>
          <p:cNvPicPr>
            <a:picLocks noChangeAspect="1"/>
          </p:cNvPicPr>
          <p:nvPr userDrawn="1"/>
        </p:nvPicPr>
        <p:blipFill>
          <a:blip r:embed="rId3"/>
          <a:stretch>
            <a:fillRect/>
          </a:stretch>
        </p:blipFill>
        <p:spPr>
          <a:xfrm>
            <a:off x="11502662" y="6324740"/>
            <a:ext cx="627555" cy="486716"/>
          </a:xfrm>
          <a:prstGeom prst="rect">
            <a:avLst/>
          </a:prstGeom>
        </p:spPr>
      </p:pic>
      <p:sp>
        <p:nvSpPr>
          <p:cNvPr id="40" name="TextBox 39"/>
          <p:cNvSpPr txBox="1"/>
          <p:nvPr userDrawn="1"/>
        </p:nvSpPr>
        <p:spPr>
          <a:xfrm>
            <a:off x="11485066" y="6375544"/>
            <a:ext cx="645151" cy="373949"/>
          </a:xfrm>
          <a:prstGeom prst="rect">
            <a:avLst/>
          </a:prstGeom>
          <a:noFill/>
        </p:spPr>
        <p:txBody>
          <a:bodyPr wrap="square" lIns="91392" tIns="0" rIns="91392" bIns="0" rtlCol="0">
            <a:spAutoFit/>
          </a:bodyPr>
          <a:lstStyle/>
          <a:p>
            <a:pPr defTabSz="913852">
              <a:lnSpc>
                <a:spcPct val="90000"/>
              </a:lnSpc>
              <a:spcAft>
                <a:spcPts val="600"/>
              </a:spcAft>
            </a:pPr>
            <a:r>
              <a:rPr lang="en-US" sz="900" b="1">
                <a:solidFill>
                  <a:srgbClr val="FFFFFF"/>
                </a:solidFill>
              </a:rPr>
              <a:t>LEAD with the  Cloud</a:t>
            </a:r>
          </a:p>
        </p:txBody>
      </p:sp>
    </p:spTree>
    <p:extLst>
      <p:ext uri="{BB962C8B-B14F-4D97-AF65-F5344CB8AC3E}">
        <p14:creationId xmlns:p14="http://schemas.microsoft.com/office/powerpoint/2010/main" val="161649423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marL="167972"/>
            <a:fld id="{C9A871AC-A86D-4E3C-88B8-BCF6B56DF8AD}" type="slidenum">
              <a:rPr lang="en-US" smtClean="0">
                <a:solidFill>
                  <a:srgbClr val="505050">
                    <a:tint val="75000"/>
                  </a:srgbClr>
                </a:solidFill>
              </a:rPr>
              <a:pPr marL="167972"/>
              <a:t>‹#›</a:t>
            </a:fld>
            <a:endParaRPr lang="en-US">
              <a:solidFill>
                <a:srgbClr val="505050">
                  <a:tint val="75000"/>
                </a:srgbClr>
              </a:solidFill>
            </a:endParaRPr>
          </a:p>
        </p:txBody>
      </p:sp>
      <p:sp>
        <p:nvSpPr>
          <p:cNvPr id="47" name="Title 1"/>
          <p:cNvSpPr>
            <a:spLocks noGrp="1"/>
          </p:cNvSpPr>
          <p:nvPr>
            <p:ph type="title"/>
          </p:nvPr>
        </p:nvSpPr>
        <p:spPr>
          <a:xfrm>
            <a:off x="131668" y="632401"/>
            <a:ext cx="11652805" cy="362372"/>
          </a:xfrm>
        </p:spPr>
        <p:txBody>
          <a:bodyPr/>
          <a:lstStyle>
            <a:lvl1pPr>
              <a:defRPr sz="2398"/>
            </a:lvl1pPr>
          </a:lstStyle>
          <a:p>
            <a:r>
              <a:rPr lang="en-US"/>
              <a:t>Click to edit Master title style</a:t>
            </a:r>
          </a:p>
        </p:txBody>
      </p:sp>
      <p:pic>
        <p:nvPicPr>
          <p:cNvPr id="54" name="Picture 53"/>
          <p:cNvPicPr>
            <a:picLocks noChangeAspect="1"/>
          </p:cNvPicPr>
          <p:nvPr userDrawn="1"/>
        </p:nvPicPr>
        <p:blipFill>
          <a:blip r:embed="rId2"/>
          <a:stretch>
            <a:fillRect/>
          </a:stretch>
        </p:blipFill>
        <p:spPr>
          <a:xfrm>
            <a:off x="11502662" y="6324740"/>
            <a:ext cx="627555" cy="486716"/>
          </a:xfrm>
          <a:prstGeom prst="rect">
            <a:avLst/>
          </a:prstGeom>
        </p:spPr>
      </p:pic>
      <p:sp>
        <p:nvSpPr>
          <p:cNvPr id="55" name="TextBox 54"/>
          <p:cNvSpPr txBox="1"/>
          <p:nvPr userDrawn="1"/>
        </p:nvSpPr>
        <p:spPr>
          <a:xfrm>
            <a:off x="11485066" y="6375544"/>
            <a:ext cx="645151" cy="373949"/>
          </a:xfrm>
          <a:prstGeom prst="rect">
            <a:avLst/>
          </a:prstGeom>
          <a:noFill/>
        </p:spPr>
        <p:txBody>
          <a:bodyPr wrap="square" lIns="91392" tIns="0" rIns="91392" bIns="0" rtlCol="0">
            <a:spAutoFit/>
          </a:bodyPr>
          <a:lstStyle/>
          <a:p>
            <a:pPr defTabSz="913852">
              <a:lnSpc>
                <a:spcPct val="90000"/>
              </a:lnSpc>
              <a:spcAft>
                <a:spcPts val="600"/>
              </a:spcAft>
            </a:pPr>
            <a:r>
              <a:rPr lang="en-US" sz="900" b="1">
                <a:solidFill>
                  <a:srgbClr val="FFFFFF"/>
                </a:solidFill>
              </a:rPr>
              <a:t>LEAD with the  Cloud</a:t>
            </a:r>
          </a:p>
        </p:txBody>
      </p:sp>
      <p:sp>
        <p:nvSpPr>
          <p:cNvPr id="24" name="Minus 23"/>
          <p:cNvSpPr/>
          <p:nvPr userDrawn="1"/>
        </p:nvSpPr>
        <p:spPr bwMode="auto">
          <a:xfrm>
            <a:off x="-45421" y="453306"/>
            <a:ext cx="341817" cy="45719"/>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784" tIns="146228" rIns="182784" bIns="146228" numCol="1" spcCol="0" rtlCol="0" fromWordArt="0" anchor="t" anchorCtr="0" forceAA="0" compatLnSpc="1">
            <a:prstTxWarp prst="textNoShape">
              <a:avLst/>
            </a:prstTxWarp>
            <a:noAutofit/>
          </a:bodyPr>
          <a:lstStyle/>
          <a:p>
            <a:pPr algn="ctr" defTabSz="931912" fontAlgn="base">
              <a:lnSpc>
                <a:spcPct val="90000"/>
              </a:lnSpc>
              <a:spcBef>
                <a:spcPct val="0"/>
              </a:spcBef>
              <a:spcAft>
                <a:spcPct val="0"/>
              </a:spcAft>
            </a:pPr>
            <a:endParaRPr lang="en-US" sz="2398" err="1">
              <a:gradFill>
                <a:gsLst>
                  <a:gs pos="0">
                    <a:srgbClr val="FFFFFF"/>
                  </a:gs>
                  <a:gs pos="100000">
                    <a:srgbClr val="FFFFFF"/>
                  </a:gs>
                </a:gsLst>
                <a:lin ang="5400000" scaled="0"/>
              </a:gradFill>
              <a:ea typeface="Segoe UI" pitchFamily="34" charset="0"/>
              <a:cs typeface="Segoe UI" pitchFamily="34" charset="0"/>
            </a:endParaRPr>
          </a:p>
        </p:txBody>
      </p:sp>
      <p:sp>
        <p:nvSpPr>
          <p:cNvPr id="25" name="Round Same Side Corner Rectangle 24"/>
          <p:cNvSpPr/>
          <p:nvPr userDrawn="1"/>
        </p:nvSpPr>
        <p:spPr>
          <a:xfrm>
            <a:off x="2715420"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Enterprise Strategy @ Microsoft</a:t>
            </a:r>
            <a:endParaRPr lang="en-US" sz="900" b="1" kern="0">
              <a:solidFill>
                <a:srgbClr val="002050"/>
              </a:solidFill>
              <a:ea typeface="Segoe UI" pitchFamily="34" charset="0"/>
              <a:cs typeface="Segoe UI" pitchFamily="34" charset="0"/>
              <a:hlinkClick r:id="" action="ppaction://noaction"/>
            </a:endParaRPr>
          </a:p>
        </p:txBody>
      </p:sp>
      <p:sp>
        <p:nvSpPr>
          <p:cNvPr id="26" name="Round Same Side Corner Rectangle 25"/>
          <p:cNvSpPr/>
          <p:nvPr userDrawn="1"/>
        </p:nvSpPr>
        <p:spPr>
          <a:xfrm>
            <a:off x="5307995"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Accelerate Azure Usage</a:t>
            </a:r>
            <a:endParaRPr lang="en-US" sz="900" b="1" kern="0">
              <a:solidFill>
                <a:srgbClr val="002050"/>
              </a:solidFill>
              <a:ea typeface="Segoe UI" pitchFamily="34" charset="0"/>
              <a:cs typeface="Segoe UI" pitchFamily="34" charset="0"/>
              <a:hlinkClick r:id="" action="ppaction://noaction"/>
            </a:endParaRPr>
          </a:p>
        </p:txBody>
      </p:sp>
      <p:sp>
        <p:nvSpPr>
          <p:cNvPr id="27" name="Round Same Side Corner Rectangle 26"/>
          <p:cNvSpPr/>
          <p:nvPr userDrawn="1"/>
        </p:nvSpPr>
        <p:spPr>
          <a:xfrm>
            <a:off x="6609364"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Sustained Presence</a:t>
            </a:r>
            <a:endParaRPr lang="en-US" sz="900" b="1" kern="0">
              <a:solidFill>
                <a:srgbClr val="002050"/>
              </a:solidFill>
              <a:ea typeface="Segoe UI" pitchFamily="34" charset="0"/>
              <a:cs typeface="Segoe UI" pitchFamily="34" charset="0"/>
              <a:hlinkClick r:id="" action="ppaction://noaction"/>
            </a:endParaRPr>
          </a:p>
        </p:txBody>
      </p:sp>
      <p:sp>
        <p:nvSpPr>
          <p:cNvPr id="28" name="Round Same Side Corner Rectangle 27"/>
          <p:cNvSpPr/>
          <p:nvPr userDrawn="1"/>
        </p:nvSpPr>
        <p:spPr>
          <a:xfrm>
            <a:off x="9228752"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505050"/>
                </a:solidFill>
                <a:ea typeface="Segoe UI" pitchFamily="34" charset="0"/>
                <a:cs typeface="Segoe UI" pitchFamily="34" charset="0"/>
                <a:hlinkClick r:id="" action="ppaction://noaction"/>
              </a:rPr>
              <a:t>Customer Evidence</a:t>
            </a:r>
          </a:p>
        </p:txBody>
      </p:sp>
      <p:sp>
        <p:nvSpPr>
          <p:cNvPr id="29" name="Round Same Side Corner Rectangle 28"/>
          <p:cNvSpPr/>
          <p:nvPr userDrawn="1"/>
        </p:nvSpPr>
        <p:spPr>
          <a:xfrm>
            <a:off x="4016787"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Lead with the Cloud</a:t>
            </a:r>
            <a:endParaRPr lang="en-US" sz="900" b="1" kern="0">
              <a:solidFill>
                <a:srgbClr val="002050"/>
              </a:solidFill>
              <a:ea typeface="Segoe UI" pitchFamily="34" charset="0"/>
              <a:cs typeface="Segoe UI" pitchFamily="34" charset="0"/>
              <a:hlinkClick r:id="" action="ppaction://noaction"/>
            </a:endParaRPr>
          </a:p>
        </p:txBody>
      </p:sp>
      <p:sp>
        <p:nvSpPr>
          <p:cNvPr id="31" name="Round Same Side Corner Rectangle 30"/>
          <p:cNvSpPr/>
          <p:nvPr userDrawn="1"/>
        </p:nvSpPr>
        <p:spPr>
          <a:xfrm>
            <a:off x="112686"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505050"/>
                </a:solidFill>
                <a:ea typeface="Segoe UI" pitchFamily="34" charset="0"/>
                <a:cs typeface="Segoe UI" pitchFamily="34" charset="0"/>
                <a:hlinkClick r:id="" action="ppaction://noaction"/>
              </a:rPr>
              <a:t>ReadMe</a:t>
            </a:r>
          </a:p>
        </p:txBody>
      </p:sp>
      <p:sp>
        <p:nvSpPr>
          <p:cNvPr id="34" name="Minus 33"/>
          <p:cNvSpPr/>
          <p:nvPr userDrawn="1"/>
        </p:nvSpPr>
        <p:spPr bwMode="auto">
          <a:xfrm>
            <a:off x="11739548" y="437585"/>
            <a:ext cx="508569" cy="45720"/>
          </a:xfrm>
          <a:prstGeom prst="mathMinus">
            <a:avLst/>
          </a:prstGeom>
          <a:ln w="38100">
            <a:headEnd type="none"/>
            <a:tailEnd type="none"/>
          </a:ln>
        </p:spPr>
        <p:style>
          <a:lnRef idx="3">
            <a:schemeClr val="dk1"/>
          </a:lnRef>
          <a:fillRef idx="0">
            <a:schemeClr val="dk1"/>
          </a:fillRef>
          <a:effectRef idx="2">
            <a:schemeClr val="dk1"/>
          </a:effectRef>
          <a:fontRef idx="minor">
            <a:schemeClr val="tx1"/>
          </a:fontRef>
        </p:style>
        <p:txBody>
          <a:bodyPr rot="0" spcFirstLastPara="0" vertOverflow="overflow" horzOverflow="overflow" vert="horz" wrap="square" lIns="182784" tIns="146228" rIns="182784" bIns="146228" numCol="1" spcCol="0" rtlCol="0" fromWordArt="0" anchor="t" anchorCtr="0" forceAA="0" compatLnSpc="1">
            <a:prstTxWarp prst="textNoShape">
              <a:avLst/>
            </a:prstTxWarp>
            <a:noAutofit/>
          </a:bodyPr>
          <a:lstStyle/>
          <a:p>
            <a:pPr algn="ctr" defTabSz="931912" fontAlgn="base">
              <a:lnSpc>
                <a:spcPct val="90000"/>
              </a:lnSpc>
              <a:spcBef>
                <a:spcPct val="0"/>
              </a:spcBef>
              <a:spcAft>
                <a:spcPct val="0"/>
              </a:spcAft>
            </a:pPr>
            <a:endParaRPr lang="en-US" sz="800" err="1">
              <a:gradFill>
                <a:gsLst>
                  <a:gs pos="0">
                    <a:srgbClr val="FFFFFF"/>
                  </a:gs>
                  <a:gs pos="100000">
                    <a:srgbClr val="FFFFFF"/>
                  </a:gs>
                </a:gsLst>
                <a:lin ang="5400000" scaled="0"/>
              </a:gradFill>
              <a:ea typeface="Segoe UI" pitchFamily="34" charset="0"/>
              <a:cs typeface="Segoe UI" pitchFamily="34" charset="0"/>
            </a:endParaRPr>
          </a:p>
        </p:txBody>
      </p:sp>
      <p:sp>
        <p:nvSpPr>
          <p:cNvPr id="35" name="Round Same Side Corner Rectangle 34"/>
          <p:cNvSpPr/>
          <p:nvPr userDrawn="1"/>
        </p:nvSpPr>
        <p:spPr>
          <a:xfrm>
            <a:off x="7920892"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Stand Alone</a:t>
            </a:r>
            <a:endParaRPr lang="en-US" sz="900" b="1" kern="0">
              <a:solidFill>
                <a:srgbClr val="002050"/>
              </a:solidFill>
              <a:ea typeface="Segoe UI" pitchFamily="34" charset="0"/>
              <a:cs typeface="Segoe UI" pitchFamily="34" charset="0"/>
              <a:hlinkClick r:id="" action="ppaction://noaction"/>
            </a:endParaRPr>
          </a:p>
        </p:txBody>
      </p:sp>
      <p:sp>
        <p:nvSpPr>
          <p:cNvPr id="36" name="Round Same Side Corner Rectangle 35"/>
          <p:cNvSpPr/>
          <p:nvPr userDrawn="1"/>
        </p:nvSpPr>
        <p:spPr>
          <a:xfrm>
            <a:off x="10536611" y="228992"/>
            <a:ext cx="1279827" cy="292608"/>
          </a:xfrm>
          <a:prstGeom prst="round2SameRect">
            <a:avLst/>
          </a:prstGeom>
          <a:solidFill>
            <a:srgbClr val="FFFFFF"/>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002050"/>
                </a:solidFill>
                <a:ea typeface="Segoe UI" pitchFamily="34" charset="0"/>
                <a:cs typeface="Segoe UI" pitchFamily="34" charset="0"/>
              </a:rPr>
              <a:t>Resources</a:t>
            </a:r>
            <a:endParaRPr lang="en-US" sz="900" b="1" kern="0">
              <a:solidFill>
                <a:srgbClr val="002050"/>
              </a:solidFill>
              <a:ea typeface="Segoe UI" pitchFamily="34" charset="0"/>
              <a:cs typeface="Segoe UI" pitchFamily="34" charset="0"/>
              <a:hlinkClick r:id="" action="ppaction://noaction"/>
            </a:endParaRPr>
          </a:p>
        </p:txBody>
      </p:sp>
      <p:sp>
        <p:nvSpPr>
          <p:cNvPr id="37" name="Round Same Side Corner Rectangle 36"/>
          <p:cNvSpPr/>
          <p:nvPr userDrawn="1"/>
        </p:nvSpPr>
        <p:spPr>
          <a:xfrm>
            <a:off x="1414051" y="228992"/>
            <a:ext cx="1279827" cy="292608"/>
          </a:xfrm>
          <a:prstGeom prst="round2SameRect">
            <a:avLst/>
          </a:prstGeom>
          <a:solidFill>
            <a:srgbClr val="0072C6"/>
          </a:solidFill>
          <a:ln w="12700" cap="flat" cmpd="sng" algn="ctr">
            <a:solidFill>
              <a:sysClr val="window" lastClr="FFFFFF"/>
            </a:solidFill>
            <a:prstDash val="solid"/>
          </a:ln>
          <a:effectLst>
            <a:outerShdw blurRad="50800" dist="38100" dir="16200000" rotWithShape="0">
              <a:prstClr val="black">
                <a:alpha val="40000"/>
              </a:prstClr>
            </a:outerShdw>
          </a:effectLst>
        </p:spPr>
        <p:txBody>
          <a:bodyPr lIns="95729" tIns="47866" rIns="95729" bIns="47866" rtlCol="0" anchor="ctr"/>
          <a:lstStyle/>
          <a:p>
            <a:pPr algn="ctr" defTabSz="957222">
              <a:defRPr/>
            </a:pPr>
            <a:r>
              <a:rPr lang="en-US" sz="900" b="1" kern="0">
                <a:solidFill>
                  <a:srgbClr val="505050"/>
                </a:solidFill>
                <a:ea typeface="Segoe UI" pitchFamily="34" charset="0"/>
                <a:cs typeface="Segoe UI" pitchFamily="34" charset="0"/>
                <a:hlinkClick r:id="" action="ppaction://noaction"/>
              </a:rPr>
              <a:t>Introduction</a:t>
            </a:r>
            <a:endParaRPr lang="en-US" sz="900" b="1" kern="0">
              <a:solidFill>
                <a:srgbClr val="505050"/>
              </a:solidFill>
              <a:ea typeface="Segoe UI" pitchFamily="34" charset="0"/>
              <a:cs typeface="Segoe UI" pitchFamily="34" charset="0"/>
            </a:endParaRPr>
          </a:p>
        </p:txBody>
      </p:sp>
      <p:pic>
        <p:nvPicPr>
          <p:cNvPr id="38" name="Picture 3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211797" y="-101208"/>
            <a:ext cx="1061829" cy="390689"/>
          </a:xfrm>
          <a:prstGeom prst="rect">
            <a:avLst/>
          </a:prstGeom>
        </p:spPr>
      </p:pic>
    </p:spTree>
    <p:extLst>
      <p:ext uri="{BB962C8B-B14F-4D97-AF65-F5344CB8AC3E}">
        <p14:creationId xmlns:p14="http://schemas.microsoft.com/office/powerpoint/2010/main" val="2808994958"/>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071148" y="2084173"/>
            <a:ext cx="8056131" cy="1793104"/>
          </a:xfrm>
        </p:spPr>
        <p:txBody>
          <a:bodyPr/>
          <a:lstStyle>
            <a:lvl1pPr>
              <a:defRPr sz="5878" baseline="0"/>
            </a:lvl1pPr>
          </a:lstStyle>
          <a:p>
            <a:r>
              <a:rPr lang="en-US"/>
              <a:t>Click to edit Master title style</a:t>
            </a:r>
          </a:p>
        </p:txBody>
      </p:sp>
      <p:sp>
        <p:nvSpPr>
          <p:cNvPr id="3" name="Slide Number Placeholder 2"/>
          <p:cNvSpPr>
            <a:spLocks noGrp="1"/>
          </p:cNvSpPr>
          <p:nvPr>
            <p:ph type="sldNum" sz="quarter" idx="10"/>
          </p:nvPr>
        </p:nvSpPr>
        <p:spPr/>
        <p:txBody>
          <a:bodyPr/>
          <a:lstStyle/>
          <a:p>
            <a:pPr marL="167972"/>
            <a:fld id="{C9A871AC-A86D-4E3C-88B8-BCF6B56DF8AD}" type="slidenum">
              <a:rPr lang="en-US" smtClean="0">
                <a:solidFill>
                  <a:srgbClr val="505050">
                    <a:tint val="75000"/>
                  </a:srgbClr>
                </a:solidFill>
              </a:rPr>
              <a:pPr marL="167972"/>
              <a:t>‹#›</a:t>
            </a:fld>
            <a:endParaRPr lang="en-US">
              <a:solidFill>
                <a:srgbClr val="505050">
                  <a:tint val="75000"/>
                </a:srgbClr>
              </a:solidFill>
            </a:endParaRPr>
          </a:p>
        </p:txBody>
      </p:sp>
    </p:spTree>
    <p:extLst>
      <p:ext uri="{BB962C8B-B14F-4D97-AF65-F5344CB8AC3E}">
        <p14:creationId xmlns:p14="http://schemas.microsoft.com/office/powerpoint/2010/main" val="285896386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8247787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a:xfrm>
            <a:off x="7780" y="6486818"/>
            <a:ext cx="2741474" cy="364224"/>
          </a:xfrm>
        </p:spPr>
        <p:txBody>
          <a:bodyPr/>
          <a:lstStyle/>
          <a:p>
            <a:pPr marL="167972"/>
            <a:fld id="{C9A871AC-A86D-4E3C-88B8-BCF6B56DF8AD}" type="slidenum">
              <a:rPr lang="en-US" smtClean="0">
                <a:solidFill>
                  <a:srgbClr val="505050">
                    <a:tint val="75000"/>
                  </a:srgbClr>
                </a:solidFill>
              </a:rPr>
              <a:pPr marL="167972"/>
              <a:t>‹#›</a:t>
            </a:fld>
            <a:endParaRPr lang="en-US">
              <a:solidFill>
                <a:srgbClr val="505050">
                  <a:tint val="75000"/>
                </a:srgbClr>
              </a:solidFill>
            </a:endParaRPr>
          </a:p>
        </p:txBody>
      </p:sp>
    </p:spTree>
    <p:extLst>
      <p:ext uri="{BB962C8B-B14F-4D97-AF65-F5344CB8AC3E}">
        <p14:creationId xmlns:p14="http://schemas.microsoft.com/office/powerpoint/2010/main" val="289366337"/>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OLD Content Title Only - DO NOT USE">
    <p:spTree>
      <p:nvGrpSpPr>
        <p:cNvPr id="1" name=""/>
        <p:cNvGrpSpPr/>
        <p:nvPr/>
      </p:nvGrpSpPr>
      <p:grpSpPr>
        <a:xfrm>
          <a:off x="0" y="0"/>
          <a:ext cx="0" cy="0"/>
          <a:chOff x="0" y="0"/>
          <a:chExt cx="0" cy="0"/>
        </a:xfrm>
      </p:grpSpPr>
      <p:sp>
        <p:nvSpPr>
          <p:cNvPr id="2" name="Title 1"/>
          <p:cNvSpPr>
            <a:spLocks noGrp="1"/>
          </p:cNvSpPr>
          <p:nvPr>
            <p:ph type="title"/>
          </p:nvPr>
        </p:nvSpPr>
        <p:spPr>
          <a:xfrm>
            <a:off x="340849" y="172830"/>
            <a:ext cx="11507132" cy="637879"/>
          </a:xfrm>
          <a:noFill/>
        </p:spPr>
        <p:txBody>
          <a:bodyPr>
            <a:noAutofit/>
          </a:bodyPr>
          <a:lstStyle>
            <a:lvl1pPr>
              <a:defRPr sz="3998">
                <a:solidFill>
                  <a:schemeClr val="tx2"/>
                </a:solidFill>
                <a:latin typeface="Segoe UI Light" panose="020B0502040204020203" pitchFamily="34" charset="0"/>
              </a:defRPr>
            </a:lvl1pPr>
          </a:lstStyle>
          <a:p>
            <a:r>
              <a:rPr lang="en-US"/>
              <a:t>Click to edit Master title style</a:t>
            </a:r>
          </a:p>
        </p:txBody>
      </p:sp>
      <p:sp>
        <p:nvSpPr>
          <p:cNvPr id="3" name="Date Placeholder 2"/>
          <p:cNvSpPr>
            <a:spLocks noGrp="1"/>
          </p:cNvSpPr>
          <p:nvPr>
            <p:ph type="dt" sz="half" idx="10"/>
          </p:nvPr>
        </p:nvSpPr>
        <p:spPr>
          <a:xfrm>
            <a:off x="0" y="6356361"/>
            <a:ext cx="2844059" cy="365125"/>
          </a:xfrm>
          <a:prstGeom prst="rect">
            <a:avLst/>
          </a:prstGeom>
        </p:spPr>
        <p:txBody>
          <a:bodyPr/>
          <a:lstStyle/>
          <a:p>
            <a:pPr defTabSz="913819"/>
            <a:endParaRPr lang="en-US" sz="1798">
              <a:solidFill>
                <a:srgbClr val="505050"/>
              </a:solidFill>
            </a:endParaRPr>
          </a:p>
        </p:txBody>
      </p:sp>
      <p:sp>
        <p:nvSpPr>
          <p:cNvPr id="4" name="Slide Number Placeholder 3"/>
          <p:cNvSpPr>
            <a:spLocks noGrp="1"/>
          </p:cNvSpPr>
          <p:nvPr>
            <p:ph type="sldNum" sz="quarter" idx="11"/>
          </p:nvPr>
        </p:nvSpPr>
        <p:spPr>
          <a:xfrm>
            <a:off x="9040045" y="6356361"/>
            <a:ext cx="2844059" cy="365125"/>
          </a:xfrm>
          <a:prstGeom prst="rect">
            <a:avLst/>
          </a:prstGeom>
        </p:spPr>
        <p:txBody>
          <a:bodyPr/>
          <a:lstStyle/>
          <a:p>
            <a:pPr defTabSz="913819"/>
            <a:fld id="{74A398B2-5A34-1A4A-811E-F4027282568C}" type="slidenum">
              <a:rPr lang="en-US" smtClean="0">
                <a:solidFill>
                  <a:srgbClr val="505050"/>
                </a:solidFill>
              </a:rPr>
              <a:pPr defTabSz="913819"/>
              <a:t>‹#›</a:t>
            </a:fld>
            <a:endParaRPr lang="en-US">
              <a:solidFill>
                <a:srgbClr val="505050"/>
              </a:solidFill>
            </a:endParaRPr>
          </a:p>
        </p:txBody>
      </p:sp>
      <p:sp>
        <p:nvSpPr>
          <p:cNvPr id="5" name="Footer Placeholder 4"/>
          <p:cNvSpPr>
            <a:spLocks noGrp="1"/>
          </p:cNvSpPr>
          <p:nvPr>
            <p:ph type="ftr" sz="quarter" idx="12"/>
          </p:nvPr>
        </p:nvSpPr>
        <p:spPr>
          <a:xfrm>
            <a:off x="4037549" y="6462897"/>
            <a:ext cx="4113728" cy="365125"/>
          </a:xfrm>
          <a:prstGeom prst="rect">
            <a:avLst/>
          </a:prstGeom>
        </p:spPr>
        <p:txBody>
          <a:bodyPr/>
          <a:lstStyle/>
          <a:p>
            <a:pPr defTabSz="609087"/>
            <a:r>
              <a:rPr lang="en-US">
                <a:solidFill>
                  <a:srgbClr val="505050"/>
                </a:solidFill>
              </a:rPr>
              <a:t>© Copyright 2013 Microsoft </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6341" y="1551891"/>
            <a:ext cx="11676149" cy="1366631"/>
          </a:xfrm>
          <a:prstGeom prst="rect">
            <a:avLst/>
          </a:prstGeom>
        </p:spPr>
      </p:pic>
    </p:spTree>
    <p:extLst>
      <p:ext uri="{BB962C8B-B14F-4D97-AF65-F5344CB8AC3E}">
        <p14:creationId xmlns:p14="http://schemas.microsoft.com/office/powerpoint/2010/main" val="38608381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3" name="Slide Number Placeholder 2"/>
          <p:cNvSpPr>
            <a:spLocks noGrp="1"/>
          </p:cNvSpPr>
          <p:nvPr>
            <p:ph type="sldNum" sz="quarter" idx="14"/>
          </p:nvPr>
        </p:nvSpPr>
        <p:spPr/>
        <p:txBody>
          <a:bodyPr/>
          <a:lstStyle/>
          <a:p>
            <a:fld id="{FAADACFB-7C71-4E89-89D2-7BBA40B7BFA9}" type="slidenum">
              <a:rPr lang="en-US" smtClean="0"/>
              <a:pPr/>
              <a:t>‹#›</a:t>
            </a:fld>
            <a:endParaRPr lang="en-US"/>
          </a:p>
        </p:txBody>
      </p:sp>
    </p:spTree>
    <p:extLst>
      <p:ext uri="{BB962C8B-B14F-4D97-AF65-F5344CB8AC3E}">
        <p14:creationId xmlns:p14="http://schemas.microsoft.com/office/powerpoint/2010/main" val="248495569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843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p:txBody>
          <a:bodyPr/>
          <a:lstStyle/>
          <a:p>
            <a:endParaRPr lang="en-US">
              <a:solidFill>
                <a:srgbClr val="505050">
                  <a:tint val="75000"/>
                </a:srgbClr>
              </a:solidFill>
            </a:endParaRPr>
          </a:p>
        </p:txBody>
      </p:sp>
      <p:sp>
        <p:nvSpPr>
          <p:cNvPr id="5" name="Slide Number Placeholder 4"/>
          <p:cNvSpPr>
            <a:spLocks noGrp="1"/>
          </p:cNvSpPr>
          <p:nvPr>
            <p:ph type="sldNum" sz="quarter" idx="12"/>
          </p:nvPr>
        </p:nvSpPr>
        <p:spPr>
          <a:xfrm>
            <a:off x="11427024" y="6478589"/>
            <a:ext cx="761800" cy="379413"/>
          </a:xfrm>
          <a:prstGeom prst="rect">
            <a:avLst/>
          </a:prstGeom>
        </p:spPr>
        <p:txBody>
          <a:bodyPr/>
          <a:lstStyle/>
          <a:p>
            <a:fld id="{6A4C1A4A-E5E6-4CC1-B72C-A20A4EB3E2D2}" type="slidenum">
              <a:rPr lang="en-US" smtClean="0">
                <a:solidFill>
                  <a:srgbClr val="505050">
                    <a:tint val="75000"/>
                  </a:srgbClr>
                </a:solidFill>
              </a:rPr>
              <a:pPr/>
              <a:t>‹#›</a:t>
            </a:fld>
            <a:endParaRPr lang="en-US">
              <a:solidFill>
                <a:srgbClr val="505050">
                  <a:tint val="75000"/>
                </a:srgbClr>
              </a:solidFill>
            </a:endParaRPr>
          </a:p>
        </p:txBody>
      </p:sp>
      <p:sp>
        <p:nvSpPr>
          <p:cNvPr id="6" name="Text Placeholder 5"/>
          <p:cNvSpPr>
            <a:spLocks noGrp="1"/>
          </p:cNvSpPr>
          <p:nvPr>
            <p:ph type="body" sz="quarter" idx="13" hasCustomPrompt="1"/>
          </p:nvPr>
        </p:nvSpPr>
        <p:spPr>
          <a:xfrm>
            <a:off x="1" y="646046"/>
            <a:ext cx="12188825"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a:t>Click to add subtitle</a:t>
            </a:r>
          </a:p>
        </p:txBody>
      </p:sp>
    </p:spTree>
    <p:extLst>
      <p:ext uri="{BB962C8B-B14F-4D97-AF65-F5344CB8AC3E}">
        <p14:creationId xmlns:p14="http://schemas.microsoft.com/office/powerpoint/2010/main" val="358156243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057400"/>
            <a:ext cx="5486400" cy="2743426"/>
          </a:xfrm>
          <a:noFill/>
        </p:spPr>
        <p:txBody>
          <a:bodyPr vert="horz" lIns="137160" tIns="137160" rIns="137160" bIns="137160" rtlCol="0" anchor="t" anchorCtr="0">
            <a:normAutofit/>
          </a:bodyPr>
          <a:lstStyle>
            <a:lvl1pPr>
              <a:defRPr lang="en-US" sz="4399"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13" y="4800600"/>
            <a:ext cx="5486400" cy="914400"/>
          </a:xfrm>
        </p:spPr>
        <p:txBody>
          <a:bodyPr lIns="137160" tIns="137160" rIns="137160" bIns="137160">
            <a:noAutofit/>
          </a:bodyPr>
          <a:lstStyle>
            <a:lvl1pPr marL="0" indent="0">
              <a:spcBef>
                <a:spcPts val="0"/>
              </a:spcBef>
              <a:buNone/>
              <a:defRPr sz="1999">
                <a:solidFill>
                  <a:schemeClr val="bg1"/>
                </a:solidFill>
              </a:defRPr>
            </a:lvl1pPr>
            <a:lvl2pPr marL="281589" indent="0">
              <a:buNone/>
              <a:defRPr sz="1999">
                <a:solidFill>
                  <a:schemeClr val="bg1"/>
                </a:solidFill>
              </a:defRPr>
            </a:lvl2pPr>
            <a:lvl3pPr marL="588299" indent="0">
              <a:buNone/>
              <a:defRPr sz="1999">
                <a:solidFill>
                  <a:schemeClr val="bg1"/>
                </a:solidFill>
              </a:defRPr>
            </a:lvl3pPr>
            <a:lvl4pPr marL="869889" indent="0">
              <a:buNone/>
              <a:defRPr sz="1999">
                <a:solidFill>
                  <a:schemeClr val="bg1"/>
                </a:solidFill>
              </a:defRPr>
            </a:lvl4pPr>
            <a:lvl5pPr marL="1105208" indent="0">
              <a:buNone/>
              <a:defRPr sz="1999">
                <a:solidFill>
                  <a:schemeClr val="bg1"/>
                </a:solidFill>
              </a:defRPr>
            </a:lvl5pPr>
          </a:lstStyle>
          <a:p>
            <a:pPr lvl="0"/>
            <a:r>
              <a:rPr lang="en-US"/>
              <a:t>Speaker Name</a:t>
            </a:r>
          </a:p>
        </p:txBody>
      </p:sp>
      <p:sp>
        <p:nvSpPr>
          <p:cNvPr id="10" name="TextBox 9"/>
          <p:cNvSpPr txBox="1"/>
          <p:nvPr/>
        </p:nvSpPr>
        <p:spPr>
          <a:xfrm>
            <a:off x="7618016" y="381000"/>
            <a:ext cx="3809008" cy="1905000"/>
          </a:xfrm>
          <a:prstGeom prst="rect">
            <a:avLst/>
          </a:prstGeom>
        </p:spPr>
        <p:txBody>
          <a:bodyPr vert="horz" wrap="square" lIns="108793" tIns="54397" rIns="108793" bIns="54397" rtlCol="0" anchor="ctr">
            <a:normAutofit/>
          </a:bodyPr>
          <a:lstStyle/>
          <a:p>
            <a:r>
              <a:rPr lang="en-US" sz="1999">
                <a:solidFill>
                  <a:srgbClr val="D2D2D2"/>
                </a:solidFill>
                <a:ea typeface="Segoe UI" pitchFamily="34" charset="0"/>
                <a:cs typeface="Segoe UI" pitchFamily="34" charset="0"/>
              </a:rPr>
              <a:t>Click View &gt; Slide Master to insert a photo as a background behind the colored boxes.</a:t>
            </a:r>
          </a:p>
        </p:txBody>
      </p:sp>
      <p:sp>
        <p:nvSpPr>
          <p:cNvPr id="15" name="TextBox 14"/>
          <p:cNvSpPr txBox="1"/>
          <p:nvPr/>
        </p:nvSpPr>
        <p:spPr>
          <a:xfrm>
            <a:off x="7618016" y="381000"/>
            <a:ext cx="3809008" cy="1905000"/>
          </a:xfrm>
          <a:prstGeom prst="rect">
            <a:avLst/>
          </a:prstGeom>
        </p:spPr>
        <p:txBody>
          <a:bodyPr vert="horz" wrap="square" lIns="108793" tIns="54397" rIns="108793" bIns="54397" rtlCol="0" anchor="ctr">
            <a:normAutofit/>
          </a:bodyPr>
          <a:lstStyle/>
          <a:p>
            <a:r>
              <a:rPr lang="en-US" sz="1999">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216" y="198357"/>
            <a:ext cx="1946596" cy="716042"/>
          </a:xfrm>
          <a:prstGeom prst="rect">
            <a:avLst/>
          </a:prstGeom>
        </p:spPr>
      </p:pic>
      <p:sp>
        <p:nvSpPr>
          <p:cNvPr id="14" name="TextBox 13"/>
          <p:cNvSpPr txBox="1"/>
          <p:nvPr userDrawn="1"/>
        </p:nvSpPr>
        <p:spPr>
          <a:xfrm>
            <a:off x="7618016" y="381000"/>
            <a:ext cx="3809008" cy="1905000"/>
          </a:xfrm>
          <a:prstGeom prst="rect">
            <a:avLst/>
          </a:prstGeom>
        </p:spPr>
        <p:txBody>
          <a:bodyPr vert="horz" wrap="square" lIns="108793" tIns="54397" rIns="108793" bIns="54397" rtlCol="0" anchor="ctr">
            <a:normAutofit/>
          </a:bodyPr>
          <a:lstStyle/>
          <a:p>
            <a:r>
              <a:rPr lang="en-US" sz="1999">
                <a:solidFill>
                  <a:srgbClr val="D2D2D2"/>
                </a:solidFill>
                <a:ea typeface="Segoe UI" pitchFamily="34" charset="0"/>
                <a:cs typeface="Segoe UI" pitchFamily="34" charset="0"/>
              </a:rPr>
              <a:t>Click View &gt; Slide Master to insert a photo as a background behind the colored boxes.</a:t>
            </a:r>
          </a:p>
        </p:txBody>
      </p:sp>
    </p:spTree>
    <p:extLst>
      <p:ext uri="{BB962C8B-B14F-4D97-AF65-F5344CB8AC3E}">
        <p14:creationId xmlns:p14="http://schemas.microsoft.com/office/powerpoint/2010/main" val="6979526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2_EXAMPLE ONLY: Title with photo">
    <p:spTree>
      <p:nvGrpSpPr>
        <p:cNvPr id="1" name=""/>
        <p:cNvGrpSpPr/>
        <p:nvPr/>
      </p:nvGrpSpPr>
      <p:grpSpPr>
        <a:xfrm>
          <a:off x="0" y="0"/>
          <a:ext cx="0" cy="0"/>
          <a:chOff x="0" y="0"/>
          <a:chExt cx="0" cy="0"/>
        </a:xfrm>
      </p:grpSpPr>
      <p:pic>
        <p:nvPicPr>
          <p:cNvPr id="16" name="Picture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9216" y="198357"/>
            <a:ext cx="1946596" cy="716042"/>
          </a:xfrm>
          <a:prstGeom prst="rect">
            <a:avLst/>
          </a:prstGeom>
        </p:spPr>
      </p:pic>
      <p:sp>
        <p:nvSpPr>
          <p:cNvPr id="14" name="Rectangle 13"/>
          <p:cNvSpPr/>
          <p:nvPr userDrawn="1"/>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057400"/>
            <a:ext cx="5486400" cy="2743426"/>
          </a:xfrm>
          <a:noFill/>
        </p:spPr>
        <p:txBody>
          <a:bodyPr vert="horz" lIns="137160" tIns="182880" rIns="146304" bIns="91440" rtlCol="0" anchor="t" anchorCtr="0">
            <a:normAutofit/>
          </a:bodyPr>
          <a:lstStyle>
            <a:lvl1pPr>
              <a:defRPr lang="en-US" sz="4399"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13" y="4800600"/>
            <a:ext cx="5486400" cy="914400"/>
          </a:xfrm>
        </p:spPr>
        <p:txBody>
          <a:bodyPr lIns="137160" tIns="91440">
            <a:noAutofit/>
          </a:bodyPr>
          <a:lstStyle>
            <a:lvl1pPr marL="0" indent="0">
              <a:spcBef>
                <a:spcPts val="0"/>
              </a:spcBef>
              <a:buNone/>
              <a:defRPr sz="1999">
                <a:solidFill>
                  <a:schemeClr val="bg1"/>
                </a:solidFill>
              </a:defRPr>
            </a:lvl1pPr>
            <a:lvl2pPr marL="281589" indent="0">
              <a:buNone/>
              <a:defRPr sz="1999">
                <a:solidFill>
                  <a:schemeClr val="bg1"/>
                </a:solidFill>
              </a:defRPr>
            </a:lvl2pPr>
            <a:lvl3pPr marL="588299" indent="0">
              <a:buNone/>
              <a:defRPr sz="1999">
                <a:solidFill>
                  <a:schemeClr val="bg1"/>
                </a:solidFill>
              </a:defRPr>
            </a:lvl3pPr>
            <a:lvl4pPr marL="869889" indent="0">
              <a:buNone/>
              <a:defRPr sz="1999">
                <a:solidFill>
                  <a:schemeClr val="bg1"/>
                </a:solidFill>
              </a:defRPr>
            </a:lvl4pPr>
            <a:lvl5pPr marL="1105208" indent="0">
              <a:buNone/>
              <a:defRPr sz="1999">
                <a:solidFill>
                  <a:schemeClr val="bg1"/>
                </a:solidFill>
              </a:defRPr>
            </a:lvl5pPr>
          </a:lstStyle>
          <a:p>
            <a:pPr lvl="0"/>
            <a:r>
              <a:rPr lang="en-US"/>
              <a:t>Speaker Name</a:t>
            </a:r>
          </a:p>
        </p:txBody>
      </p:sp>
    </p:spTree>
    <p:extLst>
      <p:ext uri="{BB962C8B-B14F-4D97-AF65-F5344CB8AC3E}">
        <p14:creationId xmlns:p14="http://schemas.microsoft.com/office/powerpoint/2010/main" val="347521497"/>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3_EXAMPLE ONLY: Title with photo">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1916" y="200779"/>
            <a:ext cx="1946596" cy="716042"/>
          </a:xfrm>
          <a:prstGeom prst="rect">
            <a:avLst/>
          </a:prstGeom>
        </p:spPr>
      </p:pic>
      <p:sp>
        <p:nvSpPr>
          <p:cNvPr id="17" name="Rectangle 16"/>
          <p:cNvSpPr/>
          <p:nvPr userDrawn="1"/>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057400"/>
            <a:ext cx="5486400" cy="2743426"/>
          </a:xfrm>
          <a:noFill/>
        </p:spPr>
        <p:txBody>
          <a:bodyPr vert="horz" lIns="137160" tIns="182880" rIns="146304" bIns="91440" rtlCol="0" anchor="t" anchorCtr="0">
            <a:normAutofit/>
          </a:bodyPr>
          <a:lstStyle>
            <a:lvl1pPr>
              <a:defRPr lang="en-US" sz="4399"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13" y="4800600"/>
            <a:ext cx="5486400" cy="914400"/>
          </a:xfrm>
        </p:spPr>
        <p:txBody>
          <a:bodyPr lIns="137160" tIns="91440">
            <a:noAutofit/>
          </a:bodyPr>
          <a:lstStyle>
            <a:lvl1pPr marL="0" indent="0">
              <a:spcBef>
                <a:spcPts val="0"/>
              </a:spcBef>
              <a:buNone/>
              <a:defRPr sz="1999">
                <a:solidFill>
                  <a:schemeClr val="bg1"/>
                </a:solidFill>
              </a:defRPr>
            </a:lvl1pPr>
            <a:lvl2pPr marL="281589" indent="0">
              <a:buNone/>
              <a:defRPr sz="1999">
                <a:solidFill>
                  <a:schemeClr val="bg1"/>
                </a:solidFill>
              </a:defRPr>
            </a:lvl2pPr>
            <a:lvl3pPr marL="588299" indent="0">
              <a:buNone/>
              <a:defRPr sz="1999">
                <a:solidFill>
                  <a:schemeClr val="bg1"/>
                </a:solidFill>
              </a:defRPr>
            </a:lvl3pPr>
            <a:lvl4pPr marL="869889" indent="0">
              <a:buNone/>
              <a:defRPr sz="1999">
                <a:solidFill>
                  <a:schemeClr val="bg1"/>
                </a:solidFill>
              </a:defRPr>
            </a:lvl4pPr>
            <a:lvl5pPr marL="1105208" indent="0">
              <a:buNone/>
              <a:defRPr sz="1999">
                <a:solidFill>
                  <a:schemeClr val="bg1"/>
                </a:solidFill>
              </a:defRPr>
            </a:lvl5pPr>
          </a:lstStyle>
          <a:p>
            <a:pPr lvl="0"/>
            <a:r>
              <a:rPr lang="en-US"/>
              <a:t>Speaker Name</a:t>
            </a:r>
          </a:p>
        </p:txBody>
      </p:sp>
    </p:spTree>
    <p:extLst>
      <p:ext uri="{BB962C8B-B14F-4D97-AF65-F5344CB8AC3E}">
        <p14:creationId xmlns:p14="http://schemas.microsoft.com/office/powerpoint/2010/main" val="4185164511"/>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057400"/>
            <a:ext cx="5486400" cy="2743426"/>
          </a:xfrm>
          <a:noFill/>
        </p:spPr>
        <p:txBody>
          <a:bodyPr vert="horz" lIns="137160" tIns="137160" rIns="137160" bIns="137160" rtlCol="0" anchor="t" anchorCtr="0">
            <a:normAutofit/>
          </a:bodyPr>
          <a:lstStyle>
            <a:lvl1pPr>
              <a:defRPr lang="en-US" sz="4399" spc="-98" dirty="0">
                <a:gradFill>
                  <a:gsLst>
                    <a:gs pos="5833">
                      <a:srgbClr val="FFFFFF"/>
                    </a:gs>
                    <a:gs pos="18000">
                      <a:srgbClr val="FFFFFF"/>
                    </a:gs>
                  </a:gsLst>
                  <a:lin ang="5400000" scaled="0"/>
                </a:gradFill>
              </a:defRPr>
            </a:lvl1pPr>
          </a:lstStyle>
          <a:p>
            <a:pPr lvl="0"/>
            <a:r>
              <a:rPr lang="en-US"/>
              <a:t>Presentation title</a:t>
            </a:r>
          </a:p>
        </p:txBody>
      </p:sp>
      <p:sp>
        <p:nvSpPr>
          <p:cNvPr id="4" name="Text Placeholder 3"/>
          <p:cNvSpPr>
            <a:spLocks noGrp="1"/>
          </p:cNvSpPr>
          <p:nvPr>
            <p:ph type="body" sz="quarter" idx="10" hasCustomPrompt="1"/>
          </p:nvPr>
        </p:nvSpPr>
        <p:spPr>
          <a:xfrm>
            <a:off x="150813" y="4800600"/>
            <a:ext cx="5486400" cy="914400"/>
          </a:xfrm>
        </p:spPr>
        <p:txBody>
          <a:bodyPr lIns="137160" tIns="137160" rIns="137160" bIns="137160">
            <a:noAutofit/>
          </a:bodyPr>
          <a:lstStyle>
            <a:lvl1pPr marL="0" indent="0">
              <a:spcBef>
                <a:spcPts val="0"/>
              </a:spcBef>
              <a:buNone/>
              <a:defRPr sz="1999">
                <a:solidFill>
                  <a:schemeClr val="bg1"/>
                </a:solidFill>
              </a:defRPr>
            </a:lvl1pPr>
            <a:lvl2pPr marL="281589" indent="0">
              <a:buNone/>
              <a:defRPr sz="1999">
                <a:solidFill>
                  <a:schemeClr val="bg1"/>
                </a:solidFill>
              </a:defRPr>
            </a:lvl2pPr>
            <a:lvl3pPr marL="588299" indent="0">
              <a:buNone/>
              <a:defRPr sz="1999">
                <a:solidFill>
                  <a:schemeClr val="bg1"/>
                </a:solidFill>
              </a:defRPr>
            </a:lvl3pPr>
            <a:lvl4pPr marL="869889" indent="0">
              <a:buNone/>
              <a:defRPr sz="1999">
                <a:solidFill>
                  <a:schemeClr val="bg1"/>
                </a:solidFill>
              </a:defRPr>
            </a:lvl4pPr>
            <a:lvl5pPr marL="1105208" indent="0">
              <a:buNone/>
              <a:defRPr sz="1999">
                <a:solidFill>
                  <a:schemeClr val="bg1"/>
                </a:solidFill>
              </a:defRPr>
            </a:lvl5pPr>
          </a:lstStyle>
          <a:p>
            <a:pPr lvl="0"/>
            <a:r>
              <a:rPr lang="en-US"/>
              <a:t>Speaker Name</a:t>
            </a: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916" y="200779"/>
            <a:ext cx="1946593" cy="716042"/>
          </a:xfrm>
          <a:prstGeom prst="rect">
            <a:avLst/>
          </a:prstGeom>
        </p:spPr>
      </p:pic>
    </p:spTree>
    <p:extLst>
      <p:ext uri="{BB962C8B-B14F-4D97-AF65-F5344CB8AC3E}">
        <p14:creationId xmlns:p14="http://schemas.microsoft.com/office/powerpoint/2010/main" val="4280859189"/>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6"/>
            <a:ext cx="12188825"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a:t>Click to add subtitle</a:t>
            </a:r>
          </a:p>
        </p:txBody>
      </p:sp>
      <p:sp>
        <p:nvSpPr>
          <p:cNvPr id="16" name="Text Placeholder 15"/>
          <p:cNvSpPr>
            <a:spLocks noGrp="1"/>
          </p:cNvSpPr>
          <p:nvPr>
            <p:ph type="body" sz="quarter" idx="14"/>
          </p:nvPr>
        </p:nvSpPr>
        <p:spPr>
          <a:xfrm>
            <a:off x="150813" y="1600200"/>
            <a:ext cx="11887200"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523287320"/>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6"/>
            <a:ext cx="12188825"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a:t>Click to add subtitle</a:t>
            </a:r>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225108569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106982856"/>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150813" y="1600200"/>
            <a:ext cx="11887200"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589" indent="0">
              <a:buNone/>
              <a:defRPr>
                <a:solidFill>
                  <a:schemeClr val="tx1"/>
                </a:solidFill>
                <a:latin typeface="Courier New" pitchFamily="49" charset="0"/>
                <a:cs typeface="Courier New" pitchFamily="49" charset="0"/>
              </a:defRPr>
            </a:lvl2pPr>
            <a:lvl3pPr marL="588299" indent="0">
              <a:buNone/>
              <a:defRPr>
                <a:solidFill>
                  <a:schemeClr val="tx1"/>
                </a:solidFill>
                <a:latin typeface="Courier New" pitchFamily="49" charset="0"/>
                <a:cs typeface="Courier New" pitchFamily="49" charset="0"/>
              </a:defRPr>
            </a:lvl3pPr>
            <a:lvl4pPr marL="869889" indent="0">
              <a:buNone/>
              <a:defRPr>
                <a:solidFill>
                  <a:schemeClr val="tx1"/>
                </a:solidFill>
                <a:latin typeface="Courier New" pitchFamily="49" charset="0"/>
                <a:cs typeface="Courier New" pitchFamily="49" charset="0"/>
              </a:defRPr>
            </a:lvl4pPr>
            <a:lvl5pPr marL="1105208" indent="0">
              <a:buNone/>
              <a:defRPr>
                <a:solidFill>
                  <a:schemeClr val="tx1"/>
                </a:solidFill>
                <a:latin typeface="Courier New" pitchFamily="49" charset="0"/>
                <a:cs typeface="Courier New" pitchFamily="49"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nvPr>
        </p:nvSpPr>
        <p:spPr>
          <a:xfrm>
            <a:off x="1" y="573606"/>
            <a:ext cx="12188825"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a:t>Click to add subtitle</a:t>
            </a: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3212985925"/>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386399445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150813" y="1600200"/>
            <a:ext cx="11887200"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74" indent="0">
              <a:buNone/>
              <a:defRPr>
                <a:solidFill>
                  <a:schemeClr val="tx1"/>
                </a:solidFill>
                <a:latin typeface="Courier New" pitchFamily="49" charset="0"/>
                <a:cs typeface="Courier New" pitchFamily="49" charset="0"/>
              </a:defRPr>
            </a:lvl2pPr>
            <a:lvl3pPr marL="588476" indent="0">
              <a:buNone/>
              <a:defRPr>
                <a:solidFill>
                  <a:schemeClr val="tx1"/>
                </a:solidFill>
                <a:latin typeface="Courier New" pitchFamily="49" charset="0"/>
                <a:cs typeface="Courier New" pitchFamily="49" charset="0"/>
              </a:defRPr>
            </a:lvl3pPr>
            <a:lvl4pPr marL="870150" indent="0">
              <a:buNone/>
              <a:defRPr>
                <a:solidFill>
                  <a:schemeClr val="tx1"/>
                </a:solidFill>
                <a:latin typeface="Courier New" pitchFamily="49" charset="0"/>
                <a:cs typeface="Courier New" pitchFamily="49" charset="0"/>
              </a:defRPr>
            </a:lvl4pPr>
            <a:lvl5pPr marL="1105540" indent="0">
              <a:buNone/>
              <a:defRPr>
                <a:solidFill>
                  <a:schemeClr val="tx1"/>
                </a:solidFill>
                <a:latin typeface="Courier New" pitchFamily="49" charset="0"/>
                <a:cs typeface="Courier New" pitchFamily="49"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nvPr>
        </p:nvSpPr>
        <p:spPr>
          <a:xfrm>
            <a:off x="0" y="573604"/>
            <a:ext cx="12188825"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a:t>Click to add subtitle</a:t>
            </a:r>
          </a:p>
        </p:txBody>
      </p:sp>
      <p:sp>
        <p:nvSpPr>
          <p:cNvPr id="10" name="Slide Number Placeholder 9"/>
          <p:cNvSpPr>
            <a:spLocks noGrp="1"/>
          </p:cNvSpPr>
          <p:nvPr>
            <p:ph type="sldNum" sz="quarter" idx="17"/>
          </p:nvPr>
        </p:nvSpPr>
        <p:spPr/>
        <p:txBody>
          <a:bodyPr/>
          <a:lstStyle/>
          <a:p>
            <a:fld id="{FAADACFB-7C71-4E89-89D2-7BBA40B7BFA9}" type="slidenum">
              <a:rPr lang="en-US" smtClean="0"/>
              <a:pPr/>
              <a:t>‹#›</a:t>
            </a:fld>
            <a:endParaRPr lang="en-US"/>
          </a:p>
        </p:txBody>
      </p:sp>
    </p:spTree>
    <p:extLst>
      <p:ext uri="{BB962C8B-B14F-4D97-AF65-F5344CB8AC3E}">
        <p14:creationId xmlns:p14="http://schemas.microsoft.com/office/powerpoint/2010/main" val="3027529070"/>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14" y="1143002"/>
            <a:ext cx="1005839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50812" y="3877278"/>
            <a:ext cx="10058401" cy="1837723"/>
          </a:xfrm>
          <a:noFill/>
        </p:spPr>
        <p:txBody>
          <a:bodyPr lIns="137160" tIns="137160" rIns="137160" bIns="137160">
            <a:noAutofit/>
          </a:bodyPr>
          <a:lstStyle>
            <a:lvl1pPr marL="0" indent="0">
              <a:spcBef>
                <a:spcPts val="0"/>
              </a:spcBef>
              <a:buNone/>
              <a:defRPr sz="2799"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47911358"/>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14"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14"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14" y="1143001"/>
            <a:ext cx="1005839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a:t>Video title</a:t>
            </a:r>
          </a:p>
        </p:txBody>
      </p:sp>
      <p:sp>
        <p:nvSpPr>
          <p:cNvPr id="5" name="Text Placeholder 4"/>
          <p:cNvSpPr>
            <a:spLocks noGrp="1"/>
          </p:cNvSpPr>
          <p:nvPr>
            <p:ph type="body" sz="quarter" idx="12" hasCustomPrompt="1"/>
          </p:nvPr>
        </p:nvSpPr>
        <p:spPr>
          <a:xfrm>
            <a:off x="150813" y="3886200"/>
            <a:ext cx="10058400" cy="1828800"/>
          </a:xfrm>
          <a:noFill/>
        </p:spPr>
        <p:txBody>
          <a:bodyPr lIns="137160" tIns="137160" rIns="137160" bIns="137160">
            <a:noAutofit/>
          </a:bodyPr>
          <a:lstStyle>
            <a:lvl1pPr marL="0" indent="0">
              <a:spcBef>
                <a:spcPts val="0"/>
              </a:spcBef>
              <a:buNone/>
              <a:defRPr sz="2799"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14"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38521110"/>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FFFFFF"/>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5836833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gradFill>
                  <a:gsLst>
                    <a:gs pos="100000">
                      <a:schemeClr val="tx1"/>
                    </a:gs>
                    <a:gs pos="0">
                      <a:schemeClr val="tx1"/>
                    </a:gs>
                  </a:gsLst>
                  <a:lin ang="5400000" scaled="0"/>
                </a:gra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FFFFFF"/>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8371135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1120280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chemeClr val="tx1"/>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6448737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rgbClr val="000000"/>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000000"/>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2428702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chemeClr val="tx1"/>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0654707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27012" y="1600200"/>
            <a:ext cx="11353800"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1" y="6238878"/>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99"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4245281813"/>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a:solidFill>
                <a:prstClr val="white"/>
              </a:solidFill>
            </a:endParaRPr>
          </a:p>
        </p:txBody>
      </p:sp>
      <p:sp>
        <p:nvSpPr>
          <p:cNvPr id="4" name="Rectangle 3"/>
          <p:cNvSpPr/>
          <p:nvPr/>
        </p:nvSpPr>
        <p:spPr>
          <a:xfrm>
            <a:off x="1" y="0"/>
            <a:ext cx="1218882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a:solidFill>
                <a:prstClr val="white"/>
              </a:solidFill>
            </a:endParaRPr>
          </a:p>
        </p:txBody>
      </p:sp>
      <p:sp>
        <p:nvSpPr>
          <p:cNvPr id="8" name="Rectangle 7"/>
          <p:cNvSpPr/>
          <p:nvPr/>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117" y="2899240"/>
            <a:ext cx="2880367" cy="1059525"/>
          </a:xfrm>
          <a:prstGeom prst="rect">
            <a:avLst/>
          </a:prstGeom>
        </p:spPr>
      </p:pic>
      <p:sp>
        <p:nvSpPr>
          <p:cNvPr id="6" name="Rectangle 5"/>
          <p:cNvSpPr/>
          <p:nvPr/>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117" y="2899240"/>
            <a:ext cx="2880367" cy="1059525"/>
          </a:xfrm>
          <a:prstGeom prst="rect">
            <a:avLst/>
          </a:prstGeom>
        </p:spPr>
      </p:pic>
      <p:sp>
        <p:nvSpPr>
          <p:cNvPr id="9" name="Rectangle 8"/>
          <p:cNvSpPr/>
          <p:nvPr userDrawn="1"/>
        </p:nvSpPr>
        <p:spPr>
          <a:xfrm>
            <a:off x="1" y="0"/>
            <a:ext cx="12188825"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9" tIns="38079" rIns="76159" bIns="38079" rtlCol="0" anchor="ctr"/>
          <a:lstStyle/>
          <a:p>
            <a:pPr algn="ctr"/>
            <a:endParaRPr lang="en-US" sz="2199">
              <a:solidFill>
                <a:prstClr val="white"/>
              </a:solidFill>
            </a:endParaRP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46117" y="2899240"/>
            <a:ext cx="2880367" cy="1059525"/>
          </a:xfrm>
          <a:prstGeom prst="rect">
            <a:avLst/>
          </a:prstGeom>
        </p:spPr>
      </p:pic>
    </p:spTree>
    <p:extLst>
      <p:ext uri="{BB962C8B-B14F-4D97-AF65-F5344CB8AC3E}">
        <p14:creationId xmlns:p14="http://schemas.microsoft.com/office/powerpoint/2010/main" val="116771966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p:txBody>
          <a:bodyPr/>
          <a:lstStyle/>
          <a:p>
            <a:fld id="{FAADACFB-7C71-4E89-89D2-7BBA40B7BFA9}" type="slidenum">
              <a:rPr lang="en-US" smtClean="0"/>
              <a:pPr/>
              <a:t>‹#›</a:t>
            </a:fld>
            <a:endParaRPr lang="en-US"/>
          </a:p>
        </p:txBody>
      </p:sp>
    </p:spTree>
    <p:extLst>
      <p:ext uri="{BB962C8B-B14F-4D97-AF65-F5344CB8AC3E}">
        <p14:creationId xmlns:p14="http://schemas.microsoft.com/office/powerpoint/2010/main" val="3927927212"/>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13" name="Rectangle 12"/>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057400"/>
            <a:ext cx="5486400" cy="2743426"/>
          </a:xfrm>
          <a:noFill/>
        </p:spPr>
        <p:txBody>
          <a:bodyPr vert="horz" lIns="137160" tIns="137160" rIns="137160" bIns="137160" rtlCol="0" anchor="t" anchorCtr="0">
            <a:normAutofit/>
          </a:bodyPr>
          <a:lstStyle>
            <a:lvl1pPr>
              <a:defRPr lang="en-US" sz="4399" spc="-98" dirty="0">
                <a:solidFill>
                  <a:schemeClr val="bg1"/>
                </a:solidFill>
              </a:defRPr>
            </a:lvl1pPr>
          </a:lstStyle>
          <a:p>
            <a:pPr lvl="0"/>
            <a:r>
              <a:rPr lang="en-US"/>
              <a:t>Presentation title</a:t>
            </a:r>
          </a:p>
        </p:txBody>
      </p:sp>
      <p:sp>
        <p:nvSpPr>
          <p:cNvPr id="4" name="Text Placeholder 3"/>
          <p:cNvSpPr>
            <a:spLocks noGrp="1"/>
          </p:cNvSpPr>
          <p:nvPr>
            <p:ph type="body" sz="quarter" idx="10" hasCustomPrompt="1"/>
          </p:nvPr>
        </p:nvSpPr>
        <p:spPr>
          <a:xfrm>
            <a:off x="150813" y="4800600"/>
            <a:ext cx="5486400" cy="914400"/>
          </a:xfrm>
        </p:spPr>
        <p:txBody>
          <a:bodyPr lIns="137160" tIns="137160" rIns="137160" bIns="137160">
            <a:noAutofit/>
          </a:bodyPr>
          <a:lstStyle>
            <a:lvl1pPr marL="0" indent="0">
              <a:spcBef>
                <a:spcPts val="0"/>
              </a:spcBef>
              <a:buNone/>
              <a:defRPr sz="1999">
                <a:solidFill>
                  <a:schemeClr val="bg1"/>
                </a:solidFill>
              </a:defRPr>
            </a:lvl1pPr>
            <a:lvl2pPr marL="281589" indent="0">
              <a:buNone/>
              <a:defRPr sz="1999">
                <a:solidFill>
                  <a:schemeClr val="bg1"/>
                </a:solidFill>
              </a:defRPr>
            </a:lvl2pPr>
            <a:lvl3pPr marL="588299" indent="0">
              <a:buNone/>
              <a:defRPr sz="1999">
                <a:solidFill>
                  <a:schemeClr val="bg1"/>
                </a:solidFill>
              </a:defRPr>
            </a:lvl3pPr>
            <a:lvl4pPr marL="869889" indent="0">
              <a:buNone/>
              <a:defRPr sz="1999">
                <a:solidFill>
                  <a:schemeClr val="bg1"/>
                </a:solidFill>
              </a:defRPr>
            </a:lvl4pPr>
            <a:lvl5pPr marL="1105208" indent="0">
              <a:buNone/>
              <a:defRPr sz="1999">
                <a:solidFill>
                  <a:schemeClr val="bg1"/>
                </a:solidFill>
              </a:defRPr>
            </a:lvl5pPr>
          </a:lstStyle>
          <a:p>
            <a:pPr lvl="0"/>
            <a:r>
              <a:rPr lang="en-US"/>
              <a:t>Speaker Name</a:t>
            </a:r>
          </a:p>
        </p:txBody>
      </p:sp>
      <p:sp>
        <p:nvSpPr>
          <p:cNvPr id="10" name="TextBox 9"/>
          <p:cNvSpPr txBox="1"/>
          <p:nvPr/>
        </p:nvSpPr>
        <p:spPr>
          <a:xfrm>
            <a:off x="7618016" y="381000"/>
            <a:ext cx="3809008" cy="1905000"/>
          </a:xfrm>
          <a:prstGeom prst="rect">
            <a:avLst/>
          </a:prstGeom>
        </p:spPr>
        <p:txBody>
          <a:bodyPr vert="horz" wrap="square" lIns="108793" tIns="54397" rIns="108793" bIns="54397" rtlCol="0" anchor="ctr">
            <a:normAutofit/>
          </a:bodyPr>
          <a:lstStyle/>
          <a:p>
            <a:r>
              <a:rPr lang="en-US" sz="1999">
                <a:solidFill>
                  <a:srgbClr val="D2D2D2"/>
                </a:solidFill>
                <a:ea typeface="Segoe UI" pitchFamily="34" charset="0"/>
                <a:cs typeface="Segoe UI" pitchFamily="34" charset="0"/>
              </a:rPr>
              <a:t>Click View &gt; Slide Master to insert a photo as a background behind the colored boxes.</a:t>
            </a:r>
          </a:p>
        </p:txBody>
      </p:sp>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2940" y="228600"/>
            <a:ext cx="1946596" cy="716042"/>
          </a:xfrm>
          <a:prstGeom prst="rect">
            <a:avLst/>
          </a:prstGeom>
        </p:spPr>
      </p:pic>
      <p:sp>
        <p:nvSpPr>
          <p:cNvPr id="15" name="TextBox 14"/>
          <p:cNvSpPr txBox="1"/>
          <p:nvPr/>
        </p:nvSpPr>
        <p:spPr>
          <a:xfrm>
            <a:off x="7618016" y="381000"/>
            <a:ext cx="3809008" cy="1905000"/>
          </a:xfrm>
          <a:prstGeom prst="rect">
            <a:avLst/>
          </a:prstGeom>
        </p:spPr>
        <p:txBody>
          <a:bodyPr vert="horz" wrap="square" lIns="108793" tIns="54397" rIns="108793" bIns="54397" rtlCol="0" anchor="ctr">
            <a:normAutofit/>
          </a:bodyPr>
          <a:lstStyle/>
          <a:p>
            <a:r>
              <a:rPr lang="en-US" sz="1999">
                <a:solidFill>
                  <a:srgbClr val="D2D2D2"/>
                </a:solidFill>
                <a:ea typeface="Segoe UI" pitchFamily="34" charset="0"/>
                <a:cs typeface="Segoe UI" pitchFamily="34" charset="0"/>
              </a:rPr>
              <a:t>Click View &gt; Slide Master to insert a photo as a background behind the colored boxes.</a:t>
            </a:r>
          </a:p>
        </p:txBody>
      </p:sp>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16" y="198357"/>
            <a:ext cx="1946596" cy="716042"/>
          </a:xfrm>
          <a:prstGeom prst="rect">
            <a:avLst/>
          </a:prstGeom>
        </p:spPr>
      </p:pic>
      <p:sp>
        <p:nvSpPr>
          <p:cNvPr id="14" name="TextBox 13"/>
          <p:cNvSpPr txBox="1"/>
          <p:nvPr userDrawn="1"/>
        </p:nvSpPr>
        <p:spPr>
          <a:xfrm>
            <a:off x="7618016" y="381000"/>
            <a:ext cx="3809008" cy="1905000"/>
          </a:xfrm>
          <a:prstGeom prst="rect">
            <a:avLst/>
          </a:prstGeom>
        </p:spPr>
        <p:txBody>
          <a:bodyPr vert="horz" wrap="square" lIns="108793" tIns="54397" rIns="108793" bIns="54397" rtlCol="0" anchor="ctr">
            <a:normAutofit/>
          </a:bodyPr>
          <a:lstStyle/>
          <a:p>
            <a:r>
              <a:rPr lang="en-US" sz="1999">
                <a:solidFill>
                  <a:srgbClr val="D2D2D2"/>
                </a:solidFill>
                <a:ea typeface="Segoe UI" pitchFamily="34" charset="0"/>
                <a:cs typeface="Segoe UI" pitchFamily="34" charset="0"/>
              </a:rPr>
              <a:t>Click View &gt; Slide Master to insert a photo as a background behind the colored boxes.</a:t>
            </a: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16" y="198357"/>
            <a:ext cx="1946596" cy="716042"/>
          </a:xfrm>
          <a:prstGeom prst="rect">
            <a:avLst/>
          </a:prstGeom>
        </p:spPr>
      </p:pic>
    </p:spTree>
    <p:extLst>
      <p:ext uri="{BB962C8B-B14F-4D97-AF65-F5344CB8AC3E}">
        <p14:creationId xmlns:p14="http://schemas.microsoft.com/office/powerpoint/2010/main" val="1208091187"/>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sp>
        <p:nvSpPr>
          <p:cNvPr id="13" name="Rectangle 12"/>
          <p:cNvSpPr/>
          <p:nvPr/>
        </p:nvSpPr>
        <p:spPr bwMode="gray">
          <a:xfrm>
            <a:off x="150813" y="2057400"/>
            <a:ext cx="5486400"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13" y="2057400"/>
            <a:ext cx="5486400" cy="2743426"/>
          </a:xfrm>
          <a:noFill/>
        </p:spPr>
        <p:txBody>
          <a:bodyPr vert="horz" lIns="137160" tIns="137160" rIns="137160" bIns="137160" rtlCol="0" anchor="t" anchorCtr="0">
            <a:normAutofit/>
          </a:bodyPr>
          <a:lstStyle>
            <a:lvl1pPr>
              <a:defRPr lang="en-US" sz="4399" spc="-98" dirty="0">
                <a:solidFill>
                  <a:schemeClr val="bg1"/>
                </a:solidFill>
              </a:defRPr>
            </a:lvl1pPr>
          </a:lstStyle>
          <a:p>
            <a:pPr lvl="0"/>
            <a:r>
              <a:rPr lang="en-US"/>
              <a:t>Presentation title</a:t>
            </a:r>
          </a:p>
        </p:txBody>
      </p:sp>
      <p:sp>
        <p:nvSpPr>
          <p:cNvPr id="4" name="Text Placeholder 3"/>
          <p:cNvSpPr>
            <a:spLocks noGrp="1"/>
          </p:cNvSpPr>
          <p:nvPr>
            <p:ph type="body" sz="quarter" idx="10" hasCustomPrompt="1"/>
          </p:nvPr>
        </p:nvSpPr>
        <p:spPr>
          <a:xfrm>
            <a:off x="150813" y="4800600"/>
            <a:ext cx="5486400" cy="914400"/>
          </a:xfrm>
        </p:spPr>
        <p:txBody>
          <a:bodyPr lIns="137160" tIns="137160" rIns="137160" bIns="137160">
            <a:noAutofit/>
          </a:bodyPr>
          <a:lstStyle>
            <a:lvl1pPr marL="0" indent="0">
              <a:spcBef>
                <a:spcPts val="0"/>
              </a:spcBef>
              <a:buNone/>
              <a:defRPr sz="1999">
                <a:solidFill>
                  <a:schemeClr val="bg1"/>
                </a:solidFill>
              </a:defRPr>
            </a:lvl1pPr>
            <a:lvl2pPr marL="281589" indent="0">
              <a:buNone/>
              <a:defRPr sz="1999">
                <a:solidFill>
                  <a:schemeClr val="bg1"/>
                </a:solidFill>
              </a:defRPr>
            </a:lvl2pPr>
            <a:lvl3pPr marL="588299" indent="0">
              <a:buNone/>
              <a:defRPr sz="1999">
                <a:solidFill>
                  <a:schemeClr val="bg1"/>
                </a:solidFill>
              </a:defRPr>
            </a:lvl3pPr>
            <a:lvl4pPr marL="869889" indent="0">
              <a:buNone/>
              <a:defRPr sz="1999">
                <a:solidFill>
                  <a:schemeClr val="bg1"/>
                </a:solidFill>
              </a:defRPr>
            </a:lvl4pPr>
            <a:lvl5pPr marL="1105208" indent="0">
              <a:buNone/>
              <a:defRPr sz="1999">
                <a:solidFill>
                  <a:schemeClr val="bg1"/>
                </a:solidFill>
              </a:defRPr>
            </a:lvl5pPr>
          </a:lstStyle>
          <a:p>
            <a:pPr lvl="0"/>
            <a:r>
              <a:rPr lang="en-US"/>
              <a:t>Speaker Name</a:t>
            </a:r>
          </a:p>
        </p:txBody>
      </p:sp>
      <p:pic>
        <p:nvPicPr>
          <p:cNvPr id="14" name="Picture 1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1916" y="200779"/>
            <a:ext cx="1946593" cy="716042"/>
          </a:xfrm>
          <a:prstGeom prst="rect">
            <a:avLst/>
          </a:prstGeom>
        </p:spPr>
      </p:pic>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916" y="200779"/>
            <a:ext cx="1946593" cy="716042"/>
          </a:xfrm>
          <a:prstGeom prst="rect">
            <a:avLst/>
          </a:prstGeom>
        </p:spPr>
      </p:pic>
    </p:spTree>
    <p:extLst>
      <p:ext uri="{BB962C8B-B14F-4D97-AF65-F5344CB8AC3E}">
        <p14:creationId xmlns:p14="http://schemas.microsoft.com/office/powerpoint/2010/main" val="1225357239"/>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6"/>
            <a:ext cx="12188825"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a:t>Click to add subtitle</a:t>
            </a:r>
          </a:p>
        </p:txBody>
      </p:sp>
      <p:sp>
        <p:nvSpPr>
          <p:cNvPr id="16" name="Text Placeholder 15"/>
          <p:cNvSpPr>
            <a:spLocks noGrp="1"/>
          </p:cNvSpPr>
          <p:nvPr>
            <p:ph type="body" sz="quarter" idx="14"/>
          </p:nvPr>
        </p:nvSpPr>
        <p:spPr>
          <a:xfrm>
            <a:off x="150813" y="1600200"/>
            <a:ext cx="11887200"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
        <p:nvSpPr>
          <p:cNvPr id="20" name="Footer Placeholder 19"/>
          <p:cNvSpPr>
            <a:spLocks noGrp="1"/>
          </p:cNvSpPr>
          <p:nvPr>
            <p:ph type="ftr" sz="quarter" idx="16"/>
          </p:nvPr>
        </p:nvSpPr>
        <p:spPr>
          <a:xfrm>
            <a:off x="1904504" y="6477875"/>
            <a:ext cx="8379817" cy="380127"/>
          </a:xfrm>
        </p:spPr>
        <p:txBody>
          <a:bodyPr/>
          <a:lstStyle/>
          <a:p>
            <a:endParaRPr lang="en-US">
              <a:solidFill>
                <a:srgbClr val="505050"/>
              </a:solidFill>
            </a:endParaRPr>
          </a:p>
        </p:txBody>
      </p:sp>
    </p:spTree>
    <p:extLst>
      <p:ext uri="{BB962C8B-B14F-4D97-AF65-F5344CB8AC3E}">
        <p14:creationId xmlns:p14="http://schemas.microsoft.com/office/powerpoint/2010/main" val="2823241296"/>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73606"/>
            <a:ext cx="12188825"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a:t>Click to add subtitle</a:t>
            </a:r>
          </a:p>
        </p:txBody>
      </p:sp>
      <p:sp>
        <p:nvSpPr>
          <p:cNvPr id="3" name="Footer Placeholder 2"/>
          <p:cNvSpPr>
            <a:spLocks noGrp="1"/>
          </p:cNvSpPr>
          <p:nvPr>
            <p:ph type="ftr" sz="quarter" idx="14"/>
          </p:nvPr>
        </p:nvSpPr>
        <p:spPr/>
        <p:txBody>
          <a:bodyPr/>
          <a:lstStyle/>
          <a:p>
            <a:pPr defTabSz="1087779"/>
            <a:endParaRPr lang="en-US">
              <a:solidFill>
                <a:srgbClr val="505050"/>
              </a:solidFill>
            </a:endParaRPr>
          </a:p>
        </p:txBody>
      </p:sp>
      <p:sp>
        <p:nvSpPr>
          <p:cNvPr id="7" name="Slide Number Placeholder 6"/>
          <p:cNvSpPr>
            <a:spLocks noGrp="1"/>
          </p:cNvSpPr>
          <p:nvPr>
            <p:ph type="sldNum" sz="quarter" idx="15"/>
          </p:nvPr>
        </p:nvSpPr>
        <p:spPr/>
        <p:txBody>
          <a:bodyPr/>
          <a:lstStyle/>
          <a:p>
            <a:pPr defTabSz="1087779"/>
            <a:fld id="{FAADACFB-7C71-4E89-89D2-7BBA40B7BFA9}" type="slidenum">
              <a:rPr lang="en-US" smtClean="0">
                <a:solidFill>
                  <a:srgbClr val="505050"/>
                </a:solidFill>
              </a:rPr>
              <a:pPr defTabSz="1087779"/>
              <a:t>‹#›</a:t>
            </a:fld>
            <a:endParaRPr lang="en-US">
              <a:solidFill>
                <a:srgbClr val="505050"/>
              </a:solidFill>
            </a:endParaRPr>
          </a:p>
        </p:txBody>
      </p:sp>
    </p:spTree>
    <p:extLst>
      <p:ext uri="{BB962C8B-B14F-4D97-AF65-F5344CB8AC3E}">
        <p14:creationId xmlns:p14="http://schemas.microsoft.com/office/powerpoint/2010/main" val="442334679"/>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150813" y="1600200"/>
            <a:ext cx="11887200"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589" indent="0">
              <a:buNone/>
              <a:defRPr>
                <a:solidFill>
                  <a:schemeClr val="tx1"/>
                </a:solidFill>
                <a:latin typeface="Courier New" pitchFamily="49" charset="0"/>
                <a:cs typeface="Courier New" pitchFamily="49" charset="0"/>
              </a:defRPr>
            </a:lvl2pPr>
            <a:lvl3pPr marL="588299" indent="0">
              <a:buNone/>
              <a:defRPr>
                <a:solidFill>
                  <a:schemeClr val="tx1"/>
                </a:solidFill>
                <a:latin typeface="Courier New" pitchFamily="49" charset="0"/>
                <a:cs typeface="Courier New" pitchFamily="49" charset="0"/>
              </a:defRPr>
            </a:lvl3pPr>
            <a:lvl4pPr marL="869889" indent="0">
              <a:buNone/>
              <a:defRPr>
                <a:solidFill>
                  <a:schemeClr val="tx1"/>
                </a:solidFill>
                <a:latin typeface="Courier New" pitchFamily="49" charset="0"/>
                <a:cs typeface="Courier New" pitchFamily="49" charset="0"/>
              </a:defRPr>
            </a:lvl4pPr>
            <a:lvl5pPr marL="1105208" indent="0">
              <a:buNone/>
              <a:defRPr>
                <a:solidFill>
                  <a:schemeClr val="tx1"/>
                </a:solidFill>
                <a:latin typeface="Courier New" pitchFamily="49" charset="0"/>
                <a:cs typeface="Courier New" pitchFamily="49"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12" hasCustomPrompt="1"/>
          </p:nvPr>
        </p:nvSpPr>
        <p:spPr>
          <a:xfrm>
            <a:off x="1" y="573606"/>
            <a:ext cx="12188825" cy="373063"/>
          </a:xfrm>
          <a:prstGeom prst="rect">
            <a:avLst/>
          </a:prstGeom>
        </p:spPr>
        <p:txBody>
          <a:bodyPr lIns="320040" tIns="53325" rIns="53325" bIns="53325">
            <a:noAutofit/>
          </a:bodyPr>
          <a:lstStyle>
            <a:lvl1pPr marL="0" indent="0">
              <a:buNone/>
              <a:defRPr sz="2799">
                <a:solidFill>
                  <a:schemeClr val="tx1"/>
                </a:solidFill>
                <a:latin typeface="Segoe UI Light" pitchFamily="34" charset="0"/>
              </a:defRPr>
            </a:lvl1pPr>
            <a:lvl2pPr marL="281589" indent="0">
              <a:buNone/>
              <a:defRPr/>
            </a:lvl2pPr>
            <a:lvl3pPr marL="588299" indent="0">
              <a:buNone/>
              <a:defRPr/>
            </a:lvl3pPr>
            <a:lvl4pPr marL="869889" indent="0">
              <a:buNone/>
              <a:defRPr/>
            </a:lvl4pPr>
            <a:lvl5pPr marL="1105208" indent="0">
              <a:buNone/>
              <a:defRPr/>
            </a:lvl5pPr>
          </a:lstStyle>
          <a:p>
            <a:pPr lvl="0"/>
            <a:r>
              <a:rPr lang="en-US"/>
              <a:t>Click to add subtitle</a:t>
            </a:r>
          </a:p>
        </p:txBody>
      </p:sp>
      <p:sp>
        <p:nvSpPr>
          <p:cNvPr id="6" name="Footer Placeholder 5"/>
          <p:cNvSpPr>
            <a:spLocks noGrp="1"/>
          </p:cNvSpPr>
          <p:nvPr>
            <p:ph type="ftr" sz="quarter" idx="16"/>
          </p:nvPr>
        </p:nvSpPr>
        <p:spPr/>
        <p:txBody>
          <a:bodyPr/>
          <a:lstStyle/>
          <a:p>
            <a:endParaRPr lang="en-US">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3872645533"/>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724844185"/>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14" y="1143002"/>
            <a:ext cx="1005839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150812" y="3877278"/>
            <a:ext cx="10058401" cy="1837723"/>
          </a:xfrm>
          <a:noFill/>
        </p:spPr>
        <p:txBody>
          <a:bodyPr lIns="137160" tIns="137160" rIns="137160" bIns="137160">
            <a:noAutofit/>
          </a:bodyPr>
          <a:lstStyle>
            <a:lvl1pPr marL="0" indent="0">
              <a:spcBef>
                <a:spcPts val="0"/>
              </a:spcBef>
              <a:buNone/>
              <a:defRPr sz="2799"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13" y="1143000"/>
            <a:ext cx="1005840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95165606"/>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14"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14"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14" y="1143001"/>
            <a:ext cx="10058399" cy="2734277"/>
          </a:xfrm>
          <a:noFill/>
        </p:spPr>
        <p:txBody>
          <a:bodyPr lIns="137160" tIns="137160" rIns="137160" bIns="137160" anchor="t" anchorCtr="0"/>
          <a:lstStyle>
            <a:lvl1pPr>
              <a:defRPr sz="7098" spc="-98" baseline="0">
                <a:gradFill>
                  <a:gsLst>
                    <a:gs pos="5833">
                      <a:srgbClr val="FFFFFF"/>
                    </a:gs>
                    <a:gs pos="18000">
                      <a:srgbClr val="FFFFFF"/>
                    </a:gs>
                  </a:gsLst>
                  <a:lin ang="5400000" scaled="0"/>
                </a:gradFill>
              </a:defRPr>
            </a:lvl1pPr>
          </a:lstStyle>
          <a:p>
            <a:r>
              <a:rPr lang="en-US"/>
              <a:t>Video title</a:t>
            </a:r>
          </a:p>
        </p:txBody>
      </p:sp>
      <p:sp>
        <p:nvSpPr>
          <p:cNvPr id="5" name="Text Placeholder 4"/>
          <p:cNvSpPr>
            <a:spLocks noGrp="1"/>
          </p:cNvSpPr>
          <p:nvPr>
            <p:ph type="body" sz="quarter" idx="12" hasCustomPrompt="1"/>
          </p:nvPr>
        </p:nvSpPr>
        <p:spPr>
          <a:xfrm>
            <a:off x="150813" y="3886200"/>
            <a:ext cx="10058400" cy="1828800"/>
          </a:xfrm>
          <a:noFill/>
        </p:spPr>
        <p:txBody>
          <a:bodyPr lIns="137160" tIns="137160" rIns="137160" bIns="137160">
            <a:noAutofit/>
          </a:bodyPr>
          <a:lstStyle>
            <a:lvl1pPr marL="0" indent="0">
              <a:spcBef>
                <a:spcPts val="0"/>
              </a:spcBef>
              <a:buNone/>
              <a:defRPr sz="2799"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a:t>Speaker Name</a:t>
            </a:r>
          </a:p>
        </p:txBody>
      </p:sp>
      <p:sp>
        <p:nvSpPr>
          <p:cNvPr id="7" name="Rectangle 6"/>
          <p:cNvSpPr/>
          <p:nvPr userDrawn="1"/>
        </p:nvSpPr>
        <p:spPr bwMode="auto">
          <a:xfrm>
            <a:off x="150814" y="1143000"/>
            <a:ext cx="1005839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2" tIns="143370" rIns="179212" bIns="143370" numCol="1" spcCol="0" rtlCol="0" fromWordArt="0" anchor="t" anchorCtr="0" forceAA="0" compatLnSpc="1">
            <a:prstTxWarp prst="textNoShape">
              <a:avLst/>
            </a:prstTxWarp>
            <a:noAutofit/>
          </a:bodyPr>
          <a:lstStyle/>
          <a:p>
            <a:pPr algn="ctr" defTabSz="9137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78375209"/>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rgbClr val="FFFFFF"/>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597686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13" y="2057401"/>
            <a:ext cx="11887200" cy="1822988"/>
          </a:xfrm>
          <a:noFill/>
        </p:spPr>
        <p:txBody>
          <a:bodyPr lIns="137160" tIns="137160" rIns="137160" bIns="137160" anchor="t" anchorCtr="0"/>
          <a:lstStyle>
            <a:lvl1pPr>
              <a:defRPr sz="8597" spc="-98" baseline="0">
                <a:solidFill>
                  <a:schemeClr val="tx1"/>
                </a:solidFill>
              </a:defRPr>
            </a:lvl1pPr>
          </a:lstStyle>
          <a:p>
            <a:r>
              <a:rPr lang="en-US"/>
              <a:t>Section title</a:t>
            </a:r>
          </a:p>
        </p:txBody>
      </p:sp>
      <p:sp>
        <p:nvSpPr>
          <p:cNvPr id="3" name="Text Placeholder 10"/>
          <p:cNvSpPr>
            <a:spLocks noGrp="1"/>
          </p:cNvSpPr>
          <p:nvPr>
            <p:ph type="body" sz="quarter" idx="14"/>
          </p:nvPr>
        </p:nvSpPr>
        <p:spPr>
          <a:xfrm>
            <a:off x="150813" y="3886200"/>
            <a:ext cx="6400800" cy="2590800"/>
          </a:xfrm>
          <a:prstGeom prst="rect">
            <a:avLst/>
          </a:prstGeom>
        </p:spPr>
        <p:txBody>
          <a:bodyPr lIns="137160" tIns="137160" rIns="137160" bIns="137160">
            <a:noAutofit/>
          </a:bodyPr>
          <a:lstStyle>
            <a:lvl1pPr marL="190371" indent="-190371">
              <a:lnSpc>
                <a:spcPct val="80000"/>
              </a:lnSpc>
              <a:buNone/>
              <a:defRPr lang="en-US" sz="1999" kern="1200" dirty="0">
                <a:solidFill>
                  <a:schemeClr val="tx1"/>
                </a:solidFill>
                <a:latin typeface="Segoe UI" pitchFamily="34" charset="0"/>
                <a:ea typeface="Segoe UI" pitchFamily="34" charset="0"/>
                <a:cs typeface="Segoe UI" pitchFamily="34" charset="0"/>
              </a:defRPr>
            </a:lvl1pPr>
          </a:lstStyle>
          <a:p>
            <a:pPr marL="0" lvl="0" indent="0" algn="l" defTabSz="1087779"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337563174"/>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8.xml"/><Relationship Id="rId13" Type="http://schemas.openxmlformats.org/officeDocument/2006/relationships/slideLayout" Target="../slideLayouts/slideLayout163.xml"/><Relationship Id="rId18" Type="http://schemas.openxmlformats.org/officeDocument/2006/relationships/vmlDrawing" Target="../drawings/vmlDrawing24.vml"/><Relationship Id="rId3" Type="http://schemas.openxmlformats.org/officeDocument/2006/relationships/slideLayout" Target="../slideLayouts/slideLayout153.xml"/><Relationship Id="rId21" Type="http://schemas.openxmlformats.org/officeDocument/2006/relationships/image" Target="../media/image5.emf"/><Relationship Id="rId7" Type="http://schemas.openxmlformats.org/officeDocument/2006/relationships/slideLayout" Target="../slideLayouts/slideLayout157.xml"/><Relationship Id="rId12" Type="http://schemas.openxmlformats.org/officeDocument/2006/relationships/slideLayout" Target="../slideLayouts/slideLayout162.xml"/><Relationship Id="rId17" Type="http://schemas.openxmlformats.org/officeDocument/2006/relationships/theme" Target="../theme/theme10.xml"/><Relationship Id="rId2" Type="http://schemas.openxmlformats.org/officeDocument/2006/relationships/slideLayout" Target="../slideLayouts/slideLayout152.xml"/><Relationship Id="rId16" Type="http://schemas.openxmlformats.org/officeDocument/2006/relationships/slideLayout" Target="../slideLayouts/slideLayout166.xml"/><Relationship Id="rId20" Type="http://schemas.openxmlformats.org/officeDocument/2006/relationships/oleObject" Target="../embeddings/oleObject24.bin"/><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slideLayout" Target="../slideLayouts/slideLayout161.xml"/><Relationship Id="rId5" Type="http://schemas.openxmlformats.org/officeDocument/2006/relationships/slideLayout" Target="../slideLayouts/slideLayout155.xml"/><Relationship Id="rId15" Type="http://schemas.openxmlformats.org/officeDocument/2006/relationships/slideLayout" Target="../slideLayouts/slideLayout165.xml"/><Relationship Id="rId10" Type="http://schemas.openxmlformats.org/officeDocument/2006/relationships/slideLayout" Target="../slideLayouts/slideLayout160.xml"/><Relationship Id="rId19" Type="http://schemas.openxmlformats.org/officeDocument/2006/relationships/tags" Target="../tags/tag31.xml"/><Relationship Id="rId4" Type="http://schemas.openxmlformats.org/officeDocument/2006/relationships/slideLayout" Target="../slideLayouts/slideLayout154.xml"/><Relationship Id="rId9" Type="http://schemas.openxmlformats.org/officeDocument/2006/relationships/slideLayout" Target="../slideLayouts/slideLayout159.xml"/><Relationship Id="rId14" Type="http://schemas.openxmlformats.org/officeDocument/2006/relationships/slideLayout" Target="../slideLayouts/slideLayout164.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slideLayout" Target="../slideLayouts/slideLayout179.xml"/><Relationship Id="rId18" Type="http://schemas.openxmlformats.org/officeDocument/2006/relationships/slideLayout" Target="../slideLayouts/slideLayout184.xml"/><Relationship Id="rId3" Type="http://schemas.openxmlformats.org/officeDocument/2006/relationships/slideLayout" Target="../slideLayouts/slideLayout169.xml"/><Relationship Id="rId21" Type="http://schemas.openxmlformats.org/officeDocument/2006/relationships/theme" Target="../theme/theme11.xml"/><Relationship Id="rId7" Type="http://schemas.openxmlformats.org/officeDocument/2006/relationships/slideLayout" Target="../slideLayouts/slideLayout173.xml"/><Relationship Id="rId12" Type="http://schemas.openxmlformats.org/officeDocument/2006/relationships/slideLayout" Target="../slideLayouts/slideLayout178.xml"/><Relationship Id="rId17" Type="http://schemas.openxmlformats.org/officeDocument/2006/relationships/slideLayout" Target="../slideLayouts/slideLayout183.xml"/><Relationship Id="rId2" Type="http://schemas.openxmlformats.org/officeDocument/2006/relationships/slideLayout" Target="../slideLayouts/slideLayout168.xml"/><Relationship Id="rId16" Type="http://schemas.openxmlformats.org/officeDocument/2006/relationships/slideLayout" Target="../slideLayouts/slideLayout182.xml"/><Relationship Id="rId20" Type="http://schemas.openxmlformats.org/officeDocument/2006/relationships/slideLayout" Target="../slideLayouts/slideLayout186.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slideLayout" Target="../slideLayouts/slideLayout177.xml"/><Relationship Id="rId5" Type="http://schemas.openxmlformats.org/officeDocument/2006/relationships/slideLayout" Target="../slideLayouts/slideLayout171.xml"/><Relationship Id="rId15" Type="http://schemas.openxmlformats.org/officeDocument/2006/relationships/slideLayout" Target="../slideLayouts/slideLayout181.xml"/><Relationship Id="rId10" Type="http://schemas.openxmlformats.org/officeDocument/2006/relationships/slideLayout" Target="../slideLayouts/slideLayout176.xml"/><Relationship Id="rId19" Type="http://schemas.openxmlformats.org/officeDocument/2006/relationships/slideLayout" Target="../slideLayouts/slideLayout185.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slideLayout" Target="../slideLayouts/slideLayout18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94.xml"/><Relationship Id="rId13" Type="http://schemas.openxmlformats.org/officeDocument/2006/relationships/slideLayout" Target="../slideLayouts/slideLayout199.xml"/><Relationship Id="rId18" Type="http://schemas.openxmlformats.org/officeDocument/2006/relationships/slideLayout" Target="../slideLayouts/slideLayout204.xml"/><Relationship Id="rId3" Type="http://schemas.openxmlformats.org/officeDocument/2006/relationships/slideLayout" Target="../slideLayouts/slideLayout189.xml"/><Relationship Id="rId21" Type="http://schemas.openxmlformats.org/officeDocument/2006/relationships/tags" Target="../tags/tag48.xml"/><Relationship Id="rId7" Type="http://schemas.openxmlformats.org/officeDocument/2006/relationships/slideLayout" Target="../slideLayouts/slideLayout193.xml"/><Relationship Id="rId12" Type="http://schemas.openxmlformats.org/officeDocument/2006/relationships/slideLayout" Target="../slideLayouts/slideLayout198.xml"/><Relationship Id="rId17" Type="http://schemas.openxmlformats.org/officeDocument/2006/relationships/slideLayout" Target="../slideLayouts/slideLayout203.xml"/><Relationship Id="rId2" Type="http://schemas.openxmlformats.org/officeDocument/2006/relationships/slideLayout" Target="../slideLayouts/slideLayout188.xml"/><Relationship Id="rId16" Type="http://schemas.openxmlformats.org/officeDocument/2006/relationships/slideLayout" Target="../slideLayouts/slideLayout202.xml"/><Relationship Id="rId20" Type="http://schemas.openxmlformats.org/officeDocument/2006/relationships/vmlDrawing" Target="../drawings/vmlDrawing41.v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slideLayout" Target="../slideLayouts/slideLayout197.xml"/><Relationship Id="rId5" Type="http://schemas.openxmlformats.org/officeDocument/2006/relationships/slideLayout" Target="../slideLayouts/slideLayout191.xml"/><Relationship Id="rId15" Type="http://schemas.openxmlformats.org/officeDocument/2006/relationships/slideLayout" Target="../slideLayouts/slideLayout201.xml"/><Relationship Id="rId23" Type="http://schemas.openxmlformats.org/officeDocument/2006/relationships/image" Target="../media/image5.emf"/><Relationship Id="rId10" Type="http://schemas.openxmlformats.org/officeDocument/2006/relationships/slideLayout" Target="../slideLayouts/slideLayout196.xml"/><Relationship Id="rId19" Type="http://schemas.openxmlformats.org/officeDocument/2006/relationships/theme" Target="../theme/theme12.xml"/><Relationship Id="rId4" Type="http://schemas.openxmlformats.org/officeDocument/2006/relationships/slideLayout" Target="../slideLayouts/slideLayout190.xml"/><Relationship Id="rId9" Type="http://schemas.openxmlformats.org/officeDocument/2006/relationships/slideLayout" Target="../slideLayouts/slideLayout195.xml"/><Relationship Id="rId14" Type="http://schemas.openxmlformats.org/officeDocument/2006/relationships/slideLayout" Target="../slideLayouts/slideLayout200.xml"/><Relationship Id="rId22" Type="http://schemas.openxmlformats.org/officeDocument/2006/relationships/oleObject" Target="../embeddings/oleObject41.bin"/></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12.xml"/><Relationship Id="rId13" Type="http://schemas.openxmlformats.org/officeDocument/2006/relationships/slideLayout" Target="../slideLayouts/slideLayout217.xml"/><Relationship Id="rId18" Type="http://schemas.openxmlformats.org/officeDocument/2006/relationships/theme" Target="../theme/theme13.xml"/><Relationship Id="rId3" Type="http://schemas.openxmlformats.org/officeDocument/2006/relationships/slideLayout" Target="../slideLayouts/slideLayout207.xml"/><Relationship Id="rId21" Type="http://schemas.openxmlformats.org/officeDocument/2006/relationships/oleObject" Target="../embeddings/oleObject58.bin"/><Relationship Id="rId7" Type="http://schemas.openxmlformats.org/officeDocument/2006/relationships/slideLayout" Target="../slideLayouts/slideLayout211.xml"/><Relationship Id="rId12" Type="http://schemas.openxmlformats.org/officeDocument/2006/relationships/slideLayout" Target="../slideLayouts/slideLayout216.xml"/><Relationship Id="rId17" Type="http://schemas.openxmlformats.org/officeDocument/2006/relationships/slideLayout" Target="../slideLayouts/slideLayout221.xml"/><Relationship Id="rId2" Type="http://schemas.openxmlformats.org/officeDocument/2006/relationships/slideLayout" Target="../slideLayouts/slideLayout206.xml"/><Relationship Id="rId16" Type="http://schemas.openxmlformats.org/officeDocument/2006/relationships/slideLayout" Target="../slideLayouts/slideLayout220.xml"/><Relationship Id="rId20" Type="http://schemas.openxmlformats.org/officeDocument/2006/relationships/tags" Target="../tags/tag67.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11" Type="http://schemas.openxmlformats.org/officeDocument/2006/relationships/slideLayout" Target="../slideLayouts/slideLayout215.xml"/><Relationship Id="rId5" Type="http://schemas.openxmlformats.org/officeDocument/2006/relationships/slideLayout" Target="../slideLayouts/slideLayout209.xml"/><Relationship Id="rId15" Type="http://schemas.openxmlformats.org/officeDocument/2006/relationships/slideLayout" Target="../slideLayouts/slideLayout219.xml"/><Relationship Id="rId10" Type="http://schemas.openxmlformats.org/officeDocument/2006/relationships/slideLayout" Target="../slideLayouts/slideLayout214.xml"/><Relationship Id="rId19" Type="http://schemas.openxmlformats.org/officeDocument/2006/relationships/vmlDrawing" Target="../drawings/vmlDrawing60.vml"/><Relationship Id="rId4" Type="http://schemas.openxmlformats.org/officeDocument/2006/relationships/slideLayout" Target="../slideLayouts/slideLayout208.xml"/><Relationship Id="rId9" Type="http://schemas.openxmlformats.org/officeDocument/2006/relationships/slideLayout" Target="../slideLayouts/slideLayout213.xml"/><Relationship Id="rId14" Type="http://schemas.openxmlformats.org/officeDocument/2006/relationships/slideLayout" Target="../slideLayouts/slideLayout218.xml"/><Relationship Id="rId22" Type="http://schemas.openxmlformats.org/officeDocument/2006/relationships/image" Target="../media/image10.emf"/></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29.xml"/><Relationship Id="rId13" Type="http://schemas.openxmlformats.org/officeDocument/2006/relationships/slideLayout" Target="../slideLayouts/slideLayout234.xml"/><Relationship Id="rId18" Type="http://schemas.openxmlformats.org/officeDocument/2006/relationships/slideLayout" Target="../slideLayouts/slideLayout239.xml"/><Relationship Id="rId3" Type="http://schemas.openxmlformats.org/officeDocument/2006/relationships/slideLayout" Target="../slideLayouts/slideLayout224.xml"/><Relationship Id="rId7" Type="http://schemas.openxmlformats.org/officeDocument/2006/relationships/slideLayout" Target="../slideLayouts/slideLayout228.xml"/><Relationship Id="rId12" Type="http://schemas.openxmlformats.org/officeDocument/2006/relationships/slideLayout" Target="../slideLayouts/slideLayout233.xml"/><Relationship Id="rId17" Type="http://schemas.openxmlformats.org/officeDocument/2006/relationships/slideLayout" Target="../slideLayouts/slideLayout238.xml"/><Relationship Id="rId2" Type="http://schemas.openxmlformats.org/officeDocument/2006/relationships/slideLayout" Target="../slideLayouts/slideLayout223.xml"/><Relationship Id="rId16" Type="http://schemas.openxmlformats.org/officeDocument/2006/relationships/slideLayout" Target="../slideLayouts/slideLayout237.xml"/><Relationship Id="rId20" Type="http://schemas.openxmlformats.org/officeDocument/2006/relationships/theme" Target="../theme/theme14.xml"/><Relationship Id="rId1" Type="http://schemas.openxmlformats.org/officeDocument/2006/relationships/slideLayout" Target="../slideLayouts/slideLayout222.xml"/><Relationship Id="rId6" Type="http://schemas.openxmlformats.org/officeDocument/2006/relationships/slideLayout" Target="../slideLayouts/slideLayout227.xml"/><Relationship Id="rId11" Type="http://schemas.openxmlformats.org/officeDocument/2006/relationships/slideLayout" Target="../slideLayouts/slideLayout232.xml"/><Relationship Id="rId5" Type="http://schemas.openxmlformats.org/officeDocument/2006/relationships/slideLayout" Target="../slideLayouts/slideLayout226.xml"/><Relationship Id="rId15" Type="http://schemas.openxmlformats.org/officeDocument/2006/relationships/slideLayout" Target="../slideLayouts/slideLayout236.xml"/><Relationship Id="rId10" Type="http://schemas.openxmlformats.org/officeDocument/2006/relationships/slideLayout" Target="../slideLayouts/slideLayout231.xml"/><Relationship Id="rId19" Type="http://schemas.openxmlformats.org/officeDocument/2006/relationships/slideLayout" Target="../slideLayouts/slideLayout240.xml"/><Relationship Id="rId4" Type="http://schemas.openxmlformats.org/officeDocument/2006/relationships/slideLayout" Target="../slideLayouts/slideLayout225.xml"/><Relationship Id="rId9" Type="http://schemas.openxmlformats.org/officeDocument/2006/relationships/slideLayout" Target="../slideLayouts/slideLayout230.xml"/><Relationship Id="rId14" Type="http://schemas.openxmlformats.org/officeDocument/2006/relationships/slideLayout" Target="../slideLayouts/slideLayout23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48.xml"/><Relationship Id="rId13" Type="http://schemas.openxmlformats.org/officeDocument/2006/relationships/slideLayout" Target="../slideLayouts/slideLayout253.xml"/><Relationship Id="rId18" Type="http://schemas.openxmlformats.org/officeDocument/2006/relationships/theme" Target="../theme/theme15.xml"/><Relationship Id="rId3" Type="http://schemas.openxmlformats.org/officeDocument/2006/relationships/slideLayout" Target="../slideLayouts/slideLayout243.xml"/><Relationship Id="rId21" Type="http://schemas.openxmlformats.org/officeDocument/2006/relationships/oleObject" Target="../embeddings/oleObject60.bin"/><Relationship Id="rId7" Type="http://schemas.openxmlformats.org/officeDocument/2006/relationships/slideLayout" Target="../slideLayouts/slideLayout247.xml"/><Relationship Id="rId12" Type="http://schemas.openxmlformats.org/officeDocument/2006/relationships/slideLayout" Target="../slideLayouts/slideLayout252.xml"/><Relationship Id="rId17" Type="http://schemas.openxmlformats.org/officeDocument/2006/relationships/slideLayout" Target="../slideLayouts/slideLayout257.xml"/><Relationship Id="rId2" Type="http://schemas.openxmlformats.org/officeDocument/2006/relationships/slideLayout" Target="../slideLayouts/slideLayout242.xml"/><Relationship Id="rId16" Type="http://schemas.openxmlformats.org/officeDocument/2006/relationships/slideLayout" Target="../slideLayouts/slideLayout256.xml"/><Relationship Id="rId20" Type="http://schemas.openxmlformats.org/officeDocument/2006/relationships/tags" Target="../tags/tag76.xml"/><Relationship Id="rId1" Type="http://schemas.openxmlformats.org/officeDocument/2006/relationships/slideLayout" Target="../slideLayouts/slideLayout241.xml"/><Relationship Id="rId6" Type="http://schemas.openxmlformats.org/officeDocument/2006/relationships/slideLayout" Target="../slideLayouts/slideLayout246.xml"/><Relationship Id="rId11" Type="http://schemas.openxmlformats.org/officeDocument/2006/relationships/slideLayout" Target="../slideLayouts/slideLayout251.xml"/><Relationship Id="rId5" Type="http://schemas.openxmlformats.org/officeDocument/2006/relationships/slideLayout" Target="../slideLayouts/slideLayout245.xml"/><Relationship Id="rId15" Type="http://schemas.openxmlformats.org/officeDocument/2006/relationships/slideLayout" Target="../slideLayouts/slideLayout255.xml"/><Relationship Id="rId10" Type="http://schemas.openxmlformats.org/officeDocument/2006/relationships/slideLayout" Target="../slideLayouts/slideLayout250.xml"/><Relationship Id="rId19" Type="http://schemas.openxmlformats.org/officeDocument/2006/relationships/vmlDrawing" Target="../drawings/vmlDrawing62.vml"/><Relationship Id="rId4" Type="http://schemas.openxmlformats.org/officeDocument/2006/relationships/slideLayout" Target="../slideLayouts/slideLayout244.xml"/><Relationship Id="rId9" Type="http://schemas.openxmlformats.org/officeDocument/2006/relationships/slideLayout" Target="../slideLayouts/slideLayout249.xml"/><Relationship Id="rId14" Type="http://schemas.openxmlformats.org/officeDocument/2006/relationships/slideLayout" Target="../slideLayouts/slideLayout254.xml"/><Relationship Id="rId22" Type="http://schemas.openxmlformats.org/officeDocument/2006/relationships/image" Target="../media/image10.emf"/></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65.xml"/><Relationship Id="rId13" Type="http://schemas.openxmlformats.org/officeDocument/2006/relationships/vmlDrawing" Target="../drawings/vmlDrawing63.vml"/><Relationship Id="rId3" Type="http://schemas.openxmlformats.org/officeDocument/2006/relationships/slideLayout" Target="../slideLayouts/slideLayout260.xml"/><Relationship Id="rId7" Type="http://schemas.openxmlformats.org/officeDocument/2006/relationships/slideLayout" Target="../slideLayouts/slideLayout264.xml"/><Relationship Id="rId12" Type="http://schemas.openxmlformats.org/officeDocument/2006/relationships/theme" Target="../theme/theme16.xml"/><Relationship Id="rId2" Type="http://schemas.openxmlformats.org/officeDocument/2006/relationships/slideLayout" Target="../slideLayouts/slideLayout259.xml"/><Relationship Id="rId16" Type="http://schemas.openxmlformats.org/officeDocument/2006/relationships/image" Target="../media/image10.emf"/><Relationship Id="rId1" Type="http://schemas.openxmlformats.org/officeDocument/2006/relationships/slideLayout" Target="../slideLayouts/slideLayout258.xml"/><Relationship Id="rId6" Type="http://schemas.openxmlformats.org/officeDocument/2006/relationships/slideLayout" Target="../slideLayouts/slideLayout263.xml"/><Relationship Id="rId11" Type="http://schemas.openxmlformats.org/officeDocument/2006/relationships/slideLayout" Target="../slideLayouts/slideLayout268.xml"/><Relationship Id="rId5" Type="http://schemas.openxmlformats.org/officeDocument/2006/relationships/slideLayout" Target="../slideLayouts/slideLayout262.xml"/><Relationship Id="rId15" Type="http://schemas.openxmlformats.org/officeDocument/2006/relationships/oleObject" Target="../embeddings/oleObject61.bin"/><Relationship Id="rId10" Type="http://schemas.openxmlformats.org/officeDocument/2006/relationships/slideLayout" Target="../slideLayouts/slideLayout267.xml"/><Relationship Id="rId4" Type="http://schemas.openxmlformats.org/officeDocument/2006/relationships/slideLayout" Target="../slideLayouts/slideLayout261.xml"/><Relationship Id="rId9" Type="http://schemas.openxmlformats.org/officeDocument/2006/relationships/slideLayout" Target="../slideLayouts/slideLayout266.xml"/><Relationship Id="rId14" Type="http://schemas.openxmlformats.org/officeDocument/2006/relationships/tags" Target="../tags/tag77.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76.xml"/><Relationship Id="rId13" Type="http://schemas.openxmlformats.org/officeDocument/2006/relationships/slideLayout" Target="../slideLayouts/slideLayout281.xml"/><Relationship Id="rId18" Type="http://schemas.openxmlformats.org/officeDocument/2006/relationships/theme" Target="../theme/theme17.xml"/><Relationship Id="rId3" Type="http://schemas.openxmlformats.org/officeDocument/2006/relationships/slideLayout" Target="../slideLayouts/slideLayout271.xml"/><Relationship Id="rId21" Type="http://schemas.openxmlformats.org/officeDocument/2006/relationships/oleObject" Target="../embeddings/oleObject63.bin"/><Relationship Id="rId7" Type="http://schemas.openxmlformats.org/officeDocument/2006/relationships/slideLayout" Target="../slideLayouts/slideLayout275.xml"/><Relationship Id="rId12" Type="http://schemas.openxmlformats.org/officeDocument/2006/relationships/slideLayout" Target="../slideLayouts/slideLayout280.xml"/><Relationship Id="rId17" Type="http://schemas.openxmlformats.org/officeDocument/2006/relationships/slideLayout" Target="../slideLayouts/slideLayout285.xml"/><Relationship Id="rId2" Type="http://schemas.openxmlformats.org/officeDocument/2006/relationships/slideLayout" Target="../slideLayouts/slideLayout270.xml"/><Relationship Id="rId16" Type="http://schemas.openxmlformats.org/officeDocument/2006/relationships/slideLayout" Target="../slideLayouts/slideLayout284.xml"/><Relationship Id="rId20" Type="http://schemas.openxmlformats.org/officeDocument/2006/relationships/tags" Target="../tags/tag86.xml"/><Relationship Id="rId1" Type="http://schemas.openxmlformats.org/officeDocument/2006/relationships/slideLayout" Target="../slideLayouts/slideLayout269.xml"/><Relationship Id="rId6" Type="http://schemas.openxmlformats.org/officeDocument/2006/relationships/slideLayout" Target="../slideLayouts/slideLayout274.xml"/><Relationship Id="rId11" Type="http://schemas.openxmlformats.org/officeDocument/2006/relationships/slideLayout" Target="../slideLayouts/slideLayout279.xml"/><Relationship Id="rId5" Type="http://schemas.openxmlformats.org/officeDocument/2006/relationships/slideLayout" Target="../slideLayouts/slideLayout273.xml"/><Relationship Id="rId15" Type="http://schemas.openxmlformats.org/officeDocument/2006/relationships/slideLayout" Target="../slideLayouts/slideLayout283.xml"/><Relationship Id="rId10" Type="http://schemas.openxmlformats.org/officeDocument/2006/relationships/slideLayout" Target="../slideLayouts/slideLayout278.xml"/><Relationship Id="rId19" Type="http://schemas.openxmlformats.org/officeDocument/2006/relationships/vmlDrawing" Target="../drawings/vmlDrawing65.vml"/><Relationship Id="rId4" Type="http://schemas.openxmlformats.org/officeDocument/2006/relationships/slideLayout" Target="../slideLayouts/slideLayout272.xml"/><Relationship Id="rId9" Type="http://schemas.openxmlformats.org/officeDocument/2006/relationships/slideLayout" Target="../slideLayouts/slideLayout277.xml"/><Relationship Id="rId14" Type="http://schemas.openxmlformats.org/officeDocument/2006/relationships/slideLayout" Target="../slideLayouts/slideLayout282.xml"/><Relationship Id="rId22" Type="http://schemas.openxmlformats.org/officeDocument/2006/relationships/image" Target="../media/image10.emf"/></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93.xml"/><Relationship Id="rId13" Type="http://schemas.openxmlformats.org/officeDocument/2006/relationships/slideLayout" Target="../slideLayouts/slideLayout298.xml"/><Relationship Id="rId18" Type="http://schemas.openxmlformats.org/officeDocument/2006/relationships/slideLayout" Target="../slideLayouts/slideLayout303.xml"/><Relationship Id="rId3" Type="http://schemas.openxmlformats.org/officeDocument/2006/relationships/slideLayout" Target="../slideLayouts/slideLayout288.xml"/><Relationship Id="rId21" Type="http://schemas.openxmlformats.org/officeDocument/2006/relationships/tags" Target="../tags/tag87.xml"/><Relationship Id="rId7" Type="http://schemas.openxmlformats.org/officeDocument/2006/relationships/slideLayout" Target="../slideLayouts/slideLayout292.xml"/><Relationship Id="rId12" Type="http://schemas.openxmlformats.org/officeDocument/2006/relationships/slideLayout" Target="../slideLayouts/slideLayout297.xml"/><Relationship Id="rId17" Type="http://schemas.openxmlformats.org/officeDocument/2006/relationships/slideLayout" Target="../slideLayouts/slideLayout302.xml"/><Relationship Id="rId2" Type="http://schemas.openxmlformats.org/officeDocument/2006/relationships/slideLayout" Target="../slideLayouts/slideLayout287.xml"/><Relationship Id="rId16" Type="http://schemas.openxmlformats.org/officeDocument/2006/relationships/slideLayout" Target="../slideLayouts/slideLayout301.xml"/><Relationship Id="rId20" Type="http://schemas.openxmlformats.org/officeDocument/2006/relationships/vmlDrawing" Target="../drawings/vmlDrawing66.vml"/><Relationship Id="rId1" Type="http://schemas.openxmlformats.org/officeDocument/2006/relationships/slideLayout" Target="../slideLayouts/slideLayout286.xml"/><Relationship Id="rId6" Type="http://schemas.openxmlformats.org/officeDocument/2006/relationships/slideLayout" Target="../slideLayouts/slideLayout291.xml"/><Relationship Id="rId11" Type="http://schemas.openxmlformats.org/officeDocument/2006/relationships/slideLayout" Target="../slideLayouts/slideLayout296.xml"/><Relationship Id="rId5" Type="http://schemas.openxmlformats.org/officeDocument/2006/relationships/slideLayout" Target="../slideLayouts/slideLayout290.xml"/><Relationship Id="rId15" Type="http://schemas.openxmlformats.org/officeDocument/2006/relationships/slideLayout" Target="../slideLayouts/slideLayout300.xml"/><Relationship Id="rId23" Type="http://schemas.openxmlformats.org/officeDocument/2006/relationships/image" Target="../media/image5.emf"/><Relationship Id="rId10" Type="http://schemas.openxmlformats.org/officeDocument/2006/relationships/slideLayout" Target="../slideLayouts/slideLayout295.xml"/><Relationship Id="rId19" Type="http://schemas.openxmlformats.org/officeDocument/2006/relationships/theme" Target="../theme/theme18.xml"/><Relationship Id="rId4" Type="http://schemas.openxmlformats.org/officeDocument/2006/relationships/slideLayout" Target="../slideLayouts/slideLayout289.xml"/><Relationship Id="rId9" Type="http://schemas.openxmlformats.org/officeDocument/2006/relationships/slideLayout" Target="../slideLayouts/slideLayout294.xml"/><Relationship Id="rId14" Type="http://schemas.openxmlformats.org/officeDocument/2006/relationships/slideLayout" Target="../slideLayouts/slideLayout299.xml"/><Relationship Id="rId22" Type="http://schemas.openxmlformats.org/officeDocument/2006/relationships/oleObject" Target="../embeddings/oleObject64.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theme" Target="../theme/theme2.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vmlDrawing" Target="../drawings/vmlDrawing1.vml"/><Relationship Id="rId3" Type="http://schemas.openxmlformats.org/officeDocument/2006/relationships/slideLayout" Target="../slideLayouts/slideLayout41.xml"/><Relationship Id="rId21" Type="http://schemas.openxmlformats.org/officeDocument/2006/relationships/image" Target="../media/image5.emf"/><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theme" Target="../theme/theme3.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oleObject" Target="../embeddings/oleObject1.bin"/><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10" Type="http://schemas.openxmlformats.org/officeDocument/2006/relationships/slideLayout" Target="../slideLayouts/slideLayout48.xml"/><Relationship Id="rId19" Type="http://schemas.openxmlformats.org/officeDocument/2006/relationships/tags" Target="../tags/tag1.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theme" Target="../theme/theme4.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theme" Target="../theme/theme5.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theme" Target="../theme/theme6.xml"/><Relationship Id="rId3" Type="http://schemas.openxmlformats.org/officeDocument/2006/relationships/slideLayout" Target="../slideLayouts/slideLayout92.xml"/><Relationship Id="rId21" Type="http://schemas.openxmlformats.org/officeDocument/2006/relationships/oleObject" Target="../embeddings/oleObject19.bin"/><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tags" Target="../tags/tag19.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10" Type="http://schemas.openxmlformats.org/officeDocument/2006/relationships/slideLayout" Target="../slideLayouts/slideLayout99.xml"/><Relationship Id="rId19" Type="http://schemas.openxmlformats.org/officeDocument/2006/relationships/vmlDrawing" Target="../drawings/vmlDrawing19.v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image" Target="../media/image10.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vmlDrawing" Target="../drawings/vmlDrawing20.vml"/><Relationship Id="rId3" Type="http://schemas.openxmlformats.org/officeDocument/2006/relationships/slideLayout" Target="../slideLayouts/slideLayout109.xml"/><Relationship Id="rId21" Type="http://schemas.openxmlformats.org/officeDocument/2006/relationships/image" Target="../media/image10.emf"/><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theme" Target="../theme/theme7.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oleObject" Target="../embeddings/oleObject20.bin"/><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tags" Target="../tags/tag20.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vmlDrawing" Target="../drawings/vmlDrawing21.vml"/><Relationship Id="rId3" Type="http://schemas.openxmlformats.org/officeDocument/2006/relationships/slideLayout" Target="../slideLayouts/slideLayout125.xml"/><Relationship Id="rId7" Type="http://schemas.openxmlformats.org/officeDocument/2006/relationships/slideLayout" Target="../slideLayouts/slideLayout129.xml"/><Relationship Id="rId12" Type="http://schemas.openxmlformats.org/officeDocument/2006/relationships/theme" Target="../theme/theme8.xml"/><Relationship Id="rId2" Type="http://schemas.openxmlformats.org/officeDocument/2006/relationships/slideLayout" Target="../slideLayouts/slideLayout124.xml"/><Relationship Id="rId16" Type="http://schemas.openxmlformats.org/officeDocument/2006/relationships/image" Target="../media/image10.emf"/><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5" Type="http://schemas.openxmlformats.org/officeDocument/2006/relationships/slideLayout" Target="../slideLayouts/slideLayout127.xml"/><Relationship Id="rId15" Type="http://schemas.openxmlformats.org/officeDocument/2006/relationships/oleObject" Target="../embeddings/oleObject21.bin"/><Relationship Id="rId10" Type="http://schemas.openxmlformats.org/officeDocument/2006/relationships/slideLayout" Target="../slideLayouts/slideLayout132.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tags" Target="../tags/tag2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1.xml"/><Relationship Id="rId13" Type="http://schemas.openxmlformats.org/officeDocument/2006/relationships/slideLayout" Target="../slideLayouts/slideLayout146.xml"/><Relationship Id="rId18" Type="http://schemas.openxmlformats.org/officeDocument/2006/relationships/theme" Target="../theme/theme9.xml"/><Relationship Id="rId3" Type="http://schemas.openxmlformats.org/officeDocument/2006/relationships/slideLayout" Target="../slideLayouts/slideLayout136.xml"/><Relationship Id="rId21" Type="http://schemas.openxmlformats.org/officeDocument/2006/relationships/oleObject" Target="../embeddings/oleObject23.bin"/><Relationship Id="rId7" Type="http://schemas.openxmlformats.org/officeDocument/2006/relationships/slideLayout" Target="../slideLayouts/slideLayout140.xml"/><Relationship Id="rId12" Type="http://schemas.openxmlformats.org/officeDocument/2006/relationships/slideLayout" Target="../slideLayouts/slideLayout145.xml"/><Relationship Id="rId17" Type="http://schemas.openxmlformats.org/officeDocument/2006/relationships/slideLayout" Target="../slideLayouts/slideLayout150.xml"/><Relationship Id="rId2" Type="http://schemas.openxmlformats.org/officeDocument/2006/relationships/slideLayout" Target="../slideLayouts/slideLayout135.xml"/><Relationship Id="rId16" Type="http://schemas.openxmlformats.org/officeDocument/2006/relationships/slideLayout" Target="../slideLayouts/slideLayout149.xml"/><Relationship Id="rId20" Type="http://schemas.openxmlformats.org/officeDocument/2006/relationships/tags" Target="../tags/tag30.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5" Type="http://schemas.openxmlformats.org/officeDocument/2006/relationships/slideLayout" Target="../slideLayouts/slideLayout138.xml"/><Relationship Id="rId15" Type="http://schemas.openxmlformats.org/officeDocument/2006/relationships/slideLayout" Target="../slideLayouts/slideLayout148.xml"/><Relationship Id="rId10" Type="http://schemas.openxmlformats.org/officeDocument/2006/relationships/slideLayout" Target="../slideLayouts/slideLayout143.xml"/><Relationship Id="rId19" Type="http://schemas.openxmlformats.org/officeDocument/2006/relationships/vmlDrawing" Target="../drawings/vmlDrawing23.vml"/><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slideLayout" Target="../slideLayouts/slideLayout147.xml"/><Relationship Id="rId22" Type="http://schemas.openxmlformats.org/officeDocument/2006/relationships/image" Target="../media/image10.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2"/>
            <a:ext cx="12188825" cy="646042"/>
          </a:xfrm>
          <a:prstGeom prst="rect">
            <a:avLst/>
          </a:prstGeom>
        </p:spPr>
        <p:txBody>
          <a:bodyPr vert="horz" lIns="320040" tIns="152357" rIns="53325" bIns="53325" rtlCol="0" anchor="ctr">
            <a:normAutofit/>
          </a:bodyPr>
          <a:lstStyle/>
          <a:p>
            <a:endParaRPr lang="en-US"/>
          </a:p>
        </p:txBody>
      </p:sp>
      <p:sp>
        <p:nvSpPr>
          <p:cNvPr id="15" name="Text Placeholder 14"/>
          <p:cNvSpPr>
            <a:spLocks noGrp="1"/>
          </p:cNvSpPr>
          <p:nvPr>
            <p:ph type="body" idx="1"/>
          </p:nvPr>
        </p:nvSpPr>
        <p:spPr>
          <a:xfrm>
            <a:off x="150813" y="1600200"/>
            <a:ext cx="11887200"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4"/>
          </p:nvPr>
        </p:nvSpPr>
        <p:spPr>
          <a:xfrm>
            <a:off x="11215250"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fld id="{FAADACFB-7C71-4E89-89D2-7BBA40B7BFA9}" type="slidenum">
              <a:rPr lang="en-US" smtClean="0"/>
              <a:pPr/>
              <a:t>‹#›</a:t>
            </a:fld>
            <a:endParaRPr lang="en-US"/>
          </a:p>
        </p:txBody>
      </p:sp>
    </p:spTree>
    <p:extLst>
      <p:ext uri="{BB962C8B-B14F-4D97-AF65-F5344CB8AC3E}">
        <p14:creationId xmlns:p14="http://schemas.microsoft.com/office/powerpoint/2010/main" val="834087640"/>
      </p:ext>
    </p:extLst>
  </p:cSld>
  <p:clrMap bg1="lt1" tx1="dk1" bg2="lt2" tx2="dk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07" r:id="rId5"/>
    <p:sldLayoutId id="2147484008" r:id="rId6"/>
    <p:sldLayoutId id="2147484021" r:id="rId7"/>
    <p:sldLayoutId id="2147484009" r:id="rId8"/>
    <p:sldLayoutId id="2147484010" r:id="rId9"/>
    <p:sldLayoutId id="2147484011" r:id="rId10"/>
    <p:sldLayoutId id="2147484012" r:id="rId11"/>
    <p:sldLayoutId id="2147484013" r:id="rId12"/>
    <p:sldLayoutId id="2147484014" r:id="rId13"/>
    <p:sldLayoutId id="2147484015" r:id="rId14"/>
    <p:sldLayoutId id="2147484016" r:id="rId15"/>
    <p:sldLayoutId id="2147484017" r:id="rId16"/>
    <p:sldLayoutId id="2147484018" r:id="rId17"/>
    <p:sldLayoutId id="2147484019" r:id="rId18"/>
    <p:sldLayoutId id="2147484020" r:id="rId19"/>
  </p:sldLayoutIdLst>
  <p:transition>
    <p:fade/>
  </p:transition>
  <p:hf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0" orient="horz" pos="1008"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9"/>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4580" name="think-cell Slide" r:id="rId20" imgW="377" imgH="377" progId="TCLayout.ActiveDocument.1">
                  <p:embed/>
                </p:oleObj>
              </mc:Choice>
              <mc:Fallback>
                <p:oleObj name="think-cell Slide" r:id="rId20" imgW="377" imgH="377" progId="TCLayout.ActiveDocument.1">
                  <p:embed/>
                  <p:pic>
                    <p:nvPicPr>
                      <p:cNvPr id="3" name="Object 2" hidden="1"/>
                      <p:cNvPicPr/>
                      <p:nvPr/>
                    </p:nvPicPr>
                    <p:blipFill>
                      <a:blip r:embed="rId21"/>
                      <a:stretch>
                        <a:fillRect/>
                      </a:stretch>
                    </p:blipFill>
                    <p:spPr>
                      <a:xfrm>
                        <a:off x="1589" y="1590"/>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88825" cy="646042"/>
          </a:xfrm>
          <a:prstGeom prst="rect">
            <a:avLst/>
          </a:prstGeom>
        </p:spPr>
        <p:txBody>
          <a:bodyPr vert="horz" lIns="320040" tIns="152357" rIns="53325" bIns="53325" rtlCol="0" anchor="t">
            <a:normAutofit/>
          </a:bodyPr>
          <a:lstStyle/>
          <a:p>
            <a:endParaRPr lang="en-US"/>
          </a:p>
        </p:txBody>
      </p:sp>
      <p:sp>
        <p:nvSpPr>
          <p:cNvPr id="7" name="Footer Placeholder 6"/>
          <p:cNvSpPr>
            <a:spLocks noGrp="1"/>
          </p:cNvSpPr>
          <p:nvPr>
            <p:ph type="ftr" sz="quarter" idx="3"/>
          </p:nvPr>
        </p:nvSpPr>
        <p:spPr>
          <a:xfrm>
            <a:off x="3047206" y="6477875"/>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endParaRPr lang="en-US">
              <a:solidFill>
                <a:srgbClr val="505050"/>
              </a:solidFill>
            </a:endParaRPr>
          </a:p>
        </p:txBody>
      </p:sp>
      <p:sp>
        <p:nvSpPr>
          <p:cNvPr id="15" name="Text Placeholder 14"/>
          <p:cNvSpPr>
            <a:spLocks noGrp="1"/>
          </p:cNvSpPr>
          <p:nvPr>
            <p:ph type="body" idx="1"/>
          </p:nvPr>
        </p:nvSpPr>
        <p:spPr>
          <a:xfrm>
            <a:off x="150813" y="1600202"/>
            <a:ext cx="11887200"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588328845"/>
      </p:ext>
    </p:extLst>
  </p:cSld>
  <p:clrMap bg1="lt1" tx1="dk1" bg2="lt2" tx2="dk2" accent1="accent1" accent2="accent2" accent3="accent3" accent4="accent4" accent5="accent5" accent6="accent6" hlink="hlink" folHlink="folHlink"/>
  <p:sldLayoutIdLst>
    <p:sldLayoutId id="2147484254" r:id="rId1"/>
    <p:sldLayoutId id="2147484255" r:id="rId2"/>
    <p:sldLayoutId id="2147484256" r:id="rId3"/>
    <p:sldLayoutId id="2147484257" r:id="rId4"/>
    <p:sldLayoutId id="2147484258" r:id="rId5"/>
    <p:sldLayoutId id="2147484259" r:id="rId6"/>
    <p:sldLayoutId id="2147484260" r:id="rId7"/>
    <p:sldLayoutId id="2147484261" r:id="rId8"/>
    <p:sldLayoutId id="2147484262" r:id="rId9"/>
    <p:sldLayoutId id="2147484263" r:id="rId10"/>
    <p:sldLayoutId id="2147484264" r:id="rId11"/>
    <p:sldLayoutId id="2147484265" r:id="rId12"/>
    <p:sldLayoutId id="2147484266" r:id="rId13"/>
    <p:sldLayoutId id="2147484267" r:id="rId14"/>
    <p:sldLayoutId id="2147484268" r:id="rId15"/>
    <p:sldLayoutId id="2147484269" r:id="rId16"/>
  </p:sldLayoutIdLst>
  <p:transition>
    <p:fade/>
  </p:transition>
  <p:hf sldNum="0" hdr="0" ftr="0" dt="0"/>
  <p:txStyles>
    <p:titleStyle>
      <a:lvl1pPr marL="0" algn="l" defTabSz="1087779" rtl="0" eaLnBrk="1" latinLnBrk="0" hangingPunct="1">
        <a:lnSpc>
          <a:spcPct val="90000"/>
        </a:lnSpc>
        <a:spcBef>
          <a:spcPct val="0"/>
        </a:spcBef>
        <a:buNone/>
        <a:defRPr lang="en-US" sz="3999"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7779" rtl="0" eaLnBrk="1" latinLnBrk="0" hangingPunct="1">
        <a:spcBef>
          <a:spcPts val="1799"/>
        </a:spcBef>
        <a:buClr>
          <a:srgbClr val="0072C6"/>
        </a:buClr>
        <a:buSzPct val="100000"/>
        <a:buFont typeface="Wingdings" pitchFamily="2" charset="2"/>
        <a:buNone/>
        <a:defRPr sz="2399" kern="1200">
          <a:solidFill>
            <a:schemeClr val="tx2"/>
          </a:solidFill>
          <a:latin typeface="Segoe UI" pitchFamily="34" charset="0"/>
          <a:ea typeface="Segoe UI" pitchFamily="34" charset="0"/>
          <a:cs typeface="Segoe UI" pitchFamily="34" charset="0"/>
        </a:defRPr>
      </a:lvl1pPr>
      <a:lvl2pPr marL="475927" indent="-194338" algn="l" defTabSz="1087779" rtl="0" eaLnBrk="1" latinLnBrk="0" hangingPunct="1">
        <a:spcBef>
          <a:spcPct val="20000"/>
        </a:spcBef>
        <a:buFont typeface="Arial" pitchFamily="34" charset="0"/>
        <a:buChar char="•"/>
        <a:defRPr sz="1799" kern="1200">
          <a:solidFill>
            <a:schemeClr val="tx1"/>
          </a:solidFill>
          <a:latin typeface="Segoe UI" pitchFamily="34" charset="0"/>
          <a:ea typeface="Segoe UI" pitchFamily="34" charset="0"/>
          <a:cs typeface="Segoe UI" pitchFamily="34" charset="0"/>
        </a:defRPr>
      </a:lvl2pPr>
      <a:lvl3pPr marL="761483" indent="-173184" algn="l" defTabSz="1087779"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040" indent="-177151" algn="l" defTabSz="108777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003" indent="-179795" algn="l" defTabSz="108777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392"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6pPr>
      <a:lvl7pPr marL="3535281"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7pPr>
      <a:lvl8pPr marL="4079172"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8pPr>
      <a:lvl9pPr marL="4623061"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9pPr>
    </p:bodyStyle>
    <p:otherStyle>
      <a:defPPr>
        <a:defRPr lang="en-US"/>
      </a:defPPr>
      <a:lvl1pPr marL="0" algn="l" defTabSz="1087779" rtl="0" eaLnBrk="1" latinLnBrk="0" hangingPunct="1">
        <a:defRPr sz="2199" kern="1200">
          <a:solidFill>
            <a:schemeClr val="tx1"/>
          </a:solidFill>
          <a:latin typeface="+mn-lt"/>
          <a:ea typeface="+mn-ea"/>
          <a:cs typeface="+mn-cs"/>
        </a:defRPr>
      </a:lvl1pPr>
      <a:lvl2pPr marL="543890" algn="l" defTabSz="1087779" rtl="0" eaLnBrk="1" latinLnBrk="0" hangingPunct="1">
        <a:defRPr sz="2199" kern="1200">
          <a:solidFill>
            <a:schemeClr val="tx1"/>
          </a:solidFill>
          <a:latin typeface="+mn-lt"/>
          <a:ea typeface="+mn-ea"/>
          <a:cs typeface="+mn-cs"/>
        </a:defRPr>
      </a:lvl2pPr>
      <a:lvl3pPr marL="1087779" algn="l" defTabSz="1087779" rtl="0" eaLnBrk="1" latinLnBrk="0" hangingPunct="1">
        <a:defRPr sz="2199" kern="1200">
          <a:solidFill>
            <a:schemeClr val="tx1"/>
          </a:solidFill>
          <a:latin typeface="+mn-lt"/>
          <a:ea typeface="+mn-ea"/>
          <a:cs typeface="+mn-cs"/>
        </a:defRPr>
      </a:lvl3pPr>
      <a:lvl4pPr marL="1631669" algn="l" defTabSz="1087779" rtl="0" eaLnBrk="1" latinLnBrk="0" hangingPunct="1">
        <a:defRPr sz="2199" kern="1200">
          <a:solidFill>
            <a:schemeClr val="tx1"/>
          </a:solidFill>
          <a:latin typeface="+mn-lt"/>
          <a:ea typeface="+mn-ea"/>
          <a:cs typeface="+mn-cs"/>
        </a:defRPr>
      </a:lvl4pPr>
      <a:lvl5pPr marL="2175558" algn="l" defTabSz="1087779" rtl="0" eaLnBrk="1" latinLnBrk="0" hangingPunct="1">
        <a:defRPr sz="2199" kern="1200">
          <a:solidFill>
            <a:schemeClr val="tx1"/>
          </a:solidFill>
          <a:latin typeface="+mn-lt"/>
          <a:ea typeface="+mn-ea"/>
          <a:cs typeface="+mn-cs"/>
        </a:defRPr>
      </a:lvl5pPr>
      <a:lvl6pPr marL="2719448" algn="l" defTabSz="1087779" rtl="0" eaLnBrk="1" latinLnBrk="0" hangingPunct="1">
        <a:defRPr sz="2199" kern="1200">
          <a:solidFill>
            <a:schemeClr val="tx1"/>
          </a:solidFill>
          <a:latin typeface="+mn-lt"/>
          <a:ea typeface="+mn-ea"/>
          <a:cs typeface="+mn-cs"/>
        </a:defRPr>
      </a:lvl6pPr>
      <a:lvl7pPr marL="3263337" algn="l" defTabSz="1087779" rtl="0" eaLnBrk="1" latinLnBrk="0" hangingPunct="1">
        <a:defRPr sz="2199" kern="1200">
          <a:solidFill>
            <a:schemeClr val="tx1"/>
          </a:solidFill>
          <a:latin typeface="+mn-lt"/>
          <a:ea typeface="+mn-ea"/>
          <a:cs typeface="+mn-cs"/>
        </a:defRPr>
      </a:lvl7pPr>
      <a:lvl8pPr marL="3807226" algn="l" defTabSz="1087779" rtl="0" eaLnBrk="1" latinLnBrk="0" hangingPunct="1">
        <a:defRPr sz="2199" kern="1200">
          <a:solidFill>
            <a:schemeClr val="tx1"/>
          </a:solidFill>
          <a:latin typeface="+mn-lt"/>
          <a:ea typeface="+mn-ea"/>
          <a:cs typeface="+mn-cs"/>
        </a:defRPr>
      </a:lvl8pPr>
      <a:lvl9pPr marL="4351116" algn="l" defTabSz="1087779" rtl="0" eaLnBrk="1" latinLnBrk="0" hangingPunct="1">
        <a:defRPr sz="21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 y="2"/>
            <a:ext cx="12188825" cy="646042"/>
          </a:xfrm>
          <a:prstGeom prst="rect">
            <a:avLst/>
          </a:prstGeom>
        </p:spPr>
        <p:txBody>
          <a:bodyPr vert="horz" lIns="320040" tIns="152357" rIns="53325" bIns="53325" rtlCol="0" anchor="ctr">
            <a:normAutofit/>
          </a:bodyPr>
          <a:lstStyle/>
          <a:p>
            <a:endParaRPr lang="en-US"/>
          </a:p>
        </p:txBody>
      </p:sp>
      <p:sp>
        <p:nvSpPr>
          <p:cNvPr id="7" name="Footer Placeholder 6"/>
          <p:cNvSpPr>
            <a:spLocks noGrp="1"/>
          </p:cNvSpPr>
          <p:nvPr>
            <p:ph type="ftr" sz="quarter" idx="3"/>
          </p:nvPr>
        </p:nvSpPr>
        <p:spPr>
          <a:xfrm>
            <a:off x="3047206" y="6477875"/>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endParaRPr lang="en-US"/>
          </a:p>
        </p:txBody>
      </p:sp>
      <p:sp>
        <p:nvSpPr>
          <p:cNvPr id="15" name="Text Placeholder 14"/>
          <p:cNvSpPr>
            <a:spLocks noGrp="1"/>
          </p:cNvSpPr>
          <p:nvPr>
            <p:ph type="body" idx="1"/>
          </p:nvPr>
        </p:nvSpPr>
        <p:spPr>
          <a:xfrm>
            <a:off x="150813" y="1600202"/>
            <a:ext cx="11887200"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fld id="{FAADACFB-7C71-4E89-89D2-7BBA40B7BFA9}" type="slidenum">
              <a:rPr lang="en-US" smtClean="0"/>
              <a:pPr/>
              <a:t>‹#›</a:t>
            </a:fld>
            <a:endParaRPr lang="en-US"/>
          </a:p>
        </p:txBody>
      </p:sp>
    </p:spTree>
    <p:extLst>
      <p:ext uri="{BB962C8B-B14F-4D97-AF65-F5344CB8AC3E}">
        <p14:creationId xmlns:p14="http://schemas.microsoft.com/office/powerpoint/2010/main" val="1552764242"/>
      </p:ext>
    </p:extLst>
  </p:cSld>
  <p:clrMap bg1="lt1" tx1="dk1" bg2="lt2" tx2="dk2" accent1="accent1" accent2="accent2" accent3="accent3" accent4="accent4" accent5="accent5" accent6="accent6" hlink="hlink" folHlink="folHlink"/>
  <p:sldLayoutIdLst>
    <p:sldLayoutId id="2147484275" r:id="rId1"/>
    <p:sldLayoutId id="2147484276" r:id="rId2"/>
    <p:sldLayoutId id="2147484277" r:id="rId3"/>
    <p:sldLayoutId id="2147484278" r:id="rId4"/>
    <p:sldLayoutId id="2147484279" r:id="rId5"/>
    <p:sldLayoutId id="2147484280" r:id="rId6"/>
    <p:sldLayoutId id="2147484281" r:id="rId7"/>
    <p:sldLayoutId id="2147484282" r:id="rId8"/>
    <p:sldLayoutId id="2147484283" r:id="rId9"/>
    <p:sldLayoutId id="2147484284" r:id="rId10"/>
    <p:sldLayoutId id="2147484285" r:id="rId11"/>
    <p:sldLayoutId id="2147484286" r:id="rId12"/>
    <p:sldLayoutId id="2147484287" r:id="rId13"/>
    <p:sldLayoutId id="2147484288" r:id="rId14"/>
    <p:sldLayoutId id="2147484289" r:id="rId15"/>
    <p:sldLayoutId id="2147484290" r:id="rId16"/>
    <p:sldLayoutId id="2147484291" r:id="rId17"/>
    <p:sldLayoutId id="2147484292" r:id="rId18"/>
    <p:sldLayoutId id="2147484293" r:id="rId19"/>
    <p:sldLayoutId id="2147484294" r:id="rId20"/>
  </p:sldLayoutIdLst>
  <p:transition>
    <p:fade/>
  </p:transition>
  <p:hf hdr="0" ftr="0" dt="0"/>
  <p:txStyles>
    <p:titleStyle>
      <a:lvl1pPr marL="0" algn="l" defTabSz="1087779" rtl="0" eaLnBrk="1" latinLnBrk="0" hangingPunct="1">
        <a:lnSpc>
          <a:spcPct val="90000"/>
        </a:lnSpc>
        <a:spcBef>
          <a:spcPct val="0"/>
        </a:spcBef>
        <a:buNone/>
        <a:defRPr lang="en-US" sz="3999"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7779" rtl="0" eaLnBrk="1" latinLnBrk="0" hangingPunct="1">
        <a:spcBef>
          <a:spcPts val="1799"/>
        </a:spcBef>
        <a:buClr>
          <a:srgbClr val="0072C6"/>
        </a:buClr>
        <a:buSzPct val="100000"/>
        <a:buFont typeface="Wingdings" pitchFamily="2" charset="2"/>
        <a:buNone/>
        <a:defRPr sz="2399" kern="1200">
          <a:solidFill>
            <a:schemeClr val="tx2"/>
          </a:solidFill>
          <a:latin typeface="Segoe UI" pitchFamily="34" charset="0"/>
          <a:ea typeface="Segoe UI" pitchFamily="34" charset="0"/>
          <a:cs typeface="Segoe UI" pitchFamily="34" charset="0"/>
        </a:defRPr>
      </a:lvl1pPr>
      <a:lvl2pPr marL="475927" indent="-194338" algn="l" defTabSz="1087779" rtl="0" eaLnBrk="1" latinLnBrk="0" hangingPunct="1">
        <a:spcBef>
          <a:spcPct val="20000"/>
        </a:spcBef>
        <a:buFont typeface="Arial" pitchFamily="34" charset="0"/>
        <a:buChar char="•"/>
        <a:defRPr sz="1799" kern="1200">
          <a:solidFill>
            <a:schemeClr val="tx1"/>
          </a:solidFill>
          <a:latin typeface="Segoe UI" pitchFamily="34" charset="0"/>
          <a:ea typeface="Segoe UI" pitchFamily="34" charset="0"/>
          <a:cs typeface="Segoe UI" pitchFamily="34" charset="0"/>
        </a:defRPr>
      </a:lvl2pPr>
      <a:lvl3pPr marL="761483" indent="-173184" algn="l" defTabSz="1087779"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040" indent="-177151" algn="l" defTabSz="108777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003" indent="-179795" algn="l" defTabSz="108777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392"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6pPr>
      <a:lvl7pPr marL="3535281"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7pPr>
      <a:lvl8pPr marL="4079172"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8pPr>
      <a:lvl9pPr marL="4623061"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9pPr>
    </p:bodyStyle>
    <p:otherStyle>
      <a:defPPr>
        <a:defRPr lang="en-US"/>
      </a:defPPr>
      <a:lvl1pPr marL="0" algn="l" defTabSz="1087779" rtl="0" eaLnBrk="1" latinLnBrk="0" hangingPunct="1">
        <a:defRPr sz="2199" kern="1200">
          <a:solidFill>
            <a:schemeClr val="tx1"/>
          </a:solidFill>
          <a:latin typeface="+mn-lt"/>
          <a:ea typeface="+mn-ea"/>
          <a:cs typeface="+mn-cs"/>
        </a:defRPr>
      </a:lvl1pPr>
      <a:lvl2pPr marL="543890" algn="l" defTabSz="1087779" rtl="0" eaLnBrk="1" latinLnBrk="0" hangingPunct="1">
        <a:defRPr sz="2199" kern="1200">
          <a:solidFill>
            <a:schemeClr val="tx1"/>
          </a:solidFill>
          <a:latin typeface="+mn-lt"/>
          <a:ea typeface="+mn-ea"/>
          <a:cs typeface="+mn-cs"/>
        </a:defRPr>
      </a:lvl2pPr>
      <a:lvl3pPr marL="1087779" algn="l" defTabSz="1087779" rtl="0" eaLnBrk="1" latinLnBrk="0" hangingPunct="1">
        <a:defRPr sz="2199" kern="1200">
          <a:solidFill>
            <a:schemeClr val="tx1"/>
          </a:solidFill>
          <a:latin typeface="+mn-lt"/>
          <a:ea typeface="+mn-ea"/>
          <a:cs typeface="+mn-cs"/>
        </a:defRPr>
      </a:lvl3pPr>
      <a:lvl4pPr marL="1631669" algn="l" defTabSz="1087779" rtl="0" eaLnBrk="1" latinLnBrk="0" hangingPunct="1">
        <a:defRPr sz="2199" kern="1200">
          <a:solidFill>
            <a:schemeClr val="tx1"/>
          </a:solidFill>
          <a:latin typeface="+mn-lt"/>
          <a:ea typeface="+mn-ea"/>
          <a:cs typeface="+mn-cs"/>
        </a:defRPr>
      </a:lvl4pPr>
      <a:lvl5pPr marL="2175558" algn="l" defTabSz="1087779" rtl="0" eaLnBrk="1" latinLnBrk="0" hangingPunct="1">
        <a:defRPr sz="2199" kern="1200">
          <a:solidFill>
            <a:schemeClr val="tx1"/>
          </a:solidFill>
          <a:latin typeface="+mn-lt"/>
          <a:ea typeface="+mn-ea"/>
          <a:cs typeface="+mn-cs"/>
        </a:defRPr>
      </a:lvl5pPr>
      <a:lvl6pPr marL="2719448" algn="l" defTabSz="1087779" rtl="0" eaLnBrk="1" latinLnBrk="0" hangingPunct="1">
        <a:defRPr sz="2199" kern="1200">
          <a:solidFill>
            <a:schemeClr val="tx1"/>
          </a:solidFill>
          <a:latin typeface="+mn-lt"/>
          <a:ea typeface="+mn-ea"/>
          <a:cs typeface="+mn-cs"/>
        </a:defRPr>
      </a:lvl6pPr>
      <a:lvl7pPr marL="3263337" algn="l" defTabSz="1087779" rtl="0" eaLnBrk="1" latinLnBrk="0" hangingPunct="1">
        <a:defRPr sz="2199" kern="1200">
          <a:solidFill>
            <a:schemeClr val="tx1"/>
          </a:solidFill>
          <a:latin typeface="+mn-lt"/>
          <a:ea typeface="+mn-ea"/>
          <a:cs typeface="+mn-cs"/>
        </a:defRPr>
      </a:lvl7pPr>
      <a:lvl8pPr marL="3807226" algn="l" defTabSz="1087779" rtl="0" eaLnBrk="1" latinLnBrk="0" hangingPunct="1">
        <a:defRPr sz="2199" kern="1200">
          <a:solidFill>
            <a:schemeClr val="tx1"/>
          </a:solidFill>
          <a:latin typeface="+mn-lt"/>
          <a:ea typeface="+mn-ea"/>
          <a:cs typeface="+mn-cs"/>
        </a:defRPr>
      </a:lvl8pPr>
      <a:lvl9pPr marL="4351116" algn="l" defTabSz="1087779" rtl="0" eaLnBrk="1" latinLnBrk="0" hangingPunct="1">
        <a:defRPr sz="21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0" orient="horz" pos="1008">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1"/>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1988" name="think-cell Slide" r:id="rId22" imgW="377" imgH="377" progId="TCLayout.ActiveDocument.1">
                  <p:embed/>
                </p:oleObj>
              </mc:Choice>
              <mc:Fallback>
                <p:oleObj name="think-cell Slide" r:id="rId22" imgW="377" imgH="377" progId="TCLayout.ActiveDocument.1">
                  <p:embed/>
                  <p:pic>
                    <p:nvPicPr>
                      <p:cNvPr id="3" name="Object 2" hidden="1"/>
                      <p:cNvPicPr/>
                      <p:nvPr/>
                    </p:nvPicPr>
                    <p:blipFill>
                      <a:blip r:embed="rId23"/>
                      <a:stretch>
                        <a:fillRect/>
                      </a:stretch>
                    </p:blipFill>
                    <p:spPr>
                      <a:xfrm>
                        <a:off x="1589" y="1590"/>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88825" cy="646042"/>
          </a:xfrm>
          <a:prstGeom prst="rect">
            <a:avLst/>
          </a:prstGeom>
        </p:spPr>
        <p:txBody>
          <a:bodyPr vert="horz" lIns="320040" tIns="152357" rIns="53325" bIns="53325" rtlCol="0" anchor="t">
            <a:normAutofit/>
          </a:bodyPr>
          <a:lstStyle/>
          <a:p>
            <a:endParaRPr lang="en-US"/>
          </a:p>
        </p:txBody>
      </p:sp>
      <p:sp>
        <p:nvSpPr>
          <p:cNvPr id="7" name="Footer Placeholder 6"/>
          <p:cNvSpPr>
            <a:spLocks noGrp="1"/>
          </p:cNvSpPr>
          <p:nvPr>
            <p:ph type="ftr" sz="quarter" idx="3"/>
          </p:nvPr>
        </p:nvSpPr>
        <p:spPr>
          <a:xfrm>
            <a:off x="3047206" y="6477875"/>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7779"/>
            <a:endParaRPr lang="en-US">
              <a:solidFill>
                <a:srgbClr val="505050"/>
              </a:solidFill>
            </a:endParaRPr>
          </a:p>
        </p:txBody>
      </p:sp>
      <p:sp>
        <p:nvSpPr>
          <p:cNvPr id="15" name="Text Placeholder 14"/>
          <p:cNvSpPr>
            <a:spLocks noGrp="1"/>
          </p:cNvSpPr>
          <p:nvPr>
            <p:ph type="body" idx="1"/>
          </p:nvPr>
        </p:nvSpPr>
        <p:spPr>
          <a:xfrm>
            <a:off x="150813" y="1600202"/>
            <a:ext cx="11887200"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779"/>
            <a:fld id="{FAADACFB-7C71-4E89-89D2-7BBA40B7BFA9}" type="slidenum">
              <a:rPr lang="en-US" smtClean="0">
                <a:solidFill>
                  <a:srgbClr val="505050"/>
                </a:solidFill>
              </a:rPr>
              <a:pPr defTabSz="1087779"/>
              <a:t>‹#›</a:t>
            </a:fld>
            <a:endParaRPr lang="en-US">
              <a:solidFill>
                <a:srgbClr val="505050"/>
              </a:solidFill>
            </a:endParaRPr>
          </a:p>
        </p:txBody>
      </p:sp>
    </p:spTree>
    <p:extLst>
      <p:ext uri="{BB962C8B-B14F-4D97-AF65-F5344CB8AC3E}">
        <p14:creationId xmlns:p14="http://schemas.microsoft.com/office/powerpoint/2010/main" val="346712945"/>
      </p:ext>
    </p:extLst>
  </p:cSld>
  <p:clrMap bg1="lt1" tx1="dk1" bg2="lt2" tx2="dk2" accent1="accent1" accent2="accent2" accent3="accent3" accent4="accent4" accent5="accent5" accent6="accent6" hlink="hlink" folHlink="folHlink"/>
  <p:sldLayoutIdLst>
    <p:sldLayoutId id="2147484296" r:id="rId1"/>
    <p:sldLayoutId id="2147484297" r:id="rId2"/>
    <p:sldLayoutId id="2147484298" r:id="rId3"/>
    <p:sldLayoutId id="2147484299" r:id="rId4"/>
    <p:sldLayoutId id="2147484300" r:id="rId5"/>
    <p:sldLayoutId id="2147484301" r:id="rId6"/>
    <p:sldLayoutId id="2147484302" r:id="rId7"/>
    <p:sldLayoutId id="2147484303" r:id="rId8"/>
    <p:sldLayoutId id="2147484304" r:id="rId9"/>
    <p:sldLayoutId id="2147484305" r:id="rId10"/>
    <p:sldLayoutId id="2147484306" r:id="rId11"/>
    <p:sldLayoutId id="2147484307" r:id="rId12"/>
    <p:sldLayoutId id="2147484308" r:id="rId13"/>
    <p:sldLayoutId id="2147484309" r:id="rId14"/>
    <p:sldLayoutId id="2147484310" r:id="rId15"/>
    <p:sldLayoutId id="2147484311" r:id="rId16"/>
    <p:sldLayoutId id="2147484312" r:id="rId17"/>
    <p:sldLayoutId id="2147484313" r:id="rId18"/>
  </p:sldLayoutIdLst>
  <p:transition>
    <p:fade/>
  </p:transition>
  <p:hf sldNum="0" hdr="0" ftr="0" dt="0"/>
  <p:txStyles>
    <p:titleStyle>
      <a:lvl1pPr marL="0" algn="l" defTabSz="1087779" rtl="0" eaLnBrk="1" latinLnBrk="0" hangingPunct="1">
        <a:lnSpc>
          <a:spcPct val="90000"/>
        </a:lnSpc>
        <a:spcBef>
          <a:spcPct val="0"/>
        </a:spcBef>
        <a:buNone/>
        <a:defRPr lang="en-US" sz="3999"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7779" rtl="0" eaLnBrk="1" latinLnBrk="0" hangingPunct="1">
        <a:spcBef>
          <a:spcPts val="1799"/>
        </a:spcBef>
        <a:buClr>
          <a:srgbClr val="0072C6"/>
        </a:buClr>
        <a:buSzPct val="100000"/>
        <a:buFont typeface="Wingdings" pitchFamily="2" charset="2"/>
        <a:buNone/>
        <a:defRPr sz="2399" kern="1200">
          <a:solidFill>
            <a:schemeClr val="tx2"/>
          </a:solidFill>
          <a:latin typeface="Segoe UI" pitchFamily="34" charset="0"/>
          <a:ea typeface="Segoe UI" pitchFamily="34" charset="0"/>
          <a:cs typeface="Segoe UI" pitchFamily="34" charset="0"/>
        </a:defRPr>
      </a:lvl1pPr>
      <a:lvl2pPr marL="475927" indent="-194338" algn="l" defTabSz="1087779" rtl="0" eaLnBrk="1" latinLnBrk="0" hangingPunct="1">
        <a:spcBef>
          <a:spcPct val="20000"/>
        </a:spcBef>
        <a:buFont typeface="Arial" pitchFamily="34" charset="0"/>
        <a:buChar char="•"/>
        <a:defRPr sz="1799" kern="1200">
          <a:solidFill>
            <a:schemeClr val="tx1"/>
          </a:solidFill>
          <a:latin typeface="Segoe UI" pitchFamily="34" charset="0"/>
          <a:ea typeface="Segoe UI" pitchFamily="34" charset="0"/>
          <a:cs typeface="Segoe UI" pitchFamily="34" charset="0"/>
        </a:defRPr>
      </a:lvl2pPr>
      <a:lvl3pPr marL="761483" indent="-173184" algn="l" defTabSz="1087779"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040" indent="-177151" algn="l" defTabSz="108777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003" indent="-179795" algn="l" defTabSz="108777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392"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6pPr>
      <a:lvl7pPr marL="3535281"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7pPr>
      <a:lvl8pPr marL="4079172"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8pPr>
      <a:lvl9pPr marL="4623061"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9pPr>
    </p:bodyStyle>
    <p:otherStyle>
      <a:defPPr>
        <a:defRPr lang="en-US"/>
      </a:defPPr>
      <a:lvl1pPr marL="0" algn="l" defTabSz="1087779" rtl="0" eaLnBrk="1" latinLnBrk="0" hangingPunct="1">
        <a:defRPr sz="2199" kern="1200">
          <a:solidFill>
            <a:schemeClr val="tx1"/>
          </a:solidFill>
          <a:latin typeface="+mn-lt"/>
          <a:ea typeface="+mn-ea"/>
          <a:cs typeface="+mn-cs"/>
        </a:defRPr>
      </a:lvl1pPr>
      <a:lvl2pPr marL="543890" algn="l" defTabSz="1087779" rtl="0" eaLnBrk="1" latinLnBrk="0" hangingPunct="1">
        <a:defRPr sz="2199" kern="1200">
          <a:solidFill>
            <a:schemeClr val="tx1"/>
          </a:solidFill>
          <a:latin typeface="+mn-lt"/>
          <a:ea typeface="+mn-ea"/>
          <a:cs typeface="+mn-cs"/>
        </a:defRPr>
      </a:lvl2pPr>
      <a:lvl3pPr marL="1087779" algn="l" defTabSz="1087779" rtl="0" eaLnBrk="1" latinLnBrk="0" hangingPunct="1">
        <a:defRPr sz="2199" kern="1200">
          <a:solidFill>
            <a:schemeClr val="tx1"/>
          </a:solidFill>
          <a:latin typeface="+mn-lt"/>
          <a:ea typeface="+mn-ea"/>
          <a:cs typeface="+mn-cs"/>
        </a:defRPr>
      </a:lvl3pPr>
      <a:lvl4pPr marL="1631669" algn="l" defTabSz="1087779" rtl="0" eaLnBrk="1" latinLnBrk="0" hangingPunct="1">
        <a:defRPr sz="2199" kern="1200">
          <a:solidFill>
            <a:schemeClr val="tx1"/>
          </a:solidFill>
          <a:latin typeface="+mn-lt"/>
          <a:ea typeface="+mn-ea"/>
          <a:cs typeface="+mn-cs"/>
        </a:defRPr>
      </a:lvl4pPr>
      <a:lvl5pPr marL="2175558" algn="l" defTabSz="1087779" rtl="0" eaLnBrk="1" latinLnBrk="0" hangingPunct="1">
        <a:defRPr sz="2199" kern="1200">
          <a:solidFill>
            <a:schemeClr val="tx1"/>
          </a:solidFill>
          <a:latin typeface="+mn-lt"/>
          <a:ea typeface="+mn-ea"/>
          <a:cs typeface="+mn-cs"/>
        </a:defRPr>
      </a:lvl5pPr>
      <a:lvl6pPr marL="2719448" algn="l" defTabSz="1087779" rtl="0" eaLnBrk="1" latinLnBrk="0" hangingPunct="1">
        <a:defRPr sz="2199" kern="1200">
          <a:solidFill>
            <a:schemeClr val="tx1"/>
          </a:solidFill>
          <a:latin typeface="+mn-lt"/>
          <a:ea typeface="+mn-ea"/>
          <a:cs typeface="+mn-cs"/>
        </a:defRPr>
      </a:lvl6pPr>
      <a:lvl7pPr marL="3263337" algn="l" defTabSz="1087779" rtl="0" eaLnBrk="1" latinLnBrk="0" hangingPunct="1">
        <a:defRPr sz="2199" kern="1200">
          <a:solidFill>
            <a:schemeClr val="tx1"/>
          </a:solidFill>
          <a:latin typeface="+mn-lt"/>
          <a:ea typeface="+mn-ea"/>
          <a:cs typeface="+mn-cs"/>
        </a:defRPr>
      </a:lvl7pPr>
      <a:lvl8pPr marL="3807226" algn="l" defTabSz="1087779" rtl="0" eaLnBrk="1" latinLnBrk="0" hangingPunct="1">
        <a:defRPr sz="2199" kern="1200">
          <a:solidFill>
            <a:schemeClr val="tx1"/>
          </a:solidFill>
          <a:latin typeface="+mn-lt"/>
          <a:ea typeface="+mn-ea"/>
          <a:cs typeface="+mn-cs"/>
        </a:defRPr>
      </a:lvl8pPr>
      <a:lvl9pPr marL="4351116" algn="l" defTabSz="1087779" rtl="0" eaLnBrk="1" latinLnBrk="0" hangingPunct="1">
        <a:defRPr sz="21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0"/>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1444" name="think-cell Slide" r:id="rId21" imgW="383" imgH="384" progId="TCLayout.ActiveDocument.1">
                  <p:embed/>
                </p:oleObj>
              </mc:Choice>
              <mc:Fallback>
                <p:oleObj name="think-cell Slide" r:id="rId21" imgW="383" imgH="384" progId="TCLayout.ActiveDocument.1">
                  <p:embed/>
                  <p:pic>
                    <p:nvPicPr>
                      <p:cNvPr id="3" name="Object 2" hidden="1"/>
                      <p:cNvPicPr/>
                      <p:nvPr/>
                    </p:nvPicPr>
                    <p:blipFill>
                      <a:blip r:embed="rId22"/>
                      <a:stretch>
                        <a:fillRect/>
                      </a:stretch>
                    </p:blipFill>
                    <p:spPr>
                      <a:xfrm>
                        <a:off x="1589" y="1590"/>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88825" cy="646042"/>
          </a:xfrm>
          <a:prstGeom prst="rect">
            <a:avLst/>
          </a:prstGeom>
        </p:spPr>
        <p:txBody>
          <a:bodyPr vert="horz" lIns="320040" tIns="152357" rIns="53325" bIns="53325" rtlCol="0" anchor="ctr">
            <a:normAutofit/>
          </a:bodyPr>
          <a:lstStyle/>
          <a:p>
            <a:endParaRPr lang="en-US"/>
          </a:p>
        </p:txBody>
      </p:sp>
      <p:sp>
        <p:nvSpPr>
          <p:cNvPr id="7" name="Footer Placeholder 6"/>
          <p:cNvSpPr>
            <a:spLocks noGrp="1"/>
          </p:cNvSpPr>
          <p:nvPr>
            <p:ph type="ftr" sz="quarter" idx="3"/>
          </p:nvPr>
        </p:nvSpPr>
        <p:spPr>
          <a:xfrm>
            <a:off x="3047206" y="6477875"/>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7779"/>
            <a:endParaRPr lang="en-US">
              <a:solidFill>
                <a:srgbClr val="505050"/>
              </a:solidFill>
            </a:endParaRPr>
          </a:p>
        </p:txBody>
      </p:sp>
      <p:sp>
        <p:nvSpPr>
          <p:cNvPr id="15" name="Text Placeholder 14"/>
          <p:cNvSpPr>
            <a:spLocks noGrp="1"/>
          </p:cNvSpPr>
          <p:nvPr>
            <p:ph type="body" idx="1"/>
          </p:nvPr>
        </p:nvSpPr>
        <p:spPr>
          <a:xfrm>
            <a:off x="150813" y="1600202"/>
            <a:ext cx="11887200"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779"/>
            <a:fld id="{FAADACFB-7C71-4E89-89D2-7BBA40B7BFA9}" type="slidenum">
              <a:rPr lang="en-US" smtClean="0">
                <a:solidFill>
                  <a:srgbClr val="505050"/>
                </a:solidFill>
              </a:rPr>
              <a:pPr defTabSz="1087779"/>
              <a:t>‹#›</a:t>
            </a:fld>
            <a:endParaRPr lang="en-US">
              <a:solidFill>
                <a:srgbClr val="505050"/>
              </a:solidFill>
            </a:endParaRPr>
          </a:p>
        </p:txBody>
      </p:sp>
    </p:spTree>
    <p:extLst>
      <p:ext uri="{BB962C8B-B14F-4D97-AF65-F5344CB8AC3E}">
        <p14:creationId xmlns:p14="http://schemas.microsoft.com/office/powerpoint/2010/main" val="1145422681"/>
      </p:ext>
    </p:extLst>
  </p:cSld>
  <p:clrMap bg1="lt1" tx1="dk1" bg2="lt2" tx2="dk2" accent1="accent1" accent2="accent2" accent3="accent3" accent4="accent4" accent5="accent5" accent6="accent6" hlink="hlink" folHlink="folHlink"/>
  <p:sldLayoutIdLst>
    <p:sldLayoutId id="2147484315" r:id="rId1"/>
    <p:sldLayoutId id="2147484316" r:id="rId2"/>
    <p:sldLayoutId id="2147484317" r:id="rId3"/>
    <p:sldLayoutId id="2147484318" r:id="rId4"/>
    <p:sldLayoutId id="2147484319" r:id="rId5"/>
    <p:sldLayoutId id="2147484320" r:id="rId6"/>
    <p:sldLayoutId id="2147484321" r:id="rId7"/>
    <p:sldLayoutId id="2147484322" r:id="rId8"/>
    <p:sldLayoutId id="2147484323" r:id="rId9"/>
    <p:sldLayoutId id="2147484324" r:id="rId10"/>
    <p:sldLayoutId id="2147484325" r:id="rId11"/>
    <p:sldLayoutId id="2147484326" r:id="rId12"/>
    <p:sldLayoutId id="2147484327" r:id="rId13"/>
    <p:sldLayoutId id="2147484328" r:id="rId14"/>
    <p:sldLayoutId id="2147484329" r:id="rId15"/>
    <p:sldLayoutId id="2147484330" r:id="rId16"/>
    <p:sldLayoutId id="2147484331" r:id="rId17"/>
  </p:sldLayoutIdLst>
  <p:transition>
    <p:fade/>
  </p:transition>
  <p:hf hdr="0" ftr="0" dt="0"/>
  <p:txStyles>
    <p:titleStyle>
      <a:lvl1pPr marL="0" algn="l" defTabSz="1087779" rtl="0" eaLnBrk="1" latinLnBrk="0" hangingPunct="1">
        <a:lnSpc>
          <a:spcPct val="90000"/>
        </a:lnSpc>
        <a:spcBef>
          <a:spcPct val="0"/>
        </a:spcBef>
        <a:buNone/>
        <a:defRPr lang="en-US" sz="3999"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7779" rtl="0" eaLnBrk="1" latinLnBrk="0" hangingPunct="1">
        <a:spcBef>
          <a:spcPts val="1799"/>
        </a:spcBef>
        <a:buClr>
          <a:srgbClr val="0072C6"/>
        </a:buClr>
        <a:buSzPct val="100000"/>
        <a:buFont typeface="Wingdings" pitchFamily="2" charset="2"/>
        <a:buNone/>
        <a:defRPr sz="2399" kern="1200">
          <a:solidFill>
            <a:schemeClr val="tx2"/>
          </a:solidFill>
          <a:latin typeface="Segoe UI" pitchFamily="34" charset="0"/>
          <a:ea typeface="Segoe UI" pitchFamily="34" charset="0"/>
          <a:cs typeface="Segoe UI" pitchFamily="34" charset="0"/>
        </a:defRPr>
      </a:lvl1pPr>
      <a:lvl2pPr marL="475927" indent="-194338" algn="l" defTabSz="1087779" rtl="0" eaLnBrk="1" latinLnBrk="0" hangingPunct="1">
        <a:spcBef>
          <a:spcPct val="20000"/>
        </a:spcBef>
        <a:buFont typeface="Arial" pitchFamily="34" charset="0"/>
        <a:buChar char="•"/>
        <a:defRPr sz="1799" kern="1200">
          <a:solidFill>
            <a:schemeClr val="tx1"/>
          </a:solidFill>
          <a:latin typeface="Segoe UI" pitchFamily="34" charset="0"/>
          <a:ea typeface="Segoe UI" pitchFamily="34" charset="0"/>
          <a:cs typeface="Segoe UI" pitchFamily="34" charset="0"/>
        </a:defRPr>
      </a:lvl2pPr>
      <a:lvl3pPr marL="761483" indent="-173184" algn="l" defTabSz="1087779"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040" indent="-177151" algn="l" defTabSz="108777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003" indent="-179795" algn="l" defTabSz="108777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392"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6pPr>
      <a:lvl7pPr marL="3535281"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7pPr>
      <a:lvl8pPr marL="4079172"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8pPr>
      <a:lvl9pPr marL="4623061"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9pPr>
    </p:bodyStyle>
    <p:otherStyle>
      <a:defPPr>
        <a:defRPr lang="en-US"/>
      </a:defPPr>
      <a:lvl1pPr marL="0" algn="l" defTabSz="1087779" rtl="0" eaLnBrk="1" latinLnBrk="0" hangingPunct="1">
        <a:defRPr sz="2199" kern="1200">
          <a:solidFill>
            <a:schemeClr val="tx1"/>
          </a:solidFill>
          <a:latin typeface="+mn-lt"/>
          <a:ea typeface="+mn-ea"/>
          <a:cs typeface="+mn-cs"/>
        </a:defRPr>
      </a:lvl1pPr>
      <a:lvl2pPr marL="543890" algn="l" defTabSz="1087779" rtl="0" eaLnBrk="1" latinLnBrk="0" hangingPunct="1">
        <a:defRPr sz="2199" kern="1200">
          <a:solidFill>
            <a:schemeClr val="tx1"/>
          </a:solidFill>
          <a:latin typeface="+mn-lt"/>
          <a:ea typeface="+mn-ea"/>
          <a:cs typeface="+mn-cs"/>
        </a:defRPr>
      </a:lvl2pPr>
      <a:lvl3pPr marL="1087779" algn="l" defTabSz="1087779" rtl="0" eaLnBrk="1" latinLnBrk="0" hangingPunct="1">
        <a:defRPr sz="2199" kern="1200">
          <a:solidFill>
            <a:schemeClr val="tx1"/>
          </a:solidFill>
          <a:latin typeface="+mn-lt"/>
          <a:ea typeface="+mn-ea"/>
          <a:cs typeface="+mn-cs"/>
        </a:defRPr>
      </a:lvl3pPr>
      <a:lvl4pPr marL="1631669" algn="l" defTabSz="1087779" rtl="0" eaLnBrk="1" latinLnBrk="0" hangingPunct="1">
        <a:defRPr sz="2199" kern="1200">
          <a:solidFill>
            <a:schemeClr val="tx1"/>
          </a:solidFill>
          <a:latin typeface="+mn-lt"/>
          <a:ea typeface="+mn-ea"/>
          <a:cs typeface="+mn-cs"/>
        </a:defRPr>
      </a:lvl4pPr>
      <a:lvl5pPr marL="2175558" algn="l" defTabSz="1087779" rtl="0" eaLnBrk="1" latinLnBrk="0" hangingPunct="1">
        <a:defRPr sz="2199" kern="1200">
          <a:solidFill>
            <a:schemeClr val="tx1"/>
          </a:solidFill>
          <a:latin typeface="+mn-lt"/>
          <a:ea typeface="+mn-ea"/>
          <a:cs typeface="+mn-cs"/>
        </a:defRPr>
      </a:lvl5pPr>
      <a:lvl6pPr marL="2719448" algn="l" defTabSz="1087779" rtl="0" eaLnBrk="1" latinLnBrk="0" hangingPunct="1">
        <a:defRPr sz="2199" kern="1200">
          <a:solidFill>
            <a:schemeClr val="tx1"/>
          </a:solidFill>
          <a:latin typeface="+mn-lt"/>
          <a:ea typeface="+mn-ea"/>
          <a:cs typeface="+mn-cs"/>
        </a:defRPr>
      </a:lvl6pPr>
      <a:lvl7pPr marL="3263337" algn="l" defTabSz="1087779" rtl="0" eaLnBrk="1" latinLnBrk="0" hangingPunct="1">
        <a:defRPr sz="2199" kern="1200">
          <a:solidFill>
            <a:schemeClr val="tx1"/>
          </a:solidFill>
          <a:latin typeface="+mn-lt"/>
          <a:ea typeface="+mn-ea"/>
          <a:cs typeface="+mn-cs"/>
        </a:defRPr>
      </a:lvl7pPr>
      <a:lvl8pPr marL="3807226" algn="l" defTabSz="1087779" rtl="0" eaLnBrk="1" latinLnBrk="0" hangingPunct="1">
        <a:defRPr sz="2199" kern="1200">
          <a:solidFill>
            <a:schemeClr val="tx1"/>
          </a:solidFill>
          <a:latin typeface="+mn-lt"/>
          <a:ea typeface="+mn-ea"/>
          <a:cs typeface="+mn-cs"/>
        </a:defRPr>
      </a:lvl8pPr>
      <a:lvl9pPr marL="4351116" algn="l" defTabSz="1087779" rtl="0" eaLnBrk="1" latinLnBrk="0" hangingPunct="1">
        <a:defRPr sz="21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 y="2"/>
            <a:ext cx="12188825" cy="646042"/>
          </a:xfrm>
          <a:prstGeom prst="rect">
            <a:avLst/>
          </a:prstGeom>
        </p:spPr>
        <p:txBody>
          <a:bodyPr vert="horz" lIns="320040" tIns="152357" rIns="53325" bIns="53325" rtlCol="0" anchor="ctr">
            <a:normAutofit/>
          </a:bodyPr>
          <a:lstStyle/>
          <a:p>
            <a:endParaRPr lang="en-US"/>
          </a:p>
        </p:txBody>
      </p:sp>
      <p:sp>
        <p:nvSpPr>
          <p:cNvPr id="15" name="Text Placeholder 14"/>
          <p:cNvSpPr>
            <a:spLocks noGrp="1"/>
          </p:cNvSpPr>
          <p:nvPr>
            <p:ph type="body" idx="1"/>
          </p:nvPr>
        </p:nvSpPr>
        <p:spPr>
          <a:xfrm>
            <a:off x="150813" y="1600202"/>
            <a:ext cx="11887200"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4"/>
          </p:nvPr>
        </p:nvSpPr>
        <p:spPr>
          <a:xfrm>
            <a:off x="11215250"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fld id="{FAADACFB-7C71-4E89-89D2-7BBA40B7BFA9}" type="slidenum">
              <a:rPr lang="en-US" smtClean="0"/>
              <a:pPr/>
              <a:t>‹#›</a:t>
            </a:fld>
            <a:endParaRPr lang="en-US"/>
          </a:p>
        </p:txBody>
      </p:sp>
    </p:spTree>
    <p:extLst>
      <p:ext uri="{BB962C8B-B14F-4D97-AF65-F5344CB8AC3E}">
        <p14:creationId xmlns:p14="http://schemas.microsoft.com/office/powerpoint/2010/main" val="4121071272"/>
      </p:ext>
    </p:extLst>
  </p:cSld>
  <p:clrMap bg1="lt1" tx1="dk1" bg2="lt2" tx2="dk2" accent1="accent1" accent2="accent2" accent3="accent3" accent4="accent4" accent5="accent5" accent6="accent6" hlink="hlink" folHlink="folHlink"/>
  <p:sldLayoutIdLst>
    <p:sldLayoutId id="2147484333" r:id="rId1"/>
    <p:sldLayoutId id="2147484334" r:id="rId2"/>
    <p:sldLayoutId id="2147484335" r:id="rId3"/>
    <p:sldLayoutId id="2147484336" r:id="rId4"/>
    <p:sldLayoutId id="2147484337" r:id="rId5"/>
    <p:sldLayoutId id="2147484338" r:id="rId6"/>
    <p:sldLayoutId id="2147484339" r:id="rId7"/>
    <p:sldLayoutId id="2147484340" r:id="rId8"/>
    <p:sldLayoutId id="2147484341" r:id="rId9"/>
    <p:sldLayoutId id="2147484342" r:id="rId10"/>
    <p:sldLayoutId id="2147484343" r:id="rId11"/>
    <p:sldLayoutId id="2147484344" r:id="rId12"/>
    <p:sldLayoutId id="2147484345" r:id="rId13"/>
    <p:sldLayoutId id="2147484346" r:id="rId14"/>
    <p:sldLayoutId id="2147484347" r:id="rId15"/>
    <p:sldLayoutId id="2147484348" r:id="rId16"/>
    <p:sldLayoutId id="2147484349" r:id="rId17"/>
    <p:sldLayoutId id="2147484350" r:id="rId18"/>
    <p:sldLayoutId id="2147484351" r:id="rId19"/>
  </p:sldLayoutIdLst>
  <p:transition>
    <p:fade/>
  </p:transition>
  <p:hf hdr="0" ftr="0" dt="0"/>
  <p:txStyles>
    <p:titleStyle>
      <a:lvl1pPr marL="0" algn="l" defTabSz="1087779" rtl="0" eaLnBrk="1" latinLnBrk="0" hangingPunct="1">
        <a:lnSpc>
          <a:spcPct val="90000"/>
        </a:lnSpc>
        <a:spcBef>
          <a:spcPct val="0"/>
        </a:spcBef>
        <a:buNone/>
        <a:defRPr lang="en-US" sz="3999"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7779" rtl="0" eaLnBrk="1" latinLnBrk="0" hangingPunct="1">
        <a:spcBef>
          <a:spcPts val="1799"/>
        </a:spcBef>
        <a:buClr>
          <a:srgbClr val="0072C6"/>
        </a:buClr>
        <a:buSzPct val="100000"/>
        <a:buFont typeface="Wingdings" pitchFamily="2" charset="2"/>
        <a:buNone/>
        <a:defRPr sz="2399" kern="1200">
          <a:solidFill>
            <a:schemeClr val="tx2"/>
          </a:solidFill>
          <a:latin typeface="Segoe UI" pitchFamily="34" charset="0"/>
          <a:ea typeface="Segoe UI" pitchFamily="34" charset="0"/>
          <a:cs typeface="Segoe UI" pitchFamily="34" charset="0"/>
        </a:defRPr>
      </a:lvl1pPr>
      <a:lvl2pPr marL="475927" indent="-194338" algn="l" defTabSz="1087779" rtl="0" eaLnBrk="1" latinLnBrk="0" hangingPunct="1">
        <a:spcBef>
          <a:spcPct val="20000"/>
        </a:spcBef>
        <a:buFont typeface="Arial" pitchFamily="34" charset="0"/>
        <a:buChar char="•"/>
        <a:defRPr sz="1799" kern="1200">
          <a:solidFill>
            <a:schemeClr val="tx1"/>
          </a:solidFill>
          <a:latin typeface="Segoe UI" pitchFamily="34" charset="0"/>
          <a:ea typeface="Segoe UI" pitchFamily="34" charset="0"/>
          <a:cs typeface="Segoe UI" pitchFamily="34" charset="0"/>
        </a:defRPr>
      </a:lvl2pPr>
      <a:lvl3pPr marL="761483" indent="-173184" algn="l" defTabSz="1087779"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040" indent="-177151" algn="l" defTabSz="108777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003" indent="-179795" algn="l" defTabSz="108777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392"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6pPr>
      <a:lvl7pPr marL="3535281"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7pPr>
      <a:lvl8pPr marL="4079172"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8pPr>
      <a:lvl9pPr marL="4623061"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9pPr>
    </p:bodyStyle>
    <p:otherStyle>
      <a:defPPr>
        <a:defRPr lang="en-US"/>
      </a:defPPr>
      <a:lvl1pPr marL="0" algn="l" defTabSz="1087779" rtl="0" eaLnBrk="1" latinLnBrk="0" hangingPunct="1">
        <a:defRPr sz="2199" kern="1200">
          <a:solidFill>
            <a:schemeClr val="tx1"/>
          </a:solidFill>
          <a:latin typeface="+mn-lt"/>
          <a:ea typeface="+mn-ea"/>
          <a:cs typeface="+mn-cs"/>
        </a:defRPr>
      </a:lvl1pPr>
      <a:lvl2pPr marL="543890" algn="l" defTabSz="1087779" rtl="0" eaLnBrk="1" latinLnBrk="0" hangingPunct="1">
        <a:defRPr sz="2199" kern="1200">
          <a:solidFill>
            <a:schemeClr val="tx1"/>
          </a:solidFill>
          <a:latin typeface="+mn-lt"/>
          <a:ea typeface="+mn-ea"/>
          <a:cs typeface="+mn-cs"/>
        </a:defRPr>
      </a:lvl2pPr>
      <a:lvl3pPr marL="1087779" algn="l" defTabSz="1087779" rtl="0" eaLnBrk="1" latinLnBrk="0" hangingPunct="1">
        <a:defRPr sz="2199" kern="1200">
          <a:solidFill>
            <a:schemeClr val="tx1"/>
          </a:solidFill>
          <a:latin typeface="+mn-lt"/>
          <a:ea typeface="+mn-ea"/>
          <a:cs typeface="+mn-cs"/>
        </a:defRPr>
      </a:lvl3pPr>
      <a:lvl4pPr marL="1631669" algn="l" defTabSz="1087779" rtl="0" eaLnBrk="1" latinLnBrk="0" hangingPunct="1">
        <a:defRPr sz="2199" kern="1200">
          <a:solidFill>
            <a:schemeClr val="tx1"/>
          </a:solidFill>
          <a:latin typeface="+mn-lt"/>
          <a:ea typeface="+mn-ea"/>
          <a:cs typeface="+mn-cs"/>
        </a:defRPr>
      </a:lvl4pPr>
      <a:lvl5pPr marL="2175558" algn="l" defTabSz="1087779" rtl="0" eaLnBrk="1" latinLnBrk="0" hangingPunct="1">
        <a:defRPr sz="2199" kern="1200">
          <a:solidFill>
            <a:schemeClr val="tx1"/>
          </a:solidFill>
          <a:latin typeface="+mn-lt"/>
          <a:ea typeface="+mn-ea"/>
          <a:cs typeface="+mn-cs"/>
        </a:defRPr>
      </a:lvl5pPr>
      <a:lvl6pPr marL="2719448" algn="l" defTabSz="1087779" rtl="0" eaLnBrk="1" latinLnBrk="0" hangingPunct="1">
        <a:defRPr sz="2199" kern="1200">
          <a:solidFill>
            <a:schemeClr val="tx1"/>
          </a:solidFill>
          <a:latin typeface="+mn-lt"/>
          <a:ea typeface="+mn-ea"/>
          <a:cs typeface="+mn-cs"/>
        </a:defRPr>
      </a:lvl6pPr>
      <a:lvl7pPr marL="3263337" algn="l" defTabSz="1087779" rtl="0" eaLnBrk="1" latinLnBrk="0" hangingPunct="1">
        <a:defRPr sz="2199" kern="1200">
          <a:solidFill>
            <a:schemeClr val="tx1"/>
          </a:solidFill>
          <a:latin typeface="+mn-lt"/>
          <a:ea typeface="+mn-ea"/>
          <a:cs typeface="+mn-cs"/>
        </a:defRPr>
      </a:lvl7pPr>
      <a:lvl8pPr marL="3807226" algn="l" defTabSz="1087779" rtl="0" eaLnBrk="1" latinLnBrk="0" hangingPunct="1">
        <a:defRPr sz="2199" kern="1200">
          <a:solidFill>
            <a:schemeClr val="tx1"/>
          </a:solidFill>
          <a:latin typeface="+mn-lt"/>
          <a:ea typeface="+mn-ea"/>
          <a:cs typeface="+mn-cs"/>
        </a:defRPr>
      </a:lvl8pPr>
      <a:lvl9pPr marL="4351116" algn="l" defTabSz="1087779" rtl="0" eaLnBrk="1" latinLnBrk="0" hangingPunct="1">
        <a:defRPr sz="21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0" orient="horz" pos="1008">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0"/>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3492" name="think-cell Slide" r:id="rId21" imgW="383" imgH="384" progId="TCLayout.ActiveDocument.1">
                  <p:embed/>
                </p:oleObj>
              </mc:Choice>
              <mc:Fallback>
                <p:oleObj name="think-cell Slide" r:id="rId21" imgW="383" imgH="384" progId="TCLayout.ActiveDocument.1">
                  <p:embed/>
                  <p:pic>
                    <p:nvPicPr>
                      <p:cNvPr id="3" name="Object 2" hidden="1"/>
                      <p:cNvPicPr/>
                      <p:nvPr/>
                    </p:nvPicPr>
                    <p:blipFill>
                      <a:blip r:embed="rId22"/>
                      <a:stretch>
                        <a:fillRect/>
                      </a:stretch>
                    </p:blipFill>
                    <p:spPr>
                      <a:xfrm>
                        <a:off x="1589" y="1590"/>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88825" cy="646042"/>
          </a:xfrm>
          <a:prstGeom prst="rect">
            <a:avLst/>
          </a:prstGeom>
        </p:spPr>
        <p:txBody>
          <a:bodyPr vert="horz" lIns="320040" tIns="152357" rIns="53325" bIns="53325" rtlCol="0" anchor="ctr">
            <a:normAutofit/>
          </a:bodyPr>
          <a:lstStyle/>
          <a:p>
            <a:endParaRPr lang="en-US"/>
          </a:p>
        </p:txBody>
      </p:sp>
      <p:sp>
        <p:nvSpPr>
          <p:cNvPr id="7" name="Footer Placeholder 6"/>
          <p:cNvSpPr>
            <a:spLocks noGrp="1"/>
          </p:cNvSpPr>
          <p:nvPr>
            <p:ph type="ftr" sz="quarter" idx="3"/>
          </p:nvPr>
        </p:nvSpPr>
        <p:spPr>
          <a:xfrm>
            <a:off x="1904504" y="6477875"/>
            <a:ext cx="8379817" cy="380127"/>
          </a:xfrm>
          <a:prstGeom prst="rect">
            <a:avLst/>
          </a:prstGeom>
        </p:spPr>
        <p:txBody>
          <a:bodyPr vert="horz" lIns="76179" tIns="38089" rIns="76179" bIns="38089" rtlCol="0" anchor="ctr"/>
          <a:lstStyle>
            <a:lvl1pPr algn="ctr">
              <a:defRPr sz="800">
                <a:solidFill>
                  <a:schemeClr val="tx1"/>
                </a:solidFill>
                <a:latin typeface="Segoe UI" pitchFamily="34" charset="0"/>
                <a:ea typeface="Segoe UI" pitchFamily="34" charset="0"/>
                <a:cs typeface="Segoe UI" pitchFamily="34" charset="0"/>
              </a:defRPr>
            </a:lvl1pPr>
          </a:lstStyle>
          <a:p>
            <a:pPr defTabSz="1087779"/>
            <a:endParaRPr lang="en-US">
              <a:solidFill>
                <a:srgbClr val="505050"/>
              </a:solidFill>
            </a:endParaRPr>
          </a:p>
        </p:txBody>
      </p:sp>
      <p:sp>
        <p:nvSpPr>
          <p:cNvPr id="15" name="Text Placeholder 14"/>
          <p:cNvSpPr>
            <a:spLocks noGrp="1"/>
          </p:cNvSpPr>
          <p:nvPr>
            <p:ph type="body" idx="1"/>
          </p:nvPr>
        </p:nvSpPr>
        <p:spPr>
          <a:xfrm>
            <a:off x="150813" y="1600202"/>
            <a:ext cx="11887200"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4"/>
          </p:nvPr>
        </p:nvSpPr>
        <p:spPr>
          <a:xfrm>
            <a:off x="11212131"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779"/>
            <a:fld id="{FAADACFB-7C71-4E89-89D2-7BBA40B7BFA9}" type="slidenum">
              <a:rPr lang="en-US" smtClean="0">
                <a:solidFill>
                  <a:srgbClr val="505050"/>
                </a:solidFill>
              </a:rPr>
              <a:pPr defTabSz="1087779"/>
              <a:t>‹#›</a:t>
            </a:fld>
            <a:endParaRPr lang="en-US">
              <a:solidFill>
                <a:srgbClr val="505050"/>
              </a:solidFill>
            </a:endParaRPr>
          </a:p>
        </p:txBody>
      </p:sp>
    </p:spTree>
    <p:extLst>
      <p:ext uri="{BB962C8B-B14F-4D97-AF65-F5344CB8AC3E}">
        <p14:creationId xmlns:p14="http://schemas.microsoft.com/office/powerpoint/2010/main" val="2583189585"/>
      </p:ext>
    </p:extLst>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 id="2147484363" r:id="rId11"/>
    <p:sldLayoutId id="2147484364" r:id="rId12"/>
    <p:sldLayoutId id="2147484365" r:id="rId13"/>
    <p:sldLayoutId id="2147484366" r:id="rId14"/>
    <p:sldLayoutId id="2147484367" r:id="rId15"/>
    <p:sldLayoutId id="2147484368" r:id="rId16"/>
    <p:sldLayoutId id="2147484369" r:id="rId17"/>
  </p:sldLayoutIdLst>
  <p:transition>
    <p:fade/>
  </p:transition>
  <p:hf hdr="0" ftr="0" dt="0"/>
  <p:txStyles>
    <p:titleStyle>
      <a:lvl1pPr marL="0" algn="l" defTabSz="1087779" rtl="0" eaLnBrk="1" latinLnBrk="0" hangingPunct="1">
        <a:lnSpc>
          <a:spcPct val="90000"/>
        </a:lnSpc>
        <a:spcBef>
          <a:spcPct val="0"/>
        </a:spcBef>
        <a:buNone/>
        <a:defRPr lang="en-US" sz="3999"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7779" rtl="0" eaLnBrk="1" latinLnBrk="0" hangingPunct="1">
        <a:spcBef>
          <a:spcPts val="1799"/>
        </a:spcBef>
        <a:buClr>
          <a:srgbClr val="0072C6"/>
        </a:buClr>
        <a:buSzPct val="100000"/>
        <a:buFont typeface="Wingdings" pitchFamily="2" charset="2"/>
        <a:buNone/>
        <a:defRPr sz="2399" kern="1200">
          <a:solidFill>
            <a:schemeClr val="tx2"/>
          </a:solidFill>
          <a:latin typeface="Segoe UI" pitchFamily="34" charset="0"/>
          <a:ea typeface="Segoe UI" pitchFamily="34" charset="0"/>
          <a:cs typeface="Segoe UI" pitchFamily="34" charset="0"/>
        </a:defRPr>
      </a:lvl1pPr>
      <a:lvl2pPr marL="475927" indent="-194338" algn="l" defTabSz="1087779" rtl="0" eaLnBrk="1" latinLnBrk="0" hangingPunct="1">
        <a:spcBef>
          <a:spcPct val="20000"/>
        </a:spcBef>
        <a:buFont typeface="Arial" pitchFamily="34" charset="0"/>
        <a:buChar char="•"/>
        <a:defRPr sz="1799" kern="1200">
          <a:solidFill>
            <a:schemeClr val="tx1"/>
          </a:solidFill>
          <a:latin typeface="Segoe UI" pitchFamily="34" charset="0"/>
          <a:ea typeface="Segoe UI" pitchFamily="34" charset="0"/>
          <a:cs typeface="Segoe UI" pitchFamily="34" charset="0"/>
        </a:defRPr>
      </a:lvl2pPr>
      <a:lvl3pPr marL="761483" indent="-173184" algn="l" defTabSz="1087779"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040" indent="-177151" algn="l" defTabSz="108777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003" indent="-179795" algn="l" defTabSz="108777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392"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6pPr>
      <a:lvl7pPr marL="3535281"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7pPr>
      <a:lvl8pPr marL="4079172"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8pPr>
      <a:lvl9pPr marL="4623061"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9pPr>
    </p:bodyStyle>
    <p:otherStyle>
      <a:defPPr>
        <a:defRPr lang="en-US"/>
      </a:defPPr>
      <a:lvl1pPr marL="0" algn="l" defTabSz="1087779" rtl="0" eaLnBrk="1" latinLnBrk="0" hangingPunct="1">
        <a:defRPr sz="2199" kern="1200">
          <a:solidFill>
            <a:schemeClr val="tx1"/>
          </a:solidFill>
          <a:latin typeface="+mn-lt"/>
          <a:ea typeface="+mn-ea"/>
          <a:cs typeface="+mn-cs"/>
        </a:defRPr>
      </a:lvl1pPr>
      <a:lvl2pPr marL="543890" algn="l" defTabSz="1087779" rtl="0" eaLnBrk="1" latinLnBrk="0" hangingPunct="1">
        <a:defRPr sz="2199" kern="1200">
          <a:solidFill>
            <a:schemeClr val="tx1"/>
          </a:solidFill>
          <a:latin typeface="+mn-lt"/>
          <a:ea typeface="+mn-ea"/>
          <a:cs typeface="+mn-cs"/>
        </a:defRPr>
      </a:lvl2pPr>
      <a:lvl3pPr marL="1087779" algn="l" defTabSz="1087779" rtl="0" eaLnBrk="1" latinLnBrk="0" hangingPunct="1">
        <a:defRPr sz="2199" kern="1200">
          <a:solidFill>
            <a:schemeClr val="tx1"/>
          </a:solidFill>
          <a:latin typeface="+mn-lt"/>
          <a:ea typeface="+mn-ea"/>
          <a:cs typeface="+mn-cs"/>
        </a:defRPr>
      </a:lvl3pPr>
      <a:lvl4pPr marL="1631669" algn="l" defTabSz="1087779" rtl="0" eaLnBrk="1" latinLnBrk="0" hangingPunct="1">
        <a:defRPr sz="2199" kern="1200">
          <a:solidFill>
            <a:schemeClr val="tx1"/>
          </a:solidFill>
          <a:latin typeface="+mn-lt"/>
          <a:ea typeface="+mn-ea"/>
          <a:cs typeface="+mn-cs"/>
        </a:defRPr>
      </a:lvl4pPr>
      <a:lvl5pPr marL="2175558" algn="l" defTabSz="1087779" rtl="0" eaLnBrk="1" latinLnBrk="0" hangingPunct="1">
        <a:defRPr sz="2199" kern="1200">
          <a:solidFill>
            <a:schemeClr val="tx1"/>
          </a:solidFill>
          <a:latin typeface="+mn-lt"/>
          <a:ea typeface="+mn-ea"/>
          <a:cs typeface="+mn-cs"/>
        </a:defRPr>
      </a:lvl5pPr>
      <a:lvl6pPr marL="2719448" algn="l" defTabSz="1087779" rtl="0" eaLnBrk="1" latinLnBrk="0" hangingPunct="1">
        <a:defRPr sz="2199" kern="1200">
          <a:solidFill>
            <a:schemeClr val="tx1"/>
          </a:solidFill>
          <a:latin typeface="+mn-lt"/>
          <a:ea typeface="+mn-ea"/>
          <a:cs typeface="+mn-cs"/>
        </a:defRPr>
      </a:lvl6pPr>
      <a:lvl7pPr marL="3263337" algn="l" defTabSz="1087779" rtl="0" eaLnBrk="1" latinLnBrk="0" hangingPunct="1">
        <a:defRPr sz="2199" kern="1200">
          <a:solidFill>
            <a:schemeClr val="tx1"/>
          </a:solidFill>
          <a:latin typeface="+mn-lt"/>
          <a:ea typeface="+mn-ea"/>
          <a:cs typeface="+mn-cs"/>
        </a:defRPr>
      </a:lvl7pPr>
      <a:lvl8pPr marL="3807226" algn="l" defTabSz="1087779" rtl="0" eaLnBrk="1" latinLnBrk="0" hangingPunct="1">
        <a:defRPr sz="2199" kern="1200">
          <a:solidFill>
            <a:schemeClr val="tx1"/>
          </a:solidFill>
          <a:latin typeface="+mn-lt"/>
          <a:ea typeface="+mn-ea"/>
          <a:cs typeface="+mn-cs"/>
        </a:defRPr>
      </a:lvl8pPr>
      <a:lvl9pPr marL="4351116" algn="l" defTabSz="1087779" rtl="0" eaLnBrk="1" latinLnBrk="0" hangingPunct="1">
        <a:defRPr sz="21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4"/>
            </p:custDataLst>
            <p:extLst/>
          </p:nvPr>
        </p:nvGraphicFramePr>
        <p:xfrm>
          <a:off x="1590" y="1592"/>
          <a:ext cx="1587" cy="1587"/>
        </p:xfrm>
        <a:graphic>
          <a:graphicData uri="http://schemas.openxmlformats.org/presentationml/2006/ole">
            <mc:AlternateContent xmlns:mc="http://schemas.openxmlformats.org/markup-compatibility/2006">
              <mc:Choice xmlns:v="urn:schemas-microsoft-com:vml" Requires="v">
                <p:oleObj spid="_x0000_s64516" name="think-cell Slide" r:id="rId15" imgW="383" imgH="384" progId="TCLayout.ActiveDocument.1">
                  <p:embed/>
                </p:oleObj>
              </mc:Choice>
              <mc:Fallback>
                <p:oleObj name="think-cell Slide" r:id="rId15" imgW="383" imgH="384" progId="TCLayout.ActiveDocument.1">
                  <p:embed/>
                  <p:pic>
                    <p:nvPicPr>
                      <p:cNvPr id="3" name="Object 2" hidden="1"/>
                      <p:cNvPicPr/>
                      <p:nvPr/>
                    </p:nvPicPr>
                    <p:blipFill>
                      <a:blip r:embed="rId16"/>
                      <a:stretch>
                        <a:fillRect/>
                      </a:stretch>
                    </p:blipFill>
                    <p:spPr>
                      <a:xfrm>
                        <a:off x="1590" y="1592"/>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 y="2"/>
            <a:ext cx="12188825"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3047206" y="6477877"/>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endParaRPr lang="en-US" dirty="0">
              <a:solidFill>
                <a:srgbClr val="505050"/>
              </a:solidFill>
            </a:endParaRPr>
          </a:p>
        </p:txBody>
      </p:sp>
      <p:sp>
        <p:nvSpPr>
          <p:cNvPr id="15" name="Text Placeholder 14"/>
          <p:cNvSpPr>
            <a:spLocks noGrp="1"/>
          </p:cNvSpPr>
          <p:nvPr>
            <p:ph type="body" idx="1"/>
          </p:nvPr>
        </p:nvSpPr>
        <p:spPr>
          <a:xfrm>
            <a:off x="150813" y="1600204"/>
            <a:ext cx="11887200"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047674440"/>
      </p:ext>
    </p:extLst>
  </p:cSld>
  <p:clrMap bg1="lt1" tx1="dk1" bg2="lt2" tx2="dk2" accent1="accent1" accent2="accent2" accent3="accent3" accent4="accent4" accent5="accent5" accent6="accent6" hlink="hlink" folHlink="folHlink"/>
  <p:sldLayoutIdLst>
    <p:sldLayoutId id="2147484371" r:id="rId1"/>
    <p:sldLayoutId id="2147484372" r:id="rId2"/>
    <p:sldLayoutId id="2147484373" r:id="rId3"/>
    <p:sldLayoutId id="2147484374" r:id="rId4"/>
    <p:sldLayoutId id="2147484375" r:id="rId5"/>
    <p:sldLayoutId id="2147484376" r:id="rId6"/>
    <p:sldLayoutId id="2147484377" r:id="rId7"/>
    <p:sldLayoutId id="2147484378" r:id="rId8"/>
    <p:sldLayoutId id="2147484379" r:id="rId9"/>
    <p:sldLayoutId id="2147484380" r:id="rId10"/>
    <p:sldLayoutId id="2147484381" r:id="rId11"/>
  </p:sldLayoutIdLst>
  <p:transition>
    <p:fade/>
  </p:transition>
  <p:hf hdr="0" ftr="0" dt="0"/>
  <p:txStyles>
    <p:titleStyle>
      <a:lvl1pPr marL="0" algn="l" defTabSz="1087453" rtl="0" eaLnBrk="1" latinLnBrk="0" hangingPunct="1">
        <a:lnSpc>
          <a:spcPct val="90000"/>
        </a:lnSpc>
        <a:spcBef>
          <a:spcPct val="0"/>
        </a:spcBef>
        <a:buNone/>
        <a:defRPr lang="en-US" sz="3998"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7453" rtl="0" eaLnBrk="1" latinLnBrk="0" hangingPunct="1">
        <a:spcBef>
          <a:spcPts val="1798"/>
        </a:spcBef>
        <a:buClr>
          <a:srgbClr val="0072C6"/>
        </a:buClr>
        <a:buSzPct val="100000"/>
        <a:buFont typeface="Wingdings" pitchFamily="2" charset="2"/>
        <a:buNone/>
        <a:defRPr sz="2398" kern="1200">
          <a:solidFill>
            <a:schemeClr val="tx2"/>
          </a:solidFill>
          <a:latin typeface="Segoe UI" pitchFamily="34" charset="0"/>
          <a:ea typeface="Segoe UI" pitchFamily="34" charset="0"/>
          <a:cs typeface="Segoe UI" pitchFamily="34" charset="0"/>
        </a:defRPr>
      </a:lvl1pPr>
      <a:lvl2pPr marL="475784" indent="-194280" algn="l" defTabSz="1087453" rtl="0" eaLnBrk="1" latinLnBrk="0" hangingPunct="1">
        <a:spcBef>
          <a:spcPct val="20000"/>
        </a:spcBef>
        <a:buFont typeface="Arial" pitchFamily="34" charset="0"/>
        <a:buChar char="•"/>
        <a:defRPr sz="1798" kern="1200">
          <a:solidFill>
            <a:schemeClr val="tx1"/>
          </a:solidFill>
          <a:latin typeface="Segoe UI" pitchFamily="34" charset="0"/>
          <a:ea typeface="Segoe UI" pitchFamily="34" charset="0"/>
          <a:cs typeface="Segoe UI" pitchFamily="34" charset="0"/>
        </a:defRPr>
      </a:lvl2pPr>
      <a:lvl3pPr marL="761255" indent="-173132" algn="l" defTabSz="1087453"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6726" indent="-177098" algn="l" defTabSz="1087453"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4617" indent="-179741" algn="l" defTabSz="1087453"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0495" indent="-271862" algn="l" defTabSz="1087453" rtl="0" eaLnBrk="1" latinLnBrk="0" hangingPunct="1">
        <a:spcBef>
          <a:spcPct val="20000"/>
        </a:spcBef>
        <a:buFont typeface="Arial" pitchFamily="34" charset="0"/>
        <a:buChar char="•"/>
        <a:defRPr sz="2498" kern="1200">
          <a:solidFill>
            <a:schemeClr val="tx1"/>
          </a:solidFill>
          <a:latin typeface="+mn-lt"/>
          <a:ea typeface="+mn-ea"/>
          <a:cs typeface="+mn-cs"/>
        </a:defRPr>
      </a:lvl6pPr>
      <a:lvl7pPr marL="3534220" indent="-271862" algn="l" defTabSz="1087453" rtl="0" eaLnBrk="1" latinLnBrk="0" hangingPunct="1">
        <a:spcBef>
          <a:spcPct val="20000"/>
        </a:spcBef>
        <a:buFont typeface="Arial" pitchFamily="34" charset="0"/>
        <a:buChar char="•"/>
        <a:defRPr sz="2498" kern="1200">
          <a:solidFill>
            <a:schemeClr val="tx1"/>
          </a:solidFill>
          <a:latin typeface="+mn-lt"/>
          <a:ea typeface="+mn-ea"/>
          <a:cs typeface="+mn-cs"/>
        </a:defRPr>
      </a:lvl7pPr>
      <a:lvl8pPr marL="4077948" indent="-271862" algn="l" defTabSz="1087453" rtl="0" eaLnBrk="1" latinLnBrk="0" hangingPunct="1">
        <a:spcBef>
          <a:spcPct val="20000"/>
        </a:spcBef>
        <a:buFont typeface="Arial" pitchFamily="34" charset="0"/>
        <a:buChar char="•"/>
        <a:defRPr sz="2498" kern="1200">
          <a:solidFill>
            <a:schemeClr val="tx1"/>
          </a:solidFill>
          <a:latin typeface="+mn-lt"/>
          <a:ea typeface="+mn-ea"/>
          <a:cs typeface="+mn-cs"/>
        </a:defRPr>
      </a:lvl8pPr>
      <a:lvl9pPr marL="4621674" indent="-271862" algn="l" defTabSz="1087453" rtl="0" eaLnBrk="1" latinLnBrk="0" hangingPunct="1">
        <a:spcBef>
          <a:spcPct val="20000"/>
        </a:spcBef>
        <a:buFont typeface="Arial" pitchFamily="34" charset="0"/>
        <a:buChar char="•"/>
        <a:defRPr sz="2498" kern="1200">
          <a:solidFill>
            <a:schemeClr val="tx1"/>
          </a:solidFill>
          <a:latin typeface="+mn-lt"/>
          <a:ea typeface="+mn-ea"/>
          <a:cs typeface="+mn-cs"/>
        </a:defRPr>
      </a:lvl9pPr>
    </p:bodyStyle>
    <p:otherStyle>
      <a:defPPr>
        <a:defRPr lang="en-US"/>
      </a:defPPr>
      <a:lvl1pPr marL="0" algn="l" defTabSz="1087453" rtl="0" eaLnBrk="1" latinLnBrk="0" hangingPunct="1">
        <a:defRPr sz="2198" kern="1200">
          <a:solidFill>
            <a:schemeClr val="tx1"/>
          </a:solidFill>
          <a:latin typeface="+mn-lt"/>
          <a:ea typeface="+mn-ea"/>
          <a:cs typeface="+mn-cs"/>
        </a:defRPr>
      </a:lvl1pPr>
      <a:lvl2pPr marL="543727" algn="l" defTabSz="1087453" rtl="0" eaLnBrk="1" latinLnBrk="0" hangingPunct="1">
        <a:defRPr sz="2198" kern="1200">
          <a:solidFill>
            <a:schemeClr val="tx1"/>
          </a:solidFill>
          <a:latin typeface="+mn-lt"/>
          <a:ea typeface="+mn-ea"/>
          <a:cs typeface="+mn-cs"/>
        </a:defRPr>
      </a:lvl2pPr>
      <a:lvl3pPr marL="1087453" algn="l" defTabSz="1087453" rtl="0" eaLnBrk="1" latinLnBrk="0" hangingPunct="1">
        <a:defRPr sz="2198" kern="1200">
          <a:solidFill>
            <a:schemeClr val="tx1"/>
          </a:solidFill>
          <a:latin typeface="+mn-lt"/>
          <a:ea typeface="+mn-ea"/>
          <a:cs typeface="+mn-cs"/>
        </a:defRPr>
      </a:lvl3pPr>
      <a:lvl4pPr marL="1631179" algn="l" defTabSz="1087453" rtl="0" eaLnBrk="1" latinLnBrk="0" hangingPunct="1">
        <a:defRPr sz="2198" kern="1200">
          <a:solidFill>
            <a:schemeClr val="tx1"/>
          </a:solidFill>
          <a:latin typeface="+mn-lt"/>
          <a:ea typeface="+mn-ea"/>
          <a:cs typeface="+mn-cs"/>
        </a:defRPr>
      </a:lvl4pPr>
      <a:lvl5pPr marL="2174905" algn="l" defTabSz="1087453" rtl="0" eaLnBrk="1" latinLnBrk="0" hangingPunct="1">
        <a:defRPr sz="2198" kern="1200">
          <a:solidFill>
            <a:schemeClr val="tx1"/>
          </a:solidFill>
          <a:latin typeface="+mn-lt"/>
          <a:ea typeface="+mn-ea"/>
          <a:cs typeface="+mn-cs"/>
        </a:defRPr>
      </a:lvl5pPr>
      <a:lvl6pPr marL="2718632" algn="l" defTabSz="1087453" rtl="0" eaLnBrk="1" latinLnBrk="0" hangingPunct="1">
        <a:defRPr sz="2198" kern="1200">
          <a:solidFill>
            <a:schemeClr val="tx1"/>
          </a:solidFill>
          <a:latin typeface="+mn-lt"/>
          <a:ea typeface="+mn-ea"/>
          <a:cs typeface="+mn-cs"/>
        </a:defRPr>
      </a:lvl6pPr>
      <a:lvl7pPr marL="3262358" algn="l" defTabSz="1087453" rtl="0" eaLnBrk="1" latinLnBrk="0" hangingPunct="1">
        <a:defRPr sz="2198" kern="1200">
          <a:solidFill>
            <a:schemeClr val="tx1"/>
          </a:solidFill>
          <a:latin typeface="+mn-lt"/>
          <a:ea typeface="+mn-ea"/>
          <a:cs typeface="+mn-cs"/>
        </a:defRPr>
      </a:lvl7pPr>
      <a:lvl8pPr marL="3806084" algn="l" defTabSz="1087453" rtl="0" eaLnBrk="1" latinLnBrk="0" hangingPunct="1">
        <a:defRPr sz="2198" kern="1200">
          <a:solidFill>
            <a:schemeClr val="tx1"/>
          </a:solidFill>
          <a:latin typeface="+mn-lt"/>
          <a:ea typeface="+mn-ea"/>
          <a:cs typeface="+mn-cs"/>
        </a:defRPr>
      </a:lvl8pPr>
      <a:lvl9pPr marL="4349811" algn="l" defTabSz="1087453" rtl="0" eaLnBrk="1" latinLnBrk="0" hangingPunct="1">
        <a:defRPr sz="219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0"/>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6564" name="think-cell Slide" r:id="rId21" imgW="383" imgH="384" progId="TCLayout.ActiveDocument.1">
                  <p:embed/>
                </p:oleObj>
              </mc:Choice>
              <mc:Fallback>
                <p:oleObj name="think-cell Slide" r:id="rId21" imgW="383" imgH="384" progId="TCLayout.ActiveDocument.1">
                  <p:embed/>
                  <p:pic>
                    <p:nvPicPr>
                      <p:cNvPr id="3" name="Object 2" hidden="1"/>
                      <p:cNvPicPr/>
                      <p:nvPr/>
                    </p:nvPicPr>
                    <p:blipFill>
                      <a:blip r:embed="rId22"/>
                      <a:stretch>
                        <a:fillRect/>
                      </a:stretch>
                    </p:blipFill>
                    <p:spPr>
                      <a:xfrm>
                        <a:off x="1589" y="1590"/>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88825"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1904504" y="6477875"/>
            <a:ext cx="8379817" cy="380127"/>
          </a:xfrm>
          <a:prstGeom prst="rect">
            <a:avLst/>
          </a:prstGeom>
        </p:spPr>
        <p:txBody>
          <a:bodyPr vert="horz" lIns="76179" tIns="38089" rIns="76179" bIns="38089" rtlCol="0" anchor="ctr"/>
          <a:lstStyle>
            <a:lvl1pPr algn="ctr">
              <a:defRPr sz="800">
                <a:solidFill>
                  <a:schemeClr val="tx1"/>
                </a:solidFill>
                <a:latin typeface="Segoe UI" pitchFamily="34" charset="0"/>
                <a:ea typeface="Segoe UI" pitchFamily="34" charset="0"/>
                <a:cs typeface="Segoe UI" pitchFamily="34" charset="0"/>
              </a:defRPr>
            </a:lvl1pPr>
          </a:lstStyle>
          <a:p>
            <a:pPr defTabSz="1087779"/>
            <a:endParaRPr lang="en-US" dirty="0">
              <a:solidFill>
                <a:srgbClr val="505050"/>
              </a:solidFill>
            </a:endParaRPr>
          </a:p>
        </p:txBody>
      </p:sp>
      <p:sp>
        <p:nvSpPr>
          <p:cNvPr id="15" name="Text Placeholder 14"/>
          <p:cNvSpPr>
            <a:spLocks noGrp="1"/>
          </p:cNvSpPr>
          <p:nvPr>
            <p:ph type="body" idx="1"/>
          </p:nvPr>
        </p:nvSpPr>
        <p:spPr>
          <a:xfrm>
            <a:off x="150813" y="1600202"/>
            <a:ext cx="11887200" cy="4559531"/>
          </a:xfrm>
          <a:prstGeom prst="rect">
            <a:avLst/>
          </a:prstGeom>
        </p:spPr>
        <p:txBody>
          <a:bodyPr vert="horz" lIns="182880" tIns="91440" rIns="18288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212131"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779"/>
            <a:fld id="{FAADACFB-7C71-4E89-89D2-7BBA40B7BFA9}" type="slidenum">
              <a:rPr lang="en-US" smtClean="0">
                <a:solidFill>
                  <a:srgbClr val="505050"/>
                </a:solidFill>
              </a:rPr>
              <a:pPr defTabSz="1087779"/>
              <a:t>‹#›</a:t>
            </a:fld>
            <a:endParaRPr lang="en-US" dirty="0">
              <a:solidFill>
                <a:srgbClr val="505050"/>
              </a:solidFill>
            </a:endParaRPr>
          </a:p>
        </p:txBody>
      </p:sp>
    </p:spTree>
    <p:extLst>
      <p:ext uri="{BB962C8B-B14F-4D97-AF65-F5344CB8AC3E}">
        <p14:creationId xmlns:p14="http://schemas.microsoft.com/office/powerpoint/2010/main" val="2724775776"/>
      </p:ext>
    </p:extLst>
  </p:cSld>
  <p:clrMap bg1="lt1" tx1="dk1" bg2="lt2" tx2="dk2" accent1="accent1" accent2="accent2" accent3="accent3" accent4="accent4" accent5="accent5" accent6="accent6" hlink="hlink" folHlink="folHlink"/>
  <p:sldLayoutIdLst>
    <p:sldLayoutId id="2147484383" r:id="rId1"/>
    <p:sldLayoutId id="2147484384" r:id="rId2"/>
    <p:sldLayoutId id="2147484385" r:id="rId3"/>
    <p:sldLayoutId id="2147484386" r:id="rId4"/>
    <p:sldLayoutId id="2147484387" r:id="rId5"/>
    <p:sldLayoutId id="2147484388" r:id="rId6"/>
    <p:sldLayoutId id="2147484389" r:id="rId7"/>
    <p:sldLayoutId id="2147484390" r:id="rId8"/>
    <p:sldLayoutId id="2147484391" r:id="rId9"/>
    <p:sldLayoutId id="2147484392" r:id="rId10"/>
    <p:sldLayoutId id="2147484393" r:id="rId11"/>
    <p:sldLayoutId id="2147484394" r:id="rId12"/>
    <p:sldLayoutId id="2147484395" r:id="rId13"/>
    <p:sldLayoutId id="2147484396" r:id="rId14"/>
    <p:sldLayoutId id="2147484397" r:id="rId15"/>
    <p:sldLayoutId id="2147484398" r:id="rId16"/>
    <p:sldLayoutId id="2147484399" r:id="rId17"/>
  </p:sldLayoutIdLst>
  <p:transition>
    <p:fade/>
  </p:transition>
  <p:hf hdr="0" ftr="0" dt="0"/>
  <p:txStyles>
    <p:titleStyle>
      <a:lvl1pPr marL="0" algn="l" defTabSz="1087779" rtl="0" eaLnBrk="1" latinLnBrk="0" hangingPunct="1">
        <a:lnSpc>
          <a:spcPct val="90000"/>
        </a:lnSpc>
        <a:spcBef>
          <a:spcPct val="0"/>
        </a:spcBef>
        <a:buNone/>
        <a:defRPr lang="en-US" sz="3999"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7779" rtl="0" eaLnBrk="1" latinLnBrk="0" hangingPunct="1">
        <a:spcBef>
          <a:spcPts val="1799"/>
        </a:spcBef>
        <a:buClr>
          <a:srgbClr val="0072C6"/>
        </a:buClr>
        <a:buSzPct val="100000"/>
        <a:buFont typeface="Wingdings" pitchFamily="2" charset="2"/>
        <a:buNone/>
        <a:defRPr sz="2399" kern="1200">
          <a:solidFill>
            <a:schemeClr val="tx2"/>
          </a:solidFill>
          <a:latin typeface="Segoe UI" pitchFamily="34" charset="0"/>
          <a:ea typeface="Segoe UI" pitchFamily="34" charset="0"/>
          <a:cs typeface="Segoe UI" pitchFamily="34" charset="0"/>
        </a:defRPr>
      </a:lvl1pPr>
      <a:lvl2pPr marL="475927" indent="-194338" algn="l" defTabSz="1087779" rtl="0" eaLnBrk="1" latinLnBrk="0" hangingPunct="1">
        <a:spcBef>
          <a:spcPct val="20000"/>
        </a:spcBef>
        <a:buFont typeface="Arial" pitchFamily="34" charset="0"/>
        <a:buChar char="•"/>
        <a:defRPr sz="1799" kern="1200">
          <a:solidFill>
            <a:schemeClr val="tx1"/>
          </a:solidFill>
          <a:latin typeface="Segoe UI" pitchFamily="34" charset="0"/>
          <a:ea typeface="Segoe UI" pitchFamily="34" charset="0"/>
          <a:cs typeface="Segoe UI" pitchFamily="34" charset="0"/>
        </a:defRPr>
      </a:lvl2pPr>
      <a:lvl3pPr marL="761483" indent="-173184" algn="l" defTabSz="1087779"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040" indent="-177151" algn="l" defTabSz="108777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003" indent="-179795" algn="l" defTabSz="108777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392"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6pPr>
      <a:lvl7pPr marL="3535281"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7pPr>
      <a:lvl8pPr marL="4079172"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8pPr>
      <a:lvl9pPr marL="4623061"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9pPr>
    </p:bodyStyle>
    <p:otherStyle>
      <a:defPPr>
        <a:defRPr lang="en-US"/>
      </a:defPPr>
      <a:lvl1pPr marL="0" algn="l" defTabSz="1087779" rtl="0" eaLnBrk="1" latinLnBrk="0" hangingPunct="1">
        <a:defRPr sz="2199" kern="1200">
          <a:solidFill>
            <a:schemeClr val="tx1"/>
          </a:solidFill>
          <a:latin typeface="+mn-lt"/>
          <a:ea typeface="+mn-ea"/>
          <a:cs typeface="+mn-cs"/>
        </a:defRPr>
      </a:lvl1pPr>
      <a:lvl2pPr marL="543890" algn="l" defTabSz="1087779" rtl="0" eaLnBrk="1" latinLnBrk="0" hangingPunct="1">
        <a:defRPr sz="2199" kern="1200">
          <a:solidFill>
            <a:schemeClr val="tx1"/>
          </a:solidFill>
          <a:latin typeface="+mn-lt"/>
          <a:ea typeface="+mn-ea"/>
          <a:cs typeface="+mn-cs"/>
        </a:defRPr>
      </a:lvl2pPr>
      <a:lvl3pPr marL="1087779" algn="l" defTabSz="1087779" rtl="0" eaLnBrk="1" latinLnBrk="0" hangingPunct="1">
        <a:defRPr sz="2199" kern="1200">
          <a:solidFill>
            <a:schemeClr val="tx1"/>
          </a:solidFill>
          <a:latin typeface="+mn-lt"/>
          <a:ea typeface="+mn-ea"/>
          <a:cs typeface="+mn-cs"/>
        </a:defRPr>
      </a:lvl3pPr>
      <a:lvl4pPr marL="1631669" algn="l" defTabSz="1087779" rtl="0" eaLnBrk="1" latinLnBrk="0" hangingPunct="1">
        <a:defRPr sz="2199" kern="1200">
          <a:solidFill>
            <a:schemeClr val="tx1"/>
          </a:solidFill>
          <a:latin typeface="+mn-lt"/>
          <a:ea typeface="+mn-ea"/>
          <a:cs typeface="+mn-cs"/>
        </a:defRPr>
      </a:lvl4pPr>
      <a:lvl5pPr marL="2175558" algn="l" defTabSz="1087779" rtl="0" eaLnBrk="1" latinLnBrk="0" hangingPunct="1">
        <a:defRPr sz="2199" kern="1200">
          <a:solidFill>
            <a:schemeClr val="tx1"/>
          </a:solidFill>
          <a:latin typeface="+mn-lt"/>
          <a:ea typeface="+mn-ea"/>
          <a:cs typeface="+mn-cs"/>
        </a:defRPr>
      </a:lvl5pPr>
      <a:lvl6pPr marL="2719448" algn="l" defTabSz="1087779" rtl="0" eaLnBrk="1" latinLnBrk="0" hangingPunct="1">
        <a:defRPr sz="2199" kern="1200">
          <a:solidFill>
            <a:schemeClr val="tx1"/>
          </a:solidFill>
          <a:latin typeface="+mn-lt"/>
          <a:ea typeface="+mn-ea"/>
          <a:cs typeface="+mn-cs"/>
        </a:defRPr>
      </a:lvl6pPr>
      <a:lvl7pPr marL="3263337" algn="l" defTabSz="1087779" rtl="0" eaLnBrk="1" latinLnBrk="0" hangingPunct="1">
        <a:defRPr sz="2199" kern="1200">
          <a:solidFill>
            <a:schemeClr val="tx1"/>
          </a:solidFill>
          <a:latin typeface="+mn-lt"/>
          <a:ea typeface="+mn-ea"/>
          <a:cs typeface="+mn-cs"/>
        </a:defRPr>
      </a:lvl7pPr>
      <a:lvl8pPr marL="3807226" algn="l" defTabSz="1087779" rtl="0" eaLnBrk="1" latinLnBrk="0" hangingPunct="1">
        <a:defRPr sz="2199" kern="1200">
          <a:solidFill>
            <a:schemeClr val="tx1"/>
          </a:solidFill>
          <a:latin typeface="+mn-lt"/>
          <a:ea typeface="+mn-ea"/>
          <a:cs typeface="+mn-cs"/>
        </a:defRPr>
      </a:lvl8pPr>
      <a:lvl9pPr marL="4351116" algn="l" defTabSz="1087779" rtl="0" eaLnBrk="1" latinLnBrk="0" hangingPunct="1">
        <a:defRPr sz="21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1"/>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7588" name="think-cell Slide" r:id="rId22" imgW="377" imgH="377" progId="TCLayout.ActiveDocument.1">
                  <p:embed/>
                </p:oleObj>
              </mc:Choice>
              <mc:Fallback>
                <p:oleObj name="think-cell Slide" r:id="rId22" imgW="377" imgH="377" progId="TCLayout.ActiveDocument.1">
                  <p:embed/>
                  <p:pic>
                    <p:nvPicPr>
                      <p:cNvPr id="3" name="Object 2" hidden="1"/>
                      <p:cNvPicPr/>
                      <p:nvPr/>
                    </p:nvPicPr>
                    <p:blipFill>
                      <a:blip r:embed="rId23"/>
                      <a:stretch>
                        <a:fillRect/>
                      </a:stretch>
                    </p:blipFill>
                    <p:spPr>
                      <a:xfrm>
                        <a:off x="1589" y="1590"/>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88825" cy="646042"/>
          </a:xfrm>
          <a:prstGeom prst="rect">
            <a:avLst/>
          </a:prstGeom>
        </p:spPr>
        <p:txBody>
          <a:bodyPr vert="horz" lIns="320040" tIns="152357" rIns="53325" bIns="53325" rtlCol="0" anchor="t">
            <a:normAutofit/>
          </a:bodyPr>
          <a:lstStyle/>
          <a:p>
            <a:endParaRPr lang="en-US"/>
          </a:p>
        </p:txBody>
      </p:sp>
      <p:sp>
        <p:nvSpPr>
          <p:cNvPr id="7" name="Footer Placeholder 6"/>
          <p:cNvSpPr>
            <a:spLocks noGrp="1"/>
          </p:cNvSpPr>
          <p:nvPr>
            <p:ph type="ftr" sz="quarter" idx="3"/>
          </p:nvPr>
        </p:nvSpPr>
        <p:spPr>
          <a:xfrm>
            <a:off x="3047206" y="6477875"/>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7779"/>
            <a:endParaRPr lang="en-US">
              <a:solidFill>
                <a:srgbClr val="505050"/>
              </a:solidFill>
            </a:endParaRPr>
          </a:p>
        </p:txBody>
      </p:sp>
      <p:sp>
        <p:nvSpPr>
          <p:cNvPr id="15" name="Text Placeholder 14"/>
          <p:cNvSpPr>
            <a:spLocks noGrp="1"/>
          </p:cNvSpPr>
          <p:nvPr>
            <p:ph type="body" idx="1"/>
          </p:nvPr>
        </p:nvSpPr>
        <p:spPr>
          <a:xfrm>
            <a:off x="150813" y="1600202"/>
            <a:ext cx="11887200"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779"/>
            <a:fld id="{FAADACFB-7C71-4E89-89D2-7BBA40B7BFA9}" type="slidenum">
              <a:rPr lang="en-US" smtClean="0">
                <a:solidFill>
                  <a:srgbClr val="505050"/>
                </a:solidFill>
              </a:rPr>
              <a:pPr defTabSz="1087779"/>
              <a:t>‹#›</a:t>
            </a:fld>
            <a:endParaRPr lang="en-US">
              <a:solidFill>
                <a:srgbClr val="505050"/>
              </a:solidFill>
            </a:endParaRPr>
          </a:p>
        </p:txBody>
      </p:sp>
    </p:spTree>
    <p:extLst>
      <p:ext uri="{BB962C8B-B14F-4D97-AF65-F5344CB8AC3E}">
        <p14:creationId xmlns:p14="http://schemas.microsoft.com/office/powerpoint/2010/main" val="2723769434"/>
      </p:ext>
    </p:extLst>
  </p:cSld>
  <p:clrMap bg1="lt1" tx1="dk1" bg2="lt2" tx2="dk2" accent1="accent1" accent2="accent2" accent3="accent3" accent4="accent4" accent5="accent5" accent6="accent6" hlink="hlink" folHlink="folHlink"/>
  <p:sldLayoutIdLst>
    <p:sldLayoutId id="2147484401" r:id="rId1"/>
    <p:sldLayoutId id="2147484402" r:id="rId2"/>
    <p:sldLayoutId id="2147484403" r:id="rId3"/>
    <p:sldLayoutId id="2147484404" r:id="rId4"/>
    <p:sldLayoutId id="2147484405" r:id="rId5"/>
    <p:sldLayoutId id="2147484406" r:id="rId6"/>
    <p:sldLayoutId id="2147484407" r:id="rId7"/>
    <p:sldLayoutId id="2147484408" r:id="rId8"/>
    <p:sldLayoutId id="2147484409" r:id="rId9"/>
    <p:sldLayoutId id="2147484410" r:id="rId10"/>
    <p:sldLayoutId id="2147484411" r:id="rId11"/>
    <p:sldLayoutId id="2147484412" r:id="rId12"/>
    <p:sldLayoutId id="2147484413" r:id="rId13"/>
    <p:sldLayoutId id="2147484414" r:id="rId14"/>
    <p:sldLayoutId id="2147484415" r:id="rId15"/>
    <p:sldLayoutId id="2147484416" r:id="rId16"/>
    <p:sldLayoutId id="2147484417" r:id="rId17"/>
    <p:sldLayoutId id="2147484418" r:id="rId18"/>
  </p:sldLayoutIdLst>
  <p:transition>
    <p:fade/>
  </p:transition>
  <p:hf sldNum="0" hdr="0" ftr="0" dt="0"/>
  <p:txStyles>
    <p:titleStyle>
      <a:lvl1pPr marL="0" algn="l" defTabSz="1087779" rtl="0" eaLnBrk="1" latinLnBrk="0" hangingPunct="1">
        <a:lnSpc>
          <a:spcPct val="90000"/>
        </a:lnSpc>
        <a:spcBef>
          <a:spcPct val="0"/>
        </a:spcBef>
        <a:buNone/>
        <a:defRPr lang="en-US" sz="3999"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7779" rtl="0" eaLnBrk="1" latinLnBrk="0" hangingPunct="1">
        <a:spcBef>
          <a:spcPts val="1799"/>
        </a:spcBef>
        <a:buClr>
          <a:srgbClr val="0072C6"/>
        </a:buClr>
        <a:buSzPct val="100000"/>
        <a:buFont typeface="Wingdings" pitchFamily="2" charset="2"/>
        <a:buNone/>
        <a:defRPr sz="2399" kern="1200">
          <a:solidFill>
            <a:schemeClr val="tx2"/>
          </a:solidFill>
          <a:latin typeface="Segoe UI" pitchFamily="34" charset="0"/>
          <a:ea typeface="Segoe UI" pitchFamily="34" charset="0"/>
          <a:cs typeface="Segoe UI" pitchFamily="34" charset="0"/>
        </a:defRPr>
      </a:lvl1pPr>
      <a:lvl2pPr marL="475927" indent="-194338" algn="l" defTabSz="1087779" rtl="0" eaLnBrk="1" latinLnBrk="0" hangingPunct="1">
        <a:spcBef>
          <a:spcPct val="20000"/>
        </a:spcBef>
        <a:buFont typeface="Arial" pitchFamily="34" charset="0"/>
        <a:buChar char="•"/>
        <a:defRPr sz="1799" kern="1200">
          <a:solidFill>
            <a:schemeClr val="tx1"/>
          </a:solidFill>
          <a:latin typeface="Segoe UI" pitchFamily="34" charset="0"/>
          <a:ea typeface="Segoe UI" pitchFamily="34" charset="0"/>
          <a:cs typeface="Segoe UI" pitchFamily="34" charset="0"/>
        </a:defRPr>
      </a:lvl2pPr>
      <a:lvl3pPr marL="761483" indent="-173184" algn="l" defTabSz="1087779"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040" indent="-177151" algn="l" defTabSz="108777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003" indent="-179795" algn="l" defTabSz="108777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392"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6pPr>
      <a:lvl7pPr marL="3535281"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7pPr>
      <a:lvl8pPr marL="4079172"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8pPr>
      <a:lvl9pPr marL="4623061"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9pPr>
    </p:bodyStyle>
    <p:otherStyle>
      <a:defPPr>
        <a:defRPr lang="en-US"/>
      </a:defPPr>
      <a:lvl1pPr marL="0" algn="l" defTabSz="1087779" rtl="0" eaLnBrk="1" latinLnBrk="0" hangingPunct="1">
        <a:defRPr sz="2199" kern="1200">
          <a:solidFill>
            <a:schemeClr val="tx1"/>
          </a:solidFill>
          <a:latin typeface="+mn-lt"/>
          <a:ea typeface="+mn-ea"/>
          <a:cs typeface="+mn-cs"/>
        </a:defRPr>
      </a:lvl1pPr>
      <a:lvl2pPr marL="543890" algn="l" defTabSz="1087779" rtl="0" eaLnBrk="1" latinLnBrk="0" hangingPunct="1">
        <a:defRPr sz="2199" kern="1200">
          <a:solidFill>
            <a:schemeClr val="tx1"/>
          </a:solidFill>
          <a:latin typeface="+mn-lt"/>
          <a:ea typeface="+mn-ea"/>
          <a:cs typeface="+mn-cs"/>
        </a:defRPr>
      </a:lvl2pPr>
      <a:lvl3pPr marL="1087779" algn="l" defTabSz="1087779" rtl="0" eaLnBrk="1" latinLnBrk="0" hangingPunct="1">
        <a:defRPr sz="2199" kern="1200">
          <a:solidFill>
            <a:schemeClr val="tx1"/>
          </a:solidFill>
          <a:latin typeface="+mn-lt"/>
          <a:ea typeface="+mn-ea"/>
          <a:cs typeface="+mn-cs"/>
        </a:defRPr>
      </a:lvl3pPr>
      <a:lvl4pPr marL="1631669" algn="l" defTabSz="1087779" rtl="0" eaLnBrk="1" latinLnBrk="0" hangingPunct="1">
        <a:defRPr sz="2199" kern="1200">
          <a:solidFill>
            <a:schemeClr val="tx1"/>
          </a:solidFill>
          <a:latin typeface="+mn-lt"/>
          <a:ea typeface="+mn-ea"/>
          <a:cs typeface="+mn-cs"/>
        </a:defRPr>
      </a:lvl4pPr>
      <a:lvl5pPr marL="2175558" algn="l" defTabSz="1087779" rtl="0" eaLnBrk="1" latinLnBrk="0" hangingPunct="1">
        <a:defRPr sz="2199" kern="1200">
          <a:solidFill>
            <a:schemeClr val="tx1"/>
          </a:solidFill>
          <a:latin typeface="+mn-lt"/>
          <a:ea typeface="+mn-ea"/>
          <a:cs typeface="+mn-cs"/>
        </a:defRPr>
      </a:lvl5pPr>
      <a:lvl6pPr marL="2719448" algn="l" defTabSz="1087779" rtl="0" eaLnBrk="1" latinLnBrk="0" hangingPunct="1">
        <a:defRPr sz="2199" kern="1200">
          <a:solidFill>
            <a:schemeClr val="tx1"/>
          </a:solidFill>
          <a:latin typeface="+mn-lt"/>
          <a:ea typeface="+mn-ea"/>
          <a:cs typeface="+mn-cs"/>
        </a:defRPr>
      </a:lvl6pPr>
      <a:lvl7pPr marL="3263337" algn="l" defTabSz="1087779" rtl="0" eaLnBrk="1" latinLnBrk="0" hangingPunct="1">
        <a:defRPr sz="2199" kern="1200">
          <a:solidFill>
            <a:schemeClr val="tx1"/>
          </a:solidFill>
          <a:latin typeface="+mn-lt"/>
          <a:ea typeface="+mn-ea"/>
          <a:cs typeface="+mn-cs"/>
        </a:defRPr>
      </a:lvl7pPr>
      <a:lvl8pPr marL="3807226" algn="l" defTabSz="1087779" rtl="0" eaLnBrk="1" latinLnBrk="0" hangingPunct="1">
        <a:defRPr sz="2199" kern="1200">
          <a:solidFill>
            <a:schemeClr val="tx1"/>
          </a:solidFill>
          <a:latin typeface="+mn-lt"/>
          <a:ea typeface="+mn-ea"/>
          <a:cs typeface="+mn-cs"/>
        </a:defRPr>
      </a:lvl8pPr>
      <a:lvl9pPr marL="4351116" algn="l" defTabSz="1087779" rtl="0" eaLnBrk="1" latinLnBrk="0" hangingPunct="1">
        <a:defRPr sz="21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 y="2"/>
            <a:ext cx="12188825" cy="646042"/>
          </a:xfrm>
          <a:prstGeom prst="rect">
            <a:avLst/>
          </a:prstGeom>
        </p:spPr>
        <p:txBody>
          <a:bodyPr vert="horz" lIns="320040" tIns="152357" rIns="53325" bIns="53325" rtlCol="0" anchor="ctr">
            <a:normAutofit/>
          </a:bodyPr>
          <a:lstStyle/>
          <a:p>
            <a:endParaRPr lang="en-US"/>
          </a:p>
        </p:txBody>
      </p:sp>
      <p:sp>
        <p:nvSpPr>
          <p:cNvPr id="15" name="Text Placeholder 14"/>
          <p:cNvSpPr>
            <a:spLocks noGrp="1"/>
          </p:cNvSpPr>
          <p:nvPr>
            <p:ph type="body" idx="1"/>
          </p:nvPr>
        </p:nvSpPr>
        <p:spPr>
          <a:xfrm>
            <a:off x="150813" y="1600202"/>
            <a:ext cx="11887200"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4"/>
          </p:nvPr>
        </p:nvSpPr>
        <p:spPr>
          <a:xfrm>
            <a:off x="11215250"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853024414"/>
      </p:ext>
    </p:extLst>
  </p:cSld>
  <p:clrMap bg1="lt1" tx1="dk1" bg2="lt2" tx2="dk2" accent1="accent1" accent2="accent2" accent3="accent3" accent4="accent4" accent5="accent5" accent6="accent6" hlink="hlink" folHlink="folHlink"/>
  <p:sldLayoutIdLst>
    <p:sldLayoutId id="2147484023" r:id="rId1"/>
    <p:sldLayoutId id="2147484024" r:id="rId2"/>
    <p:sldLayoutId id="2147484025" r:id="rId3"/>
    <p:sldLayoutId id="2147484026" r:id="rId4"/>
    <p:sldLayoutId id="2147484027" r:id="rId5"/>
    <p:sldLayoutId id="2147484028" r:id="rId6"/>
    <p:sldLayoutId id="2147484029" r:id="rId7"/>
    <p:sldLayoutId id="2147484030" r:id="rId8"/>
    <p:sldLayoutId id="2147484031" r:id="rId9"/>
    <p:sldLayoutId id="2147484032" r:id="rId10"/>
    <p:sldLayoutId id="2147484033" r:id="rId11"/>
    <p:sldLayoutId id="2147484034" r:id="rId12"/>
    <p:sldLayoutId id="2147484035" r:id="rId13"/>
    <p:sldLayoutId id="2147484036" r:id="rId14"/>
    <p:sldLayoutId id="2147484037" r:id="rId15"/>
    <p:sldLayoutId id="2147484038" r:id="rId16"/>
    <p:sldLayoutId id="2147484039" r:id="rId17"/>
    <p:sldLayoutId id="2147484040" r:id="rId18"/>
    <p:sldLayoutId id="2147484041" r:id="rId19"/>
  </p:sldLayoutIdLst>
  <p:transition>
    <p:fade/>
  </p:transition>
  <p:hf hdr="0" ftr="0" dt="0"/>
  <p:txStyles>
    <p:titleStyle>
      <a:lvl1pPr marL="0" algn="l" defTabSz="1087779" rtl="0" eaLnBrk="1" latinLnBrk="0" hangingPunct="1">
        <a:lnSpc>
          <a:spcPct val="90000"/>
        </a:lnSpc>
        <a:spcBef>
          <a:spcPct val="0"/>
        </a:spcBef>
        <a:buNone/>
        <a:defRPr lang="en-US" sz="3999"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7779" rtl="0" eaLnBrk="1" latinLnBrk="0" hangingPunct="1">
        <a:spcBef>
          <a:spcPts val="1799"/>
        </a:spcBef>
        <a:buClr>
          <a:srgbClr val="0072C6"/>
        </a:buClr>
        <a:buSzPct val="100000"/>
        <a:buFont typeface="Wingdings" pitchFamily="2" charset="2"/>
        <a:buNone/>
        <a:defRPr sz="2399" kern="1200">
          <a:solidFill>
            <a:schemeClr val="tx2"/>
          </a:solidFill>
          <a:latin typeface="Segoe UI" pitchFamily="34" charset="0"/>
          <a:ea typeface="Segoe UI" pitchFamily="34" charset="0"/>
          <a:cs typeface="Segoe UI" pitchFamily="34" charset="0"/>
        </a:defRPr>
      </a:lvl1pPr>
      <a:lvl2pPr marL="475927" indent="-194338" algn="l" defTabSz="1087779" rtl="0" eaLnBrk="1" latinLnBrk="0" hangingPunct="1">
        <a:spcBef>
          <a:spcPct val="20000"/>
        </a:spcBef>
        <a:buFont typeface="Arial" pitchFamily="34" charset="0"/>
        <a:buChar char="•"/>
        <a:defRPr sz="1799" kern="1200">
          <a:solidFill>
            <a:schemeClr val="tx1"/>
          </a:solidFill>
          <a:latin typeface="Segoe UI" pitchFamily="34" charset="0"/>
          <a:ea typeface="Segoe UI" pitchFamily="34" charset="0"/>
          <a:cs typeface="Segoe UI" pitchFamily="34" charset="0"/>
        </a:defRPr>
      </a:lvl2pPr>
      <a:lvl3pPr marL="761483" indent="-173184" algn="l" defTabSz="1087779"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040" indent="-177151" algn="l" defTabSz="108777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003" indent="-179795" algn="l" defTabSz="108777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392"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6pPr>
      <a:lvl7pPr marL="3535281"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7pPr>
      <a:lvl8pPr marL="4079172"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8pPr>
      <a:lvl9pPr marL="4623061"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9pPr>
    </p:bodyStyle>
    <p:otherStyle>
      <a:defPPr>
        <a:defRPr lang="en-US"/>
      </a:defPPr>
      <a:lvl1pPr marL="0" algn="l" defTabSz="1087779" rtl="0" eaLnBrk="1" latinLnBrk="0" hangingPunct="1">
        <a:defRPr sz="2199" kern="1200">
          <a:solidFill>
            <a:schemeClr val="tx1"/>
          </a:solidFill>
          <a:latin typeface="+mn-lt"/>
          <a:ea typeface="+mn-ea"/>
          <a:cs typeface="+mn-cs"/>
        </a:defRPr>
      </a:lvl1pPr>
      <a:lvl2pPr marL="543890" algn="l" defTabSz="1087779" rtl="0" eaLnBrk="1" latinLnBrk="0" hangingPunct="1">
        <a:defRPr sz="2199" kern="1200">
          <a:solidFill>
            <a:schemeClr val="tx1"/>
          </a:solidFill>
          <a:latin typeface="+mn-lt"/>
          <a:ea typeface="+mn-ea"/>
          <a:cs typeface="+mn-cs"/>
        </a:defRPr>
      </a:lvl2pPr>
      <a:lvl3pPr marL="1087779" algn="l" defTabSz="1087779" rtl="0" eaLnBrk="1" latinLnBrk="0" hangingPunct="1">
        <a:defRPr sz="2199" kern="1200">
          <a:solidFill>
            <a:schemeClr val="tx1"/>
          </a:solidFill>
          <a:latin typeface="+mn-lt"/>
          <a:ea typeface="+mn-ea"/>
          <a:cs typeface="+mn-cs"/>
        </a:defRPr>
      </a:lvl3pPr>
      <a:lvl4pPr marL="1631669" algn="l" defTabSz="1087779" rtl="0" eaLnBrk="1" latinLnBrk="0" hangingPunct="1">
        <a:defRPr sz="2199" kern="1200">
          <a:solidFill>
            <a:schemeClr val="tx1"/>
          </a:solidFill>
          <a:latin typeface="+mn-lt"/>
          <a:ea typeface="+mn-ea"/>
          <a:cs typeface="+mn-cs"/>
        </a:defRPr>
      </a:lvl4pPr>
      <a:lvl5pPr marL="2175558" algn="l" defTabSz="1087779" rtl="0" eaLnBrk="1" latinLnBrk="0" hangingPunct="1">
        <a:defRPr sz="2199" kern="1200">
          <a:solidFill>
            <a:schemeClr val="tx1"/>
          </a:solidFill>
          <a:latin typeface="+mn-lt"/>
          <a:ea typeface="+mn-ea"/>
          <a:cs typeface="+mn-cs"/>
        </a:defRPr>
      </a:lvl5pPr>
      <a:lvl6pPr marL="2719448" algn="l" defTabSz="1087779" rtl="0" eaLnBrk="1" latinLnBrk="0" hangingPunct="1">
        <a:defRPr sz="2199" kern="1200">
          <a:solidFill>
            <a:schemeClr val="tx1"/>
          </a:solidFill>
          <a:latin typeface="+mn-lt"/>
          <a:ea typeface="+mn-ea"/>
          <a:cs typeface="+mn-cs"/>
        </a:defRPr>
      </a:lvl6pPr>
      <a:lvl7pPr marL="3263337" algn="l" defTabSz="1087779" rtl="0" eaLnBrk="1" latinLnBrk="0" hangingPunct="1">
        <a:defRPr sz="2199" kern="1200">
          <a:solidFill>
            <a:schemeClr val="tx1"/>
          </a:solidFill>
          <a:latin typeface="+mn-lt"/>
          <a:ea typeface="+mn-ea"/>
          <a:cs typeface="+mn-cs"/>
        </a:defRPr>
      </a:lvl7pPr>
      <a:lvl8pPr marL="3807226" algn="l" defTabSz="1087779" rtl="0" eaLnBrk="1" latinLnBrk="0" hangingPunct="1">
        <a:defRPr sz="2199" kern="1200">
          <a:solidFill>
            <a:schemeClr val="tx1"/>
          </a:solidFill>
          <a:latin typeface="+mn-lt"/>
          <a:ea typeface="+mn-ea"/>
          <a:cs typeface="+mn-cs"/>
        </a:defRPr>
      </a:lvl8pPr>
      <a:lvl9pPr marL="4351116" algn="l" defTabSz="1087779" rtl="0" eaLnBrk="1" latinLnBrk="0" hangingPunct="1">
        <a:defRPr sz="21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9"/>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028" name="think-cell Slide" r:id="rId20" imgW="377" imgH="377" progId="TCLayout.ActiveDocument.1">
                  <p:embed/>
                </p:oleObj>
              </mc:Choice>
              <mc:Fallback>
                <p:oleObj name="think-cell Slide" r:id="rId20" imgW="377" imgH="377" progId="TCLayout.ActiveDocument.1">
                  <p:embed/>
                  <p:pic>
                    <p:nvPicPr>
                      <p:cNvPr id="3" name="Object 2" hidden="1"/>
                      <p:cNvPicPr/>
                      <p:nvPr/>
                    </p:nvPicPr>
                    <p:blipFill>
                      <a:blip r:embed="rId21"/>
                      <a:stretch>
                        <a:fillRect/>
                      </a:stretch>
                    </p:blipFill>
                    <p:spPr>
                      <a:xfrm>
                        <a:off x="1589" y="1590"/>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88825" cy="646042"/>
          </a:xfrm>
          <a:prstGeom prst="rect">
            <a:avLst/>
          </a:prstGeom>
        </p:spPr>
        <p:txBody>
          <a:bodyPr vert="horz" lIns="320040" tIns="152357" rIns="53325" bIns="53325" rtlCol="0" anchor="t">
            <a:normAutofit/>
          </a:bodyPr>
          <a:lstStyle/>
          <a:p>
            <a:endParaRPr lang="en-US"/>
          </a:p>
        </p:txBody>
      </p:sp>
      <p:sp>
        <p:nvSpPr>
          <p:cNvPr id="7" name="Footer Placeholder 6"/>
          <p:cNvSpPr>
            <a:spLocks noGrp="1"/>
          </p:cNvSpPr>
          <p:nvPr>
            <p:ph type="ftr" sz="quarter" idx="3"/>
          </p:nvPr>
        </p:nvSpPr>
        <p:spPr>
          <a:xfrm>
            <a:off x="3047206" y="6477875"/>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endParaRPr lang="en-US">
              <a:solidFill>
                <a:srgbClr val="505050"/>
              </a:solidFill>
            </a:endParaRPr>
          </a:p>
        </p:txBody>
      </p:sp>
      <p:sp>
        <p:nvSpPr>
          <p:cNvPr id="15" name="Text Placeholder 14"/>
          <p:cNvSpPr>
            <a:spLocks noGrp="1"/>
          </p:cNvSpPr>
          <p:nvPr>
            <p:ph type="body" idx="1"/>
          </p:nvPr>
        </p:nvSpPr>
        <p:spPr>
          <a:xfrm>
            <a:off x="150813" y="1600202"/>
            <a:ext cx="11887200"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29014678"/>
      </p:ext>
    </p:extLst>
  </p:cSld>
  <p:clrMap bg1="lt1" tx1="dk1" bg2="lt2" tx2="dk2" accent1="accent1" accent2="accent2" accent3="accent3" accent4="accent4" accent5="accent5" accent6="accent6" hlink="hlink" folHlink="folHlink"/>
  <p:sldLayoutIdLst>
    <p:sldLayoutId id="2147484043" r:id="rId1"/>
    <p:sldLayoutId id="2147484044" r:id="rId2"/>
    <p:sldLayoutId id="2147484045" r:id="rId3"/>
    <p:sldLayoutId id="2147484046" r:id="rId4"/>
    <p:sldLayoutId id="2147484047" r:id="rId5"/>
    <p:sldLayoutId id="2147484048" r:id="rId6"/>
    <p:sldLayoutId id="2147484049" r:id="rId7"/>
    <p:sldLayoutId id="2147484050" r:id="rId8"/>
    <p:sldLayoutId id="2147484051" r:id="rId9"/>
    <p:sldLayoutId id="2147484052" r:id="rId10"/>
    <p:sldLayoutId id="2147484053" r:id="rId11"/>
    <p:sldLayoutId id="2147484054" r:id="rId12"/>
    <p:sldLayoutId id="2147484055" r:id="rId13"/>
    <p:sldLayoutId id="2147484056" r:id="rId14"/>
    <p:sldLayoutId id="2147484057" r:id="rId15"/>
    <p:sldLayoutId id="2147484058" r:id="rId16"/>
  </p:sldLayoutIdLst>
  <p:transition>
    <p:fade/>
  </p:transition>
  <p:hf sldNum="0" hdr="0" ftr="0" dt="0"/>
  <p:txStyles>
    <p:titleStyle>
      <a:lvl1pPr marL="0" algn="l" defTabSz="1087779" rtl="0" eaLnBrk="1" latinLnBrk="0" hangingPunct="1">
        <a:lnSpc>
          <a:spcPct val="90000"/>
        </a:lnSpc>
        <a:spcBef>
          <a:spcPct val="0"/>
        </a:spcBef>
        <a:buNone/>
        <a:defRPr lang="en-US" sz="3999"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7779" rtl="0" eaLnBrk="1" latinLnBrk="0" hangingPunct="1">
        <a:spcBef>
          <a:spcPts val="1799"/>
        </a:spcBef>
        <a:buClr>
          <a:srgbClr val="0072C6"/>
        </a:buClr>
        <a:buSzPct val="100000"/>
        <a:buFont typeface="Wingdings" pitchFamily="2" charset="2"/>
        <a:buNone/>
        <a:defRPr sz="2399" kern="1200">
          <a:solidFill>
            <a:schemeClr val="tx2"/>
          </a:solidFill>
          <a:latin typeface="Segoe UI" pitchFamily="34" charset="0"/>
          <a:ea typeface="Segoe UI" pitchFamily="34" charset="0"/>
          <a:cs typeface="Segoe UI" pitchFamily="34" charset="0"/>
        </a:defRPr>
      </a:lvl1pPr>
      <a:lvl2pPr marL="475927" indent="-194338" algn="l" defTabSz="1087779" rtl="0" eaLnBrk="1" latinLnBrk="0" hangingPunct="1">
        <a:spcBef>
          <a:spcPct val="20000"/>
        </a:spcBef>
        <a:buFont typeface="Arial" pitchFamily="34" charset="0"/>
        <a:buChar char="•"/>
        <a:defRPr sz="1799" kern="1200">
          <a:solidFill>
            <a:schemeClr val="tx1"/>
          </a:solidFill>
          <a:latin typeface="Segoe UI" pitchFamily="34" charset="0"/>
          <a:ea typeface="Segoe UI" pitchFamily="34" charset="0"/>
          <a:cs typeface="Segoe UI" pitchFamily="34" charset="0"/>
        </a:defRPr>
      </a:lvl2pPr>
      <a:lvl3pPr marL="761483" indent="-173184" algn="l" defTabSz="1087779"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040" indent="-177151" algn="l" defTabSz="108777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003" indent="-179795" algn="l" defTabSz="108777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392"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6pPr>
      <a:lvl7pPr marL="3535281"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7pPr>
      <a:lvl8pPr marL="4079172"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8pPr>
      <a:lvl9pPr marL="4623061"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9pPr>
    </p:bodyStyle>
    <p:otherStyle>
      <a:defPPr>
        <a:defRPr lang="en-US"/>
      </a:defPPr>
      <a:lvl1pPr marL="0" algn="l" defTabSz="1087779" rtl="0" eaLnBrk="1" latinLnBrk="0" hangingPunct="1">
        <a:defRPr sz="2199" kern="1200">
          <a:solidFill>
            <a:schemeClr val="tx1"/>
          </a:solidFill>
          <a:latin typeface="+mn-lt"/>
          <a:ea typeface="+mn-ea"/>
          <a:cs typeface="+mn-cs"/>
        </a:defRPr>
      </a:lvl1pPr>
      <a:lvl2pPr marL="543890" algn="l" defTabSz="1087779" rtl="0" eaLnBrk="1" latinLnBrk="0" hangingPunct="1">
        <a:defRPr sz="2199" kern="1200">
          <a:solidFill>
            <a:schemeClr val="tx1"/>
          </a:solidFill>
          <a:latin typeface="+mn-lt"/>
          <a:ea typeface="+mn-ea"/>
          <a:cs typeface="+mn-cs"/>
        </a:defRPr>
      </a:lvl2pPr>
      <a:lvl3pPr marL="1087779" algn="l" defTabSz="1087779" rtl="0" eaLnBrk="1" latinLnBrk="0" hangingPunct="1">
        <a:defRPr sz="2199" kern="1200">
          <a:solidFill>
            <a:schemeClr val="tx1"/>
          </a:solidFill>
          <a:latin typeface="+mn-lt"/>
          <a:ea typeface="+mn-ea"/>
          <a:cs typeface="+mn-cs"/>
        </a:defRPr>
      </a:lvl3pPr>
      <a:lvl4pPr marL="1631669" algn="l" defTabSz="1087779" rtl="0" eaLnBrk="1" latinLnBrk="0" hangingPunct="1">
        <a:defRPr sz="2199" kern="1200">
          <a:solidFill>
            <a:schemeClr val="tx1"/>
          </a:solidFill>
          <a:latin typeface="+mn-lt"/>
          <a:ea typeface="+mn-ea"/>
          <a:cs typeface="+mn-cs"/>
        </a:defRPr>
      </a:lvl4pPr>
      <a:lvl5pPr marL="2175558" algn="l" defTabSz="1087779" rtl="0" eaLnBrk="1" latinLnBrk="0" hangingPunct="1">
        <a:defRPr sz="2199" kern="1200">
          <a:solidFill>
            <a:schemeClr val="tx1"/>
          </a:solidFill>
          <a:latin typeface="+mn-lt"/>
          <a:ea typeface="+mn-ea"/>
          <a:cs typeface="+mn-cs"/>
        </a:defRPr>
      </a:lvl5pPr>
      <a:lvl6pPr marL="2719448" algn="l" defTabSz="1087779" rtl="0" eaLnBrk="1" latinLnBrk="0" hangingPunct="1">
        <a:defRPr sz="2199" kern="1200">
          <a:solidFill>
            <a:schemeClr val="tx1"/>
          </a:solidFill>
          <a:latin typeface="+mn-lt"/>
          <a:ea typeface="+mn-ea"/>
          <a:cs typeface="+mn-cs"/>
        </a:defRPr>
      </a:lvl6pPr>
      <a:lvl7pPr marL="3263337" algn="l" defTabSz="1087779" rtl="0" eaLnBrk="1" latinLnBrk="0" hangingPunct="1">
        <a:defRPr sz="2199" kern="1200">
          <a:solidFill>
            <a:schemeClr val="tx1"/>
          </a:solidFill>
          <a:latin typeface="+mn-lt"/>
          <a:ea typeface="+mn-ea"/>
          <a:cs typeface="+mn-cs"/>
        </a:defRPr>
      </a:lvl7pPr>
      <a:lvl8pPr marL="3807226" algn="l" defTabSz="1087779" rtl="0" eaLnBrk="1" latinLnBrk="0" hangingPunct="1">
        <a:defRPr sz="2199" kern="1200">
          <a:solidFill>
            <a:schemeClr val="tx1"/>
          </a:solidFill>
          <a:latin typeface="+mn-lt"/>
          <a:ea typeface="+mn-ea"/>
          <a:cs typeface="+mn-cs"/>
        </a:defRPr>
      </a:lvl8pPr>
      <a:lvl9pPr marL="4351116" algn="l" defTabSz="1087779" rtl="0" eaLnBrk="1" latinLnBrk="0" hangingPunct="1">
        <a:defRPr sz="21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3" y="289516"/>
            <a:ext cx="11652805"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171" y="1189178"/>
            <a:ext cx="11650486"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p:cNvSpPr>
            <a:spLocks noGrp="1"/>
          </p:cNvSpPr>
          <p:nvPr>
            <p:ph type="sldNum" sz="quarter" idx="4"/>
          </p:nvPr>
        </p:nvSpPr>
        <p:spPr>
          <a:xfrm>
            <a:off x="7780" y="6486818"/>
            <a:ext cx="2741474" cy="364224"/>
          </a:xfrm>
          <a:prstGeom prst="rect">
            <a:avLst/>
          </a:prstGeom>
        </p:spPr>
        <p:txBody>
          <a:bodyPr vert="horz" lIns="91440" tIns="45720" rIns="91440" bIns="45720" rtlCol="0" anchor="ctr"/>
          <a:lstStyle>
            <a:lvl1pPr algn="l">
              <a:defRPr sz="1176">
                <a:solidFill>
                  <a:schemeClr val="tx1">
                    <a:tint val="75000"/>
                  </a:schemeClr>
                </a:solidFill>
              </a:defRPr>
            </a:lvl1pPr>
          </a:lstStyle>
          <a:p>
            <a:pPr marL="167972" defTabSz="913819"/>
            <a:fld id="{C9A871AC-A86D-4E3C-88B8-BCF6B56DF8AD}" type="slidenum">
              <a:rPr lang="en-US" smtClean="0">
                <a:solidFill>
                  <a:srgbClr val="505050">
                    <a:tint val="75000"/>
                  </a:srgbClr>
                </a:solidFill>
              </a:rPr>
              <a:pPr marL="167972" defTabSz="913819"/>
              <a:t>‹#›</a:t>
            </a:fld>
            <a:endParaRPr lang="en-US">
              <a:solidFill>
                <a:srgbClr val="505050">
                  <a:tint val="75000"/>
                </a:srgbClr>
              </a:solidFill>
            </a:endParaRPr>
          </a:p>
        </p:txBody>
      </p:sp>
      <p:sp>
        <p:nvSpPr>
          <p:cNvPr id="6" name="Footer Placeholder 5"/>
          <p:cNvSpPr>
            <a:spLocks noGrp="1"/>
          </p:cNvSpPr>
          <p:nvPr>
            <p:ph type="ftr" sz="quarter" idx="3"/>
          </p:nvPr>
        </p:nvSpPr>
        <p:spPr>
          <a:xfrm>
            <a:off x="4037533" y="6356803"/>
            <a:ext cx="4113767" cy="364224"/>
          </a:xfrm>
          <a:prstGeom prst="rect">
            <a:avLst/>
          </a:prstGeom>
        </p:spPr>
        <p:txBody>
          <a:bodyPr vert="horz" lIns="91440" tIns="45720" rIns="91440" bIns="45720" rtlCol="0" anchor="ctr"/>
          <a:lstStyle>
            <a:lvl1pPr algn="ctr">
              <a:defRPr sz="1176">
                <a:solidFill>
                  <a:schemeClr val="tx1">
                    <a:tint val="75000"/>
                  </a:schemeClr>
                </a:solidFill>
              </a:defRPr>
            </a:lvl1pPr>
          </a:lstStyle>
          <a:p>
            <a:pPr defTabSz="913819"/>
            <a:endParaRPr lang="en-US">
              <a:solidFill>
                <a:srgbClr val="505050">
                  <a:tint val="75000"/>
                </a:srgbClr>
              </a:solidFill>
            </a:endParaRPr>
          </a:p>
        </p:txBody>
      </p:sp>
    </p:spTree>
    <p:extLst>
      <p:ext uri="{BB962C8B-B14F-4D97-AF65-F5344CB8AC3E}">
        <p14:creationId xmlns:p14="http://schemas.microsoft.com/office/powerpoint/2010/main" val="3174060708"/>
      </p:ext>
    </p:extLst>
  </p:cSld>
  <p:clrMap bg1="lt1" tx1="dk1" bg2="lt2" tx2="dk2" accent1="accent1" accent2="accent2" accent3="accent3" accent4="accent4" accent5="accent5" accent6="accent6" hlink="hlink" folHlink="folHlink"/>
  <p:sldLayoutIdLst>
    <p:sldLayoutId id="2147484060" r:id="rId1"/>
    <p:sldLayoutId id="2147484061" r:id="rId2"/>
    <p:sldLayoutId id="2147484062" r:id="rId3"/>
    <p:sldLayoutId id="2147484063" r:id="rId4"/>
    <p:sldLayoutId id="2147484064" r:id="rId5"/>
    <p:sldLayoutId id="2147484065" r:id="rId6"/>
    <p:sldLayoutId id="2147484066" r:id="rId7"/>
    <p:sldLayoutId id="2147484067" r:id="rId8"/>
    <p:sldLayoutId id="2147484068" r:id="rId9"/>
    <p:sldLayoutId id="2147484069" r:id="rId10"/>
    <p:sldLayoutId id="2147484070" r:id="rId11"/>
    <p:sldLayoutId id="2147484071" r:id="rId12"/>
    <p:sldLayoutId id="2147484072" r:id="rId13"/>
    <p:sldLayoutId id="2147484073" r:id="rId14"/>
    <p:sldLayoutId id="2147484074" r:id="rId15"/>
    <p:sldLayoutId id="2147484076" r:id="rId16"/>
  </p:sldLayoutIdLst>
  <p:transition>
    <p:fade/>
  </p:transition>
  <p:hf hdr="0" ftr="0" dt="0"/>
  <p:txStyles>
    <p:titleStyle>
      <a:lvl1pPr algn="l" defTabSz="913819" rtl="0" eaLnBrk="1" latinLnBrk="0" hangingPunct="1">
        <a:lnSpc>
          <a:spcPct val="90000"/>
        </a:lnSpc>
        <a:spcBef>
          <a:spcPct val="0"/>
        </a:spcBef>
        <a:buNone/>
        <a:defRPr lang="en-US" sz="4703" b="1"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43" marR="0" indent="-335943" algn="l" defTabSz="913819"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19" kern="1200" spc="0" baseline="0">
          <a:gradFill>
            <a:gsLst>
              <a:gs pos="1250">
                <a:schemeClr val="tx1"/>
              </a:gs>
              <a:gs pos="100000">
                <a:schemeClr val="tx1"/>
              </a:gs>
            </a:gsLst>
            <a:lin ang="5400000" scaled="0"/>
          </a:gradFill>
          <a:latin typeface="+mj-lt"/>
          <a:ea typeface="+mn-ea"/>
          <a:cs typeface="+mn-cs"/>
        </a:defRPr>
      </a:lvl1pPr>
      <a:lvl2pPr marL="572347" marR="0" indent="-236404" algn="l" defTabSz="913819"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1" kern="1200" spc="0" baseline="0">
          <a:gradFill>
            <a:gsLst>
              <a:gs pos="1250">
                <a:schemeClr val="tx1"/>
              </a:gs>
              <a:gs pos="100000">
                <a:schemeClr val="tx1"/>
              </a:gs>
            </a:gsLst>
            <a:lin ang="5400000" scaled="0"/>
          </a:gradFill>
          <a:latin typeface="+mn-lt"/>
          <a:ea typeface="+mn-ea"/>
          <a:cs typeface="+mn-cs"/>
        </a:defRPr>
      </a:lvl2pPr>
      <a:lvl3pPr marL="783868" marR="0" indent="-223963" algn="l" defTabSz="913819"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1" kern="1200" spc="0" baseline="0">
          <a:gradFill>
            <a:gsLst>
              <a:gs pos="1250">
                <a:schemeClr val="tx1"/>
              </a:gs>
              <a:gs pos="100000">
                <a:schemeClr val="tx1"/>
              </a:gs>
            </a:gsLst>
            <a:lin ang="5400000" scaled="0"/>
          </a:gradFill>
          <a:latin typeface="+mn-lt"/>
          <a:ea typeface="+mn-ea"/>
          <a:cs typeface="+mn-cs"/>
        </a:defRPr>
      </a:lvl3pPr>
      <a:lvl4pPr marL="1007830" marR="0" indent="-223963" algn="l" defTabSz="913819"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59" kern="1200" spc="0" baseline="0">
          <a:gradFill>
            <a:gsLst>
              <a:gs pos="1250">
                <a:schemeClr val="tx1"/>
              </a:gs>
              <a:gs pos="100000">
                <a:schemeClr val="tx1"/>
              </a:gs>
            </a:gsLst>
            <a:lin ang="5400000" scaled="0"/>
          </a:gradFill>
          <a:latin typeface="+mn-lt"/>
          <a:ea typeface="+mn-ea"/>
          <a:cs typeface="+mn-cs"/>
        </a:defRPr>
      </a:lvl4pPr>
      <a:lvl5pPr marL="1231791" marR="0" indent="-223963" algn="l" defTabSz="913819"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59" kern="1200" spc="0" baseline="0">
          <a:gradFill>
            <a:gsLst>
              <a:gs pos="1250">
                <a:schemeClr val="tx1"/>
              </a:gs>
              <a:gs pos="100000">
                <a:schemeClr val="tx1"/>
              </a:gs>
            </a:gsLst>
            <a:lin ang="5400000" scaled="0"/>
          </a:gradFill>
          <a:latin typeface="+mn-lt"/>
          <a:ea typeface="+mn-ea"/>
          <a:cs typeface="+mn-cs"/>
        </a:defRPr>
      </a:lvl5pPr>
      <a:lvl6pPr marL="2513001" indent="-228454" algn="l" defTabSz="913819"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9910" indent="-228454" algn="l" defTabSz="913819"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6820" indent="-228454" algn="l" defTabSz="913819"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3730" indent="-228454" algn="l" defTabSz="913819"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819" rtl="0" eaLnBrk="1" latinLnBrk="0" hangingPunct="1">
        <a:defRPr sz="1763" kern="1200">
          <a:solidFill>
            <a:schemeClr val="tx1"/>
          </a:solidFill>
          <a:latin typeface="+mn-lt"/>
          <a:ea typeface="+mn-ea"/>
          <a:cs typeface="+mn-cs"/>
        </a:defRPr>
      </a:lvl1pPr>
      <a:lvl2pPr marL="456909" algn="l" defTabSz="913819" rtl="0" eaLnBrk="1" latinLnBrk="0" hangingPunct="1">
        <a:defRPr sz="1763" kern="1200">
          <a:solidFill>
            <a:schemeClr val="tx1"/>
          </a:solidFill>
          <a:latin typeface="+mn-lt"/>
          <a:ea typeface="+mn-ea"/>
          <a:cs typeface="+mn-cs"/>
        </a:defRPr>
      </a:lvl2pPr>
      <a:lvl3pPr marL="913819" algn="l" defTabSz="913819" rtl="0" eaLnBrk="1" latinLnBrk="0" hangingPunct="1">
        <a:defRPr sz="1763" kern="1200">
          <a:solidFill>
            <a:schemeClr val="tx1"/>
          </a:solidFill>
          <a:latin typeface="+mn-lt"/>
          <a:ea typeface="+mn-ea"/>
          <a:cs typeface="+mn-cs"/>
        </a:defRPr>
      </a:lvl3pPr>
      <a:lvl4pPr marL="1370728" algn="l" defTabSz="913819" rtl="0" eaLnBrk="1" latinLnBrk="0" hangingPunct="1">
        <a:defRPr sz="1763" kern="1200">
          <a:solidFill>
            <a:schemeClr val="tx1"/>
          </a:solidFill>
          <a:latin typeface="+mn-lt"/>
          <a:ea typeface="+mn-ea"/>
          <a:cs typeface="+mn-cs"/>
        </a:defRPr>
      </a:lvl4pPr>
      <a:lvl5pPr marL="1827637" algn="l" defTabSz="913819" rtl="0" eaLnBrk="1" latinLnBrk="0" hangingPunct="1">
        <a:defRPr sz="1763" kern="1200">
          <a:solidFill>
            <a:schemeClr val="tx1"/>
          </a:solidFill>
          <a:latin typeface="+mn-lt"/>
          <a:ea typeface="+mn-ea"/>
          <a:cs typeface="+mn-cs"/>
        </a:defRPr>
      </a:lvl5pPr>
      <a:lvl6pPr marL="2284546" algn="l" defTabSz="913819" rtl="0" eaLnBrk="1" latinLnBrk="0" hangingPunct="1">
        <a:defRPr sz="1763" kern="1200">
          <a:solidFill>
            <a:schemeClr val="tx1"/>
          </a:solidFill>
          <a:latin typeface="+mn-lt"/>
          <a:ea typeface="+mn-ea"/>
          <a:cs typeface="+mn-cs"/>
        </a:defRPr>
      </a:lvl6pPr>
      <a:lvl7pPr marL="2741455" algn="l" defTabSz="913819" rtl="0" eaLnBrk="1" latinLnBrk="0" hangingPunct="1">
        <a:defRPr sz="1763" kern="1200">
          <a:solidFill>
            <a:schemeClr val="tx1"/>
          </a:solidFill>
          <a:latin typeface="+mn-lt"/>
          <a:ea typeface="+mn-ea"/>
          <a:cs typeface="+mn-cs"/>
        </a:defRPr>
      </a:lvl7pPr>
      <a:lvl8pPr marL="3198364" algn="l" defTabSz="913819" rtl="0" eaLnBrk="1" latinLnBrk="0" hangingPunct="1">
        <a:defRPr sz="1763" kern="1200">
          <a:solidFill>
            <a:schemeClr val="tx1"/>
          </a:solidFill>
          <a:latin typeface="+mn-lt"/>
          <a:ea typeface="+mn-ea"/>
          <a:cs typeface="+mn-cs"/>
        </a:defRPr>
      </a:lvl8pPr>
      <a:lvl9pPr marL="3655275" algn="l" defTabSz="913819" rtl="0" eaLnBrk="1" latinLnBrk="0" hangingPunct="1">
        <a:defRPr sz="17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 y="2"/>
            <a:ext cx="12188825" cy="646042"/>
          </a:xfrm>
          <a:prstGeom prst="rect">
            <a:avLst/>
          </a:prstGeom>
        </p:spPr>
        <p:txBody>
          <a:bodyPr vert="horz" lIns="320040" tIns="152357" rIns="53325" bIns="53325" rtlCol="0" anchor="ctr">
            <a:normAutofit/>
          </a:bodyPr>
          <a:lstStyle/>
          <a:p>
            <a:endParaRPr lang="en-US"/>
          </a:p>
        </p:txBody>
      </p:sp>
      <p:sp>
        <p:nvSpPr>
          <p:cNvPr id="15" name="Text Placeholder 14"/>
          <p:cNvSpPr>
            <a:spLocks noGrp="1"/>
          </p:cNvSpPr>
          <p:nvPr>
            <p:ph type="body" idx="1"/>
          </p:nvPr>
        </p:nvSpPr>
        <p:spPr>
          <a:xfrm>
            <a:off x="150813" y="1600202"/>
            <a:ext cx="11887200"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4"/>
          </p:nvPr>
        </p:nvSpPr>
        <p:spPr>
          <a:xfrm>
            <a:off x="11215250"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24247909"/>
      </p:ext>
    </p:extLst>
  </p:cSld>
  <p:clrMap bg1="lt1" tx1="dk1" bg2="lt2" tx2="dk2" accent1="accent1" accent2="accent2" accent3="accent3" accent4="accent4" accent5="accent5" accent6="accent6" hlink="hlink" folHlink="folHlink"/>
  <p:sldLayoutIdLst>
    <p:sldLayoutId id="2147484078" r:id="rId1"/>
    <p:sldLayoutId id="2147484079" r:id="rId2"/>
    <p:sldLayoutId id="2147484080" r:id="rId3"/>
    <p:sldLayoutId id="2147484081" r:id="rId4"/>
    <p:sldLayoutId id="2147484082" r:id="rId5"/>
    <p:sldLayoutId id="2147484083" r:id="rId6"/>
    <p:sldLayoutId id="2147484084" r:id="rId7"/>
    <p:sldLayoutId id="2147484085" r:id="rId8"/>
    <p:sldLayoutId id="2147484086" r:id="rId9"/>
    <p:sldLayoutId id="2147484087" r:id="rId10"/>
    <p:sldLayoutId id="2147484088" r:id="rId11"/>
    <p:sldLayoutId id="2147484089" r:id="rId12"/>
    <p:sldLayoutId id="2147484090" r:id="rId13"/>
    <p:sldLayoutId id="2147484091" r:id="rId14"/>
    <p:sldLayoutId id="2147484092" r:id="rId15"/>
    <p:sldLayoutId id="2147484093" r:id="rId16"/>
    <p:sldLayoutId id="2147484094" r:id="rId17"/>
    <p:sldLayoutId id="2147484095" r:id="rId18"/>
    <p:sldLayoutId id="2147484096" r:id="rId19"/>
  </p:sldLayoutIdLst>
  <p:transition>
    <p:fade/>
  </p:transition>
  <p:hf hdr="0" ftr="0" dt="0"/>
  <p:txStyles>
    <p:titleStyle>
      <a:lvl1pPr marL="0" algn="l" defTabSz="1087779" rtl="0" eaLnBrk="1" latinLnBrk="0" hangingPunct="1">
        <a:lnSpc>
          <a:spcPct val="90000"/>
        </a:lnSpc>
        <a:spcBef>
          <a:spcPct val="0"/>
        </a:spcBef>
        <a:buNone/>
        <a:defRPr lang="en-US" sz="3999"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7779" rtl="0" eaLnBrk="1" latinLnBrk="0" hangingPunct="1">
        <a:spcBef>
          <a:spcPts val="1799"/>
        </a:spcBef>
        <a:buClr>
          <a:srgbClr val="0072C6"/>
        </a:buClr>
        <a:buSzPct val="100000"/>
        <a:buFont typeface="Wingdings" pitchFamily="2" charset="2"/>
        <a:buNone/>
        <a:defRPr sz="2399" kern="1200">
          <a:solidFill>
            <a:schemeClr val="tx2"/>
          </a:solidFill>
          <a:latin typeface="Segoe UI" pitchFamily="34" charset="0"/>
          <a:ea typeface="Segoe UI" pitchFamily="34" charset="0"/>
          <a:cs typeface="Segoe UI" pitchFamily="34" charset="0"/>
        </a:defRPr>
      </a:lvl1pPr>
      <a:lvl2pPr marL="475927" indent="-194338" algn="l" defTabSz="1087779" rtl="0" eaLnBrk="1" latinLnBrk="0" hangingPunct="1">
        <a:spcBef>
          <a:spcPct val="20000"/>
        </a:spcBef>
        <a:buFont typeface="Arial" pitchFamily="34" charset="0"/>
        <a:buChar char="•"/>
        <a:defRPr sz="1799" kern="1200">
          <a:solidFill>
            <a:schemeClr val="tx1"/>
          </a:solidFill>
          <a:latin typeface="Segoe UI" pitchFamily="34" charset="0"/>
          <a:ea typeface="Segoe UI" pitchFamily="34" charset="0"/>
          <a:cs typeface="Segoe UI" pitchFamily="34" charset="0"/>
        </a:defRPr>
      </a:lvl2pPr>
      <a:lvl3pPr marL="761483" indent="-173184" algn="l" defTabSz="1087779"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040" indent="-177151" algn="l" defTabSz="108777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003" indent="-179795" algn="l" defTabSz="108777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392"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6pPr>
      <a:lvl7pPr marL="3535281"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7pPr>
      <a:lvl8pPr marL="4079172"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8pPr>
      <a:lvl9pPr marL="4623061"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9pPr>
    </p:bodyStyle>
    <p:otherStyle>
      <a:defPPr>
        <a:defRPr lang="en-US"/>
      </a:defPPr>
      <a:lvl1pPr marL="0" algn="l" defTabSz="1087779" rtl="0" eaLnBrk="1" latinLnBrk="0" hangingPunct="1">
        <a:defRPr sz="2199" kern="1200">
          <a:solidFill>
            <a:schemeClr val="tx1"/>
          </a:solidFill>
          <a:latin typeface="+mn-lt"/>
          <a:ea typeface="+mn-ea"/>
          <a:cs typeface="+mn-cs"/>
        </a:defRPr>
      </a:lvl1pPr>
      <a:lvl2pPr marL="543890" algn="l" defTabSz="1087779" rtl="0" eaLnBrk="1" latinLnBrk="0" hangingPunct="1">
        <a:defRPr sz="2199" kern="1200">
          <a:solidFill>
            <a:schemeClr val="tx1"/>
          </a:solidFill>
          <a:latin typeface="+mn-lt"/>
          <a:ea typeface="+mn-ea"/>
          <a:cs typeface="+mn-cs"/>
        </a:defRPr>
      </a:lvl2pPr>
      <a:lvl3pPr marL="1087779" algn="l" defTabSz="1087779" rtl="0" eaLnBrk="1" latinLnBrk="0" hangingPunct="1">
        <a:defRPr sz="2199" kern="1200">
          <a:solidFill>
            <a:schemeClr val="tx1"/>
          </a:solidFill>
          <a:latin typeface="+mn-lt"/>
          <a:ea typeface="+mn-ea"/>
          <a:cs typeface="+mn-cs"/>
        </a:defRPr>
      </a:lvl3pPr>
      <a:lvl4pPr marL="1631669" algn="l" defTabSz="1087779" rtl="0" eaLnBrk="1" latinLnBrk="0" hangingPunct="1">
        <a:defRPr sz="2199" kern="1200">
          <a:solidFill>
            <a:schemeClr val="tx1"/>
          </a:solidFill>
          <a:latin typeface="+mn-lt"/>
          <a:ea typeface="+mn-ea"/>
          <a:cs typeface="+mn-cs"/>
        </a:defRPr>
      </a:lvl4pPr>
      <a:lvl5pPr marL="2175558" algn="l" defTabSz="1087779" rtl="0" eaLnBrk="1" latinLnBrk="0" hangingPunct="1">
        <a:defRPr sz="2199" kern="1200">
          <a:solidFill>
            <a:schemeClr val="tx1"/>
          </a:solidFill>
          <a:latin typeface="+mn-lt"/>
          <a:ea typeface="+mn-ea"/>
          <a:cs typeface="+mn-cs"/>
        </a:defRPr>
      </a:lvl5pPr>
      <a:lvl6pPr marL="2719448" algn="l" defTabSz="1087779" rtl="0" eaLnBrk="1" latinLnBrk="0" hangingPunct="1">
        <a:defRPr sz="2199" kern="1200">
          <a:solidFill>
            <a:schemeClr val="tx1"/>
          </a:solidFill>
          <a:latin typeface="+mn-lt"/>
          <a:ea typeface="+mn-ea"/>
          <a:cs typeface="+mn-cs"/>
        </a:defRPr>
      </a:lvl6pPr>
      <a:lvl7pPr marL="3263337" algn="l" defTabSz="1087779" rtl="0" eaLnBrk="1" latinLnBrk="0" hangingPunct="1">
        <a:defRPr sz="2199" kern="1200">
          <a:solidFill>
            <a:schemeClr val="tx1"/>
          </a:solidFill>
          <a:latin typeface="+mn-lt"/>
          <a:ea typeface="+mn-ea"/>
          <a:cs typeface="+mn-cs"/>
        </a:defRPr>
      </a:lvl7pPr>
      <a:lvl8pPr marL="3807226" algn="l" defTabSz="1087779" rtl="0" eaLnBrk="1" latinLnBrk="0" hangingPunct="1">
        <a:defRPr sz="2199" kern="1200">
          <a:solidFill>
            <a:schemeClr val="tx1"/>
          </a:solidFill>
          <a:latin typeface="+mn-lt"/>
          <a:ea typeface="+mn-ea"/>
          <a:cs typeface="+mn-cs"/>
        </a:defRPr>
      </a:lvl8pPr>
      <a:lvl9pPr marL="4351116" algn="l" defTabSz="1087779" rtl="0" eaLnBrk="1" latinLnBrk="0" hangingPunct="1">
        <a:defRPr sz="21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0"/>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9460" name="think-cell Slide" r:id="rId21" imgW="383" imgH="384" progId="TCLayout.ActiveDocument.1">
                  <p:embed/>
                </p:oleObj>
              </mc:Choice>
              <mc:Fallback>
                <p:oleObj name="think-cell Slide" r:id="rId21" imgW="383" imgH="384" progId="TCLayout.ActiveDocument.1">
                  <p:embed/>
                  <p:pic>
                    <p:nvPicPr>
                      <p:cNvPr id="3" name="Object 2" hidden="1"/>
                      <p:cNvPicPr/>
                      <p:nvPr/>
                    </p:nvPicPr>
                    <p:blipFill>
                      <a:blip r:embed="rId22"/>
                      <a:stretch>
                        <a:fillRect/>
                      </a:stretch>
                    </p:blipFill>
                    <p:spPr>
                      <a:xfrm>
                        <a:off x="1589" y="1590"/>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88825" cy="646042"/>
          </a:xfrm>
          <a:prstGeom prst="rect">
            <a:avLst/>
          </a:prstGeom>
        </p:spPr>
        <p:txBody>
          <a:bodyPr vert="horz" lIns="320040" tIns="152357" rIns="53325" bIns="53325" rtlCol="0" anchor="ctr">
            <a:normAutofit/>
          </a:bodyPr>
          <a:lstStyle/>
          <a:p>
            <a:endParaRPr lang="en-US"/>
          </a:p>
        </p:txBody>
      </p:sp>
      <p:sp>
        <p:nvSpPr>
          <p:cNvPr id="7" name="Footer Placeholder 6"/>
          <p:cNvSpPr>
            <a:spLocks noGrp="1"/>
          </p:cNvSpPr>
          <p:nvPr>
            <p:ph type="ftr" sz="quarter" idx="3"/>
          </p:nvPr>
        </p:nvSpPr>
        <p:spPr>
          <a:xfrm>
            <a:off x="1904504" y="6477875"/>
            <a:ext cx="8379817" cy="380127"/>
          </a:xfrm>
          <a:prstGeom prst="rect">
            <a:avLst/>
          </a:prstGeom>
        </p:spPr>
        <p:txBody>
          <a:bodyPr vert="horz" lIns="76179" tIns="38089" rIns="76179" bIns="38089" rtlCol="0" anchor="ctr"/>
          <a:lstStyle>
            <a:lvl1pPr algn="ctr">
              <a:defRPr sz="800">
                <a:solidFill>
                  <a:schemeClr val="tx1"/>
                </a:solidFill>
                <a:latin typeface="Segoe UI" pitchFamily="34" charset="0"/>
                <a:ea typeface="Segoe UI" pitchFamily="34" charset="0"/>
                <a:cs typeface="Segoe UI" pitchFamily="34" charset="0"/>
              </a:defRPr>
            </a:lvl1pPr>
          </a:lstStyle>
          <a:p>
            <a:endParaRPr lang="en-US">
              <a:solidFill>
                <a:srgbClr val="505050"/>
              </a:solidFill>
            </a:endParaRPr>
          </a:p>
        </p:txBody>
      </p:sp>
      <p:sp>
        <p:nvSpPr>
          <p:cNvPr id="15" name="Text Placeholder 14"/>
          <p:cNvSpPr>
            <a:spLocks noGrp="1"/>
          </p:cNvSpPr>
          <p:nvPr>
            <p:ph type="body" idx="1"/>
          </p:nvPr>
        </p:nvSpPr>
        <p:spPr>
          <a:xfrm>
            <a:off x="150813" y="1600202"/>
            <a:ext cx="11887200"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4"/>
          </p:nvPr>
        </p:nvSpPr>
        <p:spPr>
          <a:xfrm>
            <a:off x="11212131"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312705400"/>
      </p:ext>
    </p:extLst>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 id="2147484108" r:id="rId11"/>
    <p:sldLayoutId id="2147484109" r:id="rId12"/>
    <p:sldLayoutId id="2147484110" r:id="rId13"/>
    <p:sldLayoutId id="2147484111" r:id="rId14"/>
    <p:sldLayoutId id="2147484112" r:id="rId15"/>
    <p:sldLayoutId id="2147484113" r:id="rId16"/>
    <p:sldLayoutId id="2147484114" r:id="rId17"/>
  </p:sldLayoutIdLst>
  <p:transition>
    <p:fade/>
  </p:transition>
  <p:hf hdr="0" ftr="0" dt="0"/>
  <p:txStyles>
    <p:titleStyle>
      <a:lvl1pPr marL="0" algn="l" defTabSz="1087779" rtl="0" eaLnBrk="1" latinLnBrk="0" hangingPunct="1">
        <a:lnSpc>
          <a:spcPct val="90000"/>
        </a:lnSpc>
        <a:spcBef>
          <a:spcPct val="0"/>
        </a:spcBef>
        <a:buNone/>
        <a:defRPr lang="en-US" sz="3999"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7779" rtl="0" eaLnBrk="1" latinLnBrk="0" hangingPunct="1">
        <a:spcBef>
          <a:spcPts val="1799"/>
        </a:spcBef>
        <a:buClr>
          <a:srgbClr val="0072C6"/>
        </a:buClr>
        <a:buSzPct val="100000"/>
        <a:buFont typeface="Wingdings" pitchFamily="2" charset="2"/>
        <a:buNone/>
        <a:defRPr sz="2399" kern="1200">
          <a:solidFill>
            <a:schemeClr val="tx2"/>
          </a:solidFill>
          <a:latin typeface="Segoe UI" pitchFamily="34" charset="0"/>
          <a:ea typeface="Segoe UI" pitchFamily="34" charset="0"/>
          <a:cs typeface="Segoe UI" pitchFamily="34" charset="0"/>
        </a:defRPr>
      </a:lvl1pPr>
      <a:lvl2pPr marL="475927" indent="-194338" algn="l" defTabSz="1087779" rtl="0" eaLnBrk="1" latinLnBrk="0" hangingPunct="1">
        <a:spcBef>
          <a:spcPct val="20000"/>
        </a:spcBef>
        <a:buFont typeface="Arial" pitchFamily="34" charset="0"/>
        <a:buChar char="•"/>
        <a:defRPr sz="1799" kern="1200">
          <a:solidFill>
            <a:schemeClr val="tx1"/>
          </a:solidFill>
          <a:latin typeface="Segoe UI" pitchFamily="34" charset="0"/>
          <a:ea typeface="Segoe UI" pitchFamily="34" charset="0"/>
          <a:cs typeface="Segoe UI" pitchFamily="34" charset="0"/>
        </a:defRPr>
      </a:lvl2pPr>
      <a:lvl3pPr marL="761483" indent="-173184" algn="l" defTabSz="1087779"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040" indent="-177151" algn="l" defTabSz="108777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003" indent="-179795" algn="l" defTabSz="108777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392"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6pPr>
      <a:lvl7pPr marL="3535281"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7pPr>
      <a:lvl8pPr marL="4079172"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8pPr>
      <a:lvl9pPr marL="4623061"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9pPr>
    </p:bodyStyle>
    <p:otherStyle>
      <a:defPPr>
        <a:defRPr lang="en-US"/>
      </a:defPPr>
      <a:lvl1pPr marL="0" algn="l" defTabSz="1087779" rtl="0" eaLnBrk="1" latinLnBrk="0" hangingPunct="1">
        <a:defRPr sz="2199" kern="1200">
          <a:solidFill>
            <a:schemeClr val="tx1"/>
          </a:solidFill>
          <a:latin typeface="+mn-lt"/>
          <a:ea typeface="+mn-ea"/>
          <a:cs typeface="+mn-cs"/>
        </a:defRPr>
      </a:lvl1pPr>
      <a:lvl2pPr marL="543890" algn="l" defTabSz="1087779" rtl="0" eaLnBrk="1" latinLnBrk="0" hangingPunct="1">
        <a:defRPr sz="2199" kern="1200">
          <a:solidFill>
            <a:schemeClr val="tx1"/>
          </a:solidFill>
          <a:latin typeface="+mn-lt"/>
          <a:ea typeface="+mn-ea"/>
          <a:cs typeface="+mn-cs"/>
        </a:defRPr>
      </a:lvl2pPr>
      <a:lvl3pPr marL="1087779" algn="l" defTabSz="1087779" rtl="0" eaLnBrk="1" latinLnBrk="0" hangingPunct="1">
        <a:defRPr sz="2199" kern="1200">
          <a:solidFill>
            <a:schemeClr val="tx1"/>
          </a:solidFill>
          <a:latin typeface="+mn-lt"/>
          <a:ea typeface="+mn-ea"/>
          <a:cs typeface="+mn-cs"/>
        </a:defRPr>
      </a:lvl3pPr>
      <a:lvl4pPr marL="1631669" algn="l" defTabSz="1087779" rtl="0" eaLnBrk="1" latinLnBrk="0" hangingPunct="1">
        <a:defRPr sz="2199" kern="1200">
          <a:solidFill>
            <a:schemeClr val="tx1"/>
          </a:solidFill>
          <a:latin typeface="+mn-lt"/>
          <a:ea typeface="+mn-ea"/>
          <a:cs typeface="+mn-cs"/>
        </a:defRPr>
      </a:lvl4pPr>
      <a:lvl5pPr marL="2175558" algn="l" defTabSz="1087779" rtl="0" eaLnBrk="1" latinLnBrk="0" hangingPunct="1">
        <a:defRPr sz="2199" kern="1200">
          <a:solidFill>
            <a:schemeClr val="tx1"/>
          </a:solidFill>
          <a:latin typeface="+mn-lt"/>
          <a:ea typeface="+mn-ea"/>
          <a:cs typeface="+mn-cs"/>
        </a:defRPr>
      </a:lvl5pPr>
      <a:lvl6pPr marL="2719448" algn="l" defTabSz="1087779" rtl="0" eaLnBrk="1" latinLnBrk="0" hangingPunct="1">
        <a:defRPr sz="2199" kern="1200">
          <a:solidFill>
            <a:schemeClr val="tx1"/>
          </a:solidFill>
          <a:latin typeface="+mn-lt"/>
          <a:ea typeface="+mn-ea"/>
          <a:cs typeface="+mn-cs"/>
        </a:defRPr>
      </a:lvl6pPr>
      <a:lvl7pPr marL="3263337" algn="l" defTabSz="1087779" rtl="0" eaLnBrk="1" latinLnBrk="0" hangingPunct="1">
        <a:defRPr sz="2199" kern="1200">
          <a:solidFill>
            <a:schemeClr val="tx1"/>
          </a:solidFill>
          <a:latin typeface="+mn-lt"/>
          <a:ea typeface="+mn-ea"/>
          <a:cs typeface="+mn-cs"/>
        </a:defRPr>
      </a:lvl7pPr>
      <a:lvl8pPr marL="3807226" algn="l" defTabSz="1087779" rtl="0" eaLnBrk="1" latinLnBrk="0" hangingPunct="1">
        <a:defRPr sz="2199" kern="1200">
          <a:solidFill>
            <a:schemeClr val="tx1"/>
          </a:solidFill>
          <a:latin typeface="+mn-lt"/>
          <a:ea typeface="+mn-ea"/>
          <a:cs typeface="+mn-cs"/>
        </a:defRPr>
      </a:lvl8pPr>
      <a:lvl9pPr marL="4351116" algn="l" defTabSz="1087779" rtl="0" eaLnBrk="1" latinLnBrk="0" hangingPunct="1">
        <a:defRPr sz="21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9"/>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0484" name="think-cell Slide" r:id="rId20" imgW="383" imgH="384" progId="TCLayout.ActiveDocument.1">
                  <p:embed/>
                </p:oleObj>
              </mc:Choice>
              <mc:Fallback>
                <p:oleObj name="think-cell Slide" r:id="rId20" imgW="383" imgH="384" progId="TCLayout.ActiveDocument.1">
                  <p:embed/>
                  <p:pic>
                    <p:nvPicPr>
                      <p:cNvPr id="3" name="Object 2" hidden="1"/>
                      <p:cNvPicPr/>
                      <p:nvPr/>
                    </p:nvPicPr>
                    <p:blipFill>
                      <a:blip r:embed="rId21"/>
                      <a:stretch>
                        <a:fillRect/>
                      </a:stretch>
                    </p:blipFill>
                    <p:spPr>
                      <a:xfrm>
                        <a:off x="1589" y="1590"/>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88825" cy="646042"/>
          </a:xfrm>
          <a:prstGeom prst="rect">
            <a:avLst/>
          </a:prstGeom>
        </p:spPr>
        <p:txBody>
          <a:bodyPr vert="horz" lIns="320040" tIns="152357" rIns="53325" bIns="53325" rtlCol="0" anchor="ctr">
            <a:normAutofit/>
          </a:bodyPr>
          <a:lstStyle/>
          <a:p>
            <a:endParaRPr lang="en-US"/>
          </a:p>
        </p:txBody>
      </p:sp>
      <p:sp>
        <p:nvSpPr>
          <p:cNvPr id="7" name="Footer Placeholder 6"/>
          <p:cNvSpPr>
            <a:spLocks noGrp="1"/>
          </p:cNvSpPr>
          <p:nvPr>
            <p:ph type="ftr" sz="quarter" idx="3"/>
          </p:nvPr>
        </p:nvSpPr>
        <p:spPr>
          <a:xfrm>
            <a:off x="1904504" y="6477875"/>
            <a:ext cx="8379817" cy="380127"/>
          </a:xfrm>
          <a:prstGeom prst="rect">
            <a:avLst/>
          </a:prstGeom>
        </p:spPr>
        <p:txBody>
          <a:bodyPr vert="horz" lIns="76179" tIns="38089" rIns="76179" bIns="38089" rtlCol="0" anchor="ctr"/>
          <a:lstStyle>
            <a:lvl1pPr algn="ctr">
              <a:defRPr sz="800">
                <a:solidFill>
                  <a:schemeClr val="tx1"/>
                </a:solidFill>
                <a:latin typeface="Segoe UI" pitchFamily="34" charset="0"/>
                <a:ea typeface="Segoe UI" pitchFamily="34" charset="0"/>
                <a:cs typeface="Segoe UI" pitchFamily="34" charset="0"/>
              </a:defRPr>
            </a:lvl1pPr>
          </a:lstStyle>
          <a:p>
            <a:endParaRPr lang="en-US">
              <a:solidFill>
                <a:srgbClr val="505050"/>
              </a:solidFill>
            </a:endParaRPr>
          </a:p>
        </p:txBody>
      </p:sp>
      <p:sp>
        <p:nvSpPr>
          <p:cNvPr id="15" name="Text Placeholder 14"/>
          <p:cNvSpPr>
            <a:spLocks noGrp="1"/>
          </p:cNvSpPr>
          <p:nvPr>
            <p:ph type="body" idx="1"/>
          </p:nvPr>
        </p:nvSpPr>
        <p:spPr>
          <a:xfrm>
            <a:off x="150813" y="1600202"/>
            <a:ext cx="11887200"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4"/>
          </p:nvPr>
        </p:nvSpPr>
        <p:spPr>
          <a:xfrm>
            <a:off x="11212131"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4100423151"/>
      </p:ext>
    </p:extLst>
  </p:cSld>
  <p:clrMap bg1="lt1" tx1="dk1" bg2="lt2" tx2="dk2" accent1="accent1" accent2="accent2" accent3="accent3" accent4="accent4" accent5="accent5" accent6="accent6" hlink="hlink" folHlink="folHlink"/>
  <p:sldLayoutIdLst>
    <p:sldLayoutId id="2147484152" r:id="rId1"/>
    <p:sldLayoutId id="2147484153" r:id="rId2"/>
    <p:sldLayoutId id="2147484154" r:id="rId3"/>
    <p:sldLayoutId id="2147484155" r:id="rId4"/>
    <p:sldLayoutId id="2147484156" r:id="rId5"/>
    <p:sldLayoutId id="2147484157" r:id="rId6"/>
    <p:sldLayoutId id="2147484158" r:id="rId7"/>
    <p:sldLayoutId id="2147484159" r:id="rId8"/>
    <p:sldLayoutId id="2147484160" r:id="rId9"/>
    <p:sldLayoutId id="2147484161" r:id="rId10"/>
    <p:sldLayoutId id="2147484162" r:id="rId11"/>
    <p:sldLayoutId id="2147484163" r:id="rId12"/>
    <p:sldLayoutId id="2147484164" r:id="rId13"/>
    <p:sldLayoutId id="2147484165" r:id="rId14"/>
    <p:sldLayoutId id="2147484166" r:id="rId15"/>
    <p:sldLayoutId id="2147484167" r:id="rId16"/>
  </p:sldLayoutIdLst>
  <p:transition>
    <p:fade/>
  </p:transition>
  <p:hf hdr="0" ftr="0" dt="0"/>
  <p:txStyles>
    <p:titleStyle>
      <a:lvl1pPr marL="0" algn="l" defTabSz="1087779" rtl="0" eaLnBrk="1" latinLnBrk="0" hangingPunct="1">
        <a:lnSpc>
          <a:spcPct val="90000"/>
        </a:lnSpc>
        <a:spcBef>
          <a:spcPct val="0"/>
        </a:spcBef>
        <a:buNone/>
        <a:defRPr lang="en-US" sz="3999"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7779" rtl="0" eaLnBrk="1" latinLnBrk="0" hangingPunct="1">
        <a:spcBef>
          <a:spcPts val="1799"/>
        </a:spcBef>
        <a:buClr>
          <a:srgbClr val="0072C6"/>
        </a:buClr>
        <a:buSzPct val="100000"/>
        <a:buFont typeface="Wingdings" pitchFamily="2" charset="2"/>
        <a:buNone/>
        <a:defRPr sz="2399" kern="1200">
          <a:solidFill>
            <a:schemeClr val="tx2"/>
          </a:solidFill>
          <a:latin typeface="Segoe UI" pitchFamily="34" charset="0"/>
          <a:ea typeface="Segoe UI" pitchFamily="34" charset="0"/>
          <a:cs typeface="Segoe UI" pitchFamily="34" charset="0"/>
        </a:defRPr>
      </a:lvl1pPr>
      <a:lvl2pPr marL="475927" indent="-194338" algn="l" defTabSz="1087779" rtl="0" eaLnBrk="1" latinLnBrk="0" hangingPunct="1">
        <a:spcBef>
          <a:spcPct val="20000"/>
        </a:spcBef>
        <a:buFont typeface="Arial" pitchFamily="34" charset="0"/>
        <a:buChar char="•"/>
        <a:defRPr sz="1799" kern="1200">
          <a:solidFill>
            <a:schemeClr val="tx1"/>
          </a:solidFill>
          <a:latin typeface="Segoe UI" pitchFamily="34" charset="0"/>
          <a:ea typeface="Segoe UI" pitchFamily="34" charset="0"/>
          <a:cs typeface="Segoe UI" pitchFamily="34" charset="0"/>
        </a:defRPr>
      </a:lvl2pPr>
      <a:lvl3pPr marL="761483" indent="-173184" algn="l" defTabSz="1087779"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040" indent="-177151" algn="l" defTabSz="108777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003" indent="-179795" algn="l" defTabSz="108777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392"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6pPr>
      <a:lvl7pPr marL="3535281"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7pPr>
      <a:lvl8pPr marL="4079172"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8pPr>
      <a:lvl9pPr marL="4623061"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9pPr>
    </p:bodyStyle>
    <p:otherStyle>
      <a:defPPr>
        <a:defRPr lang="en-US"/>
      </a:defPPr>
      <a:lvl1pPr marL="0" algn="l" defTabSz="1087779" rtl="0" eaLnBrk="1" latinLnBrk="0" hangingPunct="1">
        <a:defRPr sz="2199" kern="1200">
          <a:solidFill>
            <a:schemeClr val="tx1"/>
          </a:solidFill>
          <a:latin typeface="+mn-lt"/>
          <a:ea typeface="+mn-ea"/>
          <a:cs typeface="+mn-cs"/>
        </a:defRPr>
      </a:lvl1pPr>
      <a:lvl2pPr marL="543890" algn="l" defTabSz="1087779" rtl="0" eaLnBrk="1" latinLnBrk="0" hangingPunct="1">
        <a:defRPr sz="2199" kern="1200">
          <a:solidFill>
            <a:schemeClr val="tx1"/>
          </a:solidFill>
          <a:latin typeface="+mn-lt"/>
          <a:ea typeface="+mn-ea"/>
          <a:cs typeface="+mn-cs"/>
        </a:defRPr>
      </a:lvl2pPr>
      <a:lvl3pPr marL="1087779" algn="l" defTabSz="1087779" rtl="0" eaLnBrk="1" latinLnBrk="0" hangingPunct="1">
        <a:defRPr sz="2199" kern="1200">
          <a:solidFill>
            <a:schemeClr val="tx1"/>
          </a:solidFill>
          <a:latin typeface="+mn-lt"/>
          <a:ea typeface="+mn-ea"/>
          <a:cs typeface="+mn-cs"/>
        </a:defRPr>
      </a:lvl3pPr>
      <a:lvl4pPr marL="1631669" algn="l" defTabSz="1087779" rtl="0" eaLnBrk="1" latinLnBrk="0" hangingPunct="1">
        <a:defRPr sz="2199" kern="1200">
          <a:solidFill>
            <a:schemeClr val="tx1"/>
          </a:solidFill>
          <a:latin typeface="+mn-lt"/>
          <a:ea typeface="+mn-ea"/>
          <a:cs typeface="+mn-cs"/>
        </a:defRPr>
      </a:lvl4pPr>
      <a:lvl5pPr marL="2175558" algn="l" defTabSz="1087779" rtl="0" eaLnBrk="1" latinLnBrk="0" hangingPunct="1">
        <a:defRPr sz="2199" kern="1200">
          <a:solidFill>
            <a:schemeClr val="tx1"/>
          </a:solidFill>
          <a:latin typeface="+mn-lt"/>
          <a:ea typeface="+mn-ea"/>
          <a:cs typeface="+mn-cs"/>
        </a:defRPr>
      </a:lvl5pPr>
      <a:lvl6pPr marL="2719448" algn="l" defTabSz="1087779" rtl="0" eaLnBrk="1" latinLnBrk="0" hangingPunct="1">
        <a:defRPr sz="2199" kern="1200">
          <a:solidFill>
            <a:schemeClr val="tx1"/>
          </a:solidFill>
          <a:latin typeface="+mn-lt"/>
          <a:ea typeface="+mn-ea"/>
          <a:cs typeface="+mn-cs"/>
        </a:defRPr>
      </a:lvl6pPr>
      <a:lvl7pPr marL="3263337" algn="l" defTabSz="1087779" rtl="0" eaLnBrk="1" latinLnBrk="0" hangingPunct="1">
        <a:defRPr sz="2199" kern="1200">
          <a:solidFill>
            <a:schemeClr val="tx1"/>
          </a:solidFill>
          <a:latin typeface="+mn-lt"/>
          <a:ea typeface="+mn-ea"/>
          <a:cs typeface="+mn-cs"/>
        </a:defRPr>
      </a:lvl7pPr>
      <a:lvl8pPr marL="3807226" algn="l" defTabSz="1087779" rtl="0" eaLnBrk="1" latinLnBrk="0" hangingPunct="1">
        <a:defRPr sz="2199" kern="1200">
          <a:solidFill>
            <a:schemeClr val="tx1"/>
          </a:solidFill>
          <a:latin typeface="+mn-lt"/>
          <a:ea typeface="+mn-ea"/>
          <a:cs typeface="+mn-cs"/>
        </a:defRPr>
      </a:lvl8pPr>
      <a:lvl9pPr marL="4351116" algn="l" defTabSz="1087779" rtl="0" eaLnBrk="1" latinLnBrk="0" hangingPunct="1">
        <a:defRPr sz="21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4"/>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1508" name="think-cell Slide" r:id="rId15" imgW="383" imgH="384" progId="TCLayout.ActiveDocument.1">
                  <p:embed/>
                </p:oleObj>
              </mc:Choice>
              <mc:Fallback>
                <p:oleObj name="think-cell Slide" r:id="rId15" imgW="383" imgH="384" progId="TCLayout.ActiveDocument.1">
                  <p:embed/>
                  <p:pic>
                    <p:nvPicPr>
                      <p:cNvPr id="3" name="Object 2" hidden="1"/>
                      <p:cNvPicPr/>
                      <p:nvPr/>
                    </p:nvPicPr>
                    <p:blipFill>
                      <a:blip r:embed="rId16"/>
                      <a:stretch>
                        <a:fillRect/>
                      </a:stretch>
                    </p:blipFill>
                    <p:spPr>
                      <a:xfrm>
                        <a:off x="1589" y="1590"/>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88825" cy="646042"/>
          </a:xfrm>
          <a:prstGeom prst="rect">
            <a:avLst/>
          </a:prstGeom>
        </p:spPr>
        <p:txBody>
          <a:bodyPr vert="horz" lIns="320040" tIns="152357" rIns="53325" bIns="53325" rtlCol="0" anchor="ctr">
            <a:normAutofit/>
          </a:bodyPr>
          <a:lstStyle/>
          <a:p>
            <a:endParaRPr lang="en-US"/>
          </a:p>
        </p:txBody>
      </p:sp>
      <p:sp>
        <p:nvSpPr>
          <p:cNvPr id="7" name="Footer Placeholder 6"/>
          <p:cNvSpPr>
            <a:spLocks noGrp="1"/>
          </p:cNvSpPr>
          <p:nvPr>
            <p:ph type="ftr" sz="quarter" idx="3"/>
          </p:nvPr>
        </p:nvSpPr>
        <p:spPr>
          <a:xfrm>
            <a:off x="3047206" y="6477875"/>
            <a:ext cx="8379817"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endParaRPr lang="en-US">
              <a:solidFill>
                <a:srgbClr val="505050"/>
              </a:solidFill>
            </a:endParaRPr>
          </a:p>
        </p:txBody>
      </p:sp>
      <p:sp>
        <p:nvSpPr>
          <p:cNvPr id="15" name="Text Placeholder 14"/>
          <p:cNvSpPr>
            <a:spLocks noGrp="1"/>
          </p:cNvSpPr>
          <p:nvPr>
            <p:ph type="body" idx="1"/>
          </p:nvPr>
        </p:nvSpPr>
        <p:spPr>
          <a:xfrm>
            <a:off x="150813" y="1600202"/>
            <a:ext cx="11887200"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4"/>
          </p:nvPr>
        </p:nvSpPr>
        <p:spPr>
          <a:xfrm>
            <a:off x="11427025"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348728583"/>
      </p:ext>
    </p:extLst>
  </p:cSld>
  <p:clrMap bg1="lt1" tx1="dk1" bg2="lt2" tx2="dk2" accent1="accent1" accent2="accent2" accent3="accent3" accent4="accent4" accent5="accent5" accent6="accent6" hlink="hlink" folHlink="folHlink"/>
  <p:sldLayoutIdLst>
    <p:sldLayoutId id="2147484170" r:id="rId1"/>
    <p:sldLayoutId id="2147484171" r:id="rId2"/>
    <p:sldLayoutId id="2147484172" r:id="rId3"/>
    <p:sldLayoutId id="2147484173" r:id="rId4"/>
    <p:sldLayoutId id="2147484174" r:id="rId5"/>
    <p:sldLayoutId id="2147484175" r:id="rId6"/>
    <p:sldLayoutId id="2147484176" r:id="rId7"/>
    <p:sldLayoutId id="2147484177" r:id="rId8"/>
    <p:sldLayoutId id="2147484178" r:id="rId9"/>
    <p:sldLayoutId id="2147484179" r:id="rId10"/>
    <p:sldLayoutId id="2147484180" r:id="rId11"/>
  </p:sldLayoutIdLst>
  <p:transition>
    <p:fade/>
  </p:transition>
  <p:hf hdr="0" ftr="0" dt="0"/>
  <p:txStyles>
    <p:titleStyle>
      <a:lvl1pPr marL="0" algn="l" defTabSz="1087779" rtl="0" eaLnBrk="1" latinLnBrk="0" hangingPunct="1">
        <a:lnSpc>
          <a:spcPct val="90000"/>
        </a:lnSpc>
        <a:spcBef>
          <a:spcPct val="0"/>
        </a:spcBef>
        <a:buNone/>
        <a:defRPr lang="en-US" sz="3999"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7779" rtl="0" eaLnBrk="1" latinLnBrk="0" hangingPunct="1">
        <a:spcBef>
          <a:spcPts val="1799"/>
        </a:spcBef>
        <a:buClr>
          <a:srgbClr val="0072C6"/>
        </a:buClr>
        <a:buSzPct val="100000"/>
        <a:buFont typeface="Wingdings" pitchFamily="2" charset="2"/>
        <a:buNone/>
        <a:defRPr sz="2399" kern="1200">
          <a:solidFill>
            <a:schemeClr val="tx2"/>
          </a:solidFill>
          <a:latin typeface="Segoe UI" pitchFamily="34" charset="0"/>
          <a:ea typeface="Segoe UI" pitchFamily="34" charset="0"/>
          <a:cs typeface="Segoe UI" pitchFamily="34" charset="0"/>
        </a:defRPr>
      </a:lvl1pPr>
      <a:lvl2pPr marL="475927" indent="-194338" algn="l" defTabSz="1087779" rtl="0" eaLnBrk="1" latinLnBrk="0" hangingPunct="1">
        <a:spcBef>
          <a:spcPct val="20000"/>
        </a:spcBef>
        <a:buFont typeface="Arial" pitchFamily="34" charset="0"/>
        <a:buChar char="•"/>
        <a:defRPr sz="1799" kern="1200">
          <a:solidFill>
            <a:schemeClr val="tx1"/>
          </a:solidFill>
          <a:latin typeface="Segoe UI" pitchFamily="34" charset="0"/>
          <a:ea typeface="Segoe UI" pitchFamily="34" charset="0"/>
          <a:cs typeface="Segoe UI" pitchFamily="34" charset="0"/>
        </a:defRPr>
      </a:lvl2pPr>
      <a:lvl3pPr marL="761483" indent="-173184" algn="l" defTabSz="1087779"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040" indent="-177151" algn="l" defTabSz="108777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003" indent="-179795" algn="l" defTabSz="108777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392"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6pPr>
      <a:lvl7pPr marL="3535281"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7pPr>
      <a:lvl8pPr marL="4079172"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8pPr>
      <a:lvl9pPr marL="4623061"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9pPr>
    </p:bodyStyle>
    <p:otherStyle>
      <a:defPPr>
        <a:defRPr lang="en-US"/>
      </a:defPPr>
      <a:lvl1pPr marL="0" algn="l" defTabSz="1087779" rtl="0" eaLnBrk="1" latinLnBrk="0" hangingPunct="1">
        <a:defRPr sz="2199" kern="1200">
          <a:solidFill>
            <a:schemeClr val="tx1"/>
          </a:solidFill>
          <a:latin typeface="+mn-lt"/>
          <a:ea typeface="+mn-ea"/>
          <a:cs typeface="+mn-cs"/>
        </a:defRPr>
      </a:lvl1pPr>
      <a:lvl2pPr marL="543890" algn="l" defTabSz="1087779" rtl="0" eaLnBrk="1" latinLnBrk="0" hangingPunct="1">
        <a:defRPr sz="2199" kern="1200">
          <a:solidFill>
            <a:schemeClr val="tx1"/>
          </a:solidFill>
          <a:latin typeface="+mn-lt"/>
          <a:ea typeface="+mn-ea"/>
          <a:cs typeface="+mn-cs"/>
        </a:defRPr>
      </a:lvl2pPr>
      <a:lvl3pPr marL="1087779" algn="l" defTabSz="1087779" rtl="0" eaLnBrk="1" latinLnBrk="0" hangingPunct="1">
        <a:defRPr sz="2199" kern="1200">
          <a:solidFill>
            <a:schemeClr val="tx1"/>
          </a:solidFill>
          <a:latin typeface="+mn-lt"/>
          <a:ea typeface="+mn-ea"/>
          <a:cs typeface="+mn-cs"/>
        </a:defRPr>
      </a:lvl3pPr>
      <a:lvl4pPr marL="1631669" algn="l" defTabSz="1087779" rtl="0" eaLnBrk="1" latinLnBrk="0" hangingPunct="1">
        <a:defRPr sz="2199" kern="1200">
          <a:solidFill>
            <a:schemeClr val="tx1"/>
          </a:solidFill>
          <a:latin typeface="+mn-lt"/>
          <a:ea typeface="+mn-ea"/>
          <a:cs typeface="+mn-cs"/>
        </a:defRPr>
      </a:lvl4pPr>
      <a:lvl5pPr marL="2175558" algn="l" defTabSz="1087779" rtl="0" eaLnBrk="1" latinLnBrk="0" hangingPunct="1">
        <a:defRPr sz="2199" kern="1200">
          <a:solidFill>
            <a:schemeClr val="tx1"/>
          </a:solidFill>
          <a:latin typeface="+mn-lt"/>
          <a:ea typeface="+mn-ea"/>
          <a:cs typeface="+mn-cs"/>
        </a:defRPr>
      </a:lvl5pPr>
      <a:lvl6pPr marL="2719448" algn="l" defTabSz="1087779" rtl="0" eaLnBrk="1" latinLnBrk="0" hangingPunct="1">
        <a:defRPr sz="2199" kern="1200">
          <a:solidFill>
            <a:schemeClr val="tx1"/>
          </a:solidFill>
          <a:latin typeface="+mn-lt"/>
          <a:ea typeface="+mn-ea"/>
          <a:cs typeface="+mn-cs"/>
        </a:defRPr>
      </a:lvl6pPr>
      <a:lvl7pPr marL="3263337" algn="l" defTabSz="1087779" rtl="0" eaLnBrk="1" latinLnBrk="0" hangingPunct="1">
        <a:defRPr sz="2199" kern="1200">
          <a:solidFill>
            <a:schemeClr val="tx1"/>
          </a:solidFill>
          <a:latin typeface="+mn-lt"/>
          <a:ea typeface="+mn-ea"/>
          <a:cs typeface="+mn-cs"/>
        </a:defRPr>
      </a:lvl7pPr>
      <a:lvl8pPr marL="3807226" algn="l" defTabSz="1087779" rtl="0" eaLnBrk="1" latinLnBrk="0" hangingPunct="1">
        <a:defRPr sz="2199" kern="1200">
          <a:solidFill>
            <a:schemeClr val="tx1"/>
          </a:solidFill>
          <a:latin typeface="+mn-lt"/>
          <a:ea typeface="+mn-ea"/>
          <a:cs typeface="+mn-cs"/>
        </a:defRPr>
      </a:lvl8pPr>
      <a:lvl9pPr marL="4351116" algn="l" defTabSz="1087779" rtl="0" eaLnBrk="1" latinLnBrk="0" hangingPunct="1">
        <a:defRPr sz="21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0"/>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3556" name="think-cell Slide" r:id="rId21" imgW="383" imgH="384" progId="TCLayout.ActiveDocument.1">
                  <p:embed/>
                </p:oleObj>
              </mc:Choice>
              <mc:Fallback>
                <p:oleObj name="think-cell Slide" r:id="rId21" imgW="383" imgH="384" progId="TCLayout.ActiveDocument.1">
                  <p:embed/>
                  <p:pic>
                    <p:nvPicPr>
                      <p:cNvPr id="3" name="Object 2" hidden="1"/>
                      <p:cNvPicPr/>
                      <p:nvPr/>
                    </p:nvPicPr>
                    <p:blipFill>
                      <a:blip r:embed="rId22"/>
                      <a:stretch>
                        <a:fillRect/>
                      </a:stretch>
                    </p:blipFill>
                    <p:spPr>
                      <a:xfrm>
                        <a:off x="1589" y="1590"/>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 y="2"/>
            <a:ext cx="12188825" cy="646042"/>
          </a:xfrm>
          <a:prstGeom prst="rect">
            <a:avLst/>
          </a:prstGeom>
        </p:spPr>
        <p:txBody>
          <a:bodyPr vert="horz" lIns="320040" tIns="152357" rIns="53325" bIns="53325" rtlCol="0" anchor="ctr">
            <a:normAutofit/>
          </a:bodyPr>
          <a:lstStyle/>
          <a:p>
            <a:endParaRPr lang="en-US"/>
          </a:p>
        </p:txBody>
      </p:sp>
      <p:sp>
        <p:nvSpPr>
          <p:cNvPr id="7" name="Footer Placeholder 6"/>
          <p:cNvSpPr>
            <a:spLocks noGrp="1"/>
          </p:cNvSpPr>
          <p:nvPr>
            <p:ph type="ftr" sz="quarter" idx="3"/>
          </p:nvPr>
        </p:nvSpPr>
        <p:spPr>
          <a:xfrm>
            <a:off x="1904504" y="6477875"/>
            <a:ext cx="8379817" cy="380127"/>
          </a:xfrm>
          <a:prstGeom prst="rect">
            <a:avLst/>
          </a:prstGeom>
        </p:spPr>
        <p:txBody>
          <a:bodyPr vert="horz" lIns="76179" tIns="38089" rIns="76179" bIns="38089" rtlCol="0" anchor="ctr"/>
          <a:lstStyle>
            <a:lvl1pPr algn="ctr">
              <a:defRPr sz="800">
                <a:solidFill>
                  <a:schemeClr val="tx1"/>
                </a:solidFill>
                <a:latin typeface="Segoe UI" pitchFamily="34" charset="0"/>
                <a:ea typeface="Segoe UI" pitchFamily="34" charset="0"/>
                <a:cs typeface="Segoe UI" pitchFamily="34" charset="0"/>
              </a:defRPr>
            </a:lvl1pPr>
          </a:lstStyle>
          <a:p>
            <a:endParaRPr lang="en-US">
              <a:solidFill>
                <a:srgbClr val="505050"/>
              </a:solidFill>
            </a:endParaRPr>
          </a:p>
        </p:txBody>
      </p:sp>
      <p:sp>
        <p:nvSpPr>
          <p:cNvPr id="15" name="Text Placeholder 14"/>
          <p:cNvSpPr>
            <a:spLocks noGrp="1"/>
          </p:cNvSpPr>
          <p:nvPr>
            <p:ph type="body" idx="1"/>
          </p:nvPr>
        </p:nvSpPr>
        <p:spPr>
          <a:xfrm>
            <a:off x="150813" y="1600202"/>
            <a:ext cx="11887200"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4"/>
          </p:nvPr>
        </p:nvSpPr>
        <p:spPr>
          <a:xfrm>
            <a:off x="11212131" y="6477874"/>
            <a:ext cx="761800"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292444250"/>
      </p:ext>
    </p:extLst>
  </p:cSld>
  <p:clrMap bg1="lt1" tx1="dk1" bg2="lt2" tx2="dk2" accent1="accent1" accent2="accent2" accent3="accent3" accent4="accent4" accent5="accent5" accent6="accent6" hlink="hlink" folHlink="folHlink"/>
  <p:sldLayoutIdLst>
    <p:sldLayoutId id="2147484206" r:id="rId1"/>
    <p:sldLayoutId id="2147484207" r:id="rId2"/>
    <p:sldLayoutId id="2147484208" r:id="rId3"/>
    <p:sldLayoutId id="2147484209" r:id="rId4"/>
    <p:sldLayoutId id="2147484210" r:id="rId5"/>
    <p:sldLayoutId id="2147484211" r:id="rId6"/>
    <p:sldLayoutId id="2147484212" r:id="rId7"/>
    <p:sldLayoutId id="2147484213" r:id="rId8"/>
    <p:sldLayoutId id="2147484214" r:id="rId9"/>
    <p:sldLayoutId id="2147484215" r:id="rId10"/>
    <p:sldLayoutId id="2147484216" r:id="rId11"/>
    <p:sldLayoutId id="2147484217" r:id="rId12"/>
    <p:sldLayoutId id="2147484218" r:id="rId13"/>
    <p:sldLayoutId id="2147484219" r:id="rId14"/>
    <p:sldLayoutId id="2147484220" r:id="rId15"/>
    <p:sldLayoutId id="2147484221" r:id="rId16"/>
    <p:sldLayoutId id="2147484222" r:id="rId17"/>
  </p:sldLayoutIdLst>
  <p:transition>
    <p:fade/>
  </p:transition>
  <p:hf hdr="0" ftr="0" dt="0"/>
  <p:txStyles>
    <p:titleStyle>
      <a:lvl1pPr marL="0" algn="l" defTabSz="1087779" rtl="0" eaLnBrk="1" latinLnBrk="0" hangingPunct="1">
        <a:lnSpc>
          <a:spcPct val="90000"/>
        </a:lnSpc>
        <a:spcBef>
          <a:spcPct val="0"/>
        </a:spcBef>
        <a:buNone/>
        <a:defRPr lang="en-US" sz="3999"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7779" rtl="0" eaLnBrk="1" latinLnBrk="0" hangingPunct="1">
        <a:spcBef>
          <a:spcPts val="1799"/>
        </a:spcBef>
        <a:buClr>
          <a:srgbClr val="0072C6"/>
        </a:buClr>
        <a:buSzPct val="100000"/>
        <a:buFont typeface="Wingdings" pitchFamily="2" charset="2"/>
        <a:buNone/>
        <a:defRPr sz="2399" kern="1200">
          <a:solidFill>
            <a:schemeClr val="tx2"/>
          </a:solidFill>
          <a:latin typeface="Segoe UI" pitchFamily="34" charset="0"/>
          <a:ea typeface="Segoe UI" pitchFamily="34" charset="0"/>
          <a:cs typeface="Segoe UI" pitchFamily="34" charset="0"/>
        </a:defRPr>
      </a:lvl1pPr>
      <a:lvl2pPr marL="475927" indent="-194338" algn="l" defTabSz="1087779" rtl="0" eaLnBrk="1" latinLnBrk="0" hangingPunct="1">
        <a:spcBef>
          <a:spcPct val="20000"/>
        </a:spcBef>
        <a:buFont typeface="Arial" pitchFamily="34" charset="0"/>
        <a:buChar char="•"/>
        <a:defRPr sz="1799" kern="1200">
          <a:solidFill>
            <a:schemeClr val="tx1"/>
          </a:solidFill>
          <a:latin typeface="Segoe UI" pitchFamily="34" charset="0"/>
          <a:ea typeface="Segoe UI" pitchFamily="34" charset="0"/>
          <a:cs typeface="Segoe UI" pitchFamily="34" charset="0"/>
        </a:defRPr>
      </a:lvl2pPr>
      <a:lvl3pPr marL="761483" indent="-173184" algn="l" defTabSz="1087779"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040" indent="-177151" algn="l" defTabSz="108777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003" indent="-179795" algn="l" defTabSz="1087779"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392"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6pPr>
      <a:lvl7pPr marL="3535281"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7pPr>
      <a:lvl8pPr marL="4079172"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8pPr>
      <a:lvl9pPr marL="4623061" indent="-271944" algn="l" defTabSz="1087779" rtl="0" eaLnBrk="1" latinLnBrk="0" hangingPunct="1">
        <a:spcBef>
          <a:spcPct val="20000"/>
        </a:spcBef>
        <a:buFont typeface="Arial" pitchFamily="34" charset="0"/>
        <a:buChar char="•"/>
        <a:defRPr sz="2499" kern="1200">
          <a:solidFill>
            <a:schemeClr val="tx1"/>
          </a:solidFill>
          <a:latin typeface="+mn-lt"/>
          <a:ea typeface="+mn-ea"/>
          <a:cs typeface="+mn-cs"/>
        </a:defRPr>
      </a:lvl9pPr>
    </p:bodyStyle>
    <p:otherStyle>
      <a:defPPr>
        <a:defRPr lang="en-US"/>
      </a:defPPr>
      <a:lvl1pPr marL="0" algn="l" defTabSz="1087779" rtl="0" eaLnBrk="1" latinLnBrk="0" hangingPunct="1">
        <a:defRPr sz="2199" kern="1200">
          <a:solidFill>
            <a:schemeClr val="tx1"/>
          </a:solidFill>
          <a:latin typeface="+mn-lt"/>
          <a:ea typeface="+mn-ea"/>
          <a:cs typeface="+mn-cs"/>
        </a:defRPr>
      </a:lvl1pPr>
      <a:lvl2pPr marL="543890" algn="l" defTabSz="1087779" rtl="0" eaLnBrk="1" latinLnBrk="0" hangingPunct="1">
        <a:defRPr sz="2199" kern="1200">
          <a:solidFill>
            <a:schemeClr val="tx1"/>
          </a:solidFill>
          <a:latin typeface="+mn-lt"/>
          <a:ea typeface="+mn-ea"/>
          <a:cs typeface="+mn-cs"/>
        </a:defRPr>
      </a:lvl2pPr>
      <a:lvl3pPr marL="1087779" algn="l" defTabSz="1087779" rtl="0" eaLnBrk="1" latinLnBrk="0" hangingPunct="1">
        <a:defRPr sz="2199" kern="1200">
          <a:solidFill>
            <a:schemeClr val="tx1"/>
          </a:solidFill>
          <a:latin typeface="+mn-lt"/>
          <a:ea typeface="+mn-ea"/>
          <a:cs typeface="+mn-cs"/>
        </a:defRPr>
      </a:lvl3pPr>
      <a:lvl4pPr marL="1631669" algn="l" defTabSz="1087779" rtl="0" eaLnBrk="1" latinLnBrk="0" hangingPunct="1">
        <a:defRPr sz="2199" kern="1200">
          <a:solidFill>
            <a:schemeClr val="tx1"/>
          </a:solidFill>
          <a:latin typeface="+mn-lt"/>
          <a:ea typeface="+mn-ea"/>
          <a:cs typeface="+mn-cs"/>
        </a:defRPr>
      </a:lvl4pPr>
      <a:lvl5pPr marL="2175558" algn="l" defTabSz="1087779" rtl="0" eaLnBrk="1" latinLnBrk="0" hangingPunct="1">
        <a:defRPr sz="2199" kern="1200">
          <a:solidFill>
            <a:schemeClr val="tx1"/>
          </a:solidFill>
          <a:latin typeface="+mn-lt"/>
          <a:ea typeface="+mn-ea"/>
          <a:cs typeface="+mn-cs"/>
        </a:defRPr>
      </a:lvl5pPr>
      <a:lvl6pPr marL="2719448" algn="l" defTabSz="1087779" rtl="0" eaLnBrk="1" latinLnBrk="0" hangingPunct="1">
        <a:defRPr sz="2199" kern="1200">
          <a:solidFill>
            <a:schemeClr val="tx1"/>
          </a:solidFill>
          <a:latin typeface="+mn-lt"/>
          <a:ea typeface="+mn-ea"/>
          <a:cs typeface="+mn-cs"/>
        </a:defRPr>
      </a:lvl6pPr>
      <a:lvl7pPr marL="3263337" algn="l" defTabSz="1087779" rtl="0" eaLnBrk="1" latinLnBrk="0" hangingPunct="1">
        <a:defRPr sz="2199" kern="1200">
          <a:solidFill>
            <a:schemeClr val="tx1"/>
          </a:solidFill>
          <a:latin typeface="+mn-lt"/>
          <a:ea typeface="+mn-ea"/>
          <a:cs typeface="+mn-cs"/>
        </a:defRPr>
      </a:lvl7pPr>
      <a:lvl8pPr marL="3807226" algn="l" defTabSz="1087779" rtl="0" eaLnBrk="1" latinLnBrk="0" hangingPunct="1">
        <a:defRPr sz="2199" kern="1200">
          <a:solidFill>
            <a:schemeClr val="tx1"/>
          </a:solidFill>
          <a:latin typeface="+mn-lt"/>
          <a:ea typeface="+mn-ea"/>
          <a:cs typeface="+mn-cs"/>
        </a:defRPr>
      </a:lvl8pPr>
      <a:lvl9pPr marL="4351116" algn="l" defTabSz="1087779" rtl="0" eaLnBrk="1" latinLnBrk="0" hangingPunct="1">
        <a:defRPr sz="21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02.xml"/></Relationships>
</file>

<file path=ppt/slides/_rels/slide10.xml.rels><?xml version="1.0" encoding="UTF-8" standalone="yes"?>
<Relationships xmlns="http://schemas.openxmlformats.org/package/2006/relationships"><Relationship Id="rId8" Type="http://schemas.openxmlformats.org/officeDocument/2006/relationships/tags" Target="../tags/tag123.xml"/><Relationship Id="rId13" Type="http://schemas.openxmlformats.org/officeDocument/2006/relationships/tags" Target="../tags/tag128.xml"/><Relationship Id="rId18" Type="http://schemas.openxmlformats.org/officeDocument/2006/relationships/tags" Target="../tags/tag133.xml"/><Relationship Id="rId3" Type="http://schemas.openxmlformats.org/officeDocument/2006/relationships/tags" Target="../tags/tag118.xml"/><Relationship Id="rId21" Type="http://schemas.openxmlformats.org/officeDocument/2006/relationships/tags" Target="../tags/tag136.xml"/><Relationship Id="rId7" Type="http://schemas.openxmlformats.org/officeDocument/2006/relationships/tags" Target="../tags/tag122.xml"/><Relationship Id="rId12" Type="http://schemas.openxmlformats.org/officeDocument/2006/relationships/tags" Target="../tags/tag127.xml"/><Relationship Id="rId17" Type="http://schemas.openxmlformats.org/officeDocument/2006/relationships/tags" Target="../tags/tag132.xml"/><Relationship Id="rId2" Type="http://schemas.openxmlformats.org/officeDocument/2006/relationships/tags" Target="../tags/tag117.xml"/><Relationship Id="rId16" Type="http://schemas.openxmlformats.org/officeDocument/2006/relationships/tags" Target="../tags/tag131.xml"/><Relationship Id="rId20" Type="http://schemas.openxmlformats.org/officeDocument/2006/relationships/tags" Target="../tags/tag135.xml"/><Relationship Id="rId1" Type="http://schemas.openxmlformats.org/officeDocument/2006/relationships/tags" Target="../tags/tag116.xml"/><Relationship Id="rId6" Type="http://schemas.openxmlformats.org/officeDocument/2006/relationships/tags" Target="../tags/tag121.xml"/><Relationship Id="rId11" Type="http://schemas.openxmlformats.org/officeDocument/2006/relationships/tags" Target="../tags/tag126.xml"/><Relationship Id="rId24" Type="http://schemas.openxmlformats.org/officeDocument/2006/relationships/notesSlide" Target="../notesSlides/notesSlide9.xml"/><Relationship Id="rId5" Type="http://schemas.openxmlformats.org/officeDocument/2006/relationships/tags" Target="../tags/tag120.xml"/><Relationship Id="rId15" Type="http://schemas.openxmlformats.org/officeDocument/2006/relationships/tags" Target="../tags/tag130.xml"/><Relationship Id="rId23" Type="http://schemas.openxmlformats.org/officeDocument/2006/relationships/slideLayout" Target="../slideLayouts/slideLayout208.xml"/><Relationship Id="rId10" Type="http://schemas.openxmlformats.org/officeDocument/2006/relationships/tags" Target="../tags/tag125.xml"/><Relationship Id="rId19" Type="http://schemas.openxmlformats.org/officeDocument/2006/relationships/tags" Target="../tags/tag134.xml"/><Relationship Id="rId4" Type="http://schemas.openxmlformats.org/officeDocument/2006/relationships/tags" Target="../tags/tag119.xml"/><Relationship Id="rId9" Type="http://schemas.openxmlformats.org/officeDocument/2006/relationships/tags" Target="../tags/tag124.xml"/><Relationship Id="rId14" Type="http://schemas.openxmlformats.org/officeDocument/2006/relationships/tags" Target="../tags/tag129.xml"/><Relationship Id="rId22" Type="http://schemas.openxmlformats.org/officeDocument/2006/relationships/tags" Target="../tags/tag137.xml"/></Relationships>
</file>

<file path=ppt/slides/_rels/slide1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106.xml"/><Relationship Id="rId7" Type="http://schemas.openxmlformats.org/officeDocument/2006/relationships/image" Target="../media/image26.png"/><Relationship Id="rId2" Type="http://schemas.openxmlformats.org/officeDocument/2006/relationships/tags" Target="../tags/tag138.xml"/><Relationship Id="rId1" Type="http://schemas.openxmlformats.org/officeDocument/2006/relationships/vmlDrawing" Target="../drawings/vmlDrawing85.vml"/><Relationship Id="rId6" Type="http://schemas.openxmlformats.org/officeDocument/2006/relationships/image" Target="../media/image25.emf"/><Relationship Id="rId5" Type="http://schemas.openxmlformats.org/officeDocument/2006/relationships/oleObject" Target="../embeddings/oleObject81.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8" Type="http://schemas.openxmlformats.org/officeDocument/2006/relationships/notesSlide" Target="../notesSlides/notesSlide11.xml"/><Relationship Id="rId3" Type="http://schemas.openxmlformats.org/officeDocument/2006/relationships/tags" Target="../tags/tag140.xml"/><Relationship Id="rId7" Type="http://schemas.openxmlformats.org/officeDocument/2006/relationships/slideLayout" Target="../slideLayouts/slideLayout208.xml"/><Relationship Id="rId2" Type="http://schemas.openxmlformats.org/officeDocument/2006/relationships/tags" Target="../tags/tag139.xml"/><Relationship Id="rId1" Type="http://schemas.openxmlformats.org/officeDocument/2006/relationships/vmlDrawing" Target="../drawings/vmlDrawing86.vml"/><Relationship Id="rId6" Type="http://schemas.openxmlformats.org/officeDocument/2006/relationships/tags" Target="../tags/tag143.xml"/><Relationship Id="rId5" Type="http://schemas.openxmlformats.org/officeDocument/2006/relationships/tags" Target="../tags/tag142.xml"/><Relationship Id="rId10" Type="http://schemas.openxmlformats.org/officeDocument/2006/relationships/image" Target="../media/image25.emf"/><Relationship Id="rId4" Type="http://schemas.openxmlformats.org/officeDocument/2006/relationships/tags" Target="../tags/tag141.xml"/><Relationship Id="rId9" Type="http://schemas.openxmlformats.org/officeDocument/2006/relationships/oleObject" Target="../embeddings/oleObject82.bin"/></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3.xml"/><Relationship Id="rId1" Type="http://schemas.openxmlformats.org/officeDocument/2006/relationships/slideLayout" Target="../slideLayouts/slideLayout227.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xml"/><Relationship Id="rId1" Type="http://schemas.openxmlformats.org/officeDocument/2006/relationships/tags" Target="../tags/tag144.xml"/></Relationships>
</file>

<file path=ppt/slides/_rels/slide16.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notesSlide" Target="../notesSlides/notesSlide15.xml"/><Relationship Id="rId7" Type="http://schemas.openxmlformats.org/officeDocument/2006/relationships/image" Target="../media/image30.jpeg"/><Relationship Id="rId2" Type="http://schemas.openxmlformats.org/officeDocument/2006/relationships/slideLayout" Target="../slideLayouts/slideLayout6.xml"/><Relationship Id="rId1" Type="http://schemas.openxmlformats.org/officeDocument/2006/relationships/tags" Target="../tags/tag145.xml"/><Relationship Id="rId6" Type="http://schemas.openxmlformats.org/officeDocument/2006/relationships/image" Target="../media/image29.jpeg"/><Relationship Id="rId5" Type="http://schemas.openxmlformats.org/officeDocument/2006/relationships/image" Target="../media/image28.jpeg"/><Relationship Id="rId4" Type="http://schemas.openxmlformats.org/officeDocument/2006/relationships/image" Target="../media/image27.jpeg"/><Relationship Id="rId9" Type="http://schemas.openxmlformats.org/officeDocument/2006/relationships/image" Target="../media/image32.jpeg"/></Relationships>
</file>

<file path=ppt/slides/_rels/slide17.xml.rels><?xml version="1.0" encoding="UTF-8" standalone="yes"?>
<Relationships xmlns="http://schemas.openxmlformats.org/package/2006/relationships"><Relationship Id="rId8" Type="http://schemas.microsoft.com/office/2007/relationships/hdphoto" Target="../media/hdphoto4.wdp"/><Relationship Id="rId13" Type="http://schemas.microsoft.com/office/2007/relationships/hdphoto" Target="../media/hdphoto5.wdp"/><Relationship Id="rId3" Type="http://schemas.openxmlformats.org/officeDocument/2006/relationships/image" Target="../media/image33.png"/><Relationship Id="rId7" Type="http://schemas.openxmlformats.org/officeDocument/2006/relationships/image" Target="../media/image35.png"/><Relationship Id="rId12" Type="http://schemas.openxmlformats.org/officeDocument/2006/relationships/image" Target="../media/image39.png"/><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microsoft.com/office/2007/relationships/hdphoto" Target="../media/hdphoto3.wdp"/><Relationship Id="rId11" Type="http://schemas.openxmlformats.org/officeDocument/2006/relationships/image" Target="../media/image38.png"/><Relationship Id="rId5" Type="http://schemas.openxmlformats.org/officeDocument/2006/relationships/image" Target="../media/image34.png"/><Relationship Id="rId10" Type="http://schemas.openxmlformats.org/officeDocument/2006/relationships/image" Target="../media/image37.png"/><Relationship Id="rId4" Type="http://schemas.microsoft.com/office/2007/relationships/hdphoto" Target="../media/hdphoto2.wdp"/><Relationship Id="rId9" Type="http://schemas.openxmlformats.org/officeDocument/2006/relationships/image" Target="../media/image36.png"/></Relationships>
</file>

<file path=ppt/slides/_rels/slide18.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8.png"/><Relationship Id="rId18" Type="http://schemas.openxmlformats.org/officeDocument/2006/relationships/image" Target="../media/image53.png"/><Relationship Id="rId26" Type="http://schemas.openxmlformats.org/officeDocument/2006/relationships/image" Target="../media/image61.png"/><Relationship Id="rId39" Type="http://schemas.openxmlformats.org/officeDocument/2006/relationships/image" Target="../media/image69.png"/><Relationship Id="rId3" Type="http://schemas.openxmlformats.org/officeDocument/2006/relationships/image" Target="../media/image40.png"/><Relationship Id="rId21" Type="http://schemas.openxmlformats.org/officeDocument/2006/relationships/image" Target="../media/image56.png"/><Relationship Id="rId34" Type="http://schemas.openxmlformats.org/officeDocument/2006/relationships/image" Target="../media/image66.png"/><Relationship Id="rId7" Type="http://schemas.openxmlformats.org/officeDocument/2006/relationships/image" Target="../media/image43.png"/><Relationship Id="rId12" Type="http://schemas.openxmlformats.org/officeDocument/2006/relationships/image" Target="../media/image47.png"/><Relationship Id="rId17" Type="http://schemas.openxmlformats.org/officeDocument/2006/relationships/image" Target="../media/image52.png"/><Relationship Id="rId25" Type="http://schemas.openxmlformats.org/officeDocument/2006/relationships/image" Target="../media/image60.png"/><Relationship Id="rId33" Type="http://schemas.openxmlformats.org/officeDocument/2006/relationships/image" Target="../media/image65.png"/><Relationship Id="rId38" Type="http://schemas.openxmlformats.org/officeDocument/2006/relationships/image" Target="../media/image68.jpeg"/><Relationship Id="rId2" Type="http://schemas.openxmlformats.org/officeDocument/2006/relationships/notesSlide" Target="../notesSlides/notesSlide17.xml"/><Relationship Id="rId16" Type="http://schemas.openxmlformats.org/officeDocument/2006/relationships/image" Target="../media/image51.png"/><Relationship Id="rId20" Type="http://schemas.openxmlformats.org/officeDocument/2006/relationships/image" Target="../media/image55.png"/><Relationship Id="rId29" Type="http://schemas.openxmlformats.org/officeDocument/2006/relationships/image" Target="../media/image63.png"/><Relationship Id="rId1" Type="http://schemas.openxmlformats.org/officeDocument/2006/relationships/slideLayout" Target="../slideLayouts/slideLayout244.xml"/><Relationship Id="rId6" Type="http://schemas.microsoft.com/office/2007/relationships/hdphoto" Target="../media/hdphoto6.wdp"/><Relationship Id="rId11" Type="http://schemas.openxmlformats.org/officeDocument/2006/relationships/image" Target="../media/image46.png"/><Relationship Id="rId24" Type="http://schemas.openxmlformats.org/officeDocument/2006/relationships/image" Target="../media/image59.png"/><Relationship Id="rId32" Type="http://schemas.microsoft.com/office/2007/relationships/hdphoto" Target="../media/hdphoto10.wdp"/><Relationship Id="rId37" Type="http://schemas.microsoft.com/office/2007/relationships/hdphoto" Target="../media/hdphoto12.wdp"/><Relationship Id="rId5" Type="http://schemas.openxmlformats.org/officeDocument/2006/relationships/image" Target="../media/image42.png"/><Relationship Id="rId15" Type="http://schemas.openxmlformats.org/officeDocument/2006/relationships/image" Target="../media/image50.png"/><Relationship Id="rId23" Type="http://schemas.openxmlformats.org/officeDocument/2006/relationships/image" Target="../media/image58.png"/><Relationship Id="rId28" Type="http://schemas.microsoft.com/office/2007/relationships/hdphoto" Target="../media/hdphoto8.wdp"/><Relationship Id="rId36" Type="http://schemas.openxmlformats.org/officeDocument/2006/relationships/image" Target="../media/image67.png"/><Relationship Id="rId10" Type="http://schemas.openxmlformats.org/officeDocument/2006/relationships/image" Target="../media/image45.png"/><Relationship Id="rId19" Type="http://schemas.openxmlformats.org/officeDocument/2006/relationships/image" Target="../media/image54.png"/><Relationship Id="rId31" Type="http://schemas.openxmlformats.org/officeDocument/2006/relationships/image" Target="../media/image64.png"/><Relationship Id="rId4" Type="http://schemas.openxmlformats.org/officeDocument/2006/relationships/image" Target="../media/image41.emf"/><Relationship Id="rId9" Type="http://schemas.microsoft.com/office/2007/relationships/hdphoto" Target="../media/hdphoto7.wdp"/><Relationship Id="rId14" Type="http://schemas.openxmlformats.org/officeDocument/2006/relationships/image" Target="../media/image49.png"/><Relationship Id="rId22" Type="http://schemas.openxmlformats.org/officeDocument/2006/relationships/image" Target="../media/image57.png"/><Relationship Id="rId27" Type="http://schemas.openxmlformats.org/officeDocument/2006/relationships/image" Target="../media/image62.png"/><Relationship Id="rId30" Type="http://schemas.microsoft.com/office/2007/relationships/hdphoto" Target="../media/hdphoto9.wdp"/><Relationship Id="rId35" Type="http://schemas.microsoft.com/office/2007/relationships/hdphoto" Target="../media/hdphoto11.wdp"/></Relationships>
</file>

<file path=ppt/slides/_rels/slide19.xml.rels><?xml version="1.0" encoding="UTF-8" standalone="yes"?>
<Relationships xmlns="http://schemas.openxmlformats.org/package/2006/relationships"><Relationship Id="rId8" Type="http://schemas.openxmlformats.org/officeDocument/2006/relationships/tags" Target="../tags/tag153.xml"/><Relationship Id="rId13" Type="http://schemas.openxmlformats.org/officeDocument/2006/relationships/tags" Target="../tags/tag158.xml"/><Relationship Id="rId18" Type="http://schemas.openxmlformats.org/officeDocument/2006/relationships/tags" Target="../tags/tag163.xml"/><Relationship Id="rId26" Type="http://schemas.openxmlformats.org/officeDocument/2006/relationships/tags" Target="../tags/tag171.xml"/><Relationship Id="rId3" Type="http://schemas.openxmlformats.org/officeDocument/2006/relationships/tags" Target="../tags/tag148.xml"/><Relationship Id="rId21" Type="http://schemas.openxmlformats.org/officeDocument/2006/relationships/tags" Target="../tags/tag166.xml"/><Relationship Id="rId34" Type="http://schemas.openxmlformats.org/officeDocument/2006/relationships/tags" Target="../tags/tag179.xml"/><Relationship Id="rId7" Type="http://schemas.openxmlformats.org/officeDocument/2006/relationships/tags" Target="../tags/tag152.xml"/><Relationship Id="rId12" Type="http://schemas.openxmlformats.org/officeDocument/2006/relationships/tags" Target="../tags/tag157.xml"/><Relationship Id="rId17" Type="http://schemas.openxmlformats.org/officeDocument/2006/relationships/tags" Target="../tags/tag162.xml"/><Relationship Id="rId25" Type="http://schemas.openxmlformats.org/officeDocument/2006/relationships/tags" Target="../tags/tag170.xml"/><Relationship Id="rId33" Type="http://schemas.openxmlformats.org/officeDocument/2006/relationships/tags" Target="../tags/tag178.xml"/><Relationship Id="rId2" Type="http://schemas.openxmlformats.org/officeDocument/2006/relationships/tags" Target="../tags/tag147.xml"/><Relationship Id="rId16" Type="http://schemas.openxmlformats.org/officeDocument/2006/relationships/tags" Target="../tags/tag161.xml"/><Relationship Id="rId20" Type="http://schemas.openxmlformats.org/officeDocument/2006/relationships/tags" Target="../tags/tag165.xml"/><Relationship Id="rId29" Type="http://schemas.openxmlformats.org/officeDocument/2006/relationships/tags" Target="../tags/tag174.xml"/><Relationship Id="rId1" Type="http://schemas.openxmlformats.org/officeDocument/2006/relationships/tags" Target="../tags/tag146.xml"/><Relationship Id="rId6" Type="http://schemas.openxmlformats.org/officeDocument/2006/relationships/tags" Target="../tags/tag151.xml"/><Relationship Id="rId11" Type="http://schemas.openxmlformats.org/officeDocument/2006/relationships/tags" Target="../tags/tag156.xml"/><Relationship Id="rId24" Type="http://schemas.openxmlformats.org/officeDocument/2006/relationships/tags" Target="../tags/tag169.xml"/><Relationship Id="rId32" Type="http://schemas.openxmlformats.org/officeDocument/2006/relationships/tags" Target="../tags/tag177.xml"/><Relationship Id="rId37" Type="http://schemas.openxmlformats.org/officeDocument/2006/relationships/image" Target="../media/image70.jpeg"/><Relationship Id="rId5" Type="http://schemas.openxmlformats.org/officeDocument/2006/relationships/tags" Target="../tags/tag150.xml"/><Relationship Id="rId15" Type="http://schemas.openxmlformats.org/officeDocument/2006/relationships/tags" Target="../tags/tag160.xml"/><Relationship Id="rId23" Type="http://schemas.openxmlformats.org/officeDocument/2006/relationships/tags" Target="../tags/tag168.xml"/><Relationship Id="rId28" Type="http://schemas.openxmlformats.org/officeDocument/2006/relationships/tags" Target="../tags/tag173.xml"/><Relationship Id="rId36" Type="http://schemas.openxmlformats.org/officeDocument/2006/relationships/notesSlide" Target="../notesSlides/notesSlide18.xml"/><Relationship Id="rId10" Type="http://schemas.openxmlformats.org/officeDocument/2006/relationships/tags" Target="../tags/tag155.xml"/><Relationship Id="rId19" Type="http://schemas.openxmlformats.org/officeDocument/2006/relationships/tags" Target="../tags/tag164.xml"/><Relationship Id="rId31" Type="http://schemas.openxmlformats.org/officeDocument/2006/relationships/tags" Target="../tags/tag176.xml"/><Relationship Id="rId4" Type="http://schemas.openxmlformats.org/officeDocument/2006/relationships/tags" Target="../tags/tag149.xml"/><Relationship Id="rId9" Type="http://schemas.openxmlformats.org/officeDocument/2006/relationships/tags" Target="../tags/tag154.xml"/><Relationship Id="rId14" Type="http://schemas.openxmlformats.org/officeDocument/2006/relationships/tags" Target="../tags/tag159.xml"/><Relationship Id="rId22" Type="http://schemas.openxmlformats.org/officeDocument/2006/relationships/tags" Target="../tags/tag167.xml"/><Relationship Id="rId27" Type="http://schemas.openxmlformats.org/officeDocument/2006/relationships/tags" Target="../tags/tag172.xml"/><Relationship Id="rId30" Type="http://schemas.openxmlformats.org/officeDocument/2006/relationships/tags" Target="../tags/tag175.xml"/><Relationship Id="rId35"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6.xml"/><Relationship Id="rId1" Type="http://schemas.openxmlformats.org/officeDocument/2006/relationships/tags" Target="../tags/tag106.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182.xml"/><Relationship Id="rId7" Type="http://schemas.openxmlformats.org/officeDocument/2006/relationships/tags" Target="../tags/tag186.xml"/><Relationship Id="rId2" Type="http://schemas.openxmlformats.org/officeDocument/2006/relationships/tags" Target="../tags/tag181.xml"/><Relationship Id="rId1" Type="http://schemas.openxmlformats.org/officeDocument/2006/relationships/tags" Target="../tags/tag180.xml"/><Relationship Id="rId6" Type="http://schemas.openxmlformats.org/officeDocument/2006/relationships/tags" Target="../tags/tag185.xml"/><Relationship Id="rId5" Type="http://schemas.openxmlformats.org/officeDocument/2006/relationships/tags" Target="../tags/tag184.xml"/><Relationship Id="rId4" Type="http://schemas.openxmlformats.org/officeDocument/2006/relationships/tags" Target="../tags/tag183.xml"/><Relationship Id="rId9" Type="http://schemas.openxmlformats.org/officeDocument/2006/relationships/notesSlide" Target="../notesSlides/notesSlide20.xml"/></Relationships>
</file>

<file path=ppt/slides/_rels/slide22.xml.rels><?xml version="1.0" encoding="UTF-8" standalone="yes"?>
<Relationships xmlns="http://schemas.openxmlformats.org/package/2006/relationships"><Relationship Id="rId8" Type="http://schemas.openxmlformats.org/officeDocument/2006/relationships/tags" Target="../tags/tag194.xml"/><Relationship Id="rId3" Type="http://schemas.openxmlformats.org/officeDocument/2006/relationships/tags" Target="../tags/tag189.xml"/><Relationship Id="rId7" Type="http://schemas.openxmlformats.org/officeDocument/2006/relationships/tags" Target="../tags/tag193.xml"/><Relationship Id="rId12" Type="http://schemas.openxmlformats.org/officeDocument/2006/relationships/notesSlide" Target="../notesSlides/notesSlide21.xml"/><Relationship Id="rId2" Type="http://schemas.openxmlformats.org/officeDocument/2006/relationships/tags" Target="../tags/tag188.xml"/><Relationship Id="rId1" Type="http://schemas.openxmlformats.org/officeDocument/2006/relationships/tags" Target="../tags/tag187.xml"/><Relationship Id="rId6" Type="http://schemas.openxmlformats.org/officeDocument/2006/relationships/tags" Target="../tags/tag192.xml"/><Relationship Id="rId11" Type="http://schemas.openxmlformats.org/officeDocument/2006/relationships/slideLayout" Target="../slideLayouts/slideLayout257.xml"/><Relationship Id="rId5" Type="http://schemas.openxmlformats.org/officeDocument/2006/relationships/tags" Target="../tags/tag191.xml"/><Relationship Id="rId10" Type="http://schemas.openxmlformats.org/officeDocument/2006/relationships/tags" Target="../tags/tag196.xml"/><Relationship Id="rId4" Type="http://schemas.openxmlformats.org/officeDocument/2006/relationships/tags" Target="../tags/tag190.xml"/><Relationship Id="rId9" Type="http://schemas.openxmlformats.org/officeDocument/2006/relationships/tags" Target="../tags/tag195.xml"/></Relationships>
</file>

<file path=ppt/slides/_rels/slide23.xml.rels><?xml version="1.0" encoding="UTF-8" standalone="yes"?>
<Relationships xmlns="http://schemas.openxmlformats.org/package/2006/relationships"><Relationship Id="rId3" Type="http://schemas.openxmlformats.org/officeDocument/2006/relationships/tags" Target="../tags/tag199.xml"/><Relationship Id="rId2" Type="http://schemas.openxmlformats.org/officeDocument/2006/relationships/tags" Target="../tags/tag198.xml"/><Relationship Id="rId1" Type="http://schemas.openxmlformats.org/officeDocument/2006/relationships/tags" Target="../tags/tag197.xml"/><Relationship Id="rId5" Type="http://schemas.openxmlformats.org/officeDocument/2006/relationships/notesSlide" Target="../notesSlides/notesSlide22.xml"/><Relationship Id="rId4" Type="http://schemas.openxmlformats.org/officeDocument/2006/relationships/slideLayout" Target="../slideLayouts/slideLayout22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4.xml"/><Relationship Id="rId1" Type="http://schemas.openxmlformats.org/officeDocument/2006/relationships/slideLayout" Target="../slideLayouts/slideLayout227.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6.xml"/><Relationship Id="rId1" Type="http://schemas.openxmlformats.org/officeDocument/2006/relationships/tags" Target="../tags/tag200.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6.xml"/><Relationship Id="rId1" Type="http://schemas.openxmlformats.org/officeDocument/2006/relationships/tags" Target="../tags/tag201.xml"/><Relationship Id="rId5" Type="http://schemas.openxmlformats.org/officeDocument/2006/relationships/image" Target="../media/image72.jpeg"/><Relationship Id="rId4" Type="http://schemas.openxmlformats.org/officeDocument/2006/relationships/image" Target="../media/image71.jpeg"/></Relationships>
</file>

<file path=ppt/slides/_rels/slide28.xml.rels><?xml version="1.0" encoding="UTF-8" standalone="yes"?>
<Relationships xmlns="http://schemas.openxmlformats.org/package/2006/relationships"><Relationship Id="rId8" Type="http://schemas.microsoft.com/office/2007/relationships/hdphoto" Target="../media/hdphoto15.wdp"/><Relationship Id="rId13" Type="http://schemas.openxmlformats.org/officeDocument/2006/relationships/image" Target="../media/image78.png"/><Relationship Id="rId18" Type="http://schemas.microsoft.com/office/2007/relationships/hdphoto" Target="../media/hdphoto2.wdp"/><Relationship Id="rId3" Type="http://schemas.openxmlformats.org/officeDocument/2006/relationships/image" Target="../media/image73.png"/><Relationship Id="rId21" Type="http://schemas.openxmlformats.org/officeDocument/2006/relationships/image" Target="../media/image83.png"/><Relationship Id="rId7" Type="http://schemas.openxmlformats.org/officeDocument/2006/relationships/image" Target="../media/image75.png"/><Relationship Id="rId12" Type="http://schemas.microsoft.com/office/2007/relationships/hdphoto" Target="../media/hdphoto17.wdp"/><Relationship Id="rId17" Type="http://schemas.openxmlformats.org/officeDocument/2006/relationships/image" Target="../media/image81.png"/><Relationship Id="rId2" Type="http://schemas.openxmlformats.org/officeDocument/2006/relationships/notesSlide" Target="../notesSlides/notesSlide27.xml"/><Relationship Id="rId16" Type="http://schemas.microsoft.com/office/2007/relationships/hdphoto" Target="../media/hdphoto18.wdp"/><Relationship Id="rId20" Type="http://schemas.microsoft.com/office/2007/relationships/hdphoto" Target="../media/hdphoto19.wdp"/><Relationship Id="rId1" Type="http://schemas.openxmlformats.org/officeDocument/2006/relationships/slideLayout" Target="../slideLayouts/slideLayout6.xml"/><Relationship Id="rId6" Type="http://schemas.microsoft.com/office/2007/relationships/hdphoto" Target="../media/hdphoto14.wdp"/><Relationship Id="rId11" Type="http://schemas.openxmlformats.org/officeDocument/2006/relationships/image" Target="../media/image77.png"/><Relationship Id="rId5" Type="http://schemas.openxmlformats.org/officeDocument/2006/relationships/image" Target="../media/image74.png"/><Relationship Id="rId15" Type="http://schemas.openxmlformats.org/officeDocument/2006/relationships/image" Target="../media/image80.png"/><Relationship Id="rId10" Type="http://schemas.microsoft.com/office/2007/relationships/hdphoto" Target="../media/hdphoto16.wdp"/><Relationship Id="rId19" Type="http://schemas.openxmlformats.org/officeDocument/2006/relationships/image" Target="../media/image82.png"/><Relationship Id="rId4" Type="http://schemas.microsoft.com/office/2007/relationships/hdphoto" Target="../media/hdphoto13.wdp"/><Relationship Id="rId9" Type="http://schemas.openxmlformats.org/officeDocument/2006/relationships/image" Target="../media/image76.png"/><Relationship Id="rId14" Type="http://schemas.openxmlformats.org/officeDocument/2006/relationships/image" Target="../media/image79.png"/><Relationship Id="rId22" Type="http://schemas.microsoft.com/office/2007/relationships/hdphoto" Target="../media/hdphoto20.wdp"/></Relationships>
</file>

<file path=ppt/slides/_rels/slide29.xml.rels><?xml version="1.0" encoding="UTF-8" standalone="yes"?>
<Relationships xmlns="http://schemas.openxmlformats.org/package/2006/relationships"><Relationship Id="rId8" Type="http://schemas.openxmlformats.org/officeDocument/2006/relationships/tags" Target="../tags/tag209.xml"/><Relationship Id="rId13" Type="http://schemas.openxmlformats.org/officeDocument/2006/relationships/tags" Target="../tags/tag214.xml"/><Relationship Id="rId18" Type="http://schemas.openxmlformats.org/officeDocument/2006/relationships/tags" Target="../tags/tag219.xml"/><Relationship Id="rId26" Type="http://schemas.openxmlformats.org/officeDocument/2006/relationships/tags" Target="../tags/tag227.xml"/><Relationship Id="rId3" Type="http://schemas.openxmlformats.org/officeDocument/2006/relationships/tags" Target="../tags/tag204.xml"/><Relationship Id="rId21" Type="http://schemas.openxmlformats.org/officeDocument/2006/relationships/tags" Target="../tags/tag222.xml"/><Relationship Id="rId34" Type="http://schemas.openxmlformats.org/officeDocument/2006/relationships/notesSlide" Target="../notesSlides/notesSlide28.xml"/><Relationship Id="rId7" Type="http://schemas.openxmlformats.org/officeDocument/2006/relationships/tags" Target="../tags/tag208.xml"/><Relationship Id="rId12" Type="http://schemas.openxmlformats.org/officeDocument/2006/relationships/tags" Target="../tags/tag213.xml"/><Relationship Id="rId17" Type="http://schemas.openxmlformats.org/officeDocument/2006/relationships/tags" Target="../tags/tag218.xml"/><Relationship Id="rId25" Type="http://schemas.openxmlformats.org/officeDocument/2006/relationships/tags" Target="../tags/tag226.xml"/><Relationship Id="rId33" Type="http://schemas.openxmlformats.org/officeDocument/2006/relationships/slideLayout" Target="../slideLayouts/slideLayout6.xml"/><Relationship Id="rId2" Type="http://schemas.openxmlformats.org/officeDocument/2006/relationships/tags" Target="../tags/tag203.xml"/><Relationship Id="rId16" Type="http://schemas.openxmlformats.org/officeDocument/2006/relationships/tags" Target="../tags/tag217.xml"/><Relationship Id="rId20" Type="http://schemas.openxmlformats.org/officeDocument/2006/relationships/tags" Target="../tags/tag221.xml"/><Relationship Id="rId29" Type="http://schemas.openxmlformats.org/officeDocument/2006/relationships/tags" Target="../tags/tag230.xml"/><Relationship Id="rId1" Type="http://schemas.openxmlformats.org/officeDocument/2006/relationships/tags" Target="../tags/tag202.xml"/><Relationship Id="rId6" Type="http://schemas.openxmlformats.org/officeDocument/2006/relationships/tags" Target="../tags/tag207.xml"/><Relationship Id="rId11" Type="http://schemas.openxmlformats.org/officeDocument/2006/relationships/tags" Target="../tags/tag212.xml"/><Relationship Id="rId24" Type="http://schemas.openxmlformats.org/officeDocument/2006/relationships/tags" Target="../tags/tag225.xml"/><Relationship Id="rId32" Type="http://schemas.openxmlformats.org/officeDocument/2006/relationships/tags" Target="../tags/tag233.xml"/><Relationship Id="rId5" Type="http://schemas.openxmlformats.org/officeDocument/2006/relationships/tags" Target="../tags/tag206.xml"/><Relationship Id="rId15" Type="http://schemas.openxmlformats.org/officeDocument/2006/relationships/tags" Target="../tags/tag216.xml"/><Relationship Id="rId23" Type="http://schemas.openxmlformats.org/officeDocument/2006/relationships/tags" Target="../tags/tag224.xml"/><Relationship Id="rId28" Type="http://schemas.openxmlformats.org/officeDocument/2006/relationships/tags" Target="../tags/tag229.xml"/><Relationship Id="rId10" Type="http://schemas.openxmlformats.org/officeDocument/2006/relationships/tags" Target="../tags/tag211.xml"/><Relationship Id="rId19" Type="http://schemas.openxmlformats.org/officeDocument/2006/relationships/tags" Target="../tags/tag220.xml"/><Relationship Id="rId31" Type="http://schemas.openxmlformats.org/officeDocument/2006/relationships/tags" Target="../tags/tag232.xml"/><Relationship Id="rId4" Type="http://schemas.openxmlformats.org/officeDocument/2006/relationships/tags" Target="../tags/tag205.xml"/><Relationship Id="rId9" Type="http://schemas.openxmlformats.org/officeDocument/2006/relationships/tags" Target="../tags/tag210.xml"/><Relationship Id="rId14" Type="http://schemas.openxmlformats.org/officeDocument/2006/relationships/tags" Target="../tags/tag215.xml"/><Relationship Id="rId22" Type="http://schemas.openxmlformats.org/officeDocument/2006/relationships/tags" Target="../tags/tag223.xml"/><Relationship Id="rId27" Type="http://schemas.openxmlformats.org/officeDocument/2006/relationships/tags" Target="../tags/tag228.xml"/><Relationship Id="rId30" Type="http://schemas.openxmlformats.org/officeDocument/2006/relationships/tags" Target="../tags/tag231.xml"/><Relationship Id="rId35" Type="http://schemas.openxmlformats.org/officeDocument/2006/relationships/image" Target="../media/image70.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0.xml"/></Relationships>
</file>

<file path=ppt/slides/_rels/slide30.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5.png"/><Relationship Id="rId18" Type="http://schemas.openxmlformats.org/officeDocument/2006/relationships/image" Target="../media/image60.png"/><Relationship Id="rId26" Type="http://schemas.openxmlformats.org/officeDocument/2006/relationships/image" Target="../media/image65.png"/><Relationship Id="rId3" Type="http://schemas.openxmlformats.org/officeDocument/2006/relationships/image" Target="../media/image40.png"/><Relationship Id="rId21" Type="http://schemas.microsoft.com/office/2007/relationships/hdphoto" Target="../media/hdphoto8.wdp"/><Relationship Id="rId7" Type="http://schemas.openxmlformats.org/officeDocument/2006/relationships/image" Target="../media/image49.png"/><Relationship Id="rId12" Type="http://schemas.openxmlformats.org/officeDocument/2006/relationships/image" Target="../media/image54.png"/><Relationship Id="rId17" Type="http://schemas.openxmlformats.org/officeDocument/2006/relationships/image" Target="../media/image59.png"/><Relationship Id="rId25" Type="http://schemas.microsoft.com/office/2007/relationships/hdphoto" Target="../media/hdphoto10.wdp"/><Relationship Id="rId2" Type="http://schemas.openxmlformats.org/officeDocument/2006/relationships/notesSlide" Target="../notesSlides/notesSlide29.xml"/><Relationship Id="rId16" Type="http://schemas.openxmlformats.org/officeDocument/2006/relationships/image" Target="../media/image58.png"/><Relationship Id="rId20" Type="http://schemas.openxmlformats.org/officeDocument/2006/relationships/image" Target="../media/image62.png"/><Relationship Id="rId29" Type="http://schemas.openxmlformats.org/officeDocument/2006/relationships/image" Target="../media/image67.png"/><Relationship Id="rId1" Type="http://schemas.openxmlformats.org/officeDocument/2006/relationships/slideLayout" Target="../slideLayouts/slideLayout244.xml"/><Relationship Id="rId6" Type="http://schemas.openxmlformats.org/officeDocument/2006/relationships/image" Target="../media/image48.png"/><Relationship Id="rId11" Type="http://schemas.openxmlformats.org/officeDocument/2006/relationships/image" Target="../media/image53.png"/><Relationship Id="rId24" Type="http://schemas.openxmlformats.org/officeDocument/2006/relationships/image" Target="../media/image64.png"/><Relationship Id="rId5" Type="http://schemas.openxmlformats.org/officeDocument/2006/relationships/image" Target="../media/image47.png"/><Relationship Id="rId15" Type="http://schemas.openxmlformats.org/officeDocument/2006/relationships/image" Target="../media/image57.png"/><Relationship Id="rId23" Type="http://schemas.microsoft.com/office/2007/relationships/hdphoto" Target="../media/hdphoto9.wdp"/><Relationship Id="rId28" Type="http://schemas.microsoft.com/office/2007/relationships/hdphoto" Target="../media/hdphoto11.wdp"/><Relationship Id="rId10" Type="http://schemas.openxmlformats.org/officeDocument/2006/relationships/image" Target="../media/image52.png"/><Relationship Id="rId19" Type="http://schemas.openxmlformats.org/officeDocument/2006/relationships/image" Target="../media/image61.png"/><Relationship Id="rId31" Type="http://schemas.openxmlformats.org/officeDocument/2006/relationships/image" Target="../media/image68.jpeg"/><Relationship Id="rId4" Type="http://schemas.openxmlformats.org/officeDocument/2006/relationships/image" Target="../media/image46.png"/><Relationship Id="rId9" Type="http://schemas.openxmlformats.org/officeDocument/2006/relationships/image" Target="../media/image51.png"/><Relationship Id="rId14" Type="http://schemas.openxmlformats.org/officeDocument/2006/relationships/image" Target="../media/image56.png"/><Relationship Id="rId22" Type="http://schemas.openxmlformats.org/officeDocument/2006/relationships/image" Target="../media/image63.png"/><Relationship Id="rId27" Type="http://schemas.openxmlformats.org/officeDocument/2006/relationships/image" Target="../media/image66.png"/><Relationship Id="rId30" Type="http://schemas.microsoft.com/office/2007/relationships/hdphoto" Target="../media/hdphoto12.wdp"/></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44.xml"/></Relationships>
</file>

<file path=ppt/slides/_rels/slide32.xml.rels><?xml version="1.0" encoding="UTF-8" standalone="yes"?>
<Relationships xmlns="http://schemas.openxmlformats.org/package/2006/relationships"><Relationship Id="rId8" Type="http://schemas.openxmlformats.org/officeDocument/2006/relationships/notesSlide" Target="../notesSlides/notesSlide31.xml"/><Relationship Id="rId3" Type="http://schemas.openxmlformats.org/officeDocument/2006/relationships/tags" Target="../tags/tag236.xml"/><Relationship Id="rId7" Type="http://schemas.openxmlformats.org/officeDocument/2006/relationships/slideLayout" Target="../slideLayouts/slideLayout244.xml"/><Relationship Id="rId2" Type="http://schemas.openxmlformats.org/officeDocument/2006/relationships/tags" Target="../tags/tag235.xml"/><Relationship Id="rId1" Type="http://schemas.openxmlformats.org/officeDocument/2006/relationships/tags" Target="../tags/tag234.xml"/><Relationship Id="rId6" Type="http://schemas.openxmlformats.org/officeDocument/2006/relationships/tags" Target="../tags/tag239.xml"/><Relationship Id="rId5" Type="http://schemas.openxmlformats.org/officeDocument/2006/relationships/tags" Target="../tags/tag238.xml"/><Relationship Id="rId4" Type="http://schemas.openxmlformats.org/officeDocument/2006/relationships/tags" Target="../tags/tag237.xml"/></Relationships>
</file>

<file path=ppt/slides/_rels/slide33.xml.rels><?xml version="1.0" encoding="UTF-8" standalone="yes"?>
<Relationships xmlns="http://schemas.openxmlformats.org/package/2006/relationships"><Relationship Id="rId8" Type="http://schemas.openxmlformats.org/officeDocument/2006/relationships/tags" Target="../tags/tag247.xml"/><Relationship Id="rId13" Type="http://schemas.openxmlformats.org/officeDocument/2006/relationships/slideLayout" Target="../slideLayouts/slideLayout244.xml"/><Relationship Id="rId3" Type="http://schemas.openxmlformats.org/officeDocument/2006/relationships/tags" Target="../tags/tag242.xml"/><Relationship Id="rId7" Type="http://schemas.openxmlformats.org/officeDocument/2006/relationships/tags" Target="../tags/tag246.xml"/><Relationship Id="rId12" Type="http://schemas.openxmlformats.org/officeDocument/2006/relationships/tags" Target="../tags/tag251.xml"/><Relationship Id="rId2" Type="http://schemas.openxmlformats.org/officeDocument/2006/relationships/tags" Target="../tags/tag241.xml"/><Relationship Id="rId1" Type="http://schemas.openxmlformats.org/officeDocument/2006/relationships/tags" Target="../tags/tag240.xml"/><Relationship Id="rId6" Type="http://schemas.openxmlformats.org/officeDocument/2006/relationships/tags" Target="../tags/tag245.xml"/><Relationship Id="rId11" Type="http://schemas.openxmlformats.org/officeDocument/2006/relationships/tags" Target="../tags/tag250.xml"/><Relationship Id="rId5" Type="http://schemas.openxmlformats.org/officeDocument/2006/relationships/tags" Target="../tags/tag244.xml"/><Relationship Id="rId10" Type="http://schemas.openxmlformats.org/officeDocument/2006/relationships/tags" Target="../tags/tag249.xml"/><Relationship Id="rId4" Type="http://schemas.openxmlformats.org/officeDocument/2006/relationships/tags" Target="../tags/tag243.xml"/><Relationship Id="rId9" Type="http://schemas.openxmlformats.org/officeDocument/2006/relationships/tags" Target="../tags/tag248.xml"/><Relationship Id="rId14" Type="http://schemas.openxmlformats.org/officeDocument/2006/relationships/notesSlide" Target="../notesSlides/notesSlide32.xml"/></Relationships>
</file>

<file path=ppt/slides/_rels/slide34.xml.rels><?xml version="1.0" encoding="UTF-8" standalone="yes"?>
<Relationships xmlns="http://schemas.openxmlformats.org/package/2006/relationships"><Relationship Id="rId3" Type="http://schemas.openxmlformats.org/officeDocument/2006/relationships/tags" Target="../tags/tag254.xml"/><Relationship Id="rId2" Type="http://schemas.openxmlformats.org/officeDocument/2006/relationships/tags" Target="../tags/tag253.xml"/><Relationship Id="rId1" Type="http://schemas.openxmlformats.org/officeDocument/2006/relationships/tags" Target="../tags/tag252.xml"/><Relationship Id="rId5" Type="http://schemas.openxmlformats.org/officeDocument/2006/relationships/notesSlide" Target="../notesSlides/notesSlide33.xml"/><Relationship Id="rId4" Type="http://schemas.openxmlformats.org/officeDocument/2006/relationships/slideLayout" Target="../slideLayouts/slideLayout22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35.xml"/><Relationship Id="rId1" Type="http://schemas.openxmlformats.org/officeDocument/2006/relationships/slideLayout" Target="../slideLayouts/slideLayout227.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56.xml"/><Relationship Id="rId1" Type="http://schemas.openxmlformats.org/officeDocument/2006/relationships/tags" Target="../tags/tag255.xml"/><Relationship Id="rId4" Type="http://schemas.openxmlformats.org/officeDocument/2006/relationships/notesSlide" Target="../notesSlides/notesSlide36.xml"/></Relationships>
</file>

<file path=ppt/slides/_rels/slide38.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notesSlide" Target="../notesSlides/notesSlide37.xml"/><Relationship Id="rId7" Type="http://schemas.openxmlformats.org/officeDocument/2006/relationships/image" Target="../media/image87.png"/><Relationship Id="rId2" Type="http://schemas.openxmlformats.org/officeDocument/2006/relationships/slideLayout" Target="../slideLayouts/slideLayout6.xml"/><Relationship Id="rId1" Type="http://schemas.openxmlformats.org/officeDocument/2006/relationships/tags" Target="../tags/tag257.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s>
</file>

<file path=ppt/slides/_rels/slide3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38.xml"/><Relationship Id="rId1" Type="http://schemas.openxmlformats.org/officeDocument/2006/relationships/slideLayout" Target="../slideLayouts/slideLayout6.xml"/><Relationship Id="rId6" Type="http://schemas.openxmlformats.org/officeDocument/2006/relationships/image" Target="../media/image91.png"/><Relationship Id="rId5" Type="http://schemas.microsoft.com/office/2007/relationships/hdphoto" Target="../media/hdphoto21.wdp"/><Relationship Id="rId4" Type="http://schemas.openxmlformats.org/officeDocument/2006/relationships/image" Target="../media/image90.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10.xml"/></Relationships>
</file>

<file path=ppt/slides/_rels/slide40.xml.rels><?xml version="1.0" encoding="UTF-8" standalone="yes"?>
<Relationships xmlns="http://schemas.openxmlformats.org/package/2006/relationships"><Relationship Id="rId8" Type="http://schemas.microsoft.com/office/2007/relationships/hdphoto" Target="../media/hdphoto7.wdp"/><Relationship Id="rId13" Type="http://schemas.openxmlformats.org/officeDocument/2006/relationships/image" Target="../media/image48.png"/><Relationship Id="rId18" Type="http://schemas.openxmlformats.org/officeDocument/2006/relationships/image" Target="../media/image53.png"/><Relationship Id="rId26" Type="http://schemas.openxmlformats.org/officeDocument/2006/relationships/image" Target="../media/image61.png"/><Relationship Id="rId3" Type="http://schemas.openxmlformats.org/officeDocument/2006/relationships/image" Target="../media/image41.emf"/><Relationship Id="rId21" Type="http://schemas.openxmlformats.org/officeDocument/2006/relationships/image" Target="../media/image56.png"/><Relationship Id="rId7" Type="http://schemas.openxmlformats.org/officeDocument/2006/relationships/image" Target="../media/image44.png"/><Relationship Id="rId12" Type="http://schemas.openxmlformats.org/officeDocument/2006/relationships/image" Target="../media/image47.png"/><Relationship Id="rId17" Type="http://schemas.openxmlformats.org/officeDocument/2006/relationships/image" Target="../media/image52.png"/><Relationship Id="rId25" Type="http://schemas.openxmlformats.org/officeDocument/2006/relationships/image" Target="../media/image60.png"/><Relationship Id="rId2" Type="http://schemas.openxmlformats.org/officeDocument/2006/relationships/notesSlide" Target="../notesSlides/notesSlide39.xml"/><Relationship Id="rId16" Type="http://schemas.openxmlformats.org/officeDocument/2006/relationships/image" Target="../media/image51.png"/><Relationship Id="rId20" Type="http://schemas.openxmlformats.org/officeDocument/2006/relationships/image" Target="../media/image55.png"/><Relationship Id="rId1" Type="http://schemas.openxmlformats.org/officeDocument/2006/relationships/slideLayout" Target="../slideLayouts/slideLayout244.xml"/><Relationship Id="rId6" Type="http://schemas.openxmlformats.org/officeDocument/2006/relationships/image" Target="../media/image43.png"/><Relationship Id="rId11" Type="http://schemas.openxmlformats.org/officeDocument/2006/relationships/image" Target="../media/image46.png"/><Relationship Id="rId24" Type="http://schemas.openxmlformats.org/officeDocument/2006/relationships/image" Target="../media/image59.png"/><Relationship Id="rId5" Type="http://schemas.microsoft.com/office/2007/relationships/hdphoto" Target="../media/hdphoto6.wdp"/><Relationship Id="rId15" Type="http://schemas.openxmlformats.org/officeDocument/2006/relationships/image" Target="../media/image50.png"/><Relationship Id="rId23" Type="http://schemas.openxmlformats.org/officeDocument/2006/relationships/image" Target="../media/image58.png"/><Relationship Id="rId28" Type="http://schemas.openxmlformats.org/officeDocument/2006/relationships/image" Target="../media/image68.jpeg"/><Relationship Id="rId10" Type="http://schemas.openxmlformats.org/officeDocument/2006/relationships/image" Target="../media/image92.png"/><Relationship Id="rId19" Type="http://schemas.openxmlformats.org/officeDocument/2006/relationships/image" Target="../media/image54.png"/><Relationship Id="rId4" Type="http://schemas.openxmlformats.org/officeDocument/2006/relationships/image" Target="../media/image42.png"/><Relationship Id="rId9" Type="http://schemas.openxmlformats.org/officeDocument/2006/relationships/image" Target="../media/image45.png"/><Relationship Id="rId14" Type="http://schemas.openxmlformats.org/officeDocument/2006/relationships/image" Target="../media/image49.png"/><Relationship Id="rId22" Type="http://schemas.openxmlformats.org/officeDocument/2006/relationships/image" Target="../media/image57.png"/><Relationship Id="rId27" Type="http://schemas.openxmlformats.org/officeDocument/2006/relationships/image" Target="../media/image69.png"/></Relationships>
</file>

<file path=ppt/slides/_rels/slide41.xml.rels><?xml version="1.0" encoding="UTF-8" standalone="yes"?>
<Relationships xmlns="http://schemas.openxmlformats.org/package/2006/relationships"><Relationship Id="rId8" Type="http://schemas.openxmlformats.org/officeDocument/2006/relationships/notesSlide" Target="../notesSlides/notesSlide40.xml"/><Relationship Id="rId3" Type="http://schemas.openxmlformats.org/officeDocument/2006/relationships/tags" Target="../tags/tag260.xml"/><Relationship Id="rId7" Type="http://schemas.openxmlformats.org/officeDocument/2006/relationships/slideLayout" Target="../slideLayouts/slideLayout6.xml"/><Relationship Id="rId2" Type="http://schemas.openxmlformats.org/officeDocument/2006/relationships/tags" Target="../tags/tag259.xml"/><Relationship Id="rId1" Type="http://schemas.openxmlformats.org/officeDocument/2006/relationships/tags" Target="../tags/tag258.xml"/><Relationship Id="rId6" Type="http://schemas.openxmlformats.org/officeDocument/2006/relationships/tags" Target="../tags/tag263.xml"/><Relationship Id="rId5" Type="http://schemas.openxmlformats.org/officeDocument/2006/relationships/tags" Target="../tags/tag262.xml"/><Relationship Id="rId4" Type="http://schemas.openxmlformats.org/officeDocument/2006/relationships/tags" Target="../tags/tag261.xml"/><Relationship Id="rId9" Type="http://schemas.openxmlformats.org/officeDocument/2006/relationships/image" Target="../media/image70.jpe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27.xml"/></Relationships>
</file>

<file path=ppt/slides/_rels/slide43.xml.rels><?xml version="1.0" encoding="UTF-8" standalone="yes"?>
<Relationships xmlns="http://schemas.openxmlformats.org/package/2006/relationships"><Relationship Id="rId8" Type="http://schemas.openxmlformats.org/officeDocument/2006/relationships/notesSlide" Target="../notesSlides/notesSlide42.xml"/><Relationship Id="rId3" Type="http://schemas.openxmlformats.org/officeDocument/2006/relationships/tags" Target="../tags/tag266.xml"/><Relationship Id="rId7" Type="http://schemas.openxmlformats.org/officeDocument/2006/relationships/slideLayout" Target="../slideLayouts/slideLayout227.xml"/><Relationship Id="rId2" Type="http://schemas.openxmlformats.org/officeDocument/2006/relationships/tags" Target="../tags/tag265.xml"/><Relationship Id="rId1" Type="http://schemas.openxmlformats.org/officeDocument/2006/relationships/tags" Target="../tags/tag264.xml"/><Relationship Id="rId6" Type="http://schemas.openxmlformats.org/officeDocument/2006/relationships/tags" Target="../tags/tag269.xml"/><Relationship Id="rId5" Type="http://schemas.openxmlformats.org/officeDocument/2006/relationships/tags" Target="../tags/tag268.xml"/><Relationship Id="rId4" Type="http://schemas.openxmlformats.org/officeDocument/2006/relationships/tags" Target="../tags/tag267.xml"/></Relationships>
</file>

<file path=ppt/slides/_rels/slide44.xml.rels><?xml version="1.0" encoding="UTF-8" standalone="yes"?>
<Relationships xmlns="http://schemas.openxmlformats.org/package/2006/relationships"><Relationship Id="rId8" Type="http://schemas.openxmlformats.org/officeDocument/2006/relationships/tags" Target="../tags/tag277.xml"/><Relationship Id="rId3" Type="http://schemas.openxmlformats.org/officeDocument/2006/relationships/tags" Target="../tags/tag272.xml"/><Relationship Id="rId7" Type="http://schemas.openxmlformats.org/officeDocument/2006/relationships/tags" Target="../tags/tag276.xml"/><Relationship Id="rId12" Type="http://schemas.openxmlformats.org/officeDocument/2006/relationships/notesSlide" Target="../notesSlides/notesSlide43.xml"/><Relationship Id="rId2" Type="http://schemas.openxmlformats.org/officeDocument/2006/relationships/tags" Target="../tags/tag271.xml"/><Relationship Id="rId1" Type="http://schemas.openxmlformats.org/officeDocument/2006/relationships/tags" Target="../tags/tag270.xml"/><Relationship Id="rId6" Type="http://schemas.openxmlformats.org/officeDocument/2006/relationships/tags" Target="../tags/tag275.xml"/><Relationship Id="rId11" Type="http://schemas.openxmlformats.org/officeDocument/2006/relationships/slideLayout" Target="../slideLayouts/slideLayout227.xml"/><Relationship Id="rId5" Type="http://schemas.openxmlformats.org/officeDocument/2006/relationships/tags" Target="../tags/tag274.xml"/><Relationship Id="rId10" Type="http://schemas.openxmlformats.org/officeDocument/2006/relationships/tags" Target="../tags/tag279.xml"/><Relationship Id="rId4" Type="http://schemas.openxmlformats.org/officeDocument/2006/relationships/tags" Target="../tags/tag273.xml"/><Relationship Id="rId9" Type="http://schemas.openxmlformats.org/officeDocument/2006/relationships/tags" Target="../tags/tag278.xml"/></Relationships>
</file>

<file path=ppt/slides/_rels/slide45.xml.rels><?xml version="1.0" encoding="UTF-8" standalone="yes"?>
<Relationships xmlns="http://schemas.openxmlformats.org/package/2006/relationships"><Relationship Id="rId3" Type="http://schemas.openxmlformats.org/officeDocument/2006/relationships/tags" Target="../tags/tag282.xml"/><Relationship Id="rId2" Type="http://schemas.openxmlformats.org/officeDocument/2006/relationships/tags" Target="../tags/tag281.xml"/><Relationship Id="rId1" Type="http://schemas.openxmlformats.org/officeDocument/2006/relationships/tags" Target="../tags/tag280.xml"/><Relationship Id="rId5" Type="http://schemas.openxmlformats.org/officeDocument/2006/relationships/notesSlide" Target="../notesSlides/notesSlide44.xml"/><Relationship Id="rId4" Type="http://schemas.openxmlformats.org/officeDocument/2006/relationships/slideLayout" Target="../slideLayouts/slideLayout227.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46.xml"/><Relationship Id="rId1" Type="http://schemas.openxmlformats.org/officeDocument/2006/relationships/slideLayout" Target="../slideLayouts/slideLayout227.xml"/></Relationships>
</file>

<file path=ppt/slides/_rels/slide48.xml.rels><?xml version="1.0" encoding="UTF-8" standalone="yes"?>
<Relationships xmlns="http://schemas.openxmlformats.org/package/2006/relationships"><Relationship Id="rId3" Type="http://schemas.openxmlformats.org/officeDocument/2006/relationships/tags" Target="../tags/tag285.xml"/><Relationship Id="rId2" Type="http://schemas.openxmlformats.org/officeDocument/2006/relationships/tags" Target="../tags/tag284.xml"/><Relationship Id="rId1" Type="http://schemas.openxmlformats.org/officeDocument/2006/relationships/tags" Target="../tags/tag283.xml"/><Relationship Id="rId6" Type="http://schemas.openxmlformats.org/officeDocument/2006/relationships/notesSlide" Target="../notesSlides/notesSlide47.xml"/><Relationship Id="rId5" Type="http://schemas.openxmlformats.org/officeDocument/2006/relationships/slideLayout" Target="../slideLayouts/slideLayout6.xml"/><Relationship Id="rId4" Type="http://schemas.openxmlformats.org/officeDocument/2006/relationships/tags" Target="../tags/tag286.xml"/></Relationships>
</file>

<file path=ppt/slides/_rels/slide49.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notesSlide" Target="../notesSlides/notesSlide48.xml"/><Relationship Id="rId7" Type="http://schemas.openxmlformats.org/officeDocument/2006/relationships/image" Target="../media/image87.png"/><Relationship Id="rId2" Type="http://schemas.openxmlformats.org/officeDocument/2006/relationships/slideLayout" Target="../slideLayouts/slideLayout6.xml"/><Relationship Id="rId1" Type="http://schemas.openxmlformats.org/officeDocument/2006/relationships/tags" Target="../tags/tag287.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3.xml"/></Relationships>
</file>

<file path=ppt/slides/_rels/slide50.xml.rels><?xml version="1.0" encoding="UTF-8" standalone="yes"?>
<Relationships xmlns="http://schemas.openxmlformats.org/package/2006/relationships"><Relationship Id="rId8" Type="http://schemas.openxmlformats.org/officeDocument/2006/relationships/image" Target="../media/image97.png"/><Relationship Id="rId13" Type="http://schemas.openxmlformats.org/officeDocument/2006/relationships/image" Target="../media/image100.png"/><Relationship Id="rId18" Type="http://schemas.microsoft.com/office/2007/relationships/hdphoto" Target="../media/hdphoto25.wdp"/><Relationship Id="rId26" Type="http://schemas.openxmlformats.org/officeDocument/2006/relationships/image" Target="../media/image107.png"/><Relationship Id="rId3" Type="http://schemas.openxmlformats.org/officeDocument/2006/relationships/image" Target="../media/image93.emf"/><Relationship Id="rId21" Type="http://schemas.openxmlformats.org/officeDocument/2006/relationships/image" Target="../media/image104.png"/><Relationship Id="rId7" Type="http://schemas.openxmlformats.org/officeDocument/2006/relationships/image" Target="../media/image96.emf"/><Relationship Id="rId12" Type="http://schemas.openxmlformats.org/officeDocument/2006/relationships/image" Target="../media/image89.png"/><Relationship Id="rId17" Type="http://schemas.openxmlformats.org/officeDocument/2006/relationships/image" Target="../media/image102.png"/><Relationship Id="rId25" Type="http://schemas.openxmlformats.org/officeDocument/2006/relationships/image" Target="../media/image106.png"/><Relationship Id="rId2" Type="http://schemas.openxmlformats.org/officeDocument/2006/relationships/notesSlide" Target="../notesSlides/notesSlide49.xml"/><Relationship Id="rId16" Type="http://schemas.microsoft.com/office/2007/relationships/hdphoto" Target="../media/hdphoto1.wdp"/><Relationship Id="rId20" Type="http://schemas.microsoft.com/office/2007/relationships/hdphoto" Target="../media/hdphoto26.wdp"/><Relationship Id="rId1" Type="http://schemas.openxmlformats.org/officeDocument/2006/relationships/slideLayout" Target="../slideLayouts/slideLayout6.xml"/><Relationship Id="rId6" Type="http://schemas.openxmlformats.org/officeDocument/2006/relationships/image" Target="../media/image95.emf"/><Relationship Id="rId11" Type="http://schemas.openxmlformats.org/officeDocument/2006/relationships/image" Target="../media/image99.png"/><Relationship Id="rId24" Type="http://schemas.microsoft.com/office/2007/relationships/hdphoto" Target="../media/hdphoto28.wdp"/><Relationship Id="rId5" Type="http://schemas.microsoft.com/office/2007/relationships/hdphoto" Target="../media/hdphoto22.wdp"/><Relationship Id="rId15" Type="http://schemas.openxmlformats.org/officeDocument/2006/relationships/image" Target="../media/image101.png"/><Relationship Id="rId23" Type="http://schemas.openxmlformats.org/officeDocument/2006/relationships/image" Target="../media/image105.png"/><Relationship Id="rId10" Type="http://schemas.openxmlformats.org/officeDocument/2006/relationships/image" Target="../media/image98.png"/><Relationship Id="rId19" Type="http://schemas.openxmlformats.org/officeDocument/2006/relationships/image" Target="../media/image103.png"/><Relationship Id="rId4" Type="http://schemas.openxmlformats.org/officeDocument/2006/relationships/image" Target="../media/image94.png"/><Relationship Id="rId9" Type="http://schemas.microsoft.com/office/2007/relationships/hdphoto" Target="../media/hdphoto23.wdp"/><Relationship Id="rId14" Type="http://schemas.microsoft.com/office/2007/relationships/hdphoto" Target="../media/hdphoto24.wdp"/><Relationship Id="rId22" Type="http://schemas.microsoft.com/office/2007/relationships/hdphoto" Target="../media/hdphoto27.wdp"/></Relationships>
</file>

<file path=ppt/slides/_rels/slide51.xml.rels><?xml version="1.0" encoding="UTF-8" standalone="yes"?>
<Relationships xmlns="http://schemas.openxmlformats.org/package/2006/relationships"><Relationship Id="rId8" Type="http://schemas.openxmlformats.org/officeDocument/2006/relationships/image" Target="../media/image110.png"/><Relationship Id="rId13" Type="http://schemas.openxmlformats.org/officeDocument/2006/relationships/image" Target="../media/image111.png"/><Relationship Id="rId18" Type="http://schemas.openxmlformats.org/officeDocument/2006/relationships/image" Target="../media/image112.png"/><Relationship Id="rId3" Type="http://schemas.openxmlformats.org/officeDocument/2006/relationships/image" Target="../media/image108.png"/><Relationship Id="rId21" Type="http://schemas.openxmlformats.org/officeDocument/2006/relationships/image" Target="../media/image92.png"/><Relationship Id="rId7" Type="http://schemas.openxmlformats.org/officeDocument/2006/relationships/image" Target="../media/image55.png"/><Relationship Id="rId12" Type="http://schemas.openxmlformats.org/officeDocument/2006/relationships/image" Target="../media/image43.png"/><Relationship Id="rId17" Type="http://schemas.openxmlformats.org/officeDocument/2006/relationships/image" Target="../media/image59.png"/><Relationship Id="rId2" Type="http://schemas.openxmlformats.org/officeDocument/2006/relationships/notesSlide" Target="../notesSlides/notesSlide50.xml"/><Relationship Id="rId16" Type="http://schemas.openxmlformats.org/officeDocument/2006/relationships/image" Target="../media/image58.png"/><Relationship Id="rId20" Type="http://schemas.openxmlformats.org/officeDocument/2006/relationships/image" Target="../media/image114.png"/><Relationship Id="rId1" Type="http://schemas.openxmlformats.org/officeDocument/2006/relationships/slideLayout" Target="../slideLayouts/slideLayout261.xml"/><Relationship Id="rId6" Type="http://schemas.openxmlformats.org/officeDocument/2006/relationships/image" Target="../media/image54.png"/><Relationship Id="rId11" Type="http://schemas.microsoft.com/office/2007/relationships/hdphoto" Target="../media/hdphoto6.wdp"/><Relationship Id="rId24" Type="http://schemas.openxmlformats.org/officeDocument/2006/relationships/image" Target="../media/image68.jpeg"/><Relationship Id="rId5" Type="http://schemas.openxmlformats.org/officeDocument/2006/relationships/image" Target="../media/image109.png"/><Relationship Id="rId15" Type="http://schemas.openxmlformats.org/officeDocument/2006/relationships/image" Target="../media/image45.png"/><Relationship Id="rId23" Type="http://schemas.openxmlformats.org/officeDocument/2006/relationships/image" Target="../media/image46.png"/><Relationship Id="rId10" Type="http://schemas.openxmlformats.org/officeDocument/2006/relationships/image" Target="../media/image42.png"/><Relationship Id="rId19" Type="http://schemas.openxmlformats.org/officeDocument/2006/relationships/image" Target="../media/image113.png"/><Relationship Id="rId4" Type="http://schemas.openxmlformats.org/officeDocument/2006/relationships/image" Target="../media/image60.png"/><Relationship Id="rId9" Type="http://schemas.openxmlformats.org/officeDocument/2006/relationships/image" Target="../media/image56.png"/><Relationship Id="rId14" Type="http://schemas.microsoft.com/office/2007/relationships/hdphoto" Target="../media/hdphoto29.wdp"/><Relationship Id="rId22" Type="http://schemas.openxmlformats.org/officeDocument/2006/relationships/image" Target="../media/image115.png"/></Relationships>
</file>

<file path=ppt/slides/_rels/slide52.xml.rels><?xml version="1.0" encoding="UTF-8" standalone="yes"?>
<Relationships xmlns="http://schemas.openxmlformats.org/package/2006/relationships"><Relationship Id="rId8" Type="http://schemas.openxmlformats.org/officeDocument/2006/relationships/tags" Target="../tags/tag295.xml"/><Relationship Id="rId13" Type="http://schemas.openxmlformats.org/officeDocument/2006/relationships/tags" Target="../tags/tag300.xml"/><Relationship Id="rId18" Type="http://schemas.openxmlformats.org/officeDocument/2006/relationships/tags" Target="../tags/tag305.xml"/><Relationship Id="rId26" Type="http://schemas.openxmlformats.org/officeDocument/2006/relationships/tags" Target="../tags/tag313.xml"/><Relationship Id="rId3" Type="http://schemas.openxmlformats.org/officeDocument/2006/relationships/tags" Target="../tags/tag290.xml"/><Relationship Id="rId21" Type="http://schemas.openxmlformats.org/officeDocument/2006/relationships/tags" Target="../tags/tag308.xml"/><Relationship Id="rId34" Type="http://schemas.openxmlformats.org/officeDocument/2006/relationships/tags" Target="../tags/tag321.xml"/><Relationship Id="rId7" Type="http://schemas.openxmlformats.org/officeDocument/2006/relationships/tags" Target="../tags/tag294.xml"/><Relationship Id="rId12" Type="http://schemas.openxmlformats.org/officeDocument/2006/relationships/tags" Target="../tags/tag299.xml"/><Relationship Id="rId17" Type="http://schemas.openxmlformats.org/officeDocument/2006/relationships/tags" Target="../tags/tag304.xml"/><Relationship Id="rId25" Type="http://schemas.openxmlformats.org/officeDocument/2006/relationships/tags" Target="../tags/tag312.xml"/><Relationship Id="rId33" Type="http://schemas.openxmlformats.org/officeDocument/2006/relationships/tags" Target="../tags/tag320.xml"/><Relationship Id="rId2" Type="http://schemas.openxmlformats.org/officeDocument/2006/relationships/tags" Target="../tags/tag289.xml"/><Relationship Id="rId16" Type="http://schemas.openxmlformats.org/officeDocument/2006/relationships/tags" Target="../tags/tag303.xml"/><Relationship Id="rId20" Type="http://schemas.openxmlformats.org/officeDocument/2006/relationships/tags" Target="../tags/tag307.xml"/><Relationship Id="rId29" Type="http://schemas.openxmlformats.org/officeDocument/2006/relationships/tags" Target="../tags/tag316.xml"/><Relationship Id="rId1" Type="http://schemas.openxmlformats.org/officeDocument/2006/relationships/tags" Target="../tags/tag288.xml"/><Relationship Id="rId6" Type="http://schemas.openxmlformats.org/officeDocument/2006/relationships/tags" Target="../tags/tag293.xml"/><Relationship Id="rId11" Type="http://schemas.openxmlformats.org/officeDocument/2006/relationships/tags" Target="../tags/tag298.xml"/><Relationship Id="rId24" Type="http://schemas.openxmlformats.org/officeDocument/2006/relationships/tags" Target="../tags/tag311.xml"/><Relationship Id="rId32" Type="http://schemas.openxmlformats.org/officeDocument/2006/relationships/tags" Target="../tags/tag319.xml"/><Relationship Id="rId37" Type="http://schemas.openxmlformats.org/officeDocument/2006/relationships/image" Target="../media/image70.jpeg"/><Relationship Id="rId5" Type="http://schemas.openxmlformats.org/officeDocument/2006/relationships/tags" Target="../tags/tag292.xml"/><Relationship Id="rId15" Type="http://schemas.openxmlformats.org/officeDocument/2006/relationships/tags" Target="../tags/tag302.xml"/><Relationship Id="rId23" Type="http://schemas.openxmlformats.org/officeDocument/2006/relationships/tags" Target="../tags/tag310.xml"/><Relationship Id="rId28" Type="http://schemas.openxmlformats.org/officeDocument/2006/relationships/tags" Target="../tags/tag315.xml"/><Relationship Id="rId36" Type="http://schemas.openxmlformats.org/officeDocument/2006/relationships/notesSlide" Target="../notesSlides/notesSlide51.xml"/><Relationship Id="rId10" Type="http://schemas.openxmlformats.org/officeDocument/2006/relationships/tags" Target="../tags/tag297.xml"/><Relationship Id="rId19" Type="http://schemas.openxmlformats.org/officeDocument/2006/relationships/tags" Target="../tags/tag306.xml"/><Relationship Id="rId31" Type="http://schemas.openxmlformats.org/officeDocument/2006/relationships/tags" Target="../tags/tag318.xml"/><Relationship Id="rId4" Type="http://schemas.openxmlformats.org/officeDocument/2006/relationships/tags" Target="../tags/tag291.xml"/><Relationship Id="rId9" Type="http://schemas.openxmlformats.org/officeDocument/2006/relationships/tags" Target="../tags/tag296.xml"/><Relationship Id="rId14" Type="http://schemas.openxmlformats.org/officeDocument/2006/relationships/tags" Target="../tags/tag301.xml"/><Relationship Id="rId22" Type="http://schemas.openxmlformats.org/officeDocument/2006/relationships/tags" Target="../tags/tag309.xml"/><Relationship Id="rId27" Type="http://schemas.openxmlformats.org/officeDocument/2006/relationships/tags" Target="../tags/tag314.xml"/><Relationship Id="rId30" Type="http://schemas.openxmlformats.org/officeDocument/2006/relationships/tags" Target="../tags/tag317.xml"/><Relationship Id="rId35"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8" Type="http://schemas.openxmlformats.org/officeDocument/2006/relationships/notesSlide" Target="../notesSlides/notesSlide53.xml"/><Relationship Id="rId3" Type="http://schemas.openxmlformats.org/officeDocument/2006/relationships/tags" Target="../tags/tag324.xml"/><Relationship Id="rId7" Type="http://schemas.openxmlformats.org/officeDocument/2006/relationships/slideLayout" Target="../slideLayouts/slideLayout6.xml"/><Relationship Id="rId2" Type="http://schemas.openxmlformats.org/officeDocument/2006/relationships/tags" Target="../tags/tag323.xml"/><Relationship Id="rId1" Type="http://schemas.openxmlformats.org/officeDocument/2006/relationships/tags" Target="../tags/tag322.xml"/><Relationship Id="rId6" Type="http://schemas.openxmlformats.org/officeDocument/2006/relationships/tags" Target="../tags/tag327.xml"/><Relationship Id="rId5" Type="http://schemas.openxmlformats.org/officeDocument/2006/relationships/tags" Target="../tags/tag326.xml"/><Relationship Id="rId4" Type="http://schemas.openxmlformats.org/officeDocument/2006/relationships/tags" Target="../tags/tag325.xml"/></Relationships>
</file>

<file path=ppt/slides/_rels/slide55.xml.rels><?xml version="1.0" encoding="UTF-8" standalone="yes"?>
<Relationships xmlns="http://schemas.openxmlformats.org/package/2006/relationships"><Relationship Id="rId8" Type="http://schemas.openxmlformats.org/officeDocument/2006/relationships/tags" Target="../tags/tag335.xml"/><Relationship Id="rId3" Type="http://schemas.openxmlformats.org/officeDocument/2006/relationships/tags" Target="../tags/tag330.xml"/><Relationship Id="rId7" Type="http://schemas.openxmlformats.org/officeDocument/2006/relationships/tags" Target="../tags/tag334.xml"/><Relationship Id="rId2" Type="http://schemas.openxmlformats.org/officeDocument/2006/relationships/tags" Target="../tags/tag329.xml"/><Relationship Id="rId1" Type="http://schemas.openxmlformats.org/officeDocument/2006/relationships/tags" Target="../tags/tag328.xml"/><Relationship Id="rId6" Type="http://schemas.openxmlformats.org/officeDocument/2006/relationships/tags" Target="../tags/tag333.xml"/><Relationship Id="rId11" Type="http://schemas.openxmlformats.org/officeDocument/2006/relationships/notesSlide" Target="../notesSlides/notesSlide54.xml"/><Relationship Id="rId5" Type="http://schemas.openxmlformats.org/officeDocument/2006/relationships/tags" Target="../tags/tag332.xml"/><Relationship Id="rId10" Type="http://schemas.openxmlformats.org/officeDocument/2006/relationships/slideLayout" Target="../slideLayouts/slideLayout285.xml"/><Relationship Id="rId4" Type="http://schemas.openxmlformats.org/officeDocument/2006/relationships/tags" Target="../tags/tag331.xml"/><Relationship Id="rId9" Type="http://schemas.openxmlformats.org/officeDocument/2006/relationships/tags" Target="../tags/tag336.xml"/></Relationships>
</file>

<file path=ppt/slides/_rels/slide56.xml.rels><?xml version="1.0" encoding="UTF-8" standalone="yes"?>
<Relationships xmlns="http://schemas.openxmlformats.org/package/2006/relationships"><Relationship Id="rId3" Type="http://schemas.openxmlformats.org/officeDocument/2006/relationships/tags" Target="../tags/tag339.xml"/><Relationship Id="rId2" Type="http://schemas.openxmlformats.org/officeDocument/2006/relationships/tags" Target="../tags/tag338.xml"/><Relationship Id="rId1" Type="http://schemas.openxmlformats.org/officeDocument/2006/relationships/tags" Target="../tags/tag337.xml"/><Relationship Id="rId5" Type="http://schemas.openxmlformats.org/officeDocument/2006/relationships/notesSlide" Target="../notesSlides/notesSlide55.xml"/><Relationship Id="rId4" Type="http://schemas.openxmlformats.org/officeDocument/2006/relationships/slideLayout" Target="../slideLayouts/slideLayout227.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0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5.xml"/></Relationships>
</file>

<file path=ppt/slides/_rels/slide7.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8.xml"/></Relationships>
</file>

<file path=ppt/slides/_rels/slide9.xml.rels><?xml version="1.0" encoding="UTF-8" standalone="yes"?>
<Relationships xmlns="http://schemas.openxmlformats.org/package/2006/relationships"><Relationship Id="rId8" Type="http://schemas.openxmlformats.org/officeDocument/2006/relationships/tags" Target="../tags/tag114.xml"/><Relationship Id="rId3" Type="http://schemas.openxmlformats.org/officeDocument/2006/relationships/tags" Target="../tags/tag109.xml"/><Relationship Id="rId7" Type="http://schemas.openxmlformats.org/officeDocument/2006/relationships/tags" Target="../tags/tag113.xml"/><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tags" Target="../tags/tag112.xml"/><Relationship Id="rId11" Type="http://schemas.openxmlformats.org/officeDocument/2006/relationships/notesSlide" Target="../notesSlides/notesSlide8.xml"/><Relationship Id="rId5" Type="http://schemas.openxmlformats.org/officeDocument/2006/relationships/tags" Target="../tags/tag111.xml"/><Relationship Id="rId10" Type="http://schemas.openxmlformats.org/officeDocument/2006/relationships/slideLayout" Target="../slideLayouts/slideLayout208.xml"/><Relationship Id="rId4" Type="http://schemas.openxmlformats.org/officeDocument/2006/relationships/tags" Target="../tags/tag110.xml"/><Relationship Id="rId9" Type="http://schemas.openxmlformats.org/officeDocument/2006/relationships/tags" Target="../tags/tag1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lvl="0"/>
            <a:r>
              <a:rPr lang="en-US" dirty="0"/>
              <a:t>Automotive</a:t>
            </a:r>
          </a:p>
        </p:txBody>
      </p:sp>
    </p:spTree>
    <p:extLst>
      <p:ext uri="{BB962C8B-B14F-4D97-AF65-F5344CB8AC3E}">
        <p14:creationId xmlns:p14="http://schemas.microsoft.com/office/powerpoint/2010/main" val="89950522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utomotive Capability Map</a:t>
            </a:r>
          </a:p>
        </p:txBody>
      </p:sp>
      <p:sp>
        <p:nvSpPr>
          <p:cNvPr id="13" name="Rectangle 12"/>
          <p:cNvSpPr/>
          <p:nvPr>
            <p:custDataLst>
              <p:tags r:id="rId1"/>
            </p:custDataLst>
          </p:nvPr>
        </p:nvSpPr>
        <p:spPr>
          <a:xfrm>
            <a:off x="974755" y="1262206"/>
            <a:ext cx="2359249" cy="1021459"/>
          </a:xfrm>
          <a:prstGeom prst="rect">
            <a:avLst/>
          </a:prstGeom>
          <a:solidFill>
            <a:schemeClr val="tx2"/>
          </a:solidFill>
          <a:ln w="6350" cap="flat" cmpd="sng" algn="ctr">
            <a:solidFill>
              <a:schemeClr val="tx2"/>
            </a:solidFill>
            <a:prstDash val="solid"/>
          </a:ln>
          <a:effectLst/>
        </p:spPr>
        <p:txBody>
          <a:bodyPr lIns="63991" tIns="45708" rIns="63991" bIns="45708" rtlCol="0" anchor="ctr">
            <a:noAutofit/>
          </a:bodyPr>
          <a:lstStyle/>
          <a:p>
            <a:pPr algn="ctr" defTabSz="1217959">
              <a:defRPr/>
            </a:pPr>
            <a:r>
              <a:rPr lang="en-US" sz="1799" kern="0" dirty="0">
                <a:solidFill>
                  <a:prstClr val="white"/>
                </a:solidFill>
                <a:latin typeface="Segoe UI Semibold" panose="020B0702040204020203" pitchFamily="34" charset="0"/>
                <a:ea typeface="Segoe UI" pitchFamily="34" charset="0"/>
                <a:cs typeface="Segoe UI Semibold" panose="020B0702040204020203" pitchFamily="34" charset="0"/>
              </a:rPr>
              <a:t>Collaborative Product Innovation</a:t>
            </a:r>
          </a:p>
        </p:txBody>
      </p:sp>
      <p:sp>
        <p:nvSpPr>
          <p:cNvPr id="55" name="Rectangle 54"/>
          <p:cNvSpPr/>
          <p:nvPr>
            <p:custDataLst>
              <p:tags r:id="rId2"/>
            </p:custDataLst>
          </p:nvPr>
        </p:nvSpPr>
        <p:spPr>
          <a:xfrm>
            <a:off x="3586515" y="1262206"/>
            <a:ext cx="2359249" cy="1021459"/>
          </a:xfrm>
          <a:prstGeom prst="rect">
            <a:avLst/>
          </a:prstGeom>
          <a:solidFill>
            <a:schemeClr val="accent1"/>
          </a:solidFill>
          <a:ln w="6350" cap="flat" cmpd="sng" algn="ctr">
            <a:solidFill>
              <a:schemeClr val="accent1"/>
            </a:solidFill>
            <a:prstDash val="solid"/>
          </a:ln>
          <a:effectLst/>
        </p:spPr>
        <p:txBody>
          <a:bodyPr lIns="63991" tIns="45708" rIns="63991" bIns="45708" rtlCol="0" anchor="ctr">
            <a:noAutofit/>
          </a:bodyPr>
          <a:lstStyle/>
          <a:p>
            <a:pPr algn="ctr" defTabSz="1217959">
              <a:defRPr/>
            </a:pPr>
            <a:r>
              <a:rPr lang="en-US" sz="1799" kern="0" dirty="0">
                <a:solidFill>
                  <a:prstClr val="white"/>
                </a:solidFill>
                <a:latin typeface="Segoe UI Semibold" panose="020B0702040204020203" pitchFamily="34" charset="0"/>
                <a:ea typeface="Segoe UI" pitchFamily="34" charset="0"/>
                <a:cs typeface="Segoe UI Semibold" panose="020B0702040204020203" pitchFamily="34" charset="0"/>
              </a:rPr>
              <a:t>Manufacturing and Logistics</a:t>
            </a:r>
          </a:p>
        </p:txBody>
      </p:sp>
      <p:sp>
        <p:nvSpPr>
          <p:cNvPr id="82" name="Rectangle 81"/>
          <p:cNvSpPr/>
          <p:nvPr>
            <p:custDataLst>
              <p:tags r:id="rId3"/>
            </p:custDataLst>
          </p:nvPr>
        </p:nvSpPr>
        <p:spPr>
          <a:xfrm>
            <a:off x="6196700" y="1262206"/>
            <a:ext cx="2359249" cy="1021459"/>
          </a:xfrm>
          <a:prstGeom prst="rect">
            <a:avLst/>
          </a:prstGeom>
          <a:solidFill>
            <a:schemeClr val="accent4"/>
          </a:solidFill>
          <a:ln w="6350" cap="flat" cmpd="sng" algn="ctr">
            <a:solidFill>
              <a:schemeClr val="accent4"/>
            </a:solidFill>
            <a:prstDash val="solid"/>
          </a:ln>
          <a:effectLst/>
        </p:spPr>
        <p:txBody>
          <a:bodyPr lIns="63991" tIns="45708" rIns="63991" bIns="45708" rtlCol="0" anchor="ctr">
            <a:noAutofit/>
          </a:bodyPr>
          <a:lstStyle/>
          <a:p>
            <a:pPr algn="ctr" defTabSz="1217959">
              <a:defRPr/>
            </a:pPr>
            <a:r>
              <a:rPr lang="en-US" sz="1799" kern="0" dirty="0">
                <a:solidFill>
                  <a:prstClr val="white"/>
                </a:solidFill>
                <a:latin typeface="Segoe UI Semibold" panose="020B0702040204020203" pitchFamily="34" charset="0"/>
                <a:ea typeface="Segoe UI" pitchFamily="34" charset="0"/>
                <a:cs typeface="Segoe UI Semibold" panose="020B0702040204020203" pitchFamily="34" charset="0"/>
              </a:rPr>
              <a:t>Responsive Supply Networks</a:t>
            </a:r>
          </a:p>
        </p:txBody>
      </p:sp>
      <p:sp>
        <p:nvSpPr>
          <p:cNvPr id="14" name="Rectangle 13"/>
          <p:cNvSpPr/>
          <p:nvPr>
            <p:custDataLst>
              <p:tags r:id="rId4"/>
            </p:custDataLst>
          </p:nvPr>
        </p:nvSpPr>
        <p:spPr>
          <a:xfrm>
            <a:off x="974754" y="2394324"/>
            <a:ext cx="2359248" cy="801264"/>
          </a:xfrm>
          <a:prstGeom prst="rect">
            <a:avLst/>
          </a:prstGeom>
          <a:solidFill>
            <a:schemeClr val="bg1"/>
          </a:solidFill>
          <a:ln w="6350" cap="flat" cmpd="sng" algn="ctr">
            <a:solidFill>
              <a:schemeClr val="bg1">
                <a:lumMod val="75000"/>
              </a:schemeClr>
            </a:solidFill>
            <a:prstDash val="solid"/>
          </a:ln>
          <a:effectLst/>
        </p:spPr>
        <p:txBody>
          <a:bodyPr lIns="63991" tIns="45708" rIns="63991" bIns="45708" rtlCol="0" anchor="ctr">
            <a:noAutofit/>
          </a:bodyPr>
          <a:lstStyle/>
          <a:p>
            <a:pPr algn="ctr" defTabSz="1217959">
              <a:defRPr/>
            </a:pPr>
            <a:r>
              <a:rPr lang="en-US" sz="1600" kern="0" dirty="0">
                <a:solidFill>
                  <a:srgbClr val="505050"/>
                </a:solidFill>
                <a:latin typeface="Segoe UI"/>
                <a:ea typeface="Segoe UI" pitchFamily="34" charset="0"/>
                <a:cs typeface="Segoe UI" pitchFamily="34" charset="0"/>
              </a:rPr>
              <a:t>Continuous product and service innovation</a:t>
            </a:r>
          </a:p>
        </p:txBody>
      </p:sp>
      <p:sp>
        <p:nvSpPr>
          <p:cNvPr id="71" name="Rectangle 70"/>
          <p:cNvSpPr/>
          <p:nvPr>
            <p:custDataLst>
              <p:tags r:id="rId5"/>
            </p:custDataLst>
          </p:nvPr>
        </p:nvSpPr>
        <p:spPr>
          <a:xfrm>
            <a:off x="974754" y="4218171"/>
            <a:ext cx="2359248" cy="801264"/>
          </a:xfrm>
          <a:prstGeom prst="rect">
            <a:avLst/>
          </a:prstGeom>
          <a:solidFill>
            <a:schemeClr val="bg1"/>
          </a:solidFill>
          <a:ln w="6350" cap="flat" cmpd="sng" algn="ctr">
            <a:solidFill>
              <a:schemeClr val="bg1">
                <a:lumMod val="75000"/>
              </a:schemeClr>
            </a:solidFill>
            <a:prstDash val="solid"/>
          </a:ln>
          <a:effectLst/>
        </p:spPr>
        <p:txBody>
          <a:bodyPr lIns="63991" tIns="45708" rIns="63991" bIns="45708" rtlCol="0" anchor="ctr">
            <a:noAutofit/>
          </a:bodyPr>
          <a:lstStyle/>
          <a:p>
            <a:pPr algn="ctr" defTabSz="1217959">
              <a:defRPr/>
            </a:pPr>
            <a:r>
              <a:rPr lang="en-US" sz="1600" kern="0" dirty="0">
                <a:solidFill>
                  <a:srgbClr val="505050"/>
                </a:solidFill>
                <a:latin typeface="Segoe UI"/>
                <a:ea typeface="Segoe UI" pitchFamily="34" charset="0"/>
                <a:cs typeface="Segoe UI" pitchFamily="34" charset="0"/>
              </a:rPr>
              <a:t>Embedded product compliance</a:t>
            </a:r>
          </a:p>
        </p:txBody>
      </p:sp>
      <p:sp>
        <p:nvSpPr>
          <p:cNvPr id="58" name="Rectangle 57"/>
          <p:cNvSpPr/>
          <p:nvPr>
            <p:custDataLst>
              <p:tags r:id="rId6"/>
            </p:custDataLst>
          </p:nvPr>
        </p:nvSpPr>
        <p:spPr>
          <a:xfrm>
            <a:off x="3590847" y="2394324"/>
            <a:ext cx="2359248" cy="991672"/>
          </a:xfrm>
          <a:prstGeom prst="rect">
            <a:avLst/>
          </a:prstGeom>
          <a:solidFill>
            <a:schemeClr val="bg1"/>
          </a:solidFill>
          <a:ln w="6350" cap="flat" cmpd="sng" algn="ctr">
            <a:solidFill>
              <a:schemeClr val="bg1">
                <a:lumMod val="75000"/>
              </a:schemeClr>
            </a:solidFill>
            <a:prstDash val="solid"/>
          </a:ln>
          <a:effectLst/>
        </p:spPr>
        <p:txBody>
          <a:bodyPr lIns="63991" tIns="45708" rIns="63991" bIns="45708" rtlCol="0" anchor="ctr">
            <a:noAutofit/>
          </a:bodyPr>
          <a:lstStyle/>
          <a:p>
            <a:pPr algn="ctr" defTabSz="1217959">
              <a:defRPr/>
            </a:pPr>
            <a:r>
              <a:rPr lang="en-US" sz="1600" kern="0" dirty="0">
                <a:solidFill>
                  <a:srgbClr val="505050"/>
                </a:solidFill>
                <a:latin typeface="Segoe UI"/>
                <a:ea typeface="Segoe UI" pitchFamily="34" charset="0"/>
                <a:cs typeface="Segoe UI" pitchFamily="34" charset="0"/>
              </a:rPr>
              <a:t>Operational procurement &amp; inbound logistics for direct material</a:t>
            </a:r>
          </a:p>
        </p:txBody>
      </p:sp>
      <p:sp>
        <p:nvSpPr>
          <p:cNvPr id="59" name="Rectangle 58"/>
          <p:cNvSpPr/>
          <p:nvPr>
            <p:custDataLst>
              <p:tags r:id="rId7"/>
            </p:custDataLst>
          </p:nvPr>
        </p:nvSpPr>
        <p:spPr>
          <a:xfrm>
            <a:off x="3590847" y="3473276"/>
            <a:ext cx="2359248" cy="457200"/>
          </a:xfrm>
          <a:prstGeom prst="rect">
            <a:avLst/>
          </a:prstGeom>
          <a:solidFill>
            <a:schemeClr val="bg1"/>
          </a:solidFill>
          <a:ln w="6350" cap="flat" cmpd="sng" algn="ctr">
            <a:solidFill>
              <a:schemeClr val="bg1">
                <a:lumMod val="75000"/>
              </a:schemeClr>
            </a:solidFill>
            <a:prstDash val="solid"/>
          </a:ln>
          <a:effectLst/>
        </p:spPr>
        <p:txBody>
          <a:bodyPr lIns="63991" tIns="45708" rIns="63991" bIns="45708" rtlCol="0" anchor="ctr">
            <a:noAutofit/>
          </a:bodyPr>
          <a:lstStyle/>
          <a:p>
            <a:pPr algn="ctr" defTabSz="1217959">
              <a:lnSpc>
                <a:spcPct val="90000"/>
              </a:lnSpc>
              <a:defRPr/>
            </a:pPr>
            <a:r>
              <a:rPr lang="en-US" sz="1600" kern="0" dirty="0">
                <a:solidFill>
                  <a:srgbClr val="505050"/>
                </a:solidFill>
                <a:latin typeface="Segoe UI"/>
                <a:ea typeface="Segoe UI" pitchFamily="34" charset="0"/>
                <a:cs typeface="Segoe UI" pitchFamily="34" charset="0"/>
              </a:rPr>
              <a:t>Lean manufacturing</a:t>
            </a:r>
          </a:p>
        </p:txBody>
      </p:sp>
      <p:sp>
        <p:nvSpPr>
          <p:cNvPr id="61" name="Rectangle 60"/>
          <p:cNvSpPr/>
          <p:nvPr>
            <p:custDataLst>
              <p:tags r:id="rId8"/>
            </p:custDataLst>
          </p:nvPr>
        </p:nvSpPr>
        <p:spPr>
          <a:xfrm>
            <a:off x="3590847" y="4017756"/>
            <a:ext cx="2359248" cy="457200"/>
          </a:xfrm>
          <a:prstGeom prst="rect">
            <a:avLst/>
          </a:prstGeom>
          <a:solidFill>
            <a:schemeClr val="bg1"/>
          </a:solidFill>
          <a:ln w="6350" cap="flat" cmpd="sng" algn="ctr">
            <a:solidFill>
              <a:schemeClr val="bg1">
                <a:lumMod val="75000"/>
              </a:schemeClr>
            </a:solidFill>
            <a:prstDash val="solid"/>
          </a:ln>
          <a:effectLst/>
        </p:spPr>
        <p:txBody>
          <a:bodyPr lIns="63991" tIns="45708" rIns="63991" bIns="45708" rtlCol="0" anchor="ctr">
            <a:noAutofit/>
          </a:bodyPr>
          <a:lstStyle/>
          <a:p>
            <a:pPr algn="ctr" defTabSz="1217959">
              <a:lnSpc>
                <a:spcPct val="90000"/>
              </a:lnSpc>
              <a:defRPr/>
            </a:pPr>
            <a:r>
              <a:rPr lang="en-US" sz="1600" kern="0" dirty="0">
                <a:solidFill>
                  <a:srgbClr val="505050"/>
                </a:solidFill>
                <a:latin typeface="Segoe UI"/>
                <a:ea typeface="Segoe UI" pitchFamily="34" charset="0"/>
                <a:cs typeface="Segoe UI" pitchFamily="34" charset="0"/>
              </a:rPr>
              <a:t>Make to order</a:t>
            </a:r>
          </a:p>
        </p:txBody>
      </p:sp>
      <p:sp>
        <p:nvSpPr>
          <p:cNvPr id="83" name="Rectangle 82"/>
          <p:cNvSpPr/>
          <p:nvPr>
            <p:custDataLst>
              <p:tags r:id="rId9"/>
            </p:custDataLst>
          </p:nvPr>
        </p:nvSpPr>
        <p:spPr>
          <a:xfrm>
            <a:off x="6188031" y="2394324"/>
            <a:ext cx="2359248" cy="801264"/>
          </a:xfrm>
          <a:prstGeom prst="rect">
            <a:avLst/>
          </a:prstGeom>
          <a:solidFill>
            <a:schemeClr val="bg1"/>
          </a:solidFill>
          <a:ln w="6350" cap="flat" cmpd="sng" algn="ctr">
            <a:solidFill>
              <a:schemeClr val="bg1">
                <a:lumMod val="75000"/>
              </a:schemeClr>
            </a:solidFill>
            <a:prstDash val="solid"/>
          </a:ln>
          <a:effectLst/>
        </p:spPr>
        <p:txBody>
          <a:bodyPr lIns="63991" tIns="45708" rIns="63991" bIns="45708" rtlCol="0" anchor="ctr">
            <a:noAutofit/>
          </a:bodyPr>
          <a:lstStyle/>
          <a:p>
            <a:pPr algn="ctr" defTabSz="1217959">
              <a:defRPr/>
            </a:pPr>
            <a:r>
              <a:rPr lang="en-US" sz="1600" kern="0" dirty="0">
                <a:solidFill>
                  <a:srgbClr val="505050"/>
                </a:solidFill>
                <a:latin typeface="Segoe UI"/>
                <a:ea typeface="Segoe UI" pitchFamily="34" charset="0"/>
                <a:cs typeface="Segoe UI" pitchFamily="34" charset="0"/>
              </a:rPr>
              <a:t>Service parts management</a:t>
            </a:r>
          </a:p>
        </p:txBody>
      </p:sp>
      <p:sp>
        <p:nvSpPr>
          <p:cNvPr id="84" name="Rectangle 83"/>
          <p:cNvSpPr/>
          <p:nvPr>
            <p:custDataLst>
              <p:tags r:id="rId10"/>
            </p:custDataLst>
          </p:nvPr>
        </p:nvSpPr>
        <p:spPr>
          <a:xfrm>
            <a:off x="6188031" y="3306248"/>
            <a:ext cx="2359248" cy="801264"/>
          </a:xfrm>
          <a:prstGeom prst="rect">
            <a:avLst/>
          </a:prstGeom>
          <a:solidFill>
            <a:schemeClr val="bg1"/>
          </a:solidFill>
          <a:ln w="6350" cap="flat" cmpd="sng" algn="ctr">
            <a:solidFill>
              <a:schemeClr val="bg1">
                <a:lumMod val="75000"/>
              </a:schemeClr>
            </a:solidFill>
            <a:prstDash val="solid"/>
          </a:ln>
          <a:effectLst/>
        </p:spPr>
        <p:txBody>
          <a:bodyPr lIns="63991" tIns="45708" rIns="63991" bIns="45708" rtlCol="0" anchor="ctr">
            <a:noAutofit/>
          </a:bodyPr>
          <a:lstStyle/>
          <a:p>
            <a:pPr algn="ctr" defTabSz="1217959">
              <a:lnSpc>
                <a:spcPct val="90000"/>
              </a:lnSpc>
              <a:defRPr/>
            </a:pPr>
            <a:r>
              <a:rPr lang="en-US" sz="1600" kern="0" dirty="0">
                <a:solidFill>
                  <a:srgbClr val="505050"/>
                </a:solidFill>
                <a:latin typeface="Segoe UI"/>
                <a:ea typeface="Segoe UI" pitchFamily="34" charset="0"/>
                <a:cs typeface="Segoe UI" pitchFamily="34" charset="0"/>
              </a:rPr>
              <a:t>Transportation management</a:t>
            </a:r>
          </a:p>
        </p:txBody>
      </p:sp>
      <p:sp>
        <p:nvSpPr>
          <p:cNvPr id="85" name="Rectangle 84"/>
          <p:cNvSpPr/>
          <p:nvPr>
            <p:custDataLst>
              <p:tags r:id="rId11"/>
            </p:custDataLst>
          </p:nvPr>
        </p:nvSpPr>
        <p:spPr>
          <a:xfrm>
            <a:off x="6188031" y="4218171"/>
            <a:ext cx="2359248" cy="801264"/>
          </a:xfrm>
          <a:prstGeom prst="rect">
            <a:avLst/>
          </a:prstGeom>
          <a:solidFill>
            <a:schemeClr val="bg1"/>
          </a:solidFill>
          <a:ln w="6350" cap="flat" cmpd="sng" algn="ctr">
            <a:solidFill>
              <a:schemeClr val="bg1">
                <a:lumMod val="75000"/>
              </a:schemeClr>
            </a:solidFill>
            <a:prstDash val="solid"/>
          </a:ln>
          <a:effectLst/>
        </p:spPr>
        <p:txBody>
          <a:bodyPr lIns="63991" tIns="45708" rIns="63991" bIns="45708" rtlCol="0" anchor="ctr">
            <a:noAutofit/>
          </a:bodyPr>
          <a:lstStyle/>
          <a:p>
            <a:pPr algn="ctr" defTabSz="1217959">
              <a:defRPr/>
            </a:pPr>
            <a:r>
              <a:rPr lang="en-US" sz="1600" kern="0" dirty="0">
                <a:solidFill>
                  <a:srgbClr val="505050"/>
                </a:solidFill>
                <a:latin typeface="Segoe UI"/>
                <a:ea typeface="Segoe UI" pitchFamily="34" charset="0"/>
                <a:cs typeface="Segoe UI" pitchFamily="34" charset="0"/>
              </a:rPr>
              <a:t>Supply chain execution</a:t>
            </a:r>
          </a:p>
        </p:txBody>
      </p:sp>
      <p:sp>
        <p:nvSpPr>
          <p:cNvPr id="45" name="Rectangle 44"/>
          <p:cNvSpPr/>
          <p:nvPr>
            <p:custDataLst>
              <p:tags r:id="rId12"/>
            </p:custDataLst>
          </p:nvPr>
        </p:nvSpPr>
        <p:spPr>
          <a:xfrm>
            <a:off x="974754" y="3306248"/>
            <a:ext cx="2359248" cy="801264"/>
          </a:xfrm>
          <a:prstGeom prst="rect">
            <a:avLst/>
          </a:prstGeom>
          <a:solidFill>
            <a:schemeClr val="bg1"/>
          </a:solidFill>
          <a:ln w="6350" cap="flat" cmpd="sng" algn="ctr">
            <a:solidFill>
              <a:schemeClr val="bg1">
                <a:lumMod val="75000"/>
              </a:schemeClr>
            </a:solidFill>
            <a:prstDash val="solid"/>
          </a:ln>
          <a:effectLst/>
        </p:spPr>
        <p:txBody>
          <a:bodyPr lIns="63991" tIns="45708" rIns="63991" bIns="45708" rtlCol="0" anchor="ctr">
            <a:noAutofit/>
          </a:bodyPr>
          <a:lstStyle/>
          <a:p>
            <a:pPr algn="ctr" defTabSz="1217959">
              <a:defRPr/>
            </a:pPr>
            <a:r>
              <a:rPr lang="en-US" sz="1600" kern="0" dirty="0">
                <a:solidFill>
                  <a:srgbClr val="505050"/>
                </a:solidFill>
                <a:latin typeface="Segoe UI"/>
                <a:ea typeface="Segoe UI" pitchFamily="34" charset="0"/>
                <a:cs typeface="Segoe UI" pitchFamily="34" charset="0"/>
              </a:rPr>
              <a:t>Integrated product development</a:t>
            </a:r>
          </a:p>
        </p:txBody>
      </p:sp>
      <p:sp>
        <p:nvSpPr>
          <p:cNvPr id="63" name="Rectangle 62"/>
          <p:cNvSpPr/>
          <p:nvPr>
            <p:custDataLst>
              <p:tags r:id="rId13"/>
            </p:custDataLst>
          </p:nvPr>
        </p:nvSpPr>
        <p:spPr>
          <a:xfrm>
            <a:off x="8811223" y="1262206"/>
            <a:ext cx="2359243" cy="1021459"/>
          </a:xfrm>
          <a:prstGeom prst="rect">
            <a:avLst/>
          </a:prstGeom>
          <a:solidFill>
            <a:schemeClr val="accent3"/>
          </a:solidFill>
          <a:ln w="6350" cap="flat" cmpd="sng" algn="ctr">
            <a:solidFill>
              <a:schemeClr val="accent3"/>
            </a:solidFill>
            <a:prstDash val="solid"/>
          </a:ln>
          <a:effectLst/>
        </p:spPr>
        <p:txBody>
          <a:bodyPr lIns="63991" tIns="45708" rIns="63991" bIns="45708" rtlCol="0" anchor="ctr">
            <a:noAutofit/>
          </a:bodyPr>
          <a:lstStyle/>
          <a:p>
            <a:pPr algn="ctr" defTabSz="1217959">
              <a:defRPr/>
            </a:pPr>
            <a:r>
              <a:rPr lang="en-US" sz="1799" kern="0" dirty="0">
                <a:solidFill>
                  <a:prstClr val="white"/>
                </a:solidFill>
                <a:latin typeface="Segoe UI Semibold" panose="020B0702040204020203" pitchFamily="34" charset="0"/>
                <a:ea typeface="Segoe UI" pitchFamily="34" charset="0"/>
                <a:cs typeface="Segoe UI Semibold" panose="020B0702040204020203" pitchFamily="34" charset="0"/>
              </a:rPr>
              <a:t>Marketing, Sales and Aftermarket</a:t>
            </a:r>
          </a:p>
        </p:txBody>
      </p:sp>
      <p:sp>
        <p:nvSpPr>
          <p:cNvPr id="64" name="Rectangle 63"/>
          <p:cNvSpPr/>
          <p:nvPr>
            <p:custDataLst>
              <p:tags r:id="rId14"/>
            </p:custDataLst>
          </p:nvPr>
        </p:nvSpPr>
        <p:spPr>
          <a:xfrm>
            <a:off x="8802554" y="2394324"/>
            <a:ext cx="2359248" cy="548640"/>
          </a:xfrm>
          <a:prstGeom prst="rect">
            <a:avLst/>
          </a:prstGeom>
          <a:solidFill>
            <a:schemeClr val="bg1"/>
          </a:solidFill>
          <a:ln w="6350" cap="flat" cmpd="sng" algn="ctr">
            <a:solidFill>
              <a:schemeClr val="bg1">
                <a:lumMod val="75000"/>
              </a:schemeClr>
            </a:solidFill>
            <a:prstDash val="solid"/>
          </a:ln>
          <a:effectLst/>
        </p:spPr>
        <p:txBody>
          <a:bodyPr lIns="63991" tIns="45708" rIns="63991" bIns="45708" rtlCol="0" anchor="ctr">
            <a:noAutofit/>
          </a:bodyPr>
          <a:lstStyle/>
          <a:p>
            <a:pPr algn="ctr" defTabSz="1217959">
              <a:defRPr/>
            </a:pPr>
            <a:r>
              <a:rPr lang="en-US" sz="1600" kern="0" dirty="0">
                <a:solidFill>
                  <a:srgbClr val="505050"/>
                </a:solidFill>
                <a:latin typeface="Segoe UI"/>
                <a:ea typeface="Segoe UI" pitchFamily="34" charset="0"/>
                <a:cs typeface="Segoe UI" pitchFamily="34" charset="0"/>
              </a:rPr>
              <a:t>Dealer business management</a:t>
            </a:r>
          </a:p>
        </p:txBody>
      </p:sp>
      <p:sp>
        <p:nvSpPr>
          <p:cNvPr id="66" name="Rectangle 65"/>
          <p:cNvSpPr/>
          <p:nvPr>
            <p:custDataLst>
              <p:tags r:id="rId15"/>
            </p:custDataLst>
          </p:nvPr>
        </p:nvSpPr>
        <p:spPr>
          <a:xfrm>
            <a:off x="8802554" y="3002273"/>
            <a:ext cx="2359248" cy="548640"/>
          </a:xfrm>
          <a:prstGeom prst="rect">
            <a:avLst/>
          </a:prstGeom>
          <a:solidFill>
            <a:schemeClr val="bg1"/>
          </a:solidFill>
          <a:ln w="6350" cap="flat" cmpd="sng" algn="ctr">
            <a:solidFill>
              <a:schemeClr val="bg1">
                <a:lumMod val="75000"/>
              </a:schemeClr>
            </a:solidFill>
            <a:prstDash val="solid"/>
          </a:ln>
          <a:effectLst/>
        </p:spPr>
        <p:txBody>
          <a:bodyPr lIns="63991" tIns="45708" rIns="63991" bIns="45708" rtlCol="0" anchor="ctr">
            <a:noAutofit/>
          </a:bodyPr>
          <a:lstStyle/>
          <a:p>
            <a:pPr algn="ctr" defTabSz="1217959">
              <a:lnSpc>
                <a:spcPct val="90000"/>
              </a:lnSpc>
              <a:defRPr/>
            </a:pPr>
            <a:r>
              <a:rPr lang="en-US" sz="1600" kern="0" dirty="0">
                <a:solidFill>
                  <a:srgbClr val="505050"/>
                </a:solidFill>
                <a:latin typeface="Segoe UI"/>
                <a:ea typeface="Segoe UI" pitchFamily="34" charset="0"/>
                <a:cs typeface="Segoe UI" pitchFamily="34" charset="0"/>
              </a:rPr>
              <a:t>Vehicle sales management</a:t>
            </a:r>
          </a:p>
        </p:txBody>
      </p:sp>
      <p:sp>
        <p:nvSpPr>
          <p:cNvPr id="67" name="Rectangle 66"/>
          <p:cNvSpPr/>
          <p:nvPr>
            <p:custDataLst>
              <p:tags r:id="rId16"/>
            </p:custDataLst>
          </p:nvPr>
        </p:nvSpPr>
        <p:spPr>
          <a:xfrm>
            <a:off x="8802554" y="3610222"/>
            <a:ext cx="2359248" cy="801264"/>
          </a:xfrm>
          <a:prstGeom prst="rect">
            <a:avLst/>
          </a:prstGeom>
          <a:solidFill>
            <a:schemeClr val="bg1"/>
          </a:solidFill>
          <a:ln w="6350" cap="flat" cmpd="sng" algn="ctr">
            <a:solidFill>
              <a:schemeClr val="bg1">
                <a:lumMod val="75000"/>
              </a:schemeClr>
            </a:solidFill>
            <a:prstDash val="solid"/>
          </a:ln>
          <a:effectLst/>
        </p:spPr>
        <p:txBody>
          <a:bodyPr lIns="63991" tIns="45708" rIns="63991" bIns="45708" rtlCol="0" anchor="ctr">
            <a:noAutofit/>
          </a:bodyPr>
          <a:lstStyle/>
          <a:p>
            <a:pPr algn="ctr" defTabSz="1217959">
              <a:defRPr/>
            </a:pPr>
            <a:r>
              <a:rPr lang="en-US" sz="1600" kern="0" dirty="0">
                <a:solidFill>
                  <a:srgbClr val="505050"/>
                </a:solidFill>
                <a:latin typeface="Segoe UI"/>
                <a:ea typeface="Segoe UI" pitchFamily="34" charset="0"/>
                <a:cs typeface="Segoe UI" pitchFamily="34" charset="0"/>
              </a:rPr>
              <a:t>Customer service, support, and warranty management</a:t>
            </a:r>
          </a:p>
        </p:txBody>
      </p:sp>
      <p:sp>
        <p:nvSpPr>
          <p:cNvPr id="20" name="Rectangle 19">
            <a:extLst>
              <a:ext uri="{FF2B5EF4-FFF2-40B4-BE49-F238E27FC236}">
                <a16:creationId xmlns:a16="http://schemas.microsoft.com/office/drawing/2014/main" id="{55A3EF68-F085-4C89-8787-5FF3BC53E7E5}"/>
              </a:ext>
            </a:extLst>
          </p:cNvPr>
          <p:cNvSpPr/>
          <p:nvPr>
            <p:custDataLst>
              <p:tags r:id="rId17"/>
            </p:custDataLst>
          </p:nvPr>
        </p:nvSpPr>
        <p:spPr>
          <a:xfrm>
            <a:off x="3590847" y="4562235"/>
            <a:ext cx="2359248" cy="457200"/>
          </a:xfrm>
          <a:prstGeom prst="rect">
            <a:avLst/>
          </a:prstGeom>
          <a:solidFill>
            <a:schemeClr val="bg1"/>
          </a:solidFill>
          <a:ln w="6350" cap="flat" cmpd="sng" algn="ctr">
            <a:solidFill>
              <a:schemeClr val="bg1">
                <a:lumMod val="75000"/>
              </a:schemeClr>
            </a:solidFill>
            <a:prstDash val="solid"/>
          </a:ln>
          <a:effectLst/>
        </p:spPr>
        <p:txBody>
          <a:bodyPr lIns="63991" tIns="45708" rIns="63991" bIns="45708" rtlCol="0" anchor="ctr">
            <a:noAutofit/>
          </a:bodyPr>
          <a:lstStyle/>
          <a:p>
            <a:pPr algn="ctr" defTabSz="1217959">
              <a:lnSpc>
                <a:spcPct val="90000"/>
              </a:lnSpc>
              <a:defRPr/>
            </a:pPr>
            <a:r>
              <a:rPr lang="en-US" sz="1600" kern="0" dirty="0">
                <a:solidFill>
                  <a:srgbClr val="505050"/>
                </a:solidFill>
                <a:latin typeface="Segoe UI"/>
                <a:ea typeface="Segoe UI" pitchFamily="34" charset="0"/>
                <a:cs typeface="Segoe UI" pitchFamily="34" charset="0"/>
              </a:rPr>
              <a:t>Outbound logistics</a:t>
            </a:r>
          </a:p>
        </p:txBody>
      </p:sp>
      <p:sp>
        <p:nvSpPr>
          <p:cNvPr id="21" name="Rectangle 20">
            <a:extLst>
              <a:ext uri="{FF2B5EF4-FFF2-40B4-BE49-F238E27FC236}">
                <a16:creationId xmlns:a16="http://schemas.microsoft.com/office/drawing/2014/main" id="{50A7EA16-0F74-4F5A-A01B-FDAE9F30A271}"/>
              </a:ext>
            </a:extLst>
          </p:cNvPr>
          <p:cNvSpPr/>
          <p:nvPr>
            <p:custDataLst>
              <p:tags r:id="rId18"/>
            </p:custDataLst>
          </p:nvPr>
        </p:nvSpPr>
        <p:spPr>
          <a:xfrm>
            <a:off x="8802554" y="4470795"/>
            <a:ext cx="2359248" cy="548640"/>
          </a:xfrm>
          <a:prstGeom prst="rect">
            <a:avLst/>
          </a:prstGeom>
          <a:solidFill>
            <a:schemeClr val="bg1"/>
          </a:solidFill>
          <a:ln w="6350" cap="flat" cmpd="sng" algn="ctr">
            <a:solidFill>
              <a:schemeClr val="bg1">
                <a:lumMod val="75000"/>
              </a:schemeClr>
            </a:solidFill>
            <a:prstDash val="solid"/>
          </a:ln>
          <a:effectLst/>
        </p:spPr>
        <p:txBody>
          <a:bodyPr lIns="63991" tIns="45708" rIns="63991" bIns="45708" rtlCol="0" anchor="ctr">
            <a:noAutofit/>
          </a:bodyPr>
          <a:lstStyle/>
          <a:p>
            <a:pPr algn="ctr" defTabSz="1217959">
              <a:defRPr/>
            </a:pPr>
            <a:r>
              <a:rPr lang="en-US" sz="1600" kern="0" dirty="0">
                <a:solidFill>
                  <a:srgbClr val="505050"/>
                </a:solidFill>
                <a:latin typeface="Segoe UI"/>
                <a:ea typeface="Segoe UI" pitchFamily="34" charset="0"/>
                <a:cs typeface="Segoe UI" pitchFamily="34" charset="0"/>
              </a:rPr>
              <a:t>Multichannel marketing management</a:t>
            </a:r>
          </a:p>
        </p:txBody>
      </p:sp>
      <p:sp>
        <p:nvSpPr>
          <p:cNvPr id="22" name="Rectangle 21">
            <a:extLst>
              <a:ext uri="{FF2B5EF4-FFF2-40B4-BE49-F238E27FC236}">
                <a16:creationId xmlns:a16="http://schemas.microsoft.com/office/drawing/2014/main" id="{EA9477F5-E546-45C3-B9E0-F01AF652192A}"/>
              </a:ext>
            </a:extLst>
          </p:cNvPr>
          <p:cNvSpPr/>
          <p:nvPr>
            <p:custDataLst>
              <p:tags r:id="rId19"/>
            </p:custDataLst>
          </p:nvPr>
        </p:nvSpPr>
        <p:spPr>
          <a:xfrm>
            <a:off x="973246" y="5140105"/>
            <a:ext cx="2359249" cy="604317"/>
          </a:xfrm>
          <a:prstGeom prst="rect">
            <a:avLst/>
          </a:prstGeom>
          <a:solidFill>
            <a:schemeClr val="bg1">
              <a:lumMod val="50000"/>
            </a:schemeClr>
          </a:solidFill>
          <a:ln w="6350" cap="flat" cmpd="sng" algn="ctr">
            <a:noFill/>
            <a:prstDash val="solid"/>
          </a:ln>
          <a:effectLst/>
        </p:spPr>
        <p:txBody>
          <a:bodyPr lIns="63991" tIns="45708" rIns="63991" bIns="45708" rtlCol="0" anchor="ctr">
            <a:noAutofit/>
          </a:bodyPr>
          <a:lstStyle/>
          <a:p>
            <a:pPr algn="ctr" defTabSz="1217959">
              <a:defRPr/>
            </a:pPr>
            <a:r>
              <a:rPr lang="en-US" sz="1799" kern="0" dirty="0">
                <a:solidFill>
                  <a:prstClr val="white"/>
                </a:solidFill>
                <a:latin typeface="Segoe UI Semibold" panose="020B0702040204020203" pitchFamily="34" charset="0"/>
                <a:ea typeface="Segoe UI" pitchFamily="34" charset="0"/>
                <a:cs typeface="Segoe UI Semibold" panose="020B0702040204020203" pitchFamily="34" charset="0"/>
              </a:rPr>
              <a:t>People and Talent</a:t>
            </a:r>
          </a:p>
        </p:txBody>
      </p:sp>
      <p:sp>
        <p:nvSpPr>
          <p:cNvPr id="23" name="Rectangle 22">
            <a:extLst>
              <a:ext uri="{FF2B5EF4-FFF2-40B4-BE49-F238E27FC236}">
                <a16:creationId xmlns:a16="http://schemas.microsoft.com/office/drawing/2014/main" id="{31715EE2-946C-43FC-A781-75D25D687B4E}"/>
              </a:ext>
            </a:extLst>
          </p:cNvPr>
          <p:cNvSpPr/>
          <p:nvPr>
            <p:custDataLst>
              <p:tags r:id="rId20"/>
            </p:custDataLst>
          </p:nvPr>
        </p:nvSpPr>
        <p:spPr>
          <a:xfrm>
            <a:off x="3606295" y="5140105"/>
            <a:ext cx="2359249" cy="604317"/>
          </a:xfrm>
          <a:prstGeom prst="rect">
            <a:avLst/>
          </a:prstGeom>
          <a:solidFill>
            <a:schemeClr val="bg1">
              <a:lumMod val="50000"/>
            </a:schemeClr>
          </a:solidFill>
          <a:ln w="6350" cap="flat" cmpd="sng" algn="ctr">
            <a:noFill/>
            <a:prstDash val="solid"/>
          </a:ln>
          <a:effectLst/>
        </p:spPr>
        <p:txBody>
          <a:bodyPr lIns="63991" tIns="45708" rIns="63991" bIns="45708" rtlCol="0" anchor="ctr">
            <a:noAutofit/>
          </a:bodyPr>
          <a:lstStyle/>
          <a:p>
            <a:pPr algn="ctr" defTabSz="1217959">
              <a:defRPr/>
            </a:pPr>
            <a:r>
              <a:rPr lang="en-US" sz="1799" kern="0" dirty="0">
                <a:solidFill>
                  <a:prstClr val="white"/>
                </a:solidFill>
                <a:latin typeface="Segoe UI Semibold" panose="020B0702040204020203" pitchFamily="34" charset="0"/>
                <a:ea typeface="Segoe UI" pitchFamily="34" charset="0"/>
                <a:cs typeface="Segoe UI Semibold" panose="020B0702040204020203" pitchFamily="34" charset="0"/>
              </a:rPr>
              <a:t>Finance</a:t>
            </a:r>
          </a:p>
        </p:txBody>
      </p:sp>
      <p:sp>
        <p:nvSpPr>
          <p:cNvPr id="24" name="Rectangle 23">
            <a:extLst>
              <a:ext uri="{FF2B5EF4-FFF2-40B4-BE49-F238E27FC236}">
                <a16:creationId xmlns:a16="http://schemas.microsoft.com/office/drawing/2014/main" id="{F2E9E6BE-1AEB-4E25-9DA5-945FBDDE4A1D}"/>
              </a:ext>
            </a:extLst>
          </p:cNvPr>
          <p:cNvSpPr/>
          <p:nvPr>
            <p:custDataLst>
              <p:tags r:id="rId21"/>
            </p:custDataLst>
          </p:nvPr>
        </p:nvSpPr>
        <p:spPr>
          <a:xfrm>
            <a:off x="6194078" y="5140105"/>
            <a:ext cx="2359249" cy="604317"/>
          </a:xfrm>
          <a:prstGeom prst="rect">
            <a:avLst/>
          </a:prstGeom>
          <a:solidFill>
            <a:schemeClr val="bg1">
              <a:lumMod val="50000"/>
            </a:schemeClr>
          </a:solidFill>
          <a:ln w="6350" cap="flat" cmpd="sng" algn="ctr">
            <a:noFill/>
            <a:prstDash val="solid"/>
          </a:ln>
          <a:effectLst/>
        </p:spPr>
        <p:txBody>
          <a:bodyPr lIns="63991" tIns="45708" rIns="63991" bIns="45708" rtlCol="0" anchor="ctr">
            <a:noAutofit/>
          </a:bodyPr>
          <a:lstStyle/>
          <a:p>
            <a:pPr algn="ctr" defTabSz="1217959">
              <a:defRPr/>
            </a:pPr>
            <a:r>
              <a:rPr lang="en-US" sz="1799" kern="0" dirty="0">
                <a:solidFill>
                  <a:prstClr val="white"/>
                </a:solidFill>
                <a:latin typeface="Segoe UI Semibold" panose="020B0702040204020203" pitchFamily="34" charset="0"/>
                <a:ea typeface="Segoe UI" pitchFamily="34" charset="0"/>
                <a:cs typeface="Segoe UI Semibold" panose="020B0702040204020203" pitchFamily="34" charset="0"/>
              </a:rPr>
              <a:t>Procurement</a:t>
            </a:r>
          </a:p>
        </p:txBody>
      </p:sp>
      <p:sp>
        <p:nvSpPr>
          <p:cNvPr id="25" name="Rectangle 24">
            <a:extLst>
              <a:ext uri="{FF2B5EF4-FFF2-40B4-BE49-F238E27FC236}">
                <a16:creationId xmlns:a16="http://schemas.microsoft.com/office/drawing/2014/main" id="{F32C7B70-1FC3-4BC4-A7B2-9092AA2DCA48}"/>
              </a:ext>
            </a:extLst>
          </p:cNvPr>
          <p:cNvSpPr/>
          <p:nvPr>
            <p:custDataLst>
              <p:tags r:id="rId22"/>
            </p:custDataLst>
          </p:nvPr>
        </p:nvSpPr>
        <p:spPr>
          <a:xfrm>
            <a:off x="8809021" y="5140105"/>
            <a:ext cx="2359249" cy="604317"/>
          </a:xfrm>
          <a:prstGeom prst="rect">
            <a:avLst/>
          </a:prstGeom>
          <a:solidFill>
            <a:schemeClr val="bg1">
              <a:lumMod val="50000"/>
            </a:schemeClr>
          </a:solidFill>
          <a:ln w="6350" cap="flat" cmpd="sng" algn="ctr">
            <a:noFill/>
            <a:prstDash val="solid"/>
          </a:ln>
          <a:effectLst/>
        </p:spPr>
        <p:txBody>
          <a:bodyPr lIns="63991" tIns="45708" rIns="63991" bIns="45708" rtlCol="0" anchor="ctr">
            <a:noAutofit/>
          </a:bodyPr>
          <a:lstStyle/>
          <a:p>
            <a:pPr algn="ctr" defTabSz="1217959">
              <a:defRPr/>
            </a:pPr>
            <a:r>
              <a:rPr lang="en-US" sz="1799" kern="0" dirty="0">
                <a:solidFill>
                  <a:prstClr val="white"/>
                </a:solidFill>
                <a:latin typeface="Segoe UI Semibold" panose="020B0702040204020203" pitchFamily="34" charset="0"/>
                <a:ea typeface="Segoe UI" pitchFamily="34" charset="0"/>
                <a:cs typeface="Segoe UI Semibold" panose="020B0702040204020203" pitchFamily="34" charset="0"/>
              </a:rPr>
              <a:t>IT Management</a:t>
            </a:r>
          </a:p>
        </p:txBody>
      </p:sp>
    </p:spTree>
    <p:extLst>
      <p:ext uri="{BB962C8B-B14F-4D97-AF65-F5344CB8AC3E}">
        <p14:creationId xmlns:p14="http://schemas.microsoft.com/office/powerpoint/2010/main" val="34243212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3175" y="3375"/>
          <a:ext cx="1587" cy="1587"/>
        </p:xfrm>
        <a:graphic>
          <a:graphicData uri="http://schemas.openxmlformats.org/presentationml/2006/ole">
            <mc:AlternateContent xmlns:mc="http://schemas.openxmlformats.org/markup-compatibility/2006">
              <mc:Choice xmlns:v="urn:schemas-microsoft-com:vml" Requires="v">
                <p:oleObj spid="_x0000_s87044" name="think-cell Slide" r:id="rId5" imgW="378" imgH="377" progId="TCLayout.ActiveDocument.1">
                  <p:embed/>
                </p:oleObj>
              </mc:Choice>
              <mc:Fallback>
                <p:oleObj name="think-cell Slide" r:id="rId5" imgW="378" imgH="377" progId="TCLayout.ActiveDocument.1">
                  <p:embed/>
                  <p:pic>
                    <p:nvPicPr>
                      <p:cNvPr id="4" name="Object 3" hidden="1"/>
                      <p:cNvPicPr/>
                      <p:nvPr/>
                    </p:nvPicPr>
                    <p:blipFill>
                      <a:blip r:embed="rId6"/>
                      <a:stretch>
                        <a:fillRect/>
                      </a:stretch>
                    </p:blipFill>
                    <p:spPr>
                      <a:xfrm>
                        <a:off x="3175" y="3375"/>
                        <a:ext cx="1587" cy="1587"/>
                      </a:xfrm>
                      <a:prstGeom prst="rect">
                        <a:avLst/>
                      </a:prstGeom>
                    </p:spPr>
                  </p:pic>
                </p:oleObj>
              </mc:Fallback>
            </mc:AlternateContent>
          </a:graphicData>
        </a:graphic>
      </p:graphicFrame>
      <p:sp>
        <p:nvSpPr>
          <p:cNvPr id="150" name="Rectangle 149"/>
          <p:cNvSpPr/>
          <p:nvPr/>
        </p:nvSpPr>
        <p:spPr>
          <a:xfrm>
            <a:off x="306504" y="5055380"/>
            <a:ext cx="3816324" cy="1420032"/>
          </a:xfrm>
          <a:prstGeom prst="rect">
            <a:avLst/>
          </a:prstGeom>
          <a:solidFill>
            <a:schemeClr val="bg1"/>
          </a:solidFill>
          <a:ln w="3175">
            <a:solidFill>
              <a:schemeClr val="bg1">
                <a:lumMod val="75000"/>
              </a:schemeClr>
            </a:solidFill>
          </a:ln>
        </p:spPr>
        <p:txBody>
          <a:bodyPr wrap="square" lIns="91392" tIns="45696" rIns="91392" bIns="45696">
            <a:noAutofit/>
          </a:bodyPr>
          <a:lstStyle/>
          <a:p>
            <a:pPr algn="ctr" defTabSz="913368" fontAlgn="base">
              <a:spcBef>
                <a:spcPts val="400"/>
              </a:spcBef>
            </a:pPr>
            <a:r>
              <a:rPr lang="en-GB" sz="1200" b="1" kern="0" dirty="0">
                <a:solidFill>
                  <a:sysClr val="windowText" lastClr="000000"/>
                </a:solidFill>
                <a:latin typeface="Segoe UI"/>
                <a:ea typeface="Segoe UI" pitchFamily="34" charset="0"/>
                <a:cs typeface="Segoe UI" pitchFamily="34" charset="0"/>
              </a:rPr>
              <a:t>Mobility Services</a:t>
            </a:r>
          </a:p>
          <a:p>
            <a:pPr defTabSz="913368" fontAlgn="base">
              <a:spcBef>
                <a:spcPts val="400"/>
              </a:spcBef>
            </a:pPr>
            <a:r>
              <a:rPr lang="en-GB" sz="1200" kern="0" dirty="0">
                <a:solidFill>
                  <a:sysClr val="windowText" lastClr="000000"/>
                </a:solidFill>
                <a:latin typeface="Segoe UI"/>
                <a:ea typeface="Segoe UI" pitchFamily="34" charset="0"/>
                <a:cs typeface="Segoe UI" pitchFamily="34" charset="0"/>
              </a:rPr>
              <a:t>Auto-configuration of vehicle</a:t>
            </a:r>
          </a:p>
          <a:p>
            <a:pPr defTabSz="913368" fontAlgn="base">
              <a:spcBef>
                <a:spcPts val="400"/>
              </a:spcBef>
            </a:pPr>
            <a:r>
              <a:rPr lang="en-GB" sz="1200" kern="0" dirty="0">
                <a:solidFill>
                  <a:sysClr val="windowText" lastClr="000000"/>
                </a:solidFill>
                <a:latin typeface="Segoe UI"/>
                <a:ea typeface="Segoe UI" pitchFamily="34" charset="0"/>
                <a:cs typeface="Segoe UI" pitchFamily="34" charset="0"/>
              </a:rPr>
              <a:t>Contextual and location-based services</a:t>
            </a:r>
          </a:p>
          <a:p>
            <a:pPr defTabSz="913368" fontAlgn="base">
              <a:spcBef>
                <a:spcPts val="400"/>
              </a:spcBef>
            </a:pPr>
            <a:r>
              <a:rPr lang="en-GB" sz="1200" kern="0" dirty="0">
                <a:solidFill>
                  <a:sysClr val="windowText" lastClr="000000"/>
                </a:solidFill>
                <a:latin typeface="Segoe UI"/>
                <a:ea typeface="Segoe UI" pitchFamily="34" charset="0"/>
                <a:cs typeface="Segoe UI" pitchFamily="34" charset="0"/>
              </a:rPr>
              <a:t>Transportation and servicing guidance</a:t>
            </a:r>
          </a:p>
          <a:p>
            <a:pPr defTabSz="913368" fontAlgn="base">
              <a:spcBef>
                <a:spcPts val="400"/>
              </a:spcBef>
            </a:pPr>
            <a:r>
              <a:rPr lang="en-GB" sz="1200" kern="0" dirty="0">
                <a:solidFill>
                  <a:sysClr val="windowText" lastClr="000000"/>
                </a:solidFill>
                <a:latin typeface="Segoe UI"/>
                <a:ea typeface="Segoe UI" pitchFamily="34" charset="0"/>
                <a:cs typeface="Segoe UI" pitchFamily="34" charset="0"/>
              </a:rPr>
              <a:t>Connected, orchestrated ecosystems</a:t>
            </a:r>
          </a:p>
        </p:txBody>
      </p:sp>
      <p:sp>
        <p:nvSpPr>
          <p:cNvPr id="361" name="Rectangle 360"/>
          <p:cNvSpPr/>
          <p:nvPr/>
        </p:nvSpPr>
        <p:spPr>
          <a:xfrm>
            <a:off x="4185128" y="5055380"/>
            <a:ext cx="3816324" cy="1420032"/>
          </a:xfrm>
          <a:prstGeom prst="rect">
            <a:avLst/>
          </a:prstGeom>
          <a:solidFill>
            <a:schemeClr val="bg1"/>
          </a:solidFill>
          <a:ln w="3175">
            <a:solidFill>
              <a:schemeClr val="bg1">
                <a:lumMod val="75000"/>
              </a:schemeClr>
            </a:solidFill>
          </a:ln>
        </p:spPr>
        <p:txBody>
          <a:bodyPr wrap="square" lIns="91392" tIns="45696" rIns="91392" bIns="45696">
            <a:noAutofit/>
          </a:bodyPr>
          <a:lstStyle/>
          <a:p>
            <a:pPr algn="ctr" defTabSz="913368" fontAlgn="base">
              <a:spcBef>
                <a:spcPts val="400"/>
              </a:spcBef>
            </a:pPr>
            <a:r>
              <a:rPr lang="en-GB" sz="1200" b="1" kern="0" dirty="0">
                <a:solidFill>
                  <a:sysClr val="windowText" lastClr="000000"/>
                </a:solidFill>
                <a:latin typeface="Segoe UI"/>
                <a:ea typeface="Segoe UI" pitchFamily="34" charset="0"/>
                <a:cs typeface="Segoe UI" pitchFamily="34" charset="0"/>
              </a:rPr>
              <a:t>Personal Assistant</a:t>
            </a:r>
          </a:p>
          <a:p>
            <a:pPr defTabSz="913368" fontAlgn="base">
              <a:spcBef>
                <a:spcPts val="400"/>
              </a:spcBef>
            </a:pPr>
            <a:r>
              <a:rPr lang="en-GB" sz="1200" kern="0" dirty="0">
                <a:solidFill>
                  <a:sysClr val="windowText" lastClr="000000"/>
                </a:solidFill>
                <a:latin typeface="Segoe UI"/>
                <a:ea typeface="Segoe UI" pitchFamily="34" charset="0"/>
                <a:cs typeface="Segoe UI" pitchFamily="34" charset="0"/>
              </a:rPr>
              <a:t>AI and Machine Learning</a:t>
            </a:r>
          </a:p>
          <a:p>
            <a:pPr defTabSz="913368" fontAlgn="base">
              <a:spcBef>
                <a:spcPts val="400"/>
              </a:spcBef>
            </a:pPr>
            <a:r>
              <a:rPr lang="en-GB" sz="1200" kern="0" dirty="0">
                <a:solidFill>
                  <a:sysClr val="windowText" lastClr="000000"/>
                </a:solidFill>
                <a:latin typeface="Segoe UI"/>
                <a:ea typeface="Segoe UI" pitchFamily="34" charset="0"/>
                <a:cs typeface="Segoe UI" pitchFamily="34" charset="0"/>
              </a:rPr>
              <a:t>Conversational interface</a:t>
            </a:r>
          </a:p>
          <a:p>
            <a:pPr defTabSz="913368" fontAlgn="base">
              <a:spcBef>
                <a:spcPts val="400"/>
              </a:spcBef>
            </a:pPr>
            <a:r>
              <a:rPr lang="en-GB" sz="1200" kern="0" dirty="0" err="1">
                <a:solidFill>
                  <a:sysClr val="windowText" lastClr="000000"/>
                </a:solidFill>
                <a:latin typeface="Segoe UI"/>
                <a:ea typeface="Segoe UI" pitchFamily="34" charset="0"/>
                <a:cs typeface="Segoe UI" pitchFamily="34" charset="0"/>
              </a:rPr>
              <a:t>Behavioral</a:t>
            </a:r>
            <a:r>
              <a:rPr lang="en-GB" sz="1200" kern="0" dirty="0">
                <a:solidFill>
                  <a:sysClr val="windowText" lastClr="000000"/>
                </a:solidFill>
                <a:latin typeface="Segoe UI"/>
                <a:ea typeface="Segoe UI" pitchFamily="34" charset="0"/>
                <a:cs typeface="Segoe UI" pitchFamily="34" charset="0"/>
              </a:rPr>
              <a:t> insights</a:t>
            </a:r>
          </a:p>
          <a:p>
            <a:pPr defTabSz="913368" fontAlgn="base">
              <a:spcBef>
                <a:spcPts val="400"/>
              </a:spcBef>
            </a:pPr>
            <a:r>
              <a:rPr lang="en-GB" sz="1200" kern="0" dirty="0" err="1">
                <a:solidFill>
                  <a:sysClr val="windowText" lastClr="000000"/>
                </a:solidFill>
                <a:latin typeface="Segoe UI"/>
                <a:ea typeface="Segoe UI" pitchFamily="34" charset="0"/>
                <a:cs typeface="Segoe UI" pitchFamily="34" charset="0"/>
              </a:rPr>
              <a:t>Preemptive</a:t>
            </a:r>
            <a:r>
              <a:rPr lang="en-GB" sz="1200" kern="0" dirty="0">
                <a:solidFill>
                  <a:sysClr val="windowText" lastClr="000000"/>
                </a:solidFill>
                <a:latin typeface="Segoe UI"/>
                <a:ea typeface="Segoe UI" pitchFamily="34" charset="0"/>
                <a:cs typeface="Segoe UI" pitchFamily="34" charset="0"/>
              </a:rPr>
              <a:t> and personal reminders and recommendations</a:t>
            </a:r>
          </a:p>
        </p:txBody>
      </p:sp>
      <p:sp>
        <p:nvSpPr>
          <p:cNvPr id="362" name="Rectangle 361"/>
          <p:cNvSpPr/>
          <p:nvPr/>
        </p:nvSpPr>
        <p:spPr>
          <a:xfrm>
            <a:off x="8063755" y="5055380"/>
            <a:ext cx="3816324" cy="1420032"/>
          </a:xfrm>
          <a:prstGeom prst="rect">
            <a:avLst/>
          </a:prstGeom>
          <a:solidFill>
            <a:schemeClr val="bg1"/>
          </a:solidFill>
          <a:ln w="3175">
            <a:solidFill>
              <a:schemeClr val="bg1">
                <a:lumMod val="75000"/>
              </a:schemeClr>
            </a:solidFill>
          </a:ln>
        </p:spPr>
        <p:txBody>
          <a:bodyPr wrap="square" lIns="91392" tIns="45696" rIns="91392" bIns="45696">
            <a:noAutofit/>
          </a:bodyPr>
          <a:lstStyle/>
          <a:p>
            <a:pPr algn="ctr" defTabSz="913368" fontAlgn="base">
              <a:spcBef>
                <a:spcPts val="400"/>
              </a:spcBef>
            </a:pPr>
            <a:r>
              <a:rPr lang="en-GB" sz="1200" b="1" kern="0" dirty="0">
                <a:solidFill>
                  <a:sysClr val="windowText" lastClr="000000"/>
                </a:solidFill>
                <a:latin typeface="Segoe UI"/>
                <a:ea typeface="Segoe UI" pitchFamily="34" charset="0"/>
                <a:cs typeface="Segoe UI" pitchFamily="34" charset="0"/>
              </a:rPr>
              <a:t>Productivity</a:t>
            </a:r>
          </a:p>
          <a:p>
            <a:pPr defTabSz="913368" fontAlgn="base">
              <a:spcBef>
                <a:spcPts val="400"/>
              </a:spcBef>
            </a:pPr>
            <a:r>
              <a:rPr lang="en-GB" sz="1200" kern="0" dirty="0">
                <a:solidFill>
                  <a:sysClr val="windowText" lastClr="000000"/>
                </a:solidFill>
                <a:latin typeface="Segoe UI"/>
                <a:ea typeface="Segoe UI" pitchFamily="34" charset="0"/>
                <a:cs typeface="Segoe UI" pitchFamily="34" charset="0"/>
              </a:rPr>
              <a:t>Productivity tools</a:t>
            </a:r>
          </a:p>
          <a:p>
            <a:pPr defTabSz="913368" fontAlgn="base">
              <a:spcBef>
                <a:spcPts val="400"/>
              </a:spcBef>
            </a:pPr>
            <a:r>
              <a:rPr lang="en-GB" sz="1200" kern="0" dirty="0">
                <a:solidFill>
                  <a:sysClr val="windowText" lastClr="000000"/>
                </a:solidFill>
                <a:latin typeface="Segoe UI"/>
                <a:ea typeface="Segoe UI" pitchFamily="34" charset="0"/>
                <a:cs typeface="Segoe UI" pitchFamily="34" charset="0"/>
              </a:rPr>
              <a:t>Conferencing, collaboration, scheduling</a:t>
            </a:r>
          </a:p>
          <a:p>
            <a:pPr defTabSz="913368" fontAlgn="base">
              <a:spcBef>
                <a:spcPts val="400"/>
              </a:spcBef>
            </a:pPr>
            <a:r>
              <a:rPr lang="en-GB" sz="1200" kern="0" dirty="0">
                <a:solidFill>
                  <a:sysClr val="windowText" lastClr="000000"/>
                </a:solidFill>
                <a:latin typeface="Segoe UI"/>
                <a:ea typeface="Segoe UI" pitchFamily="34" charset="0"/>
                <a:cs typeface="Segoe UI" pitchFamily="34" charset="0"/>
              </a:rPr>
              <a:t>Seamless connectivity</a:t>
            </a:r>
          </a:p>
          <a:p>
            <a:pPr defTabSz="913368" fontAlgn="base">
              <a:spcBef>
                <a:spcPts val="400"/>
              </a:spcBef>
            </a:pPr>
            <a:r>
              <a:rPr lang="en-GB" sz="1200" kern="0" dirty="0">
                <a:solidFill>
                  <a:sysClr val="windowText" lastClr="000000"/>
                </a:solidFill>
                <a:latin typeface="Segoe UI"/>
                <a:ea typeface="Segoe UI" pitchFamily="34" charset="0"/>
                <a:cs typeface="Segoe UI" pitchFamily="34" charset="0"/>
              </a:rPr>
              <a:t>Augmented dashboards</a:t>
            </a:r>
          </a:p>
        </p:txBody>
      </p:sp>
      <p:sp>
        <p:nvSpPr>
          <p:cNvPr id="2" name="Title 1"/>
          <p:cNvSpPr>
            <a:spLocks noGrp="1"/>
          </p:cNvSpPr>
          <p:nvPr>
            <p:ph type="title"/>
          </p:nvPr>
        </p:nvSpPr>
        <p:spPr/>
        <p:txBody>
          <a:bodyPr/>
          <a:lstStyle/>
          <a:p>
            <a:r>
              <a:rPr lang="en-IN" dirty="0"/>
              <a:t>A Productivity Journey of an Automotive Customer </a:t>
            </a:r>
            <a:endParaRPr lang="en-US" dirty="0"/>
          </a:p>
        </p:txBody>
      </p:sp>
      <p:sp>
        <p:nvSpPr>
          <p:cNvPr id="265" name="Slide Number Placeholder 264"/>
          <p:cNvSpPr>
            <a:spLocks noGrp="1"/>
          </p:cNvSpPr>
          <p:nvPr>
            <p:ph type="sldNum" sz="quarter" idx="14"/>
          </p:nvPr>
        </p:nvSpPr>
        <p:spPr/>
        <p:txBody>
          <a:bodyPr/>
          <a:lstStyle/>
          <a:p>
            <a:pPr defTabSz="913852"/>
            <a:fld id="{FAADACFB-7C71-4E89-89D2-7BBA40B7BFA9}" type="slidenum">
              <a:rPr lang="en-US" sz="1798" kern="0">
                <a:solidFill>
                  <a:sysClr val="windowText" lastClr="000000"/>
                </a:solidFill>
              </a:rPr>
              <a:pPr defTabSz="913852"/>
              <a:t>11</a:t>
            </a:fld>
            <a:endParaRPr lang="en-US" sz="1798" kern="0">
              <a:solidFill>
                <a:sysClr val="windowText" lastClr="000000"/>
              </a:solidFill>
            </a:endParaRPr>
          </a:p>
        </p:txBody>
      </p:sp>
      <p:sp>
        <p:nvSpPr>
          <p:cNvPr id="340" name="Rectangle 339"/>
          <p:cNvSpPr/>
          <p:nvPr/>
        </p:nvSpPr>
        <p:spPr bwMode="auto">
          <a:xfrm>
            <a:off x="306506" y="4718565"/>
            <a:ext cx="11573574" cy="338378"/>
          </a:xfrm>
          <a:prstGeom prst="rect">
            <a:avLst/>
          </a:prstGeom>
          <a:solidFill>
            <a:schemeClr val="tx2"/>
          </a:solidFill>
          <a:ln w="3175" cap="flat" cmpd="sng" algn="ctr">
            <a:solidFill>
              <a:schemeClr val="tx2"/>
            </a:solidFill>
            <a:prstDash val="solid"/>
            <a:headEnd type="none" w="med" len="med"/>
            <a:tailEnd type="none" w="med" len="med"/>
          </a:ln>
          <a:effectLst/>
        </p:spPr>
        <p:txBody>
          <a:bodyPr rot="0" spcFirstLastPara="0" vertOverflow="overflow" horzOverflow="overflow" vert="horz" wrap="square" lIns="91392" tIns="45696" rIns="91392" bIns="45696" numCol="1" spcCol="0" rtlCol="0" fromWordArt="0" anchor="t" anchorCtr="0" forceAA="0" compatLnSpc="1">
            <a:prstTxWarp prst="textNoShape">
              <a:avLst/>
            </a:prstTxWarp>
            <a:spAutoFit/>
          </a:bodyPr>
          <a:lstStyle/>
          <a:p>
            <a:pPr algn="ctr" defTabSz="1226341" fontAlgn="base">
              <a:spcBef>
                <a:spcPts val="200"/>
              </a:spcBef>
              <a:spcAft>
                <a:spcPts val="200"/>
              </a:spcAft>
              <a:defRPr/>
            </a:pPr>
            <a:r>
              <a:rPr lang="en-US" sz="1600" kern="0">
                <a:solidFill>
                  <a:prstClr val="white"/>
                </a:solidFill>
                <a:latin typeface="Segoe UI Semibold" panose="020B0702040204020203" pitchFamily="34" charset="0"/>
                <a:ea typeface="Segoe UI" pitchFamily="34" charset="0"/>
                <a:cs typeface="Segoe UI Semibold" panose="020B0702040204020203" pitchFamily="34" charset="0"/>
              </a:rPr>
              <a:t>Digital Hotspots</a:t>
            </a:r>
          </a:p>
        </p:txBody>
      </p:sp>
      <p:sp>
        <p:nvSpPr>
          <p:cNvPr id="137" name="Freeform 136"/>
          <p:cNvSpPr/>
          <p:nvPr/>
        </p:nvSpPr>
        <p:spPr bwMode="auto">
          <a:xfrm>
            <a:off x="306505" y="1194965"/>
            <a:ext cx="11570275" cy="3244944"/>
          </a:xfrm>
          <a:custGeom>
            <a:avLst/>
            <a:gdLst>
              <a:gd name="connsiteX0" fmla="*/ 0 w 12119714"/>
              <a:gd name="connsiteY0" fmla="*/ 1020655 h 3785780"/>
              <a:gd name="connsiteX1" fmla="*/ 1383632 w 12119714"/>
              <a:gd name="connsiteY1" fmla="*/ 118287 h 3785780"/>
              <a:gd name="connsiteX2" fmla="*/ 2442411 w 12119714"/>
              <a:gd name="connsiteY2" fmla="*/ 1513950 h 3785780"/>
              <a:gd name="connsiteX3" fmla="*/ 1130969 w 12119714"/>
              <a:gd name="connsiteY3" fmla="*/ 2536634 h 3785780"/>
              <a:gd name="connsiteX4" fmla="*/ 1143000 w 12119714"/>
              <a:gd name="connsiteY4" fmla="*/ 3523223 h 3785780"/>
              <a:gd name="connsiteX5" fmla="*/ 3164306 w 12119714"/>
              <a:gd name="connsiteY5" fmla="*/ 3330718 h 3785780"/>
              <a:gd name="connsiteX6" fmla="*/ 4030579 w 12119714"/>
              <a:gd name="connsiteY6" fmla="*/ 1213160 h 3785780"/>
              <a:gd name="connsiteX7" fmla="*/ 4896853 w 12119714"/>
              <a:gd name="connsiteY7" fmla="*/ 70160 h 3785780"/>
              <a:gd name="connsiteX8" fmla="*/ 6388769 w 12119714"/>
              <a:gd name="connsiteY8" fmla="*/ 743929 h 3785780"/>
              <a:gd name="connsiteX9" fmla="*/ 7279106 w 12119714"/>
              <a:gd name="connsiteY9" fmla="*/ 1104876 h 3785780"/>
              <a:gd name="connsiteX10" fmla="*/ 8446169 w 12119714"/>
              <a:gd name="connsiteY10" fmla="*/ 142350 h 3785780"/>
              <a:gd name="connsiteX11" fmla="*/ 11105148 w 12119714"/>
              <a:gd name="connsiteY11" fmla="*/ 214539 h 3785780"/>
              <a:gd name="connsiteX12" fmla="*/ 11694695 w 12119714"/>
              <a:gd name="connsiteY12" fmla="*/ 2103497 h 3785780"/>
              <a:gd name="connsiteX13" fmla="*/ 9745579 w 12119714"/>
              <a:gd name="connsiteY13" fmla="*/ 1826771 h 3785780"/>
              <a:gd name="connsiteX14" fmla="*/ 6605337 w 12119714"/>
              <a:gd name="connsiteY14" fmla="*/ 1778644 h 3785780"/>
              <a:gd name="connsiteX15" fmla="*/ 4632158 w 12119714"/>
              <a:gd name="connsiteY15" fmla="*/ 2067402 h 3785780"/>
              <a:gd name="connsiteX16" fmla="*/ 4307306 w 12119714"/>
              <a:gd name="connsiteY16" fmla="*/ 3571350 h 3785780"/>
              <a:gd name="connsiteX17" fmla="*/ 5305927 w 12119714"/>
              <a:gd name="connsiteY17" fmla="*/ 3643539 h 3785780"/>
              <a:gd name="connsiteX18" fmla="*/ 6424863 w 12119714"/>
              <a:gd name="connsiteY18" fmla="*/ 2320065 h 3785780"/>
              <a:gd name="connsiteX19" fmla="*/ 8698832 w 12119714"/>
              <a:gd name="connsiteY19" fmla="*/ 3330718 h 3785780"/>
              <a:gd name="connsiteX20" fmla="*/ 11670632 w 12119714"/>
              <a:gd name="connsiteY20" fmla="*/ 3174308 h 3785780"/>
              <a:gd name="connsiteX21" fmla="*/ 12055642 w 12119714"/>
              <a:gd name="connsiteY21" fmla="*/ 3174308 h 3785780"/>
              <a:gd name="connsiteX0" fmla="*/ 0 w 12119714"/>
              <a:gd name="connsiteY0" fmla="*/ 1020655 h 3785780"/>
              <a:gd name="connsiteX1" fmla="*/ 1383632 w 12119714"/>
              <a:gd name="connsiteY1" fmla="*/ 118287 h 3785780"/>
              <a:gd name="connsiteX2" fmla="*/ 2442411 w 12119714"/>
              <a:gd name="connsiteY2" fmla="*/ 1513950 h 3785780"/>
              <a:gd name="connsiteX3" fmla="*/ 1130969 w 12119714"/>
              <a:gd name="connsiteY3" fmla="*/ 2536634 h 3785780"/>
              <a:gd name="connsiteX4" fmla="*/ 1143000 w 12119714"/>
              <a:gd name="connsiteY4" fmla="*/ 3523223 h 3785780"/>
              <a:gd name="connsiteX5" fmla="*/ 3164306 w 12119714"/>
              <a:gd name="connsiteY5" fmla="*/ 3330718 h 3785780"/>
              <a:gd name="connsiteX6" fmla="*/ 4030579 w 12119714"/>
              <a:gd name="connsiteY6" fmla="*/ 1213160 h 3785780"/>
              <a:gd name="connsiteX7" fmla="*/ 4896853 w 12119714"/>
              <a:gd name="connsiteY7" fmla="*/ 70160 h 3785780"/>
              <a:gd name="connsiteX8" fmla="*/ 6388769 w 12119714"/>
              <a:gd name="connsiteY8" fmla="*/ 743929 h 3785780"/>
              <a:gd name="connsiteX9" fmla="*/ 7279106 w 12119714"/>
              <a:gd name="connsiteY9" fmla="*/ 1104876 h 3785780"/>
              <a:gd name="connsiteX10" fmla="*/ 8446169 w 12119714"/>
              <a:gd name="connsiteY10" fmla="*/ 142350 h 3785780"/>
              <a:gd name="connsiteX11" fmla="*/ 11105148 w 12119714"/>
              <a:gd name="connsiteY11" fmla="*/ 214539 h 3785780"/>
              <a:gd name="connsiteX12" fmla="*/ 11694695 w 12119714"/>
              <a:gd name="connsiteY12" fmla="*/ 2103497 h 3785780"/>
              <a:gd name="connsiteX13" fmla="*/ 9745579 w 12119714"/>
              <a:gd name="connsiteY13" fmla="*/ 1826771 h 3785780"/>
              <a:gd name="connsiteX14" fmla="*/ 6605337 w 12119714"/>
              <a:gd name="connsiteY14" fmla="*/ 1778644 h 3785780"/>
              <a:gd name="connsiteX15" fmla="*/ 4632158 w 12119714"/>
              <a:gd name="connsiteY15" fmla="*/ 2067402 h 3785780"/>
              <a:gd name="connsiteX16" fmla="*/ 4307306 w 12119714"/>
              <a:gd name="connsiteY16" fmla="*/ 3571350 h 3785780"/>
              <a:gd name="connsiteX17" fmla="*/ 5305927 w 12119714"/>
              <a:gd name="connsiteY17" fmla="*/ 3643539 h 3785780"/>
              <a:gd name="connsiteX18" fmla="*/ 6424863 w 12119714"/>
              <a:gd name="connsiteY18" fmla="*/ 2320065 h 3785780"/>
              <a:gd name="connsiteX19" fmla="*/ 8698832 w 12119714"/>
              <a:gd name="connsiteY19" fmla="*/ 3330718 h 3785780"/>
              <a:gd name="connsiteX20" fmla="*/ 11670632 w 12119714"/>
              <a:gd name="connsiteY20" fmla="*/ 3174308 h 3785780"/>
              <a:gd name="connsiteX21" fmla="*/ 12055642 w 12119714"/>
              <a:gd name="connsiteY21" fmla="*/ 3174308 h 3785780"/>
              <a:gd name="connsiteX0" fmla="*/ 0 w 12119714"/>
              <a:gd name="connsiteY0" fmla="*/ 1020655 h 3785780"/>
              <a:gd name="connsiteX1" fmla="*/ 1383632 w 12119714"/>
              <a:gd name="connsiteY1" fmla="*/ 118287 h 3785780"/>
              <a:gd name="connsiteX2" fmla="*/ 2442411 w 12119714"/>
              <a:gd name="connsiteY2" fmla="*/ 1513950 h 3785780"/>
              <a:gd name="connsiteX3" fmla="*/ 1130969 w 12119714"/>
              <a:gd name="connsiteY3" fmla="*/ 2536634 h 3785780"/>
              <a:gd name="connsiteX4" fmla="*/ 1143000 w 12119714"/>
              <a:gd name="connsiteY4" fmla="*/ 3523223 h 3785780"/>
              <a:gd name="connsiteX5" fmla="*/ 3164306 w 12119714"/>
              <a:gd name="connsiteY5" fmla="*/ 3330718 h 3785780"/>
              <a:gd name="connsiteX6" fmla="*/ 4030579 w 12119714"/>
              <a:gd name="connsiteY6" fmla="*/ 1213160 h 3785780"/>
              <a:gd name="connsiteX7" fmla="*/ 4896853 w 12119714"/>
              <a:gd name="connsiteY7" fmla="*/ 70160 h 3785780"/>
              <a:gd name="connsiteX8" fmla="*/ 7279106 w 12119714"/>
              <a:gd name="connsiteY8" fmla="*/ 1104876 h 3785780"/>
              <a:gd name="connsiteX9" fmla="*/ 8446169 w 12119714"/>
              <a:gd name="connsiteY9" fmla="*/ 142350 h 3785780"/>
              <a:gd name="connsiteX10" fmla="*/ 11105148 w 12119714"/>
              <a:gd name="connsiteY10" fmla="*/ 214539 h 3785780"/>
              <a:gd name="connsiteX11" fmla="*/ 11694695 w 12119714"/>
              <a:gd name="connsiteY11" fmla="*/ 2103497 h 3785780"/>
              <a:gd name="connsiteX12" fmla="*/ 9745579 w 12119714"/>
              <a:gd name="connsiteY12" fmla="*/ 1826771 h 3785780"/>
              <a:gd name="connsiteX13" fmla="*/ 6605337 w 12119714"/>
              <a:gd name="connsiteY13" fmla="*/ 1778644 h 3785780"/>
              <a:gd name="connsiteX14" fmla="*/ 4632158 w 12119714"/>
              <a:gd name="connsiteY14" fmla="*/ 2067402 h 3785780"/>
              <a:gd name="connsiteX15" fmla="*/ 4307306 w 12119714"/>
              <a:gd name="connsiteY15" fmla="*/ 3571350 h 3785780"/>
              <a:gd name="connsiteX16" fmla="*/ 5305927 w 12119714"/>
              <a:gd name="connsiteY16" fmla="*/ 3643539 h 3785780"/>
              <a:gd name="connsiteX17" fmla="*/ 6424863 w 12119714"/>
              <a:gd name="connsiteY17" fmla="*/ 2320065 h 3785780"/>
              <a:gd name="connsiteX18" fmla="*/ 8698832 w 12119714"/>
              <a:gd name="connsiteY18" fmla="*/ 3330718 h 3785780"/>
              <a:gd name="connsiteX19" fmla="*/ 11670632 w 12119714"/>
              <a:gd name="connsiteY19" fmla="*/ 3174308 h 3785780"/>
              <a:gd name="connsiteX20" fmla="*/ 12055642 w 12119714"/>
              <a:gd name="connsiteY20" fmla="*/ 3174308 h 3785780"/>
              <a:gd name="connsiteX0" fmla="*/ 0 w 12119714"/>
              <a:gd name="connsiteY0" fmla="*/ 1020655 h 3785780"/>
              <a:gd name="connsiteX1" fmla="*/ 1383632 w 12119714"/>
              <a:gd name="connsiteY1" fmla="*/ 118287 h 3785780"/>
              <a:gd name="connsiteX2" fmla="*/ 2442411 w 12119714"/>
              <a:gd name="connsiteY2" fmla="*/ 1513950 h 3785780"/>
              <a:gd name="connsiteX3" fmla="*/ 1130969 w 12119714"/>
              <a:gd name="connsiteY3" fmla="*/ 2536634 h 3785780"/>
              <a:gd name="connsiteX4" fmla="*/ 1143000 w 12119714"/>
              <a:gd name="connsiteY4" fmla="*/ 3523223 h 3785780"/>
              <a:gd name="connsiteX5" fmla="*/ 3164306 w 12119714"/>
              <a:gd name="connsiteY5" fmla="*/ 3330718 h 3785780"/>
              <a:gd name="connsiteX6" fmla="*/ 4030579 w 12119714"/>
              <a:gd name="connsiteY6" fmla="*/ 1213160 h 3785780"/>
              <a:gd name="connsiteX7" fmla="*/ 4896853 w 12119714"/>
              <a:gd name="connsiteY7" fmla="*/ 70160 h 3785780"/>
              <a:gd name="connsiteX8" fmla="*/ 7279106 w 12119714"/>
              <a:gd name="connsiteY8" fmla="*/ 1104876 h 3785780"/>
              <a:gd name="connsiteX9" fmla="*/ 8446169 w 12119714"/>
              <a:gd name="connsiteY9" fmla="*/ 142350 h 3785780"/>
              <a:gd name="connsiteX10" fmla="*/ 11105148 w 12119714"/>
              <a:gd name="connsiteY10" fmla="*/ 214539 h 3785780"/>
              <a:gd name="connsiteX11" fmla="*/ 11694695 w 12119714"/>
              <a:gd name="connsiteY11" fmla="*/ 2103497 h 3785780"/>
              <a:gd name="connsiteX12" fmla="*/ 9745579 w 12119714"/>
              <a:gd name="connsiteY12" fmla="*/ 1826771 h 3785780"/>
              <a:gd name="connsiteX13" fmla="*/ 6605337 w 12119714"/>
              <a:gd name="connsiteY13" fmla="*/ 1778644 h 3785780"/>
              <a:gd name="connsiteX14" fmla="*/ 4632158 w 12119714"/>
              <a:gd name="connsiteY14" fmla="*/ 2067402 h 3785780"/>
              <a:gd name="connsiteX15" fmla="*/ 4307306 w 12119714"/>
              <a:gd name="connsiteY15" fmla="*/ 3571350 h 3785780"/>
              <a:gd name="connsiteX16" fmla="*/ 5305927 w 12119714"/>
              <a:gd name="connsiteY16" fmla="*/ 3643539 h 3785780"/>
              <a:gd name="connsiteX17" fmla="*/ 6424863 w 12119714"/>
              <a:gd name="connsiteY17" fmla="*/ 2320065 h 3785780"/>
              <a:gd name="connsiteX18" fmla="*/ 8698832 w 12119714"/>
              <a:gd name="connsiteY18" fmla="*/ 3330718 h 3785780"/>
              <a:gd name="connsiteX19" fmla="*/ 11670632 w 12119714"/>
              <a:gd name="connsiteY19" fmla="*/ 3174308 h 3785780"/>
              <a:gd name="connsiteX20" fmla="*/ 12055642 w 12119714"/>
              <a:gd name="connsiteY20" fmla="*/ 3174308 h 3785780"/>
              <a:gd name="connsiteX0" fmla="*/ 0 w 12119714"/>
              <a:gd name="connsiteY0" fmla="*/ 950730 h 3715855"/>
              <a:gd name="connsiteX1" fmla="*/ 1383632 w 12119714"/>
              <a:gd name="connsiteY1" fmla="*/ 48362 h 3715855"/>
              <a:gd name="connsiteX2" fmla="*/ 2442411 w 12119714"/>
              <a:gd name="connsiteY2" fmla="*/ 1444025 h 3715855"/>
              <a:gd name="connsiteX3" fmla="*/ 1130969 w 12119714"/>
              <a:gd name="connsiteY3" fmla="*/ 2466709 h 3715855"/>
              <a:gd name="connsiteX4" fmla="*/ 1143000 w 12119714"/>
              <a:gd name="connsiteY4" fmla="*/ 3453298 h 3715855"/>
              <a:gd name="connsiteX5" fmla="*/ 3164306 w 12119714"/>
              <a:gd name="connsiteY5" fmla="*/ 3260793 h 3715855"/>
              <a:gd name="connsiteX6" fmla="*/ 4030579 w 12119714"/>
              <a:gd name="connsiteY6" fmla="*/ 1143235 h 3715855"/>
              <a:gd name="connsiteX7" fmla="*/ 4896853 w 12119714"/>
              <a:gd name="connsiteY7" fmla="*/ 235 h 3715855"/>
              <a:gd name="connsiteX8" fmla="*/ 7279106 w 12119714"/>
              <a:gd name="connsiteY8" fmla="*/ 1034951 h 3715855"/>
              <a:gd name="connsiteX9" fmla="*/ 11105148 w 12119714"/>
              <a:gd name="connsiteY9" fmla="*/ 144614 h 3715855"/>
              <a:gd name="connsiteX10" fmla="*/ 11694695 w 12119714"/>
              <a:gd name="connsiteY10" fmla="*/ 2033572 h 3715855"/>
              <a:gd name="connsiteX11" fmla="*/ 9745579 w 12119714"/>
              <a:gd name="connsiteY11" fmla="*/ 1756846 h 3715855"/>
              <a:gd name="connsiteX12" fmla="*/ 6605337 w 12119714"/>
              <a:gd name="connsiteY12" fmla="*/ 1708719 h 3715855"/>
              <a:gd name="connsiteX13" fmla="*/ 4632158 w 12119714"/>
              <a:gd name="connsiteY13" fmla="*/ 1997477 h 3715855"/>
              <a:gd name="connsiteX14" fmla="*/ 4307306 w 12119714"/>
              <a:gd name="connsiteY14" fmla="*/ 3501425 h 3715855"/>
              <a:gd name="connsiteX15" fmla="*/ 5305927 w 12119714"/>
              <a:gd name="connsiteY15" fmla="*/ 3573614 h 3715855"/>
              <a:gd name="connsiteX16" fmla="*/ 6424863 w 12119714"/>
              <a:gd name="connsiteY16" fmla="*/ 2250140 h 3715855"/>
              <a:gd name="connsiteX17" fmla="*/ 8698832 w 12119714"/>
              <a:gd name="connsiteY17" fmla="*/ 3260793 h 3715855"/>
              <a:gd name="connsiteX18" fmla="*/ 11670632 w 12119714"/>
              <a:gd name="connsiteY18" fmla="*/ 3104383 h 3715855"/>
              <a:gd name="connsiteX19" fmla="*/ 12055642 w 12119714"/>
              <a:gd name="connsiteY19" fmla="*/ 3104383 h 3715855"/>
              <a:gd name="connsiteX0" fmla="*/ 0 w 12119714"/>
              <a:gd name="connsiteY0" fmla="*/ 950730 h 3715855"/>
              <a:gd name="connsiteX1" fmla="*/ 1383632 w 12119714"/>
              <a:gd name="connsiteY1" fmla="*/ 48362 h 3715855"/>
              <a:gd name="connsiteX2" fmla="*/ 2442411 w 12119714"/>
              <a:gd name="connsiteY2" fmla="*/ 1444025 h 3715855"/>
              <a:gd name="connsiteX3" fmla="*/ 1130969 w 12119714"/>
              <a:gd name="connsiteY3" fmla="*/ 2466709 h 3715855"/>
              <a:gd name="connsiteX4" fmla="*/ 1143000 w 12119714"/>
              <a:gd name="connsiteY4" fmla="*/ 3453298 h 3715855"/>
              <a:gd name="connsiteX5" fmla="*/ 3164306 w 12119714"/>
              <a:gd name="connsiteY5" fmla="*/ 3260793 h 3715855"/>
              <a:gd name="connsiteX6" fmla="*/ 4030579 w 12119714"/>
              <a:gd name="connsiteY6" fmla="*/ 1143235 h 3715855"/>
              <a:gd name="connsiteX7" fmla="*/ 4896853 w 12119714"/>
              <a:gd name="connsiteY7" fmla="*/ 235 h 3715855"/>
              <a:gd name="connsiteX8" fmla="*/ 7279106 w 12119714"/>
              <a:gd name="connsiteY8" fmla="*/ 1034951 h 3715855"/>
              <a:gd name="connsiteX9" fmla="*/ 11105148 w 12119714"/>
              <a:gd name="connsiteY9" fmla="*/ 144614 h 3715855"/>
              <a:gd name="connsiteX10" fmla="*/ 11694695 w 12119714"/>
              <a:gd name="connsiteY10" fmla="*/ 2033572 h 3715855"/>
              <a:gd name="connsiteX11" fmla="*/ 9745579 w 12119714"/>
              <a:gd name="connsiteY11" fmla="*/ 1756846 h 3715855"/>
              <a:gd name="connsiteX12" fmla="*/ 6605337 w 12119714"/>
              <a:gd name="connsiteY12" fmla="*/ 1708719 h 3715855"/>
              <a:gd name="connsiteX13" fmla="*/ 4632158 w 12119714"/>
              <a:gd name="connsiteY13" fmla="*/ 1997477 h 3715855"/>
              <a:gd name="connsiteX14" fmla="*/ 4307306 w 12119714"/>
              <a:gd name="connsiteY14" fmla="*/ 3501425 h 3715855"/>
              <a:gd name="connsiteX15" fmla="*/ 5305927 w 12119714"/>
              <a:gd name="connsiteY15" fmla="*/ 3573614 h 3715855"/>
              <a:gd name="connsiteX16" fmla="*/ 6424863 w 12119714"/>
              <a:gd name="connsiteY16" fmla="*/ 2250140 h 3715855"/>
              <a:gd name="connsiteX17" fmla="*/ 8698832 w 12119714"/>
              <a:gd name="connsiteY17" fmla="*/ 3260793 h 3715855"/>
              <a:gd name="connsiteX18" fmla="*/ 11670632 w 12119714"/>
              <a:gd name="connsiteY18" fmla="*/ 3104383 h 3715855"/>
              <a:gd name="connsiteX19" fmla="*/ 12055642 w 12119714"/>
              <a:gd name="connsiteY19" fmla="*/ 3104383 h 3715855"/>
              <a:gd name="connsiteX0" fmla="*/ 0 w 12119714"/>
              <a:gd name="connsiteY0" fmla="*/ 1108674 h 3873799"/>
              <a:gd name="connsiteX1" fmla="*/ 1383632 w 12119714"/>
              <a:gd name="connsiteY1" fmla="*/ 206306 h 3873799"/>
              <a:gd name="connsiteX2" fmla="*/ 2442411 w 12119714"/>
              <a:gd name="connsiteY2" fmla="*/ 1601969 h 3873799"/>
              <a:gd name="connsiteX3" fmla="*/ 1130969 w 12119714"/>
              <a:gd name="connsiteY3" fmla="*/ 2624653 h 3873799"/>
              <a:gd name="connsiteX4" fmla="*/ 1143000 w 12119714"/>
              <a:gd name="connsiteY4" fmla="*/ 3611242 h 3873799"/>
              <a:gd name="connsiteX5" fmla="*/ 3164306 w 12119714"/>
              <a:gd name="connsiteY5" fmla="*/ 3418737 h 3873799"/>
              <a:gd name="connsiteX6" fmla="*/ 4030579 w 12119714"/>
              <a:gd name="connsiteY6" fmla="*/ 1301179 h 3873799"/>
              <a:gd name="connsiteX7" fmla="*/ 4896853 w 12119714"/>
              <a:gd name="connsiteY7" fmla="*/ 158179 h 3873799"/>
              <a:gd name="connsiteX8" fmla="*/ 7279106 w 12119714"/>
              <a:gd name="connsiteY8" fmla="*/ 1192895 h 3873799"/>
              <a:gd name="connsiteX9" fmla="*/ 10323095 w 12119714"/>
              <a:gd name="connsiteY9" fmla="*/ 49894 h 3873799"/>
              <a:gd name="connsiteX10" fmla="*/ 11694695 w 12119714"/>
              <a:gd name="connsiteY10" fmla="*/ 2191516 h 3873799"/>
              <a:gd name="connsiteX11" fmla="*/ 9745579 w 12119714"/>
              <a:gd name="connsiteY11" fmla="*/ 1914790 h 3873799"/>
              <a:gd name="connsiteX12" fmla="*/ 6605337 w 12119714"/>
              <a:gd name="connsiteY12" fmla="*/ 1866663 h 3873799"/>
              <a:gd name="connsiteX13" fmla="*/ 4632158 w 12119714"/>
              <a:gd name="connsiteY13" fmla="*/ 2155421 h 3873799"/>
              <a:gd name="connsiteX14" fmla="*/ 4307306 w 12119714"/>
              <a:gd name="connsiteY14" fmla="*/ 3659369 h 3873799"/>
              <a:gd name="connsiteX15" fmla="*/ 5305927 w 12119714"/>
              <a:gd name="connsiteY15" fmla="*/ 3731558 h 3873799"/>
              <a:gd name="connsiteX16" fmla="*/ 6424863 w 12119714"/>
              <a:gd name="connsiteY16" fmla="*/ 2408084 h 3873799"/>
              <a:gd name="connsiteX17" fmla="*/ 8698832 w 12119714"/>
              <a:gd name="connsiteY17" fmla="*/ 3418737 h 3873799"/>
              <a:gd name="connsiteX18" fmla="*/ 11670632 w 12119714"/>
              <a:gd name="connsiteY18" fmla="*/ 3262327 h 3873799"/>
              <a:gd name="connsiteX19" fmla="*/ 12055642 w 12119714"/>
              <a:gd name="connsiteY19" fmla="*/ 3262327 h 3873799"/>
              <a:gd name="connsiteX0" fmla="*/ 0 w 12119714"/>
              <a:gd name="connsiteY0" fmla="*/ 1124285 h 3889410"/>
              <a:gd name="connsiteX1" fmla="*/ 1383632 w 12119714"/>
              <a:gd name="connsiteY1" fmla="*/ 221917 h 3889410"/>
              <a:gd name="connsiteX2" fmla="*/ 2442411 w 12119714"/>
              <a:gd name="connsiteY2" fmla="*/ 1617580 h 3889410"/>
              <a:gd name="connsiteX3" fmla="*/ 1130969 w 12119714"/>
              <a:gd name="connsiteY3" fmla="*/ 2640264 h 3889410"/>
              <a:gd name="connsiteX4" fmla="*/ 1143000 w 12119714"/>
              <a:gd name="connsiteY4" fmla="*/ 3626853 h 3889410"/>
              <a:gd name="connsiteX5" fmla="*/ 3164306 w 12119714"/>
              <a:gd name="connsiteY5" fmla="*/ 3434348 h 3889410"/>
              <a:gd name="connsiteX6" fmla="*/ 4030579 w 12119714"/>
              <a:gd name="connsiteY6" fmla="*/ 1316790 h 3889410"/>
              <a:gd name="connsiteX7" fmla="*/ 4896853 w 12119714"/>
              <a:gd name="connsiteY7" fmla="*/ 173790 h 3889410"/>
              <a:gd name="connsiteX8" fmla="*/ 7279106 w 12119714"/>
              <a:gd name="connsiteY8" fmla="*/ 1208506 h 3889410"/>
              <a:gd name="connsiteX9" fmla="*/ 10323095 w 12119714"/>
              <a:gd name="connsiteY9" fmla="*/ 65505 h 3889410"/>
              <a:gd name="connsiteX10" fmla="*/ 11694695 w 12119714"/>
              <a:gd name="connsiteY10" fmla="*/ 2207127 h 3889410"/>
              <a:gd name="connsiteX11" fmla="*/ 9745579 w 12119714"/>
              <a:gd name="connsiteY11" fmla="*/ 1930401 h 3889410"/>
              <a:gd name="connsiteX12" fmla="*/ 6605337 w 12119714"/>
              <a:gd name="connsiteY12" fmla="*/ 1882274 h 3889410"/>
              <a:gd name="connsiteX13" fmla="*/ 4632158 w 12119714"/>
              <a:gd name="connsiteY13" fmla="*/ 2171032 h 3889410"/>
              <a:gd name="connsiteX14" fmla="*/ 4307306 w 12119714"/>
              <a:gd name="connsiteY14" fmla="*/ 3674980 h 3889410"/>
              <a:gd name="connsiteX15" fmla="*/ 5305927 w 12119714"/>
              <a:gd name="connsiteY15" fmla="*/ 3747169 h 3889410"/>
              <a:gd name="connsiteX16" fmla="*/ 6424863 w 12119714"/>
              <a:gd name="connsiteY16" fmla="*/ 2423695 h 3889410"/>
              <a:gd name="connsiteX17" fmla="*/ 8698832 w 12119714"/>
              <a:gd name="connsiteY17" fmla="*/ 3434348 h 3889410"/>
              <a:gd name="connsiteX18" fmla="*/ 11670632 w 12119714"/>
              <a:gd name="connsiteY18" fmla="*/ 3277938 h 3889410"/>
              <a:gd name="connsiteX19" fmla="*/ 12055642 w 12119714"/>
              <a:gd name="connsiteY19" fmla="*/ 3277938 h 3889410"/>
              <a:gd name="connsiteX0" fmla="*/ 0 w 12119714"/>
              <a:gd name="connsiteY0" fmla="*/ 1124285 h 3889410"/>
              <a:gd name="connsiteX1" fmla="*/ 1383632 w 12119714"/>
              <a:gd name="connsiteY1" fmla="*/ 221917 h 3889410"/>
              <a:gd name="connsiteX2" fmla="*/ 2442411 w 12119714"/>
              <a:gd name="connsiteY2" fmla="*/ 1617580 h 3889410"/>
              <a:gd name="connsiteX3" fmla="*/ 1130969 w 12119714"/>
              <a:gd name="connsiteY3" fmla="*/ 2640264 h 3889410"/>
              <a:gd name="connsiteX4" fmla="*/ 1143000 w 12119714"/>
              <a:gd name="connsiteY4" fmla="*/ 3626853 h 3889410"/>
              <a:gd name="connsiteX5" fmla="*/ 3164306 w 12119714"/>
              <a:gd name="connsiteY5" fmla="*/ 3434348 h 3889410"/>
              <a:gd name="connsiteX6" fmla="*/ 4030579 w 12119714"/>
              <a:gd name="connsiteY6" fmla="*/ 1316790 h 3889410"/>
              <a:gd name="connsiteX7" fmla="*/ 4896853 w 12119714"/>
              <a:gd name="connsiteY7" fmla="*/ 173790 h 3889410"/>
              <a:gd name="connsiteX8" fmla="*/ 7279106 w 12119714"/>
              <a:gd name="connsiteY8" fmla="*/ 1208506 h 3889410"/>
              <a:gd name="connsiteX9" fmla="*/ 10323095 w 12119714"/>
              <a:gd name="connsiteY9" fmla="*/ 65505 h 3889410"/>
              <a:gd name="connsiteX10" fmla="*/ 11694695 w 12119714"/>
              <a:gd name="connsiteY10" fmla="*/ 2207127 h 3889410"/>
              <a:gd name="connsiteX11" fmla="*/ 9468853 w 12119714"/>
              <a:gd name="connsiteY11" fmla="*/ 1425075 h 3889410"/>
              <a:gd name="connsiteX12" fmla="*/ 6605337 w 12119714"/>
              <a:gd name="connsiteY12" fmla="*/ 1882274 h 3889410"/>
              <a:gd name="connsiteX13" fmla="*/ 4632158 w 12119714"/>
              <a:gd name="connsiteY13" fmla="*/ 2171032 h 3889410"/>
              <a:gd name="connsiteX14" fmla="*/ 4307306 w 12119714"/>
              <a:gd name="connsiteY14" fmla="*/ 3674980 h 3889410"/>
              <a:gd name="connsiteX15" fmla="*/ 5305927 w 12119714"/>
              <a:gd name="connsiteY15" fmla="*/ 3747169 h 3889410"/>
              <a:gd name="connsiteX16" fmla="*/ 6424863 w 12119714"/>
              <a:gd name="connsiteY16" fmla="*/ 2423695 h 3889410"/>
              <a:gd name="connsiteX17" fmla="*/ 8698832 w 12119714"/>
              <a:gd name="connsiteY17" fmla="*/ 3434348 h 3889410"/>
              <a:gd name="connsiteX18" fmla="*/ 11670632 w 12119714"/>
              <a:gd name="connsiteY18" fmla="*/ 3277938 h 3889410"/>
              <a:gd name="connsiteX19" fmla="*/ 12055642 w 12119714"/>
              <a:gd name="connsiteY19" fmla="*/ 3277938 h 3889410"/>
              <a:gd name="connsiteX0" fmla="*/ 0 w 12119714"/>
              <a:gd name="connsiteY0" fmla="*/ 1124285 h 3889410"/>
              <a:gd name="connsiteX1" fmla="*/ 1383632 w 12119714"/>
              <a:gd name="connsiteY1" fmla="*/ 221917 h 3889410"/>
              <a:gd name="connsiteX2" fmla="*/ 2442411 w 12119714"/>
              <a:gd name="connsiteY2" fmla="*/ 1617580 h 3889410"/>
              <a:gd name="connsiteX3" fmla="*/ 1130969 w 12119714"/>
              <a:gd name="connsiteY3" fmla="*/ 2640264 h 3889410"/>
              <a:gd name="connsiteX4" fmla="*/ 1143000 w 12119714"/>
              <a:gd name="connsiteY4" fmla="*/ 3626853 h 3889410"/>
              <a:gd name="connsiteX5" fmla="*/ 3164306 w 12119714"/>
              <a:gd name="connsiteY5" fmla="*/ 3434348 h 3889410"/>
              <a:gd name="connsiteX6" fmla="*/ 4030579 w 12119714"/>
              <a:gd name="connsiteY6" fmla="*/ 1316790 h 3889410"/>
              <a:gd name="connsiteX7" fmla="*/ 4896853 w 12119714"/>
              <a:gd name="connsiteY7" fmla="*/ 173790 h 3889410"/>
              <a:gd name="connsiteX8" fmla="*/ 7279106 w 12119714"/>
              <a:gd name="connsiteY8" fmla="*/ 1208506 h 3889410"/>
              <a:gd name="connsiteX9" fmla="*/ 10323095 w 12119714"/>
              <a:gd name="connsiteY9" fmla="*/ 65505 h 3889410"/>
              <a:gd name="connsiteX10" fmla="*/ 11694695 w 12119714"/>
              <a:gd name="connsiteY10" fmla="*/ 2207127 h 3889410"/>
              <a:gd name="connsiteX11" fmla="*/ 9468853 w 12119714"/>
              <a:gd name="connsiteY11" fmla="*/ 1425075 h 3889410"/>
              <a:gd name="connsiteX12" fmla="*/ 6605337 w 12119714"/>
              <a:gd name="connsiteY12" fmla="*/ 1882274 h 3889410"/>
              <a:gd name="connsiteX13" fmla="*/ 4632158 w 12119714"/>
              <a:gd name="connsiteY13" fmla="*/ 2171032 h 3889410"/>
              <a:gd name="connsiteX14" fmla="*/ 4307306 w 12119714"/>
              <a:gd name="connsiteY14" fmla="*/ 3674980 h 3889410"/>
              <a:gd name="connsiteX15" fmla="*/ 5305927 w 12119714"/>
              <a:gd name="connsiteY15" fmla="*/ 3747169 h 3889410"/>
              <a:gd name="connsiteX16" fmla="*/ 6424863 w 12119714"/>
              <a:gd name="connsiteY16" fmla="*/ 2423695 h 3889410"/>
              <a:gd name="connsiteX17" fmla="*/ 8698832 w 12119714"/>
              <a:gd name="connsiteY17" fmla="*/ 3434348 h 3889410"/>
              <a:gd name="connsiteX18" fmla="*/ 11670632 w 12119714"/>
              <a:gd name="connsiteY18" fmla="*/ 3277938 h 3889410"/>
              <a:gd name="connsiteX19" fmla="*/ 12055642 w 12119714"/>
              <a:gd name="connsiteY19" fmla="*/ 3277938 h 3889410"/>
              <a:gd name="connsiteX0" fmla="*/ 0 w 12119714"/>
              <a:gd name="connsiteY0" fmla="*/ 1124285 h 3889410"/>
              <a:gd name="connsiteX1" fmla="*/ 1383632 w 12119714"/>
              <a:gd name="connsiteY1" fmla="*/ 221917 h 3889410"/>
              <a:gd name="connsiteX2" fmla="*/ 2442411 w 12119714"/>
              <a:gd name="connsiteY2" fmla="*/ 1617580 h 3889410"/>
              <a:gd name="connsiteX3" fmla="*/ 1130969 w 12119714"/>
              <a:gd name="connsiteY3" fmla="*/ 2640264 h 3889410"/>
              <a:gd name="connsiteX4" fmla="*/ 1143000 w 12119714"/>
              <a:gd name="connsiteY4" fmla="*/ 3626853 h 3889410"/>
              <a:gd name="connsiteX5" fmla="*/ 3164306 w 12119714"/>
              <a:gd name="connsiteY5" fmla="*/ 3434348 h 3889410"/>
              <a:gd name="connsiteX6" fmla="*/ 4030579 w 12119714"/>
              <a:gd name="connsiteY6" fmla="*/ 1316790 h 3889410"/>
              <a:gd name="connsiteX7" fmla="*/ 4896853 w 12119714"/>
              <a:gd name="connsiteY7" fmla="*/ 173790 h 3889410"/>
              <a:gd name="connsiteX8" fmla="*/ 7279106 w 12119714"/>
              <a:gd name="connsiteY8" fmla="*/ 1208506 h 3889410"/>
              <a:gd name="connsiteX9" fmla="*/ 10323095 w 12119714"/>
              <a:gd name="connsiteY9" fmla="*/ 65505 h 3889410"/>
              <a:gd name="connsiteX10" fmla="*/ 11694695 w 12119714"/>
              <a:gd name="connsiteY10" fmla="*/ 2207127 h 3889410"/>
              <a:gd name="connsiteX11" fmla="*/ 9468853 w 12119714"/>
              <a:gd name="connsiteY11" fmla="*/ 1425075 h 3889410"/>
              <a:gd name="connsiteX12" fmla="*/ 6605337 w 12119714"/>
              <a:gd name="connsiteY12" fmla="*/ 1882274 h 3889410"/>
              <a:gd name="connsiteX13" fmla="*/ 4632158 w 12119714"/>
              <a:gd name="connsiteY13" fmla="*/ 2171032 h 3889410"/>
              <a:gd name="connsiteX14" fmla="*/ 4307306 w 12119714"/>
              <a:gd name="connsiteY14" fmla="*/ 3674980 h 3889410"/>
              <a:gd name="connsiteX15" fmla="*/ 5305927 w 12119714"/>
              <a:gd name="connsiteY15" fmla="*/ 3747169 h 3889410"/>
              <a:gd name="connsiteX16" fmla="*/ 6424863 w 12119714"/>
              <a:gd name="connsiteY16" fmla="*/ 2423695 h 3889410"/>
              <a:gd name="connsiteX17" fmla="*/ 8698832 w 12119714"/>
              <a:gd name="connsiteY17" fmla="*/ 3434348 h 3889410"/>
              <a:gd name="connsiteX18" fmla="*/ 11670632 w 12119714"/>
              <a:gd name="connsiteY18" fmla="*/ 3277938 h 3889410"/>
              <a:gd name="connsiteX19" fmla="*/ 12055642 w 12119714"/>
              <a:gd name="connsiteY19" fmla="*/ 3277938 h 3889410"/>
              <a:gd name="connsiteX0" fmla="*/ 0 w 12119714"/>
              <a:gd name="connsiteY0" fmla="*/ 1124285 h 3889410"/>
              <a:gd name="connsiteX1" fmla="*/ 1383632 w 12119714"/>
              <a:gd name="connsiteY1" fmla="*/ 221917 h 3889410"/>
              <a:gd name="connsiteX2" fmla="*/ 2442411 w 12119714"/>
              <a:gd name="connsiteY2" fmla="*/ 1617580 h 3889410"/>
              <a:gd name="connsiteX3" fmla="*/ 1130969 w 12119714"/>
              <a:gd name="connsiteY3" fmla="*/ 2640264 h 3889410"/>
              <a:gd name="connsiteX4" fmla="*/ 1143000 w 12119714"/>
              <a:gd name="connsiteY4" fmla="*/ 3626853 h 3889410"/>
              <a:gd name="connsiteX5" fmla="*/ 3164306 w 12119714"/>
              <a:gd name="connsiteY5" fmla="*/ 3434348 h 3889410"/>
              <a:gd name="connsiteX6" fmla="*/ 4030579 w 12119714"/>
              <a:gd name="connsiteY6" fmla="*/ 1316790 h 3889410"/>
              <a:gd name="connsiteX7" fmla="*/ 4896853 w 12119714"/>
              <a:gd name="connsiteY7" fmla="*/ 173790 h 3889410"/>
              <a:gd name="connsiteX8" fmla="*/ 7279106 w 12119714"/>
              <a:gd name="connsiteY8" fmla="*/ 1208506 h 3889410"/>
              <a:gd name="connsiteX9" fmla="*/ 10323095 w 12119714"/>
              <a:gd name="connsiteY9" fmla="*/ 65505 h 3889410"/>
              <a:gd name="connsiteX10" fmla="*/ 11694695 w 12119714"/>
              <a:gd name="connsiteY10" fmla="*/ 2207127 h 3889410"/>
              <a:gd name="connsiteX11" fmla="*/ 9023684 w 12119714"/>
              <a:gd name="connsiteY11" fmla="*/ 1413043 h 3889410"/>
              <a:gd name="connsiteX12" fmla="*/ 6605337 w 12119714"/>
              <a:gd name="connsiteY12" fmla="*/ 1882274 h 3889410"/>
              <a:gd name="connsiteX13" fmla="*/ 4632158 w 12119714"/>
              <a:gd name="connsiteY13" fmla="*/ 2171032 h 3889410"/>
              <a:gd name="connsiteX14" fmla="*/ 4307306 w 12119714"/>
              <a:gd name="connsiteY14" fmla="*/ 3674980 h 3889410"/>
              <a:gd name="connsiteX15" fmla="*/ 5305927 w 12119714"/>
              <a:gd name="connsiteY15" fmla="*/ 3747169 h 3889410"/>
              <a:gd name="connsiteX16" fmla="*/ 6424863 w 12119714"/>
              <a:gd name="connsiteY16" fmla="*/ 2423695 h 3889410"/>
              <a:gd name="connsiteX17" fmla="*/ 8698832 w 12119714"/>
              <a:gd name="connsiteY17" fmla="*/ 3434348 h 3889410"/>
              <a:gd name="connsiteX18" fmla="*/ 11670632 w 12119714"/>
              <a:gd name="connsiteY18" fmla="*/ 3277938 h 3889410"/>
              <a:gd name="connsiteX19" fmla="*/ 12055642 w 12119714"/>
              <a:gd name="connsiteY19" fmla="*/ 3277938 h 3889410"/>
              <a:gd name="connsiteX0" fmla="*/ 0 w 12119714"/>
              <a:gd name="connsiteY0" fmla="*/ 1073586 h 3838711"/>
              <a:gd name="connsiteX1" fmla="*/ 1383632 w 12119714"/>
              <a:gd name="connsiteY1" fmla="*/ 171218 h 3838711"/>
              <a:gd name="connsiteX2" fmla="*/ 2442411 w 12119714"/>
              <a:gd name="connsiteY2" fmla="*/ 1566881 h 3838711"/>
              <a:gd name="connsiteX3" fmla="*/ 1130969 w 12119714"/>
              <a:gd name="connsiteY3" fmla="*/ 2589565 h 3838711"/>
              <a:gd name="connsiteX4" fmla="*/ 1143000 w 12119714"/>
              <a:gd name="connsiteY4" fmla="*/ 3576154 h 3838711"/>
              <a:gd name="connsiteX5" fmla="*/ 3164306 w 12119714"/>
              <a:gd name="connsiteY5" fmla="*/ 3383649 h 3838711"/>
              <a:gd name="connsiteX6" fmla="*/ 4030579 w 12119714"/>
              <a:gd name="connsiteY6" fmla="*/ 1266091 h 3838711"/>
              <a:gd name="connsiteX7" fmla="*/ 4896853 w 12119714"/>
              <a:gd name="connsiteY7" fmla="*/ 123091 h 3838711"/>
              <a:gd name="connsiteX8" fmla="*/ 7279106 w 12119714"/>
              <a:gd name="connsiteY8" fmla="*/ 1157807 h 3838711"/>
              <a:gd name="connsiteX9" fmla="*/ 10323095 w 12119714"/>
              <a:gd name="connsiteY9" fmla="*/ 14806 h 3838711"/>
              <a:gd name="connsiteX10" fmla="*/ 11694695 w 12119714"/>
              <a:gd name="connsiteY10" fmla="*/ 2156428 h 3838711"/>
              <a:gd name="connsiteX11" fmla="*/ 9023684 w 12119714"/>
              <a:gd name="connsiteY11" fmla="*/ 1362344 h 3838711"/>
              <a:gd name="connsiteX12" fmla="*/ 6605337 w 12119714"/>
              <a:gd name="connsiteY12" fmla="*/ 1831575 h 3838711"/>
              <a:gd name="connsiteX13" fmla="*/ 4632158 w 12119714"/>
              <a:gd name="connsiteY13" fmla="*/ 2120333 h 3838711"/>
              <a:gd name="connsiteX14" fmla="*/ 4307306 w 12119714"/>
              <a:gd name="connsiteY14" fmla="*/ 3624281 h 3838711"/>
              <a:gd name="connsiteX15" fmla="*/ 5305927 w 12119714"/>
              <a:gd name="connsiteY15" fmla="*/ 3696470 h 3838711"/>
              <a:gd name="connsiteX16" fmla="*/ 6424863 w 12119714"/>
              <a:gd name="connsiteY16" fmla="*/ 2372996 h 3838711"/>
              <a:gd name="connsiteX17" fmla="*/ 8698832 w 12119714"/>
              <a:gd name="connsiteY17" fmla="*/ 3383649 h 3838711"/>
              <a:gd name="connsiteX18" fmla="*/ 11670632 w 12119714"/>
              <a:gd name="connsiteY18" fmla="*/ 3227239 h 3838711"/>
              <a:gd name="connsiteX19" fmla="*/ 12055642 w 12119714"/>
              <a:gd name="connsiteY19" fmla="*/ 3227239 h 3838711"/>
              <a:gd name="connsiteX0" fmla="*/ 0 w 12119714"/>
              <a:gd name="connsiteY0" fmla="*/ 1073586 h 3838711"/>
              <a:gd name="connsiteX1" fmla="*/ 1383632 w 12119714"/>
              <a:gd name="connsiteY1" fmla="*/ 171218 h 3838711"/>
              <a:gd name="connsiteX2" fmla="*/ 2442411 w 12119714"/>
              <a:gd name="connsiteY2" fmla="*/ 1566881 h 3838711"/>
              <a:gd name="connsiteX3" fmla="*/ 1130969 w 12119714"/>
              <a:gd name="connsiteY3" fmla="*/ 2589565 h 3838711"/>
              <a:gd name="connsiteX4" fmla="*/ 1143000 w 12119714"/>
              <a:gd name="connsiteY4" fmla="*/ 3576154 h 3838711"/>
              <a:gd name="connsiteX5" fmla="*/ 3164306 w 12119714"/>
              <a:gd name="connsiteY5" fmla="*/ 3383649 h 3838711"/>
              <a:gd name="connsiteX6" fmla="*/ 4030579 w 12119714"/>
              <a:gd name="connsiteY6" fmla="*/ 1266091 h 3838711"/>
              <a:gd name="connsiteX7" fmla="*/ 4896853 w 12119714"/>
              <a:gd name="connsiteY7" fmla="*/ 123091 h 3838711"/>
              <a:gd name="connsiteX8" fmla="*/ 7279106 w 12119714"/>
              <a:gd name="connsiteY8" fmla="*/ 1157807 h 3838711"/>
              <a:gd name="connsiteX9" fmla="*/ 10323095 w 12119714"/>
              <a:gd name="connsiteY9" fmla="*/ 14806 h 3838711"/>
              <a:gd name="connsiteX10" fmla="*/ 11694695 w 12119714"/>
              <a:gd name="connsiteY10" fmla="*/ 2156428 h 3838711"/>
              <a:gd name="connsiteX11" fmla="*/ 9023684 w 12119714"/>
              <a:gd name="connsiteY11" fmla="*/ 1362344 h 3838711"/>
              <a:gd name="connsiteX12" fmla="*/ 6605337 w 12119714"/>
              <a:gd name="connsiteY12" fmla="*/ 1831575 h 3838711"/>
              <a:gd name="connsiteX13" fmla="*/ 4632158 w 12119714"/>
              <a:gd name="connsiteY13" fmla="*/ 2120333 h 3838711"/>
              <a:gd name="connsiteX14" fmla="*/ 4307306 w 12119714"/>
              <a:gd name="connsiteY14" fmla="*/ 3624281 h 3838711"/>
              <a:gd name="connsiteX15" fmla="*/ 5305927 w 12119714"/>
              <a:gd name="connsiteY15" fmla="*/ 3696470 h 3838711"/>
              <a:gd name="connsiteX16" fmla="*/ 6424863 w 12119714"/>
              <a:gd name="connsiteY16" fmla="*/ 2372996 h 3838711"/>
              <a:gd name="connsiteX17" fmla="*/ 8698832 w 12119714"/>
              <a:gd name="connsiteY17" fmla="*/ 3383649 h 3838711"/>
              <a:gd name="connsiteX18" fmla="*/ 11670632 w 12119714"/>
              <a:gd name="connsiteY18" fmla="*/ 3227239 h 3838711"/>
              <a:gd name="connsiteX19" fmla="*/ 12055642 w 12119714"/>
              <a:gd name="connsiteY19" fmla="*/ 3227239 h 3838711"/>
              <a:gd name="connsiteX0" fmla="*/ 0 w 12119714"/>
              <a:gd name="connsiteY0" fmla="*/ 1086920 h 3852045"/>
              <a:gd name="connsiteX1" fmla="*/ 1383632 w 12119714"/>
              <a:gd name="connsiteY1" fmla="*/ 184552 h 3852045"/>
              <a:gd name="connsiteX2" fmla="*/ 2442411 w 12119714"/>
              <a:gd name="connsiteY2" fmla="*/ 1580215 h 3852045"/>
              <a:gd name="connsiteX3" fmla="*/ 1130969 w 12119714"/>
              <a:gd name="connsiteY3" fmla="*/ 2602899 h 3852045"/>
              <a:gd name="connsiteX4" fmla="*/ 1143000 w 12119714"/>
              <a:gd name="connsiteY4" fmla="*/ 3589488 h 3852045"/>
              <a:gd name="connsiteX5" fmla="*/ 3164306 w 12119714"/>
              <a:gd name="connsiteY5" fmla="*/ 3396983 h 3852045"/>
              <a:gd name="connsiteX6" fmla="*/ 4030579 w 12119714"/>
              <a:gd name="connsiteY6" fmla="*/ 1279425 h 3852045"/>
              <a:gd name="connsiteX7" fmla="*/ 4896853 w 12119714"/>
              <a:gd name="connsiteY7" fmla="*/ 136425 h 3852045"/>
              <a:gd name="connsiteX8" fmla="*/ 7279106 w 12119714"/>
              <a:gd name="connsiteY8" fmla="*/ 894415 h 3852045"/>
              <a:gd name="connsiteX9" fmla="*/ 10323095 w 12119714"/>
              <a:gd name="connsiteY9" fmla="*/ 28140 h 3852045"/>
              <a:gd name="connsiteX10" fmla="*/ 11694695 w 12119714"/>
              <a:gd name="connsiteY10" fmla="*/ 2169762 h 3852045"/>
              <a:gd name="connsiteX11" fmla="*/ 9023684 w 12119714"/>
              <a:gd name="connsiteY11" fmla="*/ 1375678 h 3852045"/>
              <a:gd name="connsiteX12" fmla="*/ 6605337 w 12119714"/>
              <a:gd name="connsiteY12" fmla="*/ 1844909 h 3852045"/>
              <a:gd name="connsiteX13" fmla="*/ 4632158 w 12119714"/>
              <a:gd name="connsiteY13" fmla="*/ 2133667 h 3852045"/>
              <a:gd name="connsiteX14" fmla="*/ 4307306 w 12119714"/>
              <a:gd name="connsiteY14" fmla="*/ 3637615 h 3852045"/>
              <a:gd name="connsiteX15" fmla="*/ 5305927 w 12119714"/>
              <a:gd name="connsiteY15" fmla="*/ 3709804 h 3852045"/>
              <a:gd name="connsiteX16" fmla="*/ 6424863 w 12119714"/>
              <a:gd name="connsiteY16" fmla="*/ 2386330 h 3852045"/>
              <a:gd name="connsiteX17" fmla="*/ 8698832 w 12119714"/>
              <a:gd name="connsiteY17" fmla="*/ 3396983 h 3852045"/>
              <a:gd name="connsiteX18" fmla="*/ 11670632 w 12119714"/>
              <a:gd name="connsiteY18" fmla="*/ 3240573 h 3852045"/>
              <a:gd name="connsiteX19" fmla="*/ 12055642 w 12119714"/>
              <a:gd name="connsiteY19" fmla="*/ 3240573 h 3852045"/>
              <a:gd name="connsiteX0" fmla="*/ 0 w 12119714"/>
              <a:gd name="connsiteY0" fmla="*/ 1086920 h 3852045"/>
              <a:gd name="connsiteX1" fmla="*/ 1383632 w 12119714"/>
              <a:gd name="connsiteY1" fmla="*/ 184552 h 3852045"/>
              <a:gd name="connsiteX2" fmla="*/ 2442411 w 12119714"/>
              <a:gd name="connsiteY2" fmla="*/ 1580215 h 3852045"/>
              <a:gd name="connsiteX3" fmla="*/ 1130969 w 12119714"/>
              <a:gd name="connsiteY3" fmla="*/ 2602899 h 3852045"/>
              <a:gd name="connsiteX4" fmla="*/ 1143000 w 12119714"/>
              <a:gd name="connsiteY4" fmla="*/ 3589488 h 3852045"/>
              <a:gd name="connsiteX5" fmla="*/ 3164306 w 12119714"/>
              <a:gd name="connsiteY5" fmla="*/ 3396983 h 3852045"/>
              <a:gd name="connsiteX6" fmla="*/ 4896853 w 12119714"/>
              <a:gd name="connsiteY6" fmla="*/ 136425 h 3852045"/>
              <a:gd name="connsiteX7" fmla="*/ 7279106 w 12119714"/>
              <a:gd name="connsiteY7" fmla="*/ 894415 h 3852045"/>
              <a:gd name="connsiteX8" fmla="*/ 10323095 w 12119714"/>
              <a:gd name="connsiteY8" fmla="*/ 28140 h 3852045"/>
              <a:gd name="connsiteX9" fmla="*/ 11694695 w 12119714"/>
              <a:gd name="connsiteY9" fmla="*/ 2169762 h 3852045"/>
              <a:gd name="connsiteX10" fmla="*/ 9023684 w 12119714"/>
              <a:gd name="connsiteY10" fmla="*/ 1375678 h 3852045"/>
              <a:gd name="connsiteX11" fmla="*/ 6605337 w 12119714"/>
              <a:gd name="connsiteY11" fmla="*/ 1844909 h 3852045"/>
              <a:gd name="connsiteX12" fmla="*/ 4632158 w 12119714"/>
              <a:gd name="connsiteY12" fmla="*/ 2133667 h 3852045"/>
              <a:gd name="connsiteX13" fmla="*/ 4307306 w 12119714"/>
              <a:gd name="connsiteY13" fmla="*/ 3637615 h 3852045"/>
              <a:gd name="connsiteX14" fmla="*/ 5305927 w 12119714"/>
              <a:gd name="connsiteY14" fmla="*/ 3709804 h 3852045"/>
              <a:gd name="connsiteX15" fmla="*/ 6424863 w 12119714"/>
              <a:gd name="connsiteY15" fmla="*/ 2386330 h 3852045"/>
              <a:gd name="connsiteX16" fmla="*/ 8698832 w 12119714"/>
              <a:gd name="connsiteY16" fmla="*/ 3396983 h 3852045"/>
              <a:gd name="connsiteX17" fmla="*/ 11670632 w 12119714"/>
              <a:gd name="connsiteY17" fmla="*/ 3240573 h 3852045"/>
              <a:gd name="connsiteX18" fmla="*/ 12055642 w 12119714"/>
              <a:gd name="connsiteY18" fmla="*/ 3240573 h 3852045"/>
              <a:gd name="connsiteX0" fmla="*/ 0 w 12119714"/>
              <a:gd name="connsiteY0" fmla="*/ 1086920 h 3852045"/>
              <a:gd name="connsiteX1" fmla="*/ 1383632 w 12119714"/>
              <a:gd name="connsiteY1" fmla="*/ 184552 h 3852045"/>
              <a:gd name="connsiteX2" fmla="*/ 2442411 w 12119714"/>
              <a:gd name="connsiteY2" fmla="*/ 1580215 h 3852045"/>
              <a:gd name="connsiteX3" fmla="*/ 1143000 w 12119714"/>
              <a:gd name="connsiteY3" fmla="*/ 358948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4157199"/>
              <a:gd name="connsiteX1" fmla="*/ 1383632 w 12119714"/>
              <a:gd name="connsiteY1" fmla="*/ 184552 h 4157199"/>
              <a:gd name="connsiteX2" fmla="*/ 2442411 w 12119714"/>
              <a:gd name="connsiteY2" fmla="*/ 1580215 h 4157199"/>
              <a:gd name="connsiteX3" fmla="*/ 1143000 w 12119714"/>
              <a:gd name="connsiteY3" fmla="*/ 3589488 h 4157199"/>
              <a:gd name="connsiteX4" fmla="*/ 3164306 w 12119714"/>
              <a:gd name="connsiteY4" fmla="*/ 3396983 h 4157199"/>
              <a:gd name="connsiteX5" fmla="*/ 4896853 w 12119714"/>
              <a:gd name="connsiteY5" fmla="*/ 136425 h 4157199"/>
              <a:gd name="connsiteX6" fmla="*/ 7279106 w 12119714"/>
              <a:gd name="connsiteY6" fmla="*/ 894415 h 4157199"/>
              <a:gd name="connsiteX7" fmla="*/ 10323095 w 12119714"/>
              <a:gd name="connsiteY7" fmla="*/ 28140 h 4157199"/>
              <a:gd name="connsiteX8" fmla="*/ 11694695 w 12119714"/>
              <a:gd name="connsiteY8" fmla="*/ 2169762 h 4157199"/>
              <a:gd name="connsiteX9" fmla="*/ 9023684 w 12119714"/>
              <a:gd name="connsiteY9" fmla="*/ 1375678 h 4157199"/>
              <a:gd name="connsiteX10" fmla="*/ 6605337 w 12119714"/>
              <a:gd name="connsiteY10" fmla="*/ 1844909 h 4157199"/>
              <a:gd name="connsiteX11" fmla="*/ 4632158 w 12119714"/>
              <a:gd name="connsiteY11" fmla="*/ 2133667 h 4157199"/>
              <a:gd name="connsiteX12" fmla="*/ 4307306 w 12119714"/>
              <a:gd name="connsiteY12" fmla="*/ 3637615 h 4157199"/>
              <a:gd name="connsiteX13" fmla="*/ 5305927 w 12119714"/>
              <a:gd name="connsiteY13" fmla="*/ 3709804 h 4157199"/>
              <a:gd name="connsiteX14" fmla="*/ 6424863 w 12119714"/>
              <a:gd name="connsiteY14" fmla="*/ 2386330 h 4157199"/>
              <a:gd name="connsiteX15" fmla="*/ 8698832 w 12119714"/>
              <a:gd name="connsiteY15" fmla="*/ 3396983 h 4157199"/>
              <a:gd name="connsiteX16" fmla="*/ 11670632 w 12119714"/>
              <a:gd name="connsiteY16" fmla="*/ 3240573 h 4157199"/>
              <a:gd name="connsiteX17" fmla="*/ 12055642 w 12119714"/>
              <a:gd name="connsiteY17" fmla="*/ 3240573 h 4157199"/>
              <a:gd name="connsiteX0" fmla="*/ 0 w 12119714"/>
              <a:gd name="connsiteY0" fmla="*/ 1086920 h 3852045"/>
              <a:gd name="connsiteX1" fmla="*/ 1383632 w 12119714"/>
              <a:gd name="connsiteY1" fmla="*/ 184552 h 3852045"/>
              <a:gd name="connsiteX2" fmla="*/ 2442411 w 12119714"/>
              <a:gd name="connsiteY2" fmla="*/ 15802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383632 w 12119714"/>
              <a:gd name="connsiteY1" fmla="*/ 184552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383632 w 12119714"/>
              <a:gd name="connsiteY1" fmla="*/ 184552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383632 w 12119714"/>
              <a:gd name="connsiteY1" fmla="*/ 184552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383632 w 12119714"/>
              <a:gd name="connsiteY1" fmla="*/ 184552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479885 w 12119714"/>
              <a:gd name="connsiteY1" fmla="*/ 148457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920 h 3852045"/>
              <a:gd name="connsiteX1" fmla="*/ 1479885 w 12119714"/>
              <a:gd name="connsiteY1" fmla="*/ 148457 h 3852045"/>
              <a:gd name="connsiteX2" fmla="*/ 2538664 w 12119714"/>
              <a:gd name="connsiteY2" fmla="*/ 1351615 h 3852045"/>
              <a:gd name="connsiteX3" fmla="*/ 589548 w 12119714"/>
              <a:gd name="connsiteY3" fmla="*/ 2975878 h 3852045"/>
              <a:gd name="connsiteX4" fmla="*/ 3164306 w 12119714"/>
              <a:gd name="connsiteY4" fmla="*/ 3396983 h 3852045"/>
              <a:gd name="connsiteX5" fmla="*/ 4896853 w 12119714"/>
              <a:gd name="connsiteY5" fmla="*/ 136425 h 3852045"/>
              <a:gd name="connsiteX6" fmla="*/ 7279106 w 12119714"/>
              <a:gd name="connsiteY6" fmla="*/ 894415 h 3852045"/>
              <a:gd name="connsiteX7" fmla="*/ 10323095 w 12119714"/>
              <a:gd name="connsiteY7" fmla="*/ 28140 h 3852045"/>
              <a:gd name="connsiteX8" fmla="*/ 11694695 w 12119714"/>
              <a:gd name="connsiteY8" fmla="*/ 2169762 h 3852045"/>
              <a:gd name="connsiteX9" fmla="*/ 9023684 w 12119714"/>
              <a:gd name="connsiteY9" fmla="*/ 1375678 h 3852045"/>
              <a:gd name="connsiteX10" fmla="*/ 6605337 w 12119714"/>
              <a:gd name="connsiteY10" fmla="*/ 1844909 h 3852045"/>
              <a:gd name="connsiteX11" fmla="*/ 4632158 w 12119714"/>
              <a:gd name="connsiteY11" fmla="*/ 2133667 h 3852045"/>
              <a:gd name="connsiteX12" fmla="*/ 4307306 w 12119714"/>
              <a:gd name="connsiteY12" fmla="*/ 3637615 h 3852045"/>
              <a:gd name="connsiteX13" fmla="*/ 5305927 w 12119714"/>
              <a:gd name="connsiteY13" fmla="*/ 3709804 h 3852045"/>
              <a:gd name="connsiteX14" fmla="*/ 6424863 w 12119714"/>
              <a:gd name="connsiteY14" fmla="*/ 2386330 h 3852045"/>
              <a:gd name="connsiteX15" fmla="*/ 8698832 w 12119714"/>
              <a:gd name="connsiteY15" fmla="*/ 3396983 h 3852045"/>
              <a:gd name="connsiteX16" fmla="*/ 11670632 w 12119714"/>
              <a:gd name="connsiteY16" fmla="*/ 3240573 h 3852045"/>
              <a:gd name="connsiteX17" fmla="*/ 12055642 w 12119714"/>
              <a:gd name="connsiteY17" fmla="*/ 3240573 h 3852045"/>
              <a:gd name="connsiteX0" fmla="*/ 0 w 12119714"/>
              <a:gd name="connsiteY0" fmla="*/ 1086875 h 3852000"/>
              <a:gd name="connsiteX1" fmla="*/ 1479885 w 12119714"/>
              <a:gd name="connsiteY1" fmla="*/ 148412 h 3852000"/>
              <a:gd name="connsiteX2" fmla="*/ 2538664 w 12119714"/>
              <a:gd name="connsiteY2" fmla="*/ 1351570 h 3852000"/>
              <a:gd name="connsiteX3" fmla="*/ 589548 w 12119714"/>
              <a:gd name="connsiteY3" fmla="*/ 2975833 h 3852000"/>
              <a:gd name="connsiteX4" fmla="*/ 3164306 w 12119714"/>
              <a:gd name="connsiteY4" fmla="*/ 3396938 h 3852000"/>
              <a:gd name="connsiteX5" fmla="*/ 4547937 w 12119714"/>
              <a:gd name="connsiteY5" fmla="*/ 124348 h 3852000"/>
              <a:gd name="connsiteX6" fmla="*/ 7279106 w 12119714"/>
              <a:gd name="connsiteY6" fmla="*/ 894370 h 3852000"/>
              <a:gd name="connsiteX7" fmla="*/ 10323095 w 12119714"/>
              <a:gd name="connsiteY7" fmla="*/ 28095 h 3852000"/>
              <a:gd name="connsiteX8" fmla="*/ 11694695 w 12119714"/>
              <a:gd name="connsiteY8" fmla="*/ 2169717 h 3852000"/>
              <a:gd name="connsiteX9" fmla="*/ 9023684 w 12119714"/>
              <a:gd name="connsiteY9" fmla="*/ 1375633 h 3852000"/>
              <a:gd name="connsiteX10" fmla="*/ 6605337 w 12119714"/>
              <a:gd name="connsiteY10" fmla="*/ 1844864 h 3852000"/>
              <a:gd name="connsiteX11" fmla="*/ 4632158 w 12119714"/>
              <a:gd name="connsiteY11" fmla="*/ 2133622 h 3852000"/>
              <a:gd name="connsiteX12" fmla="*/ 4307306 w 12119714"/>
              <a:gd name="connsiteY12" fmla="*/ 3637570 h 3852000"/>
              <a:gd name="connsiteX13" fmla="*/ 5305927 w 12119714"/>
              <a:gd name="connsiteY13" fmla="*/ 3709759 h 3852000"/>
              <a:gd name="connsiteX14" fmla="*/ 6424863 w 12119714"/>
              <a:gd name="connsiteY14" fmla="*/ 2386285 h 3852000"/>
              <a:gd name="connsiteX15" fmla="*/ 8698832 w 12119714"/>
              <a:gd name="connsiteY15" fmla="*/ 3396938 h 3852000"/>
              <a:gd name="connsiteX16" fmla="*/ 11670632 w 12119714"/>
              <a:gd name="connsiteY16" fmla="*/ 3240528 h 3852000"/>
              <a:gd name="connsiteX17" fmla="*/ 12055642 w 12119714"/>
              <a:gd name="connsiteY17" fmla="*/ 3240528 h 3852000"/>
              <a:gd name="connsiteX0" fmla="*/ 0 w 12119714"/>
              <a:gd name="connsiteY0" fmla="*/ 1086875 h 3852000"/>
              <a:gd name="connsiteX1" fmla="*/ 1479885 w 12119714"/>
              <a:gd name="connsiteY1" fmla="*/ 148412 h 3852000"/>
              <a:gd name="connsiteX2" fmla="*/ 2538664 w 12119714"/>
              <a:gd name="connsiteY2" fmla="*/ 1351570 h 3852000"/>
              <a:gd name="connsiteX3" fmla="*/ 589548 w 12119714"/>
              <a:gd name="connsiteY3" fmla="*/ 2975833 h 3852000"/>
              <a:gd name="connsiteX4" fmla="*/ 3164306 w 12119714"/>
              <a:gd name="connsiteY4" fmla="*/ 3396938 h 3852000"/>
              <a:gd name="connsiteX5" fmla="*/ 4547937 w 12119714"/>
              <a:gd name="connsiteY5" fmla="*/ 124348 h 3852000"/>
              <a:gd name="connsiteX6" fmla="*/ 7279106 w 12119714"/>
              <a:gd name="connsiteY6" fmla="*/ 894370 h 3852000"/>
              <a:gd name="connsiteX7" fmla="*/ 10323095 w 12119714"/>
              <a:gd name="connsiteY7" fmla="*/ 28095 h 3852000"/>
              <a:gd name="connsiteX8" fmla="*/ 11694695 w 12119714"/>
              <a:gd name="connsiteY8" fmla="*/ 2169717 h 3852000"/>
              <a:gd name="connsiteX9" fmla="*/ 9023684 w 12119714"/>
              <a:gd name="connsiteY9" fmla="*/ 1375633 h 3852000"/>
              <a:gd name="connsiteX10" fmla="*/ 6545179 w 12119714"/>
              <a:gd name="connsiteY10" fmla="*/ 1808769 h 3852000"/>
              <a:gd name="connsiteX11" fmla="*/ 4632158 w 12119714"/>
              <a:gd name="connsiteY11" fmla="*/ 2133622 h 3852000"/>
              <a:gd name="connsiteX12" fmla="*/ 4307306 w 12119714"/>
              <a:gd name="connsiteY12" fmla="*/ 3637570 h 3852000"/>
              <a:gd name="connsiteX13" fmla="*/ 5305927 w 12119714"/>
              <a:gd name="connsiteY13" fmla="*/ 3709759 h 3852000"/>
              <a:gd name="connsiteX14" fmla="*/ 6424863 w 12119714"/>
              <a:gd name="connsiteY14" fmla="*/ 2386285 h 3852000"/>
              <a:gd name="connsiteX15" fmla="*/ 8698832 w 12119714"/>
              <a:gd name="connsiteY15" fmla="*/ 3396938 h 3852000"/>
              <a:gd name="connsiteX16" fmla="*/ 11670632 w 12119714"/>
              <a:gd name="connsiteY16" fmla="*/ 3240528 h 3852000"/>
              <a:gd name="connsiteX17" fmla="*/ 12055642 w 12119714"/>
              <a:gd name="connsiteY17" fmla="*/ 3240528 h 3852000"/>
              <a:gd name="connsiteX0" fmla="*/ 0 w 12119714"/>
              <a:gd name="connsiteY0" fmla="*/ 1086875 h 3876767"/>
              <a:gd name="connsiteX1" fmla="*/ 1479885 w 12119714"/>
              <a:gd name="connsiteY1" fmla="*/ 148412 h 3876767"/>
              <a:gd name="connsiteX2" fmla="*/ 2538664 w 12119714"/>
              <a:gd name="connsiteY2" fmla="*/ 1351570 h 3876767"/>
              <a:gd name="connsiteX3" fmla="*/ 589548 w 12119714"/>
              <a:gd name="connsiteY3" fmla="*/ 2975833 h 3876767"/>
              <a:gd name="connsiteX4" fmla="*/ 3164306 w 12119714"/>
              <a:gd name="connsiteY4" fmla="*/ 3396938 h 3876767"/>
              <a:gd name="connsiteX5" fmla="*/ 4547937 w 12119714"/>
              <a:gd name="connsiteY5" fmla="*/ 124348 h 3876767"/>
              <a:gd name="connsiteX6" fmla="*/ 7279106 w 12119714"/>
              <a:gd name="connsiteY6" fmla="*/ 894370 h 3876767"/>
              <a:gd name="connsiteX7" fmla="*/ 10323095 w 12119714"/>
              <a:gd name="connsiteY7" fmla="*/ 28095 h 3876767"/>
              <a:gd name="connsiteX8" fmla="*/ 11694695 w 12119714"/>
              <a:gd name="connsiteY8" fmla="*/ 2169717 h 3876767"/>
              <a:gd name="connsiteX9" fmla="*/ 9023684 w 12119714"/>
              <a:gd name="connsiteY9" fmla="*/ 1375633 h 3876767"/>
              <a:gd name="connsiteX10" fmla="*/ 6545179 w 12119714"/>
              <a:gd name="connsiteY10" fmla="*/ 1808769 h 3876767"/>
              <a:gd name="connsiteX11" fmla="*/ 4511843 w 12119714"/>
              <a:gd name="connsiteY11" fmla="*/ 1712517 h 3876767"/>
              <a:gd name="connsiteX12" fmla="*/ 4307306 w 12119714"/>
              <a:gd name="connsiteY12" fmla="*/ 3637570 h 3876767"/>
              <a:gd name="connsiteX13" fmla="*/ 5305927 w 12119714"/>
              <a:gd name="connsiteY13" fmla="*/ 3709759 h 3876767"/>
              <a:gd name="connsiteX14" fmla="*/ 6424863 w 12119714"/>
              <a:gd name="connsiteY14" fmla="*/ 2386285 h 3876767"/>
              <a:gd name="connsiteX15" fmla="*/ 8698832 w 12119714"/>
              <a:gd name="connsiteY15" fmla="*/ 3396938 h 3876767"/>
              <a:gd name="connsiteX16" fmla="*/ 11670632 w 12119714"/>
              <a:gd name="connsiteY16" fmla="*/ 3240528 h 3876767"/>
              <a:gd name="connsiteX17" fmla="*/ 12055642 w 12119714"/>
              <a:gd name="connsiteY17" fmla="*/ 3240528 h 3876767"/>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307306 w 12119714"/>
              <a:gd name="connsiteY12" fmla="*/ 3637570 h 3719904"/>
              <a:gd name="connsiteX13" fmla="*/ 6424863 w 12119714"/>
              <a:gd name="connsiteY13" fmla="*/ 238628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307306 w 12119714"/>
              <a:gd name="connsiteY12" fmla="*/ 3637570 h 3719904"/>
              <a:gd name="connsiteX13" fmla="*/ 6424863 w 12119714"/>
              <a:gd name="connsiteY13" fmla="*/ 238628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307306 w 12119714"/>
              <a:gd name="connsiteY12" fmla="*/ 3637570 h 3719904"/>
              <a:gd name="connsiteX13" fmla="*/ 6424863 w 12119714"/>
              <a:gd name="connsiteY13" fmla="*/ 238628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752475 w 12119714"/>
              <a:gd name="connsiteY12" fmla="*/ 3661633 h 3719904"/>
              <a:gd name="connsiteX13" fmla="*/ 6424863 w 12119714"/>
              <a:gd name="connsiteY13" fmla="*/ 238628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752475 w 12119714"/>
              <a:gd name="connsiteY12" fmla="*/ 3661633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511843 w 12119714"/>
              <a:gd name="connsiteY11" fmla="*/ 1712517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776538 w 12119714"/>
              <a:gd name="connsiteY11" fmla="*/ 1953149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776538 w 12119714"/>
              <a:gd name="connsiteY11" fmla="*/ 1953149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545179 w 12119714"/>
              <a:gd name="connsiteY10" fmla="*/ 1808769 h 3719904"/>
              <a:gd name="connsiteX11" fmla="*/ 4776538 w 12119714"/>
              <a:gd name="connsiteY11" fmla="*/ 1953149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918158 w 12119714"/>
              <a:gd name="connsiteY10" fmla="*/ 1652358 h 3719904"/>
              <a:gd name="connsiteX11" fmla="*/ 4776538 w 12119714"/>
              <a:gd name="connsiteY11" fmla="*/ 1953149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918158 w 12119714"/>
              <a:gd name="connsiteY10" fmla="*/ 1652358 h 3719904"/>
              <a:gd name="connsiteX11" fmla="*/ 6304548 w 12119714"/>
              <a:gd name="connsiteY11" fmla="*/ 1868928 h 3719904"/>
              <a:gd name="connsiteX12" fmla="*/ 4981075 w 12119714"/>
              <a:gd name="connsiteY12" fmla="*/ 3673665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918158 w 12119714"/>
              <a:gd name="connsiteY10" fmla="*/ 1652358 h 3719904"/>
              <a:gd name="connsiteX11" fmla="*/ 6304548 w 12119714"/>
              <a:gd name="connsiteY11" fmla="*/ 1868928 h 3719904"/>
              <a:gd name="connsiteX12" fmla="*/ 6641433 w 12119714"/>
              <a:gd name="connsiteY12" fmla="*/ 3264592 h 3719904"/>
              <a:gd name="connsiteX13" fmla="*/ 6821905 w 12119714"/>
              <a:gd name="connsiteY13" fmla="*/ 2458475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119714"/>
              <a:gd name="connsiteY0" fmla="*/ 1086875 h 3719904"/>
              <a:gd name="connsiteX1" fmla="*/ 1479885 w 12119714"/>
              <a:gd name="connsiteY1" fmla="*/ 148412 h 3719904"/>
              <a:gd name="connsiteX2" fmla="*/ 2538664 w 12119714"/>
              <a:gd name="connsiteY2" fmla="*/ 1351570 h 3719904"/>
              <a:gd name="connsiteX3" fmla="*/ 589548 w 12119714"/>
              <a:gd name="connsiteY3" fmla="*/ 2975833 h 3719904"/>
              <a:gd name="connsiteX4" fmla="*/ 3164306 w 12119714"/>
              <a:gd name="connsiteY4" fmla="*/ 3396938 h 3719904"/>
              <a:gd name="connsiteX5" fmla="*/ 4547937 w 12119714"/>
              <a:gd name="connsiteY5" fmla="*/ 124348 h 3719904"/>
              <a:gd name="connsiteX6" fmla="*/ 7279106 w 12119714"/>
              <a:gd name="connsiteY6" fmla="*/ 894370 h 3719904"/>
              <a:gd name="connsiteX7" fmla="*/ 10323095 w 12119714"/>
              <a:gd name="connsiteY7" fmla="*/ 28095 h 3719904"/>
              <a:gd name="connsiteX8" fmla="*/ 11694695 w 12119714"/>
              <a:gd name="connsiteY8" fmla="*/ 2169717 h 3719904"/>
              <a:gd name="connsiteX9" fmla="*/ 9023684 w 12119714"/>
              <a:gd name="connsiteY9" fmla="*/ 1375633 h 3719904"/>
              <a:gd name="connsiteX10" fmla="*/ 6918158 w 12119714"/>
              <a:gd name="connsiteY10" fmla="*/ 1652358 h 3719904"/>
              <a:gd name="connsiteX11" fmla="*/ 6304548 w 12119714"/>
              <a:gd name="connsiteY11" fmla="*/ 1868928 h 3719904"/>
              <a:gd name="connsiteX12" fmla="*/ 6641433 w 12119714"/>
              <a:gd name="connsiteY12" fmla="*/ 3264592 h 3719904"/>
              <a:gd name="connsiteX13" fmla="*/ 8915400 w 12119714"/>
              <a:gd name="connsiteY13" fmla="*/ 2518633 h 3719904"/>
              <a:gd name="connsiteX14" fmla="*/ 8698832 w 12119714"/>
              <a:gd name="connsiteY14" fmla="*/ 3396938 h 3719904"/>
              <a:gd name="connsiteX15" fmla="*/ 11670632 w 12119714"/>
              <a:gd name="connsiteY15" fmla="*/ 3240528 h 3719904"/>
              <a:gd name="connsiteX16" fmla="*/ 12055642 w 12119714"/>
              <a:gd name="connsiteY16" fmla="*/ 3240528 h 3719904"/>
              <a:gd name="connsiteX0" fmla="*/ 0 w 12073168"/>
              <a:gd name="connsiteY0" fmla="*/ 1086875 h 3763216"/>
              <a:gd name="connsiteX1" fmla="*/ 1479885 w 12073168"/>
              <a:gd name="connsiteY1" fmla="*/ 148412 h 3763216"/>
              <a:gd name="connsiteX2" fmla="*/ 2538664 w 12073168"/>
              <a:gd name="connsiteY2" fmla="*/ 1351570 h 3763216"/>
              <a:gd name="connsiteX3" fmla="*/ 589548 w 12073168"/>
              <a:gd name="connsiteY3" fmla="*/ 2975833 h 3763216"/>
              <a:gd name="connsiteX4" fmla="*/ 3164306 w 12073168"/>
              <a:gd name="connsiteY4" fmla="*/ 3396938 h 3763216"/>
              <a:gd name="connsiteX5" fmla="*/ 4547937 w 12073168"/>
              <a:gd name="connsiteY5" fmla="*/ 124348 h 3763216"/>
              <a:gd name="connsiteX6" fmla="*/ 7279106 w 12073168"/>
              <a:gd name="connsiteY6" fmla="*/ 894370 h 3763216"/>
              <a:gd name="connsiteX7" fmla="*/ 10323095 w 12073168"/>
              <a:gd name="connsiteY7" fmla="*/ 28095 h 3763216"/>
              <a:gd name="connsiteX8" fmla="*/ 11694695 w 12073168"/>
              <a:gd name="connsiteY8" fmla="*/ 2169717 h 3763216"/>
              <a:gd name="connsiteX9" fmla="*/ 9023684 w 12073168"/>
              <a:gd name="connsiteY9" fmla="*/ 1375633 h 3763216"/>
              <a:gd name="connsiteX10" fmla="*/ 6918158 w 12073168"/>
              <a:gd name="connsiteY10" fmla="*/ 1652358 h 3763216"/>
              <a:gd name="connsiteX11" fmla="*/ 6304548 w 12073168"/>
              <a:gd name="connsiteY11" fmla="*/ 1868928 h 3763216"/>
              <a:gd name="connsiteX12" fmla="*/ 6641433 w 12073168"/>
              <a:gd name="connsiteY12" fmla="*/ 3264592 h 3763216"/>
              <a:gd name="connsiteX13" fmla="*/ 8915400 w 12073168"/>
              <a:gd name="connsiteY13" fmla="*/ 2518633 h 3763216"/>
              <a:gd name="connsiteX14" fmla="*/ 10756232 w 12073168"/>
              <a:gd name="connsiteY14" fmla="*/ 3745854 h 3763216"/>
              <a:gd name="connsiteX15" fmla="*/ 11670632 w 12073168"/>
              <a:gd name="connsiteY15" fmla="*/ 3240528 h 3763216"/>
              <a:gd name="connsiteX16" fmla="*/ 12055642 w 12073168"/>
              <a:gd name="connsiteY16" fmla="*/ 3240528 h 3763216"/>
              <a:gd name="connsiteX0" fmla="*/ 0 w 12073168"/>
              <a:gd name="connsiteY0" fmla="*/ 1086875 h 3750732"/>
              <a:gd name="connsiteX1" fmla="*/ 1479885 w 12073168"/>
              <a:gd name="connsiteY1" fmla="*/ 148412 h 3750732"/>
              <a:gd name="connsiteX2" fmla="*/ 2538664 w 12073168"/>
              <a:gd name="connsiteY2" fmla="*/ 1351570 h 3750732"/>
              <a:gd name="connsiteX3" fmla="*/ 589548 w 12073168"/>
              <a:gd name="connsiteY3" fmla="*/ 2975833 h 3750732"/>
              <a:gd name="connsiteX4" fmla="*/ 3164306 w 12073168"/>
              <a:gd name="connsiteY4" fmla="*/ 3396938 h 3750732"/>
              <a:gd name="connsiteX5" fmla="*/ 4547937 w 12073168"/>
              <a:gd name="connsiteY5" fmla="*/ 124348 h 3750732"/>
              <a:gd name="connsiteX6" fmla="*/ 7279106 w 12073168"/>
              <a:gd name="connsiteY6" fmla="*/ 894370 h 3750732"/>
              <a:gd name="connsiteX7" fmla="*/ 10323095 w 12073168"/>
              <a:gd name="connsiteY7" fmla="*/ 28095 h 3750732"/>
              <a:gd name="connsiteX8" fmla="*/ 11694695 w 12073168"/>
              <a:gd name="connsiteY8" fmla="*/ 2169717 h 3750732"/>
              <a:gd name="connsiteX9" fmla="*/ 9023684 w 12073168"/>
              <a:gd name="connsiteY9" fmla="*/ 1375633 h 3750732"/>
              <a:gd name="connsiteX10" fmla="*/ 6918158 w 12073168"/>
              <a:gd name="connsiteY10" fmla="*/ 1652358 h 3750732"/>
              <a:gd name="connsiteX11" fmla="*/ 6304548 w 12073168"/>
              <a:gd name="connsiteY11" fmla="*/ 1868928 h 3750732"/>
              <a:gd name="connsiteX12" fmla="*/ 6641433 w 12073168"/>
              <a:gd name="connsiteY12" fmla="*/ 3264592 h 3750732"/>
              <a:gd name="connsiteX13" fmla="*/ 9059779 w 12073168"/>
              <a:gd name="connsiteY13" fmla="*/ 2891612 h 3750732"/>
              <a:gd name="connsiteX14" fmla="*/ 10756232 w 12073168"/>
              <a:gd name="connsiteY14" fmla="*/ 3745854 h 3750732"/>
              <a:gd name="connsiteX15" fmla="*/ 11670632 w 12073168"/>
              <a:gd name="connsiteY15" fmla="*/ 3240528 h 3750732"/>
              <a:gd name="connsiteX16" fmla="*/ 12055642 w 12073168"/>
              <a:gd name="connsiteY16" fmla="*/ 3240528 h 3750732"/>
              <a:gd name="connsiteX0" fmla="*/ 0 w 12073168"/>
              <a:gd name="connsiteY0" fmla="*/ 1086875 h 3750732"/>
              <a:gd name="connsiteX1" fmla="*/ 1479885 w 12073168"/>
              <a:gd name="connsiteY1" fmla="*/ 148412 h 3750732"/>
              <a:gd name="connsiteX2" fmla="*/ 2538664 w 12073168"/>
              <a:gd name="connsiteY2" fmla="*/ 1351570 h 3750732"/>
              <a:gd name="connsiteX3" fmla="*/ 589548 w 12073168"/>
              <a:gd name="connsiteY3" fmla="*/ 2975833 h 3750732"/>
              <a:gd name="connsiteX4" fmla="*/ 3164306 w 12073168"/>
              <a:gd name="connsiteY4" fmla="*/ 3396938 h 3750732"/>
              <a:gd name="connsiteX5" fmla="*/ 4547937 w 12073168"/>
              <a:gd name="connsiteY5" fmla="*/ 124348 h 3750732"/>
              <a:gd name="connsiteX6" fmla="*/ 7279106 w 12073168"/>
              <a:gd name="connsiteY6" fmla="*/ 894370 h 3750732"/>
              <a:gd name="connsiteX7" fmla="*/ 10323095 w 12073168"/>
              <a:gd name="connsiteY7" fmla="*/ 28095 h 3750732"/>
              <a:gd name="connsiteX8" fmla="*/ 11694695 w 12073168"/>
              <a:gd name="connsiteY8" fmla="*/ 2169717 h 3750732"/>
              <a:gd name="connsiteX9" fmla="*/ 9023684 w 12073168"/>
              <a:gd name="connsiteY9" fmla="*/ 1375633 h 3750732"/>
              <a:gd name="connsiteX10" fmla="*/ 6304548 w 12073168"/>
              <a:gd name="connsiteY10" fmla="*/ 1868928 h 3750732"/>
              <a:gd name="connsiteX11" fmla="*/ 6641433 w 12073168"/>
              <a:gd name="connsiteY11" fmla="*/ 3264592 h 3750732"/>
              <a:gd name="connsiteX12" fmla="*/ 9059779 w 12073168"/>
              <a:gd name="connsiteY12" fmla="*/ 2891612 h 3750732"/>
              <a:gd name="connsiteX13" fmla="*/ 10756232 w 12073168"/>
              <a:gd name="connsiteY13" fmla="*/ 3745854 h 3750732"/>
              <a:gd name="connsiteX14" fmla="*/ 11670632 w 12073168"/>
              <a:gd name="connsiteY14" fmla="*/ 3240528 h 3750732"/>
              <a:gd name="connsiteX15" fmla="*/ 12055642 w 12073168"/>
              <a:gd name="connsiteY15" fmla="*/ 3240528 h 3750732"/>
              <a:gd name="connsiteX0" fmla="*/ 0 w 12073168"/>
              <a:gd name="connsiteY0" fmla="*/ 1086875 h 3750732"/>
              <a:gd name="connsiteX1" fmla="*/ 1479885 w 12073168"/>
              <a:gd name="connsiteY1" fmla="*/ 148412 h 3750732"/>
              <a:gd name="connsiteX2" fmla="*/ 2538664 w 12073168"/>
              <a:gd name="connsiteY2" fmla="*/ 1351570 h 3750732"/>
              <a:gd name="connsiteX3" fmla="*/ 589548 w 12073168"/>
              <a:gd name="connsiteY3" fmla="*/ 2975833 h 3750732"/>
              <a:gd name="connsiteX4" fmla="*/ 3164306 w 12073168"/>
              <a:gd name="connsiteY4" fmla="*/ 3396938 h 3750732"/>
              <a:gd name="connsiteX5" fmla="*/ 4547937 w 12073168"/>
              <a:gd name="connsiteY5" fmla="*/ 124348 h 3750732"/>
              <a:gd name="connsiteX6" fmla="*/ 7279106 w 12073168"/>
              <a:gd name="connsiteY6" fmla="*/ 894370 h 3750732"/>
              <a:gd name="connsiteX7" fmla="*/ 10323095 w 12073168"/>
              <a:gd name="connsiteY7" fmla="*/ 28095 h 3750732"/>
              <a:gd name="connsiteX8" fmla="*/ 11694695 w 12073168"/>
              <a:gd name="connsiteY8" fmla="*/ 2169717 h 3750732"/>
              <a:gd name="connsiteX9" fmla="*/ 9023684 w 12073168"/>
              <a:gd name="connsiteY9" fmla="*/ 1375633 h 3750732"/>
              <a:gd name="connsiteX10" fmla="*/ 6340643 w 12073168"/>
              <a:gd name="connsiteY10" fmla="*/ 2133622 h 3750732"/>
              <a:gd name="connsiteX11" fmla="*/ 6641433 w 12073168"/>
              <a:gd name="connsiteY11" fmla="*/ 3264592 h 3750732"/>
              <a:gd name="connsiteX12" fmla="*/ 9059779 w 12073168"/>
              <a:gd name="connsiteY12" fmla="*/ 2891612 h 3750732"/>
              <a:gd name="connsiteX13" fmla="*/ 10756232 w 12073168"/>
              <a:gd name="connsiteY13" fmla="*/ 3745854 h 3750732"/>
              <a:gd name="connsiteX14" fmla="*/ 11670632 w 12073168"/>
              <a:gd name="connsiteY14" fmla="*/ 3240528 h 3750732"/>
              <a:gd name="connsiteX15" fmla="*/ 12055642 w 12073168"/>
              <a:gd name="connsiteY15" fmla="*/ 3240528 h 3750732"/>
              <a:gd name="connsiteX0" fmla="*/ 0 w 12482242"/>
              <a:gd name="connsiteY0" fmla="*/ 1447823 h 3750732"/>
              <a:gd name="connsiteX1" fmla="*/ 1888959 w 12482242"/>
              <a:gd name="connsiteY1" fmla="*/ 148412 h 3750732"/>
              <a:gd name="connsiteX2" fmla="*/ 2947738 w 12482242"/>
              <a:gd name="connsiteY2" fmla="*/ 1351570 h 3750732"/>
              <a:gd name="connsiteX3" fmla="*/ 998622 w 12482242"/>
              <a:gd name="connsiteY3" fmla="*/ 2975833 h 3750732"/>
              <a:gd name="connsiteX4" fmla="*/ 3573380 w 12482242"/>
              <a:gd name="connsiteY4" fmla="*/ 3396938 h 3750732"/>
              <a:gd name="connsiteX5" fmla="*/ 4957011 w 12482242"/>
              <a:gd name="connsiteY5" fmla="*/ 124348 h 3750732"/>
              <a:gd name="connsiteX6" fmla="*/ 7688180 w 12482242"/>
              <a:gd name="connsiteY6" fmla="*/ 894370 h 3750732"/>
              <a:gd name="connsiteX7" fmla="*/ 10732169 w 12482242"/>
              <a:gd name="connsiteY7" fmla="*/ 28095 h 3750732"/>
              <a:gd name="connsiteX8" fmla="*/ 12103769 w 12482242"/>
              <a:gd name="connsiteY8" fmla="*/ 2169717 h 3750732"/>
              <a:gd name="connsiteX9" fmla="*/ 9432758 w 12482242"/>
              <a:gd name="connsiteY9" fmla="*/ 1375633 h 3750732"/>
              <a:gd name="connsiteX10" fmla="*/ 6749717 w 12482242"/>
              <a:gd name="connsiteY10" fmla="*/ 2133622 h 3750732"/>
              <a:gd name="connsiteX11" fmla="*/ 7050507 w 12482242"/>
              <a:gd name="connsiteY11" fmla="*/ 3264592 h 3750732"/>
              <a:gd name="connsiteX12" fmla="*/ 9468853 w 12482242"/>
              <a:gd name="connsiteY12" fmla="*/ 2891612 h 3750732"/>
              <a:gd name="connsiteX13" fmla="*/ 11165306 w 12482242"/>
              <a:gd name="connsiteY13" fmla="*/ 3745854 h 3750732"/>
              <a:gd name="connsiteX14" fmla="*/ 12079706 w 12482242"/>
              <a:gd name="connsiteY14" fmla="*/ 3240528 h 3750732"/>
              <a:gd name="connsiteX15" fmla="*/ 12464716 w 12482242"/>
              <a:gd name="connsiteY15" fmla="*/ 3240528 h 3750732"/>
              <a:gd name="connsiteX0" fmla="*/ 0 w 12482242"/>
              <a:gd name="connsiteY0" fmla="*/ 1426339 h 3729248"/>
              <a:gd name="connsiteX1" fmla="*/ 1888959 w 12482242"/>
              <a:gd name="connsiteY1" fmla="*/ 126928 h 3729248"/>
              <a:gd name="connsiteX2" fmla="*/ 2947738 w 12482242"/>
              <a:gd name="connsiteY2" fmla="*/ 1330086 h 3729248"/>
              <a:gd name="connsiteX3" fmla="*/ 998622 w 12482242"/>
              <a:gd name="connsiteY3" fmla="*/ 2954349 h 3729248"/>
              <a:gd name="connsiteX4" fmla="*/ 3573380 w 12482242"/>
              <a:gd name="connsiteY4" fmla="*/ 3375454 h 3729248"/>
              <a:gd name="connsiteX5" fmla="*/ 4957011 w 12482242"/>
              <a:gd name="connsiteY5" fmla="*/ 102864 h 3729248"/>
              <a:gd name="connsiteX6" fmla="*/ 7688180 w 12482242"/>
              <a:gd name="connsiteY6" fmla="*/ 872886 h 3729248"/>
              <a:gd name="connsiteX7" fmla="*/ 10732169 w 12482242"/>
              <a:gd name="connsiteY7" fmla="*/ 6611 h 3729248"/>
              <a:gd name="connsiteX8" fmla="*/ 11542181 w 12482242"/>
              <a:gd name="connsiteY8" fmla="*/ 1438370 h 3729248"/>
              <a:gd name="connsiteX9" fmla="*/ 9432758 w 12482242"/>
              <a:gd name="connsiteY9" fmla="*/ 1354149 h 3729248"/>
              <a:gd name="connsiteX10" fmla="*/ 6749717 w 12482242"/>
              <a:gd name="connsiteY10" fmla="*/ 2112138 h 3729248"/>
              <a:gd name="connsiteX11" fmla="*/ 7050507 w 12482242"/>
              <a:gd name="connsiteY11" fmla="*/ 3243108 h 3729248"/>
              <a:gd name="connsiteX12" fmla="*/ 9468853 w 12482242"/>
              <a:gd name="connsiteY12" fmla="*/ 2870128 h 3729248"/>
              <a:gd name="connsiteX13" fmla="*/ 11165306 w 12482242"/>
              <a:gd name="connsiteY13" fmla="*/ 3724370 h 3729248"/>
              <a:gd name="connsiteX14" fmla="*/ 12079706 w 12482242"/>
              <a:gd name="connsiteY14" fmla="*/ 3219044 h 3729248"/>
              <a:gd name="connsiteX15" fmla="*/ 12464716 w 12482242"/>
              <a:gd name="connsiteY15" fmla="*/ 3219044 h 3729248"/>
              <a:gd name="connsiteX0" fmla="*/ 0 w 13485251"/>
              <a:gd name="connsiteY0" fmla="*/ 1426339 h 3729400"/>
              <a:gd name="connsiteX1" fmla="*/ 1888959 w 13485251"/>
              <a:gd name="connsiteY1" fmla="*/ 126928 h 3729400"/>
              <a:gd name="connsiteX2" fmla="*/ 2947738 w 13485251"/>
              <a:gd name="connsiteY2" fmla="*/ 1330086 h 3729400"/>
              <a:gd name="connsiteX3" fmla="*/ 998622 w 13485251"/>
              <a:gd name="connsiteY3" fmla="*/ 2954349 h 3729400"/>
              <a:gd name="connsiteX4" fmla="*/ 3573380 w 13485251"/>
              <a:gd name="connsiteY4" fmla="*/ 3375454 h 3729400"/>
              <a:gd name="connsiteX5" fmla="*/ 4957011 w 13485251"/>
              <a:gd name="connsiteY5" fmla="*/ 102864 h 3729400"/>
              <a:gd name="connsiteX6" fmla="*/ 7688180 w 13485251"/>
              <a:gd name="connsiteY6" fmla="*/ 872886 h 3729400"/>
              <a:gd name="connsiteX7" fmla="*/ 10732169 w 13485251"/>
              <a:gd name="connsiteY7" fmla="*/ 6611 h 3729400"/>
              <a:gd name="connsiteX8" fmla="*/ 11542181 w 13485251"/>
              <a:gd name="connsiteY8" fmla="*/ 1438370 h 3729400"/>
              <a:gd name="connsiteX9" fmla="*/ 9432758 w 13485251"/>
              <a:gd name="connsiteY9" fmla="*/ 1354149 h 3729400"/>
              <a:gd name="connsiteX10" fmla="*/ 6749717 w 13485251"/>
              <a:gd name="connsiteY10" fmla="*/ 2112138 h 3729400"/>
              <a:gd name="connsiteX11" fmla="*/ 7050507 w 13485251"/>
              <a:gd name="connsiteY11" fmla="*/ 3243108 h 3729400"/>
              <a:gd name="connsiteX12" fmla="*/ 9468853 w 13485251"/>
              <a:gd name="connsiteY12" fmla="*/ 2870128 h 3729400"/>
              <a:gd name="connsiteX13" fmla="*/ 11165306 w 13485251"/>
              <a:gd name="connsiteY13" fmla="*/ 3724370 h 3729400"/>
              <a:gd name="connsiteX14" fmla="*/ 12079706 w 13485251"/>
              <a:gd name="connsiteY14" fmla="*/ 3219044 h 3729400"/>
              <a:gd name="connsiteX15" fmla="*/ 13480355 w 13485251"/>
              <a:gd name="connsiteY15" fmla="*/ 3122791 h 3729400"/>
              <a:gd name="connsiteX0" fmla="*/ 0 w 13486837"/>
              <a:gd name="connsiteY0" fmla="*/ 1426339 h 3724673"/>
              <a:gd name="connsiteX1" fmla="*/ 1888959 w 13486837"/>
              <a:gd name="connsiteY1" fmla="*/ 126928 h 3724673"/>
              <a:gd name="connsiteX2" fmla="*/ 2947738 w 13486837"/>
              <a:gd name="connsiteY2" fmla="*/ 1330086 h 3724673"/>
              <a:gd name="connsiteX3" fmla="*/ 998622 w 13486837"/>
              <a:gd name="connsiteY3" fmla="*/ 2954349 h 3724673"/>
              <a:gd name="connsiteX4" fmla="*/ 3573380 w 13486837"/>
              <a:gd name="connsiteY4" fmla="*/ 3375454 h 3724673"/>
              <a:gd name="connsiteX5" fmla="*/ 4957011 w 13486837"/>
              <a:gd name="connsiteY5" fmla="*/ 102864 h 3724673"/>
              <a:gd name="connsiteX6" fmla="*/ 7688180 w 13486837"/>
              <a:gd name="connsiteY6" fmla="*/ 872886 h 3724673"/>
              <a:gd name="connsiteX7" fmla="*/ 10732169 w 13486837"/>
              <a:gd name="connsiteY7" fmla="*/ 6611 h 3724673"/>
              <a:gd name="connsiteX8" fmla="*/ 11542181 w 13486837"/>
              <a:gd name="connsiteY8" fmla="*/ 1438370 h 3724673"/>
              <a:gd name="connsiteX9" fmla="*/ 9432758 w 13486837"/>
              <a:gd name="connsiteY9" fmla="*/ 1354149 h 3724673"/>
              <a:gd name="connsiteX10" fmla="*/ 6749717 w 13486837"/>
              <a:gd name="connsiteY10" fmla="*/ 2112138 h 3724673"/>
              <a:gd name="connsiteX11" fmla="*/ 7050507 w 13486837"/>
              <a:gd name="connsiteY11" fmla="*/ 3243108 h 3724673"/>
              <a:gd name="connsiteX12" fmla="*/ 9468853 w 13486837"/>
              <a:gd name="connsiteY12" fmla="*/ 2870128 h 3724673"/>
              <a:gd name="connsiteX13" fmla="*/ 11165306 w 13486837"/>
              <a:gd name="connsiteY13" fmla="*/ 3724370 h 3724673"/>
              <a:gd name="connsiteX14" fmla="*/ 12366474 w 13486837"/>
              <a:gd name="connsiteY14" fmla="*/ 2761844 h 3724673"/>
              <a:gd name="connsiteX15" fmla="*/ 13480355 w 13486837"/>
              <a:gd name="connsiteY15" fmla="*/ 3122791 h 3724673"/>
              <a:gd name="connsiteX0" fmla="*/ 0 w 13485059"/>
              <a:gd name="connsiteY0" fmla="*/ 1426339 h 3724555"/>
              <a:gd name="connsiteX1" fmla="*/ 1888959 w 13485059"/>
              <a:gd name="connsiteY1" fmla="*/ 126928 h 3724555"/>
              <a:gd name="connsiteX2" fmla="*/ 2947738 w 13485059"/>
              <a:gd name="connsiteY2" fmla="*/ 1330086 h 3724555"/>
              <a:gd name="connsiteX3" fmla="*/ 998622 w 13485059"/>
              <a:gd name="connsiteY3" fmla="*/ 2954349 h 3724555"/>
              <a:gd name="connsiteX4" fmla="*/ 3573380 w 13485059"/>
              <a:gd name="connsiteY4" fmla="*/ 3375454 h 3724555"/>
              <a:gd name="connsiteX5" fmla="*/ 4957011 w 13485059"/>
              <a:gd name="connsiteY5" fmla="*/ 102864 h 3724555"/>
              <a:gd name="connsiteX6" fmla="*/ 7688180 w 13485059"/>
              <a:gd name="connsiteY6" fmla="*/ 872886 h 3724555"/>
              <a:gd name="connsiteX7" fmla="*/ 10732169 w 13485059"/>
              <a:gd name="connsiteY7" fmla="*/ 6611 h 3724555"/>
              <a:gd name="connsiteX8" fmla="*/ 11542181 w 13485059"/>
              <a:gd name="connsiteY8" fmla="*/ 1438370 h 3724555"/>
              <a:gd name="connsiteX9" fmla="*/ 9432758 w 13485059"/>
              <a:gd name="connsiteY9" fmla="*/ 1354149 h 3724555"/>
              <a:gd name="connsiteX10" fmla="*/ 6749717 w 13485059"/>
              <a:gd name="connsiteY10" fmla="*/ 2112138 h 3724555"/>
              <a:gd name="connsiteX11" fmla="*/ 7050507 w 13485059"/>
              <a:gd name="connsiteY11" fmla="*/ 3243108 h 3724555"/>
              <a:gd name="connsiteX12" fmla="*/ 9468853 w 13485059"/>
              <a:gd name="connsiteY12" fmla="*/ 2870128 h 3724555"/>
              <a:gd name="connsiteX13" fmla="*/ 11165306 w 13485059"/>
              <a:gd name="connsiteY13" fmla="*/ 3724370 h 3724555"/>
              <a:gd name="connsiteX14" fmla="*/ 12031911 w 13485059"/>
              <a:gd name="connsiteY14" fmla="*/ 2785907 h 3724555"/>
              <a:gd name="connsiteX15" fmla="*/ 13480355 w 13485059"/>
              <a:gd name="connsiteY15" fmla="*/ 3122791 h 3724555"/>
              <a:gd name="connsiteX0" fmla="*/ 0 w 13485059"/>
              <a:gd name="connsiteY0" fmla="*/ 1426339 h 3724555"/>
              <a:gd name="connsiteX1" fmla="*/ 1888959 w 13485059"/>
              <a:gd name="connsiteY1" fmla="*/ 126928 h 3724555"/>
              <a:gd name="connsiteX2" fmla="*/ 2947738 w 13485059"/>
              <a:gd name="connsiteY2" fmla="*/ 1330086 h 3724555"/>
              <a:gd name="connsiteX3" fmla="*/ 998622 w 13485059"/>
              <a:gd name="connsiteY3" fmla="*/ 2954349 h 3724555"/>
              <a:gd name="connsiteX4" fmla="*/ 3573380 w 13485059"/>
              <a:gd name="connsiteY4" fmla="*/ 3375454 h 3724555"/>
              <a:gd name="connsiteX5" fmla="*/ 4957011 w 13485059"/>
              <a:gd name="connsiteY5" fmla="*/ 102864 h 3724555"/>
              <a:gd name="connsiteX6" fmla="*/ 7688180 w 13485059"/>
              <a:gd name="connsiteY6" fmla="*/ 872886 h 3724555"/>
              <a:gd name="connsiteX7" fmla="*/ 10732169 w 13485059"/>
              <a:gd name="connsiteY7" fmla="*/ 6611 h 3724555"/>
              <a:gd name="connsiteX8" fmla="*/ 11542181 w 13485059"/>
              <a:gd name="connsiteY8" fmla="*/ 1438370 h 3724555"/>
              <a:gd name="connsiteX9" fmla="*/ 9432758 w 13485059"/>
              <a:gd name="connsiteY9" fmla="*/ 1354149 h 3724555"/>
              <a:gd name="connsiteX10" fmla="*/ 8506177 w 13485059"/>
              <a:gd name="connsiteY10" fmla="*/ 2256517 h 3724555"/>
              <a:gd name="connsiteX11" fmla="*/ 7050507 w 13485059"/>
              <a:gd name="connsiteY11" fmla="*/ 3243108 h 3724555"/>
              <a:gd name="connsiteX12" fmla="*/ 9468853 w 13485059"/>
              <a:gd name="connsiteY12" fmla="*/ 2870128 h 3724555"/>
              <a:gd name="connsiteX13" fmla="*/ 11165306 w 13485059"/>
              <a:gd name="connsiteY13" fmla="*/ 3724370 h 3724555"/>
              <a:gd name="connsiteX14" fmla="*/ 12031911 w 13485059"/>
              <a:gd name="connsiteY14" fmla="*/ 2785907 h 3724555"/>
              <a:gd name="connsiteX15" fmla="*/ 13480355 w 13485059"/>
              <a:gd name="connsiteY15" fmla="*/ 3122791 h 3724555"/>
              <a:gd name="connsiteX0" fmla="*/ 0 w 13485059"/>
              <a:gd name="connsiteY0" fmla="*/ 1426339 h 3724555"/>
              <a:gd name="connsiteX1" fmla="*/ 1888959 w 13485059"/>
              <a:gd name="connsiteY1" fmla="*/ 126928 h 3724555"/>
              <a:gd name="connsiteX2" fmla="*/ 2947738 w 13485059"/>
              <a:gd name="connsiteY2" fmla="*/ 1330086 h 3724555"/>
              <a:gd name="connsiteX3" fmla="*/ 998622 w 13485059"/>
              <a:gd name="connsiteY3" fmla="*/ 2954349 h 3724555"/>
              <a:gd name="connsiteX4" fmla="*/ 3573380 w 13485059"/>
              <a:gd name="connsiteY4" fmla="*/ 3375454 h 3724555"/>
              <a:gd name="connsiteX5" fmla="*/ 4957011 w 13485059"/>
              <a:gd name="connsiteY5" fmla="*/ 102864 h 3724555"/>
              <a:gd name="connsiteX6" fmla="*/ 7688180 w 13485059"/>
              <a:gd name="connsiteY6" fmla="*/ 872886 h 3724555"/>
              <a:gd name="connsiteX7" fmla="*/ 10732169 w 13485059"/>
              <a:gd name="connsiteY7" fmla="*/ 6611 h 3724555"/>
              <a:gd name="connsiteX8" fmla="*/ 11542181 w 13485059"/>
              <a:gd name="connsiteY8" fmla="*/ 1438370 h 3724555"/>
              <a:gd name="connsiteX9" fmla="*/ 9432758 w 13485059"/>
              <a:gd name="connsiteY9" fmla="*/ 1354149 h 3724555"/>
              <a:gd name="connsiteX10" fmla="*/ 7050507 w 13485059"/>
              <a:gd name="connsiteY10" fmla="*/ 3243108 h 3724555"/>
              <a:gd name="connsiteX11" fmla="*/ 9468853 w 13485059"/>
              <a:gd name="connsiteY11" fmla="*/ 2870128 h 3724555"/>
              <a:gd name="connsiteX12" fmla="*/ 11165306 w 13485059"/>
              <a:gd name="connsiteY12" fmla="*/ 3724370 h 3724555"/>
              <a:gd name="connsiteX13" fmla="*/ 12031911 w 13485059"/>
              <a:gd name="connsiteY13" fmla="*/ 2785907 h 3724555"/>
              <a:gd name="connsiteX14" fmla="*/ 13480355 w 13485059"/>
              <a:gd name="connsiteY14" fmla="*/ 3122791 h 3724555"/>
              <a:gd name="connsiteX0" fmla="*/ 0 w 13485059"/>
              <a:gd name="connsiteY0" fmla="*/ 1426339 h 3724587"/>
              <a:gd name="connsiteX1" fmla="*/ 1888959 w 13485059"/>
              <a:gd name="connsiteY1" fmla="*/ 126928 h 3724587"/>
              <a:gd name="connsiteX2" fmla="*/ 2947738 w 13485059"/>
              <a:gd name="connsiteY2" fmla="*/ 1330086 h 3724587"/>
              <a:gd name="connsiteX3" fmla="*/ 998622 w 13485059"/>
              <a:gd name="connsiteY3" fmla="*/ 2954349 h 3724587"/>
              <a:gd name="connsiteX4" fmla="*/ 3573380 w 13485059"/>
              <a:gd name="connsiteY4" fmla="*/ 3375454 h 3724587"/>
              <a:gd name="connsiteX5" fmla="*/ 4957011 w 13485059"/>
              <a:gd name="connsiteY5" fmla="*/ 102864 h 3724587"/>
              <a:gd name="connsiteX6" fmla="*/ 7688180 w 13485059"/>
              <a:gd name="connsiteY6" fmla="*/ 872886 h 3724587"/>
              <a:gd name="connsiteX7" fmla="*/ 10732169 w 13485059"/>
              <a:gd name="connsiteY7" fmla="*/ 6611 h 3724587"/>
              <a:gd name="connsiteX8" fmla="*/ 11542181 w 13485059"/>
              <a:gd name="connsiteY8" fmla="*/ 1438370 h 3724587"/>
              <a:gd name="connsiteX9" fmla="*/ 9432758 w 13485059"/>
              <a:gd name="connsiteY9" fmla="*/ 1354149 h 3724587"/>
              <a:gd name="connsiteX10" fmla="*/ 8579941 w 13485059"/>
              <a:gd name="connsiteY10" fmla="*/ 2533245 h 3724587"/>
              <a:gd name="connsiteX11" fmla="*/ 9468853 w 13485059"/>
              <a:gd name="connsiteY11" fmla="*/ 2870128 h 3724587"/>
              <a:gd name="connsiteX12" fmla="*/ 11165306 w 13485059"/>
              <a:gd name="connsiteY12" fmla="*/ 3724370 h 3724587"/>
              <a:gd name="connsiteX13" fmla="*/ 12031911 w 13485059"/>
              <a:gd name="connsiteY13" fmla="*/ 2785907 h 3724587"/>
              <a:gd name="connsiteX14" fmla="*/ 13480355 w 13485059"/>
              <a:gd name="connsiteY14" fmla="*/ 3122791 h 3724587"/>
              <a:gd name="connsiteX0" fmla="*/ 0 w 13485059"/>
              <a:gd name="connsiteY0" fmla="*/ 1426339 h 3735599"/>
              <a:gd name="connsiteX1" fmla="*/ 1888959 w 13485059"/>
              <a:gd name="connsiteY1" fmla="*/ 126928 h 3735599"/>
              <a:gd name="connsiteX2" fmla="*/ 2947738 w 13485059"/>
              <a:gd name="connsiteY2" fmla="*/ 1330086 h 3735599"/>
              <a:gd name="connsiteX3" fmla="*/ 998622 w 13485059"/>
              <a:gd name="connsiteY3" fmla="*/ 2954349 h 3735599"/>
              <a:gd name="connsiteX4" fmla="*/ 3573380 w 13485059"/>
              <a:gd name="connsiteY4" fmla="*/ 3375454 h 3735599"/>
              <a:gd name="connsiteX5" fmla="*/ 4957011 w 13485059"/>
              <a:gd name="connsiteY5" fmla="*/ 102864 h 3735599"/>
              <a:gd name="connsiteX6" fmla="*/ 7688180 w 13485059"/>
              <a:gd name="connsiteY6" fmla="*/ 872886 h 3735599"/>
              <a:gd name="connsiteX7" fmla="*/ 10732169 w 13485059"/>
              <a:gd name="connsiteY7" fmla="*/ 6611 h 3735599"/>
              <a:gd name="connsiteX8" fmla="*/ 11542181 w 13485059"/>
              <a:gd name="connsiteY8" fmla="*/ 1438370 h 3735599"/>
              <a:gd name="connsiteX9" fmla="*/ 9432758 w 13485059"/>
              <a:gd name="connsiteY9" fmla="*/ 1354149 h 3735599"/>
              <a:gd name="connsiteX10" fmla="*/ 8579941 w 13485059"/>
              <a:gd name="connsiteY10" fmla="*/ 2533245 h 3735599"/>
              <a:gd name="connsiteX11" fmla="*/ 9755622 w 13485059"/>
              <a:gd name="connsiteY11" fmla="*/ 3255138 h 3735599"/>
              <a:gd name="connsiteX12" fmla="*/ 11165306 w 13485059"/>
              <a:gd name="connsiteY12" fmla="*/ 3724370 h 3735599"/>
              <a:gd name="connsiteX13" fmla="*/ 12031911 w 13485059"/>
              <a:gd name="connsiteY13" fmla="*/ 2785907 h 3735599"/>
              <a:gd name="connsiteX14" fmla="*/ 13480355 w 13485059"/>
              <a:gd name="connsiteY14" fmla="*/ 3122791 h 3735599"/>
              <a:gd name="connsiteX0" fmla="*/ 0 w 13485059"/>
              <a:gd name="connsiteY0" fmla="*/ 1426339 h 3724370"/>
              <a:gd name="connsiteX1" fmla="*/ 1888959 w 13485059"/>
              <a:gd name="connsiteY1" fmla="*/ 126928 h 3724370"/>
              <a:gd name="connsiteX2" fmla="*/ 2947738 w 13485059"/>
              <a:gd name="connsiteY2" fmla="*/ 1330086 h 3724370"/>
              <a:gd name="connsiteX3" fmla="*/ 998622 w 13485059"/>
              <a:gd name="connsiteY3" fmla="*/ 2954349 h 3724370"/>
              <a:gd name="connsiteX4" fmla="*/ 3573380 w 13485059"/>
              <a:gd name="connsiteY4" fmla="*/ 3375454 h 3724370"/>
              <a:gd name="connsiteX5" fmla="*/ 4957011 w 13485059"/>
              <a:gd name="connsiteY5" fmla="*/ 102864 h 3724370"/>
              <a:gd name="connsiteX6" fmla="*/ 7688180 w 13485059"/>
              <a:gd name="connsiteY6" fmla="*/ 872886 h 3724370"/>
              <a:gd name="connsiteX7" fmla="*/ 10732169 w 13485059"/>
              <a:gd name="connsiteY7" fmla="*/ 6611 h 3724370"/>
              <a:gd name="connsiteX8" fmla="*/ 11542181 w 13485059"/>
              <a:gd name="connsiteY8" fmla="*/ 1438370 h 3724370"/>
              <a:gd name="connsiteX9" fmla="*/ 9432758 w 13485059"/>
              <a:gd name="connsiteY9" fmla="*/ 1354149 h 3724370"/>
              <a:gd name="connsiteX10" fmla="*/ 8579941 w 13485059"/>
              <a:gd name="connsiteY10" fmla="*/ 2533245 h 3724370"/>
              <a:gd name="connsiteX11" fmla="*/ 11165306 w 13485059"/>
              <a:gd name="connsiteY11" fmla="*/ 3724370 h 3724370"/>
              <a:gd name="connsiteX12" fmla="*/ 12031911 w 13485059"/>
              <a:gd name="connsiteY12" fmla="*/ 2785907 h 3724370"/>
              <a:gd name="connsiteX13" fmla="*/ 13480355 w 13485059"/>
              <a:gd name="connsiteY13" fmla="*/ 3122791 h 3724370"/>
              <a:gd name="connsiteX0" fmla="*/ 0 w 13485152"/>
              <a:gd name="connsiteY0" fmla="*/ 1426339 h 3698420"/>
              <a:gd name="connsiteX1" fmla="*/ 1888959 w 13485152"/>
              <a:gd name="connsiteY1" fmla="*/ 126928 h 3698420"/>
              <a:gd name="connsiteX2" fmla="*/ 2947738 w 13485152"/>
              <a:gd name="connsiteY2" fmla="*/ 1330086 h 3698420"/>
              <a:gd name="connsiteX3" fmla="*/ 998622 w 13485152"/>
              <a:gd name="connsiteY3" fmla="*/ 2954349 h 3698420"/>
              <a:gd name="connsiteX4" fmla="*/ 3573380 w 13485152"/>
              <a:gd name="connsiteY4" fmla="*/ 3375454 h 3698420"/>
              <a:gd name="connsiteX5" fmla="*/ 4957011 w 13485152"/>
              <a:gd name="connsiteY5" fmla="*/ 102864 h 3698420"/>
              <a:gd name="connsiteX6" fmla="*/ 7688180 w 13485152"/>
              <a:gd name="connsiteY6" fmla="*/ 872886 h 3698420"/>
              <a:gd name="connsiteX7" fmla="*/ 10732169 w 13485152"/>
              <a:gd name="connsiteY7" fmla="*/ 6611 h 3698420"/>
              <a:gd name="connsiteX8" fmla="*/ 11542181 w 13485152"/>
              <a:gd name="connsiteY8" fmla="*/ 1438370 h 3698420"/>
              <a:gd name="connsiteX9" fmla="*/ 9432758 w 13485152"/>
              <a:gd name="connsiteY9" fmla="*/ 1354149 h 3698420"/>
              <a:gd name="connsiteX10" fmla="*/ 8579941 w 13485152"/>
              <a:gd name="connsiteY10" fmla="*/ 2533245 h 3698420"/>
              <a:gd name="connsiteX11" fmla="*/ 11021921 w 13485152"/>
              <a:gd name="connsiteY11" fmla="*/ 2858097 h 3698420"/>
              <a:gd name="connsiteX12" fmla="*/ 12031911 w 13485152"/>
              <a:gd name="connsiteY12" fmla="*/ 2785907 h 3698420"/>
              <a:gd name="connsiteX13" fmla="*/ 13480355 w 13485152"/>
              <a:gd name="connsiteY13" fmla="*/ 3122791 h 3698420"/>
              <a:gd name="connsiteX0" fmla="*/ 0 w 13485152"/>
              <a:gd name="connsiteY0" fmla="*/ 1426339 h 3698420"/>
              <a:gd name="connsiteX1" fmla="*/ 1888959 w 13485152"/>
              <a:gd name="connsiteY1" fmla="*/ 126928 h 3698420"/>
              <a:gd name="connsiteX2" fmla="*/ 2947738 w 13485152"/>
              <a:gd name="connsiteY2" fmla="*/ 1330086 h 3698420"/>
              <a:gd name="connsiteX3" fmla="*/ 998622 w 13485152"/>
              <a:gd name="connsiteY3" fmla="*/ 2954349 h 3698420"/>
              <a:gd name="connsiteX4" fmla="*/ 3573380 w 13485152"/>
              <a:gd name="connsiteY4" fmla="*/ 3375454 h 3698420"/>
              <a:gd name="connsiteX5" fmla="*/ 4957011 w 13485152"/>
              <a:gd name="connsiteY5" fmla="*/ 102864 h 3698420"/>
              <a:gd name="connsiteX6" fmla="*/ 7688180 w 13485152"/>
              <a:gd name="connsiteY6" fmla="*/ 872886 h 3698420"/>
              <a:gd name="connsiteX7" fmla="*/ 10732169 w 13485152"/>
              <a:gd name="connsiteY7" fmla="*/ 6611 h 3698420"/>
              <a:gd name="connsiteX8" fmla="*/ 11542181 w 13485152"/>
              <a:gd name="connsiteY8" fmla="*/ 1438370 h 3698420"/>
              <a:gd name="connsiteX9" fmla="*/ 9432758 w 13485152"/>
              <a:gd name="connsiteY9" fmla="*/ 1354149 h 3698420"/>
              <a:gd name="connsiteX10" fmla="*/ 8305122 w 13485152"/>
              <a:gd name="connsiteY10" fmla="*/ 2834034 h 3698420"/>
              <a:gd name="connsiteX11" fmla="*/ 11021921 w 13485152"/>
              <a:gd name="connsiteY11" fmla="*/ 2858097 h 3698420"/>
              <a:gd name="connsiteX12" fmla="*/ 12031911 w 13485152"/>
              <a:gd name="connsiteY12" fmla="*/ 2785907 h 3698420"/>
              <a:gd name="connsiteX13" fmla="*/ 13480355 w 13485152"/>
              <a:gd name="connsiteY13" fmla="*/ 3122791 h 3698420"/>
              <a:gd name="connsiteX0" fmla="*/ 0 w 13485152"/>
              <a:gd name="connsiteY0" fmla="*/ 1419976 h 3692057"/>
              <a:gd name="connsiteX1" fmla="*/ 1888959 w 13485152"/>
              <a:gd name="connsiteY1" fmla="*/ 120565 h 3692057"/>
              <a:gd name="connsiteX2" fmla="*/ 2947738 w 13485152"/>
              <a:gd name="connsiteY2" fmla="*/ 1323723 h 3692057"/>
              <a:gd name="connsiteX3" fmla="*/ 998622 w 13485152"/>
              <a:gd name="connsiteY3" fmla="*/ 2947986 h 3692057"/>
              <a:gd name="connsiteX4" fmla="*/ 3573380 w 13485152"/>
              <a:gd name="connsiteY4" fmla="*/ 3369091 h 3692057"/>
              <a:gd name="connsiteX5" fmla="*/ 4957011 w 13485152"/>
              <a:gd name="connsiteY5" fmla="*/ 96501 h 3692057"/>
              <a:gd name="connsiteX6" fmla="*/ 7544797 w 13485152"/>
              <a:gd name="connsiteY6" fmla="*/ 1540292 h 3692057"/>
              <a:gd name="connsiteX7" fmla="*/ 10732169 w 13485152"/>
              <a:gd name="connsiteY7" fmla="*/ 248 h 3692057"/>
              <a:gd name="connsiteX8" fmla="*/ 11542181 w 13485152"/>
              <a:gd name="connsiteY8" fmla="*/ 1432007 h 3692057"/>
              <a:gd name="connsiteX9" fmla="*/ 9432758 w 13485152"/>
              <a:gd name="connsiteY9" fmla="*/ 1347786 h 3692057"/>
              <a:gd name="connsiteX10" fmla="*/ 8305122 w 13485152"/>
              <a:gd name="connsiteY10" fmla="*/ 2827671 h 3692057"/>
              <a:gd name="connsiteX11" fmla="*/ 11021921 w 13485152"/>
              <a:gd name="connsiteY11" fmla="*/ 2851734 h 3692057"/>
              <a:gd name="connsiteX12" fmla="*/ 12031911 w 13485152"/>
              <a:gd name="connsiteY12" fmla="*/ 2779544 h 3692057"/>
              <a:gd name="connsiteX13" fmla="*/ 13480355 w 13485152"/>
              <a:gd name="connsiteY13" fmla="*/ 3116428 h 3692057"/>
              <a:gd name="connsiteX0" fmla="*/ 0 w 13485152"/>
              <a:gd name="connsiteY0" fmla="*/ 1419976 h 3604285"/>
              <a:gd name="connsiteX1" fmla="*/ 1888959 w 13485152"/>
              <a:gd name="connsiteY1" fmla="*/ 120565 h 3604285"/>
              <a:gd name="connsiteX2" fmla="*/ 2947738 w 13485152"/>
              <a:gd name="connsiteY2" fmla="*/ 1323723 h 3604285"/>
              <a:gd name="connsiteX3" fmla="*/ 998622 w 13485152"/>
              <a:gd name="connsiteY3" fmla="*/ 2947986 h 3604285"/>
              <a:gd name="connsiteX4" fmla="*/ 3573380 w 13485152"/>
              <a:gd name="connsiteY4" fmla="*/ 3369091 h 3604285"/>
              <a:gd name="connsiteX5" fmla="*/ 5255729 w 13485152"/>
              <a:gd name="connsiteY5" fmla="*/ 1371849 h 3604285"/>
              <a:gd name="connsiteX6" fmla="*/ 7544797 w 13485152"/>
              <a:gd name="connsiteY6" fmla="*/ 1540292 h 3604285"/>
              <a:gd name="connsiteX7" fmla="*/ 10732169 w 13485152"/>
              <a:gd name="connsiteY7" fmla="*/ 248 h 3604285"/>
              <a:gd name="connsiteX8" fmla="*/ 11542181 w 13485152"/>
              <a:gd name="connsiteY8" fmla="*/ 1432007 h 3604285"/>
              <a:gd name="connsiteX9" fmla="*/ 9432758 w 13485152"/>
              <a:gd name="connsiteY9" fmla="*/ 1347786 h 3604285"/>
              <a:gd name="connsiteX10" fmla="*/ 8305122 w 13485152"/>
              <a:gd name="connsiteY10" fmla="*/ 2827671 h 3604285"/>
              <a:gd name="connsiteX11" fmla="*/ 11021921 w 13485152"/>
              <a:gd name="connsiteY11" fmla="*/ 2851734 h 3604285"/>
              <a:gd name="connsiteX12" fmla="*/ 12031911 w 13485152"/>
              <a:gd name="connsiteY12" fmla="*/ 2779544 h 3604285"/>
              <a:gd name="connsiteX13" fmla="*/ 13480355 w 13485152"/>
              <a:gd name="connsiteY13" fmla="*/ 3116428 h 3604285"/>
              <a:gd name="connsiteX0" fmla="*/ 0 w 13485152"/>
              <a:gd name="connsiteY0" fmla="*/ 1299799 h 3484108"/>
              <a:gd name="connsiteX1" fmla="*/ 1888959 w 13485152"/>
              <a:gd name="connsiteY1" fmla="*/ 388 h 3484108"/>
              <a:gd name="connsiteX2" fmla="*/ 2947738 w 13485152"/>
              <a:gd name="connsiteY2" fmla="*/ 1203546 h 3484108"/>
              <a:gd name="connsiteX3" fmla="*/ 998622 w 13485152"/>
              <a:gd name="connsiteY3" fmla="*/ 2827809 h 3484108"/>
              <a:gd name="connsiteX4" fmla="*/ 3573380 w 13485152"/>
              <a:gd name="connsiteY4" fmla="*/ 3248914 h 3484108"/>
              <a:gd name="connsiteX5" fmla="*/ 5255729 w 13485152"/>
              <a:gd name="connsiteY5" fmla="*/ 1251672 h 3484108"/>
              <a:gd name="connsiteX6" fmla="*/ 7544797 w 13485152"/>
              <a:gd name="connsiteY6" fmla="*/ 1420115 h 3484108"/>
              <a:gd name="connsiteX7" fmla="*/ 10325913 w 13485152"/>
              <a:gd name="connsiteY7" fmla="*/ 806503 h 3484108"/>
              <a:gd name="connsiteX8" fmla="*/ 11542181 w 13485152"/>
              <a:gd name="connsiteY8" fmla="*/ 1311830 h 3484108"/>
              <a:gd name="connsiteX9" fmla="*/ 9432758 w 13485152"/>
              <a:gd name="connsiteY9" fmla="*/ 1227609 h 3484108"/>
              <a:gd name="connsiteX10" fmla="*/ 8305122 w 13485152"/>
              <a:gd name="connsiteY10" fmla="*/ 2707494 h 3484108"/>
              <a:gd name="connsiteX11" fmla="*/ 11021921 w 13485152"/>
              <a:gd name="connsiteY11" fmla="*/ 2731557 h 3484108"/>
              <a:gd name="connsiteX12" fmla="*/ 12031911 w 13485152"/>
              <a:gd name="connsiteY12" fmla="*/ 2659367 h 3484108"/>
              <a:gd name="connsiteX13" fmla="*/ 13480355 w 13485152"/>
              <a:gd name="connsiteY13" fmla="*/ 2996251 h 3484108"/>
              <a:gd name="connsiteX0" fmla="*/ 0 w 13485152"/>
              <a:gd name="connsiteY0" fmla="*/ 1299799 h 3484108"/>
              <a:gd name="connsiteX1" fmla="*/ 1888959 w 13485152"/>
              <a:gd name="connsiteY1" fmla="*/ 388 h 3484108"/>
              <a:gd name="connsiteX2" fmla="*/ 2947738 w 13485152"/>
              <a:gd name="connsiteY2" fmla="*/ 1203546 h 3484108"/>
              <a:gd name="connsiteX3" fmla="*/ 998622 w 13485152"/>
              <a:gd name="connsiteY3" fmla="*/ 2827809 h 3484108"/>
              <a:gd name="connsiteX4" fmla="*/ 3573380 w 13485152"/>
              <a:gd name="connsiteY4" fmla="*/ 3248914 h 3484108"/>
              <a:gd name="connsiteX5" fmla="*/ 5255729 w 13485152"/>
              <a:gd name="connsiteY5" fmla="*/ 1251672 h 3484108"/>
              <a:gd name="connsiteX6" fmla="*/ 7544797 w 13485152"/>
              <a:gd name="connsiteY6" fmla="*/ 1420115 h 3484108"/>
              <a:gd name="connsiteX7" fmla="*/ 10325913 w 13485152"/>
              <a:gd name="connsiteY7" fmla="*/ 806503 h 3484108"/>
              <a:gd name="connsiteX8" fmla="*/ 11542181 w 13485152"/>
              <a:gd name="connsiteY8" fmla="*/ 1311830 h 3484108"/>
              <a:gd name="connsiteX9" fmla="*/ 8918964 w 13485152"/>
              <a:gd name="connsiteY9" fmla="*/ 2009662 h 3484108"/>
              <a:gd name="connsiteX10" fmla="*/ 8305122 w 13485152"/>
              <a:gd name="connsiteY10" fmla="*/ 2707494 h 3484108"/>
              <a:gd name="connsiteX11" fmla="*/ 11021921 w 13485152"/>
              <a:gd name="connsiteY11" fmla="*/ 2731557 h 3484108"/>
              <a:gd name="connsiteX12" fmla="*/ 12031911 w 13485152"/>
              <a:gd name="connsiteY12" fmla="*/ 2659367 h 3484108"/>
              <a:gd name="connsiteX13" fmla="*/ 13480355 w 13485152"/>
              <a:gd name="connsiteY13" fmla="*/ 2996251 h 3484108"/>
              <a:gd name="connsiteX0" fmla="*/ 0 w 13485152"/>
              <a:gd name="connsiteY0" fmla="*/ 1299799 h 3484108"/>
              <a:gd name="connsiteX1" fmla="*/ 1888959 w 13485152"/>
              <a:gd name="connsiteY1" fmla="*/ 388 h 3484108"/>
              <a:gd name="connsiteX2" fmla="*/ 2947738 w 13485152"/>
              <a:gd name="connsiteY2" fmla="*/ 1203546 h 3484108"/>
              <a:gd name="connsiteX3" fmla="*/ 998622 w 13485152"/>
              <a:gd name="connsiteY3" fmla="*/ 2827809 h 3484108"/>
              <a:gd name="connsiteX4" fmla="*/ 3573380 w 13485152"/>
              <a:gd name="connsiteY4" fmla="*/ 3248914 h 3484108"/>
              <a:gd name="connsiteX5" fmla="*/ 5255729 w 13485152"/>
              <a:gd name="connsiteY5" fmla="*/ 1251672 h 3484108"/>
              <a:gd name="connsiteX6" fmla="*/ 7544797 w 13485152"/>
              <a:gd name="connsiteY6" fmla="*/ 1420115 h 3484108"/>
              <a:gd name="connsiteX7" fmla="*/ 10325913 w 13485152"/>
              <a:gd name="connsiteY7" fmla="*/ 806503 h 3484108"/>
              <a:gd name="connsiteX8" fmla="*/ 11542181 w 13485152"/>
              <a:gd name="connsiteY8" fmla="*/ 1311830 h 3484108"/>
              <a:gd name="connsiteX9" fmla="*/ 8918964 w 13485152"/>
              <a:gd name="connsiteY9" fmla="*/ 2009662 h 3484108"/>
              <a:gd name="connsiteX10" fmla="*/ 9153481 w 13485152"/>
              <a:gd name="connsiteY10" fmla="*/ 3309073 h 3484108"/>
              <a:gd name="connsiteX11" fmla="*/ 11021921 w 13485152"/>
              <a:gd name="connsiteY11" fmla="*/ 2731557 h 3484108"/>
              <a:gd name="connsiteX12" fmla="*/ 12031911 w 13485152"/>
              <a:gd name="connsiteY12" fmla="*/ 2659367 h 3484108"/>
              <a:gd name="connsiteX13" fmla="*/ 13480355 w 13485152"/>
              <a:gd name="connsiteY13" fmla="*/ 2996251 h 3484108"/>
              <a:gd name="connsiteX0" fmla="*/ 0 w 13485152"/>
              <a:gd name="connsiteY0" fmla="*/ 1299799 h 3484108"/>
              <a:gd name="connsiteX1" fmla="*/ 1888959 w 13485152"/>
              <a:gd name="connsiteY1" fmla="*/ 388 h 3484108"/>
              <a:gd name="connsiteX2" fmla="*/ 2947738 w 13485152"/>
              <a:gd name="connsiteY2" fmla="*/ 1203546 h 3484108"/>
              <a:gd name="connsiteX3" fmla="*/ 998622 w 13485152"/>
              <a:gd name="connsiteY3" fmla="*/ 2827809 h 3484108"/>
              <a:gd name="connsiteX4" fmla="*/ 3573380 w 13485152"/>
              <a:gd name="connsiteY4" fmla="*/ 3248914 h 3484108"/>
              <a:gd name="connsiteX5" fmla="*/ 5255729 w 13485152"/>
              <a:gd name="connsiteY5" fmla="*/ 1251672 h 3484108"/>
              <a:gd name="connsiteX6" fmla="*/ 7544797 w 13485152"/>
              <a:gd name="connsiteY6" fmla="*/ 1420115 h 3484108"/>
              <a:gd name="connsiteX7" fmla="*/ 10325913 w 13485152"/>
              <a:gd name="connsiteY7" fmla="*/ 806503 h 3484108"/>
              <a:gd name="connsiteX8" fmla="*/ 11542181 w 13485152"/>
              <a:gd name="connsiteY8" fmla="*/ 1311830 h 3484108"/>
              <a:gd name="connsiteX9" fmla="*/ 8918964 w 13485152"/>
              <a:gd name="connsiteY9" fmla="*/ 2009662 h 3484108"/>
              <a:gd name="connsiteX10" fmla="*/ 8567994 w 13485152"/>
              <a:gd name="connsiteY10" fmla="*/ 3164694 h 3484108"/>
              <a:gd name="connsiteX11" fmla="*/ 11021921 w 13485152"/>
              <a:gd name="connsiteY11" fmla="*/ 2731557 h 3484108"/>
              <a:gd name="connsiteX12" fmla="*/ 12031911 w 13485152"/>
              <a:gd name="connsiteY12" fmla="*/ 2659367 h 3484108"/>
              <a:gd name="connsiteX13" fmla="*/ 13480355 w 13485152"/>
              <a:gd name="connsiteY13" fmla="*/ 2996251 h 3484108"/>
              <a:gd name="connsiteX0" fmla="*/ 0 w 13485168"/>
              <a:gd name="connsiteY0" fmla="*/ 1299799 h 3484108"/>
              <a:gd name="connsiteX1" fmla="*/ 1888959 w 13485168"/>
              <a:gd name="connsiteY1" fmla="*/ 388 h 3484108"/>
              <a:gd name="connsiteX2" fmla="*/ 2947738 w 13485168"/>
              <a:gd name="connsiteY2" fmla="*/ 1203546 h 3484108"/>
              <a:gd name="connsiteX3" fmla="*/ 998622 w 13485168"/>
              <a:gd name="connsiteY3" fmla="*/ 2827809 h 3484108"/>
              <a:gd name="connsiteX4" fmla="*/ 3573380 w 13485168"/>
              <a:gd name="connsiteY4" fmla="*/ 3248914 h 3484108"/>
              <a:gd name="connsiteX5" fmla="*/ 5255729 w 13485168"/>
              <a:gd name="connsiteY5" fmla="*/ 1251672 h 3484108"/>
              <a:gd name="connsiteX6" fmla="*/ 7544797 w 13485168"/>
              <a:gd name="connsiteY6" fmla="*/ 1420115 h 3484108"/>
              <a:gd name="connsiteX7" fmla="*/ 10325913 w 13485168"/>
              <a:gd name="connsiteY7" fmla="*/ 806503 h 3484108"/>
              <a:gd name="connsiteX8" fmla="*/ 11542181 w 13485168"/>
              <a:gd name="connsiteY8" fmla="*/ 1311830 h 3484108"/>
              <a:gd name="connsiteX9" fmla="*/ 8918964 w 13485168"/>
              <a:gd name="connsiteY9" fmla="*/ 2009662 h 3484108"/>
              <a:gd name="connsiteX10" fmla="*/ 8567994 w 13485168"/>
              <a:gd name="connsiteY10" fmla="*/ 3164694 h 3484108"/>
              <a:gd name="connsiteX11" fmla="*/ 10998024 w 13485168"/>
              <a:gd name="connsiteY11" fmla="*/ 2960157 h 3484108"/>
              <a:gd name="connsiteX12" fmla="*/ 12031911 w 13485168"/>
              <a:gd name="connsiteY12" fmla="*/ 2659367 h 3484108"/>
              <a:gd name="connsiteX13" fmla="*/ 13480355 w 13485168"/>
              <a:gd name="connsiteY13" fmla="*/ 2996251 h 3484108"/>
              <a:gd name="connsiteX0" fmla="*/ 0 w 13480355"/>
              <a:gd name="connsiteY0" fmla="*/ 1299799 h 3484108"/>
              <a:gd name="connsiteX1" fmla="*/ 1888959 w 13480355"/>
              <a:gd name="connsiteY1" fmla="*/ 388 h 3484108"/>
              <a:gd name="connsiteX2" fmla="*/ 2947738 w 13480355"/>
              <a:gd name="connsiteY2" fmla="*/ 1203546 h 3484108"/>
              <a:gd name="connsiteX3" fmla="*/ 998622 w 13480355"/>
              <a:gd name="connsiteY3" fmla="*/ 2827809 h 3484108"/>
              <a:gd name="connsiteX4" fmla="*/ 3573380 w 13480355"/>
              <a:gd name="connsiteY4" fmla="*/ 3248914 h 3484108"/>
              <a:gd name="connsiteX5" fmla="*/ 5255729 w 13480355"/>
              <a:gd name="connsiteY5" fmla="*/ 1251672 h 3484108"/>
              <a:gd name="connsiteX6" fmla="*/ 7544797 w 13480355"/>
              <a:gd name="connsiteY6" fmla="*/ 1420115 h 3484108"/>
              <a:gd name="connsiteX7" fmla="*/ 10325913 w 13480355"/>
              <a:gd name="connsiteY7" fmla="*/ 806503 h 3484108"/>
              <a:gd name="connsiteX8" fmla="*/ 11542181 w 13480355"/>
              <a:gd name="connsiteY8" fmla="*/ 1311830 h 3484108"/>
              <a:gd name="connsiteX9" fmla="*/ 8918964 w 13480355"/>
              <a:gd name="connsiteY9" fmla="*/ 2009662 h 3484108"/>
              <a:gd name="connsiteX10" fmla="*/ 8567994 w 13480355"/>
              <a:gd name="connsiteY10" fmla="*/ 3164694 h 3484108"/>
              <a:gd name="connsiteX11" fmla="*/ 10998024 w 13480355"/>
              <a:gd name="connsiteY11" fmla="*/ 2960157 h 3484108"/>
              <a:gd name="connsiteX12" fmla="*/ 13480355 w 13480355"/>
              <a:gd name="connsiteY12" fmla="*/ 2996251 h 3484108"/>
              <a:gd name="connsiteX0" fmla="*/ 0 w 11584575"/>
              <a:gd name="connsiteY0" fmla="*/ 1299799 h 3484108"/>
              <a:gd name="connsiteX1" fmla="*/ 1888959 w 11584575"/>
              <a:gd name="connsiteY1" fmla="*/ 388 h 3484108"/>
              <a:gd name="connsiteX2" fmla="*/ 2947738 w 11584575"/>
              <a:gd name="connsiteY2" fmla="*/ 1203546 h 3484108"/>
              <a:gd name="connsiteX3" fmla="*/ 998622 w 11584575"/>
              <a:gd name="connsiteY3" fmla="*/ 2827809 h 3484108"/>
              <a:gd name="connsiteX4" fmla="*/ 3573380 w 11584575"/>
              <a:gd name="connsiteY4" fmla="*/ 3248914 h 3484108"/>
              <a:gd name="connsiteX5" fmla="*/ 5255729 w 11584575"/>
              <a:gd name="connsiteY5" fmla="*/ 1251672 h 3484108"/>
              <a:gd name="connsiteX6" fmla="*/ 7544797 w 11584575"/>
              <a:gd name="connsiteY6" fmla="*/ 1420115 h 3484108"/>
              <a:gd name="connsiteX7" fmla="*/ 10325913 w 11584575"/>
              <a:gd name="connsiteY7" fmla="*/ 806503 h 3484108"/>
              <a:gd name="connsiteX8" fmla="*/ 11542181 w 11584575"/>
              <a:gd name="connsiteY8" fmla="*/ 1311830 h 3484108"/>
              <a:gd name="connsiteX9" fmla="*/ 8918964 w 11584575"/>
              <a:gd name="connsiteY9" fmla="*/ 2009662 h 3484108"/>
              <a:gd name="connsiteX10" fmla="*/ 8567994 w 11584575"/>
              <a:gd name="connsiteY10" fmla="*/ 3164694 h 3484108"/>
              <a:gd name="connsiteX11" fmla="*/ 10998024 w 11584575"/>
              <a:gd name="connsiteY11" fmla="*/ 2960157 h 3484108"/>
              <a:gd name="connsiteX0" fmla="*/ 0 w 13053199"/>
              <a:gd name="connsiteY0" fmla="*/ 1299799 h 3484108"/>
              <a:gd name="connsiteX1" fmla="*/ 1888959 w 13053199"/>
              <a:gd name="connsiteY1" fmla="*/ 388 h 3484108"/>
              <a:gd name="connsiteX2" fmla="*/ 2947738 w 13053199"/>
              <a:gd name="connsiteY2" fmla="*/ 1203546 h 3484108"/>
              <a:gd name="connsiteX3" fmla="*/ 998622 w 13053199"/>
              <a:gd name="connsiteY3" fmla="*/ 2827809 h 3484108"/>
              <a:gd name="connsiteX4" fmla="*/ 3573380 w 13053199"/>
              <a:gd name="connsiteY4" fmla="*/ 3248914 h 3484108"/>
              <a:gd name="connsiteX5" fmla="*/ 5255729 w 13053199"/>
              <a:gd name="connsiteY5" fmla="*/ 1251672 h 3484108"/>
              <a:gd name="connsiteX6" fmla="*/ 7544797 w 13053199"/>
              <a:gd name="connsiteY6" fmla="*/ 1420115 h 3484108"/>
              <a:gd name="connsiteX7" fmla="*/ 10325913 w 13053199"/>
              <a:gd name="connsiteY7" fmla="*/ 806503 h 3484108"/>
              <a:gd name="connsiteX8" fmla="*/ 11542181 w 13053199"/>
              <a:gd name="connsiteY8" fmla="*/ 1311830 h 3484108"/>
              <a:gd name="connsiteX9" fmla="*/ 8918964 w 13053199"/>
              <a:gd name="connsiteY9" fmla="*/ 2009662 h 3484108"/>
              <a:gd name="connsiteX10" fmla="*/ 8567994 w 13053199"/>
              <a:gd name="connsiteY10" fmla="*/ 3164694 h 3484108"/>
              <a:gd name="connsiteX11" fmla="*/ 13053199 w 13053199"/>
              <a:gd name="connsiteY11" fmla="*/ 2129978 h 3484108"/>
              <a:gd name="connsiteX0" fmla="*/ 0 w 13053199"/>
              <a:gd name="connsiteY0" fmla="*/ 1299799 h 3484108"/>
              <a:gd name="connsiteX1" fmla="*/ 1888959 w 13053199"/>
              <a:gd name="connsiteY1" fmla="*/ 388 h 3484108"/>
              <a:gd name="connsiteX2" fmla="*/ 2947738 w 13053199"/>
              <a:gd name="connsiteY2" fmla="*/ 1203546 h 3484108"/>
              <a:gd name="connsiteX3" fmla="*/ 998622 w 13053199"/>
              <a:gd name="connsiteY3" fmla="*/ 2827809 h 3484108"/>
              <a:gd name="connsiteX4" fmla="*/ 3573380 w 13053199"/>
              <a:gd name="connsiteY4" fmla="*/ 3248914 h 3484108"/>
              <a:gd name="connsiteX5" fmla="*/ 5255729 w 13053199"/>
              <a:gd name="connsiteY5" fmla="*/ 1251672 h 3484108"/>
              <a:gd name="connsiteX6" fmla="*/ 7544797 w 13053199"/>
              <a:gd name="connsiteY6" fmla="*/ 1420115 h 3484108"/>
              <a:gd name="connsiteX7" fmla="*/ 9298324 w 13053199"/>
              <a:gd name="connsiteY7" fmla="*/ 589935 h 3484108"/>
              <a:gd name="connsiteX8" fmla="*/ 11542181 w 13053199"/>
              <a:gd name="connsiteY8" fmla="*/ 1311830 h 3484108"/>
              <a:gd name="connsiteX9" fmla="*/ 8918964 w 13053199"/>
              <a:gd name="connsiteY9" fmla="*/ 2009662 h 3484108"/>
              <a:gd name="connsiteX10" fmla="*/ 8567994 w 13053199"/>
              <a:gd name="connsiteY10" fmla="*/ 3164694 h 3484108"/>
              <a:gd name="connsiteX11" fmla="*/ 13053199 w 13053199"/>
              <a:gd name="connsiteY11" fmla="*/ 2129978 h 3484108"/>
              <a:gd name="connsiteX0" fmla="*/ 0 w 13053199"/>
              <a:gd name="connsiteY0" fmla="*/ 1299799 h 3484108"/>
              <a:gd name="connsiteX1" fmla="*/ 1888959 w 13053199"/>
              <a:gd name="connsiteY1" fmla="*/ 388 h 3484108"/>
              <a:gd name="connsiteX2" fmla="*/ 2947738 w 13053199"/>
              <a:gd name="connsiteY2" fmla="*/ 1203546 h 3484108"/>
              <a:gd name="connsiteX3" fmla="*/ 998622 w 13053199"/>
              <a:gd name="connsiteY3" fmla="*/ 2827809 h 3484108"/>
              <a:gd name="connsiteX4" fmla="*/ 3573380 w 13053199"/>
              <a:gd name="connsiteY4" fmla="*/ 3248914 h 3484108"/>
              <a:gd name="connsiteX5" fmla="*/ 5255729 w 13053199"/>
              <a:gd name="connsiteY5" fmla="*/ 1251672 h 3484108"/>
              <a:gd name="connsiteX6" fmla="*/ 7544797 w 13053199"/>
              <a:gd name="connsiteY6" fmla="*/ 1420115 h 3484108"/>
              <a:gd name="connsiteX7" fmla="*/ 9298324 w 13053199"/>
              <a:gd name="connsiteY7" fmla="*/ 589935 h 3484108"/>
              <a:gd name="connsiteX8" fmla="*/ 9905210 w 13053199"/>
              <a:gd name="connsiteY8" fmla="*/ 1648714 h 3484108"/>
              <a:gd name="connsiteX9" fmla="*/ 8918964 w 13053199"/>
              <a:gd name="connsiteY9" fmla="*/ 2009662 h 3484108"/>
              <a:gd name="connsiteX10" fmla="*/ 8567994 w 13053199"/>
              <a:gd name="connsiteY10" fmla="*/ 3164694 h 3484108"/>
              <a:gd name="connsiteX11" fmla="*/ 13053199 w 13053199"/>
              <a:gd name="connsiteY11" fmla="*/ 2129978 h 3484108"/>
              <a:gd name="connsiteX0" fmla="*/ 0 w 13053199"/>
              <a:gd name="connsiteY0" fmla="*/ 1299799 h 3484108"/>
              <a:gd name="connsiteX1" fmla="*/ 1888959 w 13053199"/>
              <a:gd name="connsiteY1" fmla="*/ 388 h 3484108"/>
              <a:gd name="connsiteX2" fmla="*/ 2947738 w 13053199"/>
              <a:gd name="connsiteY2" fmla="*/ 1203546 h 3484108"/>
              <a:gd name="connsiteX3" fmla="*/ 998622 w 13053199"/>
              <a:gd name="connsiteY3" fmla="*/ 2827809 h 3484108"/>
              <a:gd name="connsiteX4" fmla="*/ 3573380 w 13053199"/>
              <a:gd name="connsiteY4" fmla="*/ 3248914 h 3484108"/>
              <a:gd name="connsiteX5" fmla="*/ 5255729 w 13053199"/>
              <a:gd name="connsiteY5" fmla="*/ 1251672 h 3484108"/>
              <a:gd name="connsiteX6" fmla="*/ 7544797 w 13053199"/>
              <a:gd name="connsiteY6" fmla="*/ 1420115 h 3484108"/>
              <a:gd name="connsiteX7" fmla="*/ 9298324 w 13053199"/>
              <a:gd name="connsiteY7" fmla="*/ 589935 h 3484108"/>
              <a:gd name="connsiteX8" fmla="*/ 9905210 w 13053199"/>
              <a:gd name="connsiteY8" fmla="*/ 1648714 h 3484108"/>
              <a:gd name="connsiteX9" fmla="*/ 7867478 w 13053199"/>
              <a:gd name="connsiteY9" fmla="*/ 2767651 h 3484108"/>
              <a:gd name="connsiteX10" fmla="*/ 8567994 w 13053199"/>
              <a:gd name="connsiteY10" fmla="*/ 3164694 h 3484108"/>
              <a:gd name="connsiteX11" fmla="*/ 13053199 w 13053199"/>
              <a:gd name="connsiteY11" fmla="*/ 2129978 h 3484108"/>
              <a:gd name="connsiteX0" fmla="*/ 0 w 13053199"/>
              <a:gd name="connsiteY0" fmla="*/ 1299799 h 3522829"/>
              <a:gd name="connsiteX1" fmla="*/ 1888959 w 13053199"/>
              <a:gd name="connsiteY1" fmla="*/ 388 h 3522829"/>
              <a:gd name="connsiteX2" fmla="*/ 2947738 w 13053199"/>
              <a:gd name="connsiteY2" fmla="*/ 1203546 h 3522829"/>
              <a:gd name="connsiteX3" fmla="*/ 998622 w 13053199"/>
              <a:gd name="connsiteY3" fmla="*/ 2827809 h 3522829"/>
              <a:gd name="connsiteX4" fmla="*/ 3573380 w 13053199"/>
              <a:gd name="connsiteY4" fmla="*/ 3248914 h 3522829"/>
              <a:gd name="connsiteX5" fmla="*/ 5255729 w 13053199"/>
              <a:gd name="connsiteY5" fmla="*/ 1251672 h 3522829"/>
              <a:gd name="connsiteX6" fmla="*/ 7544797 w 13053199"/>
              <a:gd name="connsiteY6" fmla="*/ 1420115 h 3522829"/>
              <a:gd name="connsiteX7" fmla="*/ 9298324 w 13053199"/>
              <a:gd name="connsiteY7" fmla="*/ 589935 h 3522829"/>
              <a:gd name="connsiteX8" fmla="*/ 9905210 w 13053199"/>
              <a:gd name="connsiteY8" fmla="*/ 1648714 h 3522829"/>
              <a:gd name="connsiteX9" fmla="*/ 7867478 w 13053199"/>
              <a:gd name="connsiteY9" fmla="*/ 2767651 h 3522829"/>
              <a:gd name="connsiteX10" fmla="*/ 8567994 w 13053199"/>
              <a:gd name="connsiteY10" fmla="*/ 3164694 h 3522829"/>
              <a:gd name="connsiteX11" fmla="*/ 9523113 w 13053199"/>
              <a:gd name="connsiteY11" fmla="*/ 3477513 h 3522829"/>
              <a:gd name="connsiteX12" fmla="*/ 13053199 w 13053199"/>
              <a:gd name="connsiteY12" fmla="*/ 2129978 h 3522829"/>
              <a:gd name="connsiteX0" fmla="*/ 0 w 13053199"/>
              <a:gd name="connsiteY0" fmla="*/ 1299799 h 3491805"/>
              <a:gd name="connsiteX1" fmla="*/ 1888959 w 13053199"/>
              <a:gd name="connsiteY1" fmla="*/ 388 h 3491805"/>
              <a:gd name="connsiteX2" fmla="*/ 2947738 w 13053199"/>
              <a:gd name="connsiteY2" fmla="*/ 1203546 h 3491805"/>
              <a:gd name="connsiteX3" fmla="*/ 998622 w 13053199"/>
              <a:gd name="connsiteY3" fmla="*/ 2827809 h 3491805"/>
              <a:gd name="connsiteX4" fmla="*/ 3573380 w 13053199"/>
              <a:gd name="connsiteY4" fmla="*/ 3248914 h 3491805"/>
              <a:gd name="connsiteX5" fmla="*/ 5255729 w 13053199"/>
              <a:gd name="connsiteY5" fmla="*/ 1251672 h 3491805"/>
              <a:gd name="connsiteX6" fmla="*/ 7544797 w 13053199"/>
              <a:gd name="connsiteY6" fmla="*/ 1420115 h 3491805"/>
              <a:gd name="connsiteX7" fmla="*/ 9298324 w 13053199"/>
              <a:gd name="connsiteY7" fmla="*/ 589935 h 3491805"/>
              <a:gd name="connsiteX8" fmla="*/ 9905210 w 13053199"/>
              <a:gd name="connsiteY8" fmla="*/ 1648714 h 3491805"/>
              <a:gd name="connsiteX9" fmla="*/ 7867478 w 13053199"/>
              <a:gd name="connsiteY9" fmla="*/ 2767651 h 3491805"/>
              <a:gd name="connsiteX10" fmla="*/ 9523113 w 13053199"/>
              <a:gd name="connsiteY10" fmla="*/ 3477513 h 3491805"/>
              <a:gd name="connsiteX11" fmla="*/ 13053199 w 13053199"/>
              <a:gd name="connsiteY11" fmla="*/ 2129978 h 3491805"/>
              <a:gd name="connsiteX0" fmla="*/ 0 w 13053199"/>
              <a:gd name="connsiteY0" fmla="*/ 1299799 h 3525481"/>
              <a:gd name="connsiteX1" fmla="*/ 1888959 w 13053199"/>
              <a:gd name="connsiteY1" fmla="*/ 388 h 3525481"/>
              <a:gd name="connsiteX2" fmla="*/ 2947738 w 13053199"/>
              <a:gd name="connsiteY2" fmla="*/ 1203546 h 3525481"/>
              <a:gd name="connsiteX3" fmla="*/ 998622 w 13053199"/>
              <a:gd name="connsiteY3" fmla="*/ 2827809 h 3525481"/>
              <a:gd name="connsiteX4" fmla="*/ 3573380 w 13053199"/>
              <a:gd name="connsiteY4" fmla="*/ 3248914 h 3525481"/>
              <a:gd name="connsiteX5" fmla="*/ 5255729 w 13053199"/>
              <a:gd name="connsiteY5" fmla="*/ 1251672 h 3525481"/>
              <a:gd name="connsiteX6" fmla="*/ 7544797 w 13053199"/>
              <a:gd name="connsiteY6" fmla="*/ 1420115 h 3525481"/>
              <a:gd name="connsiteX7" fmla="*/ 9298324 w 13053199"/>
              <a:gd name="connsiteY7" fmla="*/ 589935 h 3525481"/>
              <a:gd name="connsiteX8" fmla="*/ 9905210 w 13053199"/>
              <a:gd name="connsiteY8" fmla="*/ 1648714 h 3525481"/>
              <a:gd name="connsiteX9" fmla="*/ 7867478 w 13053199"/>
              <a:gd name="connsiteY9" fmla="*/ 2767651 h 3525481"/>
              <a:gd name="connsiteX10" fmla="*/ 9523113 w 13053199"/>
              <a:gd name="connsiteY10" fmla="*/ 3477513 h 3525481"/>
              <a:gd name="connsiteX11" fmla="*/ 13053199 w 13053199"/>
              <a:gd name="connsiteY11" fmla="*/ 2129978 h 3525481"/>
              <a:gd name="connsiteX0" fmla="*/ 0 w 13053199"/>
              <a:gd name="connsiteY0" fmla="*/ 1299799 h 3525481"/>
              <a:gd name="connsiteX1" fmla="*/ 1888959 w 13053199"/>
              <a:gd name="connsiteY1" fmla="*/ 388 h 3525481"/>
              <a:gd name="connsiteX2" fmla="*/ 2947738 w 13053199"/>
              <a:gd name="connsiteY2" fmla="*/ 1203546 h 3525481"/>
              <a:gd name="connsiteX3" fmla="*/ 998622 w 13053199"/>
              <a:gd name="connsiteY3" fmla="*/ 2827809 h 3525481"/>
              <a:gd name="connsiteX4" fmla="*/ 3573380 w 13053199"/>
              <a:gd name="connsiteY4" fmla="*/ 3248914 h 3525481"/>
              <a:gd name="connsiteX5" fmla="*/ 5255729 w 13053199"/>
              <a:gd name="connsiteY5" fmla="*/ 1251672 h 3525481"/>
              <a:gd name="connsiteX6" fmla="*/ 7544797 w 13053199"/>
              <a:gd name="connsiteY6" fmla="*/ 1420115 h 3525481"/>
              <a:gd name="connsiteX7" fmla="*/ 8975709 w 13053199"/>
              <a:gd name="connsiteY7" fmla="*/ 601966 h 3525481"/>
              <a:gd name="connsiteX8" fmla="*/ 9905210 w 13053199"/>
              <a:gd name="connsiteY8" fmla="*/ 1648714 h 3525481"/>
              <a:gd name="connsiteX9" fmla="*/ 7867478 w 13053199"/>
              <a:gd name="connsiteY9" fmla="*/ 2767651 h 3525481"/>
              <a:gd name="connsiteX10" fmla="*/ 9523113 w 13053199"/>
              <a:gd name="connsiteY10" fmla="*/ 3477513 h 3525481"/>
              <a:gd name="connsiteX11" fmla="*/ 13053199 w 13053199"/>
              <a:gd name="connsiteY11" fmla="*/ 2129978 h 3525481"/>
              <a:gd name="connsiteX0" fmla="*/ 0 w 13053199"/>
              <a:gd name="connsiteY0" fmla="*/ 1299799 h 3525481"/>
              <a:gd name="connsiteX1" fmla="*/ 1888959 w 13053199"/>
              <a:gd name="connsiteY1" fmla="*/ 388 h 3525481"/>
              <a:gd name="connsiteX2" fmla="*/ 2947738 w 13053199"/>
              <a:gd name="connsiteY2" fmla="*/ 1203546 h 3525481"/>
              <a:gd name="connsiteX3" fmla="*/ 998622 w 13053199"/>
              <a:gd name="connsiteY3" fmla="*/ 2827809 h 3525481"/>
              <a:gd name="connsiteX4" fmla="*/ 3573380 w 13053199"/>
              <a:gd name="connsiteY4" fmla="*/ 3248914 h 3525481"/>
              <a:gd name="connsiteX5" fmla="*/ 5255729 w 13053199"/>
              <a:gd name="connsiteY5" fmla="*/ 1251672 h 3525481"/>
              <a:gd name="connsiteX6" fmla="*/ 7544797 w 13053199"/>
              <a:gd name="connsiteY6" fmla="*/ 1420115 h 3525481"/>
              <a:gd name="connsiteX7" fmla="*/ 8975709 w 13053199"/>
              <a:gd name="connsiteY7" fmla="*/ 601966 h 3525481"/>
              <a:gd name="connsiteX8" fmla="*/ 9905210 w 13053199"/>
              <a:gd name="connsiteY8" fmla="*/ 1648714 h 3525481"/>
              <a:gd name="connsiteX9" fmla="*/ 7867478 w 13053199"/>
              <a:gd name="connsiteY9" fmla="*/ 2767651 h 3525481"/>
              <a:gd name="connsiteX10" fmla="*/ 9523113 w 13053199"/>
              <a:gd name="connsiteY10" fmla="*/ 3477513 h 3525481"/>
              <a:gd name="connsiteX11" fmla="*/ 13053199 w 13053199"/>
              <a:gd name="connsiteY11" fmla="*/ 2129978 h 3525481"/>
              <a:gd name="connsiteX0" fmla="*/ 0 w 13053199"/>
              <a:gd name="connsiteY0" fmla="*/ 1299799 h 3525481"/>
              <a:gd name="connsiteX1" fmla="*/ 1888959 w 13053199"/>
              <a:gd name="connsiteY1" fmla="*/ 388 h 3525481"/>
              <a:gd name="connsiteX2" fmla="*/ 2947738 w 13053199"/>
              <a:gd name="connsiteY2" fmla="*/ 1203546 h 3525481"/>
              <a:gd name="connsiteX3" fmla="*/ 998622 w 13053199"/>
              <a:gd name="connsiteY3" fmla="*/ 2827809 h 3525481"/>
              <a:gd name="connsiteX4" fmla="*/ 3573380 w 13053199"/>
              <a:gd name="connsiteY4" fmla="*/ 3248914 h 3525481"/>
              <a:gd name="connsiteX5" fmla="*/ 5255729 w 13053199"/>
              <a:gd name="connsiteY5" fmla="*/ 1251672 h 3525481"/>
              <a:gd name="connsiteX6" fmla="*/ 7544797 w 13053199"/>
              <a:gd name="connsiteY6" fmla="*/ 1420115 h 3525481"/>
              <a:gd name="connsiteX7" fmla="*/ 8975709 w 13053199"/>
              <a:gd name="connsiteY7" fmla="*/ 601966 h 3525481"/>
              <a:gd name="connsiteX8" fmla="*/ 9905210 w 13053199"/>
              <a:gd name="connsiteY8" fmla="*/ 1648714 h 3525481"/>
              <a:gd name="connsiteX9" fmla="*/ 7867478 w 13053199"/>
              <a:gd name="connsiteY9" fmla="*/ 2767651 h 3525481"/>
              <a:gd name="connsiteX10" fmla="*/ 9523113 w 13053199"/>
              <a:gd name="connsiteY10" fmla="*/ 3477513 h 3525481"/>
              <a:gd name="connsiteX11" fmla="*/ 13053199 w 13053199"/>
              <a:gd name="connsiteY11" fmla="*/ 2129978 h 3525481"/>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544797 w 13053199"/>
              <a:gd name="connsiteY6" fmla="*/ 1420115 h 3491446"/>
              <a:gd name="connsiteX7" fmla="*/ 8975709 w 13053199"/>
              <a:gd name="connsiteY7" fmla="*/ 601966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544797 w 13053199"/>
              <a:gd name="connsiteY6" fmla="*/ 1420115 h 3491446"/>
              <a:gd name="connsiteX7" fmla="*/ 8772581 w 13053199"/>
              <a:gd name="connsiteY7" fmla="*/ 722282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544797 w 13053199"/>
              <a:gd name="connsiteY6" fmla="*/ 1420115 h 3491446"/>
              <a:gd name="connsiteX7" fmla="*/ 8772581 w 13053199"/>
              <a:gd name="connsiteY7" fmla="*/ 722282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269978 w 13053199"/>
              <a:gd name="connsiteY6" fmla="*/ 1456210 h 3491446"/>
              <a:gd name="connsiteX7" fmla="*/ 8772581 w 13053199"/>
              <a:gd name="connsiteY7" fmla="*/ 722282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269978 w 13053199"/>
              <a:gd name="connsiteY6" fmla="*/ 1456210 h 3491446"/>
              <a:gd name="connsiteX7" fmla="*/ 8772581 w 13053199"/>
              <a:gd name="connsiteY7" fmla="*/ 722282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269978 w 13053199"/>
              <a:gd name="connsiteY6" fmla="*/ 1456210 h 3491446"/>
              <a:gd name="connsiteX7" fmla="*/ 9095196 w 13053199"/>
              <a:gd name="connsiteY7" fmla="*/ 734314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491446"/>
              <a:gd name="connsiteX1" fmla="*/ 1888959 w 13053199"/>
              <a:gd name="connsiteY1" fmla="*/ 388 h 3491446"/>
              <a:gd name="connsiteX2" fmla="*/ 2947738 w 13053199"/>
              <a:gd name="connsiteY2" fmla="*/ 1203546 h 3491446"/>
              <a:gd name="connsiteX3" fmla="*/ 998622 w 13053199"/>
              <a:gd name="connsiteY3" fmla="*/ 2827809 h 3491446"/>
              <a:gd name="connsiteX4" fmla="*/ 3573380 w 13053199"/>
              <a:gd name="connsiteY4" fmla="*/ 3248914 h 3491446"/>
              <a:gd name="connsiteX5" fmla="*/ 5255729 w 13053199"/>
              <a:gd name="connsiteY5" fmla="*/ 1251672 h 3491446"/>
              <a:gd name="connsiteX6" fmla="*/ 7269978 w 13053199"/>
              <a:gd name="connsiteY6" fmla="*/ 1456210 h 3491446"/>
              <a:gd name="connsiteX7" fmla="*/ 9095196 w 13053199"/>
              <a:gd name="connsiteY7" fmla="*/ 734314 h 3491446"/>
              <a:gd name="connsiteX8" fmla="*/ 9510902 w 13053199"/>
              <a:gd name="connsiteY8" fmla="*/ 1744966 h 3491446"/>
              <a:gd name="connsiteX9" fmla="*/ 7867478 w 13053199"/>
              <a:gd name="connsiteY9" fmla="*/ 2767651 h 3491446"/>
              <a:gd name="connsiteX10" fmla="*/ 9523113 w 13053199"/>
              <a:gd name="connsiteY10" fmla="*/ 3477513 h 3491446"/>
              <a:gd name="connsiteX11" fmla="*/ 13053199 w 13053199"/>
              <a:gd name="connsiteY11" fmla="*/ 2129978 h 3491446"/>
              <a:gd name="connsiteX0" fmla="*/ 0 w 13053199"/>
              <a:gd name="connsiteY0" fmla="*/ 1299799 h 3507171"/>
              <a:gd name="connsiteX1" fmla="*/ 1888959 w 13053199"/>
              <a:gd name="connsiteY1" fmla="*/ 388 h 3507171"/>
              <a:gd name="connsiteX2" fmla="*/ 2947738 w 13053199"/>
              <a:gd name="connsiteY2" fmla="*/ 1203546 h 3507171"/>
              <a:gd name="connsiteX3" fmla="*/ 998622 w 13053199"/>
              <a:gd name="connsiteY3" fmla="*/ 2827809 h 3507171"/>
              <a:gd name="connsiteX4" fmla="*/ 3573380 w 13053199"/>
              <a:gd name="connsiteY4" fmla="*/ 3248914 h 3507171"/>
              <a:gd name="connsiteX5" fmla="*/ 5255729 w 13053199"/>
              <a:gd name="connsiteY5" fmla="*/ 1251672 h 3507171"/>
              <a:gd name="connsiteX6" fmla="*/ 7269978 w 13053199"/>
              <a:gd name="connsiteY6" fmla="*/ 1456210 h 3507171"/>
              <a:gd name="connsiteX7" fmla="*/ 9095196 w 13053199"/>
              <a:gd name="connsiteY7" fmla="*/ 734314 h 3507171"/>
              <a:gd name="connsiteX8" fmla="*/ 9510902 w 13053199"/>
              <a:gd name="connsiteY8" fmla="*/ 1744966 h 3507171"/>
              <a:gd name="connsiteX9" fmla="*/ 7867478 w 13053199"/>
              <a:gd name="connsiteY9" fmla="*/ 2767651 h 3507171"/>
              <a:gd name="connsiteX10" fmla="*/ 9523113 w 13053199"/>
              <a:gd name="connsiteY10" fmla="*/ 3477513 h 3507171"/>
              <a:gd name="connsiteX11" fmla="*/ 13053199 w 13053199"/>
              <a:gd name="connsiteY11" fmla="*/ 2129978 h 3507171"/>
              <a:gd name="connsiteX0" fmla="*/ 0 w 13053199"/>
              <a:gd name="connsiteY0" fmla="*/ 1299799 h 3507171"/>
              <a:gd name="connsiteX1" fmla="*/ 1888959 w 13053199"/>
              <a:gd name="connsiteY1" fmla="*/ 388 h 3507171"/>
              <a:gd name="connsiteX2" fmla="*/ 2947738 w 13053199"/>
              <a:gd name="connsiteY2" fmla="*/ 1203546 h 3507171"/>
              <a:gd name="connsiteX3" fmla="*/ 998622 w 13053199"/>
              <a:gd name="connsiteY3" fmla="*/ 2827809 h 3507171"/>
              <a:gd name="connsiteX4" fmla="*/ 3573380 w 13053199"/>
              <a:gd name="connsiteY4" fmla="*/ 3248914 h 3507171"/>
              <a:gd name="connsiteX5" fmla="*/ 5255729 w 13053199"/>
              <a:gd name="connsiteY5" fmla="*/ 1251672 h 3507171"/>
              <a:gd name="connsiteX6" fmla="*/ 7269978 w 13053199"/>
              <a:gd name="connsiteY6" fmla="*/ 1456210 h 3507171"/>
              <a:gd name="connsiteX7" fmla="*/ 9095196 w 13053199"/>
              <a:gd name="connsiteY7" fmla="*/ 734314 h 3507171"/>
              <a:gd name="connsiteX8" fmla="*/ 9510902 w 13053199"/>
              <a:gd name="connsiteY8" fmla="*/ 1744966 h 3507171"/>
              <a:gd name="connsiteX9" fmla="*/ 7867478 w 13053199"/>
              <a:gd name="connsiteY9" fmla="*/ 2767651 h 3507171"/>
              <a:gd name="connsiteX10" fmla="*/ 9523113 w 13053199"/>
              <a:gd name="connsiteY10" fmla="*/ 3477513 h 3507171"/>
              <a:gd name="connsiteX11" fmla="*/ 13053199 w 13053199"/>
              <a:gd name="connsiteY11" fmla="*/ 2129978 h 3507171"/>
              <a:gd name="connsiteX0" fmla="*/ 0 w 13053199"/>
              <a:gd name="connsiteY0" fmla="*/ 1299799 h 3507171"/>
              <a:gd name="connsiteX1" fmla="*/ 1888959 w 13053199"/>
              <a:gd name="connsiteY1" fmla="*/ 388 h 3507171"/>
              <a:gd name="connsiteX2" fmla="*/ 2947738 w 13053199"/>
              <a:gd name="connsiteY2" fmla="*/ 1203546 h 3507171"/>
              <a:gd name="connsiteX3" fmla="*/ 998622 w 13053199"/>
              <a:gd name="connsiteY3" fmla="*/ 2827809 h 3507171"/>
              <a:gd name="connsiteX4" fmla="*/ 4063276 w 13053199"/>
              <a:gd name="connsiteY4" fmla="*/ 3188756 h 3507171"/>
              <a:gd name="connsiteX5" fmla="*/ 5255729 w 13053199"/>
              <a:gd name="connsiteY5" fmla="*/ 1251672 h 3507171"/>
              <a:gd name="connsiteX6" fmla="*/ 7269978 w 13053199"/>
              <a:gd name="connsiteY6" fmla="*/ 1456210 h 3507171"/>
              <a:gd name="connsiteX7" fmla="*/ 9095196 w 13053199"/>
              <a:gd name="connsiteY7" fmla="*/ 734314 h 3507171"/>
              <a:gd name="connsiteX8" fmla="*/ 9510902 w 13053199"/>
              <a:gd name="connsiteY8" fmla="*/ 1744966 h 3507171"/>
              <a:gd name="connsiteX9" fmla="*/ 7867478 w 13053199"/>
              <a:gd name="connsiteY9" fmla="*/ 2767651 h 3507171"/>
              <a:gd name="connsiteX10" fmla="*/ 9523113 w 13053199"/>
              <a:gd name="connsiteY10" fmla="*/ 3477513 h 3507171"/>
              <a:gd name="connsiteX11" fmla="*/ 13053199 w 13053199"/>
              <a:gd name="connsiteY11" fmla="*/ 2129978 h 3507171"/>
              <a:gd name="connsiteX0" fmla="*/ 0 w 13053199"/>
              <a:gd name="connsiteY0" fmla="*/ 1299676 h 3507048"/>
              <a:gd name="connsiteX1" fmla="*/ 1888959 w 13053199"/>
              <a:gd name="connsiteY1" fmla="*/ 265 h 3507048"/>
              <a:gd name="connsiteX2" fmla="*/ 2947738 w 13053199"/>
              <a:gd name="connsiteY2" fmla="*/ 1203423 h 3507048"/>
              <a:gd name="connsiteX3" fmla="*/ 1679698 w 13053199"/>
              <a:gd name="connsiteY3" fmla="*/ 3020191 h 3507048"/>
              <a:gd name="connsiteX4" fmla="*/ 4063276 w 13053199"/>
              <a:gd name="connsiteY4" fmla="*/ 3188633 h 3507048"/>
              <a:gd name="connsiteX5" fmla="*/ 5255729 w 13053199"/>
              <a:gd name="connsiteY5" fmla="*/ 1251549 h 3507048"/>
              <a:gd name="connsiteX6" fmla="*/ 7269978 w 13053199"/>
              <a:gd name="connsiteY6" fmla="*/ 1456087 h 3507048"/>
              <a:gd name="connsiteX7" fmla="*/ 9095196 w 13053199"/>
              <a:gd name="connsiteY7" fmla="*/ 734191 h 3507048"/>
              <a:gd name="connsiteX8" fmla="*/ 9510902 w 13053199"/>
              <a:gd name="connsiteY8" fmla="*/ 1744843 h 3507048"/>
              <a:gd name="connsiteX9" fmla="*/ 7867478 w 13053199"/>
              <a:gd name="connsiteY9" fmla="*/ 2767528 h 3507048"/>
              <a:gd name="connsiteX10" fmla="*/ 9523113 w 13053199"/>
              <a:gd name="connsiteY10" fmla="*/ 3477390 h 3507048"/>
              <a:gd name="connsiteX11" fmla="*/ 13053199 w 13053199"/>
              <a:gd name="connsiteY11" fmla="*/ 2129855 h 3507048"/>
              <a:gd name="connsiteX0" fmla="*/ 0 w 13053199"/>
              <a:gd name="connsiteY0" fmla="*/ 1299676 h 3556370"/>
              <a:gd name="connsiteX1" fmla="*/ 1888959 w 13053199"/>
              <a:gd name="connsiteY1" fmla="*/ 265 h 3556370"/>
              <a:gd name="connsiteX2" fmla="*/ 2947738 w 13053199"/>
              <a:gd name="connsiteY2" fmla="*/ 1203423 h 3556370"/>
              <a:gd name="connsiteX3" fmla="*/ 1679698 w 13053199"/>
              <a:gd name="connsiteY3" fmla="*/ 3020191 h 3556370"/>
              <a:gd name="connsiteX4" fmla="*/ 4063276 w 13053199"/>
              <a:gd name="connsiteY4" fmla="*/ 3188633 h 3556370"/>
              <a:gd name="connsiteX5" fmla="*/ 5255729 w 13053199"/>
              <a:gd name="connsiteY5" fmla="*/ 1251549 h 3556370"/>
              <a:gd name="connsiteX6" fmla="*/ 7269978 w 13053199"/>
              <a:gd name="connsiteY6" fmla="*/ 1456087 h 3556370"/>
              <a:gd name="connsiteX7" fmla="*/ 9095196 w 13053199"/>
              <a:gd name="connsiteY7" fmla="*/ 734191 h 3556370"/>
              <a:gd name="connsiteX8" fmla="*/ 9510902 w 13053199"/>
              <a:gd name="connsiteY8" fmla="*/ 1744843 h 3556370"/>
              <a:gd name="connsiteX9" fmla="*/ 7867478 w 13053199"/>
              <a:gd name="connsiteY9" fmla="*/ 2767528 h 3556370"/>
              <a:gd name="connsiteX10" fmla="*/ 9523113 w 13053199"/>
              <a:gd name="connsiteY10" fmla="*/ 3477390 h 3556370"/>
              <a:gd name="connsiteX11" fmla="*/ 13053199 w 13053199"/>
              <a:gd name="connsiteY11" fmla="*/ 2129855 h 3556370"/>
              <a:gd name="connsiteX0" fmla="*/ 0 w 13782069"/>
              <a:gd name="connsiteY0" fmla="*/ 1653292 h 3561070"/>
              <a:gd name="connsiteX1" fmla="*/ 2617829 w 13782069"/>
              <a:gd name="connsiteY1" fmla="*/ 4965 h 3561070"/>
              <a:gd name="connsiteX2" fmla="*/ 3676608 w 13782069"/>
              <a:gd name="connsiteY2" fmla="*/ 1208123 h 3561070"/>
              <a:gd name="connsiteX3" fmla="*/ 2408568 w 13782069"/>
              <a:gd name="connsiteY3" fmla="*/ 3024891 h 3561070"/>
              <a:gd name="connsiteX4" fmla="*/ 4792146 w 13782069"/>
              <a:gd name="connsiteY4" fmla="*/ 3193333 h 3561070"/>
              <a:gd name="connsiteX5" fmla="*/ 5984599 w 13782069"/>
              <a:gd name="connsiteY5" fmla="*/ 1256249 h 3561070"/>
              <a:gd name="connsiteX6" fmla="*/ 7998848 w 13782069"/>
              <a:gd name="connsiteY6" fmla="*/ 1460787 h 3561070"/>
              <a:gd name="connsiteX7" fmla="*/ 9824066 w 13782069"/>
              <a:gd name="connsiteY7" fmla="*/ 738891 h 3561070"/>
              <a:gd name="connsiteX8" fmla="*/ 10239772 w 13782069"/>
              <a:gd name="connsiteY8" fmla="*/ 1749543 h 3561070"/>
              <a:gd name="connsiteX9" fmla="*/ 8596348 w 13782069"/>
              <a:gd name="connsiteY9" fmla="*/ 2772228 h 3561070"/>
              <a:gd name="connsiteX10" fmla="*/ 10251983 w 13782069"/>
              <a:gd name="connsiteY10" fmla="*/ 3482090 h 3561070"/>
              <a:gd name="connsiteX11" fmla="*/ 13782069 w 13782069"/>
              <a:gd name="connsiteY11" fmla="*/ 2134555 h 3561070"/>
              <a:gd name="connsiteX0" fmla="*/ 0 w 13782069"/>
              <a:gd name="connsiteY0" fmla="*/ 1651904 h 3559682"/>
              <a:gd name="connsiteX1" fmla="*/ 2617829 w 13782069"/>
              <a:gd name="connsiteY1" fmla="*/ 3577 h 3559682"/>
              <a:gd name="connsiteX2" fmla="*/ 3676608 w 13782069"/>
              <a:gd name="connsiteY2" fmla="*/ 1206735 h 3559682"/>
              <a:gd name="connsiteX3" fmla="*/ 2408568 w 13782069"/>
              <a:gd name="connsiteY3" fmla="*/ 3023503 h 3559682"/>
              <a:gd name="connsiteX4" fmla="*/ 4792146 w 13782069"/>
              <a:gd name="connsiteY4" fmla="*/ 3191945 h 3559682"/>
              <a:gd name="connsiteX5" fmla="*/ 5984599 w 13782069"/>
              <a:gd name="connsiteY5" fmla="*/ 1254861 h 3559682"/>
              <a:gd name="connsiteX6" fmla="*/ 7998848 w 13782069"/>
              <a:gd name="connsiteY6" fmla="*/ 1459399 h 3559682"/>
              <a:gd name="connsiteX7" fmla="*/ 9824066 w 13782069"/>
              <a:gd name="connsiteY7" fmla="*/ 737503 h 3559682"/>
              <a:gd name="connsiteX8" fmla="*/ 10239772 w 13782069"/>
              <a:gd name="connsiteY8" fmla="*/ 1748155 h 3559682"/>
              <a:gd name="connsiteX9" fmla="*/ 8596348 w 13782069"/>
              <a:gd name="connsiteY9" fmla="*/ 2770840 h 3559682"/>
              <a:gd name="connsiteX10" fmla="*/ 10251983 w 13782069"/>
              <a:gd name="connsiteY10" fmla="*/ 3480702 h 3559682"/>
              <a:gd name="connsiteX11" fmla="*/ 13782069 w 13782069"/>
              <a:gd name="connsiteY11" fmla="*/ 2133167 h 3559682"/>
              <a:gd name="connsiteX0" fmla="*/ 0 w 13782069"/>
              <a:gd name="connsiteY0" fmla="*/ 1652509 h 3560287"/>
              <a:gd name="connsiteX1" fmla="*/ 2617829 w 13782069"/>
              <a:gd name="connsiteY1" fmla="*/ 4182 h 3560287"/>
              <a:gd name="connsiteX2" fmla="*/ 3676608 w 13782069"/>
              <a:gd name="connsiteY2" fmla="*/ 1207340 h 3560287"/>
              <a:gd name="connsiteX3" fmla="*/ 2408568 w 13782069"/>
              <a:gd name="connsiteY3" fmla="*/ 3024108 h 3560287"/>
              <a:gd name="connsiteX4" fmla="*/ 4792146 w 13782069"/>
              <a:gd name="connsiteY4" fmla="*/ 3192550 h 3560287"/>
              <a:gd name="connsiteX5" fmla="*/ 5984599 w 13782069"/>
              <a:gd name="connsiteY5" fmla="*/ 1255466 h 3560287"/>
              <a:gd name="connsiteX6" fmla="*/ 7998848 w 13782069"/>
              <a:gd name="connsiteY6" fmla="*/ 1460004 h 3560287"/>
              <a:gd name="connsiteX7" fmla="*/ 9824066 w 13782069"/>
              <a:gd name="connsiteY7" fmla="*/ 738108 h 3560287"/>
              <a:gd name="connsiteX8" fmla="*/ 10239772 w 13782069"/>
              <a:gd name="connsiteY8" fmla="*/ 1748760 h 3560287"/>
              <a:gd name="connsiteX9" fmla="*/ 8596348 w 13782069"/>
              <a:gd name="connsiteY9" fmla="*/ 2771445 h 3560287"/>
              <a:gd name="connsiteX10" fmla="*/ 10251983 w 13782069"/>
              <a:gd name="connsiteY10" fmla="*/ 3481307 h 3560287"/>
              <a:gd name="connsiteX11" fmla="*/ 13782069 w 13782069"/>
              <a:gd name="connsiteY11" fmla="*/ 2133772 h 3560287"/>
              <a:gd name="connsiteX0" fmla="*/ 0 w 13782069"/>
              <a:gd name="connsiteY0" fmla="*/ 1652509 h 3560287"/>
              <a:gd name="connsiteX1" fmla="*/ 2617829 w 13782069"/>
              <a:gd name="connsiteY1" fmla="*/ 4182 h 3560287"/>
              <a:gd name="connsiteX2" fmla="*/ 3676608 w 13782069"/>
              <a:gd name="connsiteY2" fmla="*/ 1207340 h 3560287"/>
              <a:gd name="connsiteX3" fmla="*/ 2408568 w 13782069"/>
              <a:gd name="connsiteY3" fmla="*/ 3024108 h 3560287"/>
              <a:gd name="connsiteX4" fmla="*/ 4792146 w 13782069"/>
              <a:gd name="connsiteY4" fmla="*/ 3192550 h 3560287"/>
              <a:gd name="connsiteX5" fmla="*/ 5984599 w 13782069"/>
              <a:gd name="connsiteY5" fmla="*/ 1255466 h 3560287"/>
              <a:gd name="connsiteX6" fmla="*/ 7998848 w 13782069"/>
              <a:gd name="connsiteY6" fmla="*/ 1460004 h 3560287"/>
              <a:gd name="connsiteX7" fmla="*/ 9824066 w 13782069"/>
              <a:gd name="connsiteY7" fmla="*/ 738108 h 3560287"/>
              <a:gd name="connsiteX8" fmla="*/ 10239772 w 13782069"/>
              <a:gd name="connsiteY8" fmla="*/ 1748760 h 3560287"/>
              <a:gd name="connsiteX9" fmla="*/ 8596348 w 13782069"/>
              <a:gd name="connsiteY9" fmla="*/ 2771445 h 3560287"/>
              <a:gd name="connsiteX10" fmla="*/ 10251983 w 13782069"/>
              <a:gd name="connsiteY10" fmla="*/ 3481307 h 3560287"/>
              <a:gd name="connsiteX11" fmla="*/ 13782069 w 13782069"/>
              <a:gd name="connsiteY11" fmla="*/ 2133772 h 3560287"/>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7998848 w 13782069"/>
              <a:gd name="connsiteY6" fmla="*/ 1460004 h 3636368"/>
              <a:gd name="connsiteX7" fmla="*/ 9824066 w 13782069"/>
              <a:gd name="connsiteY7" fmla="*/ 738108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7927156 w 13782069"/>
              <a:gd name="connsiteY6" fmla="*/ 978741 h 3636368"/>
              <a:gd name="connsiteX7" fmla="*/ 9824066 w 13782069"/>
              <a:gd name="connsiteY7" fmla="*/ 738108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344883 w 13782069"/>
              <a:gd name="connsiteY6" fmla="*/ 1179909 h 3636368"/>
              <a:gd name="connsiteX7" fmla="*/ 9824066 w 13782069"/>
              <a:gd name="connsiteY7" fmla="*/ 738108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344883 w 13782069"/>
              <a:gd name="connsiteY6" fmla="*/ 1179909 h 3636368"/>
              <a:gd name="connsiteX7" fmla="*/ 9824066 w 13782069"/>
              <a:gd name="connsiteY7" fmla="*/ 738108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344883 w 13782069"/>
              <a:gd name="connsiteY6" fmla="*/ 1179909 h 3636368"/>
              <a:gd name="connsiteX7" fmla="*/ 9451893 w 13782069"/>
              <a:gd name="connsiteY7" fmla="*/ 813059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344883 w 13782069"/>
              <a:gd name="connsiteY6" fmla="*/ 1179909 h 3636368"/>
              <a:gd name="connsiteX7" fmla="*/ 9451893 w 13782069"/>
              <a:gd name="connsiteY7" fmla="*/ 813059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9451893 w 13782069"/>
              <a:gd name="connsiteY7" fmla="*/ 813059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9719857 w 13782069"/>
              <a:gd name="connsiteY7" fmla="*/ 903000 h 3636368"/>
              <a:gd name="connsiteX8" fmla="*/ 10239772 w 13782069"/>
              <a:gd name="connsiteY8" fmla="*/ 1748760 h 3636368"/>
              <a:gd name="connsiteX9" fmla="*/ 8596348 w 13782069"/>
              <a:gd name="connsiteY9" fmla="*/ 2771445 h 3636368"/>
              <a:gd name="connsiteX10" fmla="*/ 10251983 w 13782069"/>
              <a:gd name="connsiteY10" fmla="*/ 3481307 h 3636368"/>
              <a:gd name="connsiteX11" fmla="*/ 13782069 w 13782069"/>
              <a:gd name="connsiteY11"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10239772 w 13782069"/>
              <a:gd name="connsiteY7" fmla="*/ 1748760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10165337 w 13782069"/>
              <a:gd name="connsiteY7" fmla="*/ 1359016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10165337 w 13782069"/>
              <a:gd name="connsiteY7" fmla="*/ 1359016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151353 w 13782069"/>
              <a:gd name="connsiteY6" fmla="*/ 1089968 h 3636368"/>
              <a:gd name="connsiteX7" fmla="*/ 10165337 w 13782069"/>
              <a:gd name="connsiteY7" fmla="*/ 1359016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449091 w 13782069"/>
              <a:gd name="connsiteY6" fmla="*/ 670244 h 3636368"/>
              <a:gd name="connsiteX7" fmla="*/ 10165337 w 13782069"/>
              <a:gd name="connsiteY7" fmla="*/ 1359016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449091 w 13782069"/>
              <a:gd name="connsiteY6" fmla="*/ 670244 h 3636368"/>
              <a:gd name="connsiteX7" fmla="*/ 10165337 w 13782069"/>
              <a:gd name="connsiteY7" fmla="*/ 1359016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449091 w 13782069"/>
              <a:gd name="connsiteY6" fmla="*/ 670244 h 3636368"/>
              <a:gd name="connsiteX7" fmla="*/ 9822938 w 13782069"/>
              <a:gd name="connsiteY7" fmla="*/ 1508918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636368"/>
              <a:gd name="connsiteX1" fmla="*/ 2617829 w 13782069"/>
              <a:gd name="connsiteY1" fmla="*/ 4182 h 3636368"/>
              <a:gd name="connsiteX2" fmla="*/ 3676608 w 13782069"/>
              <a:gd name="connsiteY2" fmla="*/ 1207340 h 3636368"/>
              <a:gd name="connsiteX3" fmla="*/ 2408568 w 13782069"/>
              <a:gd name="connsiteY3" fmla="*/ 3024108 h 3636368"/>
              <a:gd name="connsiteX4" fmla="*/ 4792146 w 13782069"/>
              <a:gd name="connsiteY4" fmla="*/ 3192550 h 3636368"/>
              <a:gd name="connsiteX5" fmla="*/ 5984599 w 13782069"/>
              <a:gd name="connsiteY5" fmla="*/ 1255466 h 3636368"/>
              <a:gd name="connsiteX6" fmla="*/ 8449091 w 13782069"/>
              <a:gd name="connsiteY6" fmla="*/ 670244 h 3636368"/>
              <a:gd name="connsiteX7" fmla="*/ 9822938 w 13782069"/>
              <a:gd name="connsiteY7" fmla="*/ 1508918 h 3636368"/>
              <a:gd name="connsiteX8" fmla="*/ 8596348 w 13782069"/>
              <a:gd name="connsiteY8" fmla="*/ 2771445 h 3636368"/>
              <a:gd name="connsiteX9" fmla="*/ 10251983 w 13782069"/>
              <a:gd name="connsiteY9" fmla="*/ 3481307 h 3636368"/>
              <a:gd name="connsiteX10" fmla="*/ 13782069 w 13782069"/>
              <a:gd name="connsiteY10" fmla="*/ 2133772 h 3636368"/>
              <a:gd name="connsiteX0" fmla="*/ 0 w 13782069"/>
              <a:gd name="connsiteY0" fmla="*/ 1652509 h 3549600"/>
              <a:gd name="connsiteX1" fmla="*/ 2617829 w 13782069"/>
              <a:gd name="connsiteY1" fmla="*/ 4182 h 3549600"/>
              <a:gd name="connsiteX2" fmla="*/ 3676608 w 13782069"/>
              <a:gd name="connsiteY2" fmla="*/ 1207340 h 3549600"/>
              <a:gd name="connsiteX3" fmla="*/ 2408568 w 13782069"/>
              <a:gd name="connsiteY3" fmla="*/ 3024108 h 3549600"/>
              <a:gd name="connsiteX4" fmla="*/ 4792146 w 13782069"/>
              <a:gd name="connsiteY4" fmla="*/ 3192550 h 3549600"/>
              <a:gd name="connsiteX5" fmla="*/ 5865504 w 13782069"/>
              <a:gd name="connsiteY5" fmla="*/ 1450338 h 3549600"/>
              <a:gd name="connsiteX6" fmla="*/ 8449091 w 13782069"/>
              <a:gd name="connsiteY6" fmla="*/ 670244 h 3549600"/>
              <a:gd name="connsiteX7" fmla="*/ 9822938 w 13782069"/>
              <a:gd name="connsiteY7" fmla="*/ 1508918 h 3549600"/>
              <a:gd name="connsiteX8" fmla="*/ 8596348 w 13782069"/>
              <a:gd name="connsiteY8" fmla="*/ 2771445 h 3549600"/>
              <a:gd name="connsiteX9" fmla="*/ 10251983 w 13782069"/>
              <a:gd name="connsiteY9" fmla="*/ 3481307 h 3549600"/>
              <a:gd name="connsiteX10" fmla="*/ 13782069 w 13782069"/>
              <a:gd name="connsiteY10" fmla="*/ 2133772 h 3549600"/>
              <a:gd name="connsiteX0" fmla="*/ 0 w 13782069"/>
              <a:gd name="connsiteY0" fmla="*/ 1652509 h 3758856"/>
              <a:gd name="connsiteX1" fmla="*/ 2617829 w 13782069"/>
              <a:gd name="connsiteY1" fmla="*/ 4182 h 3758856"/>
              <a:gd name="connsiteX2" fmla="*/ 3676608 w 13782069"/>
              <a:gd name="connsiteY2" fmla="*/ 1207340 h 3758856"/>
              <a:gd name="connsiteX3" fmla="*/ 2408568 w 13782069"/>
              <a:gd name="connsiteY3" fmla="*/ 3024108 h 3758856"/>
              <a:gd name="connsiteX4" fmla="*/ 3898932 w 13782069"/>
              <a:gd name="connsiteY4" fmla="*/ 3687226 h 3758856"/>
              <a:gd name="connsiteX5" fmla="*/ 5865504 w 13782069"/>
              <a:gd name="connsiteY5" fmla="*/ 1450338 h 3758856"/>
              <a:gd name="connsiteX6" fmla="*/ 8449091 w 13782069"/>
              <a:gd name="connsiteY6" fmla="*/ 670244 h 3758856"/>
              <a:gd name="connsiteX7" fmla="*/ 9822938 w 13782069"/>
              <a:gd name="connsiteY7" fmla="*/ 1508918 h 3758856"/>
              <a:gd name="connsiteX8" fmla="*/ 8596348 w 13782069"/>
              <a:gd name="connsiteY8" fmla="*/ 2771445 h 3758856"/>
              <a:gd name="connsiteX9" fmla="*/ 10251983 w 13782069"/>
              <a:gd name="connsiteY9" fmla="*/ 3481307 h 3758856"/>
              <a:gd name="connsiteX10" fmla="*/ 13782069 w 13782069"/>
              <a:gd name="connsiteY10" fmla="*/ 2133772 h 3758856"/>
              <a:gd name="connsiteX0" fmla="*/ 0 w 13782069"/>
              <a:gd name="connsiteY0" fmla="*/ 1652509 h 3770183"/>
              <a:gd name="connsiteX1" fmla="*/ 2617829 w 13782069"/>
              <a:gd name="connsiteY1" fmla="*/ 4182 h 3770183"/>
              <a:gd name="connsiteX2" fmla="*/ 3676608 w 13782069"/>
              <a:gd name="connsiteY2" fmla="*/ 1207340 h 3770183"/>
              <a:gd name="connsiteX3" fmla="*/ 2408568 w 13782069"/>
              <a:gd name="connsiteY3" fmla="*/ 3024108 h 3770183"/>
              <a:gd name="connsiteX4" fmla="*/ 3898932 w 13782069"/>
              <a:gd name="connsiteY4" fmla="*/ 3687226 h 3770183"/>
              <a:gd name="connsiteX5" fmla="*/ 5865504 w 13782069"/>
              <a:gd name="connsiteY5" fmla="*/ 1450338 h 3770183"/>
              <a:gd name="connsiteX6" fmla="*/ 8449091 w 13782069"/>
              <a:gd name="connsiteY6" fmla="*/ 670244 h 3770183"/>
              <a:gd name="connsiteX7" fmla="*/ 9822938 w 13782069"/>
              <a:gd name="connsiteY7" fmla="*/ 1508918 h 3770183"/>
              <a:gd name="connsiteX8" fmla="*/ 8596348 w 13782069"/>
              <a:gd name="connsiteY8" fmla="*/ 2771445 h 3770183"/>
              <a:gd name="connsiteX9" fmla="*/ 10251983 w 13782069"/>
              <a:gd name="connsiteY9" fmla="*/ 3481307 h 3770183"/>
              <a:gd name="connsiteX10" fmla="*/ 13782069 w 13782069"/>
              <a:gd name="connsiteY10" fmla="*/ 2133772 h 3770183"/>
              <a:gd name="connsiteX0" fmla="*/ 0 w 13782069"/>
              <a:gd name="connsiteY0" fmla="*/ 1652509 h 3794117"/>
              <a:gd name="connsiteX1" fmla="*/ 2617829 w 13782069"/>
              <a:gd name="connsiteY1" fmla="*/ 4182 h 3794117"/>
              <a:gd name="connsiteX2" fmla="*/ 3676608 w 13782069"/>
              <a:gd name="connsiteY2" fmla="*/ 1207340 h 3794117"/>
              <a:gd name="connsiteX3" fmla="*/ 2408568 w 13782069"/>
              <a:gd name="connsiteY3" fmla="*/ 3024108 h 3794117"/>
              <a:gd name="connsiteX4" fmla="*/ 3898932 w 13782069"/>
              <a:gd name="connsiteY4" fmla="*/ 3687226 h 3794117"/>
              <a:gd name="connsiteX5" fmla="*/ 3770942 w 13782069"/>
              <a:gd name="connsiteY5" fmla="*/ 3554894 h 3794117"/>
              <a:gd name="connsiteX6" fmla="*/ 5865504 w 13782069"/>
              <a:gd name="connsiteY6" fmla="*/ 1450338 h 3794117"/>
              <a:gd name="connsiteX7" fmla="*/ 8449091 w 13782069"/>
              <a:gd name="connsiteY7" fmla="*/ 670244 h 3794117"/>
              <a:gd name="connsiteX8" fmla="*/ 9822938 w 13782069"/>
              <a:gd name="connsiteY8" fmla="*/ 1508918 h 3794117"/>
              <a:gd name="connsiteX9" fmla="*/ 8596348 w 13782069"/>
              <a:gd name="connsiteY9" fmla="*/ 2771445 h 3794117"/>
              <a:gd name="connsiteX10" fmla="*/ 10251983 w 13782069"/>
              <a:gd name="connsiteY10" fmla="*/ 3481307 h 3794117"/>
              <a:gd name="connsiteX11" fmla="*/ 13782069 w 13782069"/>
              <a:gd name="connsiteY11" fmla="*/ 2133772 h 3794117"/>
              <a:gd name="connsiteX0" fmla="*/ 0 w 13782069"/>
              <a:gd name="connsiteY0" fmla="*/ 1652509 h 3758856"/>
              <a:gd name="connsiteX1" fmla="*/ 2617829 w 13782069"/>
              <a:gd name="connsiteY1" fmla="*/ 4182 h 3758856"/>
              <a:gd name="connsiteX2" fmla="*/ 3676608 w 13782069"/>
              <a:gd name="connsiteY2" fmla="*/ 1207340 h 3758856"/>
              <a:gd name="connsiteX3" fmla="*/ 2408568 w 13782069"/>
              <a:gd name="connsiteY3" fmla="*/ 3024108 h 3758856"/>
              <a:gd name="connsiteX4" fmla="*/ 3898932 w 13782069"/>
              <a:gd name="connsiteY4" fmla="*/ 3687226 h 3758856"/>
              <a:gd name="connsiteX5" fmla="*/ 5865504 w 13782069"/>
              <a:gd name="connsiteY5" fmla="*/ 1450338 h 3758856"/>
              <a:gd name="connsiteX6" fmla="*/ 8449091 w 13782069"/>
              <a:gd name="connsiteY6" fmla="*/ 670244 h 3758856"/>
              <a:gd name="connsiteX7" fmla="*/ 9822938 w 13782069"/>
              <a:gd name="connsiteY7" fmla="*/ 1508918 h 3758856"/>
              <a:gd name="connsiteX8" fmla="*/ 8596348 w 13782069"/>
              <a:gd name="connsiteY8" fmla="*/ 2771445 h 3758856"/>
              <a:gd name="connsiteX9" fmla="*/ 10251983 w 13782069"/>
              <a:gd name="connsiteY9" fmla="*/ 3481307 h 3758856"/>
              <a:gd name="connsiteX10" fmla="*/ 13782069 w 13782069"/>
              <a:gd name="connsiteY10" fmla="*/ 2133772 h 3758856"/>
              <a:gd name="connsiteX0" fmla="*/ 0 w 13782069"/>
              <a:gd name="connsiteY0" fmla="*/ 1652509 h 3717648"/>
              <a:gd name="connsiteX1" fmla="*/ 2617829 w 13782069"/>
              <a:gd name="connsiteY1" fmla="*/ 4182 h 3717648"/>
              <a:gd name="connsiteX2" fmla="*/ 3676608 w 13782069"/>
              <a:gd name="connsiteY2" fmla="*/ 1207340 h 3717648"/>
              <a:gd name="connsiteX3" fmla="*/ 2408568 w 13782069"/>
              <a:gd name="connsiteY3" fmla="*/ 3024108 h 3717648"/>
              <a:gd name="connsiteX4" fmla="*/ 3794724 w 13782069"/>
              <a:gd name="connsiteY4" fmla="*/ 3642256 h 3717648"/>
              <a:gd name="connsiteX5" fmla="*/ 5865504 w 13782069"/>
              <a:gd name="connsiteY5" fmla="*/ 1450338 h 3717648"/>
              <a:gd name="connsiteX6" fmla="*/ 8449091 w 13782069"/>
              <a:gd name="connsiteY6" fmla="*/ 670244 h 3717648"/>
              <a:gd name="connsiteX7" fmla="*/ 9822938 w 13782069"/>
              <a:gd name="connsiteY7" fmla="*/ 1508918 h 3717648"/>
              <a:gd name="connsiteX8" fmla="*/ 8596348 w 13782069"/>
              <a:gd name="connsiteY8" fmla="*/ 2771445 h 3717648"/>
              <a:gd name="connsiteX9" fmla="*/ 10251983 w 13782069"/>
              <a:gd name="connsiteY9" fmla="*/ 3481307 h 3717648"/>
              <a:gd name="connsiteX10" fmla="*/ 13782069 w 13782069"/>
              <a:gd name="connsiteY10" fmla="*/ 2133772 h 3717648"/>
              <a:gd name="connsiteX0" fmla="*/ 0 w 13782069"/>
              <a:gd name="connsiteY0" fmla="*/ 1652509 h 3674295"/>
              <a:gd name="connsiteX1" fmla="*/ 2617829 w 13782069"/>
              <a:gd name="connsiteY1" fmla="*/ 4182 h 3674295"/>
              <a:gd name="connsiteX2" fmla="*/ 3676608 w 13782069"/>
              <a:gd name="connsiteY2" fmla="*/ 1207340 h 3674295"/>
              <a:gd name="connsiteX3" fmla="*/ 2408568 w 13782069"/>
              <a:gd name="connsiteY3" fmla="*/ 3024108 h 3674295"/>
              <a:gd name="connsiteX4" fmla="*/ 3794724 w 13782069"/>
              <a:gd name="connsiteY4" fmla="*/ 3642256 h 3674295"/>
              <a:gd name="connsiteX5" fmla="*/ 5865504 w 13782069"/>
              <a:gd name="connsiteY5" fmla="*/ 1450338 h 3674295"/>
              <a:gd name="connsiteX6" fmla="*/ 8449091 w 13782069"/>
              <a:gd name="connsiteY6" fmla="*/ 670244 h 3674295"/>
              <a:gd name="connsiteX7" fmla="*/ 9822938 w 13782069"/>
              <a:gd name="connsiteY7" fmla="*/ 1508918 h 3674295"/>
              <a:gd name="connsiteX8" fmla="*/ 8596348 w 13782069"/>
              <a:gd name="connsiteY8" fmla="*/ 2771445 h 3674295"/>
              <a:gd name="connsiteX9" fmla="*/ 10251983 w 13782069"/>
              <a:gd name="connsiteY9" fmla="*/ 3481307 h 3674295"/>
              <a:gd name="connsiteX10" fmla="*/ 13782069 w 13782069"/>
              <a:gd name="connsiteY10" fmla="*/ 2133772 h 3674295"/>
              <a:gd name="connsiteX0" fmla="*/ 0 w 13782069"/>
              <a:gd name="connsiteY0" fmla="*/ 1649325 h 3668858"/>
              <a:gd name="connsiteX1" fmla="*/ 2617829 w 13782069"/>
              <a:gd name="connsiteY1" fmla="*/ 998 h 3668858"/>
              <a:gd name="connsiteX2" fmla="*/ 3512852 w 13782069"/>
              <a:gd name="connsiteY2" fmla="*/ 1443998 h 3668858"/>
              <a:gd name="connsiteX3" fmla="*/ 2408568 w 13782069"/>
              <a:gd name="connsiteY3" fmla="*/ 3020924 h 3668858"/>
              <a:gd name="connsiteX4" fmla="*/ 3794724 w 13782069"/>
              <a:gd name="connsiteY4" fmla="*/ 3639072 h 3668858"/>
              <a:gd name="connsiteX5" fmla="*/ 5865504 w 13782069"/>
              <a:gd name="connsiteY5" fmla="*/ 1447154 h 3668858"/>
              <a:gd name="connsiteX6" fmla="*/ 8449091 w 13782069"/>
              <a:gd name="connsiteY6" fmla="*/ 667060 h 3668858"/>
              <a:gd name="connsiteX7" fmla="*/ 9822938 w 13782069"/>
              <a:gd name="connsiteY7" fmla="*/ 1505734 h 3668858"/>
              <a:gd name="connsiteX8" fmla="*/ 8596348 w 13782069"/>
              <a:gd name="connsiteY8" fmla="*/ 2768261 h 3668858"/>
              <a:gd name="connsiteX9" fmla="*/ 10251983 w 13782069"/>
              <a:gd name="connsiteY9" fmla="*/ 3478123 h 3668858"/>
              <a:gd name="connsiteX10" fmla="*/ 13782069 w 13782069"/>
              <a:gd name="connsiteY10" fmla="*/ 2130588 h 3668858"/>
              <a:gd name="connsiteX0" fmla="*/ 0 w 13782069"/>
              <a:gd name="connsiteY0" fmla="*/ 1649754 h 3669287"/>
              <a:gd name="connsiteX1" fmla="*/ 2617829 w 13782069"/>
              <a:gd name="connsiteY1" fmla="*/ 1427 h 3669287"/>
              <a:gd name="connsiteX2" fmla="*/ 3512852 w 13782069"/>
              <a:gd name="connsiteY2" fmla="*/ 1444427 h 3669287"/>
              <a:gd name="connsiteX3" fmla="*/ 2408568 w 13782069"/>
              <a:gd name="connsiteY3" fmla="*/ 3021353 h 3669287"/>
              <a:gd name="connsiteX4" fmla="*/ 3794724 w 13782069"/>
              <a:gd name="connsiteY4" fmla="*/ 3639501 h 3669287"/>
              <a:gd name="connsiteX5" fmla="*/ 5865504 w 13782069"/>
              <a:gd name="connsiteY5" fmla="*/ 1447583 h 3669287"/>
              <a:gd name="connsiteX6" fmla="*/ 8449091 w 13782069"/>
              <a:gd name="connsiteY6" fmla="*/ 667489 h 3669287"/>
              <a:gd name="connsiteX7" fmla="*/ 9822938 w 13782069"/>
              <a:gd name="connsiteY7" fmla="*/ 1506163 h 3669287"/>
              <a:gd name="connsiteX8" fmla="*/ 8596348 w 13782069"/>
              <a:gd name="connsiteY8" fmla="*/ 2768690 h 3669287"/>
              <a:gd name="connsiteX9" fmla="*/ 10251983 w 13782069"/>
              <a:gd name="connsiteY9" fmla="*/ 3478552 h 3669287"/>
              <a:gd name="connsiteX10" fmla="*/ 13782069 w 13782069"/>
              <a:gd name="connsiteY10" fmla="*/ 2131017 h 3669287"/>
              <a:gd name="connsiteX0" fmla="*/ 0 w 13782069"/>
              <a:gd name="connsiteY0" fmla="*/ 1652002 h 3672485"/>
              <a:gd name="connsiteX1" fmla="*/ 2617829 w 13782069"/>
              <a:gd name="connsiteY1" fmla="*/ 3675 h 3672485"/>
              <a:gd name="connsiteX2" fmla="*/ 3483079 w 13782069"/>
              <a:gd name="connsiteY2" fmla="*/ 1341744 h 3672485"/>
              <a:gd name="connsiteX3" fmla="*/ 2408568 w 13782069"/>
              <a:gd name="connsiteY3" fmla="*/ 3023601 h 3672485"/>
              <a:gd name="connsiteX4" fmla="*/ 3794724 w 13782069"/>
              <a:gd name="connsiteY4" fmla="*/ 3641749 h 3672485"/>
              <a:gd name="connsiteX5" fmla="*/ 5865504 w 13782069"/>
              <a:gd name="connsiteY5" fmla="*/ 1449831 h 3672485"/>
              <a:gd name="connsiteX6" fmla="*/ 8449091 w 13782069"/>
              <a:gd name="connsiteY6" fmla="*/ 669737 h 3672485"/>
              <a:gd name="connsiteX7" fmla="*/ 9822938 w 13782069"/>
              <a:gd name="connsiteY7" fmla="*/ 1508411 h 3672485"/>
              <a:gd name="connsiteX8" fmla="*/ 8596348 w 13782069"/>
              <a:gd name="connsiteY8" fmla="*/ 2770938 h 3672485"/>
              <a:gd name="connsiteX9" fmla="*/ 10251983 w 13782069"/>
              <a:gd name="connsiteY9" fmla="*/ 3480800 h 3672485"/>
              <a:gd name="connsiteX10" fmla="*/ 13782069 w 13782069"/>
              <a:gd name="connsiteY10" fmla="*/ 2133265 h 3672485"/>
              <a:gd name="connsiteX0" fmla="*/ 0 w 13782069"/>
              <a:gd name="connsiteY0" fmla="*/ 1654795 h 3675278"/>
              <a:gd name="connsiteX1" fmla="*/ 2617829 w 13782069"/>
              <a:gd name="connsiteY1" fmla="*/ 6468 h 3675278"/>
              <a:gd name="connsiteX2" fmla="*/ 3483079 w 13782069"/>
              <a:gd name="connsiteY2" fmla="*/ 1344537 h 3675278"/>
              <a:gd name="connsiteX3" fmla="*/ 2408568 w 13782069"/>
              <a:gd name="connsiteY3" fmla="*/ 3026394 h 3675278"/>
              <a:gd name="connsiteX4" fmla="*/ 3794724 w 13782069"/>
              <a:gd name="connsiteY4" fmla="*/ 3644542 h 3675278"/>
              <a:gd name="connsiteX5" fmla="*/ 5865504 w 13782069"/>
              <a:gd name="connsiteY5" fmla="*/ 1452624 h 3675278"/>
              <a:gd name="connsiteX6" fmla="*/ 8449091 w 13782069"/>
              <a:gd name="connsiteY6" fmla="*/ 672530 h 3675278"/>
              <a:gd name="connsiteX7" fmla="*/ 9822938 w 13782069"/>
              <a:gd name="connsiteY7" fmla="*/ 1511204 h 3675278"/>
              <a:gd name="connsiteX8" fmla="*/ 8596348 w 13782069"/>
              <a:gd name="connsiteY8" fmla="*/ 2773731 h 3675278"/>
              <a:gd name="connsiteX9" fmla="*/ 10251983 w 13782069"/>
              <a:gd name="connsiteY9" fmla="*/ 3483593 h 3675278"/>
              <a:gd name="connsiteX10" fmla="*/ 13782069 w 13782069"/>
              <a:gd name="connsiteY10" fmla="*/ 2136058 h 3675278"/>
              <a:gd name="connsiteX0" fmla="*/ 0 w 13782069"/>
              <a:gd name="connsiteY0" fmla="*/ 1650571 h 3752861"/>
              <a:gd name="connsiteX1" fmla="*/ 2617829 w 13782069"/>
              <a:gd name="connsiteY1" fmla="*/ 2244 h 3752861"/>
              <a:gd name="connsiteX2" fmla="*/ 3483079 w 13782069"/>
              <a:gd name="connsiteY2" fmla="*/ 1340313 h 3752861"/>
              <a:gd name="connsiteX3" fmla="*/ 2244812 w 13782069"/>
              <a:gd name="connsiteY3" fmla="*/ 3217043 h 3752861"/>
              <a:gd name="connsiteX4" fmla="*/ 3794724 w 13782069"/>
              <a:gd name="connsiteY4" fmla="*/ 3640318 h 3752861"/>
              <a:gd name="connsiteX5" fmla="*/ 5865504 w 13782069"/>
              <a:gd name="connsiteY5" fmla="*/ 1448400 h 3752861"/>
              <a:gd name="connsiteX6" fmla="*/ 8449091 w 13782069"/>
              <a:gd name="connsiteY6" fmla="*/ 668306 h 3752861"/>
              <a:gd name="connsiteX7" fmla="*/ 9822938 w 13782069"/>
              <a:gd name="connsiteY7" fmla="*/ 1506980 h 3752861"/>
              <a:gd name="connsiteX8" fmla="*/ 8596348 w 13782069"/>
              <a:gd name="connsiteY8" fmla="*/ 2769507 h 3752861"/>
              <a:gd name="connsiteX9" fmla="*/ 10251983 w 13782069"/>
              <a:gd name="connsiteY9" fmla="*/ 3479369 h 3752861"/>
              <a:gd name="connsiteX10" fmla="*/ 13782069 w 13782069"/>
              <a:gd name="connsiteY10" fmla="*/ 2131834 h 3752861"/>
              <a:gd name="connsiteX0" fmla="*/ 0 w 13782069"/>
              <a:gd name="connsiteY0" fmla="*/ 1650571 h 3855092"/>
              <a:gd name="connsiteX1" fmla="*/ 2617829 w 13782069"/>
              <a:gd name="connsiteY1" fmla="*/ 2244 h 3855092"/>
              <a:gd name="connsiteX2" fmla="*/ 3483079 w 13782069"/>
              <a:gd name="connsiteY2" fmla="*/ 1340313 h 3855092"/>
              <a:gd name="connsiteX3" fmla="*/ 2244812 w 13782069"/>
              <a:gd name="connsiteY3" fmla="*/ 3217043 h 3855092"/>
              <a:gd name="connsiteX4" fmla="*/ 3794724 w 13782069"/>
              <a:gd name="connsiteY4" fmla="*/ 3640318 h 3855092"/>
              <a:gd name="connsiteX5" fmla="*/ 5865504 w 13782069"/>
              <a:gd name="connsiteY5" fmla="*/ 1448400 h 3855092"/>
              <a:gd name="connsiteX6" fmla="*/ 8449091 w 13782069"/>
              <a:gd name="connsiteY6" fmla="*/ 668306 h 3855092"/>
              <a:gd name="connsiteX7" fmla="*/ 9822938 w 13782069"/>
              <a:gd name="connsiteY7" fmla="*/ 1506980 h 3855092"/>
              <a:gd name="connsiteX8" fmla="*/ 8596348 w 13782069"/>
              <a:gd name="connsiteY8" fmla="*/ 2769507 h 3855092"/>
              <a:gd name="connsiteX9" fmla="*/ 10251983 w 13782069"/>
              <a:gd name="connsiteY9" fmla="*/ 3479369 h 3855092"/>
              <a:gd name="connsiteX10" fmla="*/ 13782069 w 13782069"/>
              <a:gd name="connsiteY10" fmla="*/ 2131834 h 3855092"/>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596348 w 13782069"/>
              <a:gd name="connsiteY8" fmla="*/ 2770951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596348 w 13782069"/>
              <a:gd name="connsiteY8" fmla="*/ 2770951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596348 w 13782069"/>
              <a:gd name="connsiteY8" fmla="*/ 2770951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596348 w 13782069"/>
              <a:gd name="connsiteY8" fmla="*/ 2770951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596348 w 13782069"/>
              <a:gd name="connsiteY8" fmla="*/ 2770951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075306 w 13782069"/>
              <a:gd name="connsiteY8" fmla="*/ 3010794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822938 w 13782069"/>
              <a:gd name="connsiteY7" fmla="*/ 1508424 h 3856536"/>
              <a:gd name="connsiteX8" fmla="*/ 8075306 w 13782069"/>
              <a:gd name="connsiteY8" fmla="*/ 3010794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748503 w 13782069"/>
              <a:gd name="connsiteY7" fmla="*/ 1508424 h 3856536"/>
              <a:gd name="connsiteX8" fmla="*/ 8075306 w 13782069"/>
              <a:gd name="connsiteY8" fmla="*/ 3010794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010794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010794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0251983 w 13782069"/>
              <a:gd name="connsiteY9" fmla="*/ 3480813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927146 w 13782069"/>
              <a:gd name="connsiteY7" fmla="*/ 1463454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197688 w 13782069"/>
              <a:gd name="connsiteY7" fmla="*/ 1808227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9197688 w 13782069"/>
              <a:gd name="connsiteY7" fmla="*/ 1808227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8840402 w 13782069"/>
              <a:gd name="connsiteY7" fmla="*/ 2257932 h 3856536"/>
              <a:gd name="connsiteX8" fmla="*/ 8075306 w 13782069"/>
              <a:gd name="connsiteY8" fmla="*/ 3295607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8840402 w 13782069"/>
              <a:gd name="connsiteY7" fmla="*/ 2257932 h 3856536"/>
              <a:gd name="connsiteX8" fmla="*/ 7316075 w 13782069"/>
              <a:gd name="connsiteY8" fmla="*/ 3520460 h 3856536"/>
              <a:gd name="connsiteX9" fmla="*/ 11055876 w 13782069"/>
              <a:gd name="connsiteY9" fmla="*/ 3315922 h 3856536"/>
              <a:gd name="connsiteX10" fmla="*/ 13782069 w 13782069"/>
              <a:gd name="connsiteY10" fmla="*/ 2133278 h 3856536"/>
              <a:gd name="connsiteX0" fmla="*/ 0 w 13782069"/>
              <a:gd name="connsiteY0" fmla="*/ 1652015 h 3983361"/>
              <a:gd name="connsiteX1" fmla="*/ 2617829 w 13782069"/>
              <a:gd name="connsiteY1" fmla="*/ 3688 h 3983361"/>
              <a:gd name="connsiteX2" fmla="*/ 3483079 w 13782069"/>
              <a:gd name="connsiteY2" fmla="*/ 1341757 h 3983361"/>
              <a:gd name="connsiteX3" fmla="*/ 2244812 w 13782069"/>
              <a:gd name="connsiteY3" fmla="*/ 3218487 h 3983361"/>
              <a:gd name="connsiteX4" fmla="*/ 3794724 w 13782069"/>
              <a:gd name="connsiteY4" fmla="*/ 3641762 h 3983361"/>
              <a:gd name="connsiteX5" fmla="*/ 5865504 w 13782069"/>
              <a:gd name="connsiteY5" fmla="*/ 1449844 h 3983361"/>
              <a:gd name="connsiteX6" fmla="*/ 8449091 w 13782069"/>
              <a:gd name="connsiteY6" fmla="*/ 669750 h 3983361"/>
              <a:gd name="connsiteX7" fmla="*/ 8840402 w 13782069"/>
              <a:gd name="connsiteY7" fmla="*/ 2257932 h 3983361"/>
              <a:gd name="connsiteX8" fmla="*/ 7316075 w 13782069"/>
              <a:gd name="connsiteY8" fmla="*/ 3520460 h 3983361"/>
              <a:gd name="connsiteX9" fmla="*/ 11055876 w 13782069"/>
              <a:gd name="connsiteY9" fmla="*/ 3315922 h 3983361"/>
              <a:gd name="connsiteX10" fmla="*/ 13782069 w 13782069"/>
              <a:gd name="connsiteY10" fmla="*/ 2133278 h 3983361"/>
              <a:gd name="connsiteX0" fmla="*/ 0 w 13782069"/>
              <a:gd name="connsiteY0" fmla="*/ 1652015 h 3948460"/>
              <a:gd name="connsiteX1" fmla="*/ 2617829 w 13782069"/>
              <a:gd name="connsiteY1" fmla="*/ 3688 h 3948460"/>
              <a:gd name="connsiteX2" fmla="*/ 3483079 w 13782069"/>
              <a:gd name="connsiteY2" fmla="*/ 1341757 h 3948460"/>
              <a:gd name="connsiteX3" fmla="*/ 2244812 w 13782069"/>
              <a:gd name="connsiteY3" fmla="*/ 3218487 h 3948460"/>
              <a:gd name="connsiteX4" fmla="*/ 3794724 w 13782069"/>
              <a:gd name="connsiteY4" fmla="*/ 3641762 h 3948460"/>
              <a:gd name="connsiteX5" fmla="*/ 5865504 w 13782069"/>
              <a:gd name="connsiteY5" fmla="*/ 1449844 h 3948460"/>
              <a:gd name="connsiteX6" fmla="*/ 8449091 w 13782069"/>
              <a:gd name="connsiteY6" fmla="*/ 669750 h 3948460"/>
              <a:gd name="connsiteX7" fmla="*/ 8840402 w 13782069"/>
              <a:gd name="connsiteY7" fmla="*/ 2257932 h 3948460"/>
              <a:gd name="connsiteX8" fmla="*/ 7524492 w 13782069"/>
              <a:gd name="connsiteY8" fmla="*/ 3460499 h 3948460"/>
              <a:gd name="connsiteX9" fmla="*/ 11055876 w 13782069"/>
              <a:gd name="connsiteY9" fmla="*/ 3315922 h 3948460"/>
              <a:gd name="connsiteX10" fmla="*/ 13782069 w 13782069"/>
              <a:gd name="connsiteY10" fmla="*/ 2133278 h 3948460"/>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449091 w 13782069"/>
              <a:gd name="connsiteY6" fmla="*/ 669750 h 3856536"/>
              <a:gd name="connsiteX7" fmla="*/ 8974385 w 13782069"/>
              <a:gd name="connsiteY7" fmla="*/ 1928149 h 3856536"/>
              <a:gd name="connsiteX8" fmla="*/ 7524492 w 13782069"/>
              <a:gd name="connsiteY8" fmla="*/ 3460499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8974385 w 13782069"/>
              <a:gd name="connsiteY7" fmla="*/ 1928149 h 3856536"/>
              <a:gd name="connsiteX8" fmla="*/ 7524492 w 13782069"/>
              <a:gd name="connsiteY8" fmla="*/ 3460499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8974385 w 13782069"/>
              <a:gd name="connsiteY7" fmla="*/ 1928149 h 3856536"/>
              <a:gd name="connsiteX8" fmla="*/ 7524492 w 13782069"/>
              <a:gd name="connsiteY8" fmla="*/ 3460499 h 3856536"/>
              <a:gd name="connsiteX9" fmla="*/ 11055876 w 13782069"/>
              <a:gd name="connsiteY9" fmla="*/ 3315922 h 3856536"/>
              <a:gd name="connsiteX10" fmla="*/ 13782069 w 13782069"/>
              <a:gd name="connsiteY10" fmla="*/ 2133278 h 3856536"/>
              <a:gd name="connsiteX0" fmla="*/ 0 w 13782069"/>
              <a:gd name="connsiteY0" fmla="*/ 1652015 h 3995536"/>
              <a:gd name="connsiteX1" fmla="*/ 2617829 w 13782069"/>
              <a:gd name="connsiteY1" fmla="*/ 3688 h 3995536"/>
              <a:gd name="connsiteX2" fmla="*/ 3483079 w 13782069"/>
              <a:gd name="connsiteY2" fmla="*/ 1341757 h 3995536"/>
              <a:gd name="connsiteX3" fmla="*/ 2244812 w 13782069"/>
              <a:gd name="connsiteY3" fmla="*/ 3218487 h 3995536"/>
              <a:gd name="connsiteX4" fmla="*/ 3794724 w 13782069"/>
              <a:gd name="connsiteY4" fmla="*/ 3641762 h 3995536"/>
              <a:gd name="connsiteX5" fmla="*/ 5865504 w 13782069"/>
              <a:gd name="connsiteY5" fmla="*/ 1449844 h 3995536"/>
              <a:gd name="connsiteX6" fmla="*/ 8225787 w 13782069"/>
              <a:gd name="connsiteY6" fmla="*/ 699730 h 3995536"/>
              <a:gd name="connsiteX7" fmla="*/ 8974385 w 13782069"/>
              <a:gd name="connsiteY7" fmla="*/ 1928149 h 3995536"/>
              <a:gd name="connsiteX8" fmla="*/ 7524492 w 13782069"/>
              <a:gd name="connsiteY8" fmla="*/ 3460499 h 3995536"/>
              <a:gd name="connsiteX9" fmla="*/ 11055876 w 13782069"/>
              <a:gd name="connsiteY9" fmla="*/ 3315922 h 3995536"/>
              <a:gd name="connsiteX10" fmla="*/ 13782069 w 13782069"/>
              <a:gd name="connsiteY10" fmla="*/ 2133278 h 3995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8974385 w 13782069"/>
              <a:gd name="connsiteY7" fmla="*/ 1928149 h 3856536"/>
              <a:gd name="connsiteX8" fmla="*/ 7643587 w 13782069"/>
              <a:gd name="connsiteY8" fmla="*/ 3010794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9123254 w 13782069"/>
              <a:gd name="connsiteY7" fmla="*/ 1673316 h 3856536"/>
              <a:gd name="connsiteX8" fmla="*/ 7643587 w 13782069"/>
              <a:gd name="connsiteY8" fmla="*/ 3010794 h 3856536"/>
              <a:gd name="connsiteX9" fmla="*/ 11055876 w 13782069"/>
              <a:gd name="connsiteY9" fmla="*/ 3315922 h 3856536"/>
              <a:gd name="connsiteX10" fmla="*/ 13782069 w 13782069"/>
              <a:gd name="connsiteY10"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225787 w 13782069"/>
              <a:gd name="connsiteY6" fmla="*/ 699730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821264 w 13782069"/>
              <a:gd name="connsiteY6" fmla="*/ 864621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8821264 w 13782069"/>
              <a:gd name="connsiteY6" fmla="*/ 864621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75946"/>
              <a:gd name="connsiteX1" fmla="*/ 2617829 w 13782069"/>
              <a:gd name="connsiteY1" fmla="*/ 3688 h 3875946"/>
              <a:gd name="connsiteX2" fmla="*/ 3483079 w 13782069"/>
              <a:gd name="connsiteY2" fmla="*/ 1341757 h 3875946"/>
              <a:gd name="connsiteX3" fmla="*/ 2244812 w 13782069"/>
              <a:gd name="connsiteY3" fmla="*/ 3218487 h 3875946"/>
              <a:gd name="connsiteX4" fmla="*/ 3794724 w 13782069"/>
              <a:gd name="connsiteY4" fmla="*/ 3641762 h 3875946"/>
              <a:gd name="connsiteX5" fmla="*/ 5865504 w 13782069"/>
              <a:gd name="connsiteY5" fmla="*/ 1449844 h 3875946"/>
              <a:gd name="connsiteX6" fmla="*/ 8821264 w 13782069"/>
              <a:gd name="connsiteY6" fmla="*/ 864621 h 3875946"/>
              <a:gd name="connsiteX7" fmla="*/ 7643587 w 13782069"/>
              <a:gd name="connsiteY7" fmla="*/ 3010794 h 3875946"/>
              <a:gd name="connsiteX8" fmla="*/ 11055876 w 13782069"/>
              <a:gd name="connsiteY8" fmla="*/ 3315922 h 3875946"/>
              <a:gd name="connsiteX9" fmla="*/ 13782069 w 13782069"/>
              <a:gd name="connsiteY9" fmla="*/ 2133278 h 387594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7347461 w 13782069"/>
              <a:gd name="connsiteY6" fmla="*/ 1036251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56536"/>
              <a:gd name="connsiteX1" fmla="*/ 2617829 w 13782069"/>
              <a:gd name="connsiteY1" fmla="*/ 3688 h 3856536"/>
              <a:gd name="connsiteX2" fmla="*/ 3483079 w 13782069"/>
              <a:gd name="connsiteY2" fmla="*/ 1341757 h 3856536"/>
              <a:gd name="connsiteX3" fmla="*/ 2244812 w 13782069"/>
              <a:gd name="connsiteY3" fmla="*/ 3218487 h 3856536"/>
              <a:gd name="connsiteX4" fmla="*/ 3794724 w 13782069"/>
              <a:gd name="connsiteY4" fmla="*/ 3641762 h 3856536"/>
              <a:gd name="connsiteX5" fmla="*/ 5865504 w 13782069"/>
              <a:gd name="connsiteY5" fmla="*/ 1449844 h 3856536"/>
              <a:gd name="connsiteX6" fmla="*/ 7347461 w 13782069"/>
              <a:gd name="connsiteY6" fmla="*/ 1036251 h 3856536"/>
              <a:gd name="connsiteX7" fmla="*/ 7643587 w 13782069"/>
              <a:gd name="connsiteY7" fmla="*/ 3010794 h 3856536"/>
              <a:gd name="connsiteX8" fmla="*/ 11055876 w 13782069"/>
              <a:gd name="connsiteY8" fmla="*/ 3315922 h 3856536"/>
              <a:gd name="connsiteX9" fmla="*/ 13782069 w 13782069"/>
              <a:gd name="connsiteY9" fmla="*/ 2133278 h 3856536"/>
              <a:gd name="connsiteX0" fmla="*/ 0 w 13782069"/>
              <a:gd name="connsiteY0" fmla="*/ 1652015 h 3811734"/>
              <a:gd name="connsiteX1" fmla="*/ 2617829 w 13782069"/>
              <a:gd name="connsiteY1" fmla="*/ 3688 h 3811734"/>
              <a:gd name="connsiteX2" fmla="*/ 3483079 w 13782069"/>
              <a:gd name="connsiteY2" fmla="*/ 1341757 h 3811734"/>
              <a:gd name="connsiteX3" fmla="*/ 2244812 w 13782069"/>
              <a:gd name="connsiteY3" fmla="*/ 3218487 h 3811734"/>
              <a:gd name="connsiteX4" fmla="*/ 3794724 w 13782069"/>
              <a:gd name="connsiteY4" fmla="*/ 3641762 h 3811734"/>
              <a:gd name="connsiteX5" fmla="*/ 5344464 w 13782069"/>
              <a:gd name="connsiteY5" fmla="*/ 2093455 h 3811734"/>
              <a:gd name="connsiteX6" fmla="*/ 7347461 w 13782069"/>
              <a:gd name="connsiteY6" fmla="*/ 1036251 h 3811734"/>
              <a:gd name="connsiteX7" fmla="*/ 7643587 w 13782069"/>
              <a:gd name="connsiteY7" fmla="*/ 3010794 h 3811734"/>
              <a:gd name="connsiteX8" fmla="*/ 11055876 w 13782069"/>
              <a:gd name="connsiteY8" fmla="*/ 3315922 h 3811734"/>
              <a:gd name="connsiteX9" fmla="*/ 13782069 w 13782069"/>
              <a:gd name="connsiteY9" fmla="*/ 2133278 h 3811734"/>
              <a:gd name="connsiteX0" fmla="*/ 0 w 13782069"/>
              <a:gd name="connsiteY0" fmla="*/ 1652015 h 3885798"/>
              <a:gd name="connsiteX1" fmla="*/ 2617829 w 13782069"/>
              <a:gd name="connsiteY1" fmla="*/ 3688 h 3885798"/>
              <a:gd name="connsiteX2" fmla="*/ 3483079 w 13782069"/>
              <a:gd name="connsiteY2" fmla="*/ 1341757 h 3885798"/>
              <a:gd name="connsiteX3" fmla="*/ 2244812 w 13782069"/>
              <a:gd name="connsiteY3" fmla="*/ 3218487 h 3885798"/>
              <a:gd name="connsiteX4" fmla="*/ 3794724 w 13782069"/>
              <a:gd name="connsiteY4" fmla="*/ 3641762 h 3885798"/>
              <a:gd name="connsiteX5" fmla="*/ 7347461 w 13782069"/>
              <a:gd name="connsiteY5" fmla="*/ 1036251 h 3885798"/>
              <a:gd name="connsiteX6" fmla="*/ 7643587 w 13782069"/>
              <a:gd name="connsiteY6" fmla="*/ 3010794 h 3885798"/>
              <a:gd name="connsiteX7" fmla="*/ 11055876 w 13782069"/>
              <a:gd name="connsiteY7" fmla="*/ 3315922 h 3885798"/>
              <a:gd name="connsiteX8" fmla="*/ 13782069 w 13782069"/>
              <a:gd name="connsiteY8" fmla="*/ 2133278 h 388579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7643587 w 13782069"/>
              <a:gd name="connsiteY6" fmla="*/ 3010794 h 3903128"/>
              <a:gd name="connsiteX7" fmla="*/ 11055876 w 13782069"/>
              <a:gd name="connsiteY7" fmla="*/ 3315922 h 3903128"/>
              <a:gd name="connsiteX8" fmla="*/ 13782069 w 13782069"/>
              <a:gd name="connsiteY8" fmla="*/ 2133278 h 390312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7643587 w 13782069"/>
              <a:gd name="connsiteY6" fmla="*/ 3010794 h 3903128"/>
              <a:gd name="connsiteX7" fmla="*/ 11055876 w 13782069"/>
              <a:gd name="connsiteY7" fmla="*/ 3315922 h 3903128"/>
              <a:gd name="connsiteX8" fmla="*/ 13782069 w 13782069"/>
              <a:gd name="connsiteY8" fmla="*/ 2133278 h 390312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7643587 w 13782069"/>
              <a:gd name="connsiteY6" fmla="*/ 3010794 h 3903128"/>
              <a:gd name="connsiteX7" fmla="*/ 11055876 w 13782069"/>
              <a:gd name="connsiteY7" fmla="*/ 3315922 h 3903128"/>
              <a:gd name="connsiteX8" fmla="*/ 13782069 w 13782069"/>
              <a:gd name="connsiteY8" fmla="*/ 2133278 h 390312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8134855 w 13782069"/>
              <a:gd name="connsiteY6" fmla="*/ 3168121 h 3903128"/>
              <a:gd name="connsiteX7" fmla="*/ 11055876 w 13782069"/>
              <a:gd name="connsiteY7" fmla="*/ 3315922 h 3903128"/>
              <a:gd name="connsiteX8" fmla="*/ 13782069 w 13782069"/>
              <a:gd name="connsiteY8" fmla="*/ 2133278 h 390312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8134855 w 13782069"/>
              <a:gd name="connsiteY6" fmla="*/ 3168121 h 3903128"/>
              <a:gd name="connsiteX7" fmla="*/ 11055876 w 13782069"/>
              <a:gd name="connsiteY7" fmla="*/ 3315922 h 3903128"/>
              <a:gd name="connsiteX8" fmla="*/ 13782069 w 13782069"/>
              <a:gd name="connsiteY8" fmla="*/ 2133278 h 3903128"/>
              <a:gd name="connsiteX0" fmla="*/ 0 w 13782069"/>
              <a:gd name="connsiteY0" fmla="*/ 1652015 h 3903128"/>
              <a:gd name="connsiteX1" fmla="*/ 2617829 w 13782069"/>
              <a:gd name="connsiteY1" fmla="*/ 3688 h 3903128"/>
              <a:gd name="connsiteX2" fmla="*/ 3483079 w 13782069"/>
              <a:gd name="connsiteY2" fmla="*/ 1341757 h 3903128"/>
              <a:gd name="connsiteX3" fmla="*/ 2244812 w 13782069"/>
              <a:gd name="connsiteY3" fmla="*/ 3218487 h 3903128"/>
              <a:gd name="connsiteX4" fmla="*/ 3794724 w 13782069"/>
              <a:gd name="connsiteY4" fmla="*/ 3641762 h 3903128"/>
              <a:gd name="connsiteX5" fmla="*/ 6409587 w 13782069"/>
              <a:gd name="connsiteY5" fmla="*/ 793109 h 3903128"/>
              <a:gd name="connsiteX6" fmla="*/ 8134855 w 13782069"/>
              <a:gd name="connsiteY6" fmla="*/ 3168121 h 3903128"/>
              <a:gd name="connsiteX7" fmla="*/ 11562031 w 13782069"/>
              <a:gd name="connsiteY7" fmla="*/ 1971493 h 3903128"/>
              <a:gd name="connsiteX8" fmla="*/ 13782069 w 13782069"/>
              <a:gd name="connsiteY8" fmla="*/ 2133278 h 3903128"/>
              <a:gd name="connsiteX0" fmla="*/ 0 w 11562031"/>
              <a:gd name="connsiteY0" fmla="*/ 1652015 h 3903128"/>
              <a:gd name="connsiteX1" fmla="*/ 2617829 w 11562031"/>
              <a:gd name="connsiteY1" fmla="*/ 3688 h 3903128"/>
              <a:gd name="connsiteX2" fmla="*/ 3483079 w 11562031"/>
              <a:gd name="connsiteY2" fmla="*/ 1341757 h 3903128"/>
              <a:gd name="connsiteX3" fmla="*/ 2244812 w 11562031"/>
              <a:gd name="connsiteY3" fmla="*/ 3218487 h 3903128"/>
              <a:gd name="connsiteX4" fmla="*/ 3794724 w 11562031"/>
              <a:gd name="connsiteY4" fmla="*/ 3641762 h 3903128"/>
              <a:gd name="connsiteX5" fmla="*/ 6409587 w 11562031"/>
              <a:gd name="connsiteY5" fmla="*/ 793109 h 3903128"/>
              <a:gd name="connsiteX6" fmla="*/ 8134855 w 11562031"/>
              <a:gd name="connsiteY6" fmla="*/ 3168121 h 3903128"/>
              <a:gd name="connsiteX7" fmla="*/ 11562031 w 11562031"/>
              <a:gd name="connsiteY7" fmla="*/ 1971493 h 3903128"/>
              <a:gd name="connsiteX0" fmla="*/ 0 w 12678548"/>
              <a:gd name="connsiteY0" fmla="*/ 1652015 h 3903128"/>
              <a:gd name="connsiteX1" fmla="*/ 2617829 w 12678548"/>
              <a:gd name="connsiteY1" fmla="*/ 3688 h 3903128"/>
              <a:gd name="connsiteX2" fmla="*/ 3483079 w 12678548"/>
              <a:gd name="connsiteY2" fmla="*/ 1341757 h 3903128"/>
              <a:gd name="connsiteX3" fmla="*/ 2244812 w 12678548"/>
              <a:gd name="connsiteY3" fmla="*/ 3218487 h 3903128"/>
              <a:gd name="connsiteX4" fmla="*/ 3794724 w 12678548"/>
              <a:gd name="connsiteY4" fmla="*/ 3641762 h 3903128"/>
              <a:gd name="connsiteX5" fmla="*/ 6409587 w 12678548"/>
              <a:gd name="connsiteY5" fmla="*/ 793109 h 3903128"/>
              <a:gd name="connsiteX6" fmla="*/ 8134855 w 12678548"/>
              <a:gd name="connsiteY6" fmla="*/ 3168121 h 3903128"/>
              <a:gd name="connsiteX7" fmla="*/ 12678548 w 12678548"/>
              <a:gd name="connsiteY7" fmla="*/ 1385093 h 3903128"/>
              <a:gd name="connsiteX0" fmla="*/ 0 w 12678548"/>
              <a:gd name="connsiteY0" fmla="*/ 1652015 h 3879702"/>
              <a:gd name="connsiteX1" fmla="*/ 2617829 w 12678548"/>
              <a:gd name="connsiteY1" fmla="*/ 3688 h 3879702"/>
              <a:gd name="connsiteX2" fmla="*/ 3483079 w 12678548"/>
              <a:gd name="connsiteY2" fmla="*/ 1341757 h 3879702"/>
              <a:gd name="connsiteX3" fmla="*/ 2244812 w 12678548"/>
              <a:gd name="connsiteY3" fmla="*/ 3218487 h 3879702"/>
              <a:gd name="connsiteX4" fmla="*/ 3794724 w 12678548"/>
              <a:gd name="connsiteY4" fmla="*/ 3641762 h 3879702"/>
              <a:gd name="connsiteX5" fmla="*/ 6379814 w 12678548"/>
              <a:gd name="connsiteY5" fmla="*/ 1122065 h 3879702"/>
              <a:gd name="connsiteX6" fmla="*/ 8134855 w 12678548"/>
              <a:gd name="connsiteY6" fmla="*/ 3168121 h 3879702"/>
              <a:gd name="connsiteX7" fmla="*/ 12678548 w 12678548"/>
              <a:gd name="connsiteY7" fmla="*/ 1385093 h 3879702"/>
              <a:gd name="connsiteX0" fmla="*/ 0 w 12678548"/>
              <a:gd name="connsiteY0" fmla="*/ 1652015 h 3879702"/>
              <a:gd name="connsiteX1" fmla="*/ 2617829 w 12678548"/>
              <a:gd name="connsiteY1" fmla="*/ 3688 h 3879702"/>
              <a:gd name="connsiteX2" fmla="*/ 3483079 w 12678548"/>
              <a:gd name="connsiteY2" fmla="*/ 1341757 h 3879702"/>
              <a:gd name="connsiteX3" fmla="*/ 2244812 w 12678548"/>
              <a:gd name="connsiteY3" fmla="*/ 3218487 h 3879702"/>
              <a:gd name="connsiteX4" fmla="*/ 3794724 w 12678548"/>
              <a:gd name="connsiteY4" fmla="*/ 3641762 h 3879702"/>
              <a:gd name="connsiteX5" fmla="*/ 6379814 w 12678548"/>
              <a:gd name="connsiteY5" fmla="*/ 1122065 h 3879702"/>
              <a:gd name="connsiteX6" fmla="*/ 8134855 w 12678548"/>
              <a:gd name="connsiteY6" fmla="*/ 3168121 h 3879702"/>
              <a:gd name="connsiteX7" fmla="*/ 12678548 w 12678548"/>
              <a:gd name="connsiteY7" fmla="*/ 1385093 h 3879702"/>
              <a:gd name="connsiteX0" fmla="*/ 0 w 12678548"/>
              <a:gd name="connsiteY0" fmla="*/ 1652015 h 3873618"/>
              <a:gd name="connsiteX1" fmla="*/ 2617829 w 12678548"/>
              <a:gd name="connsiteY1" fmla="*/ 3688 h 3873618"/>
              <a:gd name="connsiteX2" fmla="*/ 3483079 w 12678548"/>
              <a:gd name="connsiteY2" fmla="*/ 1341757 h 3873618"/>
              <a:gd name="connsiteX3" fmla="*/ 2244812 w 12678548"/>
              <a:gd name="connsiteY3" fmla="*/ 3218487 h 3873618"/>
              <a:gd name="connsiteX4" fmla="*/ 3794724 w 12678548"/>
              <a:gd name="connsiteY4" fmla="*/ 3641762 h 3873618"/>
              <a:gd name="connsiteX5" fmla="*/ 6811533 w 12678548"/>
              <a:gd name="connsiteY5" fmla="*/ 1207880 h 3873618"/>
              <a:gd name="connsiteX6" fmla="*/ 8134855 w 12678548"/>
              <a:gd name="connsiteY6" fmla="*/ 3168121 h 3873618"/>
              <a:gd name="connsiteX7" fmla="*/ 12678548 w 12678548"/>
              <a:gd name="connsiteY7" fmla="*/ 1385093 h 3873618"/>
              <a:gd name="connsiteX0" fmla="*/ 0 w 12678548"/>
              <a:gd name="connsiteY0" fmla="*/ 1652015 h 3873618"/>
              <a:gd name="connsiteX1" fmla="*/ 2617829 w 12678548"/>
              <a:gd name="connsiteY1" fmla="*/ 3688 h 3873618"/>
              <a:gd name="connsiteX2" fmla="*/ 3483079 w 12678548"/>
              <a:gd name="connsiteY2" fmla="*/ 1341757 h 3873618"/>
              <a:gd name="connsiteX3" fmla="*/ 2244812 w 12678548"/>
              <a:gd name="connsiteY3" fmla="*/ 3218487 h 3873618"/>
              <a:gd name="connsiteX4" fmla="*/ 3794724 w 12678548"/>
              <a:gd name="connsiteY4" fmla="*/ 3641762 h 3873618"/>
              <a:gd name="connsiteX5" fmla="*/ 6811533 w 12678548"/>
              <a:gd name="connsiteY5" fmla="*/ 1207880 h 3873618"/>
              <a:gd name="connsiteX6" fmla="*/ 9296034 w 12678548"/>
              <a:gd name="connsiteY6" fmla="*/ 2939282 h 3873618"/>
              <a:gd name="connsiteX7" fmla="*/ 12678548 w 12678548"/>
              <a:gd name="connsiteY7" fmla="*/ 1385093 h 3873618"/>
              <a:gd name="connsiteX0" fmla="*/ 0 w 12678548"/>
              <a:gd name="connsiteY0" fmla="*/ 1166123 h 3387726"/>
              <a:gd name="connsiteX1" fmla="*/ 2111674 w 12678548"/>
              <a:gd name="connsiteY1" fmla="*/ 4079 h 3387726"/>
              <a:gd name="connsiteX2" fmla="*/ 3483079 w 12678548"/>
              <a:gd name="connsiteY2" fmla="*/ 855865 h 3387726"/>
              <a:gd name="connsiteX3" fmla="*/ 2244812 w 12678548"/>
              <a:gd name="connsiteY3" fmla="*/ 2732595 h 3387726"/>
              <a:gd name="connsiteX4" fmla="*/ 3794724 w 12678548"/>
              <a:gd name="connsiteY4" fmla="*/ 3155870 h 3387726"/>
              <a:gd name="connsiteX5" fmla="*/ 6811533 w 12678548"/>
              <a:gd name="connsiteY5" fmla="*/ 721988 h 3387726"/>
              <a:gd name="connsiteX6" fmla="*/ 9296034 w 12678548"/>
              <a:gd name="connsiteY6" fmla="*/ 2453390 h 3387726"/>
              <a:gd name="connsiteX7" fmla="*/ 12678548 w 12678548"/>
              <a:gd name="connsiteY7" fmla="*/ 899201 h 3387726"/>
              <a:gd name="connsiteX0" fmla="*/ 0 w 13497328"/>
              <a:gd name="connsiteY0" fmla="*/ 1431291 h 3395450"/>
              <a:gd name="connsiteX1" fmla="*/ 2930454 w 13497328"/>
              <a:gd name="connsiteY1" fmla="*/ 11803 h 3395450"/>
              <a:gd name="connsiteX2" fmla="*/ 4301859 w 13497328"/>
              <a:gd name="connsiteY2" fmla="*/ 863589 h 3395450"/>
              <a:gd name="connsiteX3" fmla="*/ 3063592 w 13497328"/>
              <a:gd name="connsiteY3" fmla="*/ 2740319 h 3395450"/>
              <a:gd name="connsiteX4" fmla="*/ 4613504 w 13497328"/>
              <a:gd name="connsiteY4" fmla="*/ 3163594 h 3395450"/>
              <a:gd name="connsiteX5" fmla="*/ 7630313 w 13497328"/>
              <a:gd name="connsiteY5" fmla="*/ 729712 h 3395450"/>
              <a:gd name="connsiteX6" fmla="*/ 10114814 w 13497328"/>
              <a:gd name="connsiteY6" fmla="*/ 2461114 h 3395450"/>
              <a:gd name="connsiteX7" fmla="*/ 13497328 w 13497328"/>
              <a:gd name="connsiteY7" fmla="*/ 906925 h 3395450"/>
              <a:gd name="connsiteX0" fmla="*/ 0 w 13497328"/>
              <a:gd name="connsiteY0" fmla="*/ 1403191 h 3367350"/>
              <a:gd name="connsiteX1" fmla="*/ 2707150 w 13497328"/>
              <a:gd name="connsiteY1" fmla="*/ 12308 h 3367350"/>
              <a:gd name="connsiteX2" fmla="*/ 4301859 w 13497328"/>
              <a:gd name="connsiteY2" fmla="*/ 835489 h 3367350"/>
              <a:gd name="connsiteX3" fmla="*/ 3063592 w 13497328"/>
              <a:gd name="connsiteY3" fmla="*/ 2712219 h 3367350"/>
              <a:gd name="connsiteX4" fmla="*/ 4613504 w 13497328"/>
              <a:gd name="connsiteY4" fmla="*/ 3135494 h 3367350"/>
              <a:gd name="connsiteX5" fmla="*/ 7630313 w 13497328"/>
              <a:gd name="connsiteY5" fmla="*/ 701612 h 3367350"/>
              <a:gd name="connsiteX6" fmla="*/ 10114814 w 13497328"/>
              <a:gd name="connsiteY6" fmla="*/ 2433014 h 3367350"/>
              <a:gd name="connsiteX7" fmla="*/ 13497328 w 13497328"/>
              <a:gd name="connsiteY7" fmla="*/ 878825 h 3367350"/>
              <a:gd name="connsiteX0" fmla="*/ 0 w 13497328"/>
              <a:gd name="connsiteY0" fmla="*/ 1434721 h 3398880"/>
              <a:gd name="connsiteX1" fmla="*/ 2707150 w 13497328"/>
              <a:gd name="connsiteY1" fmla="*/ 43838 h 3398880"/>
              <a:gd name="connsiteX2" fmla="*/ 4301859 w 13497328"/>
              <a:gd name="connsiteY2" fmla="*/ 867019 h 3398880"/>
              <a:gd name="connsiteX3" fmla="*/ 3063592 w 13497328"/>
              <a:gd name="connsiteY3" fmla="*/ 2743749 h 3398880"/>
              <a:gd name="connsiteX4" fmla="*/ 4613504 w 13497328"/>
              <a:gd name="connsiteY4" fmla="*/ 3167024 h 3398880"/>
              <a:gd name="connsiteX5" fmla="*/ 7630313 w 13497328"/>
              <a:gd name="connsiteY5" fmla="*/ 733142 h 3398880"/>
              <a:gd name="connsiteX6" fmla="*/ 10114814 w 13497328"/>
              <a:gd name="connsiteY6" fmla="*/ 2464544 h 3398880"/>
              <a:gd name="connsiteX7" fmla="*/ 13497328 w 13497328"/>
              <a:gd name="connsiteY7" fmla="*/ 910355 h 3398880"/>
              <a:gd name="connsiteX0" fmla="*/ 0 w 13497328"/>
              <a:gd name="connsiteY0" fmla="*/ 1442689 h 3406848"/>
              <a:gd name="connsiteX1" fmla="*/ 2707150 w 13497328"/>
              <a:gd name="connsiteY1" fmla="*/ 51806 h 3406848"/>
              <a:gd name="connsiteX2" fmla="*/ 4301859 w 13497328"/>
              <a:gd name="connsiteY2" fmla="*/ 874987 h 3406848"/>
              <a:gd name="connsiteX3" fmla="*/ 3063592 w 13497328"/>
              <a:gd name="connsiteY3" fmla="*/ 2751717 h 3406848"/>
              <a:gd name="connsiteX4" fmla="*/ 4613504 w 13497328"/>
              <a:gd name="connsiteY4" fmla="*/ 3174992 h 3406848"/>
              <a:gd name="connsiteX5" fmla="*/ 7630313 w 13497328"/>
              <a:gd name="connsiteY5" fmla="*/ 741110 h 3406848"/>
              <a:gd name="connsiteX6" fmla="*/ 10114814 w 13497328"/>
              <a:gd name="connsiteY6" fmla="*/ 2472512 h 3406848"/>
              <a:gd name="connsiteX7" fmla="*/ 13497328 w 13497328"/>
              <a:gd name="connsiteY7" fmla="*/ 918323 h 3406848"/>
              <a:gd name="connsiteX0" fmla="*/ 0 w 13646197"/>
              <a:gd name="connsiteY0" fmla="*/ 1811586 h 3775745"/>
              <a:gd name="connsiteX1" fmla="*/ 2707150 w 13646197"/>
              <a:gd name="connsiteY1" fmla="*/ 420703 h 3775745"/>
              <a:gd name="connsiteX2" fmla="*/ 4301859 w 13646197"/>
              <a:gd name="connsiteY2" fmla="*/ 1243884 h 3775745"/>
              <a:gd name="connsiteX3" fmla="*/ 3063592 w 13646197"/>
              <a:gd name="connsiteY3" fmla="*/ 3120614 h 3775745"/>
              <a:gd name="connsiteX4" fmla="*/ 4613504 w 13646197"/>
              <a:gd name="connsiteY4" fmla="*/ 3543889 h 3775745"/>
              <a:gd name="connsiteX5" fmla="*/ 7630313 w 13646197"/>
              <a:gd name="connsiteY5" fmla="*/ 1110007 h 3775745"/>
              <a:gd name="connsiteX6" fmla="*/ 10114814 w 13646197"/>
              <a:gd name="connsiteY6" fmla="*/ 2841409 h 3775745"/>
              <a:gd name="connsiteX7" fmla="*/ 13646197 w 13646197"/>
              <a:gd name="connsiteY7" fmla="*/ 0 h 3775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46197" h="3775745">
                <a:moveTo>
                  <a:pt x="0" y="1811586"/>
                </a:moveTo>
                <a:cubicBezTo>
                  <a:pt x="488282" y="1319294"/>
                  <a:pt x="1439359" y="629740"/>
                  <a:pt x="2707150" y="420703"/>
                </a:cubicBezTo>
                <a:cubicBezTo>
                  <a:pt x="3974941" y="211666"/>
                  <a:pt x="4406208" y="665177"/>
                  <a:pt x="4301859" y="1243884"/>
                </a:cubicBezTo>
                <a:cubicBezTo>
                  <a:pt x="4197510" y="1822591"/>
                  <a:pt x="3041426" y="2302565"/>
                  <a:pt x="3063592" y="3120614"/>
                </a:cubicBezTo>
                <a:cubicBezTo>
                  <a:pt x="3085758" y="3938663"/>
                  <a:pt x="3852384" y="3878990"/>
                  <a:pt x="4613504" y="3543889"/>
                </a:cubicBezTo>
                <a:cubicBezTo>
                  <a:pt x="5374624" y="3208788"/>
                  <a:pt x="6713428" y="1227087"/>
                  <a:pt x="7630313" y="1110007"/>
                </a:cubicBezTo>
                <a:cubicBezTo>
                  <a:pt x="8547198" y="992927"/>
                  <a:pt x="9112167" y="3026410"/>
                  <a:pt x="10114814" y="2841409"/>
                </a:cubicBezTo>
                <a:cubicBezTo>
                  <a:pt x="11117461" y="2656408"/>
                  <a:pt x="11233672" y="750856"/>
                  <a:pt x="13646197" y="0"/>
                </a:cubicBezTo>
              </a:path>
            </a:pathLst>
          </a:custGeom>
          <a:noFill/>
          <a:ln w="38100" cap="flat" cmpd="sng" algn="ctr">
            <a:solidFill>
              <a:srgbClr val="EAEAEA">
                <a:lumMod val="90000"/>
              </a:srgbClr>
            </a:solidFill>
            <a:prstDash val="solid"/>
            <a:headEnd type="none" w="med" len="med"/>
            <a:tailEnd type="none" w="med" len="med"/>
          </a:ln>
          <a:effectLst/>
        </p:spPr>
        <p:txBody>
          <a:bodyPr rtlCol="0" anchor="ctr"/>
          <a:lstStyle/>
          <a:p>
            <a:pPr algn="ctr" defTabSz="913632">
              <a:defRPr/>
            </a:pPr>
            <a:endParaRPr lang="en-US" sz="1762" kern="0">
              <a:solidFill>
                <a:srgbClr val="FFFFFF"/>
              </a:solidFill>
              <a:latin typeface="Segoe UI"/>
            </a:endParaRPr>
          </a:p>
        </p:txBody>
      </p:sp>
      <p:sp>
        <p:nvSpPr>
          <p:cNvPr id="140" name="Freeform 139"/>
          <p:cNvSpPr/>
          <p:nvPr/>
        </p:nvSpPr>
        <p:spPr>
          <a:xfrm>
            <a:off x="9119597" y="2610542"/>
            <a:ext cx="455895" cy="285992"/>
          </a:xfrm>
          <a:custGeom>
            <a:avLst/>
            <a:gdLst>
              <a:gd name="connsiteX0" fmla="*/ 73025 w 387350"/>
              <a:gd name="connsiteY0" fmla="*/ 0 h 285750"/>
              <a:gd name="connsiteX1" fmla="*/ 311150 w 387350"/>
              <a:gd name="connsiteY1" fmla="*/ 0 h 285750"/>
              <a:gd name="connsiteX2" fmla="*/ 387350 w 387350"/>
              <a:gd name="connsiteY2" fmla="*/ 139700 h 285750"/>
              <a:gd name="connsiteX3" fmla="*/ 387350 w 387350"/>
              <a:gd name="connsiteY3" fmla="*/ 244475 h 285750"/>
              <a:gd name="connsiteX4" fmla="*/ 352425 w 387350"/>
              <a:gd name="connsiteY4" fmla="*/ 285750 h 285750"/>
              <a:gd name="connsiteX5" fmla="*/ 323850 w 387350"/>
              <a:gd name="connsiteY5" fmla="*/ 263525 h 285750"/>
              <a:gd name="connsiteX6" fmla="*/ 0 w 387350"/>
              <a:gd name="connsiteY6" fmla="*/ 263525 h 285750"/>
              <a:gd name="connsiteX7" fmla="*/ 0 w 387350"/>
              <a:gd name="connsiteY7" fmla="*/ 142875 h 285750"/>
              <a:gd name="connsiteX8" fmla="*/ 38100 w 387350"/>
              <a:gd name="connsiteY8" fmla="*/ 114300 h 285750"/>
              <a:gd name="connsiteX9" fmla="*/ 38100 w 387350"/>
              <a:gd name="connsiteY9" fmla="*/ 85725 h 285750"/>
              <a:gd name="connsiteX10" fmla="*/ 73025 w 387350"/>
              <a:gd name="connsiteY10" fmla="*/ 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0" h="285750">
                <a:moveTo>
                  <a:pt x="73025" y="0"/>
                </a:moveTo>
                <a:lnTo>
                  <a:pt x="311150" y="0"/>
                </a:lnTo>
                <a:lnTo>
                  <a:pt x="387350" y="139700"/>
                </a:lnTo>
                <a:lnTo>
                  <a:pt x="387350" y="244475"/>
                </a:lnTo>
                <a:lnTo>
                  <a:pt x="352425" y="285750"/>
                </a:lnTo>
                <a:lnTo>
                  <a:pt x="323850" y="263525"/>
                </a:lnTo>
                <a:lnTo>
                  <a:pt x="0" y="263525"/>
                </a:lnTo>
                <a:lnTo>
                  <a:pt x="0" y="142875"/>
                </a:lnTo>
                <a:lnTo>
                  <a:pt x="38100" y="114300"/>
                </a:lnTo>
                <a:lnTo>
                  <a:pt x="38100" y="85725"/>
                </a:lnTo>
                <a:lnTo>
                  <a:pt x="73025" y="0"/>
                </a:lnTo>
                <a:close/>
              </a:path>
            </a:pathLst>
          </a:custGeom>
          <a:solidFill>
            <a:srgbClr val="FFFFFF"/>
          </a:solidFill>
          <a:ln w="10795" cap="flat" cmpd="sng" algn="ctr">
            <a:noFill/>
            <a:prstDash val="solid"/>
          </a:ln>
          <a:effectLst/>
        </p:spPr>
        <p:txBody>
          <a:bodyPr rot="0" spcFirstLastPara="0" vertOverflow="overflow" horzOverflow="overflow" vert="horz" wrap="square" lIns="91355" tIns="91355" rIns="91355" bIns="91355" numCol="1" spcCol="0" rtlCol="0" fromWordArt="0" anchor="b" anchorCtr="0" forceAA="0" compatLnSpc="1">
            <a:prstTxWarp prst="textNoShape">
              <a:avLst/>
            </a:prstTxWarp>
            <a:noAutofit/>
          </a:bodyPr>
          <a:lstStyle/>
          <a:p>
            <a:pPr algn="r" defTabSz="913632">
              <a:lnSpc>
                <a:spcPct val="120000"/>
              </a:lnSpc>
              <a:defRPr/>
            </a:pPr>
            <a:endParaRPr lang="en-US" sz="1200" kern="0">
              <a:solidFill>
                <a:srgbClr val="FFFFFF"/>
              </a:solidFill>
              <a:latin typeface="Segoe UI"/>
            </a:endParaRPr>
          </a:p>
        </p:txBody>
      </p:sp>
      <p:grpSp>
        <p:nvGrpSpPr>
          <p:cNvPr id="141" name="Group 140"/>
          <p:cNvGrpSpPr/>
          <p:nvPr/>
        </p:nvGrpSpPr>
        <p:grpSpPr>
          <a:xfrm>
            <a:off x="7808142" y="3606382"/>
            <a:ext cx="290895" cy="278621"/>
            <a:chOff x="9412860" y="5081260"/>
            <a:chExt cx="342675" cy="334850"/>
          </a:xfrm>
        </p:grpSpPr>
        <p:sp>
          <p:nvSpPr>
            <p:cNvPr id="144" name="Freeform 143"/>
            <p:cNvSpPr/>
            <p:nvPr/>
          </p:nvSpPr>
          <p:spPr>
            <a:xfrm>
              <a:off x="9412860" y="5194037"/>
              <a:ext cx="342675" cy="222073"/>
            </a:xfrm>
            <a:custGeom>
              <a:avLst/>
              <a:gdLst>
                <a:gd name="connsiteX0" fmla="*/ 73025 w 387350"/>
                <a:gd name="connsiteY0" fmla="*/ 0 h 285750"/>
                <a:gd name="connsiteX1" fmla="*/ 311150 w 387350"/>
                <a:gd name="connsiteY1" fmla="*/ 0 h 285750"/>
                <a:gd name="connsiteX2" fmla="*/ 387350 w 387350"/>
                <a:gd name="connsiteY2" fmla="*/ 139700 h 285750"/>
                <a:gd name="connsiteX3" fmla="*/ 387350 w 387350"/>
                <a:gd name="connsiteY3" fmla="*/ 244475 h 285750"/>
                <a:gd name="connsiteX4" fmla="*/ 352425 w 387350"/>
                <a:gd name="connsiteY4" fmla="*/ 285750 h 285750"/>
                <a:gd name="connsiteX5" fmla="*/ 323850 w 387350"/>
                <a:gd name="connsiteY5" fmla="*/ 263525 h 285750"/>
                <a:gd name="connsiteX6" fmla="*/ 0 w 387350"/>
                <a:gd name="connsiteY6" fmla="*/ 263525 h 285750"/>
                <a:gd name="connsiteX7" fmla="*/ 0 w 387350"/>
                <a:gd name="connsiteY7" fmla="*/ 142875 h 285750"/>
                <a:gd name="connsiteX8" fmla="*/ 38100 w 387350"/>
                <a:gd name="connsiteY8" fmla="*/ 114300 h 285750"/>
                <a:gd name="connsiteX9" fmla="*/ 38100 w 387350"/>
                <a:gd name="connsiteY9" fmla="*/ 85725 h 285750"/>
                <a:gd name="connsiteX10" fmla="*/ 73025 w 387350"/>
                <a:gd name="connsiteY10" fmla="*/ 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350" h="285750">
                  <a:moveTo>
                    <a:pt x="73025" y="0"/>
                  </a:moveTo>
                  <a:lnTo>
                    <a:pt x="311150" y="0"/>
                  </a:lnTo>
                  <a:lnTo>
                    <a:pt x="387350" y="139700"/>
                  </a:lnTo>
                  <a:lnTo>
                    <a:pt x="387350" y="244475"/>
                  </a:lnTo>
                  <a:lnTo>
                    <a:pt x="352425" y="285750"/>
                  </a:lnTo>
                  <a:lnTo>
                    <a:pt x="323850" y="263525"/>
                  </a:lnTo>
                  <a:lnTo>
                    <a:pt x="0" y="263525"/>
                  </a:lnTo>
                  <a:lnTo>
                    <a:pt x="0" y="142875"/>
                  </a:lnTo>
                  <a:lnTo>
                    <a:pt x="38100" y="114300"/>
                  </a:lnTo>
                  <a:lnTo>
                    <a:pt x="38100" y="85725"/>
                  </a:lnTo>
                  <a:lnTo>
                    <a:pt x="73025" y="0"/>
                  </a:lnTo>
                  <a:close/>
                </a:path>
              </a:pathLst>
            </a:custGeom>
            <a:solidFill>
              <a:srgbClr val="FFFFFF"/>
            </a:solidFill>
            <a:ln w="10795" cap="flat" cmpd="sng" algn="ctr">
              <a:noFill/>
              <a:prstDash val="solid"/>
            </a:ln>
            <a:effectLst/>
          </p:spPr>
          <p:txBody>
            <a:bodyPr rot="0" spcFirstLastPara="0" vertOverflow="overflow" horzOverflow="overflow" vert="horz" wrap="square" lIns="91355" tIns="91355" rIns="91355" bIns="91355" numCol="1" spcCol="0" rtlCol="0" fromWordArt="0" anchor="b" anchorCtr="0" forceAA="0" compatLnSpc="1">
              <a:prstTxWarp prst="textNoShape">
                <a:avLst/>
              </a:prstTxWarp>
              <a:noAutofit/>
            </a:bodyPr>
            <a:lstStyle/>
            <a:p>
              <a:pPr algn="r" defTabSz="913632">
                <a:lnSpc>
                  <a:spcPct val="120000"/>
                </a:lnSpc>
                <a:defRPr/>
              </a:pPr>
              <a:endParaRPr lang="en-US" sz="1200" kern="0">
                <a:solidFill>
                  <a:srgbClr val="FFFFFF"/>
                </a:solidFill>
                <a:latin typeface="Segoe UI"/>
              </a:endParaRPr>
            </a:p>
          </p:txBody>
        </p:sp>
        <p:grpSp>
          <p:nvGrpSpPr>
            <p:cNvPr id="145" name="Group 4"/>
            <p:cNvGrpSpPr>
              <a:grpSpLocks noChangeAspect="1"/>
            </p:cNvGrpSpPr>
            <p:nvPr/>
          </p:nvGrpSpPr>
          <p:grpSpPr bwMode="auto">
            <a:xfrm>
              <a:off x="9481947" y="5081260"/>
              <a:ext cx="243770" cy="69032"/>
              <a:chOff x="2045" y="1328"/>
              <a:chExt cx="1356" cy="440"/>
            </a:xfrm>
            <a:solidFill>
              <a:srgbClr val="FFFFFF"/>
            </a:solidFill>
          </p:grpSpPr>
          <p:sp>
            <p:nvSpPr>
              <p:cNvPr id="146" name="Freeform 5"/>
              <p:cNvSpPr>
                <a:spLocks/>
              </p:cNvSpPr>
              <p:nvPr/>
            </p:nvSpPr>
            <p:spPr bwMode="auto">
              <a:xfrm>
                <a:off x="2045" y="1328"/>
                <a:ext cx="292" cy="440"/>
              </a:xfrm>
              <a:custGeom>
                <a:avLst/>
                <a:gdLst>
                  <a:gd name="T0" fmla="*/ 2 w 292"/>
                  <a:gd name="T1" fmla="*/ 320 h 440"/>
                  <a:gd name="T2" fmla="*/ 42 w 292"/>
                  <a:gd name="T3" fmla="*/ 348 h 440"/>
                  <a:gd name="T4" fmla="*/ 72 w 292"/>
                  <a:gd name="T5" fmla="*/ 358 h 440"/>
                  <a:gd name="T6" fmla="*/ 118 w 292"/>
                  <a:gd name="T7" fmla="*/ 364 h 440"/>
                  <a:gd name="T8" fmla="*/ 150 w 292"/>
                  <a:gd name="T9" fmla="*/ 360 h 440"/>
                  <a:gd name="T10" fmla="*/ 172 w 292"/>
                  <a:gd name="T11" fmla="*/ 352 h 440"/>
                  <a:gd name="T12" fmla="*/ 186 w 292"/>
                  <a:gd name="T13" fmla="*/ 338 h 440"/>
                  <a:gd name="T14" fmla="*/ 190 w 292"/>
                  <a:gd name="T15" fmla="*/ 320 h 440"/>
                  <a:gd name="T16" fmla="*/ 184 w 292"/>
                  <a:gd name="T17" fmla="*/ 298 h 440"/>
                  <a:gd name="T18" fmla="*/ 164 w 292"/>
                  <a:gd name="T19" fmla="*/ 280 h 440"/>
                  <a:gd name="T20" fmla="*/ 134 w 292"/>
                  <a:gd name="T21" fmla="*/ 264 h 440"/>
                  <a:gd name="T22" fmla="*/ 98 w 292"/>
                  <a:gd name="T23" fmla="*/ 248 h 440"/>
                  <a:gd name="T24" fmla="*/ 38 w 292"/>
                  <a:gd name="T25" fmla="*/ 212 h 440"/>
                  <a:gd name="T26" fmla="*/ 14 w 292"/>
                  <a:gd name="T27" fmla="*/ 182 h 440"/>
                  <a:gd name="T28" fmla="*/ 0 w 292"/>
                  <a:gd name="T29" fmla="*/ 126 h 440"/>
                  <a:gd name="T30" fmla="*/ 2 w 292"/>
                  <a:gd name="T31" fmla="*/ 94 h 440"/>
                  <a:gd name="T32" fmla="*/ 12 w 292"/>
                  <a:gd name="T33" fmla="*/ 68 h 440"/>
                  <a:gd name="T34" fmla="*/ 38 w 292"/>
                  <a:gd name="T35" fmla="*/ 38 h 440"/>
                  <a:gd name="T36" fmla="*/ 62 w 292"/>
                  <a:gd name="T37" fmla="*/ 22 h 440"/>
                  <a:gd name="T38" fmla="*/ 102 w 292"/>
                  <a:gd name="T39" fmla="*/ 6 h 440"/>
                  <a:gd name="T40" fmla="*/ 166 w 292"/>
                  <a:gd name="T41" fmla="*/ 0 h 440"/>
                  <a:gd name="T42" fmla="*/ 226 w 292"/>
                  <a:gd name="T43" fmla="*/ 4 h 440"/>
                  <a:gd name="T44" fmla="*/ 272 w 292"/>
                  <a:gd name="T45" fmla="*/ 16 h 440"/>
                  <a:gd name="T46" fmla="*/ 262 w 292"/>
                  <a:gd name="T47" fmla="*/ 98 h 440"/>
                  <a:gd name="T48" fmla="*/ 224 w 292"/>
                  <a:gd name="T49" fmla="*/ 82 h 440"/>
                  <a:gd name="T50" fmla="*/ 198 w 292"/>
                  <a:gd name="T51" fmla="*/ 76 h 440"/>
                  <a:gd name="T52" fmla="*/ 156 w 292"/>
                  <a:gd name="T53" fmla="*/ 76 h 440"/>
                  <a:gd name="T54" fmla="*/ 130 w 292"/>
                  <a:gd name="T55" fmla="*/ 82 h 440"/>
                  <a:gd name="T56" fmla="*/ 112 w 292"/>
                  <a:gd name="T57" fmla="*/ 92 h 440"/>
                  <a:gd name="T58" fmla="*/ 102 w 292"/>
                  <a:gd name="T59" fmla="*/ 108 h 440"/>
                  <a:gd name="T60" fmla="*/ 102 w 292"/>
                  <a:gd name="T61" fmla="*/ 128 h 440"/>
                  <a:gd name="T62" fmla="*/ 112 w 292"/>
                  <a:gd name="T63" fmla="*/ 144 h 440"/>
                  <a:gd name="T64" fmla="*/ 134 w 292"/>
                  <a:gd name="T65" fmla="*/ 160 h 440"/>
                  <a:gd name="T66" fmla="*/ 180 w 292"/>
                  <a:gd name="T67" fmla="*/ 182 h 440"/>
                  <a:gd name="T68" fmla="*/ 226 w 292"/>
                  <a:gd name="T69" fmla="*/ 206 h 440"/>
                  <a:gd name="T70" fmla="*/ 262 w 292"/>
                  <a:gd name="T71" fmla="*/ 232 h 440"/>
                  <a:gd name="T72" fmla="*/ 284 w 292"/>
                  <a:gd name="T73" fmla="*/ 268 h 440"/>
                  <a:gd name="T74" fmla="*/ 292 w 292"/>
                  <a:gd name="T75" fmla="*/ 312 h 440"/>
                  <a:gd name="T76" fmla="*/ 288 w 292"/>
                  <a:gd name="T77" fmla="*/ 346 h 440"/>
                  <a:gd name="T78" fmla="*/ 278 w 292"/>
                  <a:gd name="T79" fmla="*/ 372 h 440"/>
                  <a:gd name="T80" fmla="*/ 252 w 292"/>
                  <a:gd name="T81" fmla="*/ 404 h 440"/>
                  <a:gd name="T82" fmla="*/ 230 w 292"/>
                  <a:gd name="T83" fmla="*/ 418 h 440"/>
                  <a:gd name="T84" fmla="*/ 188 w 292"/>
                  <a:gd name="T85" fmla="*/ 432 h 440"/>
                  <a:gd name="T86" fmla="*/ 122 w 292"/>
                  <a:gd name="T87" fmla="*/ 440 h 440"/>
                  <a:gd name="T88" fmla="*/ 56 w 292"/>
                  <a:gd name="T89" fmla="*/ 434 h 440"/>
                  <a:gd name="T90" fmla="*/ 2 w 292"/>
                  <a:gd name="T91" fmla="*/ 416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2" h="440">
                    <a:moveTo>
                      <a:pt x="2" y="416"/>
                    </a:moveTo>
                    <a:lnTo>
                      <a:pt x="2" y="320"/>
                    </a:lnTo>
                    <a:lnTo>
                      <a:pt x="2" y="320"/>
                    </a:lnTo>
                    <a:lnTo>
                      <a:pt x="14" y="330"/>
                    </a:lnTo>
                    <a:lnTo>
                      <a:pt x="28" y="340"/>
                    </a:lnTo>
                    <a:lnTo>
                      <a:pt x="42" y="348"/>
                    </a:lnTo>
                    <a:lnTo>
                      <a:pt x="58" y="354"/>
                    </a:lnTo>
                    <a:lnTo>
                      <a:pt x="58" y="354"/>
                    </a:lnTo>
                    <a:lnTo>
                      <a:pt x="72" y="358"/>
                    </a:lnTo>
                    <a:lnTo>
                      <a:pt x="88" y="362"/>
                    </a:lnTo>
                    <a:lnTo>
                      <a:pt x="104" y="364"/>
                    </a:lnTo>
                    <a:lnTo>
                      <a:pt x="118" y="364"/>
                    </a:lnTo>
                    <a:lnTo>
                      <a:pt x="118" y="364"/>
                    </a:lnTo>
                    <a:lnTo>
                      <a:pt x="136" y="364"/>
                    </a:lnTo>
                    <a:lnTo>
                      <a:pt x="150" y="360"/>
                    </a:lnTo>
                    <a:lnTo>
                      <a:pt x="150" y="360"/>
                    </a:lnTo>
                    <a:lnTo>
                      <a:pt x="162" y="356"/>
                    </a:lnTo>
                    <a:lnTo>
                      <a:pt x="172" y="352"/>
                    </a:lnTo>
                    <a:lnTo>
                      <a:pt x="172" y="352"/>
                    </a:lnTo>
                    <a:lnTo>
                      <a:pt x="180" y="346"/>
                    </a:lnTo>
                    <a:lnTo>
                      <a:pt x="186" y="338"/>
                    </a:lnTo>
                    <a:lnTo>
                      <a:pt x="186" y="338"/>
                    </a:lnTo>
                    <a:lnTo>
                      <a:pt x="190" y="330"/>
                    </a:lnTo>
                    <a:lnTo>
                      <a:pt x="190" y="320"/>
                    </a:lnTo>
                    <a:lnTo>
                      <a:pt x="190" y="320"/>
                    </a:lnTo>
                    <a:lnTo>
                      <a:pt x="188" y="310"/>
                    </a:lnTo>
                    <a:lnTo>
                      <a:pt x="184" y="298"/>
                    </a:lnTo>
                    <a:lnTo>
                      <a:pt x="184" y="298"/>
                    </a:lnTo>
                    <a:lnTo>
                      <a:pt x="176" y="290"/>
                    </a:lnTo>
                    <a:lnTo>
                      <a:pt x="164" y="280"/>
                    </a:lnTo>
                    <a:lnTo>
                      <a:pt x="164" y="280"/>
                    </a:lnTo>
                    <a:lnTo>
                      <a:pt x="150" y="272"/>
                    </a:lnTo>
                    <a:lnTo>
                      <a:pt x="134" y="264"/>
                    </a:lnTo>
                    <a:lnTo>
                      <a:pt x="134" y="264"/>
                    </a:lnTo>
                    <a:lnTo>
                      <a:pt x="98" y="248"/>
                    </a:lnTo>
                    <a:lnTo>
                      <a:pt x="98" y="248"/>
                    </a:lnTo>
                    <a:lnTo>
                      <a:pt x="76" y="238"/>
                    </a:lnTo>
                    <a:lnTo>
                      <a:pt x="54" y="226"/>
                    </a:lnTo>
                    <a:lnTo>
                      <a:pt x="38" y="212"/>
                    </a:lnTo>
                    <a:lnTo>
                      <a:pt x="24" y="198"/>
                    </a:lnTo>
                    <a:lnTo>
                      <a:pt x="24" y="198"/>
                    </a:lnTo>
                    <a:lnTo>
                      <a:pt x="14" y="182"/>
                    </a:lnTo>
                    <a:lnTo>
                      <a:pt x="6" y="164"/>
                    </a:lnTo>
                    <a:lnTo>
                      <a:pt x="2" y="146"/>
                    </a:lnTo>
                    <a:lnTo>
                      <a:pt x="0" y="126"/>
                    </a:lnTo>
                    <a:lnTo>
                      <a:pt x="0" y="126"/>
                    </a:lnTo>
                    <a:lnTo>
                      <a:pt x="0" y="110"/>
                    </a:lnTo>
                    <a:lnTo>
                      <a:pt x="2" y="94"/>
                    </a:lnTo>
                    <a:lnTo>
                      <a:pt x="8" y="80"/>
                    </a:lnTo>
                    <a:lnTo>
                      <a:pt x="12" y="68"/>
                    </a:lnTo>
                    <a:lnTo>
                      <a:pt x="12" y="68"/>
                    </a:lnTo>
                    <a:lnTo>
                      <a:pt x="20" y="58"/>
                    </a:lnTo>
                    <a:lnTo>
                      <a:pt x="28" y="46"/>
                    </a:lnTo>
                    <a:lnTo>
                      <a:pt x="38" y="38"/>
                    </a:lnTo>
                    <a:lnTo>
                      <a:pt x="50" y="30"/>
                    </a:lnTo>
                    <a:lnTo>
                      <a:pt x="50" y="30"/>
                    </a:lnTo>
                    <a:lnTo>
                      <a:pt x="62" y="22"/>
                    </a:lnTo>
                    <a:lnTo>
                      <a:pt x="74" y="16"/>
                    </a:lnTo>
                    <a:lnTo>
                      <a:pt x="88" y="10"/>
                    </a:lnTo>
                    <a:lnTo>
                      <a:pt x="102" y="6"/>
                    </a:lnTo>
                    <a:lnTo>
                      <a:pt x="102" y="6"/>
                    </a:lnTo>
                    <a:lnTo>
                      <a:pt x="134" y="0"/>
                    </a:lnTo>
                    <a:lnTo>
                      <a:pt x="166" y="0"/>
                    </a:lnTo>
                    <a:lnTo>
                      <a:pt x="166" y="0"/>
                    </a:lnTo>
                    <a:lnTo>
                      <a:pt x="198" y="0"/>
                    </a:lnTo>
                    <a:lnTo>
                      <a:pt x="226" y="4"/>
                    </a:lnTo>
                    <a:lnTo>
                      <a:pt x="226" y="4"/>
                    </a:lnTo>
                    <a:lnTo>
                      <a:pt x="250" y="8"/>
                    </a:lnTo>
                    <a:lnTo>
                      <a:pt x="272" y="16"/>
                    </a:lnTo>
                    <a:lnTo>
                      <a:pt x="272" y="104"/>
                    </a:lnTo>
                    <a:lnTo>
                      <a:pt x="272" y="104"/>
                    </a:lnTo>
                    <a:lnTo>
                      <a:pt x="262" y="98"/>
                    </a:lnTo>
                    <a:lnTo>
                      <a:pt x="250" y="92"/>
                    </a:lnTo>
                    <a:lnTo>
                      <a:pt x="250" y="92"/>
                    </a:lnTo>
                    <a:lnTo>
                      <a:pt x="224" y="82"/>
                    </a:lnTo>
                    <a:lnTo>
                      <a:pt x="224" y="82"/>
                    </a:lnTo>
                    <a:lnTo>
                      <a:pt x="198" y="76"/>
                    </a:lnTo>
                    <a:lnTo>
                      <a:pt x="198" y="76"/>
                    </a:lnTo>
                    <a:lnTo>
                      <a:pt x="172" y="74"/>
                    </a:lnTo>
                    <a:lnTo>
                      <a:pt x="172" y="74"/>
                    </a:lnTo>
                    <a:lnTo>
                      <a:pt x="156" y="76"/>
                    </a:lnTo>
                    <a:lnTo>
                      <a:pt x="142" y="78"/>
                    </a:lnTo>
                    <a:lnTo>
                      <a:pt x="142" y="78"/>
                    </a:lnTo>
                    <a:lnTo>
                      <a:pt x="130" y="82"/>
                    </a:lnTo>
                    <a:lnTo>
                      <a:pt x="120" y="86"/>
                    </a:lnTo>
                    <a:lnTo>
                      <a:pt x="120" y="86"/>
                    </a:lnTo>
                    <a:lnTo>
                      <a:pt x="112" y="92"/>
                    </a:lnTo>
                    <a:lnTo>
                      <a:pt x="106" y="100"/>
                    </a:lnTo>
                    <a:lnTo>
                      <a:pt x="106" y="100"/>
                    </a:lnTo>
                    <a:lnTo>
                      <a:pt x="102" y="108"/>
                    </a:lnTo>
                    <a:lnTo>
                      <a:pt x="100" y="118"/>
                    </a:lnTo>
                    <a:lnTo>
                      <a:pt x="100" y="118"/>
                    </a:lnTo>
                    <a:lnTo>
                      <a:pt x="102" y="128"/>
                    </a:lnTo>
                    <a:lnTo>
                      <a:pt x="106" y="136"/>
                    </a:lnTo>
                    <a:lnTo>
                      <a:pt x="106" y="136"/>
                    </a:lnTo>
                    <a:lnTo>
                      <a:pt x="112" y="144"/>
                    </a:lnTo>
                    <a:lnTo>
                      <a:pt x="122" y="152"/>
                    </a:lnTo>
                    <a:lnTo>
                      <a:pt x="122" y="152"/>
                    </a:lnTo>
                    <a:lnTo>
                      <a:pt x="134" y="160"/>
                    </a:lnTo>
                    <a:lnTo>
                      <a:pt x="148" y="168"/>
                    </a:lnTo>
                    <a:lnTo>
                      <a:pt x="148" y="168"/>
                    </a:lnTo>
                    <a:lnTo>
                      <a:pt x="180" y="182"/>
                    </a:lnTo>
                    <a:lnTo>
                      <a:pt x="180" y="182"/>
                    </a:lnTo>
                    <a:lnTo>
                      <a:pt x="206" y="194"/>
                    </a:lnTo>
                    <a:lnTo>
                      <a:pt x="226" y="206"/>
                    </a:lnTo>
                    <a:lnTo>
                      <a:pt x="226" y="206"/>
                    </a:lnTo>
                    <a:lnTo>
                      <a:pt x="246" y="218"/>
                    </a:lnTo>
                    <a:lnTo>
                      <a:pt x="262" y="232"/>
                    </a:lnTo>
                    <a:lnTo>
                      <a:pt x="262" y="232"/>
                    </a:lnTo>
                    <a:lnTo>
                      <a:pt x="274" y="248"/>
                    </a:lnTo>
                    <a:lnTo>
                      <a:pt x="284" y="268"/>
                    </a:lnTo>
                    <a:lnTo>
                      <a:pt x="284" y="268"/>
                    </a:lnTo>
                    <a:lnTo>
                      <a:pt x="290" y="288"/>
                    </a:lnTo>
                    <a:lnTo>
                      <a:pt x="292" y="312"/>
                    </a:lnTo>
                    <a:lnTo>
                      <a:pt x="292" y="312"/>
                    </a:lnTo>
                    <a:lnTo>
                      <a:pt x="290" y="330"/>
                    </a:lnTo>
                    <a:lnTo>
                      <a:pt x="288" y="346"/>
                    </a:lnTo>
                    <a:lnTo>
                      <a:pt x="284" y="360"/>
                    </a:lnTo>
                    <a:lnTo>
                      <a:pt x="278" y="372"/>
                    </a:lnTo>
                    <a:lnTo>
                      <a:pt x="278" y="372"/>
                    </a:lnTo>
                    <a:lnTo>
                      <a:pt x="270" y="384"/>
                    </a:lnTo>
                    <a:lnTo>
                      <a:pt x="262" y="394"/>
                    </a:lnTo>
                    <a:lnTo>
                      <a:pt x="252" y="404"/>
                    </a:lnTo>
                    <a:lnTo>
                      <a:pt x="242" y="412"/>
                    </a:lnTo>
                    <a:lnTo>
                      <a:pt x="242" y="412"/>
                    </a:lnTo>
                    <a:lnTo>
                      <a:pt x="230" y="418"/>
                    </a:lnTo>
                    <a:lnTo>
                      <a:pt x="216" y="424"/>
                    </a:lnTo>
                    <a:lnTo>
                      <a:pt x="202" y="430"/>
                    </a:lnTo>
                    <a:lnTo>
                      <a:pt x="188" y="432"/>
                    </a:lnTo>
                    <a:lnTo>
                      <a:pt x="188" y="432"/>
                    </a:lnTo>
                    <a:lnTo>
                      <a:pt x="156" y="438"/>
                    </a:lnTo>
                    <a:lnTo>
                      <a:pt x="122" y="440"/>
                    </a:lnTo>
                    <a:lnTo>
                      <a:pt x="122" y="440"/>
                    </a:lnTo>
                    <a:lnTo>
                      <a:pt x="88" y="438"/>
                    </a:lnTo>
                    <a:lnTo>
                      <a:pt x="56" y="434"/>
                    </a:lnTo>
                    <a:lnTo>
                      <a:pt x="56" y="434"/>
                    </a:lnTo>
                    <a:lnTo>
                      <a:pt x="26" y="426"/>
                    </a:lnTo>
                    <a:lnTo>
                      <a:pt x="2" y="416"/>
                    </a:lnTo>
                    <a:lnTo>
                      <a:pt x="2" y="4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55" tIns="45677" rIns="91355" bIns="45677" numCol="1" anchor="t" anchorCtr="0" compatLnSpc="1">
                <a:prstTxWarp prst="textNoShape">
                  <a:avLst/>
                </a:prstTxWarp>
              </a:bodyPr>
              <a:lstStyle/>
              <a:p>
                <a:pPr defTabSz="913632">
                  <a:lnSpc>
                    <a:spcPct val="120000"/>
                  </a:lnSpc>
                  <a:defRPr/>
                </a:pPr>
                <a:endParaRPr lang="en-IN" sz="1797" kern="0">
                  <a:solidFill>
                    <a:srgbClr val="505050"/>
                  </a:solidFill>
                  <a:latin typeface="Segoe UI"/>
                </a:endParaRPr>
              </a:p>
            </p:txBody>
          </p:sp>
          <p:sp>
            <p:nvSpPr>
              <p:cNvPr id="147" name="Freeform 6"/>
              <p:cNvSpPr>
                <a:spLocks noEditPoints="1"/>
              </p:cNvSpPr>
              <p:nvPr/>
            </p:nvSpPr>
            <p:spPr bwMode="auto">
              <a:xfrm>
                <a:off x="2361" y="1334"/>
                <a:ext cx="420" cy="426"/>
              </a:xfrm>
              <a:custGeom>
                <a:avLst/>
                <a:gdLst>
                  <a:gd name="T0" fmla="*/ 420 w 420"/>
                  <a:gd name="T1" fmla="*/ 426 h 426"/>
                  <a:gd name="T2" fmla="*/ 316 w 420"/>
                  <a:gd name="T3" fmla="*/ 426 h 426"/>
                  <a:gd name="T4" fmla="*/ 286 w 420"/>
                  <a:gd name="T5" fmla="*/ 332 h 426"/>
                  <a:gd name="T6" fmla="*/ 134 w 420"/>
                  <a:gd name="T7" fmla="*/ 332 h 426"/>
                  <a:gd name="T8" fmla="*/ 104 w 420"/>
                  <a:gd name="T9" fmla="*/ 426 h 426"/>
                  <a:gd name="T10" fmla="*/ 0 w 420"/>
                  <a:gd name="T11" fmla="*/ 426 h 426"/>
                  <a:gd name="T12" fmla="*/ 154 w 420"/>
                  <a:gd name="T13" fmla="*/ 0 h 426"/>
                  <a:gd name="T14" fmla="*/ 268 w 420"/>
                  <a:gd name="T15" fmla="*/ 0 h 426"/>
                  <a:gd name="T16" fmla="*/ 420 w 420"/>
                  <a:gd name="T17" fmla="*/ 426 h 426"/>
                  <a:gd name="T18" fmla="*/ 264 w 420"/>
                  <a:gd name="T19" fmla="*/ 258 h 426"/>
                  <a:gd name="T20" fmla="*/ 218 w 420"/>
                  <a:gd name="T21" fmla="*/ 114 h 426"/>
                  <a:gd name="T22" fmla="*/ 218 w 420"/>
                  <a:gd name="T23" fmla="*/ 114 h 426"/>
                  <a:gd name="T24" fmla="*/ 214 w 420"/>
                  <a:gd name="T25" fmla="*/ 96 h 426"/>
                  <a:gd name="T26" fmla="*/ 210 w 420"/>
                  <a:gd name="T27" fmla="*/ 76 h 426"/>
                  <a:gd name="T28" fmla="*/ 208 w 420"/>
                  <a:gd name="T29" fmla="*/ 76 h 426"/>
                  <a:gd name="T30" fmla="*/ 208 w 420"/>
                  <a:gd name="T31" fmla="*/ 76 h 426"/>
                  <a:gd name="T32" fmla="*/ 206 w 420"/>
                  <a:gd name="T33" fmla="*/ 94 h 426"/>
                  <a:gd name="T34" fmla="*/ 200 w 420"/>
                  <a:gd name="T35" fmla="*/ 114 h 426"/>
                  <a:gd name="T36" fmla="*/ 154 w 420"/>
                  <a:gd name="T37" fmla="*/ 258 h 426"/>
                  <a:gd name="T38" fmla="*/ 264 w 420"/>
                  <a:gd name="T39" fmla="*/ 258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0" h="426">
                    <a:moveTo>
                      <a:pt x="420" y="426"/>
                    </a:moveTo>
                    <a:lnTo>
                      <a:pt x="316" y="426"/>
                    </a:lnTo>
                    <a:lnTo>
                      <a:pt x="286" y="332"/>
                    </a:lnTo>
                    <a:lnTo>
                      <a:pt x="134" y="332"/>
                    </a:lnTo>
                    <a:lnTo>
                      <a:pt x="104" y="426"/>
                    </a:lnTo>
                    <a:lnTo>
                      <a:pt x="0" y="426"/>
                    </a:lnTo>
                    <a:lnTo>
                      <a:pt x="154" y="0"/>
                    </a:lnTo>
                    <a:lnTo>
                      <a:pt x="268" y="0"/>
                    </a:lnTo>
                    <a:lnTo>
                      <a:pt x="420" y="426"/>
                    </a:lnTo>
                    <a:close/>
                    <a:moveTo>
                      <a:pt x="264" y="258"/>
                    </a:moveTo>
                    <a:lnTo>
                      <a:pt x="218" y="114"/>
                    </a:lnTo>
                    <a:lnTo>
                      <a:pt x="218" y="114"/>
                    </a:lnTo>
                    <a:lnTo>
                      <a:pt x="214" y="96"/>
                    </a:lnTo>
                    <a:lnTo>
                      <a:pt x="210" y="76"/>
                    </a:lnTo>
                    <a:lnTo>
                      <a:pt x="208" y="76"/>
                    </a:lnTo>
                    <a:lnTo>
                      <a:pt x="208" y="76"/>
                    </a:lnTo>
                    <a:lnTo>
                      <a:pt x="206" y="94"/>
                    </a:lnTo>
                    <a:lnTo>
                      <a:pt x="200" y="114"/>
                    </a:lnTo>
                    <a:lnTo>
                      <a:pt x="154" y="258"/>
                    </a:lnTo>
                    <a:lnTo>
                      <a:pt x="264" y="2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55" tIns="45677" rIns="91355" bIns="45677" numCol="1" anchor="t" anchorCtr="0" compatLnSpc="1">
                <a:prstTxWarp prst="textNoShape">
                  <a:avLst/>
                </a:prstTxWarp>
              </a:bodyPr>
              <a:lstStyle/>
              <a:p>
                <a:pPr defTabSz="913632">
                  <a:lnSpc>
                    <a:spcPct val="120000"/>
                  </a:lnSpc>
                  <a:defRPr/>
                </a:pPr>
                <a:endParaRPr lang="en-IN" sz="1797" kern="0">
                  <a:solidFill>
                    <a:srgbClr val="505050"/>
                  </a:solidFill>
                  <a:latin typeface="Segoe UI"/>
                </a:endParaRPr>
              </a:p>
            </p:txBody>
          </p:sp>
          <p:sp>
            <p:nvSpPr>
              <p:cNvPr id="148" name="Freeform 7"/>
              <p:cNvSpPr>
                <a:spLocks/>
              </p:cNvSpPr>
              <p:nvPr/>
            </p:nvSpPr>
            <p:spPr bwMode="auto">
              <a:xfrm>
                <a:off x="2835" y="1334"/>
                <a:ext cx="252" cy="426"/>
              </a:xfrm>
              <a:custGeom>
                <a:avLst/>
                <a:gdLst>
                  <a:gd name="T0" fmla="*/ 252 w 252"/>
                  <a:gd name="T1" fmla="*/ 426 h 426"/>
                  <a:gd name="T2" fmla="*/ 0 w 252"/>
                  <a:gd name="T3" fmla="*/ 426 h 426"/>
                  <a:gd name="T4" fmla="*/ 0 w 252"/>
                  <a:gd name="T5" fmla="*/ 0 h 426"/>
                  <a:gd name="T6" fmla="*/ 96 w 252"/>
                  <a:gd name="T7" fmla="*/ 0 h 426"/>
                  <a:gd name="T8" fmla="*/ 96 w 252"/>
                  <a:gd name="T9" fmla="*/ 348 h 426"/>
                  <a:gd name="T10" fmla="*/ 252 w 252"/>
                  <a:gd name="T11" fmla="*/ 348 h 426"/>
                  <a:gd name="T12" fmla="*/ 252 w 252"/>
                  <a:gd name="T13" fmla="*/ 426 h 426"/>
                </a:gdLst>
                <a:ahLst/>
                <a:cxnLst>
                  <a:cxn ang="0">
                    <a:pos x="T0" y="T1"/>
                  </a:cxn>
                  <a:cxn ang="0">
                    <a:pos x="T2" y="T3"/>
                  </a:cxn>
                  <a:cxn ang="0">
                    <a:pos x="T4" y="T5"/>
                  </a:cxn>
                  <a:cxn ang="0">
                    <a:pos x="T6" y="T7"/>
                  </a:cxn>
                  <a:cxn ang="0">
                    <a:pos x="T8" y="T9"/>
                  </a:cxn>
                  <a:cxn ang="0">
                    <a:pos x="T10" y="T11"/>
                  </a:cxn>
                  <a:cxn ang="0">
                    <a:pos x="T12" y="T13"/>
                  </a:cxn>
                </a:cxnLst>
                <a:rect l="0" t="0" r="r" b="b"/>
                <a:pathLst>
                  <a:path w="252" h="426">
                    <a:moveTo>
                      <a:pt x="252" y="426"/>
                    </a:moveTo>
                    <a:lnTo>
                      <a:pt x="0" y="426"/>
                    </a:lnTo>
                    <a:lnTo>
                      <a:pt x="0" y="0"/>
                    </a:lnTo>
                    <a:lnTo>
                      <a:pt x="96" y="0"/>
                    </a:lnTo>
                    <a:lnTo>
                      <a:pt x="96" y="348"/>
                    </a:lnTo>
                    <a:lnTo>
                      <a:pt x="252" y="348"/>
                    </a:lnTo>
                    <a:lnTo>
                      <a:pt x="252" y="4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55" tIns="45677" rIns="91355" bIns="45677" numCol="1" anchor="t" anchorCtr="0" compatLnSpc="1">
                <a:prstTxWarp prst="textNoShape">
                  <a:avLst/>
                </a:prstTxWarp>
              </a:bodyPr>
              <a:lstStyle/>
              <a:p>
                <a:pPr defTabSz="913632">
                  <a:lnSpc>
                    <a:spcPct val="120000"/>
                  </a:lnSpc>
                  <a:defRPr/>
                </a:pPr>
                <a:endParaRPr lang="en-IN" sz="1797" kern="0">
                  <a:solidFill>
                    <a:srgbClr val="505050"/>
                  </a:solidFill>
                  <a:latin typeface="Segoe UI"/>
                </a:endParaRPr>
              </a:p>
            </p:txBody>
          </p:sp>
          <p:sp>
            <p:nvSpPr>
              <p:cNvPr id="151" name="Freeform 8"/>
              <p:cNvSpPr>
                <a:spLocks/>
              </p:cNvSpPr>
              <p:nvPr/>
            </p:nvSpPr>
            <p:spPr bwMode="auto">
              <a:xfrm>
                <a:off x="3145" y="1334"/>
                <a:ext cx="256" cy="426"/>
              </a:xfrm>
              <a:custGeom>
                <a:avLst/>
                <a:gdLst>
                  <a:gd name="T0" fmla="*/ 256 w 256"/>
                  <a:gd name="T1" fmla="*/ 426 h 426"/>
                  <a:gd name="T2" fmla="*/ 0 w 256"/>
                  <a:gd name="T3" fmla="*/ 426 h 426"/>
                  <a:gd name="T4" fmla="*/ 0 w 256"/>
                  <a:gd name="T5" fmla="*/ 0 h 426"/>
                  <a:gd name="T6" fmla="*/ 246 w 256"/>
                  <a:gd name="T7" fmla="*/ 0 h 426"/>
                  <a:gd name="T8" fmla="*/ 246 w 256"/>
                  <a:gd name="T9" fmla="*/ 78 h 426"/>
                  <a:gd name="T10" fmla="*/ 96 w 256"/>
                  <a:gd name="T11" fmla="*/ 78 h 426"/>
                  <a:gd name="T12" fmla="*/ 96 w 256"/>
                  <a:gd name="T13" fmla="*/ 174 h 426"/>
                  <a:gd name="T14" fmla="*/ 236 w 256"/>
                  <a:gd name="T15" fmla="*/ 174 h 426"/>
                  <a:gd name="T16" fmla="*/ 236 w 256"/>
                  <a:gd name="T17" fmla="*/ 250 h 426"/>
                  <a:gd name="T18" fmla="*/ 96 w 256"/>
                  <a:gd name="T19" fmla="*/ 250 h 426"/>
                  <a:gd name="T20" fmla="*/ 96 w 256"/>
                  <a:gd name="T21" fmla="*/ 348 h 426"/>
                  <a:gd name="T22" fmla="*/ 256 w 256"/>
                  <a:gd name="T23" fmla="*/ 348 h 426"/>
                  <a:gd name="T24" fmla="*/ 256 w 256"/>
                  <a:gd name="T25" fmla="*/ 42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6" h="426">
                    <a:moveTo>
                      <a:pt x="256" y="426"/>
                    </a:moveTo>
                    <a:lnTo>
                      <a:pt x="0" y="426"/>
                    </a:lnTo>
                    <a:lnTo>
                      <a:pt x="0" y="0"/>
                    </a:lnTo>
                    <a:lnTo>
                      <a:pt x="246" y="0"/>
                    </a:lnTo>
                    <a:lnTo>
                      <a:pt x="246" y="78"/>
                    </a:lnTo>
                    <a:lnTo>
                      <a:pt x="96" y="78"/>
                    </a:lnTo>
                    <a:lnTo>
                      <a:pt x="96" y="174"/>
                    </a:lnTo>
                    <a:lnTo>
                      <a:pt x="236" y="174"/>
                    </a:lnTo>
                    <a:lnTo>
                      <a:pt x="236" y="250"/>
                    </a:lnTo>
                    <a:lnTo>
                      <a:pt x="96" y="250"/>
                    </a:lnTo>
                    <a:lnTo>
                      <a:pt x="96" y="348"/>
                    </a:lnTo>
                    <a:lnTo>
                      <a:pt x="256" y="348"/>
                    </a:lnTo>
                    <a:lnTo>
                      <a:pt x="256" y="4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55" tIns="45677" rIns="91355" bIns="45677" numCol="1" anchor="t" anchorCtr="0" compatLnSpc="1">
                <a:prstTxWarp prst="textNoShape">
                  <a:avLst/>
                </a:prstTxWarp>
              </a:bodyPr>
              <a:lstStyle/>
              <a:p>
                <a:pPr defTabSz="913632">
                  <a:lnSpc>
                    <a:spcPct val="120000"/>
                  </a:lnSpc>
                  <a:defRPr/>
                </a:pPr>
                <a:endParaRPr lang="en-IN" sz="1797" kern="0">
                  <a:solidFill>
                    <a:srgbClr val="505050"/>
                  </a:solidFill>
                  <a:latin typeface="Segoe UI"/>
                </a:endParaRPr>
              </a:p>
            </p:txBody>
          </p:sp>
        </p:grpSp>
      </p:grpSp>
      <p:grpSp>
        <p:nvGrpSpPr>
          <p:cNvPr id="301" name="Group 300"/>
          <p:cNvGrpSpPr>
            <a:grpSpLocks noChangeAspect="1"/>
          </p:cNvGrpSpPr>
          <p:nvPr/>
        </p:nvGrpSpPr>
        <p:grpSpPr bwMode="black">
          <a:xfrm>
            <a:off x="10674743" y="1234186"/>
            <a:ext cx="192500" cy="371387"/>
            <a:chOff x="3360738" y="989012"/>
            <a:chExt cx="746125" cy="1439864"/>
          </a:xfrm>
          <a:solidFill>
            <a:schemeClr val="bg1">
              <a:lumMod val="50000"/>
            </a:schemeClr>
          </a:solidFill>
        </p:grpSpPr>
        <p:sp>
          <p:nvSpPr>
            <p:cNvPr id="302" name="Freeform 36"/>
            <p:cNvSpPr>
              <a:spLocks/>
            </p:cNvSpPr>
            <p:nvPr/>
          </p:nvSpPr>
          <p:spPr bwMode="black">
            <a:xfrm>
              <a:off x="3360738" y="1255713"/>
              <a:ext cx="525463" cy="1173163"/>
            </a:xfrm>
            <a:custGeom>
              <a:avLst/>
              <a:gdLst>
                <a:gd name="T0" fmla="*/ 252 w 562"/>
                <a:gd name="T1" fmla="*/ 272 h 1256"/>
                <a:gd name="T2" fmla="*/ 234 w 562"/>
                <a:gd name="T3" fmla="*/ 192 h 1256"/>
                <a:gd name="T4" fmla="*/ 407 w 562"/>
                <a:gd name="T5" fmla="*/ 20 h 1256"/>
                <a:gd name="T6" fmla="*/ 534 w 562"/>
                <a:gd name="T7" fmla="*/ 76 h 1256"/>
                <a:gd name="T8" fmla="*/ 562 w 562"/>
                <a:gd name="T9" fmla="*/ 51 h 1256"/>
                <a:gd name="T10" fmla="*/ 443 w 562"/>
                <a:gd name="T11" fmla="*/ 0 h 1256"/>
                <a:gd name="T12" fmla="*/ 164 w 562"/>
                <a:gd name="T13" fmla="*/ 0 h 1256"/>
                <a:gd name="T14" fmla="*/ 0 w 562"/>
                <a:gd name="T15" fmla="*/ 163 h 1256"/>
                <a:gd name="T16" fmla="*/ 0 w 562"/>
                <a:gd name="T17" fmla="*/ 556 h 1256"/>
                <a:gd name="T18" fmla="*/ 55 w 562"/>
                <a:gd name="T19" fmla="*/ 612 h 1256"/>
                <a:gd name="T20" fmla="*/ 110 w 562"/>
                <a:gd name="T21" fmla="*/ 556 h 1256"/>
                <a:gd name="T22" fmla="*/ 110 w 562"/>
                <a:gd name="T23" fmla="*/ 201 h 1256"/>
                <a:gd name="T24" fmla="*/ 139 w 562"/>
                <a:gd name="T25" fmla="*/ 201 h 1256"/>
                <a:gd name="T26" fmla="*/ 139 w 562"/>
                <a:gd name="T27" fmla="*/ 1182 h 1256"/>
                <a:gd name="T28" fmla="*/ 214 w 562"/>
                <a:gd name="T29" fmla="*/ 1256 h 1256"/>
                <a:gd name="T30" fmla="*/ 288 w 562"/>
                <a:gd name="T31" fmla="*/ 1182 h 1256"/>
                <a:gd name="T32" fmla="*/ 288 w 562"/>
                <a:gd name="T33" fmla="*/ 615 h 1256"/>
                <a:gd name="T34" fmla="*/ 317 w 562"/>
                <a:gd name="T35" fmla="*/ 615 h 1256"/>
                <a:gd name="T36" fmla="*/ 317 w 562"/>
                <a:gd name="T37" fmla="*/ 1182 h 1256"/>
                <a:gd name="T38" fmla="*/ 392 w 562"/>
                <a:gd name="T39" fmla="*/ 1256 h 1256"/>
                <a:gd name="T40" fmla="*/ 467 w 562"/>
                <a:gd name="T41" fmla="*/ 1182 h 1256"/>
                <a:gd name="T42" fmla="*/ 467 w 562"/>
                <a:gd name="T43" fmla="*/ 516 h 1256"/>
                <a:gd name="T44" fmla="*/ 252 w 562"/>
                <a:gd name="T45" fmla="*/ 272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2" h="1256">
                  <a:moveTo>
                    <a:pt x="252" y="272"/>
                  </a:moveTo>
                  <a:cubicBezTo>
                    <a:pt x="248" y="262"/>
                    <a:pt x="234" y="225"/>
                    <a:pt x="234" y="192"/>
                  </a:cubicBezTo>
                  <a:cubicBezTo>
                    <a:pt x="234" y="97"/>
                    <a:pt x="312" y="20"/>
                    <a:pt x="407" y="20"/>
                  </a:cubicBezTo>
                  <a:cubicBezTo>
                    <a:pt x="456" y="20"/>
                    <a:pt x="501" y="41"/>
                    <a:pt x="534" y="76"/>
                  </a:cubicBezTo>
                  <a:cubicBezTo>
                    <a:pt x="542" y="66"/>
                    <a:pt x="551" y="58"/>
                    <a:pt x="562" y="51"/>
                  </a:cubicBezTo>
                  <a:cubicBezTo>
                    <a:pt x="532" y="20"/>
                    <a:pt x="490" y="0"/>
                    <a:pt x="443" y="0"/>
                  </a:cubicBezTo>
                  <a:cubicBezTo>
                    <a:pt x="164" y="0"/>
                    <a:pt x="164" y="0"/>
                    <a:pt x="164" y="0"/>
                  </a:cubicBezTo>
                  <a:cubicBezTo>
                    <a:pt x="73" y="0"/>
                    <a:pt x="0" y="73"/>
                    <a:pt x="0" y="163"/>
                  </a:cubicBezTo>
                  <a:cubicBezTo>
                    <a:pt x="0" y="556"/>
                    <a:pt x="0" y="556"/>
                    <a:pt x="0" y="556"/>
                  </a:cubicBezTo>
                  <a:cubicBezTo>
                    <a:pt x="0" y="587"/>
                    <a:pt x="25" y="612"/>
                    <a:pt x="55" y="612"/>
                  </a:cubicBezTo>
                  <a:cubicBezTo>
                    <a:pt x="86" y="612"/>
                    <a:pt x="110" y="587"/>
                    <a:pt x="110" y="556"/>
                  </a:cubicBezTo>
                  <a:cubicBezTo>
                    <a:pt x="110" y="201"/>
                    <a:pt x="110" y="201"/>
                    <a:pt x="110" y="201"/>
                  </a:cubicBezTo>
                  <a:cubicBezTo>
                    <a:pt x="139" y="201"/>
                    <a:pt x="139" y="201"/>
                    <a:pt x="139" y="201"/>
                  </a:cubicBezTo>
                  <a:cubicBezTo>
                    <a:pt x="139" y="1182"/>
                    <a:pt x="139" y="1182"/>
                    <a:pt x="139" y="1182"/>
                  </a:cubicBezTo>
                  <a:cubicBezTo>
                    <a:pt x="139" y="1223"/>
                    <a:pt x="173" y="1256"/>
                    <a:pt x="214" y="1256"/>
                  </a:cubicBezTo>
                  <a:cubicBezTo>
                    <a:pt x="255" y="1256"/>
                    <a:pt x="288" y="1223"/>
                    <a:pt x="288" y="1182"/>
                  </a:cubicBezTo>
                  <a:cubicBezTo>
                    <a:pt x="288" y="615"/>
                    <a:pt x="288" y="615"/>
                    <a:pt x="288" y="615"/>
                  </a:cubicBezTo>
                  <a:cubicBezTo>
                    <a:pt x="317" y="615"/>
                    <a:pt x="317" y="615"/>
                    <a:pt x="317" y="615"/>
                  </a:cubicBezTo>
                  <a:cubicBezTo>
                    <a:pt x="317" y="1182"/>
                    <a:pt x="317" y="1182"/>
                    <a:pt x="317" y="1182"/>
                  </a:cubicBezTo>
                  <a:cubicBezTo>
                    <a:pt x="317" y="1223"/>
                    <a:pt x="351" y="1256"/>
                    <a:pt x="392" y="1256"/>
                  </a:cubicBezTo>
                  <a:cubicBezTo>
                    <a:pt x="433" y="1256"/>
                    <a:pt x="467" y="1223"/>
                    <a:pt x="467" y="1182"/>
                  </a:cubicBezTo>
                  <a:cubicBezTo>
                    <a:pt x="467" y="516"/>
                    <a:pt x="467" y="516"/>
                    <a:pt x="467" y="516"/>
                  </a:cubicBezTo>
                  <a:cubicBezTo>
                    <a:pt x="398" y="459"/>
                    <a:pt x="284" y="354"/>
                    <a:pt x="252" y="2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852"/>
              <a:endParaRPr lang="en-US" sz="1600" kern="0">
                <a:solidFill>
                  <a:srgbClr val="505050"/>
                </a:solidFill>
                <a:latin typeface="Segoe UI"/>
              </a:endParaRPr>
            </a:p>
          </p:txBody>
        </p:sp>
        <p:sp>
          <p:nvSpPr>
            <p:cNvPr id="303" name="Freeform 37"/>
            <p:cNvSpPr>
              <a:spLocks/>
            </p:cNvSpPr>
            <p:nvPr/>
          </p:nvSpPr>
          <p:spPr bwMode="black">
            <a:xfrm>
              <a:off x="3824288" y="1733550"/>
              <a:ext cx="103188" cy="93663"/>
            </a:xfrm>
            <a:custGeom>
              <a:avLst/>
              <a:gdLst>
                <a:gd name="T0" fmla="*/ 58 w 110"/>
                <a:gd name="T1" fmla="*/ 43 h 101"/>
                <a:gd name="T2" fmla="*/ 38 w 110"/>
                <a:gd name="T3" fmla="*/ 59 h 101"/>
                <a:gd name="T4" fmla="*/ 17 w 110"/>
                <a:gd name="T5" fmla="*/ 43 h 101"/>
                <a:gd name="T6" fmla="*/ 0 w 110"/>
                <a:gd name="T7" fmla="*/ 29 h 101"/>
                <a:gd name="T8" fmla="*/ 0 w 110"/>
                <a:gd name="T9" fmla="*/ 45 h 101"/>
                <a:gd name="T10" fmla="*/ 56 w 110"/>
                <a:gd name="T11" fmla="*/ 101 h 101"/>
                <a:gd name="T12" fmla="*/ 110 w 110"/>
                <a:gd name="T13" fmla="*/ 45 h 101"/>
                <a:gd name="T14" fmla="*/ 110 w 110"/>
                <a:gd name="T15" fmla="*/ 0 h 101"/>
                <a:gd name="T16" fmla="*/ 58 w 110"/>
                <a:gd name="T17" fmla="*/ 4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01">
                  <a:moveTo>
                    <a:pt x="58" y="43"/>
                  </a:moveTo>
                  <a:cubicBezTo>
                    <a:pt x="38" y="59"/>
                    <a:pt x="38" y="59"/>
                    <a:pt x="38" y="59"/>
                  </a:cubicBezTo>
                  <a:cubicBezTo>
                    <a:pt x="17" y="43"/>
                    <a:pt x="17" y="43"/>
                    <a:pt x="17" y="43"/>
                  </a:cubicBezTo>
                  <a:cubicBezTo>
                    <a:pt x="13" y="40"/>
                    <a:pt x="7" y="35"/>
                    <a:pt x="0" y="29"/>
                  </a:cubicBezTo>
                  <a:cubicBezTo>
                    <a:pt x="0" y="45"/>
                    <a:pt x="0" y="45"/>
                    <a:pt x="0" y="45"/>
                  </a:cubicBezTo>
                  <a:cubicBezTo>
                    <a:pt x="0" y="76"/>
                    <a:pt x="25" y="101"/>
                    <a:pt x="56" y="101"/>
                  </a:cubicBezTo>
                  <a:cubicBezTo>
                    <a:pt x="85" y="101"/>
                    <a:pt x="110" y="76"/>
                    <a:pt x="110" y="45"/>
                  </a:cubicBezTo>
                  <a:cubicBezTo>
                    <a:pt x="110" y="0"/>
                    <a:pt x="110" y="0"/>
                    <a:pt x="110" y="0"/>
                  </a:cubicBezTo>
                  <a:cubicBezTo>
                    <a:pt x="86" y="20"/>
                    <a:pt x="67" y="35"/>
                    <a:pt x="58" y="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852"/>
              <a:endParaRPr lang="en-US" sz="1600" kern="0">
                <a:solidFill>
                  <a:srgbClr val="505050"/>
                </a:solidFill>
                <a:latin typeface="Segoe UI"/>
              </a:endParaRPr>
            </a:p>
          </p:txBody>
        </p:sp>
        <p:sp>
          <p:nvSpPr>
            <p:cNvPr id="304" name="Oval 38"/>
            <p:cNvSpPr>
              <a:spLocks noChangeArrowheads="1"/>
            </p:cNvSpPr>
            <p:nvPr/>
          </p:nvSpPr>
          <p:spPr bwMode="black">
            <a:xfrm>
              <a:off x="3525838" y="989012"/>
              <a:ext cx="234950" cy="2381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852"/>
              <a:endParaRPr lang="en-US" sz="1600" kern="0">
                <a:solidFill>
                  <a:srgbClr val="505050"/>
                </a:solidFill>
                <a:latin typeface="Segoe UI"/>
              </a:endParaRPr>
            </a:p>
          </p:txBody>
        </p:sp>
        <p:sp>
          <p:nvSpPr>
            <p:cNvPr id="305" name="Freeform 39"/>
            <p:cNvSpPr>
              <a:spLocks/>
            </p:cNvSpPr>
            <p:nvPr/>
          </p:nvSpPr>
          <p:spPr bwMode="black">
            <a:xfrm>
              <a:off x="3606800" y="1304925"/>
              <a:ext cx="500063" cy="444500"/>
            </a:xfrm>
            <a:custGeom>
              <a:avLst/>
              <a:gdLst>
                <a:gd name="T0" fmla="*/ 267 w 535"/>
                <a:gd name="T1" fmla="*/ 476 h 477"/>
                <a:gd name="T2" fmla="*/ 15 w 535"/>
                <a:gd name="T3" fmla="*/ 208 h 477"/>
                <a:gd name="T4" fmla="*/ 0 w 535"/>
                <a:gd name="T5" fmla="*/ 140 h 477"/>
                <a:gd name="T6" fmla="*/ 141 w 535"/>
                <a:gd name="T7" fmla="*/ 0 h 477"/>
                <a:gd name="T8" fmla="*/ 268 w 535"/>
                <a:gd name="T9" fmla="*/ 80 h 477"/>
                <a:gd name="T10" fmla="*/ 394 w 535"/>
                <a:gd name="T11" fmla="*/ 0 h 477"/>
                <a:gd name="T12" fmla="*/ 535 w 535"/>
                <a:gd name="T13" fmla="*/ 140 h 477"/>
                <a:gd name="T14" fmla="*/ 520 w 535"/>
                <a:gd name="T15" fmla="*/ 208 h 477"/>
                <a:gd name="T16" fmla="*/ 269 w 535"/>
                <a:gd name="T17" fmla="*/ 476 h 477"/>
                <a:gd name="T18" fmla="*/ 268 w 535"/>
                <a:gd name="T19" fmla="*/ 477 h 477"/>
                <a:gd name="T20" fmla="*/ 267 w 535"/>
                <a:gd name="T21" fmla="*/ 476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5" h="477">
                  <a:moveTo>
                    <a:pt x="267" y="476"/>
                  </a:moveTo>
                  <a:cubicBezTo>
                    <a:pt x="247" y="461"/>
                    <a:pt x="55" y="310"/>
                    <a:pt x="15" y="208"/>
                  </a:cubicBezTo>
                  <a:cubicBezTo>
                    <a:pt x="8" y="189"/>
                    <a:pt x="0" y="162"/>
                    <a:pt x="0" y="140"/>
                  </a:cubicBezTo>
                  <a:cubicBezTo>
                    <a:pt x="0" y="63"/>
                    <a:pt x="63" y="0"/>
                    <a:pt x="141" y="0"/>
                  </a:cubicBezTo>
                  <a:cubicBezTo>
                    <a:pt x="197" y="0"/>
                    <a:pt x="245" y="33"/>
                    <a:pt x="268" y="80"/>
                  </a:cubicBezTo>
                  <a:cubicBezTo>
                    <a:pt x="290" y="33"/>
                    <a:pt x="339" y="0"/>
                    <a:pt x="394" y="0"/>
                  </a:cubicBezTo>
                  <a:cubicBezTo>
                    <a:pt x="472" y="0"/>
                    <a:pt x="535" y="63"/>
                    <a:pt x="535" y="140"/>
                  </a:cubicBezTo>
                  <a:cubicBezTo>
                    <a:pt x="535" y="162"/>
                    <a:pt x="527" y="189"/>
                    <a:pt x="520" y="208"/>
                  </a:cubicBezTo>
                  <a:cubicBezTo>
                    <a:pt x="480" y="310"/>
                    <a:pt x="288" y="461"/>
                    <a:pt x="269" y="476"/>
                  </a:cubicBezTo>
                  <a:cubicBezTo>
                    <a:pt x="268" y="477"/>
                    <a:pt x="268" y="477"/>
                    <a:pt x="268" y="477"/>
                  </a:cubicBezTo>
                  <a:lnTo>
                    <a:pt x="267" y="4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3852"/>
              <a:endParaRPr lang="en-US" sz="1600" kern="0">
                <a:solidFill>
                  <a:srgbClr val="505050"/>
                </a:solidFill>
                <a:latin typeface="Segoe UI"/>
              </a:endParaRPr>
            </a:p>
          </p:txBody>
        </p:sp>
      </p:grpSp>
      <p:sp>
        <p:nvSpPr>
          <p:cNvPr id="379" name="Rectangle 378"/>
          <p:cNvSpPr/>
          <p:nvPr/>
        </p:nvSpPr>
        <p:spPr>
          <a:xfrm>
            <a:off x="371142" y="2506073"/>
            <a:ext cx="1137840" cy="484622"/>
          </a:xfrm>
          <a:prstGeom prst="rect">
            <a:avLst/>
          </a:prstGeom>
        </p:spPr>
        <p:txBody>
          <a:bodyPr wrap="square" lIns="0" tIns="0" rIns="0" bIns="0">
            <a:spAutoFit/>
          </a:bodyPr>
          <a:lstStyle/>
          <a:p>
            <a:pPr algn="ctr" defTabSz="913368" fontAlgn="base">
              <a:spcBef>
                <a:spcPct val="0"/>
              </a:spcBef>
              <a:spcAft>
                <a:spcPct val="0"/>
              </a:spcAft>
            </a:pPr>
            <a:r>
              <a:rPr lang="en-GB" sz="1050"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Car auto- configures for driver</a:t>
            </a:r>
          </a:p>
        </p:txBody>
      </p:sp>
      <p:sp>
        <p:nvSpPr>
          <p:cNvPr id="381" name="Oval 380"/>
          <p:cNvSpPr/>
          <p:nvPr/>
        </p:nvSpPr>
        <p:spPr bwMode="auto">
          <a:xfrm>
            <a:off x="635872" y="2325295"/>
            <a:ext cx="145290" cy="145290"/>
          </a:xfrm>
          <a:prstGeom prst="ellipse">
            <a:avLst/>
          </a:prstGeom>
          <a:solidFill>
            <a:schemeClr val="tx2"/>
          </a:solidFill>
          <a:ln w="19050" cap="flat" cmpd="sng" algn="ctr">
            <a:solidFill>
              <a:schemeClr val="bg1"/>
            </a:solidFill>
            <a:prstDash val="solid"/>
            <a:headEnd type="none" w="med" len="med"/>
            <a:tailEnd type="none" w="med" len="med"/>
          </a:ln>
          <a:effectLst/>
        </p:spPr>
        <p:txBody>
          <a:bodyPr rot="0" spcFirstLastPara="0" vertOverflow="overflow" horzOverflow="overflow" vert="horz" wrap="square" lIns="179144" tIns="143317" rIns="179144" bIns="143317" numCol="1" spcCol="0" rtlCol="0" fromWordArt="0" anchor="t" anchorCtr="0" forceAA="0" compatLnSpc="1">
            <a:prstTxWarp prst="textNoShape">
              <a:avLst/>
            </a:prstTxWarp>
            <a:noAutofit/>
          </a:bodyPr>
          <a:lstStyle/>
          <a:p>
            <a:pPr algn="ctr" defTabSz="913368" fontAlgn="base">
              <a:spcBef>
                <a:spcPct val="0"/>
              </a:spcBef>
              <a:spcAft>
                <a:spcPct val="0"/>
              </a:spcAft>
              <a:defRPr/>
            </a:pPr>
            <a:endParaRPr lang="en-US" sz="235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8" name="Rectangle 407"/>
          <p:cNvSpPr/>
          <p:nvPr/>
        </p:nvSpPr>
        <p:spPr>
          <a:xfrm>
            <a:off x="1631418" y="1850101"/>
            <a:ext cx="1093205" cy="323081"/>
          </a:xfrm>
          <a:prstGeom prst="rect">
            <a:avLst/>
          </a:prstGeom>
        </p:spPr>
        <p:txBody>
          <a:bodyPr wrap="square" lIns="0" tIns="0" rIns="0" bIns="0" anchor="ctr">
            <a:spAutoFit/>
          </a:bodyPr>
          <a:lstStyle/>
          <a:p>
            <a:pPr algn="ctr" defTabSz="913368" fontAlgn="base">
              <a:spcBef>
                <a:spcPct val="0"/>
              </a:spcBef>
              <a:spcAft>
                <a:spcPct val="0"/>
              </a:spcAft>
            </a:pPr>
            <a:r>
              <a:rPr lang="en-GB" sz="1050"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Navigation to meeting location</a:t>
            </a:r>
          </a:p>
        </p:txBody>
      </p:sp>
      <p:sp>
        <p:nvSpPr>
          <p:cNvPr id="429" name="Oval 428"/>
          <p:cNvSpPr/>
          <p:nvPr/>
        </p:nvSpPr>
        <p:spPr bwMode="auto">
          <a:xfrm>
            <a:off x="1983947" y="1591818"/>
            <a:ext cx="145290" cy="145290"/>
          </a:xfrm>
          <a:prstGeom prst="ellipse">
            <a:avLst/>
          </a:prstGeom>
          <a:solidFill>
            <a:schemeClr val="tx2"/>
          </a:solidFill>
          <a:ln w="19050" cap="flat" cmpd="sng" algn="ctr">
            <a:solidFill>
              <a:schemeClr val="bg1"/>
            </a:solidFill>
            <a:prstDash val="solid"/>
            <a:headEnd type="none" w="med" len="med"/>
            <a:tailEnd type="none" w="med" len="med"/>
          </a:ln>
          <a:effectLst/>
        </p:spPr>
        <p:txBody>
          <a:bodyPr rot="0" spcFirstLastPara="0" vertOverflow="overflow" horzOverflow="overflow" vert="horz" wrap="square" lIns="179144" tIns="143317" rIns="179144" bIns="143317" numCol="1" spcCol="0" rtlCol="0" fromWordArt="0" anchor="t" anchorCtr="0" forceAA="0" compatLnSpc="1">
            <a:prstTxWarp prst="textNoShape">
              <a:avLst/>
            </a:prstTxWarp>
            <a:noAutofit/>
          </a:bodyPr>
          <a:lstStyle/>
          <a:p>
            <a:pPr algn="ctr" defTabSz="913368" fontAlgn="base">
              <a:spcBef>
                <a:spcPct val="0"/>
              </a:spcBef>
              <a:spcAft>
                <a:spcPct val="0"/>
              </a:spcAft>
              <a:defRPr/>
            </a:pPr>
            <a:endParaRPr lang="en-US" sz="235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51" name="Rectangle 450"/>
          <p:cNvSpPr/>
          <p:nvPr/>
        </p:nvSpPr>
        <p:spPr>
          <a:xfrm>
            <a:off x="2908237" y="1172995"/>
            <a:ext cx="1751686" cy="323081"/>
          </a:xfrm>
          <a:prstGeom prst="rect">
            <a:avLst/>
          </a:prstGeom>
        </p:spPr>
        <p:txBody>
          <a:bodyPr wrap="square" lIns="0" tIns="0" rIns="0" bIns="0" anchor="ctr">
            <a:spAutoFit/>
          </a:bodyPr>
          <a:lstStyle/>
          <a:p>
            <a:pPr algn="ctr" defTabSz="913368" fontAlgn="base">
              <a:spcBef>
                <a:spcPct val="0"/>
              </a:spcBef>
              <a:spcAft>
                <a:spcPct val="0"/>
              </a:spcAft>
            </a:pPr>
            <a:r>
              <a:rPr lang="en-US" sz="1050"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Personal assistant compiles notes for meeting</a:t>
            </a:r>
            <a:endParaRPr lang="en-GB" sz="1050"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endParaRPr>
          </a:p>
        </p:txBody>
      </p:sp>
      <p:sp>
        <p:nvSpPr>
          <p:cNvPr id="455" name="Oval 454"/>
          <p:cNvSpPr/>
          <p:nvPr/>
        </p:nvSpPr>
        <p:spPr bwMode="auto">
          <a:xfrm>
            <a:off x="3609531" y="2594968"/>
            <a:ext cx="145290" cy="145290"/>
          </a:xfrm>
          <a:prstGeom prst="ellipse">
            <a:avLst/>
          </a:prstGeom>
          <a:solidFill>
            <a:schemeClr val="tx2"/>
          </a:solidFill>
          <a:ln w="19050" cap="flat" cmpd="sng" algn="ctr">
            <a:solidFill>
              <a:schemeClr val="bg1"/>
            </a:solidFill>
            <a:prstDash val="solid"/>
            <a:headEnd type="none" w="med" len="med"/>
            <a:tailEnd type="none" w="med" len="med"/>
          </a:ln>
          <a:effectLst/>
        </p:spPr>
        <p:txBody>
          <a:bodyPr rot="0" spcFirstLastPara="0" vertOverflow="overflow" horzOverflow="overflow" vert="horz" wrap="square" lIns="179144" tIns="143317" rIns="179144" bIns="143317" numCol="1" spcCol="0" rtlCol="0" fromWordArt="0" anchor="t" anchorCtr="0" forceAA="0" compatLnSpc="1">
            <a:prstTxWarp prst="textNoShape">
              <a:avLst/>
            </a:prstTxWarp>
            <a:noAutofit/>
          </a:bodyPr>
          <a:lstStyle/>
          <a:p>
            <a:pPr algn="ctr" defTabSz="913368" fontAlgn="base">
              <a:spcBef>
                <a:spcPct val="0"/>
              </a:spcBef>
              <a:spcAft>
                <a:spcPct val="0"/>
              </a:spcAft>
              <a:defRPr/>
            </a:pPr>
            <a:endParaRPr lang="en-US" sz="2350"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4" name="Group 13"/>
          <p:cNvGrpSpPr/>
          <p:nvPr/>
        </p:nvGrpSpPr>
        <p:grpSpPr>
          <a:xfrm>
            <a:off x="1789808" y="1267042"/>
            <a:ext cx="201185" cy="350622"/>
            <a:chOff x="3136182" y="3947908"/>
            <a:chExt cx="201237" cy="350713"/>
          </a:xfrm>
        </p:grpSpPr>
        <p:sp>
          <p:nvSpPr>
            <p:cNvPr id="330" name="Round Same Side Corner Rectangle 2"/>
            <p:cNvSpPr>
              <a:spLocks noChangeAspect="1"/>
            </p:cNvSpPr>
            <p:nvPr/>
          </p:nvSpPr>
          <p:spPr>
            <a:xfrm>
              <a:off x="3136182" y="3947908"/>
              <a:ext cx="201237" cy="350713"/>
            </a:xfrm>
            <a:custGeom>
              <a:avLst/>
              <a:gdLst/>
              <a:ahLst/>
              <a:cxnLst/>
              <a:rect l="l" t="t" r="r" b="b"/>
              <a:pathLst>
                <a:path w="639317" h="1296147">
                  <a:moveTo>
                    <a:pt x="319659" y="1176926"/>
                  </a:moveTo>
                  <a:cubicBezTo>
                    <a:pt x="302977" y="1176926"/>
                    <a:pt x="289454" y="1190449"/>
                    <a:pt x="289454" y="1207131"/>
                  </a:cubicBezTo>
                  <a:cubicBezTo>
                    <a:pt x="289454" y="1223812"/>
                    <a:pt x="302977" y="1237335"/>
                    <a:pt x="319659" y="1237335"/>
                  </a:cubicBezTo>
                  <a:cubicBezTo>
                    <a:pt x="336340" y="1237335"/>
                    <a:pt x="349863" y="1223812"/>
                    <a:pt x="349863" y="1207131"/>
                  </a:cubicBezTo>
                  <a:cubicBezTo>
                    <a:pt x="349863" y="1190449"/>
                    <a:pt x="336340" y="1176926"/>
                    <a:pt x="319659" y="1176926"/>
                  </a:cubicBezTo>
                  <a:close/>
                  <a:moveTo>
                    <a:pt x="66614" y="178851"/>
                  </a:moveTo>
                  <a:lnTo>
                    <a:pt x="66614" y="1092553"/>
                  </a:lnTo>
                  <a:lnTo>
                    <a:pt x="79934" y="1092553"/>
                  </a:lnTo>
                  <a:lnTo>
                    <a:pt x="79934" y="1094228"/>
                  </a:lnTo>
                  <a:lnTo>
                    <a:pt x="518084" y="1094228"/>
                  </a:lnTo>
                  <a:lnTo>
                    <a:pt x="518084" y="1092553"/>
                  </a:lnTo>
                  <a:lnTo>
                    <a:pt x="572703" y="1092553"/>
                  </a:lnTo>
                  <a:lnTo>
                    <a:pt x="572703" y="178851"/>
                  </a:lnTo>
                  <a:close/>
                  <a:moveTo>
                    <a:pt x="240430" y="73898"/>
                  </a:moveTo>
                  <a:cubicBezTo>
                    <a:pt x="234747" y="73898"/>
                    <a:pt x="230141" y="78505"/>
                    <a:pt x="230141" y="84188"/>
                  </a:cubicBezTo>
                  <a:cubicBezTo>
                    <a:pt x="230141" y="89870"/>
                    <a:pt x="234747" y="94477"/>
                    <a:pt x="240430" y="94477"/>
                  </a:cubicBezTo>
                  <a:lnTo>
                    <a:pt x="398887" y="94478"/>
                  </a:lnTo>
                  <a:cubicBezTo>
                    <a:pt x="404570" y="94478"/>
                    <a:pt x="409177" y="89871"/>
                    <a:pt x="409177" y="84188"/>
                  </a:cubicBezTo>
                  <a:lnTo>
                    <a:pt x="409177" y="84188"/>
                  </a:lnTo>
                  <a:cubicBezTo>
                    <a:pt x="409177" y="78505"/>
                    <a:pt x="404571" y="73898"/>
                    <a:pt x="398888" y="73898"/>
                  </a:cubicBezTo>
                  <a:close/>
                  <a:moveTo>
                    <a:pt x="313485" y="119"/>
                  </a:moveTo>
                  <a:cubicBezTo>
                    <a:pt x="467512" y="-2326"/>
                    <a:pt x="623597" y="32935"/>
                    <a:pt x="639317" y="113230"/>
                  </a:cubicBezTo>
                  <a:lnTo>
                    <a:pt x="639317" y="540401"/>
                  </a:lnTo>
                  <a:lnTo>
                    <a:pt x="639317" y="755746"/>
                  </a:lnTo>
                  <a:lnTo>
                    <a:pt x="639317" y="1182917"/>
                  </a:lnTo>
                  <a:cubicBezTo>
                    <a:pt x="607877" y="1343508"/>
                    <a:pt x="14977" y="1323958"/>
                    <a:pt x="0" y="1182917"/>
                  </a:cubicBezTo>
                  <a:lnTo>
                    <a:pt x="0" y="755746"/>
                  </a:lnTo>
                  <a:lnTo>
                    <a:pt x="0" y="540401"/>
                  </a:lnTo>
                  <a:lnTo>
                    <a:pt x="0" y="113230"/>
                  </a:lnTo>
                  <a:cubicBezTo>
                    <a:pt x="7489" y="42710"/>
                    <a:pt x="159458" y="2562"/>
                    <a:pt x="313485" y="119"/>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2"/>
              <a:endParaRPr lang="en-US" sz="1798" kern="0">
                <a:solidFill>
                  <a:sysClr val="windowText" lastClr="000000"/>
                </a:solidFill>
                <a:latin typeface="Segoe UI"/>
              </a:endParaRPr>
            </a:p>
          </p:txBody>
        </p:sp>
        <p:sp>
          <p:nvSpPr>
            <p:cNvPr id="459" name="Donut 3"/>
            <p:cNvSpPr/>
            <p:nvPr/>
          </p:nvSpPr>
          <p:spPr bwMode="auto">
            <a:xfrm flipH="1">
              <a:off x="3174602" y="4076961"/>
              <a:ext cx="142860" cy="121644"/>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392" tIns="45696" rIns="45696" bIns="9139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551" fontAlgn="base">
                <a:spcBef>
                  <a:spcPct val="0"/>
                </a:spcBef>
                <a:spcAft>
                  <a:spcPct val="0"/>
                </a:spcAft>
              </a:pPr>
              <a:endParaRPr lang="en-US" sz="1798" spc="-5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
        <p:nvSpPr>
          <p:cNvPr id="461" name="Oval 460"/>
          <p:cNvSpPr/>
          <p:nvPr/>
        </p:nvSpPr>
        <p:spPr bwMode="auto">
          <a:xfrm>
            <a:off x="2942602" y="3421633"/>
            <a:ext cx="145290" cy="145290"/>
          </a:xfrm>
          <a:prstGeom prst="ellipse">
            <a:avLst/>
          </a:prstGeom>
          <a:solidFill>
            <a:schemeClr val="tx2"/>
          </a:solidFill>
          <a:ln w="19050" cap="flat" cmpd="sng" algn="ctr">
            <a:solidFill>
              <a:schemeClr val="bg1"/>
            </a:solidFill>
            <a:prstDash val="solid"/>
            <a:headEnd type="none" w="med" len="med"/>
            <a:tailEnd type="none" w="med" len="med"/>
          </a:ln>
          <a:effectLst/>
        </p:spPr>
        <p:txBody>
          <a:bodyPr rot="0" spcFirstLastPara="0" vertOverflow="overflow" horzOverflow="overflow" vert="horz" wrap="square" lIns="179144" tIns="143317" rIns="179144" bIns="143317" numCol="1" spcCol="0" rtlCol="0" fromWordArt="0" anchor="t" anchorCtr="0" forceAA="0" compatLnSpc="1">
            <a:prstTxWarp prst="textNoShape">
              <a:avLst/>
            </a:prstTxWarp>
            <a:noAutofit/>
          </a:bodyPr>
          <a:lstStyle/>
          <a:p>
            <a:pPr algn="ctr" defTabSz="913368" fontAlgn="base">
              <a:spcBef>
                <a:spcPct val="0"/>
              </a:spcBef>
              <a:spcAft>
                <a:spcPct val="0"/>
              </a:spcAft>
              <a:defRPr/>
            </a:pPr>
            <a:endParaRPr lang="en-US" sz="235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3" name="Oval 462"/>
          <p:cNvSpPr/>
          <p:nvPr/>
        </p:nvSpPr>
        <p:spPr bwMode="auto">
          <a:xfrm>
            <a:off x="3570389" y="4335610"/>
            <a:ext cx="145290" cy="145290"/>
          </a:xfrm>
          <a:prstGeom prst="ellipse">
            <a:avLst/>
          </a:prstGeom>
          <a:solidFill>
            <a:schemeClr val="tx2"/>
          </a:solidFill>
          <a:ln w="19050" cap="flat" cmpd="sng" algn="ctr">
            <a:solidFill>
              <a:schemeClr val="bg1"/>
            </a:solidFill>
            <a:prstDash val="solid"/>
            <a:headEnd type="none" w="med" len="med"/>
            <a:tailEnd type="none" w="med" len="med"/>
          </a:ln>
          <a:effectLst/>
        </p:spPr>
        <p:txBody>
          <a:bodyPr rot="0" spcFirstLastPara="0" vertOverflow="overflow" horzOverflow="overflow" vert="horz" wrap="square" lIns="179144" tIns="143317" rIns="179144" bIns="143317" numCol="1" spcCol="0" rtlCol="0" fromWordArt="0" anchor="t" anchorCtr="0" forceAA="0" compatLnSpc="1">
            <a:prstTxWarp prst="textNoShape">
              <a:avLst/>
            </a:prstTxWarp>
            <a:noAutofit/>
          </a:bodyPr>
          <a:lstStyle/>
          <a:p>
            <a:pPr algn="ctr" defTabSz="913368" fontAlgn="base">
              <a:spcBef>
                <a:spcPct val="0"/>
              </a:spcBef>
              <a:spcAft>
                <a:spcPct val="0"/>
              </a:spcAft>
              <a:defRPr/>
            </a:pPr>
            <a:endParaRPr lang="en-US" sz="235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64" name="Rectangle 463"/>
          <p:cNvSpPr/>
          <p:nvPr/>
        </p:nvSpPr>
        <p:spPr>
          <a:xfrm>
            <a:off x="1771560" y="3304480"/>
            <a:ext cx="1075791" cy="323081"/>
          </a:xfrm>
          <a:prstGeom prst="rect">
            <a:avLst/>
          </a:prstGeom>
        </p:spPr>
        <p:txBody>
          <a:bodyPr wrap="square" lIns="0" tIns="0" rIns="0" bIns="0" anchor="ctr">
            <a:spAutoFit/>
          </a:bodyPr>
          <a:lstStyle/>
          <a:p>
            <a:pPr algn="r" defTabSz="913368" fontAlgn="base">
              <a:spcBef>
                <a:spcPct val="0"/>
              </a:spcBef>
              <a:spcAft>
                <a:spcPct val="0"/>
              </a:spcAft>
            </a:pPr>
            <a:r>
              <a:rPr lang="en-GB" sz="1050"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Personal assistant finds parking</a:t>
            </a:r>
          </a:p>
        </p:txBody>
      </p:sp>
      <p:sp>
        <p:nvSpPr>
          <p:cNvPr id="470" name="Oval 469"/>
          <p:cNvSpPr/>
          <p:nvPr/>
        </p:nvSpPr>
        <p:spPr bwMode="auto">
          <a:xfrm>
            <a:off x="4745335" y="3673666"/>
            <a:ext cx="145290" cy="145290"/>
          </a:xfrm>
          <a:prstGeom prst="ellipse">
            <a:avLst/>
          </a:prstGeom>
          <a:solidFill>
            <a:schemeClr val="tx2"/>
          </a:solidFill>
          <a:ln w="19050" cap="flat" cmpd="sng" algn="ctr">
            <a:solidFill>
              <a:schemeClr val="bg1"/>
            </a:solidFill>
            <a:prstDash val="solid"/>
            <a:headEnd type="none" w="med" len="med"/>
            <a:tailEnd type="none" w="med" len="med"/>
          </a:ln>
          <a:effectLst/>
        </p:spPr>
        <p:txBody>
          <a:bodyPr rot="0" spcFirstLastPara="0" vertOverflow="overflow" horzOverflow="overflow" vert="horz" wrap="square" lIns="179144" tIns="143317" rIns="179144" bIns="143317" numCol="1" spcCol="0" rtlCol="0" fromWordArt="0" anchor="t" anchorCtr="0" forceAA="0" compatLnSpc="1">
            <a:prstTxWarp prst="textNoShape">
              <a:avLst/>
            </a:prstTxWarp>
            <a:noAutofit/>
          </a:bodyPr>
          <a:lstStyle/>
          <a:p>
            <a:pPr algn="ctr" defTabSz="913368" fontAlgn="base">
              <a:spcBef>
                <a:spcPct val="0"/>
              </a:spcBef>
              <a:spcAft>
                <a:spcPct val="0"/>
              </a:spcAft>
              <a:defRPr/>
            </a:pPr>
            <a:endParaRPr lang="en-US" sz="235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4" name="Oval 473"/>
          <p:cNvSpPr/>
          <p:nvPr/>
        </p:nvSpPr>
        <p:spPr bwMode="auto">
          <a:xfrm>
            <a:off x="7446284" y="2517592"/>
            <a:ext cx="145290" cy="145290"/>
          </a:xfrm>
          <a:prstGeom prst="ellipse">
            <a:avLst/>
          </a:prstGeom>
          <a:solidFill>
            <a:schemeClr val="tx2"/>
          </a:solidFill>
          <a:ln w="19050" cap="flat" cmpd="sng" algn="ctr">
            <a:solidFill>
              <a:schemeClr val="bg1"/>
            </a:solidFill>
            <a:prstDash val="solid"/>
            <a:headEnd type="none" w="med" len="med"/>
            <a:tailEnd type="none" w="med" len="med"/>
          </a:ln>
          <a:effectLst/>
        </p:spPr>
        <p:txBody>
          <a:bodyPr rot="0" spcFirstLastPara="0" vertOverflow="overflow" horzOverflow="overflow" vert="horz" wrap="square" lIns="179144" tIns="143317" rIns="179144" bIns="143317" numCol="1" spcCol="0" rtlCol="0" fromWordArt="0" anchor="t" anchorCtr="0" forceAA="0" compatLnSpc="1">
            <a:prstTxWarp prst="textNoShape">
              <a:avLst/>
            </a:prstTxWarp>
            <a:noAutofit/>
          </a:bodyPr>
          <a:lstStyle/>
          <a:p>
            <a:pPr algn="ctr" defTabSz="913368" fontAlgn="base">
              <a:spcBef>
                <a:spcPct val="0"/>
              </a:spcBef>
              <a:spcAft>
                <a:spcPct val="0"/>
              </a:spcAft>
              <a:defRPr/>
            </a:pPr>
            <a:endParaRPr lang="en-US" sz="235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75" name="Rectangle 474"/>
          <p:cNvSpPr/>
          <p:nvPr/>
        </p:nvSpPr>
        <p:spPr>
          <a:xfrm>
            <a:off x="9733410" y="2906247"/>
            <a:ext cx="885081" cy="484622"/>
          </a:xfrm>
          <a:prstGeom prst="rect">
            <a:avLst/>
          </a:prstGeom>
        </p:spPr>
        <p:txBody>
          <a:bodyPr wrap="square" lIns="0" tIns="0" rIns="0" bIns="0" anchor="ctr">
            <a:spAutoFit/>
          </a:bodyPr>
          <a:lstStyle/>
          <a:p>
            <a:pPr algn="ctr" defTabSz="913368" fontAlgn="base">
              <a:spcBef>
                <a:spcPct val="0"/>
              </a:spcBef>
              <a:spcAft>
                <a:spcPct val="0"/>
              </a:spcAft>
            </a:pPr>
            <a:r>
              <a:rPr lang="en-GB" sz="1050"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Order food for takeout, wirelessly pay</a:t>
            </a:r>
          </a:p>
        </p:txBody>
      </p:sp>
      <p:sp>
        <p:nvSpPr>
          <p:cNvPr id="506" name="Oval 505"/>
          <p:cNvSpPr/>
          <p:nvPr/>
        </p:nvSpPr>
        <p:spPr bwMode="auto">
          <a:xfrm>
            <a:off x="10857867" y="1590647"/>
            <a:ext cx="145290" cy="145290"/>
          </a:xfrm>
          <a:prstGeom prst="ellipse">
            <a:avLst/>
          </a:prstGeom>
          <a:solidFill>
            <a:schemeClr val="tx2"/>
          </a:solidFill>
          <a:ln w="19050" cap="flat" cmpd="sng" algn="ctr">
            <a:solidFill>
              <a:schemeClr val="bg1"/>
            </a:solidFill>
            <a:prstDash val="solid"/>
            <a:headEnd type="none" w="med" len="med"/>
            <a:tailEnd type="none" w="med" len="med"/>
          </a:ln>
          <a:effectLst/>
        </p:spPr>
        <p:txBody>
          <a:bodyPr rot="0" spcFirstLastPara="0" vertOverflow="overflow" horzOverflow="overflow" vert="horz" wrap="square" lIns="179144" tIns="143317" rIns="179144" bIns="143317" numCol="1" spcCol="0" rtlCol="0" fromWordArt="0" anchor="t" anchorCtr="0" forceAA="0" compatLnSpc="1">
            <a:prstTxWarp prst="textNoShape">
              <a:avLst/>
            </a:prstTxWarp>
            <a:noAutofit/>
          </a:bodyPr>
          <a:lstStyle/>
          <a:p>
            <a:pPr algn="ctr" defTabSz="913368" fontAlgn="base">
              <a:spcBef>
                <a:spcPct val="0"/>
              </a:spcBef>
              <a:spcAft>
                <a:spcPct val="0"/>
              </a:spcAft>
              <a:defRPr/>
            </a:pPr>
            <a:endParaRPr lang="en-US" sz="235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0" name="Rectangle 129"/>
          <p:cNvSpPr/>
          <p:nvPr/>
        </p:nvSpPr>
        <p:spPr>
          <a:xfrm>
            <a:off x="306505" y="892838"/>
            <a:ext cx="11570275" cy="3769937"/>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91392" rIns="91392" bIns="91392" numCol="1" spcCol="0" rtlCol="0" fromWordArt="0" anchor="b" anchorCtr="0" forceAA="0" compatLnSpc="1">
            <a:prstTxWarp prst="textNoShape">
              <a:avLst/>
            </a:prstTxWarp>
            <a:noAutofit/>
          </a:bodyPr>
          <a:lstStyle/>
          <a:p>
            <a:pPr algn="r" defTabSz="913852"/>
            <a:endParaRPr lang="en-US" sz="1200" kern="0">
              <a:solidFill>
                <a:sysClr val="windowText" lastClr="000000"/>
              </a:solidFill>
              <a:latin typeface="Segoe UI"/>
            </a:endParaRPr>
          </a:p>
        </p:txBody>
      </p:sp>
      <p:sp>
        <p:nvSpPr>
          <p:cNvPr id="154" name="Rectangle 153"/>
          <p:cNvSpPr/>
          <p:nvPr/>
        </p:nvSpPr>
        <p:spPr>
          <a:xfrm>
            <a:off x="3794387" y="2503562"/>
            <a:ext cx="980600" cy="323081"/>
          </a:xfrm>
          <a:prstGeom prst="rect">
            <a:avLst/>
          </a:prstGeom>
        </p:spPr>
        <p:txBody>
          <a:bodyPr wrap="square" lIns="0" tIns="0" rIns="0" bIns="0" anchor="ctr">
            <a:spAutoFit/>
          </a:bodyPr>
          <a:lstStyle/>
          <a:p>
            <a:pPr algn="ctr" defTabSz="913368" fontAlgn="base">
              <a:spcBef>
                <a:spcPct val="0"/>
              </a:spcBef>
              <a:spcAft>
                <a:spcPct val="0"/>
              </a:spcAft>
            </a:pPr>
            <a:r>
              <a:rPr lang="en-GB" sz="1050"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Conference call to prepare</a:t>
            </a:r>
          </a:p>
        </p:txBody>
      </p:sp>
      <p:sp>
        <p:nvSpPr>
          <p:cNvPr id="156" name="Rectangle 155"/>
          <p:cNvSpPr/>
          <p:nvPr/>
        </p:nvSpPr>
        <p:spPr>
          <a:xfrm>
            <a:off x="5787182" y="2786584"/>
            <a:ext cx="1374750" cy="484622"/>
          </a:xfrm>
          <a:prstGeom prst="rect">
            <a:avLst/>
          </a:prstGeom>
        </p:spPr>
        <p:txBody>
          <a:bodyPr wrap="square" lIns="0" tIns="0" rIns="0" bIns="0" anchor="ctr">
            <a:spAutoFit/>
          </a:bodyPr>
          <a:lstStyle/>
          <a:p>
            <a:pPr algn="ctr" defTabSz="913368" fontAlgn="base">
              <a:spcBef>
                <a:spcPct val="0"/>
              </a:spcBef>
              <a:spcAft>
                <a:spcPct val="0"/>
              </a:spcAft>
            </a:pPr>
            <a:r>
              <a:rPr lang="en-GB" sz="1050"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On way home, create meeting notes and emails</a:t>
            </a:r>
          </a:p>
        </p:txBody>
      </p:sp>
      <p:sp>
        <p:nvSpPr>
          <p:cNvPr id="158" name="Rectangle 157"/>
          <p:cNvSpPr/>
          <p:nvPr/>
        </p:nvSpPr>
        <p:spPr>
          <a:xfrm>
            <a:off x="4754631" y="3887122"/>
            <a:ext cx="1336685" cy="161541"/>
          </a:xfrm>
          <a:prstGeom prst="rect">
            <a:avLst/>
          </a:prstGeom>
        </p:spPr>
        <p:txBody>
          <a:bodyPr wrap="square" lIns="0" tIns="0" rIns="0" bIns="0" anchor="ctr">
            <a:spAutoFit/>
          </a:bodyPr>
          <a:lstStyle/>
          <a:p>
            <a:pPr algn="ctr" defTabSz="913368" fontAlgn="base">
              <a:spcBef>
                <a:spcPct val="0"/>
              </a:spcBef>
              <a:spcAft>
                <a:spcPct val="0"/>
              </a:spcAft>
            </a:pPr>
            <a:r>
              <a:rPr lang="en-GB" sz="1050"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Attend meeting</a:t>
            </a:r>
          </a:p>
        </p:txBody>
      </p:sp>
      <p:sp>
        <p:nvSpPr>
          <p:cNvPr id="159" name="Rectangle 158"/>
          <p:cNvSpPr/>
          <p:nvPr/>
        </p:nvSpPr>
        <p:spPr>
          <a:xfrm>
            <a:off x="7372902" y="2107451"/>
            <a:ext cx="1225083" cy="323081"/>
          </a:xfrm>
          <a:prstGeom prst="rect">
            <a:avLst/>
          </a:prstGeom>
        </p:spPr>
        <p:txBody>
          <a:bodyPr wrap="square" lIns="0" tIns="0" rIns="0" bIns="0" anchor="ctr">
            <a:spAutoFit/>
          </a:bodyPr>
          <a:lstStyle/>
          <a:p>
            <a:pPr algn="ctr" defTabSz="913368" fontAlgn="base">
              <a:spcBef>
                <a:spcPct val="0"/>
              </a:spcBef>
              <a:spcAft>
                <a:spcPct val="0"/>
              </a:spcAft>
            </a:pPr>
            <a:r>
              <a:rPr lang="en-GB" sz="1050"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Auto-schedule follow up meetings</a:t>
            </a:r>
          </a:p>
        </p:txBody>
      </p:sp>
      <p:sp>
        <p:nvSpPr>
          <p:cNvPr id="163" name="Rectangle 162"/>
          <p:cNvSpPr/>
          <p:nvPr/>
        </p:nvSpPr>
        <p:spPr>
          <a:xfrm>
            <a:off x="10772217" y="1837204"/>
            <a:ext cx="1415021" cy="161499"/>
          </a:xfrm>
          <a:prstGeom prst="rect">
            <a:avLst/>
          </a:prstGeom>
        </p:spPr>
        <p:txBody>
          <a:bodyPr wrap="square" lIns="0" tIns="0" rIns="0" bIns="0" anchor="ctr">
            <a:spAutoFit/>
          </a:bodyPr>
          <a:lstStyle/>
          <a:p>
            <a:pPr defTabSz="913368" fontAlgn="base">
              <a:spcBef>
                <a:spcPct val="0"/>
              </a:spcBef>
              <a:spcAft>
                <a:spcPct val="0"/>
              </a:spcAft>
            </a:pPr>
            <a:r>
              <a:rPr lang="en-GB" sz="1050"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Return Home</a:t>
            </a:r>
          </a:p>
        </p:txBody>
      </p:sp>
      <p:sp>
        <p:nvSpPr>
          <p:cNvPr id="165" name="Oval 164"/>
          <p:cNvSpPr/>
          <p:nvPr/>
        </p:nvSpPr>
        <p:spPr bwMode="auto">
          <a:xfrm>
            <a:off x="9733410" y="2712529"/>
            <a:ext cx="145290" cy="145290"/>
          </a:xfrm>
          <a:prstGeom prst="ellipse">
            <a:avLst/>
          </a:prstGeom>
          <a:solidFill>
            <a:schemeClr val="tx2"/>
          </a:solidFill>
          <a:ln w="19050" cap="flat" cmpd="sng" algn="ctr">
            <a:solidFill>
              <a:schemeClr val="bg1"/>
            </a:solidFill>
            <a:prstDash val="solid"/>
            <a:headEnd type="none" w="med" len="med"/>
            <a:tailEnd type="none" w="med" len="med"/>
          </a:ln>
          <a:effectLst/>
        </p:spPr>
        <p:txBody>
          <a:bodyPr rot="0" spcFirstLastPara="0" vertOverflow="overflow" horzOverflow="overflow" vert="horz" wrap="square" lIns="179144" tIns="143317" rIns="179144" bIns="143317" numCol="1" spcCol="0" rtlCol="0" fromWordArt="0" anchor="t" anchorCtr="0" forceAA="0" compatLnSpc="1">
            <a:prstTxWarp prst="textNoShape">
              <a:avLst/>
            </a:prstTxWarp>
            <a:noAutofit/>
          </a:bodyPr>
          <a:lstStyle/>
          <a:p>
            <a:pPr algn="ctr" defTabSz="913368" fontAlgn="base">
              <a:spcBef>
                <a:spcPct val="0"/>
              </a:spcBef>
              <a:spcAft>
                <a:spcPct val="0"/>
              </a:spcAft>
              <a:defRPr/>
            </a:pPr>
            <a:endParaRPr lang="en-US" sz="235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8" name="Oval 167"/>
          <p:cNvSpPr/>
          <p:nvPr/>
        </p:nvSpPr>
        <p:spPr bwMode="auto">
          <a:xfrm>
            <a:off x="3619589" y="1609492"/>
            <a:ext cx="145290" cy="145290"/>
          </a:xfrm>
          <a:prstGeom prst="ellipse">
            <a:avLst/>
          </a:prstGeom>
          <a:solidFill>
            <a:schemeClr val="tx2"/>
          </a:solidFill>
          <a:ln w="19050" cap="flat" cmpd="sng" algn="ctr">
            <a:solidFill>
              <a:schemeClr val="bg1"/>
            </a:solidFill>
            <a:prstDash val="solid"/>
            <a:headEnd type="none" w="med" len="med"/>
            <a:tailEnd type="none" w="med" len="med"/>
          </a:ln>
          <a:effectLst/>
        </p:spPr>
        <p:txBody>
          <a:bodyPr rot="0" spcFirstLastPara="0" vertOverflow="overflow" horzOverflow="overflow" vert="horz" wrap="square" lIns="179144" tIns="143317" rIns="179144" bIns="143317" numCol="1" spcCol="0" rtlCol="0" fromWordArt="0" anchor="t" anchorCtr="0" forceAA="0" compatLnSpc="1">
            <a:prstTxWarp prst="textNoShape">
              <a:avLst/>
            </a:prstTxWarp>
            <a:noAutofit/>
          </a:bodyPr>
          <a:lstStyle/>
          <a:p>
            <a:pPr algn="ctr" defTabSz="913368" fontAlgn="base">
              <a:spcBef>
                <a:spcPct val="0"/>
              </a:spcBef>
              <a:spcAft>
                <a:spcPct val="0"/>
              </a:spcAft>
              <a:defRPr/>
            </a:pPr>
            <a:endParaRPr lang="en-US" sz="235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0" name="Oval 189"/>
          <p:cNvSpPr/>
          <p:nvPr/>
        </p:nvSpPr>
        <p:spPr bwMode="auto">
          <a:xfrm>
            <a:off x="5862516" y="2611392"/>
            <a:ext cx="145290" cy="145290"/>
          </a:xfrm>
          <a:prstGeom prst="ellipse">
            <a:avLst/>
          </a:prstGeom>
          <a:solidFill>
            <a:schemeClr val="tx2"/>
          </a:solidFill>
          <a:ln w="19050" cap="flat" cmpd="sng" algn="ctr">
            <a:solidFill>
              <a:schemeClr val="bg1"/>
            </a:solidFill>
            <a:prstDash val="solid"/>
            <a:headEnd type="none" w="med" len="med"/>
            <a:tailEnd type="none" w="med" len="med"/>
          </a:ln>
          <a:effectLst/>
        </p:spPr>
        <p:txBody>
          <a:bodyPr rot="0" spcFirstLastPara="0" vertOverflow="overflow" horzOverflow="overflow" vert="horz" wrap="square" lIns="179144" tIns="143317" rIns="179144" bIns="143317" numCol="1" spcCol="0" rtlCol="0" fromWordArt="0" anchor="t" anchorCtr="0" forceAA="0" compatLnSpc="1">
            <a:prstTxWarp prst="textNoShape">
              <a:avLst/>
            </a:prstTxWarp>
            <a:noAutofit/>
          </a:bodyPr>
          <a:lstStyle/>
          <a:p>
            <a:pPr algn="ctr" defTabSz="913368" fontAlgn="base">
              <a:spcBef>
                <a:spcPct val="0"/>
              </a:spcBef>
              <a:spcAft>
                <a:spcPct val="0"/>
              </a:spcAft>
              <a:defRPr/>
            </a:pPr>
            <a:endParaRPr lang="en-US" sz="235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2" name="Rectangle 141"/>
          <p:cNvSpPr/>
          <p:nvPr/>
        </p:nvSpPr>
        <p:spPr>
          <a:xfrm>
            <a:off x="2250427" y="4456190"/>
            <a:ext cx="1641211" cy="161541"/>
          </a:xfrm>
          <a:prstGeom prst="rect">
            <a:avLst/>
          </a:prstGeom>
        </p:spPr>
        <p:txBody>
          <a:bodyPr wrap="square" lIns="0" tIns="0" rIns="0" bIns="0" anchor="ctr">
            <a:spAutoFit/>
          </a:bodyPr>
          <a:lstStyle/>
          <a:p>
            <a:pPr algn="r" defTabSz="913368" fontAlgn="base">
              <a:spcBef>
                <a:spcPct val="0"/>
              </a:spcBef>
              <a:spcAft>
                <a:spcPct val="0"/>
              </a:spcAft>
            </a:pPr>
            <a:r>
              <a:rPr lang="en-GB" sz="1050"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Wirelessly pay for parking</a:t>
            </a:r>
          </a:p>
        </p:txBody>
      </p:sp>
      <p:sp>
        <p:nvSpPr>
          <p:cNvPr id="476" name="Oval 475"/>
          <p:cNvSpPr/>
          <p:nvPr/>
        </p:nvSpPr>
        <p:spPr bwMode="auto">
          <a:xfrm>
            <a:off x="8525733" y="3545830"/>
            <a:ext cx="145290" cy="145290"/>
          </a:xfrm>
          <a:prstGeom prst="ellipse">
            <a:avLst/>
          </a:prstGeom>
          <a:solidFill>
            <a:schemeClr val="tx2"/>
          </a:solidFill>
          <a:ln w="19050" cap="flat" cmpd="sng" algn="ctr">
            <a:solidFill>
              <a:schemeClr val="bg1"/>
            </a:solidFill>
            <a:prstDash val="solid"/>
            <a:headEnd type="none" w="med" len="med"/>
            <a:tailEnd type="none" w="med" len="med"/>
          </a:ln>
          <a:effectLst/>
        </p:spPr>
        <p:txBody>
          <a:bodyPr rot="0" spcFirstLastPara="0" vertOverflow="overflow" horzOverflow="overflow" vert="horz" wrap="square" lIns="179144" tIns="143317" rIns="179144" bIns="143317" numCol="1" spcCol="0" rtlCol="0" fromWordArt="0" anchor="t" anchorCtr="0" forceAA="0" compatLnSpc="1">
            <a:prstTxWarp prst="textNoShape">
              <a:avLst/>
            </a:prstTxWarp>
            <a:noAutofit/>
          </a:bodyPr>
          <a:lstStyle/>
          <a:p>
            <a:pPr algn="ctr" defTabSz="913368" fontAlgn="base">
              <a:spcBef>
                <a:spcPct val="0"/>
              </a:spcBef>
              <a:spcAft>
                <a:spcPct val="0"/>
              </a:spcAft>
              <a:defRPr/>
            </a:pPr>
            <a:endParaRPr lang="en-US" sz="235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99" name="Rectangle 498"/>
          <p:cNvSpPr/>
          <p:nvPr/>
        </p:nvSpPr>
        <p:spPr>
          <a:xfrm>
            <a:off x="8082381" y="3789878"/>
            <a:ext cx="1493112" cy="323081"/>
          </a:xfrm>
          <a:prstGeom prst="rect">
            <a:avLst/>
          </a:prstGeom>
        </p:spPr>
        <p:txBody>
          <a:bodyPr wrap="square" lIns="0" tIns="0" rIns="0" bIns="0" anchor="ctr">
            <a:spAutoFit/>
          </a:bodyPr>
          <a:lstStyle/>
          <a:p>
            <a:pPr defTabSz="913368" fontAlgn="base">
              <a:spcBef>
                <a:spcPct val="0"/>
              </a:spcBef>
              <a:spcAft>
                <a:spcPct val="0"/>
              </a:spcAft>
            </a:pPr>
            <a:r>
              <a:rPr lang="en-GB" sz="1050" kern="0" dirty="0">
                <a:solidFill>
                  <a:sysClr val="windowText" lastClr="000000"/>
                </a:solidFill>
                <a:latin typeface="Segoe UI Semibold" panose="020B0702040204020203" pitchFamily="34" charset="0"/>
                <a:ea typeface="Segoe UI" pitchFamily="34" charset="0"/>
                <a:cs typeface="Segoe UI Semibold" panose="020B0702040204020203" pitchFamily="34" charset="0"/>
              </a:rPr>
              <a:t>Personal assistant recommends restaurant </a:t>
            </a:r>
          </a:p>
        </p:txBody>
      </p:sp>
      <p:pic>
        <p:nvPicPr>
          <p:cNvPr id="200" name="Picture 5" descr="\\MAGNUM\Projects\Microsoft\Cloud Power FY12\Design\Icons\PNGs\Truck.png"/>
          <p:cNvPicPr>
            <a:picLocks noChangeAspect="1" noChangeArrowheads="1"/>
          </p:cNvPicPr>
          <p:nvPr/>
        </p:nvPicPr>
        <p:blipFill>
          <a:blip r:embed="rId7" cstate="print">
            <a:duotone>
              <a:prstClr val="black"/>
              <a:schemeClr val="accent5">
                <a:tint val="45000"/>
                <a:satMod val="400000"/>
              </a:schemeClr>
            </a:duotone>
            <a:extLst>
              <a:ext uri="{BEBA8EAE-BF5A-486C-A8C5-ECC9F3942E4B}">
                <a14:imgProps xmlns:a14="http://schemas.microsoft.com/office/drawing/2010/main">
                  <a14:imgLayer r:embed="rId8">
                    <a14:imgEffect>
                      <a14:brightnessContrast bright="-31000" contrast="-40000"/>
                    </a14:imgEffect>
                  </a14:imgLayer>
                </a14:imgProps>
              </a:ext>
              <a:ext uri="{28A0092B-C50C-407E-A947-70E740481C1C}">
                <a14:useLocalDpi xmlns:a14="http://schemas.microsoft.com/office/drawing/2010/main"/>
              </a:ext>
            </a:extLst>
          </a:blip>
          <a:stretch>
            <a:fillRect/>
          </a:stretch>
        </p:blipFill>
        <p:spPr bwMode="auto">
          <a:xfrm>
            <a:off x="1982070" y="1129824"/>
            <a:ext cx="521461" cy="521461"/>
          </a:xfrm>
          <a:prstGeom prst="rect">
            <a:avLst/>
          </a:prstGeom>
          <a:noFill/>
        </p:spPr>
      </p:pic>
      <p:sp>
        <p:nvSpPr>
          <p:cNvPr id="225" name="Freeform 224"/>
          <p:cNvSpPr/>
          <p:nvPr/>
        </p:nvSpPr>
        <p:spPr>
          <a:xfrm>
            <a:off x="466702" y="1979379"/>
            <a:ext cx="257128" cy="205526"/>
          </a:xfrm>
          <a:custGeom>
            <a:avLst/>
            <a:gdLst>
              <a:gd name="connsiteX0" fmla="*/ 79380 w 1077273"/>
              <a:gd name="connsiteY0" fmla="*/ 664414 h 861080"/>
              <a:gd name="connsiteX1" fmla="*/ 997893 w 1077273"/>
              <a:gd name="connsiteY1" fmla="*/ 664414 h 861080"/>
              <a:gd name="connsiteX2" fmla="*/ 1036346 w 1077273"/>
              <a:gd name="connsiteY2" fmla="*/ 702868 h 861080"/>
              <a:gd name="connsiteX3" fmla="*/ 997893 w 1077273"/>
              <a:gd name="connsiteY3" fmla="*/ 741323 h 861080"/>
              <a:gd name="connsiteX4" fmla="*/ 941857 w 1077273"/>
              <a:gd name="connsiteY4" fmla="*/ 741323 h 861080"/>
              <a:gd name="connsiteX5" fmla="*/ 941857 w 1077273"/>
              <a:gd name="connsiteY5" fmla="*/ 823357 h 861080"/>
              <a:gd name="connsiteX6" fmla="*/ 904133 w 1077273"/>
              <a:gd name="connsiteY6" fmla="*/ 861080 h 861080"/>
              <a:gd name="connsiteX7" fmla="*/ 834553 w 1077273"/>
              <a:gd name="connsiteY7" fmla="*/ 861080 h 861080"/>
              <a:gd name="connsiteX8" fmla="*/ 796830 w 1077273"/>
              <a:gd name="connsiteY8" fmla="*/ 823357 h 861080"/>
              <a:gd name="connsiteX9" fmla="*/ 796830 w 1077273"/>
              <a:gd name="connsiteY9" fmla="*/ 741323 h 861080"/>
              <a:gd name="connsiteX10" fmla="*/ 265060 w 1077273"/>
              <a:gd name="connsiteY10" fmla="*/ 741323 h 861080"/>
              <a:gd name="connsiteX11" fmla="*/ 265060 w 1077273"/>
              <a:gd name="connsiteY11" fmla="*/ 823357 h 861080"/>
              <a:gd name="connsiteX12" fmla="*/ 227336 w 1077273"/>
              <a:gd name="connsiteY12" fmla="*/ 861080 h 861080"/>
              <a:gd name="connsiteX13" fmla="*/ 157755 w 1077273"/>
              <a:gd name="connsiteY13" fmla="*/ 861080 h 861080"/>
              <a:gd name="connsiteX14" fmla="*/ 120032 w 1077273"/>
              <a:gd name="connsiteY14" fmla="*/ 823357 h 861080"/>
              <a:gd name="connsiteX15" fmla="*/ 120032 w 1077273"/>
              <a:gd name="connsiteY15" fmla="*/ 741323 h 861080"/>
              <a:gd name="connsiteX16" fmla="*/ 79380 w 1077273"/>
              <a:gd name="connsiteY16" fmla="*/ 741323 h 861080"/>
              <a:gd name="connsiteX17" fmla="*/ 40927 w 1077273"/>
              <a:gd name="connsiteY17" fmla="*/ 702868 h 861080"/>
              <a:gd name="connsiteX18" fmla="*/ 79380 w 1077273"/>
              <a:gd name="connsiteY18" fmla="*/ 664414 h 861080"/>
              <a:gd name="connsiteX19" fmla="*/ 923675 w 1077273"/>
              <a:gd name="connsiteY19" fmla="*/ 383147 h 861080"/>
              <a:gd name="connsiteX20" fmla="*/ 861049 w 1077273"/>
              <a:gd name="connsiteY20" fmla="*/ 445773 h 861080"/>
              <a:gd name="connsiteX21" fmla="*/ 923675 w 1077273"/>
              <a:gd name="connsiteY21" fmla="*/ 508399 h 861080"/>
              <a:gd name="connsiteX22" fmla="*/ 986301 w 1077273"/>
              <a:gd name="connsiteY22" fmla="*/ 445773 h 861080"/>
              <a:gd name="connsiteX23" fmla="*/ 923675 w 1077273"/>
              <a:gd name="connsiteY23" fmla="*/ 383147 h 861080"/>
              <a:gd name="connsiteX24" fmla="*/ 399927 w 1077273"/>
              <a:gd name="connsiteY24" fmla="*/ 383147 h 861080"/>
              <a:gd name="connsiteX25" fmla="*/ 293352 w 1077273"/>
              <a:gd name="connsiteY25" fmla="*/ 489722 h 861080"/>
              <a:gd name="connsiteX26" fmla="*/ 293352 w 1077273"/>
              <a:gd name="connsiteY26" fmla="*/ 554544 h 861080"/>
              <a:gd name="connsiteX27" fmla="*/ 782273 w 1077273"/>
              <a:gd name="connsiteY27" fmla="*/ 554544 h 861080"/>
              <a:gd name="connsiteX28" fmla="*/ 782273 w 1077273"/>
              <a:gd name="connsiteY28" fmla="*/ 489722 h 861080"/>
              <a:gd name="connsiteX29" fmla="*/ 675699 w 1077273"/>
              <a:gd name="connsiteY29" fmla="*/ 383147 h 861080"/>
              <a:gd name="connsiteX30" fmla="*/ 147994 w 1077273"/>
              <a:gd name="connsiteY30" fmla="*/ 383147 h 861080"/>
              <a:gd name="connsiteX31" fmla="*/ 85369 w 1077273"/>
              <a:gd name="connsiteY31" fmla="*/ 445773 h 861080"/>
              <a:gd name="connsiteX32" fmla="*/ 147994 w 1077273"/>
              <a:gd name="connsiteY32" fmla="*/ 508399 h 861080"/>
              <a:gd name="connsiteX33" fmla="*/ 210620 w 1077273"/>
              <a:gd name="connsiteY33" fmla="*/ 445773 h 861080"/>
              <a:gd name="connsiteX34" fmla="*/ 147994 w 1077273"/>
              <a:gd name="connsiteY34" fmla="*/ 383147 h 861080"/>
              <a:gd name="connsiteX35" fmla="*/ 286423 w 1077273"/>
              <a:gd name="connsiteY35" fmla="*/ 64105 h 861080"/>
              <a:gd name="connsiteX36" fmla="*/ 197051 w 1077273"/>
              <a:gd name="connsiteY36" fmla="*/ 310269 h 861080"/>
              <a:gd name="connsiteX37" fmla="*/ 226806 w 1077273"/>
              <a:gd name="connsiteY37" fmla="*/ 324768 h 861080"/>
              <a:gd name="connsiteX38" fmla="*/ 352757 w 1077273"/>
              <a:gd name="connsiteY38" fmla="*/ 265438 h 861080"/>
              <a:gd name="connsiteX39" fmla="*/ 722869 w 1077273"/>
              <a:gd name="connsiteY39" fmla="*/ 265438 h 861080"/>
              <a:gd name="connsiteX40" fmla="*/ 849329 w 1077273"/>
              <a:gd name="connsiteY40" fmla="*/ 325386 h 861080"/>
              <a:gd name="connsiteX41" fmla="*/ 881453 w 1077273"/>
              <a:gd name="connsiteY41" fmla="*/ 309762 h 861080"/>
              <a:gd name="connsiteX42" fmla="*/ 792264 w 1077273"/>
              <a:gd name="connsiteY42" fmla="*/ 64105 h 861080"/>
              <a:gd name="connsiteX43" fmla="*/ 246165 w 1077273"/>
              <a:gd name="connsiteY43" fmla="*/ 0 h 861080"/>
              <a:gd name="connsiteX44" fmla="*/ 832523 w 1077273"/>
              <a:gd name="connsiteY44" fmla="*/ 0 h 861080"/>
              <a:gd name="connsiteX45" fmla="*/ 942372 w 1077273"/>
              <a:gd name="connsiteY45" fmla="*/ 302564 h 861080"/>
              <a:gd name="connsiteX46" fmla="*/ 1077273 w 1077273"/>
              <a:gd name="connsiteY46" fmla="*/ 448794 h 861080"/>
              <a:gd name="connsiteX47" fmla="*/ 1030783 w 1077273"/>
              <a:gd name="connsiteY47" fmla="*/ 555805 h 861080"/>
              <a:gd name="connsiteX48" fmla="*/ 1066287 w 1077273"/>
              <a:gd name="connsiteY48" fmla="*/ 596295 h 861080"/>
              <a:gd name="connsiteX49" fmla="*/ 1024536 w 1077273"/>
              <a:gd name="connsiteY49" fmla="*/ 638045 h 861080"/>
              <a:gd name="connsiteX50" fmla="*/ 51090 w 1077273"/>
              <a:gd name="connsiteY50" fmla="*/ 638045 h 861080"/>
              <a:gd name="connsiteX51" fmla="*/ 9339 w 1077273"/>
              <a:gd name="connsiteY51" fmla="*/ 596295 h 861080"/>
              <a:gd name="connsiteX52" fmla="*/ 46166 w 1077273"/>
              <a:gd name="connsiteY52" fmla="*/ 555538 h 861080"/>
              <a:gd name="connsiteX53" fmla="*/ 0 w 1077273"/>
              <a:gd name="connsiteY53" fmla="*/ 448794 h 861080"/>
              <a:gd name="connsiteX54" fmla="*/ 136369 w 1077273"/>
              <a:gd name="connsiteY54" fmla="*/ 302416 h 861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077273" h="861080">
                <a:moveTo>
                  <a:pt x="79380" y="664414"/>
                </a:moveTo>
                <a:lnTo>
                  <a:pt x="997893" y="664414"/>
                </a:lnTo>
                <a:cubicBezTo>
                  <a:pt x="1019130" y="664414"/>
                  <a:pt x="1036346" y="681631"/>
                  <a:pt x="1036346" y="702868"/>
                </a:cubicBezTo>
                <a:cubicBezTo>
                  <a:pt x="1036346" y="724106"/>
                  <a:pt x="1019130" y="741323"/>
                  <a:pt x="997893" y="741323"/>
                </a:cubicBezTo>
                <a:lnTo>
                  <a:pt x="941857" y="741323"/>
                </a:lnTo>
                <a:lnTo>
                  <a:pt x="941857" y="823357"/>
                </a:lnTo>
                <a:cubicBezTo>
                  <a:pt x="941857" y="844191"/>
                  <a:pt x="924968" y="861080"/>
                  <a:pt x="904133" y="861080"/>
                </a:cubicBezTo>
                <a:lnTo>
                  <a:pt x="834553" y="861080"/>
                </a:lnTo>
                <a:cubicBezTo>
                  <a:pt x="813719" y="861080"/>
                  <a:pt x="796830" y="844191"/>
                  <a:pt x="796830" y="823357"/>
                </a:cubicBezTo>
                <a:lnTo>
                  <a:pt x="796830" y="741323"/>
                </a:lnTo>
                <a:lnTo>
                  <a:pt x="265060" y="741323"/>
                </a:lnTo>
                <a:lnTo>
                  <a:pt x="265060" y="823357"/>
                </a:lnTo>
                <a:cubicBezTo>
                  <a:pt x="265060" y="844191"/>
                  <a:pt x="248170" y="861080"/>
                  <a:pt x="227336" y="861080"/>
                </a:cubicBezTo>
                <a:lnTo>
                  <a:pt x="157755" y="861080"/>
                </a:lnTo>
                <a:cubicBezTo>
                  <a:pt x="136921" y="861080"/>
                  <a:pt x="120032" y="844191"/>
                  <a:pt x="120032" y="823357"/>
                </a:cubicBezTo>
                <a:lnTo>
                  <a:pt x="120032" y="741323"/>
                </a:lnTo>
                <a:lnTo>
                  <a:pt x="79380" y="741323"/>
                </a:lnTo>
                <a:cubicBezTo>
                  <a:pt x="58143" y="741323"/>
                  <a:pt x="40927" y="724106"/>
                  <a:pt x="40927" y="702868"/>
                </a:cubicBezTo>
                <a:cubicBezTo>
                  <a:pt x="40927" y="681631"/>
                  <a:pt x="58143" y="664414"/>
                  <a:pt x="79380" y="664414"/>
                </a:cubicBezTo>
                <a:close/>
                <a:moveTo>
                  <a:pt x="923675" y="383147"/>
                </a:moveTo>
                <a:cubicBezTo>
                  <a:pt x="889088" y="383147"/>
                  <a:pt x="861049" y="411186"/>
                  <a:pt x="861049" y="445773"/>
                </a:cubicBezTo>
                <a:cubicBezTo>
                  <a:pt x="861049" y="480360"/>
                  <a:pt x="889088" y="508399"/>
                  <a:pt x="923675" y="508399"/>
                </a:cubicBezTo>
                <a:cubicBezTo>
                  <a:pt x="958262" y="508399"/>
                  <a:pt x="986301" y="480360"/>
                  <a:pt x="986301" y="445773"/>
                </a:cubicBezTo>
                <a:cubicBezTo>
                  <a:pt x="986301" y="411186"/>
                  <a:pt x="958262" y="383147"/>
                  <a:pt x="923675" y="383147"/>
                </a:cubicBezTo>
                <a:close/>
                <a:moveTo>
                  <a:pt x="399927" y="383147"/>
                </a:moveTo>
                <a:cubicBezTo>
                  <a:pt x="341067" y="383147"/>
                  <a:pt x="293352" y="430862"/>
                  <a:pt x="293352" y="489722"/>
                </a:cubicBezTo>
                <a:lnTo>
                  <a:pt x="293352" y="554544"/>
                </a:lnTo>
                <a:lnTo>
                  <a:pt x="782273" y="554544"/>
                </a:lnTo>
                <a:lnTo>
                  <a:pt x="782273" y="489722"/>
                </a:lnTo>
                <a:cubicBezTo>
                  <a:pt x="782273" y="430862"/>
                  <a:pt x="734558" y="383147"/>
                  <a:pt x="675699" y="383147"/>
                </a:cubicBezTo>
                <a:close/>
                <a:moveTo>
                  <a:pt x="147994" y="383147"/>
                </a:moveTo>
                <a:cubicBezTo>
                  <a:pt x="113407" y="383147"/>
                  <a:pt x="85369" y="411186"/>
                  <a:pt x="85369" y="445773"/>
                </a:cubicBezTo>
                <a:cubicBezTo>
                  <a:pt x="85369" y="480360"/>
                  <a:pt x="113407" y="508399"/>
                  <a:pt x="147994" y="508399"/>
                </a:cubicBezTo>
                <a:cubicBezTo>
                  <a:pt x="182582" y="508399"/>
                  <a:pt x="210620" y="480360"/>
                  <a:pt x="210620" y="445773"/>
                </a:cubicBezTo>
                <a:cubicBezTo>
                  <a:pt x="210620" y="411186"/>
                  <a:pt x="182582" y="383147"/>
                  <a:pt x="147994" y="383147"/>
                </a:cubicBezTo>
                <a:close/>
                <a:moveTo>
                  <a:pt x="286423" y="64105"/>
                </a:moveTo>
                <a:lnTo>
                  <a:pt x="197051" y="310269"/>
                </a:lnTo>
                <a:cubicBezTo>
                  <a:pt x="207674" y="313737"/>
                  <a:pt x="217607" y="318728"/>
                  <a:pt x="226806" y="324768"/>
                </a:cubicBezTo>
                <a:cubicBezTo>
                  <a:pt x="256579" y="288298"/>
                  <a:pt x="301998" y="265438"/>
                  <a:pt x="352757" y="265438"/>
                </a:cubicBezTo>
                <a:lnTo>
                  <a:pt x="722869" y="265438"/>
                </a:lnTo>
                <a:cubicBezTo>
                  <a:pt x="773916" y="265438"/>
                  <a:pt x="819564" y="288560"/>
                  <a:pt x="849329" y="325386"/>
                </a:cubicBezTo>
                <a:cubicBezTo>
                  <a:pt x="859219" y="318821"/>
                  <a:pt x="869959" y="313454"/>
                  <a:pt x="881453" y="309762"/>
                </a:cubicBezTo>
                <a:lnTo>
                  <a:pt x="792264" y="64105"/>
                </a:lnTo>
                <a:close/>
                <a:moveTo>
                  <a:pt x="246165" y="0"/>
                </a:moveTo>
                <a:lnTo>
                  <a:pt x="832523" y="0"/>
                </a:lnTo>
                <a:lnTo>
                  <a:pt x="942372" y="302564"/>
                </a:lnTo>
                <a:cubicBezTo>
                  <a:pt x="1017969" y="308252"/>
                  <a:pt x="1077273" y="371598"/>
                  <a:pt x="1077273" y="448794"/>
                </a:cubicBezTo>
                <a:cubicBezTo>
                  <a:pt x="1077273" y="491055"/>
                  <a:pt x="1059500" y="529165"/>
                  <a:pt x="1030783" y="555805"/>
                </a:cubicBezTo>
                <a:cubicBezTo>
                  <a:pt x="1050939" y="558092"/>
                  <a:pt x="1066287" y="575401"/>
                  <a:pt x="1066287" y="596295"/>
                </a:cubicBezTo>
                <a:cubicBezTo>
                  <a:pt x="1066287" y="619353"/>
                  <a:pt x="1047593" y="638045"/>
                  <a:pt x="1024536" y="638045"/>
                </a:cubicBezTo>
                <a:lnTo>
                  <a:pt x="51090" y="638045"/>
                </a:lnTo>
                <a:cubicBezTo>
                  <a:pt x="28031" y="638045"/>
                  <a:pt x="9339" y="619353"/>
                  <a:pt x="9339" y="596295"/>
                </a:cubicBezTo>
                <a:cubicBezTo>
                  <a:pt x="9339" y="574931"/>
                  <a:pt x="25385" y="557315"/>
                  <a:pt x="46166" y="555538"/>
                </a:cubicBezTo>
                <a:cubicBezTo>
                  <a:pt x="17646" y="528892"/>
                  <a:pt x="0" y="490905"/>
                  <a:pt x="0" y="448794"/>
                </a:cubicBezTo>
                <a:cubicBezTo>
                  <a:pt x="0" y="371095"/>
                  <a:pt x="60078" y="307428"/>
                  <a:pt x="136369" y="302416"/>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defTabSz="914126"/>
            <a:endParaRPr lang="en-US" sz="1200">
              <a:solidFill>
                <a:prstClr val="white"/>
              </a:solidFill>
              <a:latin typeface="Segoe UI"/>
            </a:endParaRPr>
          </a:p>
        </p:txBody>
      </p:sp>
      <p:sp>
        <p:nvSpPr>
          <p:cNvPr id="226" name="Round Same Side Corner Rectangle 2"/>
          <p:cNvSpPr>
            <a:spLocks noChangeAspect="1"/>
          </p:cNvSpPr>
          <p:nvPr/>
        </p:nvSpPr>
        <p:spPr>
          <a:xfrm>
            <a:off x="413920" y="1918457"/>
            <a:ext cx="386318" cy="341289"/>
          </a:xfrm>
          <a:custGeom>
            <a:avLst/>
            <a:gdLst/>
            <a:ahLst/>
            <a:cxnLst/>
            <a:rect l="l" t="t" r="r" b="b"/>
            <a:pathLst>
              <a:path w="639317" h="1296147">
                <a:moveTo>
                  <a:pt x="319659" y="1176926"/>
                </a:moveTo>
                <a:cubicBezTo>
                  <a:pt x="302977" y="1176926"/>
                  <a:pt x="289454" y="1190449"/>
                  <a:pt x="289454" y="1207131"/>
                </a:cubicBezTo>
                <a:cubicBezTo>
                  <a:pt x="289454" y="1223812"/>
                  <a:pt x="302977" y="1237335"/>
                  <a:pt x="319659" y="1237335"/>
                </a:cubicBezTo>
                <a:cubicBezTo>
                  <a:pt x="336340" y="1237335"/>
                  <a:pt x="349863" y="1223812"/>
                  <a:pt x="349863" y="1207131"/>
                </a:cubicBezTo>
                <a:cubicBezTo>
                  <a:pt x="349863" y="1190449"/>
                  <a:pt x="336340" y="1176926"/>
                  <a:pt x="319659" y="1176926"/>
                </a:cubicBezTo>
                <a:close/>
                <a:moveTo>
                  <a:pt x="66614" y="178851"/>
                </a:moveTo>
                <a:lnTo>
                  <a:pt x="66614" y="1092553"/>
                </a:lnTo>
                <a:lnTo>
                  <a:pt x="79934" y="1092553"/>
                </a:lnTo>
                <a:lnTo>
                  <a:pt x="79934" y="1094228"/>
                </a:lnTo>
                <a:lnTo>
                  <a:pt x="518084" y="1094228"/>
                </a:lnTo>
                <a:lnTo>
                  <a:pt x="518084" y="1092553"/>
                </a:lnTo>
                <a:lnTo>
                  <a:pt x="572703" y="1092553"/>
                </a:lnTo>
                <a:lnTo>
                  <a:pt x="572703" y="178851"/>
                </a:lnTo>
                <a:close/>
                <a:moveTo>
                  <a:pt x="240430" y="73898"/>
                </a:moveTo>
                <a:cubicBezTo>
                  <a:pt x="234747" y="73898"/>
                  <a:pt x="230141" y="78505"/>
                  <a:pt x="230141" y="84188"/>
                </a:cubicBezTo>
                <a:cubicBezTo>
                  <a:pt x="230141" y="89870"/>
                  <a:pt x="234747" y="94477"/>
                  <a:pt x="240430" y="94477"/>
                </a:cubicBezTo>
                <a:lnTo>
                  <a:pt x="398887" y="94478"/>
                </a:lnTo>
                <a:cubicBezTo>
                  <a:pt x="404570" y="94478"/>
                  <a:pt x="409177" y="89871"/>
                  <a:pt x="409177" y="84188"/>
                </a:cubicBezTo>
                <a:lnTo>
                  <a:pt x="409177" y="84188"/>
                </a:lnTo>
                <a:cubicBezTo>
                  <a:pt x="409177" y="78505"/>
                  <a:pt x="404571" y="73898"/>
                  <a:pt x="398888" y="73898"/>
                </a:cubicBezTo>
                <a:close/>
                <a:moveTo>
                  <a:pt x="313485" y="119"/>
                </a:moveTo>
                <a:cubicBezTo>
                  <a:pt x="467512" y="-2326"/>
                  <a:pt x="623597" y="32935"/>
                  <a:pt x="639317" y="113230"/>
                </a:cubicBezTo>
                <a:lnTo>
                  <a:pt x="639317" y="540401"/>
                </a:lnTo>
                <a:lnTo>
                  <a:pt x="639317" y="755746"/>
                </a:lnTo>
                <a:lnTo>
                  <a:pt x="639317" y="1182917"/>
                </a:lnTo>
                <a:cubicBezTo>
                  <a:pt x="607877" y="1343508"/>
                  <a:pt x="14977" y="1323958"/>
                  <a:pt x="0" y="1182917"/>
                </a:cubicBezTo>
                <a:lnTo>
                  <a:pt x="0" y="755746"/>
                </a:lnTo>
                <a:lnTo>
                  <a:pt x="0" y="540401"/>
                </a:lnTo>
                <a:lnTo>
                  <a:pt x="0" y="113230"/>
                </a:lnTo>
                <a:cubicBezTo>
                  <a:pt x="7489" y="42710"/>
                  <a:pt x="159458" y="2562"/>
                  <a:pt x="313485" y="119"/>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2"/>
            <a:endParaRPr lang="en-US" sz="1798" kern="0">
              <a:solidFill>
                <a:prstClr val="white"/>
              </a:solidFill>
              <a:latin typeface="Segoe UI"/>
            </a:endParaRPr>
          </a:p>
        </p:txBody>
      </p:sp>
      <p:pic>
        <p:nvPicPr>
          <p:cNvPr id="237" name="Picture 5" descr="\\MAGNUM\Projects\Microsoft\Cloud Power FY12\Design\Icons\PNGs\Truck.png"/>
          <p:cNvPicPr>
            <a:picLocks noChangeAspect="1" noChangeArrowheads="1"/>
          </p:cNvPicPr>
          <p:nvPr/>
        </p:nvPicPr>
        <p:blipFill>
          <a:blip r:embed="rId7" cstate="print">
            <a:duotone>
              <a:prstClr val="black"/>
              <a:schemeClr val="accent5">
                <a:tint val="45000"/>
                <a:satMod val="400000"/>
              </a:schemeClr>
            </a:duotone>
            <a:extLst>
              <a:ext uri="{BEBA8EAE-BF5A-486C-A8C5-ECC9F3942E4B}">
                <a14:imgProps xmlns:a14="http://schemas.microsoft.com/office/drawing/2010/main">
                  <a14:imgLayer r:embed="rId8">
                    <a14:imgEffect>
                      <a14:brightnessContrast bright="-31000" contrast="-40000"/>
                    </a14:imgEffect>
                  </a14:imgLayer>
                </a14:imgProps>
              </a:ext>
              <a:ext uri="{28A0092B-C50C-407E-A947-70E740481C1C}">
                <a14:useLocalDpi xmlns:a14="http://schemas.microsoft.com/office/drawing/2010/main"/>
              </a:ext>
            </a:extLst>
          </a:blip>
          <a:stretch>
            <a:fillRect/>
          </a:stretch>
        </p:blipFill>
        <p:spPr bwMode="auto">
          <a:xfrm>
            <a:off x="3352118" y="3955868"/>
            <a:ext cx="521461" cy="521461"/>
          </a:xfrm>
          <a:prstGeom prst="rect">
            <a:avLst/>
          </a:prstGeom>
          <a:noFill/>
        </p:spPr>
      </p:pic>
      <p:sp>
        <p:nvSpPr>
          <p:cNvPr id="197" name="MeetingPlanner_EBF2" title="Icon of a person in front of a calendar">
            <a:extLst>
              <a:ext uri="{FF2B5EF4-FFF2-40B4-BE49-F238E27FC236}">
                <a16:creationId xmlns:a16="http://schemas.microsoft.com/office/drawing/2014/main" id="{2E2AC8E9-3267-4B19-932B-8284D6F2D8E8}"/>
              </a:ext>
            </a:extLst>
          </p:cNvPr>
          <p:cNvSpPr>
            <a:spLocks noChangeAspect="1" noEditPoints="1"/>
          </p:cNvSpPr>
          <p:nvPr/>
        </p:nvSpPr>
        <p:spPr bwMode="auto">
          <a:xfrm>
            <a:off x="5475459" y="2279239"/>
            <a:ext cx="342588" cy="365665"/>
          </a:xfrm>
          <a:custGeom>
            <a:avLst/>
            <a:gdLst>
              <a:gd name="T0" fmla="*/ 1497 w 3742"/>
              <a:gd name="T1" fmla="*/ 1497 h 3992"/>
              <a:gd name="T2" fmla="*/ 1497 w 3742"/>
              <a:gd name="T3" fmla="*/ 2745 h 3992"/>
              <a:gd name="T4" fmla="*/ 748 w 3742"/>
              <a:gd name="T5" fmla="*/ 3244 h 3992"/>
              <a:gd name="T6" fmla="*/ 748 w 3742"/>
              <a:gd name="T7" fmla="*/ 1497 h 3992"/>
              <a:gd name="T8" fmla="*/ 3742 w 3742"/>
              <a:gd name="T9" fmla="*/ 3992 h 3992"/>
              <a:gd name="T10" fmla="*/ 2620 w 3742"/>
              <a:gd name="T11" fmla="*/ 2869 h 3992"/>
              <a:gd name="T12" fmla="*/ 1497 w 3742"/>
              <a:gd name="T13" fmla="*/ 3992 h 3992"/>
              <a:gd name="T14" fmla="*/ 2620 w 3742"/>
              <a:gd name="T15" fmla="*/ 2869 h 3992"/>
              <a:gd name="T16" fmla="*/ 3243 w 3742"/>
              <a:gd name="T17" fmla="*/ 2246 h 3992"/>
              <a:gd name="T18" fmla="*/ 2620 w 3742"/>
              <a:gd name="T19" fmla="*/ 1622 h 3992"/>
              <a:gd name="T20" fmla="*/ 1996 w 3742"/>
              <a:gd name="T21" fmla="*/ 2246 h 3992"/>
              <a:gd name="T22" fmla="*/ 2620 w 3742"/>
              <a:gd name="T23" fmla="*/ 2869 h 3992"/>
              <a:gd name="T24" fmla="*/ 3742 w 3742"/>
              <a:gd name="T25" fmla="*/ 2936 h 3992"/>
              <a:gd name="T26" fmla="*/ 3742 w 3742"/>
              <a:gd name="T27" fmla="*/ 374 h 3992"/>
              <a:gd name="T28" fmla="*/ 0 w 3742"/>
              <a:gd name="T29" fmla="*/ 374 h 3992"/>
              <a:gd name="T30" fmla="*/ 0 w 3742"/>
              <a:gd name="T31" fmla="*/ 3618 h 3992"/>
              <a:gd name="T32" fmla="*/ 1087 w 3742"/>
              <a:gd name="T33" fmla="*/ 3618 h 3992"/>
              <a:gd name="T34" fmla="*/ 748 w 3742"/>
              <a:gd name="T35" fmla="*/ 0 h 3992"/>
              <a:gd name="T36" fmla="*/ 748 w 3742"/>
              <a:gd name="T37" fmla="*/ 749 h 3992"/>
              <a:gd name="T38" fmla="*/ 2994 w 3742"/>
              <a:gd name="T39" fmla="*/ 0 h 3992"/>
              <a:gd name="T40" fmla="*/ 2994 w 3742"/>
              <a:gd name="T41" fmla="*/ 749 h 3992"/>
              <a:gd name="T42" fmla="*/ 0 w 3742"/>
              <a:gd name="T43" fmla="*/ 1123 h 3992"/>
              <a:gd name="T44" fmla="*/ 3742 w 3742"/>
              <a:gd name="T45" fmla="*/ 1123 h 3992"/>
              <a:gd name="T46" fmla="*/ 1497 w 3742"/>
              <a:gd name="T47" fmla="*/ 1497 h 3992"/>
              <a:gd name="T48" fmla="*/ 1497 w 3742"/>
              <a:gd name="T49" fmla="*/ 2745 h 3992"/>
              <a:gd name="T50" fmla="*/ 748 w 3742"/>
              <a:gd name="T51" fmla="*/ 3244 h 3992"/>
              <a:gd name="T52" fmla="*/ 748 w 3742"/>
              <a:gd name="T53" fmla="*/ 1497 h 3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42" h="3992">
                <a:moveTo>
                  <a:pt x="1497" y="1497"/>
                </a:moveTo>
                <a:cubicBezTo>
                  <a:pt x="1497" y="2745"/>
                  <a:pt x="1497" y="2745"/>
                  <a:pt x="1497" y="2745"/>
                </a:cubicBezTo>
                <a:moveTo>
                  <a:pt x="748" y="3244"/>
                </a:moveTo>
                <a:cubicBezTo>
                  <a:pt x="748" y="1497"/>
                  <a:pt x="748" y="1497"/>
                  <a:pt x="748" y="1497"/>
                </a:cubicBezTo>
                <a:moveTo>
                  <a:pt x="3742" y="3992"/>
                </a:moveTo>
                <a:cubicBezTo>
                  <a:pt x="3742" y="3372"/>
                  <a:pt x="3240" y="2869"/>
                  <a:pt x="2620" y="2869"/>
                </a:cubicBezTo>
                <a:cubicBezTo>
                  <a:pt x="1999" y="2869"/>
                  <a:pt x="1497" y="3372"/>
                  <a:pt x="1497" y="3992"/>
                </a:cubicBezTo>
                <a:moveTo>
                  <a:pt x="2620" y="2869"/>
                </a:moveTo>
                <a:cubicBezTo>
                  <a:pt x="2964" y="2869"/>
                  <a:pt x="3243" y="2590"/>
                  <a:pt x="3243" y="2246"/>
                </a:cubicBezTo>
                <a:cubicBezTo>
                  <a:pt x="3243" y="1901"/>
                  <a:pt x="2964" y="1622"/>
                  <a:pt x="2620" y="1622"/>
                </a:cubicBezTo>
                <a:cubicBezTo>
                  <a:pt x="2275" y="1622"/>
                  <a:pt x="1996" y="1901"/>
                  <a:pt x="1996" y="2246"/>
                </a:cubicBezTo>
                <a:cubicBezTo>
                  <a:pt x="1996" y="2590"/>
                  <a:pt x="2275" y="2869"/>
                  <a:pt x="2620" y="2869"/>
                </a:cubicBezTo>
                <a:close/>
                <a:moveTo>
                  <a:pt x="3742" y="2936"/>
                </a:moveTo>
                <a:cubicBezTo>
                  <a:pt x="3742" y="374"/>
                  <a:pt x="3742" y="374"/>
                  <a:pt x="3742" y="374"/>
                </a:cubicBezTo>
                <a:cubicBezTo>
                  <a:pt x="0" y="374"/>
                  <a:pt x="0" y="374"/>
                  <a:pt x="0" y="374"/>
                </a:cubicBezTo>
                <a:cubicBezTo>
                  <a:pt x="0" y="3618"/>
                  <a:pt x="0" y="3618"/>
                  <a:pt x="0" y="3618"/>
                </a:cubicBezTo>
                <a:cubicBezTo>
                  <a:pt x="1087" y="3618"/>
                  <a:pt x="1087" y="3618"/>
                  <a:pt x="1087" y="3618"/>
                </a:cubicBezTo>
                <a:moveTo>
                  <a:pt x="748" y="0"/>
                </a:moveTo>
                <a:cubicBezTo>
                  <a:pt x="748" y="749"/>
                  <a:pt x="748" y="749"/>
                  <a:pt x="748" y="749"/>
                </a:cubicBezTo>
                <a:moveTo>
                  <a:pt x="2994" y="0"/>
                </a:moveTo>
                <a:cubicBezTo>
                  <a:pt x="2994" y="749"/>
                  <a:pt x="2994" y="749"/>
                  <a:pt x="2994" y="749"/>
                </a:cubicBezTo>
                <a:moveTo>
                  <a:pt x="0" y="1123"/>
                </a:moveTo>
                <a:cubicBezTo>
                  <a:pt x="3742" y="1123"/>
                  <a:pt x="3742" y="1123"/>
                  <a:pt x="3742" y="1123"/>
                </a:cubicBezTo>
                <a:moveTo>
                  <a:pt x="1497" y="1497"/>
                </a:moveTo>
                <a:cubicBezTo>
                  <a:pt x="1497" y="2745"/>
                  <a:pt x="1497" y="2745"/>
                  <a:pt x="1497" y="2745"/>
                </a:cubicBezTo>
                <a:moveTo>
                  <a:pt x="748" y="3244"/>
                </a:moveTo>
                <a:cubicBezTo>
                  <a:pt x="748" y="1497"/>
                  <a:pt x="748" y="1497"/>
                  <a:pt x="748" y="1497"/>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1087779"/>
            <a:endParaRPr lang="en-US" sz="2199">
              <a:solidFill>
                <a:srgbClr val="505050"/>
              </a:solidFill>
              <a:latin typeface="Segoe UI"/>
            </a:endParaRPr>
          </a:p>
        </p:txBody>
      </p:sp>
      <p:sp>
        <p:nvSpPr>
          <p:cNvPr id="198" name="Calendar" title="Icon of a calendar">
            <a:extLst>
              <a:ext uri="{FF2B5EF4-FFF2-40B4-BE49-F238E27FC236}">
                <a16:creationId xmlns:a16="http://schemas.microsoft.com/office/drawing/2014/main" id="{F319F194-FE36-4781-9D14-C48AEF1FBE8B}"/>
              </a:ext>
            </a:extLst>
          </p:cNvPr>
          <p:cNvSpPr>
            <a:spLocks noChangeAspect="1" noEditPoints="1"/>
          </p:cNvSpPr>
          <p:nvPr/>
        </p:nvSpPr>
        <p:spPr bwMode="auto">
          <a:xfrm>
            <a:off x="3922290" y="1588756"/>
            <a:ext cx="291550" cy="279361"/>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1087779"/>
            <a:endParaRPr lang="en-US" sz="2199">
              <a:solidFill>
                <a:srgbClr val="505050"/>
              </a:solidFill>
              <a:latin typeface="Segoe UI"/>
            </a:endParaRPr>
          </a:p>
        </p:txBody>
      </p:sp>
      <p:sp>
        <p:nvSpPr>
          <p:cNvPr id="217" name="Trackers_EADF_bidi" title="Icon of a clipboard with a checklist on it">
            <a:extLst>
              <a:ext uri="{FF2B5EF4-FFF2-40B4-BE49-F238E27FC236}">
                <a16:creationId xmlns:a16="http://schemas.microsoft.com/office/drawing/2014/main" id="{32ACC2A1-ADB5-4A3F-BA72-BE66ED067295}"/>
              </a:ext>
            </a:extLst>
          </p:cNvPr>
          <p:cNvSpPr>
            <a:spLocks noChangeAspect="1" noEditPoints="1"/>
          </p:cNvSpPr>
          <p:nvPr/>
        </p:nvSpPr>
        <p:spPr bwMode="auto">
          <a:xfrm>
            <a:off x="4250993" y="1472060"/>
            <a:ext cx="254801" cy="347431"/>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500 w 2750"/>
              <a:gd name="T33" fmla="*/ 1750 h 3750"/>
              <a:gd name="T34" fmla="*/ 1500 w 2750"/>
              <a:gd name="T35" fmla="*/ 1750 h 3750"/>
              <a:gd name="T36" fmla="*/ 1500 w 2750"/>
              <a:gd name="T37" fmla="*/ 2500 h 3750"/>
              <a:gd name="T38" fmla="*/ 500 w 2750"/>
              <a:gd name="T39" fmla="*/ 2500 h 3750"/>
              <a:gd name="T40" fmla="*/ 1500 w 2750"/>
              <a:gd name="T41" fmla="*/ 3250 h 3750"/>
              <a:gd name="T42" fmla="*/ 500 w 2750"/>
              <a:gd name="T43" fmla="*/ 3250 h 3750"/>
              <a:gd name="T44" fmla="*/ 1750 w 2750"/>
              <a:gd name="T45" fmla="*/ 1500 h 3750"/>
              <a:gd name="T46" fmla="*/ 2000 w 2750"/>
              <a:gd name="T47" fmla="*/ 1750 h 3750"/>
              <a:gd name="T48" fmla="*/ 2375 w 2750"/>
              <a:gd name="T49" fmla="*/ 1375 h 3750"/>
              <a:gd name="T50" fmla="*/ 1750 w 2750"/>
              <a:gd name="T51" fmla="*/ 2250 h 3750"/>
              <a:gd name="T52" fmla="*/ 2000 w 2750"/>
              <a:gd name="T53" fmla="*/ 2500 h 3750"/>
              <a:gd name="T54" fmla="*/ 2375 w 2750"/>
              <a:gd name="T55" fmla="*/ 2125 h 3750"/>
              <a:gd name="T56" fmla="*/ 1750 w 2750"/>
              <a:gd name="T57" fmla="*/ 3000 h 3750"/>
              <a:gd name="T58" fmla="*/ 2000 w 2750"/>
              <a:gd name="T59" fmla="*/ 3250 h 3750"/>
              <a:gd name="T60" fmla="*/ 237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500" y="1750"/>
                </a:moveTo>
                <a:cubicBezTo>
                  <a:pt x="1500" y="1750"/>
                  <a:pt x="1500" y="1750"/>
                  <a:pt x="1500" y="1750"/>
                </a:cubicBezTo>
                <a:moveTo>
                  <a:pt x="1500" y="2500"/>
                </a:moveTo>
                <a:cubicBezTo>
                  <a:pt x="500" y="2500"/>
                  <a:pt x="500" y="2500"/>
                  <a:pt x="500" y="2500"/>
                </a:cubicBezTo>
                <a:moveTo>
                  <a:pt x="1500" y="3250"/>
                </a:moveTo>
                <a:cubicBezTo>
                  <a:pt x="500" y="3250"/>
                  <a:pt x="500" y="3250"/>
                  <a:pt x="500" y="3250"/>
                </a:cubicBezTo>
                <a:moveTo>
                  <a:pt x="1750" y="1500"/>
                </a:moveTo>
                <a:cubicBezTo>
                  <a:pt x="2000" y="1750"/>
                  <a:pt x="2000" y="1750"/>
                  <a:pt x="2000" y="1750"/>
                </a:cubicBezTo>
                <a:cubicBezTo>
                  <a:pt x="2375" y="1375"/>
                  <a:pt x="2375" y="1375"/>
                  <a:pt x="2375" y="1375"/>
                </a:cubicBezTo>
                <a:moveTo>
                  <a:pt x="1750" y="2250"/>
                </a:moveTo>
                <a:cubicBezTo>
                  <a:pt x="2000" y="2500"/>
                  <a:pt x="2000" y="2500"/>
                  <a:pt x="2000" y="2500"/>
                </a:cubicBezTo>
                <a:cubicBezTo>
                  <a:pt x="2375" y="2125"/>
                  <a:pt x="2375" y="2125"/>
                  <a:pt x="2375" y="2125"/>
                </a:cubicBezTo>
                <a:moveTo>
                  <a:pt x="1750" y="3000"/>
                </a:moveTo>
                <a:cubicBezTo>
                  <a:pt x="2000" y="3250"/>
                  <a:pt x="2000" y="3250"/>
                  <a:pt x="2000" y="3250"/>
                </a:cubicBezTo>
                <a:cubicBezTo>
                  <a:pt x="2375" y="2875"/>
                  <a:pt x="2375" y="2875"/>
                  <a:pt x="2375" y="28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1087779"/>
            <a:endParaRPr lang="en-US" sz="2199">
              <a:solidFill>
                <a:srgbClr val="505050"/>
              </a:solidFill>
              <a:latin typeface="Segoe UI"/>
            </a:endParaRPr>
          </a:p>
        </p:txBody>
      </p:sp>
      <p:sp>
        <p:nvSpPr>
          <p:cNvPr id="219" name="headphones" title="Icon of headphones">
            <a:extLst>
              <a:ext uri="{FF2B5EF4-FFF2-40B4-BE49-F238E27FC236}">
                <a16:creationId xmlns:a16="http://schemas.microsoft.com/office/drawing/2014/main" id="{718C16A4-B46C-4C46-9BDE-6304D1219C61}"/>
              </a:ext>
            </a:extLst>
          </p:cNvPr>
          <p:cNvSpPr>
            <a:spLocks noChangeAspect="1" noEditPoints="1"/>
          </p:cNvSpPr>
          <p:nvPr/>
        </p:nvSpPr>
        <p:spPr bwMode="auto">
          <a:xfrm>
            <a:off x="3434557" y="2366770"/>
            <a:ext cx="199216" cy="221148"/>
          </a:xfrm>
          <a:custGeom>
            <a:avLst/>
            <a:gdLst>
              <a:gd name="T0" fmla="*/ 0 w 302"/>
              <a:gd name="T1" fmla="*/ 229 h 334"/>
              <a:gd name="T2" fmla="*/ 0 w 302"/>
              <a:gd name="T3" fmla="*/ 151 h 334"/>
              <a:gd name="T4" fmla="*/ 151 w 302"/>
              <a:gd name="T5" fmla="*/ 0 h 334"/>
              <a:gd name="T6" fmla="*/ 302 w 302"/>
              <a:gd name="T7" fmla="*/ 151 h 334"/>
              <a:gd name="T8" fmla="*/ 302 w 302"/>
              <a:gd name="T9" fmla="*/ 239 h 334"/>
              <a:gd name="T10" fmla="*/ 35 w 302"/>
              <a:gd name="T11" fmla="*/ 184 h 334"/>
              <a:gd name="T12" fmla="*/ 0 w 302"/>
              <a:gd name="T13" fmla="*/ 219 h 334"/>
              <a:gd name="T14" fmla="*/ 0 w 302"/>
              <a:gd name="T15" fmla="*/ 300 h 334"/>
              <a:gd name="T16" fmla="*/ 35 w 302"/>
              <a:gd name="T17" fmla="*/ 334 h 334"/>
              <a:gd name="T18" fmla="*/ 58 w 302"/>
              <a:gd name="T19" fmla="*/ 334 h 334"/>
              <a:gd name="T20" fmla="*/ 58 w 302"/>
              <a:gd name="T21" fmla="*/ 184 h 334"/>
              <a:gd name="T22" fmla="*/ 35 w 302"/>
              <a:gd name="T23" fmla="*/ 184 h 334"/>
              <a:gd name="T24" fmla="*/ 244 w 302"/>
              <a:gd name="T25" fmla="*/ 184 h 334"/>
              <a:gd name="T26" fmla="*/ 244 w 302"/>
              <a:gd name="T27" fmla="*/ 334 h 334"/>
              <a:gd name="T28" fmla="*/ 268 w 302"/>
              <a:gd name="T29" fmla="*/ 334 h 334"/>
              <a:gd name="T30" fmla="*/ 302 w 302"/>
              <a:gd name="T31" fmla="*/ 300 h 334"/>
              <a:gd name="T32" fmla="*/ 302 w 302"/>
              <a:gd name="T33" fmla="*/ 219 h 334"/>
              <a:gd name="T34" fmla="*/ 268 w 302"/>
              <a:gd name="T35" fmla="*/ 184 h 334"/>
              <a:gd name="T36" fmla="*/ 244 w 302"/>
              <a:gd name="T37" fmla="*/ 18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2" h="334">
                <a:moveTo>
                  <a:pt x="0" y="229"/>
                </a:moveTo>
                <a:cubicBezTo>
                  <a:pt x="0" y="151"/>
                  <a:pt x="0" y="151"/>
                  <a:pt x="0" y="151"/>
                </a:cubicBezTo>
                <a:cubicBezTo>
                  <a:pt x="0" y="67"/>
                  <a:pt x="68" y="0"/>
                  <a:pt x="151" y="0"/>
                </a:cubicBezTo>
                <a:cubicBezTo>
                  <a:pt x="234" y="0"/>
                  <a:pt x="302" y="67"/>
                  <a:pt x="302" y="151"/>
                </a:cubicBezTo>
                <a:cubicBezTo>
                  <a:pt x="302" y="239"/>
                  <a:pt x="302" y="239"/>
                  <a:pt x="302" y="239"/>
                </a:cubicBezTo>
                <a:moveTo>
                  <a:pt x="35" y="184"/>
                </a:moveTo>
                <a:cubicBezTo>
                  <a:pt x="15" y="184"/>
                  <a:pt x="0" y="200"/>
                  <a:pt x="0" y="219"/>
                </a:cubicBezTo>
                <a:cubicBezTo>
                  <a:pt x="0" y="300"/>
                  <a:pt x="0" y="300"/>
                  <a:pt x="0" y="300"/>
                </a:cubicBezTo>
                <a:cubicBezTo>
                  <a:pt x="0" y="319"/>
                  <a:pt x="15" y="334"/>
                  <a:pt x="35" y="334"/>
                </a:cubicBezTo>
                <a:cubicBezTo>
                  <a:pt x="58" y="334"/>
                  <a:pt x="58" y="334"/>
                  <a:pt x="58" y="334"/>
                </a:cubicBezTo>
                <a:cubicBezTo>
                  <a:pt x="58" y="184"/>
                  <a:pt x="58" y="184"/>
                  <a:pt x="58" y="184"/>
                </a:cubicBezTo>
                <a:lnTo>
                  <a:pt x="35" y="184"/>
                </a:lnTo>
                <a:close/>
                <a:moveTo>
                  <a:pt x="244" y="184"/>
                </a:moveTo>
                <a:cubicBezTo>
                  <a:pt x="244" y="334"/>
                  <a:pt x="244" y="334"/>
                  <a:pt x="244" y="334"/>
                </a:cubicBezTo>
                <a:cubicBezTo>
                  <a:pt x="268" y="334"/>
                  <a:pt x="268" y="334"/>
                  <a:pt x="268" y="334"/>
                </a:cubicBezTo>
                <a:cubicBezTo>
                  <a:pt x="287" y="334"/>
                  <a:pt x="302" y="319"/>
                  <a:pt x="302" y="300"/>
                </a:cubicBezTo>
                <a:cubicBezTo>
                  <a:pt x="302" y="219"/>
                  <a:pt x="302" y="219"/>
                  <a:pt x="302" y="219"/>
                </a:cubicBezTo>
                <a:cubicBezTo>
                  <a:pt x="302" y="200"/>
                  <a:pt x="287" y="184"/>
                  <a:pt x="268" y="184"/>
                </a:cubicBezTo>
                <a:lnTo>
                  <a:pt x="244" y="184"/>
                </a:lnTo>
                <a:close/>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1087779"/>
            <a:endParaRPr lang="en-US" sz="2199" dirty="0">
              <a:solidFill>
                <a:srgbClr val="505050"/>
              </a:solidFill>
              <a:latin typeface="Segoe UI"/>
            </a:endParaRPr>
          </a:p>
        </p:txBody>
      </p:sp>
      <p:sp>
        <p:nvSpPr>
          <p:cNvPr id="222" name="Eye" title="Icon of an eyeball">
            <a:extLst>
              <a:ext uri="{FF2B5EF4-FFF2-40B4-BE49-F238E27FC236}">
                <a16:creationId xmlns:a16="http://schemas.microsoft.com/office/drawing/2014/main" id="{BCF8AE00-42AA-4F50-8A67-913DA84565F5}"/>
              </a:ext>
            </a:extLst>
          </p:cNvPr>
          <p:cNvSpPr>
            <a:spLocks noChangeAspect="1" noEditPoints="1"/>
          </p:cNvSpPr>
          <p:nvPr/>
        </p:nvSpPr>
        <p:spPr bwMode="auto">
          <a:xfrm>
            <a:off x="2773250" y="3104179"/>
            <a:ext cx="378784" cy="209134"/>
          </a:xfrm>
          <a:custGeom>
            <a:avLst/>
            <a:gdLst>
              <a:gd name="T0" fmla="*/ 3 w 346"/>
              <a:gd name="T1" fmla="*/ 91 h 190"/>
              <a:gd name="T2" fmla="*/ 173 w 346"/>
              <a:gd name="T3" fmla="*/ 0 h 190"/>
              <a:gd name="T4" fmla="*/ 346 w 346"/>
              <a:gd name="T5" fmla="*/ 95 h 190"/>
              <a:gd name="T6" fmla="*/ 173 w 346"/>
              <a:gd name="T7" fmla="*/ 190 h 190"/>
              <a:gd name="T8" fmla="*/ 6 w 346"/>
              <a:gd name="T9" fmla="*/ 102 h 190"/>
              <a:gd name="T10" fmla="*/ 0 w 346"/>
              <a:gd name="T11" fmla="*/ 95 h 190"/>
              <a:gd name="T12" fmla="*/ 3 w 346"/>
              <a:gd name="T13" fmla="*/ 91 h 190"/>
              <a:gd name="T14" fmla="*/ 173 w 346"/>
              <a:gd name="T15" fmla="*/ 0 h 190"/>
              <a:gd name="T16" fmla="*/ 73 w 346"/>
              <a:gd name="T17" fmla="*/ 95 h 190"/>
              <a:gd name="T18" fmla="*/ 173 w 346"/>
              <a:gd name="T19" fmla="*/ 190 h 190"/>
              <a:gd name="T20" fmla="*/ 273 w 346"/>
              <a:gd name="T21" fmla="*/ 95 h 190"/>
              <a:gd name="T22" fmla="*/ 173 w 346"/>
              <a:gd name="T23" fmla="*/ 0 h 190"/>
              <a:gd name="T24" fmla="*/ 173 w 346"/>
              <a:gd name="T25" fmla="*/ 56 h 190"/>
              <a:gd name="T26" fmla="*/ 134 w 346"/>
              <a:gd name="T27" fmla="*/ 95 h 190"/>
              <a:gd name="T28" fmla="*/ 173 w 346"/>
              <a:gd name="T29" fmla="*/ 135 h 190"/>
              <a:gd name="T30" fmla="*/ 213 w 346"/>
              <a:gd name="T31" fmla="*/ 95 h 190"/>
              <a:gd name="T32" fmla="*/ 173 w 346"/>
              <a:gd name="T33" fmla="*/ 5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6" h="190">
                <a:moveTo>
                  <a:pt x="3" y="91"/>
                </a:moveTo>
                <a:cubicBezTo>
                  <a:pt x="17" y="73"/>
                  <a:pt x="77" y="0"/>
                  <a:pt x="173" y="0"/>
                </a:cubicBezTo>
                <a:cubicBezTo>
                  <a:pt x="283" y="0"/>
                  <a:pt x="346" y="95"/>
                  <a:pt x="346" y="95"/>
                </a:cubicBezTo>
                <a:cubicBezTo>
                  <a:pt x="346" y="95"/>
                  <a:pt x="283" y="190"/>
                  <a:pt x="173" y="190"/>
                </a:cubicBezTo>
                <a:cubicBezTo>
                  <a:pt x="82" y="190"/>
                  <a:pt x="23" y="125"/>
                  <a:pt x="6" y="102"/>
                </a:cubicBezTo>
                <a:cubicBezTo>
                  <a:pt x="2" y="98"/>
                  <a:pt x="0" y="95"/>
                  <a:pt x="0" y="95"/>
                </a:cubicBezTo>
                <a:cubicBezTo>
                  <a:pt x="0" y="95"/>
                  <a:pt x="1" y="94"/>
                  <a:pt x="3" y="91"/>
                </a:cubicBezTo>
                <a:close/>
                <a:moveTo>
                  <a:pt x="173" y="0"/>
                </a:moveTo>
                <a:cubicBezTo>
                  <a:pt x="118" y="0"/>
                  <a:pt x="73" y="42"/>
                  <a:pt x="73" y="95"/>
                </a:cubicBezTo>
                <a:cubicBezTo>
                  <a:pt x="73" y="148"/>
                  <a:pt x="118" y="190"/>
                  <a:pt x="173" y="190"/>
                </a:cubicBezTo>
                <a:cubicBezTo>
                  <a:pt x="228" y="190"/>
                  <a:pt x="273" y="148"/>
                  <a:pt x="273" y="95"/>
                </a:cubicBezTo>
                <a:cubicBezTo>
                  <a:pt x="273" y="42"/>
                  <a:pt x="228" y="0"/>
                  <a:pt x="173" y="0"/>
                </a:cubicBezTo>
                <a:close/>
                <a:moveTo>
                  <a:pt x="173" y="56"/>
                </a:moveTo>
                <a:cubicBezTo>
                  <a:pt x="151" y="56"/>
                  <a:pt x="134" y="73"/>
                  <a:pt x="134" y="95"/>
                </a:cubicBezTo>
                <a:cubicBezTo>
                  <a:pt x="134" y="117"/>
                  <a:pt x="151" y="135"/>
                  <a:pt x="173" y="135"/>
                </a:cubicBezTo>
                <a:cubicBezTo>
                  <a:pt x="195" y="135"/>
                  <a:pt x="213" y="117"/>
                  <a:pt x="213" y="95"/>
                </a:cubicBezTo>
                <a:cubicBezTo>
                  <a:pt x="213" y="73"/>
                  <a:pt x="195" y="56"/>
                  <a:pt x="173" y="56"/>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1087779"/>
            <a:endParaRPr lang="en-US" sz="2199">
              <a:gradFill>
                <a:gsLst>
                  <a:gs pos="0">
                    <a:srgbClr val="505050"/>
                  </a:gs>
                  <a:gs pos="100000">
                    <a:srgbClr val="505050"/>
                  </a:gs>
                </a:gsLst>
              </a:gradFill>
              <a:latin typeface="Segoe UI"/>
            </a:endParaRPr>
          </a:p>
        </p:txBody>
      </p:sp>
      <p:sp>
        <p:nvSpPr>
          <p:cNvPr id="223" name="Money_3" title="Icon of a dollar sign">
            <a:extLst>
              <a:ext uri="{FF2B5EF4-FFF2-40B4-BE49-F238E27FC236}">
                <a16:creationId xmlns:a16="http://schemas.microsoft.com/office/drawing/2014/main" id="{5BBBAD06-9C17-4967-B791-89D725C98BB3}"/>
              </a:ext>
            </a:extLst>
          </p:cNvPr>
          <p:cNvSpPr>
            <a:spLocks noChangeAspect="1" noEditPoints="1"/>
          </p:cNvSpPr>
          <p:nvPr/>
        </p:nvSpPr>
        <p:spPr bwMode="auto">
          <a:xfrm>
            <a:off x="3797925" y="3867305"/>
            <a:ext cx="152064" cy="275269"/>
          </a:xfrm>
          <a:custGeom>
            <a:avLst/>
            <a:gdLst>
              <a:gd name="T0" fmla="*/ 0 w 153"/>
              <a:gd name="T1" fmla="*/ 223 h 279"/>
              <a:gd name="T2" fmla="*/ 111 w 153"/>
              <a:gd name="T3" fmla="*/ 223 h 279"/>
              <a:gd name="T4" fmla="*/ 153 w 153"/>
              <a:gd name="T5" fmla="*/ 182 h 279"/>
              <a:gd name="T6" fmla="*/ 111 w 153"/>
              <a:gd name="T7" fmla="*/ 141 h 279"/>
              <a:gd name="T8" fmla="*/ 41 w 153"/>
              <a:gd name="T9" fmla="*/ 139 h 279"/>
              <a:gd name="T10" fmla="*/ 0 w 153"/>
              <a:gd name="T11" fmla="*/ 98 h 279"/>
              <a:gd name="T12" fmla="*/ 41 w 153"/>
              <a:gd name="T13" fmla="*/ 56 h 279"/>
              <a:gd name="T14" fmla="*/ 150 w 153"/>
              <a:gd name="T15" fmla="*/ 56 h 279"/>
              <a:gd name="T16" fmla="*/ 76 w 153"/>
              <a:gd name="T17" fmla="*/ 0 h 279"/>
              <a:gd name="T18" fmla="*/ 76 w 153"/>
              <a:gd name="T19"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279">
                <a:moveTo>
                  <a:pt x="0" y="223"/>
                </a:moveTo>
                <a:cubicBezTo>
                  <a:pt x="111" y="223"/>
                  <a:pt x="111" y="223"/>
                  <a:pt x="111" y="223"/>
                </a:cubicBezTo>
                <a:cubicBezTo>
                  <a:pt x="134" y="223"/>
                  <a:pt x="153" y="205"/>
                  <a:pt x="153" y="182"/>
                </a:cubicBezTo>
                <a:cubicBezTo>
                  <a:pt x="153" y="159"/>
                  <a:pt x="134" y="141"/>
                  <a:pt x="111" y="141"/>
                </a:cubicBezTo>
                <a:cubicBezTo>
                  <a:pt x="41" y="139"/>
                  <a:pt x="41" y="139"/>
                  <a:pt x="41" y="139"/>
                </a:cubicBezTo>
                <a:cubicBezTo>
                  <a:pt x="19" y="139"/>
                  <a:pt x="0" y="120"/>
                  <a:pt x="0" y="98"/>
                </a:cubicBezTo>
                <a:cubicBezTo>
                  <a:pt x="0" y="75"/>
                  <a:pt x="19" y="56"/>
                  <a:pt x="41" y="56"/>
                </a:cubicBezTo>
                <a:cubicBezTo>
                  <a:pt x="150" y="56"/>
                  <a:pt x="150" y="56"/>
                  <a:pt x="150" y="56"/>
                </a:cubicBezTo>
                <a:moveTo>
                  <a:pt x="76" y="0"/>
                </a:moveTo>
                <a:cubicBezTo>
                  <a:pt x="76" y="279"/>
                  <a:pt x="76" y="279"/>
                  <a:pt x="76" y="279"/>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1087779"/>
            <a:endParaRPr lang="en-US" sz="2199">
              <a:gradFill>
                <a:gsLst>
                  <a:gs pos="0">
                    <a:srgbClr val="505050"/>
                  </a:gs>
                  <a:gs pos="100000">
                    <a:srgbClr val="505050"/>
                  </a:gs>
                </a:gsLst>
              </a:gradFill>
              <a:latin typeface="Segoe UI"/>
            </a:endParaRPr>
          </a:p>
        </p:txBody>
      </p:sp>
      <p:sp>
        <p:nvSpPr>
          <p:cNvPr id="229" name="pencil" title="Icon of a pencil">
            <a:extLst>
              <a:ext uri="{FF2B5EF4-FFF2-40B4-BE49-F238E27FC236}">
                <a16:creationId xmlns:a16="http://schemas.microsoft.com/office/drawing/2014/main" id="{C3CAE466-D180-44C3-A539-4D1002B8EBF8}"/>
              </a:ext>
            </a:extLst>
          </p:cNvPr>
          <p:cNvSpPr>
            <a:spLocks noChangeAspect="1" noEditPoints="1"/>
          </p:cNvSpPr>
          <p:nvPr/>
        </p:nvSpPr>
        <p:spPr bwMode="auto">
          <a:xfrm>
            <a:off x="5914464" y="2165953"/>
            <a:ext cx="284452" cy="284452"/>
          </a:xfrm>
          <a:custGeom>
            <a:avLst/>
            <a:gdLst>
              <a:gd name="T0" fmla="*/ 94 w 334"/>
              <a:gd name="T1" fmla="*/ 310 h 335"/>
              <a:gd name="T2" fmla="*/ 0 w 334"/>
              <a:gd name="T3" fmla="*/ 335 h 335"/>
              <a:gd name="T4" fmla="*/ 24 w 334"/>
              <a:gd name="T5" fmla="*/ 243 h 335"/>
              <a:gd name="T6" fmla="*/ 249 w 334"/>
              <a:gd name="T7" fmla="*/ 18 h 335"/>
              <a:gd name="T8" fmla="*/ 316 w 334"/>
              <a:gd name="T9" fmla="*/ 18 h 335"/>
              <a:gd name="T10" fmla="*/ 316 w 334"/>
              <a:gd name="T11" fmla="*/ 85 h 335"/>
              <a:gd name="T12" fmla="*/ 94 w 334"/>
              <a:gd name="T13" fmla="*/ 310 h 335"/>
              <a:gd name="T14" fmla="*/ 232 w 334"/>
              <a:gd name="T15" fmla="*/ 35 h 335"/>
              <a:gd name="T16" fmla="*/ 300 w 334"/>
              <a:gd name="T17" fmla="*/ 102 h 335"/>
              <a:gd name="T18" fmla="*/ 94 w 334"/>
              <a:gd name="T19" fmla="*/ 310 h 335"/>
              <a:gd name="T20" fmla="*/ 74 w 334"/>
              <a:gd name="T21" fmla="*/ 260 h 335"/>
              <a:gd name="T22" fmla="*/ 24 w 334"/>
              <a:gd name="T23" fmla="*/ 243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4" h="335">
                <a:moveTo>
                  <a:pt x="94" y="310"/>
                </a:moveTo>
                <a:cubicBezTo>
                  <a:pt x="0" y="335"/>
                  <a:pt x="0" y="335"/>
                  <a:pt x="0" y="335"/>
                </a:cubicBezTo>
                <a:cubicBezTo>
                  <a:pt x="24" y="243"/>
                  <a:pt x="24" y="243"/>
                  <a:pt x="24" y="243"/>
                </a:cubicBezTo>
                <a:cubicBezTo>
                  <a:pt x="249" y="18"/>
                  <a:pt x="249" y="18"/>
                  <a:pt x="249" y="18"/>
                </a:cubicBezTo>
                <a:cubicBezTo>
                  <a:pt x="268" y="0"/>
                  <a:pt x="298" y="0"/>
                  <a:pt x="316" y="18"/>
                </a:cubicBezTo>
                <a:cubicBezTo>
                  <a:pt x="334" y="36"/>
                  <a:pt x="334" y="66"/>
                  <a:pt x="316" y="85"/>
                </a:cubicBezTo>
                <a:lnTo>
                  <a:pt x="94" y="310"/>
                </a:lnTo>
                <a:close/>
                <a:moveTo>
                  <a:pt x="232" y="35"/>
                </a:moveTo>
                <a:cubicBezTo>
                  <a:pt x="300" y="102"/>
                  <a:pt x="300" y="102"/>
                  <a:pt x="300" y="102"/>
                </a:cubicBezTo>
                <a:moveTo>
                  <a:pt x="94" y="310"/>
                </a:moveTo>
                <a:cubicBezTo>
                  <a:pt x="94" y="310"/>
                  <a:pt x="98" y="287"/>
                  <a:pt x="74" y="260"/>
                </a:cubicBezTo>
                <a:cubicBezTo>
                  <a:pt x="50" y="233"/>
                  <a:pt x="24" y="243"/>
                  <a:pt x="24" y="243"/>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1087779"/>
            <a:endParaRPr lang="en-US" sz="2199" dirty="0">
              <a:gradFill>
                <a:gsLst>
                  <a:gs pos="0">
                    <a:srgbClr val="505050"/>
                  </a:gs>
                  <a:gs pos="100000">
                    <a:srgbClr val="505050"/>
                  </a:gs>
                </a:gsLst>
              </a:gradFill>
              <a:latin typeface="Segoe UI"/>
            </a:endParaRPr>
          </a:p>
        </p:txBody>
      </p:sp>
      <p:sp>
        <p:nvSpPr>
          <p:cNvPr id="230" name="Calendar" title="Icon of a calendar">
            <a:extLst>
              <a:ext uri="{FF2B5EF4-FFF2-40B4-BE49-F238E27FC236}">
                <a16:creationId xmlns:a16="http://schemas.microsoft.com/office/drawing/2014/main" id="{82DA23EE-6FD3-4A2F-908D-D3703DE8C9C5}"/>
              </a:ext>
            </a:extLst>
          </p:cNvPr>
          <p:cNvSpPr>
            <a:spLocks noChangeAspect="1" noEditPoints="1"/>
          </p:cNvSpPr>
          <p:nvPr/>
        </p:nvSpPr>
        <p:spPr bwMode="auto">
          <a:xfrm>
            <a:off x="7155176" y="1919414"/>
            <a:ext cx="271248" cy="259908"/>
          </a:xfrm>
          <a:custGeom>
            <a:avLst/>
            <a:gdLst>
              <a:gd name="T0" fmla="*/ 598 w 598"/>
              <a:gd name="T1" fmla="*/ 573 h 573"/>
              <a:gd name="T2" fmla="*/ 0 w 598"/>
              <a:gd name="T3" fmla="*/ 59 h 573"/>
              <a:gd name="T4" fmla="*/ 598 w 598"/>
              <a:gd name="T5" fmla="*/ 341 h 573"/>
              <a:gd name="T6" fmla="*/ 598 w 598"/>
              <a:gd name="T7" fmla="*/ 176 h 573"/>
              <a:gd name="T8" fmla="*/ 120 w 598"/>
              <a:gd name="T9" fmla="*/ 121 h 573"/>
              <a:gd name="T10" fmla="*/ 477 w 598"/>
              <a:gd name="T11" fmla="*/ 121 h 573"/>
              <a:gd name="T12" fmla="*/ 246 w 598"/>
              <a:gd name="T13" fmla="*/ 252 h 573"/>
              <a:gd name="T14" fmla="*/ 232 w 598"/>
              <a:gd name="T15" fmla="*/ 266 h 573"/>
              <a:gd name="T16" fmla="*/ 246 w 598"/>
              <a:gd name="T17" fmla="*/ 259 h 573"/>
              <a:gd name="T18" fmla="*/ 365 w 598"/>
              <a:gd name="T19" fmla="*/ 252 h 573"/>
              <a:gd name="T20" fmla="*/ 351 w 598"/>
              <a:gd name="T21" fmla="*/ 266 h 573"/>
              <a:gd name="T22" fmla="*/ 365 w 598"/>
              <a:gd name="T23" fmla="*/ 257 h 573"/>
              <a:gd name="T24" fmla="*/ 484 w 598"/>
              <a:gd name="T25" fmla="*/ 252 h 573"/>
              <a:gd name="T26" fmla="*/ 470 w 598"/>
              <a:gd name="T27" fmla="*/ 266 h 573"/>
              <a:gd name="T28" fmla="*/ 484 w 598"/>
              <a:gd name="T29" fmla="*/ 259 h 573"/>
              <a:gd name="T30" fmla="*/ 246 w 598"/>
              <a:gd name="T31" fmla="*/ 332 h 573"/>
              <a:gd name="T32" fmla="*/ 232 w 598"/>
              <a:gd name="T33" fmla="*/ 344 h 573"/>
              <a:gd name="T34" fmla="*/ 246 w 598"/>
              <a:gd name="T35" fmla="*/ 339 h 573"/>
              <a:gd name="T36" fmla="*/ 365 w 598"/>
              <a:gd name="T37" fmla="*/ 332 h 573"/>
              <a:gd name="T38" fmla="*/ 351 w 598"/>
              <a:gd name="T39" fmla="*/ 344 h 573"/>
              <a:gd name="T40" fmla="*/ 365 w 598"/>
              <a:gd name="T41" fmla="*/ 337 h 573"/>
              <a:gd name="T42" fmla="*/ 484 w 598"/>
              <a:gd name="T43" fmla="*/ 332 h 573"/>
              <a:gd name="T44" fmla="*/ 470 w 598"/>
              <a:gd name="T45" fmla="*/ 344 h 573"/>
              <a:gd name="T46" fmla="*/ 484 w 598"/>
              <a:gd name="T47" fmla="*/ 339 h 573"/>
              <a:gd name="T48" fmla="*/ 127 w 598"/>
              <a:gd name="T49" fmla="*/ 332 h 573"/>
              <a:gd name="T50" fmla="*/ 113 w 598"/>
              <a:gd name="T51" fmla="*/ 344 h 573"/>
              <a:gd name="T52" fmla="*/ 127 w 598"/>
              <a:gd name="T53" fmla="*/ 337 h 573"/>
              <a:gd name="T54" fmla="*/ 246 w 598"/>
              <a:gd name="T55" fmla="*/ 410 h 573"/>
              <a:gd name="T56" fmla="*/ 232 w 598"/>
              <a:gd name="T57" fmla="*/ 424 h 573"/>
              <a:gd name="T58" fmla="*/ 246 w 598"/>
              <a:gd name="T59" fmla="*/ 417 h 573"/>
              <a:gd name="T60" fmla="*/ 365 w 598"/>
              <a:gd name="T61" fmla="*/ 410 h 573"/>
              <a:gd name="T62" fmla="*/ 351 w 598"/>
              <a:gd name="T63" fmla="*/ 424 h 573"/>
              <a:gd name="T64" fmla="*/ 365 w 598"/>
              <a:gd name="T65" fmla="*/ 417 h 573"/>
              <a:gd name="T66" fmla="*/ 484 w 598"/>
              <a:gd name="T67" fmla="*/ 410 h 573"/>
              <a:gd name="T68" fmla="*/ 470 w 598"/>
              <a:gd name="T69" fmla="*/ 424 h 573"/>
              <a:gd name="T70" fmla="*/ 484 w 598"/>
              <a:gd name="T71" fmla="*/ 417 h 573"/>
              <a:gd name="T72" fmla="*/ 127 w 598"/>
              <a:gd name="T73" fmla="*/ 410 h 573"/>
              <a:gd name="T74" fmla="*/ 113 w 598"/>
              <a:gd name="T75" fmla="*/ 424 h 573"/>
              <a:gd name="T76" fmla="*/ 127 w 598"/>
              <a:gd name="T77" fmla="*/ 417 h 573"/>
              <a:gd name="T78" fmla="*/ 246 w 598"/>
              <a:gd name="T79" fmla="*/ 490 h 573"/>
              <a:gd name="T80" fmla="*/ 232 w 598"/>
              <a:gd name="T81" fmla="*/ 504 h 573"/>
              <a:gd name="T82" fmla="*/ 246 w 598"/>
              <a:gd name="T83" fmla="*/ 497 h 573"/>
              <a:gd name="T84" fmla="*/ 365 w 598"/>
              <a:gd name="T85" fmla="*/ 490 h 573"/>
              <a:gd name="T86" fmla="*/ 351 w 598"/>
              <a:gd name="T87" fmla="*/ 504 h 573"/>
              <a:gd name="T88" fmla="*/ 365 w 598"/>
              <a:gd name="T89" fmla="*/ 497 h 573"/>
              <a:gd name="T90" fmla="*/ 127 w 598"/>
              <a:gd name="T91" fmla="*/ 490 h 573"/>
              <a:gd name="T92" fmla="*/ 113 w 598"/>
              <a:gd name="T93" fmla="*/ 504 h 573"/>
              <a:gd name="T94" fmla="*/ 127 w 598"/>
              <a:gd name="T95" fmla="*/ 49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8" h="573">
                <a:moveTo>
                  <a:pt x="598" y="341"/>
                </a:moveTo>
                <a:lnTo>
                  <a:pt x="598" y="573"/>
                </a:lnTo>
                <a:lnTo>
                  <a:pt x="0" y="573"/>
                </a:lnTo>
                <a:lnTo>
                  <a:pt x="0" y="59"/>
                </a:lnTo>
                <a:lnTo>
                  <a:pt x="598" y="59"/>
                </a:lnTo>
                <a:lnTo>
                  <a:pt x="598" y="341"/>
                </a:lnTo>
                <a:moveTo>
                  <a:pt x="0" y="176"/>
                </a:moveTo>
                <a:lnTo>
                  <a:pt x="598" y="176"/>
                </a:lnTo>
                <a:moveTo>
                  <a:pt x="120" y="0"/>
                </a:moveTo>
                <a:lnTo>
                  <a:pt x="120" y="121"/>
                </a:lnTo>
                <a:moveTo>
                  <a:pt x="477" y="0"/>
                </a:moveTo>
                <a:lnTo>
                  <a:pt x="477" y="121"/>
                </a:lnTo>
                <a:moveTo>
                  <a:pt x="246" y="259"/>
                </a:moveTo>
                <a:lnTo>
                  <a:pt x="246" y="252"/>
                </a:lnTo>
                <a:lnTo>
                  <a:pt x="232" y="252"/>
                </a:lnTo>
                <a:lnTo>
                  <a:pt x="232" y="266"/>
                </a:lnTo>
                <a:lnTo>
                  <a:pt x="246" y="266"/>
                </a:lnTo>
                <a:lnTo>
                  <a:pt x="246" y="259"/>
                </a:lnTo>
                <a:moveTo>
                  <a:pt x="365" y="257"/>
                </a:moveTo>
                <a:lnTo>
                  <a:pt x="365" y="252"/>
                </a:lnTo>
                <a:lnTo>
                  <a:pt x="351" y="252"/>
                </a:lnTo>
                <a:lnTo>
                  <a:pt x="351" y="266"/>
                </a:lnTo>
                <a:lnTo>
                  <a:pt x="365" y="266"/>
                </a:lnTo>
                <a:lnTo>
                  <a:pt x="365" y="257"/>
                </a:lnTo>
                <a:moveTo>
                  <a:pt x="484" y="259"/>
                </a:moveTo>
                <a:lnTo>
                  <a:pt x="484" y="252"/>
                </a:lnTo>
                <a:lnTo>
                  <a:pt x="470" y="252"/>
                </a:lnTo>
                <a:lnTo>
                  <a:pt x="470" y="266"/>
                </a:lnTo>
                <a:lnTo>
                  <a:pt x="484" y="266"/>
                </a:lnTo>
                <a:lnTo>
                  <a:pt x="484" y="259"/>
                </a:lnTo>
                <a:moveTo>
                  <a:pt x="246" y="339"/>
                </a:moveTo>
                <a:lnTo>
                  <a:pt x="246" y="332"/>
                </a:lnTo>
                <a:lnTo>
                  <a:pt x="232" y="332"/>
                </a:lnTo>
                <a:lnTo>
                  <a:pt x="232" y="344"/>
                </a:lnTo>
                <a:lnTo>
                  <a:pt x="246" y="344"/>
                </a:lnTo>
                <a:lnTo>
                  <a:pt x="246" y="339"/>
                </a:lnTo>
                <a:moveTo>
                  <a:pt x="365" y="337"/>
                </a:moveTo>
                <a:lnTo>
                  <a:pt x="365" y="332"/>
                </a:lnTo>
                <a:lnTo>
                  <a:pt x="351" y="332"/>
                </a:lnTo>
                <a:lnTo>
                  <a:pt x="351" y="344"/>
                </a:lnTo>
                <a:lnTo>
                  <a:pt x="365" y="344"/>
                </a:lnTo>
                <a:lnTo>
                  <a:pt x="365" y="337"/>
                </a:lnTo>
                <a:moveTo>
                  <a:pt x="484" y="339"/>
                </a:moveTo>
                <a:lnTo>
                  <a:pt x="484" y="332"/>
                </a:lnTo>
                <a:lnTo>
                  <a:pt x="470" y="332"/>
                </a:lnTo>
                <a:lnTo>
                  <a:pt x="470" y="344"/>
                </a:lnTo>
                <a:lnTo>
                  <a:pt x="484" y="344"/>
                </a:lnTo>
                <a:lnTo>
                  <a:pt x="484" y="339"/>
                </a:lnTo>
                <a:moveTo>
                  <a:pt x="127" y="337"/>
                </a:moveTo>
                <a:lnTo>
                  <a:pt x="127" y="332"/>
                </a:lnTo>
                <a:lnTo>
                  <a:pt x="113" y="332"/>
                </a:lnTo>
                <a:lnTo>
                  <a:pt x="113" y="344"/>
                </a:lnTo>
                <a:lnTo>
                  <a:pt x="127" y="344"/>
                </a:lnTo>
                <a:lnTo>
                  <a:pt x="127" y="337"/>
                </a:lnTo>
                <a:moveTo>
                  <a:pt x="246" y="417"/>
                </a:moveTo>
                <a:lnTo>
                  <a:pt x="246" y="410"/>
                </a:lnTo>
                <a:lnTo>
                  <a:pt x="232" y="410"/>
                </a:lnTo>
                <a:lnTo>
                  <a:pt x="232" y="424"/>
                </a:lnTo>
                <a:lnTo>
                  <a:pt x="246" y="424"/>
                </a:lnTo>
                <a:lnTo>
                  <a:pt x="246" y="417"/>
                </a:lnTo>
                <a:moveTo>
                  <a:pt x="365" y="417"/>
                </a:moveTo>
                <a:lnTo>
                  <a:pt x="365" y="410"/>
                </a:lnTo>
                <a:lnTo>
                  <a:pt x="351" y="410"/>
                </a:lnTo>
                <a:lnTo>
                  <a:pt x="351" y="424"/>
                </a:lnTo>
                <a:lnTo>
                  <a:pt x="365" y="424"/>
                </a:lnTo>
                <a:lnTo>
                  <a:pt x="365" y="417"/>
                </a:lnTo>
                <a:moveTo>
                  <a:pt x="484" y="417"/>
                </a:moveTo>
                <a:lnTo>
                  <a:pt x="484" y="410"/>
                </a:lnTo>
                <a:lnTo>
                  <a:pt x="470" y="410"/>
                </a:lnTo>
                <a:lnTo>
                  <a:pt x="470" y="424"/>
                </a:lnTo>
                <a:lnTo>
                  <a:pt x="484" y="424"/>
                </a:lnTo>
                <a:lnTo>
                  <a:pt x="484" y="417"/>
                </a:lnTo>
                <a:moveTo>
                  <a:pt x="127" y="417"/>
                </a:moveTo>
                <a:lnTo>
                  <a:pt x="127" y="410"/>
                </a:lnTo>
                <a:lnTo>
                  <a:pt x="113" y="410"/>
                </a:lnTo>
                <a:lnTo>
                  <a:pt x="113" y="424"/>
                </a:lnTo>
                <a:lnTo>
                  <a:pt x="127" y="424"/>
                </a:lnTo>
                <a:lnTo>
                  <a:pt x="127" y="417"/>
                </a:lnTo>
                <a:moveTo>
                  <a:pt x="246" y="497"/>
                </a:moveTo>
                <a:lnTo>
                  <a:pt x="246" y="490"/>
                </a:lnTo>
                <a:lnTo>
                  <a:pt x="232" y="490"/>
                </a:lnTo>
                <a:lnTo>
                  <a:pt x="232" y="504"/>
                </a:lnTo>
                <a:lnTo>
                  <a:pt x="246" y="504"/>
                </a:lnTo>
                <a:lnTo>
                  <a:pt x="246" y="497"/>
                </a:lnTo>
                <a:moveTo>
                  <a:pt x="365" y="497"/>
                </a:moveTo>
                <a:lnTo>
                  <a:pt x="365" y="490"/>
                </a:lnTo>
                <a:lnTo>
                  <a:pt x="351" y="490"/>
                </a:lnTo>
                <a:lnTo>
                  <a:pt x="351" y="504"/>
                </a:lnTo>
                <a:lnTo>
                  <a:pt x="365" y="504"/>
                </a:lnTo>
                <a:lnTo>
                  <a:pt x="365" y="497"/>
                </a:lnTo>
                <a:moveTo>
                  <a:pt x="127" y="495"/>
                </a:moveTo>
                <a:lnTo>
                  <a:pt x="127" y="490"/>
                </a:lnTo>
                <a:lnTo>
                  <a:pt x="113" y="490"/>
                </a:lnTo>
                <a:lnTo>
                  <a:pt x="113" y="504"/>
                </a:lnTo>
                <a:lnTo>
                  <a:pt x="127" y="504"/>
                </a:lnTo>
                <a:lnTo>
                  <a:pt x="127" y="495"/>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1087779"/>
            <a:endParaRPr lang="en-US" sz="2199">
              <a:solidFill>
                <a:srgbClr val="505050"/>
              </a:solidFill>
              <a:latin typeface="Segoe UI"/>
            </a:endParaRPr>
          </a:p>
        </p:txBody>
      </p:sp>
      <p:sp>
        <p:nvSpPr>
          <p:cNvPr id="231" name="pizza" title="Icon of a slice of pizza">
            <a:extLst>
              <a:ext uri="{FF2B5EF4-FFF2-40B4-BE49-F238E27FC236}">
                <a16:creationId xmlns:a16="http://schemas.microsoft.com/office/drawing/2014/main" id="{D5C54106-66AA-47D0-AB87-A0AD451F38DC}"/>
              </a:ext>
            </a:extLst>
          </p:cNvPr>
          <p:cNvSpPr>
            <a:spLocks noChangeAspect="1" noEditPoints="1"/>
          </p:cNvSpPr>
          <p:nvPr/>
        </p:nvSpPr>
        <p:spPr bwMode="auto">
          <a:xfrm>
            <a:off x="9463782" y="2477344"/>
            <a:ext cx="232032" cy="311133"/>
          </a:xfrm>
          <a:custGeom>
            <a:avLst/>
            <a:gdLst>
              <a:gd name="T0" fmla="*/ 150 w 255"/>
              <a:gd name="T1" fmla="*/ 33 h 345"/>
              <a:gd name="T2" fmla="*/ 238 w 255"/>
              <a:gd name="T3" fmla="*/ 102 h 345"/>
              <a:gd name="T4" fmla="*/ 250 w 255"/>
              <a:gd name="T5" fmla="*/ 136 h 345"/>
              <a:gd name="T6" fmla="*/ 250 w 255"/>
              <a:gd name="T7" fmla="*/ 136 h 345"/>
              <a:gd name="T8" fmla="*/ 219 w 255"/>
              <a:gd name="T9" fmla="*/ 147 h 345"/>
              <a:gd name="T10" fmla="*/ 138 w 255"/>
              <a:gd name="T11" fmla="*/ 78 h 345"/>
              <a:gd name="T12" fmla="*/ 16 w 255"/>
              <a:gd name="T13" fmla="*/ 43 h 345"/>
              <a:gd name="T14" fmla="*/ 6 w 255"/>
              <a:gd name="T15" fmla="*/ 12 h 345"/>
              <a:gd name="T16" fmla="*/ 6 w 255"/>
              <a:gd name="T17" fmla="*/ 12 h 345"/>
              <a:gd name="T18" fmla="*/ 40 w 255"/>
              <a:gd name="T19" fmla="*/ 1 h 345"/>
              <a:gd name="T20" fmla="*/ 148 w 255"/>
              <a:gd name="T21" fmla="*/ 31 h 345"/>
              <a:gd name="T22" fmla="*/ 150 w 255"/>
              <a:gd name="T23" fmla="*/ 33 h 345"/>
              <a:gd name="T24" fmla="*/ 70 w 255"/>
              <a:gd name="T25" fmla="*/ 80 h 345"/>
              <a:gd name="T26" fmla="*/ 49 w 255"/>
              <a:gd name="T27" fmla="*/ 101 h 345"/>
              <a:gd name="T28" fmla="*/ 70 w 255"/>
              <a:gd name="T29" fmla="*/ 123 h 345"/>
              <a:gd name="T30" fmla="*/ 91 w 255"/>
              <a:gd name="T31" fmla="*/ 101 h 345"/>
              <a:gd name="T32" fmla="*/ 70 w 255"/>
              <a:gd name="T33" fmla="*/ 80 h 345"/>
              <a:gd name="T34" fmla="*/ 116 w 255"/>
              <a:gd name="T35" fmla="*/ 149 h 345"/>
              <a:gd name="T36" fmla="*/ 95 w 255"/>
              <a:gd name="T37" fmla="*/ 170 h 345"/>
              <a:gd name="T38" fmla="*/ 116 w 255"/>
              <a:gd name="T39" fmla="*/ 191 h 345"/>
              <a:gd name="T40" fmla="*/ 137 w 255"/>
              <a:gd name="T41" fmla="*/ 170 h 345"/>
              <a:gd name="T42" fmla="*/ 116 w 255"/>
              <a:gd name="T43" fmla="*/ 149 h 345"/>
              <a:gd name="T44" fmla="*/ 66 w 255"/>
              <a:gd name="T45" fmla="*/ 215 h 345"/>
              <a:gd name="T46" fmla="*/ 45 w 255"/>
              <a:gd name="T47" fmla="*/ 236 h 345"/>
              <a:gd name="T48" fmla="*/ 66 w 255"/>
              <a:gd name="T49" fmla="*/ 258 h 345"/>
              <a:gd name="T50" fmla="*/ 88 w 255"/>
              <a:gd name="T51" fmla="*/ 236 h 345"/>
              <a:gd name="T52" fmla="*/ 66 w 255"/>
              <a:gd name="T53" fmla="*/ 215 h 345"/>
              <a:gd name="T54" fmla="*/ 15 w 255"/>
              <a:gd name="T55" fmla="*/ 44 h 345"/>
              <a:gd name="T56" fmla="*/ 15 w 255"/>
              <a:gd name="T57" fmla="*/ 322 h 345"/>
              <a:gd name="T58" fmla="*/ 15 w 255"/>
              <a:gd name="T59" fmla="*/ 324 h 345"/>
              <a:gd name="T60" fmla="*/ 15 w 255"/>
              <a:gd name="T61" fmla="*/ 324 h 345"/>
              <a:gd name="T62" fmla="*/ 15 w 255"/>
              <a:gd name="T63" fmla="*/ 329 h 345"/>
              <a:gd name="T64" fmla="*/ 31 w 255"/>
              <a:gd name="T65" fmla="*/ 345 h 345"/>
              <a:gd name="T66" fmla="*/ 31 w 255"/>
              <a:gd name="T67" fmla="*/ 345 h 345"/>
              <a:gd name="T68" fmla="*/ 47 w 255"/>
              <a:gd name="T69" fmla="*/ 329 h 345"/>
              <a:gd name="T70" fmla="*/ 47 w 255"/>
              <a:gd name="T71" fmla="*/ 324 h 345"/>
              <a:gd name="T72" fmla="*/ 47 w 255"/>
              <a:gd name="T73" fmla="*/ 324 h 345"/>
              <a:gd name="T74" fmla="*/ 174 w 255"/>
              <a:gd name="T75" fmla="*/ 195 h 345"/>
              <a:gd name="T76" fmla="*/ 174 w 255"/>
              <a:gd name="T77" fmla="*/ 195 h 345"/>
              <a:gd name="T78" fmla="*/ 174 w 255"/>
              <a:gd name="T79" fmla="*/ 216 h 345"/>
              <a:gd name="T80" fmla="*/ 188 w 255"/>
              <a:gd name="T81" fmla="*/ 229 h 345"/>
              <a:gd name="T82" fmla="*/ 188 w 255"/>
              <a:gd name="T83" fmla="*/ 229 h 345"/>
              <a:gd name="T84" fmla="*/ 201 w 255"/>
              <a:gd name="T85" fmla="*/ 216 h 345"/>
              <a:gd name="T86" fmla="*/ 201 w 255"/>
              <a:gd name="T87" fmla="*/ 168 h 345"/>
              <a:gd name="T88" fmla="*/ 201 w 255"/>
              <a:gd name="T89" fmla="*/ 164 h 345"/>
              <a:gd name="T90" fmla="*/ 201 w 255"/>
              <a:gd name="T91" fmla="*/ 176 h 345"/>
              <a:gd name="T92" fmla="*/ 214 w 255"/>
              <a:gd name="T93" fmla="*/ 189 h 345"/>
              <a:gd name="T94" fmla="*/ 214 w 255"/>
              <a:gd name="T95" fmla="*/ 189 h 345"/>
              <a:gd name="T96" fmla="*/ 226 w 255"/>
              <a:gd name="T97" fmla="*/ 176 h 345"/>
              <a:gd name="T98" fmla="*/ 226 w 255"/>
              <a:gd name="T99" fmla="*/ 150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5" h="345">
                <a:moveTo>
                  <a:pt x="150" y="33"/>
                </a:moveTo>
                <a:cubicBezTo>
                  <a:pt x="215" y="68"/>
                  <a:pt x="238" y="102"/>
                  <a:pt x="238" y="102"/>
                </a:cubicBezTo>
                <a:cubicBezTo>
                  <a:pt x="249" y="116"/>
                  <a:pt x="255" y="124"/>
                  <a:pt x="250" y="136"/>
                </a:cubicBezTo>
                <a:cubicBezTo>
                  <a:pt x="250" y="136"/>
                  <a:pt x="250" y="136"/>
                  <a:pt x="250" y="136"/>
                </a:cubicBezTo>
                <a:cubicBezTo>
                  <a:pt x="244" y="147"/>
                  <a:pt x="228" y="156"/>
                  <a:pt x="219" y="147"/>
                </a:cubicBezTo>
                <a:cubicBezTo>
                  <a:pt x="204" y="136"/>
                  <a:pt x="183" y="104"/>
                  <a:pt x="138" y="78"/>
                </a:cubicBezTo>
                <a:cubicBezTo>
                  <a:pt x="90" y="50"/>
                  <a:pt x="26" y="46"/>
                  <a:pt x="16" y="43"/>
                </a:cubicBezTo>
                <a:cubicBezTo>
                  <a:pt x="5" y="41"/>
                  <a:pt x="0" y="23"/>
                  <a:pt x="6" y="12"/>
                </a:cubicBezTo>
                <a:cubicBezTo>
                  <a:pt x="6" y="12"/>
                  <a:pt x="6" y="12"/>
                  <a:pt x="6" y="12"/>
                </a:cubicBezTo>
                <a:cubicBezTo>
                  <a:pt x="12" y="0"/>
                  <a:pt x="23" y="1"/>
                  <a:pt x="40" y="1"/>
                </a:cubicBezTo>
                <a:cubicBezTo>
                  <a:pt x="40" y="1"/>
                  <a:pt x="81" y="0"/>
                  <a:pt x="148" y="31"/>
                </a:cubicBezTo>
                <a:cubicBezTo>
                  <a:pt x="148" y="32"/>
                  <a:pt x="150" y="32"/>
                  <a:pt x="150" y="33"/>
                </a:cubicBezTo>
                <a:close/>
                <a:moveTo>
                  <a:pt x="70" y="80"/>
                </a:moveTo>
                <a:cubicBezTo>
                  <a:pt x="58" y="80"/>
                  <a:pt x="49" y="89"/>
                  <a:pt x="49" y="101"/>
                </a:cubicBezTo>
                <a:cubicBezTo>
                  <a:pt x="49" y="113"/>
                  <a:pt x="58" y="123"/>
                  <a:pt x="70" y="123"/>
                </a:cubicBezTo>
                <a:cubicBezTo>
                  <a:pt x="82" y="123"/>
                  <a:pt x="91" y="113"/>
                  <a:pt x="91" y="101"/>
                </a:cubicBezTo>
                <a:cubicBezTo>
                  <a:pt x="91" y="89"/>
                  <a:pt x="82" y="80"/>
                  <a:pt x="70" y="80"/>
                </a:cubicBezTo>
                <a:close/>
                <a:moveTo>
                  <a:pt x="116" y="149"/>
                </a:moveTo>
                <a:cubicBezTo>
                  <a:pt x="104" y="149"/>
                  <a:pt x="95" y="158"/>
                  <a:pt x="95" y="170"/>
                </a:cubicBezTo>
                <a:cubicBezTo>
                  <a:pt x="95" y="182"/>
                  <a:pt x="104" y="191"/>
                  <a:pt x="116" y="191"/>
                </a:cubicBezTo>
                <a:cubicBezTo>
                  <a:pt x="128" y="191"/>
                  <a:pt x="137" y="182"/>
                  <a:pt x="137" y="170"/>
                </a:cubicBezTo>
                <a:cubicBezTo>
                  <a:pt x="137" y="158"/>
                  <a:pt x="128" y="149"/>
                  <a:pt x="116" y="149"/>
                </a:cubicBezTo>
                <a:close/>
                <a:moveTo>
                  <a:pt x="66" y="215"/>
                </a:moveTo>
                <a:cubicBezTo>
                  <a:pt x="54" y="215"/>
                  <a:pt x="45" y="224"/>
                  <a:pt x="45" y="236"/>
                </a:cubicBezTo>
                <a:cubicBezTo>
                  <a:pt x="45" y="248"/>
                  <a:pt x="54" y="258"/>
                  <a:pt x="66" y="258"/>
                </a:cubicBezTo>
                <a:cubicBezTo>
                  <a:pt x="78" y="258"/>
                  <a:pt x="88" y="248"/>
                  <a:pt x="88" y="236"/>
                </a:cubicBezTo>
                <a:cubicBezTo>
                  <a:pt x="88" y="224"/>
                  <a:pt x="78" y="215"/>
                  <a:pt x="66" y="215"/>
                </a:cubicBezTo>
                <a:close/>
                <a:moveTo>
                  <a:pt x="15" y="44"/>
                </a:moveTo>
                <a:cubicBezTo>
                  <a:pt x="15" y="322"/>
                  <a:pt x="15" y="322"/>
                  <a:pt x="15" y="322"/>
                </a:cubicBezTo>
                <a:cubicBezTo>
                  <a:pt x="15" y="322"/>
                  <a:pt x="15" y="323"/>
                  <a:pt x="15" y="324"/>
                </a:cubicBezTo>
                <a:cubicBezTo>
                  <a:pt x="15" y="324"/>
                  <a:pt x="15" y="324"/>
                  <a:pt x="15" y="324"/>
                </a:cubicBezTo>
                <a:cubicBezTo>
                  <a:pt x="15" y="329"/>
                  <a:pt x="15" y="329"/>
                  <a:pt x="15" y="329"/>
                </a:cubicBezTo>
                <a:cubicBezTo>
                  <a:pt x="15" y="338"/>
                  <a:pt x="22" y="345"/>
                  <a:pt x="31" y="345"/>
                </a:cubicBezTo>
                <a:cubicBezTo>
                  <a:pt x="31" y="345"/>
                  <a:pt x="31" y="345"/>
                  <a:pt x="31" y="345"/>
                </a:cubicBezTo>
                <a:cubicBezTo>
                  <a:pt x="40" y="345"/>
                  <a:pt x="47" y="338"/>
                  <a:pt x="47" y="329"/>
                </a:cubicBezTo>
                <a:cubicBezTo>
                  <a:pt x="47" y="324"/>
                  <a:pt x="47" y="324"/>
                  <a:pt x="47" y="324"/>
                </a:cubicBezTo>
                <a:cubicBezTo>
                  <a:pt x="47" y="324"/>
                  <a:pt x="47" y="324"/>
                  <a:pt x="47" y="324"/>
                </a:cubicBezTo>
                <a:cubicBezTo>
                  <a:pt x="54" y="317"/>
                  <a:pt x="174" y="195"/>
                  <a:pt x="174" y="195"/>
                </a:cubicBezTo>
                <a:cubicBezTo>
                  <a:pt x="174" y="195"/>
                  <a:pt x="174" y="195"/>
                  <a:pt x="174" y="195"/>
                </a:cubicBezTo>
                <a:cubicBezTo>
                  <a:pt x="174" y="216"/>
                  <a:pt x="174" y="216"/>
                  <a:pt x="174" y="216"/>
                </a:cubicBezTo>
                <a:cubicBezTo>
                  <a:pt x="174" y="223"/>
                  <a:pt x="180" y="229"/>
                  <a:pt x="188" y="229"/>
                </a:cubicBezTo>
                <a:cubicBezTo>
                  <a:pt x="188" y="229"/>
                  <a:pt x="188" y="229"/>
                  <a:pt x="188" y="229"/>
                </a:cubicBezTo>
                <a:cubicBezTo>
                  <a:pt x="195" y="229"/>
                  <a:pt x="201" y="223"/>
                  <a:pt x="201" y="216"/>
                </a:cubicBezTo>
                <a:cubicBezTo>
                  <a:pt x="201" y="168"/>
                  <a:pt x="201" y="168"/>
                  <a:pt x="201" y="168"/>
                </a:cubicBezTo>
                <a:cubicBezTo>
                  <a:pt x="201" y="164"/>
                  <a:pt x="201" y="164"/>
                  <a:pt x="201" y="164"/>
                </a:cubicBezTo>
                <a:moveTo>
                  <a:pt x="201" y="176"/>
                </a:moveTo>
                <a:cubicBezTo>
                  <a:pt x="201" y="183"/>
                  <a:pt x="207" y="189"/>
                  <a:pt x="214" y="189"/>
                </a:cubicBezTo>
                <a:cubicBezTo>
                  <a:pt x="214" y="189"/>
                  <a:pt x="214" y="189"/>
                  <a:pt x="214" y="189"/>
                </a:cubicBezTo>
                <a:cubicBezTo>
                  <a:pt x="221" y="189"/>
                  <a:pt x="226" y="183"/>
                  <a:pt x="226" y="176"/>
                </a:cubicBezTo>
                <a:cubicBezTo>
                  <a:pt x="226" y="150"/>
                  <a:pt x="226" y="150"/>
                  <a:pt x="226" y="150"/>
                </a:cubicBezTo>
              </a:path>
            </a:pathLst>
          </a:custGeom>
          <a:noFill/>
          <a:ln w="15875" cap="sq">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1087779"/>
            <a:endParaRPr lang="en-US" sz="2199">
              <a:solidFill>
                <a:srgbClr val="505050"/>
              </a:solidFill>
              <a:latin typeface="Segoe UI"/>
            </a:endParaRPr>
          </a:p>
        </p:txBody>
      </p:sp>
      <p:sp>
        <p:nvSpPr>
          <p:cNvPr id="233" name="house_2" title="Icon of a house with a street and a tree next to it">
            <a:extLst>
              <a:ext uri="{FF2B5EF4-FFF2-40B4-BE49-F238E27FC236}">
                <a16:creationId xmlns:a16="http://schemas.microsoft.com/office/drawing/2014/main" id="{23C235E2-DB20-48E7-8C10-9432A4A8F959}"/>
              </a:ext>
            </a:extLst>
          </p:cNvPr>
          <p:cNvSpPr>
            <a:spLocks noChangeAspect="1" noEditPoints="1"/>
          </p:cNvSpPr>
          <p:nvPr/>
        </p:nvSpPr>
        <p:spPr bwMode="auto">
          <a:xfrm>
            <a:off x="10910024" y="1180302"/>
            <a:ext cx="410263" cy="298810"/>
          </a:xfrm>
          <a:custGeom>
            <a:avLst/>
            <a:gdLst>
              <a:gd name="T0" fmla="*/ 3 w 311"/>
              <a:gd name="T1" fmla="*/ 226 h 226"/>
              <a:gd name="T2" fmla="*/ 311 w 311"/>
              <a:gd name="T3" fmla="*/ 226 h 226"/>
              <a:gd name="T4" fmla="*/ 308 w 311"/>
              <a:gd name="T5" fmla="*/ 98 h 226"/>
              <a:gd name="T6" fmla="*/ 218 w 311"/>
              <a:gd name="T7" fmla="*/ 8 h 226"/>
              <a:gd name="T8" fmla="*/ 129 w 311"/>
              <a:gd name="T9" fmla="*/ 98 h 226"/>
              <a:gd name="T10" fmla="*/ 146 w 311"/>
              <a:gd name="T11" fmla="*/ 80 h 226"/>
              <a:gd name="T12" fmla="*/ 146 w 311"/>
              <a:gd name="T13" fmla="*/ 184 h 226"/>
              <a:gd name="T14" fmla="*/ 187 w 311"/>
              <a:gd name="T15" fmla="*/ 184 h 226"/>
              <a:gd name="T16" fmla="*/ 187 w 311"/>
              <a:gd name="T17" fmla="*/ 124 h 226"/>
              <a:gd name="T18" fmla="*/ 249 w 311"/>
              <a:gd name="T19" fmla="*/ 124 h 226"/>
              <a:gd name="T20" fmla="*/ 249 w 311"/>
              <a:gd name="T21" fmla="*/ 184 h 226"/>
              <a:gd name="T22" fmla="*/ 290 w 311"/>
              <a:gd name="T23" fmla="*/ 184 h 226"/>
              <a:gd name="T24" fmla="*/ 290 w 311"/>
              <a:gd name="T25" fmla="*/ 80 h 226"/>
              <a:gd name="T26" fmla="*/ 43 w 311"/>
              <a:gd name="T27" fmla="*/ 0 h 226"/>
              <a:gd name="T28" fmla="*/ 0 w 311"/>
              <a:gd name="T29" fmla="*/ 75 h 226"/>
              <a:gd name="T30" fmla="*/ 43 w 311"/>
              <a:gd name="T31" fmla="*/ 122 h 226"/>
              <a:gd name="T32" fmla="*/ 85 w 311"/>
              <a:gd name="T33" fmla="*/ 75 h 226"/>
              <a:gd name="T34" fmla="*/ 43 w 311"/>
              <a:gd name="T35" fmla="*/ 0 h 226"/>
              <a:gd name="T36" fmla="*/ 43 w 311"/>
              <a:gd name="T37" fmla="*/ 122 h 226"/>
              <a:gd name="T38" fmla="*/ 43 w 311"/>
              <a:gd name="T39" fmla="*/ 184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1" h="226">
                <a:moveTo>
                  <a:pt x="3" y="226"/>
                </a:moveTo>
                <a:cubicBezTo>
                  <a:pt x="311" y="226"/>
                  <a:pt x="311" y="226"/>
                  <a:pt x="311" y="226"/>
                </a:cubicBezTo>
                <a:moveTo>
                  <a:pt x="308" y="98"/>
                </a:moveTo>
                <a:cubicBezTo>
                  <a:pt x="218" y="8"/>
                  <a:pt x="218" y="8"/>
                  <a:pt x="218" y="8"/>
                </a:cubicBezTo>
                <a:cubicBezTo>
                  <a:pt x="129" y="98"/>
                  <a:pt x="129" y="98"/>
                  <a:pt x="129" y="98"/>
                </a:cubicBezTo>
                <a:moveTo>
                  <a:pt x="146" y="80"/>
                </a:moveTo>
                <a:cubicBezTo>
                  <a:pt x="146" y="184"/>
                  <a:pt x="146" y="184"/>
                  <a:pt x="146" y="184"/>
                </a:cubicBezTo>
                <a:cubicBezTo>
                  <a:pt x="187" y="184"/>
                  <a:pt x="187" y="184"/>
                  <a:pt x="187" y="184"/>
                </a:cubicBezTo>
                <a:cubicBezTo>
                  <a:pt x="187" y="124"/>
                  <a:pt x="187" y="124"/>
                  <a:pt x="187" y="124"/>
                </a:cubicBezTo>
                <a:cubicBezTo>
                  <a:pt x="249" y="124"/>
                  <a:pt x="249" y="124"/>
                  <a:pt x="249" y="124"/>
                </a:cubicBezTo>
                <a:cubicBezTo>
                  <a:pt x="249" y="184"/>
                  <a:pt x="249" y="184"/>
                  <a:pt x="249" y="184"/>
                </a:cubicBezTo>
                <a:cubicBezTo>
                  <a:pt x="290" y="184"/>
                  <a:pt x="290" y="184"/>
                  <a:pt x="290" y="184"/>
                </a:cubicBezTo>
                <a:cubicBezTo>
                  <a:pt x="290" y="80"/>
                  <a:pt x="290" y="80"/>
                  <a:pt x="290" y="80"/>
                </a:cubicBezTo>
                <a:moveTo>
                  <a:pt x="43" y="0"/>
                </a:moveTo>
                <a:cubicBezTo>
                  <a:pt x="27" y="0"/>
                  <a:pt x="0" y="48"/>
                  <a:pt x="0" y="75"/>
                </a:cubicBezTo>
                <a:cubicBezTo>
                  <a:pt x="0" y="101"/>
                  <a:pt x="19" y="122"/>
                  <a:pt x="43" y="122"/>
                </a:cubicBezTo>
                <a:cubicBezTo>
                  <a:pt x="66" y="122"/>
                  <a:pt x="85" y="101"/>
                  <a:pt x="85" y="75"/>
                </a:cubicBezTo>
                <a:cubicBezTo>
                  <a:pt x="85" y="48"/>
                  <a:pt x="58" y="0"/>
                  <a:pt x="43" y="0"/>
                </a:cubicBezTo>
                <a:close/>
                <a:moveTo>
                  <a:pt x="43" y="122"/>
                </a:moveTo>
                <a:cubicBezTo>
                  <a:pt x="43" y="184"/>
                  <a:pt x="43" y="184"/>
                  <a:pt x="43" y="184"/>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1087779"/>
            <a:endParaRPr lang="en-US" sz="2199" dirty="0">
              <a:solidFill>
                <a:srgbClr val="505050"/>
              </a:solidFill>
              <a:latin typeface="Segoe UI"/>
            </a:endParaRPr>
          </a:p>
        </p:txBody>
      </p:sp>
      <p:sp>
        <p:nvSpPr>
          <p:cNvPr id="69" name="people_12" title="Icon of three people">
            <a:extLst>
              <a:ext uri="{FF2B5EF4-FFF2-40B4-BE49-F238E27FC236}">
                <a16:creationId xmlns:a16="http://schemas.microsoft.com/office/drawing/2014/main" id="{92835C63-BE16-4243-AA92-6642B733C474}"/>
              </a:ext>
            </a:extLst>
          </p:cNvPr>
          <p:cNvSpPr>
            <a:spLocks noChangeAspect="1" noEditPoints="1"/>
          </p:cNvSpPr>
          <p:nvPr/>
        </p:nvSpPr>
        <p:spPr bwMode="auto">
          <a:xfrm>
            <a:off x="4384709" y="3427257"/>
            <a:ext cx="428592" cy="365665"/>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defTabSz="1087779"/>
            <a:endParaRPr lang="en-US" sz="2199" dirty="0">
              <a:solidFill>
                <a:srgbClr val="505050"/>
              </a:solidFill>
              <a:latin typeface="Segoe UI"/>
            </a:endParaRPr>
          </a:p>
        </p:txBody>
      </p:sp>
      <p:grpSp>
        <p:nvGrpSpPr>
          <p:cNvPr id="70" name="Group 69">
            <a:extLst>
              <a:ext uri="{FF2B5EF4-FFF2-40B4-BE49-F238E27FC236}">
                <a16:creationId xmlns:a16="http://schemas.microsoft.com/office/drawing/2014/main" id="{B426A3EE-A6C2-44CA-A962-C845D4A356DC}"/>
              </a:ext>
            </a:extLst>
          </p:cNvPr>
          <p:cNvGrpSpPr/>
          <p:nvPr/>
        </p:nvGrpSpPr>
        <p:grpSpPr>
          <a:xfrm>
            <a:off x="8497393" y="3124786"/>
            <a:ext cx="201185" cy="350622"/>
            <a:chOff x="3136182" y="3947908"/>
            <a:chExt cx="201237" cy="350713"/>
          </a:xfrm>
        </p:grpSpPr>
        <p:sp>
          <p:nvSpPr>
            <p:cNvPr id="71" name="Round Same Side Corner Rectangle 2">
              <a:extLst>
                <a:ext uri="{FF2B5EF4-FFF2-40B4-BE49-F238E27FC236}">
                  <a16:creationId xmlns:a16="http://schemas.microsoft.com/office/drawing/2014/main" id="{24344957-4F60-43C6-AA8C-38032D125436}"/>
                </a:ext>
              </a:extLst>
            </p:cNvPr>
            <p:cNvSpPr>
              <a:spLocks noChangeAspect="1"/>
            </p:cNvSpPr>
            <p:nvPr/>
          </p:nvSpPr>
          <p:spPr>
            <a:xfrm>
              <a:off x="3136182" y="3947908"/>
              <a:ext cx="201237" cy="350713"/>
            </a:xfrm>
            <a:custGeom>
              <a:avLst/>
              <a:gdLst/>
              <a:ahLst/>
              <a:cxnLst/>
              <a:rect l="l" t="t" r="r" b="b"/>
              <a:pathLst>
                <a:path w="639317" h="1296147">
                  <a:moveTo>
                    <a:pt x="319659" y="1176926"/>
                  </a:moveTo>
                  <a:cubicBezTo>
                    <a:pt x="302977" y="1176926"/>
                    <a:pt x="289454" y="1190449"/>
                    <a:pt x="289454" y="1207131"/>
                  </a:cubicBezTo>
                  <a:cubicBezTo>
                    <a:pt x="289454" y="1223812"/>
                    <a:pt x="302977" y="1237335"/>
                    <a:pt x="319659" y="1237335"/>
                  </a:cubicBezTo>
                  <a:cubicBezTo>
                    <a:pt x="336340" y="1237335"/>
                    <a:pt x="349863" y="1223812"/>
                    <a:pt x="349863" y="1207131"/>
                  </a:cubicBezTo>
                  <a:cubicBezTo>
                    <a:pt x="349863" y="1190449"/>
                    <a:pt x="336340" y="1176926"/>
                    <a:pt x="319659" y="1176926"/>
                  </a:cubicBezTo>
                  <a:close/>
                  <a:moveTo>
                    <a:pt x="66614" y="178851"/>
                  </a:moveTo>
                  <a:lnTo>
                    <a:pt x="66614" y="1092553"/>
                  </a:lnTo>
                  <a:lnTo>
                    <a:pt x="79934" y="1092553"/>
                  </a:lnTo>
                  <a:lnTo>
                    <a:pt x="79934" y="1094228"/>
                  </a:lnTo>
                  <a:lnTo>
                    <a:pt x="518084" y="1094228"/>
                  </a:lnTo>
                  <a:lnTo>
                    <a:pt x="518084" y="1092553"/>
                  </a:lnTo>
                  <a:lnTo>
                    <a:pt x="572703" y="1092553"/>
                  </a:lnTo>
                  <a:lnTo>
                    <a:pt x="572703" y="178851"/>
                  </a:lnTo>
                  <a:close/>
                  <a:moveTo>
                    <a:pt x="240430" y="73898"/>
                  </a:moveTo>
                  <a:cubicBezTo>
                    <a:pt x="234747" y="73898"/>
                    <a:pt x="230141" y="78505"/>
                    <a:pt x="230141" y="84188"/>
                  </a:cubicBezTo>
                  <a:cubicBezTo>
                    <a:pt x="230141" y="89870"/>
                    <a:pt x="234747" y="94477"/>
                    <a:pt x="240430" y="94477"/>
                  </a:cubicBezTo>
                  <a:lnTo>
                    <a:pt x="398887" y="94478"/>
                  </a:lnTo>
                  <a:cubicBezTo>
                    <a:pt x="404570" y="94478"/>
                    <a:pt x="409177" y="89871"/>
                    <a:pt x="409177" y="84188"/>
                  </a:cubicBezTo>
                  <a:lnTo>
                    <a:pt x="409177" y="84188"/>
                  </a:lnTo>
                  <a:cubicBezTo>
                    <a:pt x="409177" y="78505"/>
                    <a:pt x="404571" y="73898"/>
                    <a:pt x="398888" y="73898"/>
                  </a:cubicBezTo>
                  <a:close/>
                  <a:moveTo>
                    <a:pt x="313485" y="119"/>
                  </a:moveTo>
                  <a:cubicBezTo>
                    <a:pt x="467512" y="-2326"/>
                    <a:pt x="623597" y="32935"/>
                    <a:pt x="639317" y="113230"/>
                  </a:cubicBezTo>
                  <a:lnTo>
                    <a:pt x="639317" y="540401"/>
                  </a:lnTo>
                  <a:lnTo>
                    <a:pt x="639317" y="755746"/>
                  </a:lnTo>
                  <a:lnTo>
                    <a:pt x="639317" y="1182917"/>
                  </a:lnTo>
                  <a:cubicBezTo>
                    <a:pt x="607877" y="1343508"/>
                    <a:pt x="14977" y="1323958"/>
                    <a:pt x="0" y="1182917"/>
                  </a:cubicBezTo>
                  <a:lnTo>
                    <a:pt x="0" y="755746"/>
                  </a:lnTo>
                  <a:lnTo>
                    <a:pt x="0" y="540401"/>
                  </a:lnTo>
                  <a:lnTo>
                    <a:pt x="0" y="113230"/>
                  </a:lnTo>
                  <a:cubicBezTo>
                    <a:pt x="7489" y="42710"/>
                    <a:pt x="159458" y="2562"/>
                    <a:pt x="313485" y="119"/>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2"/>
              <a:endParaRPr lang="en-US" sz="1798" kern="0">
                <a:solidFill>
                  <a:sysClr val="windowText" lastClr="000000"/>
                </a:solidFill>
                <a:latin typeface="Segoe UI"/>
              </a:endParaRPr>
            </a:p>
          </p:txBody>
        </p:sp>
        <p:sp>
          <p:nvSpPr>
            <p:cNvPr id="72" name="Donut 3">
              <a:extLst>
                <a:ext uri="{FF2B5EF4-FFF2-40B4-BE49-F238E27FC236}">
                  <a16:creationId xmlns:a16="http://schemas.microsoft.com/office/drawing/2014/main" id="{C3C20188-BD64-4EBA-950C-B6ABA1CD2E31}"/>
                </a:ext>
              </a:extLst>
            </p:cNvPr>
            <p:cNvSpPr/>
            <p:nvPr/>
          </p:nvSpPr>
          <p:spPr bwMode="auto">
            <a:xfrm flipH="1">
              <a:off x="3174602" y="4076961"/>
              <a:ext cx="142860" cy="121644"/>
            </a:xfrm>
            <a:custGeom>
              <a:avLst/>
              <a:gdLst/>
              <a:ahLst/>
              <a:cxnLst/>
              <a:rect l="l" t="t" r="r" b="b"/>
              <a:pathLst>
                <a:path w="1409956" h="1291077">
                  <a:moveTo>
                    <a:pt x="956401" y="78410"/>
                  </a:moveTo>
                  <a:cubicBezTo>
                    <a:pt x="747518" y="78410"/>
                    <a:pt x="578184" y="247744"/>
                    <a:pt x="578184" y="456627"/>
                  </a:cubicBezTo>
                  <a:cubicBezTo>
                    <a:pt x="578184" y="665510"/>
                    <a:pt x="747518" y="834844"/>
                    <a:pt x="956401" y="834844"/>
                  </a:cubicBezTo>
                  <a:cubicBezTo>
                    <a:pt x="1165284" y="834844"/>
                    <a:pt x="1334618" y="665510"/>
                    <a:pt x="1334618" y="456627"/>
                  </a:cubicBezTo>
                  <a:cubicBezTo>
                    <a:pt x="1334618" y="247744"/>
                    <a:pt x="1165284" y="78410"/>
                    <a:pt x="956401" y="78410"/>
                  </a:cubicBezTo>
                  <a:close/>
                  <a:moveTo>
                    <a:pt x="952756" y="0"/>
                  </a:moveTo>
                  <a:cubicBezTo>
                    <a:pt x="1205261" y="0"/>
                    <a:pt x="1409956" y="204695"/>
                    <a:pt x="1409956" y="457200"/>
                  </a:cubicBezTo>
                  <a:cubicBezTo>
                    <a:pt x="1409956" y="709705"/>
                    <a:pt x="1205261" y="914400"/>
                    <a:pt x="952756" y="914400"/>
                  </a:cubicBezTo>
                  <a:cubicBezTo>
                    <a:pt x="862133" y="914400"/>
                    <a:pt x="777669" y="888034"/>
                    <a:pt x="707132" y="841746"/>
                  </a:cubicBezTo>
                  <a:lnTo>
                    <a:pt x="136495" y="1280102"/>
                  </a:lnTo>
                  <a:cubicBezTo>
                    <a:pt x="21896" y="1327168"/>
                    <a:pt x="-44029" y="1213730"/>
                    <a:pt x="33797" y="1113182"/>
                  </a:cubicBezTo>
                  <a:lnTo>
                    <a:pt x="568587" y="703518"/>
                  </a:lnTo>
                  <a:cubicBezTo>
                    <a:pt x="522087" y="632814"/>
                    <a:pt x="495556" y="548105"/>
                    <a:pt x="495556" y="457200"/>
                  </a:cubicBezTo>
                  <a:cubicBezTo>
                    <a:pt x="495556" y="204695"/>
                    <a:pt x="700251" y="0"/>
                    <a:pt x="952756" y="0"/>
                  </a:cubicBez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392" tIns="45696" rIns="45696" bIns="9139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551" fontAlgn="base">
                <a:spcBef>
                  <a:spcPct val="0"/>
                </a:spcBef>
                <a:spcAft>
                  <a:spcPct val="0"/>
                </a:spcAft>
              </a:pPr>
              <a:endParaRPr lang="en-US" sz="1798" spc="-5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pic>
        <p:nvPicPr>
          <p:cNvPr id="73" name="Picture 5" descr="\\MAGNUM\Projects\Microsoft\Cloud Power FY12\Design\Icons\PNGs\Truck.png">
            <a:extLst>
              <a:ext uri="{FF2B5EF4-FFF2-40B4-BE49-F238E27FC236}">
                <a16:creationId xmlns:a16="http://schemas.microsoft.com/office/drawing/2014/main" id="{7948C1EC-E386-499A-AA72-D7F462C61B74}"/>
              </a:ext>
            </a:extLst>
          </p:cNvPr>
          <p:cNvPicPr>
            <a:picLocks noChangeAspect="1" noChangeArrowheads="1"/>
          </p:cNvPicPr>
          <p:nvPr/>
        </p:nvPicPr>
        <p:blipFill>
          <a:blip r:embed="rId7" cstate="print">
            <a:duotone>
              <a:prstClr val="black"/>
              <a:schemeClr val="accent5">
                <a:tint val="45000"/>
                <a:satMod val="400000"/>
              </a:schemeClr>
            </a:duotone>
            <a:extLst>
              <a:ext uri="{BEBA8EAE-BF5A-486C-A8C5-ECC9F3942E4B}">
                <a14:imgProps xmlns:a14="http://schemas.microsoft.com/office/drawing/2010/main">
                  <a14:imgLayer r:embed="rId8">
                    <a14:imgEffect>
                      <a14:brightnessContrast bright="-31000" contrast="-40000"/>
                    </a14:imgEffect>
                  </a14:imgLayer>
                </a14:imgProps>
              </a:ext>
              <a:ext uri="{28A0092B-C50C-407E-A947-70E740481C1C}">
                <a14:useLocalDpi xmlns:a14="http://schemas.microsoft.com/office/drawing/2010/main"/>
              </a:ext>
            </a:extLst>
          </a:blip>
          <a:stretch>
            <a:fillRect/>
          </a:stretch>
        </p:blipFill>
        <p:spPr bwMode="auto">
          <a:xfrm>
            <a:off x="8961681" y="2421938"/>
            <a:ext cx="521461" cy="521461"/>
          </a:xfrm>
          <a:prstGeom prst="rect">
            <a:avLst/>
          </a:prstGeom>
          <a:noFill/>
        </p:spPr>
      </p:pic>
    </p:spTree>
    <p:extLst>
      <p:ext uri="{BB962C8B-B14F-4D97-AF65-F5344CB8AC3E}">
        <p14:creationId xmlns:p14="http://schemas.microsoft.com/office/powerpoint/2010/main" val="35242267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7" y="2481"/>
          <a:ext cx="1587" cy="1587"/>
        </p:xfrm>
        <a:graphic>
          <a:graphicData uri="http://schemas.openxmlformats.org/presentationml/2006/ole">
            <mc:AlternateContent xmlns:mc="http://schemas.openxmlformats.org/markup-compatibility/2006">
              <mc:Choice xmlns:v="urn:schemas-microsoft-com:vml" Requires="v">
                <p:oleObj spid="_x0000_s88068" name="think-cell Slide" r:id="rId9" imgW="378" imgH="377" progId="TCLayout.ActiveDocument.1">
                  <p:embed/>
                </p:oleObj>
              </mc:Choice>
              <mc:Fallback>
                <p:oleObj name="think-cell Slide" r:id="rId9" imgW="378" imgH="377" progId="TCLayout.ActiveDocument.1">
                  <p:embed/>
                  <p:pic>
                    <p:nvPicPr>
                      <p:cNvPr id="26" name="Object 25" hidden="1"/>
                      <p:cNvPicPr/>
                      <p:nvPr/>
                    </p:nvPicPr>
                    <p:blipFill>
                      <a:blip r:embed="rId10"/>
                      <a:stretch>
                        <a:fillRect/>
                      </a:stretch>
                    </p:blipFill>
                    <p:spPr>
                      <a:xfrm>
                        <a:off x="1587" y="2481"/>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Digital Transformation Approach</a:t>
            </a:r>
            <a:endParaRPr lang="en-IN"/>
          </a:p>
        </p:txBody>
      </p:sp>
      <p:sp>
        <p:nvSpPr>
          <p:cNvPr id="14" name="Rectangle 13"/>
          <p:cNvSpPr/>
          <p:nvPr>
            <p:custDataLst>
              <p:tags r:id="rId3"/>
            </p:custDataLst>
          </p:nvPr>
        </p:nvSpPr>
        <p:spPr>
          <a:xfrm>
            <a:off x="1931528" y="1264967"/>
            <a:ext cx="2058783" cy="4335408"/>
          </a:xfrm>
          <a:prstGeom prst="rect">
            <a:avLst/>
          </a:prstGeom>
          <a:solidFill>
            <a:schemeClr val="tx2"/>
          </a:solidFill>
          <a:ln w="25400" cap="flat" cmpd="sng" algn="ctr">
            <a:noFill/>
            <a:prstDash val="solid"/>
          </a:ln>
          <a:effectLst/>
        </p:spPr>
        <p:txBody>
          <a:bodyPr lIns="91416" tIns="457081" rIns="91416" bIns="45708" rtlCol="0" anchor="t">
            <a:noAutofit/>
          </a:bodyPr>
          <a:lstStyle/>
          <a:p>
            <a:pPr algn="ctr" defTabSz="907838">
              <a:defRPr/>
            </a:pPr>
            <a:r>
              <a:rPr lang="en-US" sz="2399" b="1">
                <a:solidFill>
                  <a:prstClr val="white"/>
                </a:solidFill>
                <a:latin typeface="Segoe UI Light"/>
                <a:cs typeface="Segoe UI Semibold" panose="020B0702040204020203" pitchFamily="34" charset="0"/>
              </a:rPr>
              <a:t>Engage Your Customers</a:t>
            </a:r>
          </a:p>
        </p:txBody>
      </p:sp>
      <p:sp>
        <p:nvSpPr>
          <p:cNvPr id="17" name="Rectangle 16"/>
          <p:cNvSpPr/>
          <p:nvPr>
            <p:custDataLst>
              <p:tags r:id="rId4"/>
            </p:custDataLst>
          </p:nvPr>
        </p:nvSpPr>
        <p:spPr>
          <a:xfrm>
            <a:off x="4054965" y="1261670"/>
            <a:ext cx="2058783" cy="4335408"/>
          </a:xfrm>
          <a:prstGeom prst="rect">
            <a:avLst/>
          </a:prstGeom>
          <a:solidFill>
            <a:schemeClr val="tx2"/>
          </a:solidFill>
          <a:ln w="25400" cap="flat" cmpd="sng" algn="ctr">
            <a:noFill/>
            <a:prstDash val="solid"/>
          </a:ln>
          <a:effectLst/>
        </p:spPr>
        <p:txBody>
          <a:bodyPr lIns="91416" tIns="457081" rIns="91416" bIns="45708" rtlCol="0" anchor="t">
            <a:noAutofit/>
          </a:bodyPr>
          <a:lstStyle/>
          <a:p>
            <a:pPr algn="ctr" defTabSz="907838">
              <a:defRPr/>
            </a:pPr>
            <a:r>
              <a:rPr lang="en-US" sz="2399" b="1">
                <a:solidFill>
                  <a:prstClr val="white"/>
                </a:solidFill>
                <a:latin typeface="Segoe UI Light"/>
                <a:cs typeface="Segoe UI Semibold" panose="020B0702040204020203" pitchFamily="34" charset="0"/>
              </a:rPr>
              <a:t>Empower Your Employees</a:t>
            </a:r>
          </a:p>
        </p:txBody>
      </p:sp>
      <p:sp>
        <p:nvSpPr>
          <p:cNvPr id="20" name="Rectangle 19"/>
          <p:cNvSpPr/>
          <p:nvPr>
            <p:custDataLst>
              <p:tags r:id="rId5"/>
            </p:custDataLst>
          </p:nvPr>
        </p:nvSpPr>
        <p:spPr>
          <a:xfrm>
            <a:off x="6178402" y="1264967"/>
            <a:ext cx="2119289" cy="4335408"/>
          </a:xfrm>
          <a:prstGeom prst="rect">
            <a:avLst/>
          </a:prstGeom>
          <a:solidFill>
            <a:schemeClr val="tx2"/>
          </a:solidFill>
          <a:ln w="25400" cap="flat" cmpd="sng" algn="ctr">
            <a:noFill/>
            <a:prstDash val="solid"/>
          </a:ln>
          <a:effectLst/>
        </p:spPr>
        <p:txBody>
          <a:bodyPr lIns="91416" tIns="457081" rIns="91416" bIns="45708" rtlCol="0" anchor="t">
            <a:noAutofit/>
          </a:bodyPr>
          <a:lstStyle/>
          <a:p>
            <a:pPr algn="ctr" defTabSz="907838">
              <a:defRPr/>
            </a:pPr>
            <a:r>
              <a:rPr lang="en-IN" sz="2399" b="1">
                <a:solidFill>
                  <a:prstClr val="white"/>
                </a:solidFill>
                <a:latin typeface="Segoe UI Light"/>
                <a:cs typeface="Segoe UI Semibold" panose="020B0702040204020203" pitchFamily="34" charset="0"/>
              </a:rPr>
              <a:t>Optimize Your Operations</a:t>
            </a:r>
          </a:p>
        </p:txBody>
      </p:sp>
      <p:sp>
        <p:nvSpPr>
          <p:cNvPr id="24" name="Rectangle 23"/>
          <p:cNvSpPr/>
          <p:nvPr>
            <p:custDataLst>
              <p:tags r:id="rId6"/>
            </p:custDataLst>
          </p:nvPr>
        </p:nvSpPr>
        <p:spPr>
          <a:xfrm>
            <a:off x="8362345" y="1261670"/>
            <a:ext cx="2119289" cy="4335408"/>
          </a:xfrm>
          <a:prstGeom prst="rect">
            <a:avLst/>
          </a:prstGeom>
          <a:solidFill>
            <a:schemeClr val="tx2"/>
          </a:solidFill>
          <a:ln w="25400" cap="flat" cmpd="sng" algn="ctr">
            <a:noFill/>
            <a:prstDash val="solid"/>
          </a:ln>
          <a:effectLst/>
        </p:spPr>
        <p:txBody>
          <a:bodyPr lIns="91416" tIns="457081" rIns="91416" bIns="45708" rtlCol="0" anchor="t">
            <a:noAutofit/>
          </a:bodyPr>
          <a:lstStyle/>
          <a:p>
            <a:pPr algn="ctr" defTabSz="907838">
              <a:defRPr/>
            </a:pPr>
            <a:r>
              <a:rPr lang="en-US" sz="2399" b="1">
                <a:solidFill>
                  <a:prstClr val="white"/>
                </a:solidFill>
                <a:latin typeface="Segoe UI Light"/>
                <a:cs typeface="Segoe UI Semibold" panose="020B0702040204020203" pitchFamily="34" charset="0"/>
              </a:rPr>
              <a:t>Transform Your Products</a:t>
            </a:r>
            <a:endParaRPr lang="en-IN" sz="2399" b="1">
              <a:solidFill>
                <a:prstClr val="white"/>
              </a:solidFill>
              <a:latin typeface="Segoe UI Light"/>
              <a:cs typeface="Segoe UI Semibold" panose="020B0702040204020203" pitchFamily="34" charset="0"/>
            </a:endParaRPr>
          </a:p>
        </p:txBody>
      </p:sp>
      <p:grpSp>
        <p:nvGrpSpPr>
          <p:cNvPr id="9" name="Group 8"/>
          <p:cNvGrpSpPr/>
          <p:nvPr/>
        </p:nvGrpSpPr>
        <p:grpSpPr>
          <a:xfrm>
            <a:off x="2540366" y="4406360"/>
            <a:ext cx="1072854" cy="702970"/>
            <a:chOff x="-927099" y="4183614"/>
            <a:chExt cx="1847325" cy="1210430"/>
          </a:xfrm>
          <a:solidFill>
            <a:schemeClr val="bg1"/>
          </a:solidFill>
        </p:grpSpPr>
        <p:sp>
          <p:nvSpPr>
            <p:cNvPr id="10" name="Round Same Side Corner Rectangle 2"/>
            <p:cNvSpPr/>
            <p:nvPr/>
          </p:nvSpPr>
          <p:spPr>
            <a:xfrm>
              <a:off x="-774700" y="4183614"/>
              <a:ext cx="275129" cy="513123"/>
            </a:xfrm>
            <a:custGeom>
              <a:avLst/>
              <a:gdLst/>
              <a:ahLst/>
              <a:cxnLst/>
              <a:rect l="l" t="t" r="r" b="b"/>
              <a:pathLst>
                <a:path w="1479550" h="2999631">
                  <a:moveTo>
                    <a:pt x="739775" y="2723722"/>
                  </a:moveTo>
                  <a:cubicBezTo>
                    <a:pt x="701170" y="2723722"/>
                    <a:pt x="669874" y="2755018"/>
                    <a:pt x="669874" y="2793623"/>
                  </a:cubicBezTo>
                  <a:cubicBezTo>
                    <a:pt x="669874" y="2832228"/>
                    <a:pt x="701170" y="2863524"/>
                    <a:pt x="739775" y="2863524"/>
                  </a:cubicBezTo>
                  <a:cubicBezTo>
                    <a:pt x="778380" y="2863524"/>
                    <a:pt x="809676" y="2832228"/>
                    <a:pt x="809676" y="2793623"/>
                  </a:cubicBezTo>
                  <a:cubicBezTo>
                    <a:pt x="809676" y="2755018"/>
                    <a:pt x="778380" y="2723722"/>
                    <a:pt x="739775" y="2723722"/>
                  </a:cubicBezTo>
                  <a:close/>
                  <a:moveTo>
                    <a:pt x="201613" y="1629933"/>
                  </a:moveTo>
                  <a:lnTo>
                    <a:pt x="1123848" y="1629933"/>
                  </a:lnTo>
                  <a:lnTo>
                    <a:pt x="1123848" y="2058558"/>
                  </a:lnTo>
                  <a:lnTo>
                    <a:pt x="201613" y="2058558"/>
                  </a:lnTo>
                  <a:close/>
                  <a:moveTo>
                    <a:pt x="685698" y="1155271"/>
                  </a:moveTo>
                  <a:lnTo>
                    <a:pt x="1123848" y="1155271"/>
                  </a:lnTo>
                  <a:lnTo>
                    <a:pt x="1123848" y="1583896"/>
                  </a:lnTo>
                  <a:lnTo>
                    <a:pt x="685698" y="1583896"/>
                  </a:lnTo>
                  <a:close/>
                  <a:moveTo>
                    <a:pt x="201613" y="1155271"/>
                  </a:moveTo>
                  <a:lnTo>
                    <a:pt x="639763" y="1155271"/>
                  </a:lnTo>
                  <a:lnTo>
                    <a:pt x="639763" y="1583896"/>
                  </a:lnTo>
                  <a:lnTo>
                    <a:pt x="201613" y="1583896"/>
                  </a:lnTo>
                  <a:close/>
                  <a:moveTo>
                    <a:pt x="685698" y="680609"/>
                  </a:moveTo>
                  <a:lnTo>
                    <a:pt x="1123848" y="680609"/>
                  </a:lnTo>
                  <a:lnTo>
                    <a:pt x="1123848" y="1109234"/>
                  </a:lnTo>
                  <a:lnTo>
                    <a:pt x="685698" y="1109234"/>
                  </a:lnTo>
                  <a:close/>
                  <a:moveTo>
                    <a:pt x="201613" y="680609"/>
                  </a:moveTo>
                  <a:lnTo>
                    <a:pt x="639763" y="680609"/>
                  </a:lnTo>
                  <a:lnTo>
                    <a:pt x="639763" y="1109234"/>
                  </a:lnTo>
                  <a:lnTo>
                    <a:pt x="201613" y="1109234"/>
                  </a:lnTo>
                  <a:close/>
                  <a:moveTo>
                    <a:pt x="154163" y="413909"/>
                  </a:moveTo>
                  <a:lnTo>
                    <a:pt x="154163" y="2528459"/>
                  </a:lnTo>
                  <a:lnTo>
                    <a:pt x="201613" y="2528459"/>
                  </a:lnTo>
                  <a:lnTo>
                    <a:pt x="201613" y="2104596"/>
                  </a:lnTo>
                  <a:lnTo>
                    <a:pt x="639763" y="2104596"/>
                  </a:lnTo>
                  <a:lnTo>
                    <a:pt x="639763" y="2528459"/>
                  </a:lnTo>
                  <a:lnTo>
                    <a:pt x="685698" y="2528459"/>
                  </a:lnTo>
                  <a:lnTo>
                    <a:pt x="685698" y="2104596"/>
                  </a:lnTo>
                  <a:lnTo>
                    <a:pt x="1123848" y="2104596"/>
                  </a:lnTo>
                  <a:lnTo>
                    <a:pt x="1123848" y="2528459"/>
                  </a:lnTo>
                  <a:lnTo>
                    <a:pt x="1325388" y="2528459"/>
                  </a:lnTo>
                  <a:lnTo>
                    <a:pt x="1325388" y="413909"/>
                  </a:lnTo>
                  <a:close/>
                  <a:moveTo>
                    <a:pt x="556419" y="171020"/>
                  </a:moveTo>
                  <a:cubicBezTo>
                    <a:pt x="543267" y="171020"/>
                    <a:pt x="532606" y="181681"/>
                    <a:pt x="532606" y="194833"/>
                  </a:cubicBezTo>
                  <a:cubicBezTo>
                    <a:pt x="532606" y="207984"/>
                    <a:pt x="543267" y="218645"/>
                    <a:pt x="556419" y="218645"/>
                  </a:cubicBezTo>
                  <a:lnTo>
                    <a:pt x="923131" y="218646"/>
                  </a:lnTo>
                  <a:cubicBezTo>
                    <a:pt x="936283" y="218646"/>
                    <a:pt x="946944" y="207985"/>
                    <a:pt x="946944" y="194833"/>
                  </a:cubicBezTo>
                  <a:lnTo>
                    <a:pt x="946945" y="194833"/>
                  </a:lnTo>
                  <a:cubicBezTo>
                    <a:pt x="946945" y="181681"/>
                    <a:pt x="936284" y="171020"/>
                    <a:pt x="923132" y="171020"/>
                  </a:cubicBezTo>
                  <a:close/>
                  <a:moveTo>
                    <a:pt x="725487" y="274"/>
                  </a:moveTo>
                  <a:cubicBezTo>
                    <a:pt x="1081947" y="-5382"/>
                    <a:pt x="1443170" y="76220"/>
                    <a:pt x="1479550" y="262045"/>
                  </a:cubicBezTo>
                  <a:lnTo>
                    <a:pt x="1479550" y="1250633"/>
                  </a:lnTo>
                  <a:lnTo>
                    <a:pt x="1479550" y="1748998"/>
                  </a:lnTo>
                  <a:lnTo>
                    <a:pt x="1479550" y="2737586"/>
                  </a:lnTo>
                  <a:cubicBezTo>
                    <a:pt x="1406789" y="3109236"/>
                    <a:pt x="34660" y="3063993"/>
                    <a:pt x="0" y="2737586"/>
                  </a:cubicBezTo>
                  <a:lnTo>
                    <a:pt x="0" y="1748998"/>
                  </a:lnTo>
                  <a:lnTo>
                    <a:pt x="0" y="1250633"/>
                  </a:lnTo>
                  <a:lnTo>
                    <a:pt x="0" y="262045"/>
                  </a:lnTo>
                  <a:cubicBezTo>
                    <a:pt x="17330" y="98842"/>
                    <a:pt x="369027" y="5929"/>
                    <a:pt x="725487" y="27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91392" rIns="91392" bIns="91392" numCol="1" spcCol="0" rtlCol="0" fromWordArt="0" anchor="b" anchorCtr="0" forceAA="0" compatLnSpc="1">
              <a:prstTxWarp prst="textNoShape">
                <a:avLst/>
              </a:prstTxWarp>
              <a:noAutofit/>
            </a:bodyPr>
            <a:lstStyle/>
            <a:p>
              <a:pPr algn="ctr" defTabSz="1087779">
                <a:defRPr/>
              </a:pPr>
              <a:endParaRPr lang="en-US" sz="1200">
                <a:solidFill>
                  <a:prstClr val="white"/>
                </a:solidFill>
                <a:latin typeface="Segoe UI"/>
              </a:endParaRPr>
            </a:p>
          </p:txBody>
        </p:sp>
        <p:sp>
          <p:nvSpPr>
            <p:cNvPr id="11" name="Oval 13"/>
            <p:cNvSpPr/>
            <p:nvPr/>
          </p:nvSpPr>
          <p:spPr>
            <a:xfrm>
              <a:off x="-927099" y="4885774"/>
              <a:ext cx="508270" cy="508270"/>
            </a:xfrm>
            <a:custGeom>
              <a:avLst/>
              <a:gdLst/>
              <a:ahLst/>
              <a:cxnLst/>
              <a:rect l="l" t="t" r="r" b="b"/>
              <a:pathLst>
                <a:path w="5360063" h="5360063">
                  <a:moveTo>
                    <a:pt x="2786711" y="4616633"/>
                  </a:moveTo>
                  <a:cubicBezTo>
                    <a:pt x="2845629" y="4616633"/>
                    <a:pt x="2893391" y="4664395"/>
                    <a:pt x="2893391" y="4723313"/>
                  </a:cubicBezTo>
                  <a:lnTo>
                    <a:pt x="2893216" y="4724182"/>
                  </a:lnTo>
                  <a:cubicBezTo>
                    <a:pt x="2893390" y="4724470"/>
                    <a:pt x="2893391" y="4724760"/>
                    <a:pt x="2893391" y="4725050"/>
                  </a:cubicBezTo>
                  <a:cubicBezTo>
                    <a:pt x="2893391" y="4783968"/>
                    <a:pt x="2845629" y="4831730"/>
                    <a:pt x="2786711" y="4831730"/>
                  </a:cubicBezTo>
                  <a:cubicBezTo>
                    <a:pt x="2727793" y="4831730"/>
                    <a:pt x="2680031" y="4783968"/>
                    <a:pt x="2680031" y="4725050"/>
                  </a:cubicBezTo>
                  <a:lnTo>
                    <a:pt x="2680206" y="4724182"/>
                  </a:lnTo>
                  <a:cubicBezTo>
                    <a:pt x="2680032" y="4723893"/>
                    <a:pt x="2680031" y="4723603"/>
                    <a:pt x="2680031" y="4723313"/>
                  </a:cubicBezTo>
                  <a:cubicBezTo>
                    <a:pt x="2680031" y="4664395"/>
                    <a:pt x="2727793" y="4616633"/>
                    <a:pt x="2786711" y="4616633"/>
                  </a:cubicBezTo>
                  <a:close/>
                  <a:moveTo>
                    <a:pt x="2370764" y="4172762"/>
                  </a:moveTo>
                  <a:cubicBezTo>
                    <a:pt x="2473381" y="4329652"/>
                    <a:pt x="2563715" y="4465105"/>
                    <a:pt x="2670321" y="4589275"/>
                  </a:cubicBezTo>
                  <a:cubicBezTo>
                    <a:pt x="2630242" y="4620838"/>
                    <a:pt x="2605736" y="4670082"/>
                    <a:pt x="2605736" y="4725050"/>
                  </a:cubicBezTo>
                  <a:cubicBezTo>
                    <a:pt x="2605736" y="4825000"/>
                    <a:pt x="2686761" y="4906025"/>
                    <a:pt x="2786711" y="4906025"/>
                  </a:cubicBezTo>
                  <a:cubicBezTo>
                    <a:pt x="2819605" y="4906025"/>
                    <a:pt x="2850448" y="4897250"/>
                    <a:pt x="2875571" y="4879387"/>
                  </a:cubicBezTo>
                  <a:cubicBezTo>
                    <a:pt x="2979721" y="4999406"/>
                    <a:pt x="3106893" y="5113460"/>
                    <a:pt x="3196681" y="5191382"/>
                  </a:cubicBezTo>
                  <a:cubicBezTo>
                    <a:pt x="3030020" y="5227229"/>
                    <a:pt x="2857147" y="5245561"/>
                    <a:pt x="2680032" y="5245561"/>
                  </a:cubicBezTo>
                  <a:cubicBezTo>
                    <a:pt x="2385646" y="5245561"/>
                    <a:pt x="2102983" y="5194917"/>
                    <a:pt x="1841065" y="5099089"/>
                  </a:cubicBezTo>
                  <a:lnTo>
                    <a:pt x="1850963" y="5094880"/>
                  </a:lnTo>
                  <a:cubicBezTo>
                    <a:pt x="1850963" y="5089948"/>
                    <a:pt x="1839965" y="5073920"/>
                    <a:pt x="1842715" y="5071762"/>
                  </a:cubicBezTo>
                  <a:lnTo>
                    <a:pt x="1850963" y="5075153"/>
                  </a:lnTo>
                  <a:cubicBezTo>
                    <a:pt x="1857480" y="5081728"/>
                    <a:pt x="1863997" y="5088304"/>
                    <a:pt x="1870514" y="5075153"/>
                  </a:cubicBezTo>
                  <a:cubicBezTo>
                    <a:pt x="1877031" y="5068577"/>
                    <a:pt x="1870514" y="5055424"/>
                    <a:pt x="1877031" y="5042273"/>
                  </a:cubicBezTo>
                  <a:cubicBezTo>
                    <a:pt x="1877031" y="5035697"/>
                    <a:pt x="1890065" y="5029121"/>
                    <a:pt x="1890065" y="5022545"/>
                  </a:cubicBezTo>
                  <a:cubicBezTo>
                    <a:pt x="1896582" y="5009393"/>
                    <a:pt x="1896582" y="5009393"/>
                    <a:pt x="1903099" y="5002817"/>
                  </a:cubicBezTo>
                  <a:cubicBezTo>
                    <a:pt x="1909616" y="4996242"/>
                    <a:pt x="1916133" y="4989666"/>
                    <a:pt x="1922650" y="4983089"/>
                  </a:cubicBezTo>
                  <a:cubicBezTo>
                    <a:pt x="1929166" y="4969938"/>
                    <a:pt x="1909616" y="4950211"/>
                    <a:pt x="1896582" y="4937058"/>
                  </a:cubicBezTo>
                  <a:cubicBezTo>
                    <a:pt x="1883548" y="4917332"/>
                    <a:pt x="1883548" y="4904179"/>
                    <a:pt x="1896582" y="4884452"/>
                  </a:cubicBezTo>
                  <a:cubicBezTo>
                    <a:pt x="1909616" y="4871300"/>
                    <a:pt x="1929166" y="4871300"/>
                    <a:pt x="1935684" y="4858148"/>
                  </a:cubicBezTo>
                  <a:cubicBezTo>
                    <a:pt x="1942201" y="4851573"/>
                    <a:pt x="1935684" y="4838421"/>
                    <a:pt x="1935684" y="4825269"/>
                  </a:cubicBezTo>
                  <a:cubicBezTo>
                    <a:pt x="1935684" y="4818693"/>
                    <a:pt x="1942201" y="4812117"/>
                    <a:pt x="1948717" y="4805541"/>
                  </a:cubicBezTo>
                  <a:cubicBezTo>
                    <a:pt x="1948717" y="4798966"/>
                    <a:pt x="1942201" y="4792389"/>
                    <a:pt x="1948717" y="4792389"/>
                  </a:cubicBezTo>
                  <a:cubicBezTo>
                    <a:pt x="1948717" y="4785813"/>
                    <a:pt x="1968268" y="4792389"/>
                    <a:pt x="1968268" y="4785813"/>
                  </a:cubicBezTo>
                  <a:cubicBezTo>
                    <a:pt x="1974786" y="4779237"/>
                    <a:pt x="1955235" y="4772662"/>
                    <a:pt x="1948717" y="4766086"/>
                  </a:cubicBezTo>
                  <a:cubicBezTo>
                    <a:pt x="1935684" y="4759510"/>
                    <a:pt x="1942201" y="4739782"/>
                    <a:pt x="1955235" y="4733206"/>
                  </a:cubicBezTo>
                  <a:cubicBezTo>
                    <a:pt x="1961752" y="4726631"/>
                    <a:pt x="1974786" y="4733206"/>
                    <a:pt x="1981303" y="4726631"/>
                  </a:cubicBezTo>
                  <a:cubicBezTo>
                    <a:pt x="2000854" y="4726631"/>
                    <a:pt x="2026921" y="4700327"/>
                    <a:pt x="2013888" y="4674023"/>
                  </a:cubicBezTo>
                  <a:cubicBezTo>
                    <a:pt x="2013855" y="4673990"/>
                    <a:pt x="2007414" y="4667492"/>
                    <a:pt x="2007370" y="4667447"/>
                  </a:cubicBezTo>
                  <a:lnTo>
                    <a:pt x="2003094" y="4657070"/>
                  </a:lnTo>
                  <a:cubicBezTo>
                    <a:pt x="2003705" y="4650596"/>
                    <a:pt x="2017146" y="4654295"/>
                    <a:pt x="2026921" y="4654295"/>
                  </a:cubicBezTo>
                  <a:cubicBezTo>
                    <a:pt x="2039956" y="4647720"/>
                    <a:pt x="2059507" y="4634567"/>
                    <a:pt x="2072541" y="4634567"/>
                  </a:cubicBezTo>
                  <a:cubicBezTo>
                    <a:pt x="2092092" y="4634567"/>
                    <a:pt x="2105125" y="4634567"/>
                    <a:pt x="2118159" y="4627991"/>
                  </a:cubicBezTo>
                  <a:cubicBezTo>
                    <a:pt x="2131194" y="4621416"/>
                    <a:pt x="2137710" y="4608264"/>
                    <a:pt x="2144227" y="4595112"/>
                  </a:cubicBezTo>
                  <a:cubicBezTo>
                    <a:pt x="2150745" y="4588536"/>
                    <a:pt x="2157261" y="4581960"/>
                    <a:pt x="2150745" y="4568809"/>
                  </a:cubicBezTo>
                  <a:cubicBezTo>
                    <a:pt x="2150745" y="4562233"/>
                    <a:pt x="2137710" y="4555656"/>
                    <a:pt x="2131194" y="4549081"/>
                  </a:cubicBezTo>
                  <a:cubicBezTo>
                    <a:pt x="2131194" y="4535929"/>
                    <a:pt x="2137710" y="4529353"/>
                    <a:pt x="2137710" y="4522778"/>
                  </a:cubicBezTo>
                  <a:cubicBezTo>
                    <a:pt x="2131194" y="4509625"/>
                    <a:pt x="2111643" y="4509625"/>
                    <a:pt x="2105125" y="4496474"/>
                  </a:cubicBezTo>
                  <a:cubicBezTo>
                    <a:pt x="2098608" y="4483322"/>
                    <a:pt x="2092092" y="4470170"/>
                    <a:pt x="2092092" y="4457018"/>
                  </a:cubicBezTo>
                  <a:cubicBezTo>
                    <a:pt x="2092092" y="4437290"/>
                    <a:pt x="2105125" y="4437290"/>
                    <a:pt x="2118159" y="4450443"/>
                  </a:cubicBezTo>
                  <a:cubicBezTo>
                    <a:pt x="2124676" y="4463594"/>
                    <a:pt x="2124676" y="4483322"/>
                    <a:pt x="2137710" y="4489898"/>
                  </a:cubicBezTo>
                  <a:cubicBezTo>
                    <a:pt x="2144227" y="4503049"/>
                    <a:pt x="2157261" y="4509625"/>
                    <a:pt x="2170296" y="4503049"/>
                  </a:cubicBezTo>
                  <a:cubicBezTo>
                    <a:pt x="2176812" y="4503049"/>
                    <a:pt x="2183330" y="4496474"/>
                    <a:pt x="2189847" y="4503049"/>
                  </a:cubicBezTo>
                  <a:cubicBezTo>
                    <a:pt x="2196363" y="4503049"/>
                    <a:pt x="2202881" y="4503049"/>
                    <a:pt x="2209398" y="4503049"/>
                  </a:cubicBezTo>
                  <a:cubicBezTo>
                    <a:pt x="2215914" y="4503049"/>
                    <a:pt x="2235465" y="4476745"/>
                    <a:pt x="2248500" y="4457018"/>
                  </a:cubicBezTo>
                  <a:cubicBezTo>
                    <a:pt x="2255016" y="4443867"/>
                    <a:pt x="2261534" y="4437290"/>
                    <a:pt x="2261534" y="4430714"/>
                  </a:cubicBezTo>
                  <a:cubicBezTo>
                    <a:pt x="2261534" y="4417563"/>
                    <a:pt x="2255016" y="4417563"/>
                    <a:pt x="2255016" y="4410987"/>
                  </a:cubicBezTo>
                  <a:cubicBezTo>
                    <a:pt x="2261534" y="4404411"/>
                    <a:pt x="2274567" y="4391259"/>
                    <a:pt x="2274567" y="4384683"/>
                  </a:cubicBezTo>
                  <a:cubicBezTo>
                    <a:pt x="2281085" y="4378107"/>
                    <a:pt x="2287601" y="4364956"/>
                    <a:pt x="2300636" y="4358379"/>
                  </a:cubicBezTo>
                  <a:cubicBezTo>
                    <a:pt x="2300667" y="4358379"/>
                    <a:pt x="2307169" y="4358379"/>
                    <a:pt x="2313669" y="4358379"/>
                  </a:cubicBezTo>
                  <a:cubicBezTo>
                    <a:pt x="2326703" y="4351805"/>
                    <a:pt x="2326703" y="4338653"/>
                    <a:pt x="2326703" y="4332077"/>
                  </a:cubicBezTo>
                  <a:cubicBezTo>
                    <a:pt x="2333220" y="4318925"/>
                    <a:pt x="2339738" y="4312349"/>
                    <a:pt x="2352771" y="4299198"/>
                  </a:cubicBezTo>
                  <a:cubicBezTo>
                    <a:pt x="2385356" y="4266318"/>
                    <a:pt x="2352771" y="4233438"/>
                    <a:pt x="2359289" y="4193983"/>
                  </a:cubicBezTo>
                  <a:cubicBezTo>
                    <a:pt x="2359289" y="4185809"/>
                    <a:pt x="2363764" y="4178764"/>
                    <a:pt x="2370764" y="4172762"/>
                  </a:cubicBezTo>
                  <a:close/>
                  <a:moveTo>
                    <a:pt x="1355050" y="3792279"/>
                  </a:moveTo>
                  <a:cubicBezTo>
                    <a:pt x="1318697" y="4184868"/>
                    <a:pt x="1335670" y="4583698"/>
                    <a:pt x="1401311" y="4894132"/>
                  </a:cubicBezTo>
                  <a:cubicBezTo>
                    <a:pt x="1035189" y="4679816"/>
                    <a:pt x="728470" y="4374217"/>
                    <a:pt x="510450" y="4008440"/>
                  </a:cubicBezTo>
                  <a:cubicBezTo>
                    <a:pt x="587420" y="3990259"/>
                    <a:pt x="643285" y="3920314"/>
                    <a:pt x="643285" y="3837320"/>
                  </a:cubicBezTo>
                  <a:lnTo>
                    <a:pt x="642841" y="3832916"/>
                  </a:lnTo>
                  <a:cubicBezTo>
                    <a:pt x="917344" y="3821669"/>
                    <a:pt x="1147515" y="3811703"/>
                    <a:pt x="1355050" y="3792279"/>
                  </a:cubicBezTo>
                  <a:close/>
                  <a:moveTo>
                    <a:pt x="1652544" y="3757744"/>
                  </a:moveTo>
                  <a:cubicBezTo>
                    <a:pt x="1655053" y="3760042"/>
                    <a:pt x="1655453" y="3763094"/>
                    <a:pt x="1655453" y="3766550"/>
                  </a:cubicBezTo>
                  <a:cubicBezTo>
                    <a:pt x="1655453" y="3773126"/>
                    <a:pt x="1655453" y="3779702"/>
                    <a:pt x="1655453" y="3792854"/>
                  </a:cubicBezTo>
                  <a:cubicBezTo>
                    <a:pt x="1655453" y="3806005"/>
                    <a:pt x="1661970" y="3838885"/>
                    <a:pt x="1675004" y="3845461"/>
                  </a:cubicBezTo>
                  <a:cubicBezTo>
                    <a:pt x="1681521" y="3852036"/>
                    <a:pt x="1694555" y="3858612"/>
                    <a:pt x="1707589" y="3858612"/>
                  </a:cubicBezTo>
                  <a:cubicBezTo>
                    <a:pt x="1720624" y="3865188"/>
                    <a:pt x="1740175" y="3871764"/>
                    <a:pt x="1753208" y="3884915"/>
                  </a:cubicBezTo>
                  <a:cubicBezTo>
                    <a:pt x="1766242" y="3898068"/>
                    <a:pt x="1779276" y="3904643"/>
                    <a:pt x="1792310" y="3917795"/>
                  </a:cubicBezTo>
                  <a:cubicBezTo>
                    <a:pt x="1798827" y="3924370"/>
                    <a:pt x="1798827" y="3937523"/>
                    <a:pt x="1805344" y="3950674"/>
                  </a:cubicBezTo>
                  <a:cubicBezTo>
                    <a:pt x="1811861" y="3963826"/>
                    <a:pt x="1811861" y="3983554"/>
                    <a:pt x="1811861" y="4003281"/>
                  </a:cubicBezTo>
                  <a:cubicBezTo>
                    <a:pt x="1811861" y="4009857"/>
                    <a:pt x="1805344" y="4016434"/>
                    <a:pt x="1805344" y="4029585"/>
                  </a:cubicBezTo>
                  <a:cubicBezTo>
                    <a:pt x="1805344" y="4036161"/>
                    <a:pt x="1811861" y="4042737"/>
                    <a:pt x="1805344" y="4049312"/>
                  </a:cubicBezTo>
                  <a:cubicBezTo>
                    <a:pt x="1805344" y="4055889"/>
                    <a:pt x="1805344" y="4069041"/>
                    <a:pt x="1805344" y="4075616"/>
                  </a:cubicBezTo>
                  <a:cubicBezTo>
                    <a:pt x="1805344" y="4095345"/>
                    <a:pt x="1792310" y="4108496"/>
                    <a:pt x="1792310" y="4128223"/>
                  </a:cubicBezTo>
                  <a:cubicBezTo>
                    <a:pt x="1792310" y="4147952"/>
                    <a:pt x="1798827" y="4161103"/>
                    <a:pt x="1798827" y="4174255"/>
                  </a:cubicBezTo>
                  <a:cubicBezTo>
                    <a:pt x="1792310" y="4187407"/>
                    <a:pt x="1785793" y="4193983"/>
                    <a:pt x="1792310" y="4213711"/>
                  </a:cubicBezTo>
                  <a:cubicBezTo>
                    <a:pt x="1792310" y="4220287"/>
                    <a:pt x="1792310" y="4226863"/>
                    <a:pt x="1792310" y="4240014"/>
                  </a:cubicBezTo>
                  <a:cubicBezTo>
                    <a:pt x="1792310" y="4246590"/>
                    <a:pt x="1785793" y="4253166"/>
                    <a:pt x="1785793" y="4266318"/>
                  </a:cubicBezTo>
                  <a:cubicBezTo>
                    <a:pt x="1785793" y="4272894"/>
                    <a:pt x="1779276" y="4286045"/>
                    <a:pt x="1779276" y="4292622"/>
                  </a:cubicBezTo>
                  <a:cubicBezTo>
                    <a:pt x="1779276" y="4299198"/>
                    <a:pt x="1772759" y="4312349"/>
                    <a:pt x="1772759" y="4318925"/>
                  </a:cubicBezTo>
                  <a:cubicBezTo>
                    <a:pt x="1779276" y="4325502"/>
                    <a:pt x="1779276" y="4332077"/>
                    <a:pt x="1779276" y="4345229"/>
                  </a:cubicBezTo>
                  <a:cubicBezTo>
                    <a:pt x="1779276" y="4351805"/>
                    <a:pt x="1772759" y="4358379"/>
                    <a:pt x="1772759" y="4371532"/>
                  </a:cubicBezTo>
                  <a:cubicBezTo>
                    <a:pt x="1772759" y="4384683"/>
                    <a:pt x="1779276" y="4391259"/>
                    <a:pt x="1785793" y="4397835"/>
                  </a:cubicBezTo>
                  <a:cubicBezTo>
                    <a:pt x="1798827" y="4424139"/>
                    <a:pt x="1766242" y="4450443"/>
                    <a:pt x="1759726" y="4476745"/>
                  </a:cubicBezTo>
                  <a:cubicBezTo>
                    <a:pt x="1753208" y="4496474"/>
                    <a:pt x="1746691" y="4516201"/>
                    <a:pt x="1746691" y="4535929"/>
                  </a:cubicBezTo>
                  <a:cubicBezTo>
                    <a:pt x="1746691" y="4555656"/>
                    <a:pt x="1740175" y="4575385"/>
                    <a:pt x="1733657" y="4588536"/>
                  </a:cubicBezTo>
                  <a:cubicBezTo>
                    <a:pt x="1727140" y="4601689"/>
                    <a:pt x="1733657" y="4608264"/>
                    <a:pt x="1740175" y="4621416"/>
                  </a:cubicBezTo>
                  <a:cubicBezTo>
                    <a:pt x="1746691" y="4634567"/>
                    <a:pt x="1746691" y="4647720"/>
                    <a:pt x="1746691" y="4660871"/>
                  </a:cubicBezTo>
                  <a:cubicBezTo>
                    <a:pt x="1746691" y="4687175"/>
                    <a:pt x="1733657" y="4700327"/>
                    <a:pt x="1733657" y="4720055"/>
                  </a:cubicBezTo>
                  <a:cubicBezTo>
                    <a:pt x="1733657" y="4726631"/>
                    <a:pt x="1733657" y="4739782"/>
                    <a:pt x="1733657" y="4746358"/>
                  </a:cubicBezTo>
                  <a:cubicBezTo>
                    <a:pt x="1733657" y="4752933"/>
                    <a:pt x="1740175" y="4752933"/>
                    <a:pt x="1746691" y="4759510"/>
                  </a:cubicBezTo>
                  <a:cubicBezTo>
                    <a:pt x="1746691" y="4766086"/>
                    <a:pt x="1746691" y="4772662"/>
                    <a:pt x="1746691" y="4779237"/>
                  </a:cubicBezTo>
                  <a:cubicBezTo>
                    <a:pt x="1746691" y="4792389"/>
                    <a:pt x="1746691" y="4798966"/>
                    <a:pt x="1740175" y="4812117"/>
                  </a:cubicBezTo>
                  <a:cubicBezTo>
                    <a:pt x="1740175" y="4825269"/>
                    <a:pt x="1746691" y="4831844"/>
                    <a:pt x="1740175" y="4844997"/>
                  </a:cubicBezTo>
                  <a:cubicBezTo>
                    <a:pt x="1733657" y="4851573"/>
                    <a:pt x="1720624" y="4858148"/>
                    <a:pt x="1720624" y="4871300"/>
                  </a:cubicBezTo>
                  <a:cubicBezTo>
                    <a:pt x="1714106" y="4891028"/>
                    <a:pt x="1733657" y="4910755"/>
                    <a:pt x="1727140" y="4937058"/>
                  </a:cubicBezTo>
                  <a:cubicBezTo>
                    <a:pt x="1720624" y="4956786"/>
                    <a:pt x="1707589" y="4976513"/>
                    <a:pt x="1707589" y="5002817"/>
                  </a:cubicBezTo>
                  <a:lnTo>
                    <a:pt x="1707589" y="5049786"/>
                  </a:lnTo>
                  <a:cubicBezTo>
                    <a:pt x="1614691" y="5010873"/>
                    <a:pt x="1524588" y="4966540"/>
                    <a:pt x="1438672" y="4915414"/>
                  </a:cubicBezTo>
                  <a:cubicBezTo>
                    <a:pt x="1373926" y="4570463"/>
                    <a:pt x="1359286" y="4168496"/>
                    <a:pt x="1393222" y="3789064"/>
                  </a:cubicBezTo>
                  <a:cubicBezTo>
                    <a:pt x="1483207" y="3781329"/>
                    <a:pt x="1569036" y="3771076"/>
                    <a:pt x="1652544" y="3757744"/>
                  </a:cubicBezTo>
                  <a:close/>
                  <a:moveTo>
                    <a:pt x="462309" y="3730640"/>
                  </a:moveTo>
                  <a:cubicBezTo>
                    <a:pt x="521227" y="3730640"/>
                    <a:pt x="568989" y="3778402"/>
                    <a:pt x="568989" y="3837320"/>
                  </a:cubicBezTo>
                  <a:cubicBezTo>
                    <a:pt x="568989" y="3896238"/>
                    <a:pt x="521227" y="3944000"/>
                    <a:pt x="462309" y="3944000"/>
                  </a:cubicBezTo>
                  <a:cubicBezTo>
                    <a:pt x="403391" y="3944000"/>
                    <a:pt x="355629" y="3896238"/>
                    <a:pt x="355629" y="3837320"/>
                  </a:cubicBezTo>
                  <a:cubicBezTo>
                    <a:pt x="355629" y="3778402"/>
                    <a:pt x="403391" y="3730640"/>
                    <a:pt x="462309" y="3730640"/>
                  </a:cubicBezTo>
                  <a:close/>
                  <a:moveTo>
                    <a:pt x="1548737" y="3047311"/>
                  </a:moveTo>
                  <a:cubicBezTo>
                    <a:pt x="1557698" y="3046490"/>
                    <a:pt x="1567474" y="3046490"/>
                    <a:pt x="1577249" y="3049777"/>
                  </a:cubicBezTo>
                  <a:cubicBezTo>
                    <a:pt x="1583766" y="3049777"/>
                    <a:pt x="1596800" y="3056353"/>
                    <a:pt x="1596800" y="3069505"/>
                  </a:cubicBezTo>
                  <a:cubicBezTo>
                    <a:pt x="1603317" y="3082657"/>
                    <a:pt x="1596800" y="3089233"/>
                    <a:pt x="1609834" y="3102384"/>
                  </a:cubicBezTo>
                  <a:cubicBezTo>
                    <a:pt x="1635902" y="3122113"/>
                    <a:pt x="1622868" y="3154992"/>
                    <a:pt x="1616351" y="3187871"/>
                  </a:cubicBezTo>
                  <a:cubicBezTo>
                    <a:pt x="1609834" y="3201023"/>
                    <a:pt x="1609834" y="3214175"/>
                    <a:pt x="1609834" y="3227326"/>
                  </a:cubicBezTo>
                  <a:cubicBezTo>
                    <a:pt x="1609834" y="3240479"/>
                    <a:pt x="1609834" y="3247055"/>
                    <a:pt x="1616351" y="3260206"/>
                  </a:cubicBezTo>
                  <a:cubicBezTo>
                    <a:pt x="1616351" y="3279934"/>
                    <a:pt x="1609834" y="3286510"/>
                    <a:pt x="1603317" y="3299661"/>
                  </a:cubicBezTo>
                  <a:cubicBezTo>
                    <a:pt x="1583766" y="3339117"/>
                    <a:pt x="1557698" y="3365420"/>
                    <a:pt x="1538147" y="3398299"/>
                  </a:cubicBezTo>
                  <a:cubicBezTo>
                    <a:pt x="1525113" y="3424602"/>
                    <a:pt x="1525113" y="3464058"/>
                    <a:pt x="1525113" y="3490362"/>
                  </a:cubicBezTo>
                  <a:cubicBezTo>
                    <a:pt x="1531630" y="3536393"/>
                    <a:pt x="1551181" y="3562697"/>
                    <a:pt x="1583766" y="3595577"/>
                  </a:cubicBezTo>
                  <a:cubicBezTo>
                    <a:pt x="1609834" y="3621880"/>
                    <a:pt x="1609834" y="3654759"/>
                    <a:pt x="1622868" y="3687639"/>
                  </a:cubicBezTo>
                  <a:cubicBezTo>
                    <a:pt x="1622868" y="3698979"/>
                    <a:pt x="1627713" y="3710319"/>
                    <a:pt x="1633395" y="3721575"/>
                  </a:cubicBezTo>
                  <a:cubicBezTo>
                    <a:pt x="1554127" y="3733626"/>
                    <a:pt x="1475050" y="3742859"/>
                    <a:pt x="1396120" y="3750408"/>
                  </a:cubicBezTo>
                  <a:cubicBezTo>
                    <a:pt x="1419231" y="3497496"/>
                    <a:pt x="1464221" y="3255901"/>
                    <a:pt x="1529413" y="3049328"/>
                  </a:cubicBezTo>
                  <a:cubicBezTo>
                    <a:pt x="1535093" y="3049122"/>
                    <a:pt x="1541661" y="3047961"/>
                    <a:pt x="1548737" y="3047311"/>
                  </a:cubicBezTo>
                  <a:close/>
                  <a:moveTo>
                    <a:pt x="4959037" y="3018772"/>
                  </a:moveTo>
                  <a:cubicBezTo>
                    <a:pt x="5036068" y="3082842"/>
                    <a:pt x="5119464" y="3152676"/>
                    <a:pt x="5164978" y="3191039"/>
                  </a:cubicBezTo>
                  <a:cubicBezTo>
                    <a:pt x="5117274" y="3435339"/>
                    <a:pt x="5034215" y="3666859"/>
                    <a:pt x="4921641" y="3880239"/>
                  </a:cubicBezTo>
                  <a:cubicBezTo>
                    <a:pt x="4921663" y="3879397"/>
                    <a:pt x="4921504" y="3878583"/>
                    <a:pt x="4921340" y="3877761"/>
                  </a:cubicBezTo>
                  <a:cubicBezTo>
                    <a:pt x="4921340" y="3864581"/>
                    <a:pt x="4921340" y="3857991"/>
                    <a:pt x="4921340" y="3844812"/>
                  </a:cubicBezTo>
                  <a:cubicBezTo>
                    <a:pt x="4927904" y="3831632"/>
                    <a:pt x="4927904" y="3818452"/>
                    <a:pt x="4914775" y="3811861"/>
                  </a:cubicBezTo>
                  <a:cubicBezTo>
                    <a:pt x="4911492" y="3808567"/>
                    <a:pt x="4904928" y="3805271"/>
                    <a:pt x="4898363" y="3803624"/>
                  </a:cubicBezTo>
                  <a:lnTo>
                    <a:pt x="4881952" y="3805271"/>
                  </a:lnTo>
                  <a:cubicBezTo>
                    <a:pt x="4868823" y="3805271"/>
                    <a:pt x="4868823" y="3818452"/>
                    <a:pt x="4862259" y="3825043"/>
                  </a:cubicBezTo>
                  <a:cubicBezTo>
                    <a:pt x="4855694" y="3831632"/>
                    <a:pt x="4855694" y="3838222"/>
                    <a:pt x="4842565" y="3851401"/>
                  </a:cubicBezTo>
                  <a:cubicBezTo>
                    <a:pt x="4822871" y="3864581"/>
                    <a:pt x="4783485" y="3871170"/>
                    <a:pt x="4776921" y="3897530"/>
                  </a:cubicBezTo>
                  <a:cubicBezTo>
                    <a:pt x="4763791" y="3917299"/>
                    <a:pt x="4776921" y="3937070"/>
                    <a:pt x="4776921" y="3956840"/>
                  </a:cubicBezTo>
                  <a:cubicBezTo>
                    <a:pt x="4783485" y="3983198"/>
                    <a:pt x="4783485" y="3996378"/>
                    <a:pt x="4763791" y="4016148"/>
                  </a:cubicBezTo>
                  <a:cubicBezTo>
                    <a:pt x="4750662" y="4029328"/>
                    <a:pt x="4737533" y="4055687"/>
                    <a:pt x="4737533" y="4075457"/>
                  </a:cubicBezTo>
                  <a:cubicBezTo>
                    <a:pt x="4737533" y="4101816"/>
                    <a:pt x="4750662" y="4108406"/>
                    <a:pt x="4763791" y="4128177"/>
                  </a:cubicBezTo>
                  <a:lnTo>
                    <a:pt x="4764599" y="4141159"/>
                  </a:lnTo>
                  <a:cubicBezTo>
                    <a:pt x="4409659" y="4660202"/>
                    <a:pt x="3869165" y="5039746"/>
                    <a:pt x="3239606" y="5181785"/>
                  </a:cubicBezTo>
                  <a:cubicBezTo>
                    <a:pt x="3108766" y="5065135"/>
                    <a:pt x="2983320" y="4952596"/>
                    <a:pt x="2908718" y="4857038"/>
                  </a:cubicBezTo>
                  <a:cubicBezTo>
                    <a:pt x="2945305" y="4824885"/>
                    <a:pt x="2967686" y="4777581"/>
                    <a:pt x="2967686" y="4725050"/>
                  </a:cubicBezTo>
                  <a:cubicBezTo>
                    <a:pt x="2967686" y="4625100"/>
                    <a:pt x="2886661" y="4544075"/>
                    <a:pt x="2786711" y="4544075"/>
                  </a:cubicBezTo>
                  <a:cubicBezTo>
                    <a:pt x="2754908" y="4544075"/>
                    <a:pt x="2725020" y="4552279"/>
                    <a:pt x="2700350" y="4569029"/>
                  </a:cubicBezTo>
                  <a:cubicBezTo>
                    <a:pt x="2586648" y="4431561"/>
                    <a:pt x="2493149" y="4288531"/>
                    <a:pt x="2402215" y="4149788"/>
                  </a:cubicBezTo>
                  <a:cubicBezTo>
                    <a:pt x="2403109" y="4149153"/>
                    <a:pt x="2404015" y="4148553"/>
                    <a:pt x="2404907" y="4147952"/>
                  </a:cubicBezTo>
                  <a:cubicBezTo>
                    <a:pt x="2411424" y="4141376"/>
                    <a:pt x="2424458" y="4134800"/>
                    <a:pt x="2437493" y="4121648"/>
                  </a:cubicBezTo>
                  <a:cubicBezTo>
                    <a:pt x="2444009" y="4121648"/>
                    <a:pt x="2444009" y="4115072"/>
                    <a:pt x="2450526" y="4108496"/>
                  </a:cubicBezTo>
                  <a:cubicBezTo>
                    <a:pt x="2470077" y="4101920"/>
                    <a:pt x="2496145" y="4088768"/>
                    <a:pt x="2515696" y="4082192"/>
                  </a:cubicBezTo>
                  <a:cubicBezTo>
                    <a:pt x="2528730" y="4075616"/>
                    <a:pt x="2548281" y="4075616"/>
                    <a:pt x="2554798" y="4055889"/>
                  </a:cubicBezTo>
                  <a:cubicBezTo>
                    <a:pt x="2554798" y="4049312"/>
                    <a:pt x="2554798" y="4036161"/>
                    <a:pt x="2554798" y="4029585"/>
                  </a:cubicBezTo>
                  <a:cubicBezTo>
                    <a:pt x="2554798" y="4016434"/>
                    <a:pt x="2561315" y="4009857"/>
                    <a:pt x="2567832" y="4003281"/>
                  </a:cubicBezTo>
                  <a:cubicBezTo>
                    <a:pt x="2574349" y="3996706"/>
                    <a:pt x="2587383" y="3983554"/>
                    <a:pt x="2593900" y="3970402"/>
                  </a:cubicBezTo>
                  <a:cubicBezTo>
                    <a:pt x="2600417" y="3957250"/>
                    <a:pt x="2600417" y="3950674"/>
                    <a:pt x="2600417" y="3930946"/>
                  </a:cubicBezTo>
                  <a:cubicBezTo>
                    <a:pt x="2593900" y="3924370"/>
                    <a:pt x="2600417" y="3917795"/>
                    <a:pt x="2606934" y="3904643"/>
                  </a:cubicBezTo>
                  <a:cubicBezTo>
                    <a:pt x="2613451" y="3891491"/>
                    <a:pt x="2613451" y="3871764"/>
                    <a:pt x="2613451" y="3858612"/>
                  </a:cubicBezTo>
                  <a:cubicBezTo>
                    <a:pt x="2613451" y="3838885"/>
                    <a:pt x="2600417" y="3825733"/>
                    <a:pt x="2600417" y="3806005"/>
                  </a:cubicBezTo>
                  <a:cubicBezTo>
                    <a:pt x="2600417" y="3792854"/>
                    <a:pt x="2600417" y="3786278"/>
                    <a:pt x="2606934" y="3773126"/>
                  </a:cubicBezTo>
                  <a:cubicBezTo>
                    <a:pt x="2613451" y="3766550"/>
                    <a:pt x="2619968" y="3753398"/>
                    <a:pt x="2626484" y="3746823"/>
                  </a:cubicBezTo>
                  <a:cubicBezTo>
                    <a:pt x="2633002" y="3746823"/>
                    <a:pt x="2639519" y="3746823"/>
                    <a:pt x="2652553" y="3740247"/>
                  </a:cubicBezTo>
                  <a:cubicBezTo>
                    <a:pt x="2659070" y="3727094"/>
                    <a:pt x="2665587" y="3713943"/>
                    <a:pt x="2672104" y="3694215"/>
                  </a:cubicBezTo>
                  <a:cubicBezTo>
                    <a:pt x="2678621" y="3687639"/>
                    <a:pt x="2678621" y="3681063"/>
                    <a:pt x="2685138" y="3674487"/>
                  </a:cubicBezTo>
                  <a:cubicBezTo>
                    <a:pt x="2685138" y="3667912"/>
                    <a:pt x="2691655" y="3661335"/>
                    <a:pt x="2698172" y="3661335"/>
                  </a:cubicBezTo>
                  <a:cubicBezTo>
                    <a:pt x="2711206" y="3654759"/>
                    <a:pt x="2717723" y="3641608"/>
                    <a:pt x="2724240" y="3635032"/>
                  </a:cubicBezTo>
                  <a:cubicBezTo>
                    <a:pt x="2728341" y="3622620"/>
                    <a:pt x="2732441" y="3607604"/>
                    <a:pt x="2731974" y="3591553"/>
                  </a:cubicBezTo>
                  <a:cubicBezTo>
                    <a:pt x="3176757" y="3492724"/>
                    <a:pt x="3530895" y="3400733"/>
                    <a:pt x="3875196" y="3278576"/>
                  </a:cubicBezTo>
                  <a:cubicBezTo>
                    <a:pt x="3874963" y="3303286"/>
                    <a:pt x="3869564" y="3328899"/>
                    <a:pt x="3864973" y="3352065"/>
                  </a:cubicBezTo>
                  <a:cubicBezTo>
                    <a:pt x="3858454" y="3378381"/>
                    <a:pt x="3871492" y="3417855"/>
                    <a:pt x="3891049" y="3444172"/>
                  </a:cubicBezTo>
                  <a:cubicBezTo>
                    <a:pt x="3910607" y="3470487"/>
                    <a:pt x="3936683" y="3490224"/>
                    <a:pt x="3949721" y="3516541"/>
                  </a:cubicBezTo>
                  <a:cubicBezTo>
                    <a:pt x="3962759" y="3529699"/>
                    <a:pt x="3969279" y="3549436"/>
                    <a:pt x="3969279" y="3562594"/>
                  </a:cubicBezTo>
                  <a:cubicBezTo>
                    <a:pt x="3969279" y="3575752"/>
                    <a:pt x="3969279" y="3582331"/>
                    <a:pt x="3975798" y="3588911"/>
                  </a:cubicBezTo>
                  <a:cubicBezTo>
                    <a:pt x="3975798" y="3621805"/>
                    <a:pt x="3956240" y="3641542"/>
                    <a:pt x="3975798" y="3667858"/>
                  </a:cubicBezTo>
                  <a:cubicBezTo>
                    <a:pt x="4008392" y="3713913"/>
                    <a:pt x="3956240" y="3773124"/>
                    <a:pt x="3943201" y="3819177"/>
                  </a:cubicBezTo>
                  <a:cubicBezTo>
                    <a:pt x="3936683" y="3852073"/>
                    <a:pt x="3923645" y="3898126"/>
                    <a:pt x="3943201" y="3924442"/>
                  </a:cubicBezTo>
                  <a:cubicBezTo>
                    <a:pt x="3949721" y="3931021"/>
                    <a:pt x="3962759" y="3937600"/>
                    <a:pt x="3969279" y="3944179"/>
                  </a:cubicBezTo>
                  <a:cubicBezTo>
                    <a:pt x="3982316" y="3963916"/>
                    <a:pt x="3982316" y="3983653"/>
                    <a:pt x="3988835" y="3996811"/>
                  </a:cubicBezTo>
                  <a:cubicBezTo>
                    <a:pt x="3995355" y="4009970"/>
                    <a:pt x="3995355" y="4029707"/>
                    <a:pt x="3995355" y="4042865"/>
                  </a:cubicBezTo>
                  <a:cubicBezTo>
                    <a:pt x="4001874" y="4062601"/>
                    <a:pt x="4014912" y="4069180"/>
                    <a:pt x="4021431" y="4088918"/>
                  </a:cubicBezTo>
                  <a:cubicBezTo>
                    <a:pt x="4027950" y="4141550"/>
                    <a:pt x="4014912" y="4187605"/>
                    <a:pt x="4034470" y="4233657"/>
                  </a:cubicBezTo>
                  <a:cubicBezTo>
                    <a:pt x="4047507" y="4259974"/>
                    <a:pt x="4060546" y="4286290"/>
                    <a:pt x="4073584" y="4312606"/>
                  </a:cubicBezTo>
                  <a:cubicBezTo>
                    <a:pt x="4086622" y="4325764"/>
                    <a:pt x="4093141" y="4338923"/>
                    <a:pt x="4093141" y="4358660"/>
                  </a:cubicBezTo>
                  <a:cubicBezTo>
                    <a:pt x="4099661" y="4384975"/>
                    <a:pt x="4086622" y="4417870"/>
                    <a:pt x="4086622" y="4444187"/>
                  </a:cubicBezTo>
                  <a:cubicBezTo>
                    <a:pt x="4093141" y="4483661"/>
                    <a:pt x="4125737" y="4483661"/>
                    <a:pt x="4158332" y="4470503"/>
                  </a:cubicBezTo>
                  <a:cubicBezTo>
                    <a:pt x="4177889" y="4463924"/>
                    <a:pt x="4197447" y="4457345"/>
                    <a:pt x="4223523" y="4457345"/>
                  </a:cubicBezTo>
                  <a:cubicBezTo>
                    <a:pt x="4262638" y="4463924"/>
                    <a:pt x="4308271" y="4470503"/>
                    <a:pt x="4340866" y="4450766"/>
                  </a:cubicBezTo>
                  <a:cubicBezTo>
                    <a:pt x="4360424" y="4437608"/>
                    <a:pt x="4379981" y="4411291"/>
                    <a:pt x="4393020" y="4398133"/>
                  </a:cubicBezTo>
                  <a:cubicBezTo>
                    <a:pt x="4406057" y="4384975"/>
                    <a:pt x="4406057" y="4365239"/>
                    <a:pt x="4412577" y="4352081"/>
                  </a:cubicBezTo>
                  <a:cubicBezTo>
                    <a:pt x="4425615" y="4312606"/>
                    <a:pt x="4471248" y="4299448"/>
                    <a:pt x="4484287" y="4259974"/>
                  </a:cubicBezTo>
                  <a:cubicBezTo>
                    <a:pt x="4490806" y="4240236"/>
                    <a:pt x="4490806" y="4220500"/>
                    <a:pt x="4490806" y="4200763"/>
                  </a:cubicBezTo>
                  <a:cubicBezTo>
                    <a:pt x="4503845" y="4174446"/>
                    <a:pt x="4536439" y="4167866"/>
                    <a:pt x="4542959" y="4134971"/>
                  </a:cubicBezTo>
                  <a:cubicBezTo>
                    <a:pt x="4549478" y="4108655"/>
                    <a:pt x="4575554" y="4049444"/>
                    <a:pt x="4549478" y="4023128"/>
                  </a:cubicBezTo>
                  <a:cubicBezTo>
                    <a:pt x="4536439" y="4009970"/>
                    <a:pt x="4523402" y="4009970"/>
                    <a:pt x="4529921" y="3990232"/>
                  </a:cubicBezTo>
                  <a:cubicBezTo>
                    <a:pt x="4536439" y="3970495"/>
                    <a:pt x="4555997" y="3957337"/>
                    <a:pt x="4575554" y="3944179"/>
                  </a:cubicBezTo>
                  <a:cubicBezTo>
                    <a:pt x="4601630" y="3931021"/>
                    <a:pt x="4627707" y="3931021"/>
                    <a:pt x="4647264" y="3904704"/>
                  </a:cubicBezTo>
                  <a:cubicBezTo>
                    <a:pt x="4666822" y="3884968"/>
                    <a:pt x="4666822" y="3858652"/>
                    <a:pt x="4673340" y="3832335"/>
                  </a:cubicBezTo>
                  <a:cubicBezTo>
                    <a:pt x="4673340" y="3799440"/>
                    <a:pt x="4686379" y="3773124"/>
                    <a:pt x="4692898" y="3740229"/>
                  </a:cubicBezTo>
                  <a:cubicBezTo>
                    <a:pt x="4692898" y="3713913"/>
                    <a:pt x="4686379" y="3681017"/>
                    <a:pt x="4679860" y="3648121"/>
                  </a:cubicBezTo>
                  <a:cubicBezTo>
                    <a:pt x="4666822" y="3621805"/>
                    <a:pt x="4660303" y="3588911"/>
                    <a:pt x="4653784" y="3569173"/>
                  </a:cubicBezTo>
                  <a:cubicBezTo>
                    <a:pt x="4647264" y="3556015"/>
                    <a:pt x="4640745" y="3542857"/>
                    <a:pt x="4640745" y="3529699"/>
                  </a:cubicBezTo>
                  <a:cubicBezTo>
                    <a:pt x="4640745" y="3509962"/>
                    <a:pt x="4647264" y="3483645"/>
                    <a:pt x="4653784" y="3463908"/>
                  </a:cubicBezTo>
                  <a:cubicBezTo>
                    <a:pt x="4660303" y="3450751"/>
                    <a:pt x="4673340" y="3450751"/>
                    <a:pt x="4679860" y="3437593"/>
                  </a:cubicBezTo>
                  <a:cubicBezTo>
                    <a:pt x="4686379" y="3431014"/>
                    <a:pt x="4686379" y="3417855"/>
                    <a:pt x="4692898" y="3411276"/>
                  </a:cubicBezTo>
                  <a:cubicBezTo>
                    <a:pt x="4705936" y="3391539"/>
                    <a:pt x="4725494" y="3378381"/>
                    <a:pt x="4745051" y="3358644"/>
                  </a:cubicBezTo>
                  <a:cubicBezTo>
                    <a:pt x="4764609" y="3338907"/>
                    <a:pt x="4784165" y="3312591"/>
                    <a:pt x="4803722" y="3286275"/>
                  </a:cubicBezTo>
                  <a:cubicBezTo>
                    <a:pt x="4810242" y="3273117"/>
                    <a:pt x="4810242" y="3259959"/>
                    <a:pt x="4816761" y="3253379"/>
                  </a:cubicBezTo>
                  <a:cubicBezTo>
                    <a:pt x="4836318" y="3220483"/>
                    <a:pt x="4875433" y="3207325"/>
                    <a:pt x="4901509" y="3181009"/>
                  </a:cubicBezTo>
                  <a:cubicBezTo>
                    <a:pt x="4914547" y="3161271"/>
                    <a:pt x="4914547" y="3148114"/>
                    <a:pt x="4914547" y="3128377"/>
                  </a:cubicBezTo>
                  <a:cubicBezTo>
                    <a:pt x="4914547" y="3102061"/>
                    <a:pt x="4921067" y="3088903"/>
                    <a:pt x="4934104" y="3062586"/>
                  </a:cubicBezTo>
                  <a:cubicBezTo>
                    <a:pt x="4940361" y="3049959"/>
                    <a:pt x="4952621" y="3037332"/>
                    <a:pt x="4959037" y="3018772"/>
                  </a:cubicBezTo>
                  <a:close/>
                  <a:moveTo>
                    <a:pt x="4803016" y="2890192"/>
                  </a:moveTo>
                  <a:cubicBezTo>
                    <a:pt x="4820668" y="2904312"/>
                    <a:pt x="4850472" y="2928768"/>
                    <a:pt x="4886057" y="2958205"/>
                  </a:cubicBezTo>
                  <a:cubicBezTo>
                    <a:pt x="4885178" y="2960096"/>
                    <a:pt x="4883838" y="2961998"/>
                    <a:pt x="4881952" y="2963901"/>
                  </a:cubicBezTo>
                  <a:cubicBezTo>
                    <a:pt x="4862395" y="2970480"/>
                    <a:pt x="4842837" y="2963901"/>
                    <a:pt x="4823280" y="2963901"/>
                  </a:cubicBezTo>
                  <a:cubicBezTo>
                    <a:pt x="4816761" y="2963901"/>
                    <a:pt x="4803722" y="2963901"/>
                    <a:pt x="4790685" y="2963901"/>
                  </a:cubicBezTo>
                  <a:cubicBezTo>
                    <a:pt x="4777646" y="2957322"/>
                    <a:pt x="4777646" y="2950743"/>
                    <a:pt x="4771127" y="2937585"/>
                  </a:cubicBezTo>
                  <a:lnTo>
                    <a:pt x="4760609" y="2920658"/>
                  </a:lnTo>
                  <a:cubicBezTo>
                    <a:pt x="4777292" y="2914129"/>
                    <a:pt x="4791700" y="2903704"/>
                    <a:pt x="4803016" y="2890192"/>
                  </a:cubicBezTo>
                  <a:close/>
                  <a:moveTo>
                    <a:pt x="1665982" y="2869710"/>
                  </a:moveTo>
                  <a:lnTo>
                    <a:pt x="1719532" y="2981006"/>
                  </a:lnTo>
                  <a:cubicBezTo>
                    <a:pt x="1715881" y="2980234"/>
                    <a:pt x="1712131" y="2981727"/>
                    <a:pt x="1707589" y="2984018"/>
                  </a:cubicBezTo>
                  <a:cubicBezTo>
                    <a:pt x="1694555" y="2990594"/>
                    <a:pt x="1681521" y="2997170"/>
                    <a:pt x="1675004" y="3010322"/>
                  </a:cubicBezTo>
                  <a:cubicBezTo>
                    <a:pt x="1668487" y="3023473"/>
                    <a:pt x="1668487" y="3043202"/>
                    <a:pt x="1655453" y="3049777"/>
                  </a:cubicBezTo>
                  <a:cubicBezTo>
                    <a:pt x="1648936" y="3056353"/>
                    <a:pt x="1629385" y="3056353"/>
                    <a:pt x="1622868" y="3049777"/>
                  </a:cubicBezTo>
                  <a:cubicBezTo>
                    <a:pt x="1609834" y="3043202"/>
                    <a:pt x="1596800" y="3030049"/>
                    <a:pt x="1583766" y="3023473"/>
                  </a:cubicBezTo>
                  <a:cubicBezTo>
                    <a:pt x="1568052" y="3018188"/>
                    <a:pt x="1552337" y="3025647"/>
                    <a:pt x="1536433" y="3027828"/>
                  </a:cubicBezTo>
                  <a:cubicBezTo>
                    <a:pt x="1552912" y="2974808"/>
                    <a:pt x="1571420" y="2924407"/>
                    <a:pt x="1591463" y="2876899"/>
                  </a:cubicBezTo>
                  <a:cubicBezTo>
                    <a:pt x="1598560" y="2878655"/>
                    <a:pt x="1605895" y="2879104"/>
                    <a:pt x="1613334" y="2879104"/>
                  </a:cubicBezTo>
                  <a:close/>
                  <a:moveTo>
                    <a:pt x="4676169" y="2656661"/>
                  </a:moveTo>
                  <a:cubicBezTo>
                    <a:pt x="4735087" y="2656661"/>
                    <a:pt x="4782849" y="2704423"/>
                    <a:pt x="4782849" y="2763341"/>
                  </a:cubicBezTo>
                  <a:cubicBezTo>
                    <a:pt x="4782849" y="2822259"/>
                    <a:pt x="4735087" y="2870021"/>
                    <a:pt x="4676169" y="2870021"/>
                  </a:cubicBezTo>
                  <a:cubicBezTo>
                    <a:pt x="4617251" y="2870021"/>
                    <a:pt x="4569489" y="2822259"/>
                    <a:pt x="4569489" y="2763341"/>
                  </a:cubicBezTo>
                  <a:cubicBezTo>
                    <a:pt x="4569489" y="2704423"/>
                    <a:pt x="4617251" y="2656661"/>
                    <a:pt x="4676169" y="2656661"/>
                  </a:cubicBezTo>
                  <a:close/>
                  <a:moveTo>
                    <a:pt x="1617042" y="2589226"/>
                  </a:moveTo>
                  <a:cubicBezTo>
                    <a:pt x="1675960" y="2589226"/>
                    <a:pt x="1723722" y="2636988"/>
                    <a:pt x="1723722" y="2695906"/>
                  </a:cubicBezTo>
                  <a:cubicBezTo>
                    <a:pt x="1723722" y="2749566"/>
                    <a:pt x="1684105" y="2793972"/>
                    <a:pt x="1632240" y="2799518"/>
                  </a:cubicBezTo>
                  <a:cubicBezTo>
                    <a:pt x="1632429" y="2799976"/>
                    <a:pt x="1632643" y="2800422"/>
                    <a:pt x="1632858" y="2800867"/>
                  </a:cubicBezTo>
                  <a:cubicBezTo>
                    <a:pt x="1626799" y="2804172"/>
                    <a:pt x="1620141" y="2804809"/>
                    <a:pt x="1613334" y="2804809"/>
                  </a:cubicBezTo>
                  <a:cubicBezTo>
                    <a:pt x="1554416" y="2804809"/>
                    <a:pt x="1506654" y="2757047"/>
                    <a:pt x="1506654" y="2698129"/>
                  </a:cubicBezTo>
                  <a:cubicBezTo>
                    <a:pt x="1506654" y="2672937"/>
                    <a:pt x="1515386" y="2649784"/>
                    <a:pt x="1532562" y="2633889"/>
                  </a:cubicBezTo>
                  <a:cubicBezTo>
                    <a:pt x="1535652" y="2626501"/>
                    <a:pt x="1540931" y="2620754"/>
                    <a:pt x="1547520" y="2616486"/>
                  </a:cubicBezTo>
                  <a:cubicBezTo>
                    <a:pt x="1547628" y="2616155"/>
                    <a:pt x="1547856" y="2615990"/>
                    <a:pt x="1548086" y="2615827"/>
                  </a:cubicBezTo>
                  <a:lnTo>
                    <a:pt x="1548183" y="2616039"/>
                  </a:lnTo>
                  <a:cubicBezTo>
                    <a:pt x="1566071" y="2598980"/>
                    <a:pt x="1590417" y="2589226"/>
                    <a:pt x="1617042" y="2589226"/>
                  </a:cubicBezTo>
                  <a:close/>
                  <a:moveTo>
                    <a:pt x="4515253" y="2367675"/>
                  </a:moveTo>
                  <a:lnTo>
                    <a:pt x="4542959" y="2371787"/>
                  </a:lnTo>
                  <a:cubicBezTo>
                    <a:pt x="4555997" y="2384945"/>
                    <a:pt x="4575554" y="2404682"/>
                    <a:pt x="4582073" y="2424420"/>
                  </a:cubicBezTo>
                  <a:cubicBezTo>
                    <a:pt x="4588593" y="2437577"/>
                    <a:pt x="4588593" y="2450735"/>
                    <a:pt x="4601630" y="2470472"/>
                  </a:cubicBezTo>
                  <a:cubicBezTo>
                    <a:pt x="4608149" y="2483630"/>
                    <a:pt x="4614669" y="2490209"/>
                    <a:pt x="4621188" y="2516526"/>
                  </a:cubicBezTo>
                  <a:cubicBezTo>
                    <a:pt x="4627707" y="2536263"/>
                    <a:pt x="4634227" y="2549421"/>
                    <a:pt x="4647264" y="2562579"/>
                  </a:cubicBezTo>
                  <a:lnTo>
                    <a:pt x="4656263" y="2584373"/>
                  </a:lnTo>
                  <a:cubicBezTo>
                    <a:pt x="4634524" y="2585839"/>
                    <a:pt x="4614034" y="2592033"/>
                    <a:pt x="4596205" y="2603007"/>
                  </a:cubicBezTo>
                  <a:cubicBezTo>
                    <a:pt x="4582714" y="2584182"/>
                    <a:pt x="4569671" y="2564502"/>
                    <a:pt x="4562516" y="2542842"/>
                  </a:cubicBezTo>
                  <a:cubicBezTo>
                    <a:pt x="4555997" y="2529684"/>
                    <a:pt x="4562516" y="2503368"/>
                    <a:pt x="4555997" y="2483630"/>
                  </a:cubicBezTo>
                  <a:cubicBezTo>
                    <a:pt x="4549478" y="2470472"/>
                    <a:pt x="4536439" y="2450735"/>
                    <a:pt x="4529921" y="2430998"/>
                  </a:cubicBezTo>
                  <a:cubicBezTo>
                    <a:pt x="4523402" y="2424420"/>
                    <a:pt x="4490806" y="2391524"/>
                    <a:pt x="4497325" y="2378366"/>
                  </a:cubicBezTo>
                  <a:cubicBezTo>
                    <a:pt x="4497325" y="2368498"/>
                    <a:pt x="4505474" y="2366853"/>
                    <a:pt x="4515253" y="2367675"/>
                  </a:cubicBezTo>
                  <a:close/>
                  <a:moveTo>
                    <a:pt x="4920455" y="2321621"/>
                  </a:moveTo>
                  <a:cubicBezTo>
                    <a:pt x="4927178" y="2321210"/>
                    <a:pt x="4934105" y="2322444"/>
                    <a:pt x="4940624" y="2325733"/>
                  </a:cubicBezTo>
                  <a:cubicBezTo>
                    <a:pt x="4953662" y="2345471"/>
                    <a:pt x="4953662" y="2371787"/>
                    <a:pt x="4966700" y="2391524"/>
                  </a:cubicBezTo>
                  <a:cubicBezTo>
                    <a:pt x="4979738" y="2424420"/>
                    <a:pt x="5005814" y="2424420"/>
                    <a:pt x="5038410" y="2424420"/>
                  </a:cubicBezTo>
                  <a:cubicBezTo>
                    <a:pt x="5071005" y="2424420"/>
                    <a:pt x="5090563" y="2424420"/>
                    <a:pt x="5116639" y="2450735"/>
                  </a:cubicBezTo>
                  <a:cubicBezTo>
                    <a:pt x="5129677" y="2463893"/>
                    <a:pt x="5142716" y="2483630"/>
                    <a:pt x="5168792" y="2483630"/>
                  </a:cubicBezTo>
                  <a:cubicBezTo>
                    <a:pt x="5178342" y="2488449"/>
                    <a:pt x="5191389" y="2489738"/>
                    <a:pt x="5205269" y="2493172"/>
                  </a:cubicBezTo>
                  <a:cubicBezTo>
                    <a:pt x="5212550" y="2557094"/>
                    <a:pt x="5214977" y="2621868"/>
                    <a:pt x="5214977" y="2687211"/>
                  </a:cubicBezTo>
                  <a:cubicBezTo>
                    <a:pt x="5214977" y="2843611"/>
                    <a:pt x="5201071" y="2996733"/>
                    <a:pt x="5173973" y="3145285"/>
                  </a:cubicBezTo>
                  <a:lnTo>
                    <a:pt x="4979683" y="2983744"/>
                  </a:lnTo>
                  <a:cubicBezTo>
                    <a:pt x="4979703" y="2983709"/>
                    <a:pt x="4979721" y="2983674"/>
                    <a:pt x="4979738" y="2983638"/>
                  </a:cubicBezTo>
                  <a:cubicBezTo>
                    <a:pt x="4979738" y="2970480"/>
                    <a:pt x="4992777" y="2944164"/>
                    <a:pt x="4986258" y="2931006"/>
                  </a:cubicBezTo>
                  <a:cubicBezTo>
                    <a:pt x="4979738" y="2917847"/>
                    <a:pt x="4966700" y="2924427"/>
                    <a:pt x="4960181" y="2931006"/>
                  </a:cubicBezTo>
                  <a:cubicBezTo>
                    <a:pt x="4950715" y="2940560"/>
                    <a:pt x="4944685" y="2943177"/>
                    <a:pt x="4934541" y="2946211"/>
                  </a:cubicBezTo>
                  <a:lnTo>
                    <a:pt x="4855832" y="2880769"/>
                  </a:lnTo>
                  <a:cubicBezTo>
                    <a:pt x="4860129" y="2879037"/>
                    <a:pt x="4864521" y="2878373"/>
                    <a:pt x="4868913" y="2878373"/>
                  </a:cubicBezTo>
                  <a:cubicBezTo>
                    <a:pt x="4888471" y="2871794"/>
                    <a:pt x="4908028" y="2878373"/>
                    <a:pt x="4927586" y="2871794"/>
                  </a:cubicBezTo>
                  <a:cubicBezTo>
                    <a:pt x="4934104" y="2865216"/>
                    <a:pt x="4934104" y="2845479"/>
                    <a:pt x="4947143" y="2838900"/>
                  </a:cubicBezTo>
                  <a:cubicBezTo>
                    <a:pt x="4960181" y="2832320"/>
                    <a:pt x="4979738" y="2845479"/>
                    <a:pt x="4992777" y="2825741"/>
                  </a:cubicBezTo>
                  <a:cubicBezTo>
                    <a:pt x="4999295" y="2819162"/>
                    <a:pt x="4992777" y="2799425"/>
                    <a:pt x="4999295" y="2792846"/>
                  </a:cubicBezTo>
                  <a:cubicBezTo>
                    <a:pt x="5005814" y="2766530"/>
                    <a:pt x="5044929" y="2759951"/>
                    <a:pt x="5064486" y="2746792"/>
                  </a:cubicBezTo>
                  <a:cubicBezTo>
                    <a:pt x="5077525" y="2746792"/>
                    <a:pt x="5090563" y="2733633"/>
                    <a:pt x="5103601" y="2733633"/>
                  </a:cubicBezTo>
                  <a:cubicBezTo>
                    <a:pt x="5116639" y="2727054"/>
                    <a:pt x="5136196" y="2720475"/>
                    <a:pt x="5149235" y="2713897"/>
                  </a:cubicBezTo>
                  <a:cubicBezTo>
                    <a:pt x="5168792" y="2700739"/>
                    <a:pt x="5175311" y="2667843"/>
                    <a:pt x="5175311" y="2648106"/>
                  </a:cubicBezTo>
                  <a:cubicBezTo>
                    <a:pt x="5181830" y="2621790"/>
                    <a:pt x="5188350" y="2595474"/>
                    <a:pt x="5175311" y="2569157"/>
                  </a:cubicBezTo>
                  <a:cubicBezTo>
                    <a:pt x="5162273" y="2542842"/>
                    <a:pt x="5136196" y="2542842"/>
                    <a:pt x="5123159" y="2523105"/>
                  </a:cubicBezTo>
                  <a:cubicBezTo>
                    <a:pt x="5110120" y="2509947"/>
                    <a:pt x="5110120" y="2496788"/>
                    <a:pt x="5090563" y="2503368"/>
                  </a:cubicBezTo>
                  <a:cubicBezTo>
                    <a:pt x="5071005" y="2503368"/>
                    <a:pt x="5077525" y="2542842"/>
                    <a:pt x="5051449" y="2549421"/>
                  </a:cubicBezTo>
                  <a:cubicBezTo>
                    <a:pt x="5025372" y="2562579"/>
                    <a:pt x="4979738" y="2529684"/>
                    <a:pt x="4960181" y="2516526"/>
                  </a:cubicBezTo>
                  <a:cubicBezTo>
                    <a:pt x="4947143" y="2503368"/>
                    <a:pt x="4940624" y="2490209"/>
                    <a:pt x="4934104" y="2477051"/>
                  </a:cubicBezTo>
                  <a:cubicBezTo>
                    <a:pt x="4934104" y="2463893"/>
                    <a:pt x="4934104" y="2450735"/>
                    <a:pt x="4934104" y="2437577"/>
                  </a:cubicBezTo>
                  <a:cubicBezTo>
                    <a:pt x="4927586" y="2417840"/>
                    <a:pt x="4914547" y="2404682"/>
                    <a:pt x="4901509" y="2391524"/>
                  </a:cubicBezTo>
                  <a:cubicBezTo>
                    <a:pt x="4888471" y="2384945"/>
                    <a:pt x="4888471" y="2371787"/>
                    <a:pt x="4881952" y="2358629"/>
                  </a:cubicBezTo>
                  <a:cubicBezTo>
                    <a:pt x="4881952" y="2338891"/>
                    <a:pt x="4900287" y="2322855"/>
                    <a:pt x="4920455" y="2321621"/>
                  </a:cubicBezTo>
                  <a:close/>
                  <a:moveTo>
                    <a:pt x="1362188" y="2313278"/>
                  </a:moveTo>
                  <a:cubicBezTo>
                    <a:pt x="1387194" y="2313278"/>
                    <a:pt x="1408361" y="2317151"/>
                    <a:pt x="1427105" y="2333107"/>
                  </a:cubicBezTo>
                  <a:cubicBezTo>
                    <a:pt x="1457852" y="2407444"/>
                    <a:pt x="1488228" y="2478997"/>
                    <a:pt x="1518593" y="2548209"/>
                  </a:cubicBezTo>
                  <a:cubicBezTo>
                    <a:pt x="1507316" y="2551717"/>
                    <a:pt x="1498450" y="2558846"/>
                    <a:pt x="1490360" y="2566793"/>
                  </a:cubicBezTo>
                  <a:cubicBezTo>
                    <a:pt x="1485963" y="2565735"/>
                    <a:pt x="1481621" y="2565994"/>
                    <a:pt x="1478640" y="2569036"/>
                  </a:cubicBezTo>
                  <a:cubicBezTo>
                    <a:pt x="1465611" y="2569036"/>
                    <a:pt x="1459098" y="2569036"/>
                    <a:pt x="1459098" y="2575688"/>
                  </a:cubicBezTo>
                  <a:cubicBezTo>
                    <a:pt x="1450534" y="2588806"/>
                    <a:pt x="1461672" y="2590427"/>
                    <a:pt x="1472152" y="2589758"/>
                  </a:cubicBezTo>
                  <a:cubicBezTo>
                    <a:pt x="1446308" y="2618446"/>
                    <a:pt x="1432359" y="2656658"/>
                    <a:pt x="1432359" y="2698129"/>
                  </a:cubicBezTo>
                  <a:cubicBezTo>
                    <a:pt x="1432359" y="2778081"/>
                    <a:pt x="1484204" y="2845923"/>
                    <a:pt x="1556377" y="2869069"/>
                  </a:cubicBezTo>
                  <a:lnTo>
                    <a:pt x="1501687" y="3028094"/>
                  </a:lnTo>
                  <a:cubicBezTo>
                    <a:pt x="1493723" y="3026583"/>
                    <a:pt x="1485837" y="3023298"/>
                    <a:pt x="1479494" y="3016898"/>
                  </a:cubicBezTo>
                  <a:cubicBezTo>
                    <a:pt x="1472978" y="3003746"/>
                    <a:pt x="1472978" y="2984018"/>
                    <a:pt x="1472978" y="2970867"/>
                  </a:cubicBezTo>
                  <a:cubicBezTo>
                    <a:pt x="1466460" y="2957714"/>
                    <a:pt x="1459943" y="2951138"/>
                    <a:pt x="1453427" y="2937987"/>
                  </a:cubicBezTo>
                  <a:cubicBezTo>
                    <a:pt x="1446909" y="2931411"/>
                    <a:pt x="1446909" y="2911683"/>
                    <a:pt x="1446909" y="2898531"/>
                  </a:cubicBezTo>
                  <a:cubicBezTo>
                    <a:pt x="1446909" y="2872228"/>
                    <a:pt x="1453427" y="2852501"/>
                    <a:pt x="1440392" y="2826197"/>
                  </a:cubicBezTo>
                  <a:cubicBezTo>
                    <a:pt x="1433876" y="2819622"/>
                    <a:pt x="1427358" y="2806470"/>
                    <a:pt x="1420841" y="2806470"/>
                  </a:cubicBezTo>
                  <a:cubicBezTo>
                    <a:pt x="1401290" y="2799893"/>
                    <a:pt x="1388256" y="2806470"/>
                    <a:pt x="1375223" y="2806470"/>
                  </a:cubicBezTo>
                  <a:cubicBezTo>
                    <a:pt x="1362188" y="2813046"/>
                    <a:pt x="1349154" y="2813046"/>
                    <a:pt x="1336121" y="2813046"/>
                  </a:cubicBezTo>
                  <a:cubicBezTo>
                    <a:pt x="1323086" y="2813046"/>
                    <a:pt x="1310052" y="2806470"/>
                    <a:pt x="1316569" y="2793318"/>
                  </a:cubicBezTo>
                  <a:cubicBezTo>
                    <a:pt x="1329603" y="2780166"/>
                    <a:pt x="1342637" y="2767015"/>
                    <a:pt x="1342637" y="2753862"/>
                  </a:cubicBezTo>
                  <a:cubicBezTo>
                    <a:pt x="1349154" y="2740711"/>
                    <a:pt x="1342637" y="2740711"/>
                    <a:pt x="1336121" y="2727559"/>
                  </a:cubicBezTo>
                  <a:cubicBezTo>
                    <a:pt x="1336076" y="2727481"/>
                    <a:pt x="1329623" y="2714407"/>
                    <a:pt x="1336121" y="2714407"/>
                  </a:cubicBezTo>
                  <a:cubicBezTo>
                    <a:pt x="1336168" y="2714459"/>
                    <a:pt x="1342559" y="2720904"/>
                    <a:pt x="1342637" y="2720983"/>
                  </a:cubicBezTo>
                  <a:cubicBezTo>
                    <a:pt x="1349154" y="2720983"/>
                    <a:pt x="1355672" y="2720983"/>
                    <a:pt x="1362188" y="2720983"/>
                  </a:cubicBezTo>
                  <a:cubicBezTo>
                    <a:pt x="1362188" y="2714407"/>
                    <a:pt x="1355672" y="2701255"/>
                    <a:pt x="1362188" y="2694680"/>
                  </a:cubicBezTo>
                  <a:cubicBezTo>
                    <a:pt x="1362188" y="2688104"/>
                    <a:pt x="1362188" y="2674951"/>
                    <a:pt x="1368705" y="2668376"/>
                  </a:cubicBezTo>
                  <a:cubicBezTo>
                    <a:pt x="1368705" y="2655224"/>
                    <a:pt x="1375223" y="2642072"/>
                    <a:pt x="1368705" y="2628920"/>
                  </a:cubicBezTo>
                  <a:cubicBezTo>
                    <a:pt x="1362188" y="2622345"/>
                    <a:pt x="1349154" y="2615769"/>
                    <a:pt x="1342637" y="2615769"/>
                  </a:cubicBezTo>
                  <a:cubicBezTo>
                    <a:pt x="1323086" y="2615769"/>
                    <a:pt x="1303536" y="2628920"/>
                    <a:pt x="1290501" y="2642072"/>
                  </a:cubicBezTo>
                  <a:cubicBezTo>
                    <a:pt x="1277467" y="2655224"/>
                    <a:pt x="1270950" y="2674951"/>
                    <a:pt x="1264434" y="2688104"/>
                  </a:cubicBezTo>
                  <a:cubicBezTo>
                    <a:pt x="1251399" y="2707831"/>
                    <a:pt x="1218814" y="2714407"/>
                    <a:pt x="1199263" y="2720983"/>
                  </a:cubicBezTo>
                  <a:cubicBezTo>
                    <a:pt x="1186230" y="2720983"/>
                    <a:pt x="1173195" y="2727559"/>
                    <a:pt x="1160161" y="2727559"/>
                  </a:cubicBezTo>
                  <a:cubicBezTo>
                    <a:pt x="1147128" y="2720983"/>
                    <a:pt x="1147128" y="2701255"/>
                    <a:pt x="1140610" y="2688104"/>
                  </a:cubicBezTo>
                  <a:cubicBezTo>
                    <a:pt x="1134093" y="2681527"/>
                    <a:pt x="1127577" y="2668376"/>
                    <a:pt x="1121059" y="2661800"/>
                  </a:cubicBezTo>
                  <a:cubicBezTo>
                    <a:pt x="1101508" y="2642072"/>
                    <a:pt x="1094992" y="2602616"/>
                    <a:pt x="1094992" y="2576313"/>
                  </a:cubicBezTo>
                  <a:cubicBezTo>
                    <a:pt x="1094992" y="2556585"/>
                    <a:pt x="1094992" y="2536858"/>
                    <a:pt x="1101508" y="2523705"/>
                  </a:cubicBezTo>
                  <a:cubicBezTo>
                    <a:pt x="1101508" y="2510554"/>
                    <a:pt x="1108026" y="2503978"/>
                    <a:pt x="1108026" y="2490827"/>
                  </a:cubicBezTo>
                  <a:cubicBezTo>
                    <a:pt x="1108026" y="2477674"/>
                    <a:pt x="1108026" y="2464523"/>
                    <a:pt x="1108026" y="2444795"/>
                  </a:cubicBezTo>
                  <a:cubicBezTo>
                    <a:pt x="1114543" y="2425067"/>
                    <a:pt x="1121059" y="2411916"/>
                    <a:pt x="1134093" y="2392188"/>
                  </a:cubicBezTo>
                  <a:cubicBezTo>
                    <a:pt x="1134188" y="2392094"/>
                    <a:pt x="1140610" y="2385567"/>
                    <a:pt x="1140610" y="2379037"/>
                  </a:cubicBezTo>
                  <a:cubicBezTo>
                    <a:pt x="1147128" y="2372462"/>
                    <a:pt x="1166679" y="2365885"/>
                    <a:pt x="1173195" y="2359309"/>
                  </a:cubicBezTo>
                  <a:cubicBezTo>
                    <a:pt x="1192746" y="2352733"/>
                    <a:pt x="1218814" y="2333006"/>
                    <a:pt x="1238365" y="2339582"/>
                  </a:cubicBezTo>
                  <a:cubicBezTo>
                    <a:pt x="1264434" y="2339582"/>
                    <a:pt x="1283985" y="2365885"/>
                    <a:pt x="1310052" y="2359309"/>
                  </a:cubicBezTo>
                  <a:cubicBezTo>
                    <a:pt x="1323086" y="2352733"/>
                    <a:pt x="1316569" y="2339582"/>
                    <a:pt x="1316569" y="2333006"/>
                  </a:cubicBezTo>
                  <a:cubicBezTo>
                    <a:pt x="1323086" y="2319854"/>
                    <a:pt x="1349154" y="2319854"/>
                    <a:pt x="1362188" y="2313278"/>
                  </a:cubicBezTo>
                  <a:close/>
                  <a:moveTo>
                    <a:pt x="3205841" y="1867153"/>
                  </a:moveTo>
                  <a:lnTo>
                    <a:pt x="3397286" y="1964191"/>
                  </a:lnTo>
                  <a:cubicBezTo>
                    <a:pt x="3387349" y="1974607"/>
                    <a:pt x="3383586" y="1985694"/>
                    <a:pt x="3389078" y="1996780"/>
                  </a:cubicBezTo>
                  <a:cubicBezTo>
                    <a:pt x="3389078" y="2023097"/>
                    <a:pt x="3402117" y="2055992"/>
                    <a:pt x="3421674" y="2069150"/>
                  </a:cubicBezTo>
                  <a:cubicBezTo>
                    <a:pt x="3434712" y="2069150"/>
                    <a:pt x="3447751" y="2075729"/>
                    <a:pt x="3454269" y="2075729"/>
                  </a:cubicBezTo>
                  <a:cubicBezTo>
                    <a:pt x="3467308" y="2088888"/>
                    <a:pt x="3480346" y="2095467"/>
                    <a:pt x="3499903" y="2095467"/>
                  </a:cubicBezTo>
                  <a:cubicBezTo>
                    <a:pt x="3512942" y="2095467"/>
                    <a:pt x="3519460" y="2088888"/>
                    <a:pt x="3532499" y="2088888"/>
                  </a:cubicBezTo>
                  <a:cubicBezTo>
                    <a:pt x="3545537" y="2088888"/>
                    <a:pt x="3552057" y="2102046"/>
                    <a:pt x="3565094" y="2095467"/>
                  </a:cubicBezTo>
                  <a:cubicBezTo>
                    <a:pt x="3578133" y="2095467"/>
                    <a:pt x="3584651" y="2088888"/>
                    <a:pt x="3591170" y="2075729"/>
                  </a:cubicBezTo>
                  <a:lnTo>
                    <a:pt x="3594690" y="2066849"/>
                  </a:lnTo>
                  <a:lnTo>
                    <a:pt x="3669022" y="2107375"/>
                  </a:lnTo>
                  <a:cubicBezTo>
                    <a:pt x="3660251" y="2109916"/>
                    <a:pt x="3652162" y="2115094"/>
                    <a:pt x="3643324" y="2121783"/>
                  </a:cubicBezTo>
                  <a:cubicBezTo>
                    <a:pt x="3610728" y="2141519"/>
                    <a:pt x="3591170" y="2161256"/>
                    <a:pt x="3558575" y="2148098"/>
                  </a:cubicBezTo>
                  <a:cubicBezTo>
                    <a:pt x="3539018" y="2141519"/>
                    <a:pt x="3539018" y="2148098"/>
                    <a:pt x="3519460" y="2148098"/>
                  </a:cubicBezTo>
                  <a:cubicBezTo>
                    <a:pt x="3506423" y="2148098"/>
                    <a:pt x="3499903" y="2128361"/>
                    <a:pt x="3486865" y="2128361"/>
                  </a:cubicBezTo>
                  <a:cubicBezTo>
                    <a:pt x="3447751" y="2134940"/>
                    <a:pt x="3467308" y="2167835"/>
                    <a:pt x="3460789" y="2187573"/>
                  </a:cubicBezTo>
                  <a:cubicBezTo>
                    <a:pt x="3458220" y="2195351"/>
                    <a:pt x="3451601" y="2200064"/>
                    <a:pt x="3443526" y="2203296"/>
                  </a:cubicBezTo>
                  <a:cubicBezTo>
                    <a:pt x="3365505" y="2086791"/>
                    <a:pt x="3286717" y="1974433"/>
                    <a:pt x="3205841" y="1867153"/>
                  </a:cubicBezTo>
                  <a:close/>
                  <a:moveTo>
                    <a:pt x="3969279" y="1786252"/>
                  </a:moveTo>
                  <a:cubicBezTo>
                    <a:pt x="3982316" y="1792831"/>
                    <a:pt x="3988835" y="1799410"/>
                    <a:pt x="3995355" y="1805989"/>
                  </a:cubicBezTo>
                  <a:cubicBezTo>
                    <a:pt x="4001874" y="1819147"/>
                    <a:pt x="4008392" y="1832305"/>
                    <a:pt x="4021431" y="1838885"/>
                  </a:cubicBezTo>
                  <a:cubicBezTo>
                    <a:pt x="4034470" y="1858621"/>
                    <a:pt x="4054026" y="1871779"/>
                    <a:pt x="4073584" y="1878358"/>
                  </a:cubicBezTo>
                  <a:cubicBezTo>
                    <a:pt x="4086622" y="1884937"/>
                    <a:pt x="4106180" y="1891516"/>
                    <a:pt x="4119217" y="1898095"/>
                  </a:cubicBezTo>
                  <a:cubicBezTo>
                    <a:pt x="4125737" y="1904674"/>
                    <a:pt x="4132256" y="1911253"/>
                    <a:pt x="4138775" y="1924412"/>
                  </a:cubicBezTo>
                  <a:cubicBezTo>
                    <a:pt x="4138775" y="1937570"/>
                    <a:pt x="4138775" y="1950728"/>
                    <a:pt x="4138775" y="1970465"/>
                  </a:cubicBezTo>
                  <a:cubicBezTo>
                    <a:pt x="4145294" y="1983623"/>
                    <a:pt x="4151813" y="1996780"/>
                    <a:pt x="4164851" y="2009939"/>
                  </a:cubicBezTo>
                  <a:cubicBezTo>
                    <a:pt x="4171371" y="2016518"/>
                    <a:pt x="4171371" y="2016518"/>
                    <a:pt x="4177889" y="2023097"/>
                  </a:cubicBezTo>
                  <a:cubicBezTo>
                    <a:pt x="4184408" y="2029676"/>
                    <a:pt x="4184408" y="2029676"/>
                    <a:pt x="4190928" y="2036255"/>
                  </a:cubicBezTo>
                  <a:cubicBezTo>
                    <a:pt x="4197447" y="2042834"/>
                    <a:pt x="4217004" y="2042834"/>
                    <a:pt x="4217004" y="2049413"/>
                  </a:cubicBezTo>
                  <a:cubicBezTo>
                    <a:pt x="4223516" y="2062553"/>
                    <a:pt x="4204024" y="2056011"/>
                    <a:pt x="4203966" y="2055992"/>
                  </a:cubicBezTo>
                  <a:cubicBezTo>
                    <a:pt x="4190928" y="2055992"/>
                    <a:pt x="4190928" y="2069150"/>
                    <a:pt x="4197447" y="2075729"/>
                  </a:cubicBezTo>
                  <a:cubicBezTo>
                    <a:pt x="4197447" y="2088888"/>
                    <a:pt x="4210486" y="2095467"/>
                    <a:pt x="4223523" y="2095467"/>
                  </a:cubicBezTo>
                  <a:cubicBezTo>
                    <a:pt x="4236562" y="2095467"/>
                    <a:pt x="4236562" y="2088888"/>
                    <a:pt x="4236562" y="2082308"/>
                  </a:cubicBezTo>
                  <a:cubicBezTo>
                    <a:pt x="4236562" y="2062571"/>
                    <a:pt x="4243080" y="2062571"/>
                    <a:pt x="4256119" y="2062571"/>
                  </a:cubicBezTo>
                  <a:cubicBezTo>
                    <a:pt x="4262638" y="2062571"/>
                    <a:pt x="4269157" y="2049413"/>
                    <a:pt x="4262638" y="2036255"/>
                  </a:cubicBezTo>
                  <a:cubicBezTo>
                    <a:pt x="4262638" y="2029676"/>
                    <a:pt x="4256119" y="2023097"/>
                    <a:pt x="4249599" y="2016518"/>
                  </a:cubicBezTo>
                  <a:cubicBezTo>
                    <a:pt x="4243080" y="2009939"/>
                    <a:pt x="4236562" y="2003360"/>
                    <a:pt x="4236562" y="1990201"/>
                  </a:cubicBezTo>
                  <a:cubicBezTo>
                    <a:pt x="4243080" y="1983623"/>
                    <a:pt x="4256119" y="1983623"/>
                    <a:pt x="4262638" y="1983623"/>
                  </a:cubicBezTo>
                  <a:cubicBezTo>
                    <a:pt x="4269157" y="1977044"/>
                    <a:pt x="4269157" y="1977044"/>
                    <a:pt x="4275675" y="1977044"/>
                  </a:cubicBezTo>
                  <a:cubicBezTo>
                    <a:pt x="4275675" y="1970465"/>
                    <a:pt x="4275675" y="1963886"/>
                    <a:pt x="4275675" y="1957307"/>
                  </a:cubicBezTo>
                  <a:cubicBezTo>
                    <a:pt x="4282195" y="1950728"/>
                    <a:pt x="4288714" y="1950728"/>
                    <a:pt x="4295233" y="1950728"/>
                  </a:cubicBezTo>
                  <a:cubicBezTo>
                    <a:pt x="4301753" y="1950728"/>
                    <a:pt x="4301753" y="1950728"/>
                    <a:pt x="4308271" y="1950728"/>
                  </a:cubicBezTo>
                  <a:cubicBezTo>
                    <a:pt x="4321310" y="1957307"/>
                    <a:pt x="4321310" y="1957307"/>
                    <a:pt x="4327829" y="1970465"/>
                  </a:cubicBezTo>
                  <a:cubicBezTo>
                    <a:pt x="4334348" y="1983623"/>
                    <a:pt x="4340866" y="1996780"/>
                    <a:pt x="4340866" y="2009939"/>
                  </a:cubicBezTo>
                  <a:cubicBezTo>
                    <a:pt x="4340866" y="2036255"/>
                    <a:pt x="4334348" y="2055992"/>
                    <a:pt x="4353905" y="2082308"/>
                  </a:cubicBezTo>
                  <a:cubicBezTo>
                    <a:pt x="4360424" y="2088888"/>
                    <a:pt x="4373462" y="2088888"/>
                    <a:pt x="4379981" y="2095467"/>
                  </a:cubicBezTo>
                  <a:cubicBezTo>
                    <a:pt x="4386500" y="2102046"/>
                    <a:pt x="4393020" y="2121783"/>
                    <a:pt x="4406057" y="2128361"/>
                  </a:cubicBezTo>
                  <a:cubicBezTo>
                    <a:pt x="4425615" y="2141519"/>
                    <a:pt x="4432135" y="2115204"/>
                    <a:pt x="4451691" y="2115204"/>
                  </a:cubicBezTo>
                  <a:cubicBezTo>
                    <a:pt x="4471248" y="2102046"/>
                    <a:pt x="4477768" y="2121783"/>
                    <a:pt x="4490806" y="2128361"/>
                  </a:cubicBezTo>
                  <a:cubicBezTo>
                    <a:pt x="4510363" y="2134940"/>
                    <a:pt x="4542959" y="2128361"/>
                    <a:pt x="4549478" y="2121783"/>
                  </a:cubicBezTo>
                  <a:cubicBezTo>
                    <a:pt x="4555997" y="2115204"/>
                    <a:pt x="4569036" y="2088888"/>
                    <a:pt x="4582073" y="2108625"/>
                  </a:cubicBezTo>
                  <a:cubicBezTo>
                    <a:pt x="4608149" y="2134940"/>
                    <a:pt x="4549478" y="2187573"/>
                    <a:pt x="4555997" y="2220468"/>
                  </a:cubicBezTo>
                  <a:cubicBezTo>
                    <a:pt x="4555997" y="2233627"/>
                    <a:pt x="4569036" y="2253365"/>
                    <a:pt x="4549478" y="2266523"/>
                  </a:cubicBezTo>
                  <a:cubicBezTo>
                    <a:pt x="4529921" y="2273102"/>
                    <a:pt x="4503845" y="2266523"/>
                    <a:pt x="4484287" y="2273102"/>
                  </a:cubicBezTo>
                  <a:cubicBezTo>
                    <a:pt x="4471248" y="2273102"/>
                    <a:pt x="4458211" y="2279681"/>
                    <a:pt x="4445172" y="2286259"/>
                  </a:cubicBezTo>
                  <a:cubicBezTo>
                    <a:pt x="4425615" y="2299417"/>
                    <a:pt x="4412577" y="2292838"/>
                    <a:pt x="4393020" y="2286259"/>
                  </a:cubicBezTo>
                  <a:cubicBezTo>
                    <a:pt x="4386500" y="2279681"/>
                    <a:pt x="4379981" y="2279681"/>
                    <a:pt x="4373462" y="2279681"/>
                  </a:cubicBezTo>
                  <a:cubicBezTo>
                    <a:pt x="4366944" y="2279681"/>
                    <a:pt x="4366944" y="2286259"/>
                    <a:pt x="4360424" y="2286259"/>
                  </a:cubicBezTo>
                  <a:cubicBezTo>
                    <a:pt x="4353905" y="2292838"/>
                    <a:pt x="4353905" y="2286259"/>
                    <a:pt x="4340866" y="2286259"/>
                  </a:cubicBezTo>
                  <a:cubicBezTo>
                    <a:pt x="4314790" y="2286259"/>
                    <a:pt x="4288714" y="2292838"/>
                    <a:pt x="4262638" y="2273102"/>
                  </a:cubicBezTo>
                  <a:cubicBezTo>
                    <a:pt x="4243080" y="2253365"/>
                    <a:pt x="4223523" y="2233627"/>
                    <a:pt x="4197447" y="2233627"/>
                  </a:cubicBezTo>
                  <a:cubicBezTo>
                    <a:pt x="4177889" y="2240206"/>
                    <a:pt x="4158332" y="2246785"/>
                    <a:pt x="4151813" y="2273102"/>
                  </a:cubicBezTo>
                  <a:cubicBezTo>
                    <a:pt x="4151813" y="2286259"/>
                    <a:pt x="4158332" y="2305996"/>
                    <a:pt x="4138775" y="2312575"/>
                  </a:cubicBezTo>
                  <a:cubicBezTo>
                    <a:pt x="4119217" y="2325733"/>
                    <a:pt x="4060546" y="2305996"/>
                    <a:pt x="4047507" y="2286259"/>
                  </a:cubicBezTo>
                  <a:cubicBezTo>
                    <a:pt x="4027950" y="2266523"/>
                    <a:pt x="4008392" y="2253365"/>
                    <a:pt x="3975798" y="2246785"/>
                  </a:cubicBezTo>
                  <a:cubicBezTo>
                    <a:pt x="3949721" y="2240206"/>
                    <a:pt x="3917125" y="2227047"/>
                    <a:pt x="3904088" y="2200731"/>
                  </a:cubicBezTo>
                  <a:cubicBezTo>
                    <a:pt x="3891049" y="2167835"/>
                    <a:pt x="3936683" y="2108625"/>
                    <a:pt x="3897568" y="2082308"/>
                  </a:cubicBezTo>
                  <a:cubicBezTo>
                    <a:pt x="3871492" y="2075729"/>
                    <a:pt x="3838897" y="2075729"/>
                    <a:pt x="3819339" y="2088888"/>
                  </a:cubicBezTo>
                  <a:cubicBezTo>
                    <a:pt x="3791156" y="2094577"/>
                    <a:pt x="3762972" y="2100265"/>
                    <a:pt x="3734942" y="2095918"/>
                  </a:cubicBezTo>
                  <a:lnTo>
                    <a:pt x="3629942" y="2039026"/>
                  </a:lnTo>
                  <a:cubicBezTo>
                    <a:pt x="3634400" y="2034399"/>
                    <a:pt x="3636805" y="2028748"/>
                    <a:pt x="3636805" y="2023097"/>
                  </a:cubicBezTo>
                  <a:cubicBezTo>
                    <a:pt x="3643324" y="2009939"/>
                    <a:pt x="3636805" y="1996780"/>
                    <a:pt x="3643324" y="1977044"/>
                  </a:cubicBezTo>
                  <a:cubicBezTo>
                    <a:pt x="3656361" y="1963886"/>
                    <a:pt x="3662881" y="1937570"/>
                    <a:pt x="3682439" y="1930991"/>
                  </a:cubicBezTo>
                  <a:cubicBezTo>
                    <a:pt x="3688957" y="1924412"/>
                    <a:pt x="3715033" y="1917832"/>
                    <a:pt x="3721552" y="1911253"/>
                  </a:cubicBezTo>
                  <a:cubicBezTo>
                    <a:pt x="3728072" y="1891516"/>
                    <a:pt x="3715033" y="1871779"/>
                    <a:pt x="3728072" y="1858621"/>
                  </a:cubicBezTo>
                  <a:cubicBezTo>
                    <a:pt x="3734591" y="1852042"/>
                    <a:pt x="3747630" y="1852042"/>
                    <a:pt x="3760667" y="1852042"/>
                  </a:cubicBezTo>
                  <a:cubicBezTo>
                    <a:pt x="3767186" y="1852042"/>
                    <a:pt x="3780225" y="1858621"/>
                    <a:pt x="3793263" y="1858621"/>
                  </a:cubicBezTo>
                  <a:cubicBezTo>
                    <a:pt x="3799782" y="1865200"/>
                    <a:pt x="3806301" y="1858621"/>
                    <a:pt x="3819339" y="1852042"/>
                  </a:cubicBezTo>
                  <a:cubicBezTo>
                    <a:pt x="3825858" y="1845464"/>
                    <a:pt x="3838897" y="1832305"/>
                    <a:pt x="3845416" y="1825726"/>
                  </a:cubicBezTo>
                  <a:cubicBezTo>
                    <a:pt x="3851934" y="1819147"/>
                    <a:pt x="3858454" y="1819147"/>
                    <a:pt x="3871492" y="1819147"/>
                  </a:cubicBezTo>
                  <a:cubicBezTo>
                    <a:pt x="3891049" y="1819147"/>
                    <a:pt x="3904088" y="1838885"/>
                    <a:pt x="3910607" y="1852042"/>
                  </a:cubicBezTo>
                  <a:cubicBezTo>
                    <a:pt x="3910607" y="1865200"/>
                    <a:pt x="3917125" y="1871779"/>
                    <a:pt x="3923645" y="1884937"/>
                  </a:cubicBezTo>
                  <a:cubicBezTo>
                    <a:pt x="3923645" y="1891516"/>
                    <a:pt x="3930164" y="1898095"/>
                    <a:pt x="3936683" y="1904674"/>
                  </a:cubicBezTo>
                  <a:cubicBezTo>
                    <a:pt x="3949721" y="1917832"/>
                    <a:pt x="3969279" y="1930991"/>
                    <a:pt x="3982316" y="1937570"/>
                  </a:cubicBezTo>
                  <a:cubicBezTo>
                    <a:pt x="4008392" y="1944149"/>
                    <a:pt x="4021431" y="1950728"/>
                    <a:pt x="4034470" y="1977044"/>
                  </a:cubicBezTo>
                  <a:cubicBezTo>
                    <a:pt x="4040989" y="1990201"/>
                    <a:pt x="4047507" y="2003360"/>
                    <a:pt x="4047507" y="2023097"/>
                  </a:cubicBezTo>
                  <a:cubicBezTo>
                    <a:pt x="4047481" y="2023126"/>
                    <a:pt x="4040989" y="2029691"/>
                    <a:pt x="4040989" y="2036255"/>
                  </a:cubicBezTo>
                  <a:cubicBezTo>
                    <a:pt x="4040989" y="2042799"/>
                    <a:pt x="4040989" y="2049341"/>
                    <a:pt x="4040989" y="2049413"/>
                  </a:cubicBezTo>
                  <a:cubicBezTo>
                    <a:pt x="4034470" y="2055992"/>
                    <a:pt x="4027950" y="2055992"/>
                    <a:pt x="4021431" y="2055992"/>
                  </a:cubicBezTo>
                  <a:cubicBezTo>
                    <a:pt x="4008392" y="2055992"/>
                    <a:pt x="4001874" y="2049413"/>
                    <a:pt x="3988835" y="2049413"/>
                  </a:cubicBezTo>
                  <a:cubicBezTo>
                    <a:pt x="3969279" y="2055992"/>
                    <a:pt x="3969279" y="2069150"/>
                    <a:pt x="3982316" y="2082308"/>
                  </a:cubicBezTo>
                  <a:cubicBezTo>
                    <a:pt x="3988835" y="2088888"/>
                    <a:pt x="3995355" y="2088888"/>
                    <a:pt x="4001874" y="2088888"/>
                  </a:cubicBezTo>
                  <a:cubicBezTo>
                    <a:pt x="4008392" y="2095467"/>
                    <a:pt x="4014912" y="2095467"/>
                    <a:pt x="4021431" y="2088888"/>
                  </a:cubicBezTo>
                  <a:cubicBezTo>
                    <a:pt x="4027950" y="2082308"/>
                    <a:pt x="4027950" y="2075729"/>
                    <a:pt x="4034470" y="2069150"/>
                  </a:cubicBezTo>
                  <a:cubicBezTo>
                    <a:pt x="4040989" y="2062571"/>
                    <a:pt x="4047507" y="2062571"/>
                    <a:pt x="4054026" y="2055992"/>
                  </a:cubicBezTo>
                  <a:cubicBezTo>
                    <a:pt x="4054026" y="2055966"/>
                    <a:pt x="4054026" y="2049444"/>
                    <a:pt x="4054026" y="2049413"/>
                  </a:cubicBezTo>
                  <a:cubicBezTo>
                    <a:pt x="4060546" y="2042834"/>
                    <a:pt x="4060546" y="2042834"/>
                    <a:pt x="4067065" y="2036255"/>
                  </a:cubicBezTo>
                  <a:cubicBezTo>
                    <a:pt x="4067124" y="2036200"/>
                    <a:pt x="4073584" y="2029656"/>
                    <a:pt x="4073584" y="2023097"/>
                  </a:cubicBezTo>
                  <a:cubicBezTo>
                    <a:pt x="4080103" y="2009939"/>
                    <a:pt x="4080103" y="2009939"/>
                    <a:pt x="4073584" y="1996780"/>
                  </a:cubicBezTo>
                  <a:cubicBezTo>
                    <a:pt x="4067065" y="1990201"/>
                    <a:pt x="4067065" y="1977044"/>
                    <a:pt x="4073584" y="1970465"/>
                  </a:cubicBezTo>
                  <a:cubicBezTo>
                    <a:pt x="4080103" y="1957307"/>
                    <a:pt x="4099661" y="1983623"/>
                    <a:pt x="4106180" y="1977044"/>
                  </a:cubicBezTo>
                  <a:cubicBezTo>
                    <a:pt x="4119217" y="1970465"/>
                    <a:pt x="4093141" y="1950728"/>
                    <a:pt x="4086622" y="1944149"/>
                  </a:cubicBezTo>
                  <a:cubicBezTo>
                    <a:pt x="4080103" y="1944149"/>
                    <a:pt x="4073584" y="1944149"/>
                    <a:pt x="4060546" y="1937570"/>
                  </a:cubicBezTo>
                  <a:cubicBezTo>
                    <a:pt x="4054026" y="1930991"/>
                    <a:pt x="4054026" y="1924412"/>
                    <a:pt x="4047507" y="1917832"/>
                  </a:cubicBezTo>
                  <a:cubicBezTo>
                    <a:pt x="4027950" y="1904674"/>
                    <a:pt x="4008392" y="1898095"/>
                    <a:pt x="3995355" y="1884937"/>
                  </a:cubicBezTo>
                  <a:cubicBezTo>
                    <a:pt x="3988835" y="1871779"/>
                    <a:pt x="3982316" y="1865200"/>
                    <a:pt x="3975798" y="1852042"/>
                  </a:cubicBezTo>
                  <a:cubicBezTo>
                    <a:pt x="3969279" y="1838885"/>
                    <a:pt x="3962759" y="1832305"/>
                    <a:pt x="3956240" y="1825726"/>
                  </a:cubicBezTo>
                  <a:cubicBezTo>
                    <a:pt x="3949721" y="1805989"/>
                    <a:pt x="3949721" y="1786252"/>
                    <a:pt x="3969279" y="1786252"/>
                  </a:cubicBezTo>
                  <a:close/>
                  <a:moveTo>
                    <a:pt x="410146" y="1579357"/>
                  </a:moveTo>
                  <a:cubicBezTo>
                    <a:pt x="424264" y="1582970"/>
                    <a:pt x="437263" y="1590915"/>
                    <a:pt x="443292" y="1603081"/>
                  </a:cubicBezTo>
                  <a:cubicBezTo>
                    <a:pt x="449809" y="1616233"/>
                    <a:pt x="443292" y="1642537"/>
                    <a:pt x="430259" y="1649113"/>
                  </a:cubicBezTo>
                  <a:cubicBezTo>
                    <a:pt x="417224" y="1655688"/>
                    <a:pt x="397673" y="1649113"/>
                    <a:pt x="384639" y="1649113"/>
                  </a:cubicBezTo>
                  <a:cubicBezTo>
                    <a:pt x="365088" y="1655688"/>
                    <a:pt x="365088" y="1681992"/>
                    <a:pt x="365088" y="1695144"/>
                  </a:cubicBezTo>
                  <a:cubicBezTo>
                    <a:pt x="365088" y="1721448"/>
                    <a:pt x="384639" y="1741175"/>
                    <a:pt x="404190" y="1754327"/>
                  </a:cubicBezTo>
                  <a:cubicBezTo>
                    <a:pt x="417224" y="1767479"/>
                    <a:pt x="423741" y="1787207"/>
                    <a:pt x="423741" y="1800359"/>
                  </a:cubicBezTo>
                  <a:cubicBezTo>
                    <a:pt x="430258" y="1839814"/>
                    <a:pt x="423741" y="1879269"/>
                    <a:pt x="417224" y="1918724"/>
                  </a:cubicBezTo>
                  <a:cubicBezTo>
                    <a:pt x="417224" y="1938451"/>
                    <a:pt x="417224" y="1958179"/>
                    <a:pt x="417224" y="1977906"/>
                  </a:cubicBezTo>
                  <a:cubicBezTo>
                    <a:pt x="430258" y="2004210"/>
                    <a:pt x="443292" y="2030514"/>
                    <a:pt x="449810" y="2063394"/>
                  </a:cubicBezTo>
                  <a:cubicBezTo>
                    <a:pt x="456326" y="2076545"/>
                    <a:pt x="462843" y="2089697"/>
                    <a:pt x="469360" y="2109425"/>
                  </a:cubicBezTo>
                  <a:cubicBezTo>
                    <a:pt x="475877" y="2122577"/>
                    <a:pt x="482394" y="2142305"/>
                    <a:pt x="488911" y="2155456"/>
                  </a:cubicBezTo>
                  <a:cubicBezTo>
                    <a:pt x="501945" y="2175183"/>
                    <a:pt x="521496" y="2201487"/>
                    <a:pt x="541047" y="2214639"/>
                  </a:cubicBezTo>
                  <a:cubicBezTo>
                    <a:pt x="560598" y="2234367"/>
                    <a:pt x="586666" y="2240943"/>
                    <a:pt x="606217" y="2267247"/>
                  </a:cubicBezTo>
                  <a:cubicBezTo>
                    <a:pt x="612734" y="2280398"/>
                    <a:pt x="619251" y="2300127"/>
                    <a:pt x="625768" y="2313278"/>
                  </a:cubicBezTo>
                  <a:cubicBezTo>
                    <a:pt x="638802" y="2333006"/>
                    <a:pt x="651836" y="2346158"/>
                    <a:pt x="658353" y="2365885"/>
                  </a:cubicBezTo>
                  <a:cubicBezTo>
                    <a:pt x="671387" y="2379037"/>
                    <a:pt x="658353" y="2392188"/>
                    <a:pt x="658353" y="2405339"/>
                  </a:cubicBezTo>
                  <a:cubicBezTo>
                    <a:pt x="651836" y="2425067"/>
                    <a:pt x="677904" y="2438219"/>
                    <a:pt x="684421" y="2444795"/>
                  </a:cubicBezTo>
                  <a:cubicBezTo>
                    <a:pt x="697455" y="2457947"/>
                    <a:pt x="710489" y="2471099"/>
                    <a:pt x="717006" y="2484250"/>
                  </a:cubicBezTo>
                  <a:cubicBezTo>
                    <a:pt x="730040" y="2497403"/>
                    <a:pt x="736557" y="2517130"/>
                    <a:pt x="743074" y="2536858"/>
                  </a:cubicBezTo>
                  <a:cubicBezTo>
                    <a:pt x="743074" y="2543434"/>
                    <a:pt x="749591" y="2556585"/>
                    <a:pt x="762625" y="2556585"/>
                  </a:cubicBezTo>
                  <a:cubicBezTo>
                    <a:pt x="775658" y="2556585"/>
                    <a:pt x="775658" y="2543434"/>
                    <a:pt x="775658" y="2536858"/>
                  </a:cubicBezTo>
                  <a:cubicBezTo>
                    <a:pt x="775658" y="2530282"/>
                    <a:pt x="769142" y="2517130"/>
                    <a:pt x="762625" y="2510554"/>
                  </a:cubicBezTo>
                  <a:cubicBezTo>
                    <a:pt x="756108" y="2503978"/>
                    <a:pt x="749591" y="2490827"/>
                    <a:pt x="743074" y="2477674"/>
                  </a:cubicBezTo>
                  <a:cubicBezTo>
                    <a:pt x="736557" y="2471099"/>
                    <a:pt x="730040" y="2464523"/>
                    <a:pt x="723523" y="2451371"/>
                  </a:cubicBezTo>
                  <a:cubicBezTo>
                    <a:pt x="710489" y="2438219"/>
                    <a:pt x="703972" y="2425067"/>
                    <a:pt x="697455" y="2405339"/>
                  </a:cubicBezTo>
                  <a:cubicBezTo>
                    <a:pt x="690938" y="2385613"/>
                    <a:pt x="677904" y="2372462"/>
                    <a:pt x="677904" y="2352733"/>
                  </a:cubicBezTo>
                  <a:cubicBezTo>
                    <a:pt x="671387" y="2339582"/>
                    <a:pt x="671387" y="2326429"/>
                    <a:pt x="671387" y="2306702"/>
                  </a:cubicBezTo>
                  <a:cubicBezTo>
                    <a:pt x="671387" y="2286974"/>
                    <a:pt x="690938" y="2280398"/>
                    <a:pt x="710489" y="2293551"/>
                  </a:cubicBezTo>
                  <a:cubicBezTo>
                    <a:pt x="723523" y="2306702"/>
                    <a:pt x="730040" y="2326429"/>
                    <a:pt x="736557" y="2339582"/>
                  </a:cubicBezTo>
                  <a:cubicBezTo>
                    <a:pt x="749591" y="2352733"/>
                    <a:pt x="762625" y="2372462"/>
                    <a:pt x="775658" y="2392188"/>
                  </a:cubicBezTo>
                  <a:cubicBezTo>
                    <a:pt x="801727" y="2438219"/>
                    <a:pt x="821278" y="2484250"/>
                    <a:pt x="847346" y="2530282"/>
                  </a:cubicBezTo>
                  <a:cubicBezTo>
                    <a:pt x="853862" y="2536858"/>
                    <a:pt x="866897" y="2550009"/>
                    <a:pt x="873414" y="2556585"/>
                  </a:cubicBezTo>
                  <a:cubicBezTo>
                    <a:pt x="879931" y="2569738"/>
                    <a:pt x="879931" y="2569738"/>
                    <a:pt x="886448" y="2582889"/>
                  </a:cubicBezTo>
                  <a:cubicBezTo>
                    <a:pt x="892964" y="2596041"/>
                    <a:pt x="899482" y="2602616"/>
                    <a:pt x="899482" y="2615769"/>
                  </a:cubicBezTo>
                  <a:cubicBezTo>
                    <a:pt x="905999" y="2635496"/>
                    <a:pt x="899482" y="2655224"/>
                    <a:pt x="899482" y="2674951"/>
                  </a:cubicBezTo>
                  <a:cubicBezTo>
                    <a:pt x="905999" y="2688104"/>
                    <a:pt x="912515" y="2714407"/>
                    <a:pt x="925550" y="2727559"/>
                  </a:cubicBezTo>
                  <a:cubicBezTo>
                    <a:pt x="938584" y="2740711"/>
                    <a:pt x="951617" y="2740711"/>
                    <a:pt x="971168" y="2747287"/>
                  </a:cubicBezTo>
                  <a:cubicBezTo>
                    <a:pt x="977686" y="2753862"/>
                    <a:pt x="984202" y="2767015"/>
                    <a:pt x="997237" y="2767015"/>
                  </a:cubicBezTo>
                  <a:cubicBezTo>
                    <a:pt x="1003753" y="2773591"/>
                    <a:pt x="1016788" y="2767015"/>
                    <a:pt x="1023304" y="2773591"/>
                  </a:cubicBezTo>
                  <a:cubicBezTo>
                    <a:pt x="1029822" y="2780166"/>
                    <a:pt x="1029822" y="2786742"/>
                    <a:pt x="1036339" y="2786742"/>
                  </a:cubicBezTo>
                  <a:cubicBezTo>
                    <a:pt x="1049373" y="2799893"/>
                    <a:pt x="1055890" y="2813046"/>
                    <a:pt x="1075441" y="2819622"/>
                  </a:cubicBezTo>
                  <a:cubicBezTo>
                    <a:pt x="1094992" y="2826197"/>
                    <a:pt x="1127577" y="2826197"/>
                    <a:pt x="1147128" y="2819622"/>
                  </a:cubicBezTo>
                  <a:cubicBezTo>
                    <a:pt x="1166679" y="2813046"/>
                    <a:pt x="1186230" y="2806470"/>
                    <a:pt x="1205781" y="2813046"/>
                  </a:cubicBezTo>
                  <a:cubicBezTo>
                    <a:pt x="1218814" y="2819622"/>
                    <a:pt x="1225332" y="2832773"/>
                    <a:pt x="1238365" y="2839349"/>
                  </a:cubicBezTo>
                  <a:cubicBezTo>
                    <a:pt x="1257916" y="2852501"/>
                    <a:pt x="1264434" y="2878803"/>
                    <a:pt x="1283985" y="2885380"/>
                  </a:cubicBezTo>
                  <a:cubicBezTo>
                    <a:pt x="1290501" y="2891956"/>
                    <a:pt x="1297018" y="2891956"/>
                    <a:pt x="1303536" y="2891956"/>
                  </a:cubicBezTo>
                  <a:cubicBezTo>
                    <a:pt x="1329603" y="2898531"/>
                    <a:pt x="1342637" y="2905107"/>
                    <a:pt x="1355672" y="2918259"/>
                  </a:cubicBezTo>
                  <a:cubicBezTo>
                    <a:pt x="1381739" y="2937987"/>
                    <a:pt x="1375223" y="2977442"/>
                    <a:pt x="1388256" y="2997170"/>
                  </a:cubicBezTo>
                  <a:cubicBezTo>
                    <a:pt x="1401290" y="3010322"/>
                    <a:pt x="1414325" y="3010322"/>
                    <a:pt x="1427358" y="3016898"/>
                  </a:cubicBezTo>
                  <a:cubicBezTo>
                    <a:pt x="1440392" y="3023473"/>
                    <a:pt x="1440392" y="3043202"/>
                    <a:pt x="1459943" y="3049777"/>
                  </a:cubicBezTo>
                  <a:cubicBezTo>
                    <a:pt x="1466770" y="3056665"/>
                    <a:pt x="1478960" y="3058142"/>
                    <a:pt x="1491811" y="3056810"/>
                  </a:cubicBezTo>
                  <a:cubicBezTo>
                    <a:pt x="1426327" y="3270386"/>
                    <a:pt x="1381963" y="3510108"/>
                    <a:pt x="1357836" y="3753401"/>
                  </a:cubicBezTo>
                  <a:cubicBezTo>
                    <a:pt x="1117675" y="3775787"/>
                    <a:pt x="878695" y="3783528"/>
                    <a:pt x="637311" y="3793448"/>
                  </a:cubicBezTo>
                  <a:cubicBezTo>
                    <a:pt x="618234" y="3714625"/>
                    <a:pt x="547078" y="3656345"/>
                    <a:pt x="462310" y="3656345"/>
                  </a:cubicBezTo>
                  <a:cubicBezTo>
                    <a:pt x="419997" y="3656345"/>
                    <a:pt x="381076" y="3670866"/>
                    <a:pt x="351902" y="3696785"/>
                  </a:cubicBezTo>
                  <a:cubicBezTo>
                    <a:pt x="218267" y="3387537"/>
                    <a:pt x="145086" y="3045999"/>
                    <a:pt x="145086" y="2687211"/>
                  </a:cubicBezTo>
                  <a:cubicBezTo>
                    <a:pt x="145086" y="2290103"/>
                    <a:pt x="234735" y="1914126"/>
                    <a:pt x="397422" y="1580084"/>
                  </a:cubicBezTo>
                  <a:cubicBezTo>
                    <a:pt x="401797" y="1577616"/>
                    <a:pt x="406020" y="1578301"/>
                    <a:pt x="410146" y="1579357"/>
                  </a:cubicBezTo>
                  <a:close/>
                  <a:moveTo>
                    <a:pt x="2361829" y="1500921"/>
                  </a:moveTo>
                  <a:cubicBezTo>
                    <a:pt x="2617943" y="1597474"/>
                    <a:pt x="2874306" y="1707071"/>
                    <a:pt x="3120312" y="1825613"/>
                  </a:cubicBezTo>
                  <a:cubicBezTo>
                    <a:pt x="3225381" y="1963374"/>
                    <a:pt x="3319732" y="2097659"/>
                    <a:pt x="3407681" y="2222306"/>
                  </a:cubicBezTo>
                  <a:cubicBezTo>
                    <a:pt x="3382328" y="2248433"/>
                    <a:pt x="3376041" y="2293428"/>
                    <a:pt x="3376041" y="2325733"/>
                  </a:cubicBezTo>
                  <a:cubicBezTo>
                    <a:pt x="3376041" y="2358629"/>
                    <a:pt x="3363002" y="2384945"/>
                    <a:pt x="3343445" y="2404682"/>
                  </a:cubicBezTo>
                  <a:cubicBezTo>
                    <a:pt x="3310850" y="2430998"/>
                    <a:pt x="3284774" y="2437577"/>
                    <a:pt x="3271735" y="2470472"/>
                  </a:cubicBezTo>
                  <a:cubicBezTo>
                    <a:pt x="3258696" y="2496788"/>
                    <a:pt x="3258696" y="2516526"/>
                    <a:pt x="3232620" y="2536263"/>
                  </a:cubicBezTo>
                  <a:cubicBezTo>
                    <a:pt x="3219583" y="2549421"/>
                    <a:pt x="3213063" y="2556000"/>
                    <a:pt x="3206544" y="2569157"/>
                  </a:cubicBezTo>
                  <a:cubicBezTo>
                    <a:pt x="3206544" y="2602053"/>
                    <a:pt x="3186987" y="2621790"/>
                    <a:pt x="3200025" y="2648106"/>
                  </a:cubicBezTo>
                  <a:cubicBezTo>
                    <a:pt x="3213063" y="2661264"/>
                    <a:pt x="3206544" y="2681002"/>
                    <a:pt x="3213063" y="2694160"/>
                  </a:cubicBezTo>
                  <a:cubicBezTo>
                    <a:pt x="3213063" y="2707318"/>
                    <a:pt x="3219583" y="2720475"/>
                    <a:pt x="3219583" y="2740212"/>
                  </a:cubicBezTo>
                  <a:cubicBezTo>
                    <a:pt x="3219583" y="2759951"/>
                    <a:pt x="3206544" y="2773109"/>
                    <a:pt x="3200025" y="2792846"/>
                  </a:cubicBezTo>
                  <a:cubicBezTo>
                    <a:pt x="3193505" y="2812583"/>
                    <a:pt x="3186987" y="2852058"/>
                    <a:pt x="3193505" y="2871794"/>
                  </a:cubicBezTo>
                  <a:cubicBezTo>
                    <a:pt x="3193505" y="2911268"/>
                    <a:pt x="3232620" y="2931006"/>
                    <a:pt x="3245659" y="2957322"/>
                  </a:cubicBezTo>
                  <a:cubicBezTo>
                    <a:pt x="3278254" y="3003375"/>
                    <a:pt x="3291292" y="3095482"/>
                    <a:pt x="3343445" y="3128377"/>
                  </a:cubicBezTo>
                  <a:cubicBezTo>
                    <a:pt x="3382560" y="3148114"/>
                    <a:pt x="3434712" y="3181009"/>
                    <a:pt x="3480346" y="3161271"/>
                  </a:cubicBezTo>
                  <a:cubicBezTo>
                    <a:pt x="3506423" y="3154693"/>
                    <a:pt x="3525979" y="3148114"/>
                    <a:pt x="3558575" y="3148114"/>
                  </a:cubicBezTo>
                  <a:cubicBezTo>
                    <a:pt x="3565094" y="3141535"/>
                    <a:pt x="3578133" y="3141535"/>
                    <a:pt x="3584651" y="3141535"/>
                  </a:cubicBezTo>
                  <a:cubicBezTo>
                    <a:pt x="3591170" y="3141535"/>
                    <a:pt x="3604209" y="3148114"/>
                    <a:pt x="3610728" y="3154693"/>
                  </a:cubicBezTo>
                  <a:cubicBezTo>
                    <a:pt x="3643324" y="3161271"/>
                    <a:pt x="3669400" y="3141535"/>
                    <a:pt x="3695476" y="3134956"/>
                  </a:cubicBezTo>
                  <a:cubicBezTo>
                    <a:pt x="3708515" y="3128377"/>
                    <a:pt x="3728072" y="3128377"/>
                    <a:pt x="3734591" y="3128377"/>
                  </a:cubicBezTo>
                  <a:cubicBezTo>
                    <a:pt x="3754148" y="3128377"/>
                    <a:pt x="3754148" y="3134956"/>
                    <a:pt x="3767186" y="3141535"/>
                  </a:cubicBezTo>
                  <a:cubicBezTo>
                    <a:pt x="3786743" y="3154693"/>
                    <a:pt x="3799782" y="3167850"/>
                    <a:pt x="3819339" y="3174430"/>
                  </a:cubicBezTo>
                  <a:cubicBezTo>
                    <a:pt x="3855486" y="3186590"/>
                    <a:pt x="3870755" y="3211392"/>
                    <a:pt x="3873949" y="3241281"/>
                  </a:cubicBezTo>
                  <a:cubicBezTo>
                    <a:pt x="3461883" y="3377852"/>
                    <a:pt x="3090069" y="3470887"/>
                    <a:pt x="2724694" y="3553798"/>
                  </a:cubicBezTo>
                  <a:lnTo>
                    <a:pt x="2717723" y="3536393"/>
                  </a:lnTo>
                  <a:cubicBezTo>
                    <a:pt x="2711206" y="3523242"/>
                    <a:pt x="2698172" y="3516666"/>
                    <a:pt x="2691655" y="3510090"/>
                  </a:cubicBezTo>
                  <a:cubicBezTo>
                    <a:pt x="2672104" y="3496938"/>
                    <a:pt x="2652553" y="3477210"/>
                    <a:pt x="2633002" y="3464058"/>
                  </a:cubicBezTo>
                  <a:cubicBezTo>
                    <a:pt x="2613451" y="3450906"/>
                    <a:pt x="2593900" y="3444331"/>
                    <a:pt x="2574349" y="3437755"/>
                  </a:cubicBezTo>
                  <a:cubicBezTo>
                    <a:pt x="2561315" y="3437755"/>
                    <a:pt x="2541764" y="3437755"/>
                    <a:pt x="2528730" y="3437755"/>
                  </a:cubicBezTo>
                  <a:cubicBezTo>
                    <a:pt x="2509179" y="3431179"/>
                    <a:pt x="2489628" y="3424602"/>
                    <a:pt x="2476594" y="3404875"/>
                  </a:cubicBezTo>
                  <a:cubicBezTo>
                    <a:pt x="2470077" y="3391724"/>
                    <a:pt x="2463560" y="3391724"/>
                    <a:pt x="2450526" y="3385147"/>
                  </a:cubicBezTo>
                  <a:cubicBezTo>
                    <a:pt x="2437493" y="3378571"/>
                    <a:pt x="2430975" y="3365420"/>
                    <a:pt x="2417942" y="3365420"/>
                  </a:cubicBezTo>
                  <a:cubicBezTo>
                    <a:pt x="2404907" y="3365420"/>
                    <a:pt x="2398391" y="3365420"/>
                    <a:pt x="2385356" y="3365420"/>
                  </a:cubicBezTo>
                  <a:cubicBezTo>
                    <a:pt x="2372322" y="3358844"/>
                    <a:pt x="2365805" y="3345693"/>
                    <a:pt x="2352771" y="3339117"/>
                  </a:cubicBezTo>
                  <a:cubicBezTo>
                    <a:pt x="2333220" y="3325965"/>
                    <a:pt x="2320187" y="3306237"/>
                    <a:pt x="2313669" y="3286510"/>
                  </a:cubicBezTo>
                  <a:cubicBezTo>
                    <a:pt x="2307152" y="3273359"/>
                    <a:pt x="2300636" y="3253630"/>
                    <a:pt x="2294118" y="3240479"/>
                  </a:cubicBezTo>
                  <a:cubicBezTo>
                    <a:pt x="2287601" y="3214175"/>
                    <a:pt x="2274567" y="3168144"/>
                    <a:pt x="2241983" y="3161568"/>
                  </a:cubicBezTo>
                  <a:cubicBezTo>
                    <a:pt x="2228949" y="3154992"/>
                    <a:pt x="2215914" y="3141840"/>
                    <a:pt x="2202881" y="3135264"/>
                  </a:cubicBezTo>
                  <a:cubicBezTo>
                    <a:pt x="2183330" y="3128688"/>
                    <a:pt x="2163778" y="3122113"/>
                    <a:pt x="2144227" y="3115537"/>
                  </a:cubicBezTo>
                  <a:cubicBezTo>
                    <a:pt x="2105125" y="3102384"/>
                    <a:pt x="2066023" y="3069505"/>
                    <a:pt x="2039956" y="3036625"/>
                  </a:cubicBezTo>
                  <a:cubicBezTo>
                    <a:pt x="2033439" y="3023473"/>
                    <a:pt x="2020405" y="3003746"/>
                    <a:pt x="2007370" y="2997170"/>
                  </a:cubicBezTo>
                  <a:cubicBezTo>
                    <a:pt x="1994337" y="2990594"/>
                    <a:pt x="1974786" y="2990594"/>
                    <a:pt x="1955235" y="2984018"/>
                  </a:cubicBezTo>
                  <a:cubicBezTo>
                    <a:pt x="1935684" y="2977442"/>
                    <a:pt x="1909616" y="2977442"/>
                    <a:pt x="1890065" y="2977442"/>
                  </a:cubicBezTo>
                  <a:cubicBezTo>
                    <a:pt x="1870514" y="2977442"/>
                    <a:pt x="1844446" y="2984018"/>
                    <a:pt x="1824895" y="2977442"/>
                  </a:cubicBezTo>
                  <a:cubicBezTo>
                    <a:pt x="1811861" y="2977442"/>
                    <a:pt x="1798827" y="2977442"/>
                    <a:pt x="1785793" y="2977442"/>
                  </a:cubicBezTo>
                  <a:cubicBezTo>
                    <a:pt x="1779307" y="2977442"/>
                    <a:pt x="1772819" y="2983959"/>
                    <a:pt x="1772759" y="2984018"/>
                  </a:cubicBezTo>
                  <a:cubicBezTo>
                    <a:pt x="1772759" y="2990565"/>
                    <a:pt x="1772759" y="2997110"/>
                    <a:pt x="1772759" y="2997170"/>
                  </a:cubicBezTo>
                  <a:lnTo>
                    <a:pt x="1772759" y="2999378"/>
                  </a:lnTo>
                  <a:cubicBezTo>
                    <a:pt x="1748087" y="2950273"/>
                    <a:pt x="1724475" y="2901467"/>
                    <a:pt x="1702560" y="2852555"/>
                  </a:cubicBezTo>
                  <a:cubicBezTo>
                    <a:pt x="1748596" y="2828936"/>
                    <a:pt x="1781151" y="2784418"/>
                    <a:pt x="1790909" y="2731861"/>
                  </a:cubicBezTo>
                  <a:cubicBezTo>
                    <a:pt x="1800866" y="2734739"/>
                    <a:pt x="1811233" y="2737995"/>
                    <a:pt x="1819190" y="2734009"/>
                  </a:cubicBezTo>
                  <a:cubicBezTo>
                    <a:pt x="1832327" y="2727427"/>
                    <a:pt x="1832327" y="2714265"/>
                    <a:pt x="1825758" y="2707683"/>
                  </a:cubicBezTo>
                  <a:cubicBezTo>
                    <a:pt x="1819190" y="2694520"/>
                    <a:pt x="1806051" y="2684647"/>
                    <a:pt x="1792914" y="2681356"/>
                  </a:cubicBezTo>
                  <a:lnTo>
                    <a:pt x="1792619" y="2681363"/>
                  </a:lnTo>
                  <a:cubicBezTo>
                    <a:pt x="1788577" y="2632255"/>
                    <a:pt x="1764691" y="2588846"/>
                    <a:pt x="1728105" y="2560069"/>
                  </a:cubicBezTo>
                  <a:cubicBezTo>
                    <a:pt x="1835327" y="2282920"/>
                    <a:pt x="2009805" y="1984326"/>
                    <a:pt x="2218953" y="1692434"/>
                  </a:cubicBezTo>
                  <a:cubicBezTo>
                    <a:pt x="2222347" y="1692216"/>
                    <a:pt x="2225642" y="1693181"/>
                    <a:pt x="2229144" y="1694355"/>
                  </a:cubicBezTo>
                  <a:cubicBezTo>
                    <a:pt x="2242273" y="1694355"/>
                    <a:pt x="2248838" y="1707556"/>
                    <a:pt x="2261967" y="1707556"/>
                  </a:cubicBezTo>
                  <a:cubicBezTo>
                    <a:pt x="2275096" y="1707556"/>
                    <a:pt x="2288225" y="1707556"/>
                    <a:pt x="2294790" y="1694355"/>
                  </a:cubicBezTo>
                  <a:cubicBezTo>
                    <a:pt x="2301354" y="1674555"/>
                    <a:pt x="2288225" y="1667954"/>
                    <a:pt x="2275096" y="1654754"/>
                  </a:cubicBezTo>
                  <a:lnTo>
                    <a:pt x="2258691" y="1638260"/>
                  </a:lnTo>
                  <a:close/>
                  <a:moveTo>
                    <a:pt x="2113689" y="1410315"/>
                  </a:moveTo>
                  <a:cubicBezTo>
                    <a:pt x="2182975" y="1433311"/>
                    <a:pt x="2252144" y="1458468"/>
                    <a:pt x="2321184" y="1485101"/>
                  </a:cubicBezTo>
                  <a:cubicBezTo>
                    <a:pt x="2289129" y="1525509"/>
                    <a:pt x="2258980" y="1566814"/>
                    <a:pt x="2229636" y="1608083"/>
                  </a:cubicBezTo>
                  <a:cubicBezTo>
                    <a:pt x="2225516" y="1606903"/>
                    <a:pt x="2220973" y="1606891"/>
                    <a:pt x="2216015" y="1608553"/>
                  </a:cubicBezTo>
                  <a:cubicBezTo>
                    <a:pt x="2209450" y="1608553"/>
                    <a:pt x="2209450" y="1615153"/>
                    <a:pt x="2202886" y="1615153"/>
                  </a:cubicBezTo>
                  <a:cubicBezTo>
                    <a:pt x="2196321" y="1615153"/>
                    <a:pt x="2183192" y="1615153"/>
                    <a:pt x="2183192" y="1608553"/>
                  </a:cubicBezTo>
                  <a:cubicBezTo>
                    <a:pt x="2176629" y="1601952"/>
                    <a:pt x="2183192" y="1595352"/>
                    <a:pt x="2183192" y="1582152"/>
                  </a:cubicBezTo>
                  <a:cubicBezTo>
                    <a:pt x="2189757" y="1575551"/>
                    <a:pt x="2189757" y="1562351"/>
                    <a:pt x="2196321" y="1549151"/>
                  </a:cubicBezTo>
                  <a:cubicBezTo>
                    <a:pt x="2196321" y="1542550"/>
                    <a:pt x="2196321" y="1529349"/>
                    <a:pt x="2189757" y="1529349"/>
                  </a:cubicBezTo>
                  <a:cubicBezTo>
                    <a:pt x="2183192" y="1529349"/>
                    <a:pt x="2183192" y="1529349"/>
                    <a:pt x="2176629" y="1529349"/>
                  </a:cubicBezTo>
                  <a:cubicBezTo>
                    <a:pt x="2163500" y="1529349"/>
                    <a:pt x="2163500" y="1555750"/>
                    <a:pt x="2163500" y="1568951"/>
                  </a:cubicBezTo>
                  <a:cubicBezTo>
                    <a:pt x="2156935" y="1601952"/>
                    <a:pt x="2110983" y="1621752"/>
                    <a:pt x="2110983" y="1648154"/>
                  </a:cubicBezTo>
                  <a:cubicBezTo>
                    <a:pt x="2116956" y="1684186"/>
                    <a:pt x="2144667" y="1692897"/>
                    <a:pt x="2169460" y="1692884"/>
                  </a:cubicBezTo>
                  <a:cubicBezTo>
                    <a:pt x="1961170" y="1988840"/>
                    <a:pt x="1796647" y="2279991"/>
                    <a:pt x="1692801" y="2537872"/>
                  </a:cubicBezTo>
                  <a:cubicBezTo>
                    <a:pt x="1669542" y="2523926"/>
                    <a:pt x="1642229" y="2517154"/>
                    <a:pt x="1613334" y="2517154"/>
                  </a:cubicBezTo>
                  <a:lnTo>
                    <a:pt x="1554453" y="2528627"/>
                  </a:lnTo>
                  <a:lnTo>
                    <a:pt x="1534460" y="2483231"/>
                  </a:lnTo>
                  <a:cubicBezTo>
                    <a:pt x="1551181" y="2481709"/>
                    <a:pt x="1551181" y="2455131"/>
                    <a:pt x="1551181" y="2438219"/>
                  </a:cubicBezTo>
                  <a:cubicBezTo>
                    <a:pt x="1544664" y="2411916"/>
                    <a:pt x="1531630" y="2392188"/>
                    <a:pt x="1525113" y="2365885"/>
                  </a:cubicBezTo>
                  <a:cubicBezTo>
                    <a:pt x="1512079" y="2339582"/>
                    <a:pt x="1512079" y="2313278"/>
                    <a:pt x="1525113" y="2286974"/>
                  </a:cubicBezTo>
                  <a:cubicBezTo>
                    <a:pt x="1538147" y="2260671"/>
                    <a:pt x="1564215" y="2240943"/>
                    <a:pt x="1583766" y="2221216"/>
                  </a:cubicBezTo>
                  <a:cubicBezTo>
                    <a:pt x="1596800" y="2201487"/>
                    <a:pt x="1616351" y="2194912"/>
                    <a:pt x="1629385" y="2175183"/>
                  </a:cubicBezTo>
                  <a:cubicBezTo>
                    <a:pt x="1635902" y="2162032"/>
                    <a:pt x="1642419" y="2148881"/>
                    <a:pt x="1642419" y="2135728"/>
                  </a:cubicBezTo>
                  <a:cubicBezTo>
                    <a:pt x="1642419" y="2129152"/>
                    <a:pt x="1635902" y="2122577"/>
                    <a:pt x="1635902" y="2116001"/>
                  </a:cubicBezTo>
                  <a:cubicBezTo>
                    <a:pt x="1635902" y="2102849"/>
                    <a:pt x="1635902" y="2096273"/>
                    <a:pt x="1635902" y="2089697"/>
                  </a:cubicBezTo>
                  <a:cubicBezTo>
                    <a:pt x="1635902" y="2069970"/>
                    <a:pt x="1629385" y="2050241"/>
                    <a:pt x="1635902" y="2030514"/>
                  </a:cubicBezTo>
                  <a:cubicBezTo>
                    <a:pt x="1635902" y="2023939"/>
                    <a:pt x="1648936" y="1997635"/>
                    <a:pt x="1655453" y="2010786"/>
                  </a:cubicBezTo>
                  <a:cubicBezTo>
                    <a:pt x="1661970" y="2017362"/>
                    <a:pt x="1661970" y="2023939"/>
                    <a:pt x="1655453" y="2030514"/>
                  </a:cubicBezTo>
                  <a:cubicBezTo>
                    <a:pt x="1655453" y="2037090"/>
                    <a:pt x="1655453" y="2043666"/>
                    <a:pt x="1661970" y="2050241"/>
                  </a:cubicBezTo>
                  <a:cubicBezTo>
                    <a:pt x="1668487" y="2056817"/>
                    <a:pt x="1681521" y="2063394"/>
                    <a:pt x="1688038" y="2050241"/>
                  </a:cubicBezTo>
                  <a:cubicBezTo>
                    <a:pt x="1688038" y="2043666"/>
                    <a:pt x="1688038" y="2030514"/>
                    <a:pt x="1688038" y="2017362"/>
                  </a:cubicBezTo>
                  <a:cubicBezTo>
                    <a:pt x="1688038" y="2010786"/>
                    <a:pt x="1688038" y="2010786"/>
                    <a:pt x="1688038" y="2004210"/>
                  </a:cubicBezTo>
                  <a:cubicBezTo>
                    <a:pt x="1694555" y="1991059"/>
                    <a:pt x="1707589" y="1984483"/>
                    <a:pt x="1714106" y="1977906"/>
                  </a:cubicBezTo>
                  <a:cubicBezTo>
                    <a:pt x="1714106" y="1971331"/>
                    <a:pt x="1714106" y="1964755"/>
                    <a:pt x="1720624" y="1958179"/>
                  </a:cubicBezTo>
                  <a:cubicBezTo>
                    <a:pt x="1720624" y="1951603"/>
                    <a:pt x="1727140" y="1945028"/>
                    <a:pt x="1733657" y="1938451"/>
                  </a:cubicBezTo>
                  <a:cubicBezTo>
                    <a:pt x="1753208" y="1912148"/>
                    <a:pt x="1772759" y="1885845"/>
                    <a:pt x="1792310" y="1859541"/>
                  </a:cubicBezTo>
                  <a:cubicBezTo>
                    <a:pt x="1805344" y="1846390"/>
                    <a:pt x="1837929" y="1820086"/>
                    <a:pt x="1857480" y="1820086"/>
                  </a:cubicBezTo>
                  <a:cubicBezTo>
                    <a:pt x="1870514" y="1813510"/>
                    <a:pt x="1883548" y="1820086"/>
                    <a:pt x="1890065" y="1806934"/>
                  </a:cubicBezTo>
                  <a:cubicBezTo>
                    <a:pt x="1896582" y="1793783"/>
                    <a:pt x="1890065" y="1793783"/>
                    <a:pt x="1903099" y="1787207"/>
                  </a:cubicBezTo>
                  <a:cubicBezTo>
                    <a:pt x="1909616" y="1780630"/>
                    <a:pt x="1948717" y="1767479"/>
                    <a:pt x="1948717" y="1787207"/>
                  </a:cubicBezTo>
                  <a:cubicBezTo>
                    <a:pt x="1942201" y="1793783"/>
                    <a:pt x="1935684" y="1800359"/>
                    <a:pt x="1929166" y="1806934"/>
                  </a:cubicBezTo>
                  <a:cubicBezTo>
                    <a:pt x="1922650" y="1813510"/>
                    <a:pt x="1916133" y="1820086"/>
                    <a:pt x="1922650" y="1833238"/>
                  </a:cubicBezTo>
                  <a:cubicBezTo>
                    <a:pt x="1929166" y="1839814"/>
                    <a:pt x="1942201" y="1846390"/>
                    <a:pt x="1955235" y="1846390"/>
                  </a:cubicBezTo>
                  <a:cubicBezTo>
                    <a:pt x="1968268" y="1846390"/>
                    <a:pt x="1974786" y="1839814"/>
                    <a:pt x="1987819" y="1826663"/>
                  </a:cubicBezTo>
                  <a:cubicBezTo>
                    <a:pt x="1994337" y="1820086"/>
                    <a:pt x="1994337" y="1806934"/>
                    <a:pt x="2007370" y="1800359"/>
                  </a:cubicBezTo>
                  <a:cubicBezTo>
                    <a:pt x="2013888" y="1800359"/>
                    <a:pt x="2033439" y="1787207"/>
                    <a:pt x="2039956" y="1780630"/>
                  </a:cubicBezTo>
                  <a:cubicBezTo>
                    <a:pt x="2052990" y="1760903"/>
                    <a:pt x="1994342" y="1767479"/>
                    <a:pt x="1987819" y="1767479"/>
                  </a:cubicBezTo>
                  <a:cubicBezTo>
                    <a:pt x="1974786" y="1760903"/>
                    <a:pt x="1955235" y="1741175"/>
                    <a:pt x="1955235" y="1728023"/>
                  </a:cubicBezTo>
                  <a:cubicBezTo>
                    <a:pt x="1948717" y="1708296"/>
                    <a:pt x="1955235" y="1695144"/>
                    <a:pt x="1942201" y="1688568"/>
                  </a:cubicBezTo>
                  <a:cubicBezTo>
                    <a:pt x="1935684" y="1681992"/>
                    <a:pt x="1929166" y="1681992"/>
                    <a:pt x="1922650" y="1675417"/>
                  </a:cubicBezTo>
                  <a:cubicBezTo>
                    <a:pt x="1919391" y="1672129"/>
                    <a:pt x="1917762" y="1668841"/>
                    <a:pt x="1918577" y="1666374"/>
                  </a:cubicBezTo>
                  <a:lnTo>
                    <a:pt x="1929166" y="1662264"/>
                  </a:lnTo>
                  <a:cubicBezTo>
                    <a:pt x="1935684" y="1655688"/>
                    <a:pt x="1942201" y="1662264"/>
                    <a:pt x="1948717" y="1655688"/>
                  </a:cubicBezTo>
                  <a:cubicBezTo>
                    <a:pt x="1955235" y="1649113"/>
                    <a:pt x="1961752" y="1642537"/>
                    <a:pt x="1955235" y="1629384"/>
                  </a:cubicBezTo>
                  <a:cubicBezTo>
                    <a:pt x="1948717" y="1609657"/>
                    <a:pt x="1929166" y="1609657"/>
                    <a:pt x="1909616" y="1616233"/>
                  </a:cubicBezTo>
                  <a:cubicBezTo>
                    <a:pt x="1909549" y="1616273"/>
                    <a:pt x="1896571" y="1622809"/>
                    <a:pt x="1890065" y="1622809"/>
                  </a:cubicBezTo>
                  <a:cubicBezTo>
                    <a:pt x="1877031" y="1629384"/>
                    <a:pt x="1857480" y="1642537"/>
                    <a:pt x="1844446" y="1655688"/>
                  </a:cubicBezTo>
                  <a:cubicBezTo>
                    <a:pt x="1844446" y="1662264"/>
                    <a:pt x="1837929" y="1668841"/>
                    <a:pt x="1831412" y="1668841"/>
                  </a:cubicBezTo>
                  <a:cubicBezTo>
                    <a:pt x="1824895" y="1662264"/>
                    <a:pt x="1831412" y="1649113"/>
                    <a:pt x="1837929" y="1642537"/>
                  </a:cubicBezTo>
                  <a:cubicBezTo>
                    <a:pt x="1844446" y="1635961"/>
                    <a:pt x="1850963" y="1622809"/>
                    <a:pt x="1857480" y="1616233"/>
                  </a:cubicBezTo>
                  <a:cubicBezTo>
                    <a:pt x="1877031" y="1596506"/>
                    <a:pt x="1896582" y="1583353"/>
                    <a:pt x="1916133" y="1583353"/>
                  </a:cubicBezTo>
                  <a:cubicBezTo>
                    <a:pt x="1929166" y="1576777"/>
                    <a:pt x="1935684" y="1576777"/>
                    <a:pt x="1942201" y="1576777"/>
                  </a:cubicBezTo>
                  <a:cubicBezTo>
                    <a:pt x="1968268" y="1576777"/>
                    <a:pt x="1987819" y="1583353"/>
                    <a:pt x="2007370" y="1576777"/>
                  </a:cubicBezTo>
                  <a:cubicBezTo>
                    <a:pt x="2026921" y="1576777"/>
                    <a:pt x="2046472" y="1583353"/>
                    <a:pt x="2059507" y="1576777"/>
                  </a:cubicBezTo>
                  <a:cubicBezTo>
                    <a:pt x="2066023" y="1576777"/>
                    <a:pt x="2072541" y="1570202"/>
                    <a:pt x="2079058" y="1570202"/>
                  </a:cubicBezTo>
                  <a:cubicBezTo>
                    <a:pt x="2092092" y="1563626"/>
                    <a:pt x="2098608" y="1557050"/>
                    <a:pt x="2105125" y="1550473"/>
                  </a:cubicBezTo>
                  <a:cubicBezTo>
                    <a:pt x="2118159" y="1543898"/>
                    <a:pt x="2111643" y="1530746"/>
                    <a:pt x="2118159" y="1524170"/>
                  </a:cubicBezTo>
                  <a:cubicBezTo>
                    <a:pt x="2137710" y="1497866"/>
                    <a:pt x="2170296" y="1530746"/>
                    <a:pt x="2189847" y="1511018"/>
                  </a:cubicBezTo>
                  <a:cubicBezTo>
                    <a:pt x="2202881" y="1504442"/>
                    <a:pt x="2209398" y="1484715"/>
                    <a:pt x="2209398" y="1471563"/>
                  </a:cubicBezTo>
                  <a:cubicBezTo>
                    <a:pt x="2202881" y="1458411"/>
                    <a:pt x="2196363" y="1458411"/>
                    <a:pt x="2189847" y="1451835"/>
                  </a:cubicBezTo>
                  <a:cubicBezTo>
                    <a:pt x="2176812" y="1451835"/>
                    <a:pt x="2176812" y="1445260"/>
                    <a:pt x="2163778" y="1445260"/>
                  </a:cubicBezTo>
                  <a:cubicBezTo>
                    <a:pt x="2157261" y="1445260"/>
                    <a:pt x="2150745" y="1451835"/>
                    <a:pt x="2144227" y="1451835"/>
                  </a:cubicBezTo>
                  <a:cubicBezTo>
                    <a:pt x="2124676" y="1464987"/>
                    <a:pt x="2111643" y="1471563"/>
                    <a:pt x="2098608" y="1471563"/>
                  </a:cubicBezTo>
                  <a:cubicBezTo>
                    <a:pt x="2085574" y="1471563"/>
                    <a:pt x="2072541" y="1458411"/>
                    <a:pt x="2079058" y="1445260"/>
                  </a:cubicBezTo>
                  <a:cubicBezTo>
                    <a:pt x="2079058" y="1432107"/>
                    <a:pt x="2098608" y="1432107"/>
                    <a:pt x="2105125" y="1418956"/>
                  </a:cubicBezTo>
                  <a:close/>
                  <a:moveTo>
                    <a:pt x="3448170" y="1384560"/>
                  </a:moveTo>
                  <a:cubicBezTo>
                    <a:pt x="3441579" y="1384560"/>
                    <a:pt x="3434988" y="1391217"/>
                    <a:pt x="3428397" y="1397877"/>
                  </a:cubicBezTo>
                  <a:cubicBezTo>
                    <a:pt x="3421807" y="1404535"/>
                    <a:pt x="3415216" y="1411193"/>
                    <a:pt x="3408625" y="1411193"/>
                  </a:cubicBezTo>
                  <a:cubicBezTo>
                    <a:pt x="3402034" y="1417852"/>
                    <a:pt x="3395444" y="1411193"/>
                    <a:pt x="3388852" y="1417852"/>
                  </a:cubicBezTo>
                  <a:cubicBezTo>
                    <a:pt x="3388852" y="1424511"/>
                    <a:pt x="3395444" y="1424511"/>
                    <a:pt x="3395444" y="1431168"/>
                  </a:cubicBezTo>
                  <a:cubicBezTo>
                    <a:pt x="3395444" y="1444486"/>
                    <a:pt x="3375670" y="1437826"/>
                    <a:pt x="3382261" y="1451143"/>
                  </a:cubicBezTo>
                  <a:cubicBezTo>
                    <a:pt x="3382261" y="1457802"/>
                    <a:pt x="3388852" y="1457802"/>
                    <a:pt x="3395444" y="1464461"/>
                  </a:cubicBezTo>
                  <a:cubicBezTo>
                    <a:pt x="3395444" y="1464562"/>
                    <a:pt x="3395444" y="1477800"/>
                    <a:pt x="3395444" y="1484437"/>
                  </a:cubicBezTo>
                  <a:cubicBezTo>
                    <a:pt x="3395444" y="1491095"/>
                    <a:pt x="3395444" y="1497753"/>
                    <a:pt x="3388852" y="1497753"/>
                  </a:cubicBezTo>
                  <a:cubicBezTo>
                    <a:pt x="3382314" y="1504359"/>
                    <a:pt x="3375774" y="1504412"/>
                    <a:pt x="3375670" y="1504412"/>
                  </a:cubicBezTo>
                  <a:cubicBezTo>
                    <a:pt x="3375670" y="1511071"/>
                    <a:pt x="3375670" y="1517728"/>
                    <a:pt x="3369079" y="1524387"/>
                  </a:cubicBezTo>
                  <a:lnTo>
                    <a:pt x="3369904" y="1530213"/>
                  </a:lnTo>
                  <a:cubicBezTo>
                    <a:pt x="3370728" y="1531046"/>
                    <a:pt x="3372375" y="1531046"/>
                    <a:pt x="3375670" y="1531046"/>
                  </a:cubicBezTo>
                  <a:lnTo>
                    <a:pt x="3378966" y="1536039"/>
                  </a:lnTo>
                  <a:lnTo>
                    <a:pt x="3382261" y="1531046"/>
                  </a:lnTo>
                  <a:cubicBezTo>
                    <a:pt x="3388852" y="1531046"/>
                    <a:pt x="3388852" y="1531046"/>
                    <a:pt x="3395444" y="1531046"/>
                  </a:cubicBezTo>
                  <a:cubicBezTo>
                    <a:pt x="3402034" y="1531046"/>
                    <a:pt x="3408625" y="1537703"/>
                    <a:pt x="3415216" y="1537703"/>
                  </a:cubicBezTo>
                  <a:cubicBezTo>
                    <a:pt x="3421807" y="1537703"/>
                    <a:pt x="3421807" y="1531046"/>
                    <a:pt x="3428397" y="1524387"/>
                  </a:cubicBezTo>
                  <a:cubicBezTo>
                    <a:pt x="3434988" y="1524387"/>
                    <a:pt x="3434988" y="1517728"/>
                    <a:pt x="3441579" y="1517728"/>
                  </a:cubicBezTo>
                  <a:cubicBezTo>
                    <a:pt x="3448170" y="1511071"/>
                    <a:pt x="3448170" y="1511071"/>
                    <a:pt x="3454762" y="1511071"/>
                  </a:cubicBezTo>
                  <a:cubicBezTo>
                    <a:pt x="3461292" y="1511071"/>
                    <a:pt x="3461352" y="1504532"/>
                    <a:pt x="3461352" y="1504412"/>
                  </a:cubicBezTo>
                  <a:cubicBezTo>
                    <a:pt x="3467943" y="1497753"/>
                    <a:pt x="3467943" y="1491095"/>
                    <a:pt x="3474534" y="1491095"/>
                  </a:cubicBezTo>
                  <a:cubicBezTo>
                    <a:pt x="3474534" y="1477777"/>
                    <a:pt x="3467943" y="1471120"/>
                    <a:pt x="3467943" y="1457803"/>
                  </a:cubicBezTo>
                  <a:cubicBezTo>
                    <a:pt x="3467943" y="1457768"/>
                    <a:pt x="3467943" y="1451190"/>
                    <a:pt x="3467943" y="1451143"/>
                  </a:cubicBezTo>
                  <a:cubicBezTo>
                    <a:pt x="3467943" y="1444548"/>
                    <a:pt x="3467943" y="1437954"/>
                    <a:pt x="3467943" y="1437826"/>
                  </a:cubicBezTo>
                  <a:cubicBezTo>
                    <a:pt x="3467943" y="1431168"/>
                    <a:pt x="3481125" y="1431168"/>
                    <a:pt x="3481125" y="1424511"/>
                  </a:cubicBezTo>
                  <a:cubicBezTo>
                    <a:pt x="3487715" y="1417852"/>
                    <a:pt x="3481125" y="1397880"/>
                    <a:pt x="3474534" y="1391217"/>
                  </a:cubicBezTo>
                  <a:cubicBezTo>
                    <a:pt x="3474534" y="1384560"/>
                    <a:pt x="3467943" y="1391217"/>
                    <a:pt x="3461352" y="1391217"/>
                  </a:cubicBezTo>
                  <a:cubicBezTo>
                    <a:pt x="3454762" y="1391217"/>
                    <a:pt x="3454762" y="1384560"/>
                    <a:pt x="3448170" y="1384560"/>
                  </a:cubicBezTo>
                  <a:close/>
                  <a:moveTo>
                    <a:pt x="3951501" y="1350565"/>
                  </a:moveTo>
                  <a:cubicBezTo>
                    <a:pt x="3940327" y="1346911"/>
                    <a:pt x="3929153" y="1357874"/>
                    <a:pt x="3929153" y="1372494"/>
                  </a:cubicBezTo>
                  <a:cubicBezTo>
                    <a:pt x="3929153" y="1385487"/>
                    <a:pt x="3935775" y="1398482"/>
                    <a:pt x="3949018" y="1391985"/>
                  </a:cubicBezTo>
                  <a:cubicBezTo>
                    <a:pt x="3962260" y="1391985"/>
                    <a:pt x="3962260" y="1372494"/>
                    <a:pt x="3962260" y="1359499"/>
                  </a:cubicBezTo>
                  <a:cubicBezTo>
                    <a:pt x="3958950" y="1354626"/>
                    <a:pt x="3955226" y="1351784"/>
                    <a:pt x="3951501" y="1350565"/>
                  </a:cubicBezTo>
                  <a:close/>
                  <a:moveTo>
                    <a:pt x="3538712" y="1228629"/>
                  </a:moveTo>
                  <a:cubicBezTo>
                    <a:pt x="3532126" y="1235193"/>
                    <a:pt x="3525540" y="1235193"/>
                    <a:pt x="3518953" y="1235193"/>
                  </a:cubicBezTo>
                  <a:cubicBezTo>
                    <a:pt x="3512368" y="1235193"/>
                    <a:pt x="3512368" y="1241756"/>
                    <a:pt x="3512368" y="1248320"/>
                  </a:cubicBezTo>
                  <a:cubicBezTo>
                    <a:pt x="3512368" y="1254883"/>
                    <a:pt x="3505781" y="1248320"/>
                    <a:pt x="3505781" y="1254883"/>
                  </a:cubicBezTo>
                  <a:cubicBezTo>
                    <a:pt x="3499196" y="1261446"/>
                    <a:pt x="3505781" y="1261446"/>
                    <a:pt x="3505781" y="1268009"/>
                  </a:cubicBezTo>
                  <a:cubicBezTo>
                    <a:pt x="3499247" y="1274523"/>
                    <a:pt x="3492713" y="1274572"/>
                    <a:pt x="3492610" y="1274572"/>
                  </a:cubicBezTo>
                  <a:cubicBezTo>
                    <a:pt x="3486024" y="1281136"/>
                    <a:pt x="3492610" y="1287700"/>
                    <a:pt x="3492610" y="1294263"/>
                  </a:cubicBezTo>
                  <a:cubicBezTo>
                    <a:pt x="3505781" y="1294263"/>
                    <a:pt x="3492610" y="1307391"/>
                    <a:pt x="3486024" y="1313952"/>
                  </a:cubicBezTo>
                  <a:cubicBezTo>
                    <a:pt x="3486024" y="1320516"/>
                    <a:pt x="3492610" y="1320516"/>
                    <a:pt x="3492610" y="1327079"/>
                  </a:cubicBezTo>
                  <a:cubicBezTo>
                    <a:pt x="3492610" y="1333643"/>
                    <a:pt x="3492610" y="1333643"/>
                    <a:pt x="3492610" y="1340207"/>
                  </a:cubicBezTo>
                  <a:cubicBezTo>
                    <a:pt x="3492610" y="1346732"/>
                    <a:pt x="3499119" y="1346770"/>
                    <a:pt x="3499196" y="1346770"/>
                  </a:cubicBezTo>
                  <a:cubicBezTo>
                    <a:pt x="3505781" y="1353334"/>
                    <a:pt x="3512368" y="1353334"/>
                    <a:pt x="3512368" y="1359898"/>
                  </a:cubicBezTo>
                  <a:cubicBezTo>
                    <a:pt x="3512342" y="1359923"/>
                    <a:pt x="3505795" y="1366473"/>
                    <a:pt x="3512368" y="1373023"/>
                  </a:cubicBezTo>
                  <a:cubicBezTo>
                    <a:pt x="3512368" y="1379586"/>
                    <a:pt x="3518953" y="1386150"/>
                    <a:pt x="3525540" y="1386150"/>
                  </a:cubicBezTo>
                  <a:cubicBezTo>
                    <a:pt x="3532126" y="1386150"/>
                    <a:pt x="3545298" y="1386150"/>
                    <a:pt x="3551884" y="1392714"/>
                  </a:cubicBezTo>
                  <a:cubicBezTo>
                    <a:pt x="3558470" y="1399277"/>
                    <a:pt x="3532126" y="1412405"/>
                    <a:pt x="3545298" y="1418967"/>
                  </a:cubicBezTo>
                  <a:cubicBezTo>
                    <a:pt x="3551884" y="1418967"/>
                    <a:pt x="3558470" y="1412405"/>
                    <a:pt x="3565055" y="1418967"/>
                  </a:cubicBezTo>
                  <a:cubicBezTo>
                    <a:pt x="3571642" y="1445221"/>
                    <a:pt x="3532126" y="1438657"/>
                    <a:pt x="3525540" y="1451784"/>
                  </a:cubicBezTo>
                  <a:cubicBezTo>
                    <a:pt x="3518953" y="1458348"/>
                    <a:pt x="3525540" y="1458348"/>
                    <a:pt x="3525540" y="1464912"/>
                  </a:cubicBezTo>
                  <a:cubicBezTo>
                    <a:pt x="3525540" y="1471474"/>
                    <a:pt x="3518953" y="1471474"/>
                    <a:pt x="3518953" y="1484601"/>
                  </a:cubicBezTo>
                  <a:cubicBezTo>
                    <a:pt x="3518953" y="1491164"/>
                    <a:pt x="3525540" y="1491164"/>
                    <a:pt x="3518953" y="1497728"/>
                  </a:cubicBezTo>
                  <a:cubicBezTo>
                    <a:pt x="3518953" y="1504291"/>
                    <a:pt x="3512368" y="1504291"/>
                    <a:pt x="3505781" y="1510855"/>
                  </a:cubicBezTo>
                  <a:cubicBezTo>
                    <a:pt x="3499196" y="1517419"/>
                    <a:pt x="3512368" y="1523981"/>
                    <a:pt x="3518953" y="1523981"/>
                  </a:cubicBezTo>
                  <a:cubicBezTo>
                    <a:pt x="3525540" y="1523981"/>
                    <a:pt x="3525540" y="1530544"/>
                    <a:pt x="3532126" y="1530544"/>
                  </a:cubicBezTo>
                  <a:cubicBezTo>
                    <a:pt x="3538712" y="1530544"/>
                    <a:pt x="3545298" y="1530544"/>
                    <a:pt x="3558470" y="1530544"/>
                  </a:cubicBezTo>
                  <a:cubicBezTo>
                    <a:pt x="3558504" y="1530578"/>
                    <a:pt x="3564964" y="1537017"/>
                    <a:pt x="3565055" y="1537108"/>
                  </a:cubicBezTo>
                  <a:cubicBezTo>
                    <a:pt x="3551884" y="1543671"/>
                    <a:pt x="3545298" y="1543671"/>
                    <a:pt x="3532126" y="1543671"/>
                  </a:cubicBezTo>
                  <a:cubicBezTo>
                    <a:pt x="3525540" y="1543671"/>
                    <a:pt x="3518953" y="1543671"/>
                    <a:pt x="3512368" y="1550235"/>
                  </a:cubicBezTo>
                  <a:cubicBezTo>
                    <a:pt x="3512368" y="1556798"/>
                    <a:pt x="3505781" y="1563362"/>
                    <a:pt x="3499196" y="1569926"/>
                  </a:cubicBezTo>
                  <a:cubicBezTo>
                    <a:pt x="3492610" y="1576488"/>
                    <a:pt x="3486024" y="1576488"/>
                    <a:pt x="3479438" y="1583052"/>
                  </a:cubicBezTo>
                  <a:cubicBezTo>
                    <a:pt x="3479438" y="1589615"/>
                    <a:pt x="3479438" y="1596178"/>
                    <a:pt x="3486024" y="1596178"/>
                  </a:cubicBezTo>
                  <a:cubicBezTo>
                    <a:pt x="3499196" y="1596178"/>
                    <a:pt x="3499196" y="1589615"/>
                    <a:pt x="3505781" y="1583052"/>
                  </a:cubicBezTo>
                  <a:cubicBezTo>
                    <a:pt x="3512368" y="1583052"/>
                    <a:pt x="3518953" y="1576488"/>
                    <a:pt x="3532126" y="1576488"/>
                  </a:cubicBezTo>
                  <a:cubicBezTo>
                    <a:pt x="3538712" y="1576488"/>
                    <a:pt x="3545298" y="1576488"/>
                    <a:pt x="3551884" y="1569926"/>
                  </a:cubicBezTo>
                  <a:cubicBezTo>
                    <a:pt x="3558470" y="1563362"/>
                    <a:pt x="3565055" y="1569926"/>
                    <a:pt x="3571642" y="1569926"/>
                  </a:cubicBezTo>
                  <a:cubicBezTo>
                    <a:pt x="3584814" y="1569926"/>
                    <a:pt x="3591399" y="1563362"/>
                    <a:pt x="3597986" y="1556798"/>
                  </a:cubicBezTo>
                  <a:cubicBezTo>
                    <a:pt x="3611157" y="1556798"/>
                    <a:pt x="3617744" y="1563362"/>
                    <a:pt x="3624329" y="1563362"/>
                  </a:cubicBezTo>
                  <a:cubicBezTo>
                    <a:pt x="3630916" y="1563362"/>
                    <a:pt x="3644088" y="1563362"/>
                    <a:pt x="3650673" y="1563362"/>
                  </a:cubicBezTo>
                  <a:cubicBezTo>
                    <a:pt x="3657260" y="1563362"/>
                    <a:pt x="3670431" y="1556798"/>
                    <a:pt x="3670431" y="1550235"/>
                  </a:cubicBezTo>
                  <a:cubicBezTo>
                    <a:pt x="3677018" y="1550235"/>
                    <a:pt x="3677018" y="1537108"/>
                    <a:pt x="3670431" y="1537108"/>
                  </a:cubicBezTo>
                  <a:cubicBezTo>
                    <a:pt x="3670329" y="1537108"/>
                    <a:pt x="3663797" y="1537058"/>
                    <a:pt x="3657260" y="1530544"/>
                  </a:cubicBezTo>
                  <a:cubicBezTo>
                    <a:pt x="3650707" y="1530544"/>
                    <a:pt x="3663715" y="1517550"/>
                    <a:pt x="3663846" y="1517419"/>
                  </a:cubicBezTo>
                  <a:cubicBezTo>
                    <a:pt x="3670431" y="1517419"/>
                    <a:pt x="3677018" y="1517419"/>
                    <a:pt x="3677018" y="1510855"/>
                  </a:cubicBezTo>
                  <a:cubicBezTo>
                    <a:pt x="3683603" y="1510855"/>
                    <a:pt x="3683603" y="1504291"/>
                    <a:pt x="3683603" y="1497728"/>
                  </a:cubicBezTo>
                  <a:cubicBezTo>
                    <a:pt x="3683603" y="1484600"/>
                    <a:pt x="3683603" y="1471474"/>
                    <a:pt x="3663846" y="1471474"/>
                  </a:cubicBezTo>
                  <a:cubicBezTo>
                    <a:pt x="3657260" y="1471474"/>
                    <a:pt x="3650673" y="1478037"/>
                    <a:pt x="3644088" y="1464912"/>
                  </a:cubicBezTo>
                  <a:cubicBezTo>
                    <a:pt x="3644088" y="1464808"/>
                    <a:pt x="3644088" y="1458467"/>
                    <a:pt x="3644088" y="1458348"/>
                  </a:cubicBezTo>
                  <a:cubicBezTo>
                    <a:pt x="3644088" y="1451784"/>
                    <a:pt x="3644088" y="1451784"/>
                    <a:pt x="3644088" y="1445221"/>
                  </a:cubicBezTo>
                  <a:cubicBezTo>
                    <a:pt x="3650673" y="1438657"/>
                    <a:pt x="3637501" y="1438657"/>
                    <a:pt x="3630916" y="1432093"/>
                  </a:cubicBezTo>
                  <a:cubicBezTo>
                    <a:pt x="3630916" y="1425530"/>
                    <a:pt x="3624329" y="1425530"/>
                    <a:pt x="3624329" y="1418967"/>
                  </a:cubicBezTo>
                  <a:cubicBezTo>
                    <a:pt x="3624329" y="1415686"/>
                    <a:pt x="3624329" y="1414045"/>
                    <a:pt x="3623506" y="1413224"/>
                  </a:cubicBezTo>
                  <a:lnTo>
                    <a:pt x="3617744" y="1412405"/>
                  </a:lnTo>
                  <a:cubicBezTo>
                    <a:pt x="3617744" y="1412327"/>
                    <a:pt x="3617702" y="1405841"/>
                    <a:pt x="3611157" y="1405841"/>
                  </a:cubicBezTo>
                  <a:cubicBezTo>
                    <a:pt x="3604572" y="1399277"/>
                    <a:pt x="3604572" y="1392714"/>
                    <a:pt x="3597986" y="1386150"/>
                  </a:cubicBezTo>
                  <a:cubicBezTo>
                    <a:pt x="3597986" y="1379586"/>
                    <a:pt x="3591399" y="1373023"/>
                    <a:pt x="3584814" y="1373023"/>
                  </a:cubicBezTo>
                  <a:cubicBezTo>
                    <a:pt x="3584814" y="1366459"/>
                    <a:pt x="3584814" y="1359898"/>
                    <a:pt x="3578227" y="1359898"/>
                  </a:cubicBezTo>
                  <a:cubicBezTo>
                    <a:pt x="3578227" y="1353334"/>
                    <a:pt x="3571642" y="1353334"/>
                    <a:pt x="3565055" y="1346770"/>
                  </a:cubicBezTo>
                  <a:cubicBezTo>
                    <a:pt x="3565055" y="1340207"/>
                    <a:pt x="3565055" y="1340207"/>
                    <a:pt x="3571642" y="1333643"/>
                  </a:cubicBezTo>
                  <a:cubicBezTo>
                    <a:pt x="3571642" y="1327079"/>
                    <a:pt x="3571642" y="1327079"/>
                    <a:pt x="3571642" y="1320516"/>
                  </a:cubicBezTo>
                  <a:cubicBezTo>
                    <a:pt x="3571642" y="1313952"/>
                    <a:pt x="3578227" y="1313952"/>
                    <a:pt x="3584814" y="1307391"/>
                  </a:cubicBezTo>
                  <a:cubicBezTo>
                    <a:pt x="3584870" y="1307336"/>
                    <a:pt x="3591399" y="1300809"/>
                    <a:pt x="3591399" y="1294263"/>
                  </a:cubicBezTo>
                  <a:cubicBezTo>
                    <a:pt x="3597986" y="1287700"/>
                    <a:pt x="3597986" y="1274573"/>
                    <a:pt x="3591399" y="1268009"/>
                  </a:cubicBezTo>
                  <a:cubicBezTo>
                    <a:pt x="3584814" y="1268009"/>
                    <a:pt x="3584814" y="1268009"/>
                    <a:pt x="3578227" y="1268009"/>
                  </a:cubicBezTo>
                  <a:cubicBezTo>
                    <a:pt x="3571642" y="1261446"/>
                    <a:pt x="3545298" y="1268009"/>
                    <a:pt x="3551884" y="1254883"/>
                  </a:cubicBezTo>
                  <a:cubicBezTo>
                    <a:pt x="3551884" y="1248341"/>
                    <a:pt x="3551884" y="1241799"/>
                    <a:pt x="3551884" y="1241756"/>
                  </a:cubicBezTo>
                  <a:cubicBezTo>
                    <a:pt x="3551884" y="1228629"/>
                    <a:pt x="3545298" y="1228629"/>
                    <a:pt x="3538712" y="1228629"/>
                  </a:cubicBezTo>
                  <a:close/>
                  <a:moveTo>
                    <a:pt x="2595194" y="1209200"/>
                  </a:moveTo>
                  <a:cubicBezTo>
                    <a:pt x="2774956" y="1389398"/>
                    <a:pt x="2930603" y="1575575"/>
                    <a:pt x="3068765" y="1756467"/>
                  </a:cubicBezTo>
                  <a:cubicBezTo>
                    <a:pt x="2842338" y="1649459"/>
                    <a:pt x="2611999" y="1553477"/>
                    <a:pt x="2385578" y="1469296"/>
                  </a:cubicBezTo>
                  <a:cubicBezTo>
                    <a:pt x="2452642" y="1380508"/>
                    <a:pt x="2523049" y="1293710"/>
                    <a:pt x="2595194" y="1209200"/>
                  </a:cubicBezTo>
                  <a:close/>
                  <a:moveTo>
                    <a:pt x="1181641" y="1140853"/>
                  </a:moveTo>
                  <a:cubicBezTo>
                    <a:pt x="1320700" y="1170169"/>
                    <a:pt x="1466250" y="1207103"/>
                    <a:pt x="1615702" y="1251029"/>
                  </a:cubicBezTo>
                  <a:cubicBezTo>
                    <a:pt x="1617687" y="1255287"/>
                    <a:pt x="1619302" y="1260515"/>
                    <a:pt x="1622868" y="1267711"/>
                  </a:cubicBezTo>
                  <a:cubicBezTo>
                    <a:pt x="1622868" y="1274286"/>
                    <a:pt x="1629385" y="1287439"/>
                    <a:pt x="1635902" y="1300590"/>
                  </a:cubicBezTo>
                  <a:cubicBezTo>
                    <a:pt x="1635902" y="1307166"/>
                    <a:pt x="1642419" y="1326894"/>
                    <a:pt x="1635902" y="1340046"/>
                  </a:cubicBezTo>
                  <a:cubicBezTo>
                    <a:pt x="1635902" y="1353197"/>
                    <a:pt x="1622868" y="1366350"/>
                    <a:pt x="1616351" y="1372926"/>
                  </a:cubicBezTo>
                  <a:cubicBezTo>
                    <a:pt x="1603317" y="1379501"/>
                    <a:pt x="1590283" y="1386077"/>
                    <a:pt x="1583766" y="1399228"/>
                  </a:cubicBezTo>
                  <a:cubicBezTo>
                    <a:pt x="1570732" y="1412380"/>
                    <a:pt x="1577249" y="1432107"/>
                    <a:pt x="1583766" y="1445260"/>
                  </a:cubicBezTo>
                  <a:cubicBezTo>
                    <a:pt x="1583766" y="1458411"/>
                    <a:pt x="1583766" y="1478139"/>
                    <a:pt x="1577249" y="1484715"/>
                  </a:cubicBezTo>
                  <a:cubicBezTo>
                    <a:pt x="1564215" y="1497866"/>
                    <a:pt x="1544664" y="1504442"/>
                    <a:pt x="1531630" y="1497866"/>
                  </a:cubicBezTo>
                  <a:cubicBezTo>
                    <a:pt x="1518596" y="1497866"/>
                    <a:pt x="1505562" y="1471563"/>
                    <a:pt x="1505562" y="1451835"/>
                  </a:cubicBezTo>
                  <a:cubicBezTo>
                    <a:pt x="1499045" y="1438683"/>
                    <a:pt x="1505562" y="1405804"/>
                    <a:pt x="1492529" y="1386077"/>
                  </a:cubicBezTo>
                  <a:cubicBezTo>
                    <a:pt x="1479494" y="1372926"/>
                    <a:pt x="1453427" y="1372926"/>
                    <a:pt x="1433876" y="1366350"/>
                  </a:cubicBezTo>
                  <a:cubicBezTo>
                    <a:pt x="1407807" y="1366350"/>
                    <a:pt x="1388256" y="1346622"/>
                    <a:pt x="1368705" y="1333470"/>
                  </a:cubicBezTo>
                  <a:cubicBezTo>
                    <a:pt x="1355672" y="1326894"/>
                    <a:pt x="1349154" y="1313742"/>
                    <a:pt x="1336121" y="1313742"/>
                  </a:cubicBezTo>
                  <a:cubicBezTo>
                    <a:pt x="1323086" y="1307166"/>
                    <a:pt x="1303536" y="1300590"/>
                    <a:pt x="1290501" y="1300590"/>
                  </a:cubicBezTo>
                  <a:cubicBezTo>
                    <a:pt x="1257916" y="1294015"/>
                    <a:pt x="1218814" y="1267711"/>
                    <a:pt x="1212297" y="1234831"/>
                  </a:cubicBezTo>
                  <a:cubicBezTo>
                    <a:pt x="1205781" y="1215104"/>
                    <a:pt x="1192746" y="1201951"/>
                    <a:pt x="1179712" y="1182224"/>
                  </a:cubicBezTo>
                  <a:cubicBezTo>
                    <a:pt x="1175799" y="1166431"/>
                    <a:pt x="1176585" y="1153008"/>
                    <a:pt x="1181641" y="1140853"/>
                  </a:cubicBezTo>
                  <a:close/>
                  <a:moveTo>
                    <a:pt x="1969953" y="1036885"/>
                  </a:moveTo>
                  <a:cubicBezTo>
                    <a:pt x="1965880" y="1039703"/>
                    <a:pt x="1963552" y="1050980"/>
                    <a:pt x="1968207" y="1050980"/>
                  </a:cubicBezTo>
                  <a:cubicBezTo>
                    <a:pt x="1980623" y="1064346"/>
                    <a:pt x="1986830" y="1044298"/>
                    <a:pt x="1980623" y="1037616"/>
                  </a:cubicBezTo>
                  <a:lnTo>
                    <a:pt x="1975191" y="1037616"/>
                  </a:lnTo>
                  <a:cubicBezTo>
                    <a:pt x="1972863" y="1035944"/>
                    <a:pt x="1971311" y="1035944"/>
                    <a:pt x="1969953" y="1036885"/>
                  </a:cubicBezTo>
                  <a:close/>
                  <a:moveTo>
                    <a:pt x="1427507" y="943107"/>
                  </a:moveTo>
                  <a:cubicBezTo>
                    <a:pt x="1422616" y="943920"/>
                    <a:pt x="1417725" y="945544"/>
                    <a:pt x="1414465" y="945544"/>
                  </a:cubicBezTo>
                  <a:cubicBezTo>
                    <a:pt x="1407943" y="945544"/>
                    <a:pt x="1407943" y="952040"/>
                    <a:pt x="1401423" y="952040"/>
                  </a:cubicBezTo>
                  <a:cubicBezTo>
                    <a:pt x="1394902" y="965035"/>
                    <a:pt x="1407943" y="971531"/>
                    <a:pt x="1407943" y="978029"/>
                  </a:cubicBezTo>
                  <a:cubicBezTo>
                    <a:pt x="1407943" y="991023"/>
                    <a:pt x="1401423" y="991023"/>
                    <a:pt x="1394902" y="997519"/>
                  </a:cubicBezTo>
                  <a:cubicBezTo>
                    <a:pt x="1368817" y="1010514"/>
                    <a:pt x="1414465" y="1036501"/>
                    <a:pt x="1427507" y="1023509"/>
                  </a:cubicBezTo>
                  <a:cubicBezTo>
                    <a:pt x="1447071" y="1010514"/>
                    <a:pt x="1427507" y="978029"/>
                    <a:pt x="1453592" y="978029"/>
                  </a:cubicBezTo>
                  <a:cubicBezTo>
                    <a:pt x="1460113" y="978029"/>
                    <a:pt x="1460113" y="1004018"/>
                    <a:pt x="1466635" y="1010514"/>
                  </a:cubicBezTo>
                  <a:cubicBezTo>
                    <a:pt x="1473156" y="1017011"/>
                    <a:pt x="1486198" y="1017011"/>
                    <a:pt x="1492719" y="1017011"/>
                  </a:cubicBezTo>
                  <a:cubicBezTo>
                    <a:pt x="1499216" y="1017011"/>
                    <a:pt x="1505712" y="1017011"/>
                    <a:pt x="1505762" y="1017011"/>
                  </a:cubicBezTo>
                  <a:cubicBezTo>
                    <a:pt x="1512274" y="1010523"/>
                    <a:pt x="1505779" y="997555"/>
                    <a:pt x="1505762" y="997519"/>
                  </a:cubicBezTo>
                  <a:cubicBezTo>
                    <a:pt x="1499263" y="991047"/>
                    <a:pt x="1492766" y="991023"/>
                    <a:pt x="1492719" y="991023"/>
                  </a:cubicBezTo>
                  <a:cubicBezTo>
                    <a:pt x="1486198" y="991023"/>
                    <a:pt x="1479677" y="984526"/>
                    <a:pt x="1473156" y="978029"/>
                  </a:cubicBezTo>
                  <a:cubicBezTo>
                    <a:pt x="1466635" y="965035"/>
                    <a:pt x="1453592" y="945544"/>
                    <a:pt x="1440550" y="945544"/>
                  </a:cubicBezTo>
                  <a:cubicBezTo>
                    <a:pt x="1437289" y="942295"/>
                    <a:pt x="1432398" y="942295"/>
                    <a:pt x="1427507" y="943107"/>
                  </a:cubicBezTo>
                  <a:close/>
                  <a:moveTo>
                    <a:pt x="988089" y="922670"/>
                  </a:moveTo>
                  <a:cubicBezTo>
                    <a:pt x="1047007" y="922670"/>
                    <a:pt x="1094769" y="970432"/>
                    <a:pt x="1094769" y="1029350"/>
                  </a:cubicBezTo>
                  <a:cubicBezTo>
                    <a:pt x="1094769" y="1088268"/>
                    <a:pt x="1047007" y="1136030"/>
                    <a:pt x="988089" y="1136030"/>
                  </a:cubicBezTo>
                  <a:cubicBezTo>
                    <a:pt x="929171" y="1136030"/>
                    <a:pt x="881409" y="1088268"/>
                    <a:pt x="881409" y="1029350"/>
                  </a:cubicBezTo>
                  <a:cubicBezTo>
                    <a:pt x="881409" y="970432"/>
                    <a:pt x="929171" y="922670"/>
                    <a:pt x="988089" y="922670"/>
                  </a:cubicBezTo>
                  <a:close/>
                  <a:moveTo>
                    <a:pt x="3224792" y="881963"/>
                  </a:moveTo>
                  <a:cubicBezTo>
                    <a:pt x="3222331" y="881127"/>
                    <a:pt x="3220690" y="881127"/>
                    <a:pt x="3220690" y="884470"/>
                  </a:cubicBezTo>
                  <a:cubicBezTo>
                    <a:pt x="3214146" y="884470"/>
                    <a:pt x="3214129" y="891116"/>
                    <a:pt x="3214129" y="891152"/>
                  </a:cubicBezTo>
                  <a:cubicBezTo>
                    <a:pt x="3207567" y="897835"/>
                    <a:pt x="3201005" y="891152"/>
                    <a:pt x="3194443" y="897835"/>
                  </a:cubicBezTo>
                  <a:cubicBezTo>
                    <a:pt x="3187882" y="897835"/>
                    <a:pt x="3187882" y="904517"/>
                    <a:pt x="3181319" y="904517"/>
                  </a:cubicBezTo>
                  <a:cubicBezTo>
                    <a:pt x="3174757" y="904517"/>
                    <a:pt x="3174757" y="897835"/>
                    <a:pt x="3168195" y="897835"/>
                  </a:cubicBezTo>
                  <a:cubicBezTo>
                    <a:pt x="3168170" y="897860"/>
                    <a:pt x="3161652" y="904499"/>
                    <a:pt x="3161634" y="904517"/>
                  </a:cubicBezTo>
                  <a:cubicBezTo>
                    <a:pt x="3155088" y="904517"/>
                    <a:pt x="3155072" y="897868"/>
                    <a:pt x="3155072" y="897835"/>
                  </a:cubicBezTo>
                  <a:cubicBezTo>
                    <a:pt x="3148510" y="891152"/>
                    <a:pt x="3148510" y="884470"/>
                    <a:pt x="3141948" y="891152"/>
                  </a:cubicBezTo>
                  <a:cubicBezTo>
                    <a:pt x="3141878" y="891230"/>
                    <a:pt x="3135387" y="897877"/>
                    <a:pt x="3135387" y="904517"/>
                  </a:cubicBezTo>
                  <a:lnTo>
                    <a:pt x="3128825" y="909529"/>
                  </a:lnTo>
                  <a:lnTo>
                    <a:pt x="3122262" y="904517"/>
                  </a:lnTo>
                  <a:cubicBezTo>
                    <a:pt x="3122262" y="904467"/>
                    <a:pt x="3122250" y="891165"/>
                    <a:pt x="3115700" y="897835"/>
                  </a:cubicBezTo>
                  <a:cubicBezTo>
                    <a:pt x="3109138" y="897835"/>
                    <a:pt x="3115700" y="911199"/>
                    <a:pt x="3109138" y="917882"/>
                  </a:cubicBezTo>
                  <a:cubicBezTo>
                    <a:pt x="3107498" y="921224"/>
                    <a:pt x="3105858" y="921224"/>
                    <a:pt x="3102577" y="924565"/>
                  </a:cubicBezTo>
                  <a:cubicBezTo>
                    <a:pt x="3096015" y="924565"/>
                    <a:pt x="3096015" y="931247"/>
                    <a:pt x="3082891" y="924565"/>
                  </a:cubicBezTo>
                  <a:cubicBezTo>
                    <a:pt x="3082891" y="924532"/>
                    <a:pt x="3082883" y="911191"/>
                    <a:pt x="3076330" y="904517"/>
                  </a:cubicBezTo>
                  <a:cubicBezTo>
                    <a:pt x="3069768" y="904517"/>
                    <a:pt x="3063205" y="904517"/>
                    <a:pt x="3056643" y="904517"/>
                  </a:cubicBezTo>
                  <a:cubicBezTo>
                    <a:pt x="3050082" y="911199"/>
                    <a:pt x="3050082" y="917882"/>
                    <a:pt x="3056643" y="924565"/>
                  </a:cubicBezTo>
                  <a:cubicBezTo>
                    <a:pt x="3056680" y="924583"/>
                    <a:pt x="3069759" y="931258"/>
                    <a:pt x="3063205" y="937931"/>
                  </a:cubicBezTo>
                  <a:cubicBezTo>
                    <a:pt x="3056643" y="944614"/>
                    <a:pt x="3050082" y="937931"/>
                    <a:pt x="3050082" y="944614"/>
                  </a:cubicBezTo>
                  <a:cubicBezTo>
                    <a:pt x="3043520" y="957979"/>
                    <a:pt x="3063205" y="957979"/>
                    <a:pt x="3069768" y="964662"/>
                  </a:cubicBezTo>
                  <a:cubicBezTo>
                    <a:pt x="3069853" y="964747"/>
                    <a:pt x="3076266" y="971280"/>
                    <a:pt x="3076330" y="971343"/>
                  </a:cubicBezTo>
                  <a:cubicBezTo>
                    <a:pt x="3076330" y="978026"/>
                    <a:pt x="3069768" y="978026"/>
                    <a:pt x="3063205" y="984709"/>
                  </a:cubicBezTo>
                  <a:lnTo>
                    <a:pt x="3063205" y="990557"/>
                  </a:lnTo>
                  <a:cubicBezTo>
                    <a:pt x="3069768" y="998075"/>
                    <a:pt x="3082891" y="991392"/>
                    <a:pt x="3089453" y="984709"/>
                  </a:cubicBezTo>
                  <a:cubicBezTo>
                    <a:pt x="3096015" y="984709"/>
                    <a:pt x="3096015" y="984709"/>
                    <a:pt x="3102577" y="991392"/>
                  </a:cubicBezTo>
                  <a:cubicBezTo>
                    <a:pt x="3109138" y="991392"/>
                    <a:pt x="3102577" y="998075"/>
                    <a:pt x="3109138" y="998075"/>
                  </a:cubicBezTo>
                  <a:cubicBezTo>
                    <a:pt x="3128825" y="1004757"/>
                    <a:pt x="3141948" y="1011440"/>
                    <a:pt x="3155072" y="1004757"/>
                  </a:cubicBezTo>
                  <a:cubicBezTo>
                    <a:pt x="3168195" y="1004757"/>
                    <a:pt x="3174757" y="991392"/>
                    <a:pt x="3194443" y="991392"/>
                  </a:cubicBezTo>
                  <a:cubicBezTo>
                    <a:pt x="3194493" y="991392"/>
                    <a:pt x="3200949" y="991392"/>
                    <a:pt x="3201005" y="991392"/>
                  </a:cubicBezTo>
                  <a:cubicBezTo>
                    <a:pt x="3214129" y="998075"/>
                    <a:pt x="3227252" y="991392"/>
                    <a:pt x="3233814" y="984709"/>
                  </a:cubicBezTo>
                  <a:cubicBezTo>
                    <a:pt x="3246937" y="978026"/>
                    <a:pt x="3260062" y="971343"/>
                    <a:pt x="3266624" y="957979"/>
                  </a:cubicBezTo>
                  <a:cubicBezTo>
                    <a:pt x="3266624" y="957954"/>
                    <a:pt x="3266624" y="951371"/>
                    <a:pt x="3266624" y="951296"/>
                  </a:cubicBezTo>
                  <a:cubicBezTo>
                    <a:pt x="3273174" y="944626"/>
                    <a:pt x="3279723" y="944614"/>
                    <a:pt x="3279747" y="944614"/>
                  </a:cubicBezTo>
                  <a:cubicBezTo>
                    <a:pt x="3286309" y="937931"/>
                    <a:pt x="3286309" y="924565"/>
                    <a:pt x="3279747" y="917882"/>
                  </a:cubicBezTo>
                  <a:cubicBezTo>
                    <a:pt x="3273186" y="904517"/>
                    <a:pt x="3253500" y="924565"/>
                    <a:pt x="3246937" y="904517"/>
                  </a:cubicBezTo>
                  <a:cubicBezTo>
                    <a:pt x="3240376" y="897835"/>
                    <a:pt x="3240376" y="891152"/>
                    <a:pt x="3233814" y="884470"/>
                  </a:cubicBezTo>
                  <a:cubicBezTo>
                    <a:pt x="3230534" y="884470"/>
                    <a:pt x="3227252" y="882799"/>
                    <a:pt x="3224792" y="881963"/>
                  </a:cubicBezTo>
                  <a:close/>
                  <a:moveTo>
                    <a:pt x="1669153" y="794253"/>
                  </a:moveTo>
                  <a:cubicBezTo>
                    <a:pt x="1650234" y="794253"/>
                    <a:pt x="1650234" y="827318"/>
                    <a:pt x="1662847" y="833930"/>
                  </a:cubicBezTo>
                  <a:cubicBezTo>
                    <a:pt x="1688073" y="847157"/>
                    <a:pt x="1694379" y="794253"/>
                    <a:pt x="1669153" y="794253"/>
                  </a:cubicBezTo>
                  <a:close/>
                  <a:moveTo>
                    <a:pt x="2917809" y="791328"/>
                  </a:moveTo>
                  <a:cubicBezTo>
                    <a:pt x="2803426" y="906978"/>
                    <a:pt x="2693404" y="1026752"/>
                    <a:pt x="2589740" y="1149249"/>
                  </a:cubicBezTo>
                  <a:cubicBezTo>
                    <a:pt x="2570891" y="1129184"/>
                    <a:pt x="2551153" y="1110170"/>
                    <a:pt x="2530315" y="1092458"/>
                  </a:cubicBezTo>
                  <a:cubicBezTo>
                    <a:pt x="2535975" y="1081630"/>
                    <a:pt x="2541271" y="1075704"/>
                    <a:pt x="2541271" y="1069778"/>
                  </a:cubicBezTo>
                  <a:cubicBezTo>
                    <a:pt x="2547784" y="1056632"/>
                    <a:pt x="2547784" y="1050059"/>
                    <a:pt x="2554299" y="1036912"/>
                  </a:cubicBezTo>
                  <a:cubicBezTo>
                    <a:pt x="2560812" y="1030340"/>
                    <a:pt x="2560812" y="1030340"/>
                    <a:pt x="2567327" y="1017193"/>
                  </a:cubicBezTo>
                  <a:cubicBezTo>
                    <a:pt x="2567327" y="1004047"/>
                    <a:pt x="2554299" y="984327"/>
                    <a:pt x="2560812" y="971181"/>
                  </a:cubicBezTo>
                  <a:cubicBezTo>
                    <a:pt x="2567327" y="958035"/>
                    <a:pt x="2593382" y="958035"/>
                    <a:pt x="2599896" y="951461"/>
                  </a:cubicBezTo>
                  <a:cubicBezTo>
                    <a:pt x="2612924" y="944888"/>
                    <a:pt x="2619438" y="938315"/>
                    <a:pt x="2619438" y="931742"/>
                  </a:cubicBezTo>
                  <a:cubicBezTo>
                    <a:pt x="2632466" y="912022"/>
                    <a:pt x="2632466" y="905450"/>
                    <a:pt x="2652007" y="905450"/>
                  </a:cubicBezTo>
                  <a:cubicBezTo>
                    <a:pt x="2671550" y="905450"/>
                    <a:pt x="2684578" y="912022"/>
                    <a:pt x="2704119" y="898876"/>
                  </a:cubicBezTo>
                  <a:cubicBezTo>
                    <a:pt x="2723661" y="892302"/>
                    <a:pt x="2730175" y="879157"/>
                    <a:pt x="2743203" y="866011"/>
                  </a:cubicBezTo>
                  <a:cubicBezTo>
                    <a:pt x="2743203" y="859438"/>
                    <a:pt x="2749717" y="852865"/>
                    <a:pt x="2756230" y="846292"/>
                  </a:cubicBezTo>
                  <a:cubicBezTo>
                    <a:pt x="2762745" y="839718"/>
                    <a:pt x="2775773" y="839718"/>
                    <a:pt x="2788801" y="833146"/>
                  </a:cubicBezTo>
                  <a:cubicBezTo>
                    <a:pt x="2795314" y="826572"/>
                    <a:pt x="2795314" y="819998"/>
                    <a:pt x="2801829" y="813426"/>
                  </a:cubicBezTo>
                  <a:cubicBezTo>
                    <a:pt x="2814856" y="793706"/>
                    <a:pt x="2847426" y="800280"/>
                    <a:pt x="2866968" y="800280"/>
                  </a:cubicBezTo>
                  <a:cubicBezTo>
                    <a:pt x="2883927" y="800280"/>
                    <a:pt x="2900886" y="796716"/>
                    <a:pt x="2917809" y="791328"/>
                  </a:cubicBezTo>
                  <a:close/>
                  <a:moveTo>
                    <a:pt x="1583467" y="713505"/>
                  </a:moveTo>
                  <a:cubicBezTo>
                    <a:pt x="1564430" y="713505"/>
                    <a:pt x="1545392" y="720465"/>
                    <a:pt x="1551738" y="734388"/>
                  </a:cubicBezTo>
                  <a:cubicBezTo>
                    <a:pt x="1551738" y="748311"/>
                    <a:pt x="1577121" y="755272"/>
                    <a:pt x="1583467" y="748311"/>
                  </a:cubicBezTo>
                  <a:cubicBezTo>
                    <a:pt x="1602503" y="741349"/>
                    <a:pt x="1608849" y="720465"/>
                    <a:pt x="1589812" y="713505"/>
                  </a:cubicBezTo>
                  <a:cubicBezTo>
                    <a:pt x="1589781" y="713505"/>
                    <a:pt x="1583519" y="713505"/>
                    <a:pt x="1583467" y="713505"/>
                  </a:cubicBezTo>
                  <a:close/>
                  <a:moveTo>
                    <a:pt x="1128374" y="667178"/>
                  </a:moveTo>
                  <a:cubicBezTo>
                    <a:pt x="1127577" y="671213"/>
                    <a:pt x="1127577" y="676056"/>
                    <a:pt x="1127577" y="682456"/>
                  </a:cubicBezTo>
                  <a:cubicBezTo>
                    <a:pt x="1121059" y="695608"/>
                    <a:pt x="1127577" y="702183"/>
                    <a:pt x="1134093" y="708760"/>
                  </a:cubicBezTo>
                  <a:cubicBezTo>
                    <a:pt x="1147128" y="715336"/>
                    <a:pt x="1160161" y="708760"/>
                    <a:pt x="1173195" y="708760"/>
                  </a:cubicBezTo>
                  <a:cubicBezTo>
                    <a:pt x="1179713" y="708760"/>
                    <a:pt x="1199263" y="715336"/>
                    <a:pt x="1199263" y="721912"/>
                  </a:cubicBezTo>
                  <a:lnTo>
                    <a:pt x="1203336" y="736707"/>
                  </a:lnTo>
                  <a:cubicBezTo>
                    <a:pt x="1202522" y="739996"/>
                    <a:pt x="1199263" y="741640"/>
                    <a:pt x="1192746" y="741640"/>
                  </a:cubicBezTo>
                  <a:cubicBezTo>
                    <a:pt x="1186230" y="748216"/>
                    <a:pt x="1173195" y="748216"/>
                    <a:pt x="1179712" y="761367"/>
                  </a:cubicBezTo>
                  <a:cubicBezTo>
                    <a:pt x="1179712" y="767943"/>
                    <a:pt x="1192744" y="774518"/>
                    <a:pt x="1192746" y="781095"/>
                  </a:cubicBezTo>
                  <a:cubicBezTo>
                    <a:pt x="1199263" y="794247"/>
                    <a:pt x="1153644" y="800822"/>
                    <a:pt x="1147128" y="813975"/>
                  </a:cubicBezTo>
                  <a:cubicBezTo>
                    <a:pt x="1147128" y="827126"/>
                    <a:pt x="1147128" y="840278"/>
                    <a:pt x="1147128" y="846853"/>
                  </a:cubicBezTo>
                  <a:cubicBezTo>
                    <a:pt x="1140610" y="853429"/>
                    <a:pt x="1127577" y="853429"/>
                    <a:pt x="1127577" y="846853"/>
                  </a:cubicBezTo>
                  <a:cubicBezTo>
                    <a:pt x="1108026" y="827126"/>
                    <a:pt x="1121059" y="794247"/>
                    <a:pt x="1094992" y="787671"/>
                  </a:cubicBezTo>
                  <a:cubicBezTo>
                    <a:pt x="1081957" y="787671"/>
                    <a:pt x="1075441" y="794247"/>
                    <a:pt x="1075441" y="807398"/>
                  </a:cubicBezTo>
                  <a:cubicBezTo>
                    <a:pt x="1068924" y="820551"/>
                    <a:pt x="1055890" y="833702"/>
                    <a:pt x="1036339" y="827126"/>
                  </a:cubicBezTo>
                  <a:cubicBezTo>
                    <a:pt x="1023304" y="827126"/>
                    <a:pt x="1016788" y="820551"/>
                    <a:pt x="997237" y="820551"/>
                  </a:cubicBezTo>
                  <a:cubicBezTo>
                    <a:pt x="990758" y="820551"/>
                    <a:pt x="984280" y="820551"/>
                    <a:pt x="984202" y="820551"/>
                  </a:cubicBezTo>
                  <a:cubicBezTo>
                    <a:pt x="975891" y="820551"/>
                    <a:pt x="970230" y="812529"/>
                    <a:pt x="964963" y="807183"/>
                  </a:cubicBezTo>
                  <a:lnTo>
                    <a:pt x="1050097" y="729092"/>
                  </a:lnTo>
                  <a:cubicBezTo>
                    <a:pt x="1044758" y="761820"/>
                    <a:pt x="1108476" y="794102"/>
                    <a:pt x="1134142" y="780977"/>
                  </a:cubicBezTo>
                  <a:cubicBezTo>
                    <a:pt x="1153617" y="774336"/>
                    <a:pt x="1147125" y="747776"/>
                    <a:pt x="1140634" y="734497"/>
                  </a:cubicBezTo>
                  <a:cubicBezTo>
                    <a:pt x="1140634" y="721217"/>
                    <a:pt x="1108177" y="714576"/>
                    <a:pt x="1101683" y="714576"/>
                  </a:cubicBezTo>
                  <a:cubicBezTo>
                    <a:pt x="1095191" y="714576"/>
                    <a:pt x="1095191" y="714576"/>
                    <a:pt x="1088701" y="707937"/>
                  </a:cubicBezTo>
                  <a:lnTo>
                    <a:pt x="1068188" y="712599"/>
                  </a:lnTo>
                  <a:close/>
                  <a:moveTo>
                    <a:pt x="2958163" y="609658"/>
                  </a:moveTo>
                  <a:cubicBezTo>
                    <a:pt x="2971191" y="609658"/>
                    <a:pt x="2997246" y="616232"/>
                    <a:pt x="3010274" y="622804"/>
                  </a:cubicBezTo>
                  <a:cubicBezTo>
                    <a:pt x="3016788" y="629378"/>
                    <a:pt x="3029816" y="635951"/>
                    <a:pt x="3036329" y="649097"/>
                  </a:cubicBezTo>
                  <a:lnTo>
                    <a:pt x="3047816" y="660688"/>
                  </a:lnTo>
                  <a:lnTo>
                    <a:pt x="3010204" y="695856"/>
                  </a:lnTo>
                  <a:cubicBezTo>
                    <a:pt x="3005124" y="697176"/>
                    <a:pt x="3000555" y="696778"/>
                    <a:pt x="2997246" y="695109"/>
                  </a:cubicBezTo>
                  <a:cubicBezTo>
                    <a:pt x="2984219" y="681963"/>
                    <a:pt x="2990732" y="668817"/>
                    <a:pt x="2984219" y="655671"/>
                  </a:cubicBezTo>
                  <a:cubicBezTo>
                    <a:pt x="2977705" y="649097"/>
                    <a:pt x="2964677" y="655671"/>
                    <a:pt x="2958163" y="655671"/>
                  </a:cubicBezTo>
                  <a:cubicBezTo>
                    <a:pt x="2958163" y="642524"/>
                    <a:pt x="2958163" y="642524"/>
                    <a:pt x="2951649" y="635951"/>
                  </a:cubicBezTo>
                  <a:cubicBezTo>
                    <a:pt x="2951649" y="629378"/>
                    <a:pt x="2938621" y="629378"/>
                    <a:pt x="2938621" y="622804"/>
                  </a:cubicBezTo>
                  <a:cubicBezTo>
                    <a:pt x="2938621" y="616232"/>
                    <a:pt x="2951649" y="609658"/>
                    <a:pt x="2958163" y="609658"/>
                  </a:cubicBezTo>
                  <a:close/>
                  <a:moveTo>
                    <a:pt x="1600752" y="502077"/>
                  </a:moveTo>
                  <a:cubicBezTo>
                    <a:pt x="1592605" y="501254"/>
                    <a:pt x="1582830" y="502899"/>
                    <a:pt x="1576313" y="502899"/>
                  </a:cubicBezTo>
                  <a:cubicBezTo>
                    <a:pt x="1563279" y="509481"/>
                    <a:pt x="1550246" y="516062"/>
                    <a:pt x="1537211" y="516062"/>
                  </a:cubicBezTo>
                  <a:cubicBezTo>
                    <a:pt x="1524178" y="516062"/>
                    <a:pt x="1517661" y="516062"/>
                    <a:pt x="1504627" y="516062"/>
                  </a:cubicBezTo>
                  <a:cubicBezTo>
                    <a:pt x="1478559" y="516062"/>
                    <a:pt x="1445975" y="516062"/>
                    <a:pt x="1432941" y="542388"/>
                  </a:cubicBezTo>
                  <a:cubicBezTo>
                    <a:pt x="1426424" y="548969"/>
                    <a:pt x="1432941" y="575294"/>
                    <a:pt x="1439459" y="588459"/>
                  </a:cubicBezTo>
                  <a:cubicBezTo>
                    <a:pt x="1439459" y="595040"/>
                    <a:pt x="1452492" y="621365"/>
                    <a:pt x="1439459" y="627947"/>
                  </a:cubicBezTo>
                  <a:cubicBezTo>
                    <a:pt x="1432941" y="634529"/>
                    <a:pt x="1413391" y="621365"/>
                    <a:pt x="1406873" y="614784"/>
                  </a:cubicBezTo>
                  <a:cubicBezTo>
                    <a:pt x="1400357" y="608203"/>
                    <a:pt x="1400357" y="588459"/>
                    <a:pt x="1400357" y="575294"/>
                  </a:cubicBezTo>
                  <a:cubicBezTo>
                    <a:pt x="1400357" y="555550"/>
                    <a:pt x="1413391" y="522643"/>
                    <a:pt x="1393840" y="509481"/>
                  </a:cubicBezTo>
                  <a:cubicBezTo>
                    <a:pt x="1374289" y="496318"/>
                    <a:pt x="1354738" y="516062"/>
                    <a:pt x="1348221" y="535807"/>
                  </a:cubicBezTo>
                  <a:cubicBezTo>
                    <a:pt x="1335187" y="548969"/>
                    <a:pt x="1328670" y="555550"/>
                    <a:pt x="1322154" y="575294"/>
                  </a:cubicBezTo>
                  <a:cubicBezTo>
                    <a:pt x="1315637" y="588459"/>
                    <a:pt x="1302603" y="608203"/>
                    <a:pt x="1322154" y="621365"/>
                  </a:cubicBezTo>
                  <a:cubicBezTo>
                    <a:pt x="1328670" y="627947"/>
                    <a:pt x="1335187" y="627947"/>
                    <a:pt x="1341705" y="641110"/>
                  </a:cubicBezTo>
                  <a:cubicBezTo>
                    <a:pt x="1348221" y="654273"/>
                    <a:pt x="1348221" y="667435"/>
                    <a:pt x="1361255" y="680598"/>
                  </a:cubicBezTo>
                  <a:cubicBezTo>
                    <a:pt x="1380806" y="693761"/>
                    <a:pt x="1393840" y="680598"/>
                    <a:pt x="1419908" y="680598"/>
                  </a:cubicBezTo>
                  <a:cubicBezTo>
                    <a:pt x="1426424" y="687180"/>
                    <a:pt x="1432941" y="687180"/>
                    <a:pt x="1439459" y="693761"/>
                  </a:cubicBezTo>
                  <a:cubicBezTo>
                    <a:pt x="1445975" y="693761"/>
                    <a:pt x="1452492" y="693761"/>
                    <a:pt x="1465526" y="700343"/>
                  </a:cubicBezTo>
                  <a:cubicBezTo>
                    <a:pt x="1472043" y="700343"/>
                    <a:pt x="1478559" y="700343"/>
                    <a:pt x="1485076" y="700343"/>
                  </a:cubicBezTo>
                  <a:cubicBezTo>
                    <a:pt x="1498110" y="700343"/>
                    <a:pt x="1504627" y="706924"/>
                    <a:pt x="1517661" y="706924"/>
                  </a:cubicBezTo>
                  <a:cubicBezTo>
                    <a:pt x="1530695" y="706924"/>
                    <a:pt x="1537211" y="693761"/>
                    <a:pt x="1550246" y="687180"/>
                  </a:cubicBezTo>
                  <a:cubicBezTo>
                    <a:pt x="1582830" y="680598"/>
                    <a:pt x="1615415" y="693761"/>
                    <a:pt x="1641483" y="700343"/>
                  </a:cubicBezTo>
                  <a:cubicBezTo>
                    <a:pt x="1687100" y="720087"/>
                    <a:pt x="1732719" y="766157"/>
                    <a:pt x="1739235" y="818809"/>
                  </a:cubicBezTo>
                  <a:cubicBezTo>
                    <a:pt x="1745753" y="845134"/>
                    <a:pt x="1732719" y="871460"/>
                    <a:pt x="1726202" y="891204"/>
                  </a:cubicBezTo>
                  <a:cubicBezTo>
                    <a:pt x="1726202" y="897785"/>
                    <a:pt x="1719686" y="910946"/>
                    <a:pt x="1719686" y="917530"/>
                  </a:cubicBezTo>
                  <a:cubicBezTo>
                    <a:pt x="1719739" y="917576"/>
                    <a:pt x="1726202" y="924130"/>
                    <a:pt x="1726202" y="930693"/>
                  </a:cubicBezTo>
                  <a:cubicBezTo>
                    <a:pt x="1726202" y="943855"/>
                    <a:pt x="1713168" y="957018"/>
                    <a:pt x="1700135" y="963600"/>
                  </a:cubicBezTo>
                  <a:cubicBezTo>
                    <a:pt x="1687100" y="970183"/>
                    <a:pt x="1661033" y="970183"/>
                    <a:pt x="1647999" y="970183"/>
                  </a:cubicBezTo>
                  <a:cubicBezTo>
                    <a:pt x="1634965" y="970183"/>
                    <a:pt x="1615415" y="963600"/>
                    <a:pt x="1602381" y="970183"/>
                  </a:cubicBezTo>
                  <a:cubicBezTo>
                    <a:pt x="1589347" y="983345"/>
                    <a:pt x="1602381" y="1009670"/>
                    <a:pt x="1615415" y="1016253"/>
                  </a:cubicBezTo>
                  <a:cubicBezTo>
                    <a:pt x="1641483" y="1035996"/>
                    <a:pt x="1687100" y="996508"/>
                    <a:pt x="1713168" y="1016253"/>
                  </a:cubicBezTo>
                  <a:cubicBezTo>
                    <a:pt x="1726202" y="1022834"/>
                    <a:pt x="1732719" y="1035996"/>
                    <a:pt x="1745753" y="1042578"/>
                  </a:cubicBezTo>
                  <a:cubicBezTo>
                    <a:pt x="1758786" y="1049159"/>
                    <a:pt x="1765304" y="1055740"/>
                    <a:pt x="1771821" y="1055740"/>
                  </a:cubicBezTo>
                  <a:cubicBezTo>
                    <a:pt x="1791372" y="1062322"/>
                    <a:pt x="1804405" y="1055740"/>
                    <a:pt x="1823956" y="1055740"/>
                  </a:cubicBezTo>
                  <a:cubicBezTo>
                    <a:pt x="1836989" y="1055740"/>
                    <a:pt x="1856540" y="1055740"/>
                    <a:pt x="1869575" y="1062322"/>
                  </a:cubicBezTo>
                  <a:cubicBezTo>
                    <a:pt x="1876091" y="1068904"/>
                    <a:pt x="1889124" y="1068904"/>
                    <a:pt x="1902159" y="1075485"/>
                  </a:cubicBezTo>
                  <a:cubicBezTo>
                    <a:pt x="1908675" y="1075485"/>
                    <a:pt x="1915192" y="1075485"/>
                    <a:pt x="1915192" y="1062322"/>
                  </a:cubicBezTo>
                  <a:cubicBezTo>
                    <a:pt x="1915192" y="1055740"/>
                    <a:pt x="1902159" y="1055740"/>
                    <a:pt x="1895642" y="1049159"/>
                  </a:cubicBezTo>
                  <a:cubicBezTo>
                    <a:pt x="1882608" y="1042578"/>
                    <a:pt x="1843507" y="1035996"/>
                    <a:pt x="1850024" y="1016253"/>
                  </a:cubicBezTo>
                  <a:cubicBezTo>
                    <a:pt x="1856540" y="1003089"/>
                    <a:pt x="1869575" y="1009670"/>
                    <a:pt x="1882608" y="1009670"/>
                  </a:cubicBezTo>
                  <a:cubicBezTo>
                    <a:pt x="1895642" y="1009670"/>
                    <a:pt x="1902159" y="1003089"/>
                    <a:pt x="1915192" y="1003089"/>
                  </a:cubicBezTo>
                  <a:cubicBezTo>
                    <a:pt x="1928226" y="996508"/>
                    <a:pt x="1941261" y="996508"/>
                    <a:pt x="1941261" y="983345"/>
                  </a:cubicBezTo>
                  <a:cubicBezTo>
                    <a:pt x="1941261" y="970183"/>
                    <a:pt x="1928226" y="957018"/>
                    <a:pt x="1921710" y="950437"/>
                  </a:cubicBezTo>
                  <a:cubicBezTo>
                    <a:pt x="1902159" y="943855"/>
                    <a:pt x="1869575" y="917530"/>
                    <a:pt x="1882608" y="891204"/>
                  </a:cubicBezTo>
                  <a:cubicBezTo>
                    <a:pt x="1889124" y="878042"/>
                    <a:pt x="1928226" y="891204"/>
                    <a:pt x="1941261" y="897786"/>
                  </a:cubicBezTo>
                  <a:cubicBezTo>
                    <a:pt x="1954294" y="910949"/>
                    <a:pt x="1973845" y="930693"/>
                    <a:pt x="1993396" y="930693"/>
                  </a:cubicBezTo>
                  <a:cubicBezTo>
                    <a:pt x="2019463" y="930693"/>
                    <a:pt x="2039013" y="904368"/>
                    <a:pt x="2045531" y="878042"/>
                  </a:cubicBezTo>
                  <a:cubicBezTo>
                    <a:pt x="2058564" y="851716"/>
                    <a:pt x="2039013" y="838553"/>
                    <a:pt x="2012946" y="838553"/>
                  </a:cubicBezTo>
                  <a:cubicBezTo>
                    <a:pt x="1993396" y="838553"/>
                    <a:pt x="1973845" y="838553"/>
                    <a:pt x="1947777" y="825390"/>
                  </a:cubicBezTo>
                  <a:cubicBezTo>
                    <a:pt x="1928226" y="818809"/>
                    <a:pt x="1908675" y="812228"/>
                    <a:pt x="1889124" y="799065"/>
                  </a:cubicBezTo>
                  <a:cubicBezTo>
                    <a:pt x="1869575" y="772738"/>
                    <a:pt x="1863057" y="739832"/>
                    <a:pt x="1850024" y="713505"/>
                  </a:cubicBezTo>
                  <a:cubicBezTo>
                    <a:pt x="1843507" y="693761"/>
                    <a:pt x="1830473" y="674017"/>
                    <a:pt x="1817439" y="660854"/>
                  </a:cubicBezTo>
                  <a:cubicBezTo>
                    <a:pt x="1804405" y="654273"/>
                    <a:pt x="1791372" y="647691"/>
                    <a:pt x="1778337" y="647691"/>
                  </a:cubicBezTo>
                  <a:cubicBezTo>
                    <a:pt x="1771821" y="641110"/>
                    <a:pt x="1765304" y="641110"/>
                    <a:pt x="1758786" y="641110"/>
                  </a:cubicBezTo>
                  <a:cubicBezTo>
                    <a:pt x="1758771" y="641094"/>
                    <a:pt x="1752340" y="634598"/>
                    <a:pt x="1752270" y="634529"/>
                  </a:cubicBezTo>
                  <a:cubicBezTo>
                    <a:pt x="1739235" y="627947"/>
                    <a:pt x="1732719" y="614784"/>
                    <a:pt x="1719686" y="595040"/>
                  </a:cubicBezTo>
                  <a:cubicBezTo>
                    <a:pt x="1706651" y="581877"/>
                    <a:pt x="1687100" y="581877"/>
                    <a:pt x="1674067" y="581877"/>
                  </a:cubicBezTo>
                  <a:cubicBezTo>
                    <a:pt x="1647999" y="575294"/>
                    <a:pt x="1576313" y="575294"/>
                    <a:pt x="1602381" y="535807"/>
                  </a:cubicBezTo>
                  <a:cubicBezTo>
                    <a:pt x="1608897" y="529225"/>
                    <a:pt x="1615415" y="522643"/>
                    <a:pt x="1615415" y="516062"/>
                  </a:cubicBezTo>
                  <a:cubicBezTo>
                    <a:pt x="1615415" y="506190"/>
                    <a:pt x="1608897" y="502899"/>
                    <a:pt x="1600752" y="502077"/>
                  </a:cubicBezTo>
                  <a:close/>
                  <a:moveTo>
                    <a:pt x="1473191" y="450839"/>
                  </a:moveTo>
                  <a:cubicBezTo>
                    <a:pt x="1479728" y="450839"/>
                    <a:pt x="1486265" y="463833"/>
                    <a:pt x="1492801" y="463833"/>
                  </a:cubicBezTo>
                  <a:cubicBezTo>
                    <a:pt x="1510749" y="469779"/>
                    <a:pt x="1545118" y="464841"/>
                    <a:pt x="1555152" y="453328"/>
                  </a:cubicBezTo>
                  <a:cubicBezTo>
                    <a:pt x="1817156" y="581451"/>
                    <a:pt x="2046164" y="732868"/>
                    <a:pt x="2248392" y="896876"/>
                  </a:cubicBezTo>
                  <a:cubicBezTo>
                    <a:pt x="2248144" y="897469"/>
                    <a:pt x="2248144" y="898130"/>
                    <a:pt x="2248144" y="898876"/>
                  </a:cubicBezTo>
                  <a:cubicBezTo>
                    <a:pt x="2248144" y="918596"/>
                    <a:pt x="2267685" y="925168"/>
                    <a:pt x="2274200" y="938315"/>
                  </a:cubicBezTo>
                  <a:cubicBezTo>
                    <a:pt x="2274200" y="944888"/>
                    <a:pt x="2274200" y="951461"/>
                    <a:pt x="2280713" y="958035"/>
                  </a:cubicBezTo>
                  <a:cubicBezTo>
                    <a:pt x="2287228" y="971181"/>
                    <a:pt x="2287228" y="964607"/>
                    <a:pt x="2300255" y="971181"/>
                  </a:cubicBezTo>
                  <a:cubicBezTo>
                    <a:pt x="2303512" y="971181"/>
                    <a:pt x="2306769" y="971181"/>
                    <a:pt x="2308398" y="972824"/>
                  </a:cubicBezTo>
                  <a:lnTo>
                    <a:pt x="2306769" y="984327"/>
                  </a:lnTo>
                  <a:cubicBezTo>
                    <a:pt x="2306769" y="990901"/>
                    <a:pt x="2293741" y="984327"/>
                    <a:pt x="2293741" y="997473"/>
                  </a:cubicBezTo>
                  <a:cubicBezTo>
                    <a:pt x="2293741" y="1004030"/>
                    <a:pt x="2306702" y="1017125"/>
                    <a:pt x="2306769" y="1017193"/>
                  </a:cubicBezTo>
                  <a:cubicBezTo>
                    <a:pt x="2313243" y="1023726"/>
                    <a:pt x="2319717" y="1023766"/>
                    <a:pt x="2319797" y="1023766"/>
                  </a:cubicBezTo>
                  <a:cubicBezTo>
                    <a:pt x="2326311" y="1030340"/>
                    <a:pt x="2319797" y="1043486"/>
                    <a:pt x="2326311" y="1043486"/>
                  </a:cubicBezTo>
                  <a:cubicBezTo>
                    <a:pt x="2332825" y="1063206"/>
                    <a:pt x="2345853" y="1056632"/>
                    <a:pt x="2358880" y="1063206"/>
                  </a:cubicBezTo>
                  <a:cubicBezTo>
                    <a:pt x="2371908" y="1063206"/>
                    <a:pt x="2371908" y="1082924"/>
                    <a:pt x="2378423" y="1089497"/>
                  </a:cubicBezTo>
                  <a:cubicBezTo>
                    <a:pt x="2384936" y="1109216"/>
                    <a:pt x="2397964" y="1122362"/>
                    <a:pt x="2417506" y="1122362"/>
                  </a:cubicBezTo>
                  <a:cubicBezTo>
                    <a:pt x="2430534" y="1122362"/>
                    <a:pt x="2430534" y="1115790"/>
                    <a:pt x="2443561" y="1122362"/>
                  </a:cubicBezTo>
                  <a:cubicBezTo>
                    <a:pt x="2456589" y="1128936"/>
                    <a:pt x="2463104" y="1135510"/>
                    <a:pt x="2476131" y="1148656"/>
                  </a:cubicBezTo>
                  <a:cubicBezTo>
                    <a:pt x="2482645" y="1155228"/>
                    <a:pt x="2495673" y="1161802"/>
                    <a:pt x="2502187" y="1161802"/>
                  </a:cubicBezTo>
                  <a:cubicBezTo>
                    <a:pt x="2508701" y="1155228"/>
                    <a:pt x="2508701" y="1148656"/>
                    <a:pt x="2508701" y="1142082"/>
                  </a:cubicBezTo>
                  <a:lnTo>
                    <a:pt x="2517444" y="1133259"/>
                  </a:lnTo>
                  <a:lnTo>
                    <a:pt x="2564596" y="1177954"/>
                  </a:lnTo>
                  <a:cubicBezTo>
                    <a:pt x="2487464" y="1268743"/>
                    <a:pt x="2413642" y="1360723"/>
                    <a:pt x="2344538" y="1453727"/>
                  </a:cubicBezTo>
                  <a:cubicBezTo>
                    <a:pt x="2244363" y="1415184"/>
                    <a:pt x="2144762" y="1379803"/>
                    <a:pt x="2046472" y="1347605"/>
                  </a:cubicBezTo>
                  <a:cubicBezTo>
                    <a:pt x="2046472" y="1342893"/>
                    <a:pt x="2046472" y="1338182"/>
                    <a:pt x="2046472" y="1333470"/>
                  </a:cubicBezTo>
                  <a:cubicBezTo>
                    <a:pt x="2039956" y="1320318"/>
                    <a:pt x="2033439" y="1313742"/>
                    <a:pt x="2033439" y="1307166"/>
                  </a:cubicBezTo>
                  <a:cubicBezTo>
                    <a:pt x="2033439" y="1294015"/>
                    <a:pt x="2033439" y="1287439"/>
                    <a:pt x="2026921" y="1274286"/>
                  </a:cubicBezTo>
                  <a:cubicBezTo>
                    <a:pt x="2026921" y="1261135"/>
                    <a:pt x="2026921" y="1254559"/>
                    <a:pt x="2020405" y="1247984"/>
                  </a:cubicBezTo>
                  <a:cubicBezTo>
                    <a:pt x="2013888" y="1234831"/>
                    <a:pt x="1994337" y="1228255"/>
                    <a:pt x="1987819" y="1215104"/>
                  </a:cubicBezTo>
                  <a:cubicBezTo>
                    <a:pt x="1974786" y="1201951"/>
                    <a:pt x="1981303" y="1195376"/>
                    <a:pt x="1974786" y="1182224"/>
                  </a:cubicBezTo>
                  <a:cubicBezTo>
                    <a:pt x="1968268" y="1169073"/>
                    <a:pt x="1955235" y="1155920"/>
                    <a:pt x="1942201" y="1169073"/>
                  </a:cubicBezTo>
                  <a:cubicBezTo>
                    <a:pt x="1935684" y="1175648"/>
                    <a:pt x="1929166" y="1188800"/>
                    <a:pt x="1922650" y="1195376"/>
                  </a:cubicBezTo>
                  <a:cubicBezTo>
                    <a:pt x="1909616" y="1215104"/>
                    <a:pt x="1883548" y="1215104"/>
                    <a:pt x="1863997" y="1208528"/>
                  </a:cubicBezTo>
                  <a:cubicBezTo>
                    <a:pt x="1844446" y="1201951"/>
                    <a:pt x="1831412" y="1182224"/>
                    <a:pt x="1824895" y="1162496"/>
                  </a:cubicBezTo>
                  <a:cubicBezTo>
                    <a:pt x="1824895" y="1142769"/>
                    <a:pt x="1824895" y="1123040"/>
                    <a:pt x="1805344" y="1109889"/>
                  </a:cubicBezTo>
                  <a:cubicBezTo>
                    <a:pt x="1792310" y="1096738"/>
                    <a:pt x="1772759" y="1090162"/>
                    <a:pt x="1753208" y="1077009"/>
                  </a:cubicBezTo>
                  <a:cubicBezTo>
                    <a:pt x="1746691" y="1063858"/>
                    <a:pt x="1733657" y="1050706"/>
                    <a:pt x="1720624" y="1044130"/>
                  </a:cubicBezTo>
                  <a:cubicBezTo>
                    <a:pt x="1701072" y="1044130"/>
                    <a:pt x="1681521" y="1050706"/>
                    <a:pt x="1668487" y="1063858"/>
                  </a:cubicBezTo>
                  <a:cubicBezTo>
                    <a:pt x="1655453" y="1070434"/>
                    <a:pt x="1635902" y="1063858"/>
                    <a:pt x="1622868" y="1070434"/>
                  </a:cubicBezTo>
                  <a:cubicBezTo>
                    <a:pt x="1596800" y="1077009"/>
                    <a:pt x="1616351" y="1109889"/>
                    <a:pt x="1609834" y="1129617"/>
                  </a:cubicBezTo>
                  <a:cubicBezTo>
                    <a:pt x="1609834" y="1136193"/>
                    <a:pt x="1603317" y="1136193"/>
                    <a:pt x="1603317" y="1142769"/>
                  </a:cubicBezTo>
                  <a:cubicBezTo>
                    <a:pt x="1609834" y="1149344"/>
                    <a:pt x="1609834" y="1149344"/>
                    <a:pt x="1616351" y="1155920"/>
                  </a:cubicBezTo>
                  <a:cubicBezTo>
                    <a:pt x="1616351" y="1162496"/>
                    <a:pt x="1609834" y="1175648"/>
                    <a:pt x="1603317" y="1182224"/>
                  </a:cubicBezTo>
                  <a:cubicBezTo>
                    <a:pt x="1598146" y="1187442"/>
                    <a:pt x="1584769" y="1192660"/>
                    <a:pt x="1581417" y="1202381"/>
                  </a:cubicBezTo>
                  <a:cubicBezTo>
                    <a:pt x="1448623" y="1163631"/>
                    <a:pt x="1321528" y="1130745"/>
                    <a:pt x="1202361" y="1103854"/>
                  </a:cubicBezTo>
                  <a:cubicBezTo>
                    <a:pt x="1209628" y="1093304"/>
                    <a:pt x="1215701" y="1088445"/>
                    <a:pt x="1225332" y="1083585"/>
                  </a:cubicBezTo>
                  <a:cubicBezTo>
                    <a:pt x="1238365" y="1077009"/>
                    <a:pt x="1244883" y="1063858"/>
                    <a:pt x="1257916" y="1057282"/>
                  </a:cubicBezTo>
                  <a:cubicBezTo>
                    <a:pt x="1264434" y="1044130"/>
                    <a:pt x="1264434" y="1030978"/>
                    <a:pt x="1270950" y="1024402"/>
                  </a:cubicBezTo>
                  <a:cubicBezTo>
                    <a:pt x="1277467" y="1017827"/>
                    <a:pt x="1283985" y="1017827"/>
                    <a:pt x="1290501" y="1011251"/>
                  </a:cubicBezTo>
                  <a:cubicBezTo>
                    <a:pt x="1303536" y="1004674"/>
                    <a:pt x="1323086" y="998098"/>
                    <a:pt x="1342637" y="991523"/>
                  </a:cubicBezTo>
                  <a:cubicBezTo>
                    <a:pt x="1349154" y="984947"/>
                    <a:pt x="1355672" y="984947"/>
                    <a:pt x="1355672" y="978371"/>
                  </a:cubicBezTo>
                  <a:cubicBezTo>
                    <a:pt x="1355672" y="971796"/>
                    <a:pt x="1349154" y="958643"/>
                    <a:pt x="1349154" y="952067"/>
                  </a:cubicBezTo>
                  <a:cubicBezTo>
                    <a:pt x="1336121" y="945492"/>
                    <a:pt x="1329603" y="945492"/>
                    <a:pt x="1316569" y="945492"/>
                  </a:cubicBezTo>
                  <a:cubicBezTo>
                    <a:pt x="1310052" y="945492"/>
                    <a:pt x="1283985" y="945492"/>
                    <a:pt x="1290501" y="925763"/>
                  </a:cubicBezTo>
                  <a:cubicBezTo>
                    <a:pt x="1297018" y="912612"/>
                    <a:pt x="1323084" y="919188"/>
                    <a:pt x="1336121" y="919188"/>
                  </a:cubicBezTo>
                  <a:cubicBezTo>
                    <a:pt x="1342637" y="925763"/>
                    <a:pt x="1355672" y="932340"/>
                    <a:pt x="1368705" y="932340"/>
                  </a:cubicBezTo>
                  <a:cubicBezTo>
                    <a:pt x="1388256" y="925763"/>
                    <a:pt x="1381739" y="899460"/>
                    <a:pt x="1401290" y="892884"/>
                  </a:cubicBezTo>
                  <a:cubicBezTo>
                    <a:pt x="1414325" y="892885"/>
                    <a:pt x="1414325" y="892885"/>
                    <a:pt x="1427358" y="899460"/>
                  </a:cubicBezTo>
                  <a:cubicBezTo>
                    <a:pt x="1440392" y="906036"/>
                    <a:pt x="1466460" y="886308"/>
                    <a:pt x="1479494" y="879732"/>
                  </a:cubicBezTo>
                  <a:cubicBezTo>
                    <a:pt x="1499045" y="873156"/>
                    <a:pt x="1512079" y="866581"/>
                    <a:pt x="1531630" y="866581"/>
                  </a:cubicBezTo>
                  <a:cubicBezTo>
                    <a:pt x="1544664" y="860005"/>
                    <a:pt x="1551181" y="853429"/>
                    <a:pt x="1544664" y="840278"/>
                  </a:cubicBezTo>
                  <a:cubicBezTo>
                    <a:pt x="1544664" y="820551"/>
                    <a:pt x="1531630" y="820551"/>
                    <a:pt x="1518596" y="807398"/>
                  </a:cubicBezTo>
                  <a:cubicBezTo>
                    <a:pt x="1518596" y="800851"/>
                    <a:pt x="1518596" y="794305"/>
                    <a:pt x="1518596" y="794247"/>
                  </a:cubicBezTo>
                  <a:cubicBezTo>
                    <a:pt x="1518596" y="781095"/>
                    <a:pt x="1512079" y="774518"/>
                    <a:pt x="1518596" y="767943"/>
                  </a:cubicBezTo>
                  <a:cubicBezTo>
                    <a:pt x="1518596" y="761367"/>
                    <a:pt x="1525113" y="754791"/>
                    <a:pt x="1518596" y="748216"/>
                  </a:cubicBezTo>
                  <a:cubicBezTo>
                    <a:pt x="1518596" y="741640"/>
                    <a:pt x="1505562" y="741640"/>
                    <a:pt x="1499045" y="735063"/>
                  </a:cubicBezTo>
                  <a:cubicBezTo>
                    <a:pt x="1492529" y="728487"/>
                    <a:pt x="1492529" y="721912"/>
                    <a:pt x="1479494" y="721912"/>
                  </a:cubicBezTo>
                  <a:cubicBezTo>
                    <a:pt x="1466460" y="715336"/>
                    <a:pt x="1453427" y="715336"/>
                    <a:pt x="1440392" y="721912"/>
                  </a:cubicBezTo>
                  <a:cubicBezTo>
                    <a:pt x="1427358" y="721912"/>
                    <a:pt x="1420841" y="728487"/>
                    <a:pt x="1427358" y="741640"/>
                  </a:cubicBezTo>
                  <a:cubicBezTo>
                    <a:pt x="1427358" y="748216"/>
                    <a:pt x="1446909" y="754791"/>
                    <a:pt x="1440392" y="767943"/>
                  </a:cubicBezTo>
                  <a:cubicBezTo>
                    <a:pt x="1433907" y="767943"/>
                    <a:pt x="1427420" y="767943"/>
                    <a:pt x="1427358" y="767943"/>
                  </a:cubicBezTo>
                  <a:cubicBezTo>
                    <a:pt x="1420841" y="767943"/>
                    <a:pt x="1420841" y="774518"/>
                    <a:pt x="1414325" y="781095"/>
                  </a:cubicBezTo>
                  <a:cubicBezTo>
                    <a:pt x="1414325" y="787671"/>
                    <a:pt x="1420841" y="794247"/>
                    <a:pt x="1414325" y="800822"/>
                  </a:cubicBezTo>
                  <a:cubicBezTo>
                    <a:pt x="1414325" y="807398"/>
                    <a:pt x="1414325" y="813975"/>
                    <a:pt x="1407807" y="813975"/>
                  </a:cubicBezTo>
                  <a:cubicBezTo>
                    <a:pt x="1401290" y="827126"/>
                    <a:pt x="1388256" y="846853"/>
                    <a:pt x="1375223" y="846853"/>
                  </a:cubicBezTo>
                  <a:cubicBezTo>
                    <a:pt x="1362188" y="846853"/>
                    <a:pt x="1355672" y="840278"/>
                    <a:pt x="1355672" y="827126"/>
                  </a:cubicBezTo>
                  <a:cubicBezTo>
                    <a:pt x="1342637" y="807398"/>
                    <a:pt x="1349154" y="787671"/>
                    <a:pt x="1349154" y="767943"/>
                  </a:cubicBezTo>
                  <a:cubicBezTo>
                    <a:pt x="1349154" y="754791"/>
                    <a:pt x="1336121" y="735063"/>
                    <a:pt x="1323086" y="748216"/>
                  </a:cubicBezTo>
                  <a:cubicBezTo>
                    <a:pt x="1310052" y="754791"/>
                    <a:pt x="1323086" y="800822"/>
                    <a:pt x="1297019" y="787671"/>
                  </a:cubicBezTo>
                  <a:cubicBezTo>
                    <a:pt x="1290501" y="781095"/>
                    <a:pt x="1290501" y="774518"/>
                    <a:pt x="1283985" y="767943"/>
                  </a:cubicBezTo>
                  <a:cubicBezTo>
                    <a:pt x="1283985" y="754791"/>
                    <a:pt x="1283985" y="748216"/>
                    <a:pt x="1270950" y="741640"/>
                  </a:cubicBezTo>
                  <a:cubicBezTo>
                    <a:pt x="1257916" y="741640"/>
                    <a:pt x="1251399" y="728487"/>
                    <a:pt x="1251399" y="721912"/>
                  </a:cubicBezTo>
                  <a:cubicBezTo>
                    <a:pt x="1244883" y="715336"/>
                    <a:pt x="1244883" y="715336"/>
                    <a:pt x="1244883" y="708760"/>
                  </a:cubicBezTo>
                  <a:cubicBezTo>
                    <a:pt x="1244883" y="702230"/>
                    <a:pt x="1251308" y="695700"/>
                    <a:pt x="1251399" y="695608"/>
                  </a:cubicBezTo>
                  <a:cubicBezTo>
                    <a:pt x="1251399" y="689032"/>
                    <a:pt x="1244883" y="695608"/>
                    <a:pt x="1238365" y="689032"/>
                  </a:cubicBezTo>
                  <a:cubicBezTo>
                    <a:pt x="1238365" y="688966"/>
                    <a:pt x="1238407" y="682456"/>
                    <a:pt x="1244883" y="682456"/>
                  </a:cubicBezTo>
                  <a:cubicBezTo>
                    <a:pt x="1244916" y="682490"/>
                    <a:pt x="1251416" y="689018"/>
                    <a:pt x="1257916" y="682456"/>
                  </a:cubicBezTo>
                  <a:cubicBezTo>
                    <a:pt x="1264434" y="675880"/>
                    <a:pt x="1264434" y="669305"/>
                    <a:pt x="1257916" y="662728"/>
                  </a:cubicBezTo>
                  <a:cubicBezTo>
                    <a:pt x="1251399" y="656152"/>
                    <a:pt x="1238365" y="656152"/>
                    <a:pt x="1225332" y="649576"/>
                  </a:cubicBezTo>
                  <a:cubicBezTo>
                    <a:pt x="1218814" y="643001"/>
                    <a:pt x="1212297" y="636425"/>
                    <a:pt x="1199263" y="629849"/>
                  </a:cubicBezTo>
                  <a:lnTo>
                    <a:pt x="1191096" y="619842"/>
                  </a:lnTo>
                  <a:cubicBezTo>
                    <a:pt x="1266574" y="560992"/>
                    <a:pt x="1346933" y="508634"/>
                    <a:pt x="1431148" y="462521"/>
                  </a:cubicBezTo>
                  <a:cubicBezTo>
                    <a:pt x="1436385" y="465947"/>
                    <a:pt x="1443536" y="466330"/>
                    <a:pt x="1453581" y="463833"/>
                  </a:cubicBezTo>
                  <a:cubicBezTo>
                    <a:pt x="1460118" y="457335"/>
                    <a:pt x="1466655" y="450839"/>
                    <a:pt x="1473191" y="450839"/>
                  </a:cubicBezTo>
                  <a:close/>
                  <a:moveTo>
                    <a:pt x="1777745" y="298724"/>
                  </a:moveTo>
                  <a:cubicBezTo>
                    <a:pt x="1779996" y="305951"/>
                    <a:pt x="1785271" y="311547"/>
                    <a:pt x="1792168" y="313867"/>
                  </a:cubicBezTo>
                  <a:cubicBezTo>
                    <a:pt x="1811710" y="327013"/>
                    <a:pt x="1831252" y="320441"/>
                    <a:pt x="1844279" y="313867"/>
                  </a:cubicBezTo>
                  <a:cubicBezTo>
                    <a:pt x="1850794" y="307294"/>
                    <a:pt x="1857307" y="307294"/>
                    <a:pt x="1863822" y="307294"/>
                  </a:cubicBezTo>
                  <a:cubicBezTo>
                    <a:pt x="1870335" y="307294"/>
                    <a:pt x="1883363" y="307294"/>
                    <a:pt x="1889878" y="307294"/>
                  </a:cubicBezTo>
                  <a:cubicBezTo>
                    <a:pt x="1896391" y="307294"/>
                    <a:pt x="1909419" y="313867"/>
                    <a:pt x="1902904" y="320441"/>
                  </a:cubicBezTo>
                  <a:cubicBezTo>
                    <a:pt x="1902904" y="340158"/>
                    <a:pt x="1863822" y="327013"/>
                    <a:pt x="1850794" y="333587"/>
                  </a:cubicBezTo>
                  <a:cubicBezTo>
                    <a:pt x="1831252" y="333587"/>
                    <a:pt x="1805196" y="333587"/>
                    <a:pt x="1792168" y="353306"/>
                  </a:cubicBezTo>
                  <a:cubicBezTo>
                    <a:pt x="1785655" y="366452"/>
                    <a:pt x="1798682" y="379598"/>
                    <a:pt x="1811710" y="386171"/>
                  </a:cubicBezTo>
                  <a:cubicBezTo>
                    <a:pt x="1824738" y="392744"/>
                    <a:pt x="1837766" y="399317"/>
                    <a:pt x="1857307" y="399317"/>
                  </a:cubicBezTo>
                  <a:cubicBezTo>
                    <a:pt x="1870335" y="392744"/>
                    <a:pt x="1883363" y="379598"/>
                    <a:pt x="1896391" y="373025"/>
                  </a:cubicBezTo>
                  <a:cubicBezTo>
                    <a:pt x="1941988" y="359878"/>
                    <a:pt x="1994100" y="373025"/>
                    <a:pt x="2033183" y="386171"/>
                  </a:cubicBezTo>
                  <a:cubicBezTo>
                    <a:pt x="2052726" y="392744"/>
                    <a:pt x="2072267" y="399317"/>
                    <a:pt x="2085295" y="412464"/>
                  </a:cubicBezTo>
                  <a:cubicBezTo>
                    <a:pt x="2104837" y="419037"/>
                    <a:pt x="2117865" y="432183"/>
                    <a:pt x="2130893" y="438757"/>
                  </a:cubicBezTo>
                  <a:cubicBezTo>
                    <a:pt x="2150434" y="451903"/>
                    <a:pt x="2163462" y="471622"/>
                    <a:pt x="2176490" y="491342"/>
                  </a:cubicBezTo>
                  <a:cubicBezTo>
                    <a:pt x="2189518" y="517634"/>
                    <a:pt x="2215574" y="543926"/>
                    <a:pt x="2202546" y="576792"/>
                  </a:cubicBezTo>
                  <a:cubicBezTo>
                    <a:pt x="2196032" y="583366"/>
                    <a:pt x="2189518" y="583366"/>
                    <a:pt x="2189518" y="589938"/>
                  </a:cubicBezTo>
                  <a:cubicBezTo>
                    <a:pt x="2189518" y="609658"/>
                    <a:pt x="2202546" y="609658"/>
                    <a:pt x="2215574" y="609658"/>
                  </a:cubicBezTo>
                  <a:cubicBezTo>
                    <a:pt x="2241629" y="609658"/>
                    <a:pt x="2280713" y="609658"/>
                    <a:pt x="2293741" y="635951"/>
                  </a:cubicBezTo>
                  <a:cubicBezTo>
                    <a:pt x="2293741" y="649097"/>
                    <a:pt x="2293741" y="662243"/>
                    <a:pt x="2287228" y="662243"/>
                  </a:cubicBezTo>
                  <a:cubicBezTo>
                    <a:pt x="2274200" y="668817"/>
                    <a:pt x="2261172" y="655671"/>
                    <a:pt x="2254657" y="655671"/>
                  </a:cubicBezTo>
                  <a:cubicBezTo>
                    <a:pt x="2241629" y="655671"/>
                    <a:pt x="2215574" y="649097"/>
                    <a:pt x="2209060" y="662243"/>
                  </a:cubicBezTo>
                  <a:cubicBezTo>
                    <a:pt x="2202546" y="675389"/>
                    <a:pt x="2215574" y="675389"/>
                    <a:pt x="2222088" y="681963"/>
                  </a:cubicBezTo>
                  <a:cubicBezTo>
                    <a:pt x="2228602" y="681963"/>
                    <a:pt x="2228602" y="688537"/>
                    <a:pt x="2235116" y="695109"/>
                  </a:cubicBezTo>
                  <a:cubicBezTo>
                    <a:pt x="2234979" y="695149"/>
                    <a:pt x="2209060" y="701698"/>
                    <a:pt x="2209060" y="708255"/>
                  </a:cubicBezTo>
                  <a:cubicBezTo>
                    <a:pt x="2209060" y="721401"/>
                    <a:pt x="2222088" y="721401"/>
                    <a:pt x="2222088" y="734547"/>
                  </a:cubicBezTo>
                  <a:cubicBezTo>
                    <a:pt x="2228602" y="741121"/>
                    <a:pt x="2215574" y="741121"/>
                    <a:pt x="2215574" y="754267"/>
                  </a:cubicBezTo>
                  <a:cubicBezTo>
                    <a:pt x="2215574" y="760841"/>
                    <a:pt x="2235116" y="767413"/>
                    <a:pt x="2241629" y="767413"/>
                  </a:cubicBezTo>
                  <a:cubicBezTo>
                    <a:pt x="2280713" y="760841"/>
                    <a:pt x="2241629" y="714828"/>
                    <a:pt x="2254657" y="701682"/>
                  </a:cubicBezTo>
                  <a:cubicBezTo>
                    <a:pt x="2274200" y="681963"/>
                    <a:pt x="2332825" y="708255"/>
                    <a:pt x="2345853" y="714828"/>
                  </a:cubicBezTo>
                  <a:cubicBezTo>
                    <a:pt x="2365395" y="721401"/>
                    <a:pt x="2365395" y="741121"/>
                    <a:pt x="2352367" y="754267"/>
                  </a:cubicBezTo>
                  <a:cubicBezTo>
                    <a:pt x="2339339" y="767413"/>
                    <a:pt x="2326311" y="767413"/>
                    <a:pt x="2319797" y="787133"/>
                  </a:cubicBezTo>
                  <a:cubicBezTo>
                    <a:pt x="2319797" y="800280"/>
                    <a:pt x="2313283" y="806852"/>
                    <a:pt x="2306769" y="813426"/>
                  </a:cubicBezTo>
                  <a:cubicBezTo>
                    <a:pt x="2287228" y="819998"/>
                    <a:pt x="2274200" y="813426"/>
                    <a:pt x="2261172" y="819998"/>
                  </a:cubicBezTo>
                  <a:cubicBezTo>
                    <a:pt x="2254657" y="819998"/>
                    <a:pt x="2248144" y="826572"/>
                    <a:pt x="2241629" y="833146"/>
                  </a:cubicBezTo>
                  <a:cubicBezTo>
                    <a:pt x="2241629" y="846292"/>
                    <a:pt x="2248144" y="846292"/>
                    <a:pt x="2254657" y="852865"/>
                  </a:cubicBezTo>
                  <a:lnTo>
                    <a:pt x="2254657" y="854402"/>
                  </a:lnTo>
                  <a:cubicBezTo>
                    <a:pt x="2030443" y="673237"/>
                    <a:pt x="1790845" y="523986"/>
                    <a:pt x="1532172" y="408254"/>
                  </a:cubicBezTo>
                  <a:lnTo>
                    <a:pt x="1563400" y="393072"/>
                  </a:lnTo>
                  <a:cubicBezTo>
                    <a:pt x="1563537" y="393150"/>
                    <a:pt x="1563677" y="393221"/>
                    <a:pt x="1563818" y="393292"/>
                  </a:cubicBezTo>
                  <a:lnTo>
                    <a:pt x="1571320" y="389221"/>
                  </a:lnTo>
                  <a:cubicBezTo>
                    <a:pt x="1637311" y="353400"/>
                    <a:pt x="1706271" y="323188"/>
                    <a:pt x="1777745" y="298724"/>
                  </a:cubicBezTo>
                  <a:close/>
                  <a:moveTo>
                    <a:pt x="3557306" y="287696"/>
                  </a:moveTo>
                  <a:cubicBezTo>
                    <a:pt x="3811168" y="380958"/>
                    <a:pt x="4045360" y="515441"/>
                    <a:pt x="4252506" y="682887"/>
                  </a:cubicBezTo>
                  <a:cubicBezTo>
                    <a:pt x="4246666" y="683314"/>
                    <a:pt x="4240452" y="680970"/>
                    <a:pt x="4236562" y="680970"/>
                  </a:cubicBezTo>
                  <a:cubicBezTo>
                    <a:pt x="4197447" y="674391"/>
                    <a:pt x="4217004" y="713866"/>
                    <a:pt x="4184408" y="727024"/>
                  </a:cubicBezTo>
                  <a:cubicBezTo>
                    <a:pt x="4164851" y="733603"/>
                    <a:pt x="4119217" y="727024"/>
                    <a:pt x="4112698" y="759919"/>
                  </a:cubicBezTo>
                  <a:cubicBezTo>
                    <a:pt x="4112698" y="766499"/>
                    <a:pt x="4112698" y="779657"/>
                    <a:pt x="4106180" y="786235"/>
                  </a:cubicBezTo>
                  <a:cubicBezTo>
                    <a:pt x="4099661" y="799393"/>
                    <a:pt x="4086622" y="792814"/>
                    <a:pt x="4073584" y="792814"/>
                  </a:cubicBezTo>
                  <a:cubicBezTo>
                    <a:pt x="4067065" y="805972"/>
                    <a:pt x="4080103" y="805972"/>
                    <a:pt x="4086622" y="812551"/>
                  </a:cubicBezTo>
                  <a:cubicBezTo>
                    <a:pt x="4093141" y="838867"/>
                    <a:pt x="4073584" y="825709"/>
                    <a:pt x="4060546" y="832288"/>
                  </a:cubicBezTo>
                  <a:cubicBezTo>
                    <a:pt x="4047507" y="838867"/>
                    <a:pt x="4060546" y="845447"/>
                    <a:pt x="4060546" y="852027"/>
                  </a:cubicBezTo>
                  <a:cubicBezTo>
                    <a:pt x="4060546" y="878343"/>
                    <a:pt x="4034470" y="858606"/>
                    <a:pt x="4021431" y="858606"/>
                  </a:cubicBezTo>
                  <a:cubicBezTo>
                    <a:pt x="3982316" y="858606"/>
                    <a:pt x="4034469" y="904657"/>
                    <a:pt x="4027950" y="911238"/>
                  </a:cubicBezTo>
                  <a:cubicBezTo>
                    <a:pt x="4008392" y="930976"/>
                    <a:pt x="3988835" y="891501"/>
                    <a:pt x="3969279" y="917817"/>
                  </a:cubicBezTo>
                  <a:cubicBezTo>
                    <a:pt x="3962759" y="930976"/>
                    <a:pt x="3956240" y="950712"/>
                    <a:pt x="3943201" y="963870"/>
                  </a:cubicBezTo>
                  <a:cubicBezTo>
                    <a:pt x="3938313" y="973739"/>
                    <a:pt x="3922422" y="976206"/>
                    <a:pt x="3925783" y="982374"/>
                  </a:cubicBezTo>
                  <a:lnTo>
                    <a:pt x="3936683" y="990186"/>
                  </a:lnTo>
                  <a:cubicBezTo>
                    <a:pt x="3943201" y="996765"/>
                    <a:pt x="3956240" y="1003344"/>
                    <a:pt x="3943201" y="1009923"/>
                  </a:cubicBezTo>
                  <a:cubicBezTo>
                    <a:pt x="3930164" y="1009923"/>
                    <a:pt x="3910607" y="1003344"/>
                    <a:pt x="3897568" y="1003344"/>
                  </a:cubicBezTo>
                  <a:cubicBezTo>
                    <a:pt x="3891049" y="996765"/>
                    <a:pt x="3878010" y="996765"/>
                    <a:pt x="3871492" y="1003344"/>
                  </a:cubicBezTo>
                  <a:cubicBezTo>
                    <a:pt x="3864973" y="1016503"/>
                    <a:pt x="3878010" y="1023082"/>
                    <a:pt x="3871492" y="1029661"/>
                  </a:cubicBezTo>
                  <a:cubicBezTo>
                    <a:pt x="3871492" y="1055977"/>
                    <a:pt x="3825858" y="1029661"/>
                    <a:pt x="3819339" y="1055977"/>
                  </a:cubicBezTo>
                  <a:cubicBezTo>
                    <a:pt x="3819339" y="1062556"/>
                    <a:pt x="3825858" y="1075714"/>
                    <a:pt x="3819339" y="1082292"/>
                  </a:cubicBezTo>
                  <a:cubicBezTo>
                    <a:pt x="3812821" y="1095451"/>
                    <a:pt x="3793263" y="1088871"/>
                    <a:pt x="3780225" y="1095451"/>
                  </a:cubicBezTo>
                  <a:lnTo>
                    <a:pt x="3769631" y="1097095"/>
                  </a:lnTo>
                  <a:lnTo>
                    <a:pt x="3773706" y="1108609"/>
                  </a:lnTo>
                  <a:cubicBezTo>
                    <a:pt x="3773744" y="1108609"/>
                    <a:pt x="3780225" y="1108629"/>
                    <a:pt x="3780225" y="1115188"/>
                  </a:cubicBezTo>
                  <a:cubicBezTo>
                    <a:pt x="3773706" y="1121767"/>
                    <a:pt x="3773706" y="1115188"/>
                    <a:pt x="3767186" y="1121767"/>
                  </a:cubicBezTo>
                  <a:cubicBezTo>
                    <a:pt x="3767186" y="1125056"/>
                    <a:pt x="3765556" y="1125056"/>
                    <a:pt x="3764741" y="1125879"/>
                  </a:cubicBezTo>
                  <a:lnTo>
                    <a:pt x="3767186" y="1134925"/>
                  </a:lnTo>
                  <a:cubicBezTo>
                    <a:pt x="3767252" y="1134925"/>
                    <a:pt x="3773749" y="1134961"/>
                    <a:pt x="3780225" y="1141504"/>
                  </a:cubicBezTo>
                  <a:cubicBezTo>
                    <a:pt x="3786743" y="1154662"/>
                    <a:pt x="3780225" y="1148083"/>
                    <a:pt x="3773706" y="1161241"/>
                  </a:cubicBezTo>
                  <a:cubicBezTo>
                    <a:pt x="3760667" y="1174399"/>
                    <a:pt x="3793263" y="1167820"/>
                    <a:pt x="3799782" y="1174399"/>
                  </a:cubicBezTo>
                  <a:cubicBezTo>
                    <a:pt x="3819339" y="1194137"/>
                    <a:pt x="3767186" y="1194137"/>
                    <a:pt x="3773706" y="1213874"/>
                  </a:cubicBezTo>
                  <a:cubicBezTo>
                    <a:pt x="3778595" y="1223743"/>
                    <a:pt x="3798152" y="1215107"/>
                    <a:pt x="3802125" y="1221274"/>
                  </a:cubicBezTo>
                  <a:lnTo>
                    <a:pt x="3799782" y="1233610"/>
                  </a:lnTo>
                  <a:cubicBezTo>
                    <a:pt x="3793263" y="1240189"/>
                    <a:pt x="3786743" y="1240189"/>
                    <a:pt x="3786743" y="1246768"/>
                  </a:cubicBezTo>
                  <a:cubicBezTo>
                    <a:pt x="3786743" y="1266506"/>
                    <a:pt x="3799782" y="1253347"/>
                    <a:pt x="3806301" y="1253347"/>
                  </a:cubicBezTo>
                  <a:cubicBezTo>
                    <a:pt x="3819339" y="1259926"/>
                    <a:pt x="3806301" y="1286243"/>
                    <a:pt x="3825858" y="1279664"/>
                  </a:cubicBezTo>
                  <a:cubicBezTo>
                    <a:pt x="3845416" y="1279664"/>
                    <a:pt x="3838897" y="1253347"/>
                    <a:pt x="3858454" y="1253347"/>
                  </a:cubicBezTo>
                  <a:cubicBezTo>
                    <a:pt x="3864973" y="1253347"/>
                    <a:pt x="3871492" y="1259926"/>
                    <a:pt x="3878010" y="1253347"/>
                  </a:cubicBezTo>
                  <a:cubicBezTo>
                    <a:pt x="3884530" y="1253347"/>
                    <a:pt x="3884530" y="1240189"/>
                    <a:pt x="3891049" y="1233610"/>
                  </a:cubicBezTo>
                  <a:cubicBezTo>
                    <a:pt x="3904088" y="1227031"/>
                    <a:pt x="3910607" y="1240187"/>
                    <a:pt x="3917125" y="1240189"/>
                  </a:cubicBezTo>
                  <a:cubicBezTo>
                    <a:pt x="3930164" y="1240189"/>
                    <a:pt x="3936683" y="1227031"/>
                    <a:pt x="3943201" y="1240189"/>
                  </a:cubicBezTo>
                  <a:cubicBezTo>
                    <a:pt x="3943201" y="1259926"/>
                    <a:pt x="3923645" y="1273085"/>
                    <a:pt x="3936683" y="1286243"/>
                  </a:cubicBezTo>
                  <a:cubicBezTo>
                    <a:pt x="3949721" y="1299402"/>
                    <a:pt x="3975798" y="1305981"/>
                    <a:pt x="3988835" y="1312560"/>
                  </a:cubicBezTo>
                  <a:lnTo>
                    <a:pt x="3996067" y="1323251"/>
                  </a:lnTo>
                  <a:cubicBezTo>
                    <a:pt x="3996985" y="1330653"/>
                    <a:pt x="3982316" y="1330653"/>
                    <a:pt x="3982316" y="1345455"/>
                  </a:cubicBezTo>
                  <a:cubicBezTo>
                    <a:pt x="3975798" y="1371772"/>
                    <a:pt x="4008392" y="1384929"/>
                    <a:pt x="4021431" y="1358614"/>
                  </a:cubicBezTo>
                  <a:cubicBezTo>
                    <a:pt x="4027950" y="1338876"/>
                    <a:pt x="4021431" y="1325718"/>
                    <a:pt x="4054026" y="1332297"/>
                  </a:cubicBezTo>
                  <a:cubicBezTo>
                    <a:pt x="4073584" y="1338876"/>
                    <a:pt x="4080103" y="1325718"/>
                    <a:pt x="4073584" y="1305981"/>
                  </a:cubicBezTo>
                  <a:cubicBezTo>
                    <a:pt x="4067065" y="1279664"/>
                    <a:pt x="4054026" y="1259926"/>
                    <a:pt x="4080103" y="1246768"/>
                  </a:cubicBezTo>
                  <a:cubicBezTo>
                    <a:pt x="4093141" y="1240189"/>
                    <a:pt x="4112698" y="1240189"/>
                    <a:pt x="4119217" y="1227031"/>
                  </a:cubicBezTo>
                  <a:cubicBezTo>
                    <a:pt x="4132256" y="1207295"/>
                    <a:pt x="4125737" y="1187558"/>
                    <a:pt x="4112698" y="1174399"/>
                  </a:cubicBezTo>
                  <a:cubicBezTo>
                    <a:pt x="4099661" y="1161241"/>
                    <a:pt x="4086622" y="1148083"/>
                    <a:pt x="4086622" y="1134925"/>
                  </a:cubicBezTo>
                  <a:cubicBezTo>
                    <a:pt x="4086622" y="1121767"/>
                    <a:pt x="4099661" y="1108609"/>
                    <a:pt x="4099661" y="1095451"/>
                  </a:cubicBezTo>
                  <a:cubicBezTo>
                    <a:pt x="4099661" y="1082292"/>
                    <a:pt x="4093141" y="1062556"/>
                    <a:pt x="4106180" y="1049398"/>
                  </a:cubicBezTo>
                  <a:cubicBezTo>
                    <a:pt x="4112698" y="1042819"/>
                    <a:pt x="4125737" y="1049398"/>
                    <a:pt x="4125737" y="1029661"/>
                  </a:cubicBezTo>
                  <a:cubicBezTo>
                    <a:pt x="4132256" y="1023082"/>
                    <a:pt x="4125737" y="1016503"/>
                    <a:pt x="4138775" y="1009923"/>
                  </a:cubicBezTo>
                  <a:cubicBezTo>
                    <a:pt x="4158332" y="996765"/>
                    <a:pt x="4171371" y="1009923"/>
                    <a:pt x="4184408" y="983607"/>
                  </a:cubicBezTo>
                  <a:cubicBezTo>
                    <a:pt x="4190928" y="970449"/>
                    <a:pt x="4203966" y="950712"/>
                    <a:pt x="4203966" y="930976"/>
                  </a:cubicBezTo>
                  <a:cubicBezTo>
                    <a:pt x="4210486" y="911238"/>
                    <a:pt x="4236562" y="898080"/>
                    <a:pt x="4256119" y="904659"/>
                  </a:cubicBezTo>
                  <a:cubicBezTo>
                    <a:pt x="4269157" y="904659"/>
                    <a:pt x="4269157" y="917817"/>
                    <a:pt x="4269157" y="930976"/>
                  </a:cubicBezTo>
                  <a:cubicBezTo>
                    <a:pt x="4269157" y="937544"/>
                    <a:pt x="4269157" y="944112"/>
                    <a:pt x="4269157" y="944133"/>
                  </a:cubicBezTo>
                  <a:cubicBezTo>
                    <a:pt x="4275675" y="950712"/>
                    <a:pt x="4275675" y="957291"/>
                    <a:pt x="4275675" y="963870"/>
                  </a:cubicBezTo>
                  <a:cubicBezTo>
                    <a:pt x="4275675" y="977028"/>
                    <a:pt x="4256119" y="983607"/>
                    <a:pt x="4249599" y="983607"/>
                  </a:cubicBezTo>
                  <a:cubicBezTo>
                    <a:pt x="4230042" y="996765"/>
                    <a:pt x="4217004" y="1003344"/>
                    <a:pt x="4210486" y="1016503"/>
                  </a:cubicBezTo>
                  <a:cubicBezTo>
                    <a:pt x="4203966" y="1023082"/>
                    <a:pt x="4203966" y="1029661"/>
                    <a:pt x="4203966" y="1036240"/>
                  </a:cubicBezTo>
                  <a:cubicBezTo>
                    <a:pt x="4197447" y="1055977"/>
                    <a:pt x="4210486" y="1069135"/>
                    <a:pt x="4210486" y="1088871"/>
                  </a:cubicBezTo>
                  <a:cubicBezTo>
                    <a:pt x="4217004" y="1102030"/>
                    <a:pt x="4223523" y="1108609"/>
                    <a:pt x="4223523" y="1121767"/>
                  </a:cubicBezTo>
                  <a:cubicBezTo>
                    <a:pt x="4236562" y="1134925"/>
                    <a:pt x="4230042" y="1154662"/>
                    <a:pt x="4243080" y="1167820"/>
                  </a:cubicBezTo>
                  <a:cubicBezTo>
                    <a:pt x="4256119" y="1174399"/>
                    <a:pt x="4269157" y="1174399"/>
                    <a:pt x="4282195" y="1167820"/>
                  </a:cubicBezTo>
                  <a:cubicBezTo>
                    <a:pt x="4295233" y="1154662"/>
                    <a:pt x="4308271" y="1141504"/>
                    <a:pt x="4327829" y="1141504"/>
                  </a:cubicBezTo>
                  <a:cubicBezTo>
                    <a:pt x="4340866" y="1141504"/>
                    <a:pt x="4347386" y="1154662"/>
                    <a:pt x="4353905" y="1154662"/>
                  </a:cubicBezTo>
                  <a:cubicBezTo>
                    <a:pt x="4366944" y="1161241"/>
                    <a:pt x="4373462" y="1154662"/>
                    <a:pt x="4386500" y="1154662"/>
                  </a:cubicBezTo>
                  <a:cubicBezTo>
                    <a:pt x="4399539" y="1161241"/>
                    <a:pt x="4419096" y="1180979"/>
                    <a:pt x="4393020" y="1187558"/>
                  </a:cubicBezTo>
                  <a:cubicBezTo>
                    <a:pt x="4379981" y="1194137"/>
                    <a:pt x="4366944" y="1187558"/>
                    <a:pt x="4353905" y="1187558"/>
                  </a:cubicBezTo>
                  <a:cubicBezTo>
                    <a:pt x="4334348" y="1187558"/>
                    <a:pt x="4334348" y="1200716"/>
                    <a:pt x="4321310" y="1200716"/>
                  </a:cubicBezTo>
                  <a:cubicBezTo>
                    <a:pt x="4301753" y="1207295"/>
                    <a:pt x="4288714" y="1187558"/>
                    <a:pt x="4269157" y="1200716"/>
                  </a:cubicBezTo>
                  <a:cubicBezTo>
                    <a:pt x="4230042" y="1227031"/>
                    <a:pt x="4288714" y="1259926"/>
                    <a:pt x="4262638" y="1286243"/>
                  </a:cubicBezTo>
                  <a:cubicBezTo>
                    <a:pt x="4249599" y="1305981"/>
                    <a:pt x="4236562" y="1279664"/>
                    <a:pt x="4230042" y="1273085"/>
                  </a:cubicBezTo>
                  <a:cubicBezTo>
                    <a:pt x="4210486" y="1266506"/>
                    <a:pt x="4190928" y="1279664"/>
                    <a:pt x="4190928" y="1292823"/>
                  </a:cubicBezTo>
                  <a:cubicBezTo>
                    <a:pt x="4184408" y="1312560"/>
                    <a:pt x="4197447" y="1325718"/>
                    <a:pt x="4190928" y="1345455"/>
                  </a:cubicBezTo>
                  <a:cubicBezTo>
                    <a:pt x="4190928" y="1352035"/>
                    <a:pt x="4184408" y="1352035"/>
                    <a:pt x="4177889" y="1358614"/>
                  </a:cubicBezTo>
                  <a:cubicBezTo>
                    <a:pt x="4177889" y="1371772"/>
                    <a:pt x="4184408" y="1371772"/>
                    <a:pt x="4184408" y="1378351"/>
                  </a:cubicBezTo>
                  <a:cubicBezTo>
                    <a:pt x="4177889" y="1391508"/>
                    <a:pt x="4171371" y="1384929"/>
                    <a:pt x="4164851" y="1391508"/>
                  </a:cubicBezTo>
                  <a:cubicBezTo>
                    <a:pt x="4145294" y="1391508"/>
                    <a:pt x="4151813" y="1404666"/>
                    <a:pt x="4145294" y="1411245"/>
                  </a:cubicBezTo>
                  <a:cubicBezTo>
                    <a:pt x="4132256" y="1430983"/>
                    <a:pt x="4112698" y="1424403"/>
                    <a:pt x="4093141" y="1424403"/>
                  </a:cubicBezTo>
                  <a:cubicBezTo>
                    <a:pt x="4067065" y="1424403"/>
                    <a:pt x="4054026" y="1430983"/>
                    <a:pt x="4027950" y="1444141"/>
                  </a:cubicBezTo>
                  <a:cubicBezTo>
                    <a:pt x="4001874" y="1450720"/>
                    <a:pt x="3988835" y="1430983"/>
                    <a:pt x="3969279" y="1430983"/>
                  </a:cubicBezTo>
                  <a:lnTo>
                    <a:pt x="3959805" y="1429338"/>
                  </a:lnTo>
                  <a:cubicBezTo>
                    <a:pt x="3954610" y="1430571"/>
                    <a:pt x="3959500" y="1439206"/>
                    <a:pt x="3949721" y="1444141"/>
                  </a:cubicBezTo>
                  <a:cubicBezTo>
                    <a:pt x="3936683" y="1450720"/>
                    <a:pt x="3930164" y="1444141"/>
                    <a:pt x="3923645" y="1437562"/>
                  </a:cubicBezTo>
                  <a:cubicBezTo>
                    <a:pt x="3917125" y="1437562"/>
                    <a:pt x="3910607" y="1430983"/>
                    <a:pt x="3904088" y="1424403"/>
                  </a:cubicBezTo>
                  <a:cubicBezTo>
                    <a:pt x="3884530" y="1404666"/>
                    <a:pt x="3910607" y="1398087"/>
                    <a:pt x="3904088" y="1384929"/>
                  </a:cubicBezTo>
                  <a:cubicBezTo>
                    <a:pt x="3904088" y="1365193"/>
                    <a:pt x="3897568" y="1365193"/>
                    <a:pt x="3904088" y="1352035"/>
                  </a:cubicBezTo>
                  <a:cubicBezTo>
                    <a:pt x="3904088" y="1345456"/>
                    <a:pt x="3904088" y="1338876"/>
                    <a:pt x="3904088" y="1332297"/>
                  </a:cubicBezTo>
                  <a:cubicBezTo>
                    <a:pt x="3904088" y="1325718"/>
                    <a:pt x="3904088" y="1319139"/>
                    <a:pt x="3904088" y="1305981"/>
                  </a:cubicBezTo>
                  <a:cubicBezTo>
                    <a:pt x="3910607" y="1299402"/>
                    <a:pt x="3917125" y="1266506"/>
                    <a:pt x="3897568" y="1279664"/>
                  </a:cubicBezTo>
                  <a:cubicBezTo>
                    <a:pt x="3884530" y="1279664"/>
                    <a:pt x="3891049" y="1292823"/>
                    <a:pt x="3884530" y="1292823"/>
                  </a:cubicBezTo>
                  <a:cubicBezTo>
                    <a:pt x="3878010" y="1299402"/>
                    <a:pt x="3871492" y="1292823"/>
                    <a:pt x="3864973" y="1292823"/>
                  </a:cubicBezTo>
                  <a:cubicBezTo>
                    <a:pt x="3851934" y="1305981"/>
                    <a:pt x="3884530" y="1312560"/>
                    <a:pt x="3884530" y="1319139"/>
                  </a:cubicBezTo>
                  <a:cubicBezTo>
                    <a:pt x="3871492" y="1325718"/>
                    <a:pt x="3825858" y="1325718"/>
                    <a:pt x="3838897" y="1352035"/>
                  </a:cubicBezTo>
                  <a:cubicBezTo>
                    <a:pt x="3845416" y="1358614"/>
                    <a:pt x="3851934" y="1358614"/>
                    <a:pt x="3858454" y="1365193"/>
                  </a:cubicBezTo>
                  <a:cubicBezTo>
                    <a:pt x="3858454" y="1378351"/>
                    <a:pt x="3851934" y="1378351"/>
                    <a:pt x="3851934" y="1384929"/>
                  </a:cubicBezTo>
                  <a:cubicBezTo>
                    <a:pt x="3845416" y="1404666"/>
                    <a:pt x="3871492" y="1417824"/>
                    <a:pt x="3878010" y="1430983"/>
                  </a:cubicBezTo>
                  <a:cubicBezTo>
                    <a:pt x="3884530" y="1463878"/>
                    <a:pt x="3858454" y="1457299"/>
                    <a:pt x="3838897" y="1463878"/>
                  </a:cubicBezTo>
                  <a:cubicBezTo>
                    <a:pt x="3838816" y="1463970"/>
                    <a:pt x="3832336" y="1470457"/>
                    <a:pt x="3825858" y="1470457"/>
                  </a:cubicBezTo>
                  <a:cubicBezTo>
                    <a:pt x="3819339" y="1477036"/>
                    <a:pt x="3812821" y="1470457"/>
                    <a:pt x="3806301" y="1470457"/>
                  </a:cubicBezTo>
                  <a:cubicBezTo>
                    <a:pt x="3786743" y="1470457"/>
                    <a:pt x="3773706" y="1477036"/>
                    <a:pt x="3760667" y="1490194"/>
                  </a:cubicBezTo>
                  <a:cubicBezTo>
                    <a:pt x="3754148" y="1509932"/>
                    <a:pt x="3760667" y="1523090"/>
                    <a:pt x="3754148" y="1536248"/>
                  </a:cubicBezTo>
                  <a:cubicBezTo>
                    <a:pt x="3741110" y="1555984"/>
                    <a:pt x="3715033" y="1555984"/>
                    <a:pt x="3695476" y="1549405"/>
                  </a:cubicBezTo>
                  <a:cubicBezTo>
                    <a:pt x="3682439" y="1549405"/>
                    <a:pt x="3669400" y="1549405"/>
                    <a:pt x="3669400" y="1569142"/>
                  </a:cubicBezTo>
                  <a:cubicBezTo>
                    <a:pt x="3669400" y="1582300"/>
                    <a:pt x="3682439" y="1588880"/>
                    <a:pt x="3675919" y="1602038"/>
                  </a:cubicBezTo>
                  <a:cubicBezTo>
                    <a:pt x="3675919" y="1615196"/>
                    <a:pt x="3656361" y="1615196"/>
                    <a:pt x="3643324" y="1615196"/>
                  </a:cubicBezTo>
                  <a:cubicBezTo>
                    <a:pt x="3630285" y="1615196"/>
                    <a:pt x="3623766" y="1602038"/>
                    <a:pt x="3610728" y="1602038"/>
                  </a:cubicBezTo>
                  <a:lnTo>
                    <a:pt x="3597791" y="1601525"/>
                  </a:lnTo>
                  <a:cubicBezTo>
                    <a:pt x="3590763" y="1604917"/>
                    <a:pt x="3599320" y="1618485"/>
                    <a:pt x="3604209" y="1628354"/>
                  </a:cubicBezTo>
                  <a:cubicBezTo>
                    <a:pt x="3610728" y="1648091"/>
                    <a:pt x="3584651" y="1641512"/>
                    <a:pt x="3571614" y="1641512"/>
                  </a:cubicBezTo>
                  <a:cubicBezTo>
                    <a:pt x="3552057" y="1648091"/>
                    <a:pt x="3512942" y="1634933"/>
                    <a:pt x="3512942" y="1661249"/>
                  </a:cubicBezTo>
                  <a:cubicBezTo>
                    <a:pt x="3512942" y="1680987"/>
                    <a:pt x="3539018" y="1680987"/>
                    <a:pt x="3558575" y="1687566"/>
                  </a:cubicBezTo>
                  <a:cubicBezTo>
                    <a:pt x="3578133" y="1694144"/>
                    <a:pt x="3565094" y="1720460"/>
                    <a:pt x="3584651" y="1733618"/>
                  </a:cubicBezTo>
                  <a:cubicBezTo>
                    <a:pt x="3604209" y="1746776"/>
                    <a:pt x="3643324" y="1746776"/>
                    <a:pt x="3623766" y="1779673"/>
                  </a:cubicBezTo>
                  <a:cubicBezTo>
                    <a:pt x="3617248" y="1792831"/>
                    <a:pt x="3610728" y="1792831"/>
                    <a:pt x="3604209" y="1805989"/>
                  </a:cubicBezTo>
                  <a:cubicBezTo>
                    <a:pt x="3604209" y="1819147"/>
                    <a:pt x="3604209" y="1832305"/>
                    <a:pt x="3597690" y="1845464"/>
                  </a:cubicBezTo>
                  <a:cubicBezTo>
                    <a:pt x="3584651" y="1865200"/>
                    <a:pt x="3552057" y="1865200"/>
                    <a:pt x="3532499" y="1865200"/>
                  </a:cubicBezTo>
                  <a:cubicBezTo>
                    <a:pt x="3519460" y="1865200"/>
                    <a:pt x="3499903" y="1865200"/>
                    <a:pt x="3486865" y="1858621"/>
                  </a:cubicBezTo>
                  <a:cubicBezTo>
                    <a:pt x="3480346" y="1858621"/>
                    <a:pt x="3473827" y="1858621"/>
                    <a:pt x="3467308" y="1852042"/>
                  </a:cubicBezTo>
                  <a:cubicBezTo>
                    <a:pt x="3460789" y="1852042"/>
                    <a:pt x="3454269" y="1838885"/>
                    <a:pt x="3441232" y="1838885"/>
                  </a:cubicBezTo>
                  <a:cubicBezTo>
                    <a:pt x="3441232" y="1845412"/>
                    <a:pt x="3434813" y="1845464"/>
                    <a:pt x="3434712" y="1845464"/>
                  </a:cubicBezTo>
                  <a:cubicBezTo>
                    <a:pt x="3428193" y="1852042"/>
                    <a:pt x="3428193" y="1852042"/>
                    <a:pt x="3421674" y="1852042"/>
                  </a:cubicBezTo>
                  <a:cubicBezTo>
                    <a:pt x="3402117" y="1858621"/>
                    <a:pt x="3389078" y="1865200"/>
                    <a:pt x="3395598" y="1884937"/>
                  </a:cubicBezTo>
                  <a:cubicBezTo>
                    <a:pt x="3395598" y="1898118"/>
                    <a:pt x="3400504" y="1909648"/>
                    <a:pt x="3403757" y="1921183"/>
                  </a:cubicBezTo>
                  <a:cubicBezTo>
                    <a:pt x="3320375" y="1876527"/>
                    <a:pt x="3235444" y="1834223"/>
                    <a:pt x="3149778" y="1793573"/>
                  </a:cubicBezTo>
                  <a:cubicBezTo>
                    <a:pt x="2980614" y="1567631"/>
                    <a:pt x="2804454" y="1362742"/>
                    <a:pt x="2619351" y="1179859"/>
                  </a:cubicBezTo>
                  <a:cubicBezTo>
                    <a:pt x="2753619" y="1021941"/>
                    <a:pt x="2892903" y="871760"/>
                    <a:pt x="3030556" y="734085"/>
                  </a:cubicBezTo>
                  <a:cubicBezTo>
                    <a:pt x="3040441" y="729182"/>
                    <a:pt x="3050069" y="724133"/>
                    <a:pt x="3048173" y="715826"/>
                  </a:cubicBezTo>
                  <a:cubicBezTo>
                    <a:pt x="3126733" y="636926"/>
                    <a:pt x="3204874" y="562436"/>
                    <a:pt x="3281289" y="493209"/>
                  </a:cubicBezTo>
                  <a:cubicBezTo>
                    <a:pt x="3309736" y="518570"/>
                    <a:pt x="3347477" y="532145"/>
                    <a:pt x="3388389" y="532145"/>
                  </a:cubicBezTo>
                  <a:cubicBezTo>
                    <a:pt x="3488339" y="532145"/>
                    <a:pt x="3569364" y="451120"/>
                    <a:pt x="3569364" y="351170"/>
                  </a:cubicBezTo>
                  <a:cubicBezTo>
                    <a:pt x="3569364" y="328760"/>
                    <a:pt x="3565291" y="307301"/>
                    <a:pt x="3557306" y="287696"/>
                  </a:cubicBezTo>
                  <a:close/>
                  <a:moveTo>
                    <a:pt x="3388389" y="244490"/>
                  </a:moveTo>
                  <a:cubicBezTo>
                    <a:pt x="3447307" y="244490"/>
                    <a:pt x="3495069" y="292252"/>
                    <a:pt x="3495069" y="351170"/>
                  </a:cubicBezTo>
                  <a:cubicBezTo>
                    <a:pt x="3495069" y="410088"/>
                    <a:pt x="3447307" y="457850"/>
                    <a:pt x="3388389" y="457850"/>
                  </a:cubicBezTo>
                  <a:cubicBezTo>
                    <a:pt x="3329471" y="457850"/>
                    <a:pt x="3281709" y="410088"/>
                    <a:pt x="3281709" y="351170"/>
                  </a:cubicBezTo>
                  <a:cubicBezTo>
                    <a:pt x="3281709" y="292252"/>
                    <a:pt x="3329471" y="244490"/>
                    <a:pt x="3388389" y="244490"/>
                  </a:cubicBezTo>
                  <a:close/>
                  <a:moveTo>
                    <a:pt x="3158941" y="175915"/>
                  </a:moveTo>
                  <a:lnTo>
                    <a:pt x="3161140" y="176253"/>
                  </a:lnTo>
                  <a:cubicBezTo>
                    <a:pt x="3173468" y="182408"/>
                    <a:pt x="3179977" y="182575"/>
                    <a:pt x="3192664" y="188977"/>
                  </a:cubicBezTo>
                  <a:lnTo>
                    <a:pt x="3207130" y="185048"/>
                  </a:lnTo>
                  <a:lnTo>
                    <a:pt x="3287899" y="204674"/>
                  </a:lnTo>
                  <a:cubicBezTo>
                    <a:pt x="3238540" y="234542"/>
                    <a:pt x="3207414" y="289221"/>
                    <a:pt x="3207414" y="351170"/>
                  </a:cubicBezTo>
                  <a:cubicBezTo>
                    <a:pt x="3207414" y="396588"/>
                    <a:pt x="3224145" y="438098"/>
                    <a:pt x="3253289" y="468561"/>
                  </a:cubicBezTo>
                  <a:lnTo>
                    <a:pt x="3067844" y="641960"/>
                  </a:lnTo>
                  <a:cubicBezTo>
                    <a:pt x="3066253" y="639853"/>
                    <a:pt x="3064319" y="637902"/>
                    <a:pt x="3062385" y="635951"/>
                  </a:cubicBezTo>
                  <a:cubicBezTo>
                    <a:pt x="3062385" y="622804"/>
                    <a:pt x="3062385" y="616232"/>
                    <a:pt x="3068900" y="609658"/>
                  </a:cubicBezTo>
                  <a:cubicBezTo>
                    <a:pt x="3075413" y="596512"/>
                    <a:pt x="3075413" y="576792"/>
                    <a:pt x="3062385" y="563646"/>
                  </a:cubicBezTo>
                  <a:cubicBezTo>
                    <a:pt x="3055872" y="557073"/>
                    <a:pt x="3042844" y="557073"/>
                    <a:pt x="3049357" y="543926"/>
                  </a:cubicBezTo>
                  <a:cubicBezTo>
                    <a:pt x="3068900" y="537353"/>
                    <a:pt x="3094955" y="543926"/>
                    <a:pt x="3107983" y="543926"/>
                  </a:cubicBezTo>
                  <a:cubicBezTo>
                    <a:pt x="3114497" y="537353"/>
                    <a:pt x="3121011" y="537353"/>
                    <a:pt x="3121011" y="530780"/>
                  </a:cubicBezTo>
                  <a:cubicBezTo>
                    <a:pt x="3121011" y="517634"/>
                    <a:pt x="3114497" y="517634"/>
                    <a:pt x="3101469" y="517634"/>
                  </a:cubicBezTo>
                  <a:cubicBezTo>
                    <a:pt x="3094955" y="511062"/>
                    <a:pt x="3075413" y="511062"/>
                    <a:pt x="3068900" y="497915"/>
                  </a:cubicBezTo>
                  <a:lnTo>
                    <a:pt x="3062182" y="486515"/>
                  </a:lnTo>
                  <a:cubicBezTo>
                    <a:pt x="3066456" y="478196"/>
                    <a:pt x="3098212" y="478196"/>
                    <a:pt x="3107983" y="478196"/>
                  </a:cubicBezTo>
                  <a:cubicBezTo>
                    <a:pt x="3114497" y="478196"/>
                    <a:pt x="3140553" y="491342"/>
                    <a:pt x="3140553" y="478196"/>
                  </a:cubicBezTo>
                  <a:cubicBezTo>
                    <a:pt x="3147067" y="465049"/>
                    <a:pt x="3107983" y="465049"/>
                    <a:pt x="3114497" y="445329"/>
                  </a:cubicBezTo>
                  <a:cubicBezTo>
                    <a:pt x="3121011" y="432183"/>
                    <a:pt x="3147067" y="425611"/>
                    <a:pt x="3140553" y="405891"/>
                  </a:cubicBezTo>
                  <a:cubicBezTo>
                    <a:pt x="3127525" y="386171"/>
                    <a:pt x="3094955" y="405891"/>
                    <a:pt x="3088441" y="386171"/>
                  </a:cubicBezTo>
                  <a:cubicBezTo>
                    <a:pt x="3081928" y="366452"/>
                    <a:pt x="3081928" y="346732"/>
                    <a:pt x="3107983" y="353306"/>
                  </a:cubicBezTo>
                  <a:cubicBezTo>
                    <a:pt x="3121011" y="353306"/>
                    <a:pt x="3166608" y="392744"/>
                    <a:pt x="3179636" y="373025"/>
                  </a:cubicBezTo>
                  <a:cubicBezTo>
                    <a:pt x="3192664" y="353306"/>
                    <a:pt x="3166608" y="333587"/>
                    <a:pt x="3153580" y="333587"/>
                  </a:cubicBezTo>
                  <a:cubicBezTo>
                    <a:pt x="3147067" y="333587"/>
                    <a:pt x="3140553" y="333587"/>
                    <a:pt x="3140553" y="327013"/>
                  </a:cubicBezTo>
                  <a:cubicBezTo>
                    <a:pt x="3134039" y="320441"/>
                    <a:pt x="3140553" y="320441"/>
                    <a:pt x="3134039" y="313867"/>
                  </a:cubicBezTo>
                  <a:cubicBezTo>
                    <a:pt x="3134039" y="300721"/>
                    <a:pt x="3114497" y="300721"/>
                    <a:pt x="3114497" y="287574"/>
                  </a:cubicBezTo>
                  <a:cubicBezTo>
                    <a:pt x="3114497" y="274429"/>
                    <a:pt x="3127525" y="267856"/>
                    <a:pt x="3134039" y="267856"/>
                  </a:cubicBezTo>
                  <a:cubicBezTo>
                    <a:pt x="3140553" y="261282"/>
                    <a:pt x="3147067" y="254708"/>
                    <a:pt x="3147067" y="241562"/>
                  </a:cubicBezTo>
                  <a:cubicBezTo>
                    <a:pt x="3153580" y="221843"/>
                    <a:pt x="3153580" y="228416"/>
                    <a:pt x="3166608" y="221843"/>
                  </a:cubicBezTo>
                  <a:cubicBezTo>
                    <a:pt x="3186151" y="215269"/>
                    <a:pt x="3179636" y="202123"/>
                    <a:pt x="3166608" y="188977"/>
                  </a:cubicBezTo>
                  <a:cubicBezTo>
                    <a:pt x="3166475" y="188977"/>
                    <a:pt x="3147067" y="188960"/>
                    <a:pt x="3147067" y="182403"/>
                  </a:cubicBezTo>
                  <a:cubicBezTo>
                    <a:pt x="3140919" y="176200"/>
                    <a:pt x="3152179" y="175851"/>
                    <a:pt x="3158941" y="175915"/>
                  </a:cubicBezTo>
                  <a:close/>
                  <a:moveTo>
                    <a:pt x="2680032" y="66572"/>
                  </a:moveTo>
                  <a:cubicBezTo>
                    <a:pt x="1236658" y="66572"/>
                    <a:pt x="66572" y="1236658"/>
                    <a:pt x="66572" y="2680032"/>
                  </a:cubicBezTo>
                  <a:cubicBezTo>
                    <a:pt x="66572" y="4123405"/>
                    <a:pt x="1236658" y="5293491"/>
                    <a:pt x="2680032" y="5293491"/>
                  </a:cubicBezTo>
                  <a:cubicBezTo>
                    <a:pt x="4123405" y="5293491"/>
                    <a:pt x="5293491" y="4123405"/>
                    <a:pt x="5293491" y="2680032"/>
                  </a:cubicBezTo>
                  <a:cubicBezTo>
                    <a:pt x="5293491" y="1508205"/>
                    <a:pt x="4522256" y="516510"/>
                    <a:pt x="3459646" y="184965"/>
                  </a:cubicBezTo>
                  <a:cubicBezTo>
                    <a:pt x="3445024" y="178486"/>
                    <a:pt x="3429326" y="174068"/>
                    <a:pt x="3412820" y="172658"/>
                  </a:cubicBezTo>
                  <a:cubicBezTo>
                    <a:pt x="3180691" y="102972"/>
                    <a:pt x="2934612" y="66572"/>
                    <a:pt x="2680032" y="66572"/>
                  </a:cubicBezTo>
                  <a:close/>
                  <a:moveTo>
                    <a:pt x="2680032" y="0"/>
                  </a:moveTo>
                  <a:cubicBezTo>
                    <a:pt x="4160172" y="0"/>
                    <a:pt x="5360063" y="1199890"/>
                    <a:pt x="5360063" y="2680032"/>
                  </a:cubicBezTo>
                  <a:cubicBezTo>
                    <a:pt x="5360063" y="4160172"/>
                    <a:pt x="4160172" y="5360063"/>
                    <a:pt x="2680032" y="5360063"/>
                  </a:cubicBezTo>
                  <a:cubicBezTo>
                    <a:pt x="1199890" y="5360063"/>
                    <a:pt x="0" y="4160172"/>
                    <a:pt x="0" y="2680032"/>
                  </a:cubicBezTo>
                  <a:cubicBezTo>
                    <a:pt x="0" y="1199890"/>
                    <a:pt x="1199890" y="0"/>
                    <a:pt x="268003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16" tIns="91416" rIns="91416" bIns="91416"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defTabSz="914089">
                <a:defRPr/>
              </a:pPr>
              <a:endParaRPr lang="en-US" sz="1200">
                <a:solidFill>
                  <a:prstClr val="white"/>
                </a:solidFill>
                <a:latin typeface="Segoe UI"/>
              </a:endParaRPr>
            </a:p>
          </p:txBody>
        </p:sp>
        <p:sp>
          <p:nvSpPr>
            <p:cNvPr id="12" name="Freeform 11"/>
            <p:cNvSpPr/>
            <p:nvPr/>
          </p:nvSpPr>
          <p:spPr>
            <a:xfrm>
              <a:off x="-287810" y="4361614"/>
              <a:ext cx="355654" cy="911219"/>
            </a:xfrm>
            <a:custGeom>
              <a:avLst/>
              <a:gdLst>
                <a:gd name="connsiteX0" fmla="*/ 118796 w 452140"/>
                <a:gd name="connsiteY0" fmla="*/ 213409 h 1158424"/>
                <a:gd name="connsiteX1" fmla="*/ 333343 w 452140"/>
                <a:gd name="connsiteY1" fmla="*/ 213409 h 1158424"/>
                <a:gd name="connsiteX2" fmla="*/ 444784 w 452140"/>
                <a:gd name="connsiteY2" fmla="*/ 287095 h 1158424"/>
                <a:gd name="connsiteX3" fmla="*/ 449951 w 452140"/>
                <a:gd name="connsiteY3" fmla="*/ 303591 h 1158424"/>
                <a:gd name="connsiteX4" fmla="*/ 452140 w 452140"/>
                <a:gd name="connsiteY4" fmla="*/ 325301 h 1158424"/>
                <a:gd name="connsiteX5" fmla="*/ 452140 w 452140"/>
                <a:gd name="connsiteY5" fmla="*/ 332205 h 1158424"/>
                <a:gd name="connsiteX6" fmla="*/ 452140 w 452140"/>
                <a:gd name="connsiteY6" fmla="*/ 364807 h 1158424"/>
                <a:gd name="connsiteX7" fmla="*/ 452140 w 452140"/>
                <a:gd name="connsiteY7" fmla="*/ 633253 h 1158424"/>
                <a:gd name="connsiteX8" fmla="*/ 409478 w 452140"/>
                <a:gd name="connsiteY8" fmla="*/ 675915 h 1158424"/>
                <a:gd name="connsiteX9" fmla="*/ 366816 w 452140"/>
                <a:gd name="connsiteY9" fmla="*/ 633253 h 1158424"/>
                <a:gd name="connsiteX10" fmla="*/ 366816 w 452140"/>
                <a:gd name="connsiteY10" fmla="*/ 478231 h 1158424"/>
                <a:gd name="connsiteX11" fmla="*/ 366363 w 452140"/>
                <a:gd name="connsiteY11" fmla="*/ 478344 h 1158424"/>
                <a:gd name="connsiteX12" fmla="*/ 366363 w 452140"/>
                <a:gd name="connsiteY12" fmla="*/ 363643 h 1158424"/>
                <a:gd name="connsiteX13" fmla="*/ 364558 w 452140"/>
                <a:gd name="connsiteY13" fmla="*/ 361838 h 1158424"/>
                <a:gd name="connsiteX14" fmla="*/ 346505 w 452140"/>
                <a:gd name="connsiteY14" fmla="*/ 361838 h 1158424"/>
                <a:gd name="connsiteX15" fmla="*/ 344699 w 452140"/>
                <a:gd name="connsiteY15" fmla="*/ 363643 h 1158424"/>
                <a:gd name="connsiteX16" fmla="*/ 345052 w 452140"/>
                <a:gd name="connsiteY16" fmla="*/ 470080 h 1158424"/>
                <a:gd name="connsiteX17" fmla="*/ 345052 w 452140"/>
                <a:gd name="connsiteY17" fmla="*/ 1105097 h 1158424"/>
                <a:gd name="connsiteX18" fmla="*/ 291725 w 452140"/>
                <a:gd name="connsiteY18" fmla="*/ 1158424 h 1158424"/>
                <a:gd name="connsiteX19" fmla="*/ 238397 w 452140"/>
                <a:gd name="connsiteY19" fmla="*/ 1105097 h 1158424"/>
                <a:gd name="connsiteX20" fmla="*/ 238397 w 452140"/>
                <a:gd name="connsiteY20" fmla="*/ 703825 h 1158424"/>
                <a:gd name="connsiteX21" fmla="*/ 238044 w 452140"/>
                <a:gd name="connsiteY21" fmla="*/ 673190 h 1158424"/>
                <a:gd name="connsiteX22" fmla="*/ 236460 w 452140"/>
                <a:gd name="connsiteY22" fmla="*/ 671606 h 1158424"/>
                <a:gd name="connsiteX23" fmla="*/ 216791 w 452140"/>
                <a:gd name="connsiteY23" fmla="*/ 671606 h 1158424"/>
                <a:gd name="connsiteX24" fmla="*/ 215207 w 452140"/>
                <a:gd name="connsiteY24" fmla="*/ 673190 h 1158424"/>
                <a:gd name="connsiteX25" fmla="*/ 215207 w 452140"/>
                <a:gd name="connsiteY25" fmla="*/ 703825 h 1158424"/>
                <a:gd name="connsiteX26" fmla="*/ 215075 w 452140"/>
                <a:gd name="connsiteY26" fmla="*/ 1105097 h 1158424"/>
                <a:gd name="connsiteX27" fmla="*/ 161747 w 452140"/>
                <a:gd name="connsiteY27" fmla="*/ 1158424 h 1158424"/>
                <a:gd name="connsiteX28" fmla="*/ 108419 w 452140"/>
                <a:gd name="connsiteY28" fmla="*/ 1105097 h 1158424"/>
                <a:gd name="connsiteX29" fmla="*/ 108419 w 452140"/>
                <a:gd name="connsiteY29" fmla="*/ 482815 h 1158424"/>
                <a:gd name="connsiteX30" fmla="*/ 106756 w 452140"/>
                <a:gd name="connsiteY30" fmla="*/ 363616 h 1158424"/>
                <a:gd name="connsiteX31" fmla="*/ 104978 w 452140"/>
                <a:gd name="connsiteY31" fmla="*/ 361838 h 1158424"/>
                <a:gd name="connsiteX32" fmla="*/ 87202 w 452140"/>
                <a:gd name="connsiteY32" fmla="*/ 361838 h 1158424"/>
                <a:gd name="connsiteX33" fmla="*/ 85425 w 452140"/>
                <a:gd name="connsiteY33" fmla="*/ 363616 h 1158424"/>
                <a:gd name="connsiteX34" fmla="*/ 85425 w 452140"/>
                <a:gd name="connsiteY34" fmla="*/ 478256 h 1158424"/>
                <a:gd name="connsiteX35" fmla="*/ 85324 w 452140"/>
                <a:gd name="connsiteY35" fmla="*/ 478231 h 1158424"/>
                <a:gd name="connsiteX36" fmla="*/ 85324 w 452140"/>
                <a:gd name="connsiteY36" fmla="*/ 633253 h 1158424"/>
                <a:gd name="connsiteX37" fmla="*/ 42662 w 452140"/>
                <a:gd name="connsiteY37" fmla="*/ 675915 h 1158424"/>
                <a:gd name="connsiteX38" fmla="*/ 0 w 452140"/>
                <a:gd name="connsiteY38" fmla="*/ 633253 h 1158424"/>
                <a:gd name="connsiteX39" fmla="*/ 0 w 452140"/>
                <a:gd name="connsiteY39" fmla="*/ 364807 h 1158424"/>
                <a:gd name="connsiteX40" fmla="*/ 0 w 452140"/>
                <a:gd name="connsiteY40" fmla="*/ 332205 h 1158424"/>
                <a:gd name="connsiteX41" fmla="*/ 0 w 452140"/>
                <a:gd name="connsiteY41" fmla="*/ 325301 h 1158424"/>
                <a:gd name="connsiteX42" fmla="*/ 4216 w 452140"/>
                <a:gd name="connsiteY42" fmla="*/ 296223 h 1158424"/>
                <a:gd name="connsiteX43" fmla="*/ 6801 w 452140"/>
                <a:gd name="connsiteY43" fmla="*/ 287651 h 1158424"/>
                <a:gd name="connsiteX44" fmla="*/ 118796 w 452140"/>
                <a:gd name="connsiteY44" fmla="*/ 213409 h 1158424"/>
                <a:gd name="connsiteX45" fmla="*/ 226070 w 452140"/>
                <a:gd name="connsiteY45" fmla="*/ 0 h 1158424"/>
                <a:gd name="connsiteX46" fmla="*/ 320148 w 452140"/>
                <a:gd name="connsiteY46" fmla="*/ 94078 h 1158424"/>
                <a:gd name="connsiteX47" fmla="*/ 226070 w 452140"/>
                <a:gd name="connsiteY47" fmla="*/ 188156 h 1158424"/>
                <a:gd name="connsiteX48" fmla="*/ 131992 w 452140"/>
                <a:gd name="connsiteY48" fmla="*/ 94078 h 1158424"/>
                <a:gd name="connsiteX49" fmla="*/ 226070 w 452140"/>
                <a:gd name="connsiteY49" fmla="*/ 0 h 1158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52140" h="1158424">
                  <a:moveTo>
                    <a:pt x="118796" y="213409"/>
                  </a:moveTo>
                  <a:lnTo>
                    <a:pt x="333343" y="213409"/>
                  </a:lnTo>
                  <a:cubicBezTo>
                    <a:pt x="383585" y="213409"/>
                    <a:pt x="427652" y="242931"/>
                    <a:pt x="444784" y="287095"/>
                  </a:cubicBezTo>
                  <a:cubicBezTo>
                    <a:pt x="448077" y="292832"/>
                    <a:pt x="448628" y="298458"/>
                    <a:pt x="449951" y="303591"/>
                  </a:cubicBezTo>
                  <a:lnTo>
                    <a:pt x="452140" y="325301"/>
                  </a:lnTo>
                  <a:lnTo>
                    <a:pt x="452140" y="332205"/>
                  </a:lnTo>
                  <a:lnTo>
                    <a:pt x="452140" y="364807"/>
                  </a:lnTo>
                  <a:lnTo>
                    <a:pt x="452140" y="633253"/>
                  </a:lnTo>
                  <a:cubicBezTo>
                    <a:pt x="452140" y="656815"/>
                    <a:pt x="433039" y="675915"/>
                    <a:pt x="409478" y="675915"/>
                  </a:cubicBezTo>
                  <a:cubicBezTo>
                    <a:pt x="385916" y="675915"/>
                    <a:pt x="366816" y="656815"/>
                    <a:pt x="366816" y="633253"/>
                  </a:cubicBezTo>
                  <a:lnTo>
                    <a:pt x="366816" y="478231"/>
                  </a:lnTo>
                  <a:lnTo>
                    <a:pt x="366363" y="478344"/>
                  </a:lnTo>
                  <a:lnTo>
                    <a:pt x="366363" y="363643"/>
                  </a:lnTo>
                  <a:cubicBezTo>
                    <a:pt x="366363" y="362646"/>
                    <a:pt x="365555" y="361838"/>
                    <a:pt x="364558" y="361838"/>
                  </a:cubicBezTo>
                  <a:lnTo>
                    <a:pt x="346505" y="361838"/>
                  </a:lnTo>
                  <a:cubicBezTo>
                    <a:pt x="345507" y="361838"/>
                    <a:pt x="344699" y="362646"/>
                    <a:pt x="344699" y="363643"/>
                  </a:cubicBezTo>
                  <a:cubicBezTo>
                    <a:pt x="344817" y="399122"/>
                    <a:pt x="344935" y="434601"/>
                    <a:pt x="345052" y="470080"/>
                  </a:cubicBezTo>
                  <a:lnTo>
                    <a:pt x="345052" y="1105097"/>
                  </a:lnTo>
                  <a:cubicBezTo>
                    <a:pt x="345052" y="1134549"/>
                    <a:pt x="321177" y="1158424"/>
                    <a:pt x="291725" y="1158424"/>
                  </a:cubicBezTo>
                  <a:cubicBezTo>
                    <a:pt x="262273" y="1158424"/>
                    <a:pt x="238397" y="1134549"/>
                    <a:pt x="238397" y="1105097"/>
                  </a:cubicBezTo>
                  <a:lnTo>
                    <a:pt x="238397" y="703825"/>
                  </a:lnTo>
                  <a:cubicBezTo>
                    <a:pt x="238279" y="693614"/>
                    <a:pt x="238162" y="683402"/>
                    <a:pt x="238044" y="673190"/>
                  </a:cubicBezTo>
                  <a:cubicBezTo>
                    <a:pt x="238044" y="672315"/>
                    <a:pt x="237335" y="671606"/>
                    <a:pt x="236460" y="671606"/>
                  </a:cubicBezTo>
                  <a:lnTo>
                    <a:pt x="216791" y="671606"/>
                  </a:lnTo>
                  <a:cubicBezTo>
                    <a:pt x="215916" y="671606"/>
                    <a:pt x="215207" y="672315"/>
                    <a:pt x="215207" y="673190"/>
                  </a:cubicBezTo>
                  <a:lnTo>
                    <a:pt x="215207" y="703825"/>
                  </a:lnTo>
                  <a:cubicBezTo>
                    <a:pt x="215163" y="837582"/>
                    <a:pt x="215119" y="971339"/>
                    <a:pt x="215075" y="1105097"/>
                  </a:cubicBezTo>
                  <a:cubicBezTo>
                    <a:pt x="215075" y="1134549"/>
                    <a:pt x="191199" y="1158424"/>
                    <a:pt x="161747" y="1158424"/>
                  </a:cubicBezTo>
                  <a:cubicBezTo>
                    <a:pt x="132295" y="1158424"/>
                    <a:pt x="108419" y="1134549"/>
                    <a:pt x="108419" y="1105097"/>
                  </a:cubicBezTo>
                  <a:lnTo>
                    <a:pt x="108419" y="482815"/>
                  </a:lnTo>
                  <a:cubicBezTo>
                    <a:pt x="107864" y="443082"/>
                    <a:pt x="107310" y="403349"/>
                    <a:pt x="106756" y="363616"/>
                  </a:cubicBezTo>
                  <a:cubicBezTo>
                    <a:pt x="106756" y="362634"/>
                    <a:pt x="105960" y="361838"/>
                    <a:pt x="104978" y="361838"/>
                  </a:cubicBezTo>
                  <a:lnTo>
                    <a:pt x="87202" y="361838"/>
                  </a:lnTo>
                  <a:cubicBezTo>
                    <a:pt x="86220" y="361838"/>
                    <a:pt x="85425" y="362634"/>
                    <a:pt x="85425" y="363616"/>
                  </a:cubicBezTo>
                  <a:lnTo>
                    <a:pt x="85425" y="478256"/>
                  </a:lnTo>
                  <a:cubicBezTo>
                    <a:pt x="85389" y="478253"/>
                    <a:pt x="85357" y="478242"/>
                    <a:pt x="85324" y="478231"/>
                  </a:cubicBezTo>
                  <a:lnTo>
                    <a:pt x="85324" y="633253"/>
                  </a:lnTo>
                  <a:cubicBezTo>
                    <a:pt x="85324" y="656815"/>
                    <a:pt x="66224" y="675915"/>
                    <a:pt x="42662" y="675915"/>
                  </a:cubicBezTo>
                  <a:cubicBezTo>
                    <a:pt x="19101" y="675915"/>
                    <a:pt x="0" y="656815"/>
                    <a:pt x="0" y="633253"/>
                  </a:cubicBezTo>
                  <a:lnTo>
                    <a:pt x="0" y="364807"/>
                  </a:lnTo>
                  <a:lnTo>
                    <a:pt x="0" y="332205"/>
                  </a:lnTo>
                  <a:lnTo>
                    <a:pt x="0" y="325301"/>
                  </a:lnTo>
                  <a:cubicBezTo>
                    <a:pt x="0" y="315209"/>
                    <a:pt x="1313" y="305424"/>
                    <a:pt x="4216" y="296223"/>
                  </a:cubicBezTo>
                  <a:cubicBezTo>
                    <a:pt x="5008" y="293390"/>
                    <a:pt x="4919" y="289851"/>
                    <a:pt x="6801" y="287651"/>
                  </a:cubicBezTo>
                  <a:cubicBezTo>
                    <a:pt x="23933" y="243486"/>
                    <a:pt x="68555" y="213409"/>
                    <a:pt x="118796" y="213409"/>
                  </a:cubicBezTo>
                  <a:close/>
                  <a:moveTo>
                    <a:pt x="226070" y="0"/>
                  </a:moveTo>
                  <a:cubicBezTo>
                    <a:pt x="278028" y="0"/>
                    <a:pt x="320148" y="42120"/>
                    <a:pt x="320148" y="94078"/>
                  </a:cubicBezTo>
                  <a:cubicBezTo>
                    <a:pt x="320148" y="146036"/>
                    <a:pt x="278028" y="188156"/>
                    <a:pt x="226070" y="188156"/>
                  </a:cubicBezTo>
                  <a:cubicBezTo>
                    <a:pt x="174112" y="188156"/>
                    <a:pt x="131992" y="146036"/>
                    <a:pt x="131992" y="94078"/>
                  </a:cubicBezTo>
                  <a:cubicBezTo>
                    <a:pt x="131992" y="42120"/>
                    <a:pt x="174112" y="0"/>
                    <a:pt x="226070" y="0"/>
                  </a:cubicBezTo>
                  <a:close/>
                </a:path>
              </a:pathLst>
            </a:custGeom>
            <a:grp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16" tIns="91416" rIns="91416" bIns="91416"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defTabSz="914089">
                <a:defRPr/>
              </a:pPr>
              <a:endParaRPr lang="en-US" sz="1200">
                <a:solidFill>
                  <a:prstClr val="white"/>
                </a:solidFill>
                <a:latin typeface="Segoe UI"/>
              </a:endParaRPr>
            </a:p>
          </p:txBody>
        </p:sp>
        <p:sp>
          <p:nvSpPr>
            <p:cNvPr id="13" name="Freeform 12"/>
            <p:cNvSpPr/>
            <p:nvPr/>
          </p:nvSpPr>
          <p:spPr>
            <a:xfrm>
              <a:off x="190706" y="4183614"/>
              <a:ext cx="729520" cy="580130"/>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defRPr/>
              </a:pPr>
              <a:endParaRPr lang="en-US" sz="1799" spc="-5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5" name="Freeform 14"/>
            <p:cNvSpPr/>
            <p:nvPr/>
          </p:nvSpPr>
          <p:spPr bwMode="auto">
            <a:xfrm>
              <a:off x="139508" y="4876088"/>
              <a:ext cx="780718" cy="517955"/>
            </a:xfrm>
            <a:custGeom>
              <a:avLst/>
              <a:gdLst/>
              <a:ahLst/>
              <a:cxnLst/>
              <a:rect l="l" t="t" r="r" b="b"/>
              <a:pathLst>
                <a:path w="6450949" h="4324350">
                  <a:moveTo>
                    <a:pt x="652849" y="2906737"/>
                  </a:moveTo>
                  <a:lnTo>
                    <a:pt x="3530185" y="3604337"/>
                  </a:lnTo>
                  <a:cubicBezTo>
                    <a:pt x="3530212" y="3608651"/>
                    <a:pt x="3535898" y="3609750"/>
                    <a:pt x="3539176" y="3612840"/>
                  </a:cubicBezTo>
                  <a:cubicBezTo>
                    <a:pt x="3539258" y="3615882"/>
                    <a:pt x="3539340" y="3618923"/>
                    <a:pt x="3539423" y="3621964"/>
                  </a:cubicBezTo>
                  <a:cubicBezTo>
                    <a:pt x="3539450" y="3626380"/>
                    <a:pt x="3533865" y="3631912"/>
                    <a:pt x="3532119" y="3637119"/>
                  </a:cubicBezTo>
                  <a:lnTo>
                    <a:pt x="3431629" y="3615019"/>
                  </a:lnTo>
                  <a:lnTo>
                    <a:pt x="3332848" y="3623566"/>
                  </a:lnTo>
                  <a:lnTo>
                    <a:pt x="3298489" y="3585107"/>
                  </a:lnTo>
                  <a:lnTo>
                    <a:pt x="3216885" y="3576562"/>
                  </a:lnTo>
                  <a:lnTo>
                    <a:pt x="3182525" y="3559470"/>
                  </a:lnTo>
                  <a:lnTo>
                    <a:pt x="3105216" y="3559470"/>
                  </a:lnTo>
                  <a:lnTo>
                    <a:pt x="3057974" y="3525285"/>
                  </a:lnTo>
                  <a:lnTo>
                    <a:pt x="2993550" y="3533830"/>
                  </a:lnTo>
                  <a:lnTo>
                    <a:pt x="2937716" y="3508192"/>
                  </a:lnTo>
                  <a:lnTo>
                    <a:pt x="2860407" y="3508192"/>
                  </a:lnTo>
                  <a:lnTo>
                    <a:pt x="2834639" y="3478281"/>
                  </a:lnTo>
                  <a:lnTo>
                    <a:pt x="2731561" y="3474008"/>
                  </a:lnTo>
                  <a:lnTo>
                    <a:pt x="2710085" y="3448369"/>
                  </a:lnTo>
                  <a:lnTo>
                    <a:pt x="2607007" y="3448369"/>
                  </a:lnTo>
                  <a:lnTo>
                    <a:pt x="2585533" y="3422731"/>
                  </a:lnTo>
                  <a:lnTo>
                    <a:pt x="2499635" y="3422731"/>
                  </a:lnTo>
                  <a:lnTo>
                    <a:pt x="2456686" y="3384274"/>
                  </a:lnTo>
                  <a:lnTo>
                    <a:pt x="2375083" y="3388546"/>
                  </a:lnTo>
                  <a:lnTo>
                    <a:pt x="2345018" y="3362907"/>
                  </a:lnTo>
                  <a:lnTo>
                    <a:pt x="2246235" y="3354362"/>
                  </a:lnTo>
                  <a:lnTo>
                    <a:pt x="2216172" y="3328723"/>
                  </a:lnTo>
                  <a:lnTo>
                    <a:pt x="2130274" y="3328723"/>
                  </a:lnTo>
                  <a:lnTo>
                    <a:pt x="2095914" y="3303085"/>
                  </a:lnTo>
                  <a:lnTo>
                    <a:pt x="2018605" y="3303085"/>
                  </a:lnTo>
                  <a:lnTo>
                    <a:pt x="1984246" y="3273173"/>
                  </a:lnTo>
                  <a:lnTo>
                    <a:pt x="1898348" y="3273173"/>
                  </a:lnTo>
                  <a:lnTo>
                    <a:pt x="1868283" y="3238989"/>
                  </a:lnTo>
                  <a:lnTo>
                    <a:pt x="1778091" y="3243261"/>
                  </a:lnTo>
                  <a:lnTo>
                    <a:pt x="1748026" y="3217624"/>
                  </a:lnTo>
                  <a:lnTo>
                    <a:pt x="1662127" y="3217624"/>
                  </a:lnTo>
                  <a:lnTo>
                    <a:pt x="1606294" y="3187712"/>
                  </a:lnTo>
                  <a:lnTo>
                    <a:pt x="1533281" y="3183439"/>
                  </a:lnTo>
                  <a:lnTo>
                    <a:pt x="1498922" y="3162074"/>
                  </a:lnTo>
                  <a:lnTo>
                    <a:pt x="1425909" y="3162074"/>
                  </a:lnTo>
                  <a:lnTo>
                    <a:pt x="1382959" y="3123615"/>
                  </a:lnTo>
                  <a:lnTo>
                    <a:pt x="1288472" y="3132162"/>
                  </a:lnTo>
                  <a:lnTo>
                    <a:pt x="1262701" y="3102250"/>
                  </a:lnTo>
                  <a:lnTo>
                    <a:pt x="1185394" y="3097977"/>
                  </a:lnTo>
                  <a:lnTo>
                    <a:pt x="1151035" y="3076613"/>
                  </a:lnTo>
                  <a:lnTo>
                    <a:pt x="1069432" y="3076613"/>
                  </a:lnTo>
                  <a:lnTo>
                    <a:pt x="1017893" y="3046700"/>
                  </a:lnTo>
                  <a:lnTo>
                    <a:pt x="953468" y="3050973"/>
                  </a:lnTo>
                  <a:lnTo>
                    <a:pt x="910520" y="3012516"/>
                  </a:lnTo>
                  <a:lnTo>
                    <a:pt x="828917" y="3016789"/>
                  </a:lnTo>
                  <a:lnTo>
                    <a:pt x="807443" y="2986877"/>
                  </a:lnTo>
                  <a:lnTo>
                    <a:pt x="721544" y="2982604"/>
                  </a:lnTo>
                  <a:lnTo>
                    <a:pt x="652697" y="2910081"/>
                  </a:lnTo>
                  <a:cubicBezTo>
                    <a:pt x="652741" y="2910041"/>
                    <a:pt x="652782" y="2910002"/>
                    <a:pt x="652826" y="2909963"/>
                  </a:cubicBezTo>
                  <a:cubicBezTo>
                    <a:pt x="652833" y="2908888"/>
                    <a:pt x="652842" y="2907813"/>
                    <a:pt x="652849" y="2906737"/>
                  </a:cubicBezTo>
                  <a:close/>
                  <a:moveTo>
                    <a:pt x="2486750" y="2033983"/>
                  </a:moveTo>
                  <a:lnTo>
                    <a:pt x="3079447" y="2042528"/>
                  </a:lnTo>
                  <a:cubicBezTo>
                    <a:pt x="3080880" y="2361584"/>
                    <a:pt x="3082310" y="2680640"/>
                    <a:pt x="3083742" y="2999696"/>
                  </a:cubicBezTo>
                  <a:lnTo>
                    <a:pt x="2362198" y="2884323"/>
                  </a:lnTo>
                  <a:lnTo>
                    <a:pt x="2491046" y="2854413"/>
                  </a:lnTo>
                  <a:close/>
                  <a:moveTo>
                    <a:pt x="4569781" y="2029709"/>
                  </a:moveTo>
                  <a:lnTo>
                    <a:pt x="3964197" y="2042528"/>
                  </a:lnTo>
                  <a:cubicBezTo>
                    <a:pt x="3965630" y="2370131"/>
                    <a:pt x="3967061" y="2697733"/>
                    <a:pt x="3968494" y="3025336"/>
                  </a:cubicBezTo>
                  <a:lnTo>
                    <a:pt x="4659973" y="2892870"/>
                  </a:lnTo>
                  <a:lnTo>
                    <a:pt x="4578370" y="2858686"/>
                  </a:lnTo>
                  <a:cubicBezTo>
                    <a:pt x="4575508" y="2582359"/>
                    <a:pt x="4572643" y="2306034"/>
                    <a:pt x="4569781" y="2029709"/>
                  </a:cubicBezTo>
                  <a:close/>
                  <a:moveTo>
                    <a:pt x="962059" y="2021163"/>
                  </a:moveTo>
                  <a:lnTo>
                    <a:pt x="1395844" y="2025436"/>
                  </a:lnTo>
                  <a:cubicBezTo>
                    <a:pt x="1392980" y="2261880"/>
                    <a:pt x="1390118" y="2498323"/>
                    <a:pt x="1387254" y="2734767"/>
                  </a:cubicBezTo>
                  <a:lnTo>
                    <a:pt x="889044" y="2645031"/>
                  </a:lnTo>
                  <a:lnTo>
                    <a:pt x="966354" y="2615121"/>
                  </a:lnTo>
                  <a:cubicBezTo>
                    <a:pt x="964921" y="2417136"/>
                    <a:pt x="963491" y="2219148"/>
                    <a:pt x="962059" y="2021163"/>
                  </a:cubicBezTo>
                  <a:close/>
                  <a:moveTo>
                    <a:pt x="3929838" y="1982706"/>
                  </a:moveTo>
                  <a:lnTo>
                    <a:pt x="4724398" y="1982706"/>
                  </a:lnTo>
                  <a:cubicBezTo>
                    <a:pt x="4722966" y="2297488"/>
                    <a:pt x="4721533" y="2612272"/>
                    <a:pt x="4720102" y="2927055"/>
                  </a:cubicBezTo>
                  <a:lnTo>
                    <a:pt x="3934135" y="3089431"/>
                  </a:lnTo>
                  <a:cubicBezTo>
                    <a:pt x="3932703" y="2720522"/>
                    <a:pt x="3931271" y="2351614"/>
                    <a:pt x="3929838" y="1982706"/>
                  </a:cubicBezTo>
                  <a:close/>
                  <a:moveTo>
                    <a:pt x="841801" y="1974159"/>
                  </a:moveTo>
                  <a:cubicBezTo>
                    <a:pt x="840370" y="2212026"/>
                    <a:pt x="843232" y="2449895"/>
                    <a:pt x="846096" y="2687762"/>
                  </a:cubicBezTo>
                  <a:lnTo>
                    <a:pt x="1434498" y="2786044"/>
                  </a:lnTo>
                  <a:lnTo>
                    <a:pt x="1451677" y="1974159"/>
                  </a:lnTo>
                  <a:close/>
                  <a:moveTo>
                    <a:pt x="2319248" y="1969885"/>
                  </a:moveTo>
                  <a:cubicBezTo>
                    <a:pt x="2317816" y="2287516"/>
                    <a:pt x="2316383" y="2605149"/>
                    <a:pt x="2314952" y="2922781"/>
                  </a:cubicBezTo>
                  <a:lnTo>
                    <a:pt x="3126690" y="3068064"/>
                  </a:lnTo>
                  <a:lnTo>
                    <a:pt x="3135279" y="1974158"/>
                  </a:lnTo>
                  <a:close/>
                  <a:moveTo>
                    <a:pt x="5832482" y="1922882"/>
                  </a:moveTo>
                  <a:lnTo>
                    <a:pt x="5879727" y="1922882"/>
                  </a:lnTo>
                  <a:lnTo>
                    <a:pt x="5892612" y="3025336"/>
                  </a:lnTo>
                  <a:lnTo>
                    <a:pt x="5338568" y="3144982"/>
                  </a:lnTo>
                  <a:lnTo>
                    <a:pt x="5823893" y="3008244"/>
                  </a:lnTo>
                  <a:cubicBezTo>
                    <a:pt x="5826756" y="2646456"/>
                    <a:pt x="5829620" y="2284670"/>
                    <a:pt x="5832482" y="1922882"/>
                  </a:cubicBezTo>
                  <a:close/>
                  <a:moveTo>
                    <a:pt x="794557" y="1922882"/>
                  </a:moveTo>
                  <a:lnTo>
                    <a:pt x="1494627" y="1927155"/>
                  </a:lnTo>
                  <a:lnTo>
                    <a:pt x="1494627" y="2850138"/>
                  </a:lnTo>
                  <a:lnTo>
                    <a:pt x="803146" y="2721947"/>
                  </a:lnTo>
                  <a:cubicBezTo>
                    <a:pt x="800284" y="2458441"/>
                    <a:pt x="797420" y="2194936"/>
                    <a:pt x="794557" y="1922882"/>
                  </a:cubicBezTo>
                  <a:close/>
                  <a:moveTo>
                    <a:pt x="3191113" y="1910060"/>
                  </a:moveTo>
                  <a:cubicBezTo>
                    <a:pt x="3192544" y="2331670"/>
                    <a:pt x="3193977" y="2753280"/>
                    <a:pt x="3195408" y="3174890"/>
                  </a:cubicBezTo>
                  <a:lnTo>
                    <a:pt x="2233349" y="2982603"/>
                  </a:lnTo>
                  <a:lnTo>
                    <a:pt x="2246233" y="1922881"/>
                  </a:lnTo>
                  <a:close/>
                  <a:moveTo>
                    <a:pt x="3839646" y="1892970"/>
                  </a:moveTo>
                  <a:cubicBezTo>
                    <a:pt x="3843940" y="2321702"/>
                    <a:pt x="3848237" y="2750434"/>
                    <a:pt x="3852530" y="3179166"/>
                  </a:cubicBezTo>
                  <a:lnTo>
                    <a:pt x="4814590" y="2995424"/>
                  </a:lnTo>
                  <a:cubicBezTo>
                    <a:pt x="4811725" y="2637911"/>
                    <a:pt x="4808863" y="2280396"/>
                    <a:pt x="4806000" y="1922882"/>
                  </a:cubicBezTo>
                  <a:close/>
                  <a:moveTo>
                    <a:pt x="5952740" y="1854513"/>
                  </a:moveTo>
                  <a:lnTo>
                    <a:pt x="5282735" y="1871605"/>
                  </a:lnTo>
                  <a:cubicBezTo>
                    <a:pt x="5285598" y="2333097"/>
                    <a:pt x="5288461" y="2794589"/>
                    <a:pt x="5291325" y="3256081"/>
                  </a:cubicBezTo>
                  <a:lnTo>
                    <a:pt x="5957035" y="3076613"/>
                  </a:lnTo>
                  <a:cubicBezTo>
                    <a:pt x="5955603" y="2669245"/>
                    <a:pt x="5954173" y="2261880"/>
                    <a:pt x="5952740" y="1854513"/>
                  </a:cubicBezTo>
                  <a:close/>
                  <a:moveTo>
                    <a:pt x="1962772" y="508494"/>
                  </a:moveTo>
                  <a:lnTo>
                    <a:pt x="700068" y="1636586"/>
                  </a:lnTo>
                  <a:lnTo>
                    <a:pt x="724578" y="1637805"/>
                  </a:lnTo>
                  <a:lnTo>
                    <a:pt x="844385" y="1635385"/>
                  </a:lnTo>
                  <a:lnTo>
                    <a:pt x="2027196" y="551226"/>
                  </a:lnTo>
                  <a:close/>
                  <a:moveTo>
                    <a:pt x="1924118" y="346119"/>
                  </a:moveTo>
                  <a:lnTo>
                    <a:pt x="3641590" y="1637264"/>
                  </a:lnTo>
                  <a:lnTo>
                    <a:pt x="3640627" y="1637237"/>
                  </a:lnTo>
                  <a:lnTo>
                    <a:pt x="3614477" y="1620760"/>
                  </a:lnTo>
                  <a:lnTo>
                    <a:pt x="3635816" y="1637108"/>
                  </a:lnTo>
                  <a:lnTo>
                    <a:pt x="3640627" y="1637237"/>
                  </a:lnTo>
                  <a:lnTo>
                    <a:pt x="3646375" y="1640861"/>
                  </a:lnTo>
                  <a:lnTo>
                    <a:pt x="3641590" y="1637264"/>
                  </a:lnTo>
                  <a:lnTo>
                    <a:pt x="6167487" y="1704955"/>
                  </a:lnTo>
                  <a:lnTo>
                    <a:pt x="6201845" y="2880050"/>
                  </a:lnTo>
                  <a:lnTo>
                    <a:pt x="6403704" y="2922782"/>
                  </a:lnTo>
                  <a:lnTo>
                    <a:pt x="6450949" y="3213351"/>
                  </a:lnTo>
                  <a:lnTo>
                    <a:pt x="5115233" y="3683388"/>
                  </a:lnTo>
                  <a:lnTo>
                    <a:pt x="3173935" y="4324350"/>
                  </a:lnTo>
                  <a:lnTo>
                    <a:pt x="0" y="3157799"/>
                  </a:lnTo>
                  <a:lnTo>
                    <a:pt x="0" y="3046700"/>
                  </a:lnTo>
                  <a:lnTo>
                    <a:pt x="592696" y="2922782"/>
                  </a:lnTo>
                  <a:cubicBezTo>
                    <a:pt x="591264" y="2516840"/>
                    <a:pt x="589834" y="2110898"/>
                    <a:pt x="588401" y="1704955"/>
                  </a:cubicBezTo>
                  <a:lnTo>
                    <a:pt x="661415" y="1704955"/>
                  </a:lnTo>
                  <a:cubicBezTo>
                    <a:pt x="658560" y="2105549"/>
                    <a:pt x="655704" y="2506143"/>
                    <a:pt x="652849" y="2906737"/>
                  </a:cubicBezTo>
                  <a:lnTo>
                    <a:pt x="648529" y="2905690"/>
                  </a:lnTo>
                  <a:lnTo>
                    <a:pt x="652697" y="2910081"/>
                  </a:lnTo>
                  <a:lnTo>
                    <a:pt x="601287" y="2956967"/>
                  </a:lnTo>
                  <a:lnTo>
                    <a:pt x="90193" y="3080885"/>
                  </a:lnTo>
                  <a:lnTo>
                    <a:pt x="3178231" y="4132061"/>
                  </a:lnTo>
                  <a:lnTo>
                    <a:pt x="4850329" y="3620451"/>
                  </a:lnTo>
                  <a:lnTo>
                    <a:pt x="4822437" y="3619790"/>
                  </a:lnTo>
                  <a:lnTo>
                    <a:pt x="3530413" y="3640659"/>
                  </a:lnTo>
                  <a:lnTo>
                    <a:pt x="3532119" y="3637119"/>
                  </a:lnTo>
                  <a:lnTo>
                    <a:pt x="3537582" y="3638320"/>
                  </a:lnTo>
                  <a:lnTo>
                    <a:pt x="3543071" y="3616523"/>
                  </a:lnTo>
                  <a:cubicBezTo>
                    <a:pt x="3543057" y="3614358"/>
                    <a:pt x="3541618" y="3613003"/>
                    <a:pt x="3539176" y="3612840"/>
                  </a:cubicBezTo>
                  <a:cubicBezTo>
                    <a:pt x="3539119" y="3610718"/>
                    <a:pt x="3539062" y="3608596"/>
                    <a:pt x="3539004" y="3606474"/>
                  </a:cubicBezTo>
                  <a:cubicBezTo>
                    <a:pt x="3539102" y="3605157"/>
                    <a:pt x="3539202" y="3603840"/>
                    <a:pt x="3539301" y="3602523"/>
                  </a:cubicBezTo>
                  <a:cubicBezTo>
                    <a:pt x="3535090" y="2930733"/>
                    <a:pt x="3524168" y="2234652"/>
                    <a:pt x="3519940" y="1562774"/>
                  </a:cubicBezTo>
                  <a:lnTo>
                    <a:pt x="3516485" y="1559718"/>
                  </a:lnTo>
                  <a:lnTo>
                    <a:pt x="383225" y="1701172"/>
                  </a:lnTo>
                  <a:close/>
                  <a:moveTo>
                    <a:pt x="3547592" y="0"/>
                  </a:moveTo>
                  <a:lnTo>
                    <a:pt x="3547592" y="474310"/>
                  </a:lnTo>
                  <a:lnTo>
                    <a:pt x="4453818" y="534133"/>
                  </a:lnTo>
                  <a:lnTo>
                    <a:pt x="6425180" y="1615221"/>
                  </a:lnTo>
                  <a:lnTo>
                    <a:pt x="3689324" y="1516940"/>
                  </a:lnTo>
                  <a:lnTo>
                    <a:pt x="2070144" y="311934"/>
                  </a:lnTo>
                  <a:lnTo>
                    <a:pt x="3053678" y="397395"/>
                  </a:lnTo>
                  <a:cubicBezTo>
                    <a:pt x="3052245" y="269202"/>
                    <a:pt x="3050815" y="141010"/>
                    <a:pt x="3049383" y="12818"/>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defRPr/>
              </a:pPr>
              <a:endParaRPr lang="en-US" sz="1799" spc="-5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9" name="Group 18"/>
          <p:cNvGrpSpPr/>
          <p:nvPr/>
        </p:nvGrpSpPr>
        <p:grpSpPr bwMode="black">
          <a:xfrm>
            <a:off x="9277738" y="4492625"/>
            <a:ext cx="288501" cy="705000"/>
            <a:chOff x="3233738" y="168276"/>
            <a:chExt cx="2651125" cy="6480174"/>
          </a:xfrm>
          <a:solidFill>
            <a:sysClr val="window" lastClr="FFFFFF"/>
          </a:solidFill>
        </p:grpSpPr>
        <p:sp>
          <p:nvSpPr>
            <p:cNvPr id="21" name="Freeform 20"/>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600">
                <a:solidFill>
                  <a:prstClr val="white"/>
                </a:solidFill>
                <a:latin typeface="Segoe UI"/>
              </a:endParaRPr>
            </a:p>
          </p:txBody>
        </p:sp>
        <p:sp>
          <p:nvSpPr>
            <p:cNvPr id="22" name="Freeform 21"/>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600">
                <a:solidFill>
                  <a:prstClr val="white"/>
                </a:solidFill>
                <a:latin typeface="Segoe UI"/>
              </a:endParaRPr>
            </a:p>
          </p:txBody>
        </p:sp>
        <p:sp>
          <p:nvSpPr>
            <p:cNvPr id="23" name="Freeform 22"/>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600">
                <a:solidFill>
                  <a:prstClr val="white"/>
                </a:solidFill>
                <a:latin typeface="Segoe UI"/>
              </a:endParaRPr>
            </a:p>
          </p:txBody>
        </p:sp>
      </p:grpSp>
      <p:sp>
        <p:nvSpPr>
          <p:cNvPr id="25" name="Freeform 73"/>
          <p:cNvSpPr>
            <a:spLocks noChangeAspect="1" noEditPoints="1"/>
          </p:cNvSpPr>
          <p:nvPr/>
        </p:nvSpPr>
        <p:spPr bwMode="black">
          <a:xfrm>
            <a:off x="6775336" y="4400156"/>
            <a:ext cx="925420" cy="893370"/>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noFill/>
          </a:ln>
        </p:spPr>
        <p:txBody>
          <a:bodyPr vert="horz" wrap="square" lIns="82284" tIns="41142" rIns="82284" bIns="41142" numCol="1" anchor="t" anchorCtr="0" compatLnSpc="1">
            <a:prstTxWarp prst="textNoShape">
              <a:avLst/>
            </a:prstTxWarp>
          </a:bodyPr>
          <a:lstStyle/>
          <a:p>
            <a:pPr defTabSz="913967">
              <a:defRPr/>
            </a:pPr>
            <a:endParaRPr lang="en-US" sz="1600" kern="0">
              <a:solidFill>
                <a:srgbClr val="FFFFFF"/>
              </a:solidFill>
              <a:latin typeface="Segoe UI"/>
            </a:endParaRPr>
          </a:p>
        </p:txBody>
      </p:sp>
      <p:sp>
        <p:nvSpPr>
          <p:cNvPr id="27" name="Freeform 26"/>
          <p:cNvSpPr>
            <a:spLocks noChangeAspect="1"/>
          </p:cNvSpPr>
          <p:nvPr/>
        </p:nvSpPr>
        <p:spPr bwMode="auto">
          <a:xfrm>
            <a:off x="4589963" y="4508196"/>
            <a:ext cx="991503" cy="601133"/>
          </a:xfrm>
          <a:custGeom>
            <a:avLst/>
            <a:gdLst/>
            <a:ahLst/>
            <a:cxnLst/>
            <a:rect l="l" t="t" r="r" b="b"/>
            <a:pathLst>
              <a:path w="5246824" h="3181073">
                <a:moveTo>
                  <a:pt x="3735445" y="1121019"/>
                </a:moveTo>
                <a:cubicBezTo>
                  <a:pt x="4182142" y="1131526"/>
                  <a:pt x="4061877" y="1376195"/>
                  <a:pt x="4077497" y="1517293"/>
                </a:cubicBezTo>
                <a:cubicBezTo>
                  <a:pt x="4205571" y="1536806"/>
                  <a:pt x="4104048" y="1718431"/>
                  <a:pt x="4054068" y="1737945"/>
                </a:cubicBezTo>
                <a:cubicBezTo>
                  <a:pt x="4025955" y="1799487"/>
                  <a:pt x="3990812" y="1855965"/>
                  <a:pt x="3969727" y="1922572"/>
                </a:cubicBezTo>
                <a:lnTo>
                  <a:pt x="3967668" y="2088035"/>
                </a:lnTo>
                <a:cubicBezTo>
                  <a:pt x="4003538" y="2104933"/>
                  <a:pt x="4038513" y="2106213"/>
                  <a:pt x="4086820" y="2117581"/>
                </a:cubicBezTo>
                <a:cubicBezTo>
                  <a:pt x="4135128" y="2128948"/>
                  <a:pt x="4568184" y="2210801"/>
                  <a:pt x="4581245" y="2510322"/>
                </a:cubicBezTo>
                <a:cubicBezTo>
                  <a:pt x="4593591" y="2632786"/>
                  <a:pt x="4589468" y="2749118"/>
                  <a:pt x="4578859" y="2859218"/>
                </a:cubicBezTo>
                <a:lnTo>
                  <a:pt x="3801770" y="2858677"/>
                </a:lnTo>
                <a:cubicBezTo>
                  <a:pt x="3802502" y="2787752"/>
                  <a:pt x="3799437" y="2715169"/>
                  <a:pt x="3791954" y="2640940"/>
                </a:cubicBezTo>
                <a:cubicBezTo>
                  <a:pt x="3779735" y="2360730"/>
                  <a:pt x="3499101" y="2219631"/>
                  <a:pt x="3301043" y="2154424"/>
                </a:cubicBezTo>
                <a:cubicBezTo>
                  <a:pt x="3358735" y="2142280"/>
                  <a:pt x="3413196" y="2132840"/>
                  <a:pt x="3454407" y="2118009"/>
                </a:cubicBezTo>
                <a:cubicBezTo>
                  <a:pt x="3488241" y="2106029"/>
                  <a:pt x="3529557" y="2100195"/>
                  <a:pt x="3558509" y="2086370"/>
                </a:cubicBezTo>
                <a:lnTo>
                  <a:pt x="3562077" y="1925923"/>
                </a:lnTo>
                <a:cubicBezTo>
                  <a:pt x="3543530" y="1859877"/>
                  <a:pt x="3510925" y="1790481"/>
                  <a:pt x="3485349" y="1731190"/>
                </a:cubicBezTo>
                <a:cubicBezTo>
                  <a:pt x="3429708" y="1709425"/>
                  <a:pt x="3327795" y="1602102"/>
                  <a:pt x="3458993" y="1530802"/>
                </a:cubicBezTo>
                <a:cubicBezTo>
                  <a:pt x="3438688" y="1403214"/>
                  <a:pt x="3371528" y="1158545"/>
                  <a:pt x="3735445" y="1121019"/>
                </a:cubicBezTo>
                <a:close/>
                <a:moveTo>
                  <a:pt x="1511380" y="1121019"/>
                </a:moveTo>
                <a:cubicBezTo>
                  <a:pt x="1875297" y="1158545"/>
                  <a:pt x="1808137" y="1403214"/>
                  <a:pt x="1787833" y="1530802"/>
                </a:cubicBezTo>
                <a:cubicBezTo>
                  <a:pt x="1919030" y="1602102"/>
                  <a:pt x="1817117" y="1709425"/>
                  <a:pt x="1761476" y="1731190"/>
                </a:cubicBezTo>
                <a:cubicBezTo>
                  <a:pt x="1735900" y="1790481"/>
                  <a:pt x="1703295" y="1859877"/>
                  <a:pt x="1684749" y="1925923"/>
                </a:cubicBezTo>
                <a:lnTo>
                  <a:pt x="1688316" y="2086370"/>
                </a:lnTo>
                <a:cubicBezTo>
                  <a:pt x="1717268" y="2100195"/>
                  <a:pt x="1758585" y="2106029"/>
                  <a:pt x="1792418" y="2118009"/>
                </a:cubicBezTo>
                <a:cubicBezTo>
                  <a:pt x="1833629" y="2132840"/>
                  <a:pt x="1888090" y="2142280"/>
                  <a:pt x="1945782" y="2154424"/>
                </a:cubicBezTo>
                <a:cubicBezTo>
                  <a:pt x="1747724" y="2219631"/>
                  <a:pt x="1467090" y="2360730"/>
                  <a:pt x="1454871" y="2640940"/>
                </a:cubicBezTo>
                <a:cubicBezTo>
                  <a:pt x="1447388" y="2715169"/>
                  <a:pt x="1444323" y="2787752"/>
                  <a:pt x="1445055" y="2858677"/>
                </a:cubicBezTo>
                <a:lnTo>
                  <a:pt x="667966" y="2859218"/>
                </a:lnTo>
                <a:cubicBezTo>
                  <a:pt x="657357" y="2749118"/>
                  <a:pt x="653234" y="2632786"/>
                  <a:pt x="665580" y="2510322"/>
                </a:cubicBezTo>
                <a:cubicBezTo>
                  <a:pt x="678641" y="2210801"/>
                  <a:pt x="1111697" y="2128948"/>
                  <a:pt x="1160005" y="2117581"/>
                </a:cubicBezTo>
                <a:cubicBezTo>
                  <a:pt x="1208313" y="2106213"/>
                  <a:pt x="1243288" y="2104933"/>
                  <a:pt x="1279157" y="2088035"/>
                </a:cubicBezTo>
                <a:lnTo>
                  <a:pt x="1277099" y="1922572"/>
                </a:lnTo>
                <a:cubicBezTo>
                  <a:pt x="1256013" y="1855965"/>
                  <a:pt x="1220871" y="1799487"/>
                  <a:pt x="1192757" y="1737945"/>
                </a:cubicBezTo>
                <a:cubicBezTo>
                  <a:pt x="1142777" y="1718431"/>
                  <a:pt x="1041254" y="1536806"/>
                  <a:pt x="1169328" y="1517293"/>
                </a:cubicBezTo>
                <a:cubicBezTo>
                  <a:pt x="1184948" y="1376195"/>
                  <a:pt x="1064683" y="1131526"/>
                  <a:pt x="1511380" y="1121019"/>
                </a:cubicBezTo>
                <a:close/>
                <a:moveTo>
                  <a:pt x="2644025" y="804535"/>
                </a:moveTo>
                <a:cubicBezTo>
                  <a:pt x="3117058" y="855925"/>
                  <a:pt x="3029760" y="1190988"/>
                  <a:pt x="3003368" y="1365715"/>
                </a:cubicBezTo>
                <a:cubicBezTo>
                  <a:pt x="3173903" y="1463356"/>
                  <a:pt x="3041433" y="1610331"/>
                  <a:pt x="2969109" y="1640138"/>
                </a:cubicBezTo>
                <a:cubicBezTo>
                  <a:pt x="2935865" y="1721334"/>
                  <a:pt x="2895675" y="1820987"/>
                  <a:pt x="2871567" y="1911433"/>
                </a:cubicBezTo>
                <a:cubicBezTo>
                  <a:pt x="2872383" y="1983135"/>
                  <a:pt x="2873197" y="2054838"/>
                  <a:pt x="2874013" y="2126540"/>
                </a:cubicBezTo>
                <a:cubicBezTo>
                  <a:pt x="2911646" y="2145473"/>
                  <a:pt x="2965350" y="2153462"/>
                  <a:pt x="3009329" y="2169868"/>
                </a:cubicBezTo>
                <a:cubicBezTo>
                  <a:pt x="3222053" y="2221603"/>
                  <a:pt x="3720748" y="2225705"/>
                  <a:pt x="3725199" y="2704028"/>
                </a:cubicBezTo>
                <a:cubicBezTo>
                  <a:pt x="3737590" y="2865486"/>
                  <a:pt x="3727458" y="3021680"/>
                  <a:pt x="3731525" y="3179525"/>
                </a:cubicBezTo>
                <a:lnTo>
                  <a:pt x="1544046" y="3181073"/>
                </a:lnTo>
                <a:cubicBezTo>
                  <a:pt x="1548730" y="3030295"/>
                  <a:pt x="1528577" y="2874833"/>
                  <a:pt x="1544625" y="2707124"/>
                </a:cubicBezTo>
                <a:cubicBezTo>
                  <a:pt x="1524658" y="2213819"/>
                  <a:pt x="2124503" y="2184850"/>
                  <a:pt x="2187295" y="2169283"/>
                </a:cubicBezTo>
                <a:cubicBezTo>
                  <a:pt x="2250087" y="2153715"/>
                  <a:pt x="2295549" y="2151961"/>
                  <a:pt x="2342174" y="2128821"/>
                </a:cubicBezTo>
                <a:lnTo>
                  <a:pt x="2339498" y="1902226"/>
                </a:lnTo>
                <a:cubicBezTo>
                  <a:pt x="2312090" y="1811010"/>
                  <a:pt x="2266411" y="1733667"/>
                  <a:pt x="2229868" y="1649387"/>
                </a:cubicBezTo>
                <a:cubicBezTo>
                  <a:pt x="2164902" y="1622664"/>
                  <a:pt x="2032939" y="1373938"/>
                  <a:pt x="2199415" y="1347214"/>
                </a:cubicBezTo>
                <a:cubicBezTo>
                  <a:pt x="2219717" y="1153987"/>
                  <a:pt x="2063393" y="818925"/>
                  <a:pt x="2644025" y="804535"/>
                </a:cubicBezTo>
                <a:close/>
                <a:moveTo>
                  <a:pt x="2618959" y="4"/>
                </a:moveTo>
                <a:cubicBezTo>
                  <a:pt x="3113091" y="-895"/>
                  <a:pt x="3607459" y="147580"/>
                  <a:pt x="4040549" y="445541"/>
                </a:cubicBezTo>
                <a:cubicBezTo>
                  <a:pt x="4829951" y="988640"/>
                  <a:pt x="5288727" y="1942162"/>
                  <a:pt x="5243804" y="2946395"/>
                </a:cubicBezTo>
                <a:lnTo>
                  <a:pt x="4893772" y="2928408"/>
                </a:lnTo>
                <a:cubicBezTo>
                  <a:pt x="4932097" y="2053874"/>
                  <a:pt x="4538512" y="1223127"/>
                  <a:pt x="3860159" y="746736"/>
                </a:cubicBezTo>
                <a:cubicBezTo>
                  <a:pt x="3105483" y="216746"/>
                  <a:pt x="2133172" y="218542"/>
                  <a:pt x="1380169" y="751315"/>
                </a:cubicBezTo>
                <a:cubicBezTo>
                  <a:pt x="703569" y="1230031"/>
                  <a:pt x="312623" y="2061806"/>
                  <a:pt x="353389" y="2935887"/>
                </a:cubicBezTo>
                <a:lnTo>
                  <a:pt x="3419" y="2955027"/>
                </a:lnTo>
                <a:cubicBezTo>
                  <a:pt x="-44367" y="1951271"/>
                  <a:pt x="411365" y="996507"/>
                  <a:pt x="1198789" y="450712"/>
                </a:cubicBezTo>
                <a:cubicBezTo>
                  <a:pt x="1630932" y="151176"/>
                  <a:pt x="2124827" y="903"/>
                  <a:pt x="2618959" y="4"/>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algn="ctr" defTabSz="913825" fontAlgn="base">
              <a:spcBef>
                <a:spcPct val="0"/>
              </a:spcBef>
              <a:spcAft>
                <a:spcPct val="0"/>
              </a:spcAft>
              <a:defRPr/>
            </a:pPr>
            <a:endParaRPr lang="en-US" sz="1799" spc="-5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20344110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072C6"/>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150813" y="1385456"/>
            <a:ext cx="11887200" cy="1822988"/>
          </a:xfrm>
        </p:spPr>
        <p:txBody>
          <a:bodyPr>
            <a:normAutofit/>
          </a:bodyPr>
          <a:lstStyle/>
          <a:p>
            <a:r>
              <a:rPr lang="en-US" sz="7200">
                <a:cs typeface="Segoe UI Light" panose="020B0502040204020203" pitchFamily="34" charset="0"/>
              </a:rPr>
              <a:t>Engage Your Customers</a:t>
            </a:r>
          </a:p>
        </p:txBody>
      </p:sp>
      <p:grpSp>
        <p:nvGrpSpPr>
          <p:cNvPr id="14" name="Group 13"/>
          <p:cNvGrpSpPr/>
          <p:nvPr/>
        </p:nvGrpSpPr>
        <p:grpSpPr>
          <a:xfrm>
            <a:off x="9759246" y="5109767"/>
            <a:ext cx="1751080" cy="1147367"/>
            <a:chOff x="-927099" y="4183614"/>
            <a:chExt cx="1847325" cy="1210430"/>
          </a:xfrm>
          <a:solidFill>
            <a:sysClr val="window" lastClr="FFFFFF"/>
          </a:solidFill>
        </p:grpSpPr>
        <p:sp>
          <p:nvSpPr>
            <p:cNvPr id="15" name="Round Same Side Corner Rectangle 2"/>
            <p:cNvSpPr/>
            <p:nvPr/>
          </p:nvSpPr>
          <p:spPr>
            <a:xfrm>
              <a:off x="-774700" y="4183614"/>
              <a:ext cx="275129" cy="513123"/>
            </a:xfrm>
            <a:custGeom>
              <a:avLst/>
              <a:gdLst/>
              <a:ahLst/>
              <a:cxnLst/>
              <a:rect l="l" t="t" r="r" b="b"/>
              <a:pathLst>
                <a:path w="1479550" h="2999631">
                  <a:moveTo>
                    <a:pt x="739775" y="2723722"/>
                  </a:moveTo>
                  <a:cubicBezTo>
                    <a:pt x="701170" y="2723722"/>
                    <a:pt x="669874" y="2755018"/>
                    <a:pt x="669874" y="2793623"/>
                  </a:cubicBezTo>
                  <a:cubicBezTo>
                    <a:pt x="669874" y="2832228"/>
                    <a:pt x="701170" y="2863524"/>
                    <a:pt x="739775" y="2863524"/>
                  </a:cubicBezTo>
                  <a:cubicBezTo>
                    <a:pt x="778380" y="2863524"/>
                    <a:pt x="809676" y="2832228"/>
                    <a:pt x="809676" y="2793623"/>
                  </a:cubicBezTo>
                  <a:cubicBezTo>
                    <a:pt x="809676" y="2755018"/>
                    <a:pt x="778380" y="2723722"/>
                    <a:pt x="739775" y="2723722"/>
                  </a:cubicBezTo>
                  <a:close/>
                  <a:moveTo>
                    <a:pt x="201613" y="1629933"/>
                  </a:moveTo>
                  <a:lnTo>
                    <a:pt x="1123848" y="1629933"/>
                  </a:lnTo>
                  <a:lnTo>
                    <a:pt x="1123848" y="2058558"/>
                  </a:lnTo>
                  <a:lnTo>
                    <a:pt x="201613" y="2058558"/>
                  </a:lnTo>
                  <a:close/>
                  <a:moveTo>
                    <a:pt x="685698" y="1155271"/>
                  </a:moveTo>
                  <a:lnTo>
                    <a:pt x="1123848" y="1155271"/>
                  </a:lnTo>
                  <a:lnTo>
                    <a:pt x="1123848" y="1583896"/>
                  </a:lnTo>
                  <a:lnTo>
                    <a:pt x="685698" y="1583896"/>
                  </a:lnTo>
                  <a:close/>
                  <a:moveTo>
                    <a:pt x="201613" y="1155271"/>
                  </a:moveTo>
                  <a:lnTo>
                    <a:pt x="639763" y="1155271"/>
                  </a:lnTo>
                  <a:lnTo>
                    <a:pt x="639763" y="1583896"/>
                  </a:lnTo>
                  <a:lnTo>
                    <a:pt x="201613" y="1583896"/>
                  </a:lnTo>
                  <a:close/>
                  <a:moveTo>
                    <a:pt x="685698" y="680609"/>
                  </a:moveTo>
                  <a:lnTo>
                    <a:pt x="1123848" y="680609"/>
                  </a:lnTo>
                  <a:lnTo>
                    <a:pt x="1123848" y="1109234"/>
                  </a:lnTo>
                  <a:lnTo>
                    <a:pt x="685698" y="1109234"/>
                  </a:lnTo>
                  <a:close/>
                  <a:moveTo>
                    <a:pt x="201613" y="680609"/>
                  </a:moveTo>
                  <a:lnTo>
                    <a:pt x="639763" y="680609"/>
                  </a:lnTo>
                  <a:lnTo>
                    <a:pt x="639763" y="1109234"/>
                  </a:lnTo>
                  <a:lnTo>
                    <a:pt x="201613" y="1109234"/>
                  </a:lnTo>
                  <a:close/>
                  <a:moveTo>
                    <a:pt x="154163" y="413909"/>
                  </a:moveTo>
                  <a:lnTo>
                    <a:pt x="154163" y="2528459"/>
                  </a:lnTo>
                  <a:lnTo>
                    <a:pt x="201613" y="2528459"/>
                  </a:lnTo>
                  <a:lnTo>
                    <a:pt x="201613" y="2104596"/>
                  </a:lnTo>
                  <a:lnTo>
                    <a:pt x="639763" y="2104596"/>
                  </a:lnTo>
                  <a:lnTo>
                    <a:pt x="639763" y="2528459"/>
                  </a:lnTo>
                  <a:lnTo>
                    <a:pt x="685698" y="2528459"/>
                  </a:lnTo>
                  <a:lnTo>
                    <a:pt x="685698" y="2104596"/>
                  </a:lnTo>
                  <a:lnTo>
                    <a:pt x="1123848" y="2104596"/>
                  </a:lnTo>
                  <a:lnTo>
                    <a:pt x="1123848" y="2528459"/>
                  </a:lnTo>
                  <a:lnTo>
                    <a:pt x="1325388" y="2528459"/>
                  </a:lnTo>
                  <a:lnTo>
                    <a:pt x="1325388" y="413909"/>
                  </a:lnTo>
                  <a:close/>
                  <a:moveTo>
                    <a:pt x="556419" y="171020"/>
                  </a:moveTo>
                  <a:cubicBezTo>
                    <a:pt x="543267" y="171020"/>
                    <a:pt x="532606" y="181681"/>
                    <a:pt x="532606" y="194833"/>
                  </a:cubicBezTo>
                  <a:cubicBezTo>
                    <a:pt x="532606" y="207984"/>
                    <a:pt x="543267" y="218645"/>
                    <a:pt x="556419" y="218645"/>
                  </a:cubicBezTo>
                  <a:lnTo>
                    <a:pt x="923131" y="218646"/>
                  </a:lnTo>
                  <a:cubicBezTo>
                    <a:pt x="936283" y="218646"/>
                    <a:pt x="946944" y="207985"/>
                    <a:pt x="946944" y="194833"/>
                  </a:cubicBezTo>
                  <a:lnTo>
                    <a:pt x="946945" y="194833"/>
                  </a:lnTo>
                  <a:cubicBezTo>
                    <a:pt x="946945" y="181681"/>
                    <a:pt x="936284" y="171020"/>
                    <a:pt x="923132" y="171020"/>
                  </a:cubicBezTo>
                  <a:close/>
                  <a:moveTo>
                    <a:pt x="725487" y="274"/>
                  </a:moveTo>
                  <a:cubicBezTo>
                    <a:pt x="1081947" y="-5382"/>
                    <a:pt x="1443170" y="76220"/>
                    <a:pt x="1479550" y="262045"/>
                  </a:cubicBezTo>
                  <a:lnTo>
                    <a:pt x="1479550" y="1250633"/>
                  </a:lnTo>
                  <a:lnTo>
                    <a:pt x="1479550" y="1748998"/>
                  </a:lnTo>
                  <a:lnTo>
                    <a:pt x="1479550" y="2737586"/>
                  </a:lnTo>
                  <a:cubicBezTo>
                    <a:pt x="1406789" y="3109236"/>
                    <a:pt x="34660" y="3063993"/>
                    <a:pt x="0" y="2737586"/>
                  </a:cubicBezTo>
                  <a:lnTo>
                    <a:pt x="0" y="1748998"/>
                  </a:lnTo>
                  <a:lnTo>
                    <a:pt x="0" y="1250633"/>
                  </a:lnTo>
                  <a:lnTo>
                    <a:pt x="0" y="262045"/>
                  </a:lnTo>
                  <a:cubicBezTo>
                    <a:pt x="17330" y="98842"/>
                    <a:pt x="369027" y="5929"/>
                    <a:pt x="725487" y="274"/>
                  </a:cubicBezTo>
                  <a:close/>
                </a:path>
              </a:pathLst>
            </a:custGeom>
            <a:grpFill/>
            <a:ln w="25400" cap="flat" cmpd="sng" algn="ctr">
              <a:noFill/>
              <a:prstDash val="solid"/>
            </a:ln>
            <a:effectLst/>
          </p:spPr>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white"/>
                </a:solidFill>
                <a:effectLst/>
                <a:uLnTx/>
                <a:uFillTx/>
                <a:latin typeface="Segoe UI"/>
                <a:ea typeface="+mn-ea"/>
                <a:cs typeface="+mn-cs"/>
              </a:endParaRPr>
            </a:p>
          </p:txBody>
        </p:sp>
        <p:sp>
          <p:nvSpPr>
            <p:cNvPr id="16" name="Oval 13"/>
            <p:cNvSpPr/>
            <p:nvPr/>
          </p:nvSpPr>
          <p:spPr>
            <a:xfrm>
              <a:off x="-927099" y="4885774"/>
              <a:ext cx="508270" cy="508270"/>
            </a:xfrm>
            <a:custGeom>
              <a:avLst/>
              <a:gdLst/>
              <a:ahLst/>
              <a:cxnLst/>
              <a:rect l="l" t="t" r="r" b="b"/>
              <a:pathLst>
                <a:path w="5360063" h="5360063">
                  <a:moveTo>
                    <a:pt x="2786711" y="4616633"/>
                  </a:moveTo>
                  <a:cubicBezTo>
                    <a:pt x="2845629" y="4616633"/>
                    <a:pt x="2893391" y="4664395"/>
                    <a:pt x="2893391" y="4723313"/>
                  </a:cubicBezTo>
                  <a:lnTo>
                    <a:pt x="2893216" y="4724182"/>
                  </a:lnTo>
                  <a:cubicBezTo>
                    <a:pt x="2893390" y="4724470"/>
                    <a:pt x="2893391" y="4724760"/>
                    <a:pt x="2893391" y="4725050"/>
                  </a:cubicBezTo>
                  <a:cubicBezTo>
                    <a:pt x="2893391" y="4783968"/>
                    <a:pt x="2845629" y="4831730"/>
                    <a:pt x="2786711" y="4831730"/>
                  </a:cubicBezTo>
                  <a:cubicBezTo>
                    <a:pt x="2727793" y="4831730"/>
                    <a:pt x="2680031" y="4783968"/>
                    <a:pt x="2680031" y="4725050"/>
                  </a:cubicBezTo>
                  <a:lnTo>
                    <a:pt x="2680206" y="4724182"/>
                  </a:lnTo>
                  <a:cubicBezTo>
                    <a:pt x="2680032" y="4723893"/>
                    <a:pt x="2680031" y="4723603"/>
                    <a:pt x="2680031" y="4723313"/>
                  </a:cubicBezTo>
                  <a:cubicBezTo>
                    <a:pt x="2680031" y="4664395"/>
                    <a:pt x="2727793" y="4616633"/>
                    <a:pt x="2786711" y="4616633"/>
                  </a:cubicBezTo>
                  <a:close/>
                  <a:moveTo>
                    <a:pt x="2370764" y="4172762"/>
                  </a:moveTo>
                  <a:cubicBezTo>
                    <a:pt x="2473381" y="4329652"/>
                    <a:pt x="2563715" y="4465105"/>
                    <a:pt x="2670321" y="4589275"/>
                  </a:cubicBezTo>
                  <a:cubicBezTo>
                    <a:pt x="2630242" y="4620838"/>
                    <a:pt x="2605736" y="4670082"/>
                    <a:pt x="2605736" y="4725050"/>
                  </a:cubicBezTo>
                  <a:cubicBezTo>
                    <a:pt x="2605736" y="4825000"/>
                    <a:pt x="2686761" y="4906025"/>
                    <a:pt x="2786711" y="4906025"/>
                  </a:cubicBezTo>
                  <a:cubicBezTo>
                    <a:pt x="2819605" y="4906025"/>
                    <a:pt x="2850448" y="4897250"/>
                    <a:pt x="2875571" y="4879387"/>
                  </a:cubicBezTo>
                  <a:cubicBezTo>
                    <a:pt x="2979721" y="4999406"/>
                    <a:pt x="3106893" y="5113460"/>
                    <a:pt x="3196681" y="5191382"/>
                  </a:cubicBezTo>
                  <a:cubicBezTo>
                    <a:pt x="3030020" y="5227229"/>
                    <a:pt x="2857147" y="5245561"/>
                    <a:pt x="2680032" y="5245561"/>
                  </a:cubicBezTo>
                  <a:cubicBezTo>
                    <a:pt x="2385646" y="5245561"/>
                    <a:pt x="2102983" y="5194917"/>
                    <a:pt x="1841065" y="5099089"/>
                  </a:cubicBezTo>
                  <a:lnTo>
                    <a:pt x="1850963" y="5094880"/>
                  </a:lnTo>
                  <a:cubicBezTo>
                    <a:pt x="1850963" y="5089948"/>
                    <a:pt x="1839965" y="5073920"/>
                    <a:pt x="1842715" y="5071762"/>
                  </a:cubicBezTo>
                  <a:lnTo>
                    <a:pt x="1850963" y="5075153"/>
                  </a:lnTo>
                  <a:cubicBezTo>
                    <a:pt x="1857480" y="5081728"/>
                    <a:pt x="1863997" y="5088304"/>
                    <a:pt x="1870514" y="5075153"/>
                  </a:cubicBezTo>
                  <a:cubicBezTo>
                    <a:pt x="1877031" y="5068577"/>
                    <a:pt x="1870514" y="5055424"/>
                    <a:pt x="1877031" y="5042273"/>
                  </a:cubicBezTo>
                  <a:cubicBezTo>
                    <a:pt x="1877031" y="5035697"/>
                    <a:pt x="1890065" y="5029121"/>
                    <a:pt x="1890065" y="5022545"/>
                  </a:cubicBezTo>
                  <a:cubicBezTo>
                    <a:pt x="1896582" y="5009393"/>
                    <a:pt x="1896582" y="5009393"/>
                    <a:pt x="1903099" y="5002817"/>
                  </a:cubicBezTo>
                  <a:cubicBezTo>
                    <a:pt x="1909616" y="4996242"/>
                    <a:pt x="1916133" y="4989666"/>
                    <a:pt x="1922650" y="4983089"/>
                  </a:cubicBezTo>
                  <a:cubicBezTo>
                    <a:pt x="1929166" y="4969938"/>
                    <a:pt x="1909616" y="4950211"/>
                    <a:pt x="1896582" y="4937058"/>
                  </a:cubicBezTo>
                  <a:cubicBezTo>
                    <a:pt x="1883548" y="4917332"/>
                    <a:pt x="1883548" y="4904179"/>
                    <a:pt x="1896582" y="4884452"/>
                  </a:cubicBezTo>
                  <a:cubicBezTo>
                    <a:pt x="1909616" y="4871300"/>
                    <a:pt x="1929166" y="4871300"/>
                    <a:pt x="1935684" y="4858148"/>
                  </a:cubicBezTo>
                  <a:cubicBezTo>
                    <a:pt x="1942201" y="4851573"/>
                    <a:pt x="1935684" y="4838421"/>
                    <a:pt x="1935684" y="4825269"/>
                  </a:cubicBezTo>
                  <a:cubicBezTo>
                    <a:pt x="1935684" y="4818693"/>
                    <a:pt x="1942201" y="4812117"/>
                    <a:pt x="1948717" y="4805541"/>
                  </a:cubicBezTo>
                  <a:cubicBezTo>
                    <a:pt x="1948717" y="4798966"/>
                    <a:pt x="1942201" y="4792389"/>
                    <a:pt x="1948717" y="4792389"/>
                  </a:cubicBezTo>
                  <a:cubicBezTo>
                    <a:pt x="1948717" y="4785813"/>
                    <a:pt x="1968268" y="4792389"/>
                    <a:pt x="1968268" y="4785813"/>
                  </a:cubicBezTo>
                  <a:cubicBezTo>
                    <a:pt x="1974786" y="4779237"/>
                    <a:pt x="1955235" y="4772662"/>
                    <a:pt x="1948717" y="4766086"/>
                  </a:cubicBezTo>
                  <a:cubicBezTo>
                    <a:pt x="1935684" y="4759510"/>
                    <a:pt x="1942201" y="4739782"/>
                    <a:pt x="1955235" y="4733206"/>
                  </a:cubicBezTo>
                  <a:cubicBezTo>
                    <a:pt x="1961752" y="4726631"/>
                    <a:pt x="1974786" y="4733206"/>
                    <a:pt x="1981303" y="4726631"/>
                  </a:cubicBezTo>
                  <a:cubicBezTo>
                    <a:pt x="2000854" y="4726631"/>
                    <a:pt x="2026921" y="4700327"/>
                    <a:pt x="2013888" y="4674023"/>
                  </a:cubicBezTo>
                  <a:cubicBezTo>
                    <a:pt x="2013855" y="4673990"/>
                    <a:pt x="2007414" y="4667492"/>
                    <a:pt x="2007370" y="4667447"/>
                  </a:cubicBezTo>
                  <a:lnTo>
                    <a:pt x="2003094" y="4657070"/>
                  </a:lnTo>
                  <a:cubicBezTo>
                    <a:pt x="2003705" y="4650596"/>
                    <a:pt x="2017146" y="4654295"/>
                    <a:pt x="2026921" y="4654295"/>
                  </a:cubicBezTo>
                  <a:cubicBezTo>
                    <a:pt x="2039956" y="4647720"/>
                    <a:pt x="2059507" y="4634567"/>
                    <a:pt x="2072541" y="4634567"/>
                  </a:cubicBezTo>
                  <a:cubicBezTo>
                    <a:pt x="2092092" y="4634567"/>
                    <a:pt x="2105125" y="4634567"/>
                    <a:pt x="2118159" y="4627991"/>
                  </a:cubicBezTo>
                  <a:cubicBezTo>
                    <a:pt x="2131194" y="4621416"/>
                    <a:pt x="2137710" y="4608264"/>
                    <a:pt x="2144227" y="4595112"/>
                  </a:cubicBezTo>
                  <a:cubicBezTo>
                    <a:pt x="2150745" y="4588536"/>
                    <a:pt x="2157261" y="4581960"/>
                    <a:pt x="2150745" y="4568809"/>
                  </a:cubicBezTo>
                  <a:cubicBezTo>
                    <a:pt x="2150745" y="4562233"/>
                    <a:pt x="2137710" y="4555656"/>
                    <a:pt x="2131194" y="4549081"/>
                  </a:cubicBezTo>
                  <a:cubicBezTo>
                    <a:pt x="2131194" y="4535929"/>
                    <a:pt x="2137710" y="4529353"/>
                    <a:pt x="2137710" y="4522778"/>
                  </a:cubicBezTo>
                  <a:cubicBezTo>
                    <a:pt x="2131194" y="4509625"/>
                    <a:pt x="2111643" y="4509625"/>
                    <a:pt x="2105125" y="4496474"/>
                  </a:cubicBezTo>
                  <a:cubicBezTo>
                    <a:pt x="2098608" y="4483322"/>
                    <a:pt x="2092092" y="4470170"/>
                    <a:pt x="2092092" y="4457018"/>
                  </a:cubicBezTo>
                  <a:cubicBezTo>
                    <a:pt x="2092092" y="4437290"/>
                    <a:pt x="2105125" y="4437290"/>
                    <a:pt x="2118159" y="4450443"/>
                  </a:cubicBezTo>
                  <a:cubicBezTo>
                    <a:pt x="2124676" y="4463594"/>
                    <a:pt x="2124676" y="4483322"/>
                    <a:pt x="2137710" y="4489898"/>
                  </a:cubicBezTo>
                  <a:cubicBezTo>
                    <a:pt x="2144227" y="4503049"/>
                    <a:pt x="2157261" y="4509625"/>
                    <a:pt x="2170296" y="4503049"/>
                  </a:cubicBezTo>
                  <a:cubicBezTo>
                    <a:pt x="2176812" y="4503049"/>
                    <a:pt x="2183330" y="4496474"/>
                    <a:pt x="2189847" y="4503049"/>
                  </a:cubicBezTo>
                  <a:cubicBezTo>
                    <a:pt x="2196363" y="4503049"/>
                    <a:pt x="2202881" y="4503049"/>
                    <a:pt x="2209398" y="4503049"/>
                  </a:cubicBezTo>
                  <a:cubicBezTo>
                    <a:pt x="2215914" y="4503049"/>
                    <a:pt x="2235465" y="4476745"/>
                    <a:pt x="2248500" y="4457018"/>
                  </a:cubicBezTo>
                  <a:cubicBezTo>
                    <a:pt x="2255016" y="4443867"/>
                    <a:pt x="2261534" y="4437290"/>
                    <a:pt x="2261534" y="4430714"/>
                  </a:cubicBezTo>
                  <a:cubicBezTo>
                    <a:pt x="2261534" y="4417563"/>
                    <a:pt x="2255016" y="4417563"/>
                    <a:pt x="2255016" y="4410987"/>
                  </a:cubicBezTo>
                  <a:cubicBezTo>
                    <a:pt x="2261534" y="4404411"/>
                    <a:pt x="2274567" y="4391259"/>
                    <a:pt x="2274567" y="4384683"/>
                  </a:cubicBezTo>
                  <a:cubicBezTo>
                    <a:pt x="2281085" y="4378107"/>
                    <a:pt x="2287601" y="4364956"/>
                    <a:pt x="2300636" y="4358379"/>
                  </a:cubicBezTo>
                  <a:cubicBezTo>
                    <a:pt x="2300667" y="4358379"/>
                    <a:pt x="2307169" y="4358379"/>
                    <a:pt x="2313669" y="4358379"/>
                  </a:cubicBezTo>
                  <a:cubicBezTo>
                    <a:pt x="2326703" y="4351805"/>
                    <a:pt x="2326703" y="4338653"/>
                    <a:pt x="2326703" y="4332077"/>
                  </a:cubicBezTo>
                  <a:cubicBezTo>
                    <a:pt x="2333220" y="4318925"/>
                    <a:pt x="2339738" y="4312349"/>
                    <a:pt x="2352771" y="4299198"/>
                  </a:cubicBezTo>
                  <a:cubicBezTo>
                    <a:pt x="2385356" y="4266318"/>
                    <a:pt x="2352771" y="4233438"/>
                    <a:pt x="2359289" y="4193983"/>
                  </a:cubicBezTo>
                  <a:cubicBezTo>
                    <a:pt x="2359289" y="4185809"/>
                    <a:pt x="2363764" y="4178764"/>
                    <a:pt x="2370764" y="4172762"/>
                  </a:cubicBezTo>
                  <a:close/>
                  <a:moveTo>
                    <a:pt x="1355050" y="3792279"/>
                  </a:moveTo>
                  <a:cubicBezTo>
                    <a:pt x="1318697" y="4184868"/>
                    <a:pt x="1335670" y="4583698"/>
                    <a:pt x="1401311" y="4894132"/>
                  </a:cubicBezTo>
                  <a:cubicBezTo>
                    <a:pt x="1035189" y="4679816"/>
                    <a:pt x="728470" y="4374217"/>
                    <a:pt x="510450" y="4008440"/>
                  </a:cubicBezTo>
                  <a:cubicBezTo>
                    <a:pt x="587420" y="3990259"/>
                    <a:pt x="643285" y="3920314"/>
                    <a:pt x="643285" y="3837320"/>
                  </a:cubicBezTo>
                  <a:lnTo>
                    <a:pt x="642841" y="3832916"/>
                  </a:lnTo>
                  <a:cubicBezTo>
                    <a:pt x="917344" y="3821669"/>
                    <a:pt x="1147515" y="3811703"/>
                    <a:pt x="1355050" y="3792279"/>
                  </a:cubicBezTo>
                  <a:close/>
                  <a:moveTo>
                    <a:pt x="1652544" y="3757744"/>
                  </a:moveTo>
                  <a:cubicBezTo>
                    <a:pt x="1655053" y="3760042"/>
                    <a:pt x="1655453" y="3763094"/>
                    <a:pt x="1655453" y="3766550"/>
                  </a:cubicBezTo>
                  <a:cubicBezTo>
                    <a:pt x="1655453" y="3773126"/>
                    <a:pt x="1655453" y="3779702"/>
                    <a:pt x="1655453" y="3792854"/>
                  </a:cubicBezTo>
                  <a:cubicBezTo>
                    <a:pt x="1655453" y="3806005"/>
                    <a:pt x="1661970" y="3838885"/>
                    <a:pt x="1675004" y="3845461"/>
                  </a:cubicBezTo>
                  <a:cubicBezTo>
                    <a:pt x="1681521" y="3852036"/>
                    <a:pt x="1694555" y="3858612"/>
                    <a:pt x="1707589" y="3858612"/>
                  </a:cubicBezTo>
                  <a:cubicBezTo>
                    <a:pt x="1720624" y="3865188"/>
                    <a:pt x="1740175" y="3871764"/>
                    <a:pt x="1753208" y="3884915"/>
                  </a:cubicBezTo>
                  <a:cubicBezTo>
                    <a:pt x="1766242" y="3898068"/>
                    <a:pt x="1779276" y="3904643"/>
                    <a:pt x="1792310" y="3917795"/>
                  </a:cubicBezTo>
                  <a:cubicBezTo>
                    <a:pt x="1798827" y="3924370"/>
                    <a:pt x="1798827" y="3937523"/>
                    <a:pt x="1805344" y="3950674"/>
                  </a:cubicBezTo>
                  <a:cubicBezTo>
                    <a:pt x="1811861" y="3963826"/>
                    <a:pt x="1811861" y="3983554"/>
                    <a:pt x="1811861" y="4003281"/>
                  </a:cubicBezTo>
                  <a:cubicBezTo>
                    <a:pt x="1811861" y="4009857"/>
                    <a:pt x="1805344" y="4016434"/>
                    <a:pt x="1805344" y="4029585"/>
                  </a:cubicBezTo>
                  <a:cubicBezTo>
                    <a:pt x="1805344" y="4036161"/>
                    <a:pt x="1811861" y="4042737"/>
                    <a:pt x="1805344" y="4049312"/>
                  </a:cubicBezTo>
                  <a:cubicBezTo>
                    <a:pt x="1805344" y="4055889"/>
                    <a:pt x="1805344" y="4069041"/>
                    <a:pt x="1805344" y="4075616"/>
                  </a:cubicBezTo>
                  <a:cubicBezTo>
                    <a:pt x="1805344" y="4095345"/>
                    <a:pt x="1792310" y="4108496"/>
                    <a:pt x="1792310" y="4128223"/>
                  </a:cubicBezTo>
                  <a:cubicBezTo>
                    <a:pt x="1792310" y="4147952"/>
                    <a:pt x="1798827" y="4161103"/>
                    <a:pt x="1798827" y="4174255"/>
                  </a:cubicBezTo>
                  <a:cubicBezTo>
                    <a:pt x="1792310" y="4187407"/>
                    <a:pt x="1785793" y="4193983"/>
                    <a:pt x="1792310" y="4213711"/>
                  </a:cubicBezTo>
                  <a:cubicBezTo>
                    <a:pt x="1792310" y="4220287"/>
                    <a:pt x="1792310" y="4226863"/>
                    <a:pt x="1792310" y="4240014"/>
                  </a:cubicBezTo>
                  <a:cubicBezTo>
                    <a:pt x="1792310" y="4246590"/>
                    <a:pt x="1785793" y="4253166"/>
                    <a:pt x="1785793" y="4266318"/>
                  </a:cubicBezTo>
                  <a:cubicBezTo>
                    <a:pt x="1785793" y="4272894"/>
                    <a:pt x="1779276" y="4286045"/>
                    <a:pt x="1779276" y="4292622"/>
                  </a:cubicBezTo>
                  <a:cubicBezTo>
                    <a:pt x="1779276" y="4299198"/>
                    <a:pt x="1772759" y="4312349"/>
                    <a:pt x="1772759" y="4318925"/>
                  </a:cubicBezTo>
                  <a:cubicBezTo>
                    <a:pt x="1779276" y="4325502"/>
                    <a:pt x="1779276" y="4332077"/>
                    <a:pt x="1779276" y="4345229"/>
                  </a:cubicBezTo>
                  <a:cubicBezTo>
                    <a:pt x="1779276" y="4351805"/>
                    <a:pt x="1772759" y="4358379"/>
                    <a:pt x="1772759" y="4371532"/>
                  </a:cubicBezTo>
                  <a:cubicBezTo>
                    <a:pt x="1772759" y="4384683"/>
                    <a:pt x="1779276" y="4391259"/>
                    <a:pt x="1785793" y="4397835"/>
                  </a:cubicBezTo>
                  <a:cubicBezTo>
                    <a:pt x="1798827" y="4424139"/>
                    <a:pt x="1766242" y="4450443"/>
                    <a:pt x="1759726" y="4476745"/>
                  </a:cubicBezTo>
                  <a:cubicBezTo>
                    <a:pt x="1753208" y="4496474"/>
                    <a:pt x="1746691" y="4516201"/>
                    <a:pt x="1746691" y="4535929"/>
                  </a:cubicBezTo>
                  <a:cubicBezTo>
                    <a:pt x="1746691" y="4555656"/>
                    <a:pt x="1740175" y="4575385"/>
                    <a:pt x="1733657" y="4588536"/>
                  </a:cubicBezTo>
                  <a:cubicBezTo>
                    <a:pt x="1727140" y="4601689"/>
                    <a:pt x="1733657" y="4608264"/>
                    <a:pt x="1740175" y="4621416"/>
                  </a:cubicBezTo>
                  <a:cubicBezTo>
                    <a:pt x="1746691" y="4634567"/>
                    <a:pt x="1746691" y="4647720"/>
                    <a:pt x="1746691" y="4660871"/>
                  </a:cubicBezTo>
                  <a:cubicBezTo>
                    <a:pt x="1746691" y="4687175"/>
                    <a:pt x="1733657" y="4700327"/>
                    <a:pt x="1733657" y="4720055"/>
                  </a:cubicBezTo>
                  <a:cubicBezTo>
                    <a:pt x="1733657" y="4726631"/>
                    <a:pt x="1733657" y="4739782"/>
                    <a:pt x="1733657" y="4746358"/>
                  </a:cubicBezTo>
                  <a:cubicBezTo>
                    <a:pt x="1733657" y="4752933"/>
                    <a:pt x="1740175" y="4752933"/>
                    <a:pt x="1746691" y="4759510"/>
                  </a:cubicBezTo>
                  <a:cubicBezTo>
                    <a:pt x="1746691" y="4766086"/>
                    <a:pt x="1746691" y="4772662"/>
                    <a:pt x="1746691" y="4779237"/>
                  </a:cubicBezTo>
                  <a:cubicBezTo>
                    <a:pt x="1746691" y="4792389"/>
                    <a:pt x="1746691" y="4798966"/>
                    <a:pt x="1740175" y="4812117"/>
                  </a:cubicBezTo>
                  <a:cubicBezTo>
                    <a:pt x="1740175" y="4825269"/>
                    <a:pt x="1746691" y="4831844"/>
                    <a:pt x="1740175" y="4844997"/>
                  </a:cubicBezTo>
                  <a:cubicBezTo>
                    <a:pt x="1733657" y="4851573"/>
                    <a:pt x="1720624" y="4858148"/>
                    <a:pt x="1720624" y="4871300"/>
                  </a:cubicBezTo>
                  <a:cubicBezTo>
                    <a:pt x="1714106" y="4891028"/>
                    <a:pt x="1733657" y="4910755"/>
                    <a:pt x="1727140" y="4937058"/>
                  </a:cubicBezTo>
                  <a:cubicBezTo>
                    <a:pt x="1720624" y="4956786"/>
                    <a:pt x="1707589" y="4976513"/>
                    <a:pt x="1707589" y="5002817"/>
                  </a:cubicBezTo>
                  <a:lnTo>
                    <a:pt x="1707589" y="5049786"/>
                  </a:lnTo>
                  <a:cubicBezTo>
                    <a:pt x="1614691" y="5010873"/>
                    <a:pt x="1524588" y="4966540"/>
                    <a:pt x="1438672" y="4915414"/>
                  </a:cubicBezTo>
                  <a:cubicBezTo>
                    <a:pt x="1373926" y="4570463"/>
                    <a:pt x="1359286" y="4168496"/>
                    <a:pt x="1393222" y="3789064"/>
                  </a:cubicBezTo>
                  <a:cubicBezTo>
                    <a:pt x="1483207" y="3781329"/>
                    <a:pt x="1569036" y="3771076"/>
                    <a:pt x="1652544" y="3757744"/>
                  </a:cubicBezTo>
                  <a:close/>
                  <a:moveTo>
                    <a:pt x="462309" y="3730640"/>
                  </a:moveTo>
                  <a:cubicBezTo>
                    <a:pt x="521227" y="3730640"/>
                    <a:pt x="568989" y="3778402"/>
                    <a:pt x="568989" y="3837320"/>
                  </a:cubicBezTo>
                  <a:cubicBezTo>
                    <a:pt x="568989" y="3896238"/>
                    <a:pt x="521227" y="3944000"/>
                    <a:pt x="462309" y="3944000"/>
                  </a:cubicBezTo>
                  <a:cubicBezTo>
                    <a:pt x="403391" y="3944000"/>
                    <a:pt x="355629" y="3896238"/>
                    <a:pt x="355629" y="3837320"/>
                  </a:cubicBezTo>
                  <a:cubicBezTo>
                    <a:pt x="355629" y="3778402"/>
                    <a:pt x="403391" y="3730640"/>
                    <a:pt x="462309" y="3730640"/>
                  </a:cubicBezTo>
                  <a:close/>
                  <a:moveTo>
                    <a:pt x="1548737" y="3047311"/>
                  </a:moveTo>
                  <a:cubicBezTo>
                    <a:pt x="1557698" y="3046490"/>
                    <a:pt x="1567474" y="3046490"/>
                    <a:pt x="1577249" y="3049777"/>
                  </a:cubicBezTo>
                  <a:cubicBezTo>
                    <a:pt x="1583766" y="3049777"/>
                    <a:pt x="1596800" y="3056353"/>
                    <a:pt x="1596800" y="3069505"/>
                  </a:cubicBezTo>
                  <a:cubicBezTo>
                    <a:pt x="1603317" y="3082657"/>
                    <a:pt x="1596800" y="3089233"/>
                    <a:pt x="1609834" y="3102384"/>
                  </a:cubicBezTo>
                  <a:cubicBezTo>
                    <a:pt x="1635902" y="3122113"/>
                    <a:pt x="1622868" y="3154992"/>
                    <a:pt x="1616351" y="3187871"/>
                  </a:cubicBezTo>
                  <a:cubicBezTo>
                    <a:pt x="1609834" y="3201023"/>
                    <a:pt x="1609834" y="3214175"/>
                    <a:pt x="1609834" y="3227326"/>
                  </a:cubicBezTo>
                  <a:cubicBezTo>
                    <a:pt x="1609834" y="3240479"/>
                    <a:pt x="1609834" y="3247055"/>
                    <a:pt x="1616351" y="3260206"/>
                  </a:cubicBezTo>
                  <a:cubicBezTo>
                    <a:pt x="1616351" y="3279934"/>
                    <a:pt x="1609834" y="3286510"/>
                    <a:pt x="1603317" y="3299661"/>
                  </a:cubicBezTo>
                  <a:cubicBezTo>
                    <a:pt x="1583766" y="3339117"/>
                    <a:pt x="1557698" y="3365420"/>
                    <a:pt x="1538147" y="3398299"/>
                  </a:cubicBezTo>
                  <a:cubicBezTo>
                    <a:pt x="1525113" y="3424602"/>
                    <a:pt x="1525113" y="3464058"/>
                    <a:pt x="1525113" y="3490362"/>
                  </a:cubicBezTo>
                  <a:cubicBezTo>
                    <a:pt x="1531630" y="3536393"/>
                    <a:pt x="1551181" y="3562697"/>
                    <a:pt x="1583766" y="3595577"/>
                  </a:cubicBezTo>
                  <a:cubicBezTo>
                    <a:pt x="1609834" y="3621880"/>
                    <a:pt x="1609834" y="3654759"/>
                    <a:pt x="1622868" y="3687639"/>
                  </a:cubicBezTo>
                  <a:cubicBezTo>
                    <a:pt x="1622868" y="3698979"/>
                    <a:pt x="1627713" y="3710319"/>
                    <a:pt x="1633395" y="3721575"/>
                  </a:cubicBezTo>
                  <a:cubicBezTo>
                    <a:pt x="1554127" y="3733626"/>
                    <a:pt x="1475050" y="3742859"/>
                    <a:pt x="1396120" y="3750408"/>
                  </a:cubicBezTo>
                  <a:cubicBezTo>
                    <a:pt x="1419231" y="3497496"/>
                    <a:pt x="1464221" y="3255901"/>
                    <a:pt x="1529413" y="3049328"/>
                  </a:cubicBezTo>
                  <a:cubicBezTo>
                    <a:pt x="1535093" y="3049122"/>
                    <a:pt x="1541661" y="3047961"/>
                    <a:pt x="1548737" y="3047311"/>
                  </a:cubicBezTo>
                  <a:close/>
                  <a:moveTo>
                    <a:pt x="4959037" y="3018772"/>
                  </a:moveTo>
                  <a:cubicBezTo>
                    <a:pt x="5036068" y="3082842"/>
                    <a:pt x="5119464" y="3152676"/>
                    <a:pt x="5164978" y="3191039"/>
                  </a:cubicBezTo>
                  <a:cubicBezTo>
                    <a:pt x="5117274" y="3435339"/>
                    <a:pt x="5034215" y="3666859"/>
                    <a:pt x="4921641" y="3880239"/>
                  </a:cubicBezTo>
                  <a:cubicBezTo>
                    <a:pt x="4921663" y="3879397"/>
                    <a:pt x="4921504" y="3878583"/>
                    <a:pt x="4921340" y="3877761"/>
                  </a:cubicBezTo>
                  <a:cubicBezTo>
                    <a:pt x="4921340" y="3864581"/>
                    <a:pt x="4921340" y="3857991"/>
                    <a:pt x="4921340" y="3844812"/>
                  </a:cubicBezTo>
                  <a:cubicBezTo>
                    <a:pt x="4927904" y="3831632"/>
                    <a:pt x="4927904" y="3818452"/>
                    <a:pt x="4914775" y="3811861"/>
                  </a:cubicBezTo>
                  <a:cubicBezTo>
                    <a:pt x="4911492" y="3808567"/>
                    <a:pt x="4904928" y="3805271"/>
                    <a:pt x="4898363" y="3803624"/>
                  </a:cubicBezTo>
                  <a:lnTo>
                    <a:pt x="4881952" y="3805271"/>
                  </a:lnTo>
                  <a:cubicBezTo>
                    <a:pt x="4868823" y="3805271"/>
                    <a:pt x="4868823" y="3818452"/>
                    <a:pt x="4862259" y="3825043"/>
                  </a:cubicBezTo>
                  <a:cubicBezTo>
                    <a:pt x="4855694" y="3831632"/>
                    <a:pt x="4855694" y="3838222"/>
                    <a:pt x="4842565" y="3851401"/>
                  </a:cubicBezTo>
                  <a:cubicBezTo>
                    <a:pt x="4822871" y="3864581"/>
                    <a:pt x="4783485" y="3871170"/>
                    <a:pt x="4776921" y="3897530"/>
                  </a:cubicBezTo>
                  <a:cubicBezTo>
                    <a:pt x="4763791" y="3917299"/>
                    <a:pt x="4776921" y="3937070"/>
                    <a:pt x="4776921" y="3956840"/>
                  </a:cubicBezTo>
                  <a:cubicBezTo>
                    <a:pt x="4783485" y="3983198"/>
                    <a:pt x="4783485" y="3996378"/>
                    <a:pt x="4763791" y="4016148"/>
                  </a:cubicBezTo>
                  <a:cubicBezTo>
                    <a:pt x="4750662" y="4029328"/>
                    <a:pt x="4737533" y="4055687"/>
                    <a:pt x="4737533" y="4075457"/>
                  </a:cubicBezTo>
                  <a:cubicBezTo>
                    <a:pt x="4737533" y="4101816"/>
                    <a:pt x="4750662" y="4108406"/>
                    <a:pt x="4763791" y="4128177"/>
                  </a:cubicBezTo>
                  <a:lnTo>
                    <a:pt x="4764599" y="4141159"/>
                  </a:lnTo>
                  <a:cubicBezTo>
                    <a:pt x="4409659" y="4660202"/>
                    <a:pt x="3869165" y="5039746"/>
                    <a:pt x="3239606" y="5181785"/>
                  </a:cubicBezTo>
                  <a:cubicBezTo>
                    <a:pt x="3108766" y="5065135"/>
                    <a:pt x="2983320" y="4952596"/>
                    <a:pt x="2908718" y="4857038"/>
                  </a:cubicBezTo>
                  <a:cubicBezTo>
                    <a:pt x="2945305" y="4824885"/>
                    <a:pt x="2967686" y="4777581"/>
                    <a:pt x="2967686" y="4725050"/>
                  </a:cubicBezTo>
                  <a:cubicBezTo>
                    <a:pt x="2967686" y="4625100"/>
                    <a:pt x="2886661" y="4544075"/>
                    <a:pt x="2786711" y="4544075"/>
                  </a:cubicBezTo>
                  <a:cubicBezTo>
                    <a:pt x="2754908" y="4544075"/>
                    <a:pt x="2725020" y="4552279"/>
                    <a:pt x="2700350" y="4569029"/>
                  </a:cubicBezTo>
                  <a:cubicBezTo>
                    <a:pt x="2586648" y="4431561"/>
                    <a:pt x="2493149" y="4288531"/>
                    <a:pt x="2402215" y="4149788"/>
                  </a:cubicBezTo>
                  <a:cubicBezTo>
                    <a:pt x="2403109" y="4149153"/>
                    <a:pt x="2404015" y="4148553"/>
                    <a:pt x="2404907" y="4147952"/>
                  </a:cubicBezTo>
                  <a:cubicBezTo>
                    <a:pt x="2411424" y="4141376"/>
                    <a:pt x="2424458" y="4134800"/>
                    <a:pt x="2437493" y="4121648"/>
                  </a:cubicBezTo>
                  <a:cubicBezTo>
                    <a:pt x="2444009" y="4121648"/>
                    <a:pt x="2444009" y="4115072"/>
                    <a:pt x="2450526" y="4108496"/>
                  </a:cubicBezTo>
                  <a:cubicBezTo>
                    <a:pt x="2470077" y="4101920"/>
                    <a:pt x="2496145" y="4088768"/>
                    <a:pt x="2515696" y="4082192"/>
                  </a:cubicBezTo>
                  <a:cubicBezTo>
                    <a:pt x="2528730" y="4075616"/>
                    <a:pt x="2548281" y="4075616"/>
                    <a:pt x="2554798" y="4055889"/>
                  </a:cubicBezTo>
                  <a:cubicBezTo>
                    <a:pt x="2554798" y="4049312"/>
                    <a:pt x="2554798" y="4036161"/>
                    <a:pt x="2554798" y="4029585"/>
                  </a:cubicBezTo>
                  <a:cubicBezTo>
                    <a:pt x="2554798" y="4016434"/>
                    <a:pt x="2561315" y="4009857"/>
                    <a:pt x="2567832" y="4003281"/>
                  </a:cubicBezTo>
                  <a:cubicBezTo>
                    <a:pt x="2574349" y="3996706"/>
                    <a:pt x="2587383" y="3983554"/>
                    <a:pt x="2593900" y="3970402"/>
                  </a:cubicBezTo>
                  <a:cubicBezTo>
                    <a:pt x="2600417" y="3957250"/>
                    <a:pt x="2600417" y="3950674"/>
                    <a:pt x="2600417" y="3930946"/>
                  </a:cubicBezTo>
                  <a:cubicBezTo>
                    <a:pt x="2593900" y="3924370"/>
                    <a:pt x="2600417" y="3917795"/>
                    <a:pt x="2606934" y="3904643"/>
                  </a:cubicBezTo>
                  <a:cubicBezTo>
                    <a:pt x="2613451" y="3891491"/>
                    <a:pt x="2613451" y="3871764"/>
                    <a:pt x="2613451" y="3858612"/>
                  </a:cubicBezTo>
                  <a:cubicBezTo>
                    <a:pt x="2613451" y="3838885"/>
                    <a:pt x="2600417" y="3825733"/>
                    <a:pt x="2600417" y="3806005"/>
                  </a:cubicBezTo>
                  <a:cubicBezTo>
                    <a:pt x="2600417" y="3792854"/>
                    <a:pt x="2600417" y="3786278"/>
                    <a:pt x="2606934" y="3773126"/>
                  </a:cubicBezTo>
                  <a:cubicBezTo>
                    <a:pt x="2613451" y="3766550"/>
                    <a:pt x="2619968" y="3753398"/>
                    <a:pt x="2626484" y="3746823"/>
                  </a:cubicBezTo>
                  <a:cubicBezTo>
                    <a:pt x="2633002" y="3746823"/>
                    <a:pt x="2639519" y="3746823"/>
                    <a:pt x="2652553" y="3740247"/>
                  </a:cubicBezTo>
                  <a:cubicBezTo>
                    <a:pt x="2659070" y="3727094"/>
                    <a:pt x="2665587" y="3713943"/>
                    <a:pt x="2672104" y="3694215"/>
                  </a:cubicBezTo>
                  <a:cubicBezTo>
                    <a:pt x="2678621" y="3687639"/>
                    <a:pt x="2678621" y="3681063"/>
                    <a:pt x="2685138" y="3674487"/>
                  </a:cubicBezTo>
                  <a:cubicBezTo>
                    <a:pt x="2685138" y="3667912"/>
                    <a:pt x="2691655" y="3661335"/>
                    <a:pt x="2698172" y="3661335"/>
                  </a:cubicBezTo>
                  <a:cubicBezTo>
                    <a:pt x="2711206" y="3654759"/>
                    <a:pt x="2717723" y="3641608"/>
                    <a:pt x="2724240" y="3635032"/>
                  </a:cubicBezTo>
                  <a:cubicBezTo>
                    <a:pt x="2728341" y="3622620"/>
                    <a:pt x="2732441" y="3607604"/>
                    <a:pt x="2731974" y="3591553"/>
                  </a:cubicBezTo>
                  <a:cubicBezTo>
                    <a:pt x="3176757" y="3492724"/>
                    <a:pt x="3530895" y="3400733"/>
                    <a:pt x="3875196" y="3278576"/>
                  </a:cubicBezTo>
                  <a:cubicBezTo>
                    <a:pt x="3874963" y="3303286"/>
                    <a:pt x="3869564" y="3328899"/>
                    <a:pt x="3864973" y="3352065"/>
                  </a:cubicBezTo>
                  <a:cubicBezTo>
                    <a:pt x="3858454" y="3378381"/>
                    <a:pt x="3871492" y="3417855"/>
                    <a:pt x="3891049" y="3444172"/>
                  </a:cubicBezTo>
                  <a:cubicBezTo>
                    <a:pt x="3910607" y="3470487"/>
                    <a:pt x="3936683" y="3490224"/>
                    <a:pt x="3949721" y="3516541"/>
                  </a:cubicBezTo>
                  <a:cubicBezTo>
                    <a:pt x="3962759" y="3529699"/>
                    <a:pt x="3969279" y="3549436"/>
                    <a:pt x="3969279" y="3562594"/>
                  </a:cubicBezTo>
                  <a:cubicBezTo>
                    <a:pt x="3969279" y="3575752"/>
                    <a:pt x="3969279" y="3582331"/>
                    <a:pt x="3975798" y="3588911"/>
                  </a:cubicBezTo>
                  <a:cubicBezTo>
                    <a:pt x="3975798" y="3621805"/>
                    <a:pt x="3956240" y="3641542"/>
                    <a:pt x="3975798" y="3667858"/>
                  </a:cubicBezTo>
                  <a:cubicBezTo>
                    <a:pt x="4008392" y="3713913"/>
                    <a:pt x="3956240" y="3773124"/>
                    <a:pt x="3943201" y="3819177"/>
                  </a:cubicBezTo>
                  <a:cubicBezTo>
                    <a:pt x="3936683" y="3852073"/>
                    <a:pt x="3923645" y="3898126"/>
                    <a:pt x="3943201" y="3924442"/>
                  </a:cubicBezTo>
                  <a:cubicBezTo>
                    <a:pt x="3949721" y="3931021"/>
                    <a:pt x="3962759" y="3937600"/>
                    <a:pt x="3969279" y="3944179"/>
                  </a:cubicBezTo>
                  <a:cubicBezTo>
                    <a:pt x="3982316" y="3963916"/>
                    <a:pt x="3982316" y="3983653"/>
                    <a:pt x="3988835" y="3996811"/>
                  </a:cubicBezTo>
                  <a:cubicBezTo>
                    <a:pt x="3995355" y="4009970"/>
                    <a:pt x="3995355" y="4029707"/>
                    <a:pt x="3995355" y="4042865"/>
                  </a:cubicBezTo>
                  <a:cubicBezTo>
                    <a:pt x="4001874" y="4062601"/>
                    <a:pt x="4014912" y="4069180"/>
                    <a:pt x="4021431" y="4088918"/>
                  </a:cubicBezTo>
                  <a:cubicBezTo>
                    <a:pt x="4027950" y="4141550"/>
                    <a:pt x="4014912" y="4187605"/>
                    <a:pt x="4034470" y="4233657"/>
                  </a:cubicBezTo>
                  <a:cubicBezTo>
                    <a:pt x="4047507" y="4259974"/>
                    <a:pt x="4060546" y="4286290"/>
                    <a:pt x="4073584" y="4312606"/>
                  </a:cubicBezTo>
                  <a:cubicBezTo>
                    <a:pt x="4086622" y="4325764"/>
                    <a:pt x="4093141" y="4338923"/>
                    <a:pt x="4093141" y="4358660"/>
                  </a:cubicBezTo>
                  <a:cubicBezTo>
                    <a:pt x="4099661" y="4384975"/>
                    <a:pt x="4086622" y="4417870"/>
                    <a:pt x="4086622" y="4444187"/>
                  </a:cubicBezTo>
                  <a:cubicBezTo>
                    <a:pt x="4093141" y="4483661"/>
                    <a:pt x="4125737" y="4483661"/>
                    <a:pt x="4158332" y="4470503"/>
                  </a:cubicBezTo>
                  <a:cubicBezTo>
                    <a:pt x="4177889" y="4463924"/>
                    <a:pt x="4197447" y="4457345"/>
                    <a:pt x="4223523" y="4457345"/>
                  </a:cubicBezTo>
                  <a:cubicBezTo>
                    <a:pt x="4262638" y="4463924"/>
                    <a:pt x="4308271" y="4470503"/>
                    <a:pt x="4340866" y="4450766"/>
                  </a:cubicBezTo>
                  <a:cubicBezTo>
                    <a:pt x="4360424" y="4437608"/>
                    <a:pt x="4379981" y="4411291"/>
                    <a:pt x="4393020" y="4398133"/>
                  </a:cubicBezTo>
                  <a:cubicBezTo>
                    <a:pt x="4406057" y="4384975"/>
                    <a:pt x="4406057" y="4365239"/>
                    <a:pt x="4412577" y="4352081"/>
                  </a:cubicBezTo>
                  <a:cubicBezTo>
                    <a:pt x="4425615" y="4312606"/>
                    <a:pt x="4471248" y="4299448"/>
                    <a:pt x="4484287" y="4259974"/>
                  </a:cubicBezTo>
                  <a:cubicBezTo>
                    <a:pt x="4490806" y="4240236"/>
                    <a:pt x="4490806" y="4220500"/>
                    <a:pt x="4490806" y="4200763"/>
                  </a:cubicBezTo>
                  <a:cubicBezTo>
                    <a:pt x="4503845" y="4174446"/>
                    <a:pt x="4536439" y="4167866"/>
                    <a:pt x="4542959" y="4134971"/>
                  </a:cubicBezTo>
                  <a:cubicBezTo>
                    <a:pt x="4549478" y="4108655"/>
                    <a:pt x="4575554" y="4049444"/>
                    <a:pt x="4549478" y="4023128"/>
                  </a:cubicBezTo>
                  <a:cubicBezTo>
                    <a:pt x="4536439" y="4009970"/>
                    <a:pt x="4523402" y="4009970"/>
                    <a:pt x="4529921" y="3990232"/>
                  </a:cubicBezTo>
                  <a:cubicBezTo>
                    <a:pt x="4536439" y="3970495"/>
                    <a:pt x="4555997" y="3957337"/>
                    <a:pt x="4575554" y="3944179"/>
                  </a:cubicBezTo>
                  <a:cubicBezTo>
                    <a:pt x="4601630" y="3931021"/>
                    <a:pt x="4627707" y="3931021"/>
                    <a:pt x="4647264" y="3904704"/>
                  </a:cubicBezTo>
                  <a:cubicBezTo>
                    <a:pt x="4666822" y="3884968"/>
                    <a:pt x="4666822" y="3858652"/>
                    <a:pt x="4673340" y="3832335"/>
                  </a:cubicBezTo>
                  <a:cubicBezTo>
                    <a:pt x="4673340" y="3799440"/>
                    <a:pt x="4686379" y="3773124"/>
                    <a:pt x="4692898" y="3740229"/>
                  </a:cubicBezTo>
                  <a:cubicBezTo>
                    <a:pt x="4692898" y="3713913"/>
                    <a:pt x="4686379" y="3681017"/>
                    <a:pt x="4679860" y="3648121"/>
                  </a:cubicBezTo>
                  <a:cubicBezTo>
                    <a:pt x="4666822" y="3621805"/>
                    <a:pt x="4660303" y="3588911"/>
                    <a:pt x="4653784" y="3569173"/>
                  </a:cubicBezTo>
                  <a:cubicBezTo>
                    <a:pt x="4647264" y="3556015"/>
                    <a:pt x="4640745" y="3542857"/>
                    <a:pt x="4640745" y="3529699"/>
                  </a:cubicBezTo>
                  <a:cubicBezTo>
                    <a:pt x="4640745" y="3509962"/>
                    <a:pt x="4647264" y="3483645"/>
                    <a:pt x="4653784" y="3463908"/>
                  </a:cubicBezTo>
                  <a:cubicBezTo>
                    <a:pt x="4660303" y="3450751"/>
                    <a:pt x="4673340" y="3450751"/>
                    <a:pt x="4679860" y="3437593"/>
                  </a:cubicBezTo>
                  <a:cubicBezTo>
                    <a:pt x="4686379" y="3431014"/>
                    <a:pt x="4686379" y="3417855"/>
                    <a:pt x="4692898" y="3411276"/>
                  </a:cubicBezTo>
                  <a:cubicBezTo>
                    <a:pt x="4705936" y="3391539"/>
                    <a:pt x="4725494" y="3378381"/>
                    <a:pt x="4745051" y="3358644"/>
                  </a:cubicBezTo>
                  <a:cubicBezTo>
                    <a:pt x="4764609" y="3338907"/>
                    <a:pt x="4784165" y="3312591"/>
                    <a:pt x="4803722" y="3286275"/>
                  </a:cubicBezTo>
                  <a:cubicBezTo>
                    <a:pt x="4810242" y="3273117"/>
                    <a:pt x="4810242" y="3259959"/>
                    <a:pt x="4816761" y="3253379"/>
                  </a:cubicBezTo>
                  <a:cubicBezTo>
                    <a:pt x="4836318" y="3220483"/>
                    <a:pt x="4875433" y="3207325"/>
                    <a:pt x="4901509" y="3181009"/>
                  </a:cubicBezTo>
                  <a:cubicBezTo>
                    <a:pt x="4914547" y="3161271"/>
                    <a:pt x="4914547" y="3148114"/>
                    <a:pt x="4914547" y="3128377"/>
                  </a:cubicBezTo>
                  <a:cubicBezTo>
                    <a:pt x="4914547" y="3102061"/>
                    <a:pt x="4921067" y="3088903"/>
                    <a:pt x="4934104" y="3062586"/>
                  </a:cubicBezTo>
                  <a:cubicBezTo>
                    <a:pt x="4940361" y="3049959"/>
                    <a:pt x="4952621" y="3037332"/>
                    <a:pt x="4959037" y="3018772"/>
                  </a:cubicBezTo>
                  <a:close/>
                  <a:moveTo>
                    <a:pt x="4803016" y="2890192"/>
                  </a:moveTo>
                  <a:cubicBezTo>
                    <a:pt x="4820668" y="2904312"/>
                    <a:pt x="4850472" y="2928768"/>
                    <a:pt x="4886057" y="2958205"/>
                  </a:cubicBezTo>
                  <a:cubicBezTo>
                    <a:pt x="4885178" y="2960096"/>
                    <a:pt x="4883838" y="2961998"/>
                    <a:pt x="4881952" y="2963901"/>
                  </a:cubicBezTo>
                  <a:cubicBezTo>
                    <a:pt x="4862395" y="2970480"/>
                    <a:pt x="4842837" y="2963901"/>
                    <a:pt x="4823280" y="2963901"/>
                  </a:cubicBezTo>
                  <a:cubicBezTo>
                    <a:pt x="4816761" y="2963901"/>
                    <a:pt x="4803722" y="2963901"/>
                    <a:pt x="4790685" y="2963901"/>
                  </a:cubicBezTo>
                  <a:cubicBezTo>
                    <a:pt x="4777646" y="2957322"/>
                    <a:pt x="4777646" y="2950743"/>
                    <a:pt x="4771127" y="2937585"/>
                  </a:cubicBezTo>
                  <a:lnTo>
                    <a:pt x="4760609" y="2920658"/>
                  </a:lnTo>
                  <a:cubicBezTo>
                    <a:pt x="4777292" y="2914129"/>
                    <a:pt x="4791700" y="2903704"/>
                    <a:pt x="4803016" y="2890192"/>
                  </a:cubicBezTo>
                  <a:close/>
                  <a:moveTo>
                    <a:pt x="1665982" y="2869710"/>
                  </a:moveTo>
                  <a:lnTo>
                    <a:pt x="1719532" y="2981006"/>
                  </a:lnTo>
                  <a:cubicBezTo>
                    <a:pt x="1715881" y="2980234"/>
                    <a:pt x="1712131" y="2981727"/>
                    <a:pt x="1707589" y="2984018"/>
                  </a:cubicBezTo>
                  <a:cubicBezTo>
                    <a:pt x="1694555" y="2990594"/>
                    <a:pt x="1681521" y="2997170"/>
                    <a:pt x="1675004" y="3010322"/>
                  </a:cubicBezTo>
                  <a:cubicBezTo>
                    <a:pt x="1668487" y="3023473"/>
                    <a:pt x="1668487" y="3043202"/>
                    <a:pt x="1655453" y="3049777"/>
                  </a:cubicBezTo>
                  <a:cubicBezTo>
                    <a:pt x="1648936" y="3056353"/>
                    <a:pt x="1629385" y="3056353"/>
                    <a:pt x="1622868" y="3049777"/>
                  </a:cubicBezTo>
                  <a:cubicBezTo>
                    <a:pt x="1609834" y="3043202"/>
                    <a:pt x="1596800" y="3030049"/>
                    <a:pt x="1583766" y="3023473"/>
                  </a:cubicBezTo>
                  <a:cubicBezTo>
                    <a:pt x="1568052" y="3018188"/>
                    <a:pt x="1552337" y="3025647"/>
                    <a:pt x="1536433" y="3027828"/>
                  </a:cubicBezTo>
                  <a:cubicBezTo>
                    <a:pt x="1552912" y="2974808"/>
                    <a:pt x="1571420" y="2924407"/>
                    <a:pt x="1591463" y="2876899"/>
                  </a:cubicBezTo>
                  <a:cubicBezTo>
                    <a:pt x="1598560" y="2878655"/>
                    <a:pt x="1605895" y="2879104"/>
                    <a:pt x="1613334" y="2879104"/>
                  </a:cubicBezTo>
                  <a:close/>
                  <a:moveTo>
                    <a:pt x="4676169" y="2656661"/>
                  </a:moveTo>
                  <a:cubicBezTo>
                    <a:pt x="4735087" y="2656661"/>
                    <a:pt x="4782849" y="2704423"/>
                    <a:pt x="4782849" y="2763341"/>
                  </a:cubicBezTo>
                  <a:cubicBezTo>
                    <a:pt x="4782849" y="2822259"/>
                    <a:pt x="4735087" y="2870021"/>
                    <a:pt x="4676169" y="2870021"/>
                  </a:cubicBezTo>
                  <a:cubicBezTo>
                    <a:pt x="4617251" y="2870021"/>
                    <a:pt x="4569489" y="2822259"/>
                    <a:pt x="4569489" y="2763341"/>
                  </a:cubicBezTo>
                  <a:cubicBezTo>
                    <a:pt x="4569489" y="2704423"/>
                    <a:pt x="4617251" y="2656661"/>
                    <a:pt x="4676169" y="2656661"/>
                  </a:cubicBezTo>
                  <a:close/>
                  <a:moveTo>
                    <a:pt x="1617042" y="2589226"/>
                  </a:moveTo>
                  <a:cubicBezTo>
                    <a:pt x="1675960" y="2589226"/>
                    <a:pt x="1723722" y="2636988"/>
                    <a:pt x="1723722" y="2695906"/>
                  </a:cubicBezTo>
                  <a:cubicBezTo>
                    <a:pt x="1723722" y="2749566"/>
                    <a:pt x="1684105" y="2793972"/>
                    <a:pt x="1632240" y="2799518"/>
                  </a:cubicBezTo>
                  <a:cubicBezTo>
                    <a:pt x="1632429" y="2799976"/>
                    <a:pt x="1632643" y="2800422"/>
                    <a:pt x="1632858" y="2800867"/>
                  </a:cubicBezTo>
                  <a:cubicBezTo>
                    <a:pt x="1626799" y="2804172"/>
                    <a:pt x="1620141" y="2804809"/>
                    <a:pt x="1613334" y="2804809"/>
                  </a:cubicBezTo>
                  <a:cubicBezTo>
                    <a:pt x="1554416" y="2804809"/>
                    <a:pt x="1506654" y="2757047"/>
                    <a:pt x="1506654" y="2698129"/>
                  </a:cubicBezTo>
                  <a:cubicBezTo>
                    <a:pt x="1506654" y="2672937"/>
                    <a:pt x="1515386" y="2649784"/>
                    <a:pt x="1532562" y="2633889"/>
                  </a:cubicBezTo>
                  <a:cubicBezTo>
                    <a:pt x="1535652" y="2626501"/>
                    <a:pt x="1540931" y="2620754"/>
                    <a:pt x="1547520" y="2616486"/>
                  </a:cubicBezTo>
                  <a:cubicBezTo>
                    <a:pt x="1547628" y="2616155"/>
                    <a:pt x="1547856" y="2615990"/>
                    <a:pt x="1548086" y="2615827"/>
                  </a:cubicBezTo>
                  <a:lnTo>
                    <a:pt x="1548183" y="2616039"/>
                  </a:lnTo>
                  <a:cubicBezTo>
                    <a:pt x="1566071" y="2598980"/>
                    <a:pt x="1590417" y="2589226"/>
                    <a:pt x="1617042" y="2589226"/>
                  </a:cubicBezTo>
                  <a:close/>
                  <a:moveTo>
                    <a:pt x="4515253" y="2367675"/>
                  </a:moveTo>
                  <a:lnTo>
                    <a:pt x="4542959" y="2371787"/>
                  </a:lnTo>
                  <a:cubicBezTo>
                    <a:pt x="4555997" y="2384945"/>
                    <a:pt x="4575554" y="2404682"/>
                    <a:pt x="4582073" y="2424420"/>
                  </a:cubicBezTo>
                  <a:cubicBezTo>
                    <a:pt x="4588593" y="2437577"/>
                    <a:pt x="4588593" y="2450735"/>
                    <a:pt x="4601630" y="2470472"/>
                  </a:cubicBezTo>
                  <a:cubicBezTo>
                    <a:pt x="4608149" y="2483630"/>
                    <a:pt x="4614669" y="2490209"/>
                    <a:pt x="4621188" y="2516526"/>
                  </a:cubicBezTo>
                  <a:cubicBezTo>
                    <a:pt x="4627707" y="2536263"/>
                    <a:pt x="4634227" y="2549421"/>
                    <a:pt x="4647264" y="2562579"/>
                  </a:cubicBezTo>
                  <a:lnTo>
                    <a:pt x="4656263" y="2584373"/>
                  </a:lnTo>
                  <a:cubicBezTo>
                    <a:pt x="4634524" y="2585839"/>
                    <a:pt x="4614034" y="2592033"/>
                    <a:pt x="4596205" y="2603007"/>
                  </a:cubicBezTo>
                  <a:cubicBezTo>
                    <a:pt x="4582714" y="2584182"/>
                    <a:pt x="4569671" y="2564502"/>
                    <a:pt x="4562516" y="2542842"/>
                  </a:cubicBezTo>
                  <a:cubicBezTo>
                    <a:pt x="4555997" y="2529684"/>
                    <a:pt x="4562516" y="2503368"/>
                    <a:pt x="4555997" y="2483630"/>
                  </a:cubicBezTo>
                  <a:cubicBezTo>
                    <a:pt x="4549478" y="2470472"/>
                    <a:pt x="4536439" y="2450735"/>
                    <a:pt x="4529921" y="2430998"/>
                  </a:cubicBezTo>
                  <a:cubicBezTo>
                    <a:pt x="4523402" y="2424420"/>
                    <a:pt x="4490806" y="2391524"/>
                    <a:pt x="4497325" y="2378366"/>
                  </a:cubicBezTo>
                  <a:cubicBezTo>
                    <a:pt x="4497325" y="2368498"/>
                    <a:pt x="4505474" y="2366853"/>
                    <a:pt x="4515253" y="2367675"/>
                  </a:cubicBezTo>
                  <a:close/>
                  <a:moveTo>
                    <a:pt x="4920455" y="2321621"/>
                  </a:moveTo>
                  <a:cubicBezTo>
                    <a:pt x="4927178" y="2321210"/>
                    <a:pt x="4934105" y="2322444"/>
                    <a:pt x="4940624" y="2325733"/>
                  </a:cubicBezTo>
                  <a:cubicBezTo>
                    <a:pt x="4953662" y="2345471"/>
                    <a:pt x="4953662" y="2371787"/>
                    <a:pt x="4966700" y="2391524"/>
                  </a:cubicBezTo>
                  <a:cubicBezTo>
                    <a:pt x="4979738" y="2424420"/>
                    <a:pt x="5005814" y="2424420"/>
                    <a:pt x="5038410" y="2424420"/>
                  </a:cubicBezTo>
                  <a:cubicBezTo>
                    <a:pt x="5071005" y="2424420"/>
                    <a:pt x="5090563" y="2424420"/>
                    <a:pt x="5116639" y="2450735"/>
                  </a:cubicBezTo>
                  <a:cubicBezTo>
                    <a:pt x="5129677" y="2463893"/>
                    <a:pt x="5142716" y="2483630"/>
                    <a:pt x="5168792" y="2483630"/>
                  </a:cubicBezTo>
                  <a:cubicBezTo>
                    <a:pt x="5178342" y="2488449"/>
                    <a:pt x="5191389" y="2489738"/>
                    <a:pt x="5205269" y="2493172"/>
                  </a:cubicBezTo>
                  <a:cubicBezTo>
                    <a:pt x="5212550" y="2557094"/>
                    <a:pt x="5214977" y="2621868"/>
                    <a:pt x="5214977" y="2687211"/>
                  </a:cubicBezTo>
                  <a:cubicBezTo>
                    <a:pt x="5214977" y="2843611"/>
                    <a:pt x="5201071" y="2996733"/>
                    <a:pt x="5173973" y="3145285"/>
                  </a:cubicBezTo>
                  <a:lnTo>
                    <a:pt x="4979683" y="2983744"/>
                  </a:lnTo>
                  <a:cubicBezTo>
                    <a:pt x="4979703" y="2983709"/>
                    <a:pt x="4979721" y="2983674"/>
                    <a:pt x="4979738" y="2983638"/>
                  </a:cubicBezTo>
                  <a:cubicBezTo>
                    <a:pt x="4979738" y="2970480"/>
                    <a:pt x="4992777" y="2944164"/>
                    <a:pt x="4986258" y="2931006"/>
                  </a:cubicBezTo>
                  <a:cubicBezTo>
                    <a:pt x="4979738" y="2917847"/>
                    <a:pt x="4966700" y="2924427"/>
                    <a:pt x="4960181" y="2931006"/>
                  </a:cubicBezTo>
                  <a:cubicBezTo>
                    <a:pt x="4950715" y="2940560"/>
                    <a:pt x="4944685" y="2943177"/>
                    <a:pt x="4934541" y="2946211"/>
                  </a:cubicBezTo>
                  <a:lnTo>
                    <a:pt x="4855832" y="2880769"/>
                  </a:lnTo>
                  <a:cubicBezTo>
                    <a:pt x="4860129" y="2879037"/>
                    <a:pt x="4864521" y="2878373"/>
                    <a:pt x="4868913" y="2878373"/>
                  </a:cubicBezTo>
                  <a:cubicBezTo>
                    <a:pt x="4888471" y="2871794"/>
                    <a:pt x="4908028" y="2878373"/>
                    <a:pt x="4927586" y="2871794"/>
                  </a:cubicBezTo>
                  <a:cubicBezTo>
                    <a:pt x="4934104" y="2865216"/>
                    <a:pt x="4934104" y="2845479"/>
                    <a:pt x="4947143" y="2838900"/>
                  </a:cubicBezTo>
                  <a:cubicBezTo>
                    <a:pt x="4960181" y="2832320"/>
                    <a:pt x="4979738" y="2845479"/>
                    <a:pt x="4992777" y="2825741"/>
                  </a:cubicBezTo>
                  <a:cubicBezTo>
                    <a:pt x="4999295" y="2819162"/>
                    <a:pt x="4992777" y="2799425"/>
                    <a:pt x="4999295" y="2792846"/>
                  </a:cubicBezTo>
                  <a:cubicBezTo>
                    <a:pt x="5005814" y="2766530"/>
                    <a:pt x="5044929" y="2759951"/>
                    <a:pt x="5064486" y="2746792"/>
                  </a:cubicBezTo>
                  <a:cubicBezTo>
                    <a:pt x="5077525" y="2746792"/>
                    <a:pt x="5090563" y="2733633"/>
                    <a:pt x="5103601" y="2733633"/>
                  </a:cubicBezTo>
                  <a:cubicBezTo>
                    <a:pt x="5116639" y="2727054"/>
                    <a:pt x="5136196" y="2720475"/>
                    <a:pt x="5149235" y="2713897"/>
                  </a:cubicBezTo>
                  <a:cubicBezTo>
                    <a:pt x="5168792" y="2700739"/>
                    <a:pt x="5175311" y="2667843"/>
                    <a:pt x="5175311" y="2648106"/>
                  </a:cubicBezTo>
                  <a:cubicBezTo>
                    <a:pt x="5181830" y="2621790"/>
                    <a:pt x="5188350" y="2595474"/>
                    <a:pt x="5175311" y="2569157"/>
                  </a:cubicBezTo>
                  <a:cubicBezTo>
                    <a:pt x="5162273" y="2542842"/>
                    <a:pt x="5136196" y="2542842"/>
                    <a:pt x="5123159" y="2523105"/>
                  </a:cubicBezTo>
                  <a:cubicBezTo>
                    <a:pt x="5110120" y="2509947"/>
                    <a:pt x="5110120" y="2496788"/>
                    <a:pt x="5090563" y="2503368"/>
                  </a:cubicBezTo>
                  <a:cubicBezTo>
                    <a:pt x="5071005" y="2503368"/>
                    <a:pt x="5077525" y="2542842"/>
                    <a:pt x="5051449" y="2549421"/>
                  </a:cubicBezTo>
                  <a:cubicBezTo>
                    <a:pt x="5025372" y="2562579"/>
                    <a:pt x="4979738" y="2529684"/>
                    <a:pt x="4960181" y="2516526"/>
                  </a:cubicBezTo>
                  <a:cubicBezTo>
                    <a:pt x="4947143" y="2503368"/>
                    <a:pt x="4940624" y="2490209"/>
                    <a:pt x="4934104" y="2477051"/>
                  </a:cubicBezTo>
                  <a:cubicBezTo>
                    <a:pt x="4934104" y="2463893"/>
                    <a:pt x="4934104" y="2450735"/>
                    <a:pt x="4934104" y="2437577"/>
                  </a:cubicBezTo>
                  <a:cubicBezTo>
                    <a:pt x="4927586" y="2417840"/>
                    <a:pt x="4914547" y="2404682"/>
                    <a:pt x="4901509" y="2391524"/>
                  </a:cubicBezTo>
                  <a:cubicBezTo>
                    <a:pt x="4888471" y="2384945"/>
                    <a:pt x="4888471" y="2371787"/>
                    <a:pt x="4881952" y="2358629"/>
                  </a:cubicBezTo>
                  <a:cubicBezTo>
                    <a:pt x="4881952" y="2338891"/>
                    <a:pt x="4900287" y="2322855"/>
                    <a:pt x="4920455" y="2321621"/>
                  </a:cubicBezTo>
                  <a:close/>
                  <a:moveTo>
                    <a:pt x="1362188" y="2313278"/>
                  </a:moveTo>
                  <a:cubicBezTo>
                    <a:pt x="1387194" y="2313278"/>
                    <a:pt x="1408361" y="2317151"/>
                    <a:pt x="1427105" y="2333107"/>
                  </a:cubicBezTo>
                  <a:cubicBezTo>
                    <a:pt x="1457852" y="2407444"/>
                    <a:pt x="1488228" y="2478997"/>
                    <a:pt x="1518593" y="2548209"/>
                  </a:cubicBezTo>
                  <a:cubicBezTo>
                    <a:pt x="1507316" y="2551717"/>
                    <a:pt x="1498450" y="2558846"/>
                    <a:pt x="1490360" y="2566793"/>
                  </a:cubicBezTo>
                  <a:cubicBezTo>
                    <a:pt x="1485963" y="2565735"/>
                    <a:pt x="1481621" y="2565994"/>
                    <a:pt x="1478640" y="2569036"/>
                  </a:cubicBezTo>
                  <a:cubicBezTo>
                    <a:pt x="1465611" y="2569036"/>
                    <a:pt x="1459098" y="2569036"/>
                    <a:pt x="1459098" y="2575688"/>
                  </a:cubicBezTo>
                  <a:cubicBezTo>
                    <a:pt x="1450534" y="2588806"/>
                    <a:pt x="1461672" y="2590427"/>
                    <a:pt x="1472152" y="2589758"/>
                  </a:cubicBezTo>
                  <a:cubicBezTo>
                    <a:pt x="1446308" y="2618446"/>
                    <a:pt x="1432359" y="2656658"/>
                    <a:pt x="1432359" y="2698129"/>
                  </a:cubicBezTo>
                  <a:cubicBezTo>
                    <a:pt x="1432359" y="2778081"/>
                    <a:pt x="1484204" y="2845923"/>
                    <a:pt x="1556377" y="2869069"/>
                  </a:cubicBezTo>
                  <a:lnTo>
                    <a:pt x="1501687" y="3028094"/>
                  </a:lnTo>
                  <a:cubicBezTo>
                    <a:pt x="1493723" y="3026583"/>
                    <a:pt x="1485837" y="3023298"/>
                    <a:pt x="1479494" y="3016898"/>
                  </a:cubicBezTo>
                  <a:cubicBezTo>
                    <a:pt x="1472978" y="3003746"/>
                    <a:pt x="1472978" y="2984018"/>
                    <a:pt x="1472978" y="2970867"/>
                  </a:cubicBezTo>
                  <a:cubicBezTo>
                    <a:pt x="1466460" y="2957714"/>
                    <a:pt x="1459943" y="2951138"/>
                    <a:pt x="1453427" y="2937987"/>
                  </a:cubicBezTo>
                  <a:cubicBezTo>
                    <a:pt x="1446909" y="2931411"/>
                    <a:pt x="1446909" y="2911683"/>
                    <a:pt x="1446909" y="2898531"/>
                  </a:cubicBezTo>
                  <a:cubicBezTo>
                    <a:pt x="1446909" y="2872228"/>
                    <a:pt x="1453427" y="2852501"/>
                    <a:pt x="1440392" y="2826197"/>
                  </a:cubicBezTo>
                  <a:cubicBezTo>
                    <a:pt x="1433876" y="2819622"/>
                    <a:pt x="1427358" y="2806470"/>
                    <a:pt x="1420841" y="2806470"/>
                  </a:cubicBezTo>
                  <a:cubicBezTo>
                    <a:pt x="1401290" y="2799893"/>
                    <a:pt x="1388256" y="2806470"/>
                    <a:pt x="1375223" y="2806470"/>
                  </a:cubicBezTo>
                  <a:cubicBezTo>
                    <a:pt x="1362188" y="2813046"/>
                    <a:pt x="1349154" y="2813046"/>
                    <a:pt x="1336121" y="2813046"/>
                  </a:cubicBezTo>
                  <a:cubicBezTo>
                    <a:pt x="1323086" y="2813046"/>
                    <a:pt x="1310052" y="2806470"/>
                    <a:pt x="1316569" y="2793318"/>
                  </a:cubicBezTo>
                  <a:cubicBezTo>
                    <a:pt x="1329603" y="2780166"/>
                    <a:pt x="1342637" y="2767015"/>
                    <a:pt x="1342637" y="2753862"/>
                  </a:cubicBezTo>
                  <a:cubicBezTo>
                    <a:pt x="1349154" y="2740711"/>
                    <a:pt x="1342637" y="2740711"/>
                    <a:pt x="1336121" y="2727559"/>
                  </a:cubicBezTo>
                  <a:cubicBezTo>
                    <a:pt x="1336076" y="2727481"/>
                    <a:pt x="1329623" y="2714407"/>
                    <a:pt x="1336121" y="2714407"/>
                  </a:cubicBezTo>
                  <a:cubicBezTo>
                    <a:pt x="1336168" y="2714459"/>
                    <a:pt x="1342559" y="2720904"/>
                    <a:pt x="1342637" y="2720983"/>
                  </a:cubicBezTo>
                  <a:cubicBezTo>
                    <a:pt x="1349154" y="2720983"/>
                    <a:pt x="1355672" y="2720983"/>
                    <a:pt x="1362188" y="2720983"/>
                  </a:cubicBezTo>
                  <a:cubicBezTo>
                    <a:pt x="1362188" y="2714407"/>
                    <a:pt x="1355672" y="2701255"/>
                    <a:pt x="1362188" y="2694680"/>
                  </a:cubicBezTo>
                  <a:cubicBezTo>
                    <a:pt x="1362188" y="2688104"/>
                    <a:pt x="1362188" y="2674951"/>
                    <a:pt x="1368705" y="2668376"/>
                  </a:cubicBezTo>
                  <a:cubicBezTo>
                    <a:pt x="1368705" y="2655224"/>
                    <a:pt x="1375223" y="2642072"/>
                    <a:pt x="1368705" y="2628920"/>
                  </a:cubicBezTo>
                  <a:cubicBezTo>
                    <a:pt x="1362188" y="2622345"/>
                    <a:pt x="1349154" y="2615769"/>
                    <a:pt x="1342637" y="2615769"/>
                  </a:cubicBezTo>
                  <a:cubicBezTo>
                    <a:pt x="1323086" y="2615769"/>
                    <a:pt x="1303536" y="2628920"/>
                    <a:pt x="1290501" y="2642072"/>
                  </a:cubicBezTo>
                  <a:cubicBezTo>
                    <a:pt x="1277467" y="2655224"/>
                    <a:pt x="1270950" y="2674951"/>
                    <a:pt x="1264434" y="2688104"/>
                  </a:cubicBezTo>
                  <a:cubicBezTo>
                    <a:pt x="1251399" y="2707831"/>
                    <a:pt x="1218814" y="2714407"/>
                    <a:pt x="1199263" y="2720983"/>
                  </a:cubicBezTo>
                  <a:cubicBezTo>
                    <a:pt x="1186230" y="2720983"/>
                    <a:pt x="1173195" y="2727559"/>
                    <a:pt x="1160161" y="2727559"/>
                  </a:cubicBezTo>
                  <a:cubicBezTo>
                    <a:pt x="1147128" y="2720983"/>
                    <a:pt x="1147128" y="2701255"/>
                    <a:pt x="1140610" y="2688104"/>
                  </a:cubicBezTo>
                  <a:cubicBezTo>
                    <a:pt x="1134093" y="2681527"/>
                    <a:pt x="1127577" y="2668376"/>
                    <a:pt x="1121059" y="2661800"/>
                  </a:cubicBezTo>
                  <a:cubicBezTo>
                    <a:pt x="1101508" y="2642072"/>
                    <a:pt x="1094992" y="2602616"/>
                    <a:pt x="1094992" y="2576313"/>
                  </a:cubicBezTo>
                  <a:cubicBezTo>
                    <a:pt x="1094992" y="2556585"/>
                    <a:pt x="1094992" y="2536858"/>
                    <a:pt x="1101508" y="2523705"/>
                  </a:cubicBezTo>
                  <a:cubicBezTo>
                    <a:pt x="1101508" y="2510554"/>
                    <a:pt x="1108026" y="2503978"/>
                    <a:pt x="1108026" y="2490827"/>
                  </a:cubicBezTo>
                  <a:cubicBezTo>
                    <a:pt x="1108026" y="2477674"/>
                    <a:pt x="1108026" y="2464523"/>
                    <a:pt x="1108026" y="2444795"/>
                  </a:cubicBezTo>
                  <a:cubicBezTo>
                    <a:pt x="1114543" y="2425067"/>
                    <a:pt x="1121059" y="2411916"/>
                    <a:pt x="1134093" y="2392188"/>
                  </a:cubicBezTo>
                  <a:cubicBezTo>
                    <a:pt x="1134188" y="2392094"/>
                    <a:pt x="1140610" y="2385567"/>
                    <a:pt x="1140610" y="2379037"/>
                  </a:cubicBezTo>
                  <a:cubicBezTo>
                    <a:pt x="1147128" y="2372462"/>
                    <a:pt x="1166679" y="2365885"/>
                    <a:pt x="1173195" y="2359309"/>
                  </a:cubicBezTo>
                  <a:cubicBezTo>
                    <a:pt x="1192746" y="2352733"/>
                    <a:pt x="1218814" y="2333006"/>
                    <a:pt x="1238365" y="2339582"/>
                  </a:cubicBezTo>
                  <a:cubicBezTo>
                    <a:pt x="1264434" y="2339582"/>
                    <a:pt x="1283985" y="2365885"/>
                    <a:pt x="1310052" y="2359309"/>
                  </a:cubicBezTo>
                  <a:cubicBezTo>
                    <a:pt x="1323086" y="2352733"/>
                    <a:pt x="1316569" y="2339582"/>
                    <a:pt x="1316569" y="2333006"/>
                  </a:cubicBezTo>
                  <a:cubicBezTo>
                    <a:pt x="1323086" y="2319854"/>
                    <a:pt x="1349154" y="2319854"/>
                    <a:pt x="1362188" y="2313278"/>
                  </a:cubicBezTo>
                  <a:close/>
                  <a:moveTo>
                    <a:pt x="3205841" y="1867153"/>
                  </a:moveTo>
                  <a:lnTo>
                    <a:pt x="3397286" y="1964191"/>
                  </a:lnTo>
                  <a:cubicBezTo>
                    <a:pt x="3387349" y="1974607"/>
                    <a:pt x="3383586" y="1985694"/>
                    <a:pt x="3389078" y="1996780"/>
                  </a:cubicBezTo>
                  <a:cubicBezTo>
                    <a:pt x="3389078" y="2023097"/>
                    <a:pt x="3402117" y="2055992"/>
                    <a:pt x="3421674" y="2069150"/>
                  </a:cubicBezTo>
                  <a:cubicBezTo>
                    <a:pt x="3434712" y="2069150"/>
                    <a:pt x="3447751" y="2075729"/>
                    <a:pt x="3454269" y="2075729"/>
                  </a:cubicBezTo>
                  <a:cubicBezTo>
                    <a:pt x="3467308" y="2088888"/>
                    <a:pt x="3480346" y="2095467"/>
                    <a:pt x="3499903" y="2095467"/>
                  </a:cubicBezTo>
                  <a:cubicBezTo>
                    <a:pt x="3512942" y="2095467"/>
                    <a:pt x="3519460" y="2088888"/>
                    <a:pt x="3532499" y="2088888"/>
                  </a:cubicBezTo>
                  <a:cubicBezTo>
                    <a:pt x="3545537" y="2088888"/>
                    <a:pt x="3552057" y="2102046"/>
                    <a:pt x="3565094" y="2095467"/>
                  </a:cubicBezTo>
                  <a:cubicBezTo>
                    <a:pt x="3578133" y="2095467"/>
                    <a:pt x="3584651" y="2088888"/>
                    <a:pt x="3591170" y="2075729"/>
                  </a:cubicBezTo>
                  <a:lnTo>
                    <a:pt x="3594690" y="2066849"/>
                  </a:lnTo>
                  <a:lnTo>
                    <a:pt x="3669022" y="2107375"/>
                  </a:lnTo>
                  <a:cubicBezTo>
                    <a:pt x="3660251" y="2109916"/>
                    <a:pt x="3652162" y="2115094"/>
                    <a:pt x="3643324" y="2121783"/>
                  </a:cubicBezTo>
                  <a:cubicBezTo>
                    <a:pt x="3610728" y="2141519"/>
                    <a:pt x="3591170" y="2161256"/>
                    <a:pt x="3558575" y="2148098"/>
                  </a:cubicBezTo>
                  <a:cubicBezTo>
                    <a:pt x="3539018" y="2141519"/>
                    <a:pt x="3539018" y="2148098"/>
                    <a:pt x="3519460" y="2148098"/>
                  </a:cubicBezTo>
                  <a:cubicBezTo>
                    <a:pt x="3506423" y="2148098"/>
                    <a:pt x="3499903" y="2128361"/>
                    <a:pt x="3486865" y="2128361"/>
                  </a:cubicBezTo>
                  <a:cubicBezTo>
                    <a:pt x="3447751" y="2134940"/>
                    <a:pt x="3467308" y="2167835"/>
                    <a:pt x="3460789" y="2187573"/>
                  </a:cubicBezTo>
                  <a:cubicBezTo>
                    <a:pt x="3458220" y="2195351"/>
                    <a:pt x="3451601" y="2200064"/>
                    <a:pt x="3443526" y="2203296"/>
                  </a:cubicBezTo>
                  <a:cubicBezTo>
                    <a:pt x="3365505" y="2086791"/>
                    <a:pt x="3286717" y="1974433"/>
                    <a:pt x="3205841" y="1867153"/>
                  </a:cubicBezTo>
                  <a:close/>
                  <a:moveTo>
                    <a:pt x="3969279" y="1786252"/>
                  </a:moveTo>
                  <a:cubicBezTo>
                    <a:pt x="3982316" y="1792831"/>
                    <a:pt x="3988835" y="1799410"/>
                    <a:pt x="3995355" y="1805989"/>
                  </a:cubicBezTo>
                  <a:cubicBezTo>
                    <a:pt x="4001874" y="1819147"/>
                    <a:pt x="4008392" y="1832305"/>
                    <a:pt x="4021431" y="1838885"/>
                  </a:cubicBezTo>
                  <a:cubicBezTo>
                    <a:pt x="4034470" y="1858621"/>
                    <a:pt x="4054026" y="1871779"/>
                    <a:pt x="4073584" y="1878358"/>
                  </a:cubicBezTo>
                  <a:cubicBezTo>
                    <a:pt x="4086622" y="1884937"/>
                    <a:pt x="4106180" y="1891516"/>
                    <a:pt x="4119217" y="1898095"/>
                  </a:cubicBezTo>
                  <a:cubicBezTo>
                    <a:pt x="4125737" y="1904674"/>
                    <a:pt x="4132256" y="1911253"/>
                    <a:pt x="4138775" y="1924412"/>
                  </a:cubicBezTo>
                  <a:cubicBezTo>
                    <a:pt x="4138775" y="1937570"/>
                    <a:pt x="4138775" y="1950728"/>
                    <a:pt x="4138775" y="1970465"/>
                  </a:cubicBezTo>
                  <a:cubicBezTo>
                    <a:pt x="4145294" y="1983623"/>
                    <a:pt x="4151813" y="1996780"/>
                    <a:pt x="4164851" y="2009939"/>
                  </a:cubicBezTo>
                  <a:cubicBezTo>
                    <a:pt x="4171371" y="2016518"/>
                    <a:pt x="4171371" y="2016518"/>
                    <a:pt x="4177889" y="2023097"/>
                  </a:cubicBezTo>
                  <a:cubicBezTo>
                    <a:pt x="4184408" y="2029676"/>
                    <a:pt x="4184408" y="2029676"/>
                    <a:pt x="4190928" y="2036255"/>
                  </a:cubicBezTo>
                  <a:cubicBezTo>
                    <a:pt x="4197447" y="2042834"/>
                    <a:pt x="4217004" y="2042834"/>
                    <a:pt x="4217004" y="2049413"/>
                  </a:cubicBezTo>
                  <a:cubicBezTo>
                    <a:pt x="4223516" y="2062553"/>
                    <a:pt x="4204024" y="2056011"/>
                    <a:pt x="4203966" y="2055992"/>
                  </a:cubicBezTo>
                  <a:cubicBezTo>
                    <a:pt x="4190928" y="2055992"/>
                    <a:pt x="4190928" y="2069150"/>
                    <a:pt x="4197447" y="2075729"/>
                  </a:cubicBezTo>
                  <a:cubicBezTo>
                    <a:pt x="4197447" y="2088888"/>
                    <a:pt x="4210486" y="2095467"/>
                    <a:pt x="4223523" y="2095467"/>
                  </a:cubicBezTo>
                  <a:cubicBezTo>
                    <a:pt x="4236562" y="2095467"/>
                    <a:pt x="4236562" y="2088888"/>
                    <a:pt x="4236562" y="2082308"/>
                  </a:cubicBezTo>
                  <a:cubicBezTo>
                    <a:pt x="4236562" y="2062571"/>
                    <a:pt x="4243080" y="2062571"/>
                    <a:pt x="4256119" y="2062571"/>
                  </a:cubicBezTo>
                  <a:cubicBezTo>
                    <a:pt x="4262638" y="2062571"/>
                    <a:pt x="4269157" y="2049413"/>
                    <a:pt x="4262638" y="2036255"/>
                  </a:cubicBezTo>
                  <a:cubicBezTo>
                    <a:pt x="4262638" y="2029676"/>
                    <a:pt x="4256119" y="2023097"/>
                    <a:pt x="4249599" y="2016518"/>
                  </a:cubicBezTo>
                  <a:cubicBezTo>
                    <a:pt x="4243080" y="2009939"/>
                    <a:pt x="4236562" y="2003360"/>
                    <a:pt x="4236562" y="1990201"/>
                  </a:cubicBezTo>
                  <a:cubicBezTo>
                    <a:pt x="4243080" y="1983623"/>
                    <a:pt x="4256119" y="1983623"/>
                    <a:pt x="4262638" y="1983623"/>
                  </a:cubicBezTo>
                  <a:cubicBezTo>
                    <a:pt x="4269157" y="1977044"/>
                    <a:pt x="4269157" y="1977044"/>
                    <a:pt x="4275675" y="1977044"/>
                  </a:cubicBezTo>
                  <a:cubicBezTo>
                    <a:pt x="4275675" y="1970465"/>
                    <a:pt x="4275675" y="1963886"/>
                    <a:pt x="4275675" y="1957307"/>
                  </a:cubicBezTo>
                  <a:cubicBezTo>
                    <a:pt x="4282195" y="1950728"/>
                    <a:pt x="4288714" y="1950728"/>
                    <a:pt x="4295233" y="1950728"/>
                  </a:cubicBezTo>
                  <a:cubicBezTo>
                    <a:pt x="4301753" y="1950728"/>
                    <a:pt x="4301753" y="1950728"/>
                    <a:pt x="4308271" y="1950728"/>
                  </a:cubicBezTo>
                  <a:cubicBezTo>
                    <a:pt x="4321310" y="1957307"/>
                    <a:pt x="4321310" y="1957307"/>
                    <a:pt x="4327829" y="1970465"/>
                  </a:cubicBezTo>
                  <a:cubicBezTo>
                    <a:pt x="4334348" y="1983623"/>
                    <a:pt x="4340866" y="1996780"/>
                    <a:pt x="4340866" y="2009939"/>
                  </a:cubicBezTo>
                  <a:cubicBezTo>
                    <a:pt x="4340866" y="2036255"/>
                    <a:pt x="4334348" y="2055992"/>
                    <a:pt x="4353905" y="2082308"/>
                  </a:cubicBezTo>
                  <a:cubicBezTo>
                    <a:pt x="4360424" y="2088888"/>
                    <a:pt x="4373462" y="2088888"/>
                    <a:pt x="4379981" y="2095467"/>
                  </a:cubicBezTo>
                  <a:cubicBezTo>
                    <a:pt x="4386500" y="2102046"/>
                    <a:pt x="4393020" y="2121783"/>
                    <a:pt x="4406057" y="2128361"/>
                  </a:cubicBezTo>
                  <a:cubicBezTo>
                    <a:pt x="4425615" y="2141519"/>
                    <a:pt x="4432135" y="2115204"/>
                    <a:pt x="4451691" y="2115204"/>
                  </a:cubicBezTo>
                  <a:cubicBezTo>
                    <a:pt x="4471248" y="2102046"/>
                    <a:pt x="4477768" y="2121783"/>
                    <a:pt x="4490806" y="2128361"/>
                  </a:cubicBezTo>
                  <a:cubicBezTo>
                    <a:pt x="4510363" y="2134940"/>
                    <a:pt x="4542959" y="2128361"/>
                    <a:pt x="4549478" y="2121783"/>
                  </a:cubicBezTo>
                  <a:cubicBezTo>
                    <a:pt x="4555997" y="2115204"/>
                    <a:pt x="4569036" y="2088888"/>
                    <a:pt x="4582073" y="2108625"/>
                  </a:cubicBezTo>
                  <a:cubicBezTo>
                    <a:pt x="4608149" y="2134940"/>
                    <a:pt x="4549478" y="2187573"/>
                    <a:pt x="4555997" y="2220468"/>
                  </a:cubicBezTo>
                  <a:cubicBezTo>
                    <a:pt x="4555997" y="2233627"/>
                    <a:pt x="4569036" y="2253365"/>
                    <a:pt x="4549478" y="2266523"/>
                  </a:cubicBezTo>
                  <a:cubicBezTo>
                    <a:pt x="4529921" y="2273102"/>
                    <a:pt x="4503845" y="2266523"/>
                    <a:pt x="4484287" y="2273102"/>
                  </a:cubicBezTo>
                  <a:cubicBezTo>
                    <a:pt x="4471248" y="2273102"/>
                    <a:pt x="4458211" y="2279681"/>
                    <a:pt x="4445172" y="2286259"/>
                  </a:cubicBezTo>
                  <a:cubicBezTo>
                    <a:pt x="4425615" y="2299417"/>
                    <a:pt x="4412577" y="2292838"/>
                    <a:pt x="4393020" y="2286259"/>
                  </a:cubicBezTo>
                  <a:cubicBezTo>
                    <a:pt x="4386500" y="2279681"/>
                    <a:pt x="4379981" y="2279681"/>
                    <a:pt x="4373462" y="2279681"/>
                  </a:cubicBezTo>
                  <a:cubicBezTo>
                    <a:pt x="4366944" y="2279681"/>
                    <a:pt x="4366944" y="2286259"/>
                    <a:pt x="4360424" y="2286259"/>
                  </a:cubicBezTo>
                  <a:cubicBezTo>
                    <a:pt x="4353905" y="2292838"/>
                    <a:pt x="4353905" y="2286259"/>
                    <a:pt x="4340866" y="2286259"/>
                  </a:cubicBezTo>
                  <a:cubicBezTo>
                    <a:pt x="4314790" y="2286259"/>
                    <a:pt x="4288714" y="2292838"/>
                    <a:pt x="4262638" y="2273102"/>
                  </a:cubicBezTo>
                  <a:cubicBezTo>
                    <a:pt x="4243080" y="2253365"/>
                    <a:pt x="4223523" y="2233627"/>
                    <a:pt x="4197447" y="2233627"/>
                  </a:cubicBezTo>
                  <a:cubicBezTo>
                    <a:pt x="4177889" y="2240206"/>
                    <a:pt x="4158332" y="2246785"/>
                    <a:pt x="4151813" y="2273102"/>
                  </a:cubicBezTo>
                  <a:cubicBezTo>
                    <a:pt x="4151813" y="2286259"/>
                    <a:pt x="4158332" y="2305996"/>
                    <a:pt x="4138775" y="2312575"/>
                  </a:cubicBezTo>
                  <a:cubicBezTo>
                    <a:pt x="4119217" y="2325733"/>
                    <a:pt x="4060546" y="2305996"/>
                    <a:pt x="4047507" y="2286259"/>
                  </a:cubicBezTo>
                  <a:cubicBezTo>
                    <a:pt x="4027950" y="2266523"/>
                    <a:pt x="4008392" y="2253365"/>
                    <a:pt x="3975798" y="2246785"/>
                  </a:cubicBezTo>
                  <a:cubicBezTo>
                    <a:pt x="3949721" y="2240206"/>
                    <a:pt x="3917125" y="2227047"/>
                    <a:pt x="3904088" y="2200731"/>
                  </a:cubicBezTo>
                  <a:cubicBezTo>
                    <a:pt x="3891049" y="2167835"/>
                    <a:pt x="3936683" y="2108625"/>
                    <a:pt x="3897568" y="2082308"/>
                  </a:cubicBezTo>
                  <a:cubicBezTo>
                    <a:pt x="3871492" y="2075729"/>
                    <a:pt x="3838897" y="2075729"/>
                    <a:pt x="3819339" y="2088888"/>
                  </a:cubicBezTo>
                  <a:cubicBezTo>
                    <a:pt x="3791156" y="2094577"/>
                    <a:pt x="3762972" y="2100265"/>
                    <a:pt x="3734942" y="2095918"/>
                  </a:cubicBezTo>
                  <a:lnTo>
                    <a:pt x="3629942" y="2039026"/>
                  </a:lnTo>
                  <a:cubicBezTo>
                    <a:pt x="3634400" y="2034399"/>
                    <a:pt x="3636805" y="2028748"/>
                    <a:pt x="3636805" y="2023097"/>
                  </a:cubicBezTo>
                  <a:cubicBezTo>
                    <a:pt x="3643324" y="2009939"/>
                    <a:pt x="3636805" y="1996780"/>
                    <a:pt x="3643324" y="1977044"/>
                  </a:cubicBezTo>
                  <a:cubicBezTo>
                    <a:pt x="3656361" y="1963886"/>
                    <a:pt x="3662881" y="1937570"/>
                    <a:pt x="3682439" y="1930991"/>
                  </a:cubicBezTo>
                  <a:cubicBezTo>
                    <a:pt x="3688957" y="1924412"/>
                    <a:pt x="3715033" y="1917832"/>
                    <a:pt x="3721552" y="1911253"/>
                  </a:cubicBezTo>
                  <a:cubicBezTo>
                    <a:pt x="3728072" y="1891516"/>
                    <a:pt x="3715033" y="1871779"/>
                    <a:pt x="3728072" y="1858621"/>
                  </a:cubicBezTo>
                  <a:cubicBezTo>
                    <a:pt x="3734591" y="1852042"/>
                    <a:pt x="3747630" y="1852042"/>
                    <a:pt x="3760667" y="1852042"/>
                  </a:cubicBezTo>
                  <a:cubicBezTo>
                    <a:pt x="3767186" y="1852042"/>
                    <a:pt x="3780225" y="1858621"/>
                    <a:pt x="3793263" y="1858621"/>
                  </a:cubicBezTo>
                  <a:cubicBezTo>
                    <a:pt x="3799782" y="1865200"/>
                    <a:pt x="3806301" y="1858621"/>
                    <a:pt x="3819339" y="1852042"/>
                  </a:cubicBezTo>
                  <a:cubicBezTo>
                    <a:pt x="3825858" y="1845464"/>
                    <a:pt x="3838897" y="1832305"/>
                    <a:pt x="3845416" y="1825726"/>
                  </a:cubicBezTo>
                  <a:cubicBezTo>
                    <a:pt x="3851934" y="1819147"/>
                    <a:pt x="3858454" y="1819147"/>
                    <a:pt x="3871492" y="1819147"/>
                  </a:cubicBezTo>
                  <a:cubicBezTo>
                    <a:pt x="3891049" y="1819147"/>
                    <a:pt x="3904088" y="1838885"/>
                    <a:pt x="3910607" y="1852042"/>
                  </a:cubicBezTo>
                  <a:cubicBezTo>
                    <a:pt x="3910607" y="1865200"/>
                    <a:pt x="3917125" y="1871779"/>
                    <a:pt x="3923645" y="1884937"/>
                  </a:cubicBezTo>
                  <a:cubicBezTo>
                    <a:pt x="3923645" y="1891516"/>
                    <a:pt x="3930164" y="1898095"/>
                    <a:pt x="3936683" y="1904674"/>
                  </a:cubicBezTo>
                  <a:cubicBezTo>
                    <a:pt x="3949721" y="1917832"/>
                    <a:pt x="3969279" y="1930991"/>
                    <a:pt x="3982316" y="1937570"/>
                  </a:cubicBezTo>
                  <a:cubicBezTo>
                    <a:pt x="4008392" y="1944149"/>
                    <a:pt x="4021431" y="1950728"/>
                    <a:pt x="4034470" y="1977044"/>
                  </a:cubicBezTo>
                  <a:cubicBezTo>
                    <a:pt x="4040989" y="1990201"/>
                    <a:pt x="4047507" y="2003360"/>
                    <a:pt x="4047507" y="2023097"/>
                  </a:cubicBezTo>
                  <a:cubicBezTo>
                    <a:pt x="4047481" y="2023126"/>
                    <a:pt x="4040989" y="2029691"/>
                    <a:pt x="4040989" y="2036255"/>
                  </a:cubicBezTo>
                  <a:cubicBezTo>
                    <a:pt x="4040989" y="2042799"/>
                    <a:pt x="4040989" y="2049341"/>
                    <a:pt x="4040989" y="2049413"/>
                  </a:cubicBezTo>
                  <a:cubicBezTo>
                    <a:pt x="4034470" y="2055992"/>
                    <a:pt x="4027950" y="2055992"/>
                    <a:pt x="4021431" y="2055992"/>
                  </a:cubicBezTo>
                  <a:cubicBezTo>
                    <a:pt x="4008392" y="2055992"/>
                    <a:pt x="4001874" y="2049413"/>
                    <a:pt x="3988835" y="2049413"/>
                  </a:cubicBezTo>
                  <a:cubicBezTo>
                    <a:pt x="3969279" y="2055992"/>
                    <a:pt x="3969279" y="2069150"/>
                    <a:pt x="3982316" y="2082308"/>
                  </a:cubicBezTo>
                  <a:cubicBezTo>
                    <a:pt x="3988835" y="2088888"/>
                    <a:pt x="3995355" y="2088888"/>
                    <a:pt x="4001874" y="2088888"/>
                  </a:cubicBezTo>
                  <a:cubicBezTo>
                    <a:pt x="4008392" y="2095467"/>
                    <a:pt x="4014912" y="2095467"/>
                    <a:pt x="4021431" y="2088888"/>
                  </a:cubicBezTo>
                  <a:cubicBezTo>
                    <a:pt x="4027950" y="2082308"/>
                    <a:pt x="4027950" y="2075729"/>
                    <a:pt x="4034470" y="2069150"/>
                  </a:cubicBezTo>
                  <a:cubicBezTo>
                    <a:pt x="4040989" y="2062571"/>
                    <a:pt x="4047507" y="2062571"/>
                    <a:pt x="4054026" y="2055992"/>
                  </a:cubicBezTo>
                  <a:cubicBezTo>
                    <a:pt x="4054026" y="2055966"/>
                    <a:pt x="4054026" y="2049444"/>
                    <a:pt x="4054026" y="2049413"/>
                  </a:cubicBezTo>
                  <a:cubicBezTo>
                    <a:pt x="4060546" y="2042834"/>
                    <a:pt x="4060546" y="2042834"/>
                    <a:pt x="4067065" y="2036255"/>
                  </a:cubicBezTo>
                  <a:cubicBezTo>
                    <a:pt x="4067124" y="2036200"/>
                    <a:pt x="4073584" y="2029656"/>
                    <a:pt x="4073584" y="2023097"/>
                  </a:cubicBezTo>
                  <a:cubicBezTo>
                    <a:pt x="4080103" y="2009939"/>
                    <a:pt x="4080103" y="2009939"/>
                    <a:pt x="4073584" y="1996780"/>
                  </a:cubicBezTo>
                  <a:cubicBezTo>
                    <a:pt x="4067065" y="1990201"/>
                    <a:pt x="4067065" y="1977044"/>
                    <a:pt x="4073584" y="1970465"/>
                  </a:cubicBezTo>
                  <a:cubicBezTo>
                    <a:pt x="4080103" y="1957307"/>
                    <a:pt x="4099661" y="1983623"/>
                    <a:pt x="4106180" y="1977044"/>
                  </a:cubicBezTo>
                  <a:cubicBezTo>
                    <a:pt x="4119217" y="1970465"/>
                    <a:pt x="4093141" y="1950728"/>
                    <a:pt x="4086622" y="1944149"/>
                  </a:cubicBezTo>
                  <a:cubicBezTo>
                    <a:pt x="4080103" y="1944149"/>
                    <a:pt x="4073584" y="1944149"/>
                    <a:pt x="4060546" y="1937570"/>
                  </a:cubicBezTo>
                  <a:cubicBezTo>
                    <a:pt x="4054026" y="1930991"/>
                    <a:pt x="4054026" y="1924412"/>
                    <a:pt x="4047507" y="1917832"/>
                  </a:cubicBezTo>
                  <a:cubicBezTo>
                    <a:pt x="4027950" y="1904674"/>
                    <a:pt x="4008392" y="1898095"/>
                    <a:pt x="3995355" y="1884937"/>
                  </a:cubicBezTo>
                  <a:cubicBezTo>
                    <a:pt x="3988835" y="1871779"/>
                    <a:pt x="3982316" y="1865200"/>
                    <a:pt x="3975798" y="1852042"/>
                  </a:cubicBezTo>
                  <a:cubicBezTo>
                    <a:pt x="3969279" y="1838885"/>
                    <a:pt x="3962759" y="1832305"/>
                    <a:pt x="3956240" y="1825726"/>
                  </a:cubicBezTo>
                  <a:cubicBezTo>
                    <a:pt x="3949721" y="1805989"/>
                    <a:pt x="3949721" y="1786252"/>
                    <a:pt x="3969279" y="1786252"/>
                  </a:cubicBezTo>
                  <a:close/>
                  <a:moveTo>
                    <a:pt x="410146" y="1579357"/>
                  </a:moveTo>
                  <a:cubicBezTo>
                    <a:pt x="424264" y="1582970"/>
                    <a:pt x="437263" y="1590915"/>
                    <a:pt x="443292" y="1603081"/>
                  </a:cubicBezTo>
                  <a:cubicBezTo>
                    <a:pt x="449809" y="1616233"/>
                    <a:pt x="443292" y="1642537"/>
                    <a:pt x="430259" y="1649113"/>
                  </a:cubicBezTo>
                  <a:cubicBezTo>
                    <a:pt x="417224" y="1655688"/>
                    <a:pt x="397673" y="1649113"/>
                    <a:pt x="384639" y="1649113"/>
                  </a:cubicBezTo>
                  <a:cubicBezTo>
                    <a:pt x="365088" y="1655688"/>
                    <a:pt x="365088" y="1681992"/>
                    <a:pt x="365088" y="1695144"/>
                  </a:cubicBezTo>
                  <a:cubicBezTo>
                    <a:pt x="365088" y="1721448"/>
                    <a:pt x="384639" y="1741175"/>
                    <a:pt x="404190" y="1754327"/>
                  </a:cubicBezTo>
                  <a:cubicBezTo>
                    <a:pt x="417224" y="1767479"/>
                    <a:pt x="423741" y="1787207"/>
                    <a:pt x="423741" y="1800359"/>
                  </a:cubicBezTo>
                  <a:cubicBezTo>
                    <a:pt x="430258" y="1839814"/>
                    <a:pt x="423741" y="1879269"/>
                    <a:pt x="417224" y="1918724"/>
                  </a:cubicBezTo>
                  <a:cubicBezTo>
                    <a:pt x="417224" y="1938451"/>
                    <a:pt x="417224" y="1958179"/>
                    <a:pt x="417224" y="1977906"/>
                  </a:cubicBezTo>
                  <a:cubicBezTo>
                    <a:pt x="430258" y="2004210"/>
                    <a:pt x="443292" y="2030514"/>
                    <a:pt x="449810" y="2063394"/>
                  </a:cubicBezTo>
                  <a:cubicBezTo>
                    <a:pt x="456326" y="2076545"/>
                    <a:pt x="462843" y="2089697"/>
                    <a:pt x="469360" y="2109425"/>
                  </a:cubicBezTo>
                  <a:cubicBezTo>
                    <a:pt x="475877" y="2122577"/>
                    <a:pt x="482394" y="2142305"/>
                    <a:pt x="488911" y="2155456"/>
                  </a:cubicBezTo>
                  <a:cubicBezTo>
                    <a:pt x="501945" y="2175183"/>
                    <a:pt x="521496" y="2201487"/>
                    <a:pt x="541047" y="2214639"/>
                  </a:cubicBezTo>
                  <a:cubicBezTo>
                    <a:pt x="560598" y="2234367"/>
                    <a:pt x="586666" y="2240943"/>
                    <a:pt x="606217" y="2267247"/>
                  </a:cubicBezTo>
                  <a:cubicBezTo>
                    <a:pt x="612734" y="2280398"/>
                    <a:pt x="619251" y="2300127"/>
                    <a:pt x="625768" y="2313278"/>
                  </a:cubicBezTo>
                  <a:cubicBezTo>
                    <a:pt x="638802" y="2333006"/>
                    <a:pt x="651836" y="2346158"/>
                    <a:pt x="658353" y="2365885"/>
                  </a:cubicBezTo>
                  <a:cubicBezTo>
                    <a:pt x="671387" y="2379037"/>
                    <a:pt x="658353" y="2392188"/>
                    <a:pt x="658353" y="2405339"/>
                  </a:cubicBezTo>
                  <a:cubicBezTo>
                    <a:pt x="651836" y="2425067"/>
                    <a:pt x="677904" y="2438219"/>
                    <a:pt x="684421" y="2444795"/>
                  </a:cubicBezTo>
                  <a:cubicBezTo>
                    <a:pt x="697455" y="2457947"/>
                    <a:pt x="710489" y="2471099"/>
                    <a:pt x="717006" y="2484250"/>
                  </a:cubicBezTo>
                  <a:cubicBezTo>
                    <a:pt x="730040" y="2497403"/>
                    <a:pt x="736557" y="2517130"/>
                    <a:pt x="743074" y="2536858"/>
                  </a:cubicBezTo>
                  <a:cubicBezTo>
                    <a:pt x="743074" y="2543434"/>
                    <a:pt x="749591" y="2556585"/>
                    <a:pt x="762625" y="2556585"/>
                  </a:cubicBezTo>
                  <a:cubicBezTo>
                    <a:pt x="775658" y="2556585"/>
                    <a:pt x="775658" y="2543434"/>
                    <a:pt x="775658" y="2536858"/>
                  </a:cubicBezTo>
                  <a:cubicBezTo>
                    <a:pt x="775658" y="2530282"/>
                    <a:pt x="769142" y="2517130"/>
                    <a:pt x="762625" y="2510554"/>
                  </a:cubicBezTo>
                  <a:cubicBezTo>
                    <a:pt x="756108" y="2503978"/>
                    <a:pt x="749591" y="2490827"/>
                    <a:pt x="743074" y="2477674"/>
                  </a:cubicBezTo>
                  <a:cubicBezTo>
                    <a:pt x="736557" y="2471099"/>
                    <a:pt x="730040" y="2464523"/>
                    <a:pt x="723523" y="2451371"/>
                  </a:cubicBezTo>
                  <a:cubicBezTo>
                    <a:pt x="710489" y="2438219"/>
                    <a:pt x="703972" y="2425067"/>
                    <a:pt x="697455" y="2405339"/>
                  </a:cubicBezTo>
                  <a:cubicBezTo>
                    <a:pt x="690938" y="2385613"/>
                    <a:pt x="677904" y="2372462"/>
                    <a:pt x="677904" y="2352733"/>
                  </a:cubicBezTo>
                  <a:cubicBezTo>
                    <a:pt x="671387" y="2339582"/>
                    <a:pt x="671387" y="2326429"/>
                    <a:pt x="671387" y="2306702"/>
                  </a:cubicBezTo>
                  <a:cubicBezTo>
                    <a:pt x="671387" y="2286974"/>
                    <a:pt x="690938" y="2280398"/>
                    <a:pt x="710489" y="2293551"/>
                  </a:cubicBezTo>
                  <a:cubicBezTo>
                    <a:pt x="723523" y="2306702"/>
                    <a:pt x="730040" y="2326429"/>
                    <a:pt x="736557" y="2339582"/>
                  </a:cubicBezTo>
                  <a:cubicBezTo>
                    <a:pt x="749591" y="2352733"/>
                    <a:pt x="762625" y="2372462"/>
                    <a:pt x="775658" y="2392188"/>
                  </a:cubicBezTo>
                  <a:cubicBezTo>
                    <a:pt x="801727" y="2438219"/>
                    <a:pt x="821278" y="2484250"/>
                    <a:pt x="847346" y="2530282"/>
                  </a:cubicBezTo>
                  <a:cubicBezTo>
                    <a:pt x="853862" y="2536858"/>
                    <a:pt x="866897" y="2550009"/>
                    <a:pt x="873414" y="2556585"/>
                  </a:cubicBezTo>
                  <a:cubicBezTo>
                    <a:pt x="879931" y="2569738"/>
                    <a:pt x="879931" y="2569738"/>
                    <a:pt x="886448" y="2582889"/>
                  </a:cubicBezTo>
                  <a:cubicBezTo>
                    <a:pt x="892964" y="2596041"/>
                    <a:pt x="899482" y="2602616"/>
                    <a:pt x="899482" y="2615769"/>
                  </a:cubicBezTo>
                  <a:cubicBezTo>
                    <a:pt x="905999" y="2635496"/>
                    <a:pt x="899482" y="2655224"/>
                    <a:pt x="899482" y="2674951"/>
                  </a:cubicBezTo>
                  <a:cubicBezTo>
                    <a:pt x="905999" y="2688104"/>
                    <a:pt x="912515" y="2714407"/>
                    <a:pt x="925550" y="2727559"/>
                  </a:cubicBezTo>
                  <a:cubicBezTo>
                    <a:pt x="938584" y="2740711"/>
                    <a:pt x="951617" y="2740711"/>
                    <a:pt x="971168" y="2747287"/>
                  </a:cubicBezTo>
                  <a:cubicBezTo>
                    <a:pt x="977686" y="2753862"/>
                    <a:pt x="984202" y="2767015"/>
                    <a:pt x="997237" y="2767015"/>
                  </a:cubicBezTo>
                  <a:cubicBezTo>
                    <a:pt x="1003753" y="2773591"/>
                    <a:pt x="1016788" y="2767015"/>
                    <a:pt x="1023304" y="2773591"/>
                  </a:cubicBezTo>
                  <a:cubicBezTo>
                    <a:pt x="1029822" y="2780166"/>
                    <a:pt x="1029822" y="2786742"/>
                    <a:pt x="1036339" y="2786742"/>
                  </a:cubicBezTo>
                  <a:cubicBezTo>
                    <a:pt x="1049373" y="2799893"/>
                    <a:pt x="1055890" y="2813046"/>
                    <a:pt x="1075441" y="2819622"/>
                  </a:cubicBezTo>
                  <a:cubicBezTo>
                    <a:pt x="1094992" y="2826197"/>
                    <a:pt x="1127577" y="2826197"/>
                    <a:pt x="1147128" y="2819622"/>
                  </a:cubicBezTo>
                  <a:cubicBezTo>
                    <a:pt x="1166679" y="2813046"/>
                    <a:pt x="1186230" y="2806470"/>
                    <a:pt x="1205781" y="2813046"/>
                  </a:cubicBezTo>
                  <a:cubicBezTo>
                    <a:pt x="1218814" y="2819622"/>
                    <a:pt x="1225332" y="2832773"/>
                    <a:pt x="1238365" y="2839349"/>
                  </a:cubicBezTo>
                  <a:cubicBezTo>
                    <a:pt x="1257916" y="2852501"/>
                    <a:pt x="1264434" y="2878803"/>
                    <a:pt x="1283985" y="2885380"/>
                  </a:cubicBezTo>
                  <a:cubicBezTo>
                    <a:pt x="1290501" y="2891956"/>
                    <a:pt x="1297018" y="2891956"/>
                    <a:pt x="1303536" y="2891956"/>
                  </a:cubicBezTo>
                  <a:cubicBezTo>
                    <a:pt x="1329603" y="2898531"/>
                    <a:pt x="1342637" y="2905107"/>
                    <a:pt x="1355672" y="2918259"/>
                  </a:cubicBezTo>
                  <a:cubicBezTo>
                    <a:pt x="1381739" y="2937987"/>
                    <a:pt x="1375223" y="2977442"/>
                    <a:pt x="1388256" y="2997170"/>
                  </a:cubicBezTo>
                  <a:cubicBezTo>
                    <a:pt x="1401290" y="3010322"/>
                    <a:pt x="1414325" y="3010322"/>
                    <a:pt x="1427358" y="3016898"/>
                  </a:cubicBezTo>
                  <a:cubicBezTo>
                    <a:pt x="1440392" y="3023473"/>
                    <a:pt x="1440392" y="3043202"/>
                    <a:pt x="1459943" y="3049777"/>
                  </a:cubicBezTo>
                  <a:cubicBezTo>
                    <a:pt x="1466770" y="3056665"/>
                    <a:pt x="1478960" y="3058142"/>
                    <a:pt x="1491811" y="3056810"/>
                  </a:cubicBezTo>
                  <a:cubicBezTo>
                    <a:pt x="1426327" y="3270386"/>
                    <a:pt x="1381963" y="3510108"/>
                    <a:pt x="1357836" y="3753401"/>
                  </a:cubicBezTo>
                  <a:cubicBezTo>
                    <a:pt x="1117675" y="3775787"/>
                    <a:pt x="878695" y="3783528"/>
                    <a:pt x="637311" y="3793448"/>
                  </a:cubicBezTo>
                  <a:cubicBezTo>
                    <a:pt x="618234" y="3714625"/>
                    <a:pt x="547078" y="3656345"/>
                    <a:pt x="462310" y="3656345"/>
                  </a:cubicBezTo>
                  <a:cubicBezTo>
                    <a:pt x="419997" y="3656345"/>
                    <a:pt x="381076" y="3670866"/>
                    <a:pt x="351902" y="3696785"/>
                  </a:cubicBezTo>
                  <a:cubicBezTo>
                    <a:pt x="218267" y="3387537"/>
                    <a:pt x="145086" y="3045999"/>
                    <a:pt x="145086" y="2687211"/>
                  </a:cubicBezTo>
                  <a:cubicBezTo>
                    <a:pt x="145086" y="2290103"/>
                    <a:pt x="234735" y="1914126"/>
                    <a:pt x="397422" y="1580084"/>
                  </a:cubicBezTo>
                  <a:cubicBezTo>
                    <a:pt x="401797" y="1577616"/>
                    <a:pt x="406020" y="1578301"/>
                    <a:pt x="410146" y="1579357"/>
                  </a:cubicBezTo>
                  <a:close/>
                  <a:moveTo>
                    <a:pt x="2361829" y="1500921"/>
                  </a:moveTo>
                  <a:cubicBezTo>
                    <a:pt x="2617943" y="1597474"/>
                    <a:pt x="2874306" y="1707071"/>
                    <a:pt x="3120312" y="1825613"/>
                  </a:cubicBezTo>
                  <a:cubicBezTo>
                    <a:pt x="3225381" y="1963374"/>
                    <a:pt x="3319732" y="2097659"/>
                    <a:pt x="3407681" y="2222306"/>
                  </a:cubicBezTo>
                  <a:cubicBezTo>
                    <a:pt x="3382328" y="2248433"/>
                    <a:pt x="3376041" y="2293428"/>
                    <a:pt x="3376041" y="2325733"/>
                  </a:cubicBezTo>
                  <a:cubicBezTo>
                    <a:pt x="3376041" y="2358629"/>
                    <a:pt x="3363002" y="2384945"/>
                    <a:pt x="3343445" y="2404682"/>
                  </a:cubicBezTo>
                  <a:cubicBezTo>
                    <a:pt x="3310850" y="2430998"/>
                    <a:pt x="3284774" y="2437577"/>
                    <a:pt x="3271735" y="2470472"/>
                  </a:cubicBezTo>
                  <a:cubicBezTo>
                    <a:pt x="3258696" y="2496788"/>
                    <a:pt x="3258696" y="2516526"/>
                    <a:pt x="3232620" y="2536263"/>
                  </a:cubicBezTo>
                  <a:cubicBezTo>
                    <a:pt x="3219583" y="2549421"/>
                    <a:pt x="3213063" y="2556000"/>
                    <a:pt x="3206544" y="2569157"/>
                  </a:cubicBezTo>
                  <a:cubicBezTo>
                    <a:pt x="3206544" y="2602053"/>
                    <a:pt x="3186987" y="2621790"/>
                    <a:pt x="3200025" y="2648106"/>
                  </a:cubicBezTo>
                  <a:cubicBezTo>
                    <a:pt x="3213063" y="2661264"/>
                    <a:pt x="3206544" y="2681002"/>
                    <a:pt x="3213063" y="2694160"/>
                  </a:cubicBezTo>
                  <a:cubicBezTo>
                    <a:pt x="3213063" y="2707318"/>
                    <a:pt x="3219583" y="2720475"/>
                    <a:pt x="3219583" y="2740212"/>
                  </a:cubicBezTo>
                  <a:cubicBezTo>
                    <a:pt x="3219583" y="2759951"/>
                    <a:pt x="3206544" y="2773109"/>
                    <a:pt x="3200025" y="2792846"/>
                  </a:cubicBezTo>
                  <a:cubicBezTo>
                    <a:pt x="3193505" y="2812583"/>
                    <a:pt x="3186987" y="2852058"/>
                    <a:pt x="3193505" y="2871794"/>
                  </a:cubicBezTo>
                  <a:cubicBezTo>
                    <a:pt x="3193505" y="2911268"/>
                    <a:pt x="3232620" y="2931006"/>
                    <a:pt x="3245659" y="2957322"/>
                  </a:cubicBezTo>
                  <a:cubicBezTo>
                    <a:pt x="3278254" y="3003375"/>
                    <a:pt x="3291292" y="3095482"/>
                    <a:pt x="3343445" y="3128377"/>
                  </a:cubicBezTo>
                  <a:cubicBezTo>
                    <a:pt x="3382560" y="3148114"/>
                    <a:pt x="3434712" y="3181009"/>
                    <a:pt x="3480346" y="3161271"/>
                  </a:cubicBezTo>
                  <a:cubicBezTo>
                    <a:pt x="3506423" y="3154693"/>
                    <a:pt x="3525979" y="3148114"/>
                    <a:pt x="3558575" y="3148114"/>
                  </a:cubicBezTo>
                  <a:cubicBezTo>
                    <a:pt x="3565094" y="3141535"/>
                    <a:pt x="3578133" y="3141535"/>
                    <a:pt x="3584651" y="3141535"/>
                  </a:cubicBezTo>
                  <a:cubicBezTo>
                    <a:pt x="3591170" y="3141535"/>
                    <a:pt x="3604209" y="3148114"/>
                    <a:pt x="3610728" y="3154693"/>
                  </a:cubicBezTo>
                  <a:cubicBezTo>
                    <a:pt x="3643324" y="3161271"/>
                    <a:pt x="3669400" y="3141535"/>
                    <a:pt x="3695476" y="3134956"/>
                  </a:cubicBezTo>
                  <a:cubicBezTo>
                    <a:pt x="3708515" y="3128377"/>
                    <a:pt x="3728072" y="3128377"/>
                    <a:pt x="3734591" y="3128377"/>
                  </a:cubicBezTo>
                  <a:cubicBezTo>
                    <a:pt x="3754148" y="3128377"/>
                    <a:pt x="3754148" y="3134956"/>
                    <a:pt x="3767186" y="3141535"/>
                  </a:cubicBezTo>
                  <a:cubicBezTo>
                    <a:pt x="3786743" y="3154693"/>
                    <a:pt x="3799782" y="3167850"/>
                    <a:pt x="3819339" y="3174430"/>
                  </a:cubicBezTo>
                  <a:cubicBezTo>
                    <a:pt x="3855486" y="3186590"/>
                    <a:pt x="3870755" y="3211392"/>
                    <a:pt x="3873949" y="3241281"/>
                  </a:cubicBezTo>
                  <a:cubicBezTo>
                    <a:pt x="3461883" y="3377852"/>
                    <a:pt x="3090069" y="3470887"/>
                    <a:pt x="2724694" y="3553798"/>
                  </a:cubicBezTo>
                  <a:lnTo>
                    <a:pt x="2717723" y="3536393"/>
                  </a:lnTo>
                  <a:cubicBezTo>
                    <a:pt x="2711206" y="3523242"/>
                    <a:pt x="2698172" y="3516666"/>
                    <a:pt x="2691655" y="3510090"/>
                  </a:cubicBezTo>
                  <a:cubicBezTo>
                    <a:pt x="2672104" y="3496938"/>
                    <a:pt x="2652553" y="3477210"/>
                    <a:pt x="2633002" y="3464058"/>
                  </a:cubicBezTo>
                  <a:cubicBezTo>
                    <a:pt x="2613451" y="3450906"/>
                    <a:pt x="2593900" y="3444331"/>
                    <a:pt x="2574349" y="3437755"/>
                  </a:cubicBezTo>
                  <a:cubicBezTo>
                    <a:pt x="2561315" y="3437755"/>
                    <a:pt x="2541764" y="3437755"/>
                    <a:pt x="2528730" y="3437755"/>
                  </a:cubicBezTo>
                  <a:cubicBezTo>
                    <a:pt x="2509179" y="3431179"/>
                    <a:pt x="2489628" y="3424602"/>
                    <a:pt x="2476594" y="3404875"/>
                  </a:cubicBezTo>
                  <a:cubicBezTo>
                    <a:pt x="2470077" y="3391724"/>
                    <a:pt x="2463560" y="3391724"/>
                    <a:pt x="2450526" y="3385147"/>
                  </a:cubicBezTo>
                  <a:cubicBezTo>
                    <a:pt x="2437493" y="3378571"/>
                    <a:pt x="2430975" y="3365420"/>
                    <a:pt x="2417942" y="3365420"/>
                  </a:cubicBezTo>
                  <a:cubicBezTo>
                    <a:pt x="2404907" y="3365420"/>
                    <a:pt x="2398391" y="3365420"/>
                    <a:pt x="2385356" y="3365420"/>
                  </a:cubicBezTo>
                  <a:cubicBezTo>
                    <a:pt x="2372322" y="3358844"/>
                    <a:pt x="2365805" y="3345693"/>
                    <a:pt x="2352771" y="3339117"/>
                  </a:cubicBezTo>
                  <a:cubicBezTo>
                    <a:pt x="2333220" y="3325965"/>
                    <a:pt x="2320187" y="3306237"/>
                    <a:pt x="2313669" y="3286510"/>
                  </a:cubicBezTo>
                  <a:cubicBezTo>
                    <a:pt x="2307152" y="3273359"/>
                    <a:pt x="2300636" y="3253630"/>
                    <a:pt x="2294118" y="3240479"/>
                  </a:cubicBezTo>
                  <a:cubicBezTo>
                    <a:pt x="2287601" y="3214175"/>
                    <a:pt x="2274567" y="3168144"/>
                    <a:pt x="2241983" y="3161568"/>
                  </a:cubicBezTo>
                  <a:cubicBezTo>
                    <a:pt x="2228949" y="3154992"/>
                    <a:pt x="2215914" y="3141840"/>
                    <a:pt x="2202881" y="3135264"/>
                  </a:cubicBezTo>
                  <a:cubicBezTo>
                    <a:pt x="2183330" y="3128688"/>
                    <a:pt x="2163778" y="3122113"/>
                    <a:pt x="2144227" y="3115537"/>
                  </a:cubicBezTo>
                  <a:cubicBezTo>
                    <a:pt x="2105125" y="3102384"/>
                    <a:pt x="2066023" y="3069505"/>
                    <a:pt x="2039956" y="3036625"/>
                  </a:cubicBezTo>
                  <a:cubicBezTo>
                    <a:pt x="2033439" y="3023473"/>
                    <a:pt x="2020405" y="3003746"/>
                    <a:pt x="2007370" y="2997170"/>
                  </a:cubicBezTo>
                  <a:cubicBezTo>
                    <a:pt x="1994337" y="2990594"/>
                    <a:pt x="1974786" y="2990594"/>
                    <a:pt x="1955235" y="2984018"/>
                  </a:cubicBezTo>
                  <a:cubicBezTo>
                    <a:pt x="1935684" y="2977442"/>
                    <a:pt x="1909616" y="2977442"/>
                    <a:pt x="1890065" y="2977442"/>
                  </a:cubicBezTo>
                  <a:cubicBezTo>
                    <a:pt x="1870514" y="2977442"/>
                    <a:pt x="1844446" y="2984018"/>
                    <a:pt x="1824895" y="2977442"/>
                  </a:cubicBezTo>
                  <a:cubicBezTo>
                    <a:pt x="1811861" y="2977442"/>
                    <a:pt x="1798827" y="2977442"/>
                    <a:pt x="1785793" y="2977442"/>
                  </a:cubicBezTo>
                  <a:cubicBezTo>
                    <a:pt x="1779307" y="2977442"/>
                    <a:pt x="1772819" y="2983959"/>
                    <a:pt x="1772759" y="2984018"/>
                  </a:cubicBezTo>
                  <a:cubicBezTo>
                    <a:pt x="1772759" y="2990565"/>
                    <a:pt x="1772759" y="2997110"/>
                    <a:pt x="1772759" y="2997170"/>
                  </a:cubicBezTo>
                  <a:lnTo>
                    <a:pt x="1772759" y="2999378"/>
                  </a:lnTo>
                  <a:cubicBezTo>
                    <a:pt x="1748087" y="2950273"/>
                    <a:pt x="1724475" y="2901467"/>
                    <a:pt x="1702560" y="2852555"/>
                  </a:cubicBezTo>
                  <a:cubicBezTo>
                    <a:pt x="1748596" y="2828936"/>
                    <a:pt x="1781151" y="2784418"/>
                    <a:pt x="1790909" y="2731861"/>
                  </a:cubicBezTo>
                  <a:cubicBezTo>
                    <a:pt x="1800866" y="2734739"/>
                    <a:pt x="1811233" y="2737995"/>
                    <a:pt x="1819190" y="2734009"/>
                  </a:cubicBezTo>
                  <a:cubicBezTo>
                    <a:pt x="1832327" y="2727427"/>
                    <a:pt x="1832327" y="2714265"/>
                    <a:pt x="1825758" y="2707683"/>
                  </a:cubicBezTo>
                  <a:cubicBezTo>
                    <a:pt x="1819190" y="2694520"/>
                    <a:pt x="1806051" y="2684647"/>
                    <a:pt x="1792914" y="2681356"/>
                  </a:cubicBezTo>
                  <a:lnTo>
                    <a:pt x="1792619" y="2681363"/>
                  </a:lnTo>
                  <a:cubicBezTo>
                    <a:pt x="1788577" y="2632255"/>
                    <a:pt x="1764691" y="2588846"/>
                    <a:pt x="1728105" y="2560069"/>
                  </a:cubicBezTo>
                  <a:cubicBezTo>
                    <a:pt x="1835327" y="2282920"/>
                    <a:pt x="2009805" y="1984326"/>
                    <a:pt x="2218953" y="1692434"/>
                  </a:cubicBezTo>
                  <a:cubicBezTo>
                    <a:pt x="2222347" y="1692216"/>
                    <a:pt x="2225642" y="1693181"/>
                    <a:pt x="2229144" y="1694355"/>
                  </a:cubicBezTo>
                  <a:cubicBezTo>
                    <a:pt x="2242273" y="1694355"/>
                    <a:pt x="2248838" y="1707556"/>
                    <a:pt x="2261967" y="1707556"/>
                  </a:cubicBezTo>
                  <a:cubicBezTo>
                    <a:pt x="2275096" y="1707556"/>
                    <a:pt x="2288225" y="1707556"/>
                    <a:pt x="2294790" y="1694355"/>
                  </a:cubicBezTo>
                  <a:cubicBezTo>
                    <a:pt x="2301354" y="1674555"/>
                    <a:pt x="2288225" y="1667954"/>
                    <a:pt x="2275096" y="1654754"/>
                  </a:cubicBezTo>
                  <a:lnTo>
                    <a:pt x="2258691" y="1638260"/>
                  </a:lnTo>
                  <a:close/>
                  <a:moveTo>
                    <a:pt x="2113689" y="1410315"/>
                  </a:moveTo>
                  <a:cubicBezTo>
                    <a:pt x="2182975" y="1433311"/>
                    <a:pt x="2252144" y="1458468"/>
                    <a:pt x="2321184" y="1485101"/>
                  </a:cubicBezTo>
                  <a:cubicBezTo>
                    <a:pt x="2289129" y="1525509"/>
                    <a:pt x="2258980" y="1566814"/>
                    <a:pt x="2229636" y="1608083"/>
                  </a:cubicBezTo>
                  <a:cubicBezTo>
                    <a:pt x="2225516" y="1606903"/>
                    <a:pt x="2220973" y="1606891"/>
                    <a:pt x="2216015" y="1608553"/>
                  </a:cubicBezTo>
                  <a:cubicBezTo>
                    <a:pt x="2209450" y="1608553"/>
                    <a:pt x="2209450" y="1615153"/>
                    <a:pt x="2202886" y="1615153"/>
                  </a:cubicBezTo>
                  <a:cubicBezTo>
                    <a:pt x="2196321" y="1615153"/>
                    <a:pt x="2183192" y="1615153"/>
                    <a:pt x="2183192" y="1608553"/>
                  </a:cubicBezTo>
                  <a:cubicBezTo>
                    <a:pt x="2176629" y="1601952"/>
                    <a:pt x="2183192" y="1595352"/>
                    <a:pt x="2183192" y="1582152"/>
                  </a:cubicBezTo>
                  <a:cubicBezTo>
                    <a:pt x="2189757" y="1575551"/>
                    <a:pt x="2189757" y="1562351"/>
                    <a:pt x="2196321" y="1549151"/>
                  </a:cubicBezTo>
                  <a:cubicBezTo>
                    <a:pt x="2196321" y="1542550"/>
                    <a:pt x="2196321" y="1529349"/>
                    <a:pt x="2189757" y="1529349"/>
                  </a:cubicBezTo>
                  <a:cubicBezTo>
                    <a:pt x="2183192" y="1529349"/>
                    <a:pt x="2183192" y="1529349"/>
                    <a:pt x="2176629" y="1529349"/>
                  </a:cubicBezTo>
                  <a:cubicBezTo>
                    <a:pt x="2163500" y="1529349"/>
                    <a:pt x="2163500" y="1555750"/>
                    <a:pt x="2163500" y="1568951"/>
                  </a:cubicBezTo>
                  <a:cubicBezTo>
                    <a:pt x="2156935" y="1601952"/>
                    <a:pt x="2110983" y="1621752"/>
                    <a:pt x="2110983" y="1648154"/>
                  </a:cubicBezTo>
                  <a:cubicBezTo>
                    <a:pt x="2116956" y="1684186"/>
                    <a:pt x="2144667" y="1692897"/>
                    <a:pt x="2169460" y="1692884"/>
                  </a:cubicBezTo>
                  <a:cubicBezTo>
                    <a:pt x="1961170" y="1988840"/>
                    <a:pt x="1796647" y="2279991"/>
                    <a:pt x="1692801" y="2537872"/>
                  </a:cubicBezTo>
                  <a:cubicBezTo>
                    <a:pt x="1669542" y="2523926"/>
                    <a:pt x="1642229" y="2517154"/>
                    <a:pt x="1613334" y="2517154"/>
                  </a:cubicBezTo>
                  <a:lnTo>
                    <a:pt x="1554453" y="2528627"/>
                  </a:lnTo>
                  <a:lnTo>
                    <a:pt x="1534460" y="2483231"/>
                  </a:lnTo>
                  <a:cubicBezTo>
                    <a:pt x="1551181" y="2481709"/>
                    <a:pt x="1551181" y="2455131"/>
                    <a:pt x="1551181" y="2438219"/>
                  </a:cubicBezTo>
                  <a:cubicBezTo>
                    <a:pt x="1544664" y="2411916"/>
                    <a:pt x="1531630" y="2392188"/>
                    <a:pt x="1525113" y="2365885"/>
                  </a:cubicBezTo>
                  <a:cubicBezTo>
                    <a:pt x="1512079" y="2339582"/>
                    <a:pt x="1512079" y="2313278"/>
                    <a:pt x="1525113" y="2286974"/>
                  </a:cubicBezTo>
                  <a:cubicBezTo>
                    <a:pt x="1538147" y="2260671"/>
                    <a:pt x="1564215" y="2240943"/>
                    <a:pt x="1583766" y="2221216"/>
                  </a:cubicBezTo>
                  <a:cubicBezTo>
                    <a:pt x="1596800" y="2201487"/>
                    <a:pt x="1616351" y="2194912"/>
                    <a:pt x="1629385" y="2175183"/>
                  </a:cubicBezTo>
                  <a:cubicBezTo>
                    <a:pt x="1635902" y="2162032"/>
                    <a:pt x="1642419" y="2148881"/>
                    <a:pt x="1642419" y="2135728"/>
                  </a:cubicBezTo>
                  <a:cubicBezTo>
                    <a:pt x="1642419" y="2129152"/>
                    <a:pt x="1635902" y="2122577"/>
                    <a:pt x="1635902" y="2116001"/>
                  </a:cubicBezTo>
                  <a:cubicBezTo>
                    <a:pt x="1635902" y="2102849"/>
                    <a:pt x="1635902" y="2096273"/>
                    <a:pt x="1635902" y="2089697"/>
                  </a:cubicBezTo>
                  <a:cubicBezTo>
                    <a:pt x="1635902" y="2069970"/>
                    <a:pt x="1629385" y="2050241"/>
                    <a:pt x="1635902" y="2030514"/>
                  </a:cubicBezTo>
                  <a:cubicBezTo>
                    <a:pt x="1635902" y="2023939"/>
                    <a:pt x="1648936" y="1997635"/>
                    <a:pt x="1655453" y="2010786"/>
                  </a:cubicBezTo>
                  <a:cubicBezTo>
                    <a:pt x="1661970" y="2017362"/>
                    <a:pt x="1661970" y="2023939"/>
                    <a:pt x="1655453" y="2030514"/>
                  </a:cubicBezTo>
                  <a:cubicBezTo>
                    <a:pt x="1655453" y="2037090"/>
                    <a:pt x="1655453" y="2043666"/>
                    <a:pt x="1661970" y="2050241"/>
                  </a:cubicBezTo>
                  <a:cubicBezTo>
                    <a:pt x="1668487" y="2056817"/>
                    <a:pt x="1681521" y="2063394"/>
                    <a:pt x="1688038" y="2050241"/>
                  </a:cubicBezTo>
                  <a:cubicBezTo>
                    <a:pt x="1688038" y="2043666"/>
                    <a:pt x="1688038" y="2030514"/>
                    <a:pt x="1688038" y="2017362"/>
                  </a:cubicBezTo>
                  <a:cubicBezTo>
                    <a:pt x="1688038" y="2010786"/>
                    <a:pt x="1688038" y="2010786"/>
                    <a:pt x="1688038" y="2004210"/>
                  </a:cubicBezTo>
                  <a:cubicBezTo>
                    <a:pt x="1694555" y="1991059"/>
                    <a:pt x="1707589" y="1984483"/>
                    <a:pt x="1714106" y="1977906"/>
                  </a:cubicBezTo>
                  <a:cubicBezTo>
                    <a:pt x="1714106" y="1971331"/>
                    <a:pt x="1714106" y="1964755"/>
                    <a:pt x="1720624" y="1958179"/>
                  </a:cubicBezTo>
                  <a:cubicBezTo>
                    <a:pt x="1720624" y="1951603"/>
                    <a:pt x="1727140" y="1945028"/>
                    <a:pt x="1733657" y="1938451"/>
                  </a:cubicBezTo>
                  <a:cubicBezTo>
                    <a:pt x="1753208" y="1912148"/>
                    <a:pt x="1772759" y="1885845"/>
                    <a:pt x="1792310" y="1859541"/>
                  </a:cubicBezTo>
                  <a:cubicBezTo>
                    <a:pt x="1805344" y="1846390"/>
                    <a:pt x="1837929" y="1820086"/>
                    <a:pt x="1857480" y="1820086"/>
                  </a:cubicBezTo>
                  <a:cubicBezTo>
                    <a:pt x="1870514" y="1813510"/>
                    <a:pt x="1883548" y="1820086"/>
                    <a:pt x="1890065" y="1806934"/>
                  </a:cubicBezTo>
                  <a:cubicBezTo>
                    <a:pt x="1896582" y="1793783"/>
                    <a:pt x="1890065" y="1793783"/>
                    <a:pt x="1903099" y="1787207"/>
                  </a:cubicBezTo>
                  <a:cubicBezTo>
                    <a:pt x="1909616" y="1780630"/>
                    <a:pt x="1948717" y="1767479"/>
                    <a:pt x="1948717" y="1787207"/>
                  </a:cubicBezTo>
                  <a:cubicBezTo>
                    <a:pt x="1942201" y="1793783"/>
                    <a:pt x="1935684" y="1800359"/>
                    <a:pt x="1929166" y="1806934"/>
                  </a:cubicBezTo>
                  <a:cubicBezTo>
                    <a:pt x="1922650" y="1813510"/>
                    <a:pt x="1916133" y="1820086"/>
                    <a:pt x="1922650" y="1833238"/>
                  </a:cubicBezTo>
                  <a:cubicBezTo>
                    <a:pt x="1929166" y="1839814"/>
                    <a:pt x="1942201" y="1846390"/>
                    <a:pt x="1955235" y="1846390"/>
                  </a:cubicBezTo>
                  <a:cubicBezTo>
                    <a:pt x="1968268" y="1846390"/>
                    <a:pt x="1974786" y="1839814"/>
                    <a:pt x="1987819" y="1826663"/>
                  </a:cubicBezTo>
                  <a:cubicBezTo>
                    <a:pt x="1994337" y="1820086"/>
                    <a:pt x="1994337" y="1806934"/>
                    <a:pt x="2007370" y="1800359"/>
                  </a:cubicBezTo>
                  <a:cubicBezTo>
                    <a:pt x="2013888" y="1800359"/>
                    <a:pt x="2033439" y="1787207"/>
                    <a:pt x="2039956" y="1780630"/>
                  </a:cubicBezTo>
                  <a:cubicBezTo>
                    <a:pt x="2052990" y="1760903"/>
                    <a:pt x="1994342" y="1767479"/>
                    <a:pt x="1987819" y="1767479"/>
                  </a:cubicBezTo>
                  <a:cubicBezTo>
                    <a:pt x="1974786" y="1760903"/>
                    <a:pt x="1955235" y="1741175"/>
                    <a:pt x="1955235" y="1728023"/>
                  </a:cubicBezTo>
                  <a:cubicBezTo>
                    <a:pt x="1948717" y="1708296"/>
                    <a:pt x="1955235" y="1695144"/>
                    <a:pt x="1942201" y="1688568"/>
                  </a:cubicBezTo>
                  <a:cubicBezTo>
                    <a:pt x="1935684" y="1681992"/>
                    <a:pt x="1929166" y="1681992"/>
                    <a:pt x="1922650" y="1675417"/>
                  </a:cubicBezTo>
                  <a:cubicBezTo>
                    <a:pt x="1919391" y="1672129"/>
                    <a:pt x="1917762" y="1668841"/>
                    <a:pt x="1918577" y="1666374"/>
                  </a:cubicBezTo>
                  <a:lnTo>
                    <a:pt x="1929166" y="1662264"/>
                  </a:lnTo>
                  <a:cubicBezTo>
                    <a:pt x="1935684" y="1655688"/>
                    <a:pt x="1942201" y="1662264"/>
                    <a:pt x="1948717" y="1655688"/>
                  </a:cubicBezTo>
                  <a:cubicBezTo>
                    <a:pt x="1955235" y="1649113"/>
                    <a:pt x="1961752" y="1642537"/>
                    <a:pt x="1955235" y="1629384"/>
                  </a:cubicBezTo>
                  <a:cubicBezTo>
                    <a:pt x="1948717" y="1609657"/>
                    <a:pt x="1929166" y="1609657"/>
                    <a:pt x="1909616" y="1616233"/>
                  </a:cubicBezTo>
                  <a:cubicBezTo>
                    <a:pt x="1909549" y="1616273"/>
                    <a:pt x="1896571" y="1622809"/>
                    <a:pt x="1890065" y="1622809"/>
                  </a:cubicBezTo>
                  <a:cubicBezTo>
                    <a:pt x="1877031" y="1629384"/>
                    <a:pt x="1857480" y="1642537"/>
                    <a:pt x="1844446" y="1655688"/>
                  </a:cubicBezTo>
                  <a:cubicBezTo>
                    <a:pt x="1844446" y="1662264"/>
                    <a:pt x="1837929" y="1668841"/>
                    <a:pt x="1831412" y="1668841"/>
                  </a:cubicBezTo>
                  <a:cubicBezTo>
                    <a:pt x="1824895" y="1662264"/>
                    <a:pt x="1831412" y="1649113"/>
                    <a:pt x="1837929" y="1642537"/>
                  </a:cubicBezTo>
                  <a:cubicBezTo>
                    <a:pt x="1844446" y="1635961"/>
                    <a:pt x="1850963" y="1622809"/>
                    <a:pt x="1857480" y="1616233"/>
                  </a:cubicBezTo>
                  <a:cubicBezTo>
                    <a:pt x="1877031" y="1596506"/>
                    <a:pt x="1896582" y="1583353"/>
                    <a:pt x="1916133" y="1583353"/>
                  </a:cubicBezTo>
                  <a:cubicBezTo>
                    <a:pt x="1929166" y="1576777"/>
                    <a:pt x="1935684" y="1576777"/>
                    <a:pt x="1942201" y="1576777"/>
                  </a:cubicBezTo>
                  <a:cubicBezTo>
                    <a:pt x="1968268" y="1576777"/>
                    <a:pt x="1987819" y="1583353"/>
                    <a:pt x="2007370" y="1576777"/>
                  </a:cubicBezTo>
                  <a:cubicBezTo>
                    <a:pt x="2026921" y="1576777"/>
                    <a:pt x="2046472" y="1583353"/>
                    <a:pt x="2059507" y="1576777"/>
                  </a:cubicBezTo>
                  <a:cubicBezTo>
                    <a:pt x="2066023" y="1576777"/>
                    <a:pt x="2072541" y="1570202"/>
                    <a:pt x="2079058" y="1570202"/>
                  </a:cubicBezTo>
                  <a:cubicBezTo>
                    <a:pt x="2092092" y="1563626"/>
                    <a:pt x="2098608" y="1557050"/>
                    <a:pt x="2105125" y="1550473"/>
                  </a:cubicBezTo>
                  <a:cubicBezTo>
                    <a:pt x="2118159" y="1543898"/>
                    <a:pt x="2111643" y="1530746"/>
                    <a:pt x="2118159" y="1524170"/>
                  </a:cubicBezTo>
                  <a:cubicBezTo>
                    <a:pt x="2137710" y="1497866"/>
                    <a:pt x="2170296" y="1530746"/>
                    <a:pt x="2189847" y="1511018"/>
                  </a:cubicBezTo>
                  <a:cubicBezTo>
                    <a:pt x="2202881" y="1504442"/>
                    <a:pt x="2209398" y="1484715"/>
                    <a:pt x="2209398" y="1471563"/>
                  </a:cubicBezTo>
                  <a:cubicBezTo>
                    <a:pt x="2202881" y="1458411"/>
                    <a:pt x="2196363" y="1458411"/>
                    <a:pt x="2189847" y="1451835"/>
                  </a:cubicBezTo>
                  <a:cubicBezTo>
                    <a:pt x="2176812" y="1451835"/>
                    <a:pt x="2176812" y="1445260"/>
                    <a:pt x="2163778" y="1445260"/>
                  </a:cubicBezTo>
                  <a:cubicBezTo>
                    <a:pt x="2157261" y="1445260"/>
                    <a:pt x="2150745" y="1451835"/>
                    <a:pt x="2144227" y="1451835"/>
                  </a:cubicBezTo>
                  <a:cubicBezTo>
                    <a:pt x="2124676" y="1464987"/>
                    <a:pt x="2111643" y="1471563"/>
                    <a:pt x="2098608" y="1471563"/>
                  </a:cubicBezTo>
                  <a:cubicBezTo>
                    <a:pt x="2085574" y="1471563"/>
                    <a:pt x="2072541" y="1458411"/>
                    <a:pt x="2079058" y="1445260"/>
                  </a:cubicBezTo>
                  <a:cubicBezTo>
                    <a:pt x="2079058" y="1432107"/>
                    <a:pt x="2098608" y="1432107"/>
                    <a:pt x="2105125" y="1418956"/>
                  </a:cubicBezTo>
                  <a:close/>
                  <a:moveTo>
                    <a:pt x="3448170" y="1384560"/>
                  </a:moveTo>
                  <a:cubicBezTo>
                    <a:pt x="3441579" y="1384560"/>
                    <a:pt x="3434988" y="1391217"/>
                    <a:pt x="3428397" y="1397877"/>
                  </a:cubicBezTo>
                  <a:cubicBezTo>
                    <a:pt x="3421807" y="1404535"/>
                    <a:pt x="3415216" y="1411193"/>
                    <a:pt x="3408625" y="1411193"/>
                  </a:cubicBezTo>
                  <a:cubicBezTo>
                    <a:pt x="3402034" y="1417852"/>
                    <a:pt x="3395444" y="1411193"/>
                    <a:pt x="3388852" y="1417852"/>
                  </a:cubicBezTo>
                  <a:cubicBezTo>
                    <a:pt x="3388852" y="1424511"/>
                    <a:pt x="3395444" y="1424511"/>
                    <a:pt x="3395444" y="1431168"/>
                  </a:cubicBezTo>
                  <a:cubicBezTo>
                    <a:pt x="3395444" y="1444486"/>
                    <a:pt x="3375670" y="1437826"/>
                    <a:pt x="3382261" y="1451143"/>
                  </a:cubicBezTo>
                  <a:cubicBezTo>
                    <a:pt x="3382261" y="1457802"/>
                    <a:pt x="3388852" y="1457802"/>
                    <a:pt x="3395444" y="1464461"/>
                  </a:cubicBezTo>
                  <a:cubicBezTo>
                    <a:pt x="3395444" y="1464562"/>
                    <a:pt x="3395444" y="1477800"/>
                    <a:pt x="3395444" y="1484437"/>
                  </a:cubicBezTo>
                  <a:cubicBezTo>
                    <a:pt x="3395444" y="1491095"/>
                    <a:pt x="3395444" y="1497753"/>
                    <a:pt x="3388852" y="1497753"/>
                  </a:cubicBezTo>
                  <a:cubicBezTo>
                    <a:pt x="3382314" y="1504359"/>
                    <a:pt x="3375774" y="1504412"/>
                    <a:pt x="3375670" y="1504412"/>
                  </a:cubicBezTo>
                  <a:cubicBezTo>
                    <a:pt x="3375670" y="1511071"/>
                    <a:pt x="3375670" y="1517728"/>
                    <a:pt x="3369079" y="1524387"/>
                  </a:cubicBezTo>
                  <a:lnTo>
                    <a:pt x="3369904" y="1530213"/>
                  </a:lnTo>
                  <a:cubicBezTo>
                    <a:pt x="3370728" y="1531046"/>
                    <a:pt x="3372375" y="1531046"/>
                    <a:pt x="3375670" y="1531046"/>
                  </a:cubicBezTo>
                  <a:lnTo>
                    <a:pt x="3378966" y="1536039"/>
                  </a:lnTo>
                  <a:lnTo>
                    <a:pt x="3382261" y="1531046"/>
                  </a:lnTo>
                  <a:cubicBezTo>
                    <a:pt x="3388852" y="1531046"/>
                    <a:pt x="3388852" y="1531046"/>
                    <a:pt x="3395444" y="1531046"/>
                  </a:cubicBezTo>
                  <a:cubicBezTo>
                    <a:pt x="3402034" y="1531046"/>
                    <a:pt x="3408625" y="1537703"/>
                    <a:pt x="3415216" y="1537703"/>
                  </a:cubicBezTo>
                  <a:cubicBezTo>
                    <a:pt x="3421807" y="1537703"/>
                    <a:pt x="3421807" y="1531046"/>
                    <a:pt x="3428397" y="1524387"/>
                  </a:cubicBezTo>
                  <a:cubicBezTo>
                    <a:pt x="3434988" y="1524387"/>
                    <a:pt x="3434988" y="1517728"/>
                    <a:pt x="3441579" y="1517728"/>
                  </a:cubicBezTo>
                  <a:cubicBezTo>
                    <a:pt x="3448170" y="1511071"/>
                    <a:pt x="3448170" y="1511071"/>
                    <a:pt x="3454762" y="1511071"/>
                  </a:cubicBezTo>
                  <a:cubicBezTo>
                    <a:pt x="3461292" y="1511071"/>
                    <a:pt x="3461352" y="1504532"/>
                    <a:pt x="3461352" y="1504412"/>
                  </a:cubicBezTo>
                  <a:cubicBezTo>
                    <a:pt x="3467943" y="1497753"/>
                    <a:pt x="3467943" y="1491095"/>
                    <a:pt x="3474534" y="1491095"/>
                  </a:cubicBezTo>
                  <a:cubicBezTo>
                    <a:pt x="3474534" y="1477777"/>
                    <a:pt x="3467943" y="1471120"/>
                    <a:pt x="3467943" y="1457803"/>
                  </a:cubicBezTo>
                  <a:cubicBezTo>
                    <a:pt x="3467943" y="1457768"/>
                    <a:pt x="3467943" y="1451190"/>
                    <a:pt x="3467943" y="1451143"/>
                  </a:cubicBezTo>
                  <a:cubicBezTo>
                    <a:pt x="3467943" y="1444548"/>
                    <a:pt x="3467943" y="1437954"/>
                    <a:pt x="3467943" y="1437826"/>
                  </a:cubicBezTo>
                  <a:cubicBezTo>
                    <a:pt x="3467943" y="1431168"/>
                    <a:pt x="3481125" y="1431168"/>
                    <a:pt x="3481125" y="1424511"/>
                  </a:cubicBezTo>
                  <a:cubicBezTo>
                    <a:pt x="3487715" y="1417852"/>
                    <a:pt x="3481125" y="1397880"/>
                    <a:pt x="3474534" y="1391217"/>
                  </a:cubicBezTo>
                  <a:cubicBezTo>
                    <a:pt x="3474534" y="1384560"/>
                    <a:pt x="3467943" y="1391217"/>
                    <a:pt x="3461352" y="1391217"/>
                  </a:cubicBezTo>
                  <a:cubicBezTo>
                    <a:pt x="3454762" y="1391217"/>
                    <a:pt x="3454762" y="1384560"/>
                    <a:pt x="3448170" y="1384560"/>
                  </a:cubicBezTo>
                  <a:close/>
                  <a:moveTo>
                    <a:pt x="3951501" y="1350565"/>
                  </a:moveTo>
                  <a:cubicBezTo>
                    <a:pt x="3940327" y="1346911"/>
                    <a:pt x="3929153" y="1357874"/>
                    <a:pt x="3929153" y="1372494"/>
                  </a:cubicBezTo>
                  <a:cubicBezTo>
                    <a:pt x="3929153" y="1385487"/>
                    <a:pt x="3935775" y="1398482"/>
                    <a:pt x="3949018" y="1391985"/>
                  </a:cubicBezTo>
                  <a:cubicBezTo>
                    <a:pt x="3962260" y="1391985"/>
                    <a:pt x="3962260" y="1372494"/>
                    <a:pt x="3962260" y="1359499"/>
                  </a:cubicBezTo>
                  <a:cubicBezTo>
                    <a:pt x="3958950" y="1354626"/>
                    <a:pt x="3955226" y="1351784"/>
                    <a:pt x="3951501" y="1350565"/>
                  </a:cubicBezTo>
                  <a:close/>
                  <a:moveTo>
                    <a:pt x="3538712" y="1228629"/>
                  </a:moveTo>
                  <a:cubicBezTo>
                    <a:pt x="3532126" y="1235193"/>
                    <a:pt x="3525540" y="1235193"/>
                    <a:pt x="3518953" y="1235193"/>
                  </a:cubicBezTo>
                  <a:cubicBezTo>
                    <a:pt x="3512368" y="1235193"/>
                    <a:pt x="3512368" y="1241756"/>
                    <a:pt x="3512368" y="1248320"/>
                  </a:cubicBezTo>
                  <a:cubicBezTo>
                    <a:pt x="3512368" y="1254883"/>
                    <a:pt x="3505781" y="1248320"/>
                    <a:pt x="3505781" y="1254883"/>
                  </a:cubicBezTo>
                  <a:cubicBezTo>
                    <a:pt x="3499196" y="1261446"/>
                    <a:pt x="3505781" y="1261446"/>
                    <a:pt x="3505781" y="1268009"/>
                  </a:cubicBezTo>
                  <a:cubicBezTo>
                    <a:pt x="3499247" y="1274523"/>
                    <a:pt x="3492713" y="1274572"/>
                    <a:pt x="3492610" y="1274572"/>
                  </a:cubicBezTo>
                  <a:cubicBezTo>
                    <a:pt x="3486024" y="1281136"/>
                    <a:pt x="3492610" y="1287700"/>
                    <a:pt x="3492610" y="1294263"/>
                  </a:cubicBezTo>
                  <a:cubicBezTo>
                    <a:pt x="3505781" y="1294263"/>
                    <a:pt x="3492610" y="1307391"/>
                    <a:pt x="3486024" y="1313952"/>
                  </a:cubicBezTo>
                  <a:cubicBezTo>
                    <a:pt x="3486024" y="1320516"/>
                    <a:pt x="3492610" y="1320516"/>
                    <a:pt x="3492610" y="1327079"/>
                  </a:cubicBezTo>
                  <a:cubicBezTo>
                    <a:pt x="3492610" y="1333643"/>
                    <a:pt x="3492610" y="1333643"/>
                    <a:pt x="3492610" y="1340207"/>
                  </a:cubicBezTo>
                  <a:cubicBezTo>
                    <a:pt x="3492610" y="1346732"/>
                    <a:pt x="3499119" y="1346770"/>
                    <a:pt x="3499196" y="1346770"/>
                  </a:cubicBezTo>
                  <a:cubicBezTo>
                    <a:pt x="3505781" y="1353334"/>
                    <a:pt x="3512368" y="1353334"/>
                    <a:pt x="3512368" y="1359898"/>
                  </a:cubicBezTo>
                  <a:cubicBezTo>
                    <a:pt x="3512342" y="1359923"/>
                    <a:pt x="3505795" y="1366473"/>
                    <a:pt x="3512368" y="1373023"/>
                  </a:cubicBezTo>
                  <a:cubicBezTo>
                    <a:pt x="3512368" y="1379586"/>
                    <a:pt x="3518953" y="1386150"/>
                    <a:pt x="3525540" y="1386150"/>
                  </a:cubicBezTo>
                  <a:cubicBezTo>
                    <a:pt x="3532126" y="1386150"/>
                    <a:pt x="3545298" y="1386150"/>
                    <a:pt x="3551884" y="1392714"/>
                  </a:cubicBezTo>
                  <a:cubicBezTo>
                    <a:pt x="3558470" y="1399277"/>
                    <a:pt x="3532126" y="1412405"/>
                    <a:pt x="3545298" y="1418967"/>
                  </a:cubicBezTo>
                  <a:cubicBezTo>
                    <a:pt x="3551884" y="1418967"/>
                    <a:pt x="3558470" y="1412405"/>
                    <a:pt x="3565055" y="1418967"/>
                  </a:cubicBezTo>
                  <a:cubicBezTo>
                    <a:pt x="3571642" y="1445221"/>
                    <a:pt x="3532126" y="1438657"/>
                    <a:pt x="3525540" y="1451784"/>
                  </a:cubicBezTo>
                  <a:cubicBezTo>
                    <a:pt x="3518953" y="1458348"/>
                    <a:pt x="3525540" y="1458348"/>
                    <a:pt x="3525540" y="1464912"/>
                  </a:cubicBezTo>
                  <a:cubicBezTo>
                    <a:pt x="3525540" y="1471474"/>
                    <a:pt x="3518953" y="1471474"/>
                    <a:pt x="3518953" y="1484601"/>
                  </a:cubicBezTo>
                  <a:cubicBezTo>
                    <a:pt x="3518953" y="1491164"/>
                    <a:pt x="3525540" y="1491164"/>
                    <a:pt x="3518953" y="1497728"/>
                  </a:cubicBezTo>
                  <a:cubicBezTo>
                    <a:pt x="3518953" y="1504291"/>
                    <a:pt x="3512368" y="1504291"/>
                    <a:pt x="3505781" y="1510855"/>
                  </a:cubicBezTo>
                  <a:cubicBezTo>
                    <a:pt x="3499196" y="1517419"/>
                    <a:pt x="3512368" y="1523981"/>
                    <a:pt x="3518953" y="1523981"/>
                  </a:cubicBezTo>
                  <a:cubicBezTo>
                    <a:pt x="3525540" y="1523981"/>
                    <a:pt x="3525540" y="1530544"/>
                    <a:pt x="3532126" y="1530544"/>
                  </a:cubicBezTo>
                  <a:cubicBezTo>
                    <a:pt x="3538712" y="1530544"/>
                    <a:pt x="3545298" y="1530544"/>
                    <a:pt x="3558470" y="1530544"/>
                  </a:cubicBezTo>
                  <a:cubicBezTo>
                    <a:pt x="3558504" y="1530578"/>
                    <a:pt x="3564964" y="1537017"/>
                    <a:pt x="3565055" y="1537108"/>
                  </a:cubicBezTo>
                  <a:cubicBezTo>
                    <a:pt x="3551884" y="1543671"/>
                    <a:pt x="3545298" y="1543671"/>
                    <a:pt x="3532126" y="1543671"/>
                  </a:cubicBezTo>
                  <a:cubicBezTo>
                    <a:pt x="3525540" y="1543671"/>
                    <a:pt x="3518953" y="1543671"/>
                    <a:pt x="3512368" y="1550235"/>
                  </a:cubicBezTo>
                  <a:cubicBezTo>
                    <a:pt x="3512368" y="1556798"/>
                    <a:pt x="3505781" y="1563362"/>
                    <a:pt x="3499196" y="1569926"/>
                  </a:cubicBezTo>
                  <a:cubicBezTo>
                    <a:pt x="3492610" y="1576488"/>
                    <a:pt x="3486024" y="1576488"/>
                    <a:pt x="3479438" y="1583052"/>
                  </a:cubicBezTo>
                  <a:cubicBezTo>
                    <a:pt x="3479438" y="1589615"/>
                    <a:pt x="3479438" y="1596178"/>
                    <a:pt x="3486024" y="1596178"/>
                  </a:cubicBezTo>
                  <a:cubicBezTo>
                    <a:pt x="3499196" y="1596178"/>
                    <a:pt x="3499196" y="1589615"/>
                    <a:pt x="3505781" y="1583052"/>
                  </a:cubicBezTo>
                  <a:cubicBezTo>
                    <a:pt x="3512368" y="1583052"/>
                    <a:pt x="3518953" y="1576488"/>
                    <a:pt x="3532126" y="1576488"/>
                  </a:cubicBezTo>
                  <a:cubicBezTo>
                    <a:pt x="3538712" y="1576488"/>
                    <a:pt x="3545298" y="1576488"/>
                    <a:pt x="3551884" y="1569926"/>
                  </a:cubicBezTo>
                  <a:cubicBezTo>
                    <a:pt x="3558470" y="1563362"/>
                    <a:pt x="3565055" y="1569926"/>
                    <a:pt x="3571642" y="1569926"/>
                  </a:cubicBezTo>
                  <a:cubicBezTo>
                    <a:pt x="3584814" y="1569926"/>
                    <a:pt x="3591399" y="1563362"/>
                    <a:pt x="3597986" y="1556798"/>
                  </a:cubicBezTo>
                  <a:cubicBezTo>
                    <a:pt x="3611157" y="1556798"/>
                    <a:pt x="3617744" y="1563362"/>
                    <a:pt x="3624329" y="1563362"/>
                  </a:cubicBezTo>
                  <a:cubicBezTo>
                    <a:pt x="3630916" y="1563362"/>
                    <a:pt x="3644088" y="1563362"/>
                    <a:pt x="3650673" y="1563362"/>
                  </a:cubicBezTo>
                  <a:cubicBezTo>
                    <a:pt x="3657260" y="1563362"/>
                    <a:pt x="3670431" y="1556798"/>
                    <a:pt x="3670431" y="1550235"/>
                  </a:cubicBezTo>
                  <a:cubicBezTo>
                    <a:pt x="3677018" y="1550235"/>
                    <a:pt x="3677018" y="1537108"/>
                    <a:pt x="3670431" y="1537108"/>
                  </a:cubicBezTo>
                  <a:cubicBezTo>
                    <a:pt x="3670329" y="1537108"/>
                    <a:pt x="3663797" y="1537058"/>
                    <a:pt x="3657260" y="1530544"/>
                  </a:cubicBezTo>
                  <a:cubicBezTo>
                    <a:pt x="3650707" y="1530544"/>
                    <a:pt x="3663715" y="1517550"/>
                    <a:pt x="3663846" y="1517419"/>
                  </a:cubicBezTo>
                  <a:cubicBezTo>
                    <a:pt x="3670431" y="1517419"/>
                    <a:pt x="3677018" y="1517419"/>
                    <a:pt x="3677018" y="1510855"/>
                  </a:cubicBezTo>
                  <a:cubicBezTo>
                    <a:pt x="3683603" y="1510855"/>
                    <a:pt x="3683603" y="1504291"/>
                    <a:pt x="3683603" y="1497728"/>
                  </a:cubicBezTo>
                  <a:cubicBezTo>
                    <a:pt x="3683603" y="1484600"/>
                    <a:pt x="3683603" y="1471474"/>
                    <a:pt x="3663846" y="1471474"/>
                  </a:cubicBezTo>
                  <a:cubicBezTo>
                    <a:pt x="3657260" y="1471474"/>
                    <a:pt x="3650673" y="1478037"/>
                    <a:pt x="3644088" y="1464912"/>
                  </a:cubicBezTo>
                  <a:cubicBezTo>
                    <a:pt x="3644088" y="1464808"/>
                    <a:pt x="3644088" y="1458467"/>
                    <a:pt x="3644088" y="1458348"/>
                  </a:cubicBezTo>
                  <a:cubicBezTo>
                    <a:pt x="3644088" y="1451784"/>
                    <a:pt x="3644088" y="1451784"/>
                    <a:pt x="3644088" y="1445221"/>
                  </a:cubicBezTo>
                  <a:cubicBezTo>
                    <a:pt x="3650673" y="1438657"/>
                    <a:pt x="3637501" y="1438657"/>
                    <a:pt x="3630916" y="1432093"/>
                  </a:cubicBezTo>
                  <a:cubicBezTo>
                    <a:pt x="3630916" y="1425530"/>
                    <a:pt x="3624329" y="1425530"/>
                    <a:pt x="3624329" y="1418967"/>
                  </a:cubicBezTo>
                  <a:cubicBezTo>
                    <a:pt x="3624329" y="1415686"/>
                    <a:pt x="3624329" y="1414045"/>
                    <a:pt x="3623506" y="1413224"/>
                  </a:cubicBezTo>
                  <a:lnTo>
                    <a:pt x="3617744" y="1412405"/>
                  </a:lnTo>
                  <a:cubicBezTo>
                    <a:pt x="3617744" y="1412327"/>
                    <a:pt x="3617702" y="1405841"/>
                    <a:pt x="3611157" y="1405841"/>
                  </a:cubicBezTo>
                  <a:cubicBezTo>
                    <a:pt x="3604572" y="1399277"/>
                    <a:pt x="3604572" y="1392714"/>
                    <a:pt x="3597986" y="1386150"/>
                  </a:cubicBezTo>
                  <a:cubicBezTo>
                    <a:pt x="3597986" y="1379586"/>
                    <a:pt x="3591399" y="1373023"/>
                    <a:pt x="3584814" y="1373023"/>
                  </a:cubicBezTo>
                  <a:cubicBezTo>
                    <a:pt x="3584814" y="1366459"/>
                    <a:pt x="3584814" y="1359898"/>
                    <a:pt x="3578227" y="1359898"/>
                  </a:cubicBezTo>
                  <a:cubicBezTo>
                    <a:pt x="3578227" y="1353334"/>
                    <a:pt x="3571642" y="1353334"/>
                    <a:pt x="3565055" y="1346770"/>
                  </a:cubicBezTo>
                  <a:cubicBezTo>
                    <a:pt x="3565055" y="1340207"/>
                    <a:pt x="3565055" y="1340207"/>
                    <a:pt x="3571642" y="1333643"/>
                  </a:cubicBezTo>
                  <a:cubicBezTo>
                    <a:pt x="3571642" y="1327079"/>
                    <a:pt x="3571642" y="1327079"/>
                    <a:pt x="3571642" y="1320516"/>
                  </a:cubicBezTo>
                  <a:cubicBezTo>
                    <a:pt x="3571642" y="1313952"/>
                    <a:pt x="3578227" y="1313952"/>
                    <a:pt x="3584814" y="1307391"/>
                  </a:cubicBezTo>
                  <a:cubicBezTo>
                    <a:pt x="3584870" y="1307336"/>
                    <a:pt x="3591399" y="1300809"/>
                    <a:pt x="3591399" y="1294263"/>
                  </a:cubicBezTo>
                  <a:cubicBezTo>
                    <a:pt x="3597986" y="1287700"/>
                    <a:pt x="3597986" y="1274573"/>
                    <a:pt x="3591399" y="1268009"/>
                  </a:cubicBezTo>
                  <a:cubicBezTo>
                    <a:pt x="3584814" y="1268009"/>
                    <a:pt x="3584814" y="1268009"/>
                    <a:pt x="3578227" y="1268009"/>
                  </a:cubicBezTo>
                  <a:cubicBezTo>
                    <a:pt x="3571642" y="1261446"/>
                    <a:pt x="3545298" y="1268009"/>
                    <a:pt x="3551884" y="1254883"/>
                  </a:cubicBezTo>
                  <a:cubicBezTo>
                    <a:pt x="3551884" y="1248341"/>
                    <a:pt x="3551884" y="1241799"/>
                    <a:pt x="3551884" y="1241756"/>
                  </a:cubicBezTo>
                  <a:cubicBezTo>
                    <a:pt x="3551884" y="1228629"/>
                    <a:pt x="3545298" y="1228629"/>
                    <a:pt x="3538712" y="1228629"/>
                  </a:cubicBezTo>
                  <a:close/>
                  <a:moveTo>
                    <a:pt x="2595194" y="1209200"/>
                  </a:moveTo>
                  <a:cubicBezTo>
                    <a:pt x="2774956" y="1389398"/>
                    <a:pt x="2930603" y="1575575"/>
                    <a:pt x="3068765" y="1756467"/>
                  </a:cubicBezTo>
                  <a:cubicBezTo>
                    <a:pt x="2842338" y="1649459"/>
                    <a:pt x="2611999" y="1553477"/>
                    <a:pt x="2385578" y="1469296"/>
                  </a:cubicBezTo>
                  <a:cubicBezTo>
                    <a:pt x="2452642" y="1380508"/>
                    <a:pt x="2523049" y="1293710"/>
                    <a:pt x="2595194" y="1209200"/>
                  </a:cubicBezTo>
                  <a:close/>
                  <a:moveTo>
                    <a:pt x="1181641" y="1140853"/>
                  </a:moveTo>
                  <a:cubicBezTo>
                    <a:pt x="1320700" y="1170169"/>
                    <a:pt x="1466250" y="1207103"/>
                    <a:pt x="1615702" y="1251029"/>
                  </a:cubicBezTo>
                  <a:cubicBezTo>
                    <a:pt x="1617687" y="1255287"/>
                    <a:pt x="1619302" y="1260515"/>
                    <a:pt x="1622868" y="1267711"/>
                  </a:cubicBezTo>
                  <a:cubicBezTo>
                    <a:pt x="1622868" y="1274286"/>
                    <a:pt x="1629385" y="1287439"/>
                    <a:pt x="1635902" y="1300590"/>
                  </a:cubicBezTo>
                  <a:cubicBezTo>
                    <a:pt x="1635902" y="1307166"/>
                    <a:pt x="1642419" y="1326894"/>
                    <a:pt x="1635902" y="1340046"/>
                  </a:cubicBezTo>
                  <a:cubicBezTo>
                    <a:pt x="1635902" y="1353197"/>
                    <a:pt x="1622868" y="1366350"/>
                    <a:pt x="1616351" y="1372926"/>
                  </a:cubicBezTo>
                  <a:cubicBezTo>
                    <a:pt x="1603317" y="1379501"/>
                    <a:pt x="1590283" y="1386077"/>
                    <a:pt x="1583766" y="1399228"/>
                  </a:cubicBezTo>
                  <a:cubicBezTo>
                    <a:pt x="1570732" y="1412380"/>
                    <a:pt x="1577249" y="1432107"/>
                    <a:pt x="1583766" y="1445260"/>
                  </a:cubicBezTo>
                  <a:cubicBezTo>
                    <a:pt x="1583766" y="1458411"/>
                    <a:pt x="1583766" y="1478139"/>
                    <a:pt x="1577249" y="1484715"/>
                  </a:cubicBezTo>
                  <a:cubicBezTo>
                    <a:pt x="1564215" y="1497866"/>
                    <a:pt x="1544664" y="1504442"/>
                    <a:pt x="1531630" y="1497866"/>
                  </a:cubicBezTo>
                  <a:cubicBezTo>
                    <a:pt x="1518596" y="1497866"/>
                    <a:pt x="1505562" y="1471563"/>
                    <a:pt x="1505562" y="1451835"/>
                  </a:cubicBezTo>
                  <a:cubicBezTo>
                    <a:pt x="1499045" y="1438683"/>
                    <a:pt x="1505562" y="1405804"/>
                    <a:pt x="1492529" y="1386077"/>
                  </a:cubicBezTo>
                  <a:cubicBezTo>
                    <a:pt x="1479494" y="1372926"/>
                    <a:pt x="1453427" y="1372926"/>
                    <a:pt x="1433876" y="1366350"/>
                  </a:cubicBezTo>
                  <a:cubicBezTo>
                    <a:pt x="1407807" y="1366350"/>
                    <a:pt x="1388256" y="1346622"/>
                    <a:pt x="1368705" y="1333470"/>
                  </a:cubicBezTo>
                  <a:cubicBezTo>
                    <a:pt x="1355672" y="1326894"/>
                    <a:pt x="1349154" y="1313742"/>
                    <a:pt x="1336121" y="1313742"/>
                  </a:cubicBezTo>
                  <a:cubicBezTo>
                    <a:pt x="1323086" y="1307166"/>
                    <a:pt x="1303536" y="1300590"/>
                    <a:pt x="1290501" y="1300590"/>
                  </a:cubicBezTo>
                  <a:cubicBezTo>
                    <a:pt x="1257916" y="1294015"/>
                    <a:pt x="1218814" y="1267711"/>
                    <a:pt x="1212297" y="1234831"/>
                  </a:cubicBezTo>
                  <a:cubicBezTo>
                    <a:pt x="1205781" y="1215104"/>
                    <a:pt x="1192746" y="1201951"/>
                    <a:pt x="1179712" y="1182224"/>
                  </a:cubicBezTo>
                  <a:cubicBezTo>
                    <a:pt x="1175799" y="1166431"/>
                    <a:pt x="1176585" y="1153008"/>
                    <a:pt x="1181641" y="1140853"/>
                  </a:cubicBezTo>
                  <a:close/>
                  <a:moveTo>
                    <a:pt x="1969953" y="1036885"/>
                  </a:moveTo>
                  <a:cubicBezTo>
                    <a:pt x="1965880" y="1039703"/>
                    <a:pt x="1963552" y="1050980"/>
                    <a:pt x="1968207" y="1050980"/>
                  </a:cubicBezTo>
                  <a:cubicBezTo>
                    <a:pt x="1980623" y="1064346"/>
                    <a:pt x="1986830" y="1044298"/>
                    <a:pt x="1980623" y="1037616"/>
                  </a:cubicBezTo>
                  <a:lnTo>
                    <a:pt x="1975191" y="1037616"/>
                  </a:lnTo>
                  <a:cubicBezTo>
                    <a:pt x="1972863" y="1035944"/>
                    <a:pt x="1971311" y="1035944"/>
                    <a:pt x="1969953" y="1036885"/>
                  </a:cubicBezTo>
                  <a:close/>
                  <a:moveTo>
                    <a:pt x="1427507" y="943107"/>
                  </a:moveTo>
                  <a:cubicBezTo>
                    <a:pt x="1422616" y="943920"/>
                    <a:pt x="1417725" y="945544"/>
                    <a:pt x="1414465" y="945544"/>
                  </a:cubicBezTo>
                  <a:cubicBezTo>
                    <a:pt x="1407943" y="945544"/>
                    <a:pt x="1407943" y="952040"/>
                    <a:pt x="1401423" y="952040"/>
                  </a:cubicBezTo>
                  <a:cubicBezTo>
                    <a:pt x="1394902" y="965035"/>
                    <a:pt x="1407943" y="971531"/>
                    <a:pt x="1407943" y="978029"/>
                  </a:cubicBezTo>
                  <a:cubicBezTo>
                    <a:pt x="1407943" y="991023"/>
                    <a:pt x="1401423" y="991023"/>
                    <a:pt x="1394902" y="997519"/>
                  </a:cubicBezTo>
                  <a:cubicBezTo>
                    <a:pt x="1368817" y="1010514"/>
                    <a:pt x="1414465" y="1036501"/>
                    <a:pt x="1427507" y="1023509"/>
                  </a:cubicBezTo>
                  <a:cubicBezTo>
                    <a:pt x="1447071" y="1010514"/>
                    <a:pt x="1427507" y="978029"/>
                    <a:pt x="1453592" y="978029"/>
                  </a:cubicBezTo>
                  <a:cubicBezTo>
                    <a:pt x="1460113" y="978029"/>
                    <a:pt x="1460113" y="1004018"/>
                    <a:pt x="1466635" y="1010514"/>
                  </a:cubicBezTo>
                  <a:cubicBezTo>
                    <a:pt x="1473156" y="1017011"/>
                    <a:pt x="1486198" y="1017011"/>
                    <a:pt x="1492719" y="1017011"/>
                  </a:cubicBezTo>
                  <a:cubicBezTo>
                    <a:pt x="1499216" y="1017011"/>
                    <a:pt x="1505712" y="1017011"/>
                    <a:pt x="1505762" y="1017011"/>
                  </a:cubicBezTo>
                  <a:cubicBezTo>
                    <a:pt x="1512274" y="1010523"/>
                    <a:pt x="1505779" y="997555"/>
                    <a:pt x="1505762" y="997519"/>
                  </a:cubicBezTo>
                  <a:cubicBezTo>
                    <a:pt x="1499263" y="991047"/>
                    <a:pt x="1492766" y="991023"/>
                    <a:pt x="1492719" y="991023"/>
                  </a:cubicBezTo>
                  <a:cubicBezTo>
                    <a:pt x="1486198" y="991023"/>
                    <a:pt x="1479677" y="984526"/>
                    <a:pt x="1473156" y="978029"/>
                  </a:cubicBezTo>
                  <a:cubicBezTo>
                    <a:pt x="1466635" y="965035"/>
                    <a:pt x="1453592" y="945544"/>
                    <a:pt x="1440550" y="945544"/>
                  </a:cubicBezTo>
                  <a:cubicBezTo>
                    <a:pt x="1437289" y="942295"/>
                    <a:pt x="1432398" y="942295"/>
                    <a:pt x="1427507" y="943107"/>
                  </a:cubicBezTo>
                  <a:close/>
                  <a:moveTo>
                    <a:pt x="988089" y="922670"/>
                  </a:moveTo>
                  <a:cubicBezTo>
                    <a:pt x="1047007" y="922670"/>
                    <a:pt x="1094769" y="970432"/>
                    <a:pt x="1094769" y="1029350"/>
                  </a:cubicBezTo>
                  <a:cubicBezTo>
                    <a:pt x="1094769" y="1088268"/>
                    <a:pt x="1047007" y="1136030"/>
                    <a:pt x="988089" y="1136030"/>
                  </a:cubicBezTo>
                  <a:cubicBezTo>
                    <a:pt x="929171" y="1136030"/>
                    <a:pt x="881409" y="1088268"/>
                    <a:pt x="881409" y="1029350"/>
                  </a:cubicBezTo>
                  <a:cubicBezTo>
                    <a:pt x="881409" y="970432"/>
                    <a:pt x="929171" y="922670"/>
                    <a:pt x="988089" y="922670"/>
                  </a:cubicBezTo>
                  <a:close/>
                  <a:moveTo>
                    <a:pt x="3224792" y="881963"/>
                  </a:moveTo>
                  <a:cubicBezTo>
                    <a:pt x="3222331" y="881127"/>
                    <a:pt x="3220690" y="881127"/>
                    <a:pt x="3220690" y="884470"/>
                  </a:cubicBezTo>
                  <a:cubicBezTo>
                    <a:pt x="3214146" y="884470"/>
                    <a:pt x="3214129" y="891116"/>
                    <a:pt x="3214129" y="891152"/>
                  </a:cubicBezTo>
                  <a:cubicBezTo>
                    <a:pt x="3207567" y="897835"/>
                    <a:pt x="3201005" y="891152"/>
                    <a:pt x="3194443" y="897835"/>
                  </a:cubicBezTo>
                  <a:cubicBezTo>
                    <a:pt x="3187882" y="897835"/>
                    <a:pt x="3187882" y="904517"/>
                    <a:pt x="3181319" y="904517"/>
                  </a:cubicBezTo>
                  <a:cubicBezTo>
                    <a:pt x="3174757" y="904517"/>
                    <a:pt x="3174757" y="897835"/>
                    <a:pt x="3168195" y="897835"/>
                  </a:cubicBezTo>
                  <a:cubicBezTo>
                    <a:pt x="3168170" y="897860"/>
                    <a:pt x="3161652" y="904499"/>
                    <a:pt x="3161634" y="904517"/>
                  </a:cubicBezTo>
                  <a:cubicBezTo>
                    <a:pt x="3155088" y="904517"/>
                    <a:pt x="3155072" y="897868"/>
                    <a:pt x="3155072" y="897835"/>
                  </a:cubicBezTo>
                  <a:cubicBezTo>
                    <a:pt x="3148510" y="891152"/>
                    <a:pt x="3148510" y="884470"/>
                    <a:pt x="3141948" y="891152"/>
                  </a:cubicBezTo>
                  <a:cubicBezTo>
                    <a:pt x="3141878" y="891230"/>
                    <a:pt x="3135387" y="897877"/>
                    <a:pt x="3135387" y="904517"/>
                  </a:cubicBezTo>
                  <a:lnTo>
                    <a:pt x="3128825" y="909529"/>
                  </a:lnTo>
                  <a:lnTo>
                    <a:pt x="3122262" y="904517"/>
                  </a:lnTo>
                  <a:cubicBezTo>
                    <a:pt x="3122262" y="904467"/>
                    <a:pt x="3122250" y="891165"/>
                    <a:pt x="3115700" y="897835"/>
                  </a:cubicBezTo>
                  <a:cubicBezTo>
                    <a:pt x="3109138" y="897835"/>
                    <a:pt x="3115700" y="911199"/>
                    <a:pt x="3109138" y="917882"/>
                  </a:cubicBezTo>
                  <a:cubicBezTo>
                    <a:pt x="3107498" y="921224"/>
                    <a:pt x="3105858" y="921224"/>
                    <a:pt x="3102577" y="924565"/>
                  </a:cubicBezTo>
                  <a:cubicBezTo>
                    <a:pt x="3096015" y="924565"/>
                    <a:pt x="3096015" y="931247"/>
                    <a:pt x="3082891" y="924565"/>
                  </a:cubicBezTo>
                  <a:cubicBezTo>
                    <a:pt x="3082891" y="924532"/>
                    <a:pt x="3082883" y="911191"/>
                    <a:pt x="3076330" y="904517"/>
                  </a:cubicBezTo>
                  <a:cubicBezTo>
                    <a:pt x="3069768" y="904517"/>
                    <a:pt x="3063205" y="904517"/>
                    <a:pt x="3056643" y="904517"/>
                  </a:cubicBezTo>
                  <a:cubicBezTo>
                    <a:pt x="3050082" y="911199"/>
                    <a:pt x="3050082" y="917882"/>
                    <a:pt x="3056643" y="924565"/>
                  </a:cubicBezTo>
                  <a:cubicBezTo>
                    <a:pt x="3056680" y="924583"/>
                    <a:pt x="3069759" y="931258"/>
                    <a:pt x="3063205" y="937931"/>
                  </a:cubicBezTo>
                  <a:cubicBezTo>
                    <a:pt x="3056643" y="944614"/>
                    <a:pt x="3050082" y="937931"/>
                    <a:pt x="3050082" y="944614"/>
                  </a:cubicBezTo>
                  <a:cubicBezTo>
                    <a:pt x="3043520" y="957979"/>
                    <a:pt x="3063205" y="957979"/>
                    <a:pt x="3069768" y="964662"/>
                  </a:cubicBezTo>
                  <a:cubicBezTo>
                    <a:pt x="3069853" y="964747"/>
                    <a:pt x="3076266" y="971280"/>
                    <a:pt x="3076330" y="971343"/>
                  </a:cubicBezTo>
                  <a:cubicBezTo>
                    <a:pt x="3076330" y="978026"/>
                    <a:pt x="3069768" y="978026"/>
                    <a:pt x="3063205" y="984709"/>
                  </a:cubicBezTo>
                  <a:lnTo>
                    <a:pt x="3063205" y="990557"/>
                  </a:lnTo>
                  <a:cubicBezTo>
                    <a:pt x="3069768" y="998075"/>
                    <a:pt x="3082891" y="991392"/>
                    <a:pt x="3089453" y="984709"/>
                  </a:cubicBezTo>
                  <a:cubicBezTo>
                    <a:pt x="3096015" y="984709"/>
                    <a:pt x="3096015" y="984709"/>
                    <a:pt x="3102577" y="991392"/>
                  </a:cubicBezTo>
                  <a:cubicBezTo>
                    <a:pt x="3109138" y="991392"/>
                    <a:pt x="3102577" y="998075"/>
                    <a:pt x="3109138" y="998075"/>
                  </a:cubicBezTo>
                  <a:cubicBezTo>
                    <a:pt x="3128825" y="1004757"/>
                    <a:pt x="3141948" y="1011440"/>
                    <a:pt x="3155072" y="1004757"/>
                  </a:cubicBezTo>
                  <a:cubicBezTo>
                    <a:pt x="3168195" y="1004757"/>
                    <a:pt x="3174757" y="991392"/>
                    <a:pt x="3194443" y="991392"/>
                  </a:cubicBezTo>
                  <a:cubicBezTo>
                    <a:pt x="3194493" y="991392"/>
                    <a:pt x="3200949" y="991392"/>
                    <a:pt x="3201005" y="991392"/>
                  </a:cubicBezTo>
                  <a:cubicBezTo>
                    <a:pt x="3214129" y="998075"/>
                    <a:pt x="3227252" y="991392"/>
                    <a:pt x="3233814" y="984709"/>
                  </a:cubicBezTo>
                  <a:cubicBezTo>
                    <a:pt x="3246937" y="978026"/>
                    <a:pt x="3260062" y="971343"/>
                    <a:pt x="3266624" y="957979"/>
                  </a:cubicBezTo>
                  <a:cubicBezTo>
                    <a:pt x="3266624" y="957954"/>
                    <a:pt x="3266624" y="951371"/>
                    <a:pt x="3266624" y="951296"/>
                  </a:cubicBezTo>
                  <a:cubicBezTo>
                    <a:pt x="3273174" y="944626"/>
                    <a:pt x="3279723" y="944614"/>
                    <a:pt x="3279747" y="944614"/>
                  </a:cubicBezTo>
                  <a:cubicBezTo>
                    <a:pt x="3286309" y="937931"/>
                    <a:pt x="3286309" y="924565"/>
                    <a:pt x="3279747" y="917882"/>
                  </a:cubicBezTo>
                  <a:cubicBezTo>
                    <a:pt x="3273186" y="904517"/>
                    <a:pt x="3253500" y="924565"/>
                    <a:pt x="3246937" y="904517"/>
                  </a:cubicBezTo>
                  <a:cubicBezTo>
                    <a:pt x="3240376" y="897835"/>
                    <a:pt x="3240376" y="891152"/>
                    <a:pt x="3233814" y="884470"/>
                  </a:cubicBezTo>
                  <a:cubicBezTo>
                    <a:pt x="3230534" y="884470"/>
                    <a:pt x="3227252" y="882799"/>
                    <a:pt x="3224792" y="881963"/>
                  </a:cubicBezTo>
                  <a:close/>
                  <a:moveTo>
                    <a:pt x="1669153" y="794253"/>
                  </a:moveTo>
                  <a:cubicBezTo>
                    <a:pt x="1650234" y="794253"/>
                    <a:pt x="1650234" y="827318"/>
                    <a:pt x="1662847" y="833930"/>
                  </a:cubicBezTo>
                  <a:cubicBezTo>
                    <a:pt x="1688073" y="847157"/>
                    <a:pt x="1694379" y="794253"/>
                    <a:pt x="1669153" y="794253"/>
                  </a:cubicBezTo>
                  <a:close/>
                  <a:moveTo>
                    <a:pt x="2917809" y="791328"/>
                  </a:moveTo>
                  <a:cubicBezTo>
                    <a:pt x="2803426" y="906978"/>
                    <a:pt x="2693404" y="1026752"/>
                    <a:pt x="2589740" y="1149249"/>
                  </a:cubicBezTo>
                  <a:cubicBezTo>
                    <a:pt x="2570891" y="1129184"/>
                    <a:pt x="2551153" y="1110170"/>
                    <a:pt x="2530315" y="1092458"/>
                  </a:cubicBezTo>
                  <a:cubicBezTo>
                    <a:pt x="2535975" y="1081630"/>
                    <a:pt x="2541271" y="1075704"/>
                    <a:pt x="2541271" y="1069778"/>
                  </a:cubicBezTo>
                  <a:cubicBezTo>
                    <a:pt x="2547784" y="1056632"/>
                    <a:pt x="2547784" y="1050059"/>
                    <a:pt x="2554299" y="1036912"/>
                  </a:cubicBezTo>
                  <a:cubicBezTo>
                    <a:pt x="2560812" y="1030340"/>
                    <a:pt x="2560812" y="1030340"/>
                    <a:pt x="2567327" y="1017193"/>
                  </a:cubicBezTo>
                  <a:cubicBezTo>
                    <a:pt x="2567327" y="1004047"/>
                    <a:pt x="2554299" y="984327"/>
                    <a:pt x="2560812" y="971181"/>
                  </a:cubicBezTo>
                  <a:cubicBezTo>
                    <a:pt x="2567327" y="958035"/>
                    <a:pt x="2593382" y="958035"/>
                    <a:pt x="2599896" y="951461"/>
                  </a:cubicBezTo>
                  <a:cubicBezTo>
                    <a:pt x="2612924" y="944888"/>
                    <a:pt x="2619438" y="938315"/>
                    <a:pt x="2619438" y="931742"/>
                  </a:cubicBezTo>
                  <a:cubicBezTo>
                    <a:pt x="2632466" y="912022"/>
                    <a:pt x="2632466" y="905450"/>
                    <a:pt x="2652007" y="905450"/>
                  </a:cubicBezTo>
                  <a:cubicBezTo>
                    <a:pt x="2671550" y="905450"/>
                    <a:pt x="2684578" y="912022"/>
                    <a:pt x="2704119" y="898876"/>
                  </a:cubicBezTo>
                  <a:cubicBezTo>
                    <a:pt x="2723661" y="892302"/>
                    <a:pt x="2730175" y="879157"/>
                    <a:pt x="2743203" y="866011"/>
                  </a:cubicBezTo>
                  <a:cubicBezTo>
                    <a:pt x="2743203" y="859438"/>
                    <a:pt x="2749717" y="852865"/>
                    <a:pt x="2756230" y="846292"/>
                  </a:cubicBezTo>
                  <a:cubicBezTo>
                    <a:pt x="2762745" y="839718"/>
                    <a:pt x="2775773" y="839718"/>
                    <a:pt x="2788801" y="833146"/>
                  </a:cubicBezTo>
                  <a:cubicBezTo>
                    <a:pt x="2795314" y="826572"/>
                    <a:pt x="2795314" y="819998"/>
                    <a:pt x="2801829" y="813426"/>
                  </a:cubicBezTo>
                  <a:cubicBezTo>
                    <a:pt x="2814856" y="793706"/>
                    <a:pt x="2847426" y="800280"/>
                    <a:pt x="2866968" y="800280"/>
                  </a:cubicBezTo>
                  <a:cubicBezTo>
                    <a:pt x="2883927" y="800280"/>
                    <a:pt x="2900886" y="796716"/>
                    <a:pt x="2917809" y="791328"/>
                  </a:cubicBezTo>
                  <a:close/>
                  <a:moveTo>
                    <a:pt x="1583467" y="713505"/>
                  </a:moveTo>
                  <a:cubicBezTo>
                    <a:pt x="1564430" y="713505"/>
                    <a:pt x="1545392" y="720465"/>
                    <a:pt x="1551738" y="734388"/>
                  </a:cubicBezTo>
                  <a:cubicBezTo>
                    <a:pt x="1551738" y="748311"/>
                    <a:pt x="1577121" y="755272"/>
                    <a:pt x="1583467" y="748311"/>
                  </a:cubicBezTo>
                  <a:cubicBezTo>
                    <a:pt x="1602503" y="741349"/>
                    <a:pt x="1608849" y="720465"/>
                    <a:pt x="1589812" y="713505"/>
                  </a:cubicBezTo>
                  <a:cubicBezTo>
                    <a:pt x="1589781" y="713505"/>
                    <a:pt x="1583519" y="713505"/>
                    <a:pt x="1583467" y="713505"/>
                  </a:cubicBezTo>
                  <a:close/>
                  <a:moveTo>
                    <a:pt x="1128374" y="667178"/>
                  </a:moveTo>
                  <a:cubicBezTo>
                    <a:pt x="1127577" y="671213"/>
                    <a:pt x="1127577" y="676056"/>
                    <a:pt x="1127577" y="682456"/>
                  </a:cubicBezTo>
                  <a:cubicBezTo>
                    <a:pt x="1121059" y="695608"/>
                    <a:pt x="1127577" y="702183"/>
                    <a:pt x="1134093" y="708760"/>
                  </a:cubicBezTo>
                  <a:cubicBezTo>
                    <a:pt x="1147128" y="715336"/>
                    <a:pt x="1160161" y="708760"/>
                    <a:pt x="1173195" y="708760"/>
                  </a:cubicBezTo>
                  <a:cubicBezTo>
                    <a:pt x="1179713" y="708760"/>
                    <a:pt x="1199263" y="715336"/>
                    <a:pt x="1199263" y="721912"/>
                  </a:cubicBezTo>
                  <a:lnTo>
                    <a:pt x="1203336" y="736707"/>
                  </a:lnTo>
                  <a:cubicBezTo>
                    <a:pt x="1202522" y="739996"/>
                    <a:pt x="1199263" y="741640"/>
                    <a:pt x="1192746" y="741640"/>
                  </a:cubicBezTo>
                  <a:cubicBezTo>
                    <a:pt x="1186230" y="748216"/>
                    <a:pt x="1173195" y="748216"/>
                    <a:pt x="1179712" y="761367"/>
                  </a:cubicBezTo>
                  <a:cubicBezTo>
                    <a:pt x="1179712" y="767943"/>
                    <a:pt x="1192744" y="774518"/>
                    <a:pt x="1192746" y="781095"/>
                  </a:cubicBezTo>
                  <a:cubicBezTo>
                    <a:pt x="1199263" y="794247"/>
                    <a:pt x="1153644" y="800822"/>
                    <a:pt x="1147128" y="813975"/>
                  </a:cubicBezTo>
                  <a:cubicBezTo>
                    <a:pt x="1147128" y="827126"/>
                    <a:pt x="1147128" y="840278"/>
                    <a:pt x="1147128" y="846853"/>
                  </a:cubicBezTo>
                  <a:cubicBezTo>
                    <a:pt x="1140610" y="853429"/>
                    <a:pt x="1127577" y="853429"/>
                    <a:pt x="1127577" y="846853"/>
                  </a:cubicBezTo>
                  <a:cubicBezTo>
                    <a:pt x="1108026" y="827126"/>
                    <a:pt x="1121059" y="794247"/>
                    <a:pt x="1094992" y="787671"/>
                  </a:cubicBezTo>
                  <a:cubicBezTo>
                    <a:pt x="1081957" y="787671"/>
                    <a:pt x="1075441" y="794247"/>
                    <a:pt x="1075441" y="807398"/>
                  </a:cubicBezTo>
                  <a:cubicBezTo>
                    <a:pt x="1068924" y="820551"/>
                    <a:pt x="1055890" y="833702"/>
                    <a:pt x="1036339" y="827126"/>
                  </a:cubicBezTo>
                  <a:cubicBezTo>
                    <a:pt x="1023304" y="827126"/>
                    <a:pt x="1016788" y="820551"/>
                    <a:pt x="997237" y="820551"/>
                  </a:cubicBezTo>
                  <a:cubicBezTo>
                    <a:pt x="990758" y="820551"/>
                    <a:pt x="984280" y="820551"/>
                    <a:pt x="984202" y="820551"/>
                  </a:cubicBezTo>
                  <a:cubicBezTo>
                    <a:pt x="975891" y="820551"/>
                    <a:pt x="970230" y="812529"/>
                    <a:pt x="964963" y="807183"/>
                  </a:cubicBezTo>
                  <a:lnTo>
                    <a:pt x="1050097" y="729092"/>
                  </a:lnTo>
                  <a:cubicBezTo>
                    <a:pt x="1044758" y="761820"/>
                    <a:pt x="1108476" y="794102"/>
                    <a:pt x="1134142" y="780977"/>
                  </a:cubicBezTo>
                  <a:cubicBezTo>
                    <a:pt x="1153617" y="774336"/>
                    <a:pt x="1147125" y="747776"/>
                    <a:pt x="1140634" y="734497"/>
                  </a:cubicBezTo>
                  <a:cubicBezTo>
                    <a:pt x="1140634" y="721217"/>
                    <a:pt x="1108177" y="714576"/>
                    <a:pt x="1101683" y="714576"/>
                  </a:cubicBezTo>
                  <a:cubicBezTo>
                    <a:pt x="1095191" y="714576"/>
                    <a:pt x="1095191" y="714576"/>
                    <a:pt x="1088701" y="707937"/>
                  </a:cubicBezTo>
                  <a:lnTo>
                    <a:pt x="1068188" y="712599"/>
                  </a:lnTo>
                  <a:close/>
                  <a:moveTo>
                    <a:pt x="2958163" y="609658"/>
                  </a:moveTo>
                  <a:cubicBezTo>
                    <a:pt x="2971191" y="609658"/>
                    <a:pt x="2997246" y="616232"/>
                    <a:pt x="3010274" y="622804"/>
                  </a:cubicBezTo>
                  <a:cubicBezTo>
                    <a:pt x="3016788" y="629378"/>
                    <a:pt x="3029816" y="635951"/>
                    <a:pt x="3036329" y="649097"/>
                  </a:cubicBezTo>
                  <a:lnTo>
                    <a:pt x="3047816" y="660688"/>
                  </a:lnTo>
                  <a:lnTo>
                    <a:pt x="3010204" y="695856"/>
                  </a:lnTo>
                  <a:cubicBezTo>
                    <a:pt x="3005124" y="697176"/>
                    <a:pt x="3000555" y="696778"/>
                    <a:pt x="2997246" y="695109"/>
                  </a:cubicBezTo>
                  <a:cubicBezTo>
                    <a:pt x="2984219" y="681963"/>
                    <a:pt x="2990732" y="668817"/>
                    <a:pt x="2984219" y="655671"/>
                  </a:cubicBezTo>
                  <a:cubicBezTo>
                    <a:pt x="2977705" y="649097"/>
                    <a:pt x="2964677" y="655671"/>
                    <a:pt x="2958163" y="655671"/>
                  </a:cubicBezTo>
                  <a:cubicBezTo>
                    <a:pt x="2958163" y="642524"/>
                    <a:pt x="2958163" y="642524"/>
                    <a:pt x="2951649" y="635951"/>
                  </a:cubicBezTo>
                  <a:cubicBezTo>
                    <a:pt x="2951649" y="629378"/>
                    <a:pt x="2938621" y="629378"/>
                    <a:pt x="2938621" y="622804"/>
                  </a:cubicBezTo>
                  <a:cubicBezTo>
                    <a:pt x="2938621" y="616232"/>
                    <a:pt x="2951649" y="609658"/>
                    <a:pt x="2958163" y="609658"/>
                  </a:cubicBezTo>
                  <a:close/>
                  <a:moveTo>
                    <a:pt x="1600752" y="502077"/>
                  </a:moveTo>
                  <a:cubicBezTo>
                    <a:pt x="1592605" y="501254"/>
                    <a:pt x="1582830" y="502899"/>
                    <a:pt x="1576313" y="502899"/>
                  </a:cubicBezTo>
                  <a:cubicBezTo>
                    <a:pt x="1563279" y="509481"/>
                    <a:pt x="1550246" y="516062"/>
                    <a:pt x="1537211" y="516062"/>
                  </a:cubicBezTo>
                  <a:cubicBezTo>
                    <a:pt x="1524178" y="516062"/>
                    <a:pt x="1517661" y="516062"/>
                    <a:pt x="1504627" y="516062"/>
                  </a:cubicBezTo>
                  <a:cubicBezTo>
                    <a:pt x="1478559" y="516062"/>
                    <a:pt x="1445975" y="516062"/>
                    <a:pt x="1432941" y="542388"/>
                  </a:cubicBezTo>
                  <a:cubicBezTo>
                    <a:pt x="1426424" y="548969"/>
                    <a:pt x="1432941" y="575294"/>
                    <a:pt x="1439459" y="588459"/>
                  </a:cubicBezTo>
                  <a:cubicBezTo>
                    <a:pt x="1439459" y="595040"/>
                    <a:pt x="1452492" y="621365"/>
                    <a:pt x="1439459" y="627947"/>
                  </a:cubicBezTo>
                  <a:cubicBezTo>
                    <a:pt x="1432941" y="634529"/>
                    <a:pt x="1413391" y="621365"/>
                    <a:pt x="1406873" y="614784"/>
                  </a:cubicBezTo>
                  <a:cubicBezTo>
                    <a:pt x="1400357" y="608203"/>
                    <a:pt x="1400357" y="588459"/>
                    <a:pt x="1400357" y="575294"/>
                  </a:cubicBezTo>
                  <a:cubicBezTo>
                    <a:pt x="1400357" y="555550"/>
                    <a:pt x="1413391" y="522643"/>
                    <a:pt x="1393840" y="509481"/>
                  </a:cubicBezTo>
                  <a:cubicBezTo>
                    <a:pt x="1374289" y="496318"/>
                    <a:pt x="1354738" y="516062"/>
                    <a:pt x="1348221" y="535807"/>
                  </a:cubicBezTo>
                  <a:cubicBezTo>
                    <a:pt x="1335187" y="548969"/>
                    <a:pt x="1328670" y="555550"/>
                    <a:pt x="1322154" y="575294"/>
                  </a:cubicBezTo>
                  <a:cubicBezTo>
                    <a:pt x="1315637" y="588459"/>
                    <a:pt x="1302603" y="608203"/>
                    <a:pt x="1322154" y="621365"/>
                  </a:cubicBezTo>
                  <a:cubicBezTo>
                    <a:pt x="1328670" y="627947"/>
                    <a:pt x="1335187" y="627947"/>
                    <a:pt x="1341705" y="641110"/>
                  </a:cubicBezTo>
                  <a:cubicBezTo>
                    <a:pt x="1348221" y="654273"/>
                    <a:pt x="1348221" y="667435"/>
                    <a:pt x="1361255" y="680598"/>
                  </a:cubicBezTo>
                  <a:cubicBezTo>
                    <a:pt x="1380806" y="693761"/>
                    <a:pt x="1393840" y="680598"/>
                    <a:pt x="1419908" y="680598"/>
                  </a:cubicBezTo>
                  <a:cubicBezTo>
                    <a:pt x="1426424" y="687180"/>
                    <a:pt x="1432941" y="687180"/>
                    <a:pt x="1439459" y="693761"/>
                  </a:cubicBezTo>
                  <a:cubicBezTo>
                    <a:pt x="1445975" y="693761"/>
                    <a:pt x="1452492" y="693761"/>
                    <a:pt x="1465526" y="700343"/>
                  </a:cubicBezTo>
                  <a:cubicBezTo>
                    <a:pt x="1472043" y="700343"/>
                    <a:pt x="1478559" y="700343"/>
                    <a:pt x="1485076" y="700343"/>
                  </a:cubicBezTo>
                  <a:cubicBezTo>
                    <a:pt x="1498110" y="700343"/>
                    <a:pt x="1504627" y="706924"/>
                    <a:pt x="1517661" y="706924"/>
                  </a:cubicBezTo>
                  <a:cubicBezTo>
                    <a:pt x="1530695" y="706924"/>
                    <a:pt x="1537211" y="693761"/>
                    <a:pt x="1550246" y="687180"/>
                  </a:cubicBezTo>
                  <a:cubicBezTo>
                    <a:pt x="1582830" y="680598"/>
                    <a:pt x="1615415" y="693761"/>
                    <a:pt x="1641483" y="700343"/>
                  </a:cubicBezTo>
                  <a:cubicBezTo>
                    <a:pt x="1687100" y="720087"/>
                    <a:pt x="1732719" y="766157"/>
                    <a:pt x="1739235" y="818809"/>
                  </a:cubicBezTo>
                  <a:cubicBezTo>
                    <a:pt x="1745753" y="845134"/>
                    <a:pt x="1732719" y="871460"/>
                    <a:pt x="1726202" y="891204"/>
                  </a:cubicBezTo>
                  <a:cubicBezTo>
                    <a:pt x="1726202" y="897785"/>
                    <a:pt x="1719686" y="910946"/>
                    <a:pt x="1719686" y="917530"/>
                  </a:cubicBezTo>
                  <a:cubicBezTo>
                    <a:pt x="1719739" y="917576"/>
                    <a:pt x="1726202" y="924130"/>
                    <a:pt x="1726202" y="930693"/>
                  </a:cubicBezTo>
                  <a:cubicBezTo>
                    <a:pt x="1726202" y="943855"/>
                    <a:pt x="1713168" y="957018"/>
                    <a:pt x="1700135" y="963600"/>
                  </a:cubicBezTo>
                  <a:cubicBezTo>
                    <a:pt x="1687100" y="970183"/>
                    <a:pt x="1661033" y="970183"/>
                    <a:pt x="1647999" y="970183"/>
                  </a:cubicBezTo>
                  <a:cubicBezTo>
                    <a:pt x="1634965" y="970183"/>
                    <a:pt x="1615415" y="963600"/>
                    <a:pt x="1602381" y="970183"/>
                  </a:cubicBezTo>
                  <a:cubicBezTo>
                    <a:pt x="1589347" y="983345"/>
                    <a:pt x="1602381" y="1009670"/>
                    <a:pt x="1615415" y="1016253"/>
                  </a:cubicBezTo>
                  <a:cubicBezTo>
                    <a:pt x="1641483" y="1035996"/>
                    <a:pt x="1687100" y="996508"/>
                    <a:pt x="1713168" y="1016253"/>
                  </a:cubicBezTo>
                  <a:cubicBezTo>
                    <a:pt x="1726202" y="1022834"/>
                    <a:pt x="1732719" y="1035996"/>
                    <a:pt x="1745753" y="1042578"/>
                  </a:cubicBezTo>
                  <a:cubicBezTo>
                    <a:pt x="1758786" y="1049159"/>
                    <a:pt x="1765304" y="1055740"/>
                    <a:pt x="1771821" y="1055740"/>
                  </a:cubicBezTo>
                  <a:cubicBezTo>
                    <a:pt x="1791372" y="1062322"/>
                    <a:pt x="1804405" y="1055740"/>
                    <a:pt x="1823956" y="1055740"/>
                  </a:cubicBezTo>
                  <a:cubicBezTo>
                    <a:pt x="1836989" y="1055740"/>
                    <a:pt x="1856540" y="1055740"/>
                    <a:pt x="1869575" y="1062322"/>
                  </a:cubicBezTo>
                  <a:cubicBezTo>
                    <a:pt x="1876091" y="1068904"/>
                    <a:pt x="1889124" y="1068904"/>
                    <a:pt x="1902159" y="1075485"/>
                  </a:cubicBezTo>
                  <a:cubicBezTo>
                    <a:pt x="1908675" y="1075485"/>
                    <a:pt x="1915192" y="1075485"/>
                    <a:pt x="1915192" y="1062322"/>
                  </a:cubicBezTo>
                  <a:cubicBezTo>
                    <a:pt x="1915192" y="1055740"/>
                    <a:pt x="1902159" y="1055740"/>
                    <a:pt x="1895642" y="1049159"/>
                  </a:cubicBezTo>
                  <a:cubicBezTo>
                    <a:pt x="1882608" y="1042578"/>
                    <a:pt x="1843507" y="1035996"/>
                    <a:pt x="1850024" y="1016253"/>
                  </a:cubicBezTo>
                  <a:cubicBezTo>
                    <a:pt x="1856540" y="1003089"/>
                    <a:pt x="1869575" y="1009670"/>
                    <a:pt x="1882608" y="1009670"/>
                  </a:cubicBezTo>
                  <a:cubicBezTo>
                    <a:pt x="1895642" y="1009670"/>
                    <a:pt x="1902159" y="1003089"/>
                    <a:pt x="1915192" y="1003089"/>
                  </a:cubicBezTo>
                  <a:cubicBezTo>
                    <a:pt x="1928226" y="996508"/>
                    <a:pt x="1941261" y="996508"/>
                    <a:pt x="1941261" y="983345"/>
                  </a:cubicBezTo>
                  <a:cubicBezTo>
                    <a:pt x="1941261" y="970183"/>
                    <a:pt x="1928226" y="957018"/>
                    <a:pt x="1921710" y="950437"/>
                  </a:cubicBezTo>
                  <a:cubicBezTo>
                    <a:pt x="1902159" y="943855"/>
                    <a:pt x="1869575" y="917530"/>
                    <a:pt x="1882608" y="891204"/>
                  </a:cubicBezTo>
                  <a:cubicBezTo>
                    <a:pt x="1889124" y="878042"/>
                    <a:pt x="1928226" y="891204"/>
                    <a:pt x="1941261" y="897786"/>
                  </a:cubicBezTo>
                  <a:cubicBezTo>
                    <a:pt x="1954294" y="910949"/>
                    <a:pt x="1973845" y="930693"/>
                    <a:pt x="1993396" y="930693"/>
                  </a:cubicBezTo>
                  <a:cubicBezTo>
                    <a:pt x="2019463" y="930693"/>
                    <a:pt x="2039013" y="904368"/>
                    <a:pt x="2045531" y="878042"/>
                  </a:cubicBezTo>
                  <a:cubicBezTo>
                    <a:pt x="2058564" y="851716"/>
                    <a:pt x="2039013" y="838553"/>
                    <a:pt x="2012946" y="838553"/>
                  </a:cubicBezTo>
                  <a:cubicBezTo>
                    <a:pt x="1993396" y="838553"/>
                    <a:pt x="1973845" y="838553"/>
                    <a:pt x="1947777" y="825390"/>
                  </a:cubicBezTo>
                  <a:cubicBezTo>
                    <a:pt x="1928226" y="818809"/>
                    <a:pt x="1908675" y="812228"/>
                    <a:pt x="1889124" y="799065"/>
                  </a:cubicBezTo>
                  <a:cubicBezTo>
                    <a:pt x="1869575" y="772738"/>
                    <a:pt x="1863057" y="739832"/>
                    <a:pt x="1850024" y="713505"/>
                  </a:cubicBezTo>
                  <a:cubicBezTo>
                    <a:pt x="1843507" y="693761"/>
                    <a:pt x="1830473" y="674017"/>
                    <a:pt x="1817439" y="660854"/>
                  </a:cubicBezTo>
                  <a:cubicBezTo>
                    <a:pt x="1804405" y="654273"/>
                    <a:pt x="1791372" y="647691"/>
                    <a:pt x="1778337" y="647691"/>
                  </a:cubicBezTo>
                  <a:cubicBezTo>
                    <a:pt x="1771821" y="641110"/>
                    <a:pt x="1765304" y="641110"/>
                    <a:pt x="1758786" y="641110"/>
                  </a:cubicBezTo>
                  <a:cubicBezTo>
                    <a:pt x="1758771" y="641094"/>
                    <a:pt x="1752340" y="634598"/>
                    <a:pt x="1752270" y="634529"/>
                  </a:cubicBezTo>
                  <a:cubicBezTo>
                    <a:pt x="1739235" y="627947"/>
                    <a:pt x="1732719" y="614784"/>
                    <a:pt x="1719686" y="595040"/>
                  </a:cubicBezTo>
                  <a:cubicBezTo>
                    <a:pt x="1706651" y="581877"/>
                    <a:pt x="1687100" y="581877"/>
                    <a:pt x="1674067" y="581877"/>
                  </a:cubicBezTo>
                  <a:cubicBezTo>
                    <a:pt x="1647999" y="575294"/>
                    <a:pt x="1576313" y="575294"/>
                    <a:pt x="1602381" y="535807"/>
                  </a:cubicBezTo>
                  <a:cubicBezTo>
                    <a:pt x="1608897" y="529225"/>
                    <a:pt x="1615415" y="522643"/>
                    <a:pt x="1615415" y="516062"/>
                  </a:cubicBezTo>
                  <a:cubicBezTo>
                    <a:pt x="1615415" y="506190"/>
                    <a:pt x="1608897" y="502899"/>
                    <a:pt x="1600752" y="502077"/>
                  </a:cubicBezTo>
                  <a:close/>
                  <a:moveTo>
                    <a:pt x="1473191" y="450839"/>
                  </a:moveTo>
                  <a:cubicBezTo>
                    <a:pt x="1479728" y="450839"/>
                    <a:pt x="1486265" y="463833"/>
                    <a:pt x="1492801" y="463833"/>
                  </a:cubicBezTo>
                  <a:cubicBezTo>
                    <a:pt x="1510749" y="469779"/>
                    <a:pt x="1545118" y="464841"/>
                    <a:pt x="1555152" y="453328"/>
                  </a:cubicBezTo>
                  <a:cubicBezTo>
                    <a:pt x="1817156" y="581451"/>
                    <a:pt x="2046164" y="732868"/>
                    <a:pt x="2248392" y="896876"/>
                  </a:cubicBezTo>
                  <a:cubicBezTo>
                    <a:pt x="2248144" y="897469"/>
                    <a:pt x="2248144" y="898130"/>
                    <a:pt x="2248144" y="898876"/>
                  </a:cubicBezTo>
                  <a:cubicBezTo>
                    <a:pt x="2248144" y="918596"/>
                    <a:pt x="2267685" y="925168"/>
                    <a:pt x="2274200" y="938315"/>
                  </a:cubicBezTo>
                  <a:cubicBezTo>
                    <a:pt x="2274200" y="944888"/>
                    <a:pt x="2274200" y="951461"/>
                    <a:pt x="2280713" y="958035"/>
                  </a:cubicBezTo>
                  <a:cubicBezTo>
                    <a:pt x="2287228" y="971181"/>
                    <a:pt x="2287228" y="964607"/>
                    <a:pt x="2300255" y="971181"/>
                  </a:cubicBezTo>
                  <a:cubicBezTo>
                    <a:pt x="2303512" y="971181"/>
                    <a:pt x="2306769" y="971181"/>
                    <a:pt x="2308398" y="972824"/>
                  </a:cubicBezTo>
                  <a:lnTo>
                    <a:pt x="2306769" y="984327"/>
                  </a:lnTo>
                  <a:cubicBezTo>
                    <a:pt x="2306769" y="990901"/>
                    <a:pt x="2293741" y="984327"/>
                    <a:pt x="2293741" y="997473"/>
                  </a:cubicBezTo>
                  <a:cubicBezTo>
                    <a:pt x="2293741" y="1004030"/>
                    <a:pt x="2306702" y="1017125"/>
                    <a:pt x="2306769" y="1017193"/>
                  </a:cubicBezTo>
                  <a:cubicBezTo>
                    <a:pt x="2313243" y="1023726"/>
                    <a:pt x="2319717" y="1023766"/>
                    <a:pt x="2319797" y="1023766"/>
                  </a:cubicBezTo>
                  <a:cubicBezTo>
                    <a:pt x="2326311" y="1030340"/>
                    <a:pt x="2319797" y="1043486"/>
                    <a:pt x="2326311" y="1043486"/>
                  </a:cubicBezTo>
                  <a:cubicBezTo>
                    <a:pt x="2332825" y="1063206"/>
                    <a:pt x="2345853" y="1056632"/>
                    <a:pt x="2358880" y="1063206"/>
                  </a:cubicBezTo>
                  <a:cubicBezTo>
                    <a:pt x="2371908" y="1063206"/>
                    <a:pt x="2371908" y="1082924"/>
                    <a:pt x="2378423" y="1089497"/>
                  </a:cubicBezTo>
                  <a:cubicBezTo>
                    <a:pt x="2384936" y="1109216"/>
                    <a:pt x="2397964" y="1122362"/>
                    <a:pt x="2417506" y="1122362"/>
                  </a:cubicBezTo>
                  <a:cubicBezTo>
                    <a:pt x="2430534" y="1122362"/>
                    <a:pt x="2430534" y="1115790"/>
                    <a:pt x="2443561" y="1122362"/>
                  </a:cubicBezTo>
                  <a:cubicBezTo>
                    <a:pt x="2456589" y="1128936"/>
                    <a:pt x="2463104" y="1135510"/>
                    <a:pt x="2476131" y="1148656"/>
                  </a:cubicBezTo>
                  <a:cubicBezTo>
                    <a:pt x="2482645" y="1155228"/>
                    <a:pt x="2495673" y="1161802"/>
                    <a:pt x="2502187" y="1161802"/>
                  </a:cubicBezTo>
                  <a:cubicBezTo>
                    <a:pt x="2508701" y="1155228"/>
                    <a:pt x="2508701" y="1148656"/>
                    <a:pt x="2508701" y="1142082"/>
                  </a:cubicBezTo>
                  <a:lnTo>
                    <a:pt x="2517444" y="1133259"/>
                  </a:lnTo>
                  <a:lnTo>
                    <a:pt x="2564596" y="1177954"/>
                  </a:lnTo>
                  <a:cubicBezTo>
                    <a:pt x="2487464" y="1268743"/>
                    <a:pt x="2413642" y="1360723"/>
                    <a:pt x="2344538" y="1453727"/>
                  </a:cubicBezTo>
                  <a:cubicBezTo>
                    <a:pt x="2244363" y="1415184"/>
                    <a:pt x="2144762" y="1379803"/>
                    <a:pt x="2046472" y="1347605"/>
                  </a:cubicBezTo>
                  <a:cubicBezTo>
                    <a:pt x="2046472" y="1342893"/>
                    <a:pt x="2046472" y="1338182"/>
                    <a:pt x="2046472" y="1333470"/>
                  </a:cubicBezTo>
                  <a:cubicBezTo>
                    <a:pt x="2039956" y="1320318"/>
                    <a:pt x="2033439" y="1313742"/>
                    <a:pt x="2033439" y="1307166"/>
                  </a:cubicBezTo>
                  <a:cubicBezTo>
                    <a:pt x="2033439" y="1294015"/>
                    <a:pt x="2033439" y="1287439"/>
                    <a:pt x="2026921" y="1274286"/>
                  </a:cubicBezTo>
                  <a:cubicBezTo>
                    <a:pt x="2026921" y="1261135"/>
                    <a:pt x="2026921" y="1254559"/>
                    <a:pt x="2020405" y="1247984"/>
                  </a:cubicBezTo>
                  <a:cubicBezTo>
                    <a:pt x="2013888" y="1234831"/>
                    <a:pt x="1994337" y="1228255"/>
                    <a:pt x="1987819" y="1215104"/>
                  </a:cubicBezTo>
                  <a:cubicBezTo>
                    <a:pt x="1974786" y="1201951"/>
                    <a:pt x="1981303" y="1195376"/>
                    <a:pt x="1974786" y="1182224"/>
                  </a:cubicBezTo>
                  <a:cubicBezTo>
                    <a:pt x="1968268" y="1169073"/>
                    <a:pt x="1955235" y="1155920"/>
                    <a:pt x="1942201" y="1169073"/>
                  </a:cubicBezTo>
                  <a:cubicBezTo>
                    <a:pt x="1935684" y="1175648"/>
                    <a:pt x="1929166" y="1188800"/>
                    <a:pt x="1922650" y="1195376"/>
                  </a:cubicBezTo>
                  <a:cubicBezTo>
                    <a:pt x="1909616" y="1215104"/>
                    <a:pt x="1883548" y="1215104"/>
                    <a:pt x="1863997" y="1208528"/>
                  </a:cubicBezTo>
                  <a:cubicBezTo>
                    <a:pt x="1844446" y="1201951"/>
                    <a:pt x="1831412" y="1182224"/>
                    <a:pt x="1824895" y="1162496"/>
                  </a:cubicBezTo>
                  <a:cubicBezTo>
                    <a:pt x="1824895" y="1142769"/>
                    <a:pt x="1824895" y="1123040"/>
                    <a:pt x="1805344" y="1109889"/>
                  </a:cubicBezTo>
                  <a:cubicBezTo>
                    <a:pt x="1792310" y="1096738"/>
                    <a:pt x="1772759" y="1090162"/>
                    <a:pt x="1753208" y="1077009"/>
                  </a:cubicBezTo>
                  <a:cubicBezTo>
                    <a:pt x="1746691" y="1063858"/>
                    <a:pt x="1733657" y="1050706"/>
                    <a:pt x="1720624" y="1044130"/>
                  </a:cubicBezTo>
                  <a:cubicBezTo>
                    <a:pt x="1701072" y="1044130"/>
                    <a:pt x="1681521" y="1050706"/>
                    <a:pt x="1668487" y="1063858"/>
                  </a:cubicBezTo>
                  <a:cubicBezTo>
                    <a:pt x="1655453" y="1070434"/>
                    <a:pt x="1635902" y="1063858"/>
                    <a:pt x="1622868" y="1070434"/>
                  </a:cubicBezTo>
                  <a:cubicBezTo>
                    <a:pt x="1596800" y="1077009"/>
                    <a:pt x="1616351" y="1109889"/>
                    <a:pt x="1609834" y="1129617"/>
                  </a:cubicBezTo>
                  <a:cubicBezTo>
                    <a:pt x="1609834" y="1136193"/>
                    <a:pt x="1603317" y="1136193"/>
                    <a:pt x="1603317" y="1142769"/>
                  </a:cubicBezTo>
                  <a:cubicBezTo>
                    <a:pt x="1609834" y="1149344"/>
                    <a:pt x="1609834" y="1149344"/>
                    <a:pt x="1616351" y="1155920"/>
                  </a:cubicBezTo>
                  <a:cubicBezTo>
                    <a:pt x="1616351" y="1162496"/>
                    <a:pt x="1609834" y="1175648"/>
                    <a:pt x="1603317" y="1182224"/>
                  </a:cubicBezTo>
                  <a:cubicBezTo>
                    <a:pt x="1598146" y="1187442"/>
                    <a:pt x="1584769" y="1192660"/>
                    <a:pt x="1581417" y="1202381"/>
                  </a:cubicBezTo>
                  <a:cubicBezTo>
                    <a:pt x="1448623" y="1163631"/>
                    <a:pt x="1321528" y="1130745"/>
                    <a:pt x="1202361" y="1103854"/>
                  </a:cubicBezTo>
                  <a:cubicBezTo>
                    <a:pt x="1209628" y="1093304"/>
                    <a:pt x="1215701" y="1088445"/>
                    <a:pt x="1225332" y="1083585"/>
                  </a:cubicBezTo>
                  <a:cubicBezTo>
                    <a:pt x="1238365" y="1077009"/>
                    <a:pt x="1244883" y="1063858"/>
                    <a:pt x="1257916" y="1057282"/>
                  </a:cubicBezTo>
                  <a:cubicBezTo>
                    <a:pt x="1264434" y="1044130"/>
                    <a:pt x="1264434" y="1030978"/>
                    <a:pt x="1270950" y="1024402"/>
                  </a:cubicBezTo>
                  <a:cubicBezTo>
                    <a:pt x="1277467" y="1017827"/>
                    <a:pt x="1283985" y="1017827"/>
                    <a:pt x="1290501" y="1011251"/>
                  </a:cubicBezTo>
                  <a:cubicBezTo>
                    <a:pt x="1303536" y="1004674"/>
                    <a:pt x="1323086" y="998098"/>
                    <a:pt x="1342637" y="991523"/>
                  </a:cubicBezTo>
                  <a:cubicBezTo>
                    <a:pt x="1349154" y="984947"/>
                    <a:pt x="1355672" y="984947"/>
                    <a:pt x="1355672" y="978371"/>
                  </a:cubicBezTo>
                  <a:cubicBezTo>
                    <a:pt x="1355672" y="971796"/>
                    <a:pt x="1349154" y="958643"/>
                    <a:pt x="1349154" y="952067"/>
                  </a:cubicBezTo>
                  <a:cubicBezTo>
                    <a:pt x="1336121" y="945492"/>
                    <a:pt x="1329603" y="945492"/>
                    <a:pt x="1316569" y="945492"/>
                  </a:cubicBezTo>
                  <a:cubicBezTo>
                    <a:pt x="1310052" y="945492"/>
                    <a:pt x="1283985" y="945492"/>
                    <a:pt x="1290501" y="925763"/>
                  </a:cubicBezTo>
                  <a:cubicBezTo>
                    <a:pt x="1297018" y="912612"/>
                    <a:pt x="1323084" y="919188"/>
                    <a:pt x="1336121" y="919188"/>
                  </a:cubicBezTo>
                  <a:cubicBezTo>
                    <a:pt x="1342637" y="925763"/>
                    <a:pt x="1355672" y="932340"/>
                    <a:pt x="1368705" y="932340"/>
                  </a:cubicBezTo>
                  <a:cubicBezTo>
                    <a:pt x="1388256" y="925763"/>
                    <a:pt x="1381739" y="899460"/>
                    <a:pt x="1401290" y="892884"/>
                  </a:cubicBezTo>
                  <a:cubicBezTo>
                    <a:pt x="1414325" y="892885"/>
                    <a:pt x="1414325" y="892885"/>
                    <a:pt x="1427358" y="899460"/>
                  </a:cubicBezTo>
                  <a:cubicBezTo>
                    <a:pt x="1440392" y="906036"/>
                    <a:pt x="1466460" y="886308"/>
                    <a:pt x="1479494" y="879732"/>
                  </a:cubicBezTo>
                  <a:cubicBezTo>
                    <a:pt x="1499045" y="873156"/>
                    <a:pt x="1512079" y="866581"/>
                    <a:pt x="1531630" y="866581"/>
                  </a:cubicBezTo>
                  <a:cubicBezTo>
                    <a:pt x="1544664" y="860005"/>
                    <a:pt x="1551181" y="853429"/>
                    <a:pt x="1544664" y="840278"/>
                  </a:cubicBezTo>
                  <a:cubicBezTo>
                    <a:pt x="1544664" y="820551"/>
                    <a:pt x="1531630" y="820551"/>
                    <a:pt x="1518596" y="807398"/>
                  </a:cubicBezTo>
                  <a:cubicBezTo>
                    <a:pt x="1518596" y="800851"/>
                    <a:pt x="1518596" y="794305"/>
                    <a:pt x="1518596" y="794247"/>
                  </a:cubicBezTo>
                  <a:cubicBezTo>
                    <a:pt x="1518596" y="781095"/>
                    <a:pt x="1512079" y="774518"/>
                    <a:pt x="1518596" y="767943"/>
                  </a:cubicBezTo>
                  <a:cubicBezTo>
                    <a:pt x="1518596" y="761367"/>
                    <a:pt x="1525113" y="754791"/>
                    <a:pt x="1518596" y="748216"/>
                  </a:cubicBezTo>
                  <a:cubicBezTo>
                    <a:pt x="1518596" y="741640"/>
                    <a:pt x="1505562" y="741640"/>
                    <a:pt x="1499045" y="735063"/>
                  </a:cubicBezTo>
                  <a:cubicBezTo>
                    <a:pt x="1492529" y="728487"/>
                    <a:pt x="1492529" y="721912"/>
                    <a:pt x="1479494" y="721912"/>
                  </a:cubicBezTo>
                  <a:cubicBezTo>
                    <a:pt x="1466460" y="715336"/>
                    <a:pt x="1453427" y="715336"/>
                    <a:pt x="1440392" y="721912"/>
                  </a:cubicBezTo>
                  <a:cubicBezTo>
                    <a:pt x="1427358" y="721912"/>
                    <a:pt x="1420841" y="728487"/>
                    <a:pt x="1427358" y="741640"/>
                  </a:cubicBezTo>
                  <a:cubicBezTo>
                    <a:pt x="1427358" y="748216"/>
                    <a:pt x="1446909" y="754791"/>
                    <a:pt x="1440392" y="767943"/>
                  </a:cubicBezTo>
                  <a:cubicBezTo>
                    <a:pt x="1433907" y="767943"/>
                    <a:pt x="1427420" y="767943"/>
                    <a:pt x="1427358" y="767943"/>
                  </a:cubicBezTo>
                  <a:cubicBezTo>
                    <a:pt x="1420841" y="767943"/>
                    <a:pt x="1420841" y="774518"/>
                    <a:pt x="1414325" y="781095"/>
                  </a:cubicBezTo>
                  <a:cubicBezTo>
                    <a:pt x="1414325" y="787671"/>
                    <a:pt x="1420841" y="794247"/>
                    <a:pt x="1414325" y="800822"/>
                  </a:cubicBezTo>
                  <a:cubicBezTo>
                    <a:pt x="1414325" y="807398"/>
                    <a:pt x="1414325" y="813975"/>
                    <a:pt x="1407807" y="813975"/>
                  </a:cubicBezTo>
                  <a:cubicBezTo>
                    <a:pt x="1401290" y="827126"/>
                    <a:pt x="1388256" y="846853"/>
                    <a:pt x="1375223" y="846853"/>
                  </a:cubicBezTo>
                  <a:cubicBezTo>
                    <a:pt x="1362188" y="846853"/>
                    <a:pt x="1355672" y="840278"/>
                    <a:pt x="1355672" y="827126"/>
                  </a:cubicBezTo>
                  <a:cubicBezTo>
                    <a:pt x="1342637" y="807398"/>
                    <a:pt x="1349154" y="787671"/>
                    <a:pt x="1349154" y="767943"/>
                  </a:cubicBezTo>
                  <a:cubicBezTo>
                    <a:pt x="1349154" y="754791"/>
                    <a:pt x="1336121" y="735063"/>
                    <a:pt x="1323086" y="748216"/>
                  </a:cubicBezTo>
                  <a:cubicBezTo>
                    <a:pt x="1310052" y="754791"/>
                    <a:pt x="1323086" y="800822"/>
                    <a:pt x="1297019" y="787671"/>
                  </a:cubicBezTo>
                  <a:cubicBezTo>
                    <a:pt x="1290501" y="781095"/>
                    <a:pt x="1290501" y="774518"/>
                    <a:pt x="1283985" y="767943"/>
                  </a:cubicBezTo>
                  <a:cubicBezTo>
                    <a:pt x="1283985" y="754791"/>
                    <a:pt x="1283985" y="748216"/>
                    <a:pt x="1270950" y="741640"/>
                  </a:cubicBezTo>
                  <a:cubicBezTo>
                    <a:pt x="1257916" y="741640"/>
                    <a:pt x="1251399" y="728487"/>
                    <a:pt x="1251399" y="721912"/>
                  </a:cubicBezTo>
                  <a:cubicBezTo>
                    <a:pt x="1244883" y="715336"/>
                    <a:pt x="1244883" y="715336"/>
                    <a:pt x="1244883" y="708760"/>
                  </a:cubicBezTo>
                  <a:cubicBezTo>
                    <a:pt x="1244883" y="702230"/>
                    <a:pt x="1251308" y="695700"/>
                    <a:pt x="1251399" y="695608"/>
                  </a:cubicBezTo>
                  <a:cubicBezTo>
                    <a:pt x="1251399" y="689032"/>
                    <a:pt x="1244883" y="695608"/>
                    <a:pt x="1238365" y="689032"/>
                  </a:cubicBezTo>
                  <a:cubicBezTo>
                    <a:pt x="1238365" y="688966"/>
                    <a:pt x="1238407" y="682456"/>
                    <a:pt x="1244883" y="682456"/>
                  </a:cubicBezTo>
                  <a:cubicBezTo>
                    <a:pt x="1244916" y="682490"/>
                    <a:pt x="1251416" y="689018"/>
                    <a:pt x="1257916" y="682456"/>
                  </a:cubicBezTo>
                  <a:cubicBezTo>
                    <a:pt x="1264434" y="675880"/>
                    <a:pt x="1264434" y="669305"/>
                    <a:pt x="1257916" y="662728"/>
                  </a:cubicBezTo>
                  <a:cubicBezTo>
                    <a:pt x="1251399" y="656152"/>
                    <a:pt x="1238365" y="656152"/>
                    <a:pt x="1225332" y="649576"/>
                  </a:cubicBezTo>
                  <a:cubicBezTo>
                    <a:pt x="1218814" y="643001"/>
                    <a:pt x="1212297" y="636425"/>
                    <a:pt x="1199263" y="629849"/>
                  </a:cubicBezTo>
                  <a:lnTo>
                    <a:pt x="1191096" y="619842"/>
                  </a:lnTo>
                  <a:cubicBezTo>
                    <a:pt x="1266574" y="560992"/>
                    <a:pt x="1346933" y="508634"/>
                    <a:pt x="1431148" y="462521"/>
                  </a:cubicBezTo>
                  <a:cubicBezTo>
                    <a:pt x="1436385" y="465947"/>
                    <a:pt x="1443536" y="466330"/>
                    <a:pt x="1453581" y="463833"/>
                  </a:cubicBezTo>
                  <a:cubicBezTo>
                    <a:pt x="1460118" y="457335"/>
                    <a:pt x="1466655" y="450839"/>
                    <a:pt x="1473191" y="450839"/>
                  </a:cubicBezTo>
                  <a:close/>
                  <a:moveTo>
                    <a:pt x="1777745" y="298724"/>
                  </a:moveTo>
                  <a:cubicBezTo>
                    <a:pt x="1779996" y="305951"/>
                    <a:pt x="1785271" y="311547"/>
                    <a:pt x="1792168" y="313867"/>
                  </a:cubicBezTo>
                  <a:cubicBezTo>
                    <a:pt x="1811710" y="327013"/>
                    <a:pt x="1831252" y="320441"/>
                    <a:pt x="1844279" y="313867"/>
                  </a:cubicBezTo>
                  <a:cubicBezTo>
                    <a:pt x="1850794" y="307294"/>
                    <a:pt x="1857307" y="307294"/>
                    <a:pt x="1863822" y="307294"/>
                  </a:cubicBezTo>
                  <a:cubicBezTo>
                    <a:pt x="1870335" y="307294"/>
                    <a:pt x="1883363" y="307294"/>
                    <a:pt x="1889878" y="307294"/>
                  </a:cubicBezTo>
                  <a:cubicBezTo>
                    <a:pt x="1896391" y="307294"/>
                    <a:pt x="1909419" y="313867"/>
                    <a:pt x="1902904" y="320441"/>
                  </a:cubicBezTo>
                  <a:cubicBezTo>
                    <a:pt x="1902904" y="340158"/>
                    <a:pt x="1863822" y="327013"/>
                    <a:pt x="1850794" y="333587"/>
                  </a:cubicBezTo>
                  <a:cubicBezTo>
                    <a:pt x="1831252" y="333587"/>
                    <a:pt x="1805196" y="333587"/>
                    <a:pt x="1792168" y="353306"/>
                  </a:cubicBezTo>
                  <a:cubicBezTo>
                    <a:pt x="1785655" y="366452"/>
                    <a:pt x="1798682" y="379598"/>
                    <a:pt x="1811710" y="386171"/>
                  </a:cubicBezTo>
                  <a:cubicBezTo>
                    <a:pt x="1824738" y="392744"/>
                    <a:pt x="1837766" y="399317"/>
                    <a:pt x="1857307" y="399317"/>
                  </a:cubicBezTo>
                  <a:cubicBezTo>
                    <a:pt x="1870335" y="392744"/>
                    <a:pt x="1883363" y="379598"/>
                    <a:pt x="1896391" y="373025"/>
                  </a:cubicBezTo>
                  <a:cubicBezTo>
                    <a:pt x="1941988" y="359878"/>
                    <a:pt x="1994100" y="373025"/>
                    <a:pt x="2033183" y="386171"/>
                  </a:cubicBezTo>
                  <a:cubicBezTo>
                    <a:pt x="2052726" y="392744"/>
                    <a:pt x="2072267" y="399317"/>
                    <a:pt x="2085295" y="412464"/>
                  </a:cubicBezTo>
                  <a:cubicBezTo>
                    <a:pt x="2104837" y="419037"/>
                    <a:pt x="2117865" y="432183"/>
                    <a:pt x="2130893" y="438757"/>
                  </a:cubicBezTo>
                  <a:cubicBezTo>
                    <a:pt x="2150434" y="451903"/>
                    <a:pt x="2163462" y="471622"/>
                    <a:pt x="2176490" y="491342"/>
                  </a:cubicBezTo>
                  <a:cubicBezTo>
                    <a:pt x="2189518" y="517634"/>
                    <a:pt x="2215574" y="543926"/>
                    <a:pt x="2202546" y="576792"/>
                  </a:cubicBezTo>
                  <a:cubicBezTo>
                    <a:pt x="2196032" y="583366"/>
                    <a:pt x="2189518" y="583366"/>
                    <a:pt x="2189518" y="589938"/>
                  </a:cubicBezTo>
                  <a:cubicBezTo>
                    <a:pt x="2189518" y="609658"/>
                    <a:pt x="2202546" y="609658"/>
                    <a:pt x="2215574" y="609658"/>
                  </a:cubicBezTo>
                  <a:cubicBezTo>
                    <a:pt x="2241629" y="609658"/>
                    <a:pt x="2280713" y="609658"/>
                    <a:pt x="2293741" y="635951"/>
                  </a:cubicBezTo>
                  <a:cubicBezTo>
                    <a:pt x="2293741" y="649097"/>
                    <a:pt x="2293741" y="662243"/>
                    <a:pt x="2287228" y="662243"/>
                  </a:cubicBezTo>
                  <a:cubicBezTo>
                    <a:pt x="2274200" y="668817"/>
                    <a:pt x="2261172" y="655671"/>
                    <a:pt x="2254657" y="655671"/>
                  </a:cubicBezTo>
                  <a:cubicBezTo>
                    <a:pt x="2241629" y="655671"/>
                    <a:pt x="2215574" y="649097"/>
                    <a:pt x="2209060" y="662243"/>
                  </a:cubicBezTo>
                  <a:cubicBezTo>
                    <a:pt x="2202546" y="675389"/>
                    <a:pt x="2215574" y="675389"/>
                    <a:pt x="2222088" y="681963"/>
                  </a:cubicBezTo>
                  <a:cubicBezTo>
                    <a:pt x="2228602" y="681963"/>
                    <a:pt x="2228602" y="688537"/>
                    <a:pt x="2235116" y="695109"/>
                  </a:cubicBezTo>
                  <a:cubicBezTo>
                    <a:pt x="2234979" y="695149"/>
                    <a:pt x="2209060" y="701698"/>
                    <a:pt x="2209060" y="708255"/>
                  </a:cubicBezTo>
                  <a:cubicBezTo>
                    <a:pt x="2209060" y="721401"/>
                    <a:pt x="2222088" y="721401"/>
                    <a:pt x="2222088" y="734547"/>
                  </a:cubicBezTo>
                  <a:cubicBezTo>
                    <a:pt x="2228602" y="741121"/>
                    <a:pt x="2215574" y="741121"/>
                    <a:pt x="2215574" y="754267"/>
                  </a:cubicBezTo>
                  <a:cubicBezTo>
                    <a:pt x="2215574" y="760841"/>
                    <a:pt x="2235116" y="767413"/>
                    <a:pt x="2241629" y="767413"/>
                  </a:cubicBezTo>
                  <a:cubicBezTo>
                    <a:pt x="2280713" y="760841"/>
                    <a:pt x="2241629" y="714828"/>
                    <a:pt x="2254657" y="701682"/>
                  </a:cubicBezTo>
                  <a:cubicBezTo>
                    <a:pt x="2274200" y="681963"/>
                    <a:pt x="2332825" y="708255"/>
                    <a:pt x="2345853" y="714828"/>
                  </a:cubicBezTo>
                  <a:cubicBezTo>
                    <a:pt x="2365395" y="721401"/>
                    <a:pt x="2365395" y="741121"/>
                    <a:pt x="2352367" y="754267"/>
                  </a:cubicBezTo>
                  <a:cubicBezTo>
                    <a:pt x="2339339" y="767413"/>
                    <a:pt x="2326311" y="767413"/>
                    <a:pt x="2319797" y="787133"/>
                  </a:cubicBezTo>
                  <a:cubicBezTo>
                    <a:pt x="2319797" y="800280"/>
                    <a:pt x="2313283" y="806852"/>
                    <a:pt x="2306769" y="813426"/>
                  </a:cubicBezTo>
                  <a:cubicBezTo>
                    <a:pt x="2287228" y="819998"/>
                    <a:pt x="2274200" y="813426"/>
                    <a:pt x="2261172" y="819998"/>
                  </a:cubicBezTo>
                  <a:cubicBezTo>
                    <a:pt x="2254657" y="819998"/>
                    <a:pt x="2248144" y="826572"/>
                    <a:pt x="2241629" y="833146"/>
                  </a:cubicBezTo>
                  <a:cubicBezTo>
                    <a:pt x="2241629" y="846292"/>
                    <a:pt x="2248144" y="846292"/>
                    <a:pt x="2254657" y="852865"/>
                  </a:cubicBezTo>
                  <a:lnTo>
                    <a:pt x="2254657" y="854402"/>
                  </a:lnTo>
                  <a:cubicBezTo>
                    <a:pt x="2030443" y="673237"/>
                    <a:pt x="1790845" y="523986"/>
                    <a:pt x="1532172" y="408254"/>
                  </a:cubicBezTo>
                  <a:lnTo>
                    <a:pt x="1563400" y="393072"/>
                  </a:lnTo>
                  <a:cubicBezTo>
                    <a:pt x="1563537" y="393150"/>
                    <a:pt x="1563677" y="393221"/>
                    <a:pt x="1563818" y="393292"/>
                  </a:cubicBezTo>
                  <a:lnTo>
                    <a:pt x="1571320" y="389221"/>
                  </a:lnTo>
                  <a:cubicBezTo>
                    <a:pt x="1637311" y="353400"/>
                    <a:pt x="1706271" y="323188"/>
                    <a:pt x="1777745" y="298724"/>
                  </a:cubicBezTo>
                  <a:close/>
                  <a:moveTo>
                    <a:pt x="3557306" y="287696"/>
                  </a:moveTo>
                  <a:cubicBezTo>
                    <a:pt x="3811168" y="380958"/>
                    <a:pt x="4045360" y="515441"/>
                    <a:pt x="4252506" y="682887"/>
                  </a:cubicBezTo>
                  <a:cubicBezTo>
                    <a:pt x="4246666" y="683314"/>
                    <a:pt x="4240452" y="680970"/>
                    <a:pt x="4236562" y="680970"/>
                  </a:cubicBezTo>
                  <a:cubicBezTo>
                    <a:pt x="4197447" y="674391"/>
                    <a:pt x="4217004" y="713866"/>
                    <a:pt x="4184408" y="727024"/>
                  </a:cubicBezTo>
                  <a:cubicBezTo>
                    <a:pt x="4164851" y="733603"/>
                    <a:pt x="4119217" y="727024"/>
                    <a:pt x="4112698" y="759919"/>
                  </a:cubicBezTo>
                  <a:cubicBezTo>
                    <a:pt x="4112698" y="766499"/>
                    <a:pt x="4112698" y="779657"/>
                    <a:pt x="4106180" y="786235"/>
                  </a:cubicBezTo>
                  <a:cubicBezTo>
                    <a:pt x="4099661" y="799393"/>
                    <a:pt x="4086622" y="792814"/>
                    <a:pt x="4073584" y="792814"/>
                  </a:cubicBezTo>
                  <a:cubicBezTo>
                    <a:pt x="4067065" y="805972"/>
                    <a:pt x="4080103" y="805972"/>
                    <a:pt x="4086622" y="812551"/>
                  </a:cubicBezTo>
                  <a:cubicBezTo>
                    <a:pt x="4093141" y="838867"/>
                    <a:pt x="4073584" y="825709"/>
                    <a:pt x="4060546" y="832288"/>
                  </a:cubicBezTo>
                  <a:cubicBezTo>
                    <a:pt x="4047507" y="838867"/>
                    <a:pt x="4060546" y="845447"/>
                    <a:pt x="4060546" y="852027"/>
                  </a:cubicBezTo>
                  <a:cubicBezTo>
                    <a:pt x="4060546" y="878343"/>
                    <a:pt x="4034470" y="858606"/>
                    <a:pt x="4021431" y="858606"/>
                  </a:cubicBezTo>
                  <a:cubicBezTo>
                    <a:pt x="3982316" y="858606"/>
                    <a:pt x="4034469" y="904657"/>
                    <a:pt x="4027950" y="911238"/>
                  </a:cubicBezTo>
                  <a:cubicBezTo>
                    <a:pt x="4008392" y="930976"/>
                    <a:pt x="3988835" y="891501"/>
                    <a:pt x="3969279" y="917817"/>
                  </a:cubicBezTo>
                  <a:cubicBezTo>
                    <a:pt x="3962759" y="930976"/>
                    <a:pt x="3956240" y="950712"/>
                    <a:pt x="3943201" y="963870"/>
                  </a:cubicBezTo>
                  <a:cubicBezTo>
                    <a:pt x="3938313" y="973739"/>
                    <a:pt x="3922422" y="976206"/>
                    <a:pt x="3925783" y="982374"/>
                  </a:cubicBezTo>
                  <a:lnTo>
                    <a:pt x="3936683" y="990186"/>
                  </a:lnTo>
                  <a:cubicBezTo>
                    <a:pt x="3943201" y="996765"/>
                    <a:pt x="3956240" y="1003344"/>
                    <a:pt x="3943201" y="1009923"/>
                  </a:cubicBezTo>
                  <a:cubicBezTo>
                    <a:pt x="3930164" y="1009923"/>
                    <a:pt x="3910607" y="1003344"/>
                    <a:pt x="3897568" y="1003344"/>
                  </a:cubicBezTo>
                  <a:cubicBezTo>
                    <a:pt x="3891049" y="996765"/>
                    <a:pt x="3878010" y="996765"/>
                    <a:pt x="3871492" y="1003344"/>
                  </a:cubicBezTo>
                  <a:cubicBezTo>
                    <a:pt x="3864973" y="1016503"/>
                    <a:pt x="3878010" y="1023082"/>
                    <a:pt x="3871492" y="1029661"/>
                  </a:cubicBezTo>
                  <a:cubicBezTo>
                    <a:pt x="3871492" y="1055977"/>
                    <a:pt x="3825858" y="1029661"/>
                    <a:pt x="3819339" y="1055977"/>
                  </a:cubicBezTo>
                  <a:cubicBezTo>
                    <a:pt x="3819339" y="1062556"/>
                    <a:pt x="3825858" y="1075714"/>
                    <a:pt x="3819339" y="1082292"/>
                  </a:cubicBezTo>
                  <a:cubicBezTo>
                    <a:pt x="3812821" y="1095451"/>
                    <a:pt x="3793263" y="1088871"/>
                    <a:pt x="3780225" y="1095451"/>
                  </a:cubicBezTo>
                  <a:lnTo>
                    <a:pt x="3769631" y="1097095"/>
                  </a:lnTo>
                  <a:lnTo>
                    <a:pt x="3773706" y="1108609"/>
                  </a:lnTo>
                  <a:cubicBezTo>
                    <a:pt x="3773744" y="1108609"/>
                    <a:pt x="3780225" y="1108629"/>
                    <a:pt x="3780225" y="1115188"/>
                  </a:cubicBezTo>
                  <a:cubicBezTo>
                    <a:pt x="3773706" y="1121767"/>
                    <a:pt x="3773706" y="1115188"/>
                    <a:pt x="3767186" y="1121767"/>
                  </a:cubicBezTo>
                  <a:cubicBezTo>
                    <a:pt x="3767186" y="1125056"/>
                    <a:pt x="3765556" y="1125056"/>
                    <a:pt x="3764741" y="1125879"/>
                  </a:cubicBezTo>
                  <a:lnTo>
                    <a:pt x="3767186" y="1134925"/>
                  </a:lnTo>
                  <a:cubicBezTo>
                    <a:pt x="3767252" y="1134925"/>
                    <a:pt x="3773749" y="1134961"/>
                    <a:pt x="3780225" y="1141504"/>
                  </a:cubicBezTo>
                  <a:cubicBezTo>
                    <a:pt x="3786743" y="1154662"/>
                    <a:pt x="3780225" y="1148083"/>
                    <a:pt x="3773706" y="1161241"/>
                  </a:cubicBezTo>
                  <a:cubicBezTo>
                    <a:pt x="3760667" y="1174399"/>
                    <a:pt x="3793263" y="1167820"/>
                    <a:pt x="3799782" y="1174399"/>
                  </a:cubicBezTo>
                  <a:cubicBezTo>
                    <a:pt x="3819339" y="1194137"/>
                    <a:pt x="3767186" y="1194137"/>
                    <a:pt x="3773706" y="1213874"/>
                  </a:cubicBezTo>
                  <a:cubicBezTo>
                    <a:pt x="3778595" y="1223743"/>
                    <a:pt x="3798152" y="1215107"/>
                    <a:pt x="3802125" y="1221274"/>
                  </a:cubicBezTo>
                  <a:lnTo>
                    <a:pt x="3799782" y="1233610"/>
                  </a:lnTo>
                  <a:cubicBezTo>
                    <a:pt x="3793263" y="1240189"/>
                    <a:pt x="3786743" y="1240189"/>
                    <a:pt x="3786743" y="1246768"/>
                  </a:cubicBezTo>
                  <a:cubicBezTo>
                    <a:pt x="3786743" y="1266506"/>
                    <a:pt x="3799782" y="1253347"/>
                    <a:pt x="3806301" y="1253347"/>
                  </a:cubicBezTo>
                  <a:cubicBezTo>
                    <a:pt x="3819339" y="1259926"/>
                    <a:pt x="3806301" y="1286243"/>
                    <a:pt x="3825858" y="1279664"/>
                  </a:cubicBezTo>
                  <a:cubicBezTo>
                    <a:pt x="3845416" y="1279664"/>
                    <a:pt x="3838897" y="1253347"/>
                    <a:pt x="3858454" y="1253347"/>
                  </a:cubicBezTo>
                  <a:cubicBezTo>
                    <a:pt x="3864973" y="1253347"/>
                    <a:pt x="3871492" y="1259926"/>
                    <a:pt x="3878010" y="1253347"/>
                  </a:cubicBezTo>
                  <a:cubicBezTo>
                    <a:pt x="3884530" y="1253347"/>
                    <a:pt x="3884530" y="1240189"/>
                    <a:pt x="3891049" y="1233610"/>
                  </a:cubicBezTo>
                  <a:cubicBezTo>
                    <a:pt x="3904088" y="1227031"/>
                    <a:pt x="3910607" y="1240187"/>
                    <a:pt x="3917125" y="1240189"/>
                  </a:cubicBezTo>
                  <a:cubicBezTo>
                    <a:pt x="3930164" y="1240189"/>
                    <a:pt x="3936683" y="1227031"/>
                    <a:pt x="3943201" y="1240189"/>
                  </a:cubicBezTo>
                  <a:cubicBezTo>
                    <a:pt x="3943201" y="1259926"/>
                    <a:pt x="3923645" y="1273085"/>
                    <a:pt x="3936683" y="1286243"/>
                  </a:cubicBezTo>
                  <a:cubicBezTo>
                    <a:pt x="3949721" y="1299402"/>
                    <a:pt x="3975798" y="1305981"/>
                    <a:pt x="3988835" y="1312560"/>
                  </a:cubicBezTo>
                  <a:lnTo>
                    <a:pt x="3996067" y="1323251"/>
                  </a:lnTo>
                  <a:cubicBezTo>
                    <a:pt x="3996985" y="1330653"/>
                    <a:pt x="3982316" y="1330653"/>
                    <a:pt x="3982316" y="1345455"/>
                  </a:cubicBezTo>
                  <a:cubicBezTo>
                    <a:pt x="3975798" y="1371772"/>
                    <a:pt x="4008392" y="1384929"/>
                    <a:pt x="4021431" y="1358614"/>
                  </a:cubicBezTo>
                  <a:cubicBezTo>
                    <a:pt x="4027950" y="1338876"/>
                    <a:pt x="4021431" y="1325718"/>
                    <a:pt x="4054026" y="1332297"/>
                  </a:cubicBezTo>
                  <a:cubicBezTo>
                    <a:pt x="4073584" y="1338876"/>
                    <a:pt x="4080103" y="1325718"/>
                    <a:pt x="4073584" y="1305981"/>
                  </a:cubicBezTo>
                  <a:cubicBezTo>
                    <a:pt x="4067065" y="1279664"/>
                    <a:pt x="4054026" y="1259926"/>
                    <a:pt x="4080103" y="1246768"/>
                  </a:cubicBezTo>
                  <a:cubicBezTo>
                    <a:pt x="4093141" y="1240189"/>
                    <a:pt x="4112698" y="1240189"/>
                    <a:pt x="4119217" y="1227031"/>
                  </a:cubicBezTo>
                  <a:cubicBezTo>
                    <a:pt x="4132256" y="1207295"/>
                    <a:pt x="4125737" y="1187558"/>
                    <a:pt x="4112698" y="1174399"/>
                  </a:cubicBezTo>
                  <a:cubicBezTo>
                    <a:pt x="4099661" y="1161241"/>
                    <a:pt x="4086622" y="1148083"/>
                    <a:pt x="4086622" y="1134925"/>
                  </a:cubicBezTo>
                  <a:cubicBezTo>
                    <a:pt x="4086622" y="1121767"/>
                    <a:pt x="4099661" y="1108609"/>
                    <a:pt x="4099661" y="1095451"/>
                  </a:cubicBezTo>
                  <a:cubicBezTo>
                    <a:pt x="4099661" y="1082292"/>
                    <a:pt x="4093141" y="1062556"/>
                    <a:pt x="4106180" y="1049398"/>
                  </a:cubicBezTo>
                  <a:cubicBezTo>
                    <a:pt x="4112698" y="1042819"/>
                    <a:pt x="4125737" y="1049398"/>
                    <a:pt x="4125737" y="1029661"/>
                  </a:cubicBezTo>
                  <a:cubicBezTo>
                    <a:pt x="4132256" y="1023082"/>
                    <a:pt x="4125737" y="1016503"/>
                    <a:pt x="4138775" y="1009923"/>
                  </a:cubicBezTo>
                  <a:cubicBezTo>
                    <a:pt x="4158332" y="996765"/>
                    <a:pt x="4171371" y="1009923"/>
                    <a:pt x="4184408" y="983607"/>
                  </a:cubicBezTo>
                  <a:cubicBezTo>
                    <a:pt x="4190928" y="970449"/>
                    <a:pt x="4203966" y="950712"/>
                    <a:pt x="4203966" y="930976"/>
                  </a:cubicBezTo>
                  <a:cubicBezTo>
                    <a:pt x="4210486" y="911238"/>
                    <a:pt x="4236562" y="898080"/>
                    <a:pt x="4256119" y="904659"/>
                  </a:cubicBezTo>
                  <a:cubicBezTo>
                    <a:pt x="4269157" y="904659"/>
                    <a:pt x="4269157" y="917817"/>
                    <a:pt x="4269157" y="930976"/>
                  </a:cubicBezTo>
                  <a:cubicBezTo>
                    <a:pt x="4269157" y="937544"/>
                    <a:pt x="4269157" y="944112"/>
                    <a:pt x="4269157" y="944133"/>
                  </a:cubicBezTo>
                  <a:cubicBezTo>
                    <a:pt x="4275675" y="950712"/>
                    <a:pt x="4275675" y="957291"/>
                    <a:pt x="4275675" y="963870"/>
                  </a:cubicBezTo>
                  <a:cubicBezTo>
                    <a:pt x="4275675" y="977028"/>
                    <a:pt x="4256119" y="983607"/>
                    <a:pt x="4249599" y="983607"/>
                  </a:cubicBezTo>
                  <a:cubicBezTo>
                    <a:pt x="4230042" y="996765"/>
                    <a:pt x="4217004" y="1003344"/>
                    <a:pt x="4210486" y="1016503"/>
                  </a:cubicBezTo>
                  <a:cubicBezTo>
                    <a:pt x="4203966" y="1023082"/>
                    <a:pt x="4203966" y="1029661"/>
                    <a:pt x="4203966" y="1036240"/>
                  </a:cubicBezTo>
                  <a:cubicBezTo>
                    <a:pt x="4197447" y="1055977"/>
                    <a:pt x="4210486" y="1069135"/>
                    <a:pt x="4210486" y="1088871"/>
                  </a:cubicBezTo>
                  <a:cubicBezTo>
                    <a:pt x="4217004" y="1102030"/>
                    <a:pt x="4223523" y="1108609"/>
                    <a:pt x="4223523" y="1121767"/>
                  </a:cubicBezTo>
                  <a:cubicBezTo>
                    <a:pt x="4236562" y="1134925"/>
                    <a:pt x="4230042" y="1154662"/>
                    <a:pt x="4243080" y="1167820"/>
                  </a:cubicBezTo>
                  <a:cubicBezTo>
                    <a:pt x="4256119" y="1174399"/>
                    <a:pt x="4269157" y="1174399"/>
                    <a:pt x="4282195" y="1167820"/>
                  </a:cubicBezTo>
                  <a:cubicBezTo>
                    <a:pt x="4295233" y="1154662"/>
                    <a:pt x="4308271" y="1141504"/>
                    <a:pt x="4327829" y="1141504"/>
                  </a:cubicBezTo>
                  <a:cubicBezTo>
                    <a:pt x="4340866" y="1141504"/>
                    <a:pt x="4347386" y="1154662"/>
                    <a:pt x="4353905" y="1154662"/>
                  </a:cubicBezTo>
                  <a:cubicBezTo>
                    <a:pt x="4366944" y="1161241"/>
                    <a:pt x="4373462" y="1154662"/>
                    <a:pt x="4386500" y="1154662"/>
                  </a:cubicBezTo>
                  <a:cubicBezTo>
                    <a:pt x="4399539" y="1161241"/>
                    <a:pt x="4419096" y="1180979"/>
                    <a:pt x="4393020" y="1187558"/>
                  </a:cubicBezTo>
                  <a:cubicBezTo>
                    <a:pt x="4379981" y="1194137"/>
                    <a:pt x="4366944" y="1187558"/>
                    <a:pt x="4353905" y="1187558"/>
                  </a:cubicBezTo>
                  <a:cubicBezTo>
                    <a:pt x="4334348" y="1187558"/>
                    <a:pt x="4334348" y="1200716"/>
                    <a:pt x="4321310" y="1200716"/>
                  </a:cubicBezTo>
                  <a:cubicBezTo>
                    <a:pt x="4301753" y="1207295"/>
                    <a:pt x="4288714" y="1187558"/>
                    <a:pt x="4269157" y="1200716"/>
                  </a:cubicBezTo>
                  <a:cubicBezTo>
                    <a:pt x="4230042" y="1227031"/>
                    <a:pt x="4288714" y="1259926"/>
                    <a:pt x="4262638" y="1286243"/>
                  </a:cubicBezTo>
                  <a:cubicBezTo>
                    <a:pt x="4249599" y="1305981"/>
                    <a:pt x="4236562" y="1279664"/>
                    <a:pt x="4230042" y="1273085"/>
                  </a:cubicBezTo>
                  <a:cubicBezTo>
                    <a:pt x="4210486" y="1266506"/>
                    <a:pt x="4190928" y="1279664"/>
                    <a:pt x="4190928" y="1292823"/>
                  </a:cubicBezTo>
                  <a:cubicBezTo>
                    <a:pt x="4184408" y="1312560"/>
                    <a:pt x="4197447" y="1325718"/>
                    <a:pt x="4190928" y="1345455"/>
                  </a:cubicBezTo>
                  <a:cubicBezTo>
                    <a:pt x="4190928" y="1352035"/>
                    <a:pt x="4184408" y="1352035"/>
                    <a:pt x="4177889" y="1358614"/>
                  </a:cubicBezTo>
                  <a:cubicBezTo>
                    <a:pt x="4177889" y="1371772"/>
                    <a:pt x="4184408" y="1371772"/>
                    <a:pt x="4184408" y="1378351"/>
                  </a:cubicBezTo>
                  <a:cubicBezTo>
                    <a:pt x="4177889" y="1391508"/>
                    <a:pt x="4171371" y="1384929"/>
                    <a:pt x="4164851" y="1391508"/>
                  </a:cubicBezTo>
                  <a:cubicBezTo>
                    <a:pt x="4145294" y="1391508"/>
                    <a:pt x="4151813" y="1404666"/>
                    <a:pt x="4145294" y="1411245"/>
                  </a:cubicBezTo>
                  <a:cubicBezTo>
                    <a:pt x="4132256" y="1430983"/>
                    <a:pt x="4112698" y="1424403"/>
                    <a:pt x="4093141" y="1424403"/>
                  </a:cubicBezTo>
                  <a:cubicBezTo>
                    <a:pt x="4067065" y="1424403"/>
                    <a:pt x="4054026" y="1430983"/>
                    <a:pt x="4027950" y="1444141"/>
                  </a:cubicBezTo>
                  <a:cubicBezTo>
                    <a:pt x="4001874" y="1450720"/>
                    <a:pt x="3988835" y="1430983"/>
                    <a:pt x="3969279" y="1430983"/>
                  </a:cubicBezTo>
                  <a:lnTo>
                    <a:pt x="3959805" y="1429338"/>
                  </a:lnTo>
                  <a:cubicBezTo>
                    <a:pt x="3954610" y="1430571"/>
                    <a:pt x="3959500" y="1439206"/>
                    <a:pt x="3949721" y="1444141"/>
                  </a:cubicBezTo>
                  <a:cubicBezTo>
                    <a:pt x="3936683" y="1450720"/>
                    <a:pt x="3930164" y="1444141"/>
                    <a:pt x="3923645" y="1437562"/>
                  </a:cubicBezTo>
                  <a:cubicBezTo>
                    <a:pt x="3917125" y="1437562"/>
                    <a:pt x="3910607" y="1430983"/>
                    <a:pt x="3904088" y="1424403"/>
                  </a:cubicBezTo>
                  <a:cubicBezTo>
                    <a:pt x="3884530" y="1404666"/>
                    <a:pt x="3910607" y="1398087"/>
                    <a:pt x="3904088" y="1384929"/>
                  </a:cubicBezTo>
                  <a:cubicBezTo>
                    <a:pt x="3904088" y="1365193"/>
                    <a:pt x="3897568" y="1365193"/>
                    <a:pt x="3904088" y="1352035"/>
                  </a:cubicBezTo>
                  <a:cubicBezTo>
                    <a:pt x="3904088" y="1345456"/>
                    <a:pt x="3904088" y="1338876"/>
                    <a:pt x="3904088" y="1332297"/>
                  </a:cubicBezTo>
                  <a:cubicBezTo>
                    <a:pt x="3904088" y="1325718"/>
                    <a:pt x="3904088" y="1319139"/>
                    <a:pt x="3904088" y="1305981"/>
                  </a:cubicBezTo>
                  <a:cubicBezTo>
                    <a:pt x="3910607" y="1299402"/>
                    <a:pt x="3917125" y="1266506"/>
                    <a:pt x="3897568" y="1279664"/>
                  </a:cubicBezTo>
                  <a:cubicBezTo>
                    <a:pt x="3884530" y="1279664"/>
                    <a:pt x="3891049" y="1292823"/>
                    <a:pt x="3884530" y="1292823"/>
                  </a:cubicBezTo>
                  <a:cubicBezTo>
                    <a:pt x="3878010" y="1299402"/>
                    <a:pt x="3871492" y="1292823"/>
                    <a:pt x="3864973" y="1292823"/>
                  </a:cubicBezTo>
                  <a:cubicBezTo>
                    <a:pt x="3851934" y="1305981"/>
                    <a:pt x="3884530" y="1312560"/>
                    <a:pt x="3884530" y="1319139"/>
                  </a:cubicBezTo>
                  <a:cubicBezTo>
                    <a:pt x="3871492" y="1325718"/>
                    <a:pt x="3825858" y="1325718"/>
                    <a:pt x="3838897" y="1352035"/>
                  </a:cubicBezTo>
                  <a:cubicBezTo>
                    <a:pt x="3845416" y="1358614"/>
                    <a:pt x="3851934" y="1358614"/>
                    <a:pt x="3858454" y="1365193"/>
                  </a:cubicBezTo>
                  <a:cubicBezTo>
                    <a:pt x="3858454" y="1378351"/>
                    <a:pt x="3851934" y="1378351"/>
                    <a:pt x="3851934" y="1384929"/>
                  </a:cubicBezTo>
                  <a:cubicBezTo>
                    <a:pt x="3845416" y="1404666"/>
                    <a:pt x="3871492" y="1417824"/>
                    <a:pt x="3878010" y="1430983"/>
                  </a:cubicBezTo>
                  <a:cubicBezTo>
                    <a:pt x="3884530" y="1463878"/>
                    <a:pt x="3858454" y="1457299"/>
                    <a:pt x="3838897" y="1463878"/>
                  </a:cubicBezTo>
                  <a:cubicBezTo>
                    <a:pt x="3838816" y="1463970"/>
                    <a:pt x="3832336" y="1470457"/>
                    <a:pt x="3825858" y="1470457"/>
                  </a:cubicBezTo>
                  <a:cubicBezTo>
                    <a:pt x="3819339" y="1477036"/>
                    <a:pt x="3812821" y="1470457"/>
                    <a:pt x="3806301" y="1470457"/>
                  </a:cubicBezTo>
                  <a:cubicBezTo>
                    <a:pt x="3786743" y="1470457"/>
                    <a:pt x="3773706" y="1477036"/>
                    <a:pt x="3760667" y="1490194"/>
                  </a:cubicBezTo>
                  <a:cubicBezTo>
                    <a:pt x="3754148" y="1509932"/>
                    <a:pt x="3760667" y="1523090"/>
                    <a:pt x="3754148" y="1536248"/>
                  </a:cubicBezTo>
                  <a:cubicBezTo>
                    <a:pt x="3741110" y="1555984"/>
                    <a:pt x="3715033" y="1555984"/>
                    <a:pt x="3695476" y="1549405"/>
                  </a:cubicBezTo>
                  <a:cubicBezTo>
                    <a:pt x="3682439" y="1549405"/>
                    <a:pt x="3669400" y="1549405"/>
                    <a:pt x="3669400" y="1569142"/>
                  </a:cubicBezTo>
                  <a:cubicBezTo>
                    <a:pt x="3669400" y="1582300"/>
                    <a:pt x="3682439" y="1588880"/>
                    <a:pt x="3675919" y="1602038"/>
                  </a:cubicBezTo>
                  <a:cubicBezTo>
                    <a:pt x="3675919" y="1615196"/>
                    <a:pt x="3656361" y="1615196"/>
                    <a:pt x="3643324" y="1615196"/>
                  </a:cubicBezTo>
                  <a:cubicBezTo>
                    <a:pt x="3630285" y="1615196"/>
                    <a:pt x="3623766" y="1602038"/>
                    <a:pt x="3610728" y="1602038"/>
                  </a:cubicBezTo>
                  <a:lnTo>
                    <a:pt x="3597791" y="1601525"/>
                  </a:lnTo>
                  <a:cubicBezTo>
                    <a:pt x="3590763" y="1604917"/>
                    <a:pt x="3599320" y="1618485"/>
                    <a:pt x="3604209" y="1628354"/>
                  </a:cubicBezTo>
                  <a:cubicBezTo>
                    <a:pt x="3610728" y="1648091"/>
                    <a:pt x="3584651" y="1641512"/>
                    <a:pt x="3571614" y="1641512"/>
                  </a:cubicBezTo>
                  <a:cubicBezTo>
                    <a:pt x="3552057" y="1648091"/>
                    <a:pt x="3512942" y="1634933"/>
                    <a:pt x="3512942" y="1661249"/>
                  </a:cubicBezTo>
                  <a:cubicBezTo>
                    <a:pt x="3512942" y="1680987"/>
                    <a:pt x="3539018" y="1680987"/>
                    <a:pt x="3558575" y="1687566"/>
                  </a:cubicBezTo>
                  <a:cubicBezTo>
                    <a:pt x="3578133" y="1694144"/>
                    <a:pt x="3565094" y="1720460"/>
                    <a:pt x="3584651" y="1733618"/>
                  </a:cubicBezTo>
                  <a:cubicBezTo>
                    <a:pt x="3604209" y="1746776"/>
                    <a:pt x="3643324" y="1746776"/>
                    <a:pt x="3623766" y="1779673"/>
                  </a:cubicBezTo>
                  <a:cubicBezTo>
                    <a:pt x="3617248" y="1792831"/>
                    <a:pt x="3610728" y="1792831"/>
                    <a:pt x="3604209" y="1805989"/>
                  </a:cubicBezTo>
                  <a:cubicBezTo>
                    <a:pt x="3604209" y="1819147"/>
                    <a:pt x="3604209" y="1832305"/>
                    <a:pt x="3597690" y="1845464"/>
                  </a:cubicBezTo>
                  <a:cubicBezTo>
                    <a:pt x="3584651" y="1865200"/>
                    <a:pt x="3552057" y="1865200"/>
                    <a:pt x="3532499" y="1865200"/>
                  </a:cubicBezTo>
                  <a:cubicBezTo>
                    <a:pt x="3519460" y="1865200"/>
                    <a:pt x="3499903" y="1865200"/>
                    <a:pt x="3486865" y="1858621"/>
                  </a:cubicBezTo>
                  <a:cubicBezTo>
                    <a:pt x="3480346" y="1858621"/>
                    <a:pt x="3473827" y="1858621"/>
                    <a:pt x="3467308" y="1852042"/>
                  </a:cubicBezTo>
                  <a:cubicBezTo>
                    <a:pt x="3460789" y="1852042"/>
                    <a:pt x="3454269" y="1838885"/>
                    <a:pt x="3441232" y="1838885"/>
                  </a:cubicBezTo>
                  <a:cubicBezTo>
                    <a:pt x="3441232" y="1845412"/>
                    <a:pt x="3434813" y="1845464"/>
                    <a:pt x="3434712" y="1845464"/>
                  </a:cubicBezTo>
                  <a:cubicBezTo>
                    <a:pt x="3428193" y="1852042"/>
                    <a:pt x="3428193" y="1852042"/>
                    <a:pt x="3421674" y="1852042"/>
                  </a:cubicBezTo>
                  <a:cubicBezTo>
                    <a:pt x="3402117" y="1858621"/>
                    <a:pt x="3389078" y="1865200"/>
                    <a:pt x="3395598" y="1884937"/>
                  </a:cubicBezTo>
                  <a:cubicBezTo>
                    <a:pt x="3395598" y="1898118"/>
                    <a:pt x="3400504" y="1909648"/>
                    <a:pt x="3403757" y="1921183"/>
                  </a:cubicBezTo>
                  <a:cubicBezTo>
                    <a:pt x="3320375" y="1876527"/>
                    <a:pt x="3235444" y="1834223"/>
                    <a:pt x="3149778" y="1793573"/>
                  </a:cubicBezTo>
                  <a:cubicBezTo>
                    <a:pt x="2980614" y="1567631"/>
                    <a:pt x="2804454" y="1362742"/>
                    <a:pt x="2619351" y="1179859"/>
                  </a:cubicBezTo>
                  <a:cubicBezTo>
                    <a:pt x="2753619" y="1021941"/>
                    <a:pt x="2892903" y="871760"/>
                    <a:pt x="3030556" y="734085"/>
                  </a:cubicBezTo>
                  <a:cubicBezTo>
                    <a:pt x="3040441" y="729182"/>
                    <a:pt x="3050069" y="724133"/>
                    <a:pt x="3048173" y="715826"/>
                  </a:cubicBezTo>
                  <a:cubicBezTo>
                    <a:pt x="3126733" y="636926"/>
                    <a:pt x="3204874" y="562436"/>
                    <a:pt x="3281289" y="493209"/>
                  </a:cubicBezTo>
                  <a:cubicBezTo>
                    <a:pt x="3309736" y="518570"/>
                    <a:pt x="3347477" y="532145"/>
                    <a:pt x="3388389" y="532145"/>
                  </a:cubicBezTo>
                  <a:cubicBezTo>
                    <a:pt x="3488339" y="532145"/>
                    <a:pt x="3569364" y="451120"/>
                    <a:pt x="3569364" y="351170"/>
                  </a:cubicBezTo>
                  <a:cubicBezTo>
                    <a:pt x="3569364" y="328760"/>
                    <a:pt x="3565291" y="307301"/>
                    <a:pt x="3557306" y="287696"/>
                  </a:cubicBezTo>
                  <a:close/>
                  <a:moveTo>
                    <a:pt x="3388389" y="244490"/>
                  </a:moveTo>
                  <a:cubicBezTo>
                    <a:pt x="3447307" y="244490"/>
                    <a:pt x="3495069" y="292252"/>
                    <a:pt x="3495069" y="351170"/>
                  </a:cubicBezTo>
                  <a:cubicBezTo>
                    <a:pt x="3495069" y="410088"/>
                    <a:pt x="3447307" y="457850"/>
                    <a:pt x="3388389" y="457850"/>
                  </a:cubicBezTo>
                  <a:cubicBezTo>
                    <a:pt x="3329471" y="457850"/>
                    <a:pt x="3281709" y="410088"/>
                    <a:pt x="3281709" y="351170"/>
                  </a:cubicBezTo>
                  <a:cubicBezTo>
                    <a:pt x="3281709" y="292252"/>
                    <a:pt x="3329471" y="244490"/>
                    <a:pt x="3388389" y="244490"/>
                  </a:cubicBezTo>
                  <a:close/>
                  <a:moveTo>
                    <a:pt x="3158941" y="175915"/>
                  </a:moveTo>
                  <a:lnTo>
                    <a:pt x="3161140" y="176253"/>
                  </a:lnTo>
                  <a:cubicBezTo>
                    <a:pt x="3173468" y="182408"/>
                    <a:pt x="3179977" y="182575"/>
                    <a:pt x="3192664" y="188977"/>
                  </a:cubicBezTo>
                  <a:lnTo>
                    <a:pt x="3207130" y="185048"/>
                  </a:lnTo>
                  <a:lnTo>
                    <a:pt x="3287899" y="204674"/>
                  </a:lnTo>
                  <a:cubicBezTo>
                    <a:pt x="3238540" y="234542"/>
                    <a:pt x="3207414" y="289221"/>
                    <a:pt x="3207414" y="351170"/>
                  </a:cubicBezTo>
                  <a:cubicBezTo>
                    <a:pt x="3207414" y="396588"/>
                    <a:pt x="3224145" y="438098"/>
                    <a:pt x="3253289" y="468561"/>
                  </a:cubicBezTo>
                  <a:lnTo>
                    <a:pt x="3067844" y="641960"/>
                  </a:lnTo>
                  <a:cubicBezTo>
                    <a:pt x="3066253" y="639853"/>
                    <a:pt x="3064319" y="637902"/>
                    <a:pt x="3062385" y="635951"/>
                  </a:cubicBezTo>
                  <a:cubicBezTo>
                    <a:pt x="3062385" y="622804"/>
                    <a:pt x="3062385" y="616232"/>
                    <a:pt x="3068900" y="609658"/>
                  </a:cubicBezTo>
                  <a:cubicBezTo>
                    <a:pt x="3075413" y="596512"/>
                    <a:pt x="3075413" y="576792"/>
                    <a:pt x="3062385" y="563646"/>
                  </a:cubicBezTo>
                  <a:cubicBezTo>
                    <a:pt x="3055872" y="557073"/>
                    <a:pt x="3042844" y="557073"/>
                    <a:pt x="3049357" y="543926"/>
                  </a:cubicBezTo>
                  <a:cubicBezTo>
                    <a:pt x="3068900" y="537353"/>
                    <a:pt x="3094955" y="543926"/>
                    <a:pt x="3107983" y="543926"/>
                  </a:cubicBezTo>
                  <a:cubicBezTo>
                    <a:pt x="3114497" y="537353"/>
                    <a:pt x="3121011" y="537353"/>
                    <a:pt x="3121011" y="530780"/>
                  </a:cubicBezTo>
                  <a:cubicBezTo>
                    <a:pt x="3121011" y="517634"/>
                    <a:pt x="3114497" y="517634"/>
                    <a:pt x="3101469" y="517634"/>
                  </a:cubicBezTo>
                  <a:cubicBezTo>
                    <a:pt x="3094955" y="511062"/>
                    <a:pt x="3075413" y="511062"/>
                    <a:pt x="3068900" y="497915"/>
                  </a:cubicBezTo>
                  <a:lnTo>
                    <a:pt x="3062182" y="486515"/>
                  </a:lnTo>
                  <a:cubicBezTo>
                    <a:pt x="3066456" y="478196"/>
                    <a:pt x="3098212" y="478196"/>
                    <a:pt x="3107983" y="478196"/>
                  </a:cubicBezTo>
                  <a:cubicBezTo>
                    <a:pt x="3114497" y="478196"/>
                    <a:pt x="3140553" y="491342"/>
                    <a:pt x="3140553" y="478196"/>
                  </a:cubicBezTo>
                  <a:cubicBezTo>
                    <a:pt x="3147067" y="465049"/>
                    <a:pt x="3107983" y="465049"/>
                    <a:pt x="3114497" y="445329"/>
                  </a:cubicBezTo>
                  <a:cubicBezTo>
                    <a:pt x="3121011" y="432183"/>
                    <a:pt x="3147067" y="425611"/>
                    <a:pt x="3140553" y="405891"/>
                  </a:cubicBezTo>
                  <a:cubicBezTo>
                    <a:pt x="3127525" y="386171"/>
                    <a:pt x="3094955" y="405891"/>
                    <a:pt x="3088441" y="386171"/>
                  </a:cubicBezTo>
                  <a:cubicBezTo>
                    <a:pt x="3081928" y="366452"/>
                    <a:pt x="3081928" y="346732"/>
                    <a:pt x="3107983" y="353306"/>
                  </a:cubicBezTo>
                  <a:cubicBezTo>
                    <a:pt x="3121011" y="353306"/>
                    <a:pt x="3166608" y="392744"/>
                    <a:pt x="3179636" y="373025"/>
                  </a:cubicBezTo>
                  <a:cubicBezTo>
                    <a:pt x="3192664" y="353306"/>
                    <a:pt x="3166608" y="333587"/>
                    <a:pt x="3153580" y="333587"/>
                  </a:cubicBezTo>
                  <a:cubicBezTo>
                    <a:pt x="3147067" y="333587"/>
                    <a:pt x="3140553" y="333587"/>
                    <a:pt x="3140553" y="327013"/>
                  </a:cubicBezTo>
                  <a:cubicBezTo>
                    <a:pt x="3134039" y="320441"/>
                    <a:pt x="3140553" y="320441"/>
                    <a:pt x="3134039" y="313867"/>
                  </a:cubicBezTo>
                  <a:cubicBezTo>
                    <a:pt x="3134039" y="300721"/>
                    <a:pt x="3114497" y="300721"/>
                    <a:pt x="3114497" y="287574"/>
                  </a:cubicBezTo>
                  <a:cubicBezTo>
                    <a:pt x="3114497" y="274429"/>
                    <a:pt x="3127525" y="267856"/>
                    <a:pt x="3134039" y="267856"/>
                  </a:cubicBezTo>
                  <a:cubicBezTo>
                    <a:pt x="3140553" y="261282"/>
                    <a:pt x="3147067" y="254708"/>
                    <a:pt x="3147067" y="241562"/>
                  </a:cubicBezTo>
                  <a:cubicBezTo>
                    <a:pt x="3153580" y="221843"/>
                    <a:pt x="3153580" y="228416"/>
                    <a:pt x="3166608" y="221843"/>
                  </a:cubicBezTo>
                  <a:cubicBezTo>
                    <a:pt x="3186151" y="215269"/>
                    <a:pt x="3179636" y="202123"/>
                    <a:pt x="3166608" y="188977"/>
                  </a:cubicBezTo>
                  <a:cubicBezTo>
                    <a:pt x="3166475" y="188977"/>
                    <a:pt x="3147067" y="188960"/>
                    <a:pt x="3147067" y="182403"/>
                  </a:cubicBezTo>
                  <a:cubicBezTo>
                    <a:pt x="3140919" y="176200"/>
                    <a:pt x="3152179" y="175851"/>
                    <a:pt x="3158941" y="175915"/>
                  </a:cubicBezTo>
                  <a:close/>
                  <a:moveTo>
                    <a:pt x="2680032" y="66572"/>
                  </a:moveTo>
                  <a:cubicBezTo>
                    <a:pt x="1236658" y="66572"/>
                    <a:pt x="66572" y="1236658"/>
                    <a:pt x="66572" y="2680032"/>
                  </a:cubicBezTo>
                  <a:cubicBezTo>
                    <a:pt x="66572" y="4123405"/>
                    <a:pt x="1236658" y="5293491"/>
                    <a:pt x="2680032" y="5293491"/>
                  </a:cubicBezTo>
                  <a:cubicBezTo>
                    <a:pt x="4123405" y="5293491"/>
                    <a:pt x="5293491" y="4123405"/>
                    <a:pt x="5293491" y="2680032"/>
                  </a:cubicBezTo>
                  <a:cubicBezTo>
                    <a:pt x="5293491" y="1508205"/>
                    <a:pt x="4522256" y="516510"/>
                    <a:pt x="3459646" y="184965"/>
                  </a:cubicBezTo>
                  <a:cubicBezTo>
                    <a:pt x="3445024" y="178486"/>
                    <a:pt x="3429326" y="174068"/>
                    <a:pt x="3412820" y="172658"/>
                  </a:cubicBezTo>
                  <a:cubicBezTo>
                    <a:pt x="3180691" y="102972"/>
                    <a:pt x="2934612" y="66572"/>
                    <a:pt x="2680032" y="66572"/>
                  </a:cubicBezTo>
                  <a:close/>
                  <a:moveTo>
                    <a:pt x="2680032" y="0"/>
                  </a:moveTo>
                  <a:cubicBezTo>
                    <a:pt x="4160172" y="0"/>
                    <a:pt x="5360063" y="1199890"/>
                    <a:pt x="5360063" y="2680032"/>
                  </a:cubicBezTo>
                  <a:cubicBezTo>
                    <a:pt x="5360063" y="4160172"/>
                    <a:pt x="4160172" y="5360063"/>
                    <a:pt x="2680032" y="5360063"/>
                  </a:cubicBezTo>
                  <a:cubicBezTo>
                    <a:pt x="1199890" y="5360063"/>
                    <a:pt x="0" y="4160172"/>
                    <a:pt x="0" y="2680032"/>
                  </a:cubicBezTo>
                  <a:cubicBezTo>
                    <a:pt x="0" y="1199890"/>
                    <a:pt x="1199890" y="0"/>
                    <a:pt x="2680032" y="0"/>
                  </a:cubicBezTo>
                  <a:close/>
                </a:path>
              </a:pathLst>
            </a:custGeom>
            <a:grpFill/>
            <a:ln w="25400" cap="flat" cmpd="sng" algn="ctr">
              <a:noFill/>
              <a:prstDash val="solid"/>
            </a:ln>
            <a:effectLst/>
          </p:spPr>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sp>
          <p:nvSpPr>
            <p:cNvPr id="17" name="Freeform 16"/>
            <p:cNvSpPr/>
            <p:nvPr/>
          </p:nvSpPr>
          <p:spPr>
            <a:xfrm>
              <a:off x="-287810" y="4361614"/>
              <a:ext cx="355654" cy="911219"/>
            </a:xfrm>
            <a:custGeom>
              <a:avLst/>
              <a:gdLst>
                <a:gd name="connsiteX0" fmla="*/ 118796 w 452140"/>
                <a:gd name="connsiteY0" fmla="*/ 213409 h 1158424"/>
                <a:gd name="connsiteX1" fmla="*/ 333343 w 452140"/>
                <a:gd name="connsiteY1" fmla="*/ 213409 h 1158424"/>
                <a:gd name="connsiteX2" fmla="*/ 444784 w 452140"/>
                <a:gd name="connsiteY2" fmla="*/ 287095 h 1158424"/>
                <a:gd name="connsiteX3" fmla="*/ 449951 w 452140"/>
                <a:gd name="connsiteY3" fmla="*/ 303591 h 1158424"/>
                <a:gd name="connsiteX4" fmla="*/ 452140 w 452140"/>
                <a:gd name="connsiteY4" fmla="*/ 325301 h 1158424"/>
                <a:gd name="connsiteX5" fmla="*/ 452140 w 452140"/>
                <a:gd name="connsiteY5" fmla="*/ 332205 h 1158424"/>
                <a:gd name="connsiteX6" fmla="*/ 452140 w 452140"/>
                <a:gd name="connsiteY6" fmla="*/ 364807 h 1158424"/>
                <a:gd name="connsiteX7" fmla="*/ 452140 w 452140"/>
                <a:gd name="connsiteY7" fmla="*/ 633253 h 1158424"/>
                <a:gd name="connsiteX8" fmla="*/ 409478 w 452140"/>
                <a:gd name="connsiteY8" fmla="*/ 675915 h 1158424"/>
                <a:gd name="connsiteX9" fmla="*/ 366816 w 452140"/>
                <a:gd name="connsiteY9" fmla="*/ 633253 h 1158424"/>
                <a:gd name="connsiteX10" fmla="*/ 366816 w 452140"/>
                <a:gd name="connsiteY10" fmla="*/ 478231 h 1158424"/>
                <a:gd name="connsiteX11" fmla="*/ 366363 w 452140"/>
                <a:gd name="connsiteY11" fmla="*/ 478344 h 1158424"/>
                <a:gd name="connsiteX12" fmla="*/ 366363 w 452140"/>
                <a:gd name="connsiteY12" fmla="*/ 363643 h 1158424"/>
                <a:gd name="connsiteX13" fmla="*/ 364558 w 452140"/>
                <a:gd name="connsiteY13" fmla="*/ 361838 h 1158424"/>
                <a:gd name="connsiteX14" fmla="*/ 346505 w 452140"/>
                <a:gd name="connsiteY14" fmla="*/ 361838 h 1158424"/>
                <a:gd name="connsiteX15" fmla="*/ 344699 w 452140"/>
                <a:gd name="connsiteY15" fmla="*/ 363643 h 1158424"/>
                <a:gd name="connsiteX16" fmla="*/ 345052 w 452140"/>
                <a:gd name="connsiteY16" fmla="*/ 470080 h 1158424"/>
                <a:gd name="connsiteX17" fmla="*/ 345052 w 452140"/>
                <a:gd name="connsiteY17" fmla="*/ 1105097 h 1158424"/>
                <a:gd name="connsiteX18" fmla="*/ 291725 w 452140"/>
                <a:gd name="connsiteY18" fmla="*/ 1158424 h 1158424"/>
                <a:gd name="connsiteX19" fmla="*/ 238397 w 452140"/>
                <a:gd name="connsiteY19" fmla="*/ 1105097 h 1158424"/>
                <a:gd name="connsiteX20" fmla="*/ 238397 w 452140"/>
                <a:gd name="connsiteY20" fmla="*/ 703825 h 1158424"/>
                <a:gd name="connsiteX21" fmla="*/ 238044 w 452140"/>
                <a:gd name="connsiteY21" fmla="*/ 673190 h 1158424"/>
                <a:gd name="connsiteX22" fmla="*/ 236460 w 452140"/>
                <a:gd name="connsiteY22" fmla="*/ 671606 h 1158424"/>
                <a:gd name="connsiteX23" fmla="*/ 216791 w 452140"/>
                <a:gd name="connsiteY23" fmla="*/ 671606 h 1158424"/>
                <a:gd name="connsiteX24" fmla="*/ 215207 w 452140"/>
                <a:gd name="connsiteY24" fmla="*/ 673190 h 1158424"/>
                <a:gd name="connsiteX25" fmla="*/ 215207 w 452140"/>
                <a:gd name="connsiteY25" fmla="*/ 703825 h 1158424"/>
                <a:gd name="connsiteX26" fmla="*/ 215075 w 452140"/>
                <a:gd name="connsiteY26" fmla="*/ 1105097 h 1158424"/>
                <a:gd name="connsiteX27" fmla="*/ 161747 w 452140"/>
                <a:gd name="connsiteY27" fmla="*/ 1158424 h 1158424"/>
                <a:gd name="connsiteX28" fmla="*/ 108419 w 452140"/>
                <a:gd name="connsiteY28" fmla="*/ 1105097 h 1158424"/>
                <a:gd name="connsiteX29" fmla="*/ 108419 w 452140"/>
                <a:gd name="connsiteY29" fmla="*/ 482815 h 1158424"/>
                <a:gd name="connsiteX30" fmla="*/ 106756 w 452140"/>
                <a:gd name="connsiteY30" fmla="*/ 363616 h 1158424"/>
                <a:gd name="connsiteX31" fmla="*/ 104978 w 452140"/>
                <a:gd name="connsiteY31" fmla="*/ 361838 h 1158424"/>
                <a:gd name="connsiteX32" fmla="*/ 87202 w 452140"/>
                <a:gd name="connsiteY32" fmla="*/ 361838 h 1158424"/>
                <a:gd name="connsiteX33" fmla="*/ 85425 w 452140"/>
                <a:gd name="connsiteY33" fmla="*/ 363616 h 1158424"/>
                <a:gd name="connsiteX34" fmla="*/ 85425 w 452140"/>
                <a:gd name="connsiteY34" fmla="*/ 478256 h 1158424"/>
                <a:gd name="connsiteX35" fmla="*/ 85324 w 452140"/>
                <a:gd name="connsiteY35" fmla="*/ 478231 h 1158424"/>
                <a:gd name="connsiteX36" fmla="*/ 85324 w 452140"/>
                <a:gd name="connsiteY36" fmla="*/ 633253 h 1158424"/>
                <a:gd name="connsiteX37" fmla="*/ 42662 w 452140"/>
                <a:gd name="connsiteY37" fmla="*/ 675915 h 1158424"/>
                <a:gd name="connsiteX38" fmla="*/ 0 w 452140"/>
                <a:gd name="connsiteY38" fmla="*/ 633253 h 1158424"/>
                <a:gd name="connsiteX39" fmla="*/ 0 w 452140"/>
                <a:gd name="connsiteY39" fmla="*/ 364807 h 1158424"/>
                <a:gd name="connsiteX40" fmla="*/ 0 w 452140"/>
                <a:gd name="connsiteY40" fmla="*/ 332205 h 1158424"/>
                <a:gd name="connsiteX41" fmla="*/ 0 w 452140"/>
                <a:gd name="connsiteY41" fmla="*/ 325301 h 1158424"/>
                <a:gd name="connsiteX42" fmla="*/ 4216 w 452140"/>
                <a:gd name="connsiteY42" fmla="*/ 296223 h 1158424"/>
                <a:gd name="connsiteX43" fmla="*/ 6801 w 452140"/>
                <a:gd name="connsiteY43" fmla="*/ 287651 h 1158424"/>
                <a:gd name="connsiteX44" fmla="*/ 118796 w 452140"/>
                <a:gd name="connsiteY44" fmla="*/ 213409 h 1158424"/>
                <a:gd name="connsiteX45" fmla="*/ 226070 w 452140"/>
                <a:gd name="connsiteY45" fmla="*/ 0 h 1158424"/>
                <a:gd name="connsiteX46" fmla="*/ 320148 w 452140"/>
                <a:gd name="connsiteY46" fmla="*/ 94078 h 1158424"/>
                <a:gd name="connsiteX47" fmla="*/ 226070 w 452140"/>
                <a:gd name="connsiteY47" fmla="*/ 188156 h 1158424"/>
                <a:gd name="connsiteX48" fmla="*/ 131992 w 452140"/>
                <a:gd name="connsiteY48" fmla="*/ 94078 h 1158424"/>
                <a:gd name="connsiteX49" fmla="*/ 226070 w 452140"/>
                <a:gd name="connsiteY49" fmla="*/ 0 h 1158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52140" h="1158424">
                  <a:moveTo>
                    <a:pt x="118796" y="213409"/>
                  </a:moveTo>
                  <a:lnTo>
                    <a:pt x="333343" y="213409"/>
                  </a:lnTo>
                  <a:cubicBezTo>
                    <a:pt x="383585" y="213409"/>
                    <a:pt x="427652" y="242931"/>
                    <a:pt x="444784" y="287095"/>
                  </a:cubicBezTo>
                  <a:cubicBezTo>
                    <a:pt x="448077" y="292832"/>
                    <a:pt x="448628" y="298458"/>
                    <a:pt x="449951" y="303591"/>
                  </a:cubicBezTo>
                  <a:lnTo>
                    <a:pt x="452140" y="325301"/>
                  </a:lnTo>
                  <a:lnTo>
                    <a:pt x="452140" y="332205"/>
                  </a:lnTo>
                  <a:lnTo>
                    <a:pt x="452140" y="364807"/>
                  </a:lnTo>
                  <a:lnTo>
                    <a:pt x="452140" y="633253"/>
                  </a:lnTo>
                  <a:cubicBezTo>
                    <a:pt x="452140" y="656815"/>
                    <a:pt x="433039" y="675915"/>
                    <a:pt x="409478" y="675915"/>
                  </a:cubicBezTo>
                  <a:cubicBezTo>
                    <a:pt x="385916" y="675915"/>
                    <a:pt x="366816" y="656815"/>
                    <a:pt x="366816" y="633253"/>
                  </a:cubicBezTo>
                  <a:lnTo>
                    <a:pt x="366816" y="478231"/>
                  </a:lnTo>
                  <a:lnTo>
                    <a:pt x="366363" y="478344"/>
                  </a:lnTo>
                  <a:lnTo>
                    <a:pt x="366363" y="363643"/>
                  </a:lnTo>
                  <a:cubicBezTo>
                    <a:pt x="366363" y="362646"/>
                    <a:pt x="365555" y="361838"/>
                    <a:pt x="364558" y="361838"/>
                  </a:cubicBezTo>
                  <a:lnTo>
                    <a:pt x="346505" y="361838"/>
                  </a:lnTo>
                  <a:cubicBezTo>
                    <a:pt x="345507" y="361838"/>
                    <a:pt x="344699" y="362646"/>
                    <a:pt x="344699" y="363643"/>
                  </a:cubicBezTo>
                  <a:cubicBezTo>
                    <a:pt x="344817" y="399122"/>
                    <a:pt x="344935" y="434601"/>
                    <a:pt x="345052" y="470080"/>
                  </a:cubicBezTo>
                  <a:lnTo>
                    <a:pt x="345052" y="1105097"/>
                  </a:lnTo>
                  <a:cubicBezTo>
                    <a:pt x="345052" y="1134549"/>
                    <a:pt x="321177" y="1158424"/>
                    <a:pt x="291725" y="1158424"/>
                  </a:cubicBezTo>
                  <a:cubicBezTo>
                    <a:pt x="262273" y="1158424"/>
                    <a:pt x="238397" y="1134549"/>
                    <a:pt x="238397" y="1105097"/>
                  </a:cubicBezTo>
                  <a:lnTo>
                    <a:pt x="238397" y="703825"/>
                  </a:lnTo>
                  <a:cubicBezTo>
                    <a:pt x="238279" y="693614"/>
                    <a:pt x="238162" y="683402"/>
                    <a:pt x="238044" y="673190"/>
                  </a:cubicBezTo>
                  <a:cubicBezTo>
                    <a:pt x="238044" y="672315"/>
                    <a:pt x="237335" y="671606"/>
                    <a:pt x="236460" y="671606"/>
                  </a:cubicBezTo>
                  <a:lnTo>
                    <a:pt x="216791" y="671606"/>
                  </a:lnTo>
                  <a:cubicBezTo>
                    <a:pt x="215916" y="671606"/>
                    <a:pt x="215207" y="672315"/>
                    <a:pt x="215207" y="673190"/>
                  </a:cubicBezTo>
                  <a:lnTo>
                    <a:pt x="215207" y="703825"/>
                  </a:lnTo>
                  <a:cubicBezTo>
                    <a:pt x="215163" y="837582"/>
                    <a:pt x="215119" y="971339"/>
                    <a:pt x="215075" y="1105097"/>
                  </a:cubicBezTo>
                  <a:cubicBezTo>
                    <a:pt x="215075" y="1134549"/>
                    <a:pt x="191199" y="1158424"/>
                    <a:pt x="161747" y="1158424"/>
                  </a:cubicBezTo>
                  <a:cubicBezTo>
                    <a:pt x="132295" y="1158424"/>
                    <a:pt x="108419" y="1134549"/>
                    <a:pt x="108419" y="1105097"/>
                  </a:cubicBezTo>
                  <a:lnTo>
                    <a:pt x="108419" y="482815"/>
                  </a:lnTo>
                  <a:cubicBezTo>
                    <a:pt x="107864" y="443082"/>
                    <a:pt x="107310" y="403349"/>
                    <a:pt x="106756" y="363616"/>
                  </a:cubicBezTo>
                  <a:cubicBezTo>
                    <a:pt x="106756" y="362634"/>
                    <a:pt x="105960" y="361838"/>
                    <a:pt x="104978" y="361838"/>
                  </a:cubicBezTo>
                  <a:lnTo>
                    <a:pt x="87202" y="361838"/>
                  </a:lnTo>
                  <a:cubicBezTo>
                    <a:pt x="86220" y="361838"/>
                    <a:pt x="85425" y="362634"/>
                    <a:pt x="85425" y="363616"/>
                  </a:cubicBezTo>
                  <a:lnTo>
                    <a:pt x="85425" y="478256"/>
                  </a:lnTo>
                  <a:cubicBezTo>
                    <a:pt x="85389" y="478253"/>
                    <a:pt x="85357" y="478242"/>
                    <a:pt x="85324" y="478231"/>
                  </a:cubicBezTo>
                  <a:lnTo>
                    <a:pt x="85324" y="633253"/>
                  </a:lnTo>
                  <a:cubicBezTo>
                    <a:pt x="85324" y="656815"/>
                    <a:pt x="66224" y="675915"/>
                    <a:pt x="42662" y="675915"/>
                  </a:cubicBezTo>
                  <a:cubicBezTo>
                    <a:pt x="19101" y="675915"/>
                    <a:pt x="0" y="656815"/>
                    <a:pt x="0" y="633253"/>
                  </a:cubicBezTo>
                  <a:lnTo>
                    <a:pt x="0" y="364807"/>
                  </a:lnTo>
                  <a:lnTo>
                    <a:pt x="0" y="332205"/>
                  </a:lnTo>
                  <a:lnTo>
                    <a:pt x="0" y="325301"/>
                  </a:lnTo>
                  <a:cubicBezTo>
                    <a:pt x="0" y="315209"/>
                    <a:pt x="1313" y="305424"/>
                    <a:pt x="4216" y="296223"/>
                  </a:cubicBezTo>
                  <a:cubicBezTo>
                    <a:pt x="5008" y="293390"/>
                    <a:pt x="4919" y="289851"/>
                    <a:pt x="6801" y="287651"/>
                  </a:cubicBezTo>
                  <a:cubicBezTo>
                    <a:pt x="23933" y="243486"/>
                    <a:pt x="68555" y="213409"/>
                    <a:pt x="118796" y="213409"/>
                  </a:cubicBezTo>
                  <a:close/>
                  <a:moveTo>
                    <a:pt x="226070" y="0"/>
                  </a:moveTo>
                  <a:cubicBezTo>
                    <a:pt x="278028" y="0"/>
                    <a:pt x="320148" y="42120"/>
                    <a:pt x="320148" y="94078"/>
                  </a:cubicBezTo>
                  <a:cubicBezTo>
                    <a:pt x="320148" y="146036"/>
                    <a:pt x="278028" y="188156"/>
                    <a:pt x="226070" y="188156"/>
                  </a:cubicBezTo>
                  <a:cubicBezTo>
                    <a:pt x="174112" y="188156"/>
                    <a:pt x="131992" y="146036"/>
                    <a:pt x="131992" y="94078"/>
                  </a:cubicBezTo>
                  <a:cubicBezTo>
                    <a:pt x="131992" y="42120"/>
                    <a:pt x="174112" y="0"/>
                    <a:pt x="226070" y="0"/>
                  </a:cubicBezTo>
                  <a:close/>
                </a:path>
              </a:pathLst>
            </a:custGeom>
            <a:grpFill/>
            <a:ln w="25400" cap="flat" cmpd="sng" algn="ctr">
              <a:noFill/>
              <a:prstDash val="solid"/>
            </a:ln>
            <a:effectLst/>
          </p:spPr>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sp>
          <p:nvSpPr>
            <p:cNvPr id="18" name="Freeform 17"/>
            <p:cNvSpPr/>
            <p:nvPr/>
          </p:nvSpPr>
          <p:spPr>
            <a:xfrm>
              <a:off x="190706" y="4183614"/>
              <a:ext cx="729520" cy="580130"/>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grpFill/>
            <a:ln w="9525" cap="flat" cmpd="sng" algn="ctr">
              <a:noFill/>
              <a:prstDash val="solid"/>
            </a:ln>
            <a:effectLst/>
          </p:spPr>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Freeform 18"/>
            <p:cNvSpPr/>
            <p:nvPr/>
          </p:nvSpPr>
          <p:spPr bwMode="auto">
            <a:xfrm>
              <a:off x="139508" y="4876088"/>
              <a:ext cx="780718" cy="517955"/>
            </a:xfrm>
            <a:custGeom>
              <a:avLst/>
              <a:gdLst/>
              <a:ahLst/>
              <a:cxnLst/>
              <a:rect l="l" t="t" r="r" b="b"/>
              <a:pathLst>
                <a:path w="6450949" h="4324350">
                  <a:moveTo>
                    <a:pt x="652849" y="2906737"/>
                  </a:moveTo>
                  <a:lnTo>
                    <a:pt x="3530185" y="3604337"/>
                  </a:lnTo>
                  <a:cubicBezTo>
                    <a:pt x="3530212" y="3608651"/>
                    <a:pt x="3535898" y="3609750"/>
                    <a:pt x="3539176" y="3612840"/>
                  </a:cubicBezTo>
                  <a:cubicBezTo>
                    <a:pt x="3539258" y="3615882"/>
                    <a:pt x="3539340" y="3618923"/>
                    <a:pt x="3539423" y="3621964"/>
                  </a:cubicBezTo>
                  <a:cubicBezTo>
                    <a:pt x="3539450" y="3626380"/>
                    <a:pt x="3533865" y="3631912"/>
                    <a:pt x="3532119" y="3637119"/>
                  </a:cubicBezTo>
                  <a:lnTo>
                    <a:pt x="3431629" y="3615019"/>
                  </a:lnTo>
                  <a:lnTo>
                    <a:pt x="3332848" y="3623566"/>
                  </a:lnTo>
                  <a:lnTo>
                    <a:pt x="3298489" y="3585107"/>
                  </a:lnTo>
                  <a:lnTo>
                    <a:pt x="3216885" y="3576562"/>
                  </a:lnTo>
                  <a:lnTo>
                    <a:pt x="3182525" y="3559470"/>
                  </a:lnTo>
                  <a:lnTo>
                    <a:pt x="3105216" y="3559470"/>
                  </a:lnTo>
                  <a:lnTo>
                    <a:pt x="3057974" y="3525285"/>
                  </a:lnTo>
                  <a:lnTo>
                    <a:pt x="2993550" y="3533830"/>
                  </a:lnTo>
                  <a:lnTo>
                    <a:pt x="2937716" y="3508192"/>
                  </a:lnTo>
                  <a:lnTo>
                    <a:pt x="2860407" y="3508192"/>
                  </a:lnTo>
                  <a:lnTo>
                    <a:pt x="2834639" y="3478281"/>
                  </a:lnTo>
                  <a:lnTo>
                    <a:pt x="2731561" y="3474008"/>
                  </a:lnTo>
                  <a:lnTo>
                    <a:pt x="2710085" y="3448369"/>
                  </a:lnTo>
                  <a:lnTo>
                    <a:pt x="2607007" y="3448369"/>
                  </a:lnTo>
                  <a:lnTo>
                    <a:pt x="2585533" y="3422731"/>
                  </a:lnTo>
                  <a:lnTo>
                    <a:pt x="2499635" y="3422731"/>
                  </a:lnTo>
                  <a:lnTo>
                    <a:pt x="2456686" y="3384274"/>
                  </a:lnTo>
                  <a:lnTo>
                    <a:pt x="2375083" y="3388546"/>
                  </a:lnTo>
                  <a:lnTo>
                    <a:pt x="2345018" y="3362907"/>
                  </a:lnTo>
                  <a:lnTo>
                    <a:pt x="2246235" y="3354362"/>
                  </a:lnTo>
                  <a:lnTo>
                    <a:pt x="2216172" y="3328723"/>
                  </a:lnTo>
                  <a:lnTo>
                    <a:pt x="2130274" y="3328723"/>
                  </a:lnTo>
                  <a:lnTo>
                    <a:pt x="2095914" y="3303085"/>
                  </a:lnTo>
                  <a:lnTo>
                    <a:pt x="2018605" y="3303085"/>
                  </a:lnTo>
                  <a:lnTo>
                    <a:pt x="1984246" y="3273173"/>
                  </a:lnTo>
                  <a:lnTo>
                    <a:pt x="1898348" y="3273173"/>
                  </a:lnTo>
                  <a:lnTo>
                    <a:pt x="1868283" y="3238989"/>
                  </a:lnTo>
                  <a:lnTo>
                    <a:pt x="1778091" y="3243261"/>
                  </a:lnTo>
                  <a:lnTo>
                    <a:pt x="1748026" y="3217624"/>
                  </a:lnTo>
                  <a:lnTo>
                    <a:pt x="1662127" y="3217624"/>
                  </a:lnTo>
                  <a:lnTo>
                    <a:pt x="1606294" y="3187712"/>
                  </a:lnTo>
                  <a:lnTo>
                    <a:pt x="1533281" y="3183439"/>
                  </a:lnTo>
                  <a:lnTo>
                    <a:pt x="1498922" y="3162074"/>
                  </a:lnTo>
                  <a:lnTo>
                    <a:pt x="1425909" y="3162074"/>
                  </a:lnTo>
                  <a:lnTo>
                    <a:pt x="1382959" y="3123615"/>
                  </a:lnTo>
                  <a:lnTo>
                    <a:pt x="1288472" y="3132162"/>
                  </a:lnTo>
                  <a:lnTo>
                    <a:pt x="1262701" y="3102250"/>
                  </a:lnTo>
                  <a:lnTo>
                    <a:pt x="1185394" y="3097977"/>
                  </a:lnTo>
                  <a:lnTo>
                    <a:pt x="1151035" y="3076613"/>
                  </a:lnTo>
                  <a:lnTo>
                    <a:pt x="1069432" y="3076613"/>
                  </a:lnTo>
                  <a:lnTo>
                    <a:pt x="1017893" y="3046700"/>
                  </a:lnTo>
                  <a:lnTo>
                    <a:pt x="953468" y="3050973"/>
                  </a:lnTo>
                  <a:lnTo>
                    <a:pt x="910520" y="3012516"/>
                  </a:lnTo>
                  <a:lnTo>
                    <a:pt x="828917" y="3016789"/>
                  </a:lnTo>
                  <a:lnTo>
                    <a:pt x="807443" y="2986877"/>
                  </a:lnTo>
                  <a:lnTo>
                    <a:pt x="721544" y="2982604"/>
                  </a:lnTo>
                  <a:lnTo>
                    <a:pt x="652697" y="2910081"/>
                  </a:lnTo>
                  <a:cubicBezTo>
                    <a:pt x="652741" y="2910041"/>
                    <a:pt x="652782" y="2910002"/>
                    <a:pt x="652826" y="2909963"/>
                  </a:cubicBezTo>
                  <a:cubicBezTo>
                    <a:pt x="652833" y="2908888"/>
                    <a:pt x="652842" y="2907813"/>
                    <a:pt x="652849" y="2906737"/>
                  </a:cubicBezTo>
                  <a:close/>
                  <a:moveTo>
                    <a:pt x="2486750" y="2033983"/>
                  </a:moveTo>
                  <a:lnTo>
                    <a:pt x="3079447" y="2042528"/>
                  </a:lnTo>
                  <a:cubicBezTo>
                    <a:pt x="3080880" y="2361584"/>
                    <a:pt x="3082310" y="2680640"/>
                    <a:pt x="3083742" y="2999696"/>
                  </a:cubicBezTo>
                  <a:lnTo>
                    <a:pt x="2362198" y="2884323"/>
                  </a:lnTo>
                  <a:lnTo>
                    <a:pt x="2491046" y="2854413"/>
                  </a:lnTo>
                  <a:close/>
                  <a:moveTo>
                    <a:pt x="4569781" y="2029709"/>
                  </a:moveTo>
                  <a:lnTo>
                    <a:pt x="3964197" y="2042528"/>
                  </a:lnTo>
                  <a:cubicBezTo>
                    <a:pt x="3965630" y="2370131"/>
                    <a:pt x="3967061" y="2697733"/>
                    <a:pt x="3968494" y="3025336"/>
                  </a:cubicBezTo>
                  <a:lnTo>
                    <a:pt x="4659973" y="2892870"/>
                  </a:lnTo>
                  <a:lnTo>
                    <a:pt x="4578370" y="2858686"/>
                  </a:lnTo>
                  <a:cubicBezTo>
                    <a:pt x="4575508" y="2582359"/>
                    <a:pt x="4572643" y="2306034"/>
                    <a:pt x="4569781" y="2029709"/>
                  </a:cubicBezTo>
                  <a:close/>
                  <a:moveTo>
                    <a:pt x="962059" y="2021163"/>
                  </a:moveTo>
                  <a:lnTo>
                    <a:pt x="1395844" y="2025436"/>
                  </a:lnTo>
                  <a:cubicBezTo>
                    <a:pt x="1392980" y="2261880"/>
                    <a:pt x="1390118" y="2498323"/>
                    <a:pt x="1387254" y="2734767"/>
                  </a:cubicBezTo>
                  <a:lnTo>
                    <a:pt x="889044" y="2645031"/>
                  </a:lnTo>
                  <a:lnTo>
                    <a:pt x="966354" y="2615121"/>
                  </a:lnTo>
                  <a:cubicBezTo>
                    <a:pt x="964921" y="2417136"/>
                    <a:pt x="963491" y="2219148"/>
                    <a:pt x="962059" y="2021163"/>
                  </a:cubicBezTo>
                  <a:close/>
                  <a:moveTo>
                    <a:pt x="3929838" y="1982706"/>
                  </a:moveTo>
                  <a:lnTo>
                    <a:pt x="4724398" y="1982706"/>
                  </a:lnTo>
                  <a:cubicBezTo>
                    <a:pt x="4722966" y="2297488"/>
                    <a:pt x="4721533" y="2612272"/>
                    <a:pt x="4720102" y="2927055"/>
                  </a:cubicBezTo>
                  <a:lnTo>
                    <a:pt x="3934135" y="3089431"/>
                  </a:lnTo>
                  <a:cubicBezTo>
                    <a:pt x="3932703" y="2720522"/>
                    <a:pt x="3931271" y="2351614"/>
                    <a:pt x="3929838" y="1982706"/>
                  </a:cubicBezTo>
                  <a:close/>
                  <a:moveTo>
                    <a:pt x="841801" y="1974159"/>
                  </a:moveTo>
                  <a:cubicBezTo>
                    <a:pt x="840370" y="2212026"/>
                    <a:pt x="843232" y="2449895"/>
                    <a:pt x="846096" y="2687762"/>
                  </a:cubicBezTo>
                  <a:lnTo>
                    <a:pt x="1434498" y="2786044"/>
                  </a:lnTo>
                  <a:lnTo>
                    <a:pt x="1451677" y="1974159"/>
                  </a:lnTo>
                  <a:close/>
                  <a:moveTo>
                    <a:pt x="2319248" y="1969885"/>
                  </a:moveTo>
                  <a:cubicBezTo>
                    <a:pt x="2317816" y="2287516"/>
                    <a:pt x="2316383" y="2605149"/>
                    <a:pt x="2314952" y="2922781"/>
                  </a:cubicBezTo>
                  <a:lnTo>
                    <a:pt x="3126690" y="3068064"/>
                  </a:lnTo>
                  <a:lnTo>
                    <a:pt x="3135279" y="1974158"/>
                  </a:lnTo>
                  <a:close/>
                  <a:moveTo>
                    <a:pt x="5832482" y="1922882"/>
                  </a:moveTo>
                  <a:lnTo>
                    <a:pt x="5879727" y="1922882"/>
                  </a:lnTo>
                  <a:lnTo>
                    <a:pt x="5892612" y="3025336"/>
                  </a:lnTo>
                  <a:lnTo>
                    <a:pt x="5338568" y="3144982"/>
                  </a:lnTo>
                  <a:lnTo>
                    <a:pt x="5823893" y="3008244"/>
                  </a:lnTo>
                  <a:cubicBezTo>
                    <a:pt x="5826756" y="2646456"/>
                    <a:pt x="5829620" y="2284670"/>
                    <a:pt x="5832482" y="1922882"/>
                  </a:cubicBezTo>
                  <a:close/>
                  <a:moveTo>
                    <a:pt x="794557" y="1922882"/>
                  </a:moveTo>
                  <a:lnTo>
                    <a:pt x="1494627" y="1927155"/>
                  </a:lnTo>
                  <a:lnTo>
                    <a:pt x="1494627" y="2850138"/>
                  </a:lnTo>
                  <a:lnTo>
                    <a:pt x="803146" y="2721947"/>
                  </a:lnTo>
                  <a:cubicBezTo>
                    <a:pt x="800284" y="2458441"/>
                    <a:pt x="797420" y="2194936"/>
                    <a:pt x="794557" y="1922882"/>
                  </a:cubicBezTo>
                  <a:close/>
                  <a:moveTo>
                    <a:pt x="3191113" y="1910060"/>
                  </a:moveTo>
                  <a:cubicBezTo>
                    <a:pt x="3192544" y="2331670"/>
                    <a:pt x="3193977" y="2753280"/>
                    <a:pt x="3195408" y="3174890"/>
                  </a:cubicBezTo>
                  <a:lnTo>
                    <a:pt x="2233349" y="2982603"/>
                  </a:lnTo>
                  <a:lnTo>
                    <a:pt x="2246233" y="1922881"/>
                  </a:lnTo>
                  <a:close/>
                  <a:moveTo>
                    <a:pt x="3839646" y="1892970"/>
                  </a:moveTo>
                  <a:cubicBezTo>
                    <a:pt x="3843940" y="2321702"/>
                    <a:pt x="3848237" y="2750434"/>
                    <a:pt x="3852530" y="3179166"/>
                  </a:cubicBezTo>
                  <a:lnTo>
                    <a:pt x="4814590" y="2995424"/>
                  </a:lnTo>
                  <a:cubicBezTo>
                    <a:pt x="4811725" y="2637911"/>
                    <a:pt x="4808863" y="2280396"/>
                    <a:pt x="4806000" y="1922882"/>
                  </a:cubicBezTo>
                  <a:close/>
                  <a:moveTo>
                    <a:pt x="5952740" y="1854513"/>
                  </a:moveTo>
                  <a:lnTo>
                    <a:pt x="5282735" y="1871605"/>
                  </a:lnTo>
                  <a:cubicBezTo>
                    <a:pt x="5285598" y="2333097"/>
                    <a:pt x="5288461" y="2794589"/>
                    <a:pt x="5291325" y="3256081"/>
                  </a:cubicBezTo>
                  <a:lnTo>
                    <a:pt x="5957035" y="3076613"/>
                  </a:lnTo>
                  <a:cubicBezTo>
                    <a:pt x="5955603" y="2669245"/>
                    <a:pt x="5954173" y="2261880"/>
                    <a:pt x="5952740" y="1854513"/>
                  </a:cubicBezTo>
                  <a:close/>
                  <a:moveTo>
                    <a:pt x="1962772" y="508494"/>
                  </a:moveTo>
                  <a:lnTo>
                    <a:pt x="700068" y="1636586"/>
                  </a:lnTo>
                  <a:lnTo>
                    <a:pt x="724578" y="1637805"/>
                  </a:lnTo>
                  <a:lnTo>
                    <a:pt x="844385" y="1635385"/>
                  </a:lnTo>
                  <a:lnTo>
                    <a:pt x="2027196" y="551226"/>
                  </a:lnTo>
                  <a:close/>
                  <a:moveTo>
                    <a:pt x="1924118" y="346119"/>
                  </a:moveTo>
                  <a:lnTo>
                    <a:pt x="3641590" y="1637264"/>
                  </a:lnTo>
                  <a:lnTo>
                    <a:pt x="3640627" y="1637237"/>
                  </a:lnTo>
                  <a:lnTo>
                    <a:pt x="3614477" y="1620760"/>
                  </a:lnTo>
                  <a:lnTo>
                    <a:pt x="3635816" y="1637108"/>
                  </a:lnTo>
                  <a:lnTo>
                    <a:pt x="3640627" y="1637237"/>
                  </a:lnTo>
                  <a:lnTo>
                    <a:pt x="3646375" y="1640861"/>
                  </a:lnTo>
                  <a:lnTo>
                    <a:pt x="3641590" y="1637264"/>
                  </a:lnTo>
                  <a:lnTo>
                    <a:pt x="6167487" y="1704955"/>
                  </a:lnTo>
                  <a:lnTo>
                    <a:pt x="6201845" y="2880050"/>
                  </a:lnTo>
                  <a:lnTo>
                    <a:pt x="6403704" y="2922782"/>
                  </a:lnTo>
                  <a:lnTo>
                    <a:pt x="6450949" y="3213351"/>
                  </a:lnTo>
                  <a:lnTo>
                    <a:pt x="5115233" y="3683388"/>
                  </a:lnTo>
                  <a:lnTo>
                    <a:pt x="3173935" y="4324350"/>
                  </a:lnTo>
                  <a:lnTo>
                    <a:pt x="0" y="3157799"/>
                  </a:lnTo>
                  <a:lnTo>
                    <a:pt x="0" y="3046700"/>
                  </a:lnTo>
                  <a:lnTo>
                    <a:pt x="592696" y="2922782"/>
                  </a:lnTo>
                  <a:cubicBezTo>
                    <a:pt x="591264" y="2516840"/>
                    <a:pt x="589834" y="2110898"/>
                    <a:pt x="588401" y="1704955"/>
                  </a:cubicBezTo>
                  <a:lnTo>
                    <a:pt x="661415" y="1704955"/>
                  </a:lnTo>
                  <a:cubicBezTo>
                    <a:pt x="658560" y="2105549"/>
                    <a:pt x="655704" y="2506143"/>
                    <a:pt x="652849" y="2906737"/>
                  </a:cubicBezTo>
                  <a:lnTo>
                    <a:pt x="648529" y="2905690"/>
                  </a:lnTo>
                  <a:lnTo>
                    <a:pt x="652697" y="2910081"/>
                  </a:lnTo>
                  <a:lnTo>
                    <a:pt x="601287" y="2956967"/>
                  </a:lnTo>
                  <a:lnTo>
                    <a:pt x="90193" y="3080885"/>
                  </a:lnTo>
                  <a:lnTo>
                    <a:pt x="3178231" y="4132061"/>
                  </a:lnTo>
                  <a:lnTo>
                    <a:pt x="4850329" y="3620451"/>
                  </a:lnTo>
                  <a:lnTo>
                    <a:pt x="4822437" y="3619790"/>
                  </a:lnTo>
                  <a:lnTo>
                    <a:pt x="3530413" y="3640659"/>
                  </a:lnTo>
                  <a:lnTo>
                    <a:pt x="3532119" y="3637119"/>
                  </a:lnTo>
                  <a:lnTo>
                    <a:pt x="3537582" y="3638320"/>
                  </a:lnTo>
                  <a:lnTo>
                    <a:pt x="3543071" y="3616523"/>
                  </a:lnTo>
                  <a:cubicBezTo>
                    <a:pt x="3543057" y="3614358"/>
                    <a:pt x="3541618" y="3613003"/>
                    <a:pt x="3539176" y="3612840"/>
                  </a:cubicBezTo>
                  <a:cubicBezTo>
                    <a:pt x="3539119" y="3610718"/>
                    <a:pt x="3539062" y="3608596"/>
                    <a:pt x="3539004" y="3606474"/>
                  </a:cubicBezTo>
                  <a:cubicBezTo>
                    <a:pt x="3539102" y="3605157"/>
                    <a:pt x="3539202" y="3603840"/>
                    <a:pt x="3539301" y="3602523"/>
                  </a:cubicBezTo>
                  <a:cubicBezTo>
                    <a:pt x="3535090" y="2930733"/>
                    <a:pt x="3524168" y="2234652"/>
                    <a:pt x="3519940" y="1562774"/>
                  </a:cubicBezTo>
                  <a:lnTo>
                    <a:pt x="3516485" y="1559718"/>
                  </a:lnTo>
                  <a:lnTo>
                    <a:pt x="383225" y="1701172"/>
                  </a:lnTo>
                  <a:close/>
                  <a:moveTo>
                    <a:pt x="3547592" y="0"/>
                  </a:moveTo>
                  <a:lnTo>
                    <a:pt x="3547592" y="474310"/>
                  </a:lnTo>
                  <a:lnTo>
                    <a:pt x="4453818" y="534133"/>
                  </a:lnTo>
                  <a:lnTo>
                    <a:pt x="6425180" y="1615221"/>
                  </a:lnTo>
                  <a:lnTo>
                    <a:pt x="3689324" y="1516940"/>
                  </a:lnTo>
                  <a:lnTo>
                    <a:pt x="2070144" y="311934"/>
                  </a:lnTo>
                  <a:lnTo>
                    <a:pt x="3053678" y="397395"/>
                  </a:lnTo>
                  <a:cubicBezTo>
                    <a:pt x="3052245" y="269202"/>
                    <a:pt x="3050815" y="141010"/>
                    <a:pt x="3049383" y="12818"/>
                  </a:cubicBezTo>
                  <a:close/>
                </a:path>
              </a:pathLst>
            </a:custGeom>
            <a:grpFill/>
            <a:ln w="9525" cap="flat" cmpd="sng" algn="ctr">
              <a:noFill/>
              <a:prstDash val="solid"/>
              <a:headEnd type="none" w="med" len="med"/>
              <a:tailEnd type="none" w="med" len="med"/>
            </a:ln>
            <a:effectLst/>
          </p:spPr>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9" name="Title 3"/>
          <p:cNvSpPr txBox="1">
            <a:spLocks/>
          </p:cNvSpPr>
          <p:nvPr/>
        </p:nvSpPr>
        <p:spPr>
          <a:xfrm>
            <a:off x="150853" y="215287"/>
            <a:ext cx="11890296" cy="1822988"/>
          </a:xfrm>
          <a:prstGeom prst="rect">
            <a:avLst/>
          </a:prstGeom>
          <a:noFill/>
        </p:spPr>
        <p:txBody>
          <a:bodyPr vert="horz" lIns="137160" tIns="137160" rIns="137160" bIns="137160" rtlCol="0" anchor="t" anchorCtr="0">
            <a:noAutofit/>
          </a:bodyPr>
          <a:lstStyle>
            <a:lvl1pPr marL="0" algn="l" defTabSz="1088105" rtl="0" eaLnBrk="1" latinLnBrk="0" hangingPunct="1">
              <a:lnSpc>
                <a:spcPct val="90000"/>
              </a:lnSpc>
              <a:spcBef>
                <a:spcPct val="0"/>
              </a:spcBef>
              <a:buNone/>
              <a:defRPr lang="en-US" sz="8600" kern="1200" spc="-98" baseline="0">
                <a:solidFill>
                  <a:schemeClr val="tx1"/>
                </a:solidFill>
                <a:latin typeface="Segoe UI Light" pitchFamily="34" charset="0"/>
                <a:ea typeface="Segoe UI" pitchFamily="34" charset="0"/>
                <a:cs typeface="Segoe UI" pitchFamily="34" charset="0"/>
              </a:defRPr>
            </a:lvl1pPr>
          </a:lstStyle>
          <a:p>
            <a:r>
              <a:rPr lang="en-US" sz="3600"/>
              <a:t>Automotive Book of Dreams</a:t>
            </a:r>
          </a:p>
        </p:txBody>
      </p:sp>
    </p:spTree>
    <p:extLst>
      <p:ext uri="{BB962C8B-B14F-4D97-AF65-F5344CB8AC3E}">
        <p14:creationId xmlns:p14="http://schemas.microsoft.com/office/powerpoint/2010/main" val="7773360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b="697"/>
          <a:stretch/>
        </p:blipFill>
        <p:spPr>
          <a:xfrm>
            <a:off x="1588" y="893"/>
            <a:ext cx="12185651" cy="6856214"/>
          </a:xfrm>
          <a:prstGeom prst="rect">
            <a:avLst/>
          </a:prstGeom>
          <a:noFill/>
          <a:ln>
            <a:noFill/>
          </a:ln>
        </p:spPr>
      </p:pic>
      <p:sp>
        <p:nvSpPr>
          <p:cNvPr id="2" name="Title 1"/>
          <p:cNvSpPr>
            <a:spLocks noGrp="1"/>
          </p:cNvSpPr>
          <p:nvPr>
            <p:ph type="title"/>
          </p:nvPr>
        </p:nvSpPr>
        <p:spPr/>
        <p:txBody>
          <a:bodyPr/>
          <a:lstStyle/>
          <a:p>
            <a:r>
              <a:rPr lang="en-US" dirty="0"/>
              <a:t>Imagine if…</a:t>
            </a:r>
          </a:p>
        </p:txBody>
      </p:sp>
      <p:sp>
        <p:nvSpPr>
          <p:cNvPr id="8" name="Rectangle 7"/>
          <p:cNvSpPr/>
          <p:nvPr/>
        </p:nvSpPr>
        <p:spPr>
          <a:xfrm>
            <a:off x="304722" y="1307984"/>
            <a:ext cx="5331023" cy="5180251"/>
          </a:xfrm>
          <a:prstGeom prst="rect">
            <a:avLst/>
          </a:prstGeom>
          <a:solidFill>
            <a:schemeClr val="tx2">
              <a:alpha val="89000"/>
            </a:schemeClr>
          </a:solidFill>
        </p:spPr>
        <p:txBody>
          <a:bodyPr wrap="square" lIns="137124" tIns="91416" rIns="137124" bIns="91416">
            <a:noAutofit/>
          </a:bodyPr>
          <a:lstStyle/>
          <a:p>
            <a:pPr defTabSz="1087779">
              <a:spcBef>
                <a:spcPts val="600"/>
              </a:spcBef>
              <a:defRPr/>
            </a:pPr>
            <a:r>
              <a:rPr lang="en-US" sz="2800" dirty="0">
                <a:solidFill>
                  <a:prstClr val="white"/>
                </a:solidFill>
              </a:rPr>
              <a:t>Imagine if you could deliver mobile services that provide personalized experiences and increased productivity, delivering new value to drivers and passengers.</a:t>
            </a:r>
          </a:p>
        </p:txBody>
      </p:sp>
      <p:sp>
        <p:nvSpPr>
          <p:cNvPr id="3" name="Slide Number Placeholder 2"/>
          <p:cNvSpPr>
            <a:spLocks noGrp="1"/>
          </p:cNvSpPr>
          <p:nvPr>
            <p:ph type="sldNum" sz="quarter" idx="15"/>
          </p:nvPr>
        </p:nvSpPr>
        <p:spPr/>
        <p:txBody>
          <a:bodyPr/>
          <a:lstStyle/>
          <a:p>
            <a:pPr defTabSz="1087779">
              <a:defRPr/>
            </a:pPr>
            <a:r>
              <a:rPr lang="en-US" sz="1799" dirty="0">
                <a:solidFill>
                  <a:prstClr val="white"/>
                </a:solidFill>
                <a:latin typeface="Segoe UI"/>
              </a:rPr>
              <a:t> </a:t>
            </a:r>
          </a:p>
        </p:txBody>
      </p:sp>
    </p:spTree>
    <p:extLst>
      <p:ext uri="{BB962C8B-B14F-4D97-AF65-F5344CB8AC3E}">
        <p14:creationId xmlns:p14="http://schemas.microsoft.com/office/powerpoint/2010/main" val="400774944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rsonalized Mobility Services</a:t>
            </a:r>
          </a:p>
        </p:txBody>
      </p:sp>
      <p:sp>
        <p:nvSpPr>
          <p:cNvPr id="29" name="Text Placeholder 28"/>
          <p:cNvSpPr>
            <a:spLocks noGrp="1"/>
          </p:cNvSpPr>
          <p:nvPr>
            <p:ph type="body" sz="quarter" idx="13"/>
          </p:nvPr>
        </p:nvSpPr>
        <p:spPr/>
        <p:txBody>
          <a:bodyPr/>
          <a:lstStyle/>
          <a:p>
            <a:r>
              <a:rPr lang="en-IN" dirty="0"/>
              <a:t>Scenarios Mapped to Benefits</a:t>
            </a:r>
          </a:p>
        </p:txBody>
      </p:sp>
      <p:sp>
        <p:nvSpPr>
          <p:cNvPr id="3" name="Slide Number Placeholder 2"/>
          <p:cNvSpPr>
            <a:spLocks noGrp="1"/>
          </p:cNvSpPr>
          <p:nvPr>
            <p:ph type="sldNum" sz="quarter" idx="14"/>
          </p:nvPr>
        </p:nvSpPr>
        <p:spPr/>
        <p:txBody>
          <a:bodyPr/>
          <a:lstStyle/>
          <a:p>
            <a:fld id="{FAADACFB-7C71-4E89-89D2-7BBA40B7BFA9}" type="slidenum">
              <a:rPr lang="en-US" smtClean="0"/>
              <a:pPr/>
              <a:t>15</a:t>
            </a:fld>
            <a:endParaRPr lang="en-US"/>
          </a:p>
        </p:txBody>
      </p:sp>
      <p:sp>
        <p:nvSpPr>
          <p:cNvPr id="4" name="Rectangle 3"/>
          <p:cNvSpPr/>
          <p:nvPr/>
        </p:nvSpPr>
        <p:spPr bwMode="auto">
          <a:xfrm>
            <a:off x="9732090" y="1475655"/>
            <a:ext cx="2148840" cy="548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52024" fontAlgn="base">
              <a:spcBef>
                <a:spcPct val="0"/>
              </a:spcBef>
              <a:spcAft>
                <a:spcPct val="0"/>
              </a:spcAft>
            </a:pPr>
            <a:r>
              <a:rPr lang="en-US" sz="1200" kern="0">
                <a:solidFill>
                  <a:schemeClr val="tx1"/>
                </a:solidFill>
                <a:latin typeface="Segoe UI Semibold" panose="020B0702040204020203" pitchFamily="34" charset="0"/>
                <a:cs typeface="Segoe UI Semibold" panose="020B0702040204020203" pitchFamily="34" charset="0"/>
              </a:rPr>
              <a:t>Key Benefits</a:t>
            </a:r>
          </a:p>
        </p:txBody>
      </p:sp>
      <p:sp>
        <p:nvSpPr>
          <p:cNvPr id="7" name="Rectangle 26"/>
          <p:cNvSpPr/>
          <p:nvPr/>
        </p:nvSpPr>
        <p:spPr>
          <a:xfrm>
            <a:off x="9732090" y="3175742"/>
            <a:ext cx="2148840" cy="457200"/>
          </a:xfrm>
          <a:prstGeom prst="rect">
            <a:avLst/>
          </a:prstGeom>
          <a:solidFill>
            <a:schemeClr val="accent2"/>
          </a:solidFill>
          <a:ln w="25400" cap="flat" cmpd="sng" algn="ctr">
            <a:noFill/>
            <a:prstDash val="solid"/>
          </a:ln>
          <a:effectLst/>
        </p:spPr>
        <p:txBody>
          <a:bodyPr wrap="square" lIns="91440" tIns="45720" rIns="91440" bIns="45720" rtlCol="0" anchor="ctr">
            <a:noAutofit/>
          </a:bodyPr>
          <a:lstStyle/>
          <a:p>
            <a:pPr defTabSz="914241">
              <a:lnSpc>
                <a:spcPct val="110000"/>
              </a:lnSpc>
              <a:spcBef>
                <a:spcPts val="267"/>
              </a:spcBef>
              <a:defRPr/>
            </a:pPr>
            <a:r>
              <a:rPr lang="en-US" sz="1100" kern="0" dirty="0"/>
              <a:t>Improved flexibility</a:t>
            </a:r>
          </a:p>
        </p:txBody>
      </p:sp>
      <p:sp>
        <p:nvSpPr>
          <p:cNvPr id="8" name="Rectangle 223"/>
          <p:cNvSpPr/>
          <p:nvPr/>
        </p:nvSpPr>
        <p:spPr>
          <a:xfrm>
            <a:off x="9732090" y="4050472"/>
            <a:ext cx="2148840" cy="457200"/>
          </a:xfrm>
          <a:prstGeom prst="rect">
            <a:avLst/>
          </a:prstGeom>
          <a:solidFill>
            <a:schemeClr val="accent2"/>
          </a:solidFill>
          <a:ln w="25400" cap="flat" cmpd="sng" algn="ctr">
            <a:noFill/>
            <a:prstDash val="solid"/>
          </a:ln>
          <a:effectLst/>
        </p:spPr>
        <p:txBody>
          <a:bodyPr wrap="square" lIns="91440" tIns="45720" rIns="91440" bIns="45720" rtlCol="0" anchor="ctr">
            <a:noAutofit/>
          </a:bodyPr>
          <a:lstStyle/>
          <a:p>
            <a:pPr defTabSz="914241">
              <a:lnSpc>
                <a:spcPct val="110000"/>
              </a:lnSpc>
              <a:spcBef>
                <a:spcPts val="267"/>
              </a:spcBef>
              <a:defRPr/>
            </a:pPr>
            <a:r>
              <a:rPr lang="en-US" sz="1100" kern="0"/>
              <a:t>New customer acquisition and retention</a:t>
            </a:r>
          </a:p>
        </p:txBody>
      </p:sp>
      <p:sp>
        <p:nvSpPr>
          <p:cNvPr id="11" name="Rectangle 10"/>
          <p:cNvSpPr/>
          <p:nvPr>
            <p:custDataLst>
              <p:tags r:id="rId1"/>
            </p:custDataLst>
          </p:nvPr>
        </p:nvSpPr>
        <p:spPr>
          <a:xfrm>
            <a:off x="9732090" y="2301012"/>
            <a:ext cx="2148840" cy="457200"/>
          </a:xfrm>
          <a:prstGeom prst="rect">
            <a:avLst/>
          </a:prstGeom>
          <a:solidFill>
            <a:schemeClr val="accent2"/>
          </a:solidFill>
          <a:ln w="25400" cap="flat" cmpd="sng" algn="ctr">
            <a:noFill/>
            <a:prstDash val="solid"/>
          </a:ln>
          <a:effectLst/>
        </p:spPr>
        <p:txBody>
          <a:bodyPr lIns="91440" tIns="45720" rIns="91440" bIns="45720" rtlCol="0" anchor="ctr">
            <a:noAutofit/>
          </a:bodyPr>
          <a:lstStyle/>
          <a:p>
            <a:pPr defTabSz="914241">
              <a:lnSpc>
                <a:spcPct val="110000"/>
              </a:lnSpc>
              <a:spcBef>
                <a:spcPts val="267"/>
              </a:spcBef>
              <a:defRPr/>
            </a:pPr>
            <a:r>
              <a:rPr lang="en-US" sz="1100" kern="0" dirty="0"/>
              <a:t>Increased relevant touchpoints</a:t>
            </a:r>
          </a:p>
        </p:txBody>
      </p:sp>
      <p:sp>
        <p:nvSpPr>
          <p:cNvPr id="12" name="Rectangle 25"/>
          <p:cNvSpPr/>
          <p:nvPr/>
        </p:nvSpPr>
        <p:spPr>
          <a:xfrm>
            <a:off x="9732090" y="4925203"/>
            <a:ext cx="2148840" cy="457200"/>
          </a:xfrm>
          <a:prstGeom prst="rect">
            <a:avLst/>
          </a:prstGeom>
          <a:solidFill>
            <a:schemeClr val="accent2"/>
          </a:solidFill>
          <a:ln w="25400" cap="flat" cmpd="sng" algn="ctr">
            <a:noFill/>
            <a:prstDash val="solid"/>
          </a:ln>
          <a:effectLst/>
        </p:spPr>
        <p:txBody>
          <a:bodyPr lIns="91440" tIns="45720" rIns="91440" bIns="45720" rtlCol="0" anchor="ctr">
            <a:noAutofit/>
          </a:bodyPr>
          <a:lstStyle/>
          <a:p>
            <a:pPr defTabSz="914241">
              <a:lnSpc>
                <a:spcPct val="110000"/>
              </a:lnSpc>
              <a:spcBef>
                <a:spcPts val="267"/>
              </a:spcBef>
              <a:defRPr/>
            </a:pPr>
            <a:r>
              <a:rPr lang="en-GB" sz="1100" kern="0"/>
              <a:t>Increased customer satisfaction</a:t>
            </a:r>
          </a:p>
        </p:txBody>
      </p:sp>
      <p:sp>
        <p:nvSpPr>
          <p:cNvPr id="16" name="Rectangle 15"/>
          <p:cNvSpPr/>
          <p:nvPr/>
        </p:nvSpPr>
        <p:spPr bwMode="auto">
          <a:xfrm>
            <a:off x="303216" y="1475655"/>
            <a:ext cx="2148840" cy="54864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a:solidFill>
                  <a:schemeClr val="bg1"/>
                </a:solidFill>
                <a:latin typeface="Segoe UI Semibold" panose="020B0702040204020203" pitchFamily="34" charset="0"/>
                <a:ea typeface="Segoe UI" pitchFamily="34" charset="0"/>
                <a:cs typeface="Segoe UI Semibold" panose="020B0702040204020203" pitchFamily="34" charset="0"/>
              </a:rPr>
              <a:t>Business Drivers</a:t>
            </a:r>
          </a:p>
          <a:p>
            <a:pPr algn="ctr" defTabSz="932472" fontAlgn="base">
              <a:spcBef>
                <a:spcPct val="0"/>
              </a:spcBef>
              <a:spcAft>
                <a:spcPct val="0"/>
              </a:spcAft>
            </a:pPr>
            <a:r>
              <a:rPr lang="en-US" sz="1200">
                <a:solidFill>
                  <a:schemeClr val="bg1"/>
                </a:solidFill>
                <a:latin typeface="Segoe UI Semibold" panose="020B0702040204020203" pitchFamily="34" charset="0"/>
                <a:ea typeface="Segoe UI" pitchFamily="34" charset="0"/>
                <a:cs typeface="Segoe UI Semibold" panose="020B0702040204020203" pitchFamily="34" charset="0"/>
              </a:rPr>
              <a:t>[Business environment]</a:t>
            </a:r>
          </a:p>
        </p:txBody>
      </p:sp>
      <p:sp>
        <p:nvSpPr>
          <p:cNvPr id="17" name="Rectangle 16"/>
          <p:cNvSpPr/>
          <p:nvPr/>
        </p:nvSpPr>
        <p:spPr bwMode="auto">
          <a:xfrm>
            <a:off x="3443942" y="1475655"/>
            <a:ext cx="2148840" cy="5486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defTabSz="1051946"/>
            <a:r>
              <a:rPr lang="en-GB" sz="1200" kern="0">
                <a:solidFill>
                  <a:prstClr val="white"/>
                </a:solidFill>
                <a:latin typeface="Segoe UI Semibold" panose="020B0702040204020203" pitchFamily="34" charset="0"/>
                <a:cs typeface="Segoe UI Semibold" panose="020B0702040204020203" pitchFamily="34" charset="0"/>
              </a:rPr>
              <a:t>Investment Objectives</a:t>
            </a:r>
          </a:p>
          <a:p>
            <a:pPr lvl="0" algn="ctr" defTabSz="1051946"/>
            <a:r>
              <a:rPr lang="en-GB" sz="1200" kern="0">
                <a:solidFill>
                  <a:prstClr val="white"/>
                </a:solidFill>
              </a:rPr>
              <a:t>[Strategic Options]</a:t>
            </a:r>
          </a:p>
        </p:txBody>
      </p:sp>
      <p:sp>
        <p:nvSpPr>
          <p:cNvPr id="18" name="Rectangle 17"/>
          <p:cNvSpPr/>
          <p:nvPr/>
        </p:nvSpPr>
        <p:spPr bwMode="auto">
          <a:xfrm>
            <a:off x="6580209" y="1475655"/>
            <a:ext cx="2148840" cy="54864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defTabSz="1052024"/>
            <a:r>
              <a:rPr lang="en-GB" sz="1200" kern="0">
                <a:solidFill>
                  <a:prstClr val="white"/>
                </a:solidFill>
                <a:latin typeface="Segoe UI Semibold" panose="020B0702040204020203" pitchFamily="34" charset="0"/>
                <a:cs typeface="Segoe UI Semibold" panose="020B0702040204020203" pitchFamily="34" charset="0"/>
              </a:rPr>
              <a:t>Enterprise Scenarios</a:t>
            </a:r>
          </a:p>
          <a:p>
            <a:pPr lvl="0" algn="ctr" defTabSz="1052024"/>
            <a:r>
              <a:rPr lang="en-GB" sz="1200" kern="0">
                <a:solidFill>
                  <a:prstClr val="white"/>
                </a:solidFill>
              </a:rPr>
              <a:t>[Tactical Business Changes]</a:t>
            </a:r>
          </a:p>
        </p:txBody>
      </p:sp>
      <p:sp>
        <p:nvSpPr>
          <p:cNvPr id="20" name="Rectangle 19"/>
          <p:cNvSpPr/>
          <p:nvPr/>
        </p:nvSpPr>
        <p:spPr>
          <a:xfrm>
            <a:off x="303216" y="4561720"/>
            <a:ext cx="2148840" cy="820683"/>
          </a:xfrm>
          <a:prstGeom prst="rect">
            <a:avLst/>
          </a:prstGeom>
          <a:solidFill>
            <a:schemeClr val="tx2"/>
          </a:solidFill>
          <a:ln w="25400" cap="flat" cmpd="sng" algn="ctr">
            <a:noFill/>
            <a:prstDash val="solid"/>
          </a:ln>
          <a:effectLst/>
        </p:spPr>
        <p:txBody>
          <a:bodyPr wrap="square" lIns="91440" tIns="45720" rIns="91440" bIns="45720" rtlCol="0" anchor="ctr">
            <a:noAutofit/>
          </a:bodyPr>
          <a:lstStyle/>
          <a:p>
            <a:pPr defTabSz="591836">
              <a:lnSpc>
                <a:spcPct val="110000"/>
              </a:lnSpc>
              <a:spcBef>
                <a:spcPts val="100"/>
              </a:spcBef>
            </a:pPr>
            <a:r>
              <a:rPr lang="en-US" sz="1100" kern="0" dirty="0">
                <a:solidFill>
                  <a:schemeClr val="bg1"/>
                </a:solidFill>
              </a:rPr>
              <a:t>Changing consumer mobility behavior</a:t>
            </a:r>
          </a:p>
        </p:txBody>
      </p:sp>
      <p:sp>
        <p:nvSpPr>
          <p:cNvPr id="21" name="Rectangle 20"/>
          <p:cNvSpPr/>
          <p:nvPr/>
        </p:nvSpPr>
        <p:spPr>
          <a:xfrm>
            <a:off x="303216" y="3431366"/>
            <a:ext cx="2148840" cy="820683"/>
          </a:xfrm>
          <a:prstGeom prst="rect">
            <a:avLst/>
          </a:prstGeom>
          <a:solidFill>
            <a:schemeClr val="tx2"/>
          </a:solidFill>
          <a:ln w="25400" cap="flat" cmpd="sng" algn="ctr">
            <a:noFill/>
            <a:prstDash val="solid"/>
          </a:ln>
          <a:effectLst/>
        </p:spPr>
        <p:txBody>
          <a:bodyPr wrap="square" lIns="91440" tIns="45720" rIns="91440" bIns="45720" rtlCol="0" anchor="ctr">
            <a:noAutofit/>
          </a:bodyPr>
          <a:lstStyle/>
          <a:p>
            <a:pPr defTabSz="591836">
              <a:lnSpc>
                <a:spcPct val="110000"/>
              </a:lnSpc>
              <a:spcBef>
                <a:spcPts val="100"/>
              </a:spcBef>
            </a:pPr>
            <a:r>
              <a:rPr lang="en-US" sz="1100" kern="0" dirty="0">
                <a:solidFill>
                  <a:schemeClr val="bg1"/>
                </a:solidFill>
              </a:rPr>
              <a:t>Rethinking value propositions/ Business models</a:t>
            </a:r>
            <a:endParaRPr lang="en-GB" sz="1100" kern="0" dirty="0">
              <a:solidFill>
                <a:schemeClr val="bg1"/>
              </a:solidFill>
            </a:endParaRPr>
          </a:p>
        </p:txBody>
      </p:sp>
      <p:sp>
        <p:nvSpPr>
          <p:cNvPr id="23" name="Rectangle 22"/>
          <p:cNvSpPr/>
          <p:nvPr/>
        </p:nvSpPr>
        <p:spPr>
          <a:xfrm>
            <a:off x="303216" y="2301012"/>
            <a:ext cx="2148840" cy="820683"/>
          </a:xfrm>
          <a:prstGeom prst="rect">
            <a:avLst/>
          </a:prstGeom>
          <a:solidFill>
            <a:schemeClr val="tx2"/>
          </a:solidFill>
          <a:ln w="25400" cap="flat" cmpd="sng" algn="ctr">
            <a:noFill/>
            <a:prstDash val="solid"/>
          </a:ln>
          <a:effectLst/>
        </p:spPr>
        <p:txBody>
          <a:bodyPr wrap="square" lIns="91440" tIns="45720" rIns="91440" bIns="45720" rtlCol="0" anchor="ctr">
            <a:noAutofit/>
          </a:bodyPr>
          <a:lstStyle/>
          <a:p>
            <a:pPr defTabSz="591836">
              <a:lnSpc>
                <a:spcPct val="110000"/>
              </a:lnSpc>
              <a:spcBef>
                <a:spcPts val="100"/>
              </a:spcBef>
            </a:pPr>
            <a:r>
              <a:rPr lang="en-US" sz="1100" kern="0" dirty="0">
                <a:solidFill>
                  <a:schemeClr val="bg1"/>
                </a:solidFill>
              </a:rPr>
              <a:t>Growing after sales competition</a:t>
            </a:r>
          </a:p>
        </p:txBody>
      </p:sp>
      <p:sp>
        <p:nvSpPr>
          <p:cNvPr id="60" name="Rectangle 1"/>
          <p:cNvSpPr/>
          <p:nvPr/>
        </p:nvSpPr>
        <p:spPr>
          <a:xfrm>
            <a:off x="3443942" y="2301012"/>
            <a:ext cx="2148840" cy="584610"/>
          </a:xfrm>
          <a:prstGeom prst="rect">
            <a:avLst/>
          </a:prstGeom>
          <a:solidFill>
            <a:schemeClr val="accent1"/>
          </a:solidFill>
          <a:ln w="25400" cap="flat" cmpd="sng" algn="ctr">
            <a:noFill/>
            <a:prstDash val="solid"/>
          </a:ln>
          <a:effectLst/>
        </p:spPr>
        <p:txBody>
          <a:bodyPr wrap="square" lIns="91440" tIns="45720" rIns="91440" bIns="45720" rtlCol="0" anchor="ctr">
            <a:noAutofit/>
          </a:bodyPr>
          <a:lstStyle/>
          <a:p>
            <a:pPr defTabSz="591836">
              <a:lnSpc>
                <a:spcPct val="110000"/>
              </a:lnSpc>
              <a:spcBef>
                <a:spcPts val="100"/>
              </a:spcBef>
              <a:defRPr/>
            </a:pPr>
            <a:r>
              <a:rPr lang="en-US" sz="1100" kern="0" dirty="0">
                <a:solidFill>
                  <a:schemeClr val="bg1"/>
                </a:solidFill>
              </a:rPr>
              <a:t>Create an engaging digital experience</a:t>
            </a:r>
            <a:endParaRPr lang="en-GB" sz="1100" kern="0" dirty="0">
              <a:solidFill>
                <a:schemeClr val="bg1"/>
              </a:solidFill>
            </a:endParaRPr>
          </a:p>
        </p:txBody>
      </p:sp>
      <p:sp>
        <p:nvSpPr>
          <p:cNvPr id="61" name="Rectangle 3"/>
          <p:cNvSpPr/>
          <p:nvPr/>
        </p:nvSpPr>
        <p:spPr>
          <a:xfrm>
            <a:off x="3443942" y="3145957"/>
            <a:ext cx="2148840" cy="584610"/>
          </a:xfrm>
          <a:prstGeom prst="rect">
            <a:avLst/>
          </a:prstGeom>
          <a:solidFill>
            <a:schemeClr val="accent1"/>
          </a:solidFill>
          <a:ln w="25400" cap="flat" cmpd="sng" algn="ctr">
            <a:noFill/>
            <a:prstDash val="solid"/>
          </a:ln>
          <a:effectLst/>
        </p:spPr>
        <p:txBody>
          <a:bodyPr wrap="square" lIns="91440" tIns="45720" rIns="91440" bIns="45720" rtlCol="0" anchor="ctr">
            <a:noAutofit/>
          </a:bodyPr>
          <a:lstStyle/>
          <a:p>
            <a:pPr defTabSz="591836">
              <a:lnSpc>
                <a:spcPct val="110000"/>
              </a:lnSpc>
              <a:spcBef>
                <a:spcPts val="100"/>
              </a:spcBef>
            </a:pPr>
            <a:r>
              <a:rPr lang="en-US" sz="1100" kern="0">
                <a:solidFill>
                  <a:schemeClr val="bg1"/>
                </a:solidFill>
              </a:rPr>
              <a:t>Provide relevant products and services</a:t>
            </a:r>
            <a:endParaRPr lang="en-CA" sz="1100" kern="0">
              <a:solidFill>
                <a:schemeClr val="bg1"/>
              </a:solidFill>
            </a:endParaRPr>
          </a:p>
        </p:txBody>
      </p:sp>
      <p:sp>
        <p:nvSpPr>
          <p:cNvPr id="62" name="Rectangle 4"/>
          <p:cNvSpPr/>
          <p:nvPr/>
        </p:nvSpPr>
        <p:spPr>
          <a:xfrm>
            <a:off x="3443942" y="4797793"/>
            <a:ext cx="2148840" cy="584610"/>
          </a:xfrm>
          <a:prstGeom prst="rect">
            <a:avLst/>
          </a:prstGeom>
          <a:solidFill>
            <a:schemeClr val="accent1"/>
          </a:solidFill>
          <a:ln w="25400" cap="flat" cmpd="sng" algn="ctr">
            <a:noFill/>
            <a:prstDash val="solid"/>
          </a:ln>
          <a:effectLst/>
        </p:spPr>
        <p:txBody>
          <a:bodyPr wrap="square" lIns="91440" tIns="45720" rIns="91440" bIns="45720" rtlCol="0" anchor="ctr">
            <a:noAutofit/>
          </a:bodyPr>
          <a:lstStyle/>
          <a:p>
            <a:pPr defTabSz="591836">
              <a:lnSpc>
                <a:spcPct val="110000"/>
              </a:lnSpc>
              <a:spcBef>
                <a:spcPts val="100"/>
              </a:spcBef>
            </a:pPr>
            <a:r>
              <a:rPr lang="en-US" sz="1100" kern="0" dirty="0">
                <a:solidFill>
                  <a:schemeClr val="bg1"/>
                </a:solidFill>
              </a:rPr>
              <a:t>Leveraging customer analytics</a:t>
            </a:r>
            <a:endParaRPr lang="en-CA" sz="1100" kern="0" dirty="0">
              <a:solidFill>
                <a:schemeClr val="bg1"/>
              </a:solidFill>
            </a:endParaRPr>
          </a:p>
        </p:txBody>
      </p:sp>
      <p:sp>
        <p:nvSpPr>
          <p:cNvPr id="63" name="Rectangle 3"/>
          <p:cNvSpPr/>
          <p:nvPr/>
        </p:nvSpPr>
        <p:spPr>
          <a:xfrm>
            <a:off x="3443942" y="3969969"/>
            <a:ext cx="2148840" cy="584610"/>
          </a:xfrm>
          <a:prstGeom prst="rect">
            <a:avLst/>
          </a:prstGeom>
          <a:solidFill>
            <a:schemeClr val="accent1"/>
          </a:solidFill>
          <a:ln w="25400" cap="flat" cmpd="sng" algn="ctr">
            <a:noFill/>
            <a:prstDash val="solid"/>
          </a:ln>
          <a:effectLst/>
        </p:spPr>
        <p:txBody>
          <a:bodyPr wrap="square" lIns="91440" tIns="45720" rIns="91440" bIns="45720" rtlCol="0" anchor="ctr">
            <a:noAutofit/>
          </a:bodyPr>
          <a:lstStyle/>
          <a:p>
            <a:pPr defTabSz="591836">
              <a:lnSpc>
                <a:spcPct val="110000"/>
              </a:lnSpc>
              <a:spcBef>
                <a:spcPts val="100"/>
              </a:spcBef>
            </a:pPr>
            <a:r>
              <a:rPr lang="en-US" sz="1100" kern="0" dirty="0">
                <a:solidFill>
                  <a:schemeClr val="bg1"/>
                </a:solidFill>
              </a:rPr>
              <a:t>Proactively address opportunities &amp; mitigate risks</a:t>
            </a:r>
            <a:endParaRPr lang="en-GB" sz="1100" kern="0" dirty="0">
              <a:solidFill>
                <a:schemeClr val="bg1"/>
              </a:solidFill>
            </a:endParaRPr>
          </a:p>
        </p:txBody>
      </p:sp>
      <p:cxnSp>
        <p:nvCxnSpPr>
          <p:cNvPr id="175" name="Straight Connector 236"/>
          <p:cNvCxnSpPr>
            <a:cxnSpLocks/>
            <a:stCxn id="23" idx="3"/>
            <a:endCxn id="60" idx="1"/>
          </p:cNvCxnSpPr>
          <p:nvPr/>
        </p:nvCxnSpPr>
        <p:spPr>
          <a:xfrm flipV="1">
            <a:off x="2452056" y="2593317"/>
            <a:ext cx="991886" cy="118037"/>
          </a:xfrm>
          <a:prstGeom prst="line">
            <a:avLst/>
          </a:prstGeom>
          <a:noFill/>
          <a:ln w="9525" cap="flat" cmpd="sng" algn="ctr">
            <a:solidFill>
              <a:schemeClr val="bg1">
                <a:lumMod val="65000"/>
              </a:schemeClr>
            </a:solidFill>
            <a:prstDash val="solid"/>
            <a:headEnd type="oval" w="sm" len="sm"/>
            <a:tailEnd type="oval" w="sm" len="sm"/>
          </a:ln>
          <a:effectLst/>
        </p:spPr>
      </p:cxnSp>
      <p:sp>
        <p:nvSpPr>
          <p:cNvPr id="66" name="Text Placeholder 6"/>
          <p:cNvSpPr txBox="1">
            <a:spLocks/>
          </p:cNvSpPr>
          <p:nvPr/>
        </p:nvSpPr>
        <p:spPr>
          <a:xfrm>
            <a:off x="9230569" y="142996"/>
            <a:ext cx="2746481" cy="456230"/>
          </a:xfrm>
          <a:prstGeom prst="rect">
            <a:avLst/>
          </a:prstGeom>
        </p:spPr>
        <p:txBody>
          <a:bodyPr vert="horz" lIns="320040" tIns="53325" rIns="53325" bIns="53325" rtlCol="0">
            <a:noAutofit/>
          </a:bodyPr>
          <a:lstStyle>
            <a:lvl1pPr marL="0" indent="0" algn="l" defTabSz="1088105" rtl="0" eaLnBrk="1" latinLnBrk="0" hangingPunct="1">
              <a:spcBef>
                <a:spcPts val="1800"/>
              </a:spcBef>
              <a:buClr>
                <a:srgbClr val="0072C6"/>
              </a:buClr>
              <a:buSzPct val="100000"/>
              <a:buFont typeface="Wingdings" pitchFamily="2" charset="2"/>
              <a:buNone/>
              <a:defRPr sz="2800" kern="1200">
                <a:solidFill>
                  <a:schemeClr val="tx1"/>
                </a:solidFill>
                <a:latin typeface="Segoe UI Light" pitchFamily="34" charset="0"/>
                <a:ea typeface="Segoe UI" pitchFamily="34" charset="0"/>
                <a:cs typeface="Segoe UI" pitchFamily="34" charset="0"/>
              </a:defRPr>
            </a:lvl1pPr>
            <a:lvl2pPr marL="281674" indent="0" algn="l" defTabSz="1088105" rtl="0" eaLnBrk="1" latinLnBrk="0" hangingPunct="1">
              <a:spcBef>
                <a:spcPct val="20000"/>
              </a:spcBef>
              <a:buFont typeface="Arial" pitchFamily="34" charset="0"/>
              <a:buNone/>
              <a:defRPr sz="1800" kern="1200">
                <a:solidFill>
                  <a:schemeClr val="tx1"/>
                </a:solidFill>
                <a:latin typeface="Segoe UI" pitchFamily="34" charset="0"/>
                <a:ea typeface="Segoe UI" pitchFamily="34" charset="0"/>
                <a:cs typeface="Segoe UI" pitchFamily="34" charset="0"/>
              </a:defRPr>
            </a:lvl2pPr>
            <a:lvl3pPr marL="588476" indent="0" algn="l" defTabSz="1088105" rtl="0" eaLnBrk="1" latinLnBrk="0" hangingPunct="1">
              <a:spcBef>
                <a:spcPct val="20000"/>
              </a:spcBef>
              <a:buFont typeface="Arial" pitchFamily="34" charset="0"/>
              <a:buNone/>
              <a:defRPr sz="1600" kern="1200">
                <a:solidFill>
                  <a:schemeClr val="tx1"/>
                </a:solidFill>
                <a:latin typeface="Segoe UI" pitchFamily="34" charset="0"/>
                <a:ea typeface="Segoe UI" pitchFamily="34" charset="0"/>
                <a:cs typeface="Segoe UI" pitchFamily="34" charset="0"/>
              </a:defRPr>
            </a:lvl3pPr>
            <a:lvl4pPr marL="87015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4pPr>
            <a:lvl5pPr marL="110554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r>
              <a:rPr lang="en-US"/>
              <a:t>Scenario Chain</a:t>
            </a:r>
          </a:p>
        </p:txBody>
      </p:sp>
      <p:sp>
        <p:nvSpPr>
          <p:cNvPr id="68" name="Rectangle 11"/>
          <p:cNvSpPr/>
          <p:nvPr/>
        </p:nvSpPr>
        <p:spPr>
          <a:xfrm>
            <a:off x="6579988" y="2301012"/>
            <a:ext cx="2149061" cy="571555"/>
          </a:xfrm>
          <a:prstGeom prst="rect">
            <a:avLst/>
          </a:prstGeom>
          <a:solidFill>
            <a:schemeClr val="accent3"/>
          </a:solidFill>
          <a:ln w="25400" cap="flat" cmpd="sng" algn="ctr">
            <a:noFill/>
            <a:prstDash val="solid"/>
          </a:ln>
          <a:effectLst/>
        </p:spPr>
        <p:txBody>
          <a:bodyPr wrap="square" lIns="91440" tIns="45720" rIns="91440" bIns="45720" rtlCol="0" anchor="ctr"/>
          <a:lstStyle/>
          <a:p>
            <a:pPr defTabSz="591836">
              <a:lnSpc>
                <a:spcPct val="110000"/>
              </a:lnSpc>
              <a:spcBef>
                <a:spcPts val="100"/>
              </a:spcBef>
              <a:defRPr/>
            </a:pPr>
            <a:r>
              <a:rPr lang="en-US" sz="1100" kern="0" dirty="0">
                <a:solidFill>
                  <a:schemeClr val="bg1"/>
                </a:solidFill>
              </a:rPr>
              <a:t>Personalized mobility services</a:t>
            </a:r>
            <a:endParaRPr lang="en-US" sz="1100" i="1" kern="0" dirty="0">
              <a:solidFill>
                <a:schemeClr val="bg1"/>
              </a:solidFill>
            </a:endParaRPr>
          </a:p>
        </p:txBody>
      </p:sp>
      <p:cxnSp>
        <p:nvCxnSpPr>
          <p:cNvPr id="41" name="Straight Connector 236">
            <a:extLst>
              <a:ext uri="{FF2B5EF4-FFF2-40B4-BE49-F238E27FC236}">
                <a16:creationId xmlns:a16="http://schemas.microsoft.com/office/drawing/2014/main" id="{485DED1F-7B20-4FDA-8272-9129F6E66B25}"/>
              </a:ext>
            </a:extLst>
          </p:cNvPr>
          <p:cNvCxnSpPr>
            <a:cxnSpLocks/>
            <a:stCxn id="23" idx="3"/>
            <a:endCxn id="62" idx="1"/>
          </p:cNvCxnSpPr>
          <p:nvPr/>
        </p:nvCxnSpPr>
        <p:spPr>
          <a:xfrm>
            <a:off x="2452056" y="2711354"/>
            <a:ext cx="991886" cy="2378744"/>
          </a:xfrm>
          <a:prstGeom prst="line">
            <a:avLst/>
          </a:prstGeom>
          <a:noFill/>
          <a:ln w="9525" cap="flat" cmpd="sng" algn="ctr">
            <a:solidFill>
              <a:schemeClr val="bg1">
                <a:lumMod val="65000"/>
              </a:schemeClr>
            </a:solidFill>
            <a:prstDash val="solid"/>
            <a:headEnd type="oval" w="sm" len="sm"/>
            <a:tailEnd type="oval" w="sm" len="sm"/>
          </a:ln>
          <a:effectLst/>
        </p:spPr>
      </p:cxnSp>
      <p:cxnSp>
        <p:nvCxnSpPr>
          <p:cNvPr id="44" name="Straight Connector 236">
            <a:extLst>
              <a:ext uri="{FF2B5EF4-FFF2-40B4-BE49-F238E27FC236}">
                <a16:creationId xmlns:a16="http://schemas.microsoft.com/office/drawing/2014/main" id="{8D85B84A-9AC6-4634-B476-9AFECA79624A}"/>
              </a:ext>
            </a:extLst>
          </p:cNvPr>
          <p:cNvCxnSpPr>
            <a:cxnSpLocks/>
            <a:stCxn id="21" idx="3"/>
            <a:endCxn id="61" idx="1"/>
          </p:cNvCxnSpPr>
          <p:nvPr/>
        </p:nvCxnSpPr>
        <p:spPr>
          <a:xfrm flipV="1">
            <a:off x="2452056" y="3438262"/>
            <a:ext cx="991886" cy="403446"/>
          </a:xfrm>
          <a:prstGeom prst="line">
            <a:avLst/>
          </a:prstGeom>
          <a:noFill/>
          <a:ln w="9525" cap="flat" cmpd="sng" algn="ctr">
            <a:solidFill>
              <a:schemeClr val="bg1">
                <a:lumMod val="65000"/>
              </a:schemeClr>
            </a:solidFill>
            <a:prstDash val="solid"/>
            <a:headEnd type="oval" w="sm" len="sm"/>
            <a:tailEnd type="oval" w="sm" len="sm"/>
          </a:ln>
          <a:effectLst/>
        </p:spPr>
      </p:cxnSp>
      <p:cxnSp>
        <p:nvCxnSpPr>
          <p:cNvPr id="47" name="Straight Connector 236">
            <a:extLst>
              <a:ext uri="{FF2B5EF4-FFF2-40B4-BE49-F238E27FC236}">
                <a16:creationId xmlns:a16="http://schemas.microsoft.com/office/drawing/2014/main" id="{048273EA-0D7E-49D1-A4EE-3CC54FFA4938}"/>
              </a:ext>
            </a:extLst>
          </p:cNvPr>
          <p:cNvCxnSpPr>
            <a:cxnSpLocks/>
            <a:stCxn id="21" idx="3"/>
            <a:endCxn id="63" idx="1"/>
          </p:cNvCxnSpPr>
          <p:nvPr/>
        </p:nvCxnSpPr>
        <p:spPr>
          <a:xfrm>
            <a:off x="2452056" y="3841708"/>
            <a:ext cx="991886" cy="420566"/>
          </a:xfrm>
          <a:prstGeom prst="line">
            <a:avLst/>
          </a:prstGeom>
          <a:noFill/>
          <a:ln w="9525" cap="flat" cmpd="sng" algn="ctr">
            <a:solidFill>
              <a:schemeClr val="bg1">
                <a:lumMod val="65000"/>
              </a:schemeClr>
            </a:solidFill>
            <a:prstDash val="solid"/>
            <a:headEnd type="oval" w="sm" len="sm"/>
            <a:tailEnd type="oval" w="sm" len="sm"/>
          </a:ln>
          <a:effectLst/>
        </p:spPr>
      </p:cxnSp>
      <p:cxnSp>
        <p:nvCxnSpPr>
          <p:cNvPr id="50" name="Straight Connector 236">
            <a:extLst>
              <a:ext uri="{FF2B5EF4-FFF2-40B4-BE49-F238E27FC236}">
                <a16:creationId xmlns:a16="http://schemas.microsoft.com/office/drawing/2014/main" id="{BF4AE07F-80ED-4E78-9707-9B690A590C95}"/>
              </a:ext>
            </a:extLst>
          </p:cNvPr>
          <p:cNvCxnSpPr>
            <a:cxnSpLocks/>
            <a:stCxn id="20" idx="3"/>
            <a:endCxn id="60" idx="1"/>
          </p:cNvCxnSpPr>
          <p:nvPr/>
        </p:nvCxnSpPr>
        <p:spPr>
          <a:xfrm flipV="1">
            <a:off x="2452056" y="2593317"/>
            <a:ext cx="991886" cy="2378745"/>
          </a:xfrm>
          <a:prstGeom prst="line">
            <a:avLst/>
          </a:prstGeom>
          <a:noFill/>
          <a:ln w="9525" cap="flat" cmpd="sng" algn="ctr">
            <a:solidFill>
              <a:schemeClr val="bg1">
                <a:lumMod val="65000"/>
              </a:schemeClr>
            </a:solidFill>
            <a:prstDash val="solid"/>
            <a:headEnd type="oval" w="sm" len="sm"/>
            <a:tailEnd type="oval" w="sm" len="sm"/>
          </a:ln>
          <a:effectLst/>
        </p:spPr>
      </p:cxnSp>
      <p:cxnSp>
        <p:nvCxnSpPr>
          <p:cNvPr id="54" name="Straight Connector 236">
            <a:extLst>
              <a:ext uri="{FF2B5EF4-FFF2-40B4-BE49-F238E27FC236}">
                <a16:creationId xmlns:a16="http://schemas.microsoft.com/office/drawing/2014/main" id="{0C78ED0C-0E30-4C43-84C3-C0C45695BC10}"/>
              </a:ext>
            </a:extLst>
          </p:cNvPr>
          <p:cNvCxnSpPr>
            <a:cxnSpLocks/>
            <a:stCxn id="20" idx="3"/>
            <a:endCxn id="61" idx="1"/>
          </p:cNvCxnSpPr>
          <p:nvPr/>
        </p:nvCxnSpPr>
        <p:spPr>
          <a:xfrm flipV="1">
            <a:off x="2452056" y="3438262"/>
            <a:ext cx="991886" cy="1533800"/>
          </a:xfrm>
          <a:prstGeom prst="line">
            <a:avLst/>
          </a:prstGeom>
          <a:noFill/>
          <a:ln w="9525" cap="flat" cmpd="sng" algn="ctr">
            <a:solidFill>
              <a:schemeClr val="bg1">
                <a:lumMod val="65000"/>
              </a:schemeClr>
            </a:solidFill>
            <a:prstDash val="solid"/>
            <a:headEnd type="oval" w="sm" len="sm"/>
            <a:tailEnd type="oval" w="sm" len="sm"/>
          </a:ln>
          <a:effectLst/>
        </p:spPr>
      </p:cxnSp>
      <p:cxnSp>
        <p:nvCxnSpPr>
          <p:cNvPr id="57" name="Straight Connector 236">
            <a:extLst>
              <a:ext uri="{FF2B5EF4-FFF2-40B4-BE49-F238E27FC236}">
                <a16:creationId xmlns:a16="http://schemas.microsoft.com/office/drawing/2014/main" id="{161F0515-DEB4-4F74-9242-614A1A7E2067}"/>
              </a:ext>
            </a:extLst>
          </p:cNvPr>
          <p:cNvCxnSpPr>
            <a:cxnSpLocks/>
            <a:stCxn id="60" idx="3"/>
            <a:endCxn id="68" idx="1"/>
          </p:cNvCxnSpPr>
          <p:nvPr/>
        </p:nvCxnSpPr>
        <p:spPr>
          <a:xfrm flipV="1">
            <a:off x="5592782" y="2586790"/>
            <a:ext cx="987206" cy="6527"/>
          </a:xfrm>
          <a:prstGeom prst="line">
            <a:avLst/>
          </a:prstGeom>
          <a:noFill/>
          <a:ln w="9525" cap="flat" cmpd="sng" algn="ctr">
            <a:solidFill>
              <a:schemeClr val="bg1">
                <a:lumMod val="65000"/>
              </a:schemeClr>
            </a:solidFill>
            <a:prstDash val="solid"/>
            <a:headEnd type="oval" w="sm" len="sm"/>
            <a:tailEnd type="oval" w="sm" len="sm"/>
          </a:ln>
          <a:effectLst/>
        </p:spPr>
      </p:cxnSp>
      <p:cxnSp>
        <p:nvCxnSpPr>
          <p:cNvPr id="64" name="Straight Connector 236">
            <a:extLst>
              <a:ext uri="{FF2B5EF4-FFF2-40B4-BE49-F238E27FC236}">
                <a16:creationId xmlns:a16="http://schemas.microsoft.com/office/drawing/2014/main" id="{A9B427AB-3E51-4130-AD99-288C7FDD1A8A}"/>
              </a:ext>
            </a:extLst>
          </p:cNvPr>
          <p:cNvCxnSpPr>
            <a:cxnSpLocks/>
            <a:stCxn id="68" idx="1"/>
            <a:endCxn id="62" idx="3"/>
          </p:cNvCxnSpPr>
          <p:nvPr/>
        </p:nvCxnSpPr>
        <p:spPr>
          <a:xfrm flipH="1">
            <a:off x="5592782" y="2586790"/>
            <a:ext cx="987206" cy="2503308"/>
          </a:xfrm>
          <a:prstGeom prst="line">
            <a:avLst/>
          </a:prstGeom>
          <a:noFill/>
          <a:ln w="9525" cap="flat" cmpd="sng" algn="ctr">
            <a:solidFill>
              <a:schemeClr val="bg1">
                <a:lumMod val="65000"/>
              </a:schemeClr>
            </a:solidFill>
            <a:prstDash val="solid"/>
            <a:headEnd type="oval" w="sm" len="sm"/>
            <a:tailEnd type="oval" w="sm" len="sm"/>
          </a:ln>
          <a:effectLst/>
        </p:spPr>
      </p:cxnSp>
      <p:cxnSp>
        <p:nvCxnSpPr>
          <p:cNvPr id="65" name="Straight Connector 236">
            <a:extLst>
              <a:ext uri="{FF2B5EF4-FFF2-40B4-BE49-F238E27FC236}">
                <a16:creationId xmlns:a16="http://schemas.microsoft.com/office/drawing/2014/main" id="{ED3AE18C-61F6-49FE-8D70-9C00F2BD3AB0}"/>
              </a:ext>
            </a:extLst>
          </p:cNvPr>
          <p:cNvCxnSpPr>
            <a:cxnSpLocks/>
            <a:stCxn id="61" idx="3"/>
            <a:endCxn id="68" idx="1"/>
          </p:cNvCxnSpPr>
          <p:nvPr/>
        </p:nvCxnSpPr>
        <p:spPr>
          <a:xfrm flipV="1">
            <a:off x="5592782" y="2586790"/>
            <a:ext cx="987206" cy="851472"/>
          </a:xfrm>
          <a:prstGeom prst="line">
            <a:avLst/>
          </a:prstGeom>
          <a:noFill/>
          <a:ln w="9525" cap="flat" cmpd="sng" algn="ctr">
            <a:solidFill>
              <a:schemeClr val="bg1">
                <a:lumMod val="65000"/>
              </a:schemeClr>
            </a:solidFill>
            <a:prstDash val="solid"/>
            <a:headEnd type="oval" w="sm" len="sm"/>
            <a:tailEnd type="oval" w="sm" len="sm"/>
          </a:ln>
          <a:effectLst/>
        </p:spPr>
      </p:cxnSp>
      <p:cxnSp>
        <p:nvCxnSpPr>
          <p:cNvPr id="67" name="Straight Connector 236">
            <a:extLst>
              <a:ext uri="{FF2B5EF4-FFF2-40B4-BE49-F238E27FC236}">
                <a16:creationId xmlns:a16="http://schemas.microsoft.com/office/drawing/2014/main" id="{D3052784-69AF-4CE5-86AF-DACA99CFFE1F}"/>
              </a:ext>
            </a:extLst>
          </p:cNvPr>
          <p:cNvCxnSpPr>
            <a:cxnSpLocks/>
            <a:stCxn id="63" idx="3"/>
            <a:endCxn id="68" idx="1"/>
          </p:cNvCxnSpPr>
          <p:nvPr/>
        </p:nvCxnSpPr>
        <p:spPr>
          <a:xfrm flipV="1">
            <a:off x="5592782" y="2586790"/>
            <a:ext cx="987206" cy="1675484"/>
          </a:xfrm>
          <a:prstGeom prst="line">
            <a:avLst/>
          </a:prstGeom>
          <a:noFill/>
          <a:ln w="9525" cap="flat" cmpd="sng" algn="ctr">
            <a:solidFill>
              <a:schemeClr val="bg1">
                <a:lumMod val="65000"/>
              </a:schemeClr>
            </a:solidFill>
            <a:prstDash val="solid"/>
            <a:headEnd type="oval" w="sm" len="sm"/>
            <a:tailEnd type="oval" w="sm" len="sm"/>
          </a:ln>
          <a:effectLst/>
        </p:spPr>
      </p:cxnSp>
      <p:cxnSp>
        <p:nvCxnSpPr>
          <p:cNvPr id="69" name="Straight Connector 236">
            <a:extLst>
              <a:ext uri="{FF2B5EF4-FFF2-40B4-BE49-F238E27FC236}">
                <a16:creationId xmlns:a16="http://schemas.microsoft.com/office/drawing/2014/main" id="{A3348727-E2FB-469A-AA81-41987DC719DD}"/>
              </a:ext>
            </a:extLst>
          </p:cNvPr>
          <p:cNvCxnSpPr>
            <a:cxnSpLocks/>
            <a:endCxn id="68" idx="3"/>
          </p:cNvCxnSpPr>
          <p:nvPr/>
        </p:nvCxnSpPr>
        <p:spPr>
          <a:xfrm flipH="1">
            <a:off x="8729049" y="2301012"/>
            <a:ext cx="1003042" cy="285778"/>
          </a:xfrm>
          <a:prstGeom prst="line">
            <a:avLst/>
          </a:prstGeom>
          <a:noFill/>
          <a:ln w="9525" cap="flat" cmpd="sng" algn="ctr">
            <a:solidFill>
              <a:schemeClr val="bg1">
                <a:lumMod val="65000"/>
              </a:schemeClr>
            </a:solidFill>
            <a:prstDash val="solid"/>
            <a:headEnd type="oval" w="sm" len="sm"/>
            <a:tailEnd type="oval" w="sm" len="sm"/>
          </a:ln>
          <a:effectLst/>
        </p:spPr>
      </p:cxnSp>
      <p:cxnSp>
        <p:nvCxnSpPr>
          <p:cNvPr id="72" name="Straight Connector 236">
            <a:extLst>
              <a:ext uri="{FF2B5EF4-FFF2-40B4-BE49-F238E27FC236}">
                <a16:creationId xmlns:a16="http://schemas.microsoft.com/office/drawing/2014/main" id="{11AB84DB-8000-4C06-B425-4F2089EF6B41}"/>
              </a:ext>
            </a:extLst>
          </p:cNvPr>
          <p:cNvCxnSpPr>
            <a:cxnSpLocks/>
            <a:stCxn id="12" idx="1"/>
            <a:endCxn id="68" idx="3"/>
          </p:cNvCxnSpPr>
          <p:nvPr/>
        </p:nvCxnSpPr>
        <p:spPr>
          <a:xfrm flipH="1" flipV="1">
            <a:off x="8729049" y="2586790"/>
            <a:ext cx="1003041" cy="2567013"/>
          </a:xfrm>
          <a:prstGeom prst="line">
            <a:avLst/>
          </a:prstGeom>
          <a:noFill/>
          <a:ln w="9525" cap="flat" cmpd="sng" algn="ctr">
            <a:solidFill>
              <a:schemeClr val="bg1">
                <a:lumMod val="65000"/>
              </a:schemeClr>
            </a:solidFill>
            <a:prstDash val="solid"/>
            <a:headEnd type="oval" w="sm" len="sm"/>
            <a:tailEnd type="oval" w="sm" len="sm"/>
          </a:ln>
          <a:effectLst/>
        </p:spPr>
      </p:cxnSp>
      <p:cxnSp>
        <p:nvCxnSpPr>
          <p:cNvPr id="75" name="Straight Connector 236">
            <a:extLst>
              <a:ext uri="{FF2B5EF4-FFF2-40B4-BE49-F238E27FC236}">
                <a16:creationId xmlns:a16="http://schemas.microsoft.com/office/drawing/2014/main" id="{82376DD5-2795-4082-B83F-0D83EA9BC993}"/>
              </a:ext>
            </a:extLst>
          </p:cNvPr>
          <p:cNvCxnSpPr>
            <a:cxnSpLocks/>
            <a:stCxn id="7" idx="1"/>
            <a:endCxn id="68" idx="3"/>
          </p:cNvCxnSpPr>
          <p:nvPr/>
        </p:nvCxnSpPr>
        <p:spPr>
          <a:xfrm flipH="1" flipV="1">
            <a:off x="8729049" y="2586790"/>
            <a:ext cx="1003041" cy="817552"/>
          </a:xfrm>
          <a:prstGeom prst="line">
            <a:avLst/>
          </a:prstGeom>
          <a:noFill/>
          <a:ln w="9525" cap="flat" cmpd="sng" algn="ctr">
            <a:solidFill>
              <a:schemeClr val="bg1">
                <a:lumMod val="65000"/>
              </a:schemeClr>
            </a:solidFill>
            <a:prstDash val="solid"/>
            <a:headEnd type="oval" w="sm" len="sm"/>
            <a:tailEnd type="oval" w="sm" len="sm"/>
          </a:ln>
          <a:effectLst/>
        </p:spPr>
      </p:cxnSp>
      <p:cxnSp>
        <p:nvCxnSpPr>
          <p:cNvPr id="78" name="Straight Connector 236">
            <a:extLst>
              <a:ext uri="{FF2B5EF4-FFF2-40B4-BE49-F238E27FC236}">
                <a16:creationId xmlns:a16="http://schemas.microsoft.com/office/drawing/2014/main" id="{4D133862-1C00-4059-98EA-FA10D9E70595}"/>
              </a:ext>
            </a:extLst>
          </p:cNvPr>
          <p:cNvCxnSpPr>
            <a:cxnSpLocks/>
            <a:stCxn id="8" idx="1"/>
            <a:endCxn id="68" idx="3"/>
          </p:cNvCxnSpPr>
          <p:nvPr/>
        </p:nvCxnSpPr>
        <p:spPr>
          <a:xfrm flipH="1" flipV="1">
            <a:off x="8729049" y="2586790"/>
            <a:ext cx="1003041" cy="1692282"/>
          </a:xfrm>
          <a:prstGeom prst="line">
            <a:avLst/>
          </a:prstGeom>
          <a:noFill/>
          <a:ln w="9525" cap="flat" cmpd="sng" algn="ctr">
            <a:solidFill>
              <a:schemeClr val="bg1">
                <a:lumMod val="65000"/>
              </a:schemeClr>
            </a:solidFill>
            <a:prstDash val="solid"/>
            <a:headEnd type="oval" w="sm" len="sm"/>
            <a:tailEnd type="oval" w="sm" len="sm"/>
          </a:ln>
          <a:effectLst/>
        </p:spPr>
      </p:cxnSp>
    </p:spTree>
    <p:extLst>
      <p:ext uri="{BB962C8B-B14F-4D97-AF65-F5344CB8AC3E}">
        <p14:creationId xmlns:p14="http://schemas.microsoft.com/office/powerpoint/2010/main" val="39928024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6506"/>
            <a:ext cx="7140271" cy="646042"/>
          </a:xfrm>
        </p:spPr>
        <p:txBody>
          <a:bodyPr/>
          <a:lstStyle/>
          <a:p>
            <a:r>
              <a:rPr lang="en-US" dirty="0"/>
              <a:t>Personalized Mobility Services</a:t>
            </a:r>
          </a:p>
        </p:txBody>
      </p:sp>
      <p:sp>
        <p:nvSpPr>
          <p:cNvPr id="7" name="Text Placeholder 6"/>
          <p:cNvSpPr>
            <a:spLocks noGrp="1"/>
          </p:cNvSpPr>
          <p:nvPr>
            <p:ph type="body" sz="quarter" idx="13"/>
          </p:nvPr>
        </p:nvSpPr>
        <p:spPr>
          <a:xfrm>
            <a:off x="8615285" y="142996"/>
            <a:ext cx="3361765" cy="373063"/>
          </a:xfrm>
        </p:spPr>
        <p:txBody>
          <a:bodyPr/>
          <a:lstStyle/>
          <a:p>
            <a:r>
              <a:rPr lang="en-US"/>
              <a:t>Scenario Narrative</a:t>
            </a:r>
          </a:p>
        </p:txBody>
      </p:sp>
      <p:sp>
        <p:nvSpPr>
          <p:cNvPr id="3" name="Slide Number Placeholder 2"/>
          <p:cNvSpPr>
            <a:spLocks noGrp="1"/>
          </p:cNvSpPr>
          <p:nvPr>
            <p:ph type="sldNum" sz="quarter" idx="14"/>
          </p:nvPr>
        </p:nvSpPr>
        <p:spPr/>
        <p:txBody>
          <a:bodyPr/>
          <a:lstStyle/>
          <a:p>
            <a:fld id="{FAADACFB-7C71-4E89-89D2-7BBA40B7BFA9}" type="slidenum">
              <a:rPr lang="en-US" smtClean="0">
                <a:solidFill>
                  <a:srgbClr val="505050"/>
                </a:solidFill>
              </a:rPr>
              <a:pPr/>
              <a:t>16</a:t>
            </a:fld>
            <a:endParaRPr lang="en-US">
              <a:solidFill>
                <a:srgbClr val="505050"/>
              </a:solidFill>
            </a:endParaRPr>
          </a:p>
        </p:txBody>
      </p:sp>
      <p:sp>
        <p:nvSpPr>
          <p:cNvPr id="11" name="Rectangle 10"/>
          <p:cNvSpPr/>
          <p:nvPr/>
        </p:nvSpPr>
        <p:spPr>
          <a:xfrm>
            <a:off x="5718055" y="1600200"/>
            <a:ext cx="6167558" cy="514738"/>
          </a:xfrm>
          <a:prstGeom prst="rect">
            <a:avLst/>
          </a:prstGeom>
          <a:solidFill>
            <a:schemeClr val="bg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spAutoFit/>
          </a:bodyPr>
          <a:lstStyle/>
          <a:p>
            <a:pPr algn="ctr">
              <a:spcBef>
                <a:spcPts val="1800"/>
              </a:spcBef>
            </a:pPr>
            <a:r>
              <a:rPr lang="en-US" sz="2400" dirty="0">
                <a:solidFill>
                  <a:prstClr val="white"/>
                </a:solidFill>
                <a:latin typeface="Segoe UI Light"/>
                <a:cs typeface="Segoe UI Semibold" panose="020B0702040204020203" pitchFamily="34" charset="0"/>
              </a:rPr>
              <a:t>Chief Innovation Officer</a:t>
            </a:r>
          </a:p>
        </p:txBody>
      </p:sp>
      <p:sp>
        <p:nvSpPr>
          <p:cNvPr id="13" name="Rectangle 12"/>
          <p:cNvSpPr/>
          <p:nvPr>
            <p:custDataLst>
              <p:tags r:id="rId1"/>
            </p:custDataLst>
          </p:nvPr>
        </p:nvSpPr>
        <p:spPr>
          <a:xfrm>
            <a:off x="5724525" y="4469519"/>
            <a:ext cx="6161088" cy="2122112"/>
          </a:xfrm>
          <a:prstGeom prst="rect">
            <a:avLst/>
          </a:prstGeom>
          <a:solidFill>
            <a:schemeClr val="bg1">
              <a:lumMod val="95000"/>
            </a:schemeClr>
          </a:solidFill>
          <a:ln w="19050">
            <a:noFill/>
            <a:prstDash val="solid"/>
          </a:ln>
        </p:spPr>
        <p:txBody>
          <a:bodyPr wrap="square" lIns="72000" tIns="36000" rIns="72000" bIns="36000">
            <a:noAutofit/>
          </a:bodyPr>
          <a:lstStyle/>
          <a:p>
            <a:pPr defTabSz="1096730">
              <a:defRPr/>
            </a:pPr>
            <a:r>
              <a:rPr lang="en-US" sz="1600" kern="0" dirty="0">
                <a:ln>
                  <a:solidFill>
                    <a:srgbClr val="FFFFFF">
                      <a:alpha val="0"/>
                    </a:srgbClr>
                  </a:solidFill>
                </a:ln>
                <a:solidFill>
                  <a:srgbClr val="505050"/>
                </a:solidFill>
              </a:rPr>
              <a:t>We are </a:t>
            </a:r>
            <a:r>
              <a:rPr lang="en-US" sz="1600" kern="0" dirty="0">
                <a:solidFill>
                  <a:srgbClr val="505050"/>
                </a:solidFill>
              </a:rPr>
              <a:t>always looking to..</a:t>
            </a:r>
          </a:p>
          <a:p>
            <a:pPr defTabSz="1096730">
              <a:defRPr/>
            </a:pPr>
            <a:endParaRPr lang="en-US" sz="1600" kern="0" dirty="0">
              <a:solidFill>
                <a:srgbClr val="505050"/>
              </a:solidFill>
            </a:endParaRPr>
          </a:p>
          <a:p>
            <a:pPr marL="342900" indent="-214313" defTabSz="1096730">
              <a:spcAft>
                <a:spcPts val="300"/>
              </a:spcAft>
              <a:buFont typeface="Arial" panose="020B0604020202020204" pitchFamily="34" charset="0"/>
              <a:buChar char="•"/>
              <a:defRPr/>
            </a:pPr>
            <a:r>
              <a:rPr lang="en-US" sz="1400" kern="0" dirty="0">
                <a:solidFill>
                  <a:srgbClr val="505050"/>
                </a:solidFill>
              </a:rPr>
              <a:t>Personalize our customers’ vehicle experiences</a:t>
            </a:r>
            <a:endParaRPr lang="en-IN" sz="1400" kern="0" dirty="0">
              <a:solidFill>
                <a:srgbClr val="505050"/>
              </a:solidFill>
            </a:endParaRPr>
          </a:p>
          <a:p>
            <a:pPr marL="342900" indent="-214313" defTabSz="1096730">
              <a:spcAft>
                <a:spcPts val="300"/>
              </a:spcAft>
              <a:buFont typeface="Arial" panose="020B0604020202020204" pitchFamily="34" charset="0"/>
              <a:buChar char="•"/>
              <a:defRPr/>
            </a:pPr>
            <a:r>
              <a:rPr lang="en-IN" sz="1400" kern="0" dirty="0">
                <a:solidFill>
                  <a:srgbClr val="505050"/>
                </a:solidFill>
              </a:rPr>
              <a:t>Provide innovative and consistent mobility services</a:t>
            </a:r>
          </a:p>
          <a:p>
            <a:pPr marL="342900" indent="-214313" defTabSz="1096730">
              <a:spcAft>
                <a:spcPts val="300"/>
              </a:spcAft>
              <a:buFont typeface="Arial" panose="020B0604020202020204" pitchFamily="34" charset="0"/>
              <a:buChar char="•"/>
              <a:defRPr/>
            </a:pPr>
            <a:r>
              <a:rPr lang="en-IN" sz="1400" kern="0" dirty="0">
                <a:solidFill>
                  <a:srgbClr val="505050"/>
                </a:solidFill>
              </a:rPr>
              <a:t>Transform our brand</a:t>
            </a:r>
          </a:p>
          <a:p>
            <a:pPr marL="342900" indent="-214313" defTabSz="1096730">
              <a:spcAft>
                <a:spcPts val="300"/>
              </a:spcAft>
              <a:buFont typeface="Arial" panose="020B0604020202020204" pitchFamily="34" charset="0"/>
              <a:buChar char="•"/>
              <a:defRPr/>
            </a:pPr>
            <a:r>
              <a:rPr lang="en-IN" sz="1400" kern="0" dirty="0">
                <a:solidFill>
                  <a:srgbClr val="505050"/>
                </a:solidFill>
              </a:rPr>
              <a:t>Enhance and augment our traditional offerings and services</a:t>
            </a:r>
          </a:p>
        </p:txBody>
      </p:sp>
      <p:sp>
        <p:nvSpPr>
          <p:cNvPr id="9" name="Rectangle 8"/>
          <p:cNvSpPr/>
          <p:nvPr/>
        </p:nvSpPr>
        <p:spPr>
          <a:xfrm>
            <a:off x="303213" y="1600199"/>
            <a:ext cx="5334000" cy="2377441"/>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800"/>
              </a:spcBef>
            </a:pPr>
            <a:r>
              <a:rPr lang="en-US" sz="2400" dirty="0">
                <a:solidFill>
                  <a:srgbClr val="002050"/>
                </a:solidFill>
                <a:latin typeface="Segoe UI Light"/>
                <a:cs typeface="Segoe UI Semibold" panose="020B0702040204020203" pitchFamily="34" charset="0"/>
              </a:rPr>
              <a:t>Current State</a:t>
            </a:r>
            <a:endParaRPr lang="en-US" sz="2400" dirty="0">
              <a:solidFill>
                <a:srgbClr val="002050"/>
              </a:solidFill>
              <a:latin typeface="Segoe UI Light"/>
            </a:endParaRPr>
          </a:p>
          <a:p>
            <a:pPr>
              <a:spcBef>
                <a:spcPts val="600"/>
              </a:spcBef>
            </a:pPr>
            <a:r>
              <a:rPr lang="en-IN" sz="1400" dirty="0">
                <a:solidFill>
                  <a:srgbClr val="505050"/>
                </a:solidFill>
              </a:rPr>
              <a:t>We are losing market share as our </a:t>
            </a:r>
            <a:r>
              <a:rPr lang="en-US" sz="1400" dirty="0">
                <a:solidFill>
                  <a:srgbClr val="505050"/>
                </a:solidFill>
              </a:rPr>
              <a:t>customers are demanding customized mobility features based on their individual lifestyle needs and preferences. </a:t>
            </a:r>
          </a:p>
          <a:p>
            <a:pPr>
              <a:spcBef>
                <a:spcPts val="600"/>
              </a:spcBef>
            </a:pPr>
            <a:r>
              <a:rPr lang="en-US" sz="1400" dirty="0">
                <a:solidFill>
                  <a:srgbClr val="505050"/>
                </a:solidFill>
              </a:rPr>
              <a:t>Our </a:t>
            </a:r>
            <a:r>
              <a:rPr lang="en-IN" sz="1400" dirty="0">
                <a:solidFill>
                  <a:srgbClr val="505050"/>
                </a:solidFill>
              </a:rPr>
              <a:t>customers are seeking compelling and consistent in-car experiences and services across all vehicles they use. </a:t>
            </a:r>
          </a:p>
          <a:p>
            <a:pPr>
              <a:spcBef>
                <a:spcPts val="600"/>
              </a:spcBef>
            </a:pPr>
            <a:r>
              <a:rPr lang="en-IN" sz="1400" dirty="0">
                <a:solidFill>
                  <a:srgbClr val="505050"/>
                </a:solidFill>
              </a:rPr>
              <a:t>We want to respond faster to emerging customer needs, but we have trouble identifying them.</a:t>
            </a:r>
          </a:p>
        </p:txBody>
      </p:sp>
      <p:sp>
        <p:nvSpPr>
          <p:cNvPr id="16" name="Rectangle 15"/>
          <p:cNvSpPr/>
          <p:nvPr/>
        </p:nvSpPr>
        <p:spPr>
          <a:xfrm>
            <a:off x="303213" y="3977640"/>
            <a:ext cx="5334000" cy="2578873"/>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200"/>
              </a:spcBef>
            </a:pPr>
            <a:r>
              <a:rPr lang="en-US" sz="2400" dirty="0">
                <a:solidFill>
                  <a:srgbClr val="002050"/>
                </a:solidFill>
                <a:latin typeface="Segoe UI Light"/>
                <a:cs typeface="Segoe UI Semibold" panose="020B0702040204020203" pitchFamily="34" charset="0"/>
              </a:rPr>
              <a:t>Desired Future State</a:t>
            </a:r>
          </a:p>
          <a:p>
            <a:pPr>
              <a:spcBef>
                <a:spcPts val="600"/>
              </a:spcBef>
            </a:pPr>
            <a:r>
              <a:rPr lang="en-IN" sz="1400" dirty="0">
                <a:solidFill>
                  <a:srgbClr val="505050"/>
                </a:solidFill>
              </a:rPr>
              <a:t>We are delivering smart, engaging, intuitive, and personalized experiences that keep pace with our customers’ ambitious lifestyles. </a:t>
            </a:r>
          </a:p>
          <a:p>
            <a:pPr>
              <a:spcBef>
                <a:spcPts val="600"/>
              </a:spcBef>
            </a:pPr>
            <a:r>
              <a:rPr lang="en-IN" sz="1400" dirty="0">
                <a:solidFill>
                  <a:srgbClr val="505050"/>
                </a:solidFill>
              </a:rPr>
              <a:t>Customers are empowered inside and outside of their cars, seamlessly integrated across any devices. </a:t>
            </a:r>
          </a:p>
          <a:p>
            <a:pPr>
              <a:spcBef>
                <a:spcPts val="600"/>
              </a:spcBef>
            </a:pPr>
            <a:r>
              <a:rPr lang="en-IN" sz="1400" dirty="0">
                <a:solidFill>
                  <a:srgbClr val="505050"/>
                </a:solidFill>
              </a:rPr>
              <a:t>Customers get responsive and proactive car service that improves safety and performance, reduces loss of use, and protects customer privacy and data.</a:t>
            </a:r>
          </a:p>
        </p:txBody>
      </p:sp>
      <p:pic>
        <p:nvPicPr>
          <p:cNvPr id="12" name="Picture 11"/>
          <p:cNvPicPr>
            <a:picLocks noChangeAspect="1"/>
          </p:cNvPicPr>
          <p:nvPr/>
        </p:nvPicPr>
        <p:blipFill>
          <a:blip r:embed="rId4"/>
          <a:stretch>
            <a:fillRect/>
          </a:stretch>
        </p:blipFill>
        <p:spPr>
          <a:xfrm>
            <a:off x="5718055" y="2111557"/>
            <a:ext cx="1737839" cy="1106424"/>
          </a:xfrm>
          <a:prstGeom prst="rect">
            <a:avLst/>
          </a:prstGeom>
        </p:spPr>
      </p:pic>
      <p:pic>
        <p:nvPicPr>
          <p:cNvPr id="14" name="Picture 13"/>
          <p:cNvPicPr>
            <a:picLocks noChangeAspect="1"/>
          </p:cNvPicPr>
          <p:nvPr/>
        </p:nvPicPr>
        <p:blipFill>
          <a:blip r:embed="rId5"/>
          <a:stretch>
            <a:fillRect/>
          </a:stretch>
        </p:blipFill>
        <p:spPr>
          <a:xfrm>
            <a:off x="7488875" y="2113142"/>
            <a:ext cx="1801368" cy="1104839"/>
          </a:xfrm>
          <a:prstGeom prst="rect">
            <a:avLst/>
          </a:prstGeom>
        </p:spPr>
      </p:pic>
      <p:pic>
        <p:nvPicPr>
          <p:cNvPr id="15" name="Picture 14"/>
          <p:cNvPicPr>
            <a:picLocks noChangeAspect="1"/>
          </p:cNvPicPr>
          <p:nvPr/>
        </p:nvPicPr>
        <p:blipFill>
          <a:blip r:embed="rId6"/>
          <a:stretch>
            <a:fillRect/>
          </a:stretch>
        </p:blipFill>
        <p:spPr>
          <a:xfrm>
            <a:off x="5718055" y="3250659"/>
            <a:ext cx="1737839" cy="1215512"/>
          </a:xfrm>
          <a:prstGeom prst="rect">
            <a:avLst/>
          </a:prstGeom>
        </p:spPr>
      </p:pic>
      <p:pic>
        <p:nvPicPr>
          <p:cNvPr id="17" name="Picture 16"/>
          <p:cNvPicPr>
            <a:picLocks noChangeAspect="1"/>
          </p:cNvPicPr>
          <p:nvPr/>
        </p:nvPicPr>
        <p:blipFill>
          <a:blip r:embed="rId7"/>
          <a:stretch>
            <a:fillRect/>
          </a:stretch>
        </p:blipFill>
        <p:spPr>
          <a:xfrm>
            <a:off x="7489909" y="3250248"/>
            <a:ext cx="1801368" cy="1215923"/>
          </a:xfrm>
          <a:prstGeom prst="rect">
            <a:avLst/>
          </a:prstGeom>
        </p:spPr>
      </p:pic>
      <p:pic>
        <p:nvPicPr>
          <p:cNvPr id="18" name="Picture 17"/>
          <p:cNvPicPr>
            <a:picLocks noChangeAspect="1"/>
          </p:cNvPicPr>
          <p:nvPr/>
        </p:nvPicPr>
        <p:blipFill>
          <a:blip r:embed="rId8"/>
          <a:stretch>
            <a:fillRect/>
          </a:stretch>
        </p:blipFill>
        <p:spPr>
          <a:xfrm>
            <a:off x="9325293" y="2113142"/>
            <a:ext cx="2560320" cy="1100938"/>
          </a:xfrm>
          <a:prstGeom prst="rect">
            <a:avLst/>
          </a:prstGeom>
        </p:spPr>
      </p:pic>
      <p:pic>
        <p:nvPicPr>
          <p:cNvPr id="19" name="Picture 18"/>
          <p:cNvPicPr>
            <a:picLocks noChangeAspect="1"/>
          </p:cNvPicPr>
          <p:nvPr/>
        </p:nvPicPr>
        <p:blipFill>
          <a:blip r:embed="rId9"/>
          <a:stretch>
            <a:fillRect/>
          </a:stretch>
        </p:blipFill>
        <p:spPr>
          <a:xfrm>
            <a:off x="9325293" y="3250019"/>
            <a:ext cx="2560320" cy="1216152"/>
          </a:xfrm>
          <a:prstGeom prst="rect">
            <a:avLst/>
          </a:prstGeom>
        </p:spPr>
      </p:pic>
      <p:sp>
        <p:nvSpPr>
          <p:cNvPr id="20" name="Rectangle 19"/>
          <p:cNvSpPr/>
          <p:nvPr/>
        </p:nvSpPr>
        <p:spPr>
          <a:xfrm>
            <a:off x="303213" y="1118893"/>
            <a:ext cx="11582400" cy="36933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IN" sz="2400" dirty="0">
                <a:solidFill>
                  <a:srgbClr val="505050"/>
                </a:solidFill>
                <a:latin typeface="+mj-lt"/>
                <a:cs typeface="Segoe UI Semibold" panose="020B0702040204020203" pitchFamily="34" charset="0"/>
              </a:rPr>
              <a:t>Reimagining personal mobility features beyond car ownership</a:t>
            </a:r>
          </a:p>
        </p:txBody>
      </p:sp>
    </p:spTree>
    <p:extLst>
      <p:ext uri="{BB962C8B-B14F-4D97-AF65-F5344CB8AC3E}">
        <p14:creationId xmlns:p14="http://schemas.microsoft.com/office/powerpoint/2010/main" val="28017506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Personalized Mobility Services</a:t>
            </a:r>
          </a:p>
        </p:txBody>
      </p:sp>
      <p:sp>
        <p:nvSpPr>
          <p:cNvPr id="2" name="Slide Number Placeholder 1"/>
          <p:cNvSpPr>
            <a:spLocks noGrp="1"/>
          </p:cNvSpPr>
          <p:nvPr>
            <p:ph type="sldNum" sz="quarter" idx="14"/>
          </p:nvPr>
        </p:nvSpPr>
        <p:spPr/>
        <p:txBody>
          <a:bodyPr/>
          <a:lstStyle/>
          <a:p>
            <a:pPr marL="0" marR="0" lvl="0" indent="0" algn="r" defTabSz="1088105"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1088105" rtl="0" eaLnBrk="1" fontAlgn="auto" latinLnBrk="0" hangingPunct="1">
                <a:lnSpc>
                  <a:spcPct val="100000"/>
                </a:lnSpc>
                <a:spcBef>
                  <a:spcPts val="0"/>
                </a:spcBef>
                <a:spcAft>
                  <a:spcPts val="0"/>
                </a:spcAft>
                <a:buClrTx/>
                <a:buSzTx/>
                <a:buFontTx/>
                <a:buNone/>
                <a:tabLst/>
                <a:defRPr/>
              </a:pPr>
              <a:t>17</a:t>
            </a:fld>
            <a:endParaRPr kumimoji="0" lang="en-US" sz="800" b="0" i="0" u="none" strike="noStrike" kern="1200" cap="none" spc="0" normalizeH="0" baseline="0" noProof="0">
              <a:ln>
                <a:noFill/>
              </a:ln>
              <a:solidFill>
                <a:srgbClr val="505050"/>
              </a:solidFill>
              <a:effectLst/>
              <a:uLnTx/>
              <a:uFillTx/>
              <a:latin typeface="Segoe UI" pitchFamily="34" charset="0"/>
              <a:cs typeface="Segoe UI" pitchFamily="34" charset="0"/>
            </a:endParaRPr>
          </a:p>
        </p:txBody>
      </p:sp>
      <p:sp>
        <p:nvSpPr>
          <p:cNvPr id="99" name="Text Box 4"/>
          <p:cNvSpPr txBox="1">
            <a:spLocks noChangeArrowheads="1"/>
          </p:cNvSpPr>
          <p:nvPr/>
        </p:nvSpPr>
        <p:spPr bwMode="gray">
          <a:xfrm>
            <a:off x="3391166" y="1696923"/>
            <a:ext cx="5397016" cy="2551227"/>
          </a:xfrm>
          <a:prstGeom prst="rect">
            <a:avLst/>
          </a:prstGeom>
          <a:solidFill>
            <a:schemeClr val="bg1">
              <a:lumMod val="95000"/>
            </a:schemeClr>
          </a:solidFill>
          <a:ln w="3175" cap="flat" cmpd="sng" algn="ctr">
            <a:solidFill>
              <a:schemeClr val="bg1">
                <a:lumMod val="75000"/>
              </a:schemeClr>
            </a:solid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685645" rtl="0" eaLnBrk="1" fontAlgn="auto" latinLnBrk="0" hangingPunct="1">
              <a:lnSpc>
                <a:spcPct val="100000"/>
              </a:lnSpc>
              <a:spcBef>
                <a:spcPts val="0"/>
              </a:spcBef>
              <a:spcAft>
                <a:spcPts val="0"/>
              </a:spcAft>
              <a:buClrTx/>
              <a:buSzTx/>
              <a:buFontTx/>
              <a:buNone/>
              <a:tabLst/>
              <a:defRPr/>
            </a:pPr>
            <a:r>
              <a:rPr lang="en-US" sz="1400" kern="0" dirty="0">
                <a:ln>
                  <a:noFill/>
                </a:ln>
                <a:solidFill>
                  <a:srgbClr val="505050"/>
                </a:solidFill>
                <a:latin typeface="Segoe UI Semibold" panose="020B0702040204020203" pitchFamily="34" charset="0"/>
                <a:cs typeface="Segoe UI Semibold" panose="020B0702040204020203" pitchFamily="34" charset="0"/>
              </a:rPr>
              <a:t>Innovative and consistent experiences across vehicles</a:t>
            </a:r>
            <a:endParaRPr kumimoji="0" lang="en-US" sz="140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p:txBody>
      </p:sp>
      <p:sp>
        <p:nvSpPr>
          <p:cNvPr id="101" name="Text Box 4"/>
          <p:cNvSpPr txBox="1">
            <a:spLocks noChangeArrowheads="1"/>
          </p:cNvSpPr>
          <p:nvPr/>
        </p:nvSpPr>
        <p:spPr bwMode="gray">
          <a:xfrm>
            <a:off x="303212" y="1711437"/>
            <a:ext cx="2858806" cy="2551227"/>
          </a:xfrm>
          <a:prstGeom prst="rect">
            <a:avLst/>
          </a:prstGeom>
          <a:solidFill>
            <a:schemeClr val="bg1"/>
          </a:solidFill>
          <a:ln w="3175" cap="flat" cmpd="sng" algn="ctr">
            <a:solidFill>
              <a:schemeClr val="bg1">
                <a:lumMod val="75000"/>
              </a:schemeClr>
            </a:solid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685645" rtl="0" eaLnBrk="1" fontAlgn="auto" latinLnBrk="0" hangingPunct="1">
              <a:lnSpc>
                <a:spcPct val="100000"/>
              </a:lnSpc>
              <a:spcBef>
                <a:spcPts val="0"/>
              </a:spcBef>
              <a:spcAft>
                <a:spcPts val="0"/>
              </a:spcAft>
              <a:buClrTx/>
              <a:buSzTx/>
              <a:buFontTx/>
              <a:buNone/>
              <a:tabLst/>
              <a:defRPr/>
            </a:pPr>
            <a:r>
              <a:rPr lang="en-US" sz="1400" kern="0" dirty="0">
                <a:ln>
                  <a:noFill/>
                </a:ln>
                <a:solidFill>
                  <a:srgbClr val="505050"/>
                </a:solidFill>
                <a:latin typeface="Segoe UI Semibold" panose="020B0702040204020203" pitchFamily="34" charset="0"/>
                <a:cs typeface="Segoe UI Semibold" panose="020B0702040204020203" pitchFamily="34" charset="0"/>
              </a:rPr>
              <a:t>Mobility services</a:t>
            </a:r>
            <a:endParaRPr kumimoji="0" lang="en-US" sz="140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p:txBody>
      </p:sp>
      <p:sp>
        <p:nvSpPr>
          <p:cNvPr id="102" name="Text Box 4"/>
          <p:cNvSpPr txBox="1">
            <a:spLocks noChangeArrowheads="1"/>
          </p:cNvSpPr>
          <p:nvPr/>
        </p:nvSpPr>
        <p:spPr bwMode="gray">
          <a:xfrm>
            <a:off x="9023540" y="1696923"/>
            <a:ext cx="2862072" cy="2551227"/>
          </a:xfrm>
          <a:prstGeom prst="rect">
            <a:avLst/>
          </a:prstGeom>
          <a:solidFill>
            <a:schemeClr val="bg1"/>
          </a:solidFill>
          <a:ln w="3175" cap="flat" cmpd="sng" algn="ctr">
            <a:solidFill>
              <a:schemeClr val="bg1">
                <a:lumMod val="75000"/>
              </a:schemeClr>
            </a:solid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685645"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Improved driver and </a:t>
            </a:r>
            <a:br>
              <a:rPr kumimoji="0" lang="en-US" sz="140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br>
            <a:r>
              <a:rPr kumimoji="0" lang="en-US" sz="140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passenger experiences</a:t>
            </a:r>
          </a:p>
        </p:txBody>
      </p:sp>
      <p:sp>
        <p:nvSpPr>
          <p:cNvPr id="103" name="Rectangle 102"/>
          <p:cNvSpPr/>
          <p:nvPr/>
        </p:nvSpPr>
        <p:spPr>
          <a:xfrm>
            <a:off x="303212" y="1275415"/>
            <a:ext cx="11582400" cy="276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lvl="0" algn="ctr"/>
            <a:r>
              <a:rPr lang="en-US" sz="1200" dirty="0">
                <a:solidFill>
                  <a:prstClr val="white"/>
                </a:solidFill>
                <a:latin typeface="Segoe UI"/>
                <a:cs typeface="Segoe UI Semibold" panose="020B0702040204020203" pitchFamily="34" charset="0"/>
              </a:rPr>
              <a:t>D</a:t>
            </a:r>
            <a:r>
              <a:rPr lang="en-US" sz="1200" dirty="0">
                <a:solidFill>
                  <a:prstClr val="white"/>
                </a:solidFill>
                <a:cs typeface="Segoe UI Semibold" panose="020B0702040204020203" pitchFamily="34" charset="0"/>
              </a:rPr>
              <a:t>eliver smart, engaging, and personalized experiences that empower our customers and keep pace with their lifestyles.</a:t>
            </a:r>
            <a:endParaRPr kumimoji="0" lang="en-IN" sz="1200" b="0" i="0" u="none" strike="noStrike" kern="1200" cap="none" spc="0" normalizeH="0" baseline="0" noProof="0" dirty="0">
              <a:ln>
                <a:noFill/>
              </a:ln>
              <a:solidFill>
                <a:prstClr val="white"/>
              </a:solidFill>
              <a:effectLst/>
              <a:uLnTx/>
              <a:uFillTx/>
              <a:latin typeface="Segoe UI"/>
              <a:ea typeface="+mn-ea"/>
              <a:cs typeface="Segoe UI Semibold" panose="020B0702040204020203" pitchFamily="34" charset="0"/>
            </a:endParaRPr>
          </a:p>
        </p:txBody>
      </p:sp>
      <p:sp>
        <p:nvSpPr>
          <p:cNvPr id="104" name="Isosceles Triangle 103"/>
          <p:cNvSpPr/>
          <p:nvPr/>
        </p:nvSpPr>
        <p:spPr>
          <a:xfrm rot="5400000">
            <a:off x="3078217" y="2894423"/>
            <a:ext cx="396749" cy="156227"/>
          </a:xfrm>
          <a:prstGeom prst="triangle">
            <a:avLst/>
          </a:prstGeom>
          <a:solidFill>
            <a:srgbClr val="5E83BD"/>
          </a:solidFill>
        </p:spPr>
        <p:txBody>
          <a:bodyPr vert="horz" lIns="137160" tIns="91440" rIns="91440" bIns="91440" rtlCol="0" anchor="t" anchorCtr="0">
            <a:noAutofit/>
          </a:bodyPr>
          <a:lstStyle/>
          <a:p>
            <a:pPr marL="0" marR="0" lvl="0" indent="0" algn="ctr" defTabSz="914241" rtl="0" eaLnBrk="1" fontAlgn="auto" latinLnBrk="0" hangingPunct="1">
              <a:lnSpc>
                <a:spcPct val="100000"/>
              </a:lnSpc>
              <a:spcBef>
                <a:spcPts val="0"/>
              </a:spcBef>
              <a:spcAft>
                <a:spcPts val="0"/>
              </a:spcAft>
              <a:buClrTx/>
              <a:buSzTx/>
              <a:buFontTx/>
              <a:buNone/>
              <a:tabLst/>
              <a:defRPr/>
            </a:pPr>
            <a:endParaRPr kumimoji="0" lang="en-US" sz="900" b="0" i="0" u="none" strike="noStrike" kern="800" cap="none" spc="0" normalizeH="0" baseline="0" noProof="0">
              <a:ln>
                <a:noFill/>
              </a:ln>
              <a:solidFill>
                <a:srgbClr val="FFFFFF"/>
              </a:solidFill>
              <a:effectLst/>
              <a:uLnTx/>
              <a:uFillTx/>
              <a:latin typeface="Segoe UI"/>
              <a:ea typeface="+mn-ea"/>
              <a:cs typeface="Segoe UI Light"/>
            </a:endParaRPr>
          </a:p>
        </p:txBody>
      </p:sp>
      <p:sp>
        <p:nvSpPr>
          <p:cNvPr id="105" name="Isosceles Triangle 104"/>
          <p:cNvSpPr/>
          <p:nvPr/>
        </p:nvSpPr>
        <p:spPr>
          <a:xfrm rot="5400000">
            <a:off x="8707486" y="2894423"/>
            <a:ext cx="396749" cy="156227"/>
          </a:xfrm>
          <a:prstGeom prst="triangle">
            <a:avLst/>
          </a:prstGeom>
          <a:solidFill>
            <a:srgbClr val="5E83BD"/>
          </a:solidFill>
        </p:spPr>
        <p:txBody>
          <a:bodyPr vert="horz" lIns="137160" tIns="91440" rIns="91440" bIns="91440" rtlCol="0" anchor="t" anchorCtr="0">
            <a:noAutofit/>
          </a:bodyPr>
          <a:lstStyle/>
          <a:p>
            <a:pPr marL="0" marR="0" lvl="0" indent="0" algn="ctr" defTabSz="914241" rtl="0" eaLnBrk="1" fontAlgn="auto" latinLnBrk="0" hangingPunct="1">
              <a:lnSpc>
                <a:spcPct val="100000"/>
              </a:lnSpc>
              <a:spcBef>
                <a:spcPts val="0"/>
              </a:spcBef>
              <a:spcAft>
                <a:spcPts val="0"/>
              </a:spcAft>
              <a:buClrTx/>
              <a:buSzTx/>
              <a:buFontTx/>
              <a:buNone/>
              <a:tabLst/>
              <a:defRPr/>
            </a:pPr>
            <a:endParaRPr kumimoji="0" lang="en-US" sz="900" b="0" i="0" u="none" strike="noStrike" kern="800" cap="none" spc="0" normalizeH="0" baseline="0" noProof="0">
              <a:ln>
                <a:noFill/>
              </a:ln>
              <a:solidFill>
                <a:srgbClr val="505050"/>
              </a:solidFill>
              <a:effectLst/>
              <a:uLnTx/>
              <a:uFillTx/>
              <a:latin typeface="Segoe UI"/>
              <a:ea typeface="+mn-ea"/>
              <a:cs typeface="Segoe UI Light"/>
            </a:endParaRPr>
          </a:p>
        </p:txBody>
      </p:sp>
      <p:grpSp>
        <p:nvGrpSpPr>
          <p:cNvPr id="106" name="Group 105"/>
          <p:cNvGrpSpPr/>
          <p:nvPr/>
        </p:nvGrpSpPr>
        <p:grpSpPr>
          <a:xfrm>
            <a:off x="303212" y="4762175"/>
            <a:ext cx="11582400" cy="1717539"/>
            <a:chOff x="303212" y="4677426"/>
            <a:chExt cx="11243879" cy="1843336"/>
          </a:xfrm>
        </p:grpSpPr>
        <p:grpSp>
          <p:nvGrpSpPr>
            <p:cNvPr id="107" name="Group 106"/>
            <p:cNvGrpSpPr/>
            <p:nvPr/>
          </p:nvGrpSpPr>
          <p:grpSpPr>
            <a:xfrm>
              <a:off x="303212" y="4677426"/>
              <a:ext cx="2858806" cy="1840423"/>
              <a:chOff x="303212" y="4677426"/>
              <a:chExt cx="2858806" cy="1840423"/>
            </a:xfrm>
          </p:grpSpPr>
          <p:sp>
            <p:nvSpPr>
              <p:cNvPr id="117" name="Text Box 4"/>
              <p:cNvSpPr txBox="1">
                <a:spLocks noChangeArrowheads="1"/>
              </p:cNvSpPr>
              <p:nvPr/>
            </p:nvSpPr>
            <p:spPr bwMode="gray">
              <a:xfrm>
                <a:off x="303212" y="4951747"/>
                <a:ext cx="2858806" cy="1566102"/>
              </a:xfrm>
              <a:prstGeom prst="rect">
                <a:avLst/>
              </a:prstGeom>
              <a:solidFill>
                <a:schemeClr val="bg1">
                  <a:lumMod val="95000"/>
                </a:schemeClr>
              </a:solidFill>
              <a:ln w="3175" cap="flat" cmpd="sng" algn="ctr">
                <a:no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505050"/>
                    </a:solidFill>
                    <a:effectLst/>
                    <a:uLnTx/>
                    <a:uFillTx/>
                    <a:latin typeface="Segoe UI"/>
                    <a:ea typeface="+mn-ea"/>
                    <a:cs typeface="+mn-cs"/>
                  </a:rPr>
                  <a:t>New ancillary revenue from services and products</a:t>
                </a:r>
              </a:p>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505050"/>
                    </a:solidFill>
                    <a:effectLst/>
                    <a:uLnTx/>
                    <a:uFillTx/>
                    <a:latin typeface="Segoe UI"/>
                    <a:ea typeface="+mn-ea"/>
                    <a:cs typeface="+mn-cs"/>
                  </a:rPr>
                  <a:t>Reduced marketing and warranty costs (IOT/Telemetry)</a:t>
                </a:r>
              </a:p>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505050"/>
                    </a:solidFill>
                    <a:effectLst/>
                    <a:uLnTx/>
                    <a:uFillTx/>
                    <a:latin typeface="Segoe UI"/>
                    <a:ea typeface="+mn-ea"/>
                    <a:cs typeface="+mn-cs"/>
                  </a:rPr>
                  <a:t>Revenue from partnerships </a:t>
                </a:r>
              </a:p>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505050"/>
                    </a:solidFill>
                    <a:effectLst/>
                    <a:uLnTx/>
                    <a:uFillTx/>
                    <a:latin typeface="Segoe UI"/>
                    <a:ea typeface="+mn-ea"/>
                    <a:cs typeface="+mn-cs"/>
                  </a:rPr>
                  <a:t>Customer satisfaction and delight</a:t>
                </a:r>
              </a:p>
            </p:txBody>
          </p:sp>
          <p:sp>
            <p:nvSpPr>
              <p:cNvPr id="118" name="Rectangle 117"/>
              <p:cNvSpPr/>
              <p:nvPr/>
            </p:nvSpPr>
            <p:spPr>
              <a:xfrm>
                <a:off x="303212" y="4677426"/>
                <a:ext cx="2858806" cy="274320"/>
              </a:xfrm>
              <a:prstGeom prst="rect">
                <a:avLst/>
              </a:prstGeom>
              <a:solidFill>
                <a:schemeClr val="bg2"/>
              </a:solidFill>
              <a:ln w="3175" cap="flat" cmpd="sng" algn="ctr">
                <a:noFill/>
                <a:prstDash val="solid"/>
              </a:ln>
              <a:effectLst/>
            </p:spPr>
            <p:txBody>
              <a:bodyPr wrap="square" lIns="91440" tIns="45720" rIns="91440" bIns="45720" rtlCol="0" anchor="ctr">
                <a:noAutofit/>
              </a:bodyPr>
              <a:lstStyle/>
              <a:p>
                <a:pPr marL="0" marR="0" lvl="1" indent="0" algn="ctr" defTabSz="1218106" rtl="0" eaLnBrk="1" fontAlgn="base" latinLnBrk="0" hangingPunct="1">
                  <a:lnSpc>
                    <a:spcPct val="100000"/>
                  </a:lnSpc>
                  <a:spcBef>
                    <a:spcPts val="0"/>
                  </a:spcBef>
                  <a:spcAft>
                    <a:spcPts val="0"/>
                  </a:spcAft>
                  <a:buClr>
                    <a:srgbClr val="FFFF99"/>
                  </a:buClr>
                  <a:buSzPct val="90000"/>
                  <a:buFontTx/>
                  <a:buNone/>
                  <a:tabLst/>
                  <a:defRPr/>
                </a:pPr>
                <a:r>
                  <a:rPr kumimoji="0" lang="en-US" sz="1200" b="0" i="0" u="none" strike="noStrike" kern="0" cap="none" spc="0" normalizeH="0" baseline="0" noProof="0">
                    <a:ln>
                      <a:noFill/>
                    </a:ln>
                    <a:solidFill>
                      <a:srgbClr val="FFFFFF"/>
                    </a:solidFill>
                    <a:effectLst/>
                    <a:uLnTx/>
                    <a:uFillTx/>
                    <a:latin typeface="Segoe UI Semibold" panose="020B0702040204020203" pitchFamily="34" charset="0"/>
                    <a:ea typeface="Segoe UI" pitchFamily="34" charset="0"/>
                    <a:cs typeface="Segoe UI" pitchFamily="34" charset="0"/>
                  </a:rPr>
                  <a:t>Benefits</a:t>
                </a:r>
              </a:p>
            </p:txBody>
          </p:sp>
        </p:grpSp>
        <p:grpSp>
          <p:nvGrpSpPr>
            <p:cNvPr id="108" name="Group 107"/>
            <p:cNvGrpSpPr/>
            <p:nvPr/>
          </p:nvGrpSpPr>
          <p:grpSpPr>
            <a:xfrm>
              <a:off x="3221455" y="4677426"/>
              <a:ext cx="2678716" cy="1843336"/>
              <a:chOff x="3391166" y="4677426"/>
              <a:chExt cx="2678716" cy="1843336"/>
            </a:xfrm>
          </p:grpSpPr>
          <p:sp>
            <p:nvSpPr>
              <p:cNvPr id="115" name="Text Box 4"/>
              <p:cNvSpPr txBox="1">
                <a:spLocks noChangeArrowheads="1"/>
              </p:cNvSpPr>
              <p:nvPr/>
            </p:nvSpPr>
            <p:spPr bwMode="gray">
              <a:xfrm>
                <a:off x="3391166" y="4951747"/>
                <a:ext cx="2678716" cy="1569015"/>
              </a:xfrm>
              <a:prstGeom prst="rect">
                <a:avLst/>
              </a:prstGeom>
              <a:solidFill>
                <a:schemeClr val="bg1">
                  <a:lumMod val="95000"/>
                </a:schemeClr>
              </a:solidFill>
              <a:ln w="3175" cap="flat" cmpd="sng" algn="ctr">
                <a:no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505050"/>
                    </a:solidFill>
                    <a:effectLst/>
                    <a:uLnTx/>
                    <a:uFillTx/>
                    <a:latin typeface="Segoe UI"/>
                    <a:ea typeface="+mn-ea"/>
                    <a:cs typeface="+mn-cs"/>
                  </a:rPr>
                  <a:t>Gaining and intelligently analyzing captured data</a:t>
                </a:r>
              </a:p>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505050"/>
                    </a:solidFill>
                    <a:effectLst/>
                    <a:uLnTx/>
                    <a:uFillTx/>
                    <a:latin typeface="Segoe UI"/>
                    <a:ea typeface="+mn-ea"/>
                    <a:cs typeface="+mn-cs"/>
                  </a:rPr>
                  <a:t>Sharing and innovatively acting on insight</a:t>
                </a:r>
              </a:p>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505050"/>
                    </a:solidFill>
                    <a:effectLst/>
                    <a:uLnTx/>
                    <a:uFillTx/>
                    <a:latin typeface="Segoe UI"/>
                    <a:ea typeface="+mn-ea"/>
                    <a:cs typeface="+mn-cs"/>
                  </a:rPr>
                  <a:t>Thinking out of the box on non-automotive/OEM ancillary offerings</a:t>
                </a:r>
              </a:p>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505050"/>
                    </a:solidFill>
                    <a:effectLst/>
                    <a:uLnTx/>
                    <a:uFillTx/>
                    <a:latin typeface="Segoe UI"/>
                    <a:ea typeface="+mn-ea"/>
                    <a:cs typeface="+mn-cs"/>
                  </a:rPr>
                  <a:t>Gainfully partnering with tier 2 service providers on offerings</a:t>
                </a:r>
              </a:p>
            </p:txBody>
          </p:sp>
          <p:sp>
            <p:nvSpPr>
              <p:cNvPr id="116" name="Rectangle 115"/>
              <p:cNvSpPr/>
              <p:nvPr/>
            </p:nvSpPr>
            <p:spPr>
              <a:xfrm>
                <a:off x="3391166" y="4677426"/>
                <a:ext cx="2678716" cy="274320"/>
              </a:xfrm>
              <a:prstGeom prst="rect">
                <a:avLst/>
              </a:prstGeom>
              <a:solidFill>
                <a:schemeClr val="tx2"/>
              </a:solidFill>
              <a:ln w="3175" cap="flat" cmpd="sng" algn="ctr">
                <a:noFill/>
                <a:prstDash val="solid"/>
              </a:ln>
              <a:effectLst/>
            </p:spPr>
            <p:txBody>
              <a:bodyPr wrap="square" lIns="91440" tIns="45720" rIns="91440" bIns="45720" rtlCol="0" anchor="ctr">
                <a:noAutofit/>
              </a:bodyPr>
              <a:lstStyle/>
              <a:p>
                <a:pPr marL="0" marR="0" lvl="1" indent="0" algn="ctr" defTabSz="1218106" rtl="0" eaLnBrk="1" fontAlgn="base" latinLnBrk="0" hangingPunct="1">
                  <a:lnSpc>
                    <a:spcPct val="100000"/>
                  </a:lnSpc>
                  <a:spcBef>
                    <a:spcPts val="200"/>
                  </a:spcBef>
                  <a:spcAft>
                    <a:spcPts val="0"/>
                  </a:spcAft>
                  <a:buClr>
                    <a:srgbClr val="FFFF99"/>
                  </a:buClr>
                  <a:buSzPct val="90000"/>
                  <a:buFontTx/>
                  <a:buNone/>
                  <a:tabLst/>
                  <a:defRPr/>
                </a:pPr>
                <a:r>
                  <a:rPr kumimoji="0" lang="en-US" sz="1200" b="0" i="0" u="none" strike="noStrike" kern="0" cap="none" spc="0" normalizeH="0" baseline="0" noProof="0">
                    <a:ln>
                      <a:noFill/>
                    </a:ln>
                    <a:solidFill>
                      <a:srgbClr val="FFFFFF"/>
                    </a:solidFill>
                    <a:effectLst/>
                    <a:uLnTx/>
                    <a:uFillTx/>
                    <a:latin typeface="Segoe UI Semibold" panose="020B0702040204020203" pitchFamily="34" charset="0"/>
                    <a:ea typeface="Segoe UI" pitchFamily="34" charset="0"/>
                    <a:cs typeface="Segoe UI" pitchFamily="34" charset="0"/>
                  </a:rPr>
                  <a:t>Start </a:t>
                </a:r>
              </a:p>
            </p:txBody>
          </p:sp>
        </p:grpSp>
        <p:grpSp>
          <p:nvGrpSpPr>
            <p:cNvPr id="109" name="Group 108"/>
            <p:cNvGrpSpPr/>
            <p:nvPr/>
          </p:nvGrpSpPr>
          <p:grpSpPr>
            <a:xfrm>
              <a:off x="5959608" y="4677426"/>
              <a:ext cx="2669241" cy="1843336"/>
              <a:chOff x="6118941" y="4677426"/>
              <a:chExt cx="2669241" cy="1843336"/>
            </a:xfrm>
          </p:grpSpPr>
          <p:sp>
            <p:nvSpPr>
              <p:cNvPr id="113" name="Text Box 4"/>
              <p:cNvSpPr txBox="1">
                <a:spLocks noChangeArrowheads="1"/>
              </p:cNvSpPr>
              <p:nvPr/>
            </p:nvSpPr>
            <p:spPr bwMode="gray">
              <a:xfrm>
                <a:off x="6118941" y="4951747"/>
                <a:ext cx="2669241" cy="1569015"/>
              </a:xfrm>
              <a:prstGeom prst="rect">
                <a:avLst/>
              </a:prstGeom>
              <a:solidFill>
                <a:schemeClr val="bg1">
                  <a:lumMod val="95000"/>
                </a:schemeClr>
              </a:solidFill>
              <a:ln w="3175" cap="flat" cmpd="sng" algn="ctr">
                <a:no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505050"/>
                    </a:solidFill>
                    <a:effectLst/>
                    <a:uLnTx/>
                    <a:uFillTx/>
                    <a:latin typeface="Segoe UI"/>
                    <a:ea typeface="+mn-ea"/>
                    <a:cs typeface="+mn-cs"/>
                  </a:rPr>
                  <a:t>Being constrained by </a:t>
                </a:r>
                <a:r>
                  <a:rPr lang="en-US" sz="1050" kern="0" dirty="0">
                    <a:ln>
                      <a:noFill/>
                    </a:ln>
                    <a:solidFill>
                      <a:srgbClr val="505050"/>
                    </a:solidFill>
                    <a:latin typeface="Segoe UI"/>
                  </a:rPr>
                  <a:t>traditional </a:t>
                </a:r>
                <a:r>
                  <a:rPr kumimoji="0" lang="en-US" sz="1050" b="0" i="0" u="none" strike="noStrike" kern="0" cap="none" spc="0" normalizeH="0" baseline="0" noProof="0" dirty="0">
                    <a:ln>
                      <a:noFill/>
                    </a:ln>
                    <a:solidFill>
                      <a:srgbClr val="505050"/>
                    </a:solidFill>
                    <a:effectLst/>
                    <a:uLnTx/>
                    <a:uFillTx/>
                    <a:latin typeface="Segoe UI"/>
                    <a:ea typeface="+mn-ea"/>
                    <a:cs typeface="+mn-cs"/>
                  </a:rPr>
                  <a:t>automotive business models for sales and services</a:t>
                </a:r>
              </a:p>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505050"/>
                    </a:solidFill>
                    <a:effectLst/>
                    <a:uLnTx/>
                    <a:uFillTx/>
                    <a:latin typeface="Segoe UI"/>
                    <a:ea typeface="+mn-ea"/>
                    <a:cs typeface="+mn-cs"/>
                  </a:rPr>
                  <a:t>Making decisions on behalf of customers</a:t>
                </a:r>
              </a:p>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505050"/>
                    </a:solidFill>
                    <a:effectLst/>
                    <a:uLnTx/>
                    <a:uFillTx/>
                    <a:latin typeface="Segoe UI"/>
                    <a:ea typeface="+mn-ea"/>
                    <a:cs typeface="+mn-cs"/>
                  </a:rPr>
                  <a:t>Thinking conventionally about the  automotive value chain</a:t>
                </a:r>
              </a:p>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505050"/>
                    </a:solidFill>
                    <a:effectLst/>
                    <a:uLnTx/>
                    <a:uFillTx/>
                    <a:latin typeface="Segoe UI"/>
                    <a:ea typeface="+mn-ea"/>
                    <a:cs typeface="+mn-cs"/>
                  </a:rPr>
                  <a:t>Investing in conventional insight engines </a:t>
                </a:r>
              </a:p>
            </p:txBody>
          </p:sp>
          <p:sp>
            <p:nvSpPr>
              <p:cNvPr id="114" name="Rectangle 113"/>
              <p:cNvSpPr/>
              <p:nvPr/>
            </p:nvSpPr>
            <p:spPr>
              <a:xfrm>
                <a:off x="6118941" y="4677426"/>
                <a:ext cx="2669241" cy="274320"/>
              </a:xfrm>
              <a:prstGeom prst="rect">
                <a:avLst/>
              </a:prstGeom>
              <a:solidFill>
                <a:schemeClr val="accent1"/>
              </a:solidFill>
              <a:ln w="3175" cap="flat" cmpd="sng" algn="ctr">
                <a:noFill/>
                <a:prstDash val="solid"/>
              </a:ln>
              <a:effectLst/>
            </p:spPr>
            <p:txBody>
              <a:bodyPr wrap="square" lIns="91440" tIns="45720" rIns="91440" bIns="45720" rtlCol="0" anchor="ctr">
                <a:noAutofit/>
              </a:bodyPr>
              <a:lstStyle/>
              <a:p>
                <a:pPr marL="0" marR="0" lvl="1" indent="0" algn="ctr" defTabSz="1218106" rtl="0" eaLnBrk="1" fontAlgn="base" latinLnBrk="0" hangingPunct="1">
                  <a:lnSpc>
                    <a:spcPct val="100000"/>
                  </a:lnSpc>
                  <a:spcBef>
                    <a:spcPts val="200"/>
                  </a:spcBef>
                  <a:spcAft>
                    <a:spcPts val="0"/>
                  </a:spcAft>
                  <a:buClr>
                    <a:srgbClr val="FFFF99"/>
                  </a:buClr>
                  <a:buSzPct val="90000"/>
                  <a:buFontTx/>
                  <a:buNone/>
                  <a:tabLst/>
                  <a:defRPr/>
                </a:pPr>
                <a:r>
                  <a:rPr kumimoji="0" lang="en-US" sz="1200" b="0" i="0" u="none" strike="noStrike" kern="0" cap="none" spc="0" normalizeH="0" baseline="0" noProof="0">
                    <a:ln>
                      <a:noFill/>
                    </a:ln>
                    <a:solidFill>
                      <a:srgbClr val="FFFFFF"/>
                    </a:solidFill>
                    <a:effectLst/>
                    <a:uLnTx/>
                    <a:uFillTx/>
                    <a:latin typeface="Segoe UI Semibold" panose="020B0702040204020203" pitchFamily="34" charset="0"/>
                    <a:ea typeface="Segoe UI" pitchFamily="34" charset="0"/>
                    <a:cs typeface="Segoe UI" pitchFamily="34" charset="0"/>
                  </a:rPr>
                  <a:t>Stop</a:t>
                </a:r>
              </a:p>
            </p:txBody>
          </p:sp>
        </p:grpSp>
        <p:grpSp>
          <p:nvGrpSpPr>
            <p:cNvPr id="110" name="Group 109"/>
            <p:cNvGrpSpPr/>
            <p:nvPr/>
          </p:nvGrpSpPr>
          <p:grpSpPr>
            <a:xfrm>
              <a:off x="8688285" y="4677426"/>
              <a:ext cx="2858806" cy="1843336"/>
              <a:chOff x="9026806" y="4677426"/>
              <a:chExt cx="2858806" cy="1843336"/>
            </a:xfrm>
          </p:grpSpPr>
          <p:sp>
            <p:nvSpPr>
              <p:cNvPr id="111" name="Text Box 4"/>
              <p:cNvSpPr txBox="1">
                <a:spLocks noChangeArrowheads="1"/>
              </p:cNvSpPr>
              <p:nvPr/>
            </p:nvSpPr>
            <p:spPr bwMode="gray">
              <a:xfrm>
                <a:off x="9026806" y="4951747"/>
                <a:ext cx="2858806" cy="1569015"/>
              </a:xfrm>
              <a:prstGeom prst="rect">
                <a:avLst/>
              </a:prstGeom>
              <a:solidFill>
                <a:schemeClr val="bg1">
                  <a:lumMod val="95000"/>
                </a:schemeClr>
              </a:solidFill>
              <a:ln w="3175" cap="flat" cmpd="sng" algn="ctr">
                <a:no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505050"/>
                    </a:solidFill>
                    <a:effectLst/>
                    <a:uLnTx/>
                    <a:uFillTx/>
                    <a:latin typeface="Segoe UI"/>
                    <a:ea typeface="+mn-ea"/>
                    <a:cs typeface="+mn-cs"/>
                  </a:rPr>
                  <a:t>Refining technology offerings</a:t>
                </a:r>
              </a:p>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505050"/>
                    </a:solidFill>
                    <a:effectLst/>
                    <a:uLnTx/>
                    <a:uFillTx/>
                    <a:latin typeface="Segoe UI"/>
                    <a:ea typeface="+mn-ea"/>
                    <a:cs typeface="+mn-cs"/>
                  </a:rPr>
                  <a:t>Listening to the voice of the customer</a:t>
                </a:r>
              </a:p>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505050"/>
                    </a:solidFill>
                    <a:effectLst/>
                    <a:uLnTx/>
                    <a:uFillTx/>
                    <a:latin typeface="Segoe UI"/>
                    <a:ea typeface="+mn-ea"/>
                    <a:cs typeface="+mn-cs"/>
                  </a:rPr>
                  <a:t>Acting on real-life data</a:t>
                </a:r>
              </a:p>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1050" b="0" i="0" u="none" strike="noStrike" kern="0" cap="none" spc="0" normalizeH="0" baseline="0" noProof="0" dirty="0">
                    <a:ln>
                      <a:noFill/>
                    </a:ln>
                    <a:solidFill>
                      <a:srgbClr val="505050"/>
                    </a:solidFill>
                    <a:effectLst/>
                    <a:uLnTx/>
                    <a:uFillTx/>
                    <a:latin typeface="Segoe UI"/>
                    <a:ea typeface="+mn-ea"/>
                    <a:cs typeface="+mn-cs"/>
                  </a:rPr>
                  <a:t>Keeping the customer in focus</a:t>
                </a:r>
              </a:p>
            </p:txBody>
          </p:sp>
          <p:sp>
            <p:nvSpPr>
              <p:cNvPr id="112" name="Rectangle 111"/>
              <p:cNvSpPr/>
              <p:nvPr/>
            </p:nvSpPr>
            <p:spPr>
              <a:xfrm>
                <a:off x="9026806" y="4677426"/>
                <a:ext cx="2858806" cy="274320"/>
              </a:xfrm>
              <a:prstGeom prst="rect">
                <a:avLst/>
              </a:prstGeom>
              <a:solidFill>
                <a:schemeClr val="accent2"/>
              </a:solidFill>
              <a:ln w="3175" cap="flat" cmpd="sng" algn="ctr">
                <a:noFill/>
                <a:prstDash val="solid"/>
              </a:ln>
              <a:effectLst/>
            </p:spPr>
            <p:txBody>
              <a:bodyPr wrap="square" lIns="91440" tIns="45720" rIns="91440" bIns="45720" rtlCol="0" anchor="ctr">
                <a:noAutofit/>
              </a:bodyPr>
              <a:lstStyle/>
              <a:p>
                <a:pPr marL="0" marR="0" lvl="1" indent="0" algn="ctr" defTabSz="1218106" rtl="0" eaLnBrk="1" fontAlgn="base" latinLnBrk="0" hangingPunct="1">
                  <a:lnSpc>
                    <a:spcPct val="100000"/>
                  </a:lnSpc>
                  <a:spcBef>
                    <a:spcPts val="200"/>
                  </a:spcBef>
                  <a:spcAft>
                    <a:spcPts val="0"/>
                  </a:spcAft>
                  <a:buClr>
                    <a:srgbClr val="FFFF99"/>
                  </a:buClr>
                  <a:buSzPct val="90000"/>
                  <a:buFontTx/>
                  <a:buNone/>
                  <a:tabLst/>
                  <a:defRPr/>
                </a:pPr>
                <a:r>
                  <a:rPr kumimoji="0" lang="en-US" sz="1200" b="0" i="0" u="none" strike="noStrike" kern="0" cap="none" spc="0" normalizeH="0" baseline="0" noProof="0">
                    <a:ln>
                      <a:noFill/>
                    </a:ln>
                    <a:solidFill>
                      <a:srgbClr val="505050"/>
                    </a:solidFill>
                    <a:effectLst/>
                    <a:uLnTx/>
                    <a:uFillTx/>
                    <a:latin typeface="Segoe UI Semibold" panose="020B0702040204020203" pitchFamily="34" charset="0"/>
                    <a:ea typeface="Segoe UI" pitchFamily="34" charset="0"/>
                    <a:cs typeface="Segoe UI" pitchFamily="34" charset="0"/>
                  </a:rPr>
                  <a:t>Continue</a:t>
                </a:r>
              </a:p>
            </p:txBody>
          </p:sp>
        </p:grpSp>
      </p:grpSp>
      <p:sp>
        <p:nvSpPr>
          <p:cNvPr id="120" name="Rectangle 33"/>
          <p:cNvSpPr>
            <a:spLocks noChangeAspect="1"/>
          </p:cNvSpPr>
          <p:nvPr/>
        </p:nvSpPr>
        <p:spPr>
          <a:xfrm>
            <a:off x="2599970" y="2440278"/>
            <a:ext cx="375870" cy="385456"/>
          </a:xfrm>
          <a:custGeom>
            <a:avLst/>
            <a:gdLst/>
            <a:ahLst/>
            <a:cxnLst/>
            <a:rect l="l" t="t" r="r" b="b"/>
            <a:pathLst>
              <a:path w="2283054" h="2341290">
                <a:moveTo>
                  <a:pt x="497971" y="983985"/>
                </a:moveTo>
                <a:lnTo>
                  <a:pt x="1788977" y="983985"/>
                </a:lnTo>
                <a:lnTo>
                  <a:pt x="1788977" y="1170645"/>
                </a:lnTo>
                <a:lnTo>
                  <a:pt x="497971" y="1170645"/>
                </a:lnTo>
                <a:close/>
                <a:moveTo>
                  <a:pt x="497971" y="543501"/>
                </a:moveTo>
                <a:lnTo>
                  <a:pt x="1788977" y="543501"/>
                </a:lnTo>
                <a:lnTo>
                  <a:pt x="1788977" y="730161"/>
                </a:lnTo>
                <a:lnTo>
                  <a:pt x="497971" y="730161"/>
                </a:lnTo>
                <a:close/>
                <a:moveTo>
                  <a:pt x="433357" y="213583"/>
                </a:moveTo>
                <a:cubicBezTo>
                  <a:pt x="327876" y="213583"/>
                  <a:pt x="242367" y="299092"/>
                  <a:pt x="242367" y="404573"/>
                </a:cubicBezTo>
                <a:lnTo>
                  <a:pt x="242367" y="1296876"/>
                </a:lnTo>
                <a:cubicBezTo>
                  <a:pt x="242367" y="1402357"/>
                  <a:pt x="327876" y="1487866"/>
                  <a:pt x="433357" y="1487866"/>
                </a:cubicBezTo>
                <a:lnTo>
                  <a:pt x="471485" y="1487866"/>
                </a:lnTo>
                <a:lnTo>
                  <a:pt x="648173" y="1488172"/>
                </a:lnTo>
                <a:lnTo>
                  <a:pt x="648173" y="1701448"/>
                </a:lnTo>
                <a:lnTo>
                  <a:pt x="648173" y="1840406"/>
                </a:lnTo>
                <a:lnTo>
                  <a:pt x="648173" y="1841371"/>
                </a:lnTo>
                <a:lnTo>
                  <a:pt x="857904" y="1602279"/>
                </a:lnTo>
                <a:lnTo>
                  <a:pt x="958266" y="1487866"/>
                </a:lnTo>
                <a:lnTo>
                  <a:pt x="1849697" y="1487866"/>
                </a:lnTo>
                <a:cubicBezTo>
                  <a:pt x="1955178" y="1487866"/>
                  <a:pt x="2040687" y="1402357"/>
                  <a:pt x="2040687" y="1296876"/>
                </a:cubicBezTo>
                <a:lnTo>
                  <a:pt x="2040687" y="404573"/>
                </a:lnTo>
                <a:cubicBezTo>
                  <a:pt x="2040687" y="299092"/>
                  <a:pt x="1955178" y="213583"/>
                  <a:pt x="1849697" y="213583"/>
                </a:cubicBezTo>
                <a:close/>
                <a:moveTo>
                  <a:pt x="255013" y="0"/>
                </a:moveTo>
                <a:lnTo>
                  <a:pt x="2028041" y="0"/>
                </a:lnTo>
                <a:cubicBezTo>
                  <a:pt x="2168881" y="0"/>
                  <a:pt x="2283054" y="114173"/>
                  <a:pt x="2283054" y="255013"/>
                </a:cubicBezTo>
                <a:lnTo>
                  <a:pt x="2283054" y="1446435"/>
                </a:lnTo>
                <a:cubicBezTo>
                  <a:pt x="2283054" y="1587275"/>
                  <a:pt x="2168881" y="1701448"/>
                  <a:pt x="2028041" y="1701448"/>
                </a:cubicBezTo>
                <a:lnTo>
                  <a:pt x="995902" y="1701448"/>
                </a:lnTo>
                <a:lnTo>
                  <a:pt x="471960" y="2341290"/>
                </a:lnTo>
                <a:cubicBezTo>
                  <a:pt x="471841" y="2128009"/>
                  <a:pt x="471723" y="1914729"/>
                  <a:pt x="471604" y="1701448"/>
                </a:cubicBezTo>
                <a:lnTo>
                  <a:pt x="255013" y="1701448"/>
                </a:lnTo>
                <a:cubicBezTo>
                  <a:pt x="114173" y="1701448"/>
                  <a:pt x="0" y="1587275"/>
                  <a:pt x="0" y="1446435"/>
                </a:cubicBezTo>
                <a:lnTo>
                  <a:pt x="0" y="255013"/>
                </a:lnTo>
                <a:cubicBezTo>
                  <a:pt x="0" y="114173"/>
                  <a:pt x="114173" y="0"/>
                  <a:pt x="255013" y="0"/>
                </a:cubicBezTo>
                <a:close/>
              </a:path>
            </a:pathLst>
          </a:custGeom>
          <a:solidFill>
            <a:srgbClr val="5E83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121" name="Block Arc 6"/>
          <p:cNvSpPr>
            <a:spLocks noChangeAspect="1"/>
          </p:cNvSpPr>
          <p:nvPr/>
        </p:nvSpPr>
        <p:spPr>
          <a:xfrm>
            <a:off x="2319092" y="2065324"/>
            <a:ext cx="376940" cy="376940"/>
          </a:xfrm>
          <a:custGeom>
            <a:avLst/>
            <a:gdLst/>
            <a:ahLst/>
            <a:cxnLst/>
            <a:rect l="l" t="t" r="r" b="b"/>
            <a:pathLst>
              <a:path w="2936350" h="2936350">
                <a:moveTo>
                  <a:pt x="1468175" y="1289581"/>
                </a:moveTo>
                <a:cubicBezTo>
                  <a:pt x="1563946" y="1289581"/>
                  <a:pt x="1642109" y="1364963"/>
                  <a:pt x="1645058" y="1459701"/>
                </a:cubicBezTo>
                <a:lnTo>
                  <a:pt x="1958717" y="1762599"/>
                </a:lnTo>
                <a:cubicBezTo>
                  <a:pt x="2007813" y="1681261"/>
                  <a:pt x="2035913" y="1588465"/>
                  <a:pt x="2040007" y="1492589"/>
                </a:cubicBezTo>
                <a:lnTo>
                  <a:pt x="2478230" y="1511298"/>
                </a:lnTo>
                <a:cubicBezTo>
                  <a:pt x="2469544" y="1714745"/>
                  <a:pt x="2399657" y="1910343"/>
                  <a:pt x="2275883" y="2070911"/>
                </a:cubicBezTo>
                <a:cubicBezTo>
                  <a:pt x="2322484" y="2119427"/>
                  <a:pt x="2322157" y="2196479"/>
                  <a:pt x="2274851" y="2245466"/>
                </a:cubicBezTo>
                <a:lnTo>
                  <a:pt x="2274851" y="2245464"/>
                </a:lnTo>
                <a:cubicBezTo>
                  <a:pt x="2225843" y="2296213"/>
                  <a:pt x="2144975" y="2297625"/>
                  <a:pt x="2094227" y="2248617"/>
                </a:cubicBezTo>
                <a:lnTo>
                  <a:pt x="1470507" y="1646298"/>
                </a:lnTo>
                <a:cubicBezTo>
                  <a:pt x="1469735" y="1646764"/>
                  <a:pt x="1468956" y="1646769"/>
                  <a:pt x="1468175" y="1646769"/>
                </a:cubicBezTo>
                <a:cubicBezTo>
                  <a:pt x="1369540" y="1646769"/>
                  <a:pt x="1289581" y="1566810"/>
                  <a:pt x="1289581" y="1468175"/>
                </a:cubicBezTo>
                <a:cubicBezTo>
                  <a:pt x="1289581" y="1369540"/>
                  <a:pt x="1369540" y="1289581"/>
                  <a:pt x="1468175" y="1289581"/>
                </a:cubicBezTo>
                <a:close/>
                <a:moveTo>
                  <a:pt x="703004" y="807429"/>
                </a:moveTo>
                <a:lnTo>
                  <a:pt x="1034982" y="1094100"/>
                </a:lnTo>
                <a:cubicBezTo>
                  <a:pt x="952229" y="1189932"/>
                  <a:pt x="903589" y="1310499"/>
                  <a:pt x="896676" y="1436926"/>
                </a:cubicBezTo>
                <a:lnTo>
                  <a:pt x="458708" y="1412980"/>
                </a:lnTo>
                <a:cubicBezTo>
                  <a:pt x="470919" y="1189665"/>
                  <a:pt x="556834" y="976701"/>
                  <a:pt x="703004" y="807429"/>
                </a:cubicBezTo>
                <a:close/>
                <a:moveTo>
                  <a:pt x="2227598" y="800832"/>
                </a:moveTo>
                <a:cubicBezTo>
                  <a:pt x="2375228" y="968832"/>
                  <a:pt x="2462984" y="1181044"/>
                  <a:pt x="2477127" y="1404245"/>
                </a:cubicBezTo>
                <a:lnTo>
                  <a:pt x="2039383" y="1431982"/>
                </a:lnTo>
                <a:cubicBezTo>
                  <a:pt x="2031376" y="1305619"/>
                  <a:pt x="1981694" y="1185478"/>
                  <a:pt x="1898115" y="1090366"/>
                </a:cubicBezTo>
                <a:close/>
                <a:moveTo>
                  <a:pt x="1540008" y="459756"/>
                </a:moveTo>
                <a:cubicBezTo>
                  <a:pt x="1763092" y="475647"/>
                  <a:pt x="1974610" y="565062"/>
                  <a:pt x="2141448" y="714004"/>
                </a:cubicBezTo>
                <a:lnTo>
                  <a:pt x="1849342" y="1041209"/>
                </a:lnTo>
                <a:cubicBezTo>
                  <a:pt x="1754888" y="956887"/>
                  <a:pt x="1635140" y="906266"/>
                  <a:pt x="1508843" y="897269"/>
                </a:cubicBezTo>
                <a:close/>
                <a:moveTo>
                  <a:pt x="1404245" y="459223"/>
                </a:moveTo>
                <a:lnTo>
                  <a:pt x="1431982" y="896967"/>
                </a:lnTo>
                <a:cubicBezTo>
                  <a:pt x="1305619" y="904974"/>
                  <a:pt x="1185478" y="954656"/>
                  <a:pt x="1090366" y="1038235"/>
                </a:cubicBezTo>
                <a:lnTo>
                  <a:pt x="800832" y="708752"/>
                </a:lnTo>
                <a:cubicBezTo>
                  <a:pt x="968832" y="561122"/>
                  <a:pt x="1181044" y="473366"/>
                  <a:pt x="1404245" y="459223"/>
                </a:cubicBezTo>
                <a:close/>
                <a:moveTo>
                  <a:pt x="1468175" y="278278"/>
                </a:moveTo>
                <a:cubicBezTo>
                  <a:pt x="811013" y="278278"/>
                  <a:pt x="278278" y="811013"/>
                  <a:pt x="278278" y="1468175"/>
                </a:cubicBezTo>
                <a:cubicBezTo>
                  <a:pt x="278278" y="2125337"/>
                  <a:pt x="811013" y="2658072"/>
                  <a:pt x="1468175" y="2658072"/>
                </a:cubicBezTo>
                <a:cubicBezTo>
                  <a:pt x="2125337" y="2658072"/>
                  <a:pt x="2658072" y="2125337"/>
                  <a:pt x="2658072" y="1468175"/>
                </a:cubicBezTo>
                <a:cubicBezTo>
                  <a:pt x="2658072" y="811013"/>
                  <a:pt x="2125337" y="278278"/>
                  <a:pt x="1468175" y="278278"/>
                </a:cubicBezTo>
                <a:close/>
                <a:moveTo>
                  <a:pt x="1468175" y="0"/>
                </a:moveTo>
                <a:cubicBezTo>
                  <a:pt x="2279026" y="0"/>
                  <a:pt x="2936350" y="657324"/>
                  <a:pt x="2936350" y="1468175"/>
                </a:cubicBezTo>
                <a:cubicBezTo>
                  <a:pt x="2936350" y="2279026"/>
                  <a:pt x="2279026" y="2936350"/>
                  <a:pt x="1468175" y="2936350"/>
                </a:cubicBezTo>
                <a:cubicBezTo>
                  <a:pt x="657324" y="2936350"/>
                  <a:pt x="0" y="2279026"/>
                  <a:pt x="0" y="1468175"/>
                </a:cubicBezTo>
                <a:cubicBezTo>
                  <a:pt x="0" y="657324"/>
                  <a:pt x="657324" y="0"/>
                  <a:pt x="1468175" y="0"/>
                </a:cubicBezTo>
                <a:close/>
              </a:path>
            </a:pathLst>
          </a:custGeom>
          <a:solidFill>
            <a:srgbClr val="5E83B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grpSp>
        <p:nvGrpSpPr>
          <p:cNvPr id="122" name="Group 121"/>
          <p:cNvGrpSpPr>
            <a:grpSpLocks noChangeAspect="1"/>
          </p:cNvGrpSpPr>
          <p:nvPr/>
        </p:nvGrpSpPr>
        <p:grpSpPr bwMode="black">
          <a:xfrm>
            <a:off x="2507562" y="3802871"/>
            <a:ext cx="288769" cy="288040"/>
            <a:chOff x="741363" y="4105804"/>
            <a:chExt cx="700088" cy="698500"/>
          </a:xfrm>
          <a:solidFill>
            <a:srgbClr val="ADADAD"/>
          </a:solidFill>
        </p:grpSpPr>
        <p:sp>
          <p:nvSpPr>
            <p:cNvPr id="205" name="Freeform 34"/>
            <p:cNvSpPr>
              <a:spLocks noEditPoints="1"/>
            </p:cNvSpPr>
            <p:nvPr/>
          </p:nvSpPr>
          <p:spPr bwMode="black">
            <a:xfrm>
              <a:off x="741363" y="4105804"/>
              <a:ext cx="700088" cy="698500"/>
            </a:xfrm>
            <a:custGeom>
              <a:avLst/>
              <a:gdLst>
                <a:gd name="T0" fmla="*/ 333 w 394"/>
                <a:gd name="T1" fmla="*/ 0 h 393"/>
                <a:gd name="T2" fmla="*/ 61 w 394"/>
                <a:gd name="T3" fmla="*/ 0 h 393"/>
                <a:gd name="T4" fmla="*/ 0 w 394"/>
                <a:gd name="T5" fmla="*/ 60 h 393"/>
                <a:gd name="T6" fmla="*/ 0 w 394"/>
                <a:gd name="T7" fmla="*/ 333 h 393"/>
                <a:gd name="T8" fmla="*/ 61 w 394"/>
                <a:gd name="T9" fmla="*/ 393 h 393"/>
                <a:gd name="T10" fmla="*/ 333 w 394"/>
                <a:gd name="T11" fmla="*/ 393 h 393"/>
                <a:gd name="T12" fmla="*/ 394 w 394"/>
                <a:gd name="T13" fmla="*/ 333 h 393"/>
                <a:gd name="T14" fmla="*/ 394 w 394"/>
                <a:gd name="T15" fmla="*/ 60 h 393"/>
                <a:gd name="T16" fmla="*/ 333 w 394"/>
                <a:gd name="T17" fmla="*/ 0 h 393"/>
                <a:gd name="T18" fmla="*/ 376 w 394"/>
                <a:gd name="T19" fmla="*/ 333 h 393"/>
                <a:gd name="T20" fmla="*/ 333 w 394"/>
                <a:gd name="T21" fmla="*/ 376 h 393"/>
                <a:gd name="T22" fmla="*/ 61 w 394"/>
                <a:gd name="T23" fmla="*/ 376 h 393"/>
                <a:gd name="T24" fmla="*/ 18 w 394"/>
                <a:gd name="T25" fmla="*/ 333 h 393"/>
                <a:gd name="T26" fmla="*/ 18 w 394"/>
                <a:gd name="T27" fmla="*/ 60 h 393"/>
                <a:gd name="T28" fmla="*/ 61 w 394"/>
                <a:gd name="T29" fmla="*/ 17 h 393"/>
                <a:gd name="T30" fmla="*/ 333 w 394"/>
                <a:gd name="T31" fmla="*/ 17 h 393"/>
                <a:gd name="T32" fmla="*/ 376 w 394"/>
                <a:gd name="T33" fmla="*/ 60 h 393"/>
                <a:gd name="T34" fmla="*/ 376 w 394"/>
                <a:gd name="T35" fmla="*/ 333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4" h="393">
                  <a:moveTo>
                    <a:pt x="333" y="0"/>
                  </a:moveTo>
                  <a:cubicBezTo>
                    <a:pt x="61" y="0"/>
                    <a:pt x="61" y="0"/>
                    <a:pt x="61" y="0"/>
                  </a:cubicBezTo>
                  <a:cubicBezTo>
                    <a:pt x="28" y="0"/>
                    <a:pt x="0" y="27"/>
                    <a:pt x="0" y="60"/>
                  </a:cubicBezTo>
                  <a:cubicBezTo>
                    <a:pt x="0" y="333"/>
                    <a:pt x="0" y="333"/>
                    <a:pt x="0" y="333"/>
                  </a:cubicBezTo>
                  <a:cubicBezTo>
                    <a:pt x="0" y="366"/>
                    <a:pt x="28" y="393"/>
                    <a:pt x="61" y="393"/>
                  </a:cubicBezTo>
                  <a:cubicBezTo>
                    <a:pt x="333" y="393"/>
                    <a:pt x="333" y="393"/>
                    <a:pt x="333" y="393"/>
                  </a:cubicBezTo>
                  <a:cubicBezTo>
                    <a:pt x="366" y="393"/>
                    <a:pt x="394" y="366"/>
                    <a:pt x="394" y="333"/>
                  </a:cubicBezTo>
                  <a:cubicBezTo>
                    <a:pt x="394" y="60"/>
                    <a:pt x="394" y="60"/>
                    <a:pt x="394" y="60"/>
                  </a:cubicBezTo>
                  <a:cubicBezTo>
                    <a:pt x="394" y="27"/>
                    <a:pt x="366" y="0"/>
                    <a:pt x="333" y="0"/>
                  </a:cubicBezTo>
                  <a:close/>
                  <a:moveTo>
                    <a:pt x="376" y="333"/>
                  </a:moveTo>
                  <a:cubicBezTo>
                    <a:pt x="376" y="356"/>
                    <a:pt x="357" y="376"/>
                    <a:pt x="333" y="376"/>
                  </a:cubicBezTo>
                  <a:cubicBezTo>
                    <a:pt x="61" y="376"/>
                    <a:pt x="61" y="376"/>
                    <a:pt x="61" y="376"/>
                  </a:cubicBezTo>
                  <a:cubicBezTo>
                    <a:pt x="37" y="376"/>
                    <a:pt x="18" y="356"/>
                    <a:pt x="18" y="333"/>
                  </a:cubicBezTo>
                  <a:cubicBezTo>
                    <a:pt x="18" y="60"/>
                    <a:pt x="18" y="60"/>
                    <a:pt x="18" y="60"/>
                  </a:cubicBezTo>
                  <a:cubicBezTo>
                    <a:pt x="18" y="37"/>
                    <a:pt x="37" y="17"/>
                    <a:pt x="61" y="17"/>
                  </a:cubicBezTo>
                  <a:cubicBezTo>
                    <a:pt x="333" y="17"/>
                    <a:pt x="333" y="17"/>
                    <a:pt x="333" y="17"/>
                  </a:cubicBezTo>
                  <a:cubicBezTo>
                    <a:pt x="357" y="17"/>
                    <a:pt x="376" y="37"/>
                    <a:pt x="376" y="60"/>
                  </a:cubicBezTo>
                  <a:lnTo>
                    <a:pt x="376" y="33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06" name="Freeform 35"/>
            <p:cNvSpPr>
              <a:spLocks noEditPoints="1"/>
            </p:cNvSpPr>
            <p:nvPr/>
          </p:nvSpPr>
          <p:spPr bwMode="black">
            <a:xfrm>
              <a:off x="803275" y="4166129"/>
              <a:ext cx="576263" cy="576263"/>
            </a:xfrm>
            <a:custGeom>
              <a:avLst/>
              <a:gdLst>
                <a:gd name="T0" fmla="*/ 298 w 324"/>
                <a:gd name="T1" fmla="*/ 0 h 324"/>
                <a:gd name="T2" fmla="*/ 26 w 324"/>
                <a:gd name="T3" fmla="*/ 0 h 324"/>
                <a:gd name="T4" fmla="*/ 0 w 324"/>
                <a:gd name="T5" fmla="*/ 26 h 324"/>
                <a:gd name="T6" fmla="*/ 0 w 324"/>
                <a:gd name="T7" fmla="*/ 299 h 324"/>
                <a:gd name="T8" fmla="*/ 26 w 324"/>
                <a:gd name="T9" fmla="*/ 324 h 324"/>
                <a:gd name="T10" fmla="*/ 298 w 324"/>
                <a:gd name="T11" fmla="*/ 324 h 324"/>
                <a:gd name="T12" fmla="*/ 324 w 324"/>
                <a:gd name="T13" fmla="*/ 299 h 324"/>
                <a:gd name="T14" fmla="*/ 324 w 324"/>
                <a:gd name="T15" fmla="*/ 26 h 324"/>
                <a:gd name="T16" fmla="*/ 298 w 324"/>
                <a:gd name="T17" fmla="*/ 0 h 324"/>
                <a:gd name="T18" fmla="*/ 233 w 324"/>
                <a:gd name="T19" fmla="*/ 125 h 324"/>
                <a:gd name="T20" fmla="*/ 229 w 324"/>
                <a:gd name="T21" fmla="*/ 161 h 324"/>
                <a:gd name="T22" fmla="*/ 209 w 324"/>
                <a:gd name="T23" fmla="*/ 201 h 324"/>
                <a:gd name="T24" fmla="*/ 201 w 324"/>
                <a:gd name="T25" fmla="*/ 201 h 324"/>
                <a:gd name="T26" fmla="*/ 201 w 324"/>
                <a:gd name="T27" fmla="*/ 208 h 324"/>
                <a:gd name="T28" fmla="*/ 233 w 324"/>
                <a:gd name="T29" fmla="*/ 208 h 324"/>
                <a:gd name="T30" fmla="*/ 229 w 324"/>
                <a:gd name="T31" fmla="*/ 244 h 324"/>
                <a:gd name="T32" fmla="*/ 209 w 324"/>
                <a:gd name="T33" fmla="*/ 284 h 324"/>
                <a:gd name="T34" fmla="*/ 201 w 324"/>
                <a:gd name="T35" fmla="*/ 284 h 324"/>
                <a:gd name="T36" fmla="*/ 201 w 324"/>
                <a:gd name="T37" fmla="*/ 287 h 324"/>
                <a:gd name="T38" fmla="*/ 182 w 324"/>
                <a:gd name="T39" fmla="*/ 296 h 324"/>
                <a:gd name="T40" fmla="*/ 137 w 324"/>
                <a:gd name="T41" fmla="*/ 296 h 324"/>
                <a:gd name="T42" fmla="*/ 118 w 324"/>
                <a:gd name="T43" fmla="*/ 287 h 324"/>
                <a:gd name="T44" fmla="*/ 118 w 324"/>
                <a:gd name="T45" fmla="*/ 284 h 324"/>
                <a:gd name="T46" fmla="*/ 110 w 324"/>
                <a:gd name="T47" fmla="*/ 284 h 324"/>
                <a:gd name="T48" fmla="*/ 91 w 324"/>
                <a:gd name="T49" fmla="*/ 244 h 324"/>
                <a:gd name="T50" fmla="*/ 86 w 324"/>
                <a:gd name="T51" fmla="*/ 208 h 324"/>
                <a:gd name="T52" fmla="*/ 118 w 324"/>
                <a:gd name="T53" fmla="*/ 208 h 324"/>
                <a:gd name="T54" fmla="*/ 118 w 324"/>
                <a:gd name="T55" fmla="*/ 201 h 324"/>
                <a:gd name="T56" fmla="*/ 110 w 324"/>
                <a:gd name="T57" fmla="*/ 201 h 324"/>
                <a:gd name="T58" fmla="*/ 91 w 324"/>
                <a:gd name="T59" fmla="*/ 161 h 324"/>
                <a:gd name="T60" fmla="*/ 86 w 324"/>
                <a:gd name="T61" fmla="*/ 125 h 324"/>
                <a:gd name="T62" fmla="*/ 118 w 324"/>
                <a:gd name="T63" fmla="*/ 125 h 324"/>
                <a:gd name="T64" fmla="*/ 118 w 324"/>
                <a:gd name="T65" fmla="*/ 119 h 324"/>
                <a:gd name="T66" fmla="*/ 110 w 324"/>
                <a:gd name="T67" fmla="*/ 119 h 324"/>
                <a:gd name="T68" fmla="*/ 91 w 324"/>
                <a:gd name="T69" fmla="*/ 78 h 324"/>
                <a:gd name="T70" fmla="*/ 86 w 324"/>
                <a:gd name="T71" fmla="*/ 42 h 324"/>
                <a:gd name="T72" fmla="*/ 118 w 324"/>
                <a:gd name="T73" fmla="*/ 42 h 324"/>
                <a:gd name="T74" fmla="*/ 118 w 324"/>
                <a:gd name="T75" fmla="*/ 39 h 324"/>
                <a:gd name="T76" fmla="*/ 137 w 324"/>
                <a:gd name="T77" fmla="*/ 19 h 324"/>
                <a:gd name="T78" fmla="*/ 182 w 324"/>
                <a:gd name="T79" fmla="*/ 19 h 324"/>
                <a:gd name="T80" fmla="*/ 201 w 324"/>
                <a:gd name="T81" fmla="*/ 39 h 324"/>
                <a:gd name="T82" fmla="*/ 201 w 324"/>
                <a:gd name="T83" fmla="*/ 42 h 324"/>
                <a:gd name="T84" fmla="*/ 233 w 324"/>
                <a:gd name="T85" fmla="*/ 42 h 324"/>
                <a:gd name="T86" fmla="*/ 229 w 324"/>
                <a:gd name="T87" fmla="*/ 78 h 324"/>
                <a:gd name="T88" fmla="*/ 209 w 324"/>
                <a:gd name="T89" fmla="*/ 119 h 324"/>
                <a:gd name="T90" fmla="*/ 201 w 324"/>
                <a:gd name="T91" fmla="*/ 119 h 324"/>
                <a:gd name="T92" fmla="*/ 201 w 324"/>
                <a:gd name="T93" fmla="*/ 125 h 324"/>
                <a:gd name="T94" fmla="*/ 233 w 324"/>
                <a:gd name="T95" fmla="*/ 12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298" y="0"/>
                  </a:moveTo>
                  <a:cubicBezTo>
                    <a:pt x="26" y="0"/>
                    <a:pt x="26" y="0"/>
                    <a:pt x="26" y="0"/>
                  </a:cubicBezTo>
                  <a:cubicBezTo>
                    <a:pt x="12" y="0"/>
                    <a:pt x="0" y="12"/>
                    <a:pt x="0" y="26"/>
                  </a:cubicBezTo>
                  <a:cubicBezTo>
                    <a:pt x="0" y="299"/>
                    <a:pt x="0" y="299"/>
                    <a:pt x="0" y="299"/>
                  </a:cubicBezTo>
                  <a:cubicBezTo>
                    <a:pt x="0" y="313"/>
                    <a:pt x="12" y="324"/>
                    <a:pt x="26" y="324"/>
                  </a:cubicBezTo>
                  <a:cubicBezTo>
                    <a:pt x="298" y="324"/>
                    <a:pt x="298" y="324"/>
                    <a:pt x="298" y="324"/>
                  </a:cubicBezTo>
                  <a:cubicBezTo>
                    <a:pt x="312" y="324"/>
                    <a:pt x="324" y="313"/>
                    <a:pt x="324" y="299"/>
                  </a:cubicBezTo>
                  <a:cubicBezTo>
                    <a:pt x="324" y="26"/>
                    <a:pt x="324" y="26"/>
                    <a:pt x="324" y="26"/>
                  </a:cubicBezTo>
                  <a:cubicBezTo>
                    <a:pt x="324" y="12"/>
                    <a:pt x="312" y="0"/>
                    <a:pt x="298" y="0"/>
                  </a:cubicBezTo>
                  <a:close/>
                  <a:moveTo>
                    <a:pt x="233" y="125"/>
                  </a:moveTo>
                  <a:cubicBezTo>
                    <a:pt x="239" y="125"/>
                    <a:pt x="237" y="131"/>
                    <a:pt x="229" y="161"/>
                  </a:cubicBezTo>
                  <a:cubicBezTo>
                    <a:pt x="221" y="190"/>
                    <a:pt x="209" y="201"/>
                    <a:pt x="209" y="201"/>
                  </a:cubicBezTo>
                  <a:cubicBezTo>
                    <a:pt x="201" y="201"/>
                    <a:pt x="201" y="201"/>
                    <a:pt x="201" y="201"/>
                  </a:cubicBezTo>
                  <a:cubicBezTo>
                    <a:pt x="201" y="208"/>
                    <a:pt x="201" y="208"/>
                    <a:pt x="201" y="208"/>
                  </a:cubicBezTo>
                  <a:cubicBezTo>
                    <a:pt x="233" y="208"/>
                    <a:pt x="233" y="208"/>
                    <a:pt x="233" y="208"/>
                  </a:cubicBezTo>
                  <a:cubicBezTo>
                    <a:pt x="239" y="208"/>
                    <a:pt x="237" y="214"/>
                    <a:pt x="229" y="244"/>
                  </a:cubicBezTo>
                  <a:cubicBezTo>
                    <a:pt x="221" y="273"/>
                    <a:pt x="209" y="284"/>
                    <a:pt x="209" y="284"/>
                  </a:cubicBezTo>
                  <a:cubicBezTo>
                    <a:pt x="201" y="284"/>
                    <a:pt x="201" y="284"/>
                    <a:pt x="201" y="284"/>
                  </a:cubicBezTo>
                  <a:cubicBezTo>
                    <a:pt x="201" y="287"/>
                    <a:pt x="201" y="287"/>
                    <a:pt x="201" y="287"/>
                  </a:cubicBezTo>
                  <a:cubicBezTo>
                    <a:pt x="182" y="296"/>
                    <a:pt x="182" y="296"/>
                    <a:pt x="182" y="296"/>
                  </a:cubicBezTo>
                  <a:cubicBezTo>
                    <a:pt x="137" y="296"/>
                    <a:pt x="137" y="296"/>
                    <a:pt x="137" y="296"/>
                  </a:cubicBezTo>
                  <a:cubicBezTo>
                    <a:pt x="118" y="287"/>
                    <a:pt x="118" y="287"/>
                    <a:pt x="118" y="287"/>
                  </a:cubicBezTo>
                  <a:cubicBezTo>
                    <a:pt x="118" y="284"/>
                    <a:pt x="118" y="284"/>
                    <a:pt x="118" y="284"/>
                  </a:cubicBezTo>
                  <a:cubicBezTo>
                    <a:pt x="110" y="284"/>
                    <a:pt x="110" y="284"/>
                    <a:pt x="110" y="284"/>
                  </a:cubicBezTo>
                  <a:cubicBezTo>
                    <a:pt x="110" y="284"/>
                    <a:pt x="99" y="273"/>
                    <a:pt x="91" y="244"/>
                  </a:cubicBezTo>
                  <a:cubicBezTo>
                    <a:pt x="83" y="214"/>
                    <a:pt x="80" y="208"/>
                    <a:pt x="86" y="208"/>
                  </a:cubicBezTo>
                  <a:cubicBezTo>
                    <a:pt x="118" y="208"/>
                    <a:pt x="118" y="208"/>
                    <a:pt x="118" y="208"/>
                  </a:cubicBezTo>
                  <a:cubicBezTo>
                    <a:pt x="118" y="201"/>
                    <a:pt x="118" y="201"/>
                    <a:pt x="118" y="201"/>
                  </a:cubicBezTo>
                  <a:cubicBezTo>
                    <a:pt x="110" y="201"/>
                    <a:pt x="110" y="201"/>
                    <a:pt x="110" y="201"/>
                  </a:cubicBezTo>
                  <a:cubicBezTo>
                    <a:pt x="110" y="201"/>
                    <a:pt x="99" y="190"/>
                    <a:pt x="91" y="161"/>
                  </a:cubicBezTo>
                  <a:cubicBezTo>
                    <a:pt x="83" y="131"/>
                    <a:pt x="80" y="125"/>
                    <a:pt x="86" y="125"/>
                  </a:cubicBezTo>
                  <a:cubicBezTo>
                    <a:pt x="118" y="125"/>
                    <a:pt x="118" y="125"/>
                    <a:pt x="118" y="125"/>
                  </a:cubicBezTo>
                  <a:cubicBezTo>
                    <a:pt x="118" y="119"/>
                    <a:pt x="118" y="119"/>
                    <a:pt x="118" y="119"/>
                  </a:cubicBezTo>
                  <a:cubicBezTo>
                    <a:pt x="110" y="119"/>
                    <a:pt x="110" y="119"/>
                    <a:pt x="110" y="119"/>
                  </a:cubicBezTo>
                  <a:cubicBezTo>
                    <a:pt x="110" y="119"/>
                    <a:pt x="99" y="108"/>
                    <a:pt x="91" y="78"/>
                  </a:cubicBezTo>
                  <a:cubicBezTo>
                    <a:pt x="83" y="49"/>
                    <a:pt x="80" y="42"/>
                    <a:pt x="86" y="42"/>
                  </a:cubicBezTo>
                  <a:cubicBezTo>
                    <a:pt x="118" y="42"/>
                    <a:pt x="118" y="42"/>
                    <a:pt x="118" y="42"/>
                  </a:cubicBezTo>
                  <a:cubicBezTo>
                    <a:pt x="118" y="39"/>
                    <a:pt x="118" y="39"/>
                    <a:pt x="118" y="39"/>
                  </a:cubicBezTo>
                  <a:cubicBezTo>
                    <a:pt x="137" y="19"/>
                    <a:pt x="137" y="19"/>
                    <a:pt x="137" y="19"/>
                  </a:cubicBezTo>
                  <a:cubicBezTo>
                    <a:pt x="182" y="19"/>
                    <a:pt x="182" y="19"/>
                    <a:pt x="182" y="19"/>
                  </a:cubicBezTo>
                  <a:cubicBezTo>
                    <a:pt x="201" y="39"/>
                    <a:pt x="201" y="39"/>
                    <a:pt x="201" y="39"/>
                  </a:cubicBezTo>
                  <a:cubicBezTo>
                    <a:pt x="201" y="42"/>
                    <a:pt x="201" y="42"/>
                    <a:pt x="201" y="42"/>
                  </a:cubicBezTo>
                  <a:cubicBezTo>
                    <a:pt x="233" y="42"/>
                    <a:pt x="233" y="42"/>
                    <a:pt x="233" y="42"/>
                  </a:cubicBezTo>
                  <a:cubicBezTo>
                    <a:pt x="239" y="42"/>
                    <a:pt x="237" y="49"/>
                    <a:pt x="229" y="78"/>
                  </a:cubicBezTo>
                  <a:cubicBezTo>
                    <a:pt x="221" y="108"/>
                    <a:pt x="209" y="119"/>
                    <a:pt x="209" y="119"/>
                  </a:cubicBezTo>
                  <a:cubicBezTo>
                    <a:pt x="201" y="119"/>
                    <a:pt x="201" y="119"/>
                    <a:pt x="201" y="119"/>
                  </a:cubicBezTo>
                  <a:cubicBezTo>
                    <a:pt x="201" y="125"/>
                    <a:pt x="201" y="125"/>
                    <a:pt x="201" y="125"/>
                  </a:cubicBezTo>
                  <a:lnTo>
                    <a:pt x="233" y="125"/>
                  </a:lnTo>
                  <a:close/>
                </a:path>
              </a:pathLst>
            </a:custGeom>
            <a:solidFill>
              <a:srgbClr val="5E83BD"/>
            </a:solidFill>
            <a:ln>
              <a:noFill/>
            </a:ln>
          </p:spPr>
          <p:txBody>
            <a:bodyPr vert="horz" wrap="square" lIns="91440" tIns="45720" rIns="91440" bIns="45720" numCol="1" anchor="t" anchorCtr="0" compatLnSpc="1">
              <a:prstTxWarp prst="textNoShape">
                <a:avLst/>
              </a:prstTxWarp>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07" name="Oval 36"/>
            <p:cNvSpPr>
              <a:spLocks noChangeArrowheads="1"/>
            </p:cNvSpPr>
            <p:nvPr/>
          </p:nvSpPr>
          <p:spPr bwMode="black">
            <a:xfrm>
              <a:off x="1027113" y="4251854"/>
              <a:ext cx="119063" cy="117475"/>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08" name="Oval 37"/>
            <p:cNvSpPr>
              <a:spLocks noChangeArrowheads="1"/>
            </p:cNvSpPr>
            <p:nvPr/>
          </p:nvSpPr>
          <p:spPr bwMode="black">
            <a:xfrm>
              <a:off x="1027113" y="439949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09" name="Oval 38"/>
            <p:cNvSpPr>
              <a:spLocks noChangeArrowheads="1"/>
            </p:cNvSpPr>
            <p:nvPr/>
          </p:nvSpPr>
          <p:spPr bwMode="black">
            <a:xfrm>
              <a:off x="1027113" y="4545541"/>
              <a:ext cx="119063" cy="119063"/>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23" name="Round Same Side Corner Rectangle 2"/>
          <p:cNvSpPr/>
          <p:nvPr/>
        </p:nvSpPr>
        <p:spPr>
          <a:xfrm>
            <a:off x="2608786" y="3282029"/>
            <a:ext cx="228364" cy="462981"/>
          </a:xfrm>
          <a:custGeom>
            <a:avLst/>
            <a:gdLst/>
            <a:ahLst/>
            <a:cxnLst/>
            <a:rect l="l" t="t" r="r" b="b"/>
            <a:pathLst>
              <a:path w="1479550" h="2999631">
                <a:moveTo>
                  <a:pt x="739775" y="2723722"/>
                </a:moveTo>
                <a:cubicBezTo>
                  <a:pt x="701170" y="2723722"/>
                  <a:pt x="669874" y="2755018"/>
                  <a:pt x="669874" y="2793623"/>
                </a:cubicBezTo>
                <a:cubicBezTo>
                  <a:pt x="669874" y="2832228"/>
                  <a:pt x="701170" y="2863524"/>
                  <a:pt x="739775" y="2863524"/>
                </a:cubicBezTo>
                <a:cubicBezTo>
                  <a:pt x="778380" y="2863524"/>
                  <a:pt x="809676" y="2832228"/>
                  <a:pt x="809676" y="2793623"/>
                </a:cubicBezTo>
                <a:cubicBezTo>
                  <a:pt x="809676" y="2755018"/>
                  <a:pt x="778380" y="2723722"/>
                  <a:pt x="739775" y="2723722"/>
                </a:cubicBezTo>
                <a:close/>
                <a:moveTo>
                  <a:pt x="201613" y="1629933"/>
                </a:moveTo>
                <a:lnTo>
                  <a:pt x="1123848" y="1629933"/>
                </a:lnTo>
                <a:lnTo>
                  <a:pt x="1123848" y="2058558"/>
                </a:lnTo>
                <a:lnTo>
                  <a:pt x="201613" y="2058558"/>
                </a:lnTo>
                <a:close/>
                <a:moveTo>
                  <a:pt x="685698" y="1155271"/>
                </a:moveTo>
                <a:lnTo>
                  <a:pt x="1123848" y="1155271"/>
                </a:lnTo>
                <a:lnTo>
                  <a:pt x="1123848" y="1583896"/>
                </a:lnTo>
                <a:lnTo>
                  <a:pt x="685698" y="1583896"/>
                </a:lnTo>
                <a:close/>
                <a:moveTo>
                  <a:pt x="201613" y="1155271"/>
                </a:moveTo>
                <a:lnTo>
                  <a:pt x="639763" y="1155271"/>
                </a:lnTo>
                <a:lnTo>
                  <a:pt x="639763" y="1583896"/>
                </a:lnTo>
                <a:lnTo>
                  <a:pt x="201613" y="1583896"/>
                </a:lnTo>
                <a:close/>
                <a:moveTo>
                  <a:pt x="685698" y="680609"/>
                </a:moveTo>
                <a:lnTo>
                  <a:pt x="1123848" y="680609"/>
                </a:lnTo>
                <a:lnTo>
                  <a:pt x="1123848" y="1109234"/>
                </a:lnTo>
                <a:lnTo>
                  <a:pt x="685698" y="1109234"/>
                </a:lnTo>
                <a:close/>
                <a:moveTo>
                  <a:pt x="201613" y="680609"/>
                </a:moveTo>
                <a:lnTo>
                  <a:pt x="639763" y="680609"/>
                </a:lnTo>
                <a:lnTo>
                  <a:pt x="639763" y="1109234"/>
                </a:lnTo>
                <a:lnTo>
                  <a:pt x="201613" y="1109234"/>
                </a:lnTo>
                <a:close/>
                <a:moveTo>
                  <a:pt x="154163" y="413909"/>
                </a:moveTo>
                <a:lnTo>
                  <a:pt x="154163" y="2528459"/>
                </a:lnTo>
                <a:lnTo>
                  <a:pt x="201613" y="2528459"/>
                </a:lnTo>
                <a:lnTo>
                  <a:pt x="201613" y="2104596"/>
                </a:lnTo>
                <a:lnTo>
                  <a:pt x="639763" y="2104596"/>
                </a:lnTo>
                <a:lnTo>
                  <a:pt x="639763" y="2528459"/>
                </a:lnTo>
                <a:lnTo>
                  <a:pt x="685698" y="2528459"/>
                </a:lnTo>
                <a:lnTo>
                  <a:pt x="685698" y="2104596"/>
                </a:lnTo>
                <a:lnTo>
                  <a:pt x="1123848" y="2104596"/>
                </a:lnTo>
                <a:lnTo>
                  <a:pt x="1123848" y="2528459"/>
                </a:lnTo>
                <a:lnTo>
                  <a:pt x="1325388" y="2528459"/>
                </a:lnTo>
                <a:lnTo>
                  <a:pt x="1325388" y="413909"/>
                </a:lnTo>
                <a:close/>
                <a:moveTo>
                  <a:pt x="556419" y="171020"/>
                </a:moveTo>
                <a:cubicBezTo>
                  <a:pt x="543267" y="171020"/>
                  <a:pt x="532606" y="181681"/>
                  <a:pt x="532606" y="194833"/>
                </a:cubicBezTo>
                <a:cubicBezTo>
                  <a:pt x="532606" y="207984"/>
                  <a:pt x="543267" y="218645"/>
                  <a:pt x="556419" y="218645"/>
                </a:cubicBezTo>
                <a:lnTo>
                  <a:pt x="923131" y="218646"/>
                </a:lnTo>
                <a:cubicBezTo>
                  <a:pt x="936283" y="218646"/>
                  <a:pt x="946944" y="207985"/>
                  <a:pt x="946944" y="194833"/>
                </a:cubicBezTo>
                <a:lnTo>
                  <a:pt x="946945" y="194833"/>
                </a:lnTo>
                <a:cubicBezTo>
                  <a:pt x="946945" y="181681"/>
                  <a:pt x="936284" y="171020"/>
                  <a:pt x="923132" y="171020"/>
                </a:cubicBezTo>
                <a:close/>
                <a:moveTo>
                  <a:pt x="725487" y="274"/>
                </a:moveTo>
                <a:cubicBezTo>
                  <a:pt x="1081947" y="-5382"/>
                  <a:pt x="1443170" y="76220"/>
                  <a:pt x="1479550" y="262045"/>
                </a:cubicBezTo>
                <a:lnTo>
                  <a:pt x="1479550" y="1250633"/>
                </a:lnTo>
                <a:lnTo>
                  <a:pt x="1479550" y="1748998"/>
                </a:lnTo>
                <a:lnTo>
                  <a:pt x="1479550" y="2737586"/>
                </a:lnTo>
                <a:cubicBezTo>
                  <a:pt x="1406789" y="3109236"/>
                  <a:pt x="34660" y="3063993"/>
                  <a:pt x="0" y="2737586"/>
                </a:cubicBezTo>
                <a:lnTo>
                  <a:pt x="0" y="1748998"/>
                </a:lnTo>
                <a:lnTo>
                  <a:pt x="0" y="1250633"/>
                </a:lnTo>
                <a:lnTo>
                  <a:pt x="0" y="262045"/>
                </a:lnTo>
                <a:cubicBezTo>
                  <a:pt x="17330" y="98842"/>
                  <a:pt x="369027" y="5929"/>
                  <a:pt x="725487" y="274"/>
                </a:cubicBezTo>
                <a:close/>
              </a:path>
            </a:pathLst>
          </a:custGeom>
          <a:solidFill>
            <a:srgbClr val="5E83B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sp>
        <p:nvSpPr>
          <p:cNvPr id="125" name="Freeform 124"/>
          <p:cNvSpPr>
            <a:spLocks noChangeAspect="1" noEditPoints="1"/>
          </p:cNvSpPr>
          <p:nvPr/>
        </p:nvSpPr>
        <p:spPr bwMode="auto">
          <a:xfrm>
            <a:off x="2561693" y="2892171"/>
            <a:ext cx="343038" cy="343037"/>
          </a:xfrm>
          <a:custGeom>
            <a:avLst/>
            <a:gdLst>
              <a:gd name="T0" fmla="*/ 0 w 300"/>
              <a:gd name="T1" fmla="*/ 150 h 300"/>
              <a:gd name="T2" fmla="*/ 300 w 300"/>
              <a:gd name="T3" fmla="*/ 150 h 300"/>
              <a:gd name="T4" fmla="*/ 217 w 300"/>
              <a:gd name="T5" fmla="*/ 258 h 300"/>
              <a:gd name="T6" fmla="*/ 207 w 300"/>
              <a:gd name="T7" fmla="*/ 256 h 300"/>
              <a:gd name="T8" fmla="*/ 154 w 300"/>
              <a:gd name="T9" fmla="*/ 277 h 300"/>
              <a:gd name="T10" fmla="*/ 146 w 300"/>
              <a:gd name="T11" fmla="*/ 255 h 300"/>
              <a:gd name="T12" fmla="*/ 89 w 300"/>
              <a:gd name="T13" fmla="*/ 262 h 300"/>
              <a:gd name="T14" fmla="*/ 87 w 300"/>
              <a:gd name="T15" fmla="*/ 252 h 300"/>
              <a:gd name="T16" fmla="*/ 41 w 300"/>
              <a:gd name="T17" fmla="*/ 217 h 300"/>
              <a:gd name="T18" fmla="*/ 44 w 300"/>
              <a:gd name="T19" fmla="*/ 206 h 300"/>
              <a:gd name="T20" fmla="*/ 22 w 300"/>
              <a:gd name="T21" fmla="*/ 153 h 300"/>
              <a:gd name="T22" fmla="*/ 51 w 300"/>
              <a:gd name="T23" fmla="*/ 146 h 300"/>
              <a:gd name="T24" fmla="*/ 38 w 300"/>
              <a:gd name="T25" fmla="*/ 89 h 300"/>
              <a:gd name="T26" fmla="*/ 48 w 300"/>
              <a:gd name="T27" fmla="*/ 86 h 300"/>
              <a:gd name="T28" fmla="*/ 83 w 300"/>
              <a:gd name="T29" fmla="*/ 41 h 300"/>
              <a:gd name="T30" fmla="*/ 93 w 300"/>
              <a:gd name="T31" fmla="*/ 44 h 300"/>
              <a:gd name="T32" fmla="*/ 146 w 300"/>
              <a:gd name="T33" fmla="*/ 22 h 300"/>
              <a:gd name="T34" fmla="*/ 154 w 300"/>
              <a:gd name="T35" fmla="*/ 45 h 300"/>
              <a:gd name="T36" fmla="*/ 210 w 300"/>
              <a:gd name="T37" fmla="*/ 37 h 300"/>
              <a:gd name="T38" fmla="*/ 213 w 300"/>
              <a:gd name="T39" fmla="*/ 48 h 300"/>
              <a:gd name="T40" fmla="*/ 258 w 300"/>
              <a:gd name="T41" fmla="*/ 83 h 300"/>
              <a:gd name="T42" fmla="*/ 256 w 300"/>
              <a:gd name="T43" fmla="*/ 93 h 300"/>
              <a:gd name="T44" fmla="*/ 277 w 300"/>
              <a:gd name="T45" fmla="*/ 146 h 300"/>
              <a:gd name="T46" fmla="*/ 255 w 300"/>
              <a:gd name="T47" fmla="*/ 153 h 300"/>
              <a:gd name="T48" fmla="*/ 262 w 300"/>
              <a:gd name="T49" fmla="*/ 210 h 300"/>
              <a:gd name="T50" fmla="*/ 252 w 300"/>
              <a:gd name="T51" fmla="*/ 213 h 300"/>
              <a:gd name="T52" fmla="*/ 217 w 300"/>
              <a:gd name="T53" fmla="*/ 258 h 300"/>
              <a:gd name="T54" fmla="*/ 141 w 300"/>
              <a:gd name="T55" fmla="*/ 158 h 300"/>
              <a:gd name="T56" fmla="*/ 158 w 300"/>
              <a:gd name="T57" fmla="*/ 141 h 300"/>
              <a:gd name="T58" fmla="*/ 211 w 300"/>
              <a:gd name="T59" fmla="*/ 88 h 300"/>
              <a:gd name="T60" fmla="*/ 125 w 300"/>
              <a:gd name="T61" fmla="*/ 132 h 300"/>
              <a:gd name="T62" fmla="*/ 168 w 300"/>
              <a:gd name="T63" fmla="*/ 174 h 300"/>
              <a:gd name="T64" fmla="*/ 211 w 300"/>
              <a:gd name="T65" fmla="*/ 88 h 300"/>
              <a:gd name="T66" fmla="*/ 135 w 300"/>
              <a:gd name="T67" fmla="*/ 135 h 300"/>
              <a:gd name="T68" fmla="*/ 165 w 300"/>
              <a:gd name="T69" fmla="*/ 1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50" y="0"/>
                </a:moveTo>
                <a:cubicBezTo>
                  <a:pt x="67" y="0"/>
                  <a:pt x="0" y="67"/>
                  <a:pt x="0" y="150"/>
                </a:cubicBezTo>
                <a:cubicBezTo>
                  <a:pt x="0" y="233"/>
                  <a:pt x="67" y="300"/>
                  <a:pt x="150" y="300"/>
                </a:cubicBezTo>
                <a:cubicBezTo>
                  <a:pt x="233" y="300"/>
                  <a:pt x="300" y="233"/>
                  <a:pt x="300" y="150"/>
                </a:cubicBezTo>
                <a:cubicBezTo>
                  <a:pt x="300" y="67"/>
                  <a:pt x="233" y="0"/>
                  <a:pt x="150" y="0"/>
                </a:cubicBezTo>
                <a:close/>
                <a:moveTo>
                  <a:pt x="217" y="258"/>
                </a:moveTo>
                <a:cubicBezTo>
                  <a:pt x="213" y="252"/>
                  <a:pt x="213" y="252"/>
                  <a:pt x="213" y="252"/>
                </a:cubicBezTo>
                <a:cubicBezTo>
                  <a:pt x="207" y="256"/>
                  <a:pt x="207" y="256"/>
                  <a:pt x="207" y="256"/>
                </a:cubicBezTo>
                <a:cubicBezTo>
                  <a:pt x="210" y="262"/>
                  <a:pt x="210" y="262"/>
                  <a:pt x="210" y="262"/>
                </a:cubicBezTo>
                <a:cubicBezTo>
                  <a:pt x="193" y="271"/>
                  <a:pt x="174" y="276"/>
                  <a:pt x="154" y="277"/>
                </a:cubicBezTo>
                <a:cubicBezTo>
                  <a:pt x="154" y="255"/>
                  <a:pt x="154" y="255"/>
                  <a:pt x="154" y="255"/>
                </a:cubicBezTo>
                <a:cubicBezTo>
                  <a:pt x="146" y="255"/>
                  <a:pt x="146" y="255"/>
                  <a:pt x="146" y="255"/>
                </a:cubicBezTo>
                <a:cubicBezTo>
                  <a:pt x="146" y="277"/>
                  <a:pt x="146" y="277"/>
                  <a:pt x="146" y="277"/>
                </a:cubicBezTo>
                <a:cubicBezTo>
                  <a:pt x="126" y="276"/>
                  <a:pt x="106" y="271"/>
                  <a:pt x="89" y="262"/>
                </a:cubicBezTo>
                <a:cubicBezTo>
                  <a:pt x="93" y="256"/>
                  <a:pt x="93" y="256"/>
                  <a:pt x="93" y="256"/>
                </a:cubicBezTo>
                <a:cubicBezTo>
                  <a:pt x="87" y="252"/>
                  <a:pt x="87" y="252"/>
                  <a:pt x="87" y="252"/>
                </a:cubicBezTo>
                <a:cubicBezTo>
                  <a:pt x="83" y="258"/>
                  <a:pt x="83" y="258"/>
                  <a:pt x="83" y="258"/>
                </a:cubicBezTo>
                <a:cubicBezTo>
                  <a:pt x="66" y="248"/>
                  <a:pt x="52" y="233"/>
                  <a:pt x="41" y="217"/>
                </a:cubicBezTo>
                <a:cubicBezTo>
                  <a:pt x="48" y="213"/>
                  <a:pt x="48" y="213"/>
                  <a:pt x="48" y="213"/>
                </a:cubicBezTo>
                <a:cubicBezTo>
                  <a:pt x="44" y="206"/>
                  <a:pt x="44" y="206"/>
                  <a:pt x="44" y="206"/>
                </a:cubicBezTo>
                <a:cubicBezTo>
                  <a:pt x="38" y="210"/>
                  <a:pt x="38" y="210"/>
                  <a:pt x="38" y="210"/>
                </a:cubicBezTo>
                <a:cubicBezTo>
                  <a:pt x="28" y="193"/>
                  <a:pt x="23" y="174"/>
                  <a:pt x="22" y="153"/>
                </a:cubicBezTo>
                <a:cubicBezTo>
                  <a:pt x="51" y="153"/>
                  <a:pt x="51" y="153"/>
                  <a:pt x="51" y="153"/>
                </a:cubicBezTo>
                <a:cubicBezTo>
                  <a:pt x="51" y="146"/>
                  <a:pt x="51" y="146"/>
                  <a:pt x="51" y="146"/>
                </a:cubicBezTo>
                <a:cubicBezTo>
                  <a:pt x="22" y="146"/>
                  <a:pt x="22" y="146"/>
                  <a:pt x="22" y="146"/>
                </a:cubicBezTo>
                <a:cubicBezTo>
                  <a:pt x="23" y="125"/>
                  <a:pt x="28" y="106"/>
                  <a:pt x="38" y="89"/>
                </a:cubicBezTo>
                <a:cubicBezTo>
                  <a:pt x="44" y="93"/>
                  <a:pt x="44" y="93"/>
                  <a:pt x="44" y="93"/>
                </a:cubicBezTo>
                <a:cubicBezTo>
                  <a:pt x="48" y="86"/>
                  <a:pt x="48" y="86"/>
                  <a:pt x="48" y="86"/>
                </a:cubicBezTo>
                <a:cubicBezTo>
                  <a:pt x="41" y="83"/>
                  <a:pt x="41" y="83"/>
                  <a:pt x="41" y="83"/>
                </a:cubicBezTo>
                <a:cubicBezTo>
                  <a:pt x="52" y="66"/>
                  <a:pt x="66" y="52"/>
                  <a:pt x="83" y="41"/>
                </a:cubicBezTo>
                <a:cubicBezTo>
                  <a:pt x="87" y="48"/>
                  <a:pt x="87" y="48"/>
                  <a:pt x="87" y="48"/>
                </a:cubicBezTo>
                <a:cubicBezTo>
                  <a:pt x="93" y="44"/>
                  <a:pt x="93" y="44"/>
                  <a:pt x="93" y="44"/>
                </a:cubicBezTo>
                <a:cubicBezTo>
                  <a:pt x="89" y="37"/>
                  <a:pt x="89" y="37"/>
                  <a:pt x="89" y="37"/>
                </a:cubicBezTo>
                <a:cubicBezTo>
                  <a:pt x="106" y="28"/>
                  <a:pt x="126" y="23"/>
                  <a:pt x="146" y="22"/>
                </a:cubicBezTo>
                <a:cubicBezTo>
                  <a:pt x="146" y="45"/>
                  <a:pt x="146" y="45"/>
                  <a:pt x="146" y="45"/>
                </a:cubicBezTo>
                <a:cubicBezTo>
                  <a:pt x="154" y="45"/>
                  <a:pt x="154" y="45"/>
                  <a:pt x="154" y="45"/>
                </a:cubicBezTo>
                <a:cubicBezTo>
                  <a:pt x="154" y="22"/>
                  <a:pt x="154" y="22"/>
                  <a:pt x="154" y="22"/>
                </a:cubicBezTo>
                <a:cubicBezTo>
                  <a:pt x="174" y="23"/>
                  <a:pt x="193" y="28"/>
                  <a:pt x="210" y="37"/>
                </a:cubicBezTo>
                <a:cubicBezTo>
                  <a:pt x="207" y="44"/>
                  <a:pt x="207" y="44"/>
                  <a:pt x="207" y="44"/>
                </a:cubicBezTo>
                <a:cubicBezTo>
                  <a:pt x="213" y="48"/>
                  <a:pt x="213" y="48"/>
                  <a:pt x="213" y="48"/>
                </a:cubicBezTo>
                <a:cubicBezTo>
                  <a:pt x="217" y="41"/>
                  <a:pt x="217" y="41"/>
                  <a:pt x="217" y="41"/>
                </a:cubicBezTo>
                <a:cubicBezTo>
                  <a:pt x="234" y="52"/>
                  <a:pt x="248" y="66"/>
                  <a:pt x="258" y="83"/>
                </a:cubicBezTo>
                <a:cubicBezTo>
                  <a:pt x="252" y="86"/>
                  <a:pt x="252" y="86"/>
                  <a:pt x="252" y="86"/>
                </a:cubicBezTo>
                <a:cubicBezTo>
                  <a:pt x="256" y="93"/>
                  <a:pt x="256" y="93"/>
                  <a:pt x="256" y="93"/>
                </a:cubicBezTo>
                <a:cubicBezTo>
                  <a:pt x="262" y="89"/>
                  <a:pt x="262" y="89"/>
                  <a:pt x="262" y="89"/>
                </a:cubicBezTo>
                <a:cubicBezTo>
                  <a:pt x="271" y="106"/>
                  <a:pt x="277" y="125"/>
                  <a:pt x="277" y="146"/>
                </a:cubicBezTo>
                <a:cubicBezTo>
                  <a:pt x="255" y="146"/>
                  <a:pt x="255" y="146"/>
                  <a:pt x="255" y="146"/>
                </a:cubicBezTo>
                <a:cubicBezTo>
                  <a:pt x="255" y="153"/>
                  <a:pt x="255" y="153"/>
                  <a:pt x="255" y="153"/>
                </a:cubicBezTo>
                <a:cubicBezTo>
                  <a:pt x="277" y="153"/>
                  <a:pt x="277" y="153"/>
                  <a:pt x="277" y="153"/>
                </a:cubicBezTo>
                <a:cubicBezTo>
                  <a:pt x="276" y="174"/>
                  <a:pt x="271" y="193"/>
                  <a:pt x="262" y="210"/>
                </a:cubicBezTo>
                <a:cubicBezTo>
                  <a:pt x="256" y="206"/>
                  <a:pt x="256" y="206"/>
                  <a:pt x="256" y="206"/>
                </a:cubicBezTo>
                <a:cubicBezTo>
                  <a:pt x="252" y="213"/>
                  <a:pt x="252" y="213"/>
                  <a:pt x="252" y="213"/>
                </a:cubicBezTo>
                <a:cubicBezTo>
                  <a:pt x="258" y="217"/>
                  <a:pt x="258" y="217"/>
                  <a:pt x="258" y="217"/>
                </a:cubicBezTo>
                <a:cubicBezTo>
                  <a:pt x="248" y="233"/>
                  <a:pt x="234" y="248"/>
                  <a:pt x="217" y="258"/>
                </a:cubicBezTo>
                <a:close/>
                <a:moveTo>
                  <a:pt x="158" y="158"/>
                </a:moveTo>
                <a:cubicBezTo>
                  <a:pt x="154" y="163"/>
                  <a:pt x="146" y="163"/>
                  <a:pt x="141" y="158"/>
                </a:cubicBezTo>
                <a:cubicBezTo>
                  <a:pt x="137" y="154"/>
                  <a:pt x="137" y="146"/>
                  <a:pt x="141" y="141"/>
                </a:cubicBezTo>
                <a:cubicBezTo>
                  <a:pt x="146" y="137"/>
                  <a:pt x="154" y="137"/>
                  <a:pt x="158" y="141"/>
                </a:cubicBezTo>
                <a:cubicBezTo>
                  <a:pt x="163" y="146"/>
                  <a:pt x="163" y="154"/>
                  <a:pt x="158" y="158"/>
                </a:cubicBezTo>
                <a:close/>
                <a:moveTo>
                  <a:pt x="211" y="88"/>
                </a:moveTo>
                <a:cubicBezTo>
                  <a:pt x="134" y="123"/>
                  <a:pt x="134" y="123"/>
                  <a:pt x="134" y="123"/>
                </a:cubicBezTo>
                <a:cubicBezTo>
                  <a:pt x="125" y="132"/>
                  <a:pt x="125" y="132"/>
                  <a:pt x="125" y="132"/>
                </a:cubicBezTo>
                <a:cubicBezTo>
                  <a:pt x="88" y="211"/>
                  <a:pt x="88" y="211"/>
                  <a:pt x="88" y="211"/>
                </a:cubicBezTo>
                <a:cubicBezTo>
                  <a:pt x="168" y="174"/>
                  <a:pt x="168" y="174"/>
                  <a:pt x="168" y="174"/>
                </a:cubicBezTo>
                <a:cubicBezTo>
                  <a:pt x="176" y="166"/>
                  <a:pt x="176" y="166"/>
                  <a:pt x="176" y="166"/>
                </a:cubicBezTo>
                <a:lnTo>
                  <a:pt x="211" y="88"/>
                </a:lnTo>
                <a:close/>
                <a:moveTo>
                  <a:pt x="135" y="165"/>
                </a:moveTo>
                <a:cubicBezTo>
                  <a:pt x="127" y="156"/>
                  <a:pt x="127" y="143"/>
                  <a:pt x="135" y="135"/>
                </a:cubicBezTo>
                <a:cubicBezTo>
                  <a:pt x="143" y="127"/>
                  <a:pt x="156" y="127"/>
                  <a:pt x="165" y="135"/>
                </a:cubicBezTo>
                <a:cubicBezTo>
                  <a:pt x="173" y="143"/>
                  <a:pt x="173" y="156"/>
                  <a:pt x="165" y="165"/>
                </a:cubicBezTo>
                <a:cubicBezTo>
                  <a:pt x="156" y="173"/>
                  <a:pt x="143" y="173"/>
                  <a:pt x="135" y="165"/>
                </a:cubicBezTo>
                <a:close/>
              </a:path>
            </a:pathLst>
          </a:custGeom>
          <a:solidFill>
            <a:srgbClr val="5E83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126" name="Freeform 125"/>
          <p:cNvSpPr>
            <a:spLocks noChangeAspect="1"/>
          </p:cNvSpPr>
          <p:nvPr/>
        </p:nvSpPr>
        <p:spPr>
          <a:xfrm>
            <a:off x="738104" y="2127080"/>
            <a:ext cx="488473" cy="475895"/>
          </a:xfrm>
          <a:custGeom>
            <a:avLst/>
            <a:gdLst/>
            <a:ahLst/>
            <a:cxnLst/>
            <a:rect l="l" t="t" r="r" b="b"/>
            <a:pathLst>
              <a:path w="3519626" h="3429003">
                <a:moveTo>
                  <a:pt x="329758" y="805793"/>
                </a:moveTo>
                <a:lnTo>
                  <a:pt x="925306" y="805793"/>
                </a:lnTo>
                <a:cubicBezTo>
                  <a:pt x="1064768" y="805793"/>
                  <a:pt x="1187092" y="887740"/>
                  <a:pt x="1234646" y="1010334"/>
                </a:cubicBezTo>
                <a:cubicBezTo>
                  <a:pt x="1243786" y="1026258"/>
                  <a:pt x="1245316" y="1041875"/>
                  <a:pt x="1248990" y="1056123"/>
                </a:cubicBezTo>
                <a:lnTo>
                  <a:pt x="1255065" y="1116387"/>
                </a:lnTo>
                <a:lnTo>
                  <a:pt x="1255065" y="1135551"/>
                </a:lnTo>
                <a:lnTo>
                  <a:pt x="1255065" y="1226048"/>
                </a:lnTo>
                <a:lnTo>
                  <a:pt x="1255065" y="1971211"/>
                </a:lnTo>
                <a:cubicBezTo>
                  <a:pt x="1255065" y="2036615"/>
                  <a:pt x="1202045" y="2089635"/>
                  <a:pt x="1136642" y="2089635"/>
                </a:cubicBezTo>
                <a:cubicBezTo>
                  <a:pt x="1071239" y="2089635"/>
                  <a:pt x="1018219" y="2036615"/>
                  <a:pt x="1018219" y="1971211"/>
                </a:cubicBezTo>
                <a:lnTo>
                  <a:pt x="1018219" y="1540896"/>
                </a:lnTo>
                <a:lnTo>
                  <a:pt x="1016964" y="1541209"/>
                </a:lnTo>
                <a:lnTo>
                  <a:pt x="1016964" y="1222819"/>
                </a:lnTo>
                <a:cubicBezTo>
                  <a:pt x="1016964" y="1220051"/>
                  <a:pt x="1014721" y="1217807"/>
                  <a:pt x="1011953" y="1217807"/>
                </a:cubicBezTo>
                <a:lnTo>
                  <a:pt x="961839" y="1217807"/>
                </a:lnTo>
                <a:cubicBezTo>
                  <a:pt x="959071" y="1217807"/>
                  <a:pt x="956828" y="1220051"/>
                  <a:pt x="956828" y="1222819"/>
                </a:cubicBezTo>
                <a:cubicBezTo>
                  <a:pt x="957155" y="1321303"/>
                  <a:pt x="957481" y="1419787"/>
                  <a:pt x="957808" y="1518271"/>
                </a:cubicBezTo>
                <a:lnTo>
                  <a:pt x="957808" y="3280974"/>
                </a:lnTo>
                <a:cubicBezTo>
                  <a:pt x="957808" y="3362728"/>
                  <a:pt x="891533" y="3429003"/>
                  <a:pt x="809779" y="3429003"/>
                </a:cubicBezTo>
                <a:cubicBezTo>
                  <a:pt x="728025" y="3429003"/>
                  <a:pt x="661750" y="3362728"/>
                  <a:pt x="661750" y="3280974"/>
                </a:cubicBezTo>
                <a:lnTo>
                  <a:pt x="661750" y="2167108"/>
                </a:lnTo>
                <a:cubicBezTo>
                  <a:pt x="661423" y="2138763"/>
                  <a:pt x="661097" y="2110418"/>
                  <a:pt x="660770" y="2082072"/>
                </a:cubicBezTo>
                <a:cubicBezTo>
                  <a:pt x="660770" y="2079643"/>
                  <a:pt x="658801" y="2077674"/>
                  <a:pt x="656372" y="2077674"/>
                </a:cubicBezTo>
                <a:lnTo>
                  <a:pt x="601776" y="2077674"/>
                </a:lnTo>
                <a:cubicBezTo>
                  <a:pt x="599347" y="2077674"/>
                  <a:pt x="597379" y="2079643"/>
                  <a:pt x="597379" y="2082072"/>
                </a:cubicBezTo>
                <a:lnTo>
                  <a:pt x="597379" y="2167108"/>
                </a:lnTo>
                <a:cubicBezTo>
                  <a:pt x="597256" y="2538397"/>
                  <a:pt x="597133" y="2909685"/>
                  <a:pt x="597011" y="3280974"/>
                </a:cubicBezTo>
                <a:cubicBezTo>
                  <a:pt x="597011" y="3362728"/>
                  <a:pt x="530736" y="3429003"/>
                  <a:pt x="448982" y="3429003"/>
                </a:cubicBezTo>
                <a:cubicBezTo>
                  <a:pt x="367228" y="3429003"/>
                  <a:pt x="300953" y="3362728"/>
                  <a:pt x="300953" y="3280974"/>
                </a:cubicBezTo>
                <a:lnTo>
                  <a:pt x="300953" y="1553621"/>
                </a:lnTo>
                <a:cubicBezTo>
                  <a:pt x="299413" y="1443328"/>
                  <a:pt x="297875" y="1333034"/>
                  <a:pt x="296336" y="1222742"/>
                </a:cubicBezTo>
                <a:cubicBezTo>
                  <a:pt x="296336" y="1220017"/>
                  <a:pt x="294126" y="1217807"/>
                  <a:pt x="291401" y="1217807"/>
                </a:cubicBezTo>
                <a:lnTo>
                  <a:pt x="242058" y="1217807"/>
                </a:lnTo>
                <a:cubicBezTo>
                  <a:pt x="239333" y="1217807"/>
                  <a:pt x="237124" y="1220017"/>
                  <a:pt x="237124" y="1222742"/>
                </a:cubicBezTo>
                <a:lnTo>
                  <a:pt x="237124" y="1540965"/>
                </a:lnTo>
                <a:cubicBezTo>
                  <a:pt x="237026" y="1540958"/>
                  <a:pt x="236936" y="1540927"/>
                  <a:pt x="236846" y="1540896"/>
                </a:cubicBezTo>
                <a:lnTo>
                  <a:pt x="236846" y="1971211"/>
                </a:lnTo>
                <a:cubicBezTo>
                  <a:pt x="236846" y="2036615"/>
                  <a:pt x="183826" y="2089635"/>
                  <a:pt x="118423" y="2089635"/>
                </a:cubicBezTo>
                <a:cubicBezTo>
                  <a:pt x="53020" y="2089635"/>
                  <a:pt x="0" y="2036615"/>
                  <a:pt x="0" y="1971211"/>
                </a:cubicBezTo>
                <a:lnTo>
                  <a:pt x="0" y="1226048"/>
                </a:lnTo>
                <a:lnTo>
                  <a:pt x="0" y="1135551"/>
                </a:lnTo>
                <a:lnTo>
                  <a:pt x="0" y="1116387"/>
                </a:lnTo>
                <a:cubicBezTo>
                  <a:pt x="0" y="1088374"/>
                  <a:pt x="3644" y="1061212"/>
                  <a:pt x="11703" y="1035671"/>
                </a:cubicBezTo>
                <a:cubicBezTo>
                  <a:pt x="13902" y="1027807"/>
                  <a:pt x="13653" y="1017983"/>
                  <a:pt x="18877" y="1011876"/>
                </a:cubicBezTo>
                <a:cubicBezTo>
                  <a:pt x="66432" y="889282"/>
                  <a:pt x="190298" y="805793"/>
                  <a:pt x="329758" y="805793"/>
                </a:cubicBezTo>
                <a:close/>
                <a:moveTo>
                  <a:pt x="2948126" y="559595"/>
                </a:moveTo>
                <a:lnTo>
                  <a:pt x="2948126" y="742475"/>
                </a:lnTo>
                <a:lnTo>
                  <a:pt x="3014313" y="744580"/>
                </a:lnTo>
                <a:cubicBezTo>
                  <a:pt x="3057069" y="761075"/>
                  <a:pt x="3018593" y="839512"/>
                  <a:pt x="2948126" y="860104"/>
                </a:cubicBezTo>
                <a:lnTo>
                  <a:pt x="2989604" y="942501"/>
                </a:lnTo>
                <a:cubicBezTo>
                  <a:pt x="3072550" y="941153"/>
                  <a:pt x="3141521" y="820581"/>
                  <a:pt x="3145769" y="752000"/>
                </a:cubicBezTo>
                <a:cubicBezTo>
                  <a:pt x="3145397" y="702528"/>
                  <a:pt x="3145277" y="637303"/>
                  <a:pt x="3143689" y="559595"/>
                </a:cubicBezTo>
                <a:close/>
                <a:moveTo>
                  <a:pt x="2719526" y="559595"/>
                </a:moveTo>
                <a:lnTo>
                  <a:pt x="2719526" y="742475"/>
                </a:lnTo>
                <a:lnTo>
                  <a:pt x="2785713" y="744580"/>
                </a:lnTo>
                <a:cubicBezTo>
                  <a:pt x="2828469" y="761075"/>
                  <a:pt x="2789993" y="839512"/>
                  <a:pt x="2719526" y="860104"/>
                </a:cubicBezTo>
                <a:lnTo>
                  <a:pt x="2761004" y="942501"/>
                </a:lnTo>
                <a:cubicBezTo>
                  <a:pt x="2843950" y="941153"/>
                  <a:pt x="2912921" y="820581"/>
                  <a:pt x="2917169" y="752000"/>
                </a:cubicBezTo>
                <a:cubicBezTo>
                  <a:pt x="2916797" y="702528"/>
                  <a:pt x="2916677" y="637303"/>
                  <a:pt x="2915089" y="559595"/>
                </a:cubicBezTo>
                <a:close/>
                <a:moveTo>
                  <a:pt x="2335147" y="559595"/>
                </a:moveTo>
                <a:cubicBezTo>
                  <a:pt x="2252202" y="560943"/>
                  <a:pt x="2183230" y="681515"/>
                  <a:pt x="2178982" y="750096"/>
                </a:cubicBezTo>
                <a:cubicBezTo>
                  <a:pt x="2179354" y="799568"/>
                  <a:pt x="2179474" y="864793"/>
                  <a:pt x="2181062" y="942501"/>
                </a:cubicBezTo>
                <a:lnTo>
                  <a:pt x="2376625" y="942501"/>
                </a:lnTo>
                <a:lnTo>
                  <a:pt x="2376625" y="759621"/>
                </a:lnTo>
                <a:lnTo>
                  <a:pt x="2310439" y="757516"/>
                </a:lnTo>
                <a:cubicBezTo>
                  <a:pt x="2267683" y="741021"/>
                  <a:pt x="2306159" y="662584"/>
                  <a:pt x="2376625" y="641992"/>
                </a:cubicBezTo>
                <a:close/>
                <a:moveTo>
                  <a:pt x="2106547" y="559595"/>
                </a:moveTo>
                <a:cubicBezTo>
                  <a:pt x="2023602" y="560943"/>
                  <a:pt x="1954630" y="681515"/>
                  <a:pt x="1950382" y="750096"/>
                </a:cubicBezTo>
                <a:cubicBezTo>
                  <a:pt x="1950754" y="799568"/>
                  <a:pt x="1950874" y="864793"/>
                  <a:pt x="1952462" y="942501"/>
                </a:cubicBezTo>
                <a:lnTo>
                  <a:pt x="2148025" y="942501"/>
                </a:lnTo>
                <a:lnTo>
                  <a:pt x="2148025" y="759621"/>
                </a:lnTo>
                <a:lnTo>
                  <a:pt x="2081839" y="757516"/>
                </a:lnTo>
                <a:cubicBezTo>
                  <a:pt x="2039083" y="741021"/>
                  <a:pt x="2077559" y="662584"/>
                  <a:pt x="2148025" y="641992"/>
                </a:cubicBezTo>
                <a:close/>
                <a:moveTo>
                  <a:pt x="627532" y="213403"/>
                </a:moveTo>
                <a:cubicBezTo>
                  <a:pt x="771759" y="213403"/>
                  <a:pt x="888677" y="330322"/>
                  <a:pt x="888677" y="474548"/>
                </a:cubicBezTo>
                <a:cubicBezTo>
                  <a:pt x="888677" y="618775"/>
                  <a:pt x="771759" y="735694"/>
                  <a:pt x="627532" y="735694"/>
                </a:cubicBezTo>
                <a:cubicBezTo>
                  <a:pt x="483306" y="735694"/>
                  <a:pt x="366387" y="618775"/>
                  <a:pt x="366387" y="474548"/>
                </a:cubicBezTo>
                <a:cubicBezTo>
                  <a:pt x="366387" y="330322"/>
                  <a:pt x="483306" y="213403"/>
                  <a:pt x="627532" y="213403"/>
                </a:cubicBezTo>
                <a:close/>
                <a:moveTo>
                  <a:pt x="1628913" y="0"/>
                </a:moveTo>
                <a:lnTo>
                  <a:pt x="3519626" y="0"/>
                </a:lnTo>
                <a:lnTo>
                  <a:pt x="3519626" y="1462090"/>
                </a:lnTo>
                <a:lnTo>
                  <a:pt x="1628913" y="1462090"/>
                </a:lnTo>
                <a:lnTo>
                  <a:pt x="1628913" y="953692"/>
                </a:lnTo>
                <a:lnTo>
                  <a:pt x="985977" y="466728"/>
                </a:lnTo>
                <a:lnTo>
                  <a:pt x="1628913" y="356995"/>
                </a:lnTo>
                <a:close/>
              </a:path>
            </a:pathLst>
          </a:custGeom>
          <a:solidFill>
            <a:srgbClr val="5E83BD"/>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prstClr val="white"/>
              </a:solidFill>
              <a:effectLst/>
              <a:uLnTx/>
              <a:uFillTx/>
              <a:latin typeface="Segoe UI"/>
              <a:ea typeface="+mn-ea"/>
              <a:cs typeface="+mn-cs"/>
            </a:endParaRPr>
          </a:p>
        </p:txBody>
      </p:sp>
      <p:sp>
        <p:nvSpPr>
          <p:cNvPr id="127" name="Freeform 81"/>
          <p:cNvSpPr>
            <a:spLocks noChangeAspect="1"/>
          </p:cNvSpPr>
          <p:nvPr/>
        </p:nvSpPr>
        <p:spPr bwMode="black">
          <a:xfrm>
            <a:off x="489390" y="2644931"/>
            <a:ext cx="369956" cy="503740"/>
          </a:xfrm>
          <a:custGeom>
            <a:avLst/>
            <a:gdLst>
              <a:gd name="T0" fmla="*/ 230 w 256"/>
              <a:gd name="T1" fmla="*/ 221 h 349"/>
              <a:gd name="T2" fmla="*/ 256 w 256"/>
              <a:gd name="T3" fmla="*/ 202 h 349"/>
              <a:gd name="T4" fmla="*/ 232 w 256"/>
              <a:gd name="T5" fmla="*/ 184 h 349"/>
              <a:gd name="T6" fmla="*/ 239 w 256"/>
              <a:gd name="T7" fmla="*/ 170 h 349"/>
              <a:gd name="T8" fmla="*/ 217 w 256"/>
              <a:gd name="T9" fmla="*/ 152 h 349"/>
              <a:gd name="T10" fmla="*/ 187 w 256"/>
              <a:gd name="T11" fmla="*/ 152 h 349"/>
              <a:gd name="T12" fmla="*/ 187 w 256"/>
              <a:gd name="T13" fmla="*/ 91 h 349"/>
              <a:gd name="T14" fmla="*/ 217 w 256"/>
              <a:gd name="T15" fmla="*/ 45 h 349"/>
              <a:gd name="T16" fmla="*/ 203 w 256"/>
              <a:gd name="T17" fmla="*/ 10 h 349"/>
              <a:gd name="T18" fmla="*/ 166 w 256"/>
              <a:gd name="T19" fmla="*/ 58 h 349"/>
              <a:gd name="T20" fmla="*/ 130 w 256"/>
              <a:gd name="T21" fmla="*/ 10 h 349"/>
              <a:gd name="T22" fmla="*/ 116 w 256"/>
              <a:gd name="T23" fmla="*/ 45 h 349"/>
              <a:gd name="T24" fmla="*/ 146 w 256"/>
              <a:gd name="T25" fmla="*/ 91 h 349"/>
              <a:gd name="T26" fmla="*/ 146 w 256"/>
              <a:gd name="T27" fmla="*/ 121 h 349"/>
              <a:gd name="T28" fmla="*/ 143 w 256"/>
              <a:gd name="T29" fmla="*/ 119 h 349"/>
              <a:gd name="T30" fmla="*/ 99 w 256"/>
              <a:gd name="T31" fmla="*/ 126 h 349"/>
              <a:gd name="T32" fmla="*/ 45 w 256"/>
              <a:gd name="T33" fmla="*/ 162 h 349"/>
              <a:gd name="T34" fmla="*/ 0 w 256"/>
              <a:gd name="T35" fmla="*/ 162 h 349"/>
              <a:gd name="T36" fmla="*/ 0 w 256"/>
              <a:gd name="T37" fmla="*/ 272 h 349"/>
              <a:gd name="T38" fmla="*/ 70 w 256"/>
              <a:gd name="T39" fmla="*/ 277 h 349"/>
              <a:gd name="T40" fmla="*/ 132 w 256"/>
              <a:gd name="T41" fmla="*/ 286 h 349"/>
              <a:gd name="T42" fmla="*/ 127 w 256"/>
              <a:gd name="T43" fmla="*/ 273 h 349"/>
              <a:gd name="T44" fmla="*/ 139 w 256"/>
              <a:gd name="T45" fmla="*/ 255 h 349"/>
              <a:gd name="T46" fmla="*/ 125 w 256"/>
              <a:gd name="T47" fmla="*/ 237 h 349"/>
              <a:gd name="T48" fmla="*/ 140 w 256"/>
              <a:gd name="T49" fmla="*/ 219 h 349"/>
              <a:gd name="T50" fmla="*/ 125 w 256"/>
              <a:gd name="T51" fmla="*/ 201 h 349"/>
              <a:gd name="T52" fmla="*/ 138 w 256"/>
              <a:gd name="T53" fmla="*/ 185 h 349"/>
              <a:gd name="T54" fmla="*/ 125 w 256"/>
              <a:gd name="T55" fmla="*/ 167 h 349"/>
              <a:gd name="T56" fmla="*/ 146 w 256"/>
              <a:gd name="T57" fmla="*/ 148 h 349"/>
              <a:gd name="T58" fmla="*/ 146 w 256"/>
              <a:gd name="T59" fmla="*/ 155 h 349"/>
              <a:gd name="T60" fmla="*/ 137 w 256"/>
              <a:gd name="T61" fmla="*/ 170 h 349"/>
              <a:gd name="T62" fmla="*/ 146 w 256"/>
              <a:gd name="T63" fmla="*/ 185 h 349"/>
              <a:gd name="T64" fmla="*/ 146 w 256"/>
              <a:gd name="T65" fmla="*/ 188 h 349"/>
              <a:gd name="T66" fmla="*/ 137 w 256"/>
              <a:gd name="T67" fmla="*/ 202 h 349"/>
              <a:gd name="T68" fmla="*/ 146 w 256"/>
              <a:gd name="T69" fmla="*/ 216 h 349"/>
              <a:gd name="T70" fmla="*/ 146 w 256"/>
              <a:gd name="T71" fmla="*/ 224 h 349"/>
              <a:gd name="T72" fmla="*/ 137 w 256"/>
              <a:gd name="T73" fmla="*/ 239 h 349"/>
              <a:gd name="T74" fmla="*/ 146 w 256"/>
              <a:gd name="T75" fmla="*/ 254 h 349"/>
              <a:gd name="T76" fmla="*/ 146 w 256"/>
              <a:gd name="T77" fmla="*/ 261 h 349"/>
              <a:gd name="T78" fmla="*/ 139 w 256"/>
              <a:gd name="T79" fmla="*/ 276 h 349"/>
              <a:gd name="T80" fmla="*/ 146 w 256"/>
              <a:gd name="T81" fmla="*/ 291 h 349"/>
              <a:gd name="T82" fmla="*/ 146 w 256"/>
              <a:gd name="T83" fmla="*/ 324 h 349"/>
              <a:gd name="T84" fmla="*/ 167 w 256"/>
              <a:gd name="T85" fmla="*/ 349 h 349"/>
              <a:gd name="T86" fmla="*/ 187 w 256"/>
              <a:gd name="T87" fmla="*/ 324 h 349"/>
              <a:gd name="T88" fmla="*/ 187 w 256"/>
              <a:gd name="T89" fmla="*/ 294 h 349"/>
              <a:gd name="T90" fmla="*/ 207 w 256"/>
              <a:gd name="T91" fmla="*/ 294 h 349"/>
              <a:gd name="T92" fmla="*/ 226 w 256"/>
              <a:gd name="T93" fmla="*/ 276 h 349"/>
              <a:gd name="T94" fmla="*/ 207 w 256"/>
              <a:gd name="T95" fmla="*/ 257 h 349"/>
              <a:gd name="T96" fmla="*/ 187 w 256"/>
              <a:gd name="T97" fmla="*/ 257 h 349"/>
              <a:gd name="T98" fmla="*/ 187 w 256"/>
              <a:gd name="T99" fmla="*/ 257 h 349"/>
              <a:gd name="T100" fmla="*/ 217 w 256"/>
              <a:gd name="T101" fmla="*/ 257 h 349"/>
              <a:gd name="T102" fmla="*/ 239 w 256"/>
              <a:gd name="T103" fmla="*/ 239 h 349"/>
              <a:gd name="T104" fmla="*/ 217 w 256"/>
              <a:gd name="T105" fmla="*/ 221 h 349"/>
              <a:gd name="T106" fmla="*/ 187 w 256"/>
              <a:gd name="T107" fmla="*/ 221 h 349"/>
              <a:gd name="T108" fmla="*/ 187 w 256"/>
              <a:gd name="T109" fmla="*/ 221 h 349"/>
              <a:gd name="T110" fmla="*/ 230 w 256"/>
              <a:gd name="T111" fmla="*/ 221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49">
                <a:moveTo>
                  <a:pt x="230" y="221"/>
                </a:moveTo>
                <a:cubicBezTo>
                  <a:pt x="245" y="221"/>
                  <a:pt x="256" y="212"/>
                  <a:pt x="256" y="202"/>
                </a:cubicBezTo>
                <a:cubicBezTo>
                  <a:pt x="256" y="192"/>
                  <a:pt x="245" y="184"/>
                  <a:pt x="232" y="184"/>
                </a:cubicBezTo>
                <a:cubicBezTo>
                  <a:pt x="236" y="180"/>
                  <a:pt x="239" y="175"/>
                  <a:pt x="239" y="170"/>
                </a:cubicBezTo>
                <a:cubicBezTo>
                  <a:pt x="239" y="160"/>
                  <a:pt x="229" y="152"/>
                  <a:pt x="217" y="152"/>
                </a:cubicBezTo>
                <a:cubicBezTo>
                  <a:pt x="187" y="152"/>
                  <a:pt x="187" y="152"/>
                  <a:pt x="187" y="152"/>
                </a:cubicBezTo>
                <a:cubicBezTo>
                  <a:pt x="187" y="91"/>
                  <a:pt x="187" y="91"/>
                  <a:pt x="187" y="91"/>
                </a:cubicBezTo>
                <a:cubicBezTo>
                  <a:pt x="205" y="83"/>
                  <a:pt x="217" y="66"/>
                  <a:pt x="217" y="45"/>
                </a:cubicBezTo>
                <a:cubicBezTo>
                  <a:pt x="217" y="31"/>
                  <a:pt x="203" y="0"/>
                  <a:pt x="203" y="10"/>
                </a:cubicBezTo>
                <a:cubicBezTo>
                  <a:pt x="204" y="24"/>
                  <a:pt x="195" y="58"/>
                  <a:pt x="166" y="58"/>
                </a:cubicBezTo>
                <a:cubicBezTo>
                  <a:pt x="140" y="58"/>
                  <a:pt x="129" y="30"/>
                  <a:pt x="130" y="10"/>
                </a:cubicBezTo>
                <a:cubicBezTo>
                  <a:pt x="130" y="3"/>
                  <a:pt x="116" y="32"/>
                  <a:pt x="116" y="45"/>
                </a:cubicBezTo>
                <a:cubicBezTo>
                  <a:pt x="116" y="66"/>
                  <a:pt x="129" y="84"/>
                  <a:pt x="146" y="91"/>
                </a:cubicBezTo>
                <a:cubicBezTo>
                  <a:pt x="146" y="121"/>
                  <a:pt x="146" y="121"/>
                  <a:pt x="146" y="121"/>
                </a:cubicBezTo>
                <a:cubicBezTo>
                  <a:pt x="143" y="119"/>
                  <a:pt x="143" y="119"/>
                  <a:pt x="143" y="119"/>
                </a:cubicBezTo>
                <a:cubicBezTo>
                  <a:pt x="143" y="119"/>
                  <a:pt x="110" y="122"/>
                  <a:pt x="99" y="126"/>
                </a:cubicBezTo>
                <a:cubicBezTo>
                  <a:pt x="87" y="131"/>
                  <a:pt x="63" y="162"/>
                  <a:pt x="45" y="162"/>
                </a:cubicBezTo>
                <a:cubicBezTo>
                  <a:pt x="26" y="162"/>
                  <a:pt x="0" y="162"/>
                  <a:pt x="0" y="162"/>
                </a:cubicBezTo>
                <a:cubicBezTo>
                  <a:pt x="0" y="272"/>
                  <a:pt x="0" y="272"/>
                  <a:pt x="0" y="272"/>
                </a:cubicBezTo>
                <a:cubicBezTo>
                  <a:pt x="0" y="272"/>
                  <a:pt x="47" y="272"/>
                  <a:pt x="70" y="277"/>
                </a:cubicBezTo>
                <a:cubicBezTo>
                  <a:pt x="86" y="280"/>
                  <a:pt x="110" y="284"/>
                  <a:pt x="132" y="286"/>
                </a:cubicBezTo>
                <a:cubicBezTo>
                  <a:pt x="129" y="283"/>
                  <a:pt x="127" y="278"/>
                  <a:pt x="127" y="273"/>
                </a:cubicBezTo>
                <a:cubicBezTo>
                  <a:pt x="127" y="265"/>
                  <a:pt x="132" y="258"/>
                  <a:pt x="139" y="255"/>
                </a:cubicBezTo>
                <a:cubicBezTo>
                  <a:pt x="131" y="252"/>
                  <a:pt x="125" y="245"/>
                  <a:pt x="125" y="237"/>
                </a:cubicBezTo>
                <a:cubicBezTo>
                  <a:pt x="125" y="229"/>
                  <a:pt x="131" y="222"/>
                  <a:pt x="140" y="219"/>
                </a:cubicBezTo>
                <a:cubicBezTo>
                  <a:pt x="131" y="216"/>
                  <a:pt x="125" y="209"/>
                  <a:pt x="125" y="201"/>
                </a:cubicBezTo>
                <a:cubicBezTo>
                  <a:pt x="125" y="194"/>
                  <a:pt x="130" y="188"/>
                  <a:pt x="138" y="185"/>
                </a:cubicBezTo>
                <a:cubicBezTo>
                  <a:pt x="130" y="182"/>
                  <a:pt x="125" y="175"/>
                  <a:pt x="125" y="167"/>
                </a:cubicBezTo>
                <a:cubicBezTo>
                  <a:pt x="125" y="157"/>
                  <a:pt x="135" y="148"/>
                  <a:pt x="146" y="148"/>
                </a:cubicBezTo>
                <a:cubicBezTo>
                  <a:pt x="146" y="155"/>
                  <a:pt x="146" y="155"/>
                  <a:pt x="146" y="155"/>
                </a:cubicBezTo>
                <a:cubicBezTo>
                  <a:pt x="141" y="158"/>
                  <a:pt x="137" y="164"/>
                  <a:pt x="137" y="170"/>
                </a:cubicBezTo>
                <a:cubicBezTo>
                  <a:pt x="137" y="176"/>
                  <a:pt x="141" y="182"/>
                  <a:pt x="146" y="185"/>
                </a:cubicBezTo>
                <a:cubicBezTo>
                  <a:pt x="146" y="188"/>
                  <a:pt x="146" y="188"/>
                  <a:pt x="146" y="188"/>
                </a:cubicBezTo>
                <a:cubicBezTo>
                  <a:pt x="141" y="191"/>
                  <a:pt x="137" y="196"/>
                  <a:pt x="137" y="202"/>
                </a:cubicBezTo>
                <a:cubicBezTo>
                  <a:pt x="137" y="208"/>
                  <a:pt x="141" y="213"/>
                  <a:pt x="146" y="216"/>
                </a:cubicBezTo>
                <a:cubicBezTo>
                  <a:pt x="146" y="224"/>
                  <a:pt x="146" y="224"/>
                  <a:pt x="146" y="224"/>
                </a:cubicBezTo>
                <a:cubicBezTo>
                  <a:pt x="141" y="227"/>
                  <a:pt x="137" y="233"/>
                  <a:pt x="137" y="239"/>
                </a:cubicBezTo>
                <a:cubicBezTo>
                  <a:pt x="137" y="245"/>
                  <a:pt x="141" y="251"/>
                  <a:pt x="146" y="254"/>
                </a:cubicBezTo>
                <a:cubicBezTo>
                  <a:pt x="146" y="261"/>
                  <a:pt x="146" y="261"/>
                  <a:pt x="146" y="261"/>
                </a:cubicBezTo>
                <a:cubicBezTo>
                  <a:pt x="142" y="264"/>
                  <a:pt x="139" y="270"/>
                  <a:pt x="139" y="276"/>
                </a:cubicBezTo>
                <a:cubicBezTo>
                  <a:pt x="139" y="282"/>
                  <a:pt x="142" y="287"/>
                  <a:pt x="146" y="291"/>
                </a:cubicBezTo>
                <a:cubicBezTo>
                  <a:pt x="146" y="324"/>
                  <a:pt x="146" y="324"/>
                  <a:pt x="146" y="324"/>
                </a:cubicBezTo>
                <a:cubicBezTo>
                  <a:pt x="146" y="338"/>
                  <a:pt x="156" y="349"/>
                  <a:pt x="167" y="349"/>
                </a:cubicBezTo>
                <a:cubicBezTo>
                  <a:pt x="178" y="349"/>
                  <a:pt x="187" y="338"/>
                  <a:pt x="187" y="324"/>
                </a:cubicBezTo>
                <a:cubicBezTo>
                  <a:pt x="187" y="294"/>
                  <a:pt x="187" y="294"/>
                  <a:pt x="187" y="294"/>
                </a:cubicBezTo>
                <a:cubicBezTo>
                  <a:pt x="207" y="294"/>
                  <a:pt x="207" y="294"/>
                  <a:pt x="207" y="294"/>
                </a:cubicBezTo>
                <a:cubicBezTo>
                  <a:pt x="217" y="294"/>
                  <a:pt x="226" y="286"/>
                  <a:pt x="226" y="276"/>
                </a:cubicBezTo>
                <a:cubicBezTo>
                  <a:pt x="226" y="266"/>
                  <a:pt x="217" y="257"/>
                  <a:pt x="207" y="257"/>
                </a:cubicBezTo>
                <a:cubicBezTo>
                  <a:pt x="187" y="257"/>
                  <a:pt x="187" y="257"/>
                  <a:pt x="187" y="257"/>
                </a:cubicBezTo>
                <a:cubicBezTo>
                  <a:pt x="187" y="257"/>
                  <a:pt x="187" y="257"/>
                  <a:pt x="187" y="257"/>
                </a:cubicBezTo>
                <a:cubicBezTo>
                  <a:pt x="217" y="257"/>
                  <a:pt x="217" y="257"/>
                  <a:pt x="217" y="257"/>
                </a:cubicBezTo>
                <a:cubicBezTo>
                  <a:pt x="229" y="257"/>
                  <a:pt x="239" y="249"/>
                  <a:pt x="239" y="239"/>
                </a:cubicBezTo>
                <a:cubicBezTo>
                  <a:pt x="239" y="229"/>
                  <a:pt x="229" y="221"/>
                  <a:pt x="217" y="221"/>
                </a:cubicBezTo>
                <a:cubicBezTo>
                  <a:pt x="187" y="221"/>
                  <a:pt x="187" y="221"/>
                  <a:pt x="187" y="221"/>
                </a:cubicBezTo>
                <a:cubicBezTo>
                  <a:pt x="187" y="221"/>
                  <a:pt x="187" y="221"/>
                  <a:pt x="187" y="221"/>
                </a:cubicBezTo>
                <a:lnTo>
                  <a:pt x="230" y="221"/>
                </a:lnTo>
                <a:close/>
              </a:path>
            </a:pathLst>
          </a:custGeom>
          <a:solidFill>
            <a:srgbClr val="5E83BD"/>
          </a:solidFill>
          <a:ln>
            <a:noFill/>
          </a:ln>
        </p:spPr>
        <p:txBody>
          <a:bodyPr vert="horz" wrap="square" lIns="82305" tIns="41153" rIns="82305" bIns="41153" numCol="1" anchor="t" anchorCtr="0" compatLnSpc="1">
            <a:prstTxWarp prst="textNoShape">
              <a:avLst/>
            </a:prstTxWarp>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28" name="Freeform 90"/>
          <p:cNvSpPr>
            <a:spLocks noChangeAspect="1" noEditPoints="1"/>
          </p:cNvSpPr>
          <p:nvPr/>
        </p:nvSpPr>
        <p:spPr bwMode="black">
          <a:xfrm>
            <a:off x="732621" y="3738648"/>
            <a:ext cx="321078" cy="352262"/>
          </a:xfrm>
          <a:custGeom>
            <a:avLst/>
            <a:gdLst>
              <a:gd name="T0" fmla="*/ 278 w 278"/>
              <a:gd name="T1" fmla="*/ 57 h 305"/>
              <a:gd name="T2" fmla="*/ 277 w 278"/>
              <a:gd name="T3" fmla="*/ 54 h 305"/>
              <a:gd name="T4" fmla="*/ 276 w 278"/>
              <a:gd name="T5" fmla="*/ 52 h 305"/>
              <a:gd name="T6" fmla="*/ 274 w 278"/>
              <a:gd name="T7" fmla="*/ 49 h 305"/>
              <a:gd name="T8" fmla="*/ 272 w 278"/>
              <a:gd name="T9" fmla="*/ 47 h 305"/>
              <a:gd name="T10" fmla="*/ 270 w 278"/>
              <a:gd name="T11" fmla="*/ 46 h 305"/>
              <a:gd name="T12" fmla="*/ 267 w 278"/>
              <a:gd name="T13" fmla="*/ 45 h 305"/>
              <a:gd name="T14" fmla="*/ 265 w 278"/>
              <a:gd name="T15" fmla="*/ 44 h 305"/>
              <a:gd name="T16" fmla="*/ 263 w 278"/>
              <a:gd name="T17" fmla="*/ 44 h 305"/>
              <a:gd name="T18" fmla="*/ 32 w 278"/>
              <a:gd name="T19" fmla="*/ 13 h 305"/>
              <a:gd name="T20" fmla="*/ 2 w 278"/>
              <a:gd name="T21" fmla="*/ 21 h 305"/>
              <a:gd name="T22" fmla="*/ 63 w 278"/>
              <a:gd name="T23" fmla="*/ 256 h 305"/>
              <a:gd name="T24" fmla="*/ 65 w 278"/>
              <a:gd name="T25" fmla="*/ 259 h 305"/>
              <a:gd name="T26" fmla="*/ 66 w 278"/>
              <a:gd name="T27" fmla="*/ 261 h 305"/>
              <a:gd name="T28" fmla="*/ 68 w 278"/>
              <a:gd name="T29" fmla="*/ 263 h 305"/>
              <a:gd name="T30" fmla="*/ 71 w 278"/>
              <a:gd name="T31" fmla="*/ 265 h 305"/>
              <a:gd name="T32" fmla="*/ 72 w 278"/>
              <a:gd name="T33" fmla="*/ 265 h 305"/>
              <a:gd name="T34" fmla="*/ 119 w 278"/>
              <a:gd name="T35" fmla="*/ 266 h 305"/>
              <a:gd name="T36" fmla="*/ 211 w 278"/>
              <a:gd name="T37" fmla="*/ 254 h 305"/>
              <a:gd name="T38" fmla="*/ 248 w 278"/>
              <a:gd name="T39" fmla="*/ 251 h 305"/>
              <a:gd name="T40" fmla="*/ 89 w 278"/>
              <a:gd name="T41" fmla="*/ 236 h 305"/>
              <a:gd name="T42" fmla="*/ 248 w 278"/>
              <a:gd name="T43" fmla="*/ 179 h 305"/>
              <a:gd name="T44" fmla="*/ 251 w 278"/>
              <a:gd name="T45" fmla="*/ 179 h 305"/>
              <a:gd name="T46" fmla="*/ 254 w 278"/>
              <a:gd name="T47" fmla="*/ 178 h 305"/>
              <a:gd name="T48" fmla="*/ 256 w 278"/>
              <a:gd name="T49" fmla="*/ 177 h 305"/>
              <a:gd name="T50" fmla="*/ 258 w 278"/>
              <a:gd name="T51" fmla="*/ 175 h 305"/>
              <a:gd name="T52" fmla="*/ 260 w 278"/>
              <a:gd name="T53" fmla="*/ 173 h 305"/>
              <a:gd name="T54" fmla="*/ 261 w 278"/>
              <a:gd name="T55" fmla="*/ 170 h 305"/>
              <a:gd name="T56" fmla="*/ 262 w 278"/>
              <a:gd name="T57" fmla="*/ 168 h 305"/>
              <a:gd name="T58" fmla="*/ 263 w 278"/>
              <a:gd name="T59" fmla="*/ 166 h 305"/>
              <a:gd name="T60" fmla="*/ 278 w 278"/>
              <a:gd name="T61" fmla="*/ 60 h 305"/>
              <a:gd name="T62" fmla="*/ 278 w 278"/>
              <a:gd name="T63" fmla="*/ 59 h 305"/>
              <a:gd name="T64" fmla="*/ 66 w 278"/>
              <a:gd name="T65" fmla="*/ 149 h 305"/>
              <a:gd name="T66" fmla="*/ 238 w 278"/>
              <a:gd name="T67" fmla="*/ 126 h 305"/>
              <a:gd name="T68" fmla="*/ 242 w 278"/>
              <a:gd name="T69" fmla="*/ 96 h 305"/>
              <a:gd name="T70" fmla="*/ 47 w 278"/>
              <a:gd name="T71" fmla="*/ 74 h 305"/>
              <a:gd name="T72" fmla="*/ 242 w 278"/>
              <a:gd name="T73" fmla="*/ 96 h 305"/>
              <a:gd name="T74" fmla="*/ 95 w 278"/>
              <a:gd name="T75" fmla="*/ 305 h 305"/>
              <a:gd name="T76" fmla="*/ 95 w 278"/>
              <a:gd name="T77" fmla="*/ 263 h 305"/>
              <a:gd name="T78" fmla="*/ 232 w 278"/>
              <a:gd name="T79" fmla="*/ 284 h 305"/>
              <a:gd name="T80" fmla="*/ 190 w 278"/>
              <a:gd name="T81" fmla="*/ 284 h 305"/>
              <a:gd name="T82" fmla="*/ 232 w 278"/>
              <a:gd name="T83" fmla="*/ 28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305">
                <a:moveTo>
                  <a:pt x="278" y="59"/>
                </a:moveTo>
                <a:cubicBezTo>
                  <a:pt x="278" y="58"/>
                  <a:pt x="278" y="57"/>
                  <a:pt x="278" y="57"/>
                </a:cubicBezTo>
                <a:cubicBezTo>
                  <a:pt x="278" y="56"/>
                  <a:pt x="278" y="56"/>
                  <a:pt x="278" y="56"/>
                </a:cubicBezTo>
                <a:cubicBezTo>
                  <a:pt x="277" y="55"/>
                  <a:pt x="277" y="55"/>
                  <a:pt x="277" y="54"/>
                </a:cubicBezTo>
                <a:cubicBezTo>
                  <a:pt x="277" y="54"/>
                  <a:pt x="277" y="53"/>
                  <a:pt x="277" y="53"/>
                </a:cubicBezTo>
                <a:cubicBezTo>
                  <a:pt x="276" y="52"/>
                  <a:pt x="276" y="52"/>
                  <a:pt x="276" y="52"/>
                </a:cubicBezTo>
                <a:cubicBezTo>
                  <a:pt x="276" y="51"/>
                  <a:pt x="275" y="51"/>
                  <a:pt x="275" y="50"/>
                </a:cubicBezTo>
                <a:cubicBezTo>
                  <a:pt x="275" y="50"/>
                  <a:pt x="275" y="50"/>
                  <a:pt x="274" y="49"/>
                </a:cubicBezTo>
                <a:cubicBezTo>
                  <a:pt x="274" y="49"/>
                  <a:pt x="274" y="48"/>
                  <a:pt x="273" y="48"/>
                </a:cubicBezTo>
                <a:cubicBezTo>
                  <a:pt x="273" y="48"/>
                  <a:pt x="273" y="48"/>
                  <a:pt x="272" y="47"/>
                </a:cubicBezTo>
                <a:cubicBezTo>
                  <a:pt x="272" y="47"/>
                  <a:pt x="271" y="47"/>
                  <a:pt x="271" y="46"/>
                </a:cubicBezTo>
                <a:cubicBezTo>
                  <a:pt x="271" y="46"/>
                  <a:pt x="270" y="46"/>
                  <a:pt x="270" y="46"/>
                </a:cubicBezTo>
                <a:cubicBezTo>
                  <a:pt x="269" y="45"/>
                  <a:pt x="269" y="45"/>
                  <a:pt x="268" y="45"/>
                </a:cubicBezTo>
                <a:cubicBezTo>
                  <a:pt x="268" y="45"/>
                  <a:pt x="268" y="45"/>
                  <a:pt x="267" y="45"/>
                </a:cubicBezTo>
                <a:cubicBezTo>
                  <a:pt x="267" y="44"/>
                  <a:pt x="266" y="44"/>
                  <a:pt x="266" y="44"/>
                </a:cubicBezTo>
                <a:cubicBezTo>
                  <a:pt x="265" y="44"/>
                  <a:pt x="265" y="44"/>
                  <a:pt x="265" y="44"/>
                </a:cubicBezTo>
                <a:cubicBezTo>
                  <a:pt x="265" y="44"/>
                  <a:pt x="264" y="44"/>
                  <a:pt x="264" y="44"/>
                </a:cubicBezTo>
                <a:cubicBezTo>
                  <a:pt x="264" y="44"/>
                  <a:pt x="263" y="44"/>
                  <a:pt x="263" y="44"/>
                </a:cubicBezTo>
                <a:cubicBezTo>
                  <a:pt x="39" y="44"/>
                  <a:pt x="39" y="44"/>
                  <a:pt x="39" y="44"/>
                </a:cubicBezTo>
                <a:cubicBezTo>
                  <a:pt x="32" y="13"/>
                  <a:pt x="32" y="13"/>
                  <a:pt x="32" y="13"/>
                </a:cubicBezTo>
                <a:cubicBezTo>
                  <a:pt x="29" y="5"/>
                  <a:pt x="21" y="0"/>
                  <a:pt x="13" y="2"/>
                </a:cubicBezTo>
                <a:cubicBezTo>
                  <a:pt x="5" y="5"/>
                  <a:pt x="0" y="13"/>
                  <a:pt x="2" y="21"/>
                </a:cubicBezTo>
                <a:cubicBezTo>
                  <a:pt x="62" y="255"/>
                  <a:pt x="62" y="255"/>
                  <a:pt x="62" y="255"/>
                </a:cubicBezTo>
                <a:cubicBezTo>
                  <a:pt x="63" y="255"/>
                  <a:pt x="63" y="256"/>
                  <a:pt x="63" y="256"/>
                </a:cubicBezTo>
                <a:cubicBezTo>
                  <a:pt x="63" y="256"/>
                  <a:pt x="63" y="257"/>
                  <a:pt x="63" y="257"/>
                </a:cubicBezTo>
                <a:cubicBezTo>
                  <a:pt x="64" y="258"/>
                  <a:pt x="64" y="259"/>
                  <a:pt x="65" y="259"/>
                </a:cubicBezTo>
                <a:cubicBezTo>
                  <a:pt x="65" y="259"/>
                  <a:pt x="65" y="259"/>
                  <a:pt x="65" y="259"/>
                </a:cubicBezTo>
                <a:cubicBezTo>
                  <a:pt x="65" y="260"/>
                  <a:pt x="66" y="261"/>
                  <a:pt x="66" y="261"/>
                </a:cubicBezTo>
                <a:cubicBezTo>
                  <a:pt x="66" y="262"/>
                  <a:pt x="67" y="262"/>
                  <a:pt x="67" y="262"/>
                </a:cubicBezTo>
                <a:cubicBezTo>
                  <a:pt x="67" y="262"/>
                  <a:pt x="68" y="263"/>
                  <a:pt x="68" y="263"/>
                </a:cubicBezTo>
                <a:cubicBezTo>
                  <a:pt x="69" y="263"/>
                  <a:pt x="69" y="264"/>
                  <a:pt x="69" y="264"/>
                </a:cubicBezTo>
                <a:cubicBezTo>
                  <a:pt x="70" y="264"/>
                  <a:pt x="70" y="264"/>
                  <a:pt x="71" y="265"/>
                </a:cubicBezTo>
                <a:cubicBezTo>
                  <a:pt x="71" y="265"/>
                  <a:pt x="71" y="265"/>
                  <a:pt x="72" y="265"/>
                </a:cubicBezTo>
                <a:cubicBezTo>
                  <a:pt x="72" y="265"/>
                  <a:pt x="72" y="265"/>
                  <a:pt x="72" y="265"/>
                </a:cubicBezTo>
                <a:cubicBezTo>
                  <a:pt x="77" y="258"/>
                  <a:pt x="86" y="254"/>
                  <a:pt x="95" y="254"/>
                </a:cubicBezTo>
                <a:cubicBezTo>
                  <a:pt x="105" y="254"/>
                  <a:pt x="113" y="259"/>
                  <a:pt x="119" y="266"/>
                </a:cubicBezTo>
                <a:cubicBezTo>
                  <a:pt x="187" y="266"/>
                  <a:pt x="187" y="266"/>
                  <a:pt x="187" y="266"/>
                </a:cubicBezTo>
                <a:cubicBezTo>
                  <a:pt x="193" y="259"/>
                  <a:pt x="201" y="254"/>
                  <a:pt x="211" y="254"/>
                </a:cubicBezTo>
                <a:cubicBezTo>
                  <a:pt x="221" y="254"/>
                  <a:pt x="229" y="259"/>
                  <a:pt x="235" y="266"/>
                </a:cubicBezTo>
                <a:cubicBezTo>
                  <a:pt x="242" y="265"/>
                  <a:pt x="248" y="259"/>
                  <a:pt x="248" y="251"/>
                </a:cubicBezTo>
                <a:cubicBezTo>
                  <a:pt x="248" y="243"/>
                  <a:pt x="241" y="236"/>
                  <a:pt x="233" y="236"/>
                </a:cubicBezTo>
                <a:cubicBezTo>
                  <a:pt x="89" y="236"/>
                  <a:pt x="89" y="236"/>
                  <a:pt x="89" y="236"/>
                </a:cubicBezTo>
                <a:cubicBezTo>
                  <a:pt x="74" y="179"/>
                  <a:pt x="74" y="179"/>
                  <a:pt x="74" y="179"/>
                </a:cubicBezTo>
                <a:cubicBezTo>
                  <a:pt x="248" y="179"/>
                  <a:pt x="248" y="179"/>
                  <a:pt x="248" y="179"/>
                </a:cubicBezTo>
                <a:cubicBezTo>
                  <a:pt x="248" y="179"/>
                  <a:pt x="248" y="179"/>
                  <a:pt x="248" y="179"/>
                </a:cubicBezTo>
                <a:cubicBezTo>
                  <a:pt x="249" y="179"/>
                  <a:pt x="250" y="179"/>
                  <a:pt x="251" y="179"/>
                </a:cubicBezTo>
                <a:cubicBezTo>
                  <a:pt x="251" y="179"/>
                  <a:pt x="251" y="179"/>
                  <a:pt x="252" y="178"/>
                </a:cubicBezTo>
                <a:cubicBezTo>
                  <a:pt x="252" y="178"/>
                  <a:pt x="253" y="178"/>
                  <a:pt x="254" y="178"/>
                </a:cubicBezTo>
                <a:cubicBezTo>
                  <a:pt x="254" y="178"/>
                  <a:pt x="254" y="178"/>
                  <a:pt x="255" y="177"/>
                </a:cubicBezTo>
                <a:cubicBezTo>
                  <a:pt x="255" y="177"/>
                  <a:pt x="256" y="177"/>
                  <a:pt x="256" y="177"/>
                </a:cubicBezTo>
                <a:cubicBezTo>
                  <a:pt x="256" y="176"/>
                  <a:pt x="257" y="176"/>
                  <a:pt x="257" y="176"/>
                </a:cubicBezTo>
                <a:cubicBezTo>
                  <a:pt x="257" y="176"/>
                  <a:pt x="258" y="175"/>
                  <a:pt x="258" y="175"/>
                </a:cubicBezTo>
                <a:cubicBezTo>
                  <a:pt x="259" y="175"/>
                  <a:pt x="259" y="174"/>
                  <a:pt x="259" y="174"/>
                </a:cubicBezTo>
                <a:cubicBezTo>
                  <a:pt x="259" y="174"/>
                  <a:pt x="260" y="173"/>
                  <a:pt x="260" y="173"/>
                </a:cubicBezTo>
                <a:cubicBezTo>
                  <a:pt x="260" y="173"/>
                  <a:pt x="261" y="172"/>
                  <a:pt x="261" y="172"/>
                </a:cubicBezTo>
                <a:cubicBezTo>
                  <a:pt x="261" y="171"/>
                  <a:pt x="261" y="171"/>
                  <a:pt x="261" y="170"/>
                </a:cubicBezTo>
                <a:cubicBezTo>
                  <a:pt x="262" y="170"/>
                  <a:pt x="262" y="170"/>
                  <a:pt x="262" y="169"/>
                </a:cubicBezTo>
                <a:cubicBezTo>
                  <a:pt x="262" y="169"/>
                  <a:pt x="262" y="168"/>
                  <a:pt x="262" y="168"/>
                </a:cubicBezTo>
                <a:cubicBezTo>
                  <a:pt x="263" y="167"/>
                  <a:pt x="263" y="167"/>
                  <a:pt x="263" y="167"/>
                </a:cubicBezTo>
                <a:cubicBezTo>
                  <a:pt x="263" y="166"/>
                  <a:pt x="263" y="166"/>
                  <a:pt x="263" y="166"/>
                </a:cubicBezTo>
                <a:cubicBezTo>
                  <a:pt x="278" y="61"/>
                  <a:pt x="278" y="61"/>
                  <a:pt x="278" y="61"/>
                </a:cubicBezTo>
                <a:cubicBezTo>
                  <a:pt x="278" y="61"/>
                  <a:pt x="278" y="60"/>
                  <a:pt x="278" y="60"/>
                </a:cubicBezTo>
                <a:cubicBezTo>
                  <a:pt x="278" y="60"/>
                  <a:pt x="278" y="59"/>
                  <a:pt x="278" y="59"/>
                </a:cubicBezTo>
                <a:cubicBezTo>
                  <a:pt x="278" y="59"/>
                  <a:pt x="278" y="59"/>
                  <a:pt x="278" y="59"/>
                </a:cubicBezTo>
                <a:close/>
                <a:moveTo>
                  <a:pt x="235" y="149"/>
                </a:moveTo>
                <a:cubicBezTo>
                  <a:pt x="66" y="149"/>
                  <a:pt x="66" y="149"/>
                  <a:pt x="66" y="149"/>
                </a:cubicBezTo>
                <a:cubicBezTo>
                  <a:pt x="61" y="126"/>
                  <a:pt x="61" y="126"/>
                  <a:pt x="61" y="126"/>
                </a:cubicBezTo>
                <a:cubicBezTo>
                  <a:pt x="238" y="126"/>
                  <a:pt x="238" y="126"/>
                  <a:pt x="238" y="126"/>
                </a:cubicBezTo>
                <a:lnTo>
                  <a:pt x="235" y="149"/>
                </a:lnTo>
                <a:close/>
                <a:moveTo>
                  <a:pt x="242" y="96"/>
                </a:moveTo>
                <a:cubicBezTo>
                  <a:pt x="53" y="96"/>
                  <a:pt x="53" y="96"/>
                  <a:pt x="53" y="96"/>
                </a:cubicBezTo>
                <a:cubicBezTo>
                  <a:pt x="47" y="74"/>
                  <a:pt x="47" y="74"/>
                  <a:pt x="47" y="74"/>
                </a:cubicBezTo>
                <a:cubicBezTo>
                  <a:pt x="246" y="74"/>
                  <a:pt x="246" y="74"/>
                  <a:pt x="246" y="74"/>
                </a:cubicBezTo>
                <a:lnTo>
                  <a:pt x="242" y="96"/>
                </a:lnTo>
                <a:close/>
                <a:moveTo>
                  <a:pt x="116" y="284"/>
                </a:moveTo>
                <a:cubicBezTo>
                  <a:pt x="116" y="296"/>
                  <a:pt x="107" y="305"/>
                  <a:pt x="95" y="305"/>
                </a:cubicBezTo>
                <a:cubicBezTo>
                  <a:pt x="83" y="305"/>
                  <a:pt x="74" y="296"/>
                  <a:pt x="74" y="284"/>
                </a:cubicBezTo>
                <a:cubicBezTo>
                  <a:pt x="74" y="272"/>
                  <a:pt x="83" y="263"/>
                  <a:pt x="95" y="263"/>
                </a:cubicBezTo>
                <a:cubicBezTo>
                  <a:pt x="107" y="263"/>
                  <a:pt x="116" y="272"/>
                  <a:pt x="116" y="284"/>
                </a:cubicBezTo>
                <a:close/>
                <a:moveTo>
                  <a:pt x="232" y="284"/>
                </a:moveTo>
                <a:cubicBezTo>
                  <a:pt x="232" y="296"/>
                  <a:pt x="223" y="305"/>
                  <a:pt x="211" y="305"/>
                </a:cubicBezTo>
                <a:cubicBezTo>
                  <a:pt x="200" y="305"/>
                  <a:pt x="190" y="296"/>
                  <a:pt x="190" y="284"/>
                </a:cubicBezTo>
                <a:cubicBezTo>
                  <a:pt x="190" y="272"/>
                  <a:pt x="200" y="263"/>
                  <a:pt x="211" y="263"/>
                </a:cubicBezTo>
                <a:cubicBezTo>
                  <a:pt x="223" y="263"/>
                  <a:pt x="232" y="272"/>
                  <a:pt x="232" y="284"/>
                </a:cubicBezTo>
                <a:close/>
              </a:path>
            </a:pathLst>
          </a:custGeom>
          <a:solidFill>
            <a:srgbClr val="5E83BD"/>
          </a:solidFill>
          <a:ln>
            <a:noFill/>
          </a:ln>
          <a:extLst/>
        </p:spPr>
        <p:txBody>
          <a:bodyPr vert="horz" wrap="square" lIns="82305" tIns="41153" rIns="82305" bIns="41153" numCol="1" anchor="t" anchorCtr="0" compatLnSpc="1">
            <a:prstTxWarp prst="textNoShape">
              <a:avLst/>
            </a:prstTxWarp>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29" name="Rounded Rectangle 7"/>
          <p:cNvSpPr>
            <a:spLocks noChangeAspect="1"/>
          </p:cNvSpPr>
          <p:nvPr/>
        </p:nvSpPr>
        <p:spPr bwMode="auto">
          <a:xfrm>
            <a:off x="934025" y="2848367"/>
            <a:ext cx="253328" cy="222019"/>
          </a:xfrm>
          <a:custGeom>
            <a:avLst/>
            <a:gdLst/>
            <a:ahLst/>
            <a:cxnLst/>
            <a:rect l="l" t="t" r="r" b="b"/>
            <a:pathLst>
              <a:path w="5629726" h="4933949">
                <a:moveTo>
                  <a:pt x="2808341" y="3135312"/>
                </a:moveTo>
                <a:cubicBezTo>
                  <a:pt x="2991582" y="3135312"/>
                  <a:pt x="3140128" y="3283858"/>
                  <a:pt x="3140128" y="3467099"/>
                </a:cubicBezTo>
                <a:cubicBezTo>
                  <a:pt x="3140128" y="3650340"/>
                  <a:pt x="2991582" y="3798886"/>
                  <a:pt x="2808341" y="3798886"/>
                </a:cubicBezTo>
                <a:cubicBezTo>
                  <a:pt x="2625100" y="3798886"/>
                  <a:pt x="2476554" y="3650340"/>
                  <a:pt x="2476554" y="3467099"/>
                </a:cubicBezTo>
                <a:cubicBezTo>
                  <a:pt x="2476554" y="3283858"/>
                  <a:pt x="2625100" y="3135312"/>
                  <a:pt x="2808341" y="3135312"/>
                </a:cubicBezTo>
                <a:close/>
                <a:moveTo>
                  <a:pt x="1085904" y="333374"/>
                </a:moveTo>
                <a:cubicBezTo>
                  <a:pt x="1270022" y="333374"/>
                  <a:pt x="1419279" y="527081"/>
                  <a:pt x="1419279" y="711199"/>
                </a:cubicBezTo>
                <a:cubicBezTo>
                  <a:pt x="1456850" y="984249"/>
                  <a:pt x="1216079" y="1358899"/>
                  <a:pt x="943029" y="1736724"/>
                </a:cubicBezTo>
                <a:cubicBezTo>
                  <a:pt x="295805" y="2684649"/>
                  <a:pt x="981053" y="3635157"/>
                  <a:pt x="1359708" y="4133849"/>
                </a:cubicBezTo>
                <a:lnTo>
                  <a:pt x="4270019" y="4133849"/>
                </a:lnTo>
                <a:cubicBezTo>
                  <a:pt x="4648674" y="3635157"/>
                  <a:pt x="5333921" y="2684649"/>
                  <a:pt x="4686697" y="1736724"/>
                </a:cubicBezTo>
                <a:cubicBezTo>
                  <a:pt x="4413647" y="1358899"/>
                  <a:pt x="4172876" y="984249"/>
                  <a:pt x="4210447" y="711199"/>
                </a:cubicBezTo>
                <a:cubicBezTo>
                  <a:pt x="4210447" y="527081"/>
                  <a:pt x="4359704" y="333374"/>
                  <a:pt x="4543822" y="333374"/>
                </a:cubicBezTo>
                <a:cubicBezTo>
                  <a:pt x="4727940" y="333374"/>
                  <a:pt x="4877197" y="482631"/>
                  <a:pt x="4877197" y="666749"/>
                </a:cubicBezTo>
                <a:cubicBezTo>
                  <a:pt x="4774009" y="927099"/>
                  <a:pt x="5637609" y="1554162"/>
                  <a:pt x="5629672" y="2671762"/>
                </a:cubicBezTo>
                <a:cubicBezTo>
                  <a:pt x="5612335" y="3182560"/>
                  <a:pt x="5208445" y="4109042"/>
                  <a:pt x="4768904" y="4509604"/>
                </a:cubicBezTo>
                <a:lnTo>
                  <a:pt x="4768904" y="4772025"/>
                </a:lnTo>
                <a:cubicBezTo>
                  <a:pt x="4768904" y="4861453"/>
                  <a:pt x="4696408" y="4933949"/>
                  <a:pt x="4606980" y="4933949"/>
                </a:cubicBezTo>
                <a:lnTo>
                  <a:pt x="4043860" y="4933949"/>
                </a:lnTo>
                <a:lnTo>
                  <a:pt x="4043860" y="4676773"/>
                </a:lnTo>
                <a:lnTo>
                  <a:pt x="3924988" y="4676773"/>
                </a:lnTo>
                <a:lnTo>
                  <a:pt x="3924988" y="4933949"/>
                </a:lnTo>
                <a:lnTo>
                  <a:pt x="3265773" y="4933949"/>
                </a:lnTo>
                <a:lnTo>
                  <a:pt x="3265773" y="4676773"/>
                </a:lnTo>
                <a:lnTo>
                  <a:pt x="3146901" y="4676773"/>
                </a:lnTo>
                <a:lnTo>
                  <a:pt x="3146901" y="4933949"/>
                </a:lnTo>
                <a:lnTo>
                  <a:pt x="2487687" y="4933949"/>
                </a:lnTo>
                <a:lnTo>
                  <a:pt x="2487687" y="4676773"/>
                </a:lnTo>
                <a:lnTo>
                  <a:pt x="2368815" y="4676773"/>
                </a:lnTo>
                <a:lnTo>
                  <a:pt x="2368815" y="4933949"/>
                </a:lnTo>
                <a:lnTo>
                  <a:pt x="1709601" y="4933949"/>
                </a:lnTo>
                <a:lnTo>
                  <a:pt x="1709601" y="4676773"/>
                </a:lnTo>
                <a:lnTo>
                  <a:pt x="1590729" y="4676773"/>
                </a:lnTo>
                <a:lnTo>
                  <a:pt x="1590729" y="4933949"/>
                </a:lnTo>
                <a:lnTo>
                  <a:pt x="1006528" y="4933949"/>
                </a:lnTo>
                <a:cubicBezTo>
                  <a:pt x="917100" y="4933949"/>
                  <a:pt x="844604" y="4861453"/>
                  <a:pt x="844604" y="4772025"/>
                </a:cubicBezTo>
                <a:lnTo>
                  <a:pt x="844604" y="4494929"/>
                </a:lnTo>
                <a:cubicBezTo>
                  <a:pt x="411491" y="4086514"/>
                  <a:pt x="17180" y="3176333"/>
                  <a:pt x="54" y="2671762"/>
                </a:cubicBezTo>
                <a:cubicBezTo>
                  <a:pt x="-7883" y="1554162"/>
                  <a:pt x="855717" y="927099"/>
                  <a:pt x="752529" y="666749"/>
                </a:cubicBezTo>
                <a:cubicBezTo>
                  <a:pt x="752529" y="482631"/>
                  <a:pt x="901786" y="333374"/>
                  <a:pt x="1085904" y="333374"/>
                </a:cubicBezTo>
                <a:close/>
                <a:moveTo>
                  <a:pt x="2809929" y="0"/>
                </a:moveTo>
                <a:cubicBezTo>
                  <a:pt x="2994047" y="0"/>
                  <a:pt x="3143304" y="149257"/>
                  <a:pt x="3143304" y="333375"/>
                </a:cubicBezTo>
                <a:lnTo>
                  <a:pt x="3143304" y="2546985"/>
                </a:lnTo>
                <a:cubicBezTo>
                  <a:pt x="3143304" y="2731103"/>
                  <a:pt x="2994047" y="2880360"/>
                  <a:pt x="2809929" y="2880360"/>
                </a:cubicBezTo>
                <a:cubicBezTo>
                  <a:pt x="2625811" y="2880360"/>
                  <a:pt x="2476554" y="2731103"/>
                  <a:pt x="2476554" y="2546985"/>
                </a:cubicBezTo>
                <a:lnTo>
                  <a:pt x="2476554" y="333375"/>
                </a:lnTo>
                <a:cubicBezTo>
                  <a:pt x="2476554" y="149257"/>
                  <a:pt x="2625811" y="0"/>
                  <a:pt x="2809929" y="0"/>
                </a:cubicBezTo>
                <a:close/>
              </a:path>
            </a:pathLst>
          </a:custGeom>
          <a:solidFill>
            <a:srgbClr val="5E83BD"/>
          </a:solidFill>
          <a:ln>
            <a:noFill/>
          </a:ln>
          <a:ex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sp>
        <p:nvSpPr>
          <p:cNvPr id="130" name="Freeform 74"/>
          <p:cNvSpPr>
            <a:spLocks noChangeAspect="1" noEditPoints="1"/>
          </p:cNvSpPr>
          <p:nvPr/>
        </p:nvSpPr>
        <p:spPr bwMode="black">
          <a:xfrm>
            <a:off x="556993" y="3192348"/>
            <a:ext cx="488473" cy="417835"/>
          </a:xfrm>
          <a:custGeom>
            <a:avLst/>
            <a:gdLst>
              <a:gd name="T0" fmla="*/ 2004 w 2444"/>
              <a:gd name="T1" fmla="*/ 326 h 2090"/>
              <a:gd name="T2" fmla="*/ 1774 w 2444"/>
              <a:gd name="T3" fmla="*/ 391 h 2090"/>
              <a:gd name="T4" fmla="*/ 1156 w 2444"/>
              <a:gd name="T5" fmla="*/ 0 h 2090"/>
              <a:gd name="T6" fmla="*/ 489 w 2444"/>
              <a:gd name="T7" fmla="*/ 535 h 2090"/>
              <a:gd name="T8" fmla="*/ 350 w 2444"/>
              <a:gd name="T9" fmla="*/ 506 h 2090"/>
              <a:gd name="T10" fmla="*/ 0 w 2444"/>
              <a:gd name="T11" fmla="*/ 856 h 2090"/>
              <a:gd name="T12" fmla="*/ 350 w 2444"/>
              <a:gd name="T13" fmla="*/ 1206 h 2090"/>
              <a:gd name="T14" fmla="*/ 2004 w 2444"/>
              <a:gd name="T15" fmla="*/ 1206 h 2090"/>
              <a:gd name="T16" fmla="*/ 2444 w 2444"/>
              <a:gd name="T17" fmla="*/ 766 h 2090"/>
              <a:gd name="T18" fmla="*/ 2004 w 2444"/>
              <a:gd name="T19" fmla="*/ 326 h 2090"/>
              <a:gd name="T20" fmla="*/ 1590 w 2444"/>
              <a:gd name="T21" fmla="*/ 1326 h 2090"/>
              <a:gd name="T22" fmla="*/ 1465 w 2444"/>
              <a:gd name="T23" fmla="*/ 1326 h 2090"/>
              <a:gd name="T24" fmla="*/ 1465 w 2444"/>
              <a:gd name="T25" fmla="*/ 1743 h 2090"/>
              <a:gd name="T26" fmla="*/ 1222 w 2444"/>
              <a:gd name="T27" fmla="*/ 1934 h 2090"/>
              <a:gd name="T28" fmla="*/ 980 w 2444"/>
              <a:gd name="T29" fmla="*/ 1743 h 2090"/>
              <a:gd name="T30" fmla="*/ 980 w 2444"/>
              <a:gd name="T31" fmla="*/ 1326 h 2090"/>
              <a:gd name="T32" fmla="*/ 854 w 2444"/>
              <a:gd name="T33" fmla="*/ 1326 h 2090"/>
              <a:gd name="T34" fmla="*/ 854 w 2444"/>
              <a:gd name="T35" fmla="*/ 1656 h 2090"/>
              <a:gd name="T36" fmla="*/ 666 w 2444"/>
              <a:gd name="T37" fmla="*/ 1656 h 2090"/>
              <a:gd name="T38" fmla="*/ 1222 w 2444"/>
              <a:gd name="T39" fmla="*/ 2090 h 2090"/>
              <a:gd name="T40" fmla="*/ 1779 w 2444"/>
              <a:gd name="T41" fmla="*/ 1656 h 2090"/>
              <a:gd name="T42" fmla="*/ 1590 w 2444"/>
              <a:gd name="T43" fmla="*/ 1656 h 2090"/>
              <a:gd name="T44" fmla="*/ 1590 w 2444"/>
              <a:gd name="T45" fmla="*/ 1326 h 2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44" h="2090">
                <a:moveTo>
                  <a:pt x="2004" y="326"/>
                </a:moveTo>
                <a:cubicBezTo>
                  <a:pt x="1920" y="326"/>
                  <a:pt x="1841" y="350"/>
                  <a:pt x="1774" y="391"/>
                </a:cubicBezTo>
                <a:cubicBezTo>
                  <a:pt x="1665" y="160"/>
                  <a:pt x="1429" y="0"/>
                  <a:pt x="1156" y="0"/>
                </a:cubicBezTo>
                <a:cubicBezTo>
                  <a:pt x="830" y="0"/>
                  <a:pt x="557" y="229"/>
                  <a:pt x="489" y="535"/>
                </a:cubicBezTo>
                <a:cubicBezTo>
                  <a:pt x="446" y="516"/>
                  <a:pt x="399" y="506"/>
                  <a:pt x="350" y="506"/>
                </a:cubicBezTo>
                <a:cubicBezTo>
                  <a:pt x="157" y="506"/>
                  <a:pt x="0" y="663"/>
                  <a:pt x="0" y="856"/>
                </a:cubicBezTo>
                <a:cubicBezTo>
                  <a:pt x="0" y="1049"/>
                  <a:pt x="157" y="1206"/>
                  <a:pt x="350" y="1206"/>
                </a:cubicBezTo>
                <a:cubicBezTo>
                  <a:pt x="2004" y="1206"/>
                  <a:pt x="2004" y="1206"/>
                  <a:pt x="2004" y="1206"/>
                </a:cubicBezTo>
                <a:cubicBezTo>
                  <a:pt x="2247" y="1206"/>
                  <a:pt x="2444" y="1009"/>
                  <a:pt x="2444" y="766"/>
                </a:cubicBezTo>
                <a:cubicBezTo>
                  <a:pt x="2444" y="523"/>
                  <a:pt x="2247" y="326"/>
                  <a:pt x="2004" y="326"/>
                </a:cubicBezTo>
                <a:close/>
                <a:moveTo>
                  <a:pt x="1590" y="1326"/>
                </a:moveTo>
                <a:cubicBezTo>
                  <a:pt x="1465" y="1326"/>
                  <a:pt x="1465" y="1326"/>
                  <a:pt x="1465" y="1326"/>
                </a:cubicBezTo>
                <a:cubicBezTo>
                  <a:pt x="1465" y="1743"/>
                  <a:pt x="1465" y="1743"/>
                  <a:pt x="1465" y="1743"/>
                </a:cubicBezTo>
                <a:cubicBezTo>
                  <a:pt x="1222" y="1934"/>
                  <a:pt x="1222" y="1934"/>
                  <a:pt x="1222" y="1934"/>
                </a:cubicBezTo>
                <a:cubicBezTo>
                  <a:pt x="980" y="1743"/>
                  <a:pt x="980" y="1743"/>
                  <a:pt x="980" y="1743"/>
                </a:cubicBezTo>
                <a:cubicBezTo>
                  <a:pt x="980" y="1326"/>
                  <a:pt x="980" y="1326"/>
                  <a:pt x="980" y="1326"/>
                </a:cubicBezTo>
                <a:cubicBezTo>
                  <a:pt x="854" y="1326"/>
                  <a:pt x="854" y="1326"/>
                  <a:pt x="854" y="1326"/>
                </a:cubicBezTo>
                <a:cubicBezTo>
                  <a:pt x="854" y="1656"/>
                  <a:pt x="854" y="1656"/>
                  <a:pt x="854" y="1656"/>
                </a:cubicBezTo>
                <a:cubicBezTo>
                  <a:pt x="666" y="1656"/>
                  <a:pt x="666" y="1656"/>
                  <a:pt x="666" y="1656"/>
                </a:cubicBezTo>
                <a:cubicBezTo>
                  <a:pt x="1222" y="2090"/>
                  <a:pt x="1222" y="2090"/>
                  <a:pt x="1222" y="2090"/>
                </a:cubicBezTo>
                <a:cubicBezTo>
                  <a:pt x="1779" y="1656"/>
                  <a:pt x="1779" y="1656"/>
                  <a:pt x="1779" y="1656"/>
                </a:cubicBezTo>
                <a:cubicBezTo>
                  <a:pt x="1590" y="1656"/>
                  <a:pt x="1590" y="1656"/>
                  <a:pt x="1590" y="1656"/>
                </a:cubicBezTo>
                <a:lnTo>
                  <a:pt x="1590" y="1326"/>
                </a:lnTo>
                <a:close/>
              </a:path>
            </a:pathLst>
          </a:custGeom>
          <a:solidFill>
            <a:srgbClr val="5E83BD"/>
          </a:solidFill>
          <a:ln>
            <a:noFill/>
          </a:ln>
        </p:spPr>
        <p:txBody>
          <a:bodyPr vert="horz" wrap="square" lIns="82305" tIns="41153" rIns="82305" bIns="41153" numCol="1" anchor="t" anchorCtr="0" compatLnSpc="1">
            <a:prstTxWarp prst="textNoShape">
              <a:avLst/>
            </a:prstTxWarp>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31" name="Rounded Rectangle 41"/>
          <p:cNvSpPr>
            <a:spLocks noChangeAspect="1"/>
          </p:cNvSpPr>
          <p:nvPr/>
        </p:nvSpPr>
        <p:spPr>
          <a:xfrm flipH="1">
            <a:off x="1902332" y="3738648"/>
            <a:ext cx="367807" cy="423208"/>
          </a:xfrm>
          <a:custGeom>
            <a:avLst/>
            <a:gdLst/>
            <a:ahLst/>
            <a:cxnLst/>
            <a:rect l="l" t="t" r="r" b="b"/>
            <a:pathLst>
              <a:path w="3395325" h="3906767">
                <a:moveTo>
                  <a:pt x="2109438" y="2964088"/>
                </a:moveTo>
                <a:lnTo>
                  <a:pt x="2204408" y="3359330"/>
                </a:lnTo>
                <a:lnTo>
                  <a:pt x="1190916" y="3359330"/>
                </a:lnTo>
                <a:lnTo>
                  <a:pt x="1285886" y="2964088"/>
                </a:lnTo>
                <a:close/>
                <a:moveTo>
                  <a:pt x="1969776" y="2382850"/>
                </a:moveTo>
                <a:lnTo>
                  <a:pt x="2064746" y="2778092"/>
                </a:lnTo>
                <a:lnTo>
                  <a:pt x="1330578" y="2778092"/>
                </a:lnTo>
                <a:lnTo>
                  <a:pt x="1425547" y="2382850"/>
                </a:lnTo>
                <a:close/>
                <a:moveTo>
                  <a:pt x="1790665" y="1637428"/>
                </a:moveTo>
                <a:lnTo>
                  <a:pt x="1925085" y="2196853"/>
                </a:lnTo>
                <a:lnTo>
                  <a:pt x="1470239" y="2196853"/>
                </a:lnTo>
                <a:lnTo>
                  <a:pt x="1604659" y="1637428"/>
                </a:lnTo>
                <a:cubicBezTo>
                  <a:pt x="1634698" y="1643588"/>
                  <a:pt x="1665803" y="1646819"/>
                  <a:pt x="1697663" y="1646819"/>
                </a:cubicBezTo>
                <a:cubicBezTo>
                  <a:pt x="1729522" y="1646819"/>
                  <a:pt x="1760626" y="1643588"/>
                  <a:pt x="1790665" y="1637428"/>
                </a:cubicBezTo>
                <a:close/>
                <a:moveTo>
                  <a:pt x="1697663" y="724602"/>
                </a:moveTo>
                <a:cubicBezTo>
                  <a:pt x="1443000" y="724602"/>
                  <a:pt x="1236555" y="931048"/>
                  <a:pt x="1236555" y="1185710"/>
                </a:cubicBezTo>
                <a:cubicBezTo>
                  <a:pt x="1236555" y="1340123"/>
                  <a:pt x="1312453" y="1476808"/>
                  <a:pt x="1429610" y="1559618"/>
                </a:cubicBezTo>
                <a:lnTo>
                  <a:pt x="865631" y="3906767"/>
                </a:lnTo>
                <a:lnTo>
                  <a:pt x="1059377" y="3906767"/>
                </a:lnTo>
                <a:lnTo>
                  <a:pt x="1146225" y="3545326"/>
                </a:lnTo>
                <a:lnTo>
                  <a:pt x="2249099" y="3545326"/>
                </a:lnTo>
                <a:lnTo>
                  <a:pt x="2335948" y="3906767"/>
                </a:lnTo>
                <a:lnTo>
                  <a:pt x="2529694" y="3906767"/>
                </a:lnTo>
                <a:lnTo>
                  <a:pt x="1965714" y="1559618"/>
                </a:lnTo>
                <a:cubicBezTo>
                  <a:pt x="2082871" y="1476809"/>
                  <a:pt x="2158771" y="1340123"/>
                  <a:pt x="2158771" y="1185710"/>
                </a:cubicBezTo>
                <a:cubicBezTo>
                  <a:pt x="2158771" y="931048"/>
                  <a:pt x="1952325" y="724602"/>
                  <a:pt x="1697663" y="724602"/>
                </a:cubicBezTo>
                <a:close/>
                <a:moveTo>
                  <a:pt x="1063715" y="545025"/>
                </a:moveTo>
                <a:cubicBezTo>
                  <a:pt x="1049345" y="544674"/>
                  <a:pt x="1034632" y="549414"/>
                  <a:pt x="1022713" y="560818"/>
                </a:cubicBezTo>
                <a:cubicBezTo>
                  <a:pt x="770813" y="802271"/>
                  <a:pt x="765578" y="1027305"/>
                  <a:pt x="747215" y="1173536"/>
                </a:cubicBezTo>
                <a:cubicBezTo>
                  <a:pt x="739801" y="1505952"/>
                  <a:pt x="857050" y="1694426"/>
                  <a:pt x="1000492" y="1840570"/>
                </a:cubicBezTo>
                <a:cubicBezTo>
                  <a:pt x="1054453" y="1891173"/>
                  <a:pt x="1140637" y="1815511"/>
                  <a:pt x="1085185" y="1760438"/>
                </a:cubicBezTo>
                <a:cubicBezTo>
                  <a:pt x="956796" y="1635789"/>
                  <a:pt x="856528" y="1399455"/>
                  <a:pt x="869039" y="1153582"/>
                </a:cubicBezTo>
                <a:cubicBezTo>
                  <a:pt x="890975" y="989410"/>
                  <a:pt x="930075" y="808796"/>
                  <a:pt x="1099057" y="643121"/>
                </a:cubicBezTo>
                <a:cubicBezTo>
                  <a:pt x="1130910" y="609668"/>
                  <a:pt x="1123743" y="577687"/>
                  <a:pt x="1102654" y="559774"/>
                </a:cubicBezTo>
                <a:cubicBezTo>
                  <a:pt x="1092110" y="550817"/>
                  <a:pt x="1078085" y="545376"/>
                  <a:pt x="1063715" y="545025"/>
                </a:cubicBezTo>
                <a:close/>
                <a:moveTo>
                  <a:pt x="2331610" y="545025"/>
                </a:moveTo>
                <a:cubicBezTo>
                  <a:pt x="2317240" y="545376"/>
                  <a:pt x="2303215" y="550817"/>
                  <a:pt x="2292671" y="559774"/>
                </a:cubicBezTo>
                <a:cubicBezTo>
                  <a:pt x="2271582" y="577687"/>
                  <a:pt x="2264415" y="609668"/>
                  <a:pt x="2296268" y="643121"/>
                </a:cubicBezTo>
                <a:cubicBezTo>
                  <a:pt x="2465250" y="808796"/>
                  <a:pt x="2504350" y="989410"/>
                  <a:pt x="2526286" y="1153582"/>
                </a:cubicBezTo>
                <a:cubicBezTo>
                  <a:pt x="2538797" y="1399455"/>
                  <a:pt x="2438529" y="1635789"/>
                  <a:pt x="2310140" y="1760438"/>
                </a:cubicBezTo>
                <a:cubicBezTo>
                  <a:pt x="2254687" y="1815511"/>
                  <a:pt x="2340872" y="1891173"/>
                  <a:pt x="2394833" y="1840570"/>
                </a:cubicBezTo>
                <a:cubicBezTo>
                  <a:pt x="2538274" y="1694426"/>
                  <a:pt x="2655523" y="1505952"/>
                  <a:pt x="2648110" y="1173536"/>
                </a:cubicBezTo>
                <a:cubicBezTo>
                  <a:pt x="2629747" y="1027305"/>
                  <a:pt x="2624512" y="802271"/>
                  <a:pt x="2372611" y="560818"/>
                </a:cubicBezTo>
                <a:cubicBezTo>
                  <a:pt x="2360693" y="549414"/>
                  <a:pt x="2345980" y="544674"/>
                  <a:pt x="2331610" y="545025"/>
                </a:cubicBezTo>
                <a:close/>
                <a:moveTo>
                  <a:pt x="828913" y="291673"/>
                </a:moveTo>
                <a:cubicBezTo>
                  <a:pt x="815989" y="289908"/>
                  <a:pt x="801211" y="293968"/>
                  <a:pt x="785915" y="306733"/>
                </a:cubicBezTo>
                <a:cubicBezTo>
                  <a:pt x="443781" y="634473"/>
                  <a:pt x="419033" y="940064"/>
                  <a:pt x="397689" y="1142305"/>
                </a:cubicBezTo>
                <a:cubicBezTo>
                  <a:pt x="382149" y="1609828"/>
                  <a:pt x="581083" y="1906565"/>
                  <a:pt x="761769" y="2090535"/>
                </a:cubicBezTo>
                <a:cubicBezTo>
                  <a:pt x="799346" y="2129829"/>
                  <a:pt x="887601" y="2062907"/>
                  <a:pt x="838637" y="2007924"/>
                </a:cubicBezTo>
                <a:cubicBezTo>
                  <a:pt x="657328" y="1831500"/>
                  <a:pt x="482441" y="1474423"/>
                  <a:pt x="512957" y="1129050"/>
                </a:cubicBezTo>
                <a:cubicBezTo>
                  <a:pt x="529646" y="907207"/>
                  <a:pt x="618660" y="615352"/>
                  <a:pt x="859009" y="387076"/>
                </a:cubicBezTo>
                <a:cubicBezTo>
                  <a:pt x="879513" y="365491"/>
                  <a:pt x="876535" y="332638"/>
                  <a:pt x="860783" y="311566"/>
                </a:cubicBezTo>
                <a:cubicBezTo>
                  <a:pt x="852906" y="301030"/>
                  <a:pt x="841837" y="293438"/>
                  <a:pt x="828913" y="291673"/>
                </a:cubicBezTo>
                <a:close/>
                <a:moveTo>
                  <a:pt x="2566412" y="291673"/>
                </a:moveTo>
                <a:cubicBezTo>
                  <a:pt x="2553488" y="293438"/>
                  <a:pt x="2542419" y="301030"/>
                  <a:pt x="2534542" y="311566"/>
                </a:cubicBezTo>
                <a:cubicBezTo>
                  <a:pt x="2518790" y="332638"/>
                  <a:pt x="2515812" y="365491"/>
                  <a:pt x="2536315" y="387076"/>
                </a:cubicBezTo>
                <a:cubicBezTo>
                  <a:pt x="2776665" y="615352"/>
                  <a:pt x="2865679" y="907207"/>
                  <a:pt x="2882368" y="1129050"/>
                </a:cubicBezTo>
                <a:cubicBezTo>
                  <a:pt x="2912884" y="1474423"/>
                  <a:pt x="2737997" y="1831500"/>
                  <a:pt x="2556688" y="2007924"/>
                </a:cubicBezTo>
                <a:cubicBezTo>
                  <a:pt x="2507724" y="2062907"/>
                  <a:pt x="2595979" y="2129829"/>
                  <a:pt x="2633555" y="2090535"/>
                </a:cubicBezTo>
                <a:cubicBezTo>
                  <a:pt x="2814241" y="1906565"/>
                  <a:pt x="3013176" y="1609828"/>
                  <a:pt x="2997636" y="1142305"/>
                </a:cubicBezTo>
                <a:cubicBezTo>
                  <a:pt x="2976292" y="940064"/>
                  <a:pt x="2951543" y="634473"/>
                  <a:pt x="2609410" y="306733"/>
                </a:cubicBezTo>
                <a:cubicBezTo>
                  <a:pt x="2594114" y="293968"/>
                  <a:pt x="2579336" y="289908"/>
                  <a:pt x="2566412" y="291673"/>
                </a:cubicBezTo>
                <a:close/>
                <a:moveTo>
                  <a:pt x="542960" y="680"/>
                </a:moveTo>
                <a:cubicBezTo>
                  <a:pt x="529483" y="-1611"/>
                  <a:pt x="515449" y="1702"/>
                  <a:pt x="503281" y="13328"/>
                </a:cubicBezTo>
                <a:cubicBezTo>
                  <a:pt x="87284" y="418153"/>
                  <a:pt x="24099" y="852514"/>
                  <a:pt x="1875" y="1112311"/>
                </a:cubicBezTo>
                <a:cubicBezTo>
                  <a:pt x="-24220" y="1721200"/>
                  <a:pt x="226644" y="2117183"/>
                  <a:pt x="463779" y="2358633"/>
                </a:cubicBezTo>
                <a:cubicBezTo>
                  <a:pt x="513095" y="2410202"/>
                  <a:pt x="607607" y="2339703"/>
                  <a:pt x="553496" y="2284989"/>
                </a:cubicBezTo>
                <a:cubicBezTo>
                  <a:pt x="315566" y="2053422"/>
                  <a:pt x="84225" y="1555798"/>
                  <a:pt x="123361" y="1103410"/>
                </a:cubicBezTo>
                <a:cubicBezTo>
                  <a:pt x="144685" y="812821"/>
                  <a:pt x="269608" y="397988"/>
                  <a:pt x="583897" y="99512"/>
                </a:cubicBezTo>
                <a:cubicBezTo>
                  <a:pt x="607187" y="76413"/>
                  <a:pt x="599201" y="43242"/>
                  <a:pt x="579308" y="21659"/>
                </a:cubicBezTo>
                <a:cubicBezTo>
                  <a:pt x="569362" y="10866"/>
                  <a:pt x="556439" y="2972"/>
                  <a:pt x="542960" y="680"/>
                </a:cubicBezTo>
                <a:close/>
                <a:moveTo>
                  <a:pt x="2852365" y="680"/>
                </a:moveTo>
                <a:cubicBezTo>
                  <a:pt x="2838886" y="2972"/>
                  <a:pt x="2825963" y="10866"/>
                  <a:pt x="2816017" y="21659"/>
                </a:cubicBezTo>
                <a:cubicBezTo>
                  <a:pt x="2796124" y="43242"/>
                  <a:pt x="2788138" y="76413"/>
                  <a:pt x="2811427" y="99512"/>
                </a:cubicBezTo>
                <a:cubicBezTo>
                  <a:pt x="3125717" y="397988"/>
                  <a:pt x="3250640" y="812821"/>
                  <a:pt x="3271964" y="1103410"/>
                </a:cubicBezTo>
                <a:cubicBezTo>
                  <a:pt x="3311100" y="1555798"/>
                  <a:pt x="3079759" y="2053422"/>
                  <a:pt x="2841829" y="2284989"/>
                </a:cubicBezTo>
                <a:cubicBezTo>
                  <a:pt x="2787718" y="2339703"/>
                  <a:pt x="2882230" y="2410202"/>
                  <a:pt x="2931546" y="2358633"/>
                </a:cubicBezTo>
                <a:cubicBezTo>
                  <a:pt x="3168681" y="2117183"/>
                  <a:pt x="3419545" y="1721200"/>
                  <a:pt x="3393450" y="1112311"/>
                </a:cubicBezTo>
                <a:cubicBezTo>
                  <a:pt x="3371226" y="852514"/>
                  <a:pt x="3308041" y="418153"/>
                  <a:pt x="2892044" y="13328"/>
                </a:cubicBezTo>
                <a:cubicBezTo>
                  <a:pt x="2879876" y="1702"/>
                  <a:pt x="2865842" y="-1611"/>
                  <a:pt x="2852365" y="680"/>
                </a:cubicBezTo>
                <a:close/>
              </a:path>
            </a:pathLst>
          </a:custGeom>
          <a:solidFill>
            <a:srgbClr val="5E83BD"/>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rIns="68580" rtlCol="0" anchor="b"/>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prstClr val="white"/>
              </a:solidFill>
              <a:effectLst/>
              <a:uLnTx/>
              <a:uFillTx/>
              <a:latin typeface="Segoe UI"/>
              <a:ea typeface="+mn-ea"/>
              <a:cs typeface="+mn-cs"/>
            </a:endParaRPr>
          </a:p>
        </p:txBody>
      </p:sp>
      <p:pic>
        <p:nvPicPr>
          <p:cNvPr id="164" name="Picture 4" descr="\\MAGNUM\Projects\Microsoft\Cloud Power FY12\Design\ICONS_PNG\Agility.png"/>
          <p:cNvPicPr>
            <a:picLocks noChangeAspect="1" noChangeArrowheads="1"/>
          </p:cNvPicPr>
          <p:nvPr/>
        </p:nvPicPr>
        <p:blipFill rotWithShape="1">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20000"/>
                    </a14:imgEffect>
                  </a14:imgLayer>
                </a14:imgProps>
              </a:ext>
              <a:ext uri="{28A0092B-C50C-407E-A947-70E740481C1C}">
                <a14:useLocalDpi xmlns:a14="http://schemas.microsoft.com/office/drawing/2010/main"/>
              </a:ext>
            </a:extLst>
          </a:blip>
          <a:srcRect/>
          <a:stretch/>
        </p:blipFill>
        <p:spPr bwMode="auto">
          <a:xfrm>
            <a:off x="1291121" y="3874053"/>
            <a:ext cx="373788" cy="247358"/>
          </a:xfrm>
          <a:prstGeom prst="rect">
            <a:avLst/>
          </a:prstGeom>
          <a:noFill/>
        </p:spPr>
      </p:pic>
      <p:pic>
        <p:nvPicPr>
          <p:cNvPr id="179" name="Picture 6" descr="\\MAGNUM\Projects\Microsoft\Cloud Power FY12\Design\ICONS_PNG\Speed.png"/>
          <p:cNvPicPr>
            <a:picLocks noChangeAspect="1" noChangeArrowheads="1"/>
          </p:cNvPicPr>
          <p:nvPr/>
        </p:nvPicPr>
        <p:blipFill>
          <a:blip r:embed="rId5" cstate="print">
            <a:duotone>
              <a:prstClr val="black"/>
              <a:schemeClr val="tx2">
                <a:tint val="45000"/>
                <a:satMod val="400000"/>
              </a:schemeClr>
            </a:duotone>
            <a:extLst>
              <a:ext uri="{BEBA8EAE-BF5A-486C-A8C5-ECC9F3942E4B}">
                <a14:imgProps xmlns:a14="http://schemas.microsoft.com/office/drawing/2010/main">
                  <a14:imgLayer r:embed="rId6">
                    <a14:imgEffect>
                      <a14:brightnessContrast bright="20000" contrast="20000"/>
                    </a14:imgEffect>
                  </a14:imgLayer>
                </a14:imgProps>
              </a:ext>
              <a:ext uri="{28A0092B-C50C-407E-A947-70E740481C1C}">
                <a14:useLocalDpi xmlns:a14="http://schemas.microsoft.com/office/drawing/2010/main"/>
              </a:ext>
            </a:extLst>
          </a:blip>
          <a:srcRect/>
          <a:stretch>
            <a:fillRect/>
          </a:stretch>
        </p:blipFill>
        <p:spPr bwMode="auto">
          <a:xfrm>
            <a:off x="1525844" y="1973924"/>
            <a:ext cx="468499" cy="468498"/>
          </a:xfrm>
          <a:prstGeom prst="rect">
            <a:avLst/>
          </a:prstGeom>
          <a:noFill/>
          <a:ln w="25400" cap="flat" cmpd="sng" algn="ctr">
            <a:noFill/>
            <a:prstDash val="solid"/>
          </a:ln>
          <a:effectLst/>
        </p:spPr>
      </p:pic>
      <p:grpSp>
        <p:nvGrpSpPr>
          <p:cNvPr id="182" name="Group 4"/>
          <p:cNvGrpSpPr>
            <a:grpSpLocks noChangeAspect="1"/>
          </p:cNvGrpSpPr>
          <p:nvPr/>
        </p:nvGrpSpPr>
        <p:grpSpPr bwMode="auto">
          <a:xfrm>
            <a:off x="1573364" y="2484378"/>
            <a:ext cx="449872" cy="1204396"/>
            <a:chOff x="1168" y="1722"/>
            <a:chExt cx="285" cy="763"/>
          </a:xfrm>
        </p:grpSpPr>
        <p:sp>
          <p:nvSpPr>
            <p:cNvPr id="199" name="Freeform 5"/>
            <p:cNvSpPr>
              <a:spLocks/>
            </p:cNvSpPr>
            <p:nvPr/>
          </p:nvSpPr>
          <p:spPr bwMode="auto">
            <a:xfrm>
              <a:off x="1168" y="1722"/>
              <a:ext cx="285" cy="763"/>
            </a:xfrm>
            <a:custGeom>
              <a:avLst/>
              <a:gdLst>
                <a:gd name="T0" fmla="*/ 2322 w 2327"/>
                <a:gd name="T1" fmla="*/ 480 h 6238"/>
                <a:gd name="T2" fmla="*/ 1859 w 2327"/>
                <a:gd name="T3" fmla="*/ 0 h 6238"/>
                <a:gd name="T4" fmla="*/ 468 w 2327"/>
                <a:gd name="T5" fmla="*/ 0 h 6238"/>
                <a:gd name="T6" fmla="*/ 5 w 2327"/>
                <a:gd name="T7" fmla="*/ 480 h 6238"/>
                <a:gd name="T8" fmla="*/ 5 w 2327"/>
                <a:gd name="T9" fmla="*/ 5758 h 6238"/>
                <a:gd name="T10" fmla="*/ 468 w 2327"/>
                <a:gd name="T11" fmla="*/ 6238 h 6238"/>
                <a:gd name="T12" fmla="*/ 1859 w 2327"/>
                <a:gd name="T13" fmla="*/ 6238 h 6238"/>
                <a:gd name="T14" fmla="*/ 2322 w 2327"/>
                <a:gd name="T15" fmla="*/ 5758 h 6238"/>
                <a:gd name="T16" fmla="*/ 2322 w 2327"/>
                <a:gd name="T17" fmla="*/ 480 h 6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27" h="6238">
                  <a:moveTo>
                    <a:pt x="2322" y="480"/>
                  </a:moveTo>
                  <a:cubicBezTo>
                    <a:pt x="2327" y="220"/>
                    <a:pt x="2119" y="5"/>
                    <a:pt x="1859" y="0"/>
                  </a:cubicBezTo>
                  <a:lnTo>
                    <a:pt x="468" y="0"/>
                  </a:lnTo>
                  <a:cubicBezTo>
                    <a:pt x="208" y="5"/>
                    <a:pt x="0" y="220"/>
                    <a:pt x="5" y="480"/>
                  </a:cubicBezTo>
                  <a:lnTo>
                    <a:pt x="5" y="5758"/>
                  </a:lnTo>
                  <a:cubicBezTo>
                    <a:pt x="0" y="6018"/>
                    <a:pt x="208" y="6233"/>
                    <a:pt x="468" y="6238"/>
                  </a:cubicBezTo>
                  <a:lnTo>
                    <a:pt x="1859" y="6238"/>
                  </a:lnTo>
                  <a:cubicBezTo>
                    <a:pt x="2119" y="6233"/>
                    <a:pt x="2327" y="6018"/>
                    <a:pt x="2322" y="5758"/>
                  </a:cubicBezTo>
                  <a:lnTo>
                    <a:pt x="2322" y="480"/>
                  </a:lnTo>
                  <a:close/>
                </a:path>
              </a:pathLst>
            </a:custGeom>
            <a:solidFill>
              <a:srgbClr val="FFFFFF"/>
            </a:solidFill>
            <a:ln w="0">
              <a:solidFill>
                <a:srgbClr val="5E83B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IN" sz="2200" b="0" i="0" u="none" strike="noStrike" kern="1200" cap="none" spc="0" normalizeH="0" baseline="0" noProof="0">
                <a:ln>
                  <a:noFill/>
                </a:ln>
                <a:solidFill>
                  <a:srgbClr val="505050"/>
                </a:solidFill>
                <a:effectLst/>
                <a:uLnTx/>
                <a:uFillTx/>
                <a:latin typeface="Segoe UI"/>
                <a:ea typeface="+mn-ea"/>
                <a:cs typeface="+mn-cs"/>
              </a:endParaRPr>
            </a:p>
          </p:txBody>
        </p:sp>
        <p:sp>
          <p:nvSpPr>
            <p:cNvPr id="200" name="Freeform 6"/>
            <p:cNvSpPr>
              <a:spLocks noEditPoints="1"/>
            </p:cNvSpPr>
            <p:nvPr/>
          </p:nvSpPr>
          <p:spPr bwMode="auto">
            <a:xfrm>
              <a:off x="1168" y="1722"/>
              <a:ext cx="285" cy="763"/>
            </a:xfrm>
            <a:custGeom>
              <a:avLst/>
              <a:gdLst>
                <a:gd name="T0" fmla="*/ 401 w 2327"/>
                <a:gd name="T1" fmla="*/ 4306 h 6238"/>
                <a:gd name="T2" fmla="*/ 406 w 2327"/>
                <a:gd name="T3" fmla="*/ 2754 h 6238"/>
                <a:gd name="T4" fmla="*/ 1924 w 2327"/>
                <a:gd name="T5" fmla="*/ 4309 h 6238"/>
                <a:gd name="T6" fmla="*/ 1921 w 2327"/>
                <a:gd name="T7" fmla="*/ 2782 h 6238"/>
                <a:gd name="T8" fmla="*/ 1924 w 2327"/>
                <a:gd name="T9" fmla="*/ 4304 h 6238"/>
                <a:gd name="T10" fmla="*/ 2177 w 2327"/>
                <a:gd name="T11" fmla="*/ 4504 h 6238"/>
                <a:gd name="T12" fmla="*/ 2322 w 2327"/>
                <a:gd name="T13" fmla="*/ 4461 h 6238"/>
                <a:gd name="T14" fmla="*/ 1924 w 2327"/>
                <a:gd name="T15" fmla="*/ 3447 h 6238"/>
                <a:gd name="T16" fmla="*/ 2177 w 2327"/>
                <a:gd name="T17" fmla="*/ 3344 h 6238"/>
                <a:gd name="T18" fmla="*/ 2322 w 2327"/>
                <a:gd name="T19" fmla="*/ 3344 h 6238"/>
                <a:gd name="T20" fmla="*/ 401 w 2327"/>
                <a:gd name="T21" fmla="*/ 4304 h 6238"/>
                <a:gd name="T22" fmla="*/ 149 w 2327"/>
                <a:gd name="T23" fmla="*/ 4504 h 6238"/>
                <a:gd name="T24" fmla="*/ 5 w 2327"/>
                <a:gd name="T25" fmla="*/ 4461 h 6238"/>
                <a:gd name="T26" fmla="*/ 401 w 2327"/>
                <a:gd name="T27" fmla="*/ 3447 h 6238"/>
                <a:gd name="T28" fmla="*/ 149 w 2327"/>
                <a:gd name="T29" fmla="*/ 3344 h 6238"/>
                <a:gd name="T30" fmla="*/ 5 w 2327"/>
                <a:gd name="T31" fmla="*/ 3344 h 6238"/>
                <a:gd name="T32" fmla="*/ 401 w 2327"/>
                <a:gd name="T33" fmla="*/ 2752 h 6238"/>
                <a:gd name="T34" fmla="*/ 149 w 2327"/>
                <a:gd name="T35" fmla="*/ 2053 h 6238"/>
                <a:gd name="T36" fmla="*/ 5 w 2327"/>
                <a:gd name="T37" fmla="*/ 1967 h 6238"/>
                <a:gd name="T38" fmla="*/ 1924 w 2327"/>
                <a:gd name="T39" fmla="*/ 2763 h 6238"/>
                <a:gd name="T40" fmla="*/ 2177 w 2327"/>
                <a:gd name="T41" fmla="*/ 2053 h 6238"/>
                <a:gd name="T42" fmla="*/ 2322 w 2327"/>
                <a:gd name="T43" fmla="*/ 2079 h 6238"/>
                <a:gd name="T44" fmla="*/ 2322 w 2327"/>
                <a:gd name="T45" fmla="*/ 1967 h 6238"/>
                <a:gd name="T46" fmla="*/ 2177 w 2327"/>
                <a:gd name="T47" fmla="*/ 1603 h 6238"/>
                <a:gd name="T48" fmla="*/ 1859 w 2327"/>
                <a:gd name="T49" fmla="*/ 0 h 6238"/>
                <a:gd name="T50" fmla="*/ 149 w 2327"/>
                <a:gd name="T51" fmla="*/ 1603 h 6238"/>
                <a:gd name="T52" fmla="*/ 468 w 2327"/>
                <a:gd name="T53" fmla="*/ 0 h 6238"/>
                <a:gd name="T54" fmla="*/ 236 w 2327"/>
                <a:gd name="T55" fmla="*/ 6133 h 6238"/>
                <a:gd name="T56" fmla="*/ 230 w 2327"/>
                <a:gd name="T57" fmla="*/ 5171 h 6238"/>
                <a:gd name="T58" fmla="*/ 2085 w 2327"/>
                <a:gd name="T59" fmla="*/ 5171 h 6238"/>
                <a:gd name="T60" fmla="*/ 2090 w 2327"/>
                <a:gd name="T61" fmla="*/ 6133 h 6238"/>
                <a:gd name="T62" fmla="*/ 2322 w 2327"/>
                <a:gd name="T63" fmla="*/ 480 h 6238"/>
                <a:gd name="T64" fmla="*/ 1859 w 2327"/>
                <a:gd name="T65" fmla="*/ 0 h 6238"/>
                <a:gd name="T66" fmla="*/ 468 w 2327"/>
                <a:gd name="T67" fmla="*/ 0 h 6238"/>
                <a:gd name="T68" fmla="*/ 5 w 2327"/>
                <a:gd name="T69" fmla="*/ 480 h 6238"/>
                <a:gd name="T70" fmla="*/ 5 w 2327"/>
                <a:gd name="T71" fmla="*/ 5758 h 6238"/>
                <a:gd name="T72" fmla="*/ 468 w 2327"/>
                <a:gd name="T73" fmla="*/ 6238 h 6238"/>
                <a:gd name="T74" fmla="*/ 1859 w 2327"/>
                <a:gd name="T75" fmla="*/ 6238 h 6238"/>
                <a:gd name="T76" fmla="*/ 2322 w 2327"/>
                <a:gd name="T77" fmla="*/ 5758 h 6238"/>
                <a:gd name="T78" fmla="*/ 2322 w 2327"/>
                <a:gd name="T79" fmla="*/ 480 h 6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27" h="6238">
                  <a:moveTo>
                    <a:pt x="401" y="4306"/>
                  </a:moveTo>
                  <a:lnTo>
                    <a:pt x="406" y="2754"/>
                  </a:lnTo>
                  <a:moveTo>
                    <a:pt x="1924" y="4309"/>
                  </a:moveTo>
                  <a:lnTo>
                    <a:pt x="1921" y="2782"/>
                  </a:lnTo>
                  <a:moveTo>
                    <a:pt x="1924" y="4304"/>
                  </a:moveTo>
                  <a:lnTo>
                    <a:pt x="2177" y="4504"/>
                  </a:lnTo>
                  <a:lnTo>
                    <a:pt x="2322" y="4461"/>
                  </a:lnTo>
                  <a:moveTo>
                    <a:pt x="1924" y="3447"/>
                  </a:moveTo>
                  <a:lnTo>
                    <a:pt x="2177" y="3344"/>
                  </a:lnTo>
                  <a:lnTo>
                    <a:pt x="2322" y="3344"/>
                  </a:lnTo>
                  <a:moveTo>
                    <a:pt x="401" y="4304"/>
                  </a:moveTo>
                  <a:lnTo>
                    <a:pt x="149" y="4504"/>
                  </a:lnTo>
                  <a:lnTo>
                    <a:pt x="5" y="4461"/>
                  </a:lnTo>
                  <a:moveTo>
                    <a:pt x="401" y="3447"/>
                  </a:moveTo>
                  <a:lnTo>
                    <a:pt x="149" y="3344"/>
                  </a:lnTo>
                  <a:lnTo>
                    <a:pt x="5" y="3344"/>
                  </a:lnTo>
                  <a:moveTo>
                    <a:pt x="401" y="2752"/>
                  </a:moveTo>
                  <a:lnTo>
                    <a:pt x="149" y="2053"/>
                  </a:lnTo>
                  <a:lnTo>
                    <a:pt x="5" y="1967"/>
                  </a:lnTo>
                  <a:moveTo>
                    <a:pt x="1924" y="2763"/>
                  </a:moveTo>
                  <a:lnTo>
                    <a:pt x="2177" y="2053"/>
                  </a:lnTo>
                  <a:lnTo>
                    <a:pt x="2322" y="2079"/>
                  </a:lnTo>
                  <a:lnTo>
                    <a:pt x="2322" y="1967"/>
                  </a:lnTo>
                  <a:moveTo>
                    <a:pt x="2177" y="1603"/>
                  </a:moveTo>
                  <a:lnTo>
                    <a:pt x="1859" y="0"/>
                  </a:lnTo>
                  <a:moveTo>
                    <a:pt x="149" y="1603"/>
                  </a:moveTo>
                  <a:lnTo>
                    <a:pt x="468" y="0"/>
                  </a:lnTo>
                  <a:moveTo>
                    <a:pt x="236" y="6133"/>
                  </a:moveTo>
                  <a:lnTo>
                    <a:pt x="230" y="5171"/>
                  </a:lnTo>
                  <a:lnTo>
                    <a:pt x="2085" y="5171"/>
                  </a:lnTo>
                  <a:lnTo>
                    <a:pt x="2090" y="6133"/>
                  </a:lnTo>
                  <a:moveTo>
                    <a:pt x="2322" y="480"/>
                  </a:moveTo>
                  <a:cubicBezTo>
                    <a:pt x="2327" y="220"/>
                    <a:pt x="2119" y="5"/>
                    <a:pt x="1859" y="0"/>
                  </a:cubicBezTo>
                  <a:lnTo>
                    <a:pt x="468" y="0"/>
                  </a:lnTo>
                  <a:cubicBezTo>
                    <a:pt x="208" y="5"/>
                    <a:pt x="0" y="220"/>
                    <a:pt x="5" y="480"/>
                  </a:cubicBezTo>
                  <a:lnTo>
                    <a:pt x="5" y="5758"/>
                  </a:lnTo>
                  <a:cubicBezTo>
                    <a:pt x="0" y="6018"/>
                    <a:pt x="208" y="6233"/>
                    <a:pt x="468" y="6238"/>
                  </a:cubicBezTo>
                  <a:lnTo>
                    <a:pt x="1859" y="6238"/>
                  </a:lnTo>
                  <a:cubicBezTo>
                    <a:pt x="2119" y="6233"/>
                    <a:pt x="2327" y="6018"/>
                    <a:pt x="2322" y="5758"/>
                  </a:cubicBezTo>
                  <a:lnTo>
                    <a:pt x="2322" y="480"/>
                  </a:lnTo>
                  <a:close/>
                </a:path>
              </a:pathLst>
            </a:custGeom>
            <a:noFill/>
            <a:ln w="3175" cap="rnd">
              <a:solidFill>
                <a:srgbClr val="5E83B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IN" sz="2200" b="0" i="0" u="none" strike="noStrike" kern="1200" cap="none" spc="0" normalizeH="0" baseline="0" noProof="0">
                <a:ln>
                  <a:noFill/>
                </a:ln>
                <a:solidFill>
                  <a:srgbClr val="505050"/>
                </a:solidFill>
                <a:effectLst/>
                <a:uLnTx/>
                <a:uFillTx/>
                <a:latin typeface="Segoe UI"/>
                <a:ea typeface="+mn-ea"/>
                <a:cs typeface="+mn-cs"/>
              </a:endParaRPr>
            </a:p>
          </p:txBody>
        </p:sp>
        <p:sp>
          <p:nvSpPr>
            <p:cNvPr id="201" name="Freeform 7"/>
            <p:cNvSpPr>
              <a:spLocks noEditPoints="1"/>
            </p:cNvSpPr>
            <p:nvPr/>
          </p:nvSpPr>
          <p:spPr bwMode="auto">
            <a:xfrm>
              <a:off x="1184" y="1881"/>
              <a:ext cx="253" cy="458"/>
            </a:xfrm>
            <a:custGeom>
              <a:avLst/>
              <a:gdLst>
                <a:gd name="T0" fmla="*/ 2044 w 2063"/>
                <a:gd name="T1" fmla="*/ 582 h 3742"/>
                <a:gd name="T2" fmla="*/ 2047 w 2063"/>
                <a:gd name="T3" fmla="*/ 346 h 3742"/>
                <a:gd name="T4" fmla="*/ 1758 w 2063"/>
                <a:gd name="T5" fmla="*/ 0 h 3742"/>
                <a:gd name="T6" fmla="*/ 309 w 2063"/>
                <a:gd name="T7" fmla="*/ 0 h 3742"/>
                <a:gd name="T8" fmla="*/ 19 w 2063"/>
                <a:gd name="T9" fmla="*/ 346 h 3742"/>
                <a:gd name="T10" fmla="*/ 16 w 2063"/>
                <a:gd name="T11" fmla="*/ 582 h 3742"/>
                <a:gd name="T12" fmla="*/ 233 w 2063"/>
                <a:gd name="T13" fmla="*/ 1189 h 3742"/>
                <a:gd name="T14" fmla="*/ 233 w 2063"/>
                <a:gd name="T15" fmla="*/ 1102 h 3742"/>
                <a:gd name="T16" fmla="*/ 523 w 2063"/>
                <a:gd name="T17" fmla="*/ 756 h 3742"/>
                <a:gd name="T18" fmla="*/ 1537 w 2063"/>
                <a:gd name="T19" fmla="*/ 756 h 3742"/>
                <a:gd name="T20" fmla="*/ 1826 w 2063"/>
                <a:gd name="T21" fmla="*/ 1102 h 3742"/>
                <a:gd name="T22" fmla="*/ 1826 w 2063"/>
                <a:gd name="T23" fmla="*/ 1189 h 3742"/>
                <a:gd name="T24" fmla="*/ 2044 w 2063"/>
                <a:gd name="T25" fmla="*/ 582 h 3742"/>
                <a:gd name="T26" fmla="*/ 23 w 2063"/>
                <a:gd name="T27" fmla="*/ 863 h 3742"/>
                <a:gd name="T28" fmla="*/ 23 w 2063"/>
                <a:gd name="T29" fmla="*/ 1990 h 3742"/>
                <a:gd name="T30" fmla="*/ 240 w 2063"/>
                <a:gd name="T31" fmla="*/ 2076 h 3742"/>
                <a:gd name="T32" fmla="*/ 240 w 2063"/>
                <a:gd name="T33" fmla="*/ 1470 h 3742"/>
                <a:gd name="T34" fmla="*/ 23 w 2063"/>
                <a:gd name="T35" fmla="*/ 863 h 3742"/>
                <a:gd name="T36" fmla="*/ 23 w 2063"/>
                <a:gd name="T37" fmla="*/ 2076 h 3742"/>
                <a:gd name="T38" fmla="*/ 19 w 2063"/>
                <a:gd name="T39" fmla="*/ 3119 h 3742"/>
                <a:gd name="T40" fmla="*/ 237 w 2063"/>
                <a:gd name="T41" fmla="*/ 2945 h 3742"/>
                <a:gd name="T42" fmla="*/ 240 w 2063"/>
                <a:gd name="T43" fmla="*/ 2163 h 3742"/>
                <a:gd name="T44" fmla="*/ 23 w 2063"/>
                <a:gd name="T45" fmla="*/ 2076 h 3742"/>
                <a:gd name="T46" fmla="*/ 16 w 2063"/>
                <a:gd name="T47" fmla="*/ 3309 h 3742"/>
                <a:gd name="T48" fmla="*/ 16 w 2063"/>
                <a:gd name="T49" fmla="*/ 3395 h 3742"/>
                <a:gd name="T50" fmla="*/ 305 w 2063"/>
                <a:gd name="T51" fmla="*/ 3742 h 3742"/>
                <a:gd name="T52" fmla="*/ 1754 w 2063"/>
                <a:gd name="T53" fmla="*/ 3742 h 3742"/>
                <a:gd name="T54" fmla="*/ 2044 w 2063"/>
                <a:gd name="T55" fmla="*/ 3395 h 3742"/>
                <a:gd name="T56" fmla="*/ 2044 w 2063"/>
                <a:gd name="T57" fmla="*/ 3309 h 3742"/>
                <a:gd name="T58" fmla="*/ 1828 w 2063"/>
                <a:gd name="T59" fmla="*/ 3140 h 3742"/>
                <a:gd name="T60" fmla="*/ 1537 w 2063"/>
                <a:gd name="T61" fmla="*/ 3309 h 3742"/>
                <a:gd name="T62" fmla="*/ 523 w 2063"/>
                <a:gd name="T63" fmla="*/ 3309 h 3742"/>
                <a:gd name="T64" fmla="*/ 233 w 2063"/>
                <a:gd name="T65" fmla="*/ 3075 h 3742"/>
                <a:gd name="T66" fmla="*/ 16 w 2063"/>
                <a:gd name="T67" fmla="*/ 3309 h 3742"/>
                <a:gd name="T68" fmla="*/ 2047 w 2063"/>
                <a:gd name="T69" fmla="*/ 3119 h 3742"/>
                <a:gd name="T70" fmla="*/ 2051 w 2063"/>
                <a:gd name="T71" fmla="*/ 2076 h 3742"/>
                <a:gd name="T72" fmla="*/ 1834 w 2063"/>
                <a:gd name="T73" fmla="*/ 2163 h 3742"/>
                <a:gd name="T74" fmla="*/ 1830 w 2063"/>
                <a:gd name="T75" fmla="*/ 2945 h 3742"/>
                <a:gd name="T76" fmla="*/ 2047 w 2063"/>
                <a:gd name="T77" fmla="*/ 3119 h 3742"/>
                <a:gd name="T78" fmla="*/ 2051 w 2063"/>
                <a:gd name="T79" fmla="*/ 1990 h 3742"/>
                <a:gd name="T80" fmla="*/ 2051 w 2063"/>
                <a:gd name="T81" fmla="*/ 863 h 3742"/>
                <a:gd name="T82" fmla="*/ 1834 w 2063"/>
                <a:gd name="T83" fmla="*/ 1470 h 3742"/>
                <a:gd name="T84" fmla="*/ 1834 w 2063"/>
                <a:gd name="T85" fmla="*/ 2076 h 3742"/>
                <a:gd name="T86" fmla="*/ 2051 w 2063"/>
                <a:gd name="T87" fmla="*/ 1990 h 3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63" h="3742">
                  <a:moveTo>
                    <a:pt x="2044" y="582"/>
                  </a:moveTo>
                  <a:lnTo>
                    <a:pt x="2047" y="346"/>
                  </a:lnTo>
                  <a:cubicBezTo>
                    <a:pt x="2063" y="171"/>
                    <a:pt x="1933" y="16"/>
                    <a:pt x="1758" y="0"/>
                  </a:cubicBezTo>
                  <a:lnTo>
                    <a:pt x="309" y="0"/>
                  </a:lnTo>
                  <a:cubicBezTo>
                    <a:pt x="133" y="16"/>
                    <a:pt x="4" y="171"/>
                    <a:pt x="19" y="346"/>
                  </a:cubicBezTo>
                  <a:lnTo>
                    <a:pt x="16" y="582"/>
                  </a:lnTo>
                  <a:lnTo>
                    <a:pt x="233" y="1189"/>
                  </a:lnTo>
                  <a:lnTo>
                    <a:pt x="233" y="1102"/>
                  </a:lnTo>
                  <a:cubicBezTo>
                    <a:pt x="217" y="926"/>
                    <a:pt x="347" y="771"/>
                    <a:pt x="523" y="756"/>
                  </a:cubicBezTo>
                  <a:lnTo>
                    <a:pt x="1537" y="756"/>
                  </a:lnTo>
                  <a:cubicBezTo>
                    <a:pt x="1712" y="771"/>
                    <a:pt x="1842" y="926"/>
                    <a:pt x="1826" y="1102"/>
                  </a:cubicBezTo>
                  <a:lnTo>
                    <a:pt x="1826" y="1189"/>
                  </a:lnTo>
                  <a:lnTo>
                    <a:pt x="2044" y="582"/>
                  </a:lnTo>
                  <a:close/>
                  <a:moveTo>
                    <a:pt x="23" y="863"/>
                  </a:moveTo>
                  <a:lnTo>
                    <a:pt x="23" y="1990"/>
                  </a:lnTo>
                  <a:lnTo>
                    <a:pt x="240" y="2076"/>
                  </a:lnTo>
                  <a:lnTo>
                    <a:pt x="240" y="1470"/>
                  </a:lnTo>
                  <a:lnTo>
                    <a:pt x="23" y="863"/>
                  </a:lnTo>
                  <a:close/>
                  <a:moveTo>
                    <a:pt x="23" y="2076"/>
                  </a:moveTo>
                  <a:lnTo>
                    <a:pt x="19" y="3119"/>
                  </a:lnTo>
                  <a:lnTo>
                    <a:pt x="237" y="2945"/>
                  </a:lnTo>
                  <a:lnTo>
                    <a:pt x="240" y="2163"/>
                  </a:lnTo>
                  <a:lnTo>
                    <a:pt x="23" y="2076"/>
                  </a:lnTo>
                  <a:close/>
                  <a:moveTo>
                    <a:pt x="16" y="3309"/>
                  </a:moveTo>
                  <a:lnTo>
                    <a:pt x="16" y="3395"/>
                  </a:lnTo>
                  <a:cubicBezTo>
                    <a:pt x="0" y="3571"/>
                    <a:pt x="130" y="3726"/>
                    <a:pt x="305" y="3742"/>
                  </a:cubicBezTo>
                  <a:lnTo>
                    <a:pt x="1754" y="3742"/>
                  </a:lnTo>
                  <a:cubicBezTo>
                    <a:pt x="1930" y="3726"/>
                    <a:pt x="2059" y="3571"/>
                    <a:pt x="2044" y="3395"/>
                  </a:cubicBezTo>
                  <a:lnTo>
                    <a:pt x="2044" y="3309"/>
                  </a:lnTo>
                  <a:lnTo>
                    <a:pt x="1828" y="3140"/>
                  </a:lnTo>
                  <a:cubicBezTo>
                    <a:pt x="1794" y="3267"/>
                    <a:pt x="1664" y="3343"/>
                    <a:pt x="1537" y="3309"/>
                  </a:cubicBezTo>
                  <a:lnTo>
                    <a:pt x="523" y="3309"/>
                  </a:lnTo>
                  <a:cubicBezTo>
                    <a:pt x="378" y="3324"/>
                    <a:pt x="248" y="3219"/>
                    <a:pt x="233" y="3075"/>
                  </a:cubicBezTo>
                  <a:lnTo>
                    <a:pt x="16" y="3309"/>
                  </a:lnTo>
                  <a:close/>
                  <a:moveTo>
                    <a:pt x="2047" y="3119"/>
                  </a:moveTo>
                  <a:lnTo>
                    <a:pt x="2051" y="2076"/>
                  </a:lnTo>
                  <a:lnTo>
                    <a:pt x="1834" y="2163"/>
                  </a:lnTo>
                  <a:lnTo>
                    <a:pt x="1830" y="2945"/>
                  </a:lnTo>
                  <a:lnTo>
                    <a:pt x="2047" y="3119"/>
                  </a:lnTo>
                  <a:close/>
                  <a:moveTo>
                    <a:pt x="2051" y="1990"/>
                  </a:moveTo>
                  <a:lnTo>
                    <a:pt x="2051" y="863"/>
                  </a:lnTo>
                  <a:lnTo>
                    <a:pt x="1834" y="1470"/>
                  </a:lnTo>
                  <a:lnTo>
                    <a:pt x="1834" y="2076"/>
                  </a:lnTo>
                  <a:lnTo>
                    <a:pt x="2051" y="1990"/>
                  </a:lnTo>
                  <a:close/>
                </a:path>
              </a:pathLst>
            </a:custGeom>
            <a:solidFill>
              <a:srgbClr val="FFFFFF"/>
            </a:solidFill>
            <a:ln w="0">
              <a:solidFill>
                <a:srgbClr val="5E83BD"/>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IN" sz="2200" b="0" i="0" u="none" strike="noStrike" kern="1200" cap="none" spc="0" normalizeH="0" baseline="0" noProof="0">
                <a:ln>
                  <a:noFill/>
                </a:ln>
                <a:solidFill>
                  <a:srgbClr val="505050"/>
                </a:solidFill>
                <a:effectLst/>
                <a:uLnTx/>
                <a:uFillTx/>
                <a:latin typeface="Segoe UI"/>
                <a:ea typeface="+mn-ea"/>
                <a:cs typeface="+mn-cs"/>
              </a:endParaRPr>
            </a:p>
          </p:txBody>
        </p:sp>
        <p:sp>
          <p:nvSpPr>
            <p:cNvPr id="204" name="Freeform 8"/>
            <p:cNvSpPr>
              <a:spLocks noEditPoints="1"/>
            </p:cNvSpPr>
            <p:nvPr/>
          </p:nvSpPr>
          <p:spPr bwMode="auto">
            <a:xfrm>
              <a:off x="1184" y="1881"/>
              <a:ext cx="253" cy="457"/>
            </a:xfrm>
            <a:custGeom>
              <a:avLst/>
              <a:gdLst>
                <a:gd name="T0" fmla="*/ 2044 w 2063"/>
                <a:gd name="T1" fmla="*/ 582 h 3742"/>
                <a:gd name="T2" fmla="*/ 2047 w 2063"/>
                <a:gd name="T3" fmla="*/ 346 h 3742"/>
                <a:gd name="T4" fmla="*/ 1758 w 2063"/>
                <a:gd name="T5" fmla="*/ 0 h 3742"/>
                <a:gd name="T6" fmla="*/ 309 w 2063"/>
                <a:gd name="T7" fmla="*/ 0 h 3742"/>
                <a:gd name="T8" fmla="*/ 19 w 2063"/>
                <a:gd name="T9" fmla="*/ 346 h 3742"/>
                <a:gd name="T10" fmla="*/ 16 w 2063"/>
                <a:gd name="T11" fmla="*/ 582 h 3742"/>
                <a:gd name="T12" fmla="*/ 233 w 2063"/>
                <a:gd name="T13" fmla="*/ 1189 h 3742"/>
                <a:gd name="T14" fmla="*/ 233 w 2063"/>
                <a:gd name="T15" fmla="*/ 1102 h 3742"/>
                <a:gd name="T16" fmla="*/ 523 w 2063"/>
                <a:gd name="T17" fmla="*/ 756 h 3742"/>
                <a:gd name="T18" fmla="*/ 1537 w 2063"/>
                <a:gd name="T19" fmla="*/ 756 h 3742"/>
                <a:gd name="T20" fmla="*/ 1826 w 2063"/>
                <a:gd name="T21" fmla="*/ 1102 h 3742"/>
                <a:gd name="T22" fmla="*/ 1826 w 2063"/>
                <a:gd name="T23" fmla="*/ 1189 h 3742"/>
                <a:gd name="T24" fmla="*/ 2044 w 2063"/>
                <a:gd name="T25" fmla="*/ 582 h 3742"/>
                <a:gd name="T26" fmla="*/ 23 w 2063"/>
                <a:gd name="T27" fmla="*/ 863 h 3742"/>
                <a:gd name="T28" fmla="*/ 23 w 2063"/>
                <a:gd name="T29" fmla="*/ 1990 h 3742"/>
                <a:gd name="T30" fmla="*/ 240 w 2063"/>
                <a:gd name="T31" fmla="*/ 2076 h 3742"/>
                <a:gd name="T32" fmla="*/ 240 w 2063"/>
                <a:gd name="T33" fmla="*/ 1470 h 3742"/>
                <a:gd name="T34" fmla="*/ 23 w 2063"/>
                <a:gd name="T35" fmla="*/ 863 h 3742"/>
                <a:gd name="T36" fmla="*/ 23 w 2063"/>
                <a:gd name="T37" fmla="*/ 2076 h 3742"/>
                <a:gd name="T38" fmla="*/ 19 w 2063"/>
                <a:gd name="T39" fmla="*/ 3119 h 3742"/>
                <a:gd name="T40" fmla="*/ 237 w 2063"/>
                <a:gd name="T41" fmla="*/ 2945 h 3742"/>
                <a:gd name="T42" fmla="*/ 240 w 2063"/>
                <a:gd name="T43" fmla="*/ 2163 h 3742"/>
                <a:gd name="T44" fmla="*/ 23 w 2063"/>
                <a:gd name="T45" fmla="*/ 2076 h 3742"/>
                <a:gd name="T46" fmla="*/ 16 w 2063"/>
                <a:gd name="T47" fmla="*/ 3309 h 3742"/>
                <a:gd name="T48" fmla="*/ 16 w 2063"/>
                <a:gd name="T49" fmla="*/ 3395 h 3742"/>
                <a:gd name="T50" fmla="*/ 305 w 2063"/>
                <a:gd name="T51" fmla="*/ 3742 h 3742"/>
                <a:gd name="T52" fmla="*/ 1754 w 2063"/>
                <a:gd name="T53" fmla="*/ 3742 h 3742"/>
                <a:gd name="T54" fmla="*/ 2044 w 2063"/>
                <a:gd name="T55" fmla="*/ 3395 h 3742"/>
                <a:gd name="T56" fmla="*/ 2044 w 2063"/>
                <a:gd name="T57" fmla="*/ 3309 h 3742"/>
                <a:gd name="T58" fmla="*/ 1828 w 2063"/>
                <a:gd name="T59" fmla="*/ 3140 h 3742"/>
                <a:gd name="T60" fmla="*/ 1537 w 2063"/>
                <a:gd name="T61" fmla="*/ 3309 h 3742"/>
                <a:gd name="T62" fmla="*/ 523 w 2063"/>
                <a:gd name="T63" fmla="*/ 3309 h 3742"/>
                <a:gd name="T64" fmla="*/ 233 w 2063"/>
                <a:gd name="T65" fmla="*/ 3075 h 3742"/>
                <a:gd name="T66" fmla="*/ 16 w 2063"/>
                <a:gd name="T67" fmla="*/ 3309 h 3742"/>
                <a:gd name="T68" fmla="*/ 2047 w 2063"/>
                <a:gd name="T69" fmla="*/ 3119 h 3742"/>
                <a:gd name="T70" fmla="*/ 2051 w 2063"/>
                <a:gd name="T71" fmla="*/ 2076 h 3742"/>
                <a:gd name="T72" fmla="*/ 1834 w 2063"/>
                <a:gd name="T73" fmla="*/ 2163 h 3742"/>
                <a:gd name="T74" fmla="*/ 1830 w 2063"/>
                <a:gd name="T75" fmla="*/ 2945 h 3742"/>
                <a:gd name="T76" fmla="*/ 2047 w 2063"/>
                <a:gd name="T77" fmla="*/ 3119 h 3742"/>
                <a:gd name="T78" fmla="*/ 2051 w 2063"/>
                <a:gd name="T79" fmla="*/ 1990 h 3742"/>
                <a:gd name="T80" fmla="*/ 2051 w 2063"/>
                <a:gd name="T81" fmla="*/ 863 h 3742"/>
                <a:gd name="T82" fmla="*/ 1834 w 2063"/>
                <a:gd name="T83" fmla="*/ 1470 h 3742"/>
                <a:gd name="T84" fmla="*/ 1834 w 2063"/>
                <a:gd name="T85" fmla="*/ 2076 h 3742"/>
                <a:gd name="T86" fmla="*/ 2051 w 2063"/>
                <a:gd name="T87" fmla="*/ 1990 h 3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63" h="3742">
                  <a:moveTo>
                    <a:pt x="2044" y="582"/>
                  </a:moveTo>
                  <a:lnTo>
                    <a:pt x="2047" y="346"/>
                  </a:lnTo>
                  <a:cubicBezTo>
                    <a:pt x="2063" y="171"/>
                    <a:pt x="1933" y="16"/>
                    <a:pt x="1758" y="0"/>
                  </a:cubicBezTo>
                  <a:lnTo>
                    <a:pt x="309" y="0"/>
                  </a:lnTo>
                  <a:cubicBezTo>
                    <a:pt x="133" y="16"/>
                    <a:pt x="4" y="171"/>
                    <a:pt x="19" y="346"/>
                  </a:cubicBezTo>
                  <a:lnTo>
                    <a:pt x="16" y="582"/>
                  </a:lnTo>
                  <a:lnTo>
                    <a:pt x="233" y="1189"/>
                  </a:lnTo>
                  <a:lnTo>
                    <a:pt x="233" y="1102"/>
                  </a:lnTo>
                  <a:cubicBezTo>
                    <a:pt x="217" y="926"/>
                    <a:pt x="347" y="771"/>
                    <a:pt x="523" y="756"/>
                  </a:cubicBezTo>
                  <a:lnTo>
                    <a:pt x="1537" y="756"/>
                  </a:lnTo>
                  <a:cubicBezTo>
                    <a:pt x="1712" y="771"/>
                    <a:pt x="1842" y="926"/>
                    <a:pt x="1826" y="1102"/>
                  </a:cubicBezTo>
                  <a:lnTo>
                    <a:pt x="1826" y="1189"/>
                  </a:lnTo>
                  <a:lnTo>
                    <a:pt x="2044" y="582"/>
                  </a:lnTo>
                  <a:close/>
                  <a:moveTo>
                    <a:pt x="23" y="863"/>
                  </a:moveTo>
                  <a:lnTo>
                    <a:pt x="23" y="1990"/>
                  </a:lnTo>
                  <a:lnTo>
                    <a:pt x="240" y="2076"/>
                  </a:lnTo>
                  <a:lnTo>
                    <a:pt x="240" y="1470"/>
                  </a:lnTo>
                  <a:lnTo>
                    <a:pt x="23" y="863"/>
                  </a:lnTo>
                  <a:close/>
                  <a:moveTo>
                    <a:pt x="23" y="2076"/>
                  </a:moveTo>
                  <a:lnTo>
                    <a:pt x="19" y="3119"/>
                  </a:lnTo>
                  <a:lnTo>
                    <a:pt x="237" y="2945"/>
                  </a:lnTo>
                  <a:lnTo>
                    <a:pt x="240" y="2163"/>
                  </a:lnTo>
                  <a:lnTo>
                    <a:pt x="23" y="2076"/>
                  </a:lnTo>
                  <a:close/>
                  <a:moveTo>
                    <a:pt x="16" y="3309"/>
                  </a:moveTo>
                  <a:lnTo>
                    <a:pt x="16" y="3395"/>
                  </a:lnTo>
                  <a:cubicBezTo>
                    <a:pt x="0" y="3571"/>
                    <a:pt x="130" y="3726"/>
                    <a:pt x="305" y="3742"/>
                  </a:cubicBezTo>
                  <a:lnTo>
                    <a:pt x="1754" y="3742"/>
                  </a:lnTo>
                  <a:cubicBezTo>
                    <a:pt x="1930" y="3726"/>
                    <a:pt x="2059" y="3571"/>
                    <a:pt x="2044" y="3395"/>
                  </a:cubicBezTo>
                  <a:lnTo>
                    <a:pt x="2044" y="3309"/>
                  </a:lnTo>
                  <a:lnTo>
                    <a:pt x="1828" y="3140"/>
                  </a:lnTo>
                  <a:cubicBezTo>
                    <a:pt x="1794" y="3267"/>
                    <a:pt x="1664" y="3343"/>
                    <a:pt x="1537" y="3309"/>
                  </a:cubicBezTo>
                  <a:lnTo>
                    <a:pt x="523" y="3309"/>
                  </a:lnTo>
                  <a:cubicBezTo>
                    <a:pt x="378" y="3324"/>
                    <a:pt x="248" y="3219"/>
                    <a:pt x="233" y="3075"/>
                  </a:cubicBezTo>
                  <a:lnTo>
                    <a:pt x="16" y="3309"/>
                  </a:lnTo>
                  <a:close/>
                  <a:moveTo>
                    <a:pt x="2047" y="3119"/>
                  </a:moveTo>
                  <a:lnTo>
                    <a:pt x="2051" y="2076"/>
                  </a:lnTo>
                  <a:lnTo>
                    <a:pt x="1834" y="2163"/>
                  </a:lnTo>
                  <a:lnTo>
                    <a:pt x="1830" y="2945"/>
                  </a:lnTo>
                  <a:lnTo>
                    <a:pt x="2047" y="3119"/>
                  </a:lnTo>
                  <a:close/>
                  <a:moveTo>
                    <a:pt x="2051" y="1990"/>
                  </a:moveTo>
                  <a:lnTo>
                    <a:pt x="2051" y="863"/>
                  </a:lnTo>
                  <a:lnTo>
                    <a:pt x="1834" y="1470"/>
                  </a:lnTo>
                  <a:lnTo>
                    <a:pt x="1834" y="2076"/>
                  </a:lnTo>
                  <a:lnTo>
                    <a:pt x="2051" y="1990"/>
                  </a:lnTo>
                  <a:close/>
                </a:path>
              </a:pathLst>
            </a:custGeom>
            <a:noFill/>
            <a:ln w="3175" cap="rnd">
              <a:solidFill>
                <a:srgbClr val="5E83B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IN" sz="22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214" name="Group 213"/>
          <p:cNvGrpSpPr/>
          <p:nvPr/>
        </p:nvGrpSpPr>
        <p:grpSpPr>
          <a:xfrm>
            <a:off x="11005132" y="2577765"/>
            <a:ext cx="681325" cy="482890"/>
            <a:chOff x="11005132" y="3125968"/>
            <a:chExt cx="681325" cy="482890"/>
          </a:xfrm>
          <a:solidFill>
            <a:srgbClr val="5E83BD"/>
          </a:solidFill>
        </p:grpSpPr>
        <p:sp>
          <p:nvSpPr>
            <p:cNvPr id="215" name="Trapezoid 3"/>
            <p:cNvSpPr>
              <a:spLocks noChangeAspect="1"/>
            </p:cNvSpPr>
            <p:nvPr/>
          </p:nvSpPr>
          <p:spPr>
            <a:xfrm>
              <a:off x="11005132" y="3125968"/>
              <a:ext cx="681325" cy="482890"/>
            </a:xfrm>
            <a:custGeom>
              <a:avLst/>
              <a:gdLst/>
              <a:ahLst/>
              <a:cxnLst/>
              <a:rect l="l" t="t" r="r" b="b"/>
              <a:pathLst>
                <a:path w="4936448" h="3498714">
                  <a:moveTo>
                    <a:pt x="2052754" y="2902312"/>
                  </a:moveTo>
                  <a:lnTo>
                    <a:pt x="4707054" y="2902312"/>
                  </a:lnTo>
                  <a:cubicBezTo>
                    <a:pt x="4768427" y="2902312"/>
                    <a:pt x="4818179" y="2952064"/>
                    <a:pt x="4818179" y="3013437"/>
                  </a:cubicBezTo>
                  <a:cubicBezTo>
                    <a:pt x="4818179" y="3074810"/>
                    <a:pt x="4768427" y="3124562"/>
                    <a:pt x="4707054" y="3124562"/>
                  </a:cubicBezTo>
                  <a:lnTo>
                    <a:pt x="4545125" y="3124562"/>
                  </a:lnTo>
                  <a:lnTo>
                    <a:pt x="4545125" y="3361625"/>
                  </a:lnTo>
                  <a:cubicBezTo>
                    <a:pt x="4545125" y="3421831"/>
                    <a:pt x="4496319" y="3470637"/>
                    <a:pt x="4436113" y="3470637"/>
                  </a:cubicBezTo>
                  <a:lnTo>
                    <a:pt x="4235039" y="3470637"/>
                  </a:lnTo>
                  <a:cubicBezTo>
                    <a:pt x="4174833" y="3470637"/>
                    <a:pt x="4126027" y="3421831"/>
                    <a:pt x="4126027" y="3361625"/>
                  </a:cubicBezTo>
                  <a:lnTo>
                    <a:pt x="4126027" y="3124562"/>
                  </a:lnTo>
                  <a:lnTo>
                    <a:pt x="2589325" y="3124562"/>
                  </a:lnTo>
                  <a:lnTo>
                    <a:pt x="2589325" y="3361625"/>
                  </a:lnTo>
                  <a:cubicBezTo>
                    <a:pt x="2589325" y="3421831"/>
                    <a:pt x="2540519" y="3470637"/>
                    <a:pt x="2480313" y="3470637"/>
                  </a:cubicBezTo>
                  <a:lnTo>
                    <a:pt x="2279239" y="3470637"/>
                  </a:lnTo>
                  <a:cubicBezTo>
                    <a:pt x="2219033" y="3470637"/>
                    <a:pt x="2170227" y="3421831"/>
                    <a:pt x="2170227" y="3361625"/>
                  </a:cubicBezTo>
                  <a:lnTo>
                    <a:pt x="2170227" y="3124562"/>
                  </a:lnTo>
                  <a:lnTo>
                    <a:pt x="2052754" y="3124562"/>
                  </a:lnTo>
                  <a:cubicBezTo>
                    <a:pt x="1991381" y="3124562"/>
                    <a:pt x="1941629" y="3074810"/>
                    <a:pt x="1941629" y="3013437"/>
                  </a:cubicBezTo>
                  <a:cubicBezTo>
                    <a:pt x="1941629" y="2952064"/>
                    <a:pt x="1991381" y="2902312"/>
                    <a:pt x="2052754" y="2902312"/>
                  </a:cubicBezTo>
                  <a:close/>
                  <a:moveTo>
                    <a:pt x="4492583" y="2089512"/>
                  </a:moveTo>
                  <a:cubicBezTo>
                    <a:pt x="4392633" y="2089512"/>
                    <a:pt x="4311608" y="2170537"/>
                    <a:pt x="4311608" y="2270487"/>
                  </a:cubicBezTo>
                  <a:cubicBezTo>
                    <a:pt x="4311608" y="2370437"/>
                    <a:pt x="4392633" y="2451462"/>
                    <a:pt x="4492583" y="2451462"/>
                  </a:cubicBezTo>
                  <a:cubicBezTo>
                    <a:pt x="4592533" y="2451462"/>
                    <a:pt x="4673558" y="2370437"/>
                    <a:pt x="4673558" y="2270487"/>
                  </a:cubicBezTo>
                  <a:cubicBezTo>
                    <a:pt x="4673558" y="2170537"/>
                    <a:pt x="4592533" y="2089512"/>
                    <a:pt x="4492583" y="2089512"/>
                  </a:cubicBezTo>
                  <a:close/>
                  <a:moveTo>
                    <a:pt x="2979061" y="2089512"/>
                  </a:moveTo>
                  <a:cubicBezTo>
                    <a:pt x="2808971" y="2089512"/>
                    <a:pt x="2671086" y="2227397"/>
                    <a:pt x="2671086" y="2397487"/>
                  </a:cubicBezTo>
                  <a:lnTo>
                    <a:pt x="2671086" y="2584811"/>
                  </a:lnTo>
                  <a:lnTo>
                    <a:pt x="4083961" y="2584811"/>
                  </a:lnTo>
                  <a:lnTo>
                    <a:pt x="4083961" y="2397487"/>
                  </a:lnTo>
                  <a:cubicBezTo>
                    <a:pt x="4083961" y="2227397"/>
                    <a:pt x="3946076" y="2089512"/>
                    <a:pt x="3775986" y="2089512"/>
                  </a:cubicBezTo>
                  <a:close/>
                  <a:moveTo>
                    <a:pt x="2251033" y="2089512"/>
                  </a:moveTo>
                  <a:cubicBezTo>
                    <a:pt x="2151083" y="2089512"/>
                    <a:pt x="2070058" y="2170537"/>
                    <a:pt x="2070058" y="2270487"/>
                  </a:cubicBezTo>
                  <a:cubicBezTo>
                    <a:pt x="2070058" y="2370437"/>
                    <a:pt x="2151083" y="2451462"/>
                    <a:pt x="2251033" y="2451462"/>
                  </a:cubicBezTo>
                  <a:cubicBezTo>
                    <a:pt x="2350983" y="2451462"/>
                    <a:pt x="2432008" y="2370437"/>
                    <a:pt x="2432008" y="2270487"/>
                  </a:cubicBezTo>
                  <a:cubicBezTo>
                    <a:pt x="2432008" y="2170537"/>
                    <a:pt x="2350983" y="2089512"/>
                    <a:pt x="2251033" y="2089512"/>
                  </a:cubicBezTo>
                  <a:close/>
                  <a:moveTo>
                    <a:pt x="2651061" y="1167548"/>
                  </a:moveTo>
                  <a:lnTo>
                    <a:pt x="2392797" y="1878907"/>
                  </a:lnTo>
                  <a:cubicBezTo>
                    <a:pt x="2423495" y="1888931"/>
                    <a:pt x="2452199" y="1903353"/>
                    <a:pt x="2478781" y="1920808"/>
                  </a:cubicBezTo>
                  <a:cubicBezTo>
                    <a:pt x="2564818" y="1815418"/>
                    <a:pt x="2696070" y="1749356"/>
                    <a:pt x="2842751" y="1749356"/>
                  </a:cubicBezTo>
                  <a:lnTo>
                    <a:pt x="3912296" y="1749356"/>
                  </a:lnTo>
                  <a:cubicBezTo>
                    <a:pt x="4059812" y="1749356"/>
                    <a:pt x="4191724" y="1816172"/>
                    <a:pt x="4277738" y="1922593"/>
                  </a:cubicBezTo>
                  <a:cubicBezTo>
                    <a:pt x="4306317" y="1903622"/>
                    <a:pt x="4337356" y="1888113"/>
                    <a:pt x="4370569" y="1877441"/>
                  </a:cubicBezTo>
                  <a:lnTo>
                    <a:pt x="4112835" y="1167548"/>
                  </a:lnTo>
                  <a:close/>
                  <a:moveTo>
                    <a:pt x="2534724" y="982297"/>
                  </a:moveTo>
                  <a:lnTo>
                    <a:pt x="4229172" y="982297"/>
                  </a:lnTo>
                  <a:lnTo>
                    <a:pt x="4546612" y="1856643"/>
                  </a:lnTo>
                  <a:cubicBezTo>
                    <a:pt x="4765072" y="1873078"/>
                    <a:pt x="4936448" y="2056134"/>
                    <a:pt x="4936448" y="2279217"/>
                  </a:cubicBezTo>
                  <a:cubicBezTo>
                    <a:pt x="4936448" y="2401342"/>
                    <a:pt x="4885088" y="2511471"/>
                    <a:pt x="4802103" y="2588456"/>
                  </a:cubicBezTo>
                  <a:cubicBezTo>
                    <a:pt x="4860348" y="2595065"/>
                    <a:pt x="4904699" y="2645084"/>
                    <a:pt x="4904699" y="2705462"/>
                  </a:cubicBezTo>
                  <a:lnTo>
                    <a:pt x="4904698" y="2705462"/>
                  </a:lnTo>
                  <a:cubicBezTo>
                    <a:pt x="4904698" y="2772096"/>
                    <a:pt x="4850681" y="2826113"/>
                    <a:pt x="4784047" y="2826113"/>
                  </a:cubicBezTo>
                  <a:lnTo>
                    <a:pt x="1970999" y="2826112"/>
                  </a:lnTo>
                  <a:cubicBezTo>
                    <a:pt x="1904365" y="2826112"/>
                    <a:pt x="1850349" y="2772096"/>
                    <a:pt x="1850348" y="2705462"/>
                  </a:cubicBezTo>
                  <a:cubicBezTo>
                    <a:pt x="1850348" y="2643725"/>
                    <a:pt x="1896717" y="2592819"/>
                    <a:pt x="1956769" y="2587684"/>
                  </a:cubicBezTo>
                  <a:cubicBezTo>
                    <a:pt x="1874354" y="2510684"/>
                    <a:pt x="1823360" y="2400906"/>
                    <a:pt x="1823360" y="2279217"/>
                  </a:cubicBezTo>
                  <a:cubicBezTo>
                    <a:pt x="1823360" y="2054681"/>
                    <a:pt x="1996975" y="1870696"/>
                    <a:pt x="2217440" y="1856216"/>
                  </a:cubicBezTo>
                  <a:close/>
                  <a:moveTo>
                    <a:pt x="358791" y="644545"/>
                  </a:moveTo>
                  <a:lnTo>
                    <a:pt x="1006774" y="644545"/>
                  </a:lnTo>
                  <a:cubicBezTo>
                    <a:pt x="1218838" y="701686"/>
                    <a:pt x="1428136" y="1033850"/>
                    <a:pt x="1542636" y="1193969"/>
                  </a:cubicBezTo>
                  <a:lnTo>
                    <a:pt x="1929878" y="1193970"/>
                  </a:lnTo>
                  <a:cubicBezTo>
                    <a:pt x="2007298" y="1193970"/>
                    <a:pt x="2070059" y="1256732"/>
                    <a:pt x="2070059" y="1334152"/>
                  </a:cubicBezTo>
                  <a:cubicBezTo>
                    <a:pt x="2070059" y="1411572"/>
                    <a:pt x="2021397" y="1451628"/>
                    <a:pt x="1929878" y="1474333"/>
                  </a:cubicBezTo>
                  <a:lnTo>
                    <a:pt x="1520943" y="1470388"/>
                  </a:lnTo>
                  <a:cubicBezTo>
                    <a:pt x="1397118" y="1474356"/>
                    <a:pt x="1368544" y="1410856"/>
                    <a:pt x="1332825" y="1367201"/>
                  </a:cubicBezTo>
                  <a:lnTo>
                    <a:pt x="1106501" y="1098289"/>
                  </a:lnTo>
                  <a:cubicBezTo>
                    <a:pt x="1106501" y="1095278"/>
                    <a:pt x="1104059" y="1092836"/>
                    <a:pt x="1101049" y="1092836"/>
                  </a:cubicBezTo>
                  <a:lnTo>
                    <a:pt x="1046523" y="1092836"/>
                  </a:lnTo>
                  <a:cubicBezTo>
                    <a:pt x="1043511" y="1092836"/>
                    <a:pt x="1041071" y="1095278"/>
                    <a:pt x="1041071" y="1098289"/>
                  </a:cubicBezTo>
                  <a:lnTo>
                    <a:pt x="1042136" y="1419754"/>
                  </a:lnTo>
                  <a:lnTo>
                    <a:pt x="1042136" y="3337652"/>
                  </a:lnTo>
                  <a:cubicBezTo>
                    <a:pt x="1042136" y="3426604"/>
                    <a:pt x="970027" y="3498714"/>
                    <a:pt x="881075" y="3498714"/>
                  </a:cubicBezTo>
                  <a:cubicBezTo>
                    <a:pt x="792123" y="3498714"/>
                    <a:pt x="720012" y="3426604"/>
                    <a:pt x="720012" y="3337652"/>
                  </a:cubicBezTo>
                  <a:lnTo>
                    <a:pt x="720012" y="2125717"/>
                  </a:lnTo>
                  <a:lnTo>
                    <a:pt x="718947" y="2033194"/>
                  </a:lnTo>
                  <a:cubicBezTo>
                    <a:pt x="718947" y="2030552"/>
                    <a:pt x="716805" y="2028410"/>
                    <a:pt x="714162" y="2028410"/>
                  </a:cubicBezTo>
                  <a:lnTo>
                    <a:pt x="654759" y="2028410"/>
                  </a:lnTo>
                  <a:cubicBezTo>
                    <a:pt x="652116" y="2028410"/>
                    <a:pt x="649974" y="2030552"/>
                    <a:pt x="649974" y="2033194"/>
                  </a:cubicBezTo>
                  <a:lnTo>
                    <a:pt x="649974" y="2125717"/>
                  </a:lnTo>
                  <a:lnTo>
                    <a:pt x="649574" y="3337652"/>
                  </a:lnTo>
                  <a:cubicBezTo>
                    <a:pt x="649574" y="3426604"/>
                    <a:pt x="577464" y="3498714"/>
                    <a:pt x="488511" y="3498714"/>
                  </a:cubicBezTo>
                  <a:cubicBezTo>
                    <a:pt x="399560" y="3498714"/>
                    <a:pt x="327450" y="3426604"/>
                    <a:pt x="327450" y="3337652"/>
                  </a:cubicBezTo>
                  <a:lnTo>
                    <a:pt x="327450" y="1458216"/>
                  </a:lnTo>
                  <a:cubicBezTo>
                    <a:pt x="325775" y="1338213"/>
                    <a:pt x="324101" y="1218209"/>
                    <a:pt x="322427" y="1098205"/>
                  </a:cubicBezTo>
                  <a:cubicBezTo>
                    <a:pt x="322427" y="1095240"/>
                    <a:pt x="320022" y="1092836"/>
                    <a:pt x="317058" y="1092836"/>
                  </a:cubicBezTo>
                  <a:lnTo>
                    <a:pt x="263371" y="1092836"/>
                  </a:lnTo>
                  <a:cubicBezTo>
                    <a:pt x="260405" y="1092836"/>
                    <a:pt x="258001" y="1095240"/>
                    <a:pt x="258001" y="1098205"/>
                  </a:cubicBezTo>
                  <a:lnTo>
                    <a:pt x="258001" y="1444446"/>
                  </a:lnTo>
                  <a:cubicBezTo>
                    <a:pt x="257895" y="1444438"/>
                    <a:pt x="257798" y="1444405"/>
                    <a:pt x="257700" y="1444370"/>
                  </a:cubicBezTo>
                  <a:lnTo>
                    <a:pt x="257700" y="1912573"/>
                  </a:lnTo>
                  <a:cubicBezTo>
                    <a:pt x="257700" y="1983734"/>
                    <a:pt x="200011" y="2041423"/>
                    <a:pt x="128850" y="2041423"/>
                  </a:cubicBezTo>
                  <a:cubicBezTo>
                    <a:pt x="57687" y="2041423"/>
                    <a:pt x="0" y="1983734"/>
                    <a:pt x="0" y="1912573"/>
                  </a:cubicBezTo>
                  <a:lnTo>
                    <a:pt x="0" y="1101802"/>
                  </a:lnTo>
                  <a:lnTo>
                    <a:pt x="0" y="1003338"/>
                  </a:lnTo>
                  <a:lnTo>
                    <a:pt x="0" y="982486"/>
                  </a:lnTo>
                  <a:cubicBezTo>
                    <a:pt x="0" y="952006"/>
                    <a:pt x="3965" y="922453"/>
                    <a:pt x="12733" y="894663"/>
                  </a:cubicBezTo>
                  <a:cubicBezTo>
                    <a:pt x="15126" y="886107"/>
                    <a:pt x="14856" y="875418"/>
                    <a:pt x="20539" y="868773"/>
                  </a:cubicBezTo>
                  <a:cubicBezTo>
                    <a:pt x="72281" y="735385"/>
                    <a:pt x="207053" y="644545"/>
                    <a:pt x="358791" y="644545"/>
                  </a:cubicBezTo>
                  <a:close/>
                  <a:moveTo>
                    <a:pt x="682782" y="0"/>
                  </a:moveTo>
                  <a:cubicBezTo>
                    <a:pt x="839708" y="0"/>
                    <a:pt x="966919" y="127213"/>
                    <a:pt x="966919" y="284138"/>
                  </a:cubicBezTo>
                  <a:cubicBezTo>
                    <a:pt x="966919" y="441063"/>
                    <a:pt x="839708" y="568275"/>
                    <a:pt x="682782" y="568275"/>
                  </a:cubicBezTo>
                  <a:cubicBezTo>
                    <a:pt x="525858" y="568275"/>
                    <a:pt x="398645" y="441063"/>
                    <a:pt x="398645" y="284138"/>
                  </a:cubicBezTo>
                  <a:cubicBezTo>
                    <a:pt x="398645" y="127213"/>
                    <a:pt x="525858" y="0"/>
                    <a:pt x="682782" y="0"/>
                  </a:cubicBezTo>
                  <a:close/>
                </a:path>
              </a:pathLst>
            </a:custGeom>
            <a:grpFill/>
            <a:ln w="19050">
              <a:noFill/>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505050"/>
                </a:solidFill>
                <a:effectLst/>
                <a:uLnTx/>
                <a:uFillTx/>
                <a:latin typeface="Segoe UI"/>
                <a:ea typeface="+mn-ea"/>
                <a:cs typeface="+mn-cs"/>
              </a:endParaRPr>
            </a:p>
          </p:txBody>
        </p:sp>
        <p:sp>
          <p:nvSpPr>
            <p:cNvPr id="216" name="Freeform 39"/>
            <p:cNvSpPr>
              <a:spLocks/>
            </p:cNvSpPr>
            <p:nvPr/>
          </p:nvSpPr>
          <p:spPr bwMode="black">
            <a:xfrm>
              <a:off x="11163555" y="3152251"/>
              <a:ext cx="142944" cy="127028"/>
            </a:xfrm>
            <a:custGeom>
              <a:avLst/>
              <a:gdLst>
                <a:gd name="T0" fmla="*/ 267 w 535"/>
                <a:gd name="T1" fmla="*/ 476 h 477"/>
                <a:gd name="T2" fmla="*/ 15 w 535"/>
                <a:gd name="T3" fmla="*/ 208 h 477"/>
                <a:gd name="T4" fmla="*/ 0 w 535"/>
                <a:gd name="T5" fmla="*/ 140 h 477"/>
                <a:gd name="T6" fmla="*/ 141 w 535"/>
                <a:gd name="T7" fmla="*/ 0 h 477"/>
                <a:gd name="T8" fmla="*/ 268 w 535"/>
                <a:gd name="T9" fmla="*/ 80 h 477"/>
                <a:gd name="T10" fmla="*/ 394 w 535"/>
                <a:gd name="T11" fmla="*/ 0 h 477"/>
                <a:gd name="T12" fmla="*/ 535 w 535"/>
                <a:gd name="T13" fmla="*/ 140 h 477"/>
                <a:gd name="T14" fmla="*/ 520 w 535"/>
                <a:gd name="T15" fmla="*/ 208 h 477"/>
                <a:gd name="T16" fmla="*/ 269 w 535"/>
                <a:gd name="T17" fmla="*/ 476 h 477"/>
                <a:gd name="T18" fmla="*/ 268 w 535"/>
                <a:gd name="T19" fmla="*/ 477 h 477"/>
                <a:gd name="T20" fmla="*/ 267 w 535"/>
                <a:gd name="T21" fmla="*/ 476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5" h="477">
                  <a:moveTo>
                    <a:pt x="267" y="476"/>
                  </a:moveTo>
                  <a:cubicBezTo>
                    <a:pt x="247" y="461"/>
                    <a:pt x="55" y="310"/>
                    <a:pt x="15" y="208"/>
                  </a:cubicBezTo>
                  <a:cubicBezTo>
                    <a:pt x="8" y="189"/>
                    <a:pt x="0" y="162"/>
                    <a:pt x="0" y="140"/>
                  </a:cubicBezTo>
                  <a:cubicBezTo>
                    <a:pt x="0" y="63"/>
                    <a:pt x="63" y="0"/>
                    <a:pt x="141" y="0"/>
                  </a:cubicBezTo>
                  <a:cubicBezTo>
                    <a:pt x="197" y="0"/>
                    <a:pt x="245" y="33"/>
                    <a:pt x="268" y="80"/>
                  </a:cubicBezTo>
                  <a:cubicBezTo>
                    <a:pt x="290" y="33"/>
                    <a:pt x="339" y="0"/>
                    <a:pt x="394" y="0"/>
                  </a:cubicBezTo>
                  <a:cubicBezTo>
                    <a:pt x="472" y="0"/>
                    <a:pt x="535" y="63"/>
                    <a:pt x="535" y="140"/>
                  </a:cubicBezTo>
                  <a:cubicBezTo>
                    <a:pt x="535" y="162"/>
                    <a:pt x="527" y="189"/>
                    <a:pt x="520" y="208"/>
                  </a:cubicBezTo>
                  <a:cubicBezTo>
                    <a:pt x="480" y="310"/>
                    <a:pt x="288" y="461"/>
                    <a:pt x="269" y="476"/>
                  </a:cubicBezTo>
                  <a:cubicBezTo>
                    <a:pt x="268" y="477"/>
                    <a:pt x="268" y="477"/>
                    <a:pt x="268" y="477"/>
                  </a:cubicBezTo>
                  <a:lnTo>
                    <a:pt x="267" y="4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217" name="TextBox 216"/>
          <p:cNvSpPr txBox="1"/>
          <p:nvPr/>
        </p:nvSpPr>
        <p:spPr>
          <a:xfrm>
            <a:off x="10196428" y="3430050"/>
            <a:ext cx="523263" cy="286554"/>
          </a:xfrm>
          <a:prstGeom prst="rect">
            <a:avLst/>
          </a:prstGeom>
        </p:spPr>
        <p:txBody>
          <a:bodyPr vert="horz" wrap="none" lIns="91440" tIns="91440" rIns="91440" bIns="91440" rtlCol="0" anchor="t">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Integrated </a:t>
            </a:r>
            <a:br>
              <a:rPr kumimoji="0" lang="en-US" sz="12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br>
            <a:r>
              <a:rPr kumimoji="0" lang="en-US" sz="12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partnerships</a:t>
            </a:r>
          </a:p>
        </p:txBody>
      </p:sp>
      <p:sp>
        <p:nvSpPr>
          <p:cNvPr id="218" name="TextBox 217"/>
          <p:cNvSpPr txBox="1"/>
          <p:nvPr/>
        </p:nvSpPr>
        <p:spPr>
          <a:xfrm>
            <a:off x="9280509" y="3218136"/>
            <a:ext cx="687239" cy="369332"/>
          </a:xfrm>
          <a:prstGeom prst="rect">
            <a:avLst/>
          </a:prstGeom>
        </p:spPr>
        <p:txBody>
          <a:bodyPr vert="horz" wrap="none" lIns="0" tIns="0" rIns="0" bIns="0" rtlCol="0" anchor="t">
            <a:sp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Increased </a:t>
            </a:r>
            <a:br>
              <a:rPr kumimoji="0" lang="en-US" sz="12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br>
            <a:r>
              <a:rPr kumimoji="0" lang="en-US" sz="12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revenue</a:t>
            </a:r>
          </a:p>
        </p:txBody>
      </p:sp>
      <p:sp>
        <p:nvSpPr>
          <p:cNvPr id="219" name="TextBox 218"/>
          <p:cNvSpPr txBox="1"/>
          <p:nvPr/>
        </p:nvSpPr>
        <p:spPr>
          <a:xfrm>
            <a:off x="10971716" y="3147328"/>
            <a:ext cx="913896" cy="369332"/>
          </a:xfrm>
          <a:prstGeom prst="rect">
            <a:avLst/>
          </a:prstGeom>
        </p:spPr>
        <p:txBody>
          <a:bodyPr vert="horz" wrap="square" lIns="0" tIns="0" rIns="0" bIns="0" rtlCol="0" anchor="t">
            <a:sp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Customer</a:t>
            </a:r>
            <a:br>
              <a:rPr kumimoji="0" lang="en-US" sz="12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br>
            <a:r>
              <a:rPr kumimoji="0" lang="en-US" sz="12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satisfaction</a:t>
            </a:r>
          </a:p>
        </p:txBody>
      </p:sp>
      <p:pic>
        <p:nvPicPr>
          <p:cNvPr id="224" name="Picture 2" descr="\\MAGNUM\Projects\Microsoft\Cloud Power FY12\Design\ICONS_PNG\Building.png"/>
          <p:cNvPicPr>
            <a:picLocks noChangeAspect="1" noChangeArrowheads="1"/>
          </p:cNvPicPr>
          <p:nvPr/>
        </p:nvPicPr>
        <p:blipFill>
          <a:blip r:embed="rId7" cstate="print">
            <a:duotone>
              <a:prstClr val="black"/>
              <a:schemeClr val="tx2">
                <a:tint val="45000"/>
                <a:satMod val="400000"/>
              </a:schemeClr>
            </a:duotone>
            <a:extLst>
              <a:ext uri="{BEBA8EAE-BF5A-486C-A8C5-ECC9F3942E4B}">
                <a14:imgProps xmlns:a14="http://schemas.microsoft.com/office/drawing/2010/main">
                  <a14:imgLayer r:embed="rId8">
                    <a14:imgEffect>
                      <a14:brightnessContrast contrast="20000"/>
                    </a14:imgEffect>
                  </a14:imgLayer>
                </a14:imgProps>
              </a:ext>
              <a:ext uri="{28A0092B-C50C-407E-A947-70E740481C1C}">
                <a14:useLocalDpi xmlns:a14="http://schemas.microsoft.com/office/drawing/2010/main"/>
              </a:ext>
            </a:extLst>
          </a:blip>
          <a:srcRect/>
          <a:stretch>
            <a:fillRect/>
          </a:stretch>
        </p:blipFill>
        <p:spPr bwMode="auto">
          <a:xfrm>
            <a:off x="10062888" y="2977111"/>
            <a:ext cx="656803" cy="656803"/>
          </a:xfrm>
          <a:prstGeom prst="rect">
            <a:avLst/>
          </a:prstGeom>
          <a:noFill/>
        </p:spPr>
      </p:pic>
      <p:sp>
        <p:nvSpPr>
          <p:cNvPr id="225" name="TextBox 224"/>
          <p:cNvSpPr txBox="1"/>
          <p:nvPr/>
        </p:nvSpPr>
        <p:spPr>
          <a:xfrm>
            <a:off x="8110890" y="3704042"/>
            <a:ext cx="556754" cy="184666"/>
          </a:xfrm>
          <a:prstGeom prst="rect">
            <a:avLst/>
          </a:prstGeom>
        </p:spPr>
        <p:txBody>
          <a:bodyPr vert="horz" wrap="none" lIns="0" tIns="0" rIns="0" bIns="0" rtlCol="0" anchor="t">
            <a:sp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rPr>
              <a:t>Partners</a:t>
            </a:r>
          </a:p>
        </p:txBody>
      </p:sp>
      <p:sp>
        <p:nvSpPr>
          <p:cNvPr id="226" name="Oval 225"/>
          <p:cNvSpPr/>
          <p:nvPr/>
        </p:nvSpPr>
        <p:spPr>
          <a:xfrm>
            <a:off x="3458213" y="2131283"/>
            <a:ext cx="1628002" cy="1743640"/>
          </a:xfrm>
          <a:prstGeom prst="ellipse">
            <a:avLst/>
          </a:prstGeom>
          <a:solidFill>
            <a:srgbClr val="E4E4E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505050"/>
              </a:solidFill>
              <a:effectLst/>
              <a:uLnTx/>
              <a:uFillTx/>
              <a:latin typeface="Segoe UI"/>
              <a:ea typeface="+mn-ea"/>
              <a:cs typeface="+mn-cs"/>
            </a:endParaRPr>
          </a:p>
        </p:txBody>
      </p:sp>
      <p:sp>
        <p:nvSpPr>
          <p:cNvPr id="227" name="Rounded Rectangle 65"/>
          <p:cNvSpPr>
            <a:spLocks noChangeAspect="1"/>
          </p:cNvSpPr>
          <p:nvPr/>
        </p:nvSpPr>
        <p:spPr>
          <a:xfrm>
            <a:off x="3653844" y="2241632"/>
            <a:ext cx="495267" cy="476963"/>
          </a:xfrm>
          <a:custGeom>
            <a:avLst/>
            <a:gdLst>
              <a:gd name="connsiteX0" fmla="*/ 401955 w 6373827"/>
              <a:gd name="connsiteY0" fmla="*/ 4973523 h 6138270"/>
              <a:gd name="connsiteX1" fmla="*/ 2863215 w 6373827"/>
              <a:gd name="connsiteY1" fmla="*/ 4973523 h 6138270"/>
              <a:gd name="connsiteX2" fmla="*/ 2863215 w 6373827"/>
              <a:gd name="connsiteY2" fmla="*/ 6034736 h 6138270"/>
              <a:gd name="connsiteX3" fmla="*/ 2759681 w 6373827"/>
              <a:gd name="connsiteY3" fmla="*/ 6138270 h 6138270"/>
              <a:gd name="connsiteX4" fmla="*/ 2063592 w 6373827"/>
              <a:gd name="connsiteY4" fmla="*/ 6138270 h 6138270"/>
              <a:gd name="connsiteX5" fmla="*/ 2063592 w 6373827"/>
              <a:gd name="connsiteY5" fmla="*/ 5192595 h 6138270"/>
              <a:gd name="connsiteX6" fmla="*/ 1925480 w 6373827"/>
              <a:gd name="connsiteY6" fmla="*/ 5054483 h 6138270"/>
              <a:gd name="connsiteX7" fmla="*/ 1339691 w 6373827"/>
              <a:gd name="connsiteY7" fmla="*/ 5054483 h 6138270"/>
              <a:gd name="connsiteX8" fmla="*/ 1201579 w 6373827"/>
              <a:gd name="connsiteY8" fmla="*/ 5192595 h 6138270"/>
              <a:gd name="connsiteX9" fmla="*/ 1201579 w 6373827"/>
              <a:gd name="connsiteY9" fmla="*/ 6138270 h 6138270"/>
              <a:gd name="connsiteX10" fmla="*/ 505489 w 6373827"/>
              <a:gd name="connsiteY10" fmla="*/ 6138270 h 6138270"/>
              <a:gd name="connsiteX11" fmla="*/ 401955 w 6373827"/>
              <a:gd name="connsiteY11" fmla="*/ 6034736 h 6138270"/>
              <a:gd name="connsiteX12" fmla="*/ 401955 w 6373827"/>
              <a:gd name="connsiteY12" fmla="*/ 4973523 h 6138270"/>
              <a:gd name="connsiteX13" fmla="*/ 1632585 w 6373827"/>
              <a:gd name="connsiteY13" fmla="*/ 3906725 h 6138270"/>
              <a:gd name="connsiteX14" fmla="*/ 2863215 w 6373827"/>
              <a:gd name="connsiteY14" fmla="*/ 4973522 h 6138270"/>
              <a:gd name="connsiteX15" fmla="*/ 401955 w 6373827"/>
              <a:gd name="connsiteY15" fmla="*/ 4973522 h 6138270"/>
              <a:gd name="connsiteX16" fmla="*/ 1632585 w 6373827"/>
              <a:gd name="connsiteY16" fmla="*/ 3906725 h 6138270"/>
              <a:gd name="connsiteX17" fmla="*/ 5490667 w 6373827"/>
              <a:gd name="connsiteY17" fmla="*/ 3608415 h 6138270"/>
              <a:gd name="connsiteX18" fmla="*/ 6059089 w 6373827"/>
              <a:gd name="connsiteY18" fmla="*/ 3608415 h 6138270"/>
              <a:gd name="connsiteX19" fmla="*/ 6354337 w 6373827"/>
              <a:gd name="connsiteY19" fmla="*/ 3803640 h 6138270"/>
              <a:gd name="connsiteX20" fmla="*/ 6368029 w 6373827"/>
              <a:gd name="connsiteY20" fmla="*/ 3847343 h 6138270"/>
              <a:gd name="connsiteX21" fmla="*/ 6373827 w 6373827"/>
              <a:gd name="connsiteY21" fmla="*/ 3904862 h 6138270"/>
              <a:gd name="connsiteX22" fmla="*/ 6373827 w 6373827"/>
              <a:gd name="connsiteY22" fmla="*/ 3923154 h 6138270"/>
              <a:gd name="connsiteX23" fmla="*/ 6373827 w 6373827"/>
              <a:gd name="connsiteY23" fmla="*/ 4009528 h 6138270"/>
              <a:gd name="connsiteX24" fmla="*/ 6373827 w 6373827"/>
              <a:gd name="connsiteY24" fmla="*/ 4720751 h 6138270"/>
              <a:gd name="connsiteX25" fmla="*/ 6260798 w 6373827"/>
              <a:gd name="connsiteY25" fmla="*/ 4833781 h 6138270"/>
              <a:gd name="connsiteX26" fmla="*/ 6147769 w 6373827"/>
              <a:gd name="connsiteY26" fmla="*/ 4720751 h 6138270"/>
              <a:gd name="connsiteX27" fmla="*/ 6147769 w 6373827"/>
              <a:gd name="connsiteY27" fmla="*/ 4310036 h 6138270"/>
              <a:gd name="connsiteX28" fmla="*/ 6146571 w 6373827"/>
              <a:gd name="connsiteY28" fmla="*/ 4310335 h 6138270"/>
              <a:gd name="connsiteX29" fmla="*/ 6146571 w 6373827"/>
              <a:gd name="connsiteY29" fmla="*/ 4006446 h 6138270"/>
              <a:gd name="connsiteX30" fmla="*/ 6141788 w 6373827"/>
              <a:gd name="connsiteY30" fmla="*/ 4001663 h 6138270"/>
              <a:gd name="connsiteX31" fmla="*/ 6093957 w 6373827"/>
              <a:gd name="connsiteY31" fmla="*/ 4001663 h 6138270"/>
              <a:gd name="connsiteX32" fmla="*/ 6089174 w 6373827"/>
              <a:gd name="connsiteY32" fmla="*/ 4006446 h 6138270"/>
              <a:gd name="connsiteX33" fmla="*/ 6090110 w 6373827"/>
              <a:gd name="connsiteY33" fmla="*/ 4288441 h 6138270"/>
              <a:gd name="connsiteX34" fmla="*/ 6090110 w 6373827"/>
              <a:gd name="connsiteY34" fmla="*/ 5970857 h 6138270"/>
              <a:gd name="connsiteX35" fmla="*/ 5948823 w 6373827"/>
              <a:gd name="connsiteY35" fmla="*/ 6112144 h 6138270"/>
              <a:gd name="connsiteX36" fmla="*/ 5807537 w 6373827"/>
              <a:gd name="connsiteY36" fmla="*/ 5970857 h 6138270"/>
              <a:gd name="connsiteX37" fmla="*/ 5807537 w 6373827"/>
              <a:gd name="connsiteY37" fmla="*/ 4907726 h 6138270"/>
              <a:gd name="connsiteX38" fmla="*/ 5806601 w 6373827"/>
              <a:gd name="connsiteY38" fmla="*/ 4826563 h 6138270"/>
              <a:gd name="connsiteX39" fmla="*/ 5802404 w 6373827"/>
              <a:gd name="connsiteY39" fmla="*/ 4822365 h 6138270"/>
              <a:gd name="connsiteX40" fmla="*/ 5750295 w 6373827"/>
              <a:gd name="connsiteY40" fmla="*/ 4822365 h 6138270"/>
              <a:gd name="connsiteX41" fmla="*/ 5746098 w 6373827"/>
              <a:gd name="connsiteY41" fmla="*/ 4826563 h 6138270"/>
              <a:gd name="connsiteX42" fmla="*/ 5746098 w 6373827"/>
              <a:gd name="connsiteY42" fmla="*/ 4907726 h 6138270"/>
              <a:gd name="connsiteX43" fmla="*/ 5745746 w 6373827"/>
              <a:gd name="connsiteY43" fmla="*/ 5970857 h 6138270"/>
              <a:gd name="connsiteX44" fmla="*/ 5604460 w 6373827"/>
              <a:gd name="connsiteY44" fmla="*/ 6112144 h 6138270"/>
              <a:gd name="connsiteX45" fmla="*/ 5463173 w 6373827"/>
              <a:gd name="connsiteY45" fmla="*/ 5970857 h 6138270"/>
              <a:gd name="connsiteX46" fmla="*/ 5463173 w 6373827"/>
              <a:gd name="connsiteY46" fmla="*/ 4322181 h 6138270"/>
              <a:gd name="connsiteX47" fmla="*/ 5458767 w 6373827"/>
              <a:gd name="connsiteY47" fmla="*/ 4006373 h 6138270"/>
              <a:gd name="connsiteX48" fmla="*/ 5454057 w 6373827"/>
              <a:gd name="connsiteY48" fmla="*/ 4001663 h 6138270"/>
              <a:gd name="connsiteX49" fmla="*/ 5406962 w 6373827"/>
              <a:gd name="connsiteY49" fmla="*/ 4001663 h 6138270"/>
              <a:gd name="connsiteX50" fmla="*/ 5402252 w 6373827"/>
              <a:gd name="connsiteY50" fmla="*/ 4006373 h 6138270"/>
              <a:gd name="connsiteX51" fmla="*/ 5402252 w 6373827"/>
              <a:gd name="connsiteY51" fmla="*/ 4310102 h 6138270"/>
              <a:gd name="connsiteX52" fmla="*/ 5401987 w 6373827"/>
              <a:gd name="connsiteY52" fmla="*/ 4310036 h 6138270"/>
              <a:gd name="connsiteX53" fmla="*/ 5401987 w 6373827"/>
              <a:gd name="connsiteY53" fmla="*/ 4720751 h 6138270"/>
              <a:gd name="connsiteX54" fmla="*/ 5288958 w 6373827"/>
              <a:gd name="connsiteY54" fmla="*/ 4833781 h 6138270"/>
              <a:gd name="connsiteX55" fmla="*/ 5175928 w 6373827"/>
              <a:gd name="connsiteY55" fmla="*/ 4720751 h 6138270"/>
              <a:gd name="connsiteX56" fmla="*/ 5175928 w 6373827"/>
              <a:gd name="connsiteY56" fmla="*/ 4009528 h 6138270"/>
              <a:gd name="connsiteX57" fmla="*/ 5175928 w 6373827"/>
              <a:gd name="connsiteY57" fmla="*/ 3923154 h 6138270"/>
              <a:gd name="connsiteX58" fmla="*/ 5175928 w 6373827"/>
              <a:gd name="connsiteY58" fmla="*/ 3904862 h 6138270"/>
              <a:gd name="connsiteX59" fmla="*/ 5187098 w 6373827"/>
              <a:gd name="connsiteY59" fmla="*/ 3827823 h 6138270"/>
              <a:gd name="connsiteX60" fmla="*/ 5193946 w 6373827"/>
              <a:gd name="connsiteY60" fmla="*/ 3805111 h 6138270"/>
              <a:gd name="connsiteX61" fmla="*/ 5490667 w 6373827"/>
              <a:gd name="connsiteY61" fmla="*/ 3608415 h 6138270"/>
              <a:gd name="connsiteX62" fmla="*/ 1628775 w 6373827"/>
              <a:gd name="connsiteY62" fmla="*/ 3287598 h 6138270"/>
              <a:gd name="connsiteX63" fmla="*/ 2162175 w 6373827"/>
              <a:gd name="connsiteY63" fmla="*/ 3749560 h 6138270"/>
              <a:gd name="connsiteX64" fmla="*/ 2162175 w 6373827"/>
              <a:gd name="connsiteY64" fmla="*/ 3406660 h 6138270"/>
              <a:gd name="connsiteX65" fmla="*/ 2581275 w 6373827"/>
              <a:gd name="connsiteY65" fmla="*/ 3406660 h 6138270"/>
              <a:gd name="connsiteX66" fmla="*/ 2581275 w 6373827"/>
              <a:gd name="connsiteY66" fmla="*/ 4121035 h 6138270"/>
              <a:gd name="connsiteX67" fmla="*/ 3219450 w 6373827"/>
              <a:gd name="connsiteY67" fmla="*/ 4678248 h 6138270"/>
              <a:gd name="connsiteX68" fmla="*/ 3219450 w 6373827"/>
              <a:gd name="connsiteY68" fmla="*/ 5078298 h 6138270"/>
              <a:gd name="connsiteX69" fmla="*/ 1619250 w 6373827"/>
              <a:gd name="connsiteY69" fmla="*/ 3711460 h 6138270"/>
              <a:gd name="connsiteX70" fmla="*/ 0 w 6373827"/>
              <a:gd name="connsiteY70" fmla="*/ 5087823 h 6138270"/>
              <a:gd name="connsiteX71" fmla="*/ 0 w 6373827"/>
              <a:gd name="connsiteY71" fmla="*/ 4683010 h 6138270"/>
              <a:gd name="connsiteX72" fmla="*/ 1628775 w 6373827"/>
              <a:gd name="connsiteY72" fmla="*/ 3287598 h 6138270"/>
              <a:gd name="connsiteX73" fmla="*/ 5774878 w 6373827"/>
              <a:gd name="connsiteY73" fmla="*/ 3043007 h 6138270"/>
              <a:gd name="connsiteX74" fmla="*/ 6024128 w 6373827"/>
              <a:gd name="connsiteY74" fmla="*/ 3292258 h 6138270"/>
              <a:gd name="connsiteX75" fmla="*/ 5774878 w 6373827"/>
              <a:gd name="connsiteY75" fmla="*/ 3541509 h 6138270"/>
              <a:gd name="connsiteX76" fmla="*/ 5525627 w 6373827"/>
              <a:gd name="connsiteY76" fmla="*/ 3292258 h 6138270"/>
              <a:gd name="connsiteX77" fmla="*/ 5774878 w 6373827"/>
              <a:gd name="connsiteY77" fmla="*/ 3043007 h 6138270"/>
              <a:gd name="connsiteX78" fmla="*/ 3706676 w 6373827"/>
              <a:gd name="connsiteY78" fmla="*/ 0 h 6138270"/>
              <a:gd name="connsiteX79" fmla="*/ 3862160 w 6373827"/>
              <a:gd name="connsiteY79" fmla="*/ 155484 h 6138270"/>
              <a:gd name="connsiteX80" fmla="*/ 3862160 w 6373827"/>
              <a:gd name="connsiteY80" fmla="*/ 441065 h 6138270"/>
              <a:gd name="connsiteX81" fmla="*/ 5510620 w 6373827"/>
              <a:gd name="connsiteY81" fmla="*/ 1285578 h 6138270"/>
              <a:gd name="connsiteX82" fmla="*/ 5919923 w 6373827"/>
              <a:gd name="connsiteY82" fmla="*/ 2822641 h 6138270"/>
              <a:gd name="connsiteX83" fmla="*/ 5918206 w 6373827"/>
              <a:gd name="connsiteY83" fmla="*/ 2822641 h 6138270"/>
              <a:gd name="connsiteX84" fmla="*/ 5181510 w 6373827"/>
              <a:gd name="connsiteY84" fmla="*/ 2378505 h 6138270"/>
              <a:gd name="connsiteX85" fmla="*/ 4444815 w 6373827"/>
              <a:gd name="connsiteY85" fmla="*/ 2822641 h 6138270"/>
              <a:gd name="connsiteX86" fmla="*/ 4443372 w 6373827"/>
              <a:gd name="connsiteY86" fmla="*/ 2822641 h 6138270"/>
              <a:gd name="connsiteX87" fmla="*/ 3862160 w 6373827"/>
              <a:gd name="connsiteY87" fmla="*/ 2390781 h 6138270"/>
              <a:gd name="connsiteX88" fmla="*/ 3862160 w 6373827"/>
              <a:gd name="connsiteY88" fmla="*/ 5261042 h 6138270"/>
              <a:gd name="connsiteX89" fmla="*/ 3864701 w 6373827"/>
              <a:gd name="connsiteY89" fmla="*/ 5261042 h 6138270"/>
              <a:gd name="connsiteX90" fmla="*/ 4217943 w 6373827"/>
              <a:gd name="connsiteY90" fmla="*/ 5771650 h 6138270"/>
              <a:gd name="connsiteX91" fmla="*/ 4444978 w 6373827"/>
              <a:gd name="connsiteY91" fmla="*/ 5457393 h 6138270"/>
              <a:gd name="connsiteX92" fmla="*/ 4752975 w 6373827"/>
              <a:gd name="connsiteY92" fmla="*/ 5452631 h 6138270"/>
              <a:gd name="connsiteX93" fmla="*/ 4726849 w 6373827"/>
              <a:gd name="connsiteY93" fmla="*/ 5774848 h 6138270"/>
              <a:gd name="connsiteX94" fmla="*/ 4239169 w 6373827"/>
              <a:gd name="connsiteY94" fmla="*/ 6123191 h 6138270"/>
              <a:gd name="connsiteX95" fmla="*/ 3635897 w 6373827"/>
              <a:gd name="connsiteY95" fmla="*/ 5781243 h 6138270"/>
              <a:gd name="connsiteX96" fmla="*/ 3551270 w 6373827"/>
              <a:gd name="connsiteY96" fmla="*/ 5410743 h 6138270"/>
              <a:gd name="connsiteX97" fmla="*/ 3551192 w 6373827"/>
              <a:gd name="connsiteY97" fmla="*/ 5410358 h 6138270"/>
              <a:gd name="connsiteX98" fmla="*/ 3551192 w 6373827"/>
              <a:gd name="connsiteY98" fmla="*/ 5409089 h 6138270"/>
              <a:gd name="connsiteX99" fmla="*/ 3551192 w 6373827"/>
              <a:gd name="connsiteY99" fmla="*/ 5261042 h 6138270"/>
              <a:gd name="connsiteX100" fmla="*/ 3551192 w 6373827"/>
              <a:gd name="connsiteY100" fmla="*/ 2390781 h 6138270"/>
              <a:gd name="connsiteX101" fmla="*/ 2969980 w 6373827"/>
              <a:gd name="connsiteY101" fmla="*/ 2822641 h 6138270"/>
              <a:gd name="connsiteX102" fmla="*/ 2968539 w 6373827"/>
              <a:gd name="connsiteY102" fmla="*/ 2822641 h 6138270"/>
              <a:gd name="connsiteX103" fmla="*/ 2231843 w 6373827"/>
              <a:gd name="connsiteY103" fmla="*/ 2378505 h 6138270"/>
              <a:gd name="connsiteX104" fmla="*/ 1495147 w 6373827"/>
              <a:gd name="connsiteY104" fmla="*/ 2822641 h 6138270"/>
              <a:gd name="connsiteX105" fmla="*/ 1487260 w 6373827"/>
              <a:gd name="connsiteY105" fmla="*/ 2822641 h 6138270"/>
              <a:gd name="connsiteX106" fmla="*/ 3551192 w 6373827"/>
              <a:gd name="connsiteY106" fmla="*/ 435206 h 6138270"/>
              <a:gd name="connsiteX107" fmla="*/ 3551192 w 6373827"/>
              <a:gd name="connsiteY107" fmla="*/ 155484 h 6138270"/>
              <a:gd name="connsiteX108" fmla="*/ 3706676 w 6373827"/>
              <a:gd name="connsiteY108" fmla="*/ 0 h 6138270"/>
              <a:gd name="connsiteX0" fmla="*/ 401955 w 6373827"/>
              <a:gd name="connsiteY0" fmla="*/ 4973523 h 6138270"/>
              <a:gd name="connsiteX1" fmla="*/ 2863215 w 6373827"/>
              <a:gd name="connsiteY1" fmla="*/ 4973523 h 6138270"/>
              <a:gd name="connsiteX2" fmla="*/ 2863215 w 6373827"/>
              <a:gd name="connsiteY2" fmla="*/ 6034736 h 6138270"/>
              <a:gd name="connsiteX3" fmla="*/ 2759681 w 6373827"/>
              <a:gd name="connsiteY3" fmla="*/ 6138270 h 6138270"/>
              <a:gd name="connsiteX4" fmla="*/ 2063592 w 6373827"/>
              <a:gd name="connsiteY4" fmla="*/ 6138270 h 6138270"/>
              <a:gd name="connsiteX5" fmla="*/ 2063592 w 6373827"/>
              <a:gd name="connsiteY5" fmla="*/ 5192595 h 6138270"/>
              <a:gd name="connsiteX6" fmla="*/ 1925480 w 6373827"/>
              <a:gd name="connsiteY6" fmla="*/ 5054483 h 6138270"/>
              <a:gd name="connsiteX7" fmla="*/ 1339691 w 6373827"/>
              <a:gd name="connsiteY7" fmla="*/ 5054483 h 6138270"/>
              <a:gd name="connsiteX8" fmla="*/ 1201579 w 6373827"/>
              <a:gd name="connsiteY8" fmla="*/ 5192595 h 6138270"/>
              <a:gd name="connsiteX9" fmla="*/ 1201579 w 6373827"/>
              <a:gd name="connsiteY9" fmla="*/ 6138270 h 6138270"/>
              <a:gd name="connsiteX10" fmla="*/ 505489 w 6373827"/>
              <a:gd name="connsiteY10" fmla="*/ 6138270 h 6138270"/>
              <a:gd name="connsiteX11" fmla="*/ 401955 w 6373827"/>
              <a:gd name="connsiteY11" fmla="*/ 6034736 h 6138270"/>
              <a:gd name="connsiteX12" fmla="*/ 401955 w 6373827"/>
              <a:gd name="connsiteY12" fmla="*/ 4973523 h 6138270"/>
              <a:gd name="connsiteX13" fmla="*/ 1632585 w 6373827"/>
              <a:gd name="connsiteY13" fmla="*/ 3906725 h 6138270"/>
              <a:gd name="connsiteX14" fmla="*/ 2863215 w 6373827"/>
              <a:gd name="connsiteY14" fmla="*/ 4973522 h 6138270"/>
              <a:gd name="connsiteX15" fmla="*/ 401955 w 6373827"/>
              <a:gd name="connsiteY15" fmla="*/ 4973522 h 6138270"/>
              <a:gd name="connsiteX16" fmla="*/ 1632585 w 6373827"/>
              <a:gd name="connsiteY16" fmla="*/ 3906725 h 6138270"/>
              <a:gd name="connsiteX17" fmla="*/ 5490667 w 6373827"/>
              <a:gd name="connsiteY17" fmla="*/ 3608415 h 6138270"/>
              <a:gd name="connsiteX18" fmla="*/ 6059089 w 6373827"/>
              <a:gd name="connsiteY18" fmla="*/ 3608415 h 6138270"/>
              <a:gd name="connsiteX19" fmla="*/ 6354337 w 6373827"/>
              <a:gd name="connsiteY19" fmla="*/ 3803640 h 6138270"/>
              <a:gd name="connsiteX20" fmla="*/ 6368029 w 6373827"/>
              <a:gd name="connsiteY20" fmla="*/ 3847343 h 6138270"/>
              <a:gd name="connsiteX21" fmla="*/ 6373827 w 6373827"/>
              <a:gd name="connsiteY21" fmla="*/ 3904862 h 6138270"/>
              <a:gd name="connsiteX22" fmla="*/ 6373827 w 6373827"/>
              <a:gd name="connsiteY22" fmla="*/ 3923154 h 6138270"/>
              <a:gd name="connsiteX23" fmla="*/ 6373827 w 6373827"/>
              <a:gd name="connsiteY23" fmla="*/ 4009528 h 6138270"/>
              <a:gd name="connsiteX24" fmla="*/ 6373827 w 6373827"/>
              <a:gd name="connsiteY24" fmla="*/ 4720751 h 6138270"/>
              <a:gd name="connsiteX25" fmla="*/ 6260798 w 6373827"/>
              <a:gd name="connsiteY25" fmla="*/ 4833781 h 6138270"/>
              <a:gd name="connsiteX26" fmla="*/ 6147769 w 6373827"/>
              <a:gd name="connsiteY26" fmla="*/ 4720751 h 6138270"/>
              <a:gd name="connsiteX27" fmla="*/ 6147769 w 6373827"/>
              <a:gd name="connsiteY27" fmla="*/ 4310036 h 6138270"/>
              <a:gd name="connsiteX28" fmla="*/ 6146571 w 6373827"/>
              <a:gd name="connsiteY28" fmla="*/ 4310335 h 6138270"/>
              <a:gd name="connsiteX29" fmla="*/ 6146571 w 6373827"/>
              <a:gd name="connsiteY29" fmla="*/ 4006446 h 6138270"/>
              <a:gd name="connsiteX30" fmla="*/ 6141788 w 6373827"/>
              <a:gd name="connsiteY30" fmla="*/ 4001663 h 6138270"/>
              <a:gd name="connsiteX31" fmla="*/ 6093957 w 6373827"/>
              <a:gd name="connsiteY31" fmla="*/ 4001663 h 6138270"/>
              <a:gd name="connsiteX32" fmla="*/ 6089174 w 6373827"/>
              <a:gd name="connsiteY32" fmla="*/ 4006446 h 6138270"/>
              <a:gd name="connsiteX33" fmla="*/ 6090110 w 6373827"/>
              <a:gd name="connsiteY33" fmla="*/ 4288441 h 6138270"/>
              <a:gd name="connsiteX34" fmla="*/ 6090110 w 6373827"/>
              <a:gd name="connsiteY34" fmla="*/ 5970857 h 6138270"/>
              <a:gd name="connsiteX35" fmla="*/ 5948823 w 6373827"/>
              <a:gd name="connsiteY35" fmla="*/ 6112144 h 6138270"/>
              <a:gd name="connsiteX36" fmla="*/ 5807537 w 6373827"/>
              <a:gd name="connsiteY36" fmla="*/ 5970857 h 6138270"/>
              <a:gd name="connsiteX37" fmla="*/ 5807537 w 6373827"/>
              <a:gd name="connsiteY37" fmla="*/ 4907726 h 6138270"/>
              <a:gd name="connsiteX38" fmla="*/ 5806601 w 6373827"/>
              <a:gd name="connsiteY38" fmla="*/ 4826563 h 6138270"/>
              <a:gd name="connsiteX39" fmla="*/ 5802404 w 6373827"/>
              <a:gd name="connsiteY39" fmla="*/ 4822365 h 6138270"/>
              <a:gd name="connsiteX40" fmla="*/ 5750295 w 6373827"/>
              <a:gd name="connsiteY40" fmla="*/ 4822365 h 6138270"/>
              <a:gd name="connsiteX41" fmla="*/ 5746098 w 6373827"/>
              <a:gd name="connsiteY41" fmla="*/ 4826563 h 6138270"/>
              <a:gd name="connsiteX42" fmla="*/ 5746098 w 6373827"/>
              <a:gd name="connsiteY42" fmla="*/ 4907726 h 6138270"/>
              <a:gd name="connsiteX43" fmla="*/ 5745746 w 6373827"/>
              <a:gd name="connsiteY43" fmla="*/ 5970857 h 6138270"/>
              <a:gd name="connsiteX44" fmla="*/ 5604460 w 6373827"/>
              <a:gd name="connsiteY44" fmla="*/ 6112144 h 6138270"/>
              <a:gd name="connsiteX45" fmla="*/ 5463173 w 6373827"/>
              <a:gd name="connsiteY45" fmla="*/ 5970857 h 6138270"/>
              <a:gd name="connsiteX46" fmla="*/ 5463173 w 6373827"/>
              <a:gd name="connsiteY46" fmla="*/ 4322181 h 6138270"/>
              <a:gd name="connsiteX47" fmla="*/ 5458767 w 6373827"/>
              <a:gd name="connsiteY47" fmla="*/ 4006373 h 6138270"/>
              <a:gd name="connsiteX48" fmla="*/ 5454057 w 6373827"/>
              <a:gd name="connsiteY48" fmla="*/ 4001663 h 6138270"/>
              <a:gd name="connsiteX49" fmla="*/ 5406962 w 6373827"/>
              <a:gd name="connsiteY49" fmla="*/ 4001663 h 6138270"/>
              <a:gd name="connsiteX50" fmla="*/ 5402252 w 6373827"/>
              <a:gd name="connsiteY50" fmla="*/ 4006373 h 6138270"/>
              <a:gd name="connsiteX51" fmla="*/ 5402252 w 6373827"/>
              <a:gd name="connsiteY51" fmla="*/ 4310102 h 6138270"/>
              <a:gd name="connsiteX52" fmla="*/ 5401987 w 6373827"/>
              <a:gd name="connsiteY52" fmla="*/ 4310036 h 6138270"/>
              <a:gd name="connsiteX53" fmla="*/ 5401987 w 6373827"/>
              <a:gd name="connsiteY53" fmla="*/ 4720751 h 6138270"/>
              <a:gd name="connsiteX54" fmla="*/ 5288958 w 6373827"/>
              <a:gd name="connsiteY54" fmla="*/ 4833781 h 6138270"/>
              <a:gd name="connsiteX55" fmla="*/ 5175928 w 6373827"/>
              <a:gd name="connsiteY55" fmla="*/ 4720751 h 6138270"/>
              <a:gd name="connsiteX56" fmla="*/ 5175928 w 6373827"/>
              <a:gd name="connsiteY56" fmla="*/ 4009528 h 6138270"/>
              <a:gd name="connsiteX57" fmla="*/ 5175928 w 6373827"/>
              <a:gd name="connsiteY57" fmla="*/ 3923154 h 6138270"/>
              <a:gd name="connsiteX58" fmla="*/ 5175928 w 6373827"/>
              <a:gd name="connsiteY58" fmla="*/ 3904862 h 6138270"/>
              <a:gd name="connsiteX59" fmla="*/ 5187098 w 6373827"/>
              <a:gd name="connsiteY59" fmla="*/ 3827823 h 6138270"/>
              <a:gd name="connsiteX60" fmla="*/ 5193946 w 6373827"/>
              <a:gd name="connsiteY60" fmla="*/ 3805111 h 6138270"/>
              <a:gd name="connsiteX61" fmla="*/ 5490667 w 6373827"/>
              <a:gd name="connsiteY61" fmla="*/ 3608415 h 6138270"/>
              <a:gd name="connsiteX62" fmla="*/ 1628775 w 6373827"/>
              <a:gd name="connsiteY62" fmla="*/ 3287598 h 6138270"/>
              <a:gd name="connsiteX63" fmla="*/ 2162175 w 6373827"/>
              <a:gd name="connsiteY63" fmla="*/ 3749560 h 6138270"/>
              <a:gd name="connsiteX64" fmla="*/ 2162175 w 6373827"/>
              <a:gd name="connsiteY64" fmla="*/ 3406660 h 6138270"/>
              <a:gd name="connsiteX65" fmla="*/ 2581275 w 6373827"/>
              <a:gd name="connsiteY65" fmla="*/ 3406660 h 6138270"/>
              <a:gd name="connsiteX66" fmla="*/ 2581275 w 6373827"/>
              <a:gd name="connsiteY66" fmla="*/ 4121035 h 6138270"/>
              <a:gd name="connsiteX67" fmla="*/ 3219450 w 6373827"/>
              <a:gd name="connsiteY67" fmla="*/ 4678248 h 6138270"/>
              <a:gd name="connsiteX68" fmla="*/ 3219450 w 6373827"/>
              <a:gd name="connsiteY68" fmla="*/ 5078298 h 6138270"/>
              <a:gd name="connsiteX69" fmla="*/ 1619250 w 6373827"/>
              <a:gd name="connsiteY69" fmla="*/ 3711460 h 6138270"/>
              <a:gd name="connsiteX70" fmla="*/ 0 w 6373827"/>
              <a:gd name="connsiteY70" fmla="*/ 5087823 h 6138270"/>
              <a:gd name="connsiteX71" fmla="*/ 0 w 6373827"/>
              <a:gd name="connsiteY71" fmla="*/ 4683010 h 6138270"/>
              <a:gd name="connsiteX72" fmla="*/ 1628775 w 6373827"/>
              <a:gd name="connsiteY72" fmla="*/ 3287598 h 6138270"/>
              <a:gd name="connsiteX73" fmla="*/ 5774878 w 6373827"/>
              <a:gd name="connsiteY73" fmla="*/ 3043007 h 6138270"/>
              <a:gd name="connsiteX74" fmla="*/ 6024128 w 6373827"/>
              <a:gd name="connsiteY74" fmla="*/ 3292258 h 6138270"/>
              <a:gd name="connsiteX75" fmla="*/ 5774878 w 6373827"/>
              <a:gd name="connsiteY75" fmla="*/ 3541509 h 6138270"/>
              <a:gd name="connsiteX76" fmla="*/ 5525627 w 6373827"/>
              <a:gd name="connsiteY76" fmla="*/ 3292258 h 6138270"/>
              <a:gd name="connsiteX77" fmla="*/ 5774878 w 6373827"/>
              <a:gd name="connsiteY77" fmla="*/ 3043007 h 6138270"/>
              <a:gd name="connsiteX78" fmla="*/ 3706676 w 6373827"/>
              <a:gd name="connsiteY78" fmla="*/ 0 h 6138270"/>
              <a:gd name="connsiteX79" fmla="*/ 3862160 w 6373827"/>
              <a:gd name="connsiteY79" fmla="*/ 155484 h 6138270"/>
              <a:gd name="connsiteX80" fmla="*/ 3862160 w 6373827"/>
              <a:gd name="connsiteY80" fmla="*/ 441065 h 6138270"/>
              <a:gd name="connsiteX81" fmla="*/ 5510620 w 6373827"/>
              <a:gd name="connsiteY81" fmla="*/ 1285578 h 6138270"/>
              <a:gd name="connsiteX82" fmla="*/ 5511586 w 6373827"/>
              <a:gd name="connsiteY82" fmla="*/ 1286698 h 6138270"/>
              <a:gd name="connsiteX83" fmla="*/ 5919923 w 6373827"/>
              <a:gd name="connsiteY83" fmla="*/ 2822641 h 6138270"/>
              <a:gd name="connsiteX84" fmla="*/ 5918206 w 6373827"/>
              <a:gd name="connsiteY84" fmla="*/ 2822641 h 6138270"/>
              <a:gd name="connsiteX85" fmla="*/ 5181510 w 6373827"/>
              <a:gd name="connsiteY85" fmla="*/ 2378505 h 6138270"/>
              <a:gd name="connsiteX86" fmla="*/ 4444815 w 6373827"/>
              <a:gd name="connsiteY86" fmla="*/ 2822641 h 6138270"/>
              <a:gd name="connsiteX87" fmla="*/ 4443372 w 6373827"/>
              <a:gd name="connsiteY87" fmla="*/ 2822641 h 6138270"/>
              <a:gd name="connsiteX88" fmla="*/ 3862160 w 6373827"/>
              <a:gd name="connsiteY88" fmla="*/ 2390781 h 6138270"/>
              <a:gd name="connsiteX89" fmla="*/ 3862160 w 6373827"/>
              <a:gd name="connsiteY89" fmla="*/ 5261042 h 6138270"/>
              <a:gd name="connsiteX90" fmla="*/ 3864701 w 6373827"/>
              <a:gd name="connsiteY90" fmla="*/ 5261042 h 6138270"/>
              <a:gd name="connsiteX91" fmla="*/ 4217943 w 6373827"/>
              <a:gd name="connsiteY91" fmla="*/ 5771650 h 6138270"/>
              <a:gd name="connsiteX92" fmla="*/ 4444978 w 6373827"/>
              <a:gd name="connsiteY92" fmla="*/ 5457393 h 6138270"/>
              <a:gd name="connsiteX93" fmla="*/ 4752975 w 6373827"/>
              <a:gd name="connsiteY93" fmla="*/ 5452631 h 6138270"/>
              <a:gd name="connsiteX94" fmla="*/ 4726849 w 6373827"/>
              <a:gd name="connsiteY94" fmla="*/ 5774848 h 6138270"/>
              <a:gd name="connsiteX95" fmla="*/ 4239169 w 6373827"/>
              <a:gd name="connsiteY95" fmla="*/ 6123191 h 6138270"/>
              <a:gd name="connsiteX96" fmla="*/ 3635897 w 6373827"/>
              <a:gd name="connsiteY96" fmla="*/ 5781243 h 6138270"/>
              <a:gd name="connsiteX97" fmla="*/ 3551270 w 6373827"/>
              <a:gd name="connsiteY97" fmla="*/ 5410743 h 6138270"/>
              <a:gd name="connsiteX98" fmla="*/ 3551192 w 6373827"/>
              <a:gd name="connsiteY98" fmla="*/ 5410358 h 6138270"/>
              <a:gd name="connsiteX99" fmla="*/ 3551192 w 6373827"/>
              <a:gd name="connsiteY99" fmla="*/ 5409089 h 6138270"/>
              <a:gd name="connsiteX100" fmla="*/ 3551192 w 6373827"/>
              <a:gd name="connsiteY100" fmla="*/ 5261042 h 6138270"/>
              <a:gd name="connsiteX101" fmla="*/ 3551192 w 6373827"/>
              <a:gd name="connsiteY101" fmla="*/ 2390781 h 6138270"/>
              <a:gd name="connsiteX102" fmla="*/ 2969980 w 6373827"/>
              <a:gd name="connsiteY102" fmla="*/ 2822641 h 6138270"/>
              <a:gd name="connsiteX103" fmla="*/ 2968539 w 6373827"/>
              <a:gd name="connsiteY103" fmla="*/ 2822641 h 6138270"/>
              <a:gd name="connsiteX104" fmla="*/ 2231843 w 6373827"/>
              <a:gd name="connsiteY104" fmla="*/ 2378505 h 6138270"/>
              <a:gd name="connsiteX105" fmla="*/ 1495147 w 6373827"/>
              <a:gd name="connsiteY105" fmla="*/ 2822641 h 6138270"/>
              <a:gd name="connsiteX106" fmla="*/ 1487260 w 6373827"/>
              <a:gd name="connsiteY106" fmla="*/ 2822641 h 6138270"/>
              <a:gd name="connsiteX107" fmla="*/ 3551192 w 6373827"/>
              <a:gd name="connsiteY107" fmla="*/ 435206 h 6138270"/>
              <a:gd name="connsiteX108" fmla="*/ 3551192 w 6373827"/>
              <a:gd name="connsiteY108" fmla="*/ 155484 h 6138270"/>
              <a:gd name="connsiteX109" fmla="*/ 3706676 w 6373827"/>
              <a:gd name="connsiteY109" fmla="*/ 0 h 6138270"/>
              <a:gd name="connsiteX0" fmla="*/ 401955 w 6373827"/>
              <a:gd name="connsiteY0" fmla="*/ 4973523 h 6138270"/>
              <a:gd name="connsiteX1" fmla="*/ 2863215 w 6373827"/>
              <a:gd name="connsiteY1" fmla="*/ 4973523 h 6138270"/>
              <a:gd name="connsiteX2" fmla="*/ 2863215 w 6373827"/>
              <a:gd name="connsiteY2" fmla="*/ 6034736 h 6138270"/>
              <a:gd name="connsiteX3" fmla="*/ 2759681 w 6373827"/>
              <a:gd name="connsiteY3" fmla="*/ 6138270 h 6138270"/>
              <a:gd name="connsiteX4" fmla="*/ 2063592 w 6373827"/>
              <a:gd name="connsiteY4" fmla="*/ 6138270 h 6138270"/>
              <a:gd name="connsiteX5" fmla="*/ 2063592 w 6373827"/>
              <a:gd name="connsiteY5" fmla="*/ 5192595 h 6138270"/>
              <a:gd name="connsiteX6" fmla="*/ 1925480 w 6373827"/>
              <a:gd name="connsiteY6" fmla="*/ 5054483 h 6138270"/>
              <a:gd name="connsiteX7" fmla="*/ 1339691 w 6373827"/>
              <a:gd name="connsiteY7" fmla="*/ 5054483 h 6138270"/>
              <a:gd name="connsiteX8" fmla="*/ 1201579 w 6373827"/>
              <a:gd name="connsiteY8" fmla="*/ 5192595 h 6138270"/>
              <a:gd name="connsiteX9" fmla="*/ 1201579 w 6373827"/>
              <a:gd name="connsiteY9" fmla="*/ 6138270 h 6138270"/>
              <a:gd name="connsiteX10" fmla="*/ 505489 w 6373827"/>
              <a:gd name="connsiteY10" fmla="*/ 6138270 h 6138270"/>
              <a:gd name="connsiteX11" fmla="*/ 401955 w 6373827"/>
              <a:gd name="connsiteY11" fmla="*/ 6034736 h 6138270"/>
              <a:gd name="connsiteX12" fmla="*/ 401955 w 6373827"/>
              <a:gd name="connsiteY12" fmla="*/ 4973523 h 6138270"/>
              <a:gd name="connsiteX13" fmla="*/ 1632585 w 6373827"/>
              <a:gd name="connsiteY13" fmla="*/ 3906725 h 6138270"/>
              <a:gd name="connsiteX14" fmla="*/ 2863215 w 6373827"/>
              <a:gd name="connsiteY14" fmla="*/ 4973522 h 6138270"/>
              <a:gd name="connsiteX15" fmla="*/ 401955 w 6373827"/>
              <a:gd name="connsiteY15" fmla="*/ 4973522 h 6138270"/>
              <a:gd name="connsiteX16" fmla="*/ 1632585 w 6373827"/>
              <a:gd name="connsiteY16" fmla="*/ 3906725 h 6138270"/>
              <a:gd name="connsiteX17" fmla="*/ 5490667 w 6373827"/>
              <a:gd name="connsiteY17" fmla="*/ 3608415 h 6138270"/>
              <a:gd name="connsiteX18" fmla="*/ 6059089 w 6373827"/>
              <a:gd name="connsiteY18" fmla="*/ 3608415 h 6138270"/>
              <a:gd name="connsiteX19" fmla="*/ 6354337 w 6373827"/>
              <a:gd name="connsiteY19" fmla="*/ 3803640 h 6138270"/>
              <a:gd name="connsiteX20" fmla="*/ 6368029 w 6373827"/>
              <a:gd name="connsiteY20" fmla="*/ 3847343 h 6138270"/>
              <a:gd name="connsiteX21" fmla="*/ 6373827 w 6373827"/>
              <a:gd name="connsiteY21" fmla="*/ 3904862 h 6138270"/>
              <a:gd name="connsiteX22" fmla="*/ 6373827 w 6373827"/>
              <a:gd name="connsiteY22" fmla="*/ 3923154 h 6138270"/>
              <a:gd name="connsiteX23" fmla="*/ 6373827 w 6373827"/>
              <a:gd name="connsiteY23" fmla="*/ 4009528 h 6138270"/>
              <a:gd name="connsiteX24" fmla="*/ 6373827 w 6373827"/>
              <a:gd name="connsiteY24" fmla="*/ 4720751 h 6138270"/>
              <a:gd name="connsiteX25" fmla="*/ 6260798 w 6373827"/>
              <a:gd name="connsiteY25" fmla="*/ 4833781 h 6138270"/>
              <a:gd name="connsiteX26" fmla="*/ 6147769 w 6373827"/>
              <a:gd name="connsiteY26" fmla="*/ 4720751 h 6138270"/>
              <a:gd name="connsiteX27" fmla="*/ 6147769 w 6373827"/>
              <a:gd name="connsiteY27" fmla="*/ 4310036 h 6138270"/>
              <a:gd name="connsiteX28" fmla="*/ 6146571 w 6373827"/>
              <a:gd name="connsiteY28" fmla="*/ 4310335 h 6138270"/>
              <a:gd name="connsiteX29" fmla="*/ 6146571 w 6373827"/>
              <a:gd name="connsiteY29" fmla="*/ 4006446 h 6138270"/>
              <a:gd name="connsiteX30" fmla="*/ 6141788 w 6373827"/>
              <a:gd name="connsiteY30" fmla="*/ 4001663 h 6138270"/>
              <a:gd name="connsiteX31" fmla="*/ 6093957 w 6373827"/>
              <a:gd name="connsiteY31" fmla="*/ 4001663 h 6138270"/>
              <a:gd name="connsiteX32" fmla="*/ 6089174 w 6373827"/>
              <a:gd name="connsiteY32" fmla="*/ 4006446 h 6138270"/>
              <a:gd name="connsiteX33" fmla="*/ 6090110 w 6373827"/>
              <a:gd name="connsiteY33" fmla="*/ 4288441 h 6138270"/>
              <a:gd name="connsiteX34" fmla="*/ 6090110 w 6373827"/>
              <a:gd name="connsiteY34" fmla="*/ 5970857 h 6138270"/>
              <a:gd name="connsiteX35" fmla="*/ 5948823 w 6373827"/>
              <a:gd name="connsiteY35" fmla="*/ 6112144 h 6138270"/>
              <a:gd name="connsiteX36" fmla="*/ 5807537 w 6373827"/>
              <a:gd name="connsiteY36" fmla="*/ 5970857 h 6138270"/>
              <a:gd name="connsiteX37" fmla="*/ 5807537 w 6373827"/>
              <a:gd name="connsiteY37" fmla="*/ 4907726 h 6138270"/>
              <a:gd name="connsiteX38" fmla="*/ 5806601 w 6373827"/>
              <a:gd name="connsiteY38" fmla="*/ 4826563 h 6138270"/>
              <a:gd name="connsiteX39" fmla="*/ 5802404 w 6373827"/>
              <a:gd name="connsiteY39" fmla="*/ 4822365 h 6138270"/>
              <a:gd name="connsiteX40" fmla="*/ 5750295 w 6373827"/>
              <a:gd name="connsiteY40" fmla="*/ 4822365 h 6138270"/>
              <a:gd name="connsiteX41" fmla="*/ 5746098 w 6373827"/>
              <a:gd name="connsiteY41" fmla="*/ 4826563 h 6138270"/>
              <a:gd name="connsiteX42" fmla="*/ 5746098 w 6373827"/>
              <a:gd name="connsiteY42" fmla="*/ 4907726 h 6138270"/>
              <a:gd name="connsiteX43" fmla="*/ 5745746 w 6373827"/>
              <a:gd name="connsiteY43" fmla="*/ 5970857 h 6138270"/>
              <a:gd name="connsiteX44" fmla="*/ 5604460 w 6373827"/>
              <a:gd name="connsiteY44" fmla="*/ 6112144 h 6138270"/>
              <a:gd name="connsiteX45" fmla="*/ 5463173 w 6373827"/>
              <a:gd name="connsiteY45" fmla="*/ 5970857 h 6138270"/>
              <a:gd name="connsiteX46" fmla="*/ 5463173 w 6373827"/>
              <a:gd name="connsiteY46" fmla="*/ 4322181 h 6138270"/>
              <a:gd name="connsiteX47" fmla="*/ 5458767 w 6373827"/>
              <a:gd name="connsiteY47" fmla="*/ 4006373 h 6138270"/>
              <a:gd name="connsiteX48" fmla="*/ 5454057 w 6373827"/>
              <a:gd name="connsiteY48" fmla="*/ 4001663 h 6138270"/>
              <a:gd name="connsiteX49" fmla="*/ 5406962 w 6373827"/>
              <a:gd name="connsiteY49" fmla="*/ 4001663 h 6138270"/>
              <a:gd name="connsiteX50" fmla="*/ 5402252 w 6373827"/>
              <a:gd name="connsiteY50" fmla="*/ 4006373 h 6138270"/>
              <a:gd name="connsiteX51" fmla="*/ 5402252 w 6373827"/>
              <a:gd name="connsiteY51" fmla="*/ 4310102 h 6138270"/>
              <a:gd name="connsiteX52" fmla="*/ 5401987 w 6373827"/>
              <a:gd name="connsiteY52" fmla="*/ 4310036 h 6138270"/>
              <a:gd name="connsiteX53" fmla="*/ 5401987 w 6373827"/>
              <a:gd name="connsiteY53" fmla="*/ 4720751 h 6138270"/>
              <a:gd name="connsiteX54" fmla="*/ 5288958 w 6373827"/>
              <a:gd name="connsiteY54" fmla="*/ 4833781 h 6138270"/>
              <a:gd name="connsiteX55" fmla="*/ 5175928 w 6373827"/>
              <a:gd name="connsiteY55" fmla="*/ 4720751 h 6138270"/>
              <a:gd name="connsiteX56" fmla="*/ 5175928 w 6373827"/>
              <a:gd name="connsiteY56" fmla="*/ 4009528 h 6138270"/>
              <a:gd name="connsiteX57" fmla="*/ 5175928 w 6373827"/>
              <a:gd name="connsiteY57" fmla="*/ 3923154 h 6138270"/>
              <a:gd name="connsiteX58" fmla="*/ 5175928 w 6373827"/>
              <a:gd name="connsiteY58" fmla="*/ 3904862 h 6138270"/>
              <a:gd name="connsiteX59" fmla="*/ 5187098 w 6373827"/>
              <a:gd name="connsiteY59" fmla="*/ 3827823 h 6138270"/>
              <a:gd name="connsiteX60" fmla="*/ 5193946 w 6373827"/>
              <a:gd name="connsiteY60" fmla="*/ 3805111 h 6138270"/>
              <a:gd name="connsiteX61" fmla="*/ 5490667 w 6373827"/>
              <a:gd name="connsiteY61" fmla="*/ 3608415 h 6138270"/>
              <a:gd name="connsiteX62" fmla="*/ 1628775 w 6373827"/>
              <a:gd name="connsiteY62" fmla="*/ 3287598 h 6138270"/>
              <a:gd name="connsiteX63" fmla="*/ 2162175 w 6373827"/>
              <a:gd name="connsiteY63" fmla="*/ 3749560 h 6138270"/>
              <a:gd name="connsiteX64" fmla="*/ 2162175 w 6373827"/>
              <a:gd name="connsiteY64" fmla="*/ 3406660 h 6138270"/>
              <a:gd name="connsiteX65" fmla="*/ 2581275 w 6373827"/>
              <a:gd name="connsiteY65" fmla="*/ 3406660 h 6138270"/>
              <a:gd name="connsiteX66" fmla="*/ 2581275 w 6373827"/>
              <a:gd name="connsiteY66" fmla="*/ 4121035 h 6138270"/>
              <a:gd name="connsiteX67" fmla="*/ 3219450 w 6373827"/>
              <a:gd name="connsiteY67" fmla="*/ 4678248 h 6138270"/>
              <a:gd name="connsiteX68" fmla="*/ 3219450 w 6373827"/>
              <a:gd name="connsiteY68" fmla="*/ 5078298 h 6138270"/>
              <a:gd name="connsiteX69" fmla="*/ 1619250 w 6373827"/>
              <a:gd name="connsiteY69" fmla="*/ 3711460 h 6138270"/>
              <a:gd name="connsiteX70" fmla="*/ 0 w 6373827"/>
              <a:gd name="connsiteY70" fmla="*/ 5087823 h 6138270"/>
              <a:gd name="connsiteX71" fmla="*/ 0 w 6373827"/>
              <a:gd name="connsiteY71" fmla="*/ 4683010 h 6138270"/>
              <a:gd name="connsiteX72" fmla="*/ 1628775 w 6373827"/>
              <a:gd name="connsiteY72" fmla="*/ 3287598 h 6138270"/>
              <a:gd name="connsiteX73" fmla="*/ 5774878 w 6373827"/>
              <a:gd name="connsiteY73" fmla="*/ 3043007 h 6138270"/>
              <a:gd name="connsiteX74" fmla="*/ 6024128 w 6373827"/>
              <a:gd name="connsiteY74" fmla="*/ 3292258 h 6138270"/>
              <a:gd name="connsiteX75" fmla="*/ 5774878 w 6373827"/>
              <a:gd name="connsiteY75" fmla="*/ 3541509 h 6138270"/>
              <a:gd name="connsiteX76" fmla="*/ 5525627 w 6373827"/>
              <a:gd name="connsiteY76" fmla="*/ 3292258 h 6138270"/>
              <a:gd name="connsiteX77" fmla="*/ 5774878 w 6373827"/>
              <a:gd name="connsiteY77" fmla="*/ 3043007 h 6138270"/>
              <a:gd name="connsiteX78" fmla="*/ 3706676 w 6373827"/>
              <a:gd name="connsiteY78" fmla="*/ 0 h 6138270"/>
              <a:gd name="connsiteX79" fmla="*/ 3862160 w 6373827"/>
              <a:gd name="connsiteY79" fmla="*/ 155484 h 6138270"/>
              <a:gd name="connsiteX80" fmla="*/ 3862160 w 6373827"/>
              <a:gd name="connsiteY80" fmla="*/ 441065 h 6138270"/>
              <a:gd name="connsiteX81" fmla="*/ 5510620 w 6373827"/>
              <a:gd name="connsiteY81" fmla="*/ 1285578 h 6138270"/>
              <a:gd name="connsiteX82" fmla="*/ 5919923 w 6373827"/>
              <a:gd name="connsiteY82" fmla="*/ 2822641 h 6138270"/>
              <a:gd name="connsiteX83" fmla="*/ 5918206 w 6373827"/>
              <a:gd name="connsiteY83" fmla="*/ 2822641 h 6138270"/>
              <a:gd name="connsiteX84" fmla="*/ 5181510 w 6373827"/>
              <a:gd name="connsiteY84" fmla="*/ 2378505 h 6138270"/>
              <a:gd name="connsiteX85" fmla="*/ 4444815 w 6373827"/>
              <a:gd name="connsiteY85" fmla="*/ 2822641 h 6138270"/>
              <a:gd name="connsiteX86" fmla="*/ 4443372 w 6373827"/>
              <a:gd name="connsiteY86" fmla="*/ 2822641 h 6138270"/>
              <a:gd name="connsiteX87" fmla="*/ 3862160 w 6373827"/>
              <a:gd name="connsiteY87" fmla="*/ 2390781 h 6138270"/>
              <a:gd name="connsiteX88" fmla="*/ 3862160 w 6373827"/>
              <a:gd name="connsiteY88" fmla="*/ 5261042 h 6138270"/>
              <a:gd name="connsiteX89" fmla="*/ 3864701 w 6373827"/>
              <a:gd name="connsiteY89" fmla="*/ 5261042 h 6138270"/>
              <a:gd name="connsiteX90" fmla="*/ 4217943 w 6373827"/>
              <a:gd name="connsiteY90" fmla="*/ 5771650 h 6138270"/>
              <a:gd name="connsiteX91" fmla="*/ 4444978 w 6373827"/>
              <a:gd name="connsiteY91" fmla="*/ 5457393 h 6138270"/>
              <a:gd name="connsiteX92" fmla="*/ 4752975 w 6373827"/>
              <a:gd name="connsiteY92" fmla="*/ 5452631 h 6138270"/>
              <a:gd name="connsiteX93" fmla="*/ 4726849 w 6373827"/>
              <a:gd name="connsiteY93" fmla="*/ 5774848 h 6138270"/>
              <a:gd name="connsiteX94" fmla="*/ 4239169 w 6373827"/>
              <a:gd name="connsiteY94" fmla="*/ 6123191 h 6138270"/>
              <a:gd name="connsiteX95" fmla="*/ 3635897 w 6373827"/>
              <a:gd name="connsiteY95" fmla="*/ 5781243 h 6138270"/>
              <a:gd name="connsiteX96" fmla="*/ 3551270 w 6373827"/>
              <a:gd name="connsiteY96" fmla="*/ 5410743 h 6138270"/>
              <a:gd name="connsiteX97" fmla="*/ 3551192 w 6373827"/>
              <a:gd name="connsiteY97" fmla="*/ 5410358 h 6138270"/>
              <a:gd name="connsiteX98" fmla="*/ 3551192 w 6373827"/>
              <a:gd name="connsiteY98" fmla="*/ 5409089 h 6138270"/>
              <a:gd name="connsiteX99" fmla="*/ 3551192 w 6373827"/>
              <a:gd name="connsiteY99" fmla="*/ 5261042 h 6138270"/>
              <a:gd name="connsiteX100" fmla="*/ 3551192 w 6373827"/>
              <a:gd name="connsiteY100" fmla="*/ 2390781 h 6138270"/>
              <a:gd name="connsiteX101" fmla="*/ 2969980 w 6373827"/>
              <a:gd name="connsiteY101" fmla="*/ 2822641 h 6138270"/>
              <a:gd name="connsiteX102" fmla="*/ 2968539 w 6373827"/>
              <a:gd name="connsiteY102" fmla="*/ 2822641 h 6138270"/>
              <a:gd name="connsiteX103" fmla="*/ 2231843 w 6373827"/>
              <a:gd name="connsiteY103" fmla="*/ 2378505 h 6138270"/>
              <a:gd name="connsiteX104" fmla="*/ 1495147 w 6373827"/>
              <a:gd name="connsiteY104" fmla="*/ 2822641 h 6138270"/>
              <a:gd name="connsiteX105" fmla="*/ 1487260 w 6373827"/>
              <a:gd name="connsiteY105" fmla="*/ 2822641 h 6138270"/>
              <a:gd name="connsiteX106" fmla="*/ 3551192 w 6373827"/>
              <a:gd name="connsiteY106" fmla="*/ 435206 h 6138270"/>
              <a:gd name="connsiteX107" fmla="*/ 3551192 w 6373827"/>
              <a:gd name="connsiteY107" fmla="*/ 155484 h 6138270"/>
              <a:gd name="connsiteX108" fmla="*/ 3706676 w 6373827"/>
              <a:gd name="connsiteY108" fmla="*/ 0 h 6138270"/>
              <a:gd name="connsiteX0" fmla="*/ 401955 w 6373827"/>
              <a:gd name="connsiteY0" fmla="*/ 4973523 h 6138270"/>
              <a:gd name="connsiteX1" fmla="*/ 2863215 w 6373827"/>
              <a:gd name="connsiteY1" fmla="*/ 4973523 h 6138270"/>
              <a:gd name="connsiteX2" fmla="*/ 2863215 w 6373827"/>
              <a:gd name="connsiteY2" fmla="*/ 6034736 h 6138270"/>
              <a:gd name="connsiteX3" fmla="*/ 2759681 w 6373827"/>
              <a:gd name="connsiteY3" fmla="*/ 6138270 h 6138270"/>
              <a:gd name="connsiteX4" fmla="*/ 2063592 w 6373827"/>
              <a:gd name="connsiteY4" fmla="*/ 6138270 h 6138270"/>
              <a:gd name="connsiteX5" fmla="*/ 2063592 w 6373827"/>
              <a:gd name="connsiteY5" fmla="*/ 5192595 h 6138270"/>
              <a:gd name="connsiteX6" fmla="*/ 1925480 w 6373827"/>
              <a:gd name="connsiteY6" fmla="*/ 5054483 h 6138270"/>
              <a:gd name="connsiteX7" fmla="*/ 1339691 w 6373827"/>
              <a:gd name="connsiteY7" fmla="*/ 5054483 h 6138270"/>
              <a:gd name="connsiteX8" fmla="*/ 1201579 w 6373827"/>
              <a:gd name="connsiteY8" fmla="*/ 5192595 h 6138270"/>
              <a:gd name="connsiteX9" fmla="*/ 1201579 w 6373827"/>
              <a:gd name="connsiteY9" fmla="*/ 6138270 h 6138270"/>
              <a:gd name="connsiteX10" fmla="*/ 505489 w 6373827"/>
              <a:gd name="connsiteY10" fmla="*/ 6138270 h 6138270"/>
              <a:gd name="connsiteX11" fmla="*/ 401955 w 6373827"/>
              <a:gd name="connsiteY11" fmla="*/ 6034736 h 6138270"/>
              <a:gd name="connsiteX12" fmla="*/ 401955 w 6373827"/>
              <a:gd name="connsiteY12" fmla="*/ 4973523 h 6138270"/>
              <a:gd name="connsiteX13" fmla="*/ 1632585 w 6373827"/>
              <a:gd name="connsiteY13" fmla="*/ 3906725 h 6138270"/>
              <a:gd name="connsiteX14" fmla="*/ 2863215 w 6373827"/>
              <a:gd name="connsiteY14" fmla="*/ 4973522 h 6138270"/>
              <a:gd name="connsiteX15" fmla="*/ 401955 w 6373827"/>
              <a:gd name="connsiteY15" fmla="*/ 4973522 h 6138270"/>
              <a:gd name="connsiteX16" fmla="*/ 1632585 w 6373827"/>
              <a:gd name="connsiteY16" fmla="*/ 3906725 h 6138270"/>
              <a:gd name="connsiteX17" fmla="*/ 5490667 w 6373827"/>
              <a:gd name="connsiteY17" fmla="*/ 3608415 h 6138270"/>
              <a:gd name="connsiteX18" fmla="*/ 6059089 w 6373827"/>
              <a:gd name="connsiteY18" fmla="*/ 3608415 h 6138270"/>
              <a:gd name="connsiteX19" fmla="*/ 6354337 w 6373827"/>
              <a:gd name="connsiteY19" fmla="*/ 3803640 h 6138270"/>
              <a:gd name="connsiteX20" fmla="*/ 6368029 w 6373827"/>
              <a:gd name="connsiteY20" fmla="*/ 3847343 h 6138270"/>
              <a:gd name="connsiteX21" fmla="*/ 6373827 w 6373827"/>
              <a:gd name="connsiteY21" fmla="*/ 3904862 h 6138270"/>
              <a:gd name="connsiteX22" fmla="*/ 6373827 w 6373827"/>
              <a:gd name="connsiteY22" fmla="*/ 3923154 h 6138270"/>
              <a:gd name="connsiteX23" fmla="*/ 6373827 w 6373827"/>
              <a:gd name="connsiteY23" fmla="*/ 4009528 h 6138270"/>
              <a:gd name="connsiteX24" fmla="*/ 6373827 w 6373827"/>
              <a:gd name="connsiteY24" fmla="*/ 4720751 h 6138270"/>
              <a:gd name="connsiteX25" fmla="*/ 6260798 w 6373827"/>
              <a:gd name="connsiteY25" fmla="*/ 4833781 h 6138270"/>
              <a:gd name="connsiteX26" fmla="*/ 6147769 w 6373827"/>
              <a:gd name="connsiteY26" fmla="*/ 4720751 h 6138270"/>
              <a:gd name="connsiteX27" fmla="*/ 6147769 w 6373827"/>
              <a:gd name="connsiteY27" fmla="*/ 4310036 h 6138270"/>
              <a:gd name="connsiteX28" fmla="*/ 6146571 w 6373827"/>
              <a:gd name="connsiteY28" fmla="*/ 4310335 h 6138270"/>
              <a:gd name="connsiteX29" fmla="*/ 6146571 w 6373827"/>
              <a:gd name="connsiteY29" fmla="*/ 4006446 h 6138270"/>
              <a:gd name="connsiteX30" fmla="*/ 6141788 w 6373827"/>
              <a:gd name="connsiteY30" fmla="*/ 4001663 h 6138270"/>
              <a:gd name="connsiteX31" fmla="*/ 6093957 w 6373827"/>
              <a:gd name="connsiteY31" fmla="*/ 4001663 h 6138270"/>
              <a:gd name="connsiteX32" fmla="*/ 6089174 w 6373827"/>
              <a:gd name="connsiteY32" fmla="*/ 4006446 h 6138270"/>
              <a:gd name="connsiteX33" fmla="*/ 6090110 w 6373827"/>
              <a:gd name="connsiteY33" fmla="*/ 4288441 h 6138270"/>
              <a:gd name="connsiteX34" fmla="*/ 6090110 w 6373827"/>
              <a:gd name="connsiteY34" fmla="*/ 5970857 h 6138270"/>
              <a:gd name="connsiteX35" fmla="*/ 5948823 w 6373827"/>
              <a:gd name="connsiteY35" fmla="*/ 6112144 h 6138270"/>
              <a:gd name="connsiteX36" fmla="*/ 5807537 w 6373827"/>
              <a:gd name="connsiteY36" fmla="*/ 5970857 h 6138270"/>
              <a:gd name="connsiteX37" fmla="*/ 5807537 w 6373827"/>
              <a:gd name="connsiteY37" fmla="*/ 4907726 h 6138270"/>
              <a:gd name="connsiteX38" fmla="*/ 5806601 w 6373827"/>
              <a:gd name="connsiteY38" fmla="*/ 4826563 h 6138270"/>
              <a:gd name="connsiteX39" fmla="*/ 5802404 w 6373827"/>
              <a:gd name="connsiteY39" fmla="*/ 4822365 h 6138270"/>
              <a:gd name="connsiteX40" fmla="*/ 5750295 w 6373827"/>
              <a:gd name="connsiteY40" fmla="*/ 4822365 h 6138270"/>
              <a:gd name="connsiteX41" fmla="*/ 5746098 w 6373827"/>
              <a:gd name="connsiteY41" fmla="*/ 4826563 h 6138270"/>
              <a:gd name="connsiteX42" fmla="*/ 5746098 w 6373827"/>
              <a:gd name="connsiteY42" fmla="*/ 4907726 h 6138270"/>
              <a:gd name="connsiteX43" fmla="*/ 5745746 w 6373827"/>
              <a:gd name="connsiteY43" fmla="*/ 5970857 h 6138270"/>
              <a:gd name="connsiteX44" fmla="*/ 5604460 w 6373827"/>
              <a:gd name="connsiteY44" fmla="*/ 6112144 h 6138270"/>
              <a:gd name="connsiteX45" fmla="*/ 5463173 w 6373827"/>
              <a:gd name="connsiteY45" fmla="*/ 5970857 h 6138270"/>
              <a:gd name="connsiteX46" fmla="*/ 5463173 w 6373827"/>
              <a:gd name="connsiteY46" fmla="*/ 4322181 h 6138270"/>
              <a:gd name="connsiteX47" fmla="*/ 5458767 w 6373827"/>
              <a:gd name="connsiteY47" fmla="*/ 4006373 h 6138270"/>
              <a:gd name="connsiteX48" fmla="*/ 5454057 w 6373827"/>
              <a:gd name="connsiteY48" fmla="*/ 4001663 h 6138270"/>
              <a:gd name="connsiteX49" fmla="*/ 5406962 w 6373827"/>
              <a:gd name="connsiteY49" fmla="*/ 4001663 h 6138270"/>
              <a:gd name="connsiteX50" fmla="*/ 5402252 w 6373827"/>
              <a:gd name="connsiteY50" fmla="*/ 4006373 h 6138270"/>
              <a:gd name="connsiteX51" fmla="*/ 5402252 w 6373827"/>
              <a:gd name="connsiteY51" fmla="*/ 4310102 h 6138270"/>
              <a:gd name="connsiteX52" fmla="*/ 5401987 w 6373827"/>
              <a:gd name="connsiteY52" fmla="*/ 4310036 h 6138270"/>
              <a:gd name="connsiteX53" fmla="*/ 5401987 w 6373827"/>
              <a:gd name="connsiteY53" fmla="*/ 4720751 h 6138270"/>
              <a:gd name="connsiteX54" fmla="*/ 5288958 w 6373827"/>
              <a:gd name="connsiteY54" fmla="*/ 4833781 h 6138270"/>
              <a:gd name="connsiteX55" fmla="*/ 5175928 w 6373827"/>
              <a:gd name="connsiteY55" fmla="*/ 4720751 h 6138270"/>
              <a:gd name="connsiteX56" fmla="*/ 5175928 w 6373827"/>
              <a:gd name="connsiteY56" fmla="*/ 4009528 h 6138270"/>
              <a:gd name="connsiteX57" fmla="*/ 5175928 w 6373827"/>
              <a:gd name="connsiteY57" fmla="*/ 3923154 h 6138270"/>
              <a:gd name="connsiteX58" fmla="*/ 5175928 w 6373827"/>
              <a:gd name="connsiteY58" fmla="*/ 3904862 h 6138270"/>
              <a:gd name="connsiteX59" fmla="*/ 5187098 w 6373827"/>
              <a:gd name="connsiteY59" fmla="*/ 3827823 h 6138270"/>
              <a:gd name="connsiteX60" fmla="*/ 5193946 w 6373827"/>
              <a:gd name="connsiteY60" fmla="*/ 3805111 h 6138270"/>
              <a:gd name="connsiteX61" fmla="*/ 5490667 w 6373827"/>
              <a:gd name="connsiteY61" fmla="*/ 3608415 h 6138270"/>
              <a:gd name="connsiteX62" fmla="*/ 1628775 w 6373827"/>
              <a:gd name="connsiteY62" fmla="*/ 3287598 h 6138270"/>
              <a:gd name="connsiteX63" fmla="*/ 2162175 w 6373827"/>
              <a:gd name="connsiteY63" fmla="*/ 3749560 h 6138270"/>
              <a:gd name="connsiteX64" fmla="*/ 2162175 w 6373827"/>
              <a:gd name="connsiteY64" fmla="*/ 3406660 h 6138270"/>
              <a:gd name="connsiteX65" fmla="*/ 2581275 w 6373827"/>
              <a:gd name="connsiteY65" fmla="*/ 3406660 h 6138270"/>
              <a:gd name="connsiteX66" fmla="*/ 2581275 w 6373827"/>
              <a:gd name="connsiteY66" fmla="*/ 4121035 h 6138270"/>
              <a:gd name="connsiteX67" fmla="*/ 3219450 w 6373827"/>
              <a:gd name="connsiteY67" fmla="*/ 4678248 h 6138270"/>
              <a:gd name="connsiteX68" fmla="*/ 3219450 w 6373827"/>
              <a:gd name="connsiteY68" fmla="*/ 5078298 h 6138270"/>
              <a:gd name="connsiteX69" fmla="*/ 1619250 w 6373827"/>
              <a:gd name="connsiteY69" fmla="*/ 3711460 h 6138270"/>
              <a:gd name="connsiteX70" fmla="*/ 0 w 6373827"/>
              <a:gd name="connsiteY70" fmla="*/ 5087823 h 6138270"/>
              <a:gd name="connsiteX71" fmla="*/ 0 w 6373827"/>
              <a:gd name="connsiteY71" fmla="*/ 4683010 h 6138270"/>
              <a:gd name="connsiteX72" fmla="*/ 1628775 w 6373827"/>
              <a:gd name="connsiteY72" fmla="*/ 3287598 h 6138270"/>
              <a:gd name="connsiteX73" fmla="*/ 5774878 w 6373827"/>
              <a:gd name="connsiteY73" fmla="*/ 3043007 h 6138270"/>
              <a:gd name="connsiteX74" fmla="*/ 6024128 w 6373827"/>
              <a:gd name="connsiteY74" fmla="*/ 3292258 h 6138270"/>
              <a:gd name="connsiteX75" fmla="*/ 5774878 w 6373827"/>
              <a:gd name="connsiteY75" fmla="*/ 3541509 h 6138270"/>
              <a:gd name="connsiteX76" fmla="*/ 5525627 w 6373827"/>
              <a:gd name="connsiteY76" fmla="*/ 3292258 h 6138270"/>
              <a:gd name="connsiteX77" fmla="*/ 5774878 w 6373827"/>
              <a:gd name="connsiteY77" fmla="*/ 3043007 h 6138270"/>
              <a:gd name="connsiteX78" fmla="*/ 3706676 w 6373827"/>
              <a:gd name="connsiteY78" fmla="*/ 0 h 6138270"/>
              <a:gd name="connsiteX79" fmla="*/ 3862160 w 6373827"/>
              <a:gd name="connsiteY79" fmla="*/ 155484 h 6138270"/>
              <a:gd name="connsiteX80" fmla="*/ 3862160 w 6373827"/>
              <a:gd name="connsiteY80" fmla="*/ 441065 h 6138270"/>
              <a:gd name="connsiteX81" fmla="*/ 5919923 w 6373827"/>
              <a:gd name="connsiteY81" fmla="*/ 2822641 h 6138270"/>
              <a:gd name="connsiteX82" fmla="*/ 5918206 w 6373827"/>
              <a:gd name="connsiteY82" fmla="*/ 2822641 h 6138270"/>
              <a:gd name="connsiteX83" fmla="*/ 5181510 w 6373827"/>
              <a:gd name="connsiteY83" fmla="*/ 2378505 h 6138270"/>
              <a:gd name="connsiteX84" fmla="*/ 4444815 w 6373827"/>
              <a:gd name="connsiteY84" fmla="*/ 2822641 h 6138270"/>
              <a:gd name="connsiteX85" fmla="*/ 4443372 w 6373827"/>
              <a:gd name="connsiteY85" fmla="*/ 2822641 h 6138270"/>
              <a:gd name="connsiteX86" fmla="*/ 3862160 w 6373827"/>
              <a:gd name="connsiteY86" fmla="*/ 2390781 h 6138270"/>
              <a:gd name="connsiteX87" fmla="*/ 3862160 w 6373827"/>
              <a:gd name="connsiteY87" fmla="*/ 5261042 h 6138270"/>
              <a:gd name="connsiteX88" fmla="*/ 3864701 w 6373827"/>
              <a:gd name="connsiteY88" fmla="*/ 5261042 h 6138270"/>
              <a:gd name="connsiteX89" fmla="*/ 4217943 w 6373827"/>
              <a:gd name="connsiteY89" fmla="*/ 5771650 h 6138270"/>
              <a:gd name="connsiteX90" fmla="*/ 4444978 w 6373827"/>
              <a:gd name="connsiteY90" fmla="*/ 5457393 h 6138270"/>
              <a:gd name="connsiteX91" fmla="*/ 4752975 w 6373827"/>
              <a:gd name="connsiteY91" fmla="*/ 5452631 h 6138270"/>
              <a:gd name="connsiteX92" fmla="*/ 4726849 w 6373827"/>
              <a:gd name="connsiteY92" fmla="*/ 5774848 h 6138270"/>
              <a:gd name="connsiteX93" fmla="*/ 4239169 w 6373827"/>
              <a:gd name="connsiteY93" fmla="*/ 6123191 h 6138270"/>
              <a:gd name="connsiteX94" fmla="*/ 3635897 w 6373827"/>
              <a:gd name="connsiteY94" fmla="*/ 5781243 h 6138270"/>
              <a:gd name="connsiteX95" fmla="*/ 3551270 w 6373827"/>
              <a:gd name="connsiteY95" fmla="*/ 5410743 h 6138270"/>
              <a:gd name="connsiteX96" fmla="*/ 3551192 w 6373827"/>
              <a:gd name="connsiteY96" fmla="*/ 5410358 h 6138270"/>
              <a:gd name="connsiteX97" fmla="*/ 3551192 w 6373827"/>
              <a:gd name="connsiteY97" fmla="*/ 5409089 h 6138270"/>
              <a:gd name="connsiteX98" fmla="*/ 3551192 w 6373827"/>
              <a:gd name="connsiteY98" fmla="*/ 5261042 h 6138270"/>
              <a:gd name="connsiteX99" fmla="*/ 3551192 w 6373827"/>
              <a:gd name="connsiteY99" fmla="*/ 2390781 h 6138270"/>
              <a:gd name="connsiteX100" fmla="*/ 2969980 w 6373827"/>
              <a:gd name="connsiteY100" fmla="*/ 2822641 h 6138270"/>
              <a:gd name="connsiteX101" fmla="*/ 2968539 w 6373827"/>
              <a:gd name="connsiteY101" fmla="*/ 2822641 h 6138270"/>
              <a:gd name="connsiteX102" fmla="*/ 2231843 w 6373827"/>
              <a:gd name="connsiteY102" fmla="*/ 2378505 h 6138270"/>
              <a:gd name="connsiteX103" fmla="*/ 1495147 w 6373827"/>
              <a:gd name="connsiteY103" fmla="*/ 2822641 h 6138270"/>
              <a:gd name="connsiteX104" fmla="*/ 1487260 w 6373827"/>
              <a:gd name="connsiteY104" fmla="*/ 2822641 h 6138270"/>
              <a:gd name="connsiteX105" fmla="*/ 3551192 w 6373827"/>
              <a:gd name="connsiteY105" fmla="*/ 435206 h 6138270"/>
              <a:gd name="connsiteX106" fmla="*/ 3551192 w 6373827"/>
              <a:gd name="connsiteY106" fmla="*/ 155484 h 6138270"/>
              <a:gd name="connsiteX107" fmla="*/ 3706676 w 6373827"/>
              <a:gd name="connsiteY107" fmla="*/ 0 h 6138270"/>
              <a:gd name="connsiteX0" fmla="*/ 401955 w 6373827"/>
              <a:gd name="connsiteY0" fmla="*/ 4973523 h 6138270"/>
              <a:gd name="connsiteX1" fmla="*/ 2863215 w 6373827"/>
              <a:gd name="connsiteY1" fmla="*/ 4973523 h 6138270"/>
              <a:gd name="connsiteX2" fmla="*/ 2863215 w 6373827"/>
              <a:gd name="connsiteY2" fmla="*/ 6034736 h 6138270"/>
              <a:gd name="connsiteX3" fmla="*/ 2759681 w 6373827"/>
              <a:gd name="connsiteY3" fmla="*/ 6138270 h 6138270"/>
              <a:gd name="connsiteX4" fmla="*/ 2063592 w 6373827"/>
              <a:gd name="connsiteY4" fmla="*/ 6138270 h 6138270"/>
              <a:gd name="connsiteX5" fmla="*/ 2063592 w 6373827"/>
              <a:gd name="connsiteY5" fmla="*/ 5192595 h 6138270"/>
              <a:gd name="connsiteX6" fmla="*/ 1925480 w 6373827"/>
              <a:gd name="connsiteY6" fmla="*/ 5054483 h 6138270"/>
              <a:gd name="connsiteX7" fmla="*/ 1339691 w 6373827"/>
              <a:gd name="connsiteY7" fmla="*/ 5054483 h 6138270"/>
              <a:gd name="connsiteX8" fmla="*/ 1201579 w 6373827"/>
              <a:gd name="connsiteY8" fmla="*/ 5192595 h 6138270"/>
              <a:gd name="connsiteX9" fmla="*/ 1201579 w 6373827"/>
              <a:gd name="connsiteY9" fmla="*/ 6138270 h 6138270"/>
              <a:gd name="connsiteX10" fmla="*/ 505489 w 6373827"/>
              <a:gd name="connsiteY10" fmla="*/ 6138270 h 6138270"/>
              <a:gd name="connsiteX11" fmla="*/ 401955 w 6373827"/>
              <a:gd name="connsiteY11" fmla="*/ 6034736 h 6138270"/>
              <a:gd name="connsiteX12" fmla="*/ 401955 w 6373827"/>
              <a:gd name="connsiteY12" fmla="*/ 4973523 h 6138270"/>
              <a:gd name="connsiteX13" fmla="*/ 1632585 w 6373827"/>
              <a:gd name="connsiteY13" fmla="*/ 3906725 h 6138270"/>
              <a:gd name="connsiteX14" fmla="*/ 2863215 w 6373827"/>
              <a:gd name="connsiteY14" fmla="*/ 4973522 h 6138270"/>
              <a:gd name="connsiteX15" fmla="*/ 401955 w 6373827"/>
              <a:gd name="connsiteY15" fmla="*/ 4973522 h 6138270"/>
              <a:gd name="connsiteX16" fmla="*/ 1632585 w 6373827"/>
              <a:gd name="connsiteY16" fmla="*/ 3906725 h 6138270"/>
              <a:gd name="connsiteX17" fmla="*/ 5490667 w 6373827"/>
              <a:gd name="connsiteY17" fmla="*/ 3608415 h 6138270"/>
              <a:gd name="connsiteX18" fmla="*/ 6059089 w 6373827"/>
              <a:gd name="connsiteY18" fmla="*/ 3608415 h 6138270"/>
              <a:gd name="connsiteX19" fmla="*/ 6354337 w 6373827"/>
              <a:gd name="connsiteY19" fmla="*/ 3803640 h 6138270"/>
              <a:gd name="connsiteX20" fmla="*/ 6368029 w 6373827"/>
              <a:gd name="connsiteY20" fmla="*/ 3847343 h 6138270"/>
              <a:gd name="connsiteX21" fmla="*/ 6373827 w 6373827"/>
              <a:gd name="connsiteY21" fmla="*/ 3904862 h 6138270"/>
              <a:gd name="connsiteX22" fmla="*/ 6373827 w 6373827"/>
              <a:gd name="connsiteY22" fmla="*/ 3923154 h 6138270"/>
              <a:gd name="connsiteX23" fmla="*/ 6373827 w 6373827"/>
              <a:gd name="connsiteY23" fmla="*/ 4009528 h 6138270"/>
              <a:gd name="connsiteX24" fmla="*/ 6373827 w 6373827"/>
              <a:gd name="connsiteY24" fmla="*/ 4720751 h 6138270"/>
              <a:gd name="connsiteX25" fmla="*/ 6260798 w 6373827"/>
              <a:gd name="connsiteY25" fmla="*/ 4833781 h 6138270"/>
              <a:gd name="connsiteX26" fmla="*/ 6147769 w 6373827"/>
              <a:gd name="connsiteY26" fmla="*/ 4720751 h 6138270"/>
              <a:gd name="connsiteX27" fmla="*/ 6147769 w 6373827"/>
              <a:gd name="connsiteY27" fmla="*/ 4310036 h 6138270"/>
              <a:gd name="connsiteX28" fmla="*/ 6146571 w 6373827"/>
              <a:gd name="connsiteY28" fmla="*/ 4310335 h 6138270"/>
              <a:gd name="connsiteX29" fmla="*/ 6146571 w 6373827"/>
              <a:gd name="connsiteY29" fmla="*/ 4006446 h 6138270"/>
              <a:gd name="connsiteX30" fmla="*/ 6141788 w 6373827"/>
              <a:gd name="connsiteY30" fmla="*/ 4001663 h 6138270"/>
              <a:gd name="connsiteX31" fmla="*/ 6093957 w 6373827"/>
              <a:gd name="connsiteY31" fmla="*/ 4001663 h 6138270"/>
              <a:gd name="connsiteX32" fmla="*/ 6089174 w 6373827"/>
              <a:gd name="connsiteY32" fmla="*/ 4006446 h 6138270"/>
              <a:gd name="connsiteX33" fmla="*/ 6090110 w 6373827"/>
              <a:gd name="connsiteY33" fmla="*/ 4288441 h 6138270"/>
              <a:gd name="connsiteX34" fmla="*/ 6090110 w 6373827"/>
              <a:gd name="connsiteY34" fmla="*/ 5970857 h 6138270"/>
              <a:gd name="connsiteX35" fmla="*/ 5948823 w 6373827"/>
              <a:gd name="connsiteY35" fmla="*/ 6112144 h 6138270"/>
              <a:gd name="connsiteX36" fmla="*/ 5807537 w 6373827"/>
              <a:gd name="connsiteY36" fmla="*/ 5970857 h 6138270"/>
              <a:gd name="connsiteX37" fmla="*/ 5807537 w 6373827"/>
              <a:gd name="connsiteY37" fmla="*/ 4907726 h 6138270"/>
              <a:gd name="connsiteX38" fmla="*/ 5806601 w 6373827"/>
              <a:gd name="connsiteY38" fmla="*/ 4826563 h 6138270"/>
              <a:gd name="connsiteX39" fmla="*/ 5802404 w 6373827"/>
              <a:gd name="connsiteY39" fmla="*/ 4822365 h 6138270"/>
              <a:gd name="connsiteX40" fmla="*/ 5750295 w 6373827"/>
              <a:gd name="connsiteY40" fmla="*/ 4822365 h 6138270"/>
              <a:gd name="connsiteX41" fmla="*/ 5746098 w 6373827"/>
              <a:gd name="connsiteY41" fmla="*/ 4826563 h 6138270"/>
              <a:gd name="connsiteX42" fmla="*/ 5746098 w 6373827"/>
              <a:gd name="connsiteY42" fmla="*/ 4907726 h 6138270"/>
              <a:gd name="connsiteX43" fmla="*/ 5745746 w 6373827"/>
              <a:gd name="connsiteY43" fmla="*/ 5970857 h 6138270"/>
              <a:gd name="connsiteX44" fmla="*/ 5604460 w 6373827"/>
              <a:gd name="connsiteY44" fmla="*/ 6112144 h 6138270"/>
              <a:gd name="connsiteX45" fmla="*/ 5463173 w 6373827"/>
              <a:gd name="connsiteY45" fmla="*/ 5970857 h 6138270"/>
              <a:gd name="connsiteX46" fmla="*/ 5463173 w 6373827"/>
              <a:gd name="connsiteY46" fmla="*/ 4322181 h 6138270"/>
              <a:gd name="connsiteX47" fmla="*/ 5458767 w 6373827"/>
              <a:gd name="connsiteY47" fmla="*/ 4006373 h 6138270"/>
              <a:gd name="connsiteX48" fmla="*/ 5454057 w 6373827"/>
              <a:gd name="connsiteY48" fmla="*/ 4001663 h 6138270"/>
              <a:gd name="connsiteX49" fmla="*/ 5406962 w 6373827"/>
              <a:gd name="connsiteY49" fmla="*/ 4001663 h 6138270"/>
              <a:gd name="connsiteX50" fmla="*/ 5402252 w 6373827"/>
              <a:gd name="connsiteY50" fmla="*/ 4006373 h 6138270"/>
              <a:gd name="connsiteX51" fmla="*/ 5402252 w 6373827"/>
              <a:gd name="connsiteY51" fmla="*/ 4310102 h 6138270"/>
              <a:gd name="connsiteX52" fmla="*/ 5401987 w 6373827"/>
              <a:gd name="connsiteY52" fmla="*/ 4310036 h 6138270"/>
              <a:gd name="connsiteX53" fmla="*/ 5401987 w 6373827"/>
              <a:gd name="connsiteY53" fmla="*/ 4720751 h 6138270"/>
              <a:gd name="connsiteX54" fmla="*/ 5288958 w 6373827"/>
              <a:gd name="connsiteY54" fmla="*/ 4833781 h 6138270"/>
              <a:gd name="connsiteX55" fmla="*/ 5175928 w 6373827"/>
              <a:gd name="connsiteY55" fmla="*/ 4720751 h 6138270"/>
              <a:gd name="connsiteX56" fmla="*/ 5175928 w 6373827"/>
              <a:gd name="connsiteY56" fmla="*/ 4009528 h 6138270"/>
              <a:gd name="connsiteX57" fmla="*/ 5175928 w 6373827"/>
              <a:gd name="connsiteY57" fmla="*/ 3923154 h 6138270"/>
              <a:gd name="connsiteX58" fmla="*/ 5175928 w 6373827"/>
              <a:gd name="connsiteY58" fmla="*/ 3904862 h 6138270"/>
              <a:gd name="connsiteX59" fmla="*/ 5187098 w 6373827"/>
              <a:gd name="connsiteY59" fmla="*/ 3827823 h 6138270"/>
              <a:gd name="connsiteX60" fmla="*/ 5193946 w 6373827"/>
              <a:gd name="connsiteY60" fmla="*/ 3805111 h 6138270"/>
              <a:gd name="connsiteX61" fmla="*/ 5490667 w 6373827"/>
              <a:gd name="connsiteY61" fmla="*/ 3608415 h 6138270"/>
              <a:gd name="connsiteX62" fmla="*/ 1628775 w 6373827"/>
              <a:gd name="connsiteY62" fmla="*/ 3287598 h 6138270"/>
              <a:gd name="connsiteX63" fmla="*/ 2162175 w 6373827"/>
              <a:gd name="connsiteY63" fmla="*/ 3749560 h 6138270"/>
              <a:gd name="connsiteX64" fmla="*/ 2162175 w 6373827"/>
              <a:gd name="connsiteY64" fmla="*/ 3406660 h 6138270"/>
              <a:gd name="connsiteX65" fmla="*/ 2581275 w 6373827"/>
              <a:gd name="connsiteY65" fmla="*/ 3406660 h 6138270"/>
              <a:gd name="connsiteX66" fmla="*/ 2581275 w 6373827"/>
              <a:gd name="connsiteY66" fmla="*/ 4121035 h 6138270"/>
              <a:gd name="connsiteX67" fmla="*/ 3219450 w 6373827"/>
              <a:gd name="connsiteY67" fmla="*/ 4678248 h 6138270"/>
              <a:gd name="connsiteX68" fmla="*/ 3219450 w 6373827"/>
              <a:gd name="connsiteY68" fmla="*/ 5078298 h 6138270"/>
              <a:gd name="connsiteX69" fmla="*/ 1619250 w 6373827"/>
              <a:gd name="connsiteY69" fmla="*/ 3711460 h 6138270"/>
              <a:gd name="connsiteX70" fmla="*/ 0 w 6373827"/>
              <a:gd name="connsiteY70" fmla="*/ 5087823 h 6138270"/>
              <a:gd name="connsiteX71" fmla="*/ 0 w 6373827"/>
              <a:gd name="connsiteY71" fmla="*/ 4683010 h 6138270"/>
              <a:gd name="connsiteX72" fmla="*/ 1628775 w 6373827"/>
              <a:gd name="connsiteY72" fmla="*/ 3287598 h 6138270"/>
              <a:gd name="connsiteX73" fmla="*/ 5774878 w 6373827"/>
              <a:gd name="connsiteY73" fmla="*/ 3043007 h 6138270"/>
              <a:gd name="connsiteX74" fmla="*/ 6024128 w 6373827"/>
              <a:gd name="connsiteY74" fmla="*/ 3292258 h 6138270"/>
              <a:gd name="connsiteX75" fmla="*/ 5774878 w 6373827"/>
              <a:gd name="connsiteY75" fmla="*/ 3541509 h 6138270"/>
              <a:gd name="connsiteX76" fmla="*/ 5525627 w 6373827"/>
              <a:gd name="connsiteY76" fmla="*/ 3292258 h 6138270"/>
              <a:gd name="connsiteX77" fmla="*/ 5774878 w 6373827"/>
              <a:gd name="connsiteY77" fmla="*/ 3043007 h 6138270"/>
              <a:gd name="connsiteX78" fmla="*/ 3706676 w 6373827"/>
              <a:gd name="connsiteY78" fmla="*/ 0 h 6138270"/>
              <a:gd name="connsiteX79" fmla="*/ 3862160 w 6373827"/>
              <a:gd name="connsiteY79" fmla="*/ 155484 h 6138270"/>
              <a:gd name="connsiteX80" fmla="*/ 3862160 w 6373827"/>
              <a:gd name="connsiteY80" fmla="*/ 441065 h 6138270"/>
              <a:gd name="connsiteX81" fmla="*/ 5919923 w 6373827"/>
              <a:gd name="connsiteY81" fmla="*/ 2822641 h 6138270"/>
              <a:gd name="connsiteX82" fmla="*/ 5918206 w 6373827"/>
              <a:gd name="connsiteY82" fmla="*/ 2822641 h 6138270"/>
              <a:gd name="connsiteX83" fmla="*/ 5181510 w 6373827"/>
              <a:gd name="connsiteY83" fmla="*/ 2378505 h 6138270"/>
              <a:gd name="connsiteX84" fmla="*/ 4444815 w 6373827"/>
              <a:gd name="connsiteY84" fmla="*/ 2822641 h 6138270"/>
              <a:gd name="connsiteX85" fmla="*/ 4443372 w 6373827"/>
              <a:gd name="connsiteY85" fmla="*/ 2822641 h 6138270"/>
              <a:gd name="connsiteX86" fmla="*/ 3862160 w 6373827"/>
              <a:gd name="connsiteY86" fmla="*/ 2390781 h 6138270"/>
              <a:gd name="connsiteX87" fmla="*/ 3862160 w 6373827"/>
              <a:gd name="connsiteY87" fmla="*/ 5261042 h 6138270"/>
              <a:gd name="connsiteX88" fmla="*/ 3864701 w 6373827"/>
              <a:gd name="connsiteY88" fmla="*/ 5261042 h 6138270"/>
              <a:gd name="connsiteX89" fmla="*/ 4217943 w 6373827"/>
              <a:gd name="connsiteY89" fmla="*/ 5771650 h 6138270"/>
              <a:gd name="connsiteX90" fmla="*/ 4444978 w 6373827"/>
              <a:gd name="connsiteY90" fmla="*/ 5457393 h 6138270"/>
              <a:gd name="connsiteX91" fmla="*/ 4752975 w 6373827"/>
              <a:gd name="connsiteY91" fmla="*/ 5452631 h 6138270"/>
              <a:gd name="connsiteX92" fmla="*/ 4726849 w 6373827"/>
              <a:gd name="connsiteY92" fmla="*/ 5774848 h 6138270"/>
              <a:gd name="connsiteX93" fmla="*/ 4239169 w 6373827"/>
              <a:gd name="connsiteY93" fmla="*/ 6123191 h 6138270"/>
              <a:gd name="connsiteX94" fmla="*/ 3635897 w 6373827"/>
              <a:gd name="connsiteY94" fmla="*/ 5781243 h 6138270"/>
              <a:gd name="connsiteX95" fmla="*/ 3551270 w 6373827"/>
              <a:gd name="connsiteY95" fmla="*/ 5410743 h 6138270"/>
              <a:gd name="connsiteX96" fmla="*/ 3551192 w 6373827"/>
              <a:gd name="connsiteY96" fmla="*/ 5410358 h 6138270"/>
              <a:gd name="connsiteX97" fmla="*/ 3551192 w 6373827"/>
              <a:gd name="connsiteY97" fmla="*/ 5409089 h 6138270"/>
              <a:gd name="connsiteX98" fmla="*/ 3551192 w 6373827"/>
              <a:gd name="connsiteY98" fmla="*/ 5261042 h 6138270"/>
              <a:gd name="connsiteX99" fmla="*/ 3551192 w 6373827"/>
              <a:gd name="connsiteY99" fmla="*/ 2390781 h 6138270"/>
              <a:gd name="connsiteX100" fmla="*/ 2969980 w 6373827"/>
              <a:gd name="connsiteY100" fmla="*/ 2822641 h 6138270"/>
              <a:gd name="connsiteX101" fmla="*/ 2968539 w 6373827"/>
              <a:gd name="connsiteY101" fmla="*/ 2822641 h 6138270"/>
              <a:gd name="connsiteX102" fmla="*/ 2231843 w 6373827"/>
              <a:gd name="connsiteY102" fmla="*/ 2378505 h 6138270"/>
              <a:gd name="connsiteX103" fmla="*/ 1495147 w 6373827"/>
              <a:gd name="connsiteY103" fmla="*/ 2822641 h 6138270"/>
              <a:gd name="connsiteX104" fmla="*/ 1487260 w 6373827"/>
              <a:gd name="connsiteY104" fmla="*/ 2822641 h 6138270"/>
              <a:gd name="connsiteX105" fmla="*/ 3551192 w 6373827"/>
              <a:gd name="connsiteY105" fmla="*/ 435206 h 6138270"/>
              <a:gd name="connsiteX106" fmla="*/ 3551192 w 6373827"/>
              <a:gd name="connsiteY106" fmla="*/ 155484 h 6138270"/>
              <a:gd name="connsiteX107" fmla="*/ 3706676 w 6373827"/>
              <a:gd name="connsiteY107" fmla="*/ 0 h 6138270"/>
              <a:gd name="connsiteX0" fmla="*/ 401955 w 6373827"/>
              <a:gd name="connsiteY0" fmla="*/ 4973523 h 6138270"/>
              <a:gd name="connsiteX1" fmla="*/ 2863215 w 6373827"/>
              <a:gd name="connsiteY1" fmla="*/ 4973523 h 6138270"/>
              <a:gd name="connsiteX2" fmla="*/ 2863215 w 6373827"/>
              <a:gd name="connsiteY2" fmla="*/ 6034736 h 6138270"/>
              <a:gd name="connsiteX3" fmla="*/ 2759681 w 6373827"/>
              <a:gd name="connsiteY3" fmla="*/ 6138270 h 6138270"/>
              <a:gd name="connsiteX4" fmla="*/ 2063592 w 6373827"/>
              <a:gd name="connsiteY4" fmla="*/ 6138270 h 6138270"/>
              <a:gd name="connsiteX5" fmla="*/ 2063592 w 6373827"/>
              <a:gd name="connsiteY5" fmla="*/ 5192595 h 6138270"/>
              <a:gd name="connsiteX6" fmla="*/ 1925480 w 6373827"/>
              <a:gd name="connsiteY6" fmla="*/ 5054483 h 6138270"/>
              <a:gd name="connsiteX7" fmla="*/ 1339691 w 6373827"/>
              <a:gd name="connsiteY7" fmla="*/ 5054483 h 6138270"/>
              <a:gd name="connsiteX8" fmla="*/ 1201579 w 6373827"/>
              <a:gd name="connsiteY8" fmla="*/ 5192595 h 6138270"/>
              <a:gd name="connsiteX9" fmla="*/ 1201579 w 6373827"/>
              <a:gd name="connsiteY9" fmla="*/ 6138270 h 6138270"/>
              <a:gd name="connsiteX10" fmla="*/ 505489 w 6373827"/>
              <a:gd name="connsiteY10" fmla="*/ 6138270 h 6138270"/>
              <a:gd name="connsiteX11" fmla="*/ 401955 w 6373827"/>
              <a:gd name="connsiteY11" fmla="*/ 6034736 h 6138270"/>
              <a:gd name="connsiteX12" fmla="*/ 401955 w 6373827"/>
              <a:gd name="connsiteY12" fmla="*/ 4973523 h 6138270"/>
              <a:gd name="connsiteX13" fmla="*/ 1632585 w 6373827"/>
              <a:gd name="connsiteY13" fmla="*/ 3906725 h 6138270"/>
              <a:gd name="connsiteX14" fmla="*/ 2863215 w 6373827"/>
              <a:gd name="connsiteY14" fmla="*/ 4973522 h 6138270"/>
              <a:gd name="connsiteX15" fmla="*/ 401955 w 6373827"/>
              <a:gd name="connsiteY15" fmla="*/ 4973522 h 6138270"/>
              <a:gd name="connsiteX16" fmla="*/ 1632585 w 6373827"/>
              <a:gd name="connsiteY16" fmla="*/ 3906725 h 6138270"/>
              <a:gd name="connsiteX17" fmla="*/ 5490667 w 6373827"/>
              <a:gd name="connsiteY17" fmla="*/ 3608415 h 6138270"/>
              <a:gd name="connsiteX18" fmla="*/ 6059089 w 6373827"/>
              <a:gd name="connsiteY18" fmla="*/ 3608415 h 6138270"/>
              <a:gd name="connsiteX19" fmla="*/ 6354337 w 6373827"/>
              <a:gd name="connsiteY19" fmla="*/ 3803640 h 6138270"/>
              <a:gd name="connsiteX20" fmla="*/ 6368029 w 6373827"/>
              <a:gd name="connsiteY20" fmla="*/ 3847343 h 6138270"/>
              <a:gd name="connsiteX21" fmla="*/ 6373827 w 6373827"/>
              <a:gd name="connsiteY21" fmla="*/ 3904862 h 6138270"/>
              <a:gd name="connsiteX22" fmla="*/ 6373827 w 6373827"/>
              <a:gd name="connsiteY22" fmla="*/ 3923154 h 6138270"/>
              <a:gd name="connsiteX23" fmla="*/ 6373827 w 6373827"/>
              <a:gd name="connsiteY23" fmla="*/ 4009528 h 6138270"/>
              <a:gd name="connsiteX24" fmla="*/ 6373827 w 6373827"/>
              <a:gd name="connsiteY24" fmla="*/ 4720751 h 6138270"/>
              <a:gd name="connsiteX25" fmla="*/ 6260798 w 6373827"/>
              <a:gd name="connsiteY25" fmla="*/ 4833781 h 6138270"/>
              <a:gd name="connsiteX26" fmla="*/ 6147769 w 6373827"/>
              <a:gd name="connsiteY26" fmla="*/ 4720751 h 6138270"/>
              <a:gd name="connsiteX27" fmla="*/ 6147769 w 6373827"/>
              <a:gd name="connsiteY27" fmla="*/ 4310036 h 6138270"/>
              <a:gd name="connsiteX28" fmla="*/ 6146571 w 6373827"/>
              <a:gd name="connsiteY28" fmla="*/ 4310335 h 6138270"/>
              <a:gd name="connsiteX29" fmla="*/ 6146571 w 6373827"/>
              <a:gd name="connsiteY29" fmla="*/ 4006446 h 6138270"/>
              <a:gd name="connsiteX30" fmla="*/ 6141788 w 6373827"/>
              <a:gd name="connsiteY30" fmla="*/ 4001663 h 6138270"/>
              <a:gd name="connsiteX31" fmla="*/ 6093957 w 6373827"/>
              <a:gd name="connsiteY31" fmla="*/ 4001663 h 6138270"/>
              <a:gd name="connsiteX32" fmla="*/ 6089174 w 6373827"/>
              <a:gd name="connsiteY32" fmla="*/ 4006446 h 6138270"/>
              <a:gd name="connsiteX33" fmla="*/ 6090110 w 6373827"/>
              <a:gd name="connsiteY33" fmla="*/ 4288441 h 6138270"/>
              <a:gd name="connsiteX34" fmla="*/ 6090110 w 6373827"/>
              <a:gd name="connsiteY34" fmla="*/ 5970857 h 6138270"/>
              <a:gd name="connsiteX35" fmla="*/ 5948823 w 6373827"/>
              <a:gd name="connsiteY35" fmla="*/ 6112144 h 6138270"/>
              <a:gd name="connsiteX36" fmla="*/ 5807537 w 6373827"/>
              <a:gd name="connsiteY36" fmla="*/ 5970857 h 6138270"/>
              <a:gd name="connsiteX37" fmla="*/ 5807537 w 6373827"/>
              <a:gd name="connsiteY37" fmla="*/ 4907726 h 6138270"/>
              <a:gd name="connsiteX38" fmla="*/ 5806601 w 6373827"/>
              <a:gd name="connsiteY38" fmla="*/ 4826563 h 6138270"/>
              <a:gd name="connsiteX39" fmla="*/ 5802404 w 6373827"/>
              <a:gd name="connsiteY39" fmla="*/ 4822365 h 6138270"/>
              <a:gd name="connsiteX40" fmla="*/ 5750295 w 6373827"/>
              <a:gd name="connsiteY40" fmla="*/ 4822365 h 6138270"/>
              <a:gd name="connsiteX41" fmla="*/ 5746098 w 6373827"/>
              <a:gd name="connsiteY41" fmla="*/ 4826563 h 6138270"/>
              <a:gd name="connsiteX42" fmla="*/ 5746098 w 6373827"/>
              <a:gd name="connsiteY42" fmla="*/ 4907726 h 6138270"/>
              <a:gd name="connsiteX43" fmla="*/ 5745746 w 6373827"/>
              <a:gd name="connsiteY43" fmla="*/ 5970857 h 6138270"/>
              <a:gd name="connsiteX44" fmla="*/ 5604460 w 6373827"/>
              <a:gd name="connsiteY44" fmla="*/ 6112144 h 6138270"/>
              <a:gd name="connsiteX45" fmla="*/ 5463173 w 6373827"/>
              <a:gd name="connsiteY45" fmla="*/ 5970857 h 6138270"/>
              <a:gd name="connsiteX46" fmla="*/ 5463173 w 6373827"/>
              <a:gd name="connsiteY46" fmla="*/ 4322181 h 6138270"/>
              <a:gd name="connsiteX47" fmla="*/ 5458767 w 6373827"/>
              <a:gd name="connsiteY47" fmla="*/ 4006373 h 6138270"/>
              <a:gd name="connsiteX48" fmla="*/ 5454057 w 6373827"/>
              <a:gd name="connsiteY48" fmla="*/ 4001663 h 6138270"/>
              <a:gd name="connsiteX49" fmla="*/ 5406962 w 6373827"/>
              <a:gd name="connsiteY49" fmla="*/ 4001663 h 6138270"/>
              <a:gd name="connsiteX50" fmla="*/ 5402252 w 6373827"/>
              <a:gd name="connsiteY50" fmla="*/ 4006373 h 6138270"/>
              <a:gd name="connsiteX51" fmla="*/ 5402252 w 6373827"/>
              <a:gd name="connsiteY51" fmla="*/ 4310102 h 6138270"/>
              <a:gd name="connsiteX52" fmla="*/ 5401987 w 6373827"/>
              <a:gd name="connsiteY52" fmla="*/ 4310036 h 6138270"/>
              <a:gd name="connsiteX53" fmla="*/ 5401987 w 6373827"/>
              <a:gd name="connsiteY53" fmla="*/ 4720751 h 6138270"/>
              <a:gd name="connsiteX54" fmla="*/ 5288958 w 6373827"/>
              <a:gd name="connsiteY54" fmla="*/ 4833781 h 6138270"/>
              <a:gd name="connsiteX55" fmla="*/ 5175928 w 6373827"/>
              <a:gd name="connsiteY55" fmla="*/ 4720751 h 6138270"/>
              <a:gd name="connsiteX56" fmla="*/ 5175928 w 6373827"/>
              <a:gd name="connsiteY56" fmla="*/ 4009528 h 6138270"/>
              <a:gd name="connsiteX57" fmla="*/ 5175928 w 6373827"/>
              <a:gd name="connsiteY57" fmla="*/ 3923154 h 6138270"/>
              <a:gd name="connsiteX58" fmla="*/ 5175928 w 6373827"/>
              <a:gd name="connsiteY58" fmla="*/ 3904862 h 6138270"/>
              <a:gd name="connsiteX59" fmla="*/ 5187098 w 6373827"/>
              <a:gd name="connsiteY59" fmla="*/ 3827823 h 6138270"/>
              <a:gd name="connsiteX60" fmla="*/ 5193946 w 6373827"/>
              <a:gd name="connsiteY60" fmla="*/ 3805111 h 6138270"/>
              <a:gd name="connsiteX61" fmla="*/ 5490667 w 6373827"/>
              <a:gd name="connsiteY61" fmla="*/ 3608415 h 6138270"/>
              <a:gd name="connsiteX62" fmla="*/ 1628775 w 6373827"/>
              <a:gd name="connsiteY62" fmla="*/ 3287598 h 6138270"/>
              <a:gd name="connsiteX63" fmla="*/ 2162175 w 6373827"/>
              <a:gd name="connsiteY63" fmla="*/ 3749560 h 6138270"/>
              <a:gd name="connsiteX64" fmla="*/ 2162175 w 6373827"/>
              <a:gd name="connsiteY64" fmla="*/ 3406660 h 6138270"/>
              <a:gd name="connsiteX65" fmla="*/ 2581275 w 6373827"/>
              <a:gd name="connsiteY65" fmla="*/ 3406660 h 6138270"/>
              <a:gd name="connsiteX66" fmla="*/ 2581275 w 6373827"/>
              <a:gd name="connsiteY66" fmla="*/ 4121035 h 6138270"/>
              <a:gd name="connsiteX67" fmla="*/ 3219450 w 6373827"/>
              <a:gd name="connsiteY67" fmla="*/ 4678248 h 6138270"/>
              <a:gd name="connsiteX68" fmla="*/ 3219450 w 6373827"/>
              <a:gd name="connsiteY68" fmla="*/ 5078298 h 6138270"/>
              <a:gd name="connsiteX69" fmla="*/ 1619250 w 6373827"/>
              <a:gd name="connsiteY69" fmla="*/ 3711460 h 6138270"/>
              <a:gd name="connsiteX70" fmla="*/ 0 w 6373827"/>
              <a:gd name="connsiteY70" fmla="*/ 5087823 h 6138270"/>
              <a:gd name="connsiteX71" fmla="*/ 0 w 6373827"/>
              <a:gd name="connsiteY71" fmla="*/ 4683010 h 6138270"/>
              <a:gd name="connsiteX72" fmla="*/ 1628775 w 6373827"/>
              <a:gd name="connsiteY72" fmla="*/ 3287598 h 6138270"/>
              <a:gd name="connsiteX73" fmla="*/ 5774878 w 6373827"/>
              <a:gd name="connsiteY73" fmla="*/ 3043007 h 6138270"/>
              <a:gd name="connsiteX74" fmla="*/ 6024128 w 6373827"/>
              <a:gd name="connsiteY74" fmla="*/ 3292258 h 6138270"/>
              <a:gd name="connsiteX75" fmla="*/ 5774878 w 6373827"/>
              <a:gd name="connsiteY75" fmla="*/ 3541509 h 6138270"/>
              <a:gd name="connsiteX76" fmla="*/ 5525627 w 6373827"/>
              <a:gd name="connsiteY76" fmla="*/ 3292258 h 6138270"/>
              <a:gd name="connsiteX77" fmla="*/ 5774878 w 6373827"/>
              <a:gd name="connsiteY77" fmla="*/ 3043007 h 6138270"/>
              <a:gd name="connsiteX78" fmla="*/ 3706676 w 6373827"/>
              <a:gd name="connsiteY78" fmla="*/ 0 h 6138270"/>
              <a:gd name="connsiteX79" fmla="*/ 3862160 w 6373827"/>
              <a:gd name="connsiteY79" fmla="*/ 155484 h 6138270"/>
              <a:gd name="connsiteX80" fmla="*/ 3862160 w 6373827"/>
              <a:gd name="connsiteY80" fmla="*/ 441065 h 6138270"/>
              <a:gd name="connsiteX81" fmla="*/ 5919923 w 6373827"/>
              <a:gd name="connsiteY81" fmla="*/ 2822641 h 6138270"/>
              <a:gd name="connsiteX82" fmla="*/ 5918206 w 6373827"/>
              <a:gd name="connsiteY82" fmla="*/ 2822641 h 6138270"/>
              <a:gd name="connsiteX83" fmla="*/ 5181510 w 6373827"/>
              <a:gd name="connsiteY83" fmla="*/ 2378505 h 6138270"/>
              <a:gd name="connsiteX84" fmla="*/ 4444815 w 6373827"/>
              <a:gd name="connsiteY84" fmla="*/ 2822641 h 6138270"/>
              <a:gd name="connsiteX85" fmla="*/ 4443372 w 6373827"/>
              <a:gd name="connsiteY85" fmla="*/ 2822641 h 6138270"/>
              <a:gd name="connsiteX86" fmla="*/ 3862160 w 6373827"/>
              <a:gd name="connsiteY86" fmla="*/ 2390781 h 6138270"/>
              <a:gd name="connsiteX87" fmla="*/ 3862160 w 6373827"/>
              <a:gd name="connsiteY87" fmla="*/ 5261042 h 6138270"/>
              <a:gd name="connsiteX88" fmla="*/ 3864701 w 6373827"/>
              <a:gd name="connsiteY88" fmla="*/ 5261042 h 6138270"/>
              <a:gd name="connsiteX89" fmla="*/ 4217943 w 6373827"/>
              <a:gd name="connsiteY89" fmla="*/ 5771650 h 6138270"/>
              <a:gd name="connsiteX90" fmla="*/ 4444978 w 6373827"/>
              <a:gd name="connsiteY90" fmla="*/ 5457393 h 6138270"/>
              <a:gd name="connsiteX91" fmla="*/ 4752975 w 6373827"/>
              <a:gd name="connsiteY91" fmla="*/ 5452631 h 6138270"/>
              <a:gd name="connsiteX92" fmla="*/ 4726849 w 6373827"/>
              <a:gd name="connsiteY92" fmla="*/ 5774848 h 6138270"/>
              <a:gd name="connsiteX93" fmla="*/ 4239169 w 6373827"/>
              <a:gd name="connsiteY93" fmla="*/ 6123191 h 6138270"/>
              <a:gd name="connsiteX94" fmla="*/ 3635897 w 6373827"/>
              <a:gd name="connsiteY94" fmla="*/ 5781243 h 6138270"/>
              <a:gd name="connsiteX95" fmla="*/ 3551270 w 6373827"/>
              <a:gd name="connsiteY95" fmla="*/ 5410743 h 6138270"/>
              <a:gd name="connsiteX96" fmla="*/ 3551192 w 6373827"/>
              <a:gd name="connsiteY96" fmla="*/ 5410358 h 6138270"/>
              <a:gd name="connsiteX97" fmla="*/ 3551192 w 6373827"/>
              <a:gd name="connsiteY97" fmla="*/ 5409089 h 6138270"/>
              <a:gd name="connsiteX98" fmla="*/ 3551192 w 6373827"/>
              <a:gd name="connsiteY98" fmla="*/ 5261042 h 6138270"/>
              <a:gd name="connsiteX99" fmla="*/ 3551192 w 6373827"/>
              <a:gd name="connsiteY99" fmla="*/ 2390781 h 6138270"/>
              <a:gd name="connsiteX100" fmla="*/ 2969980 w 6373827"/>
              <a:gd name="connsiteY100" fmla="*/ 2822641 h 6138270"/>
              <a:gd name="connsiteX101" fmla="*/ 2968539 w 6373827"/>
              <a:gd name="connsiteY101" fmla="*/ 2822641 h 6138270"/>
              <a:gd name="connsiteX102" fmla="*/ 2231843 w 6373827"/>
              <a:gd name="connsiteY102" fmla="*/ 2378505 h 6138270"/>
              <a:gd name="connsiteX103" fmla="*/ 1495147 w 6373827"/>
              <a:gd name="connsiteY103" fmla="*/ 2822641 h 6138270"/>
              <a:gd name="connsiteX104" fmla="*/ 1487260 w 6373827"/>
              <a:gd name="connsiteY104" fmla="*/ 2822641 h 6138270"/>
              <a:gd name="connsiteX105" fmla="*/ 3551192 w 6373827"/>
              <a:gd name="connsiteY105" fmla="*/ 435206 h 6138270"/>
              <a:gd name="connsiteX106" fmla="*/ 3551192 w 6373827"/>
              <a:gd name="connsiteY106" fmla="*/ 155484 h 6138270"/>
              <a:gd name="connsiteX107" fmla="*/ 3706676 w 6373827"/>
              <a:gd name="connsiteY107" fmla="*/ 0 h 6138270"/>
              <a:gd name="connsiteX0" fmla="*/ 401955 w 6373827"/>
              <a:gd name="connsiteY0" fmla="*/ 4973523 h 6138270"/>
              <a:gd name="connsiteX1" fmla="*/ 2863215 w 6373827"/>
              <a:gd name="connsiteY1" fmla="*/ 4973523 h 6138270"/>
              <a:gd name="connsiteX2" fmla="*/ 2863215 w 6373827"/>
              <a:gd name="connsiteY2" fmla="*/ 6034736 h 6138270"/>
              <a:gd name="connsiteX3" fmla="*/ 2759681 w 6373827"/>
              <a:gd name="connsiteY3" fmla="*/ 6138270 h 6138270"/>
              <a:gd name="connsiteX4" fmla="*/ 2063592 w 6373827"/>
              <a:gd name="connsiteY4" fmla="*/ 6138270 h 6138270"/>
              <a:gd name="connsiteX5" fmla="*/ 2063592 w 6373827"/>
              <a:gd name="connsiteY5" fmla="*/ 5192595 h 6138270"/>
              <a:gd name="connsiteX6" fmla="*/ 1925480 w 6373827"/>
              <a:gd name="connsiteY6" fmla="*/ 5054483 h 6138270"/>
              <a:gd name="connsiteX7" fmla="*/ 1339691 w 6373827"/>
              <a:gd name="connsiteY7" fmla="*/ 5054483 h 6138270"/>
              <a:gd name="connsiteX8" fmla="*/ 1201579 w 6373827"/>
              <a:gd name="connsiteY8" fmla="*/ 5192595 h 6138270"/>
              <a:gd name="connsiteX9" fmla="*/ 1201579 w 6373827"/>
              <a:gd name="connsiteY9" fmla="*/ 6138270 h 6138270"/>
              <a:gd name="connsiteX10" fmla="*/ 505489 w 6373827"/>
              <a:gd name="connsiteY10" fmla="*/ 6138270 h 6138270"/>
              <a:gd name="connsiteX11" fmla="*/ 401955 w 6373827"/>
              <a:gd name="connsiteY11" fmla="*/ 6034736 h 6138270"/>
              <a:gd name="connsiteX12" fmla="*/ 401955 w 6373827"/>
              <a:gd name="connsiteY12" fmla="*/ 4973523 h 6138270"/>
              <a:gd name="connsiteX13" fmla="*/ 1632585 w 6373827"/>
              <a:gd name="connsiteY13" fmla="*/ 3906725 h 6138270"/>
              <a:gd name="connsiteX14" fmla="*/ 2863215 w 6373827"/>
              <a:gd name="connsiteY14" fmla="*/ 4973522 h 6138270"/>
              <a:gd name="connsiteX15" fmla="*/ 401955 w 6373827"/>
              <a:gd name="connsiteY15" fmla="*/ 4973522 h 6138270"/>
              <a:gd name="connsiteX16" fmla="*/ 1632585 w 6373827"/>
              <a:gd name="connsiteY16" fmla="*/ 3906725 h 6138270"/>
              <a:gd name="connsiteX17" fmla="*/ 5490667 w 6373827"/>
              <a:gd name="connsiteY17" fmla="*/ 3608415 h 6138270"/>
              <a:gd name="connsiteX18" fmla="*/ 6059089 w 6373827"/>
              <a:gd name="connsiteY18" fmla="*/ 3608415 h 6138270"/>
              <a:gd name="connsiteX19" fmla="*/ 6354337 w 6373827"/>
              <a:gd name="connsiteY19" fmla="*/ 3803640 h 6138270"/>
              <a:gd name="connsiteX20" fmla="*/ 6368029 w 6373827"/>
              <a:gd name="connsiteY20" fmla="*/ 3847343 h 6138270"/>
              <a:gd name="connsiteX21" fmla="*/ 6373827 w 6373827"/>
              <a:gd name="connsiteY21" fmla="*/ 3904862 h 6138270"/>
              <a:gd name="connsiteX22" fmla="*/ 6373827 w 6373827"/>
              <a:gd name="connsiteY22" fmla="*/ 3923154 h 6138270"/>
              <a:gd name="connsiteX23" fmla="*/ 6373827 w 6373827"/>
              <a:gd name="connsiteY23" fmla="*/ 4009528 h 6138270"/>
              <a:gd name="connsiteX24" fmla="*/ 6373827 w 6373827"/>
              <a:gd name="connsiteY24" fmla="*/ 4720751 h 6138270"/>
              <a:gd name="connsiteX25" fmla="*/ 6260798 w 6373827"/>
              <a:gd name="connsiteY25" fmla="*/ 4833781 h 6138270"/>
              <a:gd name="connsiteX26" fmla="*/ 6147769 w 6373827"/>
              <a:gd name="connsiteY26" fmla="*/ 4720751 h 6138270"/>
              <a:gd name="connsiteX27" fmla="*/ 6147769 w 6373827"/>
              <a:gd name="connsiteY27" fmla="*/ 4310036 h 6138270"/>
              <a:gd name="connsiteX28" fmla="*/ 6146571 w 6373827"/>
              <a:gd name="connsiteY28" fmla="*/ 4310335 h 6138270"/>
              <a:gd name="connsiteX29" fmla="*/ 6146571 w 6373827"/>
              <a:gd name="connsiteY29" fmla="*/ 4006446 h 6138270"/>
              <a:gd name="connsiteX30" fmla="*/ 6141788 w 6373827"/>
              <a:gd name="connsiteY30" fmla="*/ 4001663 h 6138270"/>
              <a:gd name="connsiteX31" fmla="*/ 6093957 w 6373827"/>
              <a:gd name="connsiteY31" fmla="*/ 4001663 h 6138270"/>
              <a:gd name="connsiteX32" fmla="*/ 6089174 w 6373827"/>
              <a:gd name="connsiteY32" fmla="*/ 4006446 h 6138270"/>
              <a:gd name="connsiteX33" fmla="*/ 6090110 w 6373827"/>
              <a:gd name="connsiteY33" fmla="*/ 4288441 h 6138270"/>
              <a:gd name="connsiteX34" fmla="*/ 6090110 w 6373827"/>
              <a:gd name="connsiteY34" fmla="*/ 5970857 h 6138270"/>
              <a:gd name="connsiteX35" fmla="*/ 5948823 w 6373827"/>
              <a:gd name="connsiteY35" fmla="*/ 6112144 h 6138270"/>
              <a:gd name="connsiteX36" fmla="*/ 5807537 w 6373827"/>
              <a:gd name="connsiteY36" fmla="*/ 5970857 h 6138270"/>
              <a:gd name="connsiteX37" fmla="*/ 5807537 w 6373827"/>
              <a:gd name="connsiteY37" fmla="*/ 4907726 h 6138270"/>
              <a:gd name="connsiteX38" fmla="*/ 5806601 w 6373827"/>
              <a:gd name="connsiteY38" fmla="*/ 4826563 h 6138270"/>
              <a:gd name="connsiteX39" fmla="*/ 5802404 w 6373827"/>
              <a:gd name="connsiteY39" fmla="*/ 4822365 h 6138270"/>
              <a:gd name="connsiteX40" fmla="*/ 5750295 w 6373827"/>
              <a:gd name="connsiteY40" fmla="*/ 4822365 h 6138270"/>
              <a:gd name="connsiteX41" fmla="*/ 5746098 w 6373827"/>
              <a:gd name="connsiteY41" fmla="*/ 4826563 h 6138270"/>
              <a:gd name="connsiteX42" fmla="*/ 5746098 w 6373827"/>
              <a:gd name="connsiteY42" fmla="*/ 4907726 h 6138270"/>
              <a:gd name="connsiteX43" fmla="*/ 5745746 w 6373827"/>
              <a:gd name="connsiteY43" fmla="*/ 5970857 h 6138270"/>
              <a:gd name="connsiteX44" fmla="*/ 5604460 w 6373827"/>
              <a:gd name="connsiteY44" fmla="*/ 6112144 h 6138270"/>
              <a:gd name="connsiteX45" fmla="*/ 5463173 w 6373827"/>
              <a:gd name="connsiteY45" fmla="*/ 5970857 h 6138270"/>
              <a:gd name="connsiteX46" fmla="*/ 5463173 w 6373827"/>
              <a:gd name="connsiteY46" fmla="*/ 4322181 h 6138270"/>
              <a:gd name="connsiteX47" fmla="*/ 5458767 w 6373827"/>
              <a:gd name="connsiteY47" fmla="*/ 4006373 h 6138270"/>
              <a:gd name="connsiteX48" fmla="*/ 5454057 w 6373827"/>
              <a:gd name="connsiteY48" fmla="*/ 4001663 h 6138270"/>
              <a:gd name="connsiteX49" fmla="*/ 5406962 w 6373827"/>
              <a:gd name="connsiteY49" fmla="*/ 4001663 h 6138270"/>
              <a:gd name="connsiteX50" fmla="*/ 5402252 w 6373827"/>
              <a:gd name="connsiteY50" fmla="*/ 4006373 h 6138270"/>
              <a:gd name="connsiteX51" fmla="*/ 5402252 w 6373827"/>
              <a:gd name="connsiteY51" fmla="*/ 4310102 h 6138270"/>
              <a:gd name="connsiteX52" fmla="*/ 5401987 w 6373827"/>
              <a:gd name="connsiteY52" fmla="*/ 4310036 h 6138270"/>
              <a:gd name="connsiteX53" fmla="*/ 5401987 w 6373827"/>
              <a:gd name="connsiteY53" fmla="*/ 4720751 h 6138270"/>
              <a:gd name="connsiteX54" fmla="*/ 5288958 w 6373827"/>
              <a:gd name="connsiteY54" fmla="*/ 4833781 h 6138270"/>
              <a:gd name="connsiteX55" fmla="*/ 5175928 w 6373827"/>
              <a:gd name="connsiteY55" fmla="*/ 4720751 h 6138270"/>
              <a:gd name="connsiteX56" fmla="*/ 5175928 w 6373827"/>
              <a:gd name="connsiteY56" fmla="*/ 4009528 h 6138270"/>
              <a:gd name="connsiteX57" fmla="*/ 5175928 w 6373827"/>
              <a:gd name="connsiteY57" fmla="*/ 3923154 h 6138270"/>
              <a:gd name="connsiteX58" fmla="*/ 5175928 w 6373827"/>
              <a:gd name="connsiteY58" fmla="*/ 3904862 h 6138270"/>
              <a:gd name="connsiteX59" fmla="*/ 5187098 w 6373827"/>
              <a:gd name="connsiteY59" fmla="*/ 3827823 h 6138270"/>
              <a:gd name="connsiteX60" fmla="*/ 5193946 w 6373827"/>
              <a:gd name="connsiteY60" fmla="*/ 3805111 h 6138270"/>
              <a:gd name="connsiteX61" fmla="*/ 5490667 w 6373827"/>
              <a:gd name="connsiteY61" fmla="*/ 3608415 h 6138270"/>
              <a:gd name="connsiteX62" fmla="*/ 1628775 w 6373827"/>
              <a:gd name="connsiteY62" fmla="*/ 3287598 h 6138270"/>
              <a:gd name="connsiteX63" fmla="*/ 2162175 w 6373827"/>
              <a:gd name="connsiteY63" fmla="*/ 3749560 h 6138270"/>
              <a:gd name="connsiteX64" fmla="*/ 2162175 w 6373827"/>
              <a:gd name="connsiteY64" fmla="*/ 3406660 h 6138270"/>
              <a:gd name="connsiteX65" fmla="*/ 2581275 w 6373827"/>
              <a:gd name="connsiteY65" fmla="*/ 3406660 h 6138270"/>
              <a:gd name="connsiteX66" fmla="*/ 2581275 w 6373827"/>
              <a:gd name="connsiteY66" fmla="*/ 4121035 h 6138270"/>
              <a:gd name="connsiteX67" fmla="*/ 3219450 w 6373827"/>
              <a:gd name="connsiteY67" fmla="*/ 4678248 h 6138270"/>
              <a:gd name="connsiteX68" fmla="*/ 3219450 w 6373827"/>
              <a:gd name="connsiteY68" fmla="*/ 5078298 h 6138270"/>
              <a:gd name="connsiteX69" fmla="*/ 1619250 w 6373827"/>
              <a:gd name="connsiteY69" fmla="*/ 3711460 h 6138270"/>
              <a:gd name="connsiteX70" fmla="*/ 0 w 6373827"/>
              <a:gd name="connsiteY70" fmla="*/ 5087823 h 6138270"/>
              <a:gd name="connsiteX71" fmla="*/ 0 w 6373827"/>
              <a:gd name="connsiteY71" fmla="*/ 4683010 h 6138270"/>
              <a:gd name="connsiteX72" fmla="*/ 1628775 w 6373827"/>
              <a:gd name="connsiteY72" fmla="*/ 3287598 h 6138270"/>
              <a:gd name="connsiteX73" fmla="*/ 5774878 w 6373827"/>
              <a:gd name="connsiteY73" fmla="*/ 3043007 h 6138270"/>
              <a:gd name="connsiteX74" fmla="*/ 6024128 w 6373827"/>
              <a:gd name="connsiteY74" fmla="*/ 3292258 h 6138270"/>
              <a:gd name="connsiteX75" fmla="*/ 5774878 w 6373827"/>
              <a:gd name="connsiteY75" fmla="*/ 3541509 h 6138270"/>
              <a:gd name="connsiteX76" fmla="*/ 5525627 w 6373827"/>
              <a:gd name="connsiteY76" fmla="*/ 3292258 h 6138270"/>
              <a:gd name="connsiteX77" fmla="*/ 5774878 w 6373827"/>
              <a:gd name="connsiteY77" fmla="*/ 3043007 h 6138270"/>
              <a:gd name="connsiteX78" fmla="*/ 3706676 w 6373827"/>
              <a:gd name="connsiteY78" fmla="*/ 0 h 6138270"/>
              <a:gd name="connsiteX79" fmla="*/ 3862160 w 6373827"/>
              <a:gd name="connsiteY79" fmla="*/ 155484 h 6138270"/>
              <a:gd name="connsiteX80" fmla="*/ 3862160 w 6373827"/>
              <a:gd name="connsiteY80" fmla="*/ 441065 h 6138270"/>
              <a:gd name="connsiteX81" fmla="*/ 5919923 w 6373827"/>
              <a:gd name="connsiteY81" fmla="*/ 2822641 h 6138270"/>
              <a:gd name="connsiteX82" fmla="*/ 5918206 w 6373827"/>
              <a:gd name="connsiteY82" fmla="*/ 2822641 h 6138270"/>
              <a:gd name="connsiteX83" fmla="*/ 5181510 w 6373827"/>
              <a:gd name="connsiteY83" fmla="*/ 2378505 h 6138270"/>
              <a:gd name="connsiteX84" fmla="*/ 4444815 w 6373827"/>
              <a:gd name="connsiteY84" fmla="*/ 2822641 h 6138270"/>
              <a:gd name="connsiteX85" fmla="*/ 4443372 w 6373827"/>
              <a:gd name="connsiteY85" fmla="*/ 2822641 h 6138270"/>
              <a:gd name="connsiteX86" fmla="*/ 3862160 w 6373827"/>
              <a:gd name="connsiteY86" fmla="*/ 2390781 h 6138270"/>
              <a:gd name="connsiteX87" fmla="*/ 3862160 w 6373827"/>
              <a:gd name="connsiteY87" fmla="*/ 5261042 h 6138270"/>
              <a:gd name="connsiteX88" fmla="*/ 3864701 w 6373827"/>
              <a:gd name="connsiteY88" fmla="*/ 5261042 h 6138270"/>
              <a:gd name="connsiteX89" fmla="*/ 4217943 w 6373827"/>
              <a:gd name="connsiteY89" fmla="*/ 5771650 h 6138270"/>
              <a:gd name="connsiteX90" fmla="*/ 4444978 w 6373827"/>
              <a:gd name="connsiteY90" fmla="*/ 5457393 h 6138270"/>
              <a:gd name="connsiteX91" fmla="*/ 4752975 w 6373827"/>
              <a:gd name="connsiteY91" fmla="*/ 5452631 h 6138270"/>
              <a:gd name="connsiteX92" fmla="*/ 4726849 w 6373827"/>
              <a:gd name="connsiteY92" fmla="*/ 5774848 h 6138270"/>
              <a:gd name="connsiteX93" fmla="*/ 4239169 w 6373827"/>
              <a:gd name="connsiteY93" fmla="*/ 6123191 h 6138270"/>
              <a:gd name="connsiteX94" fmla="*/ 3635897 w 6373827"/>
              <a:gd name="connsiteY94" fmla="*/ 5781243 h 6138270"/>
              <a:gd name="connsiteX95" fmla="*/ 3551270 w 6373827"/>
              <a:gd name="connsiteY95" fmla="*/ 5410743 h 6138270"/>
              <a:gd name="connsiteX96" fmla="*/ 3551192 w 6373827"/>
              <a:gd name="connsiteY96" fmla="*/ 5410358 h 6138270"/>
              <a:gd name="connsiteX97" fmla="*/ 3551192 w 6373827"/>
              <a:gd name="connsiteY97" fmla="*/ 5409089 h 6138270"/>
              <a:gd name="connsiteX98" fmla="*/ 3551192 w 6373827"/>
              <a:gd name="connsiteY98" fmla="*/ 5261042 h 6138270"/>
              <a:gd name="connsiteX99" fmla="*/ 3551192 w 6373827"/>
              <a:gd name="connsiteY99" fmla="*/ 2390781 h 6138270"/>
              <a:gd name="connsiteX100" fmla="*/ 2969980 w 6373827"/>
              <a:gd name="connsiteY100" fmla="*/ 2822641 h 6138270"/>
              <a:gd name="connsiteX101" fmla="*/ 2968539 w 6373827"/>
              <a:gd name="connsiteY101" fmla="*/ 2822641 h 6138270"/>
              <a:gd name="connsiteX102" fmla="*/ 2231843 w 6373827"/>
              <a:gd name="connsiteY102" fmla="*/ 2378505 h 6138270"/>
              <a:gd name="connsiteX103" fmla="*/ 1495147 w 6373827"/>
              <a:gd name="connsiteY103" fmla="*/ 2822641 h 6138270"/>
              <a:gd name="connsiteX104" fmla="*/ 1487260 w 6373827"/>
              <a:gd name="connsiteY104" fmla="*/ 2822641 h 6138270"/>
              <a:gd name="connsiteX105" fmla="*/ 3551192 w 6373827"/>
              <a:gd name="connsiteY105" fmla="*/ 435206 h 6138270"/>
              <a:gd name="connsiteX106" fmla="*/ 3551192 w 6373827"/>
              <a:gd name="connsiteY106" fmla="*/ 155484 h 6138270"/>
              <a:gd name="connsiteX107" fmla="*/ 3706676 w 6373827"/>
              <a:gd name="connsiteY107" fmla="*/ 0 h 6138270"/>
              <a:gd name="connsiteX0" fmla="*/ 401955 w 6373827"/>
              <a:gd name="connsiteY0" fmla="*/ 4973523 h 6138270"/>
              <a:gd name="connsiteX1" fmla="*/ 2863215 w 6373827"/>
              <a:gd name="connsiteY1" fmla="*/ 4973523 h 6138270"/>
              <a:gd name="connsiteX2" fmla="*/ 2863215 w 6373827"/>
              <a:gd name="connsiteY2" fmla="*/ 6034736 h 6138270"/>
              <a:gd name="connsiteX3" fmla="*/ 2759681 w 6373827"/>
              <a:gd name="connsiteY3" fmla="*/ 6138270 h 6138270"/>
              <a:gd name="connsiteX4" fmla="*/ 2063592 w 6373827"/>
              <a:gd name="connsiteY4" fmla="*/ 6138270 h 6138270"/>
              <a:gd name="connsiteX5" fmla="*/ 2063592 w 6373827"/>
              <a:gd name="connsiteY5" fmla="*/ 5192595 h 6138270"/>
              <a:gd name="connsiteX6" fmla="*/ 1925480 w 6373827"/>
              <a:gd name="connsiteY6" fmla="*/ 5054483 h 6138270"/>
              <a:gd name="connsiteX7" fmla="*/ 1339691 w 6373827"/>
              <a:gd name="connsiteY7" fmla="*/ 5054483 h 6138270"/>
              <a:gd name="connsiteX8" fmla="*/ 1201579 w 6373827"/>
              <a:gd name="connsiteY8" fmla="*/ 5192595 h 6138270"/>
              <a:gd name="connsiteX9" fmla="*/ 1201579 w 6373827"/>
              <a:gd name="connsiteY9" fmla="*/ 6138270 h 6138270"/>
              <a:gd name="connsiteX10" fmla="*/ 505489 w 6373827"/>
              <a:gd name="connsiteY10" fmla="*/ 6138270 h 6138270"/>
              <a:gd name="connsiteX11" fmla="*/ 401955 w 6373827"/>
              <a:gd name="connsiteY11" fmla="*/ 6034736 h 6138270"/>
              <a:gd name="connsiteX12" fmla="*/ 401955 w 6373827"/>
              <a:gd name="connsiteY12" fmla="*/ 4973523 h 6138270"/>
              <a:gd name="connsiteX13" fmla="*/ 1632585 w 6373827"/>
              <a:gd name="connsiteY13" fmla="*/ 3906725 h 6138270"/>
              <a:gd name="connsiteX14" fmla="*/ 2863215 w 6373827"/>
              <a:gd name="connsiteY14" fmla="*/ 4973522 h 6138270"/>
              <a:gd name="connsiteX15" fmla="*/ 401955 w 6373827"/>
              <a:gd name="connsiteY15" fmla="*/ 4973522 h 6138270"/>
              <a:gd name="connsiteX16" fmla="*/ 1632585 w 6373827"/>
              <a:gd name="connsiteY16" fmla="*/ 3906725 h 6138270"/>
              <a:gd name="connsiteX17" fmla="*/ 5490667 w 6373827"/>
              <a:gd name="connsiteY17" fmla="*/ 3608415 h 6138270"/>
              <a:gd name="connsiteX18" fmla="*/ 6059089 w 6373827"/>
              <a:gd name="connsiteY18" fmla="*/ 3608415 h 6138270"/>
              <a:gd name="connsiteX19" fmla="*/ 6354337 w 6373827"/>
              <a:gd name="connsiteY19" fmla="*/ 3803640 h 6138270"/>
              <a:gd name="connsiteX20" fmla="*/ 6368029 w 6373827"/>
              <a:gd name="connsiteY20" fmla="*/ 3847343 h 6138270"/>
              <a:gd name="connsiteX21" fmla="*/ 6373827 w 6373827"/>
              <a:gd name="connsiteY21" fmla="*/ 3904862 h 6138270"/>
              <a:gd name="connsiteX22" fmla="*/ 6373827 w 6373827"/>
              <a:gd name="connsiteY22" fmla="*/ 3923154 h 6138270"/>
              <a:gd name="connsiteX23" fmla="*/ 6373827 w 6373827"/>
              <a:gd name="connsiteY23" fmla="*/ 4009528 h 6138270"/>
              <a:gd name="connsiteX24" fmla="*/ 6373827 w 6373827"/>
              <a:gd name="connsiteY24" fmla="*/ 4720751 h 6138270"/>
              <a:gd name="connsiteX25" fmla="*/ 6260798 w 6373827"/>
              <a:gd name="connsiteY25" fmla="*/ 4833781 h 6138270"/>
              <a:gd name="connsiteX26" fmla="*/ 6147769 w 6373827"/>
              <a:gd name="connsiteY26" fmla="*/ 4720751 h 6138270"/>
              <a:gd name="connsiteX27" fmla="*/ 6147769 w 6373827"/>
              <a:gd name="connsiteY27" fmla="*/ 4310036 h 6138270"/>
              <a:gd name="connsiteX28" fmla="*/ 6146571 w 6373827"/>
              <a:gd name="connsiteY28" fmla="*/ 4310335 h 6138270"/>
              <a:gd name="connsiteX29" fmla="*/ 6146571 w 6373827"/>
              <a:gd name="connsiteY29" fmla="*/ 4006446 h 6138270"/>
              <a:gd name="connsiteX30" fmla="*/ 6141788 w 6373827"/>
              <a:gd name="connsiteY30" fmla="*/ 4001663 h 6138270"/>
              <a:gd name="connsiteX31" fmla="*/ 6093957 w 6373827"/>
              <a:gd name="connsiteY31" fmla="*/ 4001663 h 6138270"/>
              <a:gd name="connsiteX32" fmla="*/ 6089174 w 6373827"/>
              <a:gd name="connsiteY32" fmla="*/ 4006446 h 6138270"/>
              <a:gd name="connsiteX33" fmla="*/ 6090110 w 6373827"/>
              <a:gd name="connsiteY33" fmla="*/ 4288441 h 6138270"/>
              <a:gd name="connsiteX34" fmla="*/ 6090110 w 6373827"/>
              <a:gd name="connsiteY34" fmla="*/ 5970857 h 6138270"/>
              <a:gd name="connsiteX35" fmla="*/ 5948823 w 6373827"/>
              <a:gd name="connsiteY35" fmla="*/ 6112144 h 6138270"/>
              <a:gd name="connsiteX36" fmla="*/ 5807537 w 6373827"/>
              <a:gd name="connsiteY36" fmla="*/ 5970857 h 6138270"/>
              <a:gd name="connsiteX37" fmla="*/ 5807537 w 6373827"/>
              <a:gd name="connsiteY37" fmla="*/ 4907726 h 6138270"/>
              <a:gd name="connsiteX38" fmla="*/ 5806601 w 6373827"/>
              <a:gd name="connsiteY38" fmla="*/ 4826563 h 6138270"/>
              <a:gd name="connsiteX39" fmla="*/ 5802404 w 6373827"/>
              <a:gd name="connsiteY39" fmla="*/ 4822365 h 6138270"/>
              <a:gd name="connsiteX40" fmla="*/ 5750295 w 6373827"/>
              <a:gd name="connsiteY40" fmla="*/ 4822365 h 6138270"/>
              <a:gd name="connsiteX41" fmla="*/ 5746098 w 6373827"/>
              <a:gd name="connsiteY41" fmla="*/ 4826563 h 6138270"/>
              <a:gd name="connsiteX42" fmla="*/ 5746098 w 6373827"/>
              <a:gd name="connsiteY42" fmla="*/ 4907726 h 6138270"/>
              <a:gd name="connsiteX43" fmla="*/ 5745746 w 6373827"/>
              <a:gd name="connsiteY43" fmla="*/ 5970857 h 6138270"/>
              <a:gd name="connsiteX44" fmla="*/ 5604460 w 6373827"/>
              <a:gd name="connsiteY44" fmla="*/ 6112144 h 6138270"/>
              <a:gd name="connsiteX45" fmla="*/ 5463173 w 6373827"/>
              <a:gd name="connsiteY45" fmla="*/ 5970857 h 6138270"/>
              <a:gd name="connsiteX46" fmla="*/ 5463173 w 6373827"/>
              <a:gd name="connsiteY46" fmla="*/ 4322181 h 6138270"/>
              <a:gd name="connsiteX47" fmla="*/ 5458767 w 6373827"/>
              <a:gd name="connsiteY47" fmla="*/ 4006373 h 6138270"/>
              <a:gd name="connsiteX48" fmla="*/ 5454057 w 6373827"/>
              <a:gd name="connsiteY48" fmla="*/ 4001663 h 6138270"/>
              <a:gd name="connsiteX49" fmla="*/ 5406962 w 6373827"/>
              <a:gd name="connsiteY49" fmla="*/ 4001663 h 6138270"/>
              <a:gd name="connsiteX50" fmla="*/ 5402252 w 6373827"/>
              <a:gd name="connsiteY50" fmla="*/ 4006373 h 6138270"/>
              <a:gd name="connsiteX51" fmla="*/ 5402252 w 6373827"/>
              <a:gd name="connsiteY51" fmla="*/ 4310102 h 6138270"/>
              <a:gd name="connsiteX52" fmla="*/ 5401987 w 6373827"/>
              <a:gd name="connsiteY52" fmla="*/ 4310036 h 6138270"/>
              <a:gd name="connsiteX53" fmla="*/ 5401987 w 6373827"/>
              <a:gd name="connsiteY53" fmla="*/ 4720751 h 6138270"/>
              <a:gd name="connsiteX54" fmla="*/ 5288958 w 6373827"/>
              <a:gd name="connsiteY54" fmla="*/ 4833781 h 6138270"/>
              <a:gd name="connsiteX55" fmla="*/ 5175928 w 6373827"/>
              <a:gd name="connsiteY55" fmla="*/ 4720751 h 6138270"/>
              <a:gd name="connsiteX56" fmla="*/ 5175928 w 6373827"/>
              <a:gd name="connsiteY56" fmla="*/ 4009528 h 6138270"/>
              <a:gd name="connsiteX57" fmla="*/ 5175928 w 6373827"/>
              <a:gd name="connsiteY57" fmla="*/ 3923154 h 6138270"/>
              <a:gd name="connsiteX58" fmla="*/ 5175928 w 6373827"/>
              <a:gd name="connsiteY58" fmla="*/ 3904862 h 6138270"/>
              <a:gd name="connsiteX59" fmla="*/ 5187098 w 6373827"/>
              <a:gd name="connsiteY59" fmla="*/ 3827823 h 6138270"/>
              <a:gd name="connsiteX60" fmla="*/ 5193946 w 6373827"/>
              <a:gd name="connsiteY60" fmla="*/ 3805111 h 6138270"/>
              <a:gd name="connsiteX61" fmla="*/ 5490667 w 6373827"/>
              <a:gd name="connsiteY61" fmla="*/ 3608415 h 6138270"/>
              <a:gd name="connsiteX62" fmla="*/ 1628775 w 6373827"/>
              <a:gd name="connsiteY62" fmla="*/ 3287598 h 6138270"/>
              <a:gd name="connsiteX63" fmla="*/ 2162175 w 6373827"/>
              <a:gd name="connsiteY63" fmla="*/ 3749560 h 6138270"/>
              <a:gd name="connsiteX64" fmla="*/ 2162175 w 6373827"/>
              <a:gd name="connsiteY64" fmla="*/ 3406660 h 6138270"/>
              <a:gd name="connsiteX65" fmla="*/ 2581275 w 6373827"/>
              <a:gd name="connsiteY65" fmla="*/ 3406660 h 6138270"/>
              <a:gd name="connsiteX66" fmla="*/ 2581275 w 6373827"/>
              <a:gd name="connsiteY66" fmla="*/ 4121035 h 6138270"/>
              <a:gd name="connsiteX67" fmla="*/ 3219450 w 6373827"/>
              <a:gd name="connsiteY67" fmla="*/ 4678248 h 6138270"/>
              <a:gd name="connsiteX68" fmla="*/ 3219450 w 6373827"/>
              <a:gd name="connsiteY68" fmla="*/ 5078298 h 6138270"/>
              <a:gd name="connsiteX69" fmla="*/ 1619250 w 6373827"/>
              <a:gd name="connsiteY69" fmla="*/ 3711460 h 6138270"/>
              <a:gd name="connsiteX70" fmla="*/ 0 w 6373827"/>
              <a:gd name="connsiteY70" fmla="*/ 5087823 h 6138270"/>
              <a:gd name="connsiteX71" fmla="*/ 0 w 6373827"/>
              <a:gd name="connsiteY71" fmla="*/ 4683010 h 6138270"/>
              <a:gd name="connsiteX72" fmla="*/ 1628775 w 6373827"/>
              <a:gd name="connsiteY72" fmla="*/ 3287598 h 6138270"/>
              <a:gd name="connsiteX73" fmla="*/ 5774878 w 6373827"/>
              <a:gd name="connsiteY73" fmla="*/ 3043007 h 6138270"/>
              <a:gd name="connsiteX74" fmla="*/ 6024128 w 6373827"/>
              <a:gd name="connsiteY74" fmla="*/ 3292258 h 6138270"/>
              <a:gd name="connsiteX75" fmla="*/ 5774878 w 6373827"/>
              <a:gd name="connsiteY75" fmla="*/ 3541509 h 6138270"/>
              <a:gd name="connsiteX76" fmla="*/ 5525627 w 6373827"/>
              <a:gd name="connsiteY76" fmla="*/ 3292258 h 6138270"/>
              <a:gd name="connsiteX77" fmla="*/ 5774878 w 6373827"/>
              <a:gd name="connsiteY77" fmla="*/ 3043007 h 6138270"/>
              <a:gd name="connsiteX78" fmla="*/ 3706676 w 6373827"/>
              <a:gd name="connsiteY78" fmla="*/ 0 h 6138270"/>
              <a:gd name="connsiteX79" fmla="*/ 3862160 w 6373827"/>
              <a:gd name="connsiteY79" fmla="*/ 155484 h 6138270"/>
              <a:gd name="connsiteX80" fmla="*/ 3862160 w 6373827"/>
              <a:gd name="connsiteY80" fmla="*/ 441065 h 6138270"/>
              <a:gd name="connsiteX81" fmla="*/ 5919923 w 6373827"/>
              <a:gd name="connsiteY81" fmla="*/ 2822641 h 6138270"/>
              <a:gd name="connsiteX82" fmla="*/ 5918206 w 6373827"/>
              <a:gd name="connsiteY82" fmla="*/ 2822641 h 6138270"/>
              <a:gd name="connsiteX83" fmla="*/ 5181510 w 6373827"/>
              <a:gd name="connsiteY83" fmla="*/ 2378505 h 6138270"/>
              <a:gd name="connsiteX84" fmla="*/ 4444815 w 6373827"/>
              <a:gd name="connsiteY84" fmla="*/ 2822641 h 6138270"/>
              <a:gd name="connsiteX85" fmla="*/ 4443372 w 6373827"/>
              <a:gd name="connsiteY85" fmla="*/ 2822641 h 6138270"/>
              <a:gd name="connsiteX86" fmla="*/ 3862160 w 6373827"/>
              <a:gd name="connsiteY86" fmla="*/ 2390781 h 6138270"/>
              <a:gd name="connsiteX87" fmla="*/ 3862160 w 6373827"/>
              <a:gd name="connsiteY87" fmla="*/ 5261042 h 6138270"/>
              <a:gd name="connsiteX88" fmla="*/ 3864701 w 6373827"/>
              <a:gd name="connsiteY88" fmla="*/ 5261042 h 6138270"/>
              <a:gd name="connsiteX89" fmla="*/ 4217943 w 6373827"/>
              <a:gd name="connsiteY89" fmla="*/ 5771650 h 6138270"/>
              <a:gd name="connsiteX90" fmla="*/ 4444978 w 6373827"/>
              <a:gd name="connsiteY90" fmla="*/ 5457393 h 6138270"/>
              <a:gd name="connsiteX91" fmla="*/ 4752975 w 6373827"/>
              <a:gd name="connsiteY91" fmla="*/ 5452631 h 6138270"/>
              <a:gd name="connsiteX92" fmla="*/ 4726849 w 6373827"/>
              <a:gd name="connsiteY92" fmla="*/ 5774848 h 6138270"/>
              <a:gd name="connsiteX93" fmla="*/ 4239169 w 6373827"/>
              <a:gd name="connsiteY93" fmla="*/ 6123191 h 6138270"/>
              <a:gd name="connsiteX94" fmla="*/ 3635897 w 6373827"/>
              <a:gd name="connsiteY94" fmla="*/ 5781243 h 6138270"/>
              <a:gd name="connsiteX95" fmla="*/ 3551270 w 6373827"/>
              <a:gd name="connsiteY95" fmla="*/ 5410743 h 6138270"/>
              <a:gd name="connsiteX96" fmla="*/ 3551192 w 6373827"/>
              <a:gd name="connsiteY96" fmla="*/ 5410358 h 6138270"/>
              <a:gd name="connsiteX97" fmla="*/ 3551192 w 6373827"/>
              <a:gd name="connsiteY97" fmla="*/ 5409089 h 6138270"/>
              <a:gd name="connsiteX98" fmla="*/ 3551192 w 6373827"/>
              <a:gd name="connsiteY98" fmla="*/ 5261042 h 6138270"/>
              <a:gd name="connsiteX99" fmla="*/ 3551192 w 6373827"/>
              <a:gd name="connsiteY99" fmla="*/ 2390781 h 6138270"/>
              <a:gd name="connsiteX100" fmla="*/ 2969980 w 6373827"/>
              <a:gd name="connsiteY100" fmla="*/ 2822641 h 6138270"/>
              <a:gd name="connsiteX101" fmla="*/ 2968539 w 6373827"/>
              <a:gd name="connsiteY101" fmla="*/ 2822641 h 6138270"/>
              <a:gd name="connsiteX102" fmla="*/ 2231843 w 6373827"/>
              <a:gd name="connsiteY102" fmla="*/ 2378505 h 6138270"/>
              <a:gd name="connsiteX103" fmla="*/ 1495147 w 6373827"/>
              <a:gd name="connsiteY103" fmla="*/ 2822641 h 6138270"/>
              <a:gd name="connsiteX104" fmla="*/ 1487260 w 6373827"/>
              <a:gd name="connsiteY104" fmla="*/ 2822641 h 6138270"/>
              <a:gd name="connsiteX105" fmla="*/ 3551192 w 6373827"/>
              <a:gd name="connsiteY105" fmla="*/ 435206 h 6138270"/>
              <a:gd name="connsiteX106" fmla="*/ 3551192 w 6373827"/>
              <a:gd name="connsiteY106" fmla="*/ 155484 h 6138270"/>
              <a:gd name="connsiteX107" fmla="*/ 3706676 w 6373827"/>
              <a:gd name="connsiteY107" fmla="*/ 0 h 6138270"/>
              <a:gd name="connsiteX0" fmla="*/ 401955 w 6373827"/>
              <a:gd name="connsiteY0" fmla="*/ 4973523 h 6138270"/>
              <a:gd name="connsiteX1" fmla="*/ 2863215 w 6373827"/>
              <a:gd name="connsiteY1" fmla="*/ 4973523 h 6138270"/>
              <a:gd name="connsiteX2" fmla="*/ 2863215 w 6373827"/>
              <a:gd name="connsiteY2" fmla="*/ 6034736 h 6138270"/>
              <a:gd name="connsiteX3" fmla="*/ 2759681 w 6373827"/>
              <a:gd name="connsiteY3" fmla="*/ 6138270 h 6138270"/>
              <a:gd name="connsiteX4" fmla="*/ 2063592 w 6373827"/>
              <a:gd name="connsiteY4" fmla="*/ 6138270 h 6138270"/>
              <a:gd name="connsiteX5" fmla="*/ 2063592 w 6373827"/>
              <a:gd name="connsiteY5" fmla="*/ 5192595 h 6138270"/>
              <a:gd name="connsiteX6" fmla="*/ 1925480 w 6373827"/>
              <a:gd name="connsiteY6" fmla="*/ 5054483 h 6138270"/>
              <a:gd name="connsiteX7" fmla="*/ 1339691 w 6373827"/>
              <a:gd name="connsiteY7" fmla="*/ 5054483 h 6138270"/>
              <a:gd name="connsiteX8" fmla="*/ 1201579 w 6373827"/>
              <a:gd name="connsiteY8" fmla="*/ 5192595 h 6138270"/>
              <a:gd name="connsiteX9" fmla="*/ 1201579 w 6373827"/>
              <a:gd name="connsiteY9" fmla="*/ 6138270 h 6138270"/>
              <a:gd name="connsiteX10" fmla="*/ 505489 w 6373827"/>
              <a:gd name="connsiteY10" fmla="*/ 6138270 h 6138270"/>
              <a:gd name="connsiteX11" fmla="*/ 401955 w 6373827"/>
              <a:gd name="connsiteY11" fmla="*/ 6034736 h 6138270"/>
              <a:gd name="connsiteX12" fmla="*/ 401955 w 6373827"/>
              <a:gd name="connsiteY12" fmla="*/ 4973523 h 6138270"/>
              <a:gd name="connsiteX13" fmla="*/ 1632585 w 6373827"/>
              <a:gd name="connsiteY13" fmla="*/ 3906725 h 6138270"/>
              <a:gd name="connsiteX14" fmla="*/ 2863215 w 6373827"/>
              <a:gd name="connsiteY14" fmla="*/ 4973522 h 6138270"/>
              <a:gd name="connsiteX15" fmla="*/ 401955 w 6373827"/>
              <a:gd name="connsiteY15" fmla="*/ 4973522 h 6138270"/>
              <a:gd name="connsiteX16" fmla="*/ 1632585 w 6373827"/>
              <a:gd name="connsiteY16" fmla="*/ 3906725 h 6138270"/>
              <a:gd name="connsiteX17" fmla="*/ 5490667 w 6373827"/>
              <a:gd name="connsiteY17" fmla="*/ 3608415 h 6138270"/>
              <a:gd name="connsiteX18" fmla="*/ 6059089 w 6373827"/>
              <a:gd name="connsiteY18" fmla="*/ 3608415 h 6138270"/>
              <a:gd name="connsiteX19" fmla="*/ 6354337 w 6373827"/>
              <a:gd name="connsiteY19" fmla="*/ 3803640 h 6138270"/>
              <a:gd name="connsiteX20" fmla="*/ 6368029 w 6373827"/>
              <a:gd name="connsiteY20" fmla="*/ 3847343 h 6138270"/>
              <a:gd name="connsiteX21" fmla="*/ 6373827 w 6373827"/>
              <a:gd name="connsiteY21" fmla="*/ 3904862 h 6138270"/>
              <a:gd name="connsiteX22" fmla="*/ 6373827 w 6373827"/>
              <a:gd name="connsiteY22" fmla="*/ 3923154 h 6138270"/>
              <a:gd name="connsiteX23" fmla="*/ 6373827 w 6373827"/>
              <a:gd name="connsiteY23" fmla="*/ 4009528 h 6138270"/>
              <a:gd name="connsiteX24" fmla="*/ 6373827 w 6373827"/>
              <a:gd name="connsiteY24" fmla="*/ 4720751 h 6138270"/>
              <a:gd name="connsiteX25" fmla="*/ 6260798 w 6373827"/>
              <a:gd name="connsiteY25" fmla="*/ 4833781 h 6138270"/>
              <a:gd name="connsiteX26" fmla="*/ 6147769 w 6373827"/>
              <a:gd name="connsiteY26" fmla="*/ 4720751 h 6138270"/>
              <a:gd name="connsiteX27" fmla="*/ 6147769 w 6373827"/>
              <a:gd name="connsiteY27" fmla="*/ 4310036 h 6138270"/>
              <a:gd name="connsiteX28" fmla="*/ 6146571 w 6373827"/>
              <a:gd name="connsiteY28" fmla="*/ 4310335 h 6138270"/>
              <a:gd name="connsiteX29" fmla="*/ 6146571 w 6373827"/>
              <a:gd name="connsiteY29" fmla="*/ 4006446 h 6138270"/>
              <a:gd name="connsiteX30" fmla="*/ 6141788 w 6373827"/>
              <a:gd name="connsiteY30" fmla="*/ 4001663 h 6138270"/>
              <a:gd name="connsiteX31" fmla="*/ 6093957 w 6373827"/>
              <a:gd name="connsiteY31" fmla="*/ 4001663 h 6138270"/>
              <a:gd name="connsiteX32" fmla="*/ 6089174 w 6373827"/>
              <a:gd name="connsiteY32" fmla="*/ 4006446 h 6138270"/>
              <a:gd name="connsiteX33" fmla="*/ 6090110 w 6373827"/>
              <a:gd name="connsiteY33" fmla="*/ 4288441 h 6138270"/>
              <a:gd name="connsiteX34" fmla="*/ 6090110 w 6373827"/>
              <a:gd name="connsiteY34" fmla="*/ 5970857 h 6138270"/>
              <a:gd name="connsiteX35" fmla="*/ 5948823 w 6373827"/>
              <a:gd name="connsiteY35" fmla="*/ 6112144 h 6138270"/>
              <a:gd name="connsiteX36" fmla="*/ 5807537 w 6373827"/>
              <a:gd name="connsiteY36" fmla="*/ 5970857 h 6138270"/>
              <a:gd name="connsiteX37" fmla="*/ 5807537 w 6373827"/>
              <a:gd name="connsiteY37" fmla="*/ 4907726 h 6138270"/>
              <a:gd name="connsiteX38" fmla="*/ 5806601 w 6373827"/>
              <a:gd name="connsiteY38" fmla="*/ 4826563 h 6138270"/>
              <a:gd name="connsiteX39" fmla="*/ 5802404 w 6373827"/>
              <a:gd name="connsiteY39" fmla="*/ 4822365 h 6138270"/>
              <a:gd name="connsiteX40" fmla="*/ 5750295 w 6373827"/>
              <a:gd name="connsiteY40" fmla="*/ 4822365 h 6138270"/>
              <a:gd name="connsiteX41" fmla="*/ 5746098 w 6373827"/>
              <a:gd name="connsiteY41" fmla="*/ 4826563 h 6138270"/>
              <a:gd name="connsiteX42" fmla="*/ 5746098 w 6373827"/>
              <a:gd name="connsiteY42" fmla="*/ 4907726 h 6138270"/>
              <a:gd name="connsiteX43" fmla="*/ 5745746 w 6373827"/>
              <a:gd name="connsiteY43" fmla="*/ 5970857 h 6138270"/>
              <a:gd name="connsiteX44" fmla="*/ 5604460 w 6373827"/>
              <a:gd name="connsiteY44" fmla="*/ 6112144 h 6138270"/>
              <a:gd name="connsiteX45" fmla="*/ 5463173 w 6373827"/>
              <a:gd name="connsiteY45" fmla="*/ 5970857 h 6138270"/>
              <a:gd name="connsiteX46" fmla="*/ 5463173 w 6373827"/>
              <a:gd name="connsiteY46" fmla="*/ 4322181 h 6138270"/>
              <a:gd name="connsiteX47" fmla="*/ 5458767 w 6373827"/>
              <a:gd name="connsiteY47" fmla="*/ 4006373 h 6138270"/>
              <a:gd name="connsiteX48" fmla="*/ 5454057 w 6373827"/>
              <a:gd name="connsiteY48" fmla="*/ 4001663 h 6138270"/>
              <a:gd name="connsiteX49" fmla="*/ 5406962 w 6373827"/>
              <a:gd name="connsiteY49" fmla="*/ 4001663 h 6138270"/>
              <a:gd name="connsiteX50" fmla="*/ 5402252 w 6373827"/>
              <a:gd name="connsiteY50" fmla="*/ 4006373 h 6138270"/>
              <a:gd name="connsiteX51" fmla="*/ 5402252 w 6373827"/>
              <a:gd name="connsiteY51" fmla="*/ 4310102 h 6138270"/>
              <a:gd name="connsiteX52" fmla="*/ 5401987 w 6373827"/>
              <a:gd name="connsiteY52" fmla="*/ 4310036 h 6138270"/>
              <a:gd name="connsiteX53" fmla="*/ 5401987 w 6373827"/>
              <a:gd name="connsiteY53" fmla="*/ 4720751 h 6138270"/>
              <a:gd name="connsiteX54" fmla="*/ 5288958 w 6373827"/>
              <a:gd name="connsiteY54" fmla="*/ 4833781 h 6138270"/>
              <a:gd name="connsiteX55" fmla="*/ 5175928 w 6373827"/>
              <a:gd name="connsiteY55" fmla="*/ 4720751 h 6138270"/>
              <a:gd name="connsiteX56" fmla="*/ 5175928 w 6373827"/>
              <a:gd name="connsiteY56" fmla="*/ 4009528 h 6138270"/>
              <a:gd name="connsiteX57" fmla="*/ 5175928 w 6373827"/>
              <a:gd name="connsiteY57" fmla="*/ 3923154 h 6138270"/>
              <a:gd name="connsiteX58" fmla="*/ 5175928 w 6373827"/>
              <a:gd name="connsiteY58" fmla="*/ 3904862 h 6138270"/>
              <a:gd name="connsiteX59" fmla="*/ 5187098 w 6373827"/>
              <a:gd name="connsiteY59" fmla="*/ 3827823 h 6138270"/>
              <a:gd name="connsiteX60" fmla="*/ 5193946 w 6373827"/>
              <a:gd name="connsiteY60" fmla="*/ 3805111 h 6138270"/>
              <a:gd name="connsiteX61" fmla="*/ 5490667 w 6373827"/>
              <a:gd name="connsiteY61" fmla="*/ 3608415 h 6138270"/>
              <a:gd name="connsiteX62" fmla="*/ 1628775 w 6373827"/>
              <a:gd name="connsiteY62" fmla="*/ 3287598 h 6138270"/>
              <a:gd name="connsiteX63" fmla="*/ 2162175 w 6373827"/>
              <a:gd name="connsiteY63" fmla="*/ 3749560 h 6138270"/>
              <a:gd name="connsiteX64" fmla="*/ 2162175 w 6373827"/>
              <a:gd name="connsiteY64" fmla="*/ 3406660 h 6138270"/>
              <a:gd name="connsiteX65" fmla="*/ 2581275 w 6373827"/>
              <a:gd name="connsiteY65" fmla="*/ 3406660 h 6138270"/>
              <a:gd name="connsiteX66" fmla="*/ 2581275 w 6373827"/>
              <a:gd name="connsiteY66" fmla="*/ 4121035 h 6138270"/>
              <a:gd name="connsiteX67" fmla="*/ 3219450 w 6373827"/>
              <a:gd name="connsiteY67" fmla="*/ 4678248 h 6138270"/>
              <a:gd name="connsiteX68" fmla="*/ 3219450 w 6373827"/>
              <a:gd name="connsiteY68" fmla="*/ 5078298 h 6138270"/>
              <a:gd name="connsiteX69" fmla="*/ 1619250 w 6373827"/>
              <a:gd name="connsiteY69" fmla="*/ 3711460 h 6138270"/>
              <a:gd name="connsiteX70" fmla="*/ 0 w 6373827"/>
              <a:gd name="connsiteY70" fmla="*/ 5087823 h 6138270"/>
              <a:gd name="connsiteX71" fmla="*/ 0 w 6373827"/>
              <a:gd name="connsiteY71" fmla="*/ 4683010 h 6138270"/>
              <a:gd name="connsiteX72" fmla="*/ 1628775 w 6373827"/>
              <a:gd name="connsiteY72" fmla="*/ 3287598 h 6138270"/>
              <a:gd name="connsiteX73" fmla="*/ 5774878 w 6373827"/>
              <a:gd name="connsiteY73" fmla="*/ 3043007 h 6138270"/>
              <a:gd name="connsiteX74" fmla="*/ 6024128 w 6373827"/>
              <a:gd name="connsiteY74" fmla="*/ 3292258 h 6138270"/>
              <a:gd name="connsiteX75" fmla="*/ 5774878 w 6373827"/>
              <a:gd name="connsiteY75" fmla="*/ 3541509 h 6138270"/>
              <a:gd name="connsiteX76" fmla="*/ 5525627 w 6373827"/>
              <a:gd name="connsiteY76" fmla="*/ 3292258 h 6138270"/>
              <a:gd name="connsiteX77" fmla="*/ 5774878 w 6373827"/>
              <a:gd name="connsiteY77" fmla="*/ 3043007 h 6138270"/>
              <a:gd name="connsiteX78" fmla="*/ 3706676 w 6373827"/>
              <a:gd name="connsiteY78" fmla="*/ 0 h 6138270"/>
              <a:gd name="connsiteX79" fmla="*/ 3862160 w 6373827"/>
              <a:gd name="connsiteY79" fmla="*/ 155484 h 6138270"/>
              <a:gd name="connsiteX80" fmla="*/ 3862160 w 6373827"/>
              <a:gd name="connsiteY80" fmla="*/ 441065 h 6138270"/>
              <a:gd name="connsiteX81" fmla="*/ 5919923 w 6373827"/>
              <a:gd name="connsiteY81" fmla="*/ 2822641 h 6138270"/>
              <a:gd name="connsiteX82" fmla="*/ 5181510 w 6373827"/>
              <a:gd name="connsiteY82" fmla="*/ 2378505 h 6138270"/>
              <a:gd name="connsiteX83" fmla="*/ 4444815 w 6373827"/>
              <a:gd name="connsiteY83" fmla="*/ 2822641 h 6138270"/>
              <a:gd name="connsiteX84" fmla="*/ 4443372 w 6373827"/>
              <a:gd name="connsiteY84" fmla="*/ 2822641 h 6138270"/>
              <a:gd name="connsiteX85" fmla="*/ 3862160 w 6373827"/>
              <a:gd name="connsiteY85" fmla="*/ 2390781 h 6138270"/>
              <a:gd name="connsiteX86" fmla="*/ 3862160 w 6373827"/>
              <a:gd name="connsiteY86" fmla="*/ 5261042 h 6138270"/>
              <a:gd name="connsiteX87" fmla="*/ 3864701 w 6373827"/>
              <a:gd name="connsiteY87" fmla="*/ 5261042 h 6138270"/>
              <a:gd name="connsiteX88" fmla="*/ 4217943 w 6373827"/>
              <a:gd name="connsiteY88" fmla="*/ 5771650 h 6138270"/>
              <a:gd name="connsiteX89" fmla="*/ 4444978 w 6373827"/>
              <a:gd name="connsiteY89" fmla="*/ 5457393 h 6138270"/>
              <a:gd name="connsiteX90" fmla="*/ 4752975 w 6373827"/>
              <a:gd name="connsiteY90" fmla="*/ 5452631 h 6138270"/>
              <a:gd name="connsiteX91" fmla="*/ 4726849 w 6373827"/>
              <a:gd name="connsiteY91" fmla="*/ 5774848 h 6138270"/>
              <a:gd name="connsiteX92" fmla="*/ 4239169 w 6373827"/>
              <a:gd name="connsiteY92" fmla="*/ 6123191 h 6138270"/>
              <a:gd name="connsiteX93" fmla="*/ 3635897 w 6373827"/>
              <a:gd name="connsiteY93" fmla="*/ 5781243 h 6138270"/>
              <a:gd name="connsiteX94" fmla="*/ 3551270 w 6373827"/>
              <a:gd name="connsiteY94" fmla="*/ 5410743 h 6138270"/>
              <a:gd name="connsiteX95" fmla="*/ 3551192 w 6373827"/>
              <a:gd name="connsiteY95" fmla="*/ 5410358 h 6138270"/>
              <a:gd name="connsiteX96" fmla="*/ 3551192 w 6373827"/>
              <a:gd name="connsiteY96" fmla="*/ 5409089 h 6138270"/>
              <a:gd name="connsiteX97" fmla="*/ 3551192 w 6373827"/>
              <a:gd name="connsiteY97" fmla="*/ 5261042 h 6138270"/>
              <a:gd name="connsiteX98" fmla="*/ 3551192 w 6373827"/>
              <a:gd name="connsiteY98" fmla="*/ 2390781 h 6138270"/>
              <a:gd name="connsiteX99" fmla="*/ 2969980 w 6373827"/>
              <a:gd name="connsiteY99" fmla="*/ 2822641 h 6138270"/>
              <a:gd name="connsiteX100" fmla="*/ 2968539 w 6373827"/>
              <a:gd name="connsiteY100" fmla="*/ 2822641 h 6138270"/>
              <a:gd name="connsiteX101" fmla="*/ 2231843 w 6373827"/>
              <a:gd name="connsiteY101" fmla="*/ 2378505 h 6138270"/>
              <a:gd name="connsiteX102" fmla="*/ 1495147 w 6373827"/>
              <a:gd name="connsiteY102" fmla="*/ 2822641 h 6138270"/>
              <a:gd name="connsiteX103" fmla="*/ 1487260 w 6373827"/>
              <a:gd name="connsiteY103" fmla="*/ 2822641 h 6138270"/>
              <a:gd name="connsiteX104" fmla="*/ 3551192 w 6373827"/>
              <a:gd name="connsiteY104" fmla="*/ 435206 h 6138270"/>
              <a:gd name="connsiteX105" fmla="*/ 3551192 w 6373827"/>
              <a:gd name="connsiteY105" fmla="*/ 155484 h 6138270"/>
              <a:gd name="connsiteX106" fmla="*/ 3706676 w 6373827"/>
              <a:gd name="connsiteY106" fmla="*/ 0 h 6138270"/>
              <a:gd name="connsiteX0" fmla="*/ 401955 w 6373827"/>
              <a:gd name="connsiteY0" fmla="*/ 4973523 h 6138270"/>
              <a:gd name="connsiteX1" fmla="*/ 2863215 w 6373827"/>
              <a:gd name="connsiteY1" fmla="*/ 4973523 h 6138270"/>
              <a:gd name="connsiteX2" fmla="*/ 2863215 w 6373827"/>
              <a:gd name="connsiteY2" fmla="*/ 6034736 h 6138270"/>
              <a:gd name="connsiteX3" fmla="*/ 2759681 w 6373827"/>
              <a:gd name="connsiteY3" fmla="*/ 6138270 h 6138270"/>
              <a:gd name="connsiteX4" fmla="*/ 2063592 w 6373827"/>
              <a:gd name="connsiteY4" fmla="*/ 6138270 h 6138270"/>
              <a:gd name="connsiteX5" fmla="*/ 2063592 w 6373827"/>
              <a:gd name="connsiteY5" fmla="*/ 5192595 h 6138270"/>
              <a:gd name="connsiteX6" fmla="*/ 1925480 w 6373827"/>
              <a:gd name="connsiteY6" fmla="*/ 5054483 h 6138270"/>
              <a:gd name="connsiteX7" fmla="*/ 1339691 w 6373827"/>
              <a:gd name="connsiteY7" fmla="*/ 5054483 h 6138270"/>
              <a:gd name="connsiteX8" fmla="*/ 1201579 w 6373827"/>
              <a:gd name="connsiteY8" fmla="*/ 5192595 h 6138270"/>
              <a:gd name="connsiteX9" fmla="*/ 1201579 w 6373827"/>
              <a:gd name="connsiteY9" fmla="*/ 6138270 h 6138270"/>
              <a:gd name="connsiteX10" fmla="*/ 505489 w 6373827"/>
              <a:gd name="connsiteY10" fmla="*/ 6138270 h 6138270"/>
              <a:gd name="connsiteX11" fmla="*/ 401955 w 6373827"/>
              <a:gd name="connsiteY11" fmla="*/ 6034736 h 6138270"/>
              <a:gd name="connsiteX12" fmla="*/ 401955 w 6373827"/>
              <a:gd name="connsiteY12" fmla="*/ 4973523 h 6138270"/>
              <a:gd name="connsiteX13" fmla="*/ 1632585 w 6373827"/>
              <a:gd name="connsiteY13" fmla="*/ 3906725 h 6138270"/>
              <a:gd name="connsiteX14" fmla="*/ 2863215 w 6373827"/>
              <a:gd name="connsiteY14" fmla="*/ 4973522 h 6138270"/>
              <a:gd name="connsiteX15" fmla="*/ 401955 w 6373827"/>
              <a:gd name="connsiteY15" fmla="*/ 4973522 h 6138270"/>
              <a:gd name="connsiteX16" fmla="*/ 1632585 w 6373827"/>
              <a:gd name="connsiteY16" fmla="*/ 3906725 h 6138270"/>
              <a:gd name="connsiteX17" fmla="*/ 5490667 w 6373827"/>
              <a:gd name="connsiteY17" fmla="*/ 3608415 h 6138270"/>
              <a:gd name="connsiteX18" fmla="*/ 6059089 w 6373827"/>
              <a:gd name="connsiteY18" fmla="*/ 3608415 h 6138270"/>
              <a:gd name="connsiteX19" fmla="*/ 6354337 w 6373827"/>
              <a:gd name="connsiteY19" fmla="*/ 3803640 h 6138270"/>
              <a:gd name="connsiteX20" fmla="*/ 6368029 w 6373827"/>
              <a:gd name="connsiteY20" fmla="*/ 3847343 h 6138270"/>
              <a:gd name="connsiteX21" fmla="*/ 6373827 w 6373827"/>
              <a:gd name="connsiteY21" fmla="*/ 3904862 h 6138270"/>
              <a:gd name="connsiteX22" fmla="*/ 6373827 w 6373827"/>
              <a:gd name="connsiteY22" fmla="*/ 3923154 h 6138270"/>
              <a:gd name="connsiteX23" fmla="*/ 6373827 w 6373827"/>
              <a:gd name="connsiteY23" fmla="*/ 4009528 h 6138270"/>
              <a:gd name="connsiteX24" fmla="*/ 6373827 w 6373827"/>
              <a:gd name="connsiteY24" fmla="*/ 4720751 h 6138270"/>
              <a:gd name="connsiteX25" fmla="*/ 6260798 w 6373827"/>
              <a:gd name="connsiteY25" fmla="*/ 4833781 h 6138270"/>
              <a:gd name="connsiteX26" fmla="*/ 6147769 w 6373827"/>
              <a:gd name="connsiteY26" fmla="*/ 4720751 h 6138270"/>
              <a:gd name="connsiteX27" fmla="*/ 6147769 w 6373827"/>
              <a:gd name="connsiteY27" fmla="*/ 4310036 h 6138270"/>
              <a:gd name="connsiteX28" fmla="*/ 6146571 w 6373827"/>
              <a:gd name="connsiteY28" fmla="*/ 4310335 h 6138270"/>
              <a:gd name="connsiteX29" fmla="*/ 6146571 w 6373827"/>
              <a:gd name="connsiteY29" fmla="*/ 4006446 h 6138270"/>
              <a:gd name="connsiteX30" fmla="*/ 6141788 w 6373827"/>
              <a:gd name="connsiteY30" fmla="*/ 4001663 h 6138270"/>
              <a:gd name="connsiteX31" fmla="*/ 6093957 w 6373827"/>
              <a:gd name="connsiteY31" fmla="*/ 4001663 h 6138270"/>
              <a:gd name="connsiteX32" fmla="*/ 6089174 w 6373827"/>
              <a:gd name="connsiteY32" fmla="*/ 4006446 h 6138270"/>
              <a:gd name="connsiteX33" fmla="*/ 6090110 w 6373827"/>
              <a:gd name="connsiteY33" fmla="*/ 4288441 h 6138270"/>
              <a:gd name="connsiteX34" fmla="*/ 6090110 w 6373827"/>
              <a:gd name="connsiteY34" fmla="*/ 5970857 h 6138270"/>
              <a:gd name="connsiteX35" fmla="*/ 5948823 w 6373827"/>
              <a:gd name="connsiteY35" fmla="*/ 6112144 h 6138270"/>
              <a:gd name="connsiteX36" fmla="*/ 5807537 w 6373827"/>
              <a:gd name="connsiteY36" fmla="*/ 5970857 h 6138270"/>
              <a:gd name="connsiteX37" fmla="*/ 5807537 w 6373827"/>
              <a:gd name="connsiteY37" fmla="*/ 4907726 h 6138270"/>
              <a:gd name="connsiteX38" fmla="*/ 5806601 w 6373827"/>
              <a:gd name="connsiteY38" fmla="*/ 4826563 h 6138270"/>
              <a:gd name="connsiteX39" fmla="*/ 5802404 w 6373827"/>
              <a:gd name="connsiteY39" fmla="*/ 4822365 h 6138270"/>
              <a:gd name="connsiteX40" fmla="*/ 5750295 w 6373827"/>
              <a:gd name="connsiteY40" fmla="*/ 4822365 h 6138270"/>
              <a:gd name="connsiteX41" fmla="*/ 5746098 w 6373827"/>
              <a:gd name="connsiteY41" fmla="*/ 4826563 h 6138270"/>
              <a:gd name="connsiteX42" fmla="*/ 5746098 w 6373827"/>
              <a:gd name="connsiteY42" fmla="*/ 4907726 h 6138270"/>
              <a:gd name="connsiteX43" fmla="*/ 5745746 w 6373827"/>
              <a:gd name="connsiteY43" fmla="*/ 5970857 h 6138270"/>
              <a:gd name="connsiteX44" fmla="*/ 5604460 w 6373827"/>
              <a:gd name="connsiteY44" fmla="*/ 6112144 h 6138270"/>
              <a:gd name="connsiteX45" fmla="*/ 5463173 w 6373827"/>
              <a:gd name="connsiteY45" fmla="*/ 5970857 h 6138270"/>
              <a:gd name="connsiteX46" fmla="*/ 5463173 w 6373827"/>
              <a:gd name="connsiteY46" fmla="*/ 4322181 h 6138270"/>
              <a:gd name="connsiteX47" fmla="*/ 5458767 w 6373827"/>
              <a:gd name="connsiteY47" fmla="*/ 4006373 h 6138270"/>
              <a:gd name="connsiteX48" fmla="*/ 5454057 w 6373827"/>
              <a:gd name="connsiteY48" fmla="*/ 4001663 h 6138270"/>
              <a:gd name="connsiteX49" fmla="*/ 5406962 w 6373827"/>
              <a:gd name="connsiteY49" fmla="*/ 4001663 h 6138270"/>
              <a:gd name="connsiteX50" fmla="*/ 5402252 w 6373827"/>
              <a:gd name="connsiteY50" fmla="*/ 4006373 h 6138270"/>
              <a:gd name="connsiteX51" fmla="*/ 5402252 w 6373827"/>
              <a:gd name="connsiteY51" fmla="*/ 4310102 h 6138270"/>
              <a:gd name="connsiteX52" fmla="*/ 5401987 w 6373827"/>
              <a:gd name="connsiteY52" fmla="*/ 4310036 h 6138270"/>
              <a:gd name="connsiteX53" fmla="*/ 5401987 w 6373827"/>
              <a:gd name="connsiteY53" fmla="*/ 4720751 h 6138270"/>
              <a:gd name="connsiteX54" fmla="*/ 5288958 w 6373827"/>
              <a:gd name="connsiteY54" fmla="*/ 4833781 h 6138270"/>
              <a:gd name="connsiteX55" fmla="*/ 5175928 w 6373827"/>
              <a:gd name="connsiteY55" fmla="*/ 4720751 h 6138270"/>
              <a:gd name="connsiteX56" fmla="*/ 5175928 w 6373827"/>
              <a:gd name="connsiteY56" fmla="*/ 4009528 h 6138270"/>
              <a:gd name="connsiteX57" fmla="*/ 5175928 w 6373827"/>
              <a:gd name="connsiteY57" fmla="*/ 3923154 h 6138270"/>
              <a:gd name="connsiteX58" fmla="*/ 5175928 w 6373827"/>
              <a:gd name="connsiteY58" fmla="*/ 3904862 h 6138270"/>
              <a:gd name="connsiteX59" fmla="*/ 5187098 w 6373827"/>
              <a:gd name="connsiteY59" fmla="*/ 3827823 h 6138270"/>
              <a:gd name="connsiteX60" fmla="*/ 5193946 w 6373827"/>
              <a:gd name="connsiteY60" fmla="*/ 3805111 h 6138270"/>
              <a:gd name="connsiteX61" fmla="*/ 5490667 w 6373827"/>
              <a:gd name="connsiteY61" fmla="*/ 3608415 h 6138270"/>
              <a:gd name="connsiteX62" fmla="*/ 1628775 w 6373827"/>
              <a:gd name="connsiteY62" fmla="*/ 3287598 h 6138270"/>
              <a:gd name="connsiteX63" fmla="*/ 2162175 w 6373827"/>
              <a:gd name="connsiteY63" fmla="*/ 3749560 h 6138270"/>
              <a:gd name="connsiteX64" fmla="*/ 2162175 w 6373827"/>
              <a:gd name="connsiteY64" fmla="*/ 3406660 h 6138270"/>
              <a:gd name="connsiteX65" fmla="*/ 2581275 w 6373827"/>
              <a:gd name="connsiteY65" fmla="*/ 3406660 h 6138270"/>
              <a:gd name="connsiteX66" fmla="*/ 2581275 w 6373827"/>
              <a:gd name="connsiteY66" fmla="*/ 4121035 h 6138270"/>
              <a:gd name="connsiteX67" fmla="*/ 3219450 w 6373827"/>
              <a:gd name="connsiteY67" fmla="*/ 4678248 h 6138270"/>
              <a:gd name="connsiteX68" fmla="*/ 3219450 w 6373827"/>
              <a:gd name="connsiteY68" fmla="*/ 5078298 h 6138270"/>
              <a:gd name="connsiteX69" fmla="*/ 1619250 w 6373827"/>
              <a:gd name="connsiteY69" fmla="*/ 3711460 h 6138270"/>
              <a:gd name="connsiteX70" fmla="*/ 0 w 6373827"/>
              <a:gd name="connsiteY70" fmla="*/ 5087823 h 6138270"/>
              <a:gd name="connsiteX71" fmla="*/ 0 w 6373827"/>
              <a:gd name="connsiteY71" fmla="*/ 4683010 h 6138270"/>
              <a:gd name="connsiteX72" fmla="*/ 1628775 w 6373827"/>
              <a:gd name="connsiteY72" fmla="*/ 3287598 h 6138270"/>
              <a:gd name="connsiteX73" fmla="*/ 5774878 w 6373827"/>
              <a:gd name="connsiteY73" fmla="*/ 3043007 h 6138270"/>
              <a:gd name="connsiteX74" fmla="*/ 6024128 w 6373827"/>
              <a:gd name="connsiteY74" fmla="*/ 3292258 h 6138270"/>
              <a:gd name="connsiteX75" fmla="*/ 5774878 w 6373827"/>
              <a:gd name="connsiteY75" fmla="*/ 3541509 h 6138270"/>
              <a:gd name="connsiteX76" fmla="*/ 5525627 w 6373827"/>
              <a:gd name="connsiteY76" fmla="*/ 3292258 h 6138270"/>
              <a:gd name="connsiteX77" fmla="*/ 5774878 w 6373827"/>
              <a:gd name="connsiteY77" fmla="*/ 3043007 h 6138270"/>
              <a:gd name="connsiteX78" fmla="*/ 3706676 w 6373827"/>
              <a:gd name="connsiteY78" fmla="*/ 0 h 6138270"/>
              <a:gd name="connsiteX79" fmla="*/ 3862160 w 6373827"/>
              <a:gd name="connsiteY79" fmla="*/ 155484 h 6138270"/>
              <a:gd name="connsiteX80" fmla="*/ 3862160 w 6373827"/>
              <a:gd name="connsiteY80" fmla="*/ 441065 h 6138270"/>
              <a:gd name="connsiteX81" fmla="*/ 5919923 w 6373827"/>
              <a:gd name="connsiteY81" fmla="*/ 2822641 h 6138270"/>
              <a:gd name="connsiteX82" fmla="*/ 5181510 w 6373827"/>
              <a:gd name="connsiteY82" fmla="*/ 2378505 h 6138270"/>
              <a:gd name="connsiteX83" fmla="*/ 4444815 w 6373827"/>
              <a:gd name="connsiteY83" fmla="*/ 2822641 h 6138270"/>
              <a:gd name="connsiteX84" fmla="*/ 4443372 w 6373827"/>
              <a:gd name="connsiteY84" fmla="*/ 2822641 h 6138270"/>
              <a:gd name="connsiteX85" fmla="*/ 3862160 w 6373827"/>
              <a:gd name="connsiteY85" fmla="*/ 2390781 h 6138270"/>
              <a:gd name="connsiteX86" fmla="*/ 3862160 w 6373827"/>
              <a:gd name="connsiteY86" fmla="*/ 5261042 h 6138270"/>
              <a:gd name="connsiteX87" fmla="*/ 3864701 w 6373827"/>
              <a:gd name="connsiteY87" fmla="*/ 5261042 h 6138270"/>
              <a:gd name="connsiteX88" fmla="*/ 4217943 w 6373827"/>
              <a:gd name="connsiteY88" fmla="*/ 5771650 h 6138270"/>
              <a:gd name="connsiteX89" fmla="*/ 4444978 w 6373827"/>
              <a:gd name="connsiteY89" fmla="*/ 5457393 h 6138270"/>
              <a:gd name="connsiteX90" fmla="*/ 4752975 w 6373827"/>
              <a:gd name="connsiteY90" fmla="*/ 5452631 h 6138270"/>
              <a:gd name="connsiteX91" fmla="*/ 4726849 w 6373827"/>
              <a:gd name="connsiteY91" fmla="*/ 5774848 h 6138270"/>
              <a:gd name="connsiteX92" fmla="*/ 4239169 w 6373827"/>
              <a:gd name="connsiteY92" fmla="*/ 6123191 h 6138270"/>
              <a:gd name="connsiteX93" fmla="*/ 3635897 w 6373827"/>
              <a:gd name="connsiteY93" fmla="*/ 5781243 h 6138270"/>
              <a:gd name="connsiteX94" fmla="*/ 3551270 w 6373827"/>
              <a:gd name="connsiteY94" fmla="*/ 5410743 h 6138270"/>
              <a:gd name="connsiteX95" fmla="*/ 3551192 w 6373827"/>
              <a:gd name="connsiteY95" fmla="*/ 5410358 h 6138270"/>
              <a:gd name="connsiteX96" fmla="*/ 3551192 w 6373827"/>
              <a:gd name="connsiteY96" fmla="*/ 5409089 h 6138270"/>
              <a:gd name="connsiteX97" fmla="*/ 3551192 w 6373827"/>
              <a:gd name="connsiteY97" fmla="*/ 5261042 h 6138270"/>
              <a:gd name="connsiteX98" fmla="*/ 3551192 w 6373827"/>
              <a:gd name="connsiteY98" fmla="*/ 2390781 h 6138270"/>
              <a:gd name="connsiteX99" fmla="*/ 2969980 w 6373827"/>
              <a:gd name="connsiteY99" fmla="*/ 2822641 h 6138270"/>
              <a:gd name="connsiteX100" fmla="*/ 2968539 w 6373827"/>
              <a:gd name="connsiteY100" fmla="*/ 2822641 h 6138270"/>
              <a:gd name="connsiteX101" fmla="*/ 2231843 w 6373827"/>
              <a:gd name="connsiteY101" fmla="*/ 2378505 h 6138270"/>
              <a:gd name="connsiteX102" fmla="*/ 1495147 w 6373827"/>
              <a:gd name="connsiteY102" fmla="*/ 2822641 h 6138270"/>
              <a:gd name="connsiteX103" fmla="*/ 1487260 w 6373827"/>
              <a:gd name="connsiteY103" fmla="*/ 2822641 h 6138270"/>
              <a:gd name="connsiteX104" fmla="*/ 3551192 w 6373827"/>
              <a:gd name="connsiteY104" fmla="*/ 435206 h 6138270"/>
              <a:gd name="connsiteX105" fmla="*/ 3551192 w 6373827"/>
              <a:gd name="connsiteY105" fmla="*/ 155484 h 6138270"/>
              <a:gd name="connsiteX106" fmla="*/ 3706676 w 6373827"/>
              <a:gd name="connsiteY106" fmla="*/ 0 h 6138270"/>
              <a:gd name="connsiteX0" fmla="*/ 401955 w 6373827"/>
              <a:gd name="connsiteY0" fmla="*/ 4973523 h 6138270"/>
              <a:gd name="connsiteX1" fmla="*/ 2863215 w 6373827"/>
              <a:gd name="connsiteY1" fmla="*/ 4973523 h 6138270"/>
              <a:gd name="connsiteX2" fmla="*/ 2863215 w 6373827"/>
              <a:gd name="connsiteY2" fmla="*/ 6034736 h 6138270"/>
              <a:gd name="connsiteX3" fmla="*/ 2759681 w 6373827"/>
              <a:gd name="connsiteY3" fmla="*/ 6138270 h 6138270"/>
              <a:gd name="connsiteX4" fmla="*/ 2063592 w 6373827"/>
              <a:gd name="connsiteY4" fmla="*/ 6138270 h 6138270"/>
              <a:gd name="connsiteX5" fmla="*/ 2063592 w 6373827"/>
              <a:gd name="connsiteY5" fmla="*/ 5192595 h 6138270"/>
              <a:gd name="connsiteX6" fmla="*/ 1925480 w 6373827"/>
              <a:gd name="connsiteY6" fmla="*/ 5054483 h 6138270"/>
              <a:gd name="connsiteX7" fmla="*/ 1339691 w 6373827"/>
              <a:gd name="connsiteY7" fmla="*/ 5054483 h 6138270"/>
              <a:gd name="connsiteX8" fmla="*/ 1201579 w 6373827"/>
              <a:gd name="connsiteY8" fmla="*/ 5192595 h 6138270"/>
              <a:gd name="connsiteX9" fmla="*/ 1201579 w 6373827"/>
              <a:gd name="connsiteY9" fmla="*/ 6138270 h 6138270"/>
              <a:gd name="connsiteX10" fmla="*/ 505489 w 6373827"/>
              <a:gd name="connsiteY10" fmla="*/ 6138270 h 6138270"/>
              <a:gd name="connsiteX11" fmla="*/ 401955 w 6373827"/>
              <a:gd name="connsiteY11" fmla="*/ 6034736 h 6138270"/>
              <a:gd name="connsiteX12" fmla="*/ 401955 w 6373827"/>
              <a:gd name="connsiteY12" fmla="*/ 4973523 h 6138270"/>
              <a:gd name="connsiteX13" fmla="*/ 1632585 w 6373827"/>
              <a:gd name="connsiteY13" fmla="*/ 3906725 h 6138270"/>
              <a:gd name="connsiteX14" fmla="*/ 2863215 w 6373827"/>
              <a:gd name="connsiteY14" fmla="*/ 4973522 h 6138270"/>
              <a:gd name="connsiteX15" fmla="*/ 401955 w 6373827"/>
              <a:gd name="connsiteY15" fmla="*/ 4973522 h 6138270"/>
              <a:gd name="connsiteX16" fmla="*/ 1632585 w 6373827"/>
              <a:gd name="connsiteY16" fmla="*/ 3906725 h 6138270"/>
              <a:gd name="connsiteX17" fmla="*/ 5490667 w 6373827"/>
              <a:gd name="connsiteY17" fmla="*/ 3608415 h 6138270"/>
              <a:gd name="connsiteX18" fmla="*/ 6059089 w 6373827"/>
              <a:gd name="connsiteY18" fmla="*/ 3608415 h 6138270"/>
              <a:gd name="connsiteX19" fmla="*/ 6354337 w 6373827"/>
              <a:gd name="connsiteY19" fmla="*/ 3803640 h 6138270"/>
              <a:gd name="connsiteX20" fmla="*/ 6368029 w 6373827"/>
              <a:gd name="connsiteY20" fmla="*/ 3847343 h 6138270"/>
              <a:gd name="connsiteX21" fmla="*/ 6373827 w 6373827"/>
              <a:gd name="connsiteY21" fmla="*/ 3904862 h 6138270"/>
              <a:gd name="connsiteX22" fmla="*/ 6373827 w 6373827"/>
              <a:gd name="connsiteY22" fmla="*/ 3923154 h 6138270"/>
              <a:gd name="connsiteX23" fmla="*/ 6373827 w 6373827"/>
              <a:gd name="connsiteY23" fmla="*/ 4009528 h 6138270"/>
              <a:gd name="connsiteX24" fmla="*/ 6373827 w 6373827"/>
              <a:gd name="connsiteY24" fmla="*/ 4720751 h 6138270"/>
              <a:gd name="connsiteX25" fmla="*/ 6260798 w 6373827"/>
              <a:gd name="connsiteY25" fmla="*/ 4833781 h 6138270"/>
              <a:gd name="connsiteX26" fmla="*/ 6147769 w 6373827"/>
              <a:gd name="connsiteY26" fmla="*/ 4720751 h 6138270"/>
              <a:gd name="connsiteX27" fmla="*/ 6147769 w 6373827"/>
              <a:gd name="connsiteY27" fmla="*/ 4310036 h 6138270"/>
              <a:gd name="connsiteX28" fmla="*/ 6146571 w 6373827"/>
              <a:gd name="connsiteY28" fmla="*/ 4310335 h 6138270"/>
              <a:gd name="connsiteX29" fmla="*/ 6146571 w 6373827"/>
              <a:gd name="connsiteY29" fmla="*/ 4006446 h 6138270"/>
              <a:gd name="connsiteX30" fmla="*/ 6141788 w 6373827"/>
              <a:gd name="connsiteY30" fmla="*/ 4001663 h 6138270"/>
              <a:gd name="connsiteX31" fmla="*/ 6093957 w 6373827"/>
              <a:gd name="connsiteY31" fmla="*/ 4001663 h 6138270"/>
              <a:gd name="connsiteX32" fmla="*/ 6089174 w 6373827"/>
              <a:gd name="connsiteY32" fmla="*/ 4006446 h 6138270"/>
              <a:gd name="connsiteX33" fmla="*/ 6090110 w 6373827"/>
              <a:gd name="connsiteY33" fmla="*/ 4288441 h 6138270"/>
              <a:gd name="connsiteX34" fmla="*/ 6090110 w 6373827"/>
              <a:gd name="connsiteY34" fmla="*/ 5970857 h 6138270"/>
              <a:gd name="connsiteX35" fmla="*/ 5948823 w 6373827"/>
              <a:gd name="connsiteY35" fmla="*/ 6112144 h 6138270"/>
              <a:gd name="connsiteX36" fmla="*/ 5807537 w 6373827"/>
              <a:gd name="connsiteY36" fmla="*/ 5970857 h 6138270"/>
              <a:gd name="connsiteX37" fmla="*/ 5807537 w 6373827"/>
              <a:gd name="connsiteY37" fmla="*/ 4907726 h 6138270"/>
              <a:gd name="connsiteX38" fmla="*/ 5806601 w 6373827"/>
              <a:gd name="connsiteY38" fmla="*/ 4826563 h 6138270"/>
              <a:gd name="connsiteX39" fmla="*/ 5802404 w 6373827"/>
              <a:gd name="connsiteY39" fmla="*/ 4822365 h 6138270"/>
              <a:gd name="connsiteX40" fmla="*/ 5750295 w 6373827"/>
              <a:gd name="connsiteY40" fmla="*/ 4822365 h 6138270"/>
              <a:gd name="connsiteX41" fmla="*/ 5746098 w 6373827"/>
              <a:gd name="connsiteY41" fmla="*/ 4826563 h 6138270"/>
              <a:gd name="connsiteX42" fmla="*/ 5746098 w 6373827"/>
              <a:gd name="connsiteY42" fmla="*/ 4907726 h 6138270"/>
              <a:gd name="connsiteX43" fmla="*/ 5745746 w 6373827"/>
              <a:gd name="connsiteY43" fmla="*/ 5970857 h 6138270"/>
              <a:gd name="connsiteX44" fmla="*/ 5604460 w 6373827"/>
              <a:gd name="connsiteY44" fmla="*/ 6112144 h 6138270"/>
              <a:gd name="connsiteX45" fmla="*/ 5463173 w 6373827"/>
              <a:gd name="connsiteY45" fmla="*/ 5970857 h 6138270"/>
              <a:gd name="connsiteX46" fmla="*/ 5463173 w 6373827"/>
              <a:gd name="connsiteY46" fmla="*/ 4322181 h 6138270"/>
              <a:gd name="connsiteX47" fmla="*/ 5458767 w 6373827"/>
              <a:gd name="connsiteY47" fmla="*/ 4006373 h 6138270"/>
              <a:gd name="connsiteX48" fmla="*/ 5454057 w 6373827"/>
              <a:gd name="connsiteY48" fmla="*/ 4001663 h 6138270"/>
              <a:gd name="connsiteX49" fmla="*/ 5406962 w 6373827"/>
              <a:gd name="connsiteY49" fmla="*/ 4001663 h 6138270"/>
              <a:gd name="connsiteX50" fmla="*/ 5402252 w 6373827"/>
              <a:gd name="connsiteY50" fmla="*/ 4006373 h 6138270"/>
              <a:gd name="connsiteX51" fmla="*/ 5402252 w 6373827"/>
              <a:gd name="connsiteY51" fmla="*/ 4310102 h 6138270"/>
              <a:gd name="connsiteX52" fmla="*/ 5401987 w 6373827"/>
              <a:gd name="connsiteY52" fmla="*/ 4310036 h 6138270"/>
              <a:gd name="connsiteX53" fmla="*/ 5401987 w 6373827"/>
              <a:gd name="connsiteY53" fmla="*/ 4720751 h 6138270"/>
              <a:gd name="connsiteX54" fmla="*/ 5288958 w 6373827"/>
              <a:gd name="connsiteY54" fmla="*/ 4833781 h 6138270"/>
              <a:gd name="connsiteX55" fmla="*/ 5175928 w 6373827"/>
              <a:gd name="connsiteY55" fmla="*/ 4720751 h 6138270"/>
              <a:gd name="connsiteX56" fmla="*/ 5175928 w 6373827"/>
              <a:gd name="connsiteY56" fmla="*/ 4009528 h 6138270"/>
              <a:gd name="connsiteX57" fmla="*/ 5175928 w 6373827"/>
              <a:gd name="connsiteY57" fmla="*/ 3923154 h 6138270"/>
              <a:gd name="connsiteX58" fmla="*/ 5175928 w 6373827"/>
              <a:gd name="connsiteY58" fmla="*/ 3904862 h 6138270"/>
              <a:gd name="connsiteX59" fmla="*/ 5187098 w 6373827"/>
              <a:gd name="connsiteY59" fmla="*/ 3827823 h 6138270"/>
              <a:gd name="connsiteX60" fmla="*/ 5193946 w 6373827"/>
              <a:gd name="connsiteY60" fmla="*/ 3805111 h 6138270"/>
              <a:gd name="connsiteX61" fmla="*/ 5490667 w 6373827"/>
              <a:gd name="connsiteY61" fmla="*/ 3608415 h 6138270"/>
              <a:gd name="connsiteX62" fmla="*/ 1628775 w 6373827"/>
              <a:gd name="connsiteY62" fmla="*/ 3287598 h 6138270"/>
              <a:gd name="connsiteX63" fmla="*/ 2162175 w 6373827"/>
              <a:gd name="connsiteY63" fmla="*/ 3749560 h 6138270"/>
              <a:gd name="connsiteX64" fmla="*/ 2162175 w 6373827"/>
              <a:gd name="connsiteY64" fmla="*/ 3406660 h 6138270"/>
              <a:gd name="connsiteX65" fmla="*/ 2581275 w 6373827"/>
              <a:gd name="connsiteY65" fmla="*/ 3406660 h 6138270"/>
              <a:gd name="connsiteX66" fmla="*/ 2581275 w 6373827"/>
              <a:gd name="connsiteY66" fmla="*/ 4121035 h 6138270"/>
              <a:gd name="connsiteX67" fmla="*/ 3219450 w 6373827"/>
              <a:gd name="connsiteY67" fmla="*/ 4678248 h 6138270"/>
              <a:gd name="connsiteX68" fmla="*/ 3219450 w 6373827"/>
              <a:gd name="connsiteY68" fmla="*/ 5078298 h 6138270"/>
              <a:gd name="connsiteX69" fmla="*/ 1619250 w 6373827"/>
              <a:gd name="connsiteY69" fmla="*/ 3711460 h 6138270"/>
              <a:gd name="connsiteX70" fmla="*/ 0 w 6373827"/>
              <a:gd name="connsiteY70" fmla="*/ 5087823 h 6138270"/>
              <a:gd name="connsiteX71" fmla="*/ 0 w 6373827"/>
              <a:gd name="connsiteY71" fmla="*/ 4683010 h 6138270"/>
              <a:gd name="connsiteX72" fmla="*/ 1628775 w 6373827"/>
              <a:gd name="connsiteY72" fmla="*/ 3287598 h 6138270"/>
              <a:gd name="connsiteX73" fmla="*/ 5774878 w 6373827"/>
              <a:gd name="connsiteY73" fmla="*/ 3043007 h 6138270"/>
              <a:gd name="connsiteX74" fmla="*/ 6024128 w 6373827"/>
              <a:gd name="connsiteY74" fmla="*/ 3292258 h 6138270"/>
              <a:gd name="connsiteX75" fmla="*/ 5774878 w 6373827"/>
              <a:gd name="connsiteY75" fmla="*/ 3541509 h 6138270"/>
              <a:gd name="connsiteX76" fmla="*/ 5525627 w 6373827"/>
              <a:gd name="connsiteY76" fmla="*/ 3292258 h 6138270"/>
              <a:gd name="connsiteX77" fmla="*/ 5774878 w 6373827"/>
              <a:gd name="connsiteY77" fmla="*/ 3043007 h 6138270"/>
              <a:gd name="connsiteX78" fmla="*/ 3706676 w 6373827"/>
              <a:gd name="connsiteY78" fmla="*/ 0 h 6138270"/>
              <a:gd name="connsiteX79" fmla="*/ 3862160 w 6373827"/>
              <a:gd name="connsiteY79" fmla="*/ 155484 h 6138270"/>
              <a:gd name="connsiteX80" fmla="*/ 3862160 w 6373827"/>
              <a:gd name="connsiteY80" fmla="*/ 441065 h 6138270"/>
              <a:gd name="connsiteX81" fmla="*/ 5919923 w 6373827"/>
              <a:gd name="connsiteY81" fmla="*/ 2822641 h 6138270"/>
              <a:gd name="connsiteX82" fmla="*/ 5181510 w 6373827"/>
              <a:gd name="connsiteY82" fmla="*/ 2378505 h 6138270"/>
              <a:gd name="connsiteX83" fmla="*/ 4444815 w 6373827"/>
              <a:gd name="connsiteY83" fmla="*/ 2822641 h 6138270"/>
              <a:gd name="connsiteX84" fmla="*/ 4443372 w 6373827"/>
              <a:gd name="connsiteY84" fmla="*/ 2822641 h 6138270"/>
              <a:gd name="connsiteX85" fmla="*/ 3862160 w 6373827"/>
              <a:gd name="connsiteY85" fmla="*/ 2390781 h 6138270"/>
              <a:gd name="connsiteX86" fmla="*/ 3862160 w 6373827"/>
              <a:gd name="connsiteY86" fmla="*/ 5261042 h 6138270"/>
              <a:gd name="connsiteX87" fmla="*/ 3864701 w 6373827"/>
              <a:gd name="connsiteY87" fmla="*/ 5261042 h 6138270"/>
              <a:gd name="connsiteX88" fmla="*/ 4217943 w 6373827"/>
              <a:gd name="connsiteY88" fmla="*/ 5771650 h 6138270"/>
              <a:gd name="connsiteX89" fmla="*/ 4444978 w 6373827"/>
              <a:gd name="connsiteY89" fmla="*/ 5457393 h 6138270"/>
              <a:gd name="connsiteX90" fmla="*/ 4752975 w 6373827"/>
              <a:gd name="connsiteY90" fmla="*/ 5452631 h 6138270"/>
              <a:gd name="connsiteX91" fmla="*/ 4726849 w 6373827"/>
              <a:gd name="connsiteY91" fmla="*/ 5774848 h 6138270"/>
              <a:gd name="connsiteX92" fmla="*/ 4239169 w 6373827"/>
              <a:gd name="connsiteY92" fmla="*/ 6123191 h 6138270"/>
              <a:gd name="connsiteX93" fmla="*/ 3635897 w 6373827"/>
              <a:gd name="connsiteY93" fmla="*/ 5781243 h 6138270"/>
              <a:gd name="connsiteX94" fmla="*/ 3551270 w 6373827"/>
              <a:gd name="connsiteY94" fmla="*/ 5410743 h 6138270"/>
              <a:gd name="connsiteX95" fmla="*/ 3551192 w 6373827"/>
              <a:gd name="connsiteY95" fmla="*/ 5410358 h 6138270"/>
              <a:gd name="connsiteX96" fmla="*/ 3551192 w 6373827"/>
              <a:gd name="connsiteY96" fmla="*/ 5409089 h 6138270"/>
              <a:gd name="connsiteX97" fmla="*/ 3551192 w 6373827"/>
              <a:gd name="connsiteY97" fmla="*/ 5261042 h 6138270"/>
              <a:gd name="connsiteX98" fmla="*/ 3551192 w 6373827"/>
              <a:gd name="connsiteY98" fmla="*/ 2390781 h 6138270"/>
              <a:gd name="connsiteX99" fmla="*/ 2969980 w 6373827"/>
              <a:gd name="connsiteY99" fmla="*/ 2822641 h 6138270"/>
              <a:gd name="connsiteX100" fmla="*/ 2968539 w 6373827"/>
              <a:gd name="connsiteY100" fmla="*/ 2822641 h 6138270"/>
              <a:gd name="connsiteX101" fmla="*/ 2231843 w 6373827"/>
              <a:gd name="connsiteY101" fmla="*/ 2378505 h 6138270"/>
              <a:gd name="connsiteX102" fmla="*/ 1495147 w 6373827"/>
              <a:gd name="connsiteY102" fmla="*/ 2822641 h 6138270"/>
              <a:gd name="connsiteX103" fmla="*/ 1487260 w 6373827"/>
              <a:gd name="connsiteY103" fmla="*/ 2822641 h 6138270"/>
              <a:gd name="connsiteX104" fmla="*/ 3551192 w 6373827"/>
              <a:gd name="connsiteY104" fmla="*/ 435206 h 6138270"/>
              <a:gd name="connsiteX105" fmla="*/ 3551192 w 6373827"/>
              <a:gd name="connsiteY105" fmla="*/ 155484 h 6138270"/>
              <a:gd name="connsiteX106" fmla="*/ 3706676 w 6373827"/>
              <a:gd name="connsiteY106" fmla="*/ 0 h 6138270"/>
              <a:gd name="connsiteX0" fmla="*/ 401955 w 6373827"/>
              <a:gd name="connsiteY0" fmla="*/ 4973523 h 6138270"/>
              <a:gd name="connsiteX1" fmla="*/ 2863215 w 6373827"/>
              <a:gd name="connsiteY1" fmla="*/ 4973523 h 6138270"/>
              <a:gd name="connsiteX2" fmla="*/ 2863215 w 6373827"/>
              <a:gd name="connsiteY2" fmla="*/ 6034736 h 6138270"/>
              <a:gd name="connsiteX3" fmla="*/ 2759681 w 6373827"/>
              <a:gd name="connsiteY3" fmla="*/ 6138270 h 6138270"/>
              <a:gd name="connsiteX4" fmla="*/ 2063592 w 6373827"/>
              <a:gd name="connsiteY4" fmla="*/ 6138270 h 6138270"/>
              <a:gd name="connsiteX5" fmla="*/ 2063592 w 6373827"/>
              <a:gd name="connsiteY5" fmla="*/ 5192595 h 6138270"/>
              <a:gd name="connsiteX6" fmla="*/ 1925480 w 6373827"/>
              <a:gd name="connsiteY6" fmla="*/ 5054483 h 6138270"/>
              <a:gd name="connsiteX7" fmla="*/ 1339691 w 6373827"/>
              <a:gd name="connsiteY7" fmla="*/ 5054483 h 6138270"/>
              <a:gd name="connsiteX8" fmla="*/ 1201579 w 6373827"/>
              <a:gd name="connsiteY8" fmla="*/ 5192595 h 6138270"/>
              <a:gd name="connsiteX9" fmla="*/ 1201579 w 6373827"/>
              <a:gd name="connsiteY9" fmla="*/ 6138270 h 6138270"/>
              <a:gd name="connsiteX10" fmla="*/ 505489 w 6373827"/>
              <a:gd name="connsiteY10" fmla="*/ 6138270 h 6138270"/>
              <a:gd name="connsiteX11" fmla="*/ 401955 w 6373827"/>
              <a:gd name="connsiteY11" fmla="*/ 6034736 h 6138270"/>
              <a:gd name="connsiteX12" fmla="*/ 401955 w 6373827"/>
              <a:gd name="connsiteY12" fmla="*/ 4973523 h 6138270"/>
              <a:gd name="connsiteX13" fmla="*/ 1632585 w 6373827"/>
              <a:gd name="connsiteY13" fmla="*/ 3906725 h 6138270"/>
              <a:gd name="connsiteX14" fmla="*/ 2863215 w 6373827"/>
              <a:gd name="connsiteY14" fmla="*/ 4973522 h 6138270"/>
              <a:gd name="connsiteX15" fmla="*/ 401955 w 6373827"/>
              <a:gd name="connsiteY15" fmla="*/ 4973522 h 6138270"/>
              <a:gd name="connsiteX16" fmla="*/ 1632585 w 6373827"/>
              <a:gd name="connsiteY16" fmla="*/ 3906725 h 6138270"/>
              <a:gd name="connsiteX17" fmla="*/ 5490667 w 6373827"/>
              <a:gd name="connsiteY17" fmla="*/ 3608415 h 6138270"/>
              <a:gd name="connsiteX18" fmla="*/ 6059089 w 6373827"/>
              <a:gd name="connsiteY18" fmla="*/ 3608415 h 6138270"/>
              <a:gd name="connsiteX19" fmla="*/ 6354337 w 6373827"/>
              <a:gd name="connsiteY19" fmla="*/ 3803640 h 6138270"/>
              <a:gd name="connsiteX20" fmla="*/ 6368029 w 6373827"/>
              <a:gd name="connsiteY20" fmla="*/ 3847343 h 6138270"/>
              <a:gd name="connsiteX21" fmla="*/ 6373827 w 6373827"/>
              <a:gd name="connsiteY21" fmla="*/ 3904862 h 6138270"/>
              <a:gd name="connsiteX22" fmla="*/ 6373827 w 6373827"/>
              <a:gd name="connsiteY22" fmla="*/ 3923154 h 6138270"/>
              <a:gd name="connsiteX23" fmla="*/ 6373827 w 6373827"/>
              <a:gd name="connsiteY23" fmla="*/ 4009528 h 6138270"/>
              <a:gd name="connsiteX24" fmla="*/ 6373827 w 6373827"/>
              <a:gd name="connsiteY24" fmla="*/ 4720751 h 6138270"/>
              <a:gd name="connsiteX25" fmla="*/ 6260798 w 6373827"/>
              <a:gd name="connsiteY25" fmla="*/ 4833781 h 6138270"/>
              <a:gd name="connsiteX26" fmla="*/ 6147769 w 6373827"/>
              <a:gd name="connsiteY26" fmla="*/ 4720751 h 6138270"/>
              <a:gd name="connsiteX27" fmla="*/ 6147769 w 6373827"/>
              <a:gd name="connsiteY27" fmla="*/ 4310036 h 6138270"/>
              <a:gd name="connsiteX28" fmla="*/ 6146571 w 6373827"/>
              <a:gd name="connsiteY28" fmla="*/ 4310335 h 6138270"/>
              <a:gd name="connsiteX29" fmla="*/ 6146571 w 6373827"/>
              <a:gd name="connsiteY29" fmla="*/ 4006446 h 6138270"/>
              <a:gd name="connsiteX30" fmla="*/ 6141788 w 6373827"/>
              <a:gd name="connsiteY30" fmla="*/ 4001663 h 6138270"/>
              <a:gd name="connsiteX31" fmla="*/ 6093957 w 6373827"/>
              <a:gd name="connsiteY31" fmla="*/ 4001663 h 6138270"/>
              <a:gd name="connsiteX32" fmla="*/ 6089174 w 6373827"/>
              <a:gd name="connsiteY32" fmla="*/ 4006446 h 6138270"/>
              <a:gd name="connsiteX33" fmla="*/ 6090110 w 6373827"/>
              <a:gd name="connsiteY33" fmla="*/ 4288441 h 6138270"/>
              <a:gd name="connsiteX34" fmla="*/ 6090110 w 6373827"/>
              <a:gd name="connsiteY34" fmla="*/ 5970857 h 6138270"/>
              <a:gd name="connsiteX35" fmla="*/ 5948823 w 6373827"/>
              <a:gd name="connsiteY35" fmla="*/ 6112144 h 6138270"/>
              <a:gd name="connsiteX36" fmla="*/ 5807537 w 6373827"/>
              <a:gd name="connsiteY36" fmla="*/ 5970857 h 6138270"/>
              <a:gd name="connsiteX37" fmla="*/ 5807537 w 6373827"/>
              <a:gd name="connsiteY37" fmla="*/ 4907726 h 6138270"/>
              <a:gd name="connsiteX38" fmla="*/ 5806601 w 6373827"/>
              <a:gd name="connsiteY38" fmla="*/ 4826563 h 6138270"/>
              <a:gd name="connsiteX39" fmla="*/ 5802404 w 6373827"/>
              <a:gd name="connsiteY39" fmla="*/ 4822365 h 6138270"/>
              <a:gd name="connsiteX40" fmla="*/ 5750295 w 6373827"/>
              <a:gd name="connsiteY40" fmla="*/ 4822365 h 6138270"/>
              <a:gd name="connsiteX41" fmla="*/ 5746098 w 6373827"/>
              <a:gd name="connsiteY41" fmla="*/ 4826563 h 6138270"/>
              <a:gd name="connsiteX42" fmla="*/ 5746098 w 6373827"/>
              <a:gd name="connsiteY42" fmla="*/ 4907726 h 6138270"/>
              <a:gd name="connsiteX43" fmla="*/ 5745746 w 6373827"/>
              <a:gd name="connsiteY43" fmla="*/ 5970857 h 6138270"/>
              <a:gd name="connsiteX44" fmla="*/ 5604460 w 6373827"/>
              <a:gd name="connsiteY44" fmla="*/ 6112144 h 6138270"/>
              <a:gd name="connsiteX45" fmla="*/ 5463173 w 6373827"/>
              <a:gd name="connsiteY45" fmla="*/ 5970857 h 6138270"/>
              <a:gd name="connsiteX46" fmla="*/ 5463173 w 6373827"/>
              <a:gd name="connsiteY46" fmla="*/ 4322181 h 6138270"/>
              <a:gd name="connsiteX47" fmla="*/ 5458767 w 6373827"/>
              <a:gd name="connsiteY47" fmla="*/ 4006373 h 6138270"/>
              <a:gd name="connsiteX48" fmla="*/ 5454057 w 6373827"/>
              <a:gd name="connsiteY48" fmla="*/ 4001663 h 6138270"/>
              <a:gd name="connsiteX49" fmla="*/ 5406962 w 6373827"/>
              <a:gd name="connsiteY49" fmla="*/ 4001663 h 6138270"/>
              <a:gd name="connsiteX50" fmla="*/ 5402252 w 6373827"/>
              <a:gd name="connsiteY50" fmla="*/ 4006373 h 6138270"/>
              <a:gd name="connsiteX51" fmla="*/ 5402252 w 6373827"/>
              <a:gd name="connsiteY51" fmla="*/ 4310102 h 6138270"/>
              <a:gd name="connsiteX52" fmla="*/ 5401987 w 6373827"/>
              <a:gd name="connsiteY52" fmla="*/ 4310036 h 6138270"/>
              <a:gd name="connsiteX53" fmla="*/ 5401987 w 6373827"/>
              <a:gd name="connsiteY53" fmla="*/ 4720751 h 6138270"/>
              <a:gd name="connsiteX54" fmla="*/ 5288958 w 6373827"/>
              <a:gd name="connsiteY54" fmla="*/ 4833781 h 6138270"/>
              <a:gd name="connsiteX55" fmla="*/ 5175928 w 6373827"/>
              <a:gd name="connsiteY55" fmla="*/ 4720751 h 6138270"/>
              <a:gd name="connsiteX56" fmla="*/ 5175928 w 6373827"/>
              <a:gd name="connsiteY56" fmla="*/ 4009528 h 6138270"/>
              <a:gd name="connsiteX57" fmla="*/ 5175928 w 6373827"/>
              <a:gd name="connsiteY57" fmla="*/ 3923154 h 6138270"/>
              <a:gd name="connsiteX58" fmla="*/ 5175928 w 6373827"/>
              <a:gd name="connsiteY58" fmla="*/ 3904862 h 6138270"/>
              <a:gd name="connsiteX59" fmla="*/ 5187098 w 6373827"/>
              <a:gd name="connsiteY59" fmla="*/ 3827823 h 6138270"/>
              <a:gd name="connsiteX60" fmla="*/ 5193946 w 6373827"/>
              <a:gd name="connsiteY60" fmla="*/ 3805111 h 6138270"/>
              <a:gd name="connsiteX61" fmla="*/ 5490667 w 6373827"/>
              <a:gd name="connsiteY61" fmla="*/ 3608415 h 6138270"/>
              <a:gd name="connsiteX62" fmla="*/ 1628775 w 6373827"/>
              <a:gd name="connsiteY62" fmla="*/ 3287598 h 6138270"/>
              <a:gd name="connsiteX63" fmla="*/ 2162175 w 6373827"/>
              <a:gd name="connsiteY63" fmla="*/ 3749560 h 6138270"/>
              <a:gd name="connsiteX64" fmla="*/ 2162175 w 6373827"/>
              <a:gd name="connsiteY64" fmla="*/ 3406660 h 6138270"/>
              <a:gd name="connsiteX65" fmla="*/ 2581275 w 6373827"/>
              <a:gd name="connsiteY65" fmla="*/ 3406660 h 6138270"/>
              <a:gd name="connsiteX66" fmla="*/ 2581275 w 6373827"/>
              <a:gd name="connsiteY66" fmla="*/ 4121035 h 6138270"/>
              <a:gd name="connsiteX67" fmla="*/ 3219450 w 6373827"/>
              <a:gd name="connsiteY67" fmla="*/ 4678248 h 6138270"/>
              <a:gd name="connsiteX68" fmla="*/ 3219450 w 6373827"/>
              <a:gd name="connsiteY68" fmla="*/ 5078298 h 6138270"/>
              <a:gd name="connsiteX69" fmla="*/ 1619250 w 6373827"/>
              <a:gd name="connsiteY69" fmla="*/ 3711460 h 6138270"/>
              <a:gd name="connsiteX70" fmla="*/ 0 w 6373827"/>
              <a:gd name="connsiteY70" fmla="*/ 5087823 h 6138270"/>
              <a:gd name="connsiteX71" fmla="*/ 0 w 6373827"/>
              <a:gd name="connsiteY71" fmla="*/ 4683010 h 6138270"/>
              <a:gd name="connsiteX72" fmla="*/ 1628775 w 6373827"/>
              <a:gd name="connsiteY72" fmla="*/ 3287598 h 6138270"/>
              <a:gd name="connsiteX73" fmla="*/ 5774878 w 6373827"/>
              <a:gd name="connsiteY73" fmla="*/ 3043007 h 6138270"/>
              <a:gd name="connsiteX74" fmla="*/ 6024128 w 6373827"/>
              <a:gd name="connsiteY74" fmla="*/ 3292258 h 6138270"/>
              <a:gd name="connsiteX75" fmla="*/ 5774878 w 6373827"/>
              <a:gd name="connsiteY75" fmla="*/ 3541509 h 6138270"/>
              <a:gd name="connsiteX76" fmla="*/ 5525627 w 6373827"/>
              <a:gd name="connsiteY76" fmla="*/ 3292258 h 6138270"/>
              <a:gd name="connsiteX77" fmla="*/ 5774878 w 6373827"/>
              <a:gd name="connsiteY77" fmla="*/ 3043007 h 6138270"/>
              <a:gd name="connsiteX78" fmla="*/ 3706676 w 6373827"/>
              <a:gd name="connsiteY78" fmla="*/ 0 h 6138270"/>
              <a:gd name="connsiteX79" fmla="*/ 3862160 w 6373827"/>
              <a:gd name="connsiteY79" fmla="*/ 155484 h 6138270"/>
              <a:gd name="connsiteX80" fmla="*/ 3862160 w 6373827"/>
              <a:gd name="connsiteY80" fmla="*/ 441065 h 6138270"/>
              <a:gd name="connsiteX81" fmla="*/ 5919923 w 6373827"/>
              <a:gd name="connsiteY81" fmla="*/ 2822641 h 6138270"/>
              <a:gd name="connsiteX82" fmla="*/ 5181510 w 6373827"/>
              <a:gd name="connsiteY82" fmla="*/ 2378505 h 6138270"/>
              <a:gd name="connsiteX83" fmla="*/ 4444815 w 6373827"/>
              <a:gd name="connsiteY83" fmla="*/ 2822641 h 6138270"/>
              <a:gd name="connsiteX84" fmla="*/ 4443372 w 6373827"/>
              <a:gd name="connsiteY84" fmla="*/ 2822641 h 6138270"/>
              <a:gd name="connsiteX85" fmla="*/ 3862160 w 6373827"/>
              <a:gd name="connsiteY85" fmla="*/ 2390781 h 6138270"/>
              <a:gd name="connsiteX86" fmla="*/ 3862160 w 6373827"/>
              <a:gd name="connsiteY86" fmla="*/ 5261042 h 6138270"/>
              <a:gd name="connsiteX87" fmla="*/ 3864701 w 6373827"/>
              <a:gd name="connsiteY87" fmla="*/ 5261042 h 6138270"/>
              <a:gd name="connsiteX88" fmla="*/ 4217943 w 6373827"/>
              <a:gd name="connsiteY88" fmla="*/ 5771650 h 6138270"/>
              <a:gd name="connsiteX89" fmla="*/ 4444978 w 6373827"/>
              <a:gd name="connsiteY89" fmla="*/ 5457393 h 6138270"/>
              <a:gd name="connsiteX90" fmla="*/ 4752975 w 6373827"/>
              <a:gd name="connsiteY90" fmla="*/ 5452631 h 6138270"/>
              <a:gd name="connsiteX91" fmla="*/ 4726849 w 6373827"/>
              <a:gd name="connsiteY91" fmla="*/ 5774848 h 6138270"/>
              <a:gd name="connsiteX92" fmla="*/ 4239169 w 6373827"/>
              <a:gd name="connsiteY92" fmla="*/ 6123191 h 6138270"/>
              <a:gd name="connsiteX93" fmla="*/ 3635897 w 6373827"/>
              <a:gd name="connsiteY93" fmla="*/ 5781243 h 6138270"/>
              <a:gd name="connsiteX94" fmla="*/ 3551270 w 6373827"/>
              <a:gd name="connsiteY94" fmla="*/ 5410743 h 6138270"/>
              <a:gd name="connsiteX95" fmla="*/ 3551192 w 6373827"/>
              <a:gd name="connsiteY95" fmla="*/ 5410358 h 6138270"/>
              <a:gd name="connsiteX96" fmla="*/ 3551192 w 6373827"/>
              <a:gd name="connsiteY96" fmla="*/ 5409089 h 6138270"/>
              <a:gd name="connsiteX97" fmla="*/ 3551192 w 6373827"/>
              <a:gd name="connsiteY97" fmla="*/ 5261042 h 6138270"/>
              <a:gd name="connsiteX98" fmla="*/ 3551192 w 6373827"/>
              <a:gd name="connsiteY98" fmla="*/ 2390781 h 6138270"/>
              <a:gd name="connsiteX99" fmla="*/ 2969980 w 6373827"/>
              <a:gd name="connsiteY99" fmla="*/ 2822641 h 6138270"/>
              <a:gd name="connsiteX100" fmla="*/ 2968539 w 6373827"/>
              <a:gd name="connsiteY100" fmla="*/ 2822641 h 6138270"/>
              <a:gd name="connsiteX101" fmla="*/ 2231843 w 6373827"/>
              <a:gd name="connsiteY101" fmla="*/ 2378505 h 6138270"/>
              <a:gd name="connsiteX102" fmla="*/ 1495147 w 6373827"/>
              <a:gd name="connsiteY102" fmla="*/ 2822641 h 6138270"/>
              <a:gd name="connsiteX103" fmla="*/ 1487260 w 6373827"/>
              <a:gd name="connsiteY103" fmla="*/ 2822641 h 6138270"/>
              <a:gd name="connsiteX104" fmla="*/ 3551192 w 6373827"/>
              <a:gd name="connsiteY104" fmla="*/ 435206 h 6138270"/>
              <a:gd name="connsiteX105" fmla="*/ 3551192 w 6373827"/>
              <a:gd name="connsiteY105" fmla="*/ 155484 h 6138270"/>
              <a:gd name="connsiteX106" fmla="*/ 3706676 w 6373827"/>
              <a:gd name="connsiteY106" fmla="*/ 0 h 6138270"/>
              <a:gd name="connsiteX0" fmla="*/ 401955 w 6373827"/>
              <a:gd name="connsiteY0" fmla="*/ 4973523 h 6138270"/>
              <a:gd name="connsiteX1" fmla="*/ 2863215 w 6373827"/>
              <a:gd name="connsiteY1" fmla="*/ 4973523 h 6138270"/>
              <a:gd name="connsiteX2" fmla="*/ 2863215 w 6373827"/>
              <a:gd name="connsiteY2" fmla="*/ 6034736 h 6138270"/>
              <a:gd name="connsiteX3" fmla="*/ 2759681 w 6373827"/>
              <a:gd name="connsiteY3" fmla="*/ 6138270 h 6138270"/>
              <a:gd name="connsiteX4" fmla="*/ 2063592 w 6373827"/>
              <a:gd name="connsiteY4" fmla="*/ 6138270 h 6138270"/>
              <a:gd name="connsiteX5" fmla="*/ 2063592 w 6373827"/>
              <a:gd name="connsiteY5" fmla="*/ 5192595 h 6138270"/>
              <a:gd name="connsiteX6" fmla="*/ 1925480 w 6373827"/>
              <a:gd name="connsiteY6" fmla="*/ 5054483 h 6138270"/>
              <a:gd name="connsiteX7" fmla="*/ 1339691 w 6373827"/>
              <a:gd name="connsiteY7" fmla="*/ 5054483 h 6138270"/>
              <a:gd name="connsiteX8" fmla="*/ 1201579 w 6373827"/>
              <a:gd name="connsiteY8" fmla="*/ 5192595 h 6138270"/>
              <a:gd name="connsiteX9" fmla="*/ 1201579 w 6373827"/>
              <a:gd name="connsiteY9" fmla="*/ 6138270 h 6138270"/>
              <a:gd name="connsiteX10" fmla="*/ 505489 w 6373827"/>
              <a:gd name="connsiteY10" fmla="*/ 6138270 h 6138270"/>
              <a:gd name="connsiteX11" fmla="*/ 401955 w 6373827"/>
              <a:gd name="connsiteY11" fmla="*/ 6034736 h 6138270"/>
              <a:gd name="connsiteX12" fmla="*/ 401955 w 6373827"/>
              <a:gd name="connsiteY12" fmla="*/ 4973523 h 6138270"/>
              <a:gd name="connsiteX13" fmla="*/ 1632585 w 6373827"/>
              <a:gd name="connsiteY13" fmla="*/ 3906725 h 6138270"/>
              <a:gd name="connsiteX14" fmla="*/ 2863215 w 6373827"/>
              <a:gd name="connsiteY14" fmla="*/ 4973522 h 6138270"/>
              <a:gd name="connsiteX15" fmla="*/ 401955 w 6373827"/>
              <a:gd name="connsiteY15" fmla="*/ 4973522 h 6138270"/>
              <a:gd name="connsiteX16" fmla="*/ 1632585 w 6373827"/>
              <a:gd name="connsiteY16" fmla="*/ 3906725 h 6138270"/>
              <a:gd name="connsiteX17" fmla="*/ 5490667 w 6373827"/>
              <a:gd name="connsiteY17" fmla="*/ 3608415 h 6138270"/>
              <a:gd name="connsiteX18" fmla="*/ 6059089 w 6373827"/>
              <a:gd name="connsiteY18" fmla="*/ 3608415 h 6138270"/>
              <a:gd name="connsiteX19" fmla="*/ 6354337 w 6373827"/>
              <a:gd name="connsiteY19" fmla="*/ 3803640 h 6138270"/>
              <a:gd name="connsiteX20" fmla="*/ 6368029 w 6373827"/>
              <a:gd name="connsiteY20" fmla="*/ 3847343 h 6138270"/>
              <a:gd name="connsiteX21" fmla="*/ 6373827 w 6373827"/>
              <a:gd name="connsiteY21" fmla="*/ 3904862 h 6138270"/>
              <a:gd name="connsiteX22" fmla="*/ 6373827 w 6373827"/>
              <a:gd name="connsiteY22" fmla="*/ 3923154 h 6138270"/>
              <a:gd name="connsiteX23" fmla="*/ 6373827 w 6373827"/>
              <a:gd name="connsiteY23" fmla="*/ 4009528 h 6138270"/>
              <a:gd name="connsiteX24" fmla="*/ 6373827 w 6373827"/>
              <a:gd name="connsiteY24" fmla="*/ 4720751 h 6138270"/>
              <a:gd name="connsiteX25" fmla="*/ 6260798 w 6373827"/>
              <a:gd name="connsiteY25" fmla="*/ 4833781 h 6138270"/>
              <a:gd name="connsiteX26" fmla="*/ 6147769 w 6373827"/>
              <a:gd name="connsiteY26" fmla="*/ 4720751 h 6138270"/>
              <a:gd name="connsiteX27" fmla="*/ 6147769 w 6373827"/>
              <a:gd name="connsiteY27" fmla="*/ 4310036 h 6138270"/>
              <a:gd name="connsiteX28" fmla="*/ 6146571 w 6373827"/>
              <a:gd name="connsiteY28" fmla="*/ 4310335 h 6138270"/>
              <a:gd name="connsiteX29" fmla="*/ 6146571 w 6373827"/>
              <a:gd name="connsiteY29" fmla="*/ 4006446 h 6138270"/>
              <a:gd name="connsiteX30" fmla="*/ 6141788 w 6373827"/>
              <a:gd name="connsiteY30" fmla="*/ 4001663 h 6138270"/>
              <a:gd name="connsiteX31" fmla="*/ 6093957 w 6373827"/>
              <a:gd name="connsiteY31" fmla="*/ 4001663 h 6138270"/>
              <a:gd name="connsiteX32" fmla="*/ 6089174 w 6373827"/>
              <a:gd name="connsiteY32" fmla="*/ 4006446 h 6138270"/>
              <a:gd name="connsiteX33" fmla="*/ 6090110 w 6373827"/>
              <a:gd name="connsiteY33" fmla="*/ 4288441 h 6138270"/>
              <a:gd name="connsiteX34" fmla="*/ 6090110 w 6373827"/>
              <a:gd name="connsiteY34" fmla="*/ 5970857 h 6138270"/>
              <a:gd name="connsiteX35" fmla="*/ 5948823 w 6373827"/>
              <a:gd name="connsiteY35" fmla="*/ 6112144 h 6138270"/>
              <a:gd name="connsiteX36" fmla="*/ 5807537 w 6373827"/>
              <a:gd name="connsiteY36" fmla="*/ 5970857 h 6138270"/>
              <a:gd name="connsiteX37" fmla="*/ 5807537 w 6373827"/>
              <a:gd name="connsiteY37" fmla="*/ 4907726 h 6138270"/>
              <a:gd name="connsiteX38" fmla="*/ 5806601 w 6373827"/>
              <a:gd name="connsiteY38" fmla="*/ 4826563 h 6138270"/>
              <a:gd name="connsiteX39" fmla="*/ 5802404 w 6373827"/>
              <a:gd name="connsiteY39" fmla="*/ 4822365 h 6138270"/>
              <a:gd name="connsiteX40" fmla="*/ 5750295 w 6373827"/>
              <a:gd name="connsiteY40" fmla="*/ 4822365 h 6138270"/>
              <a:gd name="connsiteX41" fmla="*/ 5746098 w 6373827"/>
              <a:gd name="connsiteY41" fmla="*/ 4826563 h 6138270"/>
              <a:gd name="connsiteX42" fmla="*/ 5746098 w 6373827"/>
              <a:gd name="connsiteY42" fmla="*/ 4907726 h 6138270"/>
              <a:gd name="connsiteX43" fmla="*/ 5745746 w 6373827"/>
              <a:gd name="connsiteY43" fmla="*/ 5970857 h 6138270"/>
              <a:gd name="connsiteX44" fmla="*/ 5604460 w 6373827"/>
              <a:gd name="connsiteY44" fmla="*/ 6112144 h 6138270"/>
              <a:gd name="connsiteX45" fmla="*/ 5463173 w 6373827"/>
              <a:gd name="connsiteY45" fmla="*/ 5970857 h 6138270"/>
              <a:gd name="connsiteX46" fmla="*/ 5463173 w 6373827"/>
              <a:gd name="connsiteY46" fmla="*/ 4322181 h 6138270"/>
              <a:gd name="connsiteX47" fmla="*/ 5458767 w 6373827"/>
              <a:gd name="connsiteY47" fmla="*/ 4006373 h 6138270"/>
              <a:gd name="connsiteX48" fmla="*/ 5454057 w 6373827"/>
              <a:gd name="connsiteY48" fmla="*/ 4001663 h 6138270"/>
              <a:gd name="connsiteX49" fmla="*/ 5406962 w 6373827"/>
              <a:gd name="connsiteY49" fmla="*/ 4001663 h 6138270"/>
              <a:gd name="connsiteX50" fmla="*/ 5402252 w 6373827"/>
              <a:gd name="connsiteY50" fmla="*/ 4006373 h 6138270"/>
              <a:gd name="connsiteX51" fmla="*/ 5402252 w 6373827"/>
              <a:gd name="connsiteY51" fmla="*/ 4310102 h 6138270"/>
              <a:gd name="connsiteX52" fmla="*/ 5401987 w 6373827"/>
              <a:gd name="connsiteY52" fmla="*/ 4310036 h 6138270"/>
              <a:gd name="connsiteX53" fmla="*/ 5401987 w 6373827"/>
              <a:gd name="connsiteY53" fmla="*/ 4720751 h 6138270"/>
              <a:gd name="connsiteX54" fmla="*/ 5288958 w 6373827"/>
              <a:gd name="connsiteY54" fmla="*/ 4833781 h 6138270"/>
              <a:gd name="connsiteX55" fmla="*/ 5175928 w 6373827"/>
              <a:gd name="connsiteY55" fmla="*/ 4720751 h 6138270"/>
              <a:gd name="connsiteX56" fmla="*/ 5175928 w 6373827"/>
              <a:gd name="connsiteY56" fmla="*/ 4009528 h 6138270"/>
              <a:gd name="connsiteX57" fmla="*/ 5175928 w 6373827"/>
              <a:gd name="connsiteY57" fmla="*/ 3923154 h 6138270"/>
              <a:gd name="connsiteX58" fmla="*/ 5175928 w 6373827"/>
              <a:gd name="connsiteY58" fmla="*/ 3904862 h 6138270"/>
              <a:gd name="connsiteX59" fmla="*/ 5187098 w 6373827"/>
              <a:gd name="connsiteY59" fmla="*/ 3827823 h 6138270"/>
              <a:gd name="connsiteX60" fmla="*/ 5193946 w 6373827"/>
              <a:gd name="connsiteY60" fmla="*/ 3805111 h 6138270"/>
              <a:gd name="connsiteX61" fmla="*/ 5490667 w 6373827"/>
              <a:gd name="connsiteY61" fmla="*/ 3608415 h 6138270"/>
              <a:gd name="connsiteX62" fmla="*/ 1628775 w 6373827"/>
              <a:gd name="connsiteY62" fmla="*/ 3287598 h 6138270"/>
              <a:gd name="connsiteX63" fmla="*/ 2162175 w 6373827"/>
              <a:gd name="connsiteY63" fmla="*/ 3749560 h 6138270"/>
              <a:gd name="connsiteX64" fmla="*/ 2162175 w 6373827"/>
              <a:gd name="connsiteY64" fmla="*/ 3406660 h 6138270"/>
              <a:gd name="connsiteX65" fmla="*/ 2581275 w 6373827"/>
              <a:gd name="connsiteY65" fmla="*/ 3406660 h 6138270"/>
              <a:gd name="connsiteX66" fmla="*/ 2581275 w 6373827"/>
              <a:gd name="connsiteY66" fmla="*/ 4121035 h 6138270"/>
              <a:gd name="connsiteX67" fmla="*/ 3219450 w 6373827"/>
              <a:gd name="connsiteY67" fmla="*/ 4678248 h 6138270"/>
              <a:gd name="connsiteX68" fmla="*/ 3219450 w 6373827"/>
              <a:gd name="connsiteY68" fmla="*/ 5078298 h 6138270"/>
              <a:gd name="connsiteX69" fmla="*/ 1619250 w 6373827"/>
              <a:gd name="connsiteY69" fmla="*/ 3711460 h 6138270"/>
              <a:gd name="connsiteX70" fmla="*/ 0 w 6373827"/>
              <a:gd name="connsiteY70" fmla="*/ 5087823 h 6138270"/>
              <a:gd name="connsiteX71" fmla="*/ 0 w 6373827"/>
              <a:gd name="connsiteY71" fmla="*/ 4683010 h 6138270"/>
              <a:gd name="connsiteX72" fmla="*/ 1628775 w 6373827"/>
              <a:gd name="connsiteY72" fmla="*/ 3287598 h 6138270"/>
              <a:gd name="connsiteX73" fmla="*/ 5774878 w 6373827"/>
              <a:gd name="connsiteY73" fmla="*/ 3043007 h 6138270"/>
              <a:gd name="connsiteX74" fmla="*/ 6024128 w 6373827"/>
              <a:gd name="connsiteY74" fmla="*/ 3292258 h 6138270"/>
              <a:gd name="connsiteX75" fmla="*/ 5774878 w 6373827"/>
              <a:gd name="connsiteY75" fmla="*/ 3541509 h 6138270"/>
              <a:gd name="connsiteX76" fmla="*/ 5525627 w 6373827"/>
              <a:gd name="connsiteY76" fmla="*/ 3292258 h 6138270"/>
              <a:gd name="connsiteX77" fmla="*/ 5774878 w 6373827"/>
              <a:gd name="connsiteY77" fmla="*/ 3043007 h 6138270"/>
              <a:gd name="connsiteX78" fmla="*/ 3706676 w 6373827"/>
              <a:gd name="connsiteY78" fmla="*/ 0 h 6138270"/>
              <a:gd name="connsiteX79" fmla="*/ 3862160 w 6373827"/>
              <a:gd name="connsiteY79" fmla="*/ 155484 h 6138270"/>
              <a:gd name="connsiteX80" fmla="*/ 3862160 w 6373827"/>
              <a:gd name="connsiteY80" fmla="*/ 441065 h 6138270"/>
              <a:gd name="connsiteX81" fmla="*/ 5919923 w 6373827"/>
              <a:gd name="connsiteY81" fmla="*/ 2822641 h 6138270"/>
              <a:gd name="connsiteX82" fmla="*/ 5181510 w 6373827"/>
              <a:gd name="connsiteY82" fmla="*/ 2378505 h 6138270"/>
              <a:gd name="connsiteX83" fmla="*/ 4444815 w 6373827"/>
              <a:gd name="connsiteY83" fmla="*/ 2822641 h 6138270"/>
              <a:gd name="connsiteX84" fmla="*/ 4443372 w 6373827"/>
              <a:gd name="connsiteY84" fmla="*/ 2822641 h 6138270"/>
              <a:gd name="connsiteX85" fmla="*/ 3862160 w 6373827"/>
              <a:gd name="connsiteY85" fmla="*/ 2390781 h 6138270"/>
              <a:gd name="connsiteX86" fmla="*/ 3862160 w 6373827"/>
              <a:gd name="connsiteY86" fmla="*/ 5261042 h 6138270"/>
              <a:gd name="connsiteX87" fmla="*/ 3864701 w 6373827"/>
              <a:gd name="connsiteY87" fmla="*/ 5261042 h 6138270"/>
              <a:gd name="connsiteX88" fmla="*/ 4217943 w 6373827"/>
              <a:gd name="connsiteY88" fmla="*/ 5771650 h 6138270"/>
              <a:gd name="connsiteX89" fmla="*/ 4444978 w 6373827"/>
              <a:gd name="connsiteY89" fmla="*/ 5457393 h 6138270"/>
              <a:gd name="connsiteX90" fmla="*/ 4752975 w 6373827"/>
              <a:gd name="connsiteY90" fmla="*/ 5452631 h 6138270"/>
              <a:gd name="connsiteX91" fmla="*/ 4726849 w 6373827"/>
              <a:gd name="connsiteY91" fmla="*/ 5774848 h 6138270"/>
              <a:gd name="connsiteX92" fmla="*/ 4239169 w 6373827"/>
              <a:gd name="connsiteY92" fmla="*/ 6123191 h 6138270"/>
              <a:gd name="connsiteX93" fmla="*/ 3635897 w 6373827"/>
              <a:gd name="connsiteY93" fmla="*/ 5781243 h 6138270"/>
              <a:gd name="connsiteX94" fmla="*/ 3551270 w 6373827"/>
              <a:gd name="connsiteY94" fmla="*/ 5410743 h 6138270"/>
              <a:gd name="connsiteX95" fmla="*/ 3551192 w 6373827"/>
              <a:gd name="connsiteY95" fmla="*/ 5410358 h 6138270"/>
              <a:gd name="connsiteX96" fmla="*/ 3551192 w 6373827"/>
              <a:gd name="connsiteY96" fmla="*/ 5409089 h 6138270"/>
              <a:gd name="connsiteX97" fmla="*/ 3551192 w 6373827"/>
              <a:gd name="connsiteY97" fmla="*/ 5261042 h 6138270"/>
              <a:gd name="connsiteX98" fmla="*/ 3551192 w 6373827"/>
              <a:gd name="connsiteY98" fmla="*/ 2390781 h 6138270"/>
              <a:gd name="connsiteX99" fmla="*/ 2969980 w 6373827"/>
              <a:gd name="connsiteY99" fmla="*/ 2822641 h 6138270"/>
              <a:gd name="connsiteX100" fmla="*/ 2968539 w 6373827"/>
              <a:gd name="connsiteY100" fmla="*/ 2822641 h 6138270"/>
              <a:gd name="connsiteX101" fmla="*/ 2231843 w 6373827"/>
              <a:gd name="connsiteY101" fmla="*/ 2378505 h 6138270"/>
              <a:gd name="connsiteX102" fmla="*/ 1495147 w 6373827"/>
              <a:gd name="connsiteY102" fmla="*/ 2822641 h 6138270"/>
              <a:gd name="connsiteX103" fmla="*/ 1487260 w 6373827"/>
              <a:gd name="connsiteY103" fmla="*/ 2822641 h 6138270"/>
              <a:gd name="connsiteX104" fmla="*/ 3551192 w 6373827"/>
              <a:gd name="connsiteY104" fmla="*/ 435206 h 6138270"/>
              <a:gd name="connsiteX105" fmla="*/ 3551192 w 6373827"/>
              <a:gd name="connsiteY105" fmla="*/ 155484 h 6138270"/>
              <a:gd name="connsiteX106" fmla="*/ 3706676 w 6373827"/>
              <a:gd name="connsiteY106" fmla="*/ 0 h 6138270"/>
              <a:gd name="connsiteX0" fmla="*/ 401955 w 6373827"/>
              <a:gd name="connsiteY0" fmla="*/ 4973523 h 6138270"/>
              <a:gd name="connsiteX1" fmla="*/ 2863215 w 6373827"/>
              <a:gd name="connsiteY1" fmla="*/ 4973523 h 6138270"/>
              <a:gd name="connsiteX2" fmla="*/ 2863215 w 6373827"/>
              <a:gd name="connsiteY2" fmla="*/ 6034736 h 6138270"/>
              <a:gd name="connsiteX3" fmla="*/ 2759681 w 6373827"/>
              <a:gd name="connsiteY3" fmla="*/ 6138270 h 6138270"/>
              <a:gd name="connsiteX4" fmla="*/ 2063592 w 6373827"/>
              <a:gd name="connsiteY4" fmla="*/ 6138270 h 6138270"/>
              <a:gd name="connsiteX5" fmla="*/ 2063592 w 6373827"/>
              <a:gd name="connsiteY5" fmla="*/ 5192595 h 6138270"/>
              <a:gd name="connsiteX6" fmla="*/ 1925480 w 6373827"/>
              <a:gd name="connsiteY6" fmla="*/ 5054483 h 6138270"/>
              <a:gd name="connsiteX7" fmla="*/ 1339691 w 6373827"/>
              <a:gd name="connsiteY7" fmla="*/ 5054483 h 6138270"/>
              <a:gd name="connsiteX8" fmla="*/ 1201579 w 6373827"/>
              <a:gd name="connsiteY8" fmla="*/ 5192595 h 6138270"/>
              <a:gd name="connsiteX9" fmla="*/ 1201579 w 6373827"/>
              <a:gd name="connsiteY9" fmla="*/ 6138270 h 6138270"/>
              <a:gd name="connsiteX10" fmla="*/ 505489 w 6373827"/>
              <a:gd name="connsiteY10" fmla="*/ 6138270 h 6138270"/>
              <a:gd name="connsiteX11" fmla="*/ 401955 w 6373827"/>
              <a:gd name="connsiteY11" fmla="*/ 6034736 h 6138270"/>
              <a:gd name="connsiteX12" fmla="*/ 401955 w 6373827"/>
              <a:gd name="connsiteY12" fmla="*/ 4973523 h 6138270"/>
              <a:gd name="connsiteX13" fmla="*/ 1632585 w 6373827"/>
              <a:gd name="connsiteY13" fmla="*/ 3906725 h 6138270"/>
              <a:gd name="connsiteX14" fmla="*/ 2863215 w 6373827"/>
              <a:gd name="connsiteY14" fmla="*/ 4973522 h 6138270"/>
              <a:gd name="connsiteX15" fmla="*/ 401955 w 6373827"/>
              <a:gd name="connsiteY15" fmla="*/ 4973522 h 6138270"/>
              <a:gd name="connsiteX16" fmla="*/ 1632585 w 6373827"/>
              <a:gd name="connsiteY16" fmla="*/ 3906725 h 6138270"/>
              <a:gd name="connsiteX17" fmla="*/ 5490667 w 6373827"/>
              <a:gd name="connsiteY17" fmla="*/ 3608415 h 6138270"/>
              <a:gd name="connsiteX18" fmla="*/ 6059089 w 6373827"/>
              <a:gd name="connsiteY18" fmla="*/ 3608415 h 6138270"/>
              <a:gd name="connsiteX19" fmla="*/ 6354337 w 6373827"/>
              <a:gd name="connsiteY19" fmla="*/ 3803640 h 6138270"/>
              <a:gd name="connsiteX20" fmla="*/ 6368029 w 6373827"/>
              <a:gd name="connsiteY20" fmla="*/ 3847343 h 6138270"/>
              <a:gd name="connsiteX21" fmla="*/ 6373827 w 6373827"/>
              <a:gd name="connsiteY21" fmla="*/ 3904862 h 6138270"/>
              <a:gd name="connsiteX22" fmla="*/ 6373827 w 6373827"/>
              <a:gd name="connsiteY22" fmla="*/ 3923154 h 6138270"/>
              <a:gd name="connsiteX23" fmla="*/ 6373827 w 6373827"/>
              <a:gd name="connsiteY23" fmla="*/ 4009528 h 6138270"/>
              <a:gd name="connsiteX24" fmla="*/ 6373827 w 6373827"/>
              <a:gd name="connsiteY24" fmla="*/ 4720751 h 6138270"/>
              <a:gd name="connsiteX25" fmla="*/ 6260798 w 6373827"/>
              <a:gd name="connsiteY25" fmla="*/ 4833781 h 6138270"/>
              <a:gd name="connsiteX26" fmla="*/ 6147769 w 6373827"/>
              <a:gd name="connsiteY26" fmla="*/ 4720751 h 6138270"/>
              <a:gd name="connsiteX27" fmla="*/ 6147769 w 6373827"/>
              <a:gd name="connsiteY27" fmla="*/ 4310036 h 6138270"/>
              <a:gd name="connsiteX28" fmla="*/ 6146571 w 6373827"/>
              <a:gd name="connsiteY28" fmla="*/ 4310335 h 6138270"/>
              <a:gd name="connsiteX29" fmla="*/ 6146571 w 6373827"/>
              <a:gd name="connsiteY29" fmla="*/ 4006446 h 6138270"/>
              <a:gd name="connsiteX30" fmla="*/ 6141788 w 6373827"/>
              <a:gd name="connsiteY30" fmla="*/ 4001663 h 6138270"/>
              <a:gd name="connsiteX31" fmla="*/ 6093957 w 6373827"/>
              <a:gd name="connsiteY31" fmla="*/ 4001663 h 6138270"/>
              <a:gd name="connsiteX32" fmla="*/ 6089174 w 6373827"/>
              <a:gd name="connsiteY32" fmla="*/ 4006446 h 6138270"/>
              <a:gd name="connsiteX33" fmla="*/ 6090110 w 6373827"/>
              <a:gd name="connsiteY33" fmla="*/ 4288441 h 6138270"/>
              <a:gd name="connsiteX34" fmla="*/ 6090110 w 6373827"/>
              <a:gd name="connsiteY34" fmla="*/ 5970857 h 6138270"/>
              <a:gd name="connsiteX35" fmla="*/ 5948823 w 6373827"/>
              <a:gd name="connsiteY35" fmla="*/ 6112144 h 6138270"/>
              <a:gd name="connsiteX36" fmla="*/ 5807537 w 6373827"/>
              <a:gd name="connsiteY36" fmla="*/ 5970857 h 6138270"/>
              <a:gd name="connsiteX37" fmla="*/ 5807537 w 6373827"/>
              <a:gd name="connsiteY37" fmla="*/ 4907726 h 6138270"/>
              <a:gd name="connsiteX38" fmla="*/ 5806601 w 6373827"/>
              <a:gd name="connsiteY38" fmla="*/ 4826563 h 6138270"/>
              <a:gd name="connsiteX39" fmla="*/ 5802404 w 6373827"/>
              <a:gd name="connsiteY39" fmla="*/ 4822365 h 6138270"/>
              <a:gd name="connsiteX40" fmla="*/ 5750295 w 6373827"/>
              <a:gd name="connsiteY40" fmla="*/ 4822365 h 6138270"/>
              <a:gd name="connsiteX41" fmla="*/ 5746098 w 6373827"/>
              <a:gd name="connsiteY41" fmla="*/ 4826563 h 6138270"/>
              <a:gd name="connsiteX42" fmla="*/ 5746098 w 6373827"/>
              <a:gd name="connsiteY42" fmla="*/ 4907726 h 6138270"/>
              <a:gd name="connsiteX43" fmla="*/ 5745746 w 6373827"/>
              <a:gd name="connsiteY43" fmla="*/ 5970857 h 6138270"/>
              <a:gd name="connsiteX44" fmla="*/ 5604460 w 6373827"/>
              <a:gd name="connsiteY44" fmla="*/ 6112144 h 6138270"/>
              <a:gd name="connsiteX45" fmla="*/ 5463173 w 6373827"/>
              <a:gd name="connsiteY45" fmla="*/ 5970857 h 6138270"/>
              <a:gd name="connsiteX46" fmla="*/ 5463173 w 6373827"/>
              <a:gd name="connsiteY46" fmla="*/ 4322181 h 6138270"/>
              <a:gd name="connsiteX47" fmla="*/ 5458767 w 6373827"/>
              <a:gd name="connsiteY47" fmla="*/ 4006373 h 6138270"/>
              <a:gd name="connsiteX48" fmla="*/ 5454057 w 6373827"/>
              <a:gd name="connsiteY48" fmla="*/ 4001663 h 6138270"/>
              <a:gd name="connsiteX49" fmla="*/ 5406962 w 6373827"/>
              <a:gd name="connsiteY49" fmla="*/ 4001663 h 6138270"/>
              <a:gd name="connsiteX50" fmla="*/ 5402252 w 6373827"/>
              <a:gd name="connsiteY50" fmla="*/ 4006373 h 6138270"/>
              <a:gd name="connsiteX51" fmla="*/ 5402252 w 6373827"/>
              <a:gd name="connsiteY51" fmla="*/ 4310102 h 6138270"/>
              <a:gd name="connsiteX52" fmla="*/ 5401987 w 6373827"/>
              <a:gd name="connsiteY52" fmla="*/ 4310036 h 6138270"/>
              <a:gd name="connsiteX53" fmla="*/ 5401987 w 6373827"/>
              <a:gd name="connsiteY53" fmla="*/ 4720751 h 6138270"/>
              <a:gd name="connsiteX54" fmla="*/ 5288958 w 6373827"/>
              <a:gd name="connsiteY54" fmla="*/ 4833781 h 6138270"/>
              <a:gd name="connsiteX55" fmla="*/ 5175928 w 6373827"/>
              <a:gd name="connsiteY55" fmla="*/ 4720751 h 6138270"/>
              <a:gd name="connsiteX56" fmla="*/ 5175928 w 6373827"/>
              <a:gd name="connsiteY56" fmla="*/ 4009528 h 6138270"/>
              <a:gd name="connsiteX57" fmla="*/ 5175928 w 6373827"/>
              <a:gd name="connsiteY57" fmla="*/ 3923154 h 6138270"/>
              <a:gd name="connsiteX58" fmla="*/ 5175928 w 6373827"/>
              <a:gd name="connsiteY58" fmla="*/ 3904862 h 6138270"/>
              <a:gd name="connsiteX59" fmla="*/ 5187098 w 6373827"/>
              <a:gd name="connsiteY59" fmla="*/ 3827823 h 6138270"/>
              <a:gd name="connsiteX60" fmla="*/ 5193946 w 6373827"/>
              <a:gd name="connsiteY60" fmla="*/ 3805111 h 6138270"/>
              <a:gd name="connsiteX61" fmla="*/ 5490667 w 6373827"/>
              <a:gd name="connsiteY61" fmla="*/ 3608415 h 6138270"/>
              <a:gd name="connsiteX62" fmla="*/ 1628775 w 6373827"/>
              <a:gd name="connsiteY62" fmla="*/ 3287598 h 6138270"/>
              <a:gd name="connsiteX63" fmla="*/ 2162175 w 6373827"/>
              <a:gd name="connsiteY63" fmla="*/ 3749560 h 6138270"/>
              <a:gd name="connsiteX64" fmla="*/ 2162175 w 6373827"/>
              <a:gd name="connsiteY64" fmla="*/ 3406660 h 6138270"/>
              <a:gd name="connsiteX65" fmla="*/ 2581275 w 6373827"/>
              <a:gd name="connsiteY65" fmla="*/ 3406660 h 6138270"/>
              <a:gd name="connsiteX66" fmla="*/ 2581275 w 6373827"/>
              <a:gd name="connsiteY66" fmla="*/ 4121035 h 6138270"/>
              <a:gd name="connsiteX67" fmla="*/ 3219450 w 6373827"/>
              <a:gd name="connsiteY67" fmla="*/ 4678248 h 6138270"/>
              <a:gd name="connsiteX68" fmla="*/ 3219450 w 6373827"/>
              <a:gd name="connsiteY68" fmla="*/ 5078298 h 6138270"/>
              <a:gd name="connsiteX69" fmla="*/ 1619250 w 6373827"/>
              <a:gd name="connsiteY69" fmla="*/ 3711460 h 6138270"/>
              <a:gd name="connsiteX70" fmla="*/ 0 w 6373827"/>
              <a:gd name="connsiteY70" fmla="*/ 5087823 h 6138270"/>
              <a:gd name="connsiteX71" fmla="*/ 0 w 6373827"/>
              <a:gd name="connsiteY71" fmla="*/ 4683010 h 6138270"/>
              <a:gd name="connsiteX72" fmla="*/ 1628775 w 6373827"/>
              <a:gd name="connsiteY72" fmla="*/ 3287598 h 6138270"/>
              <a:gd name="connsiteX73" fmla="*/ 5774878 w 6373827"/>
              <a:gd name="connsiteY73" fmla="*/ 3043007 h 6138270"/>
              <a:gd name="connsiteX74" fmla="*/ 6024128 w 6373827"/>
              <a:gd name="connsiteY74" fmla="*/ 3292258 h 6138270"/>
              <a:gd name="connsiteX75" fmla="*/ 5774878 w 6373827"/>
              <a:gd name="connsiteY75" fmla="*/ 3541509 h 6138270"/>
              <a:gd name="connsiteX76" fmla="*/ 5525627 w 6373827"/>
              <a:gd name="connsiteY76" fmla="*/ 3292258 h 6138270"/>
              <a:gd name="connsiteX77" fmla="*/ 5774878 w 6373827"/>
              <a:gd name="connsiteY77" fmla="*/ 3043007 h 6138270"/>
              <a:gd name="connsiteX78" fmla="*/ 3706676 w 6373827"/>
              <a:gd name="connsiteY78" fmla="*/ 0 h 6138270"/>
              <a:gd name="connsiteX79" fmla="*/ 3862160 w 6373827"/>
              <a:gd name="connsiteY79" fmla="*/ 155484 h 6138270"/>
              <a:gd name="connsiteX80" fmla="*/ 3862160 w 6373827"/>
              <a:gd name="connsiteY80" fmla="*/ 441065 h 6138270"/>
              <a:gd name="connsiteX81" fmla="*/ 5919923 w 6373827"/>
              <a:gd name="connsiteY81" fmla="*/ 2822641 h 6138270"/>
              <a:gd name="connsiteX82" fmla="*/ 5181510 w 6373827"/>
              <a:gd name="connsiteY82" fmla="*/ 2378505 h 6138270"/>
              <a:gd name="connsiteX83" fmla="*/ 4444815 w 6373827"/>
              <a:gd name="connsiteY83" fmla="*/ 2822641 h 6138270"/>
              <a:gd name="connsiteX84" fmla="*/ 4443372 w 6373827"/>
              <a:gd name="connsiteY84" fmla="*/ 2822641 h 6138270"/>
              <a:gd name="connsiteX85" fmla="*/ 3862160 w 6373827"/>
              <a:gd name="connsiteY85" fmla="*/ 2390781 h 6138270"/>
              <a:gd name="connsiteX86" fmla="*/ 3862160 w 6373827"/>
              <a:gd name="connsiteY86" fmla="*/ 5261042 h 6138270"/>
              <a:gd name="connsiteX87" fmla="*/ 3864701 w 6373827"/>
              <a:gd name="connsiteY87" fmla="*/ 5261042 h 6138270"/>
              <a:gd name="connsiteX88" fmla="*/ 4217943 w 6373827"/>
              <a:gd name="connsiteY88" fmla="*/ 5771650 h 6138270"/>
              <a:gd name="connsiteX89" fmla="*/ 4444978 w 6373827"/>
              <a:gd name="connsiteY89" fmla="*/ 5457393 h 6138270"/>
              <a:gd name="connsiteX90" fmla="*/ 4752975 w 6373827"/>
              <a:gd name="connsiteY90" fmla="*/ 5452631 h 6138270"/>
              <a:gd name="connsiteX91" fmla="*/ 4726849 w 6373827"/>
              <a:gd name="connsiteY91" fmla="*/ 5774848 h 6138270"/>
              <a:gd name="connsiteX92" fmla="*/ 4239169 w 6373827"/>
              <a:gd name="connsiteY92" fmla="*/ 6123191 h 6138270"/>
              <a:gd name="connsiteX93" fmla="*/ 3635897 w 6373827"/>
              <a:gd name="connsiteY93" fmla="*/ 5781243 h 6138270"/>
              <a:gd name="connsiteX94" fmla="*/ 3551270 w 6373827"/>
              <a:gd name="connsiteY94" fmla="*/ 5410743 h 6138270"/>
              <a:gd name="connsiteX95" fmla="*/ 3551192 w 6373827"/>
              <a:gd name="connsiteY95" fmla="*/ 5410358 h 6138270"/>
              <a:gd name="connsiteX96" fmla="*/ 3551192 w 6373827"/>
              <a:gd name="connsiteY96" fmla="*/ 5409089 h 6138270"/>
              <a:gd name="connsiteX97" fmla="*/ 3551192 w 6373827"/>
              <a:gd name="connsiteY97" fmla="*/ 5261042 h 6138270"/>
              <a:gd name="connsiteX98" fmla="*/ 3551192 w 6373827"/>
              <a:gd name="connsiteY98" fmla="*/ 2390781 h 6138270"/>
              <a:gd name="connsiteX99" fmla="*/ 2969980 w 6373827"/>
              <a:gd name="connsiteY99" fmla="*/ 2822641 h 6138270"/>
              <a:gd name="connsiteX100" fmla="*/ 2968539 w 6373827"/>
              <a:gd name="connsiteY100" fmla="*/ 2822641 h 6138270"/>
              <a:gd name="connsiteX101" fmla="*/ 2231843 w 6373827"/>
              <a:gd name="connsiteY101" fmla="*/ 2378505 h 6138270"/>
              <a:gd name="connsiteX102" fmla="*/ 1495147 w 6373827"/>
              <a:gd name="connsiteY102" fmla="*/ 2822641 h 6138270"/>
              <a:gd name="connsiteX103" fmla="*/ 1487260 w 6373827"/>
              <a:gd name="connsiteY103" fmla="*/ 2822641 h 6138270"/>
              <a:gd name="connsiteX104" fmla="*/ 3551192 w 6373827"/>
              <a:gd name="connsiteY104" fmla="*/ 435206 h 6138270"/>
              <a:gd name="connsiteX105" fmla="*/ 3551192 w 6373827"/>
              <a:gd name="connsiteY105" fmla="*/ 155484 h 6138270"/>
              <a:gd name="connsiteX106" fmla="*/ 3706676 w 6373827"/>
              <a:gd name="connsiteY106" fmla="*/ 0 h 6138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6373827" h="6138270">
                <a:moveTo>
                  <a:pt x="401955" y="4973523"/>
                </a:moveTo>
                <a:lnTo>
                  <a:pt x="2863215" y="4973523"/>
                </a:lnTo>
                <a:lnTo>
                  <a:pt x="2863215" y="6034736"/>
                </a:lnTo>
                <a:cubicBezTo>
                  <a:pt x="2863215" y="6091916"/>
                  <a:pt x="2816861" y="6138270"/>
                  <a:pt x="2759681" y="6138270"/>
                </a:cubicBezTo>
                <a:lnTo>
                  <a:pt x="2063592" y="6138270"/>
                </a:lnTo>
                <a:lnTo>
                  <a:pt x="2063592" y="5192595"/>
                </a:lnTo>
                <a:cubicBezTo>
                  <a:pt x="2063592" y="5116318"/>
                  <a:pt x="2001757" y="5054483"/>
                  <a:pt x="1925480" y="5054483"/>
                </a:cubicBezTo>
                <a:lnTo>
                  <a:pt x="1339691" y="5054483"/>
                </a:lnTo>
                <a:cubicBezTo>
                  <a:pt x="1263414" y="5054483"/>
                  <a:pt x="1201579" y="5116318"/>
                  <a:pt x="1201579" y="5192595"/>
                </a:cubicBezTo>
                <a:lnTo>
                  <a:pt x="1201579" y="6138270"/>
                </a:lnTo>
                <a:lnTo>
                  <a:pt x="505489" y="6138270"/>
                </a:lnTo>
                <a:cubicBezTo>
                  <a:pt x="448309" y="6138270"/>
                  <a:pt x="401955" y="6091916"/>
                  <a:pt x="401955" y="6034736"/>
                </a:cubicBezTo>
                <a:lnTo>
                  <a:pt x="401955" y="4973523"/>
                </a:lnTo>
                <a:close/>
                <a:moveTo>
                  <a:pt x="1632585" y="3906725"/>
                </a:moveTo>
                <a:lnTo>
                  <a:pt x="2863215" y="4973522"/>
                </a:lnTo>
                <a:lnTo>
                  <a:pt x="401955" y="4973522"/>
                </a:lnTo>
                <a:lnTo>
                  <a:pt x="1632585" y="3906725"/>
                </a:lnTo>
                <a:close/>
                <a:moveTo>
                  <a:pt x="5490667" y="3608415"/>
                </a:moveTo>
                <a:lnTo>
                  <a:pt x="6059089" y="3608415"/>
                </a:lnTo>
                <a:cubicBezTo>
                  <a:pt x="6192197" y="3608415"/>
                  <a:pt x="6308949" y="3686629"/>
                  <a:pt x="6354337" y="3803640"/>
                </a:cubicBezTo>
                <a:cubicBezTo>
                  <a:pt x="6363062" y="3818839"/>
                  <a:pt x="6364522" y="3833744"/>
                  <a:pt x="6368029" y="3847343"/>
                </a:cubicBezTo>
                <a:lnTo>
                  <a:pt x="6373827" y="3904862"/>
                </a:lnTo>
                <a:lnTo>
                  <a:pt x="6373827" y="3923154"/>
                </a:lnTo>
                <a:lnTo>
                  <a:pt x="6373827" y="4009528"/>
                </a:lnTo>
                <a:lnTo>
                  <a:pt x="6373827" y="4720751"/>
                </a:lnTo>
                <a:cubicBezTo>
                  <a:pt x="6373827" y="4783176"/>
                  <a:pt x="6323222" y="4833781"/>
                  <a:pt x="6260798" y="4833781"/>
                </a:cubicBezTo>
                <a:cubicBezTo>
                  <a:pt x="6198373" y="4833781"/>
                  <a:pt x="6147769" y="4783176"/>
                  <a:pt x="6147769" y="4720751"/>
                </a:cubicBezTo>
                <a:lnTo>
                  <a:pt x="6147769" y="4310036"/>
                </a:lnTo>
                <a:lnTo>
                  <a:pt x="6146571" y="4310335"/>
                </a:lnTo>
                <a:lnTo>
                  <a:pt x="6146571" y="4006446"/>
                </a:lnTo>
                <a:cubicBezTo>
                  <a:pt x="6146571" y="4003805"/>
                  <a:pt x="6144430" y="4001663"/>
                  <a:pt x="6141788" y="4001663"/>
                </a:cubicBezTo>
                <a:lnTo>
                  <a:pt x="6093957" y="4001663"/>
                </a:lnTo>
                <a:cubicBezTo>
                  <a:pt x="6091316" y="4001663"/>
                  <a:pt x="6089174" y="4003805"/>
                  <a:pt x="6089174" y="4006446"/>
                </a:cubicBezTo>
                <a:lnTo>
                  <a:pt x="6090110" y="4288441"/>
                </a:lnTo>
                <a:lnTo>
                  <a:pt x="6090110" y="5970857"/>
                </a:lnTo>
                <a:cubicBezTo>
                  <a:pt x="6090110" y="6048888"/>
                  <a:pt x="6026854" y="6112144"/>
                  <a:pt x="5948823" y="6112144"/>
                </a:cubicBezTo>
                <a:cubicBezTo>
                  <a:pt x="5870793" y="6112144"/>
                  <a:pt x="5807537" y="6048888"/>
                  <a:pt x="5807537" y="5970857"/>
                </a:cubicBezTo>
                <a:lnTo>
                  <a:pt x="5807537" y="4907726"/>
                </a:lnTo>
                <a:lnTo>
                  <a:pt x="5806601" y="4826563"/>
                </a:lnTo>
                <a:cubicBezTo>
                  <a:pt x="5806601" y="4824244"/>
                  <a:pt x="5804722" y="4822365"/>
                  <a:pt x="5802404" y="4822365"/>
                </a:cubicBezTo>
                <a:lnTo>
                  <a:pt x="5750295" y="4822365"/>
                </a:lnTo>
                <a:cubicBezTo>
                  <a:pt x="5747976" y="4822365"/>
                  <a:pt x="5746098" y="4824244"/>
                  <a:pt x="5746098" y="4826563"/>
                </a:cubicBezTo>
                <a:lnTo>
                  <a:pt x="5746098" y="4907726"/>
                </a:lnTo>
                <a:cubicBezTo>
                  <a:pt x="5745981" y="5262103"/>
                  <a:pt x="5745863" y="5616480"/>
                  <a:pt x="5745746" y="5970857"/>
                </a:cubicBezTo>
                <a:cubicBezTo>
                  <a:pt x="5745746" y="6048888"/>
                  <a:pt x="5682490" y="6112144"/>
                  <a:pt x="5604460" y="6112144"/>
                </a:cubicBezTo>
                <a:cubicBezTo>
                  <a:pt x="5526430" y="6112144"/>
                  <a:pt x="5463173" y="6048888"/>
                  <a:pt x="5463173" y="5970857"/>
                </a:cubicBezTo>
                <a:lnTo>
                  <a:pt x="5463173" y="4322181"/>
                </a:lnTo>
                <a:cubicBezTo>
                  <a:pt x="5461704" y="4216912"/>
                  <a:pt x="5460236" y="4111642"/>
                  <a:pt x="5458767" y="4006373"/>
                </a:cubicBezTo>
                <a:cubicBezTo>
                  <a:pt x="5458767" y="4003772"/>
                  <a:pt x="5456658" y="4001663"/>
                  <a:pt x="5454057" y="4001663"/>
                </a:cubicBezTo>
                <a:lnTo>
                  <a:pt x="5406962" y="4001663"/>
                </a:lnTo>
                <a:cubicBezTo>
                  <a:pt x="5404361" y="4001663"/>
                  <a:pt x="5402252" y="4003772"/>
                  <a:pt x="5402252" y="4006373"/>
                </a:cubicBezTo>
                <a:lnTo>
                  <a:pt x="5402252" y="4310102"/>
                </a:lnTo>
                <a:cubicBezTo>
                  <a:pt x="5402158" y="4310095"/>
                  <a:pt x="5402073" y="4310066"/>
                  <a:pt x="5401987" y="4310036"/>
                </a:cubicBezTo>
                <a:lnTo>
                  <a:pt x="5401987" y="4720751"/>
                </a:lnTo>
                <a:cubicBezTo>
                  <a:pt x="5401987" y="4783176"/>
                  <a:pt x="5351382" y="4833781"/>
                  <a:pt x="5288958" y="4833781"/>
                </a:cubicBezTo>
                <a:cubicBezTo>
                  <a:pt x="5226533" y="4833781"/>
                  <a:pt x="5175928" y="4783176"/>
                  <a:pt x="5175928" y="4720751"/>
                </a:cubicBezTo>
                <a:lnTo>
                  <a:pt x="5175928" y="4009528"/>
                </a:lnTo>
                <a:lnTo>
                  <a:pt x="5175928" y="3923154"/>
                </a:lnTo>
                <a:lnTo>
                  <a:pt x="5175928" y="3904862"/>
                </a:lnTo>
                <a:cubicBezTo>
                  <a:pt x="5175928" y="3878125"/>
                  <a:pt x="5179407" y="3852200"/>
                  <a:pt x="5187098" y="3827823"/>
                </a:cubicBezTo>
                <a:cubicBezTo>
                  <a:pt x="5189197" y="3820317"/>
                  <a:pt x="5188960" y="3810941"/>
                  <a:pt x="5193946" y="3805111"/>
                </a:cubicBezTo>
                <a:cubicBezTo>
                  <a:pt x="5239334" y="3688101"/>
                  <a:pt x="5357559" y="3608415"/>
                  <a:pt x="5490667" y="3608415"/>
                </a:cubicBezTo>
                <a:close/>
                <a:moveTo>
                  <a:pt x="1628775" y="3287598"/>
                </a:moveTo>
                <a:lnTo>
                  <a:pt x="2162175" y="3749560"/>
                </a:lnTo>
                <a:lnTo>
                  <a:pt x="2162175" y="3406660"/>
                </a:lnTo>
                <a:lnTo>
                  <a:pt x="2581275" y="3406660"/>
                </a:lnTo>
                <a:lnTo>
                  <a:pt x="2581275" y="4121035"/>
                </a:lnTo>
                <a:lnTo>
                  <a:pt x="3219450" y="4678248"/>
                </a:lnTo>
                <a:lnTo>
                  <a:pt x="3219450" y="5078298"/>
                </a:lnTo>
                <a:lnTo>
                  <a:pt x="1619250" y="3711460"/>
                </a:lnTo>
                <a:lnTo>
                  <a:pt x="0" y="5087823"/>
                </a:lnTo>
                <a:lnTo>
                  <a:pt x="0" y="4683010"/>
                </a:lnTo>
                <a:lnTo>
                  <a:pt x="1628775" y="3287598"/>
                </a:lnTo>
                <a:close/>
                <a:moveTo>
                  <a:pt x="5774878" y="3043007"/>
                </a:moveTo>
                <a:cubicBezTo>
                  <a:pt x="5912535" y="3043007"/>
                  <a:pt x="6024128" y="3154600"/>
                  <a:pt x="6024128" y="3292258"/>
                </a:cubicBezTo>
                <a:cubicBezTo>
                  <a:pt x="6024128" y="3429916"/>
                  <a:pt x="5912535" y="3541509"/>
                  <a:pt x="5774878" y="3541509"/>
                </a:cubicBezTo>
                <a:cubicBezTo>
                  <a:pt x="5637220" y="3541509"/>
                  <a:pt x="5525627" y="3429916"/>
                  <a:pt x="5525627" y="3292258"/>
                </a:cubicBezTo>
                <a:cubicBezTo>
                  <a:pt x="5525627" y="3154600"/>
                  <a:pt x="5637220" y="3043007"/>
                  <a:pt x="5774878" y="3043007"/>
                </a:cubicBezTo>
                <a:close/>
                <a:moveTo>
                  <a:pt x="3706676" y="0"/>
                </a:moveTo>
                <a:cubicBezTo>
                  <a:pt x="3792547" y="0"/>
                  <a:pt x="3862160" y="69613"/>
                  <a:pt x="3862160" y="155484"/>
                </a:cubicBezTo>
                <a:lnTo>
                  <a:pt x="3862160" y="441065"/>
                </a:lnTo>
                <a:cubicBezTo>
                  <a:pt x="5132433" y="429791"/>
                  <a:pt x="6017330" y="1655571"/>
                  <a:pt x="5919923" y="2822641"/>
                </a:cubicBezTo>
                <a:cubicBezTo>
                  <a:pt x="5791663" y="2493852"/>
                  <a:pt x="5514091" y="2377237"/>
                  <a:pt x="5181510" y="2378505"/>
                </a:cubicBezTo>
                <a:cubicBezTo>
                  <a:pt x="4848929" y="2379773"/>
                  <a:pt x="4494073" y="2571652"/>
                  <a:pt x="4444815" y="2822641"/>
                </a:cubicBezTo>
                <a:lnTo>
                  <a:pt x="4443372" y="2822641"/>
                </a:lnTo>
                <a:cubicBezTo>
                  <a:pt x="4401101" y="2607251"/>
                  <a:pt x="4165985" y="2434459"/>
                  <a:pt x="3862160" y="2390781"/>
                </a:cubicBezTo>
                <a:lnTo>
                  <a:pt x="3862160" y="5261042"/>
                </a:lnTo>
                <a:lnTo>
                  <a:pt x="3864701" y="5261042"/>
                </a:lnTo>
                <a:cubicBezTo>
                  <a:pt x="3877673" y="5554276"/>
                  <a:pt x="3869214" y="5785597"/>
                  <a:pt x="4217943" y="5771650"/>
                </a:cubicBezTo>
                <a:cubicBezTo>
                  <a:pt x="4278540" y="5766115"/>
                  <a:pt x="4453436" y="5808208"/>
                  <a:pt x="4444978" y="5457393"/>
                </a:cubicBezTo>
                <a:cubicBezTo>
                  <a:pt x="4443663" y="5328806"/>
                  <a:pt x="4699522" y="5262131"/>
                  <a:pt x="4752975" y="5452631"/>
                </a:cubicBezTo>
                <a:cubicBezTo>
                  <a:pt x="4753791" y="5579088"/>
                  <a:pt x="4747464" y="5665061"/>
                  <a:pt x="4726849" y="5774848"/>
                </a:cubicBezTo>
                <a:cubicBezTo>
                  <a:pt x="4685733" y="5974306"/>
                  <a:pt x="4523173" y="6107090"/>
                  <a:pt x="4239169" y="6123191"/>
                </a:cubicBezTo>
                <a:cubicBezTo>
                  <a:pt x="3962672" y="6122714"/>
                  <a:pt x="3771900" y="6072232"/>
                  <a:pt x="3635897" y="5781243"/>
                </a:cubicBezTo>
                <a:cubicBezTo>
                  <a:pt x="3609907" y="5707094"/>
                  <a:pt x="3562787" y="5570963"/>
                  <a:pt x="3551270" y="5410743"/>
                </a:cubicBezTo>
                <a:cubicBezTo>
                  <a:pt x="3551192" y="5410615"/>
                  <a:pt x="3551192" y="5410486"/>
                  <a:pt x="3551192" y="5410358"/>
                </a:cubicBezTo>
                <a:lnTo>
                  <a:pt x="3551192" y="5409089"/>
                </a:lnTo>
                <a:cubicBezTo>
                  <a:pt x="3547293" y="5361538"/>
                  <a:pt x="3546948" y="5311848"/>
                  <a:pt x="3551192" y="5261042"/>
                </a:cubicBezTo>
                <a:lnTo>
                  <a:pt x="3551192" y="2390781"/>
                </a:lnTo>
                <a:cubicBezTo>
                  <a:pt x="3247367" y="2434459"/>
                  <a:pt x="3012252" y="2607252"/>
                  <a:pt x="2969980" y="2822641"/>
                </a:cubicBezTo>
                <a:lnTo>
                  <a:pt x="2968539" y="2822641"/>
                </a:lnTo>
                <a:cubicBezTo>
                  <a:pt x="2919281" y="2571652"/>
                  <a:pt x="2608165" y="2378505"/>
                  <a:pt x="2231843" y="2378505"/>
                </a:cubicBezTo>
                <a:cubicBezTo>
                  <a:pt x="1855522" y="2378505"/>
                  <a:pt x="1544406" y="2571652"/>
                  <a:pt x="1495147" y="2822641"/>
                </a:cubicBezTo>
                <a:lnTo>
                  <a:pt x="1487260" y="2822641"/>
                </a:lnTo>
                <a:cubicBezTo>
                  <a:pt x="1397711" y="1363827"/>
                  <a:pt x="2570662" y="471089"/>
                  <a:pt x="3551192" y="435206"/>
                </a:cubicBezTo>
                <a:lnTo>
                  <a:pt x="3551192" y="155484"/>
                </a:lnTo>
                <a:cubicBezTo>
                  <a:pt x="3551192" y="69613"/>
                  <a:pt x="3620805" y="0"/>
                  <a:pt x="3706676" y="0"/>
                </a:cubicBezTo>
                <a:close/>
              </a:path>
            </a:pathLst>
          </a:custGeom>
          <a:solidFill>
            <a:srgbClr val="5E83BD"/>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505050"/>
              </a:solidFill>
              <a:effectLst/>
              <a:uLnTx/>
              <a:uFillTx/>
              <a:latin typeface="Segoe UI"/>
              <a:ea typeface="+mn-ea"/>
              <a:cs typeface="+mn-cs"/>
            </a:endParaRPr>
          </a:p>
        </p:txBody>
      </p:sp>
      <p:pic>
        <p:nvPicPr>
          <p:cNvPr id="228" name="Picture 227"/>
          <p:cNvPicPr>
            <a:picLocks noChangeAspect="1"/>
          </p:cNvPicPr>
          <p:nvPr/>
        </p:nvPicPr>
        <p:blipFill>
          <a:blip r:embed="rId9">
            <a:duotone>
              <a:prstClr val="black"/>
              <a:schemeClr val="tx2">
                <a:tint val="45000"/>
                <a:satMod val="400000"/>
              </a:schemeClr>
            </a:duotone>
          </a:blip>
          <a:stretch>
            <a:fillRect/>
          </a:stretch>
        </p:blipFill>
        <p:spPr>
          <a:xfrm>
            <a:off x="7978475" y="2198242"/>
            <a:ext cx="684940" cy="540742"/>
          </a:xfrm>
          <a:prstGeom prst="rect">
            <a:avLst/>
          </a:prstGeom>
          <a:noFill/>
          <a:ln>
            <a:noFill/>
          </a:ln>
        </p:spPr>
      </p:pic>
      <p:sp>
        <p:nvSpPr>
          <p:cNvPr id="229" name="Oval 228"/>
          <p:cNvSpPr/>
          <p:nvPr/>
        </p:nvSpPr>
        <p:spPr>
          <a:xfrm>
            <a:off x="5155940" y="2172106"/>
            <a:ext cx="2761051" cy="1882772"/>
          </a:xfrm>
          <a:prstGeom prst="ellipse">
            <a:avLst/>
          </a:prstGeom>
          <a:solidFill>
            <a:srgbClr val="E4E4E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505050"/>
              </a:solidFill>
              <a:effectLst/>
              <a:uLnTx/>
              <a:uFillTx/>
              <a:latin typeface="Segoe UI"/>
              <a:ea typeface="+mn-ea"/>
              <a:cs typeface="+mn-cs"/>
            </a:endParaRPr>
          </a:p>
        </p:txBody>
      </p:sp>
      <p:sp>
        <p:nvSpPr>
          <p:cNvPr id="230" name="TextBox 229"/>
          <p:cNvSpPr txBox="1"/>
          <p:nvPr/>
        </p:nvSpPr>
        <p:spPr>
          <a:xfrm>
            <a:off x="3702224" y="2759862"/>
            <a:ext cx="541815" cy="153888"/>
          </a:xfrm>
          <a:prstGeom prst="rect">
            <a:avLst/>
          </a:prstGeom>
        </p:spPr>
        <p:txBody>
          <a:bodyPr vert="horz" wrap="none" lIns="0" tIns="0" rIns="0" bIns="0" rtlCol="0" anchor="t">
            <a:sp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rPr>
              <a:t>Insurance</a:t>
            </a:r>
          </a:p>
        </p:txBody>
      </p:sp>
      <p:sp>
        <p:nvSpPr>
          <p:cNvPr id="231" name="TextBox 230"/>
          <p:cNvSpPr txBox="1"/>
          <p:nvPr/>
        </p:nvSpPr>
        <p:spPr>
          <a:xfrm>
            <a:off x="3749754" y="3337883"/>
            <a:ext cx="336631" cy="153888"/>
          </a:xfrm>
          <a:prstGeom prst="rect">
            <a:avLst/>
          </a:prstGeom>
        </p:spPr>
        <p:txBody>
          <a:bodyPr vert="horz" wrap="none" lIns="0" tIns="0" rIns="0" bIns="0" rtlCol="0" anchor="t">
            <a:sp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rPr>
              <a:t>Travel</a:t>
            </a:r>
          </a:p>
        </p:txBody>
      </p:sp>
      <p:sp>
        <p:nvSpPr>
          <p:cNvPr id="232" name="TextBox 231"/>
          <p:cNvSpPr txBox="1"/>
          <p:nvPr/>
        </p:nvSpPr>
        <p:spPr>
          <a:xfrm>
            <a:off x="5824495" y="2884303"/>
            <a:ext cx="561051" cy="153888"/>
          </a:xfrm>
          <a:prstGeom prst="rect">
            <a:avLst/>
          </a:prstGeom>
        </p:spPr>
        <p:txBody>
          <a:bodyPr vert="horz" wrap="none" lIns="0" tIns="0" rIns="0" bIns="0" rtlCol="0" anchor="t">
            <a:sp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rPr>
              <a:t>Telemetry</a:t>
            </a:r>
          </a:p>
        </p:txBody>
      </p:sp>
      <p:sp>
        <p:nvSpPr>
          <p:cNvPr id="233" name="TextBox 232"/>
          <p:cNvSpPr txBox="1"/>
          <p:nvPr/>
        </p:nvSpPr>
        <p:spPr>
          <a:xfrm>
            <a:off x="5750757" y="3593507"/>
            <a:ext cx="708527" cy="307777"/>
          </a:xfrm>
          <a:prstGeom prst="rect">
            <a:avLst/>
          </a:prstGeom>
        </p:spPr>
        <p:txBody>
          <a:bodyPr vert="horz" wrap="none" lIns="0" tIns="0" rIns="0" bIns="0" rtlCol="0" anchor="t">
            <a:sp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rPr>
              <a:t>Natural User</a:t>
            </a:r>
            <a:br>
              <a:rPr kumimoji="0" lang="en-US" sz="10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rPr>
            </a:br>
            <a:r>
              <a:rPr kumimoji="0" lang="en-US" sz="10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rPr>
              <a:t>Experience</a:t>
            </a:r>
          </a:p>
        </p:txBody>
      </p:sp>
      <p:sp>
        <p:nvSpPr>
          <p:cNvPr id="234" name="TextBox 233"/>
          <p:cNvSpPr txBox="1"/>
          <p:nvPr/>
        </p:nvSpPr>
        <p:spPr>
          <a:xfrm>
            <a:off x="6703761" y="3593507"/>
            <a:ext cx="594714" cy="307777"/>
          </a:xfrm>
          <a:prstGeom prst="rect">
            <a:avLst/>
          </a:prstGeom>
        </p:spPr>
        <p:txBody>
          <a:bodyPr vert="horz" wrap="none" lIns="0" tIns="0" rIns="0" bIns="0" rtlCol="0" anchor="t">
            <a:sp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rPr>
              <a:t>Advanced </a:t>
            </a:r>
            <a:br>
              <a:rPr kumimoji="0" lang="en-US" sz="10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rPr>
            </a:br>
            <a:r>
              <a:rPr kumimoji="0" lang="en-US" sz="10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rPr>
              <a:t>Analytics</a:t>
            </a:r>
          </a:p>
        </p:txBody>
      </p:sp>
      <p:sp>
        <p:nvSpPr>
          <p:cNvPr id="235" name="TextBox 234"/>
          <p:cNvSpPr txBox="1"/>
          <p:nvPr/>
        </p:nvSpPr>
        <p:spPr>
          <a:xfrm>
            <a:off x="6717685" y="2807359"/>
            <a:ext cx="453650" cy="307777"/>
          </a:xfrm>
          <a:prstGeom prst="rect">
            <a:avLst/>
          </a:prstGeom>
        </p:spPr>
        <p:txBody>
          <a:bodyPr vert="horz" wrap="none" lIns="0" tIns="0" rIns="0" bIns="0" rtlCol="0" anchor="t">
            <a:sp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Cloud</a:t>
            </a:r>
            <a:br>
              <a:rPr kumimoji="0" lang="en-US" sz="10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br>
            <a:r>
              <a:rPr kumimoji="0" lang="en-US" sz="10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Services</a:t>
            </a:r>
          </a:p>
        </p:txBody>
      </p:sp>
      <p:sp>
        <p:nvSpPr>
          <p:cNvPr id="236" name="TextBox 235"/>
          <p:cNvSpPr txBox="1"/>
          <p:nvPr/>
        </p:nvSpPr>
        <p:spPr>
          <a:xfrm>
            <a:off x="4444344" y="2759862"/>
            <a:ext cx="314189" cy="153888"/>
          </a:xfrm>
          <a:prstGeom prst="rect">
            <a:avLst/>
          </a:prstGeom>
        </p:spPr>
        <p:txBody>
          <a:bodyPr vert="horz" wrap="none" lIns="0" tIns="0" rIns="0" bIns="0" rtlCol="0" anchor="t">
            <a:sp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rPr>
              <a:t>Retail</a:t>
            </a:r>
          </a:p>
        </p:txBody>
      </p:sp>
      <p:pic>
        <p:nvPicPr>
          <p:cNvPr id="237" name="Picture 236"/>
          <p:cNvPicPr>
            <a:picLocks noChangeAspect="1"/>
          </p:cNvPicPr>
          <p:nvPr/>
        </p:nvPicPr>
        <p:blipFill>
          <a:blip r:embed="rId10">
            <a:duotone>
              <a:prstClr val="black"/>
              <a:schemeClr val="tx2">
                <a:tint val="45000"/>
                <a:satMod val="400000"/>
              </a:schemeClr>
            </a:duotone>
          </a:blip>
          <a:stretch>
            <a:fillRect/>
          </a:stretch>
        </p:blipFill>
        <p:spPr>
          <a:xfrm>
            <a:off x="6671674" y="2327410"/>
            <a:ext cx="457978" cy="457978"/>
          </a:xfrm>
          <a:prstGeom prst="rect">
            <a:avLst/>
          </a:prstGeom>
          <a:solidFill>
            <a:schemeClr val="bg1">
              <a:alpha val="0"/>
            </a:schemeClr>
          </a:solidFill>
        </p:spPr>
      </p:pic>
      <p:sp>
        <p:nvSpPr>
          <p:cNvPr id="238" name="Rounded Rectangle 41"/>
          <p:cNvSpPr>
            <a:spLocks noChangeAspect="1"/>
          </p:cNvSpPr>
          <p:nvPr/>
        </p:nvSpPr>
        <p:spPr>
          <a:xfrm flipH="1">
            <a:off x="5892844" y="2392520"/>
            <a:ext cx="357613" cy="411480"/>
          </a:xfrm>
          <a:custGeom>
            <a:avLst/>
            <a:gdLst/>
            <a:ahLst/>
            <a:cxnLst/>
            <a:rect l="l" t="t" r="r" b="b"/>
            <a:pathLst>
              <a:path w="3395325" h="3906767">
                <a:moveTo>
                  <a:pt x="2109438" y="2964088"/>
                </a:moveTo>
                <a:lnTo>
                  <a:pt x="2204408" y="3359330"/>
                </a:lnTo>
                <a:lnTo>
                  <a:pt x="1190916" y="3359330"/>
                </a:lnTo>
                <a:lnTo>
                  <a:pt x="1285886" y="2964088"/>
                </a:lnTo>
                <a:close/>
                <a:moveTo>
                  <a:pt x="1969776" y="2382850"/>
                </a:moveTo>
                <a:lnTo>
                  <a:pt x="2064746" y="2778092"/>
                </a:lnTo>
                <a:lnTo>
                  <a:pt x="1330578" y="2778092"/>
                </a:lnTo>
                <a:lnTo>
                  <a:pt x="1425547" y="2382850"/>
                </a:lnTo>
                <a:close/>
                <a:moveTo>
                  <a:pt x="1790665" y="1637428"/>
                </a:moveTo>
                <a:lnTo>
                  <a:pt x="1925085" y="2196853"/>
                </a:lnTo>
                <a:lnTo>
                  <a:pt x="1470239" y="2196853"/>
                </a:lnTo>
                <a:lnTo>
                  <a:pt x="1604659" y="1637428"/>
                </a:lnTo>
                <a:cubicBezTo>
                  <a:pt x="1634698" y="1643588"/>
                  <a:pt x="1665803" y="1646819"/>
                  <a:pt x="1697663" y="1646819"/>
                </a:cubicBezTo>
                <a:cubicBezTo>
                  <a:pt x="1729522" y="1646819"/>
                  <a:pt x="1760626" y="1643588"/>
                  <a:pt x="1790665" y="1637428"/>
                </a:cubicBezTo>
                <a:close/>
                <a:moveTo>
                  <a:pt x="1697663" y="724602"/>
                </a:moveTo>
                <a:cubicBezTo>
                  <a:pt x="1443000" y="724602"/>
                  <a:pt x="1236555" y="931048"/>
                  <a:pt x="1236555" y="1185710"/>
                </a:cubicBezTo>
                <a:cubicBezTo>
                  <a:pt x="1236555" y="1340123"/>
                  <a:pt x="1312453" y="1476808"/>
                  <a:pt x="1429610" y="1559618"/>
                </a:cubicBezTo>
                <a:lnTo>
                  <a:pt x="865631" y="3906767"/>
                </a:lnTo>
                <a:lnTo>
                  <a:pt x="1059377" y="3906767"/>
                </a:lnTo>
                <a:lnTo>
                  <a:pt x="1146225" y="3545326"/>
                </a:lnTo>
                <a:lnTo>
                  <a:pt x="2249099" y="3545326"/>
                </a:lnTo>
                <a:lnTo>
                  <a:pt x="2335948" y="3906767"/>
                </a:lnTo>
                <a:lnTo>
                  <a:pt x="2529694" y="3906767"/>
                </a:lnTo>
                <a:lnTo>
                  <a:pt x="1965714" y="1559618"/>
                </a:lnTo>
                <a:cubicBezTo>
                  <a:pt x="2082871" y="1476809"/>
                  <a:pt x="2158771" y="1340123"/>
                  <a:pt x="2158771" y="1185710"/>
                </a:cubicBezTo>
                <a:cubicBezTo>
                  <a:pt x="2158771" y="931048"/>
                  <a:pt x="1952325" y="724602"/>
                  <a:pt x="1697663" y="724602"/>
                </a:cubicBezTo>
                <a:close/>
                <a:moveTo>
                  <a:pt x="1063715" y="545025"/>
                </a:moveTo>
                <a:cubicBezTo>
                  <a:pt x="1049345" y="544674"/>
                  <a:pt x="1034632" y="549414"/>
                  <a:pt x="1022713" y="560818"/>
                </a:cubicBezTo>
                <a:cubicBezTo>
                  <a:pt x="770813" y="802271"/>
                  <a:pt x="765578" y="1027305"/>
                  <a:pt x="747215" y="1173536"/>
                </a:cubicBezTo>
                <a:cubicBezTo>
                  <a:pt x="739801" y="1505952"/>
                  <a:pt x="857050" y="1694426"/>
                  <a:pt x="1000492" y="1840570"/>
                </a:cubicBezTo>
                <a:cubicBezTo>
                  <a:pt x="1054453" y="1891173"/>
                  <a:pt x="1140637" y="1815511"/>
                  <a:pt x="1085185" y="1760438"/>
                </a:cubicBezTo>
                <a:cubicBezTo>
                  <a:pt x="956796" y="1635789"/>
                  <a:pt x="856528" y="1399455"/>
                  <a:pt x="869039" y="1153582"/>
                </a:cubicBezTo>
                <a:cubicBezTo>
                  <a:pt x="890975" y="989410"/>
                  <a:pt x="930075" y="808796"/>
                  <a:pt x="1099057" y="643121"/>
                </a:cubicBezTo>
                <a:cubicBezTo>
                  <a:pt x="1130910" y="609668"/>
                  <a:pt x="1123743" y="577687"/>
                  <a:pt x="1102654" y="559774"/>
                </a:cubicBezTo>
                <a:cubicBezTo>
                  <a:pt x="1092110" y="550817"/>
                  <a:pt x="1078085" y="545376"/>
                  <a:pt x="1063715" y="545025"/>
                </a:cubicBezTo>
                <a:close/>
                <a:moveTo>
                  <a:pt x="2331610" y="545025"/>
                </a:moveTo>
                <a:cubicBezTo>
                  <a:pt x="2317240" y="545376"/>
                  <a:pt x="2303215" y="550817"/>
                  <a:pt x="2292671" y="559774"/>
                </a:cubicBezTo>
                <a:cubicBezTo>
                  <a:pt x="2271582" y="577687"/>
                  <a:pt x="2264415" y="609668"/>
                  <a:pt x="2296268" y="643121"/>
                </a:cubicBezTo>
                <a:cubicBezTo>
                  <a:pt x="2465250" y="808796"/>
                  <a:pt x="2504350" y="989410"/>
                  <a:pt x="2526286" y="1153582"/>
                </a:cubicBezTo>
                <a:cubicBezTo>
                  <a:pt x="2538797" y="1399455"/>
                  <a:pt x="2438529" y="1635789"/>
                  <a:pt x="2310140" y="1760438"/>
                </a:cubicBezTo>
                <a:cubicBezTo>
                  <a:pt x="2254687" y="1815511"/>
                  <a:pt x="2340872" y="1891173"/>
                  <a:pt x="2394833" y="1840570"/>
                </a:cubicBezTo>
                <a:cubicBezTo>
                  <a:pt x="2538274" y="1694426"/>
                  <a:pt x="2655523" y="1505952"/>
                  <a:pt x="2648110" y="1173536"/>
                </a:cubicBezTo>
                <a:cubicBezTo>
                  <a:pt x="2629747" y="1027305"/>
                  <a:pt x="2624512" y="802271"/>
                  <a:pt x="2372611" y="560818"/>
                </a:cubicBezTo>
                <a:cubicBezTo>
                  <a:pt x="2360693" y="549414"/>
                  <a:pt x="2345980" y="544674"/>
                  <a:pt x="2331610" y="545025"/>
                </a:cubicBezTo>
                <a:close/>
                <a:moveTo>
                  <a:pt x="828913" y="291673"/>
                </a:moveTo>
                <a:cubicBezTo>
                  <a:pt x="815989" y="289908"/>
                  <a:pt x="801211" y="293968"/>
                  <a:pt x="785915" y="306733"/>
                </a:cubicBezTo>
                <a:cubicBezTo>
                  <a:pt x="443781" y="634473"/>
                  <a:pt x="419033" y="940064"/>
                  <a:pt x="397689" y="1142305"/>
                </a:cubicBezTo>
                <a:cubicBezTo>
                  <a:pt x="382149" y="1609828"/>
                  <a:pt x="581083" y="1906565"/>
                  <a:pt x="761769" y="2090535"/>
                </a:cubicBezTo>
                <a:cubicBezTo>
                  <a:pt x="799346" y="2129829"/>
                  <a:pt x="887601" y="2062907"/>
                  <a:pt x="838637" y="2007924"/>
                </a:cubicBezTo>
                <a:cubicBezTo>
                  <a:pt x="657328" y="1831500"/>
                  <a:pt x="482441" y="1474423"/>
                  <a:pt x="512957" y="1129050"/>
                </a:cubicBezTo>
                <a:cubicBezTo>
                  <a:pt x="529646" y="907207"/>
                  <a:pt x="618660" y="615352"/>
                  <a:pt x="859009" y="387076"/>
                </a:cubicBezTo>
                <a:cubicBezTo>
                  <a:pt x="879513" y="365491"/>
                  <a:pt x="876535" y="332638"/>
                  <a:pt x="860783" y="311566"/>
                </a:cubicBezTo>
                <a:cubicBezTo>
                  <a:pt x="852906" y="301030"/>
                  <a:pt x="841837" y="293438"/>
                  <a:pt x="828913" y="291673"/>
                </a:cubicBezTo>
                <a:close/>
                <a:moveTo>
                  <a:pt x="2566412" y="291673"/>
                </a:moveTo>
                <a:cubicBezTo>
                  <a:pt x="2553488" y="293438"/>
                  <a:pt x="2542419" y="301030"/>
                  <a:pt x="2534542" y="311566"/>
                </a:cubicBezTo>
                <a:cubicBezTo>
                  <a:pt x="2518790" y="332638"/>
                  <a:pt x="2515812" y="365491"/>
                  <a:pt x="2536315" y="387076"/>
                </a:cubicBezTo>
                <a:cubicBezTo>
                  <a:pt x="2776665" y="615352"/>
                  <a:pt x="2865679" y="907207"/>
                  <a:pt x="2882368" y="1129050"/>
                </a:cubicBezTo>
                <a:cubicBezTo>
                  <a:pt x="2912884" y="1474423"/>
                  <a:pt x="2737997" y="1831500"/>
                  <a:pt x="2556688" y="2007924"/>
                </a:cubicBezTo>
                <a:cubicBezTo>
                  <a:pt x="2507724" y="2062907"/>
                  <a:pt x="2595979" y="2129829"/>
                  <a:pt x="2633555" y="2090535"/>
                </a:cubicBezTo>
                <a:cubicBezTo>
                  <a:pt x="2814241" y="1906565"/>
                  <a:pt x="3013176" y="1609828"/>
                  <a:pt x="2997636" y="1142305"/>
                </a:cubicBezTo>
                <a:cubicBezTo>
                  <a:pt x="2976292" y="940064"/>
                  <a:pt x="2951543" y="634473"/>
                  <a:pt x="2609410" y="306733"/>
                </a:cubicBezTo>
                <a:cubicBezTo>
                  <a:pt x="2594114" y="293968"/>
                  <a:pt x="2579336" y="289908"/>
                  <a:pt x="2566412" y="291673"/>
                </a:cubicBezTo>
                <a:close/>
                <a:moveTo>
                  <a:pt x="542960" y="680"/>
                </a:moveTo>
                <a:cubicBezTo>
                  <a:pt x="529483" y="-1611"/>
                  <a:pt x="515449" y="1702"/>
                  <a:pt x="503281" y="13328"/>
                </a:cubicBezTo>
                <a:cubicBezTo>
                  <a:pt x="87284" y="418153"/>
                  <a:pt x="24099" y="852514"/>
                  <a:pt x="1875" y="1112311"/>
                </a:cubicBezTo>
                <a:cubicBezTo>
                  <a:pt x="-24220" y="1721200"/>
                  <a:pt x="226644" y="2117183"/>
                  <a:pt x="463779" y="2358633"/>
                </a:cubicBezTo>
                <a:cubicBezTo>
                  <a:pt x="513095" y="2410202"/>
                  <a:pt x="607607" y="2339703"/>
                  <a:pt x="553496" y="2284989"/>
                </a:cubicBezTo>
                <a:cubicBezTo>
                  <a:pt x="315566" y="2053422"/>
                  <a:pt x="84225" y="1555798"/>
                  <a:pt x="123361" y="1103410"/>
                </a:cubicBezTo>
                <a:cubicBezTo>
                  <a:pt x="144685" y="812821"/>
                  <a:pt x="269608" y="397988"/>
                  <a:pt x="583897" y="99512"/>
                </a:cubicBezTo>
                <a:cubicBezTo>
                  <a:pt x="607187" y="76413"/>
                  <a:pt x="599201" y="43242"/>
                  <a:pt x="579308" y="21659"/>
                </a:cubicBezTo>
                <a:cubicBezTo>
                  <a:pt x="569362" y="10866"/>
                  <a:pt x="556439" y="2972"/>
                  <a:pt x="542960" y="680"/>
                </a:cubicBezTo>
                <a:close/>
                <a:moveTo>
                  <a:pt x="2852365" y="680"/>
                </a:moveTo>
                <a:cubicBezTo>
                  <a:pt x="2838886" y="2972"/>
                  <a:pt x="2825963" y="10866"/>
                  <a:pt x="2816017" y="21659"/>
                </a:cubicBezTo>
                <a:cubicBezTo>
                  <a:pt x="2796124" y="43242"/>
                  <a:pt x="2788138" y="76413"/>
                  <a:pt x="2811427" y="99512"/>
                </a:cubicBezTo>
                <a:cubicBezTo>
                  <a:pt x="3125717" y="397988"/>
                  <a:pt x="3250640" y="812821"/>
                  <a:pt x="3271964" y="1103410"/>
                </a:cubicBezTo>
                <a:cubicBezTo>
                  <a:pt x="3311100" y="1555798"/>
                  <a:pt x="3079759" y="2053422"/>
                  <a:pt x="2841829" y="2284989"/>
                </a:cubicBezTo>
                <a:cubicBezTo>
                  <a:pt x="2787718" y="2339703"/>
                  <a:pt x="2882230" y="2410202"/>
                  <a:pt x="2931546" y="2358633"/>
                </a:cubicBezTo>
                <a:cubicBezTo>
                  <a:pt x="3168681" y="2117183"/>
                  <a:pt x="3419545" y="1721200"/>
                  <a:pt x="3393450" y="1112311"/>
                </a:cubicBezTo>
                <a:cubicBezTo>
                  <a:pt x="3371226" y="852514"/>
                  <a:pt x="3308041" y="418153"/>
                  <a:pt x="2892044" y="13328"/>
                </a:cubicBezTo>
                <a:cubicBezTo>
                  <a:pt x="2879876" y="1702"/>
                  <a:pt x="2865842" y="-1611"/>
                  <a:pt x="2852365" y="680"/>
                </a:cubicBezTo>
                <a:close/>
              </a:path>
            </a:pathLst>
          </a:custGeom>
          <a:solidFill>
            <a:srgbClr val="5E83BD"/>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80" rIns="68580" rtlCol="0" anchor="b"/>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505050"/>
              </a:solidFill>
              <a:effectLst/>
              <a:uLnTx/>
              <a:uFillTx/>
              <a:latin typeface="Segoe UI"/>
              <a:ea typeface="+mn-ea"/>
              <a:cs typeface="+mn-cs"/>
            </a:endParaRPr>
          </a:p>
        </p:txBody>
      </p:sp>
      <p:sp>
        <p:nvSpPr>
          <p:cNvPr id="240" name="Freeform 239"/>
          <p:cNvSpPr>
            <a:spLocks noChangeAspect="1"/>
          </p:cNvSpPr>
          <p:nvPr/>
        </p:nvSpPr>
        <p:spPr bwMode="auto">
          <a:xfrm>
            <a:off x="4384447" y="2394436"/>
            <a:ext cx="411480" cy="327429"/>
          </a:xfrm>
          <a:custGeom>
            <a:avLst/>
            <a:gdLst/>
            <a:ahLst/>
            <a:cxnLst/>
            <a:rect l="l" t="t" r="r" b="b"/>
            <a:pathLst>
              <a:path w="4250373" h="3382171">
                <a:moveTo>
                  <a:pt x="1629417" y="3012419"/>
                </a:moveTo>
                <a:cubicBezTo>
                  <a:pt x="1601799" y="3012419"/>
                  <a:pt x="1579412" y="3034807"/>
                  <a:pt x="1579411" y="3062425"/>
                </a:cubicBezTo>
                <a:cubicBezTo>
                  <a:pt x="1579412" y="3090043"/>
                  <a:pt x="1601799" y="3112430"/>
                  <a:pt x="1629417" y="3112430"/>
                </a:cubicBezTo>
                <a:lnTo>
                  <a:pt x="2622323" y="3112431"/>
                </a:lnTo>
                <a:cubicBezTo>
                  <a:pt x="2649941" y="3112431"/>
                  <a:pt x="2672329" y="3090043"/>
                  <a:pt x="2672329" y="3062425"/>
                </a:cubicBezTo>
                <a:lnTo>
                  <a:pt x="2672330" y="3062425"/>
                </a:lnTo>
                <a:cubicBezTo>
                  <a:pt x="2672330" y="3034807"/>
                  <a:pt x="2649942" y="3012419"/>
                  <a:pt x="2622324" y="3012419"/>
                </a:cubicBezTo>
                <a:close/>
                <a:moveTo>
                  <a:pt x="3267642" y="2095377"/>
                </a:moveTo>
                <a:cubicBezTo>
                  <a:pt x="3249756" y="2095377"/>
                  <a:pt x="3235256" y="2109877"/>
                  <a:pt x="3235256" y="2127763"/>
                </a:cubicBezTo>
                <a:lnTo>
                  <a:pt x="3235256" y="2279945"/>
                </a:lnTo>
                <a:cubicBezTo>
                  <a:pt x="3235256" y="2297831"/>
                  <a:pt x="3249756" y="2312331"/>
                  <a:pt x="3267642" y="2312331"/>
                </a:cubicBezTo>
                <a:lnTo>
                  <a:pt x="3397182" y="2312331"/>
                </a:lnTo>
                <a:cubicBezTo>
                  <a:pt x="3415068" y="2312331"/>
                  <a:pt x="3429568" y="2297831"/>
                  <a:pt x="3429568" y="2279945"/>
                </a:cubicBezTo>
                <a:lnTo>
                  <a:pt x="3429568" y="2127763"/>
                </a:lnTo>
                <a:cubicBezTo>
                  <a:pt x="3429568" y="2109877"/>
                  <a:pt x="3415068" y="2095377"/>
                  <a:pt x="3397182" y="2095377"/>
                </a:cubicBezTo>
                <a:close/>
                <a:moveTo>
                  <a:pt x="2939029" y="2095377"/>
                </a:moveTo>
                <a:cubicBezTo>
                  <a:pt x="2921143" y="2095377"/>
                  <a:pt x="2906643" y="2109877"/>
                  <a:pt x="2906643" y="2127763"/>
                </a:cubicBezTo>
                <a:lnTo>
                  <a:pt x="2906643" y="2279945"/>
                </a:lnTo>
                <a:cubicBezTo>
                  <a:pt x="2906643" y="2297831"/>
                  <a:pt x="2921143" y="2312331"/>
                  <a:pt x="2939029" y="2312331"/>
                </a:cubicBezTo>
                <a:lnTo>
                  <a:pt x="3068569" y="2312331"/>
                </a:lnTo>
                <a:cubicBezTo>
                  <a:pt x="3086455" y="2312331"/>
                  <a:pt x="3100955" y="2297831"/>
                  <a:pt x="3100955" y="2279945"/>
                </a:cubicBezTo>
                <a:lnTo>
                  <a:pt x="3100955" y="2127763"/>
                </a:lnTo>
                <a:cubicBezTo>
                  <a:pt x="3100955" y="2109877"/>
                  <a:pt x="3086455" y="2095377"/>
                  <a:pt x="3068569" y="2095377"/>
                </a:cubicBezTo>
                <a:close/>
                <a:moveTo>
                  <a:pt x="2615179" y="2095377"/>
                </a:moveTo>
                <a:cubicBezTo>
                  <a:pt x="2597293" y="2095377"/>
                  <a:pt x="2582793" y="2109877"/>
                  <a:pt x="2582793" y="2127763"/>
                </a:cubicBezTo>
                <a:lnTo>
                  <a:pt x="2582793" y="2279945"/>
                </a:lnTo>
                <a:cubicBezTo>
                  <a:pt x="2582793" y="2297831"/>
                  <a:pt x="2597293" y="2312331"/>
                  <a:pt x="2615179" y="2312331"/>
                </a:cubicBezTo>
                <a:lnTo>
                  <a:pt x="2744719" y="2312331"/>
                </a:lnTo>
                <a:cubicBezTo>
                  <a:pt x="2762605" y="2312331"/>
                  <a:pt x="2777105" y="2297831"/>
                  <a:pt x="2777105" y="2279945"/>
                </a:cubicBezTo>
                <a:lnTo>
                  <a:pt x="2777105" y="2127763"/>
                </a:lnTo>
                <a:cubicBezTo>
                  <a:pt x="2777105" y="2109877"/>
                  <a:pt x="2762605" y="2095377"/>
                  <a:pt x="2744719" y="2095377"/>
                </a:cubicBezTo>
                <a:close/>
                <a:moveTo>
                  <a:pt x="2615179" y="1784755"/>
                </a:moveTo>
                <a:cubicBezTo>
                  <a:pt x="2597293" y="1784755"/>
                  <a:pt x="2582793" y="1799255"/>
                  <a:pt x="2582793" y="1817141"/>
                </a:cubicBezTo>
                <a:lnTo>
                  <a:pt x="2582793" y="1969323"/>
                </a:lnTo>
                <a:cubicBezTo>
                  <a:pt x="2582793" y="1987209"/>
                  <a:pt x="2597293" y="2001709"/>
                  <a:pt x="2615179" y="2001709"/>
                </a:cubicBezTo>
                <a:lnTo>
                  <a:pt x="2744719" y="2001709"/>
                </a:lnTo>
                <a:cubicBezTo>
                  <a:pt x="2762605" y="2001709"/>
                  <a:pt x="2777105" y="1987209"/>
                  <a:pt x="2777105" y="1969323"/>
                </a:cubicBezTo>
                <a:lnTo>
                  <a:pt x="2777105" y="1817141"/>
                </a:lnTo>
                <a:cubicBezTo>
                  <a:pt x="2777105" y="1799255"/>
                  <a:pt x="2762605" y="1784755"/>
                  <a:pt x="2744719" y="1784755"/>
                </a:cubicBezTo>
                <a:close/>
                <a:moveTo>
                  <a:pt x="3267642" y="1784754"/>
                </a:moveTo>
                <a:cubicBezTo>
                  <a:pt x="3249756" y="1784754"/>
                  <a:pt x="3235256" y="1799254"/>
                  <a:pt x="3235256" y="1817140"/>
                </a:cubicBezTo>
                <a:lnTo>
                  <a:pt x="3235256" y="1969322"/>
                </a:lnTo>
                <a:cubicBezTo>
                  <a:pt x="3235256" y="1987208"/>
                  <a:pt x="3249756" y="2001708"/>
                  <a:pt x="3267642" y="2001708"/>
                </a:cubicBezTo>
                <a:lnTo>
                  <a:pt x="3397182" y="2001708"/>
                </a:lnTo>
                <a:cubicBezTo>
                  <a:pt x="3415068" y="2001708"/>
                  <a:pt x="3429568" y="1987208"/>
                  <a:pt x="3429568" y="1969322"/>
                </a:cubicBezTo>
                <a:lnTo>
                  <a:pt x="3429568" y="1817140"/>
                </a:lnTo>
                <a:cubicBezTo>
                  <a:pt x="3429568" y="1799254"/>
                  <a:pt x="3415068" y="1784754"/>
                  <a:pt x="3397182" y="1784754"/>
                </a:cubicBezTo>
                <a:close/>
                <a:moveTo>
                  <a:pt x="2939029" y="1784754"/>
                </a:moveTo>
                <a:cubicBezTo>
                  <a:pt x="2921143" y="1784754"/>
                  <a:pt x="2906643" y="1799254"/>
                  <a:pt x="2906643" y="1817140"/>
                </a:cubicBezTo>
                <a:lnTo>
                  <a:pt x="2906643" y="1969322"/>
                </a:lnTo>
                <a:cubicBezTo>
                  <a:pt x="2906643" y="1987208"/>
                  <a:pt x="2921143" y="2001708"/>
                  <a:pt x="2939029" y="2001708"/>
                </a:cubicBezTo>
                <a:lnTo>
                  <a:pt x="3068569" y="2001708"/>
                </a:lnTo>
                <a:cubicBezTo>
                  <a:pt x="3086455" y="2001708"/>
                  <a:pt x="3100955" y="1987208"/>
                  <a:pt x="3100955" y="1969322"/>
                </a:cubicBezTo>
                <a:lnTo>
                  <a:pt x="3100955" y="1817140"/>
                </a:lnTo>
                <a:cubicBezTo>
                  <a:pt x="3100955" y="1799254"/>
                  <a:pt x="3086455" y="1784754"/>
                  <a:pt x="3068569" y="1784754"/>
                </a:cubicBezTo>
                <a:close/>
                <a:moveTo>
                  <a:pt x="3267642" y="1474132"/>
                </a:moveTo>
                <a:cubicBezTo>
                  <a:pt x="3249756" y="1474132"/>
                  <a:pt x="3235256" y="1488632"/>
                  <a:pt x="3235256" y="1506518"/>
                </a:cubicBezTo>
                <a:lnTo>
                  <a:pt x="3235256" y="1658700"/>
                </a:lnTo>
                <a:cubicBezTo>
                  <a:pt x="3235256" y="1676586"/>
                  <a:pt x="3249756" y="1691086"/>
                  <a:pt x="3267642" y="1691086"/>
                </a:cubicBezTo>
                <a:lnTo>
                  <a:pt x="3397182" y="1691086"/>
                </a:lnTo>
                <a:cubicBezTo>
                  <a:pt x="3415068" y="1691086"/>
                  <a:pt x="3429568" y="1676586"/>
                  <a:pt x="3429568" y="1658700"/>
                </a:cubicBezTo>
                <a:lnTo>
                  <a:pt x="3429568" y="1506518"/>
                </a:lnTo>
                <a:cubicBezTo>
                  <a:pt x="3429568" y="1488632"/>
                  <a:pt x="3415068" y="1474132"/>
                  <a:pt x="3397182" y="1474132"/>
                </a:cubicBezTo>
                <a:close/>
                <a:moveTo>
                  <a:pt x="2630648" y="1474132"/>
                </a:moveTo>
                <a:cubicBezTo>
                  <a:pt x="2612762" y="1474132"/>
                  <a:pt x="2598262" y="1488632"/>
                  <a:pt x="2598262" y="1506518"/>
                </a:cubicBezTo>
                <a:lnTo>
                  <a:pt x="2598262" y="1658700"/>
                </a:lnTo>
                <a:cubicBezTo>
                  <a:pt x="2598262" y="1676586"/>
                  <a:pt x="2612762" y="1691086"/>
                  <a:pt x="2630648" y="1691086"/>
                </a:cubicBezTo>
                <a:lnTo>
                  <a:pt x="2760188" y="1691086"/>
                </a:lnTo>
                <a:cubicBezTo>
                  <a:pt x="2778074" y="1691086"/>
                  <a:pt x="2792574" y="1676586"/>
                  <a:pt x="2792574" y="1658700"/>
                </a:cubicBezTo>
                <a:lnTo>
                  <a:pt x="2792574" y="1506518"/>
                </a:lnTo>
                <a:cubicBezTo>
                  <a:pt x="2792574" y="1488632"/>
                  <a:pt x="2778074" y="1474132"/>
                  <a:pt x="2760188" y="1474132"/>
                </a:cubicBezTo>
                <a:close/>
                <a:moveTo>
                  <a:pt x="2939029" y="1474131"/>
                </a:moveTo>
                <a:cubicBezTo>
                  <a:pt x="2921143" y="1474131"/>
                  <a:pt x="2906643" y="1488631"/>
                  <a:pt x="2906643" y="1506517"/>
                </a:cubicBezTo>
                <a:lnTo>
                  <a:pt x="2906643" y="1658699"/>
                </a:lnTo>
                <a:cubicBezTo>
                  <a:pt x="2906643" y="1676585"/>
                  <a:pt x="2921143" y="1691085"/>
                  <a:pt x="2939029" y="1691085"/>
                </a:cubicBezTo>
                <a:lnTo>
                  <a:pt x="3068569" y="1691085"/>
                </a:lnTo>
                <a:cubicBezTo>
                  <a:pt x="3086455" y="1691085"/>
                  <a:pt x="3100955" y="1676585"/>
                  <a:pt x="3100955" y="1658699"/>
                </a:cubicBezTo>
                <a:lnTo>
                  <a:pt x="3100955" y="1506517"/>
                </a:lnTo>
                <a:cubicBezTo>
                  <a:pt x="3100955" y="1488631"/>
                  <a:pt x="3086455" y="1474131"/>
                  <a:pt x="3068569" y="1474131"/>
                </a:cubicBezTo>
                <a:close/>
                <a:moveTo>
                  <a:pt x="858205" y="1474131"/>
                </a:moveTo>
                <a:cubicBezTo>
                  <a:pt x="781049" y="1474131"/>
                  <a:pt x="718502" y="1536678"/>
                  <a:pt x="718502" y="1613834"/>
                </a:cubicBezTo>
                <a:lnTo>
                  <a:pt x="718502" y="2172628"/>
                </a:lnTo>
                <a:cubicBezTo>
                  <a:pt x="718502" y="2249784"/>
                  <a:pt x="781049" y="2312331"/>
                  <a:pt x="858205" y="2312331"/>
                </a:cubicBezTo>
                <a:lnTo>
                  <a:pt x="2214720" y="2312331"/>
                </a:lnTo>
                <a:cubicBezTo>
                  <a:pt x="2291876" y="2312331"/>
                  <a:pt x="2354423" y="2249784"/>
                  <a:pt x="2354423" y="2172628"/>
                </a:cubicBezTo>
                <a:lnTo>
                  <a:pt x="2354423" y="1613834"/>
                </a:lnTo>
                <a:cubicBezTo>
                  <a:pt x="2354423" y="1536678"/>
                  <a:pt x="2291876" y="1474131"/>
                  <a:pt x="2214720" y="1474131"/>
                </a:cubicBezTo>
                <a:close/>
                <a:moveTo>
                  <a:pt x="3252670" y="531326"/>
                </a:moveTo>
                <a:lnTo>
                  <a:pt x="2791662" y="532461"/>
                </a:lnTo>
                <a:cubicBezTo>
                  <a:pt x="2776208" y="539697"/>
                  <a:pt x="2767714" y="547454"/>
                  <a:pt x="2777626" y="582042"/>
                </a:cubicBezTo>
                <a:cubicBezTo>
                  <a:pt x="2832794" y="794356"/>
                  <a:pt x="2631505" y="1060272"/>
                  <a:pt x="2716779" y="1233013"/>
                </a:cubicBezTo>
                <a:lnTo>
                  <a:pt x="3199247" y="1239182"/>
                </a:lnTo>
                <a:cubicBezTo>
                  <a:pt x="3176593" y="924732"/>
                  <a:pt x="3363213" y="712407"/>
                  <a:pt x="3252670" y="531326"/>
                </a:cubicBezTo>
                <a:close/>
                <a:moveTo>
                  <a:pt x="722896" y="104775"/>
                </a:moveTo>
                <a:cubicBezTo>
                  <a:pt x="695620" y="104775"/>
                  <a:pt x="673508" y="126887"/>
                  <a:pt x="673508" y="154163"/>
                </a:cubicBezTo>
                <a:lnTo>
                  <a:pt x="673508" y="424618"/>
                </a:lnTo>
                <a:cubicBezTo>
                  <a:pt x="673508" y="451894"/>
                  <a:pt x="695620" y="474006"/>
                  <a:pt x="722896" y="474006"/>
                </a:cubicBezTo>
                <a:lnTo>
                  <a:pt x="1944920" y="474006"/>
                </a:lnTo>
                <a:cubicBezTo>
                  <a:pt x="1972196" y="474006"/>
                  <a:pt x="1994308" y="451894"/>
                  <a:pt x="1994308" y="424618"/>
                </a:cubicBezTo>
                <a:lnTo>
                  <a:pt x="1994308" y="154163"/>
                </a:lnTo>
                <a:cubicBezTo>
                  <a:pt x="1994308" y="126887"/>
                  <a:pt x="1972196" y="104775"/>
                  <a:pt x="1944920" y="104775"/>
                </a:cubicBezTo>
                <a:close/>
                <a:moveTo>
                  <a:pt x="576301" y="0"/>
                </a:moveTo>
                <a:lnTo>
                  <a:pt x="2091515" y="0"/>
                </a:lnTo>
                <a:cubicBezTo>
                  <a:pt x="2134272" y="0"/>
                  <a:pt x="2168933" y="34661"/>
                  <a:pt x="2168933" y="77418"/>
                </a:cubicBezTo>
                <a:lnTo>
                  <a:pt x="2168933" y="501363"/>
                </a:lnTo>
                <a:cubicBezTo>
                  <a:pt x="2168933" y="544120"/>
                  <a:pt x="2134272" y="578781"/>
                  <a:pt x="2091515" y="578781"/>
                </a:cubicBezTo>
                <a:lnTo>
                  <a:pt x="1535838" y="578781"/>
                </a:lnTo>
                <a:lnTo>
                  <a:pt x="1535838" y="1055029"/>
                </a:lnTo>
                <a:lnTo>
                  <a:pt x="2583508" y="1055029"/>
                </a:lnTo>
                <a:cubicBezTo>
                  <a:pt x="2644625" y="820055"/>
                  <a:pt x="2711359" y="699743"/>
                  <a:pt x="2623911" y="475594"/>
                </a:cubicBezTo>
                <a:cubicBezTo>
                  <a:pt x="2627086" y="446489"/>
                  <a:pt x="2646929" y="434054"/>
                  <a:pt x="2671536" y="426381"/>
                </a:cubicBezTo>
                <a:lnTo>
                  <a:pt x="3339873" y="418443"/>
                </a:lnTo>
                <a:cubicBezTo>
                  <a:pt x="3409342" y="582642"/>
                  <a:pt x="3445837" y="673041"/>
                  <a:pt x="3327420" y="1055029"/>
                </a:cubicBezTo>
                <a:lnTo>
                  <a:pt x="3504752" y="1055029"/>
                </a:lnTo>
                <a:cubicBezTo>
                  <a:pt x="3635058" y="1055029"/>
                  <a:pt x="3740691" y="1160662"/>
                  <a:pt x="3740691" y="1290968"/>
                </a:cubicBezTo>
                <a:lnTo>
                  <a:pt x="3740691" y="2355081"/>
                </a:lnTo>
                <a:lnTo>
                  <a:pt x="4250373" y="2862875"/>
                </a:lnTo>
                <a:lnTo>
                  <a:pt x="4245831" y="2862877"/>
                </a:lnTo>
                <a:lnTo>
                  <a:pt x="4245831" y="3282908"/>
                </a:lnTo>
                <a:cubicBezTo>
                  <a:pt x="4245831" y="3337729"/>
                  <a:pt x="4201389" y="3382171"/>
                  <a:pt x="4146568" y="3382171"/>
                </a:cubicBezTo>
                <a:lnTo>
                  <a:pt x="102439" y="3382171"/>
                </a:lnTo>
                <a:cubicBezTo>
                  <a:pt x="47618" y="3382171"/>
                  <a:pt x="3176" y="3337729"/>
                  <a:pt x="3176" y="3282908"/>
                </a:cubicBezTo>
                <a:lnTo>
                  <a:pt x="3176" y="2864144"/>
                </a:lnTo>
                <a:lnTo>
                  <a:pt x="0" y="2864145"/>
                </a:lnTo>
                <a:lnTo>
                  <a:pt x="3176" y="2861005"/>
                </a:lnTo>
                <a:lnTo>
                  <a:pt x="3176" y="2860970"/>
                </a:lnTo>
                <a:lnTo>
                  <a:pt x="3211" y="2860970"/>
                </a:lnTo>
                <a:lnTo>
                  <a:pt x="511811" y="2358050"/>
                </a:lnTo>
                <a:lnTo>
                  <a:pt x="512859" y="2358048"/>
                </a:lnTo>
                <a:lnTo>
                  <a:pt x="512859" y="1290968"/>
                </a:lnTo>
                <a:cubicBezTo>
                  <a:pt x="512859" y="1160662"/>
                  <a:pt x="618492" y="1055029"/>
                  <a:pt x="748798" y="1055029"/>
                </a:cubicBezTo>
                <a:lnTo>
                  <a:pt x="1131978" y="1055029"/>
                </a:lnTo>
                <a:lnTo>
                  <a:pt x="1131978" y="578781"/>
                </a:lnTo>
                <a:lnTo>
                  <a:pt x="576301" y="578781"/>
                </a:lnTo>
                <a:cubicBezTo>
                  <a:pt x="533544" y="578781"/>
                  <a:pt x="498883" y="544120"/>
                  <a:pt x="498883" y="501363"/>
                </a:cubicBezTo>
                <a:lnTo>
                  <a:pt x="498883" y="77418"/>
                </a:lnTo>
                <a:cubicBezTo>
                  <a:pt x="498883" y="34661"/>
                  <a:pt x="533544" y="0"/>
                  <a:pt x="576301" y="0"/>
                </a:cubicBezTo>
                <a:close/>
              </a:path>
            </a:pathLst>
          </a:custGeom>
          <a:solidFill>
            <a:srgbClr val="5E83BD"/>
          </a:solidFill>
          <a:ln>
            <a:noFill/>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srgbClr val="505050"/>
              </a:solidFill>
              <a:effectLst/>
              <a:uLnTx/>
              <a:uFillTx/>
              <a:latin typeface="Segoe UI"/>
              <a:ea typeface="+mn-ea"/>
              <a:cs typeface="+mn-cs"/>
            </a:endParaRPr>
          </a:p>
        </p:txBody>
      </p:sp>
      <p:sp>
        <p:nvSpPr>
          <p:cNvPr id="241" name="TextBox 240"/>
          <p:cNvSpPr txBox="1"/>
          <p:nvPr/>
        </p:nvSpPr>
        <p:spPr>
          <a:xfrm>
            <a:off x="8094874" y="2759259"/>
            <a:ext cx="436017" cy="184666"/>
          </a:xfrm>
          <a:prstGeom prst="rect">
            <a:avLst/>
          </a:prstGeom>
        </p:spPr>
        <p:txBody>
          <a:bodyPr vert="horz" wrap="none" lIns="0" tIns="0" rIns="0" bIns="0" rtlCol="0" anchor="t">
            <a:sp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rPr>
              <a:t>Dealer</a:t>
            </a:r>
          </a:p>
        </p:txBody>
      </p:sp>
      <p:sp>
        <p:nvSpPr>
          <p:cNvPr id="242" name="TextBox 241"/>
          <p:cNvSpPr txBox="1"/>
          <p:nvPr/>
        </p:nvSpPr>
        <p:spPr>
          <a:xfrm>
            <a:off x="4371441" y="3358745"/>
            <a:ext cx="359073" cy="307777"/>
          </a:xfrm>
          <a:prstGeom prst="rect">
            <a:avLst/>
          </a:prstGeom>
        </p:spPr>
        <p:txBody>
          <a:bodyPr vert="horz" wrap="none" lIns="0" tIns="0" rIns="0" bIns="0" rtlCol="0" anchor="t">
            <a:sp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rPr>
              <a:t>Public</a:t>
            </a:r>
            <a:br>
              <a:rPr kumimoji="0" lang="en-US" sz="10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rPr>
            </a:br>
            <a:r>
              <a:rPr kumimoji="0" lang="en-US" sz="10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rPr>
              <a:t>Sector</a:t>
            </a:r>
          </a:p>
        </p:txBody>
      </p:sp>
      <p:sp>
        <p:nvSpPr>
          <p:cNvPr id="243" name="TextBox 242"/>
          <p:cNvSpPr txBox="1"/>
          <p:nvPr/>
        </p:nvSpPr>
        <p:spPr>
          <a:xfrm>
            <a:off x="3604740" y="3783411"/>
            <a:ext cx="1341442" cy="332389"/>
          </a:xfrm>
          <a:prstGeom prst="rect">
            <a:avLst/>
          </a:prstGeom>
        </p:spPr>
        <p:txBody>
          <a:bodyPr vert="horz" wrap="none" lIns="91440" tIns="91440" rIns="91440" bIns="91440" rtlCol="0" anchor="t">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Manufacturer and </a:t>
            </a:r>
            <a:br>
              <a:rPr kumimoji="0" lang="en-US" sz="12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br>
            <a:r>
              <a:rPr kumimoji="0" lang="en-US" sz="1200" b="0" i="0" u="none" strike="noStrike" kern="1200" cap="none" spc="0" normalizeH="0" baseline="0" noProof="0" dirty="0">
                <a:ln>
                  <a:noFill/>
                </a:ln>
                <a:solidFill>
                  <a:srgbClr val="505050"/>
                </a:solidFill>
                <a:effectLst/>
                <a:uLnTx/>
                <a:uFillTx/>
                <a:latin typeface="Segoe UI"/>
                <a:ea typeface="Segoe UI" pitchFamily="34" charset="0"/>
                <a:cs typeface="Segoe UI" pitchFamily="34" charset="0"/>
              </a:rPr>
              <a:t>third-party services</a:t>
            </a:r>
          </a:p>
        </p:txBody>
      </p:sp>
      <p:cxnSp>
        <p:nvCxnSpPr>
          <p:cNvPr id="244" name="Straight Arrow Connector 243"/>
          <p:cNvCxnSpPr/>
          <p:nvPr/>
        </p:nvCxnSpPr>
        <p:spPr>
          <a:xfrm flipH="1">
            <a:off x="4946182" y="3067890"/>
            <a:ext cx="389137" cy="0"/>
          </a:xfrm>
          <a:prstGeom prst="straightConnector1">
            <a:avLst/>
          </a:prstGeom>
          <a:ln w="9525">
            <a:solidFill>
              <a:srgbClr val="5E83BD"/>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45" name="Straight Arrow Connector 244"/>
          <p:cNvCxnSpPr>
            <a:endCxn id="228" idx="1"/>
          </p:cNvCxnSpPr>
          <p:nvPr/>
        </p:nvCxnSpPr>
        <p:spPr>
          <a:xfrm flipV="1">
            <a:off x="7684619" y="2468613"/>
            <a:ext cx="293856" cy="418446"/>
          </a:xfrm>
          <a:prstGeom prst="straightConnector1">
            <a:avLst/>
          </a:prstGeom>
          <a:ln w="9525">
            <a:solidFill>
              <a:srgbClr val="5E83BD"/>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46" name="Straight Arrow Connector 245"/>
          <p:cNvCxnSpPr/>
          <p:nvPr/>
        </p:nvCxnSpPr>
        <p:spPr>
          <a:xfrm>
            <a:off x="7707899" y="3221159"/>
            <a:ext cx="270576" cy="259701"/>
          </a:xfrm>
          <a:prstGeom prst="straightConnector1">
            <a:avLst/>
          </a:prstGeom>
          <a:ln w="9525">
            <a:solidFill>
              <a:srgbClr val="5E83BD"/>
            </a:solidFill>
            <a:tailEnd type="triangle" w="lg" len="med"/>
          </a:ln>
        </p:spPr>
        <p:style>
          <a:lnRef idx="1">
            <a:schemeClr val="accent1"/>
          </a:lnRef>
          <a:fillRef idx="0">
            <a:schemeClr val="accent1"/>
          </a:fillRef>
          <a:effectRef idx="0">
            <a:schemeClr val="accent1"/>
          </a:effectRef>
          <a:fontRef idx="minor">
            <a:schemeClr val="tx1"/>
          </a:fontRef>
        </p:style>
      </p:cxnSp>
      <p:grpSp>
        <p:nvGrpSpPr>
          <p:cNvPr id="247" name="Group 246"/>
          <p:cNvGrpSpPr>
            <a:grpSpLocks noChangeAspect="1"/>
          </p:cNvGrpSpPr>
          <p:nvPr/>
        </p:nvGrpSpPr>
        <p:grpSpPr>
          <a:xfrm>
            <a:off x="8113686" y="3354013"/>
            <a:ext cx="549729" cy="262625"/>
            <a:chOff x="335107" y="1984056"/>
            <a:chExt cx="8623119" cy="4119564"/>
          </a:xfrm>
          <a:solidFill>
            <a:srgbClr val="5E83BD"/>
          </a:solidFill>
        </p:grpSpPr>
        <p:sp>
          <p:nvSpPr>
            <p:cNvPr id="248" name="Freeform 247"/>
            <p:cNvSpPr/>
            <p:nvPr/>
          </p:nvSpPr>
          <p:spPr>
            <a:xfrm>
              <a:off x="5423935" y="2187537"/>
              <a:ext cx="1275676" cy="3054785"/>
            </a:xfrm>
            <a:custGeom>
              <a:avLst/>
              <a:gdLst/>
              <a:ahLst/>
              <a:cxnLst/>
              <a:rect l="l" t="t" r="r" b="b"/>
              <a:pathLst>
                <a:path w="1275676" h="3054785">
                  <a:moveTo>
                    <a:pt x="909893" y="2571265"/>
                  </a:moveTo>
                  <a:cubicBezTo>
                    <a:pt x="927578" y="2591556"/>
                    <a:pt x="943146" y="2624131"/>
                    <a:pt x="953053" y="2679738"/>
                  </a:cubicBezTo>
                  <a:cubicBezTo>
                    <a:pt x="966614" y="2755857"/>
                    <a:pt x="1015135" y="2902136"/>
                    <a:pt x="1032104" y="3045768"/>
                  </a:cubicBezTo>
                  <a:lnTo>
                    <a:pt x="926033" y="3054785"/>
                  </a:lnTo>
                  <a:lnTo>
                    <a:pt x="843515" y="2994064"/>
                  </a:lnTo>
                  <a:lnTo>
                    <a:pt x="791128" y="2951202"/>
                  </a:lnTo>
                  <a:lnTo>
                    <a:pt x="789242" y="2950511"/>
                  </a:lnTo>
                  <a:cubicBezTo>
                    <a:pt x="821800" y="2828680"/>
                    <a:pt x="864407" y="2700040"/>
                    <a:pt x="909893" y="2571265"/>
                  </a:cubicBezTo>
                  <a:close/>
                  <a:moveTo>
                    <a:pt x="810922" y="2515507"/>
                  </a:moveTo>
                  <a:cubicBezTo>
                    <a:pt x="813163" y="2515338"/>
                    <a:pt x="815461" y="2515417"/>
                    <a:pt x="817564" y="2517542"/>
                  </a:cubicBezTo>
                  <a:cubicBezTo>
                    <a:pt x="792015" y="2589329"/>
                    <a:pt x="769100" y="2660102"/>
                    <a:pt x="749052" y="2731145"/>
                  </a:cubicBezTo>
                  <a:cubicBezTo>
                    <a:pt x="728674" y="2665687"/>
                    <a:pt x="718117" y="2603286"/>
                    <a:pt x="714164" y="2542305"/>
                  </a:cubicBezTo>
                  <a:cubicBezTo>
                    <a:pt x="724867" y="2542383"/>
                    <a:pt x="734802" y="2542128"/>
                    <a:pt x="743503" y="2541626"/>
                  </a:cubicBezTo>
                  <a:cubicBezTo>
                    <a:pt x="774459" y="2539840"/>
                    <a:pt x="790235" y="2517070"/>
                    <a:pt x="810922" y="2515507"/>
                  </a:cubicBezTo>
                  <a:close/>
                  <a:moveTo>
                    <a:pt x="396204" y="2451912"/>
                  </a:moveTo>
                  <a:cubicBezTo>
                    <a:pt x="411647" y="2483872"/>
                    <a:pt x="433855" y="2503483"/>
                    <a:pt x="462515" y="2517813"/>
                  </a:cubicBezTo>
                  <a:cubicBezTo>
                    <a:pt x="495852" y="2534482"/>
                    <a:pt x="539509" y="2532894"/>
                    <a:pt x="586340" y="2536863"/>
                  </a:cubicBezTo>
                  <a:cubicBezTo>
                    <a:pt x="606520" y="2538574"/>
                    <a:pt x="630828" y="2540136"/>
                    <a:pt x="655265" y="2541066"/>
                  </a:cubicBezTo>
                  <a:cubicBezTo>
                    <a:pt x="657458" y="2571620"/>
                    <a:pt x="660070" y="2600527"/>
                    <a:pt x="663066" y="2624898"/>
                  </a:cubicBezTo>
                  <a:cubicBezTo>
                    <a:pt x="668463" y="2668822"/>
                    <a:pt x="677606" y="2707999"/>
                    <a:pt x="686242" y="2744162"/>
                  </a:cubicBezTo>
                  <a:cubicBezTo>
                    <a:pt x="632838" y="2717984"/>
                    <a:pt x="514903" y="2670213"/>
                    <a:pt x="514903" y="2670213"/>
                  </a:cubicBezTo>
                  <a:lnTo>
                    <a:pt x="333928" y="2589251"/>
                  </a:lnTo>
                  <a:lnTo>
                    <a:pt x="323202" y="2584990"/>
                  </a:lnTo>
                  <a:lnTo>
                    <a:pt x="327453" y="2567034"/>
                  </a:lnTo>
                  <a:cubicBezTo>
                    <a:pt x="340667" y="2528713"/>
                    <a:pt x="369951" y="2489259"/>
                    <a:pt x="396204" y="2451912"/>
                  </a:cubicBezTo>
                  <a:close/>
                  <a:moveTo>
                    <a:pt x="356384" y="1755197"/>
                  </a:moveTo>
                  <a:lnTo>
                    <a:pt x="361013" y="1949619"/>
                  </a:lnTo>
                  <a:cubicBezTo>
                    <a:pt x="293278" y="2065222"/>
                    <a:pt x="276288" y="2307687"/>
                    <a:pt x="265731" y="2563792"/>
                  </a:cubicBezTo>
                  <a:cubicBezTo>
                    <a:pt x="245616" y="2556203"/>
                    <a:pt x="227467" y="2546676"/>
                    <a:pt x="210103" y="2527338"/>
                  </a:cubicBezTo>
                  <a:cubicBezTo>
                    <a:pt x="175178" y="2488444"/>
                    <a:pt x="152159" y="2401925"/>
                    <a:pt x="124378" y="2355888"/>
                  </a:cubicBezTo>
                  <a:cubicBezTo>
                    <a:pt x="96597" y="2309851"/>
                    <a:pt x="64052" y="2271750"/>
                    <a:pt x="43415" y="2251113"/>
                  </a:cubicBezTo>
                  <a:cubicBezTo>
                    <a:pt x="22778" y="2230476"/>
                    <a:pt x="-4209" y="2253494"/>
                    <a:pt x="553" y="2232063"/>
                  </a:cubicBezTo>
                  <a:cubicBezTo>
                    <a:pt x="5315" y="2210632"/>
                    <a:pt x="48177" y="2180470"/>
                    <a:pt x="71990" y="2122526"/>
                  </a:cubicBezTo>
                  <a:cubicBezTo>
                    <a:pt x="90351" y="2077850"/>
                    <a:pt x="107767" y="1994009"/>
                    <a:pt x="126665" y="1932199"/>
                  </a:cubicBezTo>
                  <a:lnTo>
                    <a:pt x="273061" y="1880184"/>
                  </a:lnTo>
                  <a:cubicBezTo>
                    <a:pt x="305463" y="1861666"/>
                    <a:pt x="310089" y="1787599"/>
                    <a:pt x="356384" y="1755197"/>
                  </a:cubicBezTo>
                  <a:close/>
                  <a:moveTo>
                    <a:pt x="537693" y="744"/>
                  </a:moveTo>
                  <a:cubicBezTo>
                    <a:pt x="581411" y="-1830"/>
                    <a:pt x="633485" y="2027"/>
                    <a:pt x="695853" y="16174"/>
                  </a:cubicBezTo>
                  <a:cubicBezTo>
                    <a:pt x="758217" y="30318"/>
                    <a:pt x="852732" y="64395"/>
                    <a:pt x="911876" y="85609"/>
                  </a:cubicBezTo>
                  <a:cubicBezTo>
                    <a:pt x="971031" y="106829"/>
                    <a:pt x="1018605" y="128046"/>
                    <a:pt x="1050752" y="143477"/>
                  </a:cubicBezTo>
                  <a:cubicBezTo>
                    <a:pt x="1082899" y="158907"/>
                    <a:pt x="1079686" y="149264"/>
                    <a:pt x="1104760" y="178194"/>
                  </a:cubicBezTo>
                  <a:cubicBezTo>
                    <a:pt x="1129837" y="207128"/>
                    <a:pt x="1173554" y="261132"/>
                    <a:pt x="1201202" y="317070"/>
                  </a:cubicBezTo>
                  <a:cubicBezTo>
                    <a:pt x="1228849" y="373008"/>
                    <a:pt x="1259066" y="453372"/>
                    <a:pt x="1270636" y="513810"/>
                  </a:cubicBezTo>
                  <a:cubicBezTo>
                    <a:pt x="1275863" y="541109"/>
                    <a:pt x="1276368" y="577588"/>
                    <a:pt x="1275078" y="609376"/>
                  </a:cubicBezTo>
                  <a:cubicBezTo>
                    <a:pt x="1207919" y="610739"/>
                    <a:pt x="1256062" y="594379"/>
                    <a:pt x="1219753" y="593763"/>
                  </a:cubicBezTo>
                  <a:cubicBezTo>
                    <a:pt x="1172922" y="592969"/>
                    <a:pt x="1123709" y="585032"/>
                    <a:pt x="1086403" y="598526"/>
                  </a:cubicBezTo>
                  <a:cubicBezTo>
                    <a:pt x="1049097" y="612020"/>
                    <a:pt x="1027665" y="660439"/>
                    <a:pt x="995915" y="674726"/>
                  </a:cubicBezTo>
                  <a:cubicBezTo>
                    <a:pt x="964165" y="689014"/>
                    <a:pt x="933209" y="669964"/>
                    <a:pt x="895903" y="684251"/>
                  </a:cubicBezTo>
                  <a:cubicBezTo>
                    <a:pt x="858597" y="698539"/>
                    <a:pt x="813353" y="722351"/>
                    <a:pt x="772078" y="760451"/>
                  </a:cubicBezTo>
                  <a:cubicBezTo>
                    <a:pt x="730803" y="798551"/>
                    <a:pt x="685559" y="851732"/>
                    <a:pt x="648253" y="912851"/>
                  </a:cubicBezTo>
                  <a:cubicBezTo>
                    <a:pt x="610947" y="973970"/>
                    <a:pt x="579196" y="1048582"/>
                    <a:pt x="548240" y="1127163"/>
                  </a:cubicBezTo>
                  <a:cubicBezTo>
                    <a:pt x="517284" y="1205744"/>
                    <a:pt x="486327" y="1295438"/>
                    <a:pt x="462515" y="1384338"/>
                  </a:cubicBezTo>
                  <a:cubicBezTo>
                    <a:pt x="438702" y="1473238"/>
                    <a:pt x="418065" y="1592300"/>
                    <a:pt x="405365" y="1660563"/>
                  </a:cubicBezTo>
                  <a:cubicBezTo>
                    <a:pt x="401622" y="1680683"/>
                    <a:pt x="398982" y="1695769"/>
                    <a:pt x="397031" y="1708455"/>
                  </a:cubicBezTo>
                  <a:lnTo>
                    <a:pt x="379531" y="1681708"/>
                  </a:lnTo>
                  <a:cubicBezTo>
                    <a:pt x="365064" y="1654708"/>
                    <a:pt x="382424" y="1649399"/>
                    <a:pt x="362170" y="1615163"/>
                  </a:cubicBezTo>
                  <a:cubicBezTo>
                    <a:pt x="346337" y="1588394"/>
                    <a:pt x="308388" y="1553075"/>
                    <a:pt x="279806" y="1511723"/>
                  </a:cubicBezTo>
                  <a:cubicBezTo>
                    <a:pt x="283185" y="1487626"/>
                    <a:pt x="285447" y="1466602"/>
                    <a:pt x="286303" y="1451013"/>
                  </a:cubicBezTo>
                  <a:cubicBezTo>
                    <a:pt x="290272" y="1378782"/>
                    <a:pt x="259315" y="1385926"/>
                    <a:pt x="248203" y="1351001"/>
                  </a:cubicBezTo>
                  <a:cubicBezTo>
                    <a:pt x="237090" y="1316076"/>
                    <a:pt x="217247" y="1279563"/>
                    <a:pt x="219628" y="1241463"/>
                  </a:cubicBezTo>
                  <a:cubicBezTo>
                    <a:pt x="222009" y="1203363"/>
                    <a:pt x="252171" y="1173995"/>
                    <a:pt x="262490" y="1122401"/>
                  </a:cubicBezTo>
                  <a:cubicBezTo>
                    <a:pt x="272809" y="1070807"/>
                    <a:pt x="281540" y="992226"/>
                    <a:pt x="281540" y="931901"/>
                  </a:cubicBezTo>
                  <a:cubicBezTo>
                    <a:pt x="281540" y="871576"/>
                    <a:pt x="281540" y="816807"/>
                    <a:pt x="262490" y="760451"/>
                  </a:cubicBezTo>
                  <a:cubicBezTo>
                    <a:pt x="251559" y="728114"/>
                    <a:pt x="235402" y="693947"/>
                    <a:pt x="214848" y="662136"/>
                  </a:cubicBezTo>
                  <a:lnTo>
                    <a:pt x="267253" y="612813"/>
                  </a:lnTo>
                  <a:lnTo>
                    <a:pt x="500615" y="488988"/>
                  </a:lnTo>
                  <a:lnTo>
                    <a:pt x="786365" y="479463"/>
                  </a:lnTo>
                  <a:lnTo>
                    <a:pt x="486328" y="446126"/>
                  </a:lnTo>
                  <a:lnTo>
                    <a:pt x="286303" y="531851"/>
                  </a:lnTo>
                  <a:lnTo>
                    <a:pt x="188793" y="624717"/>
                  </a:lnTo>
                  <a:cubicBezTo>
                    <a:pt x="183072" y="613128"/>
                    <a:pt x="175276" y="603190"/>
                    <a:pt x="167240" y="593763"/>
                  </a:cubicBezTo>
                  <a:cubicBezTo>
                    <a:pt x="128567" y="548397"/>
                    <a:pt x="168636" y="489094"/>
                    <a:pt x="42501" y="473501"/>
                  </a:cubicBezTo>
                  <a:cubicBezTo>
                    <a:pt x="46825" y="429492"/>
                    <a:pt x="64428" y="405518"/>
                    <a:pt x="82492" y="363364"/>
                  </a:cubicBezTo>
                  <a:cubicBezTo>
                    <a:pt x="103709" y="313853"/>
                    <a:pt x="135213" y="245058"/>
                    <a:pt x="167360" y="201341"/>
                  </a:cubicBezTo>
                  <a:cubicBezTo>
                    <a:pt x="199507" y="157620"/>
                    <a:pt x="231011" y="129333"/>
                    <a:pt x="275376" y="101043"/>
                  </a:cubicBezTo>
                  <a:cubicBezTo>
                    <a:pt x="319733" y="72752"/>
                    <a:pt x="389818" y="48322"/>
                    <a:pt x="433535" y="31608"/>
                  </a:cubicBezTo>
                  <a:cubicBezTo>
                    <a:pt x="477256" y="14888"/>
                    <a:pt x="493969" y="3314"/>
                    <a:pt x="537693" y="74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505050"/>
                </a:solidFill>
                <a:effectLst/>
                <a:uLnTx/>
                <a:uFillTx/>
                <a:latin typeface="Segoe UI"/>
                <a:ea typeface="+mn-ea"/>
                <a:cs typeface="+mn-cs"/>
              </a:endParaRPr>
            </a:p>
          </p:txBody>
        </p:sp>
        <p:sp>
          <p:nvSpPr>
            <p:cNvPr id="249" name="Man's Body"/>
            <p:cNvSpPr>
              <a:spLocks/>
            </p:cNvSpPr>
            <p:nvPr/>
          </p:nvSpPr>
          <p:spPr bwMode="auto">
            <a:xfrm>
              <a:off x="4286421" y="1984056"/>
              <a:ext cx="1109019" cy="638618"/>
            </a:xfrm>
            <a:custGeom>
              <a:avLst/>
              <a:gdLst/>
              <a:ahLst/>
              <a:cxnLst/>
              <a:rect l="l" t="t" r="r" b="b"/>
              <a:pathLst>
                <a:path w="1109019" h="638618">
                  <a:moveTo>
                    <a:pt x="527057" y="506"/>
                  </a:moveTo>
                  <a:cubicBezTo>
                    <a:pt x="648121" y="6732"/>
                    <a:pt x="780445" y="70158"/>
                    <a:pt x="889294" y="181665"/>
                  </a:cubicBezTo>
                  <a:cubicBezTo>
                    <a:pt x="1063451" y="360077"/>
                    <a:pt x="1112509" y="452740"/>
                    <a:pt x="1108830" y="488699"/>
                  </a:cubicBezTo>
                  <a:cubicBezTo>
                    <a:pt x="1105150" y="523275"/>
                    <a:pt x="1069584" y="571681"/>
                    <a:pt x="1038921" y="564767"/>
                  </a:cubicBezTo>
                  <a:cubicBezTo>
                    <a:pt x="1007034" y="557851"/>
                    <a:pt x="1003354" y="527424"/>
                    <a:pt x="986183" y="510828"/>
                  </a:cubicBezTo>
                  <a:cubicBezTo>
                    <a:pt x="782591" y="317203"/>
                    <a:pt x="618246" y="347629"/>
                    <a:pt x="550790" y="371142"/>
                  </a:cubicBezTo>
                  <a:cubicBezTo>
                    <a:pt x="760068" y="390992"/>
                    <a:pt x="912422" y="533945"/>
                    <a:pt x="972020" y="608911"/>
                  </a:cubicBezTo>
                  <a:cubicBezTo>
                    <a:pt x="891545" y="581606"/>
                    <a:pt x="869616" y="586916"/>
                    <a:pt x="814218" y="578169"/>
                  </a:cubicBezTo>
                  <a:cubicBezTo>
                    <a:pt x="753893" y="568644"/>
                    <a:pt x="686424" y="559913"/>
                    <a:pt x="633243" y="559119"/>
                  </a:cubicBezTo>
                  <a:cubicBezTo>
                    <a:pt x="580062" y="558325"/>
                    <a:pt x="534818" y="561501"/>
                    <a:pt x="495131" y="573407"/>
                  </a:cubicBezTo>
                  <a:cubicBezTo>
                    <a:pt x="455444" y="585313"/>
                    <a:pt x="430837" y="621032"/>
                    <a:pt x="395118" y="630557"/>
                  </a:cubicBezTo>
                  <a:cubicBezTo>
                    <a:pt x="359399" y="640082"/>
                    <a:pt x="312568" y="642463"/>
                    <a:pt x="280818" y="630557"/>
                  </a:cubicBezTo>
                  <a:cubicBezTo>
                    <a:pt x="249068" y="618651"/>
                    <a:pt x="230812" y="588488"/>
                    <a:pt x="204618" y="559119"/>
                  </a:cubicBezTo>
                  <a:cubicBezTo>
                    <a:pt x="178424" y="529750"/>
                    <a:pt x="156200" y="486888"/>
                    <a:pt x="123656" y="454344"/>
                  </a:cubicBezTo>
                  <a:cubicBezTo>
                    <a:pt x="91112" y="421800"/>
                    <a:pt x="52218" y="394019"/>
                    <a:pt x="9356" y="363857"/>
                  </a:cubicBezTo>
                  <a:cubicBezTo>
                    <a:pt x="6109" y="361572"/>
                    <a:pt x="2861" y="359100"/>
                    <a:pt x="0" y="355996"/>
                  </a:cubicBezTo>
                  <a:cubicBezTo>
                    <a:pt x="20998" y="211335"/>
                    <a:pt x="96747" y="42345"/>
                    <a:pt x="328801" y="53043"/>
                  </a:cubicBezTo>
                  <a:cubicBezTo>
                    <a:pt x="385831" y="13626"/>
                    <a:pt x="454418" y="-3230"/>
                    <a:pt x="527057" y="50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99" tIns="54850" rIns="109699" bIns="54850" numCol="1" rtlCol="0" anchor="ctr" anchorCtr="0" compatLnSpc="1">
              <a:prstTxWarp prst="textNoShape">
                <a:avLst/>
              </a:prstTxWarp>
            </a:bodyPr>
            <a:lstStyle/>
            <a:p>
              <a:pPr marL="0" marR="0" lvl="0" indent="0" algn="ctr" defTabSz="1096590" rtl="0" eaLnBrk="1" fontAlgn="base" latinLnBrk="0" hangingPunct="1">
                <a:lnSpc>
                  <a:spcPct val="100000"/>
                </a:lnSpc>
                <a:spcBef>
                  <a:spcPct val="0"/>
                </a:spcBef>
                <a:spcAft>
                  <a:spcPct val="0"/>
                </a:spcAft>
                <a:buClrTx/>
                <a:buSzTx/>
                <a:buFontTx/>
                <a:buNone/>
                <a:tabLst/>
                <a:defRPr/>
              </a:pPr>
              <a:endParaRPr kumimoji="0" lang="en-US" sz="2799" b="0" i="0" u="none" strike="noStrike" kern="1200" cap="none" spc="0" normalizeH="0" baseline="0" noProof="0">
                <a:ln>
                  <a:noFill/>
                </a:ln>
                <a:solidFill>
                  <a:srgbClr val="505050"/>
                </a:solidFill>
                <a:effectLst>
                  <a:outerShdw blurRad="38100" dist="38100" dir="2700000" algn="tl">
                    <a:srgbClr val="000000">
                      <a:alpha val="43137"/>
                    </a:srgbClr>
                  </a:outerShdw>
                </a:effectLst>
                <a:uLnTx/>
                <a:uFillTx/>
                <a:latin typeface="Segoe UI"/>
                <a:ea typeface="+mn-ea"/>
                <a:cs typeface="+mn-cs"/>
              </a:endParaRPr>
            </a:p>
          </p:txBody>
        </p:sp>
        <p:sp>
          <p:nvSpPr>
            <p:cNvPr id="250" name="Man's Body"/>
            <p:cNvSpPr>
              <a:spLocks/>
            </p:cNvSpPr>
            <p:nvPr/>
          </p:nvSpPr>
          <p:spPr bwMode="auto">
            <a:xfrm>
              <a:off x="1933544" y="2281603"/>
              <a:ext cx="1087125" cy="2339128"/>
            </a:xfrm>
            <a:custGeom>
              <a:avLst/>
              <a:gdLst/>
              <a:ahLst/>
              <a:cxnLst/>
              <a:rect l="l" t="t" r="r" b="b"/>
              <a:pathLst>
                <a:path w="1087125" h="2339128">
                  <a:moveTo>
                    <a:pt x="148114" y="1900284"/>
                  </a:moveTo>
                  <a:cubicBezTo>
                    <a:pt x="220874" y="1957568"/>
                    <a:pt x="348888" y="2049369"/>
                    <a:pt x="516243" y="2068258"/>
                  </a:cubicBezTo>
                  <a:lnTo>
                    <a:pt x="495331" y="2090372"/>
                  </a:lnTo>
                  <a:cubicBezTo>
                    <a:pt x="449294" y="2138791"/>
                    <a:pt x="388175" y="2211022"/>
                    <a:pt x="338169" y="2252297"/>
                  </a:cubicBezTo>
                  <a:cubicBezTo>
                    <a:pt x="288163" y="2293572"/>
                    <a:pt x="225456" y="2347547"/>
                    <a:pt x="195294" y="2338022"/>
                  </a:cubicBezTo>
                  <a:cubicBezTo>
                    <a:pt x="165132" y="2328497"/>
                    <a:pt x="175450" y="2234834"/>
                    <a:pt x="157194" y="2195147"/>
                  </a:cubicBezTo>
                  <a:cubicBezTo>
                    <a:pt x="138938" y="2155460"/>
                    <a:pt x="111950" y="2112597"/>
                    <a:pt x="85756" y="2099897"/>
                  </a:cubicBezTo>
                  <a:cubicBezTo>
                    <a:pt x="59562" y="2087197"/>
                    <a:pt x="-1556" y="2133234"/>
                    <a:pt x="31" y="2118947"/>
                  </a:cubicBezTo>
                  <a:cubicBezTo>
                    <a:pt x="1618" y="2104660"/>
                    <a:pt x="65912" y="2063384"/>
                    <a:pt x="95281" y="2014172"/>
                  </a:cubicBezTo>
                  <a:cubicBezTo>
                    <a:pt x="112544" y="1985245"/>
                    <a:pt x="132002" y="1941507"/>
                    <a:pt x="148114" y="1900284"/>
                  </a:cubicBezTo>
                  <a:close/>
                  <a:moveTo>
                    <a:pt x="300366" y="1598710"/>
                  </a:moveTo>
                  <a:cubicBezTo>
                    <a:pt x="322928" y="1593356"/>
                    <a:pt x="499132" y="1755026"/>
                    <a:pt x="596386" y="1777949"/>
                  </a:cubicBezTo>
                  <a:lnTo>
                    <a:pt x="614394" y="1795097"/>
                  </a:lnTo>
                  <a:cubicBezTo>
                    <a:pt x="638206" y="1830816"/>
                    <a:pt x="647731" y="1881616"/>
                    <a:pt x="647731" y="1909397"/>
                  </a:cubicBezTo>
                  <a:cubicBezTo>
                    <a:pt x="647731" y="1937178"/>
                    <a:pt x="639794" y="1931622"/>
                    <a:pt x="614394" y="1961785"/>
                  </a:cubicBezTo>
                  <a:cubicBezTo>
                    <a:pt x="607207" y="1970320"/>
                    <a:pt x="598240" y="1980444"/>
                    <a:pt x="588003" y="1991644"/>
                  </a:cubicBezTo>
                  <a:cubicBezTo>
                    <a:pt x="401521" y="1979273"/>
                    <a:pt x="213522" y="1820684"/>
                    <a:pt x="209777" y="1788323"/>
                  </a:cubicBezTo>
                  <a:cubicBezTo>
                    <a:pt x="205894" y="1753317"/>
                    <a:pt x="274484" y="1603086"/>
                    <a:pt x="300366" y="1598710"/>
                  </a:cubicBezTo>
                  <a:close/>
                  <a:moveTo>
                    <a:pt x="594957" y="534"/>
                  </a:moveTo>
                  <a:cubicBezTo>
                    <a:pt x="722687" y="7103"/>
                    <a:pt x="862297" y="74022"/>
                    <a:pt x="977139" y="191669"/>
                  </a:cubicBezTo>
                  <a:cubicBezTo>
                    <a:pt x="1021009" y="236610"/>
                    <a:pt x="1057355" y="276395"/>
                    <a:pt x="1087125" y="311518"/>
                  </a:cubicBezTo>
                  <a:cubicBezTo>
                    <a:pt x="1049367" y="328933"/>
                    <a:pt x="1022410" y="352709"/>
                    <a:pt x="981106" y="366347"/>
                  </a:cubicBezTo>
                  <a:cubicBezTo>
                    <a:pt x="944893" y="378304"/>
                    <a:pt x="910738" y="390997"/>
                    <a:pt x="878907" y="405059"/>
                  </a:cubicBezTo>
                  <a:cubicBezTo>
                    <a:pt x="759679" y="355398"/>
                    <a:pt x="667278" y="375098"/>
                    <a:pt x="619996" y="391578"/>
                  </a:cubicBezTo>
                  <a:cubicBezTo>
                    <a:pt x="686882" y="397922"/>
                    <a:pt x="748256" y="416185"/>
                    <a:pt x="802895" y="441165"/>
                  </a:cubicBezTo>
                  <a:lnTo>
                    <a:pt x="762031" y="461597"/>
                  </a:lnTo>
                  <a:cubicBezTo>
                    <a:pt x="700119" y="497316"/>
                    <a:pt x="650112" y="528273"/>
                    <a:pt x="609631" y="580660"/>
                  </a:cubicBezTo>
                  <a:cubicBezTo>
                    <a:pt x="569150" y="633047"/>
                    <a:pt x="541369" y="702897"/>
                    <a:pt x="519144" y="775922"/>
                  </a:cubicBezTo>
                  <a:cubicBezTo>
                    <a:pt x="496919" y="848947"/>
                    <a:pt x="482631" y="944991"/>
                    <a:pt x="476281" y="1018810"/>
                  </a:cubicBezTo>
                  <a:cubicBezTo>
                    <a:pt x="469931" y="1092629"/>
                    <a:pt x="479457" y="1144223"/>
                    <a:pt x="481044" y="1218835"/>
                  </a:cubicBezTo>
                  <a:cubicBezTo>
                    <a:pt x="482631" y="1293447"/>
                    <a:pt x="481837" y="1387110"/>
                    <a:pt x="485806" y="1466485"/>
                  </a:cubicBezTo>
                  <a:cubicBezTo>
                    <a:pt x="488264" y="1515644"/>
                    <a:pt x="486764" y="1570588"/>
                    <a:pt x="491052" y="1618253"/>
                  </a:cubicBezTo>
                  <a:cubicBezTo>
                    <a:pt x="410332" y="1566195"/>
                    <a:pt x="328150" y="1493901"/>
                    <a:pt x="318496" y="1475757"/>
                  </a:cubicBezTo>
                  <a:cubicBezTo>
                    <a:pt x="315899" y="1471251"/>
                    <a:pt x="311051" y="1464346"/>
                    <a:pt x="304709" y="1455294"/>
                  </a:cubicBezTo>
                  <a:cubicBezTo>
                    <a:pt x="315763" y="1411159"/>
                    <a:pt x="324775" y="1369039"/>
                    <a:pt x="328644" y="1342660"/>
                  </a:cubicBezTo>
                  <a:cubicBezTo>
                    <a:pt x="337375" y="1283129"/>
                    <a:pt x="327056" y="1275191"/>
                    <a:pt x="314356" y="1247410"/>
                  </a:cubicBezTo>
                  <a:cubicBezTo>
                    <a:pt x="301656" y="1219629"/>
                    <a:pt x="261969" y="1202959"/>
                    <a:pt x="252444" y="1175972"/>
                  </a:cubicBezTo>
                  <a:cubicBezTo>
                    <a:pt x="242919" y="1148985"/>
                    <a:pt x="260381" y="1112473"/>
                    <a:pt x="257206" y="1085485"/>
                  </a:cubicBezTo>
                  <a:cubicBezTo>
                    <a:pt x="254031" y="1058497"/>
                    <a:pt x="224663" y="1025953"/>
                    <a:pt x="233394" y="1014047"/>
                  </a:cubicBezTo>
                  <a:cubicBezTo>
                    <a:pt x="242125" y="1002141"/>
                    <a:pt x="284194" y="1028334"/>
                    <a:pt x="309594" y="1014047"/>
                  </a:cubicBezTo>
                  <a:cubicBezTo>
                    <a:pt x="334994" y="999760"/>
                    <a:pt x="373888" y="964834"/>
                    <a:pt x="385794" y="928322"/>
                  </a:cubicBezTo>
                  <a:cubicBezTo>
                    <a:pt x="397700" y="891810"/>
                    <a:pt x="396112" y="839422"/>
                    <a:pt x="381031" y="794972"/>
                  </a:cubicBezTo>
                  <a:cubicBezTo>
                    <a:pt x="365950" y="750522"/>
                    <a:pt x="332612" y="708453"/>
                    <a:pt x="295306" y="661622"/>
                  </a:cubicBezTo>
                  <a:cubicBezTo>
                    <a:pt x="258000" y="614791"/>
                    <a:pt x="208788" y="566372"/>
                    <a:pt x="157194" y="513985"/>
                  </a:cubicBezTo>
                  <a:cubicBezTo>
                    <a:pt x="115841" y="471996"/>
                    <a:pt x="97944" y="422357"/>
                    <a:pt x="38211" y="378976"/>
                  </a:cubicBezTo>
                  <a:cubicBezTo>
                    <a:pt x="59848" y="225643"/>
                    <a:pt x="139125" y="44593"/>
                    <a:pt x="385784" y="55964"/>
                  </a:cubicBezTo>
                  <a:cubicBezTo>
                    <a:pt x="445955" y="14377"/>
                    <a:pt x="518318" y="-3408"/>
                    <a:pt x="594957" y="534"/>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99" tIns="54850" rIns="109699" bIns="54850" numCol="1" rtlCol="0" anchor="ctr" anchorCtr="0" compatLnSpc="1">
              <a:prstTxWarp prst="textNoShape">
                <a:avLst/>
              </a:prstTxWarp>
            </a:bodyPr>
            <a:lstStyle/>
            <a:p>
              <a:pPr marL="0" marR="0" lvl="0" indent="0" algn="ctr" defTabSz="1096590" rtl="0" eaLnBrk="1" fontAlgn="base" latinLnBrk="0" hangingPunct="1">
                <a:lnSpc>
                  <a:spcPct val="100000"/>
                </a:lnSpc>
                <a:spcBef>
                  <a:spcPct val="0"/>
                </a:spcBef>
                <a:spcAft>
                  <a:spcPct val="0"/>
                </a:spcAft>
                <a:buClrTx/>
                <a:buSzTx/>
                <a:buFontTx/>
                <a:buNone/>
                <a:tabLst/>
                <a:defRPr/>
              </a:pPr>
              <a:endParaRPr kumimoji="0" lang="en-US" sz="2799" b="0" i="0" u="none" strike="noStrike" kern="1200" cap="none" spc="0" normalizeH="0" baseline="0" noProof="0">
                <a:ln>
                  <a:noFill/>
                </a:ln>
                <a:solidFill>
                  <a:srgbClr val="505050"/>
                </a:solidFill>
                <a:effectLst>
                  <a:outerShdw blurRad="38100" dist="38100" dir="2700000" algn="tl">
                    <a:srgbClr val="000000">
                      <a:alpha val="43137"/>
                    </a:srgbClr>
                  </a:outerShdw>
                </a:effectLst>
                <a:uLnTx/>
                <a:uFillTx/>
                <a:latin typeface="Segoe UI"/>
                <a:ea typeface="+mn-ea"/>
                <a:cs typeface="+mn-cs"/>
              </a:endParaRPr>
            </a:p>
          </p:txBody>
        </p:sp>
        <p:sp>
          <p:nvSpPr>
            <p:cNvPr id="251" name="Man's Body"/>
            <p:cNvSpPr>
              <a:spLocks/>
            </p:cNvSpPr>
            <p:nvPr/>
          </p:nvSpPr>
          <p:spPr bwMode="auto">
            <a:xfrm>
              <a:off x="7167183" y="2655935"/>
              <a:ext cx="1791043" cy="3077332"/>
            </a:xfrm>
            <a:custGeom>
              <a:avLst/>
              <a:gdLst/>
              <a:ahLst/>
              <a:cxnLst/>
              <a:rect l="l" t="t" r="r" b="b"/>
              <a:pathLst>
                <a:path w="1791043" h="3077332">
                  <a:moveTo>
                    <a:pt x="1025015" y="1789010"/>
                  </a:moveTo>
                  <a:cubicBezTo>
                    <a:pt x="1052456" y="1797149"/>
                    <a:pt x="1104448" y="2023401"/>
                    <a:pt x="1163660" y="2039679"/>
                  </a:cubicBezTo>
                  <a:cubicBezTo>
                    <a:pt x="1305194" y="2077117"/>
                    <a:pt x="1705242" y="2228494"/>
                    <a:pt x="1763012" y="2334297"/>
                  </a:cubicBezTo>
                  <a:cubicBezTo>
                    <a:pt x="1819336" y="2441727"/>
                    <a:pt x="1797673" y="2617520"/>
                    <a:pt x="1634476" y="2912138"/>
                  </a:cubicBezTo>
                  <a:cubicBezTo>
                    <a:pt x="1581040" y="2785176"/>
                    <a:pt x="1492942" y="2694024"/>
                    <a:pt x="1466947" y="2677746"/>
                  </a:cubicBezTo>
                  <a:cubicBezTo>
                    <a:pt x="1510273" y="2767271"/>
                    <a:pt x="1536270" y="2931671"/>
                    <a:pt x="1550711" y="3037473"/>
                  </a:cubicBezTo>
                  <a:cubicBezTo>
                    <a:pt x="1272518" y="3065184"/>
                    <a:pt x="1017016" y="3074577"/>
                    <a:pt x="836493" y="3077332"/>
                  </a:cubicBezTo>
                  <a:cubicBezTo>
                    <a:pt x="905753" y="2981037"/>
                    <a:pt x="872415" y="2957070"/>
                    <a:pt x="886206" y="2901903"/>
                  </a:cubicBezTo>
                  <a:cubicBezTo>
                    <a:pt x="901287" y="2841578"/>
                    <a:pt x="906844" y="2798715"/>
                    <a:pt x="905256" y="2744740"/>
                  </a:cubicBezTo>
                  <a:cubicBezTo>
                    <a:pt x="903669" y="2690765"/>
                    <a:pt x="915575" y="2629647"/>
                    <a:pt x="876681" y="2578053"/>
                  </a:cubicBezTo>
                  <a:cubicBezTo>
                    <a:pt x="837787" y="2526459"/>
                    <a:pt x="764762" y="2482009"/>
                    <a:pt x="671893" y="2435178"/>
                  </a:cubicBezTo>
                  <a:cubicBezTo>
                    <a:pt x="579024" y="2388347"/>
                    <a:pt x="408368" y="2336753"/>
                    <a:pt x="319468" y="2297065"/>
                  </a:cubicBezTo>
                  <a:cubicBezTo>
                    <a:pt x="230568" y="2257378"/>
                    <a:pt x="183737" y="2238328"/>
                    <a:pt x="138493" y="2197053"/>
                  </a:cubicBezTo>
                  <a:cubicBezTo>
                    <a:pt x="114008" y="2174716"/>
                    <a:pt x="89523" y="2140522"/>
                    <a:pt x="72566" y="2109744"/>
                  </a:cubicBezTo>
                  <a:cubicBezTo>
                    <a:pt x="161803" y="2180615"/>
                    <a:pt x="342491" y="2318445"/>
                    <a:pt x="583084" y="2314764"/>
                  </a:cubicBezTo>
                  <a:cubicBezTo>
                    <a:pt x="894952" y="2309883"/>
                    <a:pt x="961434" y="2134181"/>
                    <a:pt x="961470" y="2134087"/>
                  </a:cubicBezTo>
                  <a:cubicBezTo>
                    <a:pt x="961431" y="2134155"/>
                    <a:pt x="905040" y="2231748"/>
                    <a:pt x="600415" y="2225240"/>
                  </a:cubicBezTo>
                  <a:cubicBezTo>
                    <a:pt x="448124" y="2222935"/>
                    <a:pt x="290769" y="2127693"/>
                    <a:pt x="210656" y="2058477"/>
                  </a:cubicBezTo>
                  <a:cubicBezTo>
                    <a:pt x="247111" y="2063660"/>
                    <a:pt x="286103" y="2068919"/>
                    <a:pt x="314706" y="2068465"/>
                  </a:cubicBezTo>
                  <a:cubicBezTo>
                    <a:pt x="364712" y="2067671"/>
                    <a:pt x="409162" y="2072434"/>
                    <a:pt x="438531" y="2044653"/>
                  </a:cubicBezTo>
                  <a:cubicBezTo>
                    <a:pt x="462255" y="2022212"/>
                    <a:pt x="476137" y="1982161"/>
                    <a:pt x="483486" y="1935462"/>
                  </a:cubicBezTo>
                  <a:cubicBezTo>
                    <a:pt x="533060" y="1967097"/>
                    <a:pt x="580637" y="1990306"/>
                    <a:pt x="613413" y="1989219"/>
                  </a:cubicBezTo>
                  <a:cubicBezTo>
                    <a:pt x="877705" y="1977826"/>
                    <a:pt x="999020" y="1779243"/>
                    <a:pt x="1025015" y="1789010"/>
                  </a:cubicBezTo>
                  <a:close/>
                  <a:moveTo>
                    <a:pt x="585448" y="596"/>
                  </a:moveTo>
                  <a:cubicBezTo>
                    <a:pt x="727992" y="7927"/>
                    <a:pt x="935211" y="76180"/>
                    <a:pt x="1038898" y="151026"/>
                  </a:cubicBezTo>
                  <a:cubicBezTo>
                    <a:pt x="1142584" y="225871"/>
                    <a:pt x="1211900" y="407326"/>
                    <a:pt x="1207568" y="449665"/>
                  </a:cubicBezTo>
                  <a:cubicBezTo>
                    <a:pt x="1203236" y="490376"/>
                    <a:pt x="1199071" y="612532"/>
                    <a:pt x="1188131" y="664973"/>
                  </a:cubicBezTo>
                  <a:cubicBezTo>
                    <a:pt x="1177190" y="717413"/>
                    <a:pt x="1149623" y="723595"/>
                    <a:pt x="1141921" y="764306"/>
                  </a:cubicBezTo>
                  <a:cubicBezTo>
                    <a:pt x="1157802" y="803380"/>
                    <a:pt x="1141928" y="909191"/>
                    <a:pt x="1141921" y="909236"/>
                  </a:cubicBezTo>
                  <a:cubicBezTo>
                    <a:pt x="1141991" y="909241"/>
                    <a:pt x="1208348" y="914147"/>
                    <a:pt x="1208348" y="962974"/>
                  </a:cubicBezTo>
                  <a:cubicBezTo>
                    <a:pt x="1208348" y="1011818"/>
                    <a:pt x="1137615" y="1280417"/>
                    <a:pt x="1137589" y="1280518"/>
                  </a:cubicBezTo>
                  <a:cubicBezTo>
                    <a:pt x="1137566" y="1280557"/>
                    <a:pt x="1118803" y="1313084"/>
                    <a:pt x="1097155" y="1308200"/>
                  </a:cubicBezTo>
                  <a:cubicBezTo>
                    <a:pt x="1074050" y="1506868"/>
                    <a:pt x="994626" y="1630630"/>
                    <a:pt x="926755" y="1690881"/>
                  </a:cubicBezTo>
                  <a:cubicBezTo>
                    <a:pt x="860327" y="1749505"/>
                    <a:pt x="705811" y="1868380"/>
                    <a:pt x="613391" y="1868380"/>
                  </a:cubicBezTo>
                  <a:cubicBezTo>
                    <a:pt x="583727" y="1868380"/>
                    <a:pt x="540227" y="1848919"/>
                    <a:pt x="494585" y="1820862"/>
                  </a:cubicBezTo>
                  <a:cubicBezTo>
                    <a:pt x="495428" y="1780245"/>
                    <a:pt x="492769" y="1734980"/>
                    <a:pt x="490918" y="1682703"/>
                  </a:cubicBezTo>
                  <a:cubicBezTo>
                    <a:pt x="487743" y="1593009"/>
                    <a:pt x="490124" y="1492202"/>
                    <a:pt x="471868" y="1363615"/>
                  </a:cubicBezTo>
                  <a:cubicBezTo>
                    <a:pt x="453612" y="1235028"/>
                    <a:pt x="405987" y="1022303"/>
                    <a:pt x="381381" y="911178"/>
                  </a:cubicBezTo>
                  <a:cubicBezTo>
                    <a:pt x="356775" y="800053"/>
                    <a:pt x="352806" y="754809"/>
                    <a:pt x="324231" y="696865"/>
                  </a:cubicBezTo>
                  <a:cubicBezTo>
                    <a:pt x="295656" y="638921"/>
                    <a:pt x="255968" y="620665"/>
                    <a:pt x="209931" y="563515"/>
                  </a:cubicBezTo>
                  <a:cubicBezTo>
                    <a:pt x="163894" y="506365"/>
                    <a:pt x="103569" y="415084"/>
                    <a:pt x="48006" y="353965"/>
                  </a:cubicBezTo>
                  <a:cubicBezTo>
                    <a:pt x="28279" y="332265"/>
                    <a:pt x="14655" y="310564"/>
                    <a:pt x="0" y="290327"/>
                  </a:cubicBezTo>
                  <a:cubicBezTo>
                    <a:pt x="45987" y="162254"/>
                    <a:pt x="147389" y="53021"/>
                    <a:pt x="352016" y="62454"/>
                  </a:cubicBezTo>
                  <a:cubicBezTo>
                    <a:pt x="419165" y="16044"/>
                    <a:pt x="499920" y="-3803"/>
                    <a:pt x="585448" y="59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99" tIns="54850" rIns="109699" bIns="54850" numCol="1" rtlCol="0" anchor="ctr" anchorCtr="0" compatLnSpc="1">
              <a:prstTxWarp prst="textNoShape">
                <a:avLst/>
              </a:prstTxWarp>
            </a:bodyPr>
            <a:lstStyle/>
            <a:p>
              <a:pPr marL="0" marR="0" lvl="0" indent="0" algn="ctr" defTabSz="1096590" rtl="0" eaLnBrk="1" fontAlgn="base" latinLnBrk="0" hangingPunct="1">
                <a:lnSpc>
                  <a:spcPct val="100000"/>
                </a:lnSpc>
                <a:spcBef>
                  <a:spcPct val="0"/>
                </a:spcBef>
                <a:spcAft>
                  <a:spcPct val="0"/>
                </a:spcAft>
                <a:buClrTx/>
                <a:buSzTx/>
                <a:buFontTx/>
                <a:buNone/>
                <a:tabLst/>
                <a:defRPr/>
              </a:pPr>
              <a:endParaRPr kumimoji="0" lang="en-US" sz="2799" b="0" i="0" u="none" strike="noStrike" kern="1200" cap="none" spc="0" normalizeH="0" baseline="0" noProof="0">
                <a:ln>
                  <a:noFill/>
                </a:ln>
                <a:solidFill>
                  <a:srgbClr val="505050"/>
                </a:solidFill>
                <a:effectLst>
                  <a:outerShdw blurRad="38100" dist="38100" dir="2700000" algn="tl">
                    <a:srgbClr val="000000">
                      <a:alpha val="43137"/>
                    </a:srgbClr>
                  </a:outerShdw>
                </a:effectLst>
                <a:uLnTx/>
                <a:uFillTx/>
                <a:latin typeface="Segoe UI"/>
                <a:ea typeface="+mn-ea"/>
                <a:cs typeface="+mn-cs"/>
              </a:endParaRPr>
            </a:p>
          </p:txBody>
        </p:sp>
        <p:sp>
          <p:nvSpPr>
            <p:cNvPr id="252" name="Man's Body"/>
            <p:cNvSpPr>
              <a:spLocks/>
            </p:cNvSpPr>
            <p:nvPr/>
          </p:nvSpPr>
          <p:spPr bwMode="auto">
            <a:xfrm>
              <a:off x="3394954" y="2270725"/>
              <a:ext cx="1220879" cy="2577721"/>
            </a:xfrm>
            <a:custGeom>
              <a:avLst/>
              <a:gdLst/>
              <a:ahLst/>
              <a:cxnLst/>
              <a:rect l="l" t="t" r="r" b="b"/>
              <a:pathLst>
                <a:path w="1220879" h="2577721">
                  <a:moveTo>
                    <a:pt x="1000694" y="1726538"/>
                  </a:moveTo>
                  <a:cubicBezTo>
                    <a:pt x="1015159" y="1730828"/>
                    <a:pt x="1036692" y="1797918"/>
                    <a:pt x="1062780" y="1860398"/>
                  </a:cubicBezTo>
                  <a:lnTo>
                    <a:pt x="1072271" y="1886939"/>
                  </a:lnTo>
                  <a:cubicBezTo>
                    <a:pt x="1100846" y="1947264"/>
                    <a:pt x="1157203" y="2022670"/>
                    <a:pt x="1181809" y="2063151"/>
                  </a:cubicBezTo>
                  <a:cubicBezTo>
                    <a:pt x="1206415" y="2103632"/>
                    <a:pt x="1225465" y="2098076"/>
                    <a:pt x="1219909" y="2129826"/>
                  </a:cubicBezTo>
                  <a:cubicBezTo>
                    <a:pt x="1214353" y="2161576"/>
                    <a:pt x="1178633" y="2203645"/>
                    <a:pt x="1148471" y="2253651"/>
                  </a:cubicBezTo>
                  <a:cubicBezTo>
                    <a:pt x="1118309" y="2303657"/>
                    <a:pt x="1085765" y="2388589"/>
                    <a:pt x="1038934" y="2429864"/>
                  </a:cubicBezTo>
                  <a:cubicBezTo>
                    <a:pt x="992103" y="2471139"/>
                    <a:pt x="926222" y="2476695"/>
                    <a:pt x="867484" y="2501301"/>
                  </a:cubicBezTo>
                  <a:cubicBezTo>
                    <a:pt x="867484" y="2501301"/>
                    <a:pt x="738896" y="2574326"/>
                    <a:pt x="686509" y="2577501"/>
                  </a:cubicBezTo>
                  <a:cubicBezTo>
                    <a:pt x="634122" y="2580676"/>
                    <a:pt x="626184" y="2548926"/>
                    <a:pt x="553159" y="2520351"/>
                  </a:cubicBezTo>
                  <a:cubicBezTo>
                    <a:pt x="480134" y="2491776"/>
                    <a:pt x="311859" y="2440182"/>
                    <a:pt x="248359" y="2406051"/>
                  </a:cubicBezTo>
                  <a:cubicBezTo>
                    <a:pt x="184859" y="2371920"/>
                    <a:pt x="187240" y="2346520"/>
                    <a:pt x="172159" y="2315564"/>
                  </a:cubicBezTo>
                  <a:cubicBezTo>
                    <a:pt x="157078" y="2284608"/>
                    <a:pt x="140409" y="2261589"/>
                    <a:pt x="157871" y="2220314"/>
                  </a:cubicBezTo>
                  <a:cubicBezTo>
                    <a:pt x="168198" y="2195906"/>
                    <a:pt x="198233" y="2167333"/>
                    <a:pt x="226485" y="2135786"/>
                  </a:cubicBezTo>
                  <a:cubicBezTo>
                    <a:pt x="316982" y="2189270"/>
                    <a:pt x="435235" y="2236059"/>
                    <a:pt x="574195" y="2233933"/>
                  </a:cubicBezTo>
                  <a:cubicBezTo>
                    <a:pt x="875173" y="2229222"/>
                    <a:pt x="939333" y="2059656"/>
                    <a:pt x="939368" y="2059565"/>
                  </a:cubicBezTo>
                  <a:cubicBezTo>
                    <a:pt x="939349" y="2059598"/>
                    <a:pt x="884958" y="2153817"/>
                    <a:pt x="590920" y="2147535"/>
                  </a:cubicBezTo>
                  <a:cubicBezTo>
                    <a:pt x="481175" y="2145874"/>
                    <a:pt x="368705" y="2094204"/>
                    <a:pt x="286708" y="2040070"/>
                  </a:cubicBezTo>
                  <a:cubicBezTo>
                    <a:pt x="307092" y="1982179"/>
                    <a:pt x="314374" y="1903887"/>
                    <a:pt x="324559" y="1872651"/>
                  </a:cubicBezTo>
                  <a:cubicBezTo>
                    <a:pt x="333489" y="1845267"/>
                    <a:pt x="333488" y="1864317"/>
                    <a:pt x="339628" y="1861489"/>
                  </a:cubicBezTo>
                  <a:lnTo>
                    <a:pt x="348371" y="1848839"/>
                  </a:lnTo>
                  <a:cubicBezTo>
                    <a:pt x="354151" y="1836701"/>
                    <a:pt x="363405" y="1817932"/>
                    <a:pt x="373314" y="1796017"/>
                  </a:cubicBezTo>
                  <a:cubicBezTo>
                    <a:pt x="451017" y="1853032"/>
                    <a:pt x="548670" y="1921572"/>
                    <a:pt x="603465" y="1919756"/>
                  </a:cubicBezTo>
                  <a:cubicBezTo>
                    <a:pt x="858528" y="1908760"/>
                    <a:pt x="975606" y="1717113"/>
                    <a:pt x="1000694" y="1726538"/>
                  </a:cubicBezTo>
                  <a:close/>
                  <a:moveTo>
                    <a:pt x="576476" y="576"/>
                  </a:moveTo>
                  <a:cubicBezTo>
                    <a:pt x="714043" y="7650"/>
                    <a:pt x="864404" y="79722"/>
                    <a:pt x="988090" y="206429"/>
                  </a:cubicBezTo>
                  <a:cubicBezTo>
                    <a:pt x="1037022" y="256557"/>
                    <a:pt x="1077264" y="300727"/>
                    <a:pt x="1110031" y="339462"/>
                  </a:cubicBezTo>
                  <a:cubicBezTo>
                    <a:pt x="1051415" y="362041"/>
                    <a:pt x="1030281" y="393446"/>
                    <a:pt x="996071" y="424851"/>
                  </a:cubicBezTo>
                  <a:cubicBezTo>
                    <a:pt x="979245" y="440298"/>
                    <a:pt x="967211" y="456704"/>
                    <a:pt x="958497" y="474522"/>
                  </a:cubicBezTo>
                  <a:cubicBezTo>
                    <a:pt x="793415" y="374586"/>
                    <a:pt x="664033" y="400614"/>
                    <a:pt x="603444" y="421733"/>
                  </a:cubicBezTo>
                  <a:cubicBezTo>
                    <a:pt x="733011" y="434023"/>
                    <a:pt x="843377" y="487838"/>
                    <a:pt x="927312" y="549009"/>
                  </a:cubicBezTo>
                  <a:lnTo>
                    <a:pt x="915109" y="582014"/>
                  </a:lnTo>
                  <a:cubicBezTo>
                    <a:pt x="891297" y="642339"/>
                    <a:pt x="862721" y="710601"/>
                    <a:pt x="853196" y="786801"/>
                  </a:cubicBezTo>
                  <a:cubicBezTo>
                    <a:pt x="843671" y="863001"/>
                    <a:pt x="847640" y="966983"/>
                    <a:pt x="857959" y="1039214"/>
                  </a:cubicBezTo>
                  <a:cubicBezTo>
                    <a:pt x="868278" y="1111445"/>
                    <a:pt x="900028" y="1178120"/>
                    <a:pt x="915109" y="1220189"/>
                  </a:cubicBezTo>
                  <a:cubicBezTo>
                    <a:pt x="930190" y="1262258"/>
                    <a:pt x="946859" y="1272576"/>
                    <a:pt x="948446" y="1291626"/>
                  </a:cubicBezTo>
                  <a:cubicBezTo>
                    <a:pt x="950033" y="1310676"/>
                    <a:pt x="930984" y="1315439"/>
                    <a:pt x="924634" y="1334489"/>
                  </a:cubicBezTo>
                  <a:cubicBezTo>
                    <a:pt x="918284" y="1353539"/>
                    <a:pt x="907171" y="1371001"/>
                    <a:pt x="910346" y="1405926"/>
                  </a:cubicBezTo>
                  <a:cubicBezTo>
                    <a:pt x="913521" y="1440851"/>
                    <a:pt x="927015" y="1494827"/>
                    <a:pt x="943684" y="1544039"/>
                  </a:cubicBezTo>
                  <a:cubicBezTo>
                    <a:pt x="947240" y="1554538"/>
                    <a:pt x="951338" y="1565109"/>
                    <a:pt x="956769" y="1575392"/>
                  </a:cubicBezTo>
                  <a:cubicBezTo>
                    <a:pt x="939866" y="1598334"/>
                    <a:pt x="922505" y="1617063"/>
                    <a:pt x="905864" y="1631836"/>
                  </a:cubicBezTo>
                  <a:cubicBezTo>
                    <a:pt x="841757" y="1688412"/>
                    <a:pt x="692637" y="1803136"/>
                    <a:pt x="603444" y="1803136"/>
                  </a:cubicBezTo>
                  <a:cubicBezTo>
                    <a:pt x="557961" y="1803136"/>
                    <a:pt x="478776" y="1755732"/>
                    <a:pt x="409934" y="1705014"/>
                  </a:cubicBezTo>
                  <a:lnTo>
                    <a:pt x="419809" y="1672626"/>
                  </a:lnTo>
                  <a:cubicBezTo>
                    <a:pt x="433303" y="1613095"/>
                    <a:pt x="419809" y="1540070"/>
                    <a:pt x="429334" y="1491651"/>
                  </a:cubicBezTo>
                  <a:cubicBezTo>
                    <a:pt x="438859" y="1443232"/>
                    <a:pt x="464259" y="1418627"/>
                    <a:pt x="476959" y="1382114"/>
                  </a:cubicBezTo>
                  <a:cubicBezTo>
                    <a:pt x="489659" y="1345602"/>
                    <a:pt x="506328" y="1301151"/>
                    <a:pt x="505534" y="1272576"/>
                  </a:cubicBezTo>
                  <a:cubicBezTo>
                    <a:pt x="504740" y="1244001"/>
                    <a:pt x="472990" y="1247177"/>
                    <a:pt x="472196" y="1210664"/>
                  </a:cubicBezTo>
                  <a:cubicBezTo>
                    <a:pt x="471402" y="1174152"/>
                    <a:pt x="493627" y="1105095"/>
                    <a:pt x="500771" y="1053501"/>
                  </a:cubicBezTo>
                  <a:cubicBezTo>
                    <a:pt x="507915" y="1001907"/>
                    <a:pt x="519028" y="948726"/>
                    <a:pt x="515059" y="901101"/>
                  </a:cubicBezTo>
                  <a:cubicBezTo>
                    <a:pt x="511090" y="853476"/>
                    <a:pt x="496009" y="818551"/>
                    <a:pt x="476959" y="767751"/>
                  </a:cubicBezTo>
                  <a:cubicBezTo>
                    <a:pt x="457909" y="716951"/>
                    <a:pt x="430128" y="646307"/>
                    <a:pt x="400759" y="596301"/>
                  </a:cubicBezTo>
                  <a:cubicBezTo>
                    <a:pt x="371390" y="546295"/>
                    <a:pt x="342021" y="502639"/>
                    <a:pt x="300746" y="467714"/>
                  </a:cubicBezTo>
                  <a:cubicBezTo>
                    <a:pt x="259471" y="432789"/>
                    <a:pt x="207878" y="412151"/>
                    <a:pt x="153109" y="386751"/>
                  </a:cubicBezTo>
                  <a:cubicBezTo>
                    <a:pt x="102114" y="363101"/>
                    <a:pt x="114428" y="279585"/>
                    <a:pt x="0" y="308275"/>
                  </a:cubicBezTo>
                  <a:cubicBezTo>
                    <a:pt x="41291" y="173605"/>
                    <a:pt x="138419" y="50464"/>
                    <a:pt x="351195" y="60273"/>
                  </a:cubicBezTo>
                  <a:cubicBezTo>
                    <a:pt x="415999" y="15484"/>
                    <a:pt x="493935" y="-3670"/>
                    <a:pt x="576476" y="57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99" tIns="54850" rIns="109699" bIns="54850" numCol="1" rtlCol="0" anchor="ctr" anchorCtr="0" compatLnSpc="1">
              <a:prstTxWarp prst="textNoShape">
                <a:avLst/>
              </a:prstTxWarp>
            </a:bodyPr>
            <a:lstStyle/>
            <a:p>
              <a:pPr marL="0" marR="0" lvl="0" indent="0" algn="ctr" defTabSz="1096590" rtl="0" eaLnBrk="1" fontAlgn="base" latinLnBrk="0" hangingPunct="1">
                <a:lnSpc>
                  <a:spcPct val="100000"/>
                </a:lnSpc>
                <a:spcBef>
                  <a:spcPct val="0"/>
                </a:spcBef>
                <a:spcAft>
                  <a:spcPct val="0"/>
                </a:spcAft>
                <a:buClrTx/>
                <a:buSzTx/>
                <a:buFontTx/>
                <a:buNone/>
                <a:tabLst/>
                <a:defRPr/>
              </a:pPr>
              <a:endParaRPr kumimoji="0" lang="en-US" sz="2799" b="0" i="0" u="none" strike="noStrike" kern="1200" cap="none" spc="0" normalizeH="0" baseline="0" noProof="0">
                <a:ln>
                  <a:noFill/>
                </a:ln>
                <a:solidFill>
                  <a:srgbClr val="505050"/>
                </a:solidFill>
                <a:effectLst>
                  <a:outerShdw blurRad="38100" dist="38100" dir="2700000" algn="tl">
                    <a:srgbClr val="000000">
                      <a:alpha val="43137"/>
                    </a:srgbClr>
                  </a:outerShdw>
                </a:effectLst>
                <a:uLnTx/>
                <a:uFillTx/>
                <a:latin typeface="Segoe UI"/>
                <a:ea typeface="+mn-ea"/>
                <a:cs typeface="+mn-cs"/>
              </a:endParaRPr>
            </a:p>
          </p:txBody>
        </p:sp>
        <p:sp>
          <p:nvSpPr>
            <p:cNvPr id="253" name="Man's Body"/>
            <p:cNvSpPr>
              <a:spLocks/>
            </p:cNvSpPr>
            <p:nvPr/>
          </p:nvSpPr>
          <p:spPr bwMode="auto">
            <a:xfrm>
              <a:off x="4129215" y="2588754"/>
              <a:ext cx="1942154" cy="3289752"/>
            </a:xfrm>
            <a:custGeom>
              <a:avLst/>
              <a:gdLst/>
              <a:ahLst/>
              <a:cxnLst/>
              <a:rect l="l" t="t" r="r" b="b"/>
              <a:pathLst>
                <a:path w="1942154" h="3289752">
                  <a:moveTo>
                    <a:pt x="501915" y="1906497"/>
                  </a:moveTo>
                  <a:cubicBezTo>
                    <a:pt x="531238" y="1899539"/>
                    <a:pt x="778162" y="2129136"/>
                    <a:pt x="883105" y="2125656"/>
                  </a:cubicBezTo>
                  <a:cubicBezTo>
                    <a:pt x="1165524" y="2113482"/>
                    <a:pt x="1295160" y="1901279"/>
                    <a:pt x="1322938" y="1911715"/>
                  </a:cubicBezTo>
                  <a:cubicBezTo>
                    <a:pt x="1352261" y="1920412"/>
                    <a:pt x="1407819" y="2162183"/>
                    <a:pt x="1471092" y="2179577"/>
                  </a:cubicBezTo>
                  <a:cubicBezTo>
                    <a:pt x="1569955" y="2205728"/>
                    <a:pt x="1786855" y="2283903"/>
                    <a:pt x="1942154" y="2367099"/>
                  </a:cubicBezTo>
                  <a:lnTo>
                    <a:pt x="1623885" y="2492834"/>
                  </a:lnTo>
                  <a:cubicBezTo>
                    <a:pt x="1505616" y="2541253"/>
                    <a:pt x="1369885" y="2582527"/>
                    <a:pt x="1300035" y="2630946"/>
                  </a:cubicBezTo>
                  <a:cubicBezTo>
                    <a:pt x="1230185" y="2679365"/>
                    <a:pt x="1216691" y="2727784"/>
                    <a:pt x="1204785" y="2783346"/>
                  </a:cubicBezTo>
                  <a:cubicBezTo>
                    <a:pt x="1192879" y="2838909"/>
                    <a:pt x="1211929" y="2896059"/>
                    <a:pt x="1228598" y="2964321"/>
                  </a:cubicBezTo>
                  <a:cubicBezTo>
                    <a:pt x="1245267" y="3032583"/>
                    <a:pt x="1281779" y="3120690"/>
                    <a:pt x="1304798" y="3192921"/>
                  </a:cubicBezTo>
                  <a:cubicBezTo>
                    <a:pt x="1314321" y="3222803"/>
                    <a:pt x="1341505" y="3252414"/>
                    <a:pt x="1363493" y="3281583"/>
                  </a:cubicBezTo>
                  <a:cubicBezTo>
                    <a:pt x="1152486" y="3290141"/>
                    <a:pt x="985631" y="3290297"/>
                    <a:pt x="900081" y="3289292"/>
                  </a:cubicBezTo>
                  <a:cubicBezTo>
                    <a:pt x="817878" y="3290370"/>
                    <a:pt x="658124" y="3290113"/>
                    <a:pt x="456018" y="3282293"/>
                  </a:cubicBezTo>
                  <a:cubicBezTo>
                    <a:pt x="462393" y="3274575"/>
                    <a:pt x="465552" y="3265168"/>
                    <a:pt x="466598" y="3254834"/>
                  </a:cubicBezTo>
                  <a:cubicBezTo>
                    <a:pt x="472948" y="3192128"/>
                    <a:pt x="470567" y="3114340"/>
                    <a:pt x="466598" y="3021471"/>
                  </a:cubicBezTo>
                  <a:cubicBezTo>
                    <a:pt x="462629" y="2928602"/>
                    <a:pt x="461835" y="2782552"/>
                    <a:pt x="442785" y="2697621"/>
                  </a:cubicBezTo>
                  <a:cubicBezTo>
                    <a:pt x="423735" y="2612690"/>
                    <a:pt x="407860" y="2565859"/>
                    <a:pt x="352298" y="2511884"/>
                  </a:cubicBezTo>
                  <a:cubicBezTo>
                    <a:pt x="296736" y="2457909"/>
                    <a:pt x="186404" y="2415046"/>
                    <a:pt x="109410" y="2373771"/>
                  </a:cubicBezTo>
                  <a:cubicBezTo>
                    <a:pt x="63909" y="2349379"/>
                    <a:pt x="39200" y="2319443"/>
                    <a:pt x="0" y="2298223"/>
                  </a:cubicBezTo>
                  <a:cubicBezTo>
                    <a:pt x="117461" y="2244929"/>
                    <a:pt x="226792" y="2206801"/>
                    <a:pt x="244189" y="2210886"/>
                  </a:cubicBezTo>
                  <a:cubicBezTo>
                    <a:pt x="281228" y="2217843"/>
                    <a:pt x="509632" y="2478748"/>
                    <a:pt x="850696" y="2473530"/>
                  </a:cubicBezTo>
                  <a:cubicBezTo>
                    <a:pt x="1183954" y="2468314"/>
                    <a:pt x="1254996" y="2280562"/>
                    <a:pt x="1255035" y="2280461"/>
                  </a:cubicBezTo>
                  <a:cubicBezTo>
                    <a:pt x="1255005" y="2280512"/>
                    <a:pt x="1194766" y="2384821"/>
                    <a:pt x="869215" y="2377865"/>
                  </a:cubicBezTo>
                  <a:cubicBezTo>
                    <a:pt x="639268" y="2374386"/>
                    <a:pt x="398517" y="2172620"/>
                    <a:pt x="393887" y="2132615"/>
                  </a:cubicBezTo>
                  <a:cubicBezTo>
                    <a:pt x="389256" y="2090869"/>
                    <a:pt x="471051" y="1911715"/>
                    <a:pt x="501915" y="1906497"/>
                  </a:cubicBezTo>
                  <a:close/>
                  <a:moveTo>
                    <a:pt x="853221" y="637"/>
                  </a:moveTo>
                  <a:cubicBezTo>
                    <a:pt x="1005543" y="8471"/>
                    <a:pt x="1226975" y="81406"/>
                    <a:pt x="1337772" y="161384"/>
                  </a:cubicBezTo>
                  <a:cubicBezTo>
                    <a:pt x="1448570" y="241363"/>
                    <a:pt x="1522641" y="435263"/>
                    <a:pt x="1518012" y="480506"/>
                  </a:cubicBezTo>
                  <a:cubicBezTo>
                    <a:pt x="1513382" y="524010"/>
                    <a:pt x="1508932" y="654545"/>
                    <a:pt x="1497241" y="710582"/>
                  </a:cubicBezTo>
                  <a:cubicBezTo>
                    <a:pt x="1485550" y="766620"/>
                    <a:pt x="1456092" y="773225"/>
                    <a:pt x="1447862" y="816729"/>
                  </a:cubicBezTo>
                  <a:cubicBezTo>
                    <a:pt x="1464832" y="858482"/>
                    <a:pt x="1447870" y="971551"/>
                    <a:pt x="1447862" y="971599"/>
                  </a:cubicBezTo>
                  <a:cubicBezTo>
                    <a:pt x="1447887" y="971601"/>
                    <a:pt x="1518845" y="976828"/>
                    <a:pt x="1518845" y="1029023"/>
                  </a:cubicBezTo>
                  <a:cubicBezTo>
                    <a:pt x="1518845" y="1081217"/>
                    <a:pt x="1443261" y="1368239"/>
                    <a:pt x="1443233" y="1368346"/>
                  </a:cubicBezTo>
                  <a:cubicBezTo>
                    <a:pt x="1443216" y="1368375"/>
                    <a:pt x="1423163" y="1403147"/>
                    <a:pt x="1400025" y="1397928"/>
                  </a:cubicBezTo>
                  <a:cubicBezTo>
                    <a:pt x="1375336" y="1610222"/>
                    <a:pt x="1290464" y="1742472"/>
                    <a:pt x="1217938" y="1806856"/>
                  </a:cubicBezTo>
                  <a:cubicBezTo>
                    <a:pt x="1146955" y="1869501"/>
                    <a:pt x="981841" y="1996529"/>
                    <a:pt x="883082" y="1996529"/>
                  </a:cubicBezTo>
                  <a:cubicBezTo>
                    <a:pt x="784323" y="1996529"/>
                    <a:pt x="542053" y="1794675"/>
                    <a:pt x="523537" y="1759872"/>
                  </a:cubicBezTo>
                  <a:cubicBezTo>
                    <a:pt x="503477" y="1725071"/>
                    <a:pt x="370768" y="1570199"/>
                    <a:pt x="366139" y="1380528"/>
                  </a:cubicBezTo>
                  <a:cubicBezTo>
                    <a:pt x="301328" y="1375306"/>
                    <a:pt x="264293" y="1183894"/>
                    <a:pt x="239604" y="1082967"/>
                  </a:cubicBezTo>
                  <a:cubicBezTo>
                    <a:pt x="219550" y="997735"/>
                    <a:pt x="288930" y="999439"/>
                    <a:pt x="288983" y="999441"/>
                  </a:cubicBezTo>
                  <a:cubicBezTo>
                    <a:pt x="288957" y="999371"/>
                    <a:pt x="191766" y="731458"/>
                    <a:pt x="184051" y="694921"/>
                  </a:cubicBezTo>
                  <a:cubicBezTo>
                    <a:pt x="177878" y="660118"/>
                    <a:pt x="113068" y="44116"/>
                    <a:pt x="603779" y="66738"/>
                  </a:cubicBezTo>
                  <a:cubicBezTo>
                    <a:pt x="675533" y="17144"/>
                    <a:pt x="761828" y="-4064"/>
                    <a:pt x="853221" y="63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99" tIns="54850" rIns="109699" bIns="54850" numCol="1" rtlCol="0" anchor="ctr" anchorCtr="0" compatLnSpc="1">
              <a:prstTxWarp prst="textNoShape">
                <a:avLst/>
              </a:prstTxWarp>
            </a:bodyPr>
            <a:lstStyle/>
            <a:p>
              <a:pPr marL="0" marR="0" lvl="0" indent="0" algn="ctr" defTabSz="1096590" rtl="0" eaLnBrk="1" fontAlgn="base" latinLnBrk="0" hangingPunct="1">
                <a:lnSpc>
                  <a:spcPct val="100000"/>
                </a:lnSpc>
                <a:spcBef>
                  <a:spcPct val="0"/>
                </a:spcBef>
                <a:spcAft>
                  <a:spcPct val="0"/>
                </a:spcAft>
                <a:buClrTx/>
                <a:buSzTx/>
                <a:buFontTx/>
                <a:buNone/>
                <a:tabLst/>
                <a:defRPr/>
              </a:pPr>
              <a:endParaRPr kumimoji="0" lang="en-US" sz="2799" b="0" i="0" u="none" strike="noStrike" kern="1200" cap="none" spc="0" normalizeH="0" baseline="0" noProof="0">
                <a:ln>
                  <a:noFill/>
                </a:ln>
                <a:solidFill>
                  <a:srgbClr val="505050"/>
                </a:solidFill>
                <a:effectLst>
                  <a:outerShdw blurRad="38100" dist="38100" dir="2700000" algn="tl">
                    <a:srgbClr val="000000">
                      <a:alpha val="43137"/>
                    </a:srgbClr>
                  </a:outerShdw>
                </a:effectLst>
                <a:uLnTx/>
                <a:uFillTx/>
                <a:latin typeface="Segoe UI"/>
                <a:ea typeface="+mn-ea"/>
                <a:cs typeface="+mn-cs"/>
              </a:endParaRPr>
            </a:p>
          </p:txBody>
        </p:sp>
        <p:sp>
          <p:nvSpPr>
            <p:cNvPr id="254" name="Man's Body"/>
            <p:cNvSpPr>
              <a:spLocks/>
            </p:cNvSpPr>
            <p:nvPr/>
          </p:nvSpPr>
          <p:spPr bwMode="auto">
            <a:xfrm>
              <a:off x="335107" y="2540761"/>
              <a:ext cx="1927374" cy="3278271"/>
            </a:xfrm>
            <a:custGeom>
              <a:avLst/>
              <a:gdLst/>
              <a:ahLst/>
              <a:cxnLst/>
              <a:rect l="l" t="t" r="r" b="b"/>
              <a:pathLst>
                <a:path w="1927374" h="3278271">
                  <a:moveTo>
                    <a:pt x="586126" y="2210886"/>
                  </a:moveTo>
                  <a:cubicBezTo>
                    <a:pt x="616330" y="2216559"/>
                    <a:pt x="773790" y="2391106"/>
                    <a:pt x="1016388" y="2450287"/>
                  </a:cubicBezTo>
                  <a:cubicBezTo>
                    <a:pt x="976291" y="2480726"/>
                    <a:pt x="940784" y="2511617"/>
                    <a:pt x="912668" y="2540828"/>
                  </a:cubicBezTo>
                  <a:cubicBezTo>
                    <a:pt x="851549" y="2604328"/>
                    <a:pt x="830912" y="2661478"/>
                    <a:pt x="803131" y="2726565"/>
                  </a:cubicBezTo>
                  <a:cubicBezTo>
                    <a:pt x="775350" y="2791652"/>
                    <a:pt x="757093" y="2855947"/>
                    <a:pt x="745981" y="2931353"/>
                  </a:cubicBezTo>
                  <a:cubicBezTo>
                    <a:pt x="734869" y="3006759"/>
                    <a:pt x="738837" y="3105978"/>
                    <a:pt x="736456" y="3179003"/>
                  </a:cubicBezTo>
                  <a:cubicBezTo>
                    <a:pt x="735337" y="3213335"/>
                    <a:pt x="717901" y="3247141"/>
                    <a:pt x="707639" y="3278271"/>
                  </a:cubicBezTo>
                  <a:cubicBezTo>
                    <a:pt x="607261" y="3273701"/>
                    <a:pt x="498668" y="3267095"/>
                    <a:pt x="385500" y="3257984"/>
                  </a:cubicBezTo>
                  <a:cubicBezTo>
                    <a:pt x="387043" y="3144926"/>
                    <a:pt x="428711" y="2960553"/>
                    <a:pt x="475010" y="2861409"/>
                  </a:cubicBezTo>
                  <a:cubicBezTo>
                    <a:pt x="439515" y="2884020"/>
                    <a:pt x="288274" y="3042302"/>
                    <a:pt x="258951" y="3247548"/>
                  </a:cubicBezTo>
                  <a:cubicBezTo>
                    <a:pt x="-18839" y="2890978"/>
                    <a:pt x="-32728" y="2605722"/>
                    <a:pt x="32090" y="2494403"/>
                  </a:cubicBezTo>
                  <a:cubicBezTo>
                    <a:pt x="95364" y="2384822"/>
                    <a:pt x="549088" y="2202189"/>
                    <a:pt x="586126" y="2210886"/>
                  </a:cubicBezTo>
                  <a:close/>
                  <a:moveTo>
                    <a:pt x="843852" y="1906497"/>
                  </a:moveTo>
                  <a:cubicBezTo>
                    <a:pt x="873175" y="1899539"/>
                    <a:pt x="1120099" y="2129136"/>
                    <a:pt x="1225042" y="2125656"/>
                  </a:cubicBezTo>
                  <a:cubicBezTo>
                    <a:pt x="1507461" y="2113482"/>
                    <a:pt x="1637096" y="1901279"/>
                    <a:pt x="1664875" y="1911715"/>
                  </a:cubicBezTo>
                  <a:cubicBezTo>
                    <a:pt x="1681451" y="1916632"/>
                    <a:pt x="1706410" y="1996028"/>
                    <a:pt x="1736668" y="2067160"/>
                  </a:cubicBezTo>
                  <a:cubicBezTo>
                    <a:pt x="1645277" y="2089552"/>
                    <a:pt x="1598007" y="2141189"/>
                    <a:pt x="1512743" y="2178878"/>
                  </a:cubicBezTo>
                  <a:cubicBezTo>
                    <a:pt x="1403206" y="2227297"/>
                    <a:pt x="1269855" y="2285240"/>
                    <a:pt x="1169843" y="2345565"/>
                  </a:cubicBezTo>
                  <a:lnTo>
                    <a:pt x="1134882" y="2369115"/>
                  </a:lnTo>
                  <a:cubicBezTo>
                    <a:pt x="930801" y="2331702"/>
                    <a:pt x="739941" y="2168192"/>
                    <a:pt x="735824" y="2132615"/>
                  </a:cubicBezTo>
                  <a:cubicBezTo>
                    <a:pt x="731193" y="2090869"/>
                    <a:pt x="812988" y="1911715"/>
                    <a:pt x="843852" y="1906497"/>
                  </a:cubicBezTo>
                  <a:close/>
                  <a:moveTo>
                    <a:pt x="1195158" y="637"/>
                  </a:moveTo>
                  <a:cubicBezTo>
                    <a:pt x="1347480" y="8471"/>
                    <a:pt x="1513967" y="88272"/>
                    <a:pt x="1650919" y="228569"/>
                  </a:cubicBezTo>
                  <a:cubicBezTo>
                    <a:pt x="1870041" y="453045"/>
                    <a:pt x="1931766" y="569632"/>
                    <a:pt x="1927136" y="614875"/>
                  </a:cubicBezTo>
                  <a:cubicBezTo>
                    <a:pt x="1922506" y="658378"/>
                    <a:pt x="1877757" y="719282"/>
                    <a:pt x="1839178" y="710582"/>
                  </a:cubicBezTo>
                  <a:cubicBezTo>
                    <a:pt x="1799058" y="701882"/>
                    <a:pt x="1794429" y="663598"/>
                    <a:pt x="1772824" y="642718"/>
                  </a:cubicBezTo>
                  <a:cubicBezTo>
                    <a:pt x="1516667" y="399101"/>
                    <a:pt x="1309890" y="437383"/>
                    <a:pt x="1225019" y="466966"/>
                  </a:cubicBezTo>
                  <a:cubicBezTo>
                    <a:pt x="1555245" y="498288"/>
                    <a:pt x="1772824" y="773225"/>
                    <a:pt x="1789799" y="816729"/>
                  </a:cubicBezTo>
                  <a:cubicBezTo>
                    <a:pt x="1806769" y="858482"/>
                    <a:pt x="1789807" y="971551"/>
                    <a:pt x="1789799" y="971599"/>
                  </a:cubicBezTo>
                  <a:cubicBezTo>
                    <a:pt x="1789819" y="971601"/>
                    <a:pt x="1860782" y="976826"/>
                    <a:pt x="1860782" y="1029023"/>
                  </a:cubicBezTo>
                  <a:cubicBezTo>
                    <a:pt x="1860782" y="1081217"/>
                    <a:pt x="1785198" y="1368239"/>
                    <a:pt x="1785170" y="1368346"/>
                  </a:cubicBezTo>
                  <a:cubicBezTo>
                    <a:pt x="1785153" y="1368375"/>
                    <a:pt x="1765100" y="1403147"/>
                    <a:pt x="1741962" y="1397928"/>
                  </a:cubicBezTo>
                  <a:cubicBezTo>
                    <a:pt x="1717273" y="1610222"/>
                    <a:pt x="1632401" y="1742472"/>
                    <a:pt x="1559875" y="1806856"/>
                  </a:cubicBezTo>
                  <a:cubicBezTo>
                    <a:pt x="1488892" y="1869501"/>
                    <a:pt x="1323778" y="1996529"/>
                    <a:pt x="1225019" y="1996529"/>
                  </a:cubicBezTo>
                  <a:cubicBezTo>
                    <a:pt x="1126260" y="1996529"/>
                    <a:pt x="883990" y="1794675"/>
                    <a:pt x="865473" y="1759872"/>
                  </a:cubicBezTo>
                  <a:cubicBezTo>
                    <a:pt x="845414" y="1725071"/>
                    <a:pt x="712705" y="1570199"/>
                    <a:pt x="708075" y="1380528"/>
                  </a:cubicBezTo>
                  <a:cubicBezTo>
                    <a:pt x="643265" y="1375306"/>
                    <a:pt x="606230" y="1183894"/>
                    <a:pt x="581541" y="1082967"/>
                  </a:cubicBezTo>
                  <a:cubicBezTo>
                    <a:pt x="561487" y="997735"/>
                    <a:pt x="630866" y="999439"/>
                    <a:pt x="630919" y="999441"/>
                  </a:cubicBezTo>
                  <a:cubicBezTo>
                    <a:pt x="630881" y="999337"/>
                    <a:pt x="533702" y="731455"/>
                    <a:pt x="525988" y="694921"/>
                  </a:cubicBezTo>
                  <a:cubicBezTo>
                    <a:pt x="519815" y="660118"/>
                    <a:pt x="455005" y="44116"/>
                    <a:pt x="945716" y="66738"/>
                  </a:cubicBezTo>
                  <a:cubicBezTo>
                    <a:pt x="1017470" y="17144"/>
                    <a:pt x="1103765" y="-4064"/>
                    <a:pt x="1195158" y="63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99" tIns="54850" rIns="109699" bIns="54850" numCol="1" rtlCol="0" anchor="ctr" anchorCtr="0" compatLnSpc="1">
              <a:prstTxWarp prst="textNoShape">
                <a:avLst/>
              </a:prstTxWarp>
            </a:bodyPr>
            <a:lstStyle/>
            <a:p>
              <a:pPr marL="0" marR="0" lvl="0" indent="0" algn="ctr" defTabSz="1096590" rtl="0" eaLnBrk="1" fontAlgn="base" latinLnBrk="0" hangingPunct="1">
                <a:lnSpc>
                  <a:spcPct val="100000"/>
                </a:lnSpc>
                <a:spcBef>
                  <a:spcPct val="0"/>
                </a:spcBef>
                <a:spcAft>
                  <a:spcPct val="0"/>
                </a:spcAft>
                <a:buClrTx/>
                <a:buSzTx/>
                <a:buFontTx/>
                <a:buNone/>
                <a:tabLst/>
                <a:defRPr/>
              </a:pPr>
              <a:endParaRPr kumimoji="0" lang="en-US" sz="2799" b="0" i="0" u="none" strike="noStrike" kern="1200" cap="none" spc="0" normalizeH="0" baseline="0" noProof="0">
                <a:ln>
                  <a:noFill/>
                </a:ln>
                <a:solidFill>
                  <a:srgbClr val="505050"/>
                </a:solidFill>
                <a:effectLst>
                  <a:outerShdw blurRad="38100" dist="38100" dir="2700000" algn="tl">
                    <a:srgbClr val="000000">
                      <a:alpha val="43137"/>
                    </a:srgbClr>
                  </a:outerShdw>
                </a:effectLst>
                <a:uLnTx/>
                <a:uFillTx/>
                <a:latin typeface="Segoe UI"/>
                <a:ea typeface="+mn-ea"/>
                <a:cs typeface="+mn-cs"/>
              </a:endParaRPr>
            </a:p>
          </p:txBody>
        </p:sp>
        <p:sp>
          <p:nvSpPr>
            <p:cNvPr id="255" name="Freeform 254"/>
            <p:cNvSpPr/>
            <p:nvPr/>
          </p:nvSpPr>
          <p:spPr>
            <a:xfrm flipH="1">
              <a:off x="1116816" y="2629054"/>
              <a:ext cx="3436629" cy="3474566"/>
            </a:xfrm>
            <a:custGeom>
              <a:avLst/>
              <a:gdLst/>
              <a:ahLst/>
              <a:cxnLst/>
              <a:rect l="l" t="t" r="r" b="b"/>
              <a:pathLst>
                <a:path w="852601" h="862013">
                  <a:moveTo>
                    <a:pt x="339688" y="551599"/>
                  </a:moveTo>
                  <a:cubicBezTo>
                    <a:pt x="336200" y="550660"/>
                    <a:pt x="332712" y="552270"/>
                    <a:pt x="329224" y="555624"/>
                  </a:cubicBezTo>
                  <a:lnTo>
                    <a:pt x="318760" y="571723"/>
                  </a:lnTo>
                  <a:cubicBezTo>
                    <a:pt x="317687" y="576955"/>
                    <a:pt x="320907" y="582723"/>
                    <a:pt x="322785" y="587017"/>
                  </a:cubicBezTo>
                  <a:cubicBezTo>
                    <a:pt x="324663" y="591310"/>
                    <a:pt x="331370" y="593322"/>
                    <a:pt x="330029" y="597481"/>
                  </a:cubicBezTo>
                  <a:cubicBezTo>
                    <a:pt x="328687" y="601641"/>
                    <a:pt x="318894" y="606739"/>
                    <a:pt x="314735" y="611971"/>
                  </a:cubicBezTo>
                  <a:cubicBezTo>
                    <a:pt x="310576" y="617202"/>
                    <a:pt x="308563" y="620288"/>
                    <a:pt x="303465" y="629679"/>
                  </a:cubicBezTo>
                  <a:cubicBezTo>
                    <a:pt x="298368" y="639070"/>
                    <a:pt x="292062" y="654230"/>
                    <a:pt x="284147" y="668317"/>
                  </a:cubicBezTo>
                  <a:cubicBezTo>
                    <a:pt x="276232" y="682403"/>
                    <a:pt x="261340" y="698637"/>
                    <a:pt x="255974" y="714199"/>
                  </a:cubicBezTo>
                  <a:cubicBezTo>
                    <a:pt x="250607" y="729762"/>
                    <a:pt x="252754" y="745727"/>
                    <a:pt x="251949" y="761691"/>
                  </a:cubicBezTo>
                  <a:cubicBezTo>
                    <a:pt x="251144" y="777656"/>
                    <a:pt x="252351" y="796036"/>
                    <a:pt x="251143" y="809989"/>
                  </a:cubicBezTo>
                  <a:cubicBezTo>
                    <a:pt x="249937" y="823941"/>
                    <a:pt x="245778" y="837357"/>
                    <a:pt x="244705" y="845406"/>
                  </a:cubicBezTo>
                  <a:cubicBezTo>
                    <a:pt x="243631" y="853456"/>
                    <a:pt x="243095" y="855603"/>
                    <a:pt x="244705" y="858286"/>
                  </a:cubicBezTo>
                  <a:cubicBezTo>
                    <a:pt x="245509" y="859627"/>
                    <a:pt x="245945" y="860298"/>
                    <a:pt x="247169" y="860701"/>
                  </a:cubicBezTo>
                  <a:lnTo>
                    <a:pt x="254364" y="861506"/>
                  </a:lnTo>
                  <a:cubicBezTo>
                    <a:pt x="262279" y="862042"/>
                    <a:pt x="277305" y="862310"/>
                    <a:pt x="292196" y="861506"/>
                  </a:cubicBezTo>
                  <a:cubicBezTo>
                    <a:pt x="307088" y="860701"/>
                    <a:pt x="333115" y="857749"/>
                    <a:pt x="343713" y="856676"/>
                  </a:cubicBezTo>
                  <a:cubicBezTo>
                    <a:pt x="343747" y="856684"/>
                    <a:pt x="352708" y="858681"/>
                    <a:pt x="355787" y="855066"/>
                  </a:cubicBezTo>
                  <a:cubicBezTo>
                    <a:pt x="358873" y="851443"/>
                    <a:pt x="361288" y="845675"/>
                    <a:pt x="362227" y="834943"/>
                  </a:cubicBezTo>
                  <a:cubicBezTo>
                    <a:pt x="363166" y="824210"/>
                    <a:pt x="363568" y="808110"/>
                    <a:pt x="361422" y="790670"/>
                  </a:cubicBezTo>
                  <a:cubicBezTo>
                    <a:pt x="359275" y="773229"/>
                    <a:pt x="352299" y="754313"/>
                    <a:pt x="349348" y="730298"/>
                  </a:cubicBezTo>
                  <a:cubicBezTo>
                    <a:pt x="346396" y="706284"/>
                    <a:pt x="344786" y="666439"/>
                    <a:pt x="343713" y="646584"/>
                  </a:cubicBezTo>
                  <a:cubicBezTo>
                    <a:pt x="342640" y="626728"/>
                    <a:pt x="342505" y="619886"/>
                    <a:pt x="342908" y="611166"/>
                  </a:cubicBezTo>
                  <a:cubicBezTo>
                    <a:pt x="343310" y="602446"/>
                    <a:pt x="343713" y="600299"/>
                    <a:pt x="346128" y="594262"/>
                  </a:cubicBezTo>
                  <a:cubicBezTo>
                    <a:pt x="348543" y="588224"/>
                    <a:pt x="356727" y="580443"/>
                    <a:pt x="357397" y="574942"/>
                  </a:cubicBezTo>
                  <a:cubicBezTo>
                    <a:pt x="358068" y="569442"/>
                    <a:pt x="353104" y="565149"/>
                    <a:pt x="350153" y="561258"/>
                  </a:cubicBezTo>
                  <a:close/>
                  <a:moveTo>
                    <a:pt x="287206" y="507649"/>
                  </a:moveTo>
                  <a:cubicBezTo>
                    <a:pt x="299226" y="561742"/>
                    <a:pt x="284201" y="574621"/>
                    <a:pt x="274326" y="617123"/>
                  </a:cubicBezTo>
                  <a:cubicBezTo>
                    <a:pt x="272445" y="626330"/>
                    <a:pt x="270907" y="639718"/>
                    <a:pt x="269556" y="655910"/>
                  </a:cubicBezTo>
                  <a:cubicBezTo>
                    <a:pt x="284442" y="632717"/>
                    <a:pt x="299146" y="601494"/>
                    <a:pt x="316184" y="596515"/>
                  </a:cubicBezTo>
                  <a:cubicBezTo>
                    <a:pt x="314038" y="589217"/>
                    <a:pt x="305451" y="583528"/>
                    <a:pt x="306524" y="574621"/>
                  </a:cubicBezTo>
                  <a:cubicBezTo>
                    <a:pt x="307147" y="563679"/>
                    <a:pt x="314405" y="554950"/>
                    <a:pt x="319949" y="545622"/>
                  </a:cubicBezTo>
                  <a:cubicBezTo>
                    <a:pt x="307786" y="539695"/>
                    <a:pt x="298568" y="525281"/>
                    <a:pt x="287206" y="507649"/>
                  </a:cubicBezTo>
                  <a:close/>
                  <a:moveTo>
                    <a:pt x="264023" y="488330"/>
                  </a:moveTo>
                  <a:cubicBezTo>
                    <a:pt x="251143" y="497345"/>
                    <a:pt x="249856" y="517952"/>
                    <a:pt x="240841" y="523104"/>
                  </a:cubicBezTo>
                  <a:cubicBezTo>
                    <a:pt x="177304" y="542852"/>
                    <a:pt x="103463" y="578055"/>
                    <a:pt x="46365" y="613259"/>
                  </a:cubicBezTo>
                  <a:cubicBezTo>
                    <a:pt x="17601" y="630002"/>
                    <a:pt x="12021" y="649320"/>
                    <a:pt x="6440" y="682806"/>
                  </a:cubicBezTo>
                  <a:lnTo>
                    <a:pt x="0" y="793568"/>
                  </a:lnTo>
                  <a:cubicBezTo>
                    <a:pt x="60532" y="849807"/>
                    <a:pt x="154551" y="840362"/>
                    <a:pt x="230537" y="859252"/>
                  </a:cubicBezTo>
                  <a:cubicBezTo>
                    <a:pt x="242128" y="755359"/>
                    <a:pt x="233113" y="597374"/>
                    <a:pt x="265311" y="542422"/>
                  </a:cubicBezTo>
                  <a:close/>
                  <a:moveTo>
                    <a:pt x="473953" y="438101"/>
                  </a:moveTo>
                  <a:cubicBezTo>
                    <a:pt x="449999" y="476765"/>
                    <a:pt x="395188" y="525303"/>
                    <a:pt x="351750" y="542487"/>
                  </a:cubicBezTo>
                  <a:cubicBezTo>
                    <a:pt x="364570" y="553524"/>
                    <a:pt x="369815" y="566569"/>
                    <a:pt x="371564" y="577519"/>
                  </a:cubicBezTo>
                  <a:cubicBezTo>
                    <a:pt x="371510" y="588305"/>
                    <a:pt x="363407" y="591042"/>
                    <a:pt x="359329" y="597803"/>
                  </a:cubicBezTo>
                  <a:cubicBezTo>
                    <a:pt x="364928" y="652187"/>
                    <a:pt x="355161" y="701683"/>
                    <a:pt x="373271" y="759858"/>
                  </a:cubicBezTo>
                  <a:cubicBezTo>
                    <a:pt x="382583" y="726860"/>
                    <a:pt x="394118" y="694072"/>
                    <a:pt x="406981" y="659624"/>
                  </a:cubicBezTo>
                  <a:cubicBezTo>
                    <a:pt x="434458" y="598661"/>
                    <a:pt x="476100" y="510653"/>
                    <a:pt x="473953" y="438101"/>
                  </a:cubicBezTo>
                  <a:close/>
                  <a:moveTo>
                    <a:pt x="444331" y="425221"/>
                  </a:moveTo>
                  <a:cubicBezTo>
                    <a:pt x="417365" y="457420"/>
                    <a:pt x="365446" y="490423"/>
                    <a:pt x="342908" y="490423"/>
                  </a:cubicBezTo>
                  <a:cubicBezTo>
                    <a:pt x="312722" y="489752"/>
                    <a:pt x="309100" y="473787"/>
                    <a:pt x="292196" y="465469"/>
                  </a:cubicBezTo>
                  <a:cubicBezTo>
                    <a:pt x="308026" y="468152"/>
                    <a:pt x="323455" y="474056"/>
                    <a:pt x="339687" y="473519"/>
                  </a:cubicBezTo>
                  <a:cubicBezTo>
                    <a:pt x="376180" y="473116"/>
                    <a:pt x="416695" y="446955"/>
                    <a:pt x="444331" y="425221"/>
                  </a:cubicBezTo>
                  <a:close/>
                  <a:moveTo>
                    <a:pt x="488121" y="409767"/>
                  </a:moveTo>
                  <a:cubicBezTo>
                    <a:pt x="533198" y="465576"/>
                    <a:pt x="410846" y="692681"/>
                    <a:pt x="376072" y="855388"/>
                  </a:cubicBezTo>
                  <a:cubicBezTo>
                    <a:pt x="489409" y="838216"/>
                    <a:pt x="600169" y="850665"/>
                    <a:pt x="716082" y="803871"/>
                  </a:cubicBezTo>
                  <a:cubicBezTo>
                    <a:pt x="761588" y="800437"/>
                    <a:pt x="808382" y="816321"/>
                    <a:pt x="852601" y="793568"/>
                  </a:cubicBezTo>
                  <a:cubicBezTo>
                    <a:pt x="845303" y="743338"/>
                    <a:pt x="867627" y="646745"/>
                    <a:pt x="772750" y="588788"/>
                  </a:cubicBezTo>
                  <a:cubicBezTo>
                    <a:pt x="729391" y="552726"/>
                    <a:pt x="648681" y="519241"/>
                    <a:pt x="565395" y="492193"/>
                  </a:cubicBezTo>
                  <a:cubicBezTo>
                    <a:pt x="534486" y="468582"/>
                    <a:pt x="515167" y="433379"/>
                    <a:pt x="488121" y="409767"/>
                  </a:cubicBezTo>
                  <a:close/>
                  <a:moveTo>
                    <a:pt x="314467" y="207"/>
                  </a:moveTo>
                  <a:cubicBezTo>
                    <a:pt x="302302" y="922"/>
                    <a:pt x="297652" y="4142"/>
                    <a:pt x="285488" y="8794"/>
                  </a:cubicBezTo>
                  <a:cubicBezTo>
                    <a:pt x="273325" y="13444"/>
                    <a:pt x="253826" y="20241"/>
                    <a:pt x="241485" y="28112"/>
                  </a:cubicBezTo>
                  <a:cubicBezTo>
                    <a:pt x="229142" y="35983"/>
                    <a:pt x="220377" y="43853"/>
                    <a:pt x="211433" y="56017"/>
                  </a:cubicBezTo>
                  <a:cubicBezTo>
                    <a:pt x="202489" y="68180"/>
                    <a:pt x="193724" y="87320"/>
                    <a:pt x="187821" y="101095"/>
                  </a:cubicBezTo>
                  <a:cubicBezTo>
                    <a:pt x="181919" y="114868"/>
                    <a:pt x="176194" y="121665"/>
                    <a:pt x="176015" y="138658"/>
                  </a:cubicBezTo>
                  <a:cubicBezTo>
                    <a:pt x="175837" y="155652"/>
                    <a:pt x="182813" y="191249"/>
                    <a:pt x="186748" y="203055"/>
                  </a:cubicBezTo>
                  <a:lnTo>
                    <a:pt x="187520" y="204007"/>
                  </a:lnTo>
                  <a:lnTo>
                    <a:pt x="191027" y="223887"/>
                  </a:lnTo>
                  <a:cubicBezTo>
                    <a:pt x="185407" y="222374"/>
                    <a:pt x="182724" y="232570"/>
                    <a:pt x="184333" y="241693"/>
                  </a:cubicBezTo>
                  <a:cubicBezTo>
                    <a:pt x="185943" y="250815"/>
                    <a:pt x="196139" y="265841"/>
                    <a:pt x="198822" y="277111"/>
                  </a:cubicBezTo>
                  <a:cubicBezTo>
                    <a:pt x="201505" y="288380"/>
                    <a:pt x="200298" y="299113"/>
                    <a:pt x="200432" y="309308"/>
                  </a:cubicBezTo>
                  <a:cubicBezTo>
                    <a:pt x="200566" y="319505"/>
                    <a:pt x="198285" y="331579"/>
                    <a:pt x="199627" y="338286"/>
                  </a:cubicBezTo>
                  <a:cubicBezTo>
                    <a:pt x="200969" y="344995"/>
                    <a:pt x="205128" y="346739"/>
                    <a:pt x="208482" y="349556"/>
                  </a:cubicBezTo>
                  <a:cubicBezTo>
                    <a:pt x="211836" y="352373"/>
                    <a:pt x="218275" y="343385"/>
                    <a:pt x="219751" y="355191"/>
                  </a:cubicBezTo>
                  <a:cubicBezTo>
                    <a:pt x="221227" y="366997"/>
                    <a:pt x="229008" y="395036"/>
                    <a:pt x="236655" y="410733"/>
                  </a:cubicBezTo>
                  <a:cubicBezTo>
                    <a:pt x="244301" y="426429"/>
                    <a:pt x="259999" y="439845"/>
                    <a:pt x="265633" y="449370"/>
                  </a:cubicBezTo>
                  <a:cubicBezTo>
                    <a:pt x="271268" y="458895"/>
                    <a:pt x="266438" y="460372"/>
                    <a:pt x="270463" y="467884"/>
                  </a:cubicBezTo>
                  <a:cubicBezTo>
                    <a:pt x="274487" y="475397"/>
                    <a:pt x="281330" y="484118"/>
                    <a:pt x="289781" y="494447"/>
                  </a:cubicBezTo>
                  <a:cubicBezTo>
                    <a:pt x="298233" y="504778"/>
                    <a:pt x="311246" y="524097"/>
                    <a:pt x="321175" y="529866"/>
                  </a:cubicBezTo>
                  <a:cubicBezTo>
                    <a:pt x="331102" y="535634"/>
                    <a:pt x="333383" y="536305"/>
                    <a:pt x="349348" y="529061"/>
                  </a:cubicBezTo>
                  <a:cubicBezTo>
                    <a:pt x="365312" y="521816"/>
                    <a:pt x="399657" y="499680"/>
                    <a:pt x="416963" y="486398"/>
                  </a:cubicBezTo>
                  <a:cubicBezTo>
                    <a:pt x="434270" y="473116"/>
                    <a:pt x="444331" y="459298"/>
                    <a:pt x="453186" y="449370"/>
                  </a:cubicBezTo>
                  <a:cubicBezTo>
                    <a:pt x="462041" y="439443"/>
                    <a:pt x="466601" y="434746"/>
                    <a:pt x="470089" y="426831"/>
                  </a:cubicBezTo>
                  <a:cubicBezTo>
                    <a:pt x="473577" y="418917"/>
                    <a:pt x="471968" y="409526"/>
                    <a:pt x="474115" y="401878"/>
                  </a:cubicBezTo>
                  <a:cubicBezTo>
                    <a:pt x="476261" y="394231"/>
                    <a:pt x="480688" y="390341"/>
                    <a:pt x="482969" y="380949"/>
                  </a:cubicBezTo>
                  <a:cubicBezTo>
                    <a:pt x="485249" y="371558"/>
                    <a:pt x="484847" y="352373"/>
                    <a:pt x="487799" y="345532"/>
                  </a:cubicBezTo>
                  <a:cubicBezTo>
                    <a:pt x="490750" y="338689"/>
                    <a:pt x="496788" y="343787"/>
                    <a:pt x="500678" y="339897"/>
                  </a:cubicBezTo>
                  <a:cubicBezTo>
                    <a:pt x="504569" y="336006"/>
                    <a:pt x="508996" y="331177"/>
                    <a:pt x="511142" y="322188"/>
                  </a:cubicBezTo>
                  <a:cubicBezTo>
                    <a:pt x="513289" y="313199"/>
                    <a:pt x="511947" y="299515"/>
                    <a:pt x="513557" y="285965"/>
                  </a:cubicBezTo>
                  <a:cubicBezTo>
                    <a:pt x="515167" y="272415"/>
                    <a:pt x="520131" y="252425"/>
                    <a:pt x="520801" y="240888"/>
                  </a:cubicBezTo>
                  <a:cubicBezTo>
                    <a:pt x="521473" y="229350"/>
                    <a:pt x="520131" y="222508"/>
                    <a:pt x="517582" y="216739"/>
                  </a:cubicBezTo>
                  <a:lnTo>
                    <a:pt x="505508" y="206274"/>
                  </a:lnTo>
                  <a:cubicBezTo>
                    <a:pt x="501482" y="205872"/>
                    <a:pt x="496788" y="209897"/>
                    <a:pt x="493433" y="214324"/>
                  </a:cubicBezTo>
                  <a:cubicBezTo>
                    <a:pt x="490893" y="217677"/>
                    <a:pt x="489661" y="229032"/>
                    <a:pt x="487525" y="232413"/>
                  </a:cubicBezTo>
                  <a:lnTo>
                    <a:pt x="486770" y="223363"/>
                  </a:lnTo>
                  <a:lnTo>
                    <a:pt x="488165" y="195462"/>
                  </a:lnTo>
                  <a:lnTo>
                    <a:pt x="490482" y="198762"/>
                  </a:lnTo>
                  <a:cubicBezTo>
                    <a:pt x="492986" y="200550"/>
                    <a:pt x="494238" y="195185"/>
                    <a:pt x="496921" y="194469"/>
                  </a:cubicBezTo>
                  <a:cubicBezTo>
                    <a:pt x="499604" y="193754"/>
                    <a:pt x="503002" y="193217"/>
                    <a:pt x="506581" y="194469"/>
                  </a:cubicBezTo>
                  <a:cubicBezTo>
                    <a:pt x="510158" y="195721"/>
                    <a:pt x="516419" y="202876"/>
                    <a:pt x="518386" y="201981"/>
                  </a:cubicBezTo>
                  <a:cubicBezTo>
                    <a:pt x="519370" y="201534"/>
                    <a:pt x="519370" y="200774"/>
                    <a:pt x="519124" y="198896"/>
                  </a:cubicBezTo>
                  <a:lnTo>
                    <a:pt x="518386" y="189102"/>
                  </a:lnTo>
                  <a:cubicBezTo>
                    <a:pt x="518391" y="189053"/>
                    <a:pt x="521603" y="159753"/>
                    <a:pt x="518386" y="142952"/>
                  </a:cubicBezTo>
                  <a:cubicBezTo>
                    <a:pt x="515167" y="126137"/>
                    <a:pt x="506760" y="103778"/>
                    <a:pt x="499068" y="88215"/>
                  </a:cubicBezTo>
                  <a:cubicBezTo>
                    <a:pt x="491376" y="72652"/>
                    <a:pt x="479213" y="57627"/>
                    <a:pt x="472236" y="49577"/>
                  </a:cubicBezTo>
                  <a:cubicBezTo>
                    <a:pt x="465260" y="41528"/>
                    <a:pt x="466154" y="44211"/>
                    <a:pt x="457210" y="39918"/>
                  </a:cubicBezTo>
                  <a:cubicBezTo>
                    <a:pt x="448266" y="35625"/>
                    <a:pt x="435030" y="29722"/>
                    <a:pt x="418572" y="23818"/>
                  </a:cubicBezTo>
                  <a:cubicBezTo>
                    <a:pt x="402117" y="17916"/>
                    <a:pt x="375821" y="8435"/>
                    <a:pt x="358470" y="4500"/>
                  </a:cubicBezTo>
                  <a:cubicBezTo>
                    <a:pt x="341118" y="564"/>
                    <a:pt x="326630" y="-509"/>
                    <a:pt x="314467" y="20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505050"/>
                </a:solidFill>
                <a:effectLst/>
                <a:uLnTx/>
                <a:uFillTx/>
                <a:latin typeface="Segoe UI"/>
                <a:ea typeface="+mn-ea"/>
                <a:cs typeface="+mn-cs"/>
              </a:endParaRPr>
            </a:p>
          </p:txBody>
        </p:sp>
        <p:sp>
          <p:nvSpPr>
            <p:cNvPr id="256" name="Freeform 255"/>
            <p:cNvSpPr/>
            <p:nvPr/>
          </p:nvSpPr>
          <p:spPr>
            <a:xfrm>
              <a:off x="5391990" y="2823081"/>
              <a:ext cx="2628060" cy="3263867"/>
            </a:xfrm>
            <a:custGeom>
              <a:avLst/>
              <a:gdLst>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338138 w 3900488"/>
                <a:gd name="connsiteY63" fmla="*/ 4760516 h 4808141"/>
                <a:gd name="connsiteX64" fmla="*/ 161925 w 3900488"/>
                <a:gd name="connsiteY64" fmla="*/ 4436666 h 4808141"/>
                <a:gd name="connsiteX65" fmla="*/ 57150 w 3900488"/>
                <a:gd name="connsiteY65" fmla="*/ 4141391 h 4808141"/>
                <a:gd name="connsiteX66" fmla="*/ 0 w 3900488"/>
                <a:gd name="connsiteY66" fmla="*/ 3855641 h 4808141"/>
                <a:gd name="connsiteX67" fmla="*/ 23813 w 3900488"/>
                <a:gd name="connsiteY67" fmla="*/ 3703241 h 4808141"/>
                <a:gd name="connsiteX68" fmla="*/ 219075 w 3900488"/>
                <a:gd name="connsiteY68" fmla="*/ 3584179 h 4808141"/>
                <a:gd name="connsiteX69" fmla="*/ 533400 w 3900488"/>
                <a:gd name="connsiteY69" fmla="*/ 3450829 h 4808141"/>
                <a:gd name="connsiteX70" fmla="*/ 933450 w 3900488"/>
                <a:gd name="connsiteY70" fmla="*/ 3293666 h 4808141"/>
                <a:gd name="connsiteX71" fmla="*/ 1133475 w 3900488"/>
                <a:gd name="connsiteY71" fmla="*/ 3217466 h 4808141"/>
                <a:gd name="connsiteX72" fmla="*/ 1276350 w 3900488"/>
                <a:gd name="connsiteY72" fmla="*/ 2950766 h 4808141"/>
                <a:gd name="connsiteX73" fmla="*/ 1371600 w 3900488"/>
                <a:gd name="connsiteY73" fmla="*/ 2888854 h 4808141"/>
                <a:gd name="connsiteX74" fmla="*/ 1443038 w 3900488"/>
                <a:gd name="connsiteY74" fmla="*/ 2750741 h 4808141"/>
                <a:gd name="connsiteX75" fmla="*/ 1428750 w 3900488"/>
                <a:gd name="connsiteY75" fmla="*/ 2665016 h 4808141"/>
                <a:gd name="connsiteX76" fmla="*/ 1432339 w 3900488"/>
                <a:gd name="connsiteY76" fmla="*/ 2655556 h 4808141"/>
                <a:gd name="connsiteX77" fmla="*/ 1411332 w 3900488"/>
                <a:gd name="connsiteY77" fmla="*/ 2630242 h 4808141"/>
                <a:gd name="connsiteX78" fmla="*/ 1169833 w 3900488"/>
                <a:gd name="connsiteY78" fmla="*/ 2059985 h 4808141"/>
                <a:gd name="connsiteX79" fmla="*/ 975688 w 3900488"/>
                <a:gd name="connsiteY79" fmla="*/ 1612672 h 4808141"/>
                <a:gd name="connsiteX80" fmla="*/ 1051451 w 3900488"/>
                <a:gd name="connsiteY80" fmla="*/ 1487109 h 4808141"/>
                <a:gd name="connsiteX81" fmla="*/ 1016847 w 3900488"/>
                <a:gd name="connsiteY81" fmla="*/ 1277790 h 4808141"/>
                <a:gd name="connsiteX82" fmla="*/ 933449 w 3900488"/>
                <a:gd name="connsiteY82" fmla="*/ 1341041 h 4808141"/>
                <a:gd name="connsiteX83" fmla="*/ 882649 w 3900488"/>
                <a:gd name="connsiteY83" fmla="*/ 1404541 h 4808141"/>
                <a:gd name="connsiteX84" fmla="*/ 838199 w 3900488"/>
                <a:gd name="connsiteY84" fmla="*/ 1525191 h 4808141"/>
                <a:gd name="connsiteX85" fmla="*/ 857249 w 3900488"/>
                <a:gd name="connsiteY85" fmla="*/ 1645841 h 4808141"/>
                <a:gd name="connsiteX86" fmla="*/ 888999 w 3900488"/>
                <a:gd name="connsiteY86" fmla="*/ 1829991 h 4808141"/>
                <a:gd name="connsiteX87" fmla="*/ 965199 w 3900488"/>
                <a:gd name="connsiteY87" fmla="*/ 2128441 h 4808141"/>
                <a:gd name="connsiteX88" fmla="*/ 1047749 w 3900488"/>
                <a:gd name="connsiteY88" fmla="*/ 2198291 h 4808141"/>
                <a:gd name="connsiteX89" fmla="*/ 1098549 w 3900488"/>
                <a:gd name="connsiteY89" fmla="*/ 2331641 h 4808141"/>
                <a:gd name="connsiteX90" fmla="*/ 1219199 w 3900488"/>
                <a:gd name="connsiteY90" fmla="*/ 2566591 h 4808141"/>
                <a:gd name="connsiteX91" fmla="*/ 1269999 w 3900488"/>
                <a:gd name="connsiteY91" fmla="*/ 2712641 h 4808141"/>
                <a:gd name="connsiteX92" fmla="*/ 1130299 w 3900488"/>
                <a:gd name="connsiteY92" fmla="*/ 2750741 h 4808141"/>
                <a:gd name="connsiteX93" fmla="*/ 927099 w 3900488"/>
                <a:gd name="connsiteY93" fmla="*/ 2776141 h 4808141"/>
                <a:gd name="connsiteX94" fmla="*/ 742949 w 3900488"/>
                <a:gd name="connsiteY94" fmla="*/ 2731691 h 4808141"/>
                <a:gd name="connsiteX95" fmla="*/ 660399 w 3900488"/>
                <a:gd name="connsiteY95" fmla="*/ 2591991 h 4808141"/>
                <a:gd name="connsiteX96" fmla="*/ 622299 w 3900488"/>
                <a:gd name="connsiteY96" fmla="*/ 2344341 h 4808141"/>
                <a:gd name="connsiteX97" fmla="*/ 634999 w 3900488"/>
                <a:gd name="connsiteY97" fmla="*/ 2020491 h 4808141"/>
                <a:gd name="connsiteX98" fmla="*/ 736599 w 3900488"/>
                <a:gd name="connsiteY98" fmla="*/ 1328341 h 4808141"/>
                <a:gd name="connsiteX99" fmla="*/ 971549 w 3900488"/>
                <a:gd name="connsiteY99" fmla="*/ 623491 h 4808141"/>
                <a:gd name="connsiteX100" fmla="*/ 1168399 w 3900488"/>
                <a:gd name="connsiteY100" fmla="*/ 299641 h 4808141"/>
                <a:gd name="connsiteX101" fmla="*/ 1358899 w 3900488"/>
                <a:gd name="connsiteY101" fmla="*/ 140891 h 4808141"/>
                <a:gd name="connsiteX102" fmla="*/ 1530349 w 3900488"/>
                <a:gd name="connsiteY102" fmla="*/ 115491 h 4808141"/>
                <a:gd name="connsiteX103" fmla="*/ 1676399 w 3900488"/>
                <a:gd name="connsiteY103" fmla="*/ 13891 h 4808141"/>
                <a:gd name="connsiteX104" fmla="*/ 1813321 w 3900488"/>
                <a:gd name="connsiteY104" fmla="*/ 0 h 4808141"/>
                <a:gd name="connsiteX0" fmla="*/ 3060949 w 3900488"/>
                <a:gd name="connsiteY0" fmla="*/ 1005769 h 4760516"/>
                <a:gd name="connsiteX1" fmla="*/ 3081338 w 3900488"/>
                <a:gd name="connsiteY1" fmla="*/ 1026716 h 4760516"/>
                <a:gd name="connsiteX2" fmla="*/ 3167063 w 3900488"/>
                <a:gd name="connsiteY2" fmla="*/ 1369616 h 4760516"/>
                <a:gd name="connsiteX3" fmla="*/ 3252788 w 3900488"/>
                <a:gd name="connsiteY3" fmla="*/ 1822054 h 4760516"/>
                <a:gd name="connsiteX4" fmla="*/ 3281363 w 3900488"/>
                <a:gd name="connsiteY4" fmla="*/ 2255441 h 4760516"/>
                <a:gd name="connsiteX5" fmla="*/ 3271838 w 3900488"/>
                <a:gd name="connsiteY5" fmla="*/ 2526904 h 4760516"/>
                <a:gd name="connsiteX6" fmla="*/ 3190875 w 3900488"/>
                <a:gd name="connsiteY6" fmla="*/ 2722166 h 4760516"/>
                <a:gd name="connsiteX7" fmla="*/ 3043238 w 3900488"/>
                <a:gd name="connsiteY7" fmla="*/ 2750741 h 4760516"/>
                <a:gd name="connsiteX8" fmla="*/ 2809875 w 3900488"/>
                <a:gd name="connsiteY8" fmla="*/ 2731691 h 4760516"/>
                <a:gd name="connsiteX9" fmla="*/ 2633663 w 3900488"/>
                <a:gd name="connsiteY9" fmla="*/ 2669779 h 4760516"/>
                <a:gd name="connsiteX10" fmla="*/ 2657475 w 3900488"/>
                <a:gd name="connsiteY10" fmla="*/ 2603104 h 4760516"/>
                <a:gd name="connsiteX11" fmla="*/ 2752725 w 3900488"/>
                <a:gd name="connsiteY11" fmla="*/ 2474516 h 4760516"/>
                <a:gd name="connsiteX12" fmla="*/ 2843213 w 3900488"/>
                <a:gd name="connsiteY12" fmla="*/ 2255441 h 4760516"/>
                <a:gd name="connsiteX13" fmla="*/ 2862263 w 3900488"/>
                <a:gd name="connsiteY13" fmla="*/ 2160191 h 4760516"/>
                <a:gd name="connsiteX14" fmla="*/ 2919413 w 3900488"/>
                <a:gd name="connsiteY14" fmla="*/ 2098279 h 4760516"/>
                <a:gd name="connsiteX15" fmla="*/ 3000375 w 3900488"/>
                <a:gd name="connsiteY15" fmla="*/ 1855391 h 4760516"/>
                <a:gd name="connsiteX16" fmla="*/ 3057525 w 3900488"/>
                <a:gd name="connsiteY16" fmla="*/ 1598216 h 4760516"/>
                <a:gd name="connsiteX17" fmla="*/ 3062288 w 3900488"/>
                <a:gd name="connsiteY17" fmla="*/ 1483916 h 4760516"/>
                <a:gd name="connsiteX18" fmla="*/ 3009900 w 3900488"/>
                <a:gd name="connsiteY18" fmla="*/ 1379141 h 4760516"/>
                <a:gd name="connsiteX19" fmla="*/ 2957513 w 3900488"/>
                <a:gd name="connsiteY19" fmla="*/ 1331516 h 4760516"/>
                <a:gd name="connsiteX20" fmla="*/ 2947988 w 3900488"/>
                <a:gd name="connsiteY20" fmla="*/ 1236266 h 4760516"/>
                <a:gd name="connsiteX21" fmla="*/ 2957513 w 3900488"/>
                <a:gd name="connsiteY21" fmla="*/ 1121966 h 4760516"/>
                <a:gd name="connsiteX22" fmla="*/ 3005138 w 3900488"/>
                <a:gd name="connsiteY22" fmla="*/ 1050529 h 4760516"/>
                <a:gd name="connsiteX23" fmla="*/ 3060949 w 3900488"/>
                <a:gd name="connsiteY23" fmla="*/ 1005769 h 4760516"/>
                <a:gd name="connsiteX24" fmla="*/ 1813321 w 3900488"/>
                <a:gd name="connsiteY24" fmla="*/ 0 h 4760516"/>
                <a:gd name="connsiteX25" fmla="*/ 1955799 w 3900488"/>
                <a:gd name="connsiteY25" fmla="*/ 1191 h 4760516"/>
                <a:gd name="connsiteX26" fmla="*/ 2152649 w 3900488"/>
                <a:gd name="connsiteY26" fmla="*/ 20241 h 4760516"/>
                <a:gd name="connsiteX27" fmla="*/ 2381249 w 3900488"/>
                <a:gd name="connsiteY27" fmla="*/ 121841 h 4760516"/>
                <a:gd name="connsiteX28" fmla="*/ 2641599 w 3900488"/>
                <a:gd name="connsiteY28" fmla="*/ 331391 h 4760516"/>
                <a:gd name="connsiteX29" fmla="*/ 2946399 w 3900488"/>
                <a:gd name="connsiteY29" fmla="*/ 693341 h 4760516"/>
                <a:gd name="connsiteX30" fmla="*/ 3060699 w 3900488"/>
                <a:gd name="connsiteY30" fmla="*/ 883841 h 4760516"/>
                <a:gd name="connsiteX31" fmla="*/ 3009899 w 3900488"/>
                <a:gd name="connsiteY31" fmla="*/ 1004491 h 4760516"/>
                <a:gd name="connsiteX32" fmla="*/ 2901949 w 3900488"/>
                <a:gd name="connsiteY32" fmla="*/ 1061641 h 4760516"/>
                <a:gd name="connsiteX33" fmla="*/ 2825749 w 3900488"/>
                <a:gd name="connsiteY33" fmla="*/ 998141 h 4760516"/>
                <a:gd name="connsiteX34" fmla="*/ 2654299 w 3900488"/>
                <a:gd name="connsiteY34" fmla="*/ 820341 h 4760516"/>
                <a:gd name="connsiteX35" fmla="*/ 2349499 w 3900488"/>
                <a:gd name="connsiteY35" fmla="*/ 674291 h 4760516"/>
                <a:gd name="connsiteX36" fmla="*/ 2019299 w 3900488"/>
                <a:gd name="connsiteY36" fmla="*/ 674291 h 4760516"/>
                <a:gd name="connsiteX37" fmla="*/ 2343149 w 3900488"/>
                <a:gd name="connsiteY37" fmla="*/ 769541 h 4760516"/>
                <a:gd name="connsiteX38" fmla="*/ 2552699 w 3900488"/>
                <a:gd name="connsiteY38" fmla="*/ 909241 h 4760516"/>
                <a:gd name="connsiteX39" fmla="*/ 2629040 w 3900488"/>
                <a:gd name="connsiteY39" fmla="*/ 973620 h 4760516"/>
                <a:gd name="connsiteX40" fmla="*/ 2900212 w 3900488"/>
                <a:gd name="connsiteY40" fmla="*/ 1067700 h 4760516"/>
                <a:gd name="connsiteX41" fmla="*/ 2829545 w 3900488"/>
                <a:gd name="connsiteY41" fmla="*/ 1212445 h 4760516"/>
                <a:gd name="connsiteX42" fmla="*/ 2829545 w 3900488"/>
                <a:gd name="connsiteY42" fmla="*/ 1445256 h 4760516"/>
                <a:gd name="connsiteX43" fmla="*/ 2938456 w 3900488"/>
                <a:gd name="connsiteY43" fmla="*/ 1531580 h 4760516"/>
                <a:gd name="connsiteX44" fmla="*/ 2822442 w 3900488"/>
                <a:gd name="connsiteY44" fmla="*/ 2041674 h 4760516"/>
                <a:gd name="connsiteX45" fmla="*/ 2756148 w 3900488"/>
                <a:gd name="connsiteY45" fmla="*/ 2086142 h 4760516"/>
                <a:gd name="connsiteX46" fmla="*/ 2479547 w 3900488"/>
                <a:gd name="connsiteY46" fmla="*/ 2698176 h 4760516"/>
                <a:gd name="connsiteX47" fmla="*/ 2528888 w 3900488"/>
                <a:gd name="connsiteY47" fmla="*/ 2817416 h 4760516"/>
                <a:gd name="connsiteX48" fmla="*/ 2590800 w 3900488"/>
                <a:gd name="connsiteY48" fmla="*/ 2874566 h 4760516"/>
                <a:gd name="connsiteX49" fmla="*/ 2657475 w 3900488"/>
                <a:gd name="connsiteY49" fmla="*/ 2884091 h 4760516"/>
                <a:gd name="connsiteX50" fmla="*/ 2681288 w 3900488"/>
                <a:gd name="connsiteY50" fmla="*/ 2912666 h 4760516"/>
                <a:gd name="connsiteX51" fmla="*/ 2747963 w 3900488"/>
                <a:gd name="connsiteY51" fmla="*/ 3079354 h 4760516"/>
                <a:gd name="connsiteX52" fmla="*/ 2843213 w 3900488"/>
                <a:gd name="connsiteY52" fmla="*/ 3174604 h 4760516"/>
                <a:gd name="connsiteX53" fmla="*/ 2938463 w 3900488"/>
                <a:gd name="connsiteY53" fmla="*/ 3207941 h 4760516"/>
                <a:gd name="connsiteX54" fmla="*/ 3281363 w 3900488"/>
                <a:gd name="connsiteY54" fmla="*/ 3317479 h 4760516"/>
                <a:gd name="connsiteX55" fmla="*/ 3657600 w 3900488"/>
                <a:gd name="connsiteY55" fmla="*/ 3493691 h 4760516"/>
                <a:gd name="connsiteX56" fmla="*/ 3867150 w 3900488"/>
                <a:gd name="connsiteY56" fmla="*/ 3641329 h 4760516"/>
                <a:gd name="connsiteX57" fmla="*/ 3900488 w 3900488"/>
                <a:gd name="connsiteY57" fmla="*/ 3769916 h 4760516"/>
                <a:gd name="connsiteX58" fmla="*/ 3876675 w 3900488"/>
                <a:gd name="connsiteY58" fmla="*/ 4027091 h 4760516"/>
                <a:gd name="connsiteX59" fmla="*/ 3790950 w 3900488"/>
                <a:gd name="connsiteY59" fmla="*/ 4236641 h 4760516"/>
                <a:gd name="connsiteX60" fmla="*/ 3619500 w 3900488"/>
                <a:gd name="connsiteY60" fmla="*/ 4598591 h 4760516"/>
                <a:gd name="connsiteX61" fmla="*/ 3471863 w 3900488"/>
                <a:gd name="connsiteY61" fmla="*/ 4760516 h 4760516"/>
                <a:gd name="connsiteX62" fmla="*/ 338138 w 3900488"/>
                <a:gd name="connsiteY62" fmla="*/ 4760516 h 4760516"/>
                <a:gd name="connsiteX63" fmla="*/ 161925 w 3900488"/>
                <a:gd name="connsiteY63" fmla="*/ 4436666 h 4760516"/>
                <a:gd name="connsiteX64" fmla="*/ 57150 w 3900488"/>
                <a:gd name="connsiteY64" fmla="*/ 4141391 h 4760516"/>
                <a:gd name="connsiteX65" fmla="*/ 0 w 3900488"/>
                <a:gd name="connsiteY65" fmla="*/ 3855641 h 4760516"/>
                <a:gd name="connsiteX66" fmla="*/ 23813 w 3900488"/>
                <a:gd name="connsiteY66" fmla="*/ 3703241 h 4760516"/>
                <a:gd name="connsiteX67" fmla="*/ 219075 w 3900488"/>
                <a:gd name="connsiteY67" fmla="*/ 3584179 h 4760516"/>
                <a:gd name="connsiteX68" fmla="*/ 533400 w 3900488"/>
                <a:gd name="connsiteY68" fmla="*/ 3450829 h 4760516"/>
                <a:gd name="connsiteX69" fmla="*/ 933450 w 3900488"/>
                <a:gd name="connsiteY69" fmla="*/ 3293666 h 4760516"/>
                <a:gd name="connsiteX70" fmla="*/ 1133475 w 3900488"/>
                <a:gd name="connsiteY70" fmla="*/ 3217466 h 4760516"/>
                <a:gd name="connsiteX71" fmla="*/ 1276350 w 3900488"/>
                <a:gd name="connsiteY71" fmla="*/ 2950766 h 4760516"/>
                <a:gd name="connsiteX72" fmla="*/ 1371600 w 3900488"/>
                <a:gd name="connsiteY72" fmla="*/ 2888854 h 4760516"/>
                <a:gd name="connsiteX73" fmla="*/ 1443038 w 3900488"/>
                <a:gd name="connsiteY73" fmla="*/ 2750741 h 4760516"/>
                <a:gd name="connsiteX74" fmla="*/ 1428750 w 3900488"/>
                <a:gd name="connsiteY74" fmla="*/ 2665016 h 4760516"/>
                <a:gd name="connsiteX75" fmla="*/ 1432339 w 3900488"/>
                <a:gd name="connsiteY75" fmla="*/ 2655556 h 4760516"/>
                <a:gd name="connsiteX76" fmla="*/ 1411332 w 3900488"/>
                <a:gd name="connsiteY76" fmla="*/ 2630242 h 4760516"/>
                <a:gd name="connsiteX77" fmla="*/ 1169833 w 3900488"/>
                <a:gd name="connsiteY77" fmla="*/ 2059985 h 4760516"/>
                <a:gd name="connsiteX78" fmla="*/ 975688 w 3900488"/>
                <a:gd name="connsiteY78" fmla="*/ 1612672 h 4760516"/>
                <a:gd name="connsiteX79" fmla="*/ 1051451 w 3900488"/>
                <a:gd name="connsiteY79" fmla="*/ 1487109 h 4760516"/>
                <a:gd name="connsiteX80" fmla="*/ 1016847 w 3900488"/>
                <a:gd name="connsiteY80" fmla="*/ 1277790 h 4760516"/>
                <a:gd name="connsiteX81" fmla="*/ 933449 w 3900488"/>
                <a:gd name="connsiteY81" fmla="*/ 1341041 h 4760516"/>
                <a:gd name="connsiteX82" fmla="*/ 882649 w 3900488"/>
                <a:gd name="connsiteY82" fmla="*/ 1404541 h 4760516"/>
                <a:gd name="connsiteX83" fmla="*/ 838199 w 3900488"/>
                <a:gd name="connsiteY83" fmla="*/ 1525191 h 4760516"/>
                <a:gd name="connsiteX84" fmla="*/ 857249 w 3900488"/>
                <a:gd name="connsiteY84" fmla="*/ 1645841 h 4760516"/>
                <a:gd name="connsiteX85" fmla="*/ 888999 w 3900488"/>
                <a:gd name="connsiteY85" fmla="*/ 1829991 h 4760516"/>
                <a:gd name="connsiteX86" fmla="*/ 965199 w 3900488"/>
                <a:gd name="connsiteY86" fmla="*/ 2128441 h 4760516"/>
                <a:gd name="connsiteX87" fmla="*/ 1047749 w 3900488"/>
                <a:gd name="connsiteY87" fmla="*/ 2198291 h 4760516"/>
                <a:gd name="connsiteX88" fmla="*/ 1098549 w 3900488"/>
                <a:gd name="connsiteY88" fmla="*/ 2331641 h 4760516"/>
                <a:gd name="connsiteX89" fmla="*/ 1219199 w 3900488"/>
                <a:gd name="connsiteY89" fmla="*/ 2566591 h 4760516"/>
                <a:gd name="connsiteX90" fmla="*/ 1269999 w 3900488"/>
                <a:gd name="connsiteY90" fmla="*/ 2712641 h 4760516"/>
                <a:gd name="connsiteX91" fmla="*/ 1130299 w 3900488"/>
                <a:gd name="connsiteY91" fmla="*/ 2750741 h 4760516"/>
                <a:gd name="connsiteX92" fmla="*/ 927099 w 3900488"/>
                <a:gd name="connsiteY92" fmla="*/ 2776141 h 4760516"/>
                <a:gd name="connsiteX93" fmla="*/ 742949 w 3900488"/>
                <a:gd name="connsiteY93" fmla="*/ 2731691 h 4760516"/>
                <a:gd name="connsiteX94" fmla="*/ 660399 w 3900488"/>
                <a:gd name="connsiteY94" fmla="*/ 2591991 h 4760516"/>
                <a:gd name="connsiteX95" fmla="*/ 622299 w 3900488"/>
                <a:gd name="connsiteY95" fmla="*/ 2344341 h 4760516"/>
                <a:gd name="connsiteX96" fmla="*/ 634999 w 3900488"/>
                <a:gd name="connsiteY96" fmla="*/ 2020491 h 4760516"/>
                <a:gd name="connsiteX97" fmla="*/ 736599 w 3900488"/>
                <a:gd name="connsiteY97" fmla="*/ 1328341 h 4760516"/>
                <a:gd name="connsiteX98" fmla="*/ 971549 w 3900488"/>
                <a:gd name="connsiteY98" fmla="*/ 623491 h 4760516"/>
                <a:gd name="connsiteX99" fmla="*/ 1168399 w 3900488"/>
                <a:gd name="connsiteY99" fmla="*/ 299641 h 4760516"/>
                <a:gd name="connsiteX100" fmla="*/ 1358899 w 3900488"/>
                <a:gd name="connsiteY100" fmla="*/ 140891 h 4760516"/>
                <a:gd name="connsiteX101" fmla="*/ 1530349 w 3900488"/>
                <a:gd name="connsiteY101" fmla="*/ 115491 h 4760516"/>
                <a:gd name="connsiteX102" fmla="*/ 1676399 w 3900488"/>
                <a:gd name="connsiteY102" fmla="*/ 13891 h 4760516"/>
                <a:gd name="connsiteX103" fmla="*/ 1813321 w 3900488"/>
                <a:gd name="connsiteY103" fmla="*/ 0 h 4760516"/>
                <a:gd name="connsiteX0" fmla="*/ 3061653 w 3901192"/>
                <a:gd name="connsiteY0" fmla="*/ 1005769 h 4760516"/>
                <a:gd name="connsiteX1" fmla="*/ 3082042 w 3901192"/>
                <a:gd name="connsiteY1" fmla="*/ 1026716 h 4760516"/>
                <a:gd name="connsiteX2" fmla="*/ 3167767 w 3901192"/>
                <a:gd name="connsiteY2" fmla="*/ 1369616 h 4760516"/>
                <a:gd name="connsiteX3" fmla="*/ 3253492 w 3901192"/>
                <a:gd name="connsiteY3" fmla="*/ 1822054 h 4760516"/>
                <a:gd name="connsiteX4" fmla="*/ 3282067 w 3901192"/>
                <a:gd name="connsiteY4" fmla="*/ 2255441 h 4760516"/>
                <a:gd name="connsiteX5" fmla="*/ 3272542 w 3901192"/>
                <a:gd name="connsiteY5" fmla="*/ 2526904 h 4760516"/>
                <a:gd name="connsiteX6" fmla="*/ 3191579 w 3901192"/>
                <a:gd name="connsiteY6" fmla="*/ 2722166 h 4760516"/>
                <a:gd name="connsiteX7" fmla="*/ 3043942 w 3901192"/>
                <a:gd name="connsiteY7" fmla="*/ 2750741 h 4760516"/>
                <a:gd name="connsiteX8" fmla="*/ 2810579 w 3901192"/>
                <a:gd name="connsiteY8" fmla="*/ 2731691 h 4760516"/>
                <a:gd name="connsiteX9" fmla="*/ 2634367 w 3901192"/>
                <a:gd name="connsiteY9" fmla="*/ 2669779 h 4760516"/>
                <a:gd name="connsiteX10" fmla="*/ 2658179 w 3901192"/>
                <a:gd name="connsiteY10" fmla="*/ 2603104 h 4760516"/>
                <a:gd name="connsiteX11" fmla="*/ 2753429 w 3901192"/>
                <a:gd name="connsiteY11" fmla="*/ 2474516 h 4760516"/>
                <a:gd name="connsiteX12" fmla="*/ 2843917 w 3901192"/>
                <a:gd name="connsiteY12" fmla="*/ 2255441 h 4760516"/>
                <a:gd name="connsiteX13" fmla="*/ 2862967 w 3901192"/>
                <a:gd name="connsiteY13" fmla="*/ 2160191 h 4760516"/>
                <a:gd name="connsiteX14" fmla="*/ 2920117 w 3901192"/>
                <a:gd name="connsiteY14" fmla="*/ 2098279 h 4760516"/>
                <a:gd name="connsiteX15" fmla="*/ 3001079 w 3901192"/>
                <a:gd name="connsiteY15" fmla="*/ 1855391 h 4760516"/>
                <a:gd name="connsiteX16" fmla="*/ 3058229 w 3901192"/>
                <a:gd name="connsiteY16" fmla="*/ 1598216 h 4760516"/>
                <a:gd name="connsiteX17" fmla="*/ 3062992 w 3901192"/>
                <a:gd name="connsiteY17" fmla="*/ 1483916 h 4760516"/>
                <a:gd name="connsiteX18" fmla="*/ 3010604 w 3901192"/>
                <a:gd name="connsiteY18" fmla="*/ 1379141 h 4760516"/>
                <a:gd name="connsiteX19" fmla="*/ 2958217 w 3901192"/>
                <a:gd name="connsiteY19" fmla="*/ 1331516 h 4760516"/>
                <a:gd name="connsiteX20" fmla="*/ 2948692 w 3901192"/>
                <a:gd name="connsiteY20" fmla="*/ 1236266 h 4760516"/>
                <a:gd name="connsiteX21" fmla="*/ 2958217 w 3901192"/>
                <a:gd name="connsiteY21" fmla="*/ 1121966 h 4760516"/>
                <a:gd name="connsiteX22" fmla="*/ 3005842 w 3901192"/>
                <a:gd name="connsiteY22" fmla="*/ 1050529 h 4760516"/>
                <a:gd name="connsiteX23" fmla="*/ 3061653 w 3901192"/>
                <a:gd name="connsiteY23" fmla="*/ 1005769 h 4760516"/>
                <a:gd name="connsiteX24" fmla="*/ 1814025 w 3901192"/>
                <a:gd name="connsiteY24" fmla="*/ 0 h 4760516"/>
                <a:gd name="connsiteX25" fmla="*/ 1956503 w 3901192"/>
                <a:gd name="connsiteY25" fmla="*/ 1191 h 4760516"/>
                <a:gd name="connsiteX26" fmla="*/ 2153353 w 3901192"/>
                <a:gd name="connsiteY26" fmla="*/ 20241 h 4760516"/>
                <a:gd name="connsiteX27" fmla="*/ 2381953 w 3901192"/>
                <a:gd name="connsiteY27" fmla="*/ 121841 h 4760516"/>
                <a:gd name="connsiteX28" fmla="*/ 2642303 w 3901192"/>
                <a:gd name="connsiteY28" fmla="*/ 331391 h 4760516"/>
                <a:gd name="connsiteX29" fmla="*/ 2947103 w 3901192"/>
                <a:gd name="connsiteY29" fmla="*/ 693341 h 4760516"/>
                <a:gd name="connsiteX30" fmla="*/ 3061403 w 3901192"/>
                <a:gd name="connsiteY30" fmla="*/ 883841 h 4760516"/>
                <a:gd name="connsiteX31" fmla="*/ 3010603 w 3901192"/>
                <a:gd name="connsiteY31" fmla="*/ 1004491 h 4760516"/>
                <a:gd name="connsiteX32" fmla="*/ 2902653 w 3901192"/>
                <a:gd name="connsiteY32" fmla="*/ 1061641 h 4760516"/>
                <a:gd name="connsiteX33" fmla="*/ 2826453 w 3901192"/>
                <a:gd name="connsiteY33" fmla="*/ 998141 h 4760516"/>
                <a:gd name="connsiteX34" fmla="*/ 2655003 w 3901192"/>
                <a:gd name="connsiteY34" fmla="*/ 820341 h 4760516"/>
                <a:gd name="connsiteX35" fmla="*/ 2350203 w 3901192"/>
                <a:gd name="connsiteY35" fmla="*/ 674291 h 4760516"/>
                <a:gd name="connsiteX36" fmla="*/ 2020003 w 3901192"/>
                <a:gd name="connsiteY36" fmla="*/ 674291 h 4760516"/>
                <a:gd name="connsiteX37" fmla="*/ 2343853 w 3901192"/>
                <a:gd name="connsiteY37" fmla="*/ 769541 h 4760516"/>
                <a:gd name="connsiteX38" fmla="*/ 2553403 w 3901192"/>
                <a:gd name="connsiteY38" fmla="*/ 909241 h 4760516"/>
                <a:gd name="connsiteX39" fmla="*/ 2629744 w 3901192"/>
                <a:gd name="connsiteY39" fmla="*/ 973620 h 4760516"/>
                <a:gd name="connsiteX40" fmla="*/ 2900916 w 3901192"/>
                <a:gd name="connsiteY40" fmla="*/ 1067700 h 4760516"/>
                <a:gd name="connsiteX41" fmla="*/ 2830249 w 3901192"/>
                <a:gd name="connsiteY41" fmla="*/ 1212445 h 4760516"/>
                <a:gd name="connsiteX42" fmla="*/ 2830249 w 3901192"/>
                <a:gd name="connsiteY42" fmla="*/ 1445256 h 4760516"/>
                <a:gd name="connsiteX43" fmla="*/ 2939160 w 3901192"/>
                <a:gd name="connsiteY43" fmla="*/ 1531580 h 4760516"/>
                <a:gd name="connsiteX44" fmla="*/ 2823146 w 3901192"/>
                <a:gd name="connsiteY44" fmla="*/ 2041674 h 4760516"/>
                <a:gd name="connsiteX45" fmla="*/ 2756852 w 3901192"/>
                <a:gd name="connsiteY45" fmla="*/ 2086142 h 4760516"/>
                <a:gd name="connsiteX46" fmla="*/ 2480251 w 3901192"/>
                <a:gd name="connsiteY46" fmla="*/ 2698176 h 4760516"/>
                <a:gd name="connsiteX47" fmla="*/ 2529592 w 3901192"/>
                <a:gd name="connsiteY47" fmla="*/ 2817416 h 4760516"/>
                <a:gd name="connsiteX48" fmla="*/ 2591504 w 3901192"/>
                <a:gd name="connsiteY48" fmla="*/ 2874566 h 4760516"/>
                <a:gd name="connsiteX49" fmla="*/ 2658179 w 3901192"/>
                <a:gd name="connsiteY49" fmla="*/ 2884091 h 4760516"/>
                <a:gd name="connsiteX50" fmla="*/ 2681992 w 3901192"/>
                <a:gd name="connsiteY50" fmla="*/ 2912666 h 4760516"/>
                <a:gd name="connsiteX51" fmla="*/ 2748667 w 3901192"/>
                <a:gd name="connsiteY51" fmla="*/ 3079354 h 4760516"/>
                <a:gd name="connsiteX52" fmla="*/ 2843917 w 3901192"/>
                <a:gd name="connsiteY52" fmla="*/ 3174604 h 4760516"/>
                <a:gd name="connsiteX53" fmla="*/ 2939167 w 3901192"/>
                <a:gd name="connsiteY53" fmla="*/ 3207941 h 4760516"/>
                <a:gd name="connsiteX54" fmla="*/ 3282067 w 3901192"/>
                <a:gd name="connsiteY54" fmla="*/ 3317479 h 4760516"/>
                <a:gd name="connsiteX55" fmla="*/ 3658304 w 3901192"/>
                <a:gd name="connsiteY55" fmla="*/ 3493691 h 4760516"/>
                <a:gd name="connsiteX56" fmla="*/ 3867854 w 3901192"/>
                <a:gd name="connsiteY56" fmla="*/ 3641329 h 4760516"/>
                <a:gd name="connsiteX57" fmla="*/ 3901192 w 3901192"/>
                <a:gd name="connsiteY57" fmla="*/ 3769916 h 4760516"/>
                <a:gd name="connsiteX58" fmla="*/ 3877379 w 3901192"/>
                <a:gd name="connsiteY58" fmla="*/ 4027091 h 4760516"/>
                <a:gd name="connsiteX59" fmla="*/ 3791654 w 3901192"/>
                <a:gd name="connsiteY59" fmla="*/ 4236641 h 4760516"/>
                <a:gd name="connsiteX60" fmla="*/ 3620204 w 3901192"/>
                <a:gd name="connsiteY60" fmla="*/ 4598591 h 4760516"/>
                <a:gd name="connsiteX61" fmla="*/ 3472567 w 3901192"/>
                <a:gd name="connsiteY61" fmla="*/ 4760516 h 4760516"/>
                <a:gd name="connsiteX62" fmla="*/ 338842 w 3901192"/>
                <a:gd name="connsiteY62" fmla="*/ 4760516 h 4760516"/>
                <a:gd name="connsiteX63" fmla="*/ 162629 w 3901192"/>
                <a:gd name="connsiteY63" fmla="*/ 4436666 h 4760516"/>
                <a:gd name="connsiteX64" fmla="*/ 57854 w 3901192"/>
                <a:gd name="connsiteY64" fmla="*/ 4141391 h 4760516"/>
                <a:gd name="connsiteX65" fmla="*/ 704 w 3901192"/>
                <a:gd name="connsiteY65" fmla="*/ 3855641 h 4760516"/>
                <a:gd name="connsiteX66" fmla="*/ 24517 w 3901192"/>
                <a:gd name="connsiteY66" fmla="*/ 3703241 h 4760516"/>
                <a:gd name="connsiteX67" fmla="*/ 219779 w 3901192"/>
                <a:gd name="connsiteY67" fmla="*/ 3584179 h 4760516"/>
                <a:gd name="connsiteX68" fmla="*/ 534104 w 3901192"/>
                <a:gd name="connsiteY68" fmla="*/ 3450829 h 4760516"/>
                <a:gd name="connsiteX69" fmla="*/ 934154 w 3901192"/>
                <a:gd name="connsiteY69" fmla="*/ 3293666 h 4760516"/>
                <a:gd name="connsiteX70" fmla="*/ 1134179 w 3901192"/>
                <a:gd name="connsiteY70" fmla="*/ 3217466 h 4760516"/>
                <a:gd name="connsiteX71" fmla="*/ 1277054 w 3901192"/>
                <a:gd name="connsiteY71" fmla="*/ 2950766 h 4760516"/>
                <a:gd name="connsiteX72" fmla="*/ 1372304 w 3901192"/>
                <a:gd name="connsiteY72" fmla="*/ 2888854 h 4760516"/>
                <a:gd name="connsiteX73" fmla="*/ 1443742 w 3901192"/>
                <a:gd name="connsiteY73" fmla="*/ 2750741 h 4760516"/>
                <a:gd name="connsiteX74" fmla="*/ 1429454 w 3901192"/>
                <a:gd name="connsiteY74" fmla="*/ 2665016 h 4760516"/>
                <a:gd name="connsiteX75" fmla="*/ 1433043 w 3901192"/>
                <a:gd name="connsiteY75" fmla="*/ 2655556 h 4760516"/>
                <a:gd name="connsiteX76" fmla="*/ 1412036 w 3901192"/>
                <a:gd name="connsiteY76" fmla="*/ 2630242 h 4760516"/>
                <a:gd name="connsiteX77" fmla="*/ 1170537 w 3901192"/>
                <a:gd name="connsiteY77" fmla="*/ 2059985 h 4760516"/>
                <a:gd name="connsiteX78" fmla="*/ 976392 w 3901192"/>
                <a:gd name="connsiteY78" fmla="*/ 1612672 h 4760516"/>
                <a:gd name="connsiteX79" fmla="*/ 1052155 w 3901192"/>
                <a:gd name="connsiteY79" fmla="*/ 1487109 h 4760516"/>
                <a:gd name="connsiteX80" fmla="*/ 1017551 w 3901192"/>
                <a:gd name="connsiteY80" fmla="*/ 1277790 h 4760516"/>
                <a:gd name="connsiteX81" fmla="*/ 934153 w 3901192"/>
                <a:gd name="connsiteY81" fmla="*/ 1341041 h 4760516"/>
                <a:gd name="connsiteX82" fmla="*/ 883353 w 3901192"/>
                <a:gd name="connsiteY82" fmla="*/ 1404541 h 4760516"/>
                <a:gd name="connsiteX83" fmla="*/ 838903 w 3901192"/>
                <a:gd name="connsiteY83" fmla="*/ 1525191 h 4760516"/>
                <a:gd name="connsiteX84" fmla="*/ 857953 w 3901192"/>
                <a:gd name="connsiteY84" fmla="*/ 1645841 h 4760516"/>
                <a:gd name="connsiteX85" fmla="*/ 889703 w 3901192"/>
                <a:gd name="connsiteY85" fmla="*/ 1829991 h 4760516"/>
                <a:gd name="connsiteX86" fmla="*/ 965903 w 3901192"/>
                <a:gd name="connsiteY86" fmla="*/ 2128441 h 4760516"/>
                <a:gd name="connsiteX87" fmla="*/ 1048453 w 3901192"/>
                <a:gd name="connsiteY87" fmla="*/ 2198291 h 4760516"/>
                <a:gd name="connsiteX88" fmla="*/ 1099253 w 3901192"/>
                <a:gd name="connsiteY88" fmla="*/ 2331641 h 4760516"/>
                <a:gd name="connsiteX89" fmla="*/ 1219903 w 3901192"/>
                <a:gd name="connsiteY89" fmla="*/ 2566591 h 4760516"/>
                <a:gd name="connsiteX90" fmla="*/ 1270703 w 3901192"/>
                <a:gd name="connsiteY90" fmla="*/ 2712641 h 4760516"/>
                <a:gd name="connsiteX91" fmla="*/ 1131003 w 3901192"/>
                <a:gd name="connsiteY91" fmla="*/ 2750741 h 4760516"/>
                <a:gd name="connsiteX92" fmla="*/ 927803 w 3901192"/>
                <a:gd name="connsiteY92" fmla="*/ 2776141 h 4760516"/>
                <a:gd name="connsiteX93" fmla="*/ 743653 w 3901192"/>
                <a:gd name="connsiteY93" fmla="*/ 2731691 h 4760516"/>
                <a:gd name="connsiteX94" fmla="*/ 661103 w 3901192"/>
                <a:gd name="connsiteY94" fmla="*/ 2591991 h 4760516"/>
                <a:gd name="connsiteX95" fmla="*/ 623003 w 3901192"/>
                <a:gd name="connsiteY95" fmla="*/ 2344341 h 4760516"/>
                <a:gd name="connsiteX96" fmla="*/ 635703 w 3901192"/>
                <a:gd name="connsiteY96" fmla="*/ 2020491 h 4760516"/>
                <a:gd name="connsiteX97" fmla="*/ 737303 w 3901192"/>
                <a:gd name="connsiteY97" fmla="*/ 1328341 h 4760516"/>
                <a:gd name="connsiteX98" fmla="*/ 972253 w 3901192"/>
                <a:gd name="connsiteY98" fmla="*/ 623491 h 4760516"/>
                <a:gd name="connsiteX99" fmla="*/ 1169103 w 3901192"/>
                <a:gd name="connsiteY99" fmla="*/ 299641 h 4760516"/>
                <a:gd name="connsiteX100" fmla="*/ 1359603 w 3901192"/>
                <a:gd name="connsiteY100" fmla="*/ 140891 h 4760516"/>
                <a:gd name="connsiteX101" fmla="*/ 1531053 w 3901192"/>
                <a:gd name="connsiteY101" fmla="*/ 115491 h 4760516"/>
                <a:gd name="connsiteX102" fmla="*/ 1677103 w 3901192"/>
                <a:gd name="connsiteY102" fmla="*/ 13891 h 4760516"/>
                <a:gd name="connsiteX103" fmla="*/ 1814025 w 3901192"/>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2384"/>
                <a:gd name="connsiteY0" fmla="*/ 1005769 h 4760516"/>
                <a:gd name="connsiteX1" fmla="*/ 3082677 w 3902384"/>
                <a:gd name="connsiteY1" fmla="*/ 1026716 h 4760516"/>
                <a:gd name="connsiteX2" fmla="*/ 3168402 w 3902384"/>
                <a:gd name="connsiteY2" fmla="*/ 1369616 h 4760516"/>
                <a:gd name="connsiteX3" fmla="*/ 3254127 w 3902384"/>
                <a:gd name="connsiteY3" fmla="*/ 1822054 h 4760516"/>
                <a:gd name="connsiteX4" fmla="*/ 3282702 w 3902384"/>
                <a:gd name="connsiteY4" fmla="*/ 2255441 h 4760516"/>
                <a:gd name="connsiteX5" fmla="*/ 3273177 w 3902384"/>
                <a:gd name="connsiteY5" fmla="*/ 2526904 h 4760516"/>
                <a:gd name="connsiteX6" fmla="*/ 3192214 w 3902384"/>
                <a:gd name="connsiteY6" fmla="*/ 2722166 h 4760516"/>
                <a:gd name="connsiteX7" fmla="*/ 3044577 w 3902384"/>
                <a:gd name="connsiteY7" fmla="*/ 2750741 h 4760516"/>
                <a:gd name="connsiteX8" fmla="*/ 2811214 w 3902384"/>
                <a:gd name="connsiteY8" fmla="*/ 2731691 h 4760516"/>
                <a:gd name="connsiteX9" fmla="*/ 2635002 w 3902384"/>
                <a:gd name="connsiteY9" fmla="*/ 2669779 h 4760516"/>
                <a:gd name="connsiteX10" fmla="*/ 2658814 w 3902384"/>
                <a:gd name="connsiteY10" fmla="*/ 2603104 h 4760516"/>
                <a:gd name="connsiteX11" fmla="*/ 2754064 w 3902384"/>
                <a:gd name="connsiteY11" fmla="*/ 2474516 h 4760516"/>
                <a:gd name="connsiteX12" fmla="*/ 2844552 w 3902384"/>
                <a:gd name="connsiteY12" fmla="*/ 2255441 h 4760516"/>
                <a:gd name="connsiteX13" fmla="*/ 2863602 w 3902384"/>
                <a:gd name="connsiteY13" fmla="*/ 2160191 h 4760516"/>
                <a:gd name="connsiteX14" fmla="*/ 2920752 w 3902384"/>
                <a:gd name="connsiteY14" fmla="*/ 2098279 h 4760516"/>
                <a:gd name="connsiteX15" fmla="*/ 3001714 w 3902384"/>
                <a:gd name="connsiteY15" fmla="*/ 1855391 h 4760516"/>
                <a:gd name="connsiteX16" fmla="*/ 3058864 w 3902384"/>
                <a:gd name="connsiteY16" fmla="*/ 1598216 h 4760516"/>
                <a:gd name="connsiteX17" fmla="*/ 3063627 w 3902384"/>
                <a:gd name="connsiteY17" fmla="*/ 1483916 h 4760516"/>
                <a:gd name="connsiteX18" fmla="*/ 3011239 w 3902384"/>
                <a:gd name="connsiteY18" fmla="*/ 1379141 h 4760516"/>
                <a:gd name="connsiteX19" fmla="*/ 2958852 w 3902384"/>
                <a:gd name="connsiteY19" fmla="*/ 1331516 h 4760516"/>
                <a:gd name="connsiteX20" fmla="*/ 2949327 w 3902384"/>
                <a:gd name="connsiteY20" fmla="*/ 1236266 h 4760516"/>
                <a:gd name="connsiteX21" fmla="*/ 2958852 w 3902384"/>
                <a:gd name="connsiteY21" fmla="*/ 1121966 h 4760516"/>
                <a:gd name="connsiteX22" fmla="*/ 3006477 w 3902384"/>
                <a:gd name="connsiteY22" fmla="*/ 1050529 h 4760516"/>
                <a:gd name="connsiteX23" fmla="*/ 3062288 w 3902384"/>
                <a:gd name="connsiteY23" fmla="*/ 1005769 h 4760516"/>
                <a:gd name="connsiteX24" fmla="*/ 1814660 w 3902384"/>
                <a:gd name="connsiteY24" fmla="*/ 0 h 4760516"/>
                <a:gd name="connsiteX25" fmla="*/ 1957138 w 3902384"/>
                <a:gd name="connsiteY25" fmla="*/ 1191 h 4760516"/>
                <a:gd name="connsiteX26" fmla="*/ 2153988 w 3902384"/>
                <a:gd name="connsiteY26" fmla="*/ 20241 h 4760516"/>
                <a:gd name="connsiteX27" fmla="*/ 2382588 w 3902384"/>
                <a:gd name="connsiteY27" fmla="*/ 121841 h 4760516"/>
                <a:gd name="connsiteX28" fmla="*/ 2642938 w 3902384"/>
                <a:gd name="connsiteY28" fmla="*/ 331391 h 4760516"/>
                <a:gd name="connsiteX29" fmla="*/ 2947738 w 3902384"/>
                <a:gd name="connsiteY29" fmla="*/ 693341 h 4760516"/>
                <a:gd name="connsiteX30" fmla="*/ 3062038 w 3902384"/>
                <a:gd name="connsiteY30" fmla="*/ 883841 h 4760516"/>
                <a:gd name="connsiteX31" fmla="*/ 3011238 w 3902384"/>
                <a:gd name="connsiteY31" fmla="*/ 1004491 h 4760516"/>
                <a:gd name="connsiteX32" fmla="*/ 2903288 w 3902384"/>
                <a:gd name="connsiteY32" fmla="*/ 1061641 h 4760516"/>
                <a:gd name="connsiteX33" fmla="*/ 2827088 w 3902384"/>
                <a:gd name="connsiteY33" fmla="*/ 998141 h 4760516"/>
                <a:gd name="connsiteX34" fmla="*/ 2655638 w 3902384"/>
                <a:gd name="connsiteY34" fmla="*/ 820341 h 4760516"/>
                <a:gd name="connsiteX35" fmla="*/ 2350838 w 3902384"/>
                <a:gd name="connsiteY35" fmla="*/ 674291 h 4760516"/>
                <a:gd name="connsiteX36" fmla="*/ 2020638 w 3902384"/>
                <a:gd name="connsiteY36" fmla="*/ 674291 h 4760516"/>
                <a:gd name="connsiteX37" fmla="*/ 2344488 w 3902384"/>
                <a:gd name="connsiteY37" fmla="*/ 769541 h 4760516"/>
                <a:gd name="connsiteX38" fmla="*/ 2554038 w 3902384"/>
                <a:gd name="connsiteY38" fmla="*/ 909241 h 4760516"/>
                <a:gd name="connsiteX39" fmla="*/ 2630379 w 3902384"/>
                <a:gd name="connsiteY39" fmla="*/ 973620 h 4760516"/>
                <a:gd name="connsiteX40" fmla="*/ 2901551 w 3902384"/>
                <a:gd name="connsiteY40" fmla="*/ 1067700 h 4760516"/>
                <a:gd name="connsiteX41" fmla="*/ 2830884 w 3902384"/>
                <a:gd name="connsiteY41" fmla="*/ 1212445 h 4760516"/>
                <a:gd name="connsiteX42" fmla="*/ 2830884 w 3902384"/>
                <a:gd name="connsiteY42" fmla="*/ 1445256 h 4760516"/>
                <a:gd name="connsiteX43" fmla="*/ 2939795 w 3902384"/>
                <a:gd name="connsiteY43" fmla="*/ 1531580 h 4760516"/>
                <a:gd name="connsiteX44" fmla="*/ 2823781 w 3902384"/>
                <a:gd name="connsiteY44" fmla="*/ 2041674 h 4760516"/>
                <a:gd name="connsiteX45" fmla="*/ 2757487 w 3902384"/>
                <a:gd name="connsiteY45" fmla="*/ 2086142 h 4760516"/>
                <a:gd name="connsiteX46" fmla="*/ 2480886 w 3902384"/>
                <a:gd name="connsiteY46" fmla="*/ 2698176 h 4760516"/>
                <a:gd name="connsiteX47" fmla="*/ 2530227 w 3902384"/>
                <a:gd name="connsiteY47" fmla="*/ 2817416 h 4760516"/>
                <a:gd name="connsiteX48" fmla="*/ 2592139 w 3902384"/>
                <a:gd name="connsiteY48" fmla="*/ 2874566 h 4760516"/>
                <a:gd name="connsiteX49" fmla="*/ 2658814 w 3902384"/>
                <a:gd name="connsiteY49" fmla="*/ 2884091 h 4760516"/>
                <a:gd name="connsiteX50" fmla="*/ 2682627 w 3902384"/>
                <a:gd name="connsiteY50" fmla="*/ 2912666 h 4760516"/>
                <a:gd name="connsiteX51" fmla="*/ 2749302 w 3902384"/>
                <a:gd name="connsiteY51" fmla="*/ 3079354 h 4760516"/>
                <a:gd name="connsiteX52" fmla="*/ 2844552 w 3902384"/>
                <a:gd name="connsiteY52" fmla="*/ 3174604 h 4760516"/>
                <a:gd name="connsiteX53" fmla="*/ 2939802 w 3902384"/>
                <a:gd name="connsiteY53" fmla="*/ 3207941 h 4760516"/>
                <a:gd name="connsiteX54" fmla="*/ 3282702 w 3902384"/>
                <a:gd name="connsiteY54" fmla="*/ 3317479 h 4760516"/>
                <a:gd name="connsiteX55" fmla="*/ 3658939 w 3902384"/>
                <a:gd name="connsiteY55" fmla="*/ 3493691 h 4760516"/>
                <a:gd name="connsiteX56" fmla="*/ 3868489 w 3902384"/>
                <a:gd name="connsiteY56" fmla="*/ 3641329 h 4760516"/>
                <a:gd name="connsiteX57" fmla="*/ 3901827 w 3902384"/>
                <a:gd name="connsiteY57" fmla="*/ 3769916 h 4760516"/>
                <a:gd name="connsiteX58" fmla="*/ 3878014 w 3902384"/>
                <a:gd name="connsiteY58" fmla="*/ 4027091 h 4760516"/>
                <a:gd name="connsiteX59" fmla="*/ 3792289 w 3902384"/>
                <a:gd name="connsiteY59" fmla="*/ 4236641 h 4760516"/>
                <a:gd name="connsiteX60" fmla="*/ 3620839 w 3902384"/>
                <a:gd name="connsiteY60" fmla="*/ 4598591 h 4760516"/>
                <a:gd name="connsiteX61" fmla="*/ 3473202 w 3902384"/>
                <a:gd name="connsiteY61" fmla="*/ 4760516 h 4760516"/>
                <a:gd name="connsiteX62" fmla="*/ 339477 w 3902384"/>
                <a:gd name="connsiteY62" fmla="*/ 4760516 h 4760516"/>
                <a:gd name="connsiteX63" fmla="*/ 163264 w 3902384"/>
                <a:gd name="connsiteY63" fmla="*/ 4436666 h 4760516"/>
                <a:gd name="connsiteX64" fmla="*/ 58489 w 3902384"/>
                <a:gd name="connsiteY64" fmla="*/ 4141391 h 4760516"/>
                <a:gd name="connsiteX65" fmla="*/ 1339 w 3902384"/>
                <a:gd name="connsiteY65" fmla="*/ 3855641 h 4760516"/>
                <a:gd name="connsiteX66" fmla="*/ 25152 w 3902384"/>
                <a:gd name="connsiteY66" fmla="*/ 3703241 h 4760516"/>
                <a:gd name="connsiteX67" fmla="*/ 220414 w 3902384"/>
                <a:gd name="connsiteY67" fmla="*/ 3584179 h 4760516"/>
                <a:gd name="connsiteX68" fmla="*/ 534739 w 3902384"/>
                <a:gd name="connsiteY68" fmla="*/ 3450829 h 4760516"/>
                <a:gd name="connsiteX69" fmla="*/ 934789 w 3902384"/>
                <a:gd name="connsiteY69" fmla="*/ 3293666 h 4760516"/>
                <a:gd name="connsiteX70" fmla="*/ 1134814 w 3902384"/>
                <a:gd name="connsiteY70" fmla="*/ 3217466 h 4760516"/>
                <a:gd name="connsiteX71" fmla="*/ 1277689 w 3902384"/>
                <a:gd name="connsiteY71" fmla="*/ 2950766 h 4760516"/>
                <a:gd name="connsiteX72" fmla="*/ 1372939 w 3902384"/>
                <a:gd name="connsiteY72" fmla="*/ 2888854 h 4760516"/>
                <a:gd name="connsiteX73" fmla="*/ 1444377 w 3902384"/>
                <a:gd name="connsiteY73" fmla="*/ 2750741 h 4760516"/>
                <a:gd name="connsiteX74" fmla="*/ 1430089 w 3902384"/>
                <a:gd name="connsiteY74" fmla="*/ 2665016 h 4760516"/>
                <a:gd name="connsiteX75" fmla="*/ 1433678 w 3902384"/>
                <a:gd name="connsiteY75" fmla="*/ 2655556 h 4760516"/>
                <a:gd name="connsiteX76" fmla="*/ 1412671 w 3902384"/>
                <a:gd name="connsiteY76" fmla="*/ 2630242 h 4760516"/>
                <a:gd name="connsiteX77" fmla="*/ 1171172 w 3902384"/>
                <a:gd name="connsiteY77" fmla="*/ 2059985 h 4760516"/>
                <a:gd name="connsiteX78" fmla="*/ 977027 w 3902384"/>
                <a:gd name="connsiteY78" fmla="*/ 1612672 h 4760516"/>
                <a:gd name="connsiteX79" fmla="*/ 1052790 w 3902384"/>
                <a:gd name="connsiteY79" fmla="*/ 1487109 h 4760516"/>
                <a:gd name="connsiteX80" fmla="*/ 1018186 w 3902384"/>
                <a:gd name="connsiteY80" fmla="*/ 1277790 h 4760516"/>
                <a:gd name="connsiteX81" fmla="*/ 934788 w 3902384"/>
                <a:gd name="connsiteY81" fmla="*/ 1341041 h 4760516"/>
                <a:gd name="connsiteX82" fmla="*/ 883988 w 3902384"/>
                <a:gd name="connsiteY82" fmla="*/ 1404541 h 4760516"/>
                <a:gd name="connsiteX83" fmla="*/ 839538 w 3902384"/>
                <a:gd name="connsiteY83" fmla="*/ 1525191 h 4760516"/>
                <a:gd name="connsiteX84" fmla="*/ 858588 w 3902384"/>
                <a:gd name="connsiteY84" fmla="*/ 1645841 h 4760516"/>
                <a:gd name="connsiteX85" fmla="*/ 890338 w 3902384"/>
                <a:gd name="connsiteY85" fmla="*/ 1829991 h 4760516"/>
                <a:gd name="connsiteX86" fmla="*/ 966538 w 3902384"/>
                <a:gd name="connsiteY86" fmla="*/ 2128441 h 4760516"/>
                <a:gd name="connsiteX87" fmla="*/ 1049088 w 3902384"/>
                <a:gd name="connsiteY87" fmla="*/ 2198291 h 4760516"/>
                <a:gd name="connsiteX88" fmla="*/ 1099888 w 3902384"/>
                <a:gd name="connsiteY88" fmla="*/ 2331641 h 4760516"/>
                <a:gd name="connsiteX89" fmla="*/ 1220538 w 3902384"/>
                <a:gd name="connsiteY89" fmla="*/ 2566591 h 4760516"/>
                <a:gd name="connsiteX90" fmla="*/ 1271338 w 3902384"/>
                <a:gd name="connsiteY90" fmla="*/ 2712641 h 4760516"/>
                <a:gd name="connsiteX91" fmla="*/ 1131638 w 3902384"/>
                <a:gd name="connsiteY91" fmla="*/ 2750741 h 4760516"/>
                <a:gd name="connsiteX92" fmla="*/ 928438 w 3902384"/>
                <a:gd name="connsiteY92" fmla="*/ 2776141 h 4760516"/>
                <a:gd name="connsiteX93" fmla="*/ 744288 w 3902384"/>
                <a:gd name="connsiteY93" fmla="*/ 2731691 h 4760516"/>
                <a:gd name="connsiteX94" fmla="*/ 661738 w 3902384"/>
                <a:gd name="connsiteY94" fmla="*/ 2591991 h 4760516"/>
                <a:gd name="connsiteX95" fmla="*/ 623638 w 3902384"/>
                <a:gd name="connsiteY95" fmla="*/ 2344341 h 4760516"/>
                <a:gd name="connsiteX96" fmla="*/ 636338 w 3902384"/>
                <a:gd name="connsiteY96" fmla="*/ 2020491 h 4760516"/>
                <a:gd name="connsiteX97" fmla="*/ 737938 w 3902384"/>
                <a:gd name="connsiteY97" fmla="*/ 1328341 h 4760516"/>
                <a:gd name="connsiteX98" fmla="*/ 972888 w 3902384"/>
                <a:gd name="connsiteY98" fmla="*/ 623491 h 4760516"/>
                <a:gd name="connsiteX99" fmla="*/ 1169738 w 3902384"/>
                <a:gd name="connsiteY99" fmla="*/ 299641 h 4760516"/>
                <a:gd name="connsiteX100" fmla="*/ 1360238 w 3902384"/>
                <a:gd name="connsiteY100" fmla="*/ 140891 h 4760516"/>
                <a:gd name="connsiteX101" fmla="*/ 1531688 w 3902384"/>
                <a:gd name="connsiteY101" fmla="*/ 115491 h 4760516"/>
                <a:gd name="connsiteX102" fmla="*/ 1677738 w 3902384"/>
                <a:gd name="connsiteY102" fmla="*/ 13891 h 4760516"/>
                <a:gd name="connsiteX103" fmla="*/ 1814660 w 3902384"/>
                <a:gd name="connsiteY103" fmla="*/ 0 h 4760516"/>
                <a:gd name="connsiteX0" fmla="*/ 3062288 w 3903424"/>
                <a:gd name="connsiteY0" fmla="*/ 1005769 h 4760516"/>
                <a:gd name="connsiteX1" fmla="*/ 3082677 w 3903424"/>
                <a:gd name="connsiteY1" fmla="*/ 1026716 h 4760516"/>
                <a:gd name="connsiteX2" fmla="*/ 3168402 w 3903424"/>
                <a:gd name="connsiteY2" fmla="*/ 1369616 h 4760516"/>
                <a:gd name="connsiteX3" fmla="*/ 3254127 w 3903424"/>
                <a:gd name="connsiteY3" fmla="*/ 1822054 h 4760516"/>
                <a:gd name="connsiteX4" fmla="*/ 3282702 w 3903424"/>
                <a:gd name="connsiteY4" fmla="*/ 2255441 h 4760516"/>
                <a:gd name="connsiteX5" fmla="*/ 3273177 w 3903424"/>
                <a:gd name="connsiteY5" fmla="*/ 2526904 h 4760516"/>
                <a:gd name="connsiteX6" fmla="*/ 3192214 w 3903424"/>
                <a:gd name="connsiteY6" fmla="*/ 2722166 h 4760516"/>
                <a:gd name="connsiteX7" fmla="*/ 3044577 w 3903424"/>
                <a:gd name="connsiteY7" fmla="*/ 2750741 h 4760516"/>
                <a:gd name="connsiteX8" fmla="*/ 2811214 w 3903424"/>
                <a:gd name="connsiteY8" fmla="*/ 2731691 h 4760516"/>
                <a:gd name="connsiteX9" fmla="*/ 2635002 w 3903424"/>
                <a:gd name="connsiteY9" fmla="*/ 2669779 h 4760516"/>
                <a:gd name="connsiteX10" fmla="*/ 2658814 w 3903424"/>
                <a:gd name="connsiteY10" fmla="*/ 2603104 h 4760516"/>
                <a:gd name="connsiteX11" fmla="*/ 2754064 w 3903424"/>
                <a:gd name="connsiteY11" fmla="*/ 2474516 h 4760516"/>
                <a:gd name="connsiteX12" fmla="*/ 2844552 w 3903424"/>
                <a:gd name="connsiteY12" fmla="*/ 2255441 h 4760516"/>
                <a:gd name="connsiteX13" fmla="*/ 2863602 w 3903424"/>
                <a:gd name="connsiteY13" fmla="*/ 2160191 h 4760516"/>
                <a:gd name="connsiteX14" fmla="*/ 2920752 w 3903424"/>
                <a:gd name="connsiteY14" fmla="*/ 2098279 h 4760516"/>
                <a:gd name="connsiteX15" fmla="*/ 3001714 w 3903424"/>
                <a:gd name="connsiteY15" fmla="*/ 1855391 h 4760516"/>
                <a:gd name="connsiteX16" fmla="*/ 3058864 w 3903424"/>
                <a:gd name="connsiteY16" fmla="*/ 1598216 h 4760516"/>
                <a:gd name="connsiteX17" fmla="*/ 3063627 w 3903424"/>
                <a:gd name="connsiteY17" fmla="*/ 1483916 h 4760516"/>
                <a:gd name="connsiteX18" fmla="*/ 3011239 w 3903424"/>
                <a:gd name="connsiteY18" fmla="*/ 1379141 h 4760516"/>
                <a:gd name="connsiteX19" fmla="*/ 2958852 w 3903424"/>
                <a:gd name="connsiteY19" fmla="*/ 1331516 h 4760516"/>
                <a:gd name="connsiteX20" fmla="*/ 2949327 w 3903424"/>
                <a:gd name="connsiteY20" fmla="*/ 1236266 h 4760516"/>
                <a:gd name="connsiteX21" fmla="*/ 2958852 w 3903424"/>
                <a:gd name="connsiteY21" fmla="*/ 1121966 h 4760516"/>
                <a:gd name="connsiteX22" fmla="*/ 3006477 w 3903424"/>
                <a:gd name="connsiteY22" fmla="*/ 1050529 h 4760516"/>
                <a:gd name="connsiteX23" fmla="*/ 3062288 w 3903424"/>
                <a:gd name="connsiteY23" fmla="*/ 1005769 h 4760516"/>
                <a:gd name="connsiteX24" fmla="*/ 1814660 w 3903424"/>
                <a:gd name="connsiteY24" fmla="*/ 0 h 4760516"/>
                <a:gd name="connsiteX25" fmla="*/ 1957138 w 3903424"/>
                <a:gd name="connsiteY25" fmla="*/ 1191 h 4760516"/>
                <a:gd name="connsiteX26" fmla="*/ 2153988 w 3903424"/>
                <a:gd name="connsiteY26" fmla="*/ 20241 h 4760516"/>
                <a:gd name="connsiteX27" fmla="*/ 2382588 w 3903424"/>
                <a:gd name="connsiteY27" fmla="*/ 121841 h 4760516"/>
                <a:gd name="connsiteX28" fmla="*/ 2642938 w 3903424"/>
                <a:gd name="connsiteY28" fmla="*/ 331391 h 4760516"/>
                <a:gd name="connsiteX29" fmla="*/ 2947738 w 3903424"/>
                <a:gd name="connsiteY29" fmla="*/ 693341 h 4760516"/>
                <a:gd name="connsiteX30" fmla="*/ 3062038 w 3903424"/>
                <a:gd name="connsiteY30" fmla="*/ 883841 h 4760516"/>
                <a:gd name="connsiteX31" fmla="*/ 3011238 w 3903424"/>
                <a:gd name="connsiteY31" fmla="*/ 1004491 h 4760516"/>
                <a:gd name="connsiteX32" fmla="*/ 2903288 w 3903424"/>
                <a:gd name="connsiteY32" fmla="*/ 1061641 h 4760516"/>
                <a:gd name="connsiteX33" fmla="*/ 2827088 w 3903424"/>
                <a:gd name="connsiteY33" fmla="*/ 998141 h 4760516"/>
                <a:gd name="connsiteX34" fmla="*/ 2655638 w 3903424"/>
                <a:gd name="connsiteY34" fmla="*/ 820341 h 4760516"/>
                <a:gd name="connsiteX35" fmla="*/ 2350838 w 3903424"/>
                <a:gd name="connsiteY35" fmla="*/ 674291 h 4760516"/>
                <a:gd name="connsiteX36" fmla="*/ 2020638 w 3903424"/>
                <a:gd name="connsiteY36" fmla="*/ 674291 h 4760516"/>
                <a:gd name="connsiteX37" fmla="*/ 2344488 w 3903424"/>
                <a:gd name="connsiteY37" fmla="*/ 769541 h 4760516"/>
                <a:gd name="connsiteX38" fmla="*/ 2554038 w 3903424"/>
                <a:gd name="connsiteY38" fmla="*/ 909241 h 4760516"/>
                <a:gd name="connsiteX39" fmla="*/ 2630379 w 3903424"/>
                <a:gd name="connsiteY39" fmla="*/ 973620 h 4760516"/>
                <a:gd name="connsiteX40" fmla="*/ 2901551 w 3903424"/>
                <a:gd name="connsiteY40" fmla="*/ 1067700 h 4760516"/>
                <a:gd name="connsiteX41" fmla="*/ 2830884 w 3903424"/>
                <a:gd name="connsiteY41" fmla="*/ 1212445 h 4760516"/>
                <a:gd name="connsiteX42" fmla="*/ 2830884 w 3903424"/>
                <a:gd name="connsiteY42" fmla="*/ 1445256 h 4760516"/>
                <a:gd name="connsiteX43" fmla="*/ 2939795 w 3903424"/>
                <a:gd name="connsiteY43" fmla="*/ 1531580 h 4760516"/>
                <a:gd name="connsiteX44" fmla="*/ 2823781 w 3903424"/>
                <a:gd name="connsiteY44" fmla="*/ 2041674 h 4760516"/>
                <a:gd name="connsiteX45" fmla="*/ 2757487 w 3903424"/>
                <a:gd name="connsiteY45" fmla="*/ 2086142 h 4760516"/>
                <a:gd name="connsiteX46" fmla="*/ 2480886 w 3903424"/>
                <a:gd name="connsiteY46" fmla="*/ 2698176 h 4760516"/>
                <a:gd name="connsiteX47" fmla="*/ 2530227 w 3903424"/>
                <a:gd name="connsiteY47" fmla="*/ 2817416 h 4760516"/>
                <a:gd name="connsiteX48" fmla="*/ 2592139 w 3903424"/>
                <a:gd name="connsiteY48" fmla="*/ 2874566 h 4760516"/>
                <a:gd name="connsiteX49" fmla="*/ 2658814 w 3903424"/>
                <a:gd name="connsiteY49" fmla="*/ 2884091 h 4760516"/>
                <a:gd name="connsiteX50" fmla="*/ 2682627 w 3903424"/>
                <a:gd name="connsiteY50" fmla="*/ 2912666 h 4760516"/>
                <a:gd name="connsiteX51" fmla="*/ 2749302 w 3903424"/>
                <a:gd name="connsiteY51" fmla="*/ 3079354 h 4760516"/>
                <a:gd name="connsiteX52" fmla="*/ 2844552 w 3903424"/>
                <a:gd name="connsiteY52" fmla="*/ 3174604 h 4760516"/>
                <a:gd name="connsiteX53" fmla="*/ 2939802 w 3903424"/>
                <a:gd name="connsiteY53" fmla="*/ 3207941 h 4760516"/>
                <a:gd name="connsiteX54" fmla="*/ 3282702 w 3903424"/>
                <a:gd name="connsiteY54" fmla="*/ 3317479 h 4760516"/>
                <a:gd name="connsiteX55" fmla="*/ 3658939 w 3903424"/>
                <a:gd name="connsiteY55" fmla="*/ 3493691 h 4760516"/>
                <a:gd name="connsiteX56" fmla="*/ 3868489 w 3903424"/>
                <a:gd name="connsiteY56" fmla="*/ 3641329 h 4760516"/>
                <a:gd name="connsiteX57" fmla="*/ 3901827 w 3903424"/>
                <a:gd name="connsiteY57" fmla="*/ 3769916 h 4760516"/>
                <a:gd name="connsiteX58" fmla="*/ 3878014 w 3903424"/>
                <a:gd name="connsiteY58" fmla="*/ 4027091 h 4760516"/>
                <a:gd name="connsiteX59" fmla="*/ 3792289 w 3903424"/>
                <a:gd name="connsiteY59" fmla="*/ 4236641 h 4760516"/>
                <a:gd name="connsiteX60" fmla="*/ 3620839 w 3903424"/>
                <a:gd name="connsiteY60" fmla="*/ 4598591 h 4760516"/>
                <a:gd name="connsiteX61" fmla="*/ 3473202 w 3903424"/>
                <a:gd name="connsiteY61" fmla="*/ 4760516 h 4760516"/>
                <a:gd name="connsiteX62" fmla="*/ 339477 w 3903424"/>
                <a:gd name="connsiteY62" fmla="*/ 4760516 h 4760516"/>
                <a:gd name="connsiteX63" fmla="*/ 163264 w 3903424"/>
                <a:gd name="connsiteY63" fmla="*/ 4436666 h 4760516"/>
                <a:gd name="connsiteX64" fmla="*/ 58489 w 3903424"/>
                <a:gd name="connsiteY64" fmla="*/ 4141391 h 4760516"/>
                <a:gd name="connsiteX65" fmla="*/ 1339 w 3903424"/>
                <a:gd name="connsiteY65" fmla="*/ 3855641 h 4760516"/>
                <a:gd name="connsiteX66" fmla="*/ 25152 w 3903424"/>
                <a:gd name="connsiteY66" fmla="*/ 3703241 h 4760516"/>
                <a:gd name="connsiteX67" fmla="*/ 220414 w 3903424"/>
                <a:gd name="connsiteY67" fmla="*/ 3584179 h 4760516"/>
                <a:gd name="connsiteX68" fmla="*/ 534739 w 3903424"/>
                <a:gd name="connsiteY68" fmla="*/ 3450829 h 4760516"/>
                <a:gd name="connsiteX69" fmla="*/ 934789 w 3903424"/>
                <a:gd name="connsiteY69" fmla="*/ 3293666 h 4760516"/>
                <a:gd name="connsiteX70" fmla="*/ 1134814 w 3903424"/>
                <a:gd name="connsiteY70" fmla="*/ 3217466 h 4760516"/>
                <a:gd name="connsiteX71" fmla="*/ 1277689 w 3903424"/>
                <a:gd name="connsiteY71" fmla="*/ 2950766 h 4760516"/>
                <a:gd name="connsiteX72" fmla="*/ 1372939 w 3903424"/>
                <a:gd name="connsiteY72" fmla="*/ 2888854 h 4760516"/>
                <a:gd name="connsiteX73" fmla="*/ 1444377 w 3903424"/>
                <a:gd name="connsiteY73" fmla="*/ 2750741 h 4760516"/>
                <a:gd name="connsiteX74" fmla="*/ 1430089 w 3903424"/>
                <a:gd name="connsiteY74" fmla="*/ 2665016 h 4760516"/>
                <a:gd name="connsiteX75" fmla="*/ 1433678 w 3903424"/>
                <a:gd name="connsiteY75" fmla="*/ 2655556 h 4760516"/>
                <a:gd name="connsiteX76" fmla="*/ 1412671 w 3903424"/>
                <a:gd name="connsiteY76" fmla="*/ 2630242 h 4760516"/>
                <a:gd name="connsiteX77" fmla="*/ 1171172 w 3903424"/>
                <a:gd name="connsiteY77" fmla="*/ 2059985 h 4760516"/>
                <a:gd name="connsiteX78" fmla="*/ 977027 w 3903424"/>
                <a:gd name="connsiteY78" fmla="*/ 1612672 h 4760516"/>
                <a:gd name="connsiteX79" fmla="*/ 1052790 w 3903424"/>
                <a:gd name="connsiteY79" fmla="*/ 1487109 h 4760516"/>
                <a:gd name="connsiteX80" fmla="*/ 1018186 w 3903424"/>
                <a:gd name="connsiteY80" fmla="*/ 1277790 h 4760516"/>
                <a:gd name="connsiteX81" fmla="*/ 934788 w 3903424"/>
                <a:gd name="connsiteY81" fmla="*/ 1341041 h 4760516"/>
                <a:gd name="connsiteX82" fmla="*/ 883988 w 3903424"/>
                <a:gd name="connsiteY82" fmla="*/ 1404541 h 4760516"/>
                <a:gd name="connsiteX83" fmla="*/ 839538 w 3903424"/>
                <a:gd name="connsiteY83" fmla="*/ 1525191 h 4760516"/>
                <a:gd name="connsiteX84" fmla="*/ 858588 w 3903424"/>
                <a:gd name="connsiteY84" fmla="*/ 1645841 h 4760516"/>
                <a:gd name="connsiteX85" fmla="*/ 890338 w 3903424"/>
                <a:gd name="connsiteY85" fmla="*/ 1829991 h 4760516"/>
                <a:gd name="connsiteX86" fmla="*/ 966538 w 3903424"/>
                <a:gd name="connsiteY86" fmla="*/ 2128441 h 4760516"/>
                <a:gd name="connsiteX87" fmla="*/ 1049088 w 3903424"/>
                <a:gd name="connsiteY87" fmla="*/ 2198291 h 4760516"/>
                <a:gd name="connsiteX88" fmla="*/ 1099888 w 3903424"/>
                <a:gd name="connsiteY88" fmla="*/ 2331641 h 4760516"/>
                <a:gd name="connsiteX89" fmla="*/ 1220538 w 3903424"/>
                <a:gd name="connsiteY89" fmla="*/ 2566591 h 4760516"/>
                <a:gd name="connsiteX90" fmla="*/ 1271338 w 3903424"/>
                <a:gd name="connsiteY90" fmla="*/ 2712641 h 4760516"/>
                <a:gd name="connsiteX91" fmla="*/ 1131638 w 3903424"/>
                <a:gd name="connsiteY91" fmla="*/ 2750741 h 4760516"/>
                <a:gd name="connsiteX92" fmla="*/ 928438 w 3903424"/>
                <a:gd name="connsiteY92" fmla="*/ 2776141 h 4760516"/>
                <a:gd name="connsiteX93" fmla="*/ 744288 w 3903424"/>
                <a:gd name="connsiteY93" fmla="*/ 2731691 h 4760516"/>
                <a:gd name="connsiteX94" fmla="*/ 661738 w 3903424"/>
                <a:gd name="connsiteY94" fmla="*/ 2591991 h 4760516"/>
                <a:gd name="connsiteX95" fmla="*/ 623638 w 3903424"/>
                <a:gd name="connsiteY95" fmla="*/ 2344341 h 4760516"/>
                <a:gd name="connsiteX96" fmla="*/ 636338 w 3903424"/>
                <a:gd name="connsiteY96" fmla="*/ 2020491 h 4760516"/>
                <a:gd name="connsiteX97" fmla="*/ 737938 w 3903424"/>
                <a:gd name="connsiteY97" fmla="*/ 1328341 h 4760516"/>
                <a:gd name="connsiteX98" fmla="*/ 972888 w 3903424"/>
                <a:gd name="connsiteY98" fmla="*/ 623491 h 4760516"/>
                <a:gd name="connsiteX99" fmla="*/ 1169738 w 3903424"/>
                <a:gd name="connsiteY99" fmla="*/ 299641 h 4760516"/>
                <a:gd name="connsiteX100" fmla="*/ 1360238 w 3903424"/>
                <a:gd name="connsiteY100" fmla="*/ 140891 h 4760516"/>
                <a:gd name="connsiteX101" fmla="*/ 1531688 w 3903424"/>
                <a:gd name="connsiteY101" fmla="*/ 115491 h 4760516"/>
                <a:gd name="connsiteX102" fmla="*/ 1677738 w 3903424"/>
                <a:gd name="connsiteY102" fmla="*/ 13891 h 4760516"/>
                <a:gd name="connsiteX103" fmla="*/ 1814660 w 3903424"/>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810829"/>
                <a:gd name="connsiteX1" fmla="*/ 3082677 w 3904400"/>
                <a:gd name="connsiteY1" fmla="*/ 1026716 h 4810829"/>
                <a:gd name="connsiteX2" fmla="*/ 3168402 w 3904400"/>
                <a:gd name="connsiteY2" fmla="*/ 1369616 h 4810829"/>
                <a:gd name="connsiteX3" fmla="*/ 3254127 w 3904400"/>
                <a:gd name="connsiteY3" fmla="*/ 1822054 h 4810829"/>
                <a:gd name="connsiteX4" fmla="*/ 3282702 w 3904400"/>
                <a:gd name="connsiteY4" fmla="*/ 2255441 h 4810829"/>
                <a:gd name="connsiteX5" fmla="*/ 3273177 w 3904400"/>
                <a:gd name="connsiteY5" fmla="*/ 2526904 h 4810829"/>
                <a:gd name="connsiteX6" fmla="*/ 3192214 w 3904400"/>
                <a:gd name="connsiteY6" fmla="*/ 2722166 h 4810829"/>
                <a:gd name="connsiteX7" fmla="*/ 3044577 w 3904400"/>
                <a:gd name="connsiteY7" fmla="*/ 2750741 h 4810829"/>
                <a:gd name="connsiteX8" fmla="*/ 2811214 w 3904400"/>
                <a:gd name="connsiteY8" fmla="*/ 2731691 h 4810829"/>
                <a:gd name="connsiteX9" fmla="*/ 2635002 w 3904400"/>
                <a:gd name="connsiteY9" fmla="*/ 2669779 h 4810829"/>
                <a:gd name="connsiteX10" fmla="*/ 2658814 w 3904400"/>
                <a:gd name="connsiteY10" fmla="*/ 2603104 h 4810829"/>
                <a:gd name="connsiteX11" fmla="*/ 2754064 w 3904400"/>
                <a:gd name="connsiteY11" fmla="*/ 2474516 h 4810829"/>
                <a:gd name="connsiteX12" fmla="*/ 2844552 w 3904400"/>
                <a:gd name="connsiteY12" fmla="*/ 2255441 h 4810829"/>
                <a:gd name="connsiteX13" fmla="*/ 2863602 w 3904400"/>
                <a:gd name="connsiteY13" fmla="*/ 2160191 h 4810829"/>
                <a:gd name="connsiteX14" fmla="*/ 2920752 w 3904400"/>
                <a:gd name="connsiteY14" fmla="*/ 2098279 h 4810829"/>
                <a:gd name="connsiteX15" fmla="*/ 3001714 w 3904400"/>
                <a:gd name="connsiteY15" fmla="*/ 1855391 h 4810829"/>
                <a:gd name="connsiteX16" fmla="*/ 3058864 w 3904400"/>
                <a:gd name="connsiteY16" fmla="*/ 1598216 h 4810829"/>
                <a:gd name="connsiteX17" fmla="*/ 3063627 w 3904400"/>
                <a:gd name="connsiteY17" fmla="*/ 1483916 h 4810829"/>
                <a:gd name="connsiteX18" fmla="*/ 3011239 w 3904400"/>
                <a:gd name="connsiteY18" fmla="*/ 1379141 h 4810829"/>
                <a:gd name="connsiteX19" fmla="*/ 2958852 w 3904400"/>
                <a:gd name="connsiteY19" fmla="*/ 1331516 h 4810829"/>
                <a:gd name="connsiteX20" fmla="*/ 2949327 w 3904400"/>
                <a:gd name="connsiteY20" fmla="*/ 1236266 h 4810829"/>
                <a:gd name="connsiteX21" fmla="*/ 2958852 w 3904400"/>
                <a:gd name="connsiteY21" fmla="*/ 1121966 h 4810829"/>
                <a:gd name="connsiteX22" fmla="*/ 3006477 w 3904400"/>
                <a:gd name="connsiteY22" fmla="*/ 1050529 h 4810829"/>
                <a:gd name="connsiteX23" fmla="*/ 3062288 w 3904400"/>
                <a:gd name="connsiteY23" fmla="*/ 1005769 h 4810829"/>
                <a:gd name="connsiteX24" fmla="*/ 1814660 w 3904400"/>
                <a:gd name="connsiteY24" fmla="*/ 0 h 4810829"/>
                <a:gd name="connsiteX25" fmla="*/ 1957138 w 3904400"/>
                <a:gd name="connsiteY25" fmla="*/ 1191 h 4810829"/>
                <a:gd name="connsiteX26" fmla="*/ 2153988 w 3904400"/>
                <a:gd name="connsiteY26" fmla="*/ 20241 h 4810829"/>
                <a:gd name="connsiteX27" fmla="*/ 2382588 w 3904400"/>
                <a:gd name="connsiteY27" fmla="*/ 121841 h 4810829"/>
                <a:gd name="connsiteX28" fmla="*/ 2642938 w 3904400"/>
                <a:gd name="connsiteY28" fmla="*/ 331391 h 4810829"/>
                <a:gd name="connsiteX29" fmla="*/ 2947738 w 3904400"/>
                <a:gd name="connsiteY29" fmla="*/ 693341 h 4810829"/>
                <a:gd name="connsiteX30" fmla="*/ 3062038 w 3904400"/>
                <a:gd name="connsiteY30" fmla="*/ 883841 h 4810829"/>
                <a:gd name="connsiteX31" fmla="*/ 3011238 w 3904400"/>
                <a:gd name="connsiteY31" fmla="*/ 1004491 h 4810829"/>
                <a:gd name="connsiteX32" fmla="*/ 2903288 w 3904400"/>
                <a:gd name="connsiteY32" fmla="*/ 1061641 h 4810829"/>
                <a:gd name="connsiteX33" fmla="*/ 2827088 w 3904400"/>
                <a:gd name="connsiteY33" fmla="*/ 998141 h 4810829"/>
                <a:gd name="connsiteX34" fmla="*/ 2655638 w 3904400"/>
                <a:gd name="connsiteY34" fmla="*/ 820341 h 4810829"/>
                <a:gd name="connsiteX35" fmla="*/ 2350838 w 3904400"/>
                <a:gd name="connsiteY35" fmla="*/ 674291 h 4810829"/>
                <a:gd name="connsiteX36" fmla="*/ 2020638 w 3904400"/>
                <a:gd name="connsiteY36" fmla="*/ 674291 h 4810829"/>
                <a:gd name="connsiteX37" fmla="*/ 2344488 w 3904400"/>
                <a:gd name="connsiteY37" fmla="*/ 769541 h 4810829"/>
                <a:gd name="connsiteX38" fmla="*/ 2554038 w 3904400"/>
                <a:gd name="connsiteY38" fmla="*/ 909241 h 4810829"/>
                <a:gd name="connsiteX39" fmla="*/ 2630379 w 3904400"/>
                <a:gd name="connsiteY39" fmla="*/ 973620 h 4810829"/>
                <a:gd name="connsiteX40" fmla="*/ 2901551 w 3904400"/>
                <a:gd name="connsiteY40" fmla="*/ 1067700 h 4810829"/>
                <a:gd name="connsiteX41" fmla="*/ 2830884 w 3904400"/>
                <a:gd name="connsiteY41" fmla="*/ 1212445 h 4810829"/>
                <a:gd name="connsiteX42" fmla="*/ 2830884 w 3904400"/>
                <a:gd name="connsiteY42" fmla="*/ 1445256 h 4810829"/>
                <a:gd name="connsiteX43" fmla="*/ 2939795 w 3904400"/>
                <a:gd name="connsiteY43" fmla="*/ 1531580 h 4810829"/>
                <a:gd name="connsiteX44" fmla="*/ 2823781 w 3904400"/>
                <a:gd name="connsiteY44" fmla="*/ 2041674 h 4810829"/>
                <a:gd name="connsiteX45" fmla="*/ 2757487 w 3904400"/>
                <a:gd name="connsiteY45" fmla="*/ 2086142 h 4810829"/>
                <a:gd name="connsiteX46" fmla="*/ 2480886 w 3904400"/>
                <a:gd name="connsiteY46" fmla="*/ 2698176 h 4810829"/>
                <a:gd name="connsiteX47" fmla="*/ 2530227 w 3904400"/>
                <a:gd name="connsiteY47" fmla="*/ 2817416 h 4810829"/>
                <a:gd name="connsiteX48" fmla="*/ 2592139 w 3904400"/>
                <a:gd name="connsiteY48" fmla="*/ 2874566 h 4810829"/>
                <a:gd name="connsiteX49" fmla="*/ 2658814 w 3904400"/>
                <a:gd name="connsiteY49" fmla="*/ 2884091 h 4810829"/>
                <a:gd name="connsiteX50" fmla="*/ 2682627 w 3904400"/>
                <a:gd name="connsiteY50" fmla="*/ 2912666 h 4810829"/>
                <a:gd name="connsiteX51" fmla="*/ 2749302 w 3904400"/>
                <a:gd name="connsiteY51" fmla="*/ 3079354 h 4810829"/>
                <a:gd name="connsiteX52" fmla="*/ 2844552 w 3904400"/>
                <a:gd name="connsiteY52" fmla="*/ 3174604 h 4810829"/>
                <a:gd name="connsiteX53" fmla="*/ 2939802 w 3904400"/>
                <a:gd name="connsiteY53" fmla="*/ 3207941 h 4810829"/>
                <a:gd name="connsiteX54" fmla="*/ 3282702 w 3904400"/>
                <a:gd name="connsiteY54" fmla="*/ 3317479 h 4810829"/>
                <a:gd name="connsiteX55" fmla="*/ 3658939 w 3904400"/>
                <a:gd name="connsiteY55" fmla="*/ 3493691 h 4810829"/>
                <a:gd name="connsiteX56" fmla="*/ 3868489 w 3904400"/>
                <a:gd name="connsiteY56" fmla="*/ 3641329 h 4810829"/>
                <a:gd name="connsiteX57" fmla="*/ 3901827 w 3904400"/>
                <a:gd name="connsiteY57" fmla="*/ 3769916 h 4810829"/>
                <a:gd name="connsiteX58" fmla="*/ 3878014 w 3904400"/>
                <a:gd name="connsiteY58" fmla="*/ 4027091 h 4810829"/>
                <a:gd name="connsiteX59" fmla="*/ 3792289 w 3904400"/>
                <a:gd name="connsiteY59" fmla="*/ 4236641 h 4810829"/>
                <a:gd name="connsiteX60" fmla="*/ 3620839 w 3904400"/>
                <a:gd name="connsiteY60" fmla="*/ 4598591 h 4810829"/>
                <a:gd name="connsiteX61" fmla="*/ 3473202 w 3904400"/>
                <a:gd name="connsiteY61" fmla="*/ 4760516 h 4810829"/>
                <a:gd name="connsiteX62" fmla="*/ 339477 w 3904400"/>
                <a:gd name="connsiteY62" fmla="*/ 4760516 h 4810829"/>
                <a:gd name="connsiteX63" fmla="*/ 163264 w 3904400"/>
                <a:gd name="connsiteY63" fmla="*/ 4436666 h 4810829"/>
                <a:gd name="connsiteX64" fmla="*/ 58489 w 3904400"/>
                <a:gd name="connsiteY64" fmla="*/ 4141391 h 4810829"/>
                <a:gd name="connsiteX65" fmla="*/ 1339 w 3904400"/>
                <a:gd name="connsiteY65" fmla="*/ 3855641 h 4810829"/>
                <a:gd name="connsiteX66" fmla="*/ 25152 w 3904400"/>
                <a:gd name="connsiteY66" fmla="*/ 3703241 h 4810829"/>
                <a:gd name="connsiteX67" fmla="*/ 220414 w 3904400"/>
                <a:gd name="connsiteY67" fmla="*/ 3584179 h 4810829"/>
                <a:gd name="connsiteX68" fmla="*/ 534739 w 3904400"/>
                <a:gd name="connsiteY68" fmla="*/ 3450829 h 4810829"/>
                <a:gd name="connsiteX69" fmla="*/ 934789 w 3904400"/>
                <a:gd name="connsiteY69" fmla="*/ 3293666 h 4810829"/>
                <a:gd name="connsiteX70" fmla="*/ 1134814 w 3904400"/>
                <a:gd name="connsiteY70" fmla="*/ 3217466 h 4810829"/>
                <a:gd name="connsiteX71" fmla="*/ 1277689 w 3904400"/>
                <a:gd name="connsiteY71" fmla="*/ 2950766 h 4810829"/>
                <a:gd name="connsiteX72" fmla="*/ 1372939 w 3904400"/>
                <a:gd name="connsiteY72" fmla="*/ 2888854 h 4810829"/>
                <a:gd name="connsiteX73" fmla="*/ 1444377 w 3904400"/>
                <a:gd name="connsiteY73" fmla="*/ 2750741 h 4810829"/>
                <a:gd name="connsiteX74" fmla="*/ 1430089 w 3904400"/>
                <a:gd name="connsiteY74" fmla="*/ 2665016 h 4810829"/>
                <a:gd name="connsiteX75" fmla="*/ 1433678 w 3904400"/>
                <a:gd name="connsiteY75" fmla="*/ 2655556 h 4810829"/>
                <a:gd name="connsiteX76" fmla="*/ 1412671 w 3904400"/>
                <a:gd name="connsiteY76" fmla="*/ 2630242 h 4810829"/>
                <a:gd name="connsiteX77" fmla="*/ 1171172 w 3904400"/>
                <a:gd name="connsiteY77" fmla="*/ 2059985 h 4810829"/>
                <a:gd name="connsiteX78" fmla="*/ 977027 w 3904400"/>
                <a:gd name="connsiteY78" fmla="*/ 1612672 h 4810829"/>
                <a:gd name="connsiteX79" fmla="*/ 1052790 w 3904400"/>
                <a:gd name="connsiteY79" fmla="*/ 1487109 h 4810829"/>
                <a:gd name="connsiteX80" fmla="*/ 1018186 w 3904400"/>
                <a:gd name="connsiteY80" fmla="*/ 1277790 h 4810829"/>
                <a:gd name="connsiteX81" fmla="*/ 934788 w 3904400"/>
                <a:gd name="connsiteY81" fmla="*/ 1341041 h 4810829"/>
                <a:gd name="connsiteX82" fmla="*/ 883988 w 3904400"/>
                <a:gd name="connsiteY82" fmla="*/ 1404541 h 4810829"/>
                <a:gd name="connsiteX83" fmla="*/ 839538 w 3904400"/>
                <a:gd name="connsiteY83" fmla="*/ 1525191 h 4810829"/>
                <a:gd name="connsiteX84" fmla="*/ 858588 w 3904400"/>
                <a:gd name="connsiteY84" fmla="*/ 1645841 h 4810829"/>
                <a:gd name="connsiteX85" fmla="*/ 890338 w 3904400"/>
                <a:gd name="connsiteY85" fmla="*/ 1829991 h 4810829"/>
                <a:gd name="connsiteX86" fmla="*/ 966538 w 3904400"/>
                <a:gd name="connsiteY86" fmla="*/ 2128441 h 4810829"/>
                <a:gd name="connsiteX87" fmla="*/ 1049088 w 3904400"/>
                <a:gd name="connsiteY87" fmla="*/ 2198291 h 4810829"/>
                <a:gd name="connsiteX88" fmla="*/ 1099888 w 3904400"/>
                <a:gd name="connsiteY88" fmla="*/ 2331641 h 4810829"/>
                <a:gd name="connsiteX89" fmla="*/ 1220538 w 3904400"/>
                <a:gd name="connsiteY89" fmla="*/ 2566591 h 4810829"/>
                <a:gd name="connsiteX90" fmla="*/ 1271338 w 3904400"/>
                <a:gd name="connsiteY90" fmla="*/ 2712641 h 4810829"/>
                <a:gd name="connsiteX91" fmla="*/ 1131638 w 3904400"/>
                <a:gd name="connsiteY91" fmla="*/ 2750741 h 4810829"/>
                <a:gd name="connsiteX92" fmla="*/ 928438 w 3904400"/>
                <a:gd name="connsiteY92" fmla="*/ 2776141 h 4810829"/>
                <a:gd name="connsiteX93" fmla="*/ 744288 w 3904400"/>
                <a:gd name="connsiteY93" fmla="*/ 2731691 h 4810829"/>
                <a:gd name="connsiteX94" fmla="*/ 661738 w 3904400"/>
                <a:gd name="connsiteY94" fmla="*/ 2591991 h 4810829"/>
                <a:gd name="connsiteX95" fmla="*/ 623638 w 3904400"/>
                <a:gd name="connsiteY95" fmla="*/ 2344341 h 4810829"/>
                <a:gd name="connsiteX96" fmla="*/ 636338 w 3904400"/>
                <a:gd name="connsiteY96" fmla="*/ 2020491 h 4810829"/>
                <a:gd name="connsiteX97" fmla="*/ 737938 w 3904400"/>
                <a:gd name="connsiteY97" fmla="*/ 1328341 h 4810829"/>
                <a:gd name="connsiteX98" fmla="*/ 972888 w 3904400"/>
                <a:gd name="connsiteY98" fmla="*/ 623491 h 4810829"/>
                <a:gd name="connsiteX99" fmla="*/ 1169738 w 3904400"/>
                <a:gd name="connsiteY99" fmla="*/ 299641 h 4810829"/>
                <a:gd name="connsiteX100" fmla="*/ 1360238 w 3904400"/>
                <a:gd name="connsiteY100" fmla="*/ 140891 h 4810829"/>
                <a:gd name="connsiteX101" fmla="*/ 1531688 w 3904400"/>
                <a:gd name="connsiteY101" fmla="*/ 115491 h 4810829"/>
                <a:gd name="connsiteX102" fmla="*/ 1677738 w 3904400"/>
                <a:gd name="connsiteY102" fmla="*/ 13891 h 4810829"/>
                <a:gd name="connsiteX103" fmla="*/ 1814660 w 3904400"/>
                <a:gd name="connsiteY103" fmla="*/ 0 h 4810829"/>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630379 w 3904400"/>
                <a:gd name="connsiteY39" fmla="*/ 973620 h 4848994"/>
                <a:gd name="connsiteX40" fmla="*/ 2901551 w 3904400"/>
                <a:gd name="connsiteY40" fmla="*/ 1067700 h 4848994"/>
                <a:gd name="connsiteX41" fmla="*/ 2830884 w 3904400"/>
                <a:gd name="connsiteY41" fmla="*/ 1212445 h 4848994"/>
                <a:gd name="connsiteX42" fmla="*/ 2830884 w 3904400"/>
                <a:gd name="connsiteY42" fmla="*/ 1445256 h 4848994"/>
                <a:gd name="connsiteX43" fmla="*/ 2939795 w 3904400"/>
                <a:gd name="connsiteY43" fmla="*/ 1531580 h 4848994"/>
                <a:gd name="connsiteX44" fmla="*/ 2823781 w 3904400"/>
                <a:gd name="connsiteY44" fmla="*/ 2041674 h 4848994"/>
                <a:gd name="connsiteX45" fmla="*/ 2757487 w 3904400"/>
                <a:gd name="connsiteY45" fmla="*/ 2086142 h 4848994"/>
                <a:gd name="connsiteX46" fmla="*/ 2480886 w 3904400"/>
                <a:gd name="connsiteY46" fmla="*/ 2698176 h 4848994"/>
                <a:gd name="connsiteX47" fmla="*/ 2530227 w 3904400"/>
                <a:gd name="connsiteY47" fmla="*/ 2817416 h 4848994"/>
                <a:gd name="connsiteX48" fmla="*/ 2592139 w 3904400"/>
                <a:gd name="connsiteY48" fmla="*/ 2874566 h 4848994"/>
                <a:gd name="connsiteX49" fmla="*/ 2658814 w 3904400"/>
                <a:gd name="connsiteY49" fmla="*/ 2884091 h 4848994"/>
                <a:gd name="connsiteX50" fmla="*/ 2682627 w 3904400"/>
                <a:gd name="connsiteY50" fmla="*/ 2912666 h 4848994"/>
                <a:gd name="connsiteX51" fmla="*/ 2749302 w 3904400"/>
                <a:gd name="connsiteY51" fmla="*/ 3079354 h 4848994"/>
                <a:gd name="connsiteX52" fmla="*/ 2844552 w 3904400"/>
                <a:gd name="connsiteY52" fmla="*/ 3174604 h 4848994"/>
                <a:gd name="connsiteX53" fmla="*/ 2939802 w 3904400"/>
                <a:gd name="connsiteY53" fmla="*/ 3207941 h 4848994"/>
                <a:gd name="connsiteX54" fmla="*/ 3282702 w 3904400"/>
                <a:gd name="connsiteY54" fmla="*/ 3317479 h 4848994"/>
                <a:gd name="connsiteX55" fmla="*/ 3658939 w 3904400"/>
                <a:gd name="connsiteY55" fmla="*/ 3493691 h 4848994"/>
                <a:gd name="connsiteX56" fmla="*/ 3868489 w 3904400"/>
                <a:gd name="connsiteY56" fmla="*/ 3641329 h 4848994"/>
                <a:gd name="connsiteX57" fmla="*/ 3901827 w 3904400"/>
                <a:gd name="connsiteY57" fmla="*/ 3769916 h 4848994"/>
                <a:gd name="connsiteX58" fmla="*/ 3878014 w 3904400"/>
                <a:gd name="connsiteY58" fmla="*/ 4027091 h 4848994"/>
                <a:gd name="connsiteX59" fmla="*/ 3792289 w 3904400"/>
                <a:gd name="connsiteY59" fmla="*/ 4236641 h 4848994"/>
                <a:gd name="connsiteX60" fmla="*/ 3620839 w 3904400"/>
                <a:gd name="connsiteY60" fmla="*/ 4598591 h 4848994"/>
                <a:gd name="connsiteX61" fmla="*/ 3473202 w 3904400"/>
                <a:gd name="connsiteY61" fmla="*/ 4760516 h 4848994"/>
                <a:gd name="connsiteX62" fmla="*/ 339477 w 3904400"/>
                <a:gd name="connsiteY62" fmla="*/ 4760516 h 4848994"/>
                <a:gd name="connsiteX63" fmla="*/ 163264 w 3904400"/>
                <a:gd name="connsiteY63" fmla="*/ 4436666 h 4848994"/>
                <a:gd name="connsiteX64" fmla="*/ 58489 w 3904400"/>
                <a:gd name="connsiteY64" fmla="*/ 4141391 h 4848994"/>
                <a:gd name="connsiteX65" fmla="*/ 1339 w 3904400"/>
                <a:gd name="connsiteY65" fmla="*/ 3855641 h 4848994"/>
                <a:gd name="connsiteX66" fmla="*/ 25152 w 3904400"/>
                <a:gd name="connsiteY66" fmla="*/ 3703241 h 4848994"/>
                <a:gd name="connsiteX67" fmla="*/ 220414 w 3904400"/>
                <a:gd name="connsiteY67" fmla="*/ 3584179 h 4848994"/>
                <a:gd name="connsiteX68" fmla="*/ 534739 w 3904400"/>
                <a:gd name="connsiteY68" fmla="*/ 3450829 h 4848994"/>
                <a:gd name="connsiteX69" fmla="*/ 934789 w 3904400"/>
                <a:gd name="connsiteY69" fmla="*/ 3293666 h 4848994"/>
                <a:gd name="connsiteX70" fmla="*/ 1134814 w 3904400"/>
                <a:gd name="connsiteY70" fmla="*/ 3217466 h 4848994"/>
                <a:gd name="connsiteX71" fmla="*/ 1277689 w 3904400"/>
                <a:gd name="connsiteY71" fmla="*/ 2950766 h 4848994"/>
                <a:gd name="connsiteX72" fmla="*/ 1372939 w 3904400"/>
                <a:gd name="connsiteY72" fmla="*/ 2888854 h 4848994"/>
                <a:gd name="connsiteX73" fmla="*/ 1444377 w 3904400"/>
                <a:gd name="connsiteY73" fmla="*/ 2750741 h 4848994"/>
                <a:gd name="connsiteX74" fmla="*/ 1430089 w 3904400"/>
                <a:gd name="connsiteY74" fmla="*/ 2665016 h 4848994"/>
                <a:gd name="connsiteX75" fmla="*/ 1433678 w 3904400"/>
                <a:gd name="connsiteY75" fmla="*/ 2655556 h 4848994"/>
                <a:gd name="connsiteX76" fmla="*/ 1412671 w 3904400"/>
                <a:gd name="connsiteY76" fmla="*/ 2630242 h 4848994"/>
                <a:gd name="connsiteX77" fmla="*/ 1171172 w 3904400"/>
                <a:gd name="connsiteY77" fmla="*/ 2059985 h 4848994"/>
                <a:gd name="connsiteX78" fmla="*/ 977027 w 3904400"/>
                <a:gd name="connsiteY78" fmla="*/ 1612672 h 4848994"/>
                <a:gd name="connsiteX79" fmla="*/ 1052790 w 3904400"/>
                <a:gd name="connsiteY79" fmla="*/ 1487109 h 4848994"/>
                <a:gd name="connsiteX80" fmla="*/ 1018186 w 3904400"/>
                <a:gd name="connsiteY80" fmla="*/ 1277790 h 4848994"/>
                <a:gd name="connsiteX81" fmla="*/ 934788 w 3904400"/>
                <a:gd name="connsiteY81" fmla="*/ 1341041 h 4848994"/>
                <a:gd name="connsiteX82" fmla="*/ 883988 w 3904400"/>
                <a:gd name="connsiteY82" fmla="*/ 1404541 h 4848994"/>
                <a:gd name="connsiteX83" fmla="*/ 839538 w 3904400"/>
                <a:gd name="connsiteY83" fmla="*/ 1525191 h 4848994"/>
                <a:gd name="connsiteX84" fmla="*/ 858588 w 3904400"/>
                <a:gd name="connsiteY84" fmla="*/ 1645841 h 4848994"/>
                <a:gd name="connsiteX85" fmla="*/ 890338 w 3904400"/>
                <a:gd name="connsiteY85" fmla="*/ 1829991 h 4848994"/>
                <a:gd name="connsiteX86" fmla="*/ 966538 w 3904400"/>
                <a:gd name="connsiteY86" fmla="*/ 2128441 h 4848994"/>
                <a:gd name="connsiteX87" fmla="*/ 1049088 w 3904400"/>
                <a:gd name="connsiteY87" fmla="*/ 2198291 h 4848994"/>
                <a:gd name="connsiteX88" fmla="*/ 1099888 w 3904400"/>
                <a:gd name="connsiteY88" fmla="*/ 2331641 h 4848994"/>
                <a:gd name="connsiteX89" fmla="*/ 1220538 w 3904400"/>
                <a:gd name="connsiteY89" fmla="*/ 2566591 h 4848994"/>
                <a:gd name="connsiteX90" fmla="*/ 1271338 w 3904400"/>
                <a:gd name="connsiteY90" fmla="*/ 2712641 h 4848994"/>
                <a:gd name="connsiteX91" fmla="*/ 1131638 w 3904400"/>
                <a:gd name="connsiteY91" fmla="*/ 2750741 h 4848994"/>
                <a:gd name="connsiteX92" fmla="*/ 928438 w 3904400"/>
                <a:gd name="connsiteY92" fmla="*/ 2776141 h 4848994"/>
                <a:gd name="connsiteX93" fmla="*/ 744288 w 3904400"/>
                <a:gd name="connsiteY93" fmla="*/ 2731691 h 4848994"/>
                <a:gd name="connsiteX94" fmla="*/ 661738 w 3904400"/>
                <a:gd name="connsiteY94" fmla="*/ 2591991 h 4848994"/>
                <a:gd name="connsiteX95" fmla="*/ 623638 w 3904400"/>
                <a:gd name="connsiteY95" fmla="*/ 2344341 h 4848994"/>
                <a:gd name="connsiteX96" fmla="*/ 636338 w 3904400"/>
                <a:gd name="connsiteY96" fmla="*/ 2020491 h 4848994"/>
                <a:gd name="connsiteX97" fmla="*/ 737938 w 3904400"/>
                <a:gd name="connsiteY97" fmla="*/ 1328341 h 4848994"/>
                <a:gd name="connsiteX98" fmla="*/ 972888 w 3904400"/>
                <a:gd name="connsiteY98" fmla="*/ 623491 h 4848994"/>
                <a:gd name="connsiteX99" fmla="*/ 1169738 w 3904400"/>
                <a:gd name="connsiteY99" fmla="*/ 299641 h 4848994"/>
                <a:gd name="connsiteX100" fmla="*/ 1360238 w 3904400"/>
                <a:gd name="connsiteY100" fmla="*/ 140891 h 4848994"/>
                <a:gd name="connsiteX101" fmla="*/ 1531688 w 3904400"/>
                <a:gd name="connsiteY101" fmla="*/ 115491 h 4848994"/>
                <a:gd name="connsiteX102" fmla="*/ 1677738 w 3904400"/>
                <a:gd name="connsiteY102" fmla="*/ 13891 h 4848994"/>
                <a:gd name="connsiteX103" fmla="*/ 1814660 w 3904400"/>
                <a:gd name="connsiteY103"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859098 w 3904400"/>
                <a:gd name="connsiteY39" fmla="*/ 1103077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904400" h="4848994">
                  <a:moveTo>
                    <a:pt x="3062288" y="1005769"/>
                  </a:moveTo>
                  <a:lnTo>
                    <a:pt x="3082677" y="1026716"/>
                  </a:lnTo>
                  <a:cubicBezTo>
                    <a:pt x="3109664" y="1079897"/>
                    <a:pt x="3139827" y="1237060"/>
                    <a:pt x="3168402" y="1369616"/>
                  </a:cubicBezTo>
                  <a:cubicBezTo>
                    <a:pt x="3196977" y="1502172"/>
                    <a:pt x="3235077" y="1674417"/>
                    <a:pt x="3254127" y="1822054"/>
                  </a:cubicBezTo>
                  <a:cubicBezTo>
                    <a:pt x="3273177" y="1969691"/>
                    <a:pt x="3279527" y="2137966"/>
                    <a:pt x="3282702" y="2255441"/>
                  </a:cubicBezTo>
                  <a:cubicBezTo>
                    <a:pt x="3285877" y="2372916"/>
                    <a:pt x="3288258" y="2449116"/>
                    <a:pt x="3273177" y="2526904"/>
                  </a:cubicBezTo>
                  <a:cubicBezTo>
                    <a:pt x="3258096" y="2604692"/>
                    <a:pt x="3230314" y="2684860"/>
                    <a:pt x="3192214" y="2722166"/>
                  </a:cubicBezTo>
                  <a:cubicBezTo>
                    <a:pt x="3154114" y="2759472"/>
                    <a:pt x="3108077" y="2749154"/>
                    <a:pt x="3044577" y="2750741"/>
                  </a:cubicBezTo>
                  <a:cubicBezTo>
                    <a:pt x="2981077" y="2752328"/>
                    <a:pt x="2879476" y="2745185"/>
                    <a:pt x="2811214" y="2731691"/>
                  </a:cubicBezTo>
                  <a:cubicBezTo>
                    <a:pt x="2742952" y="2718197"/>
                    <a:pt x="2660402" y="2691210"/>
                    <a:pt x="2635002" y="2669779"/>
                  </a:cubicBezTo>
                  <a:cubicBezTo>
                    <a:pt x="2609602" y="2648348"/>
                    <a:pt x="2638970" y="2635648"/>
                    <a:pt x="2658814" y="2603104"/>
                  </a:cubicBezTo>
                  <a:cubicBezTo>
                    <a:pt x="2678658" y="2570560"/>
                    <a:pt x="2723108" y="2532460"/>
                    <a:pt x="2754064" y="2474516"/>
                  </a:cubicBezTo>
                  <a:cubicBezTo>
                    <a:pt x="2785020" y="2416572"/>
                    <a:pt x="2826296" y="2307828"/>
                    <a:pt x="2844552" y="2255441"/>
                  </a:cubicBezTo>
                  <a:cubicBezTo>
                    <a:pt x="2862808" y="2203054"/>
                    <a:pt x="2850902" y="2186385"/>
                    <a:pt x="2863602" y="2160191"/>
                  </a:cubicBezTo>
                  <a:cubicBezTo>
                    <a:pt x="2876302" y="2133997"/>
                    <a:pt x="2897733" y="2149079"/>
                    <a:pt x="2920752" y="2098279"/>
                  </a:cubicBezTo>
                  <a:cubicBezTo>
                    <a:pt x="2943771" y="2047479"/>
                    <a:pt x="2978695" y="1938735"/>
                    <a:pt x="3001714" y="1855391"/>
                  </a:cubicBezTo>
                  <a:cubicBezTo>
                    <a:pt x="3024733" y="1772047"/>
                    <a:pt x="3048545" y="1660129"/>
                    <a:pt x="3058864" y="1598216"/>
                  </a:cubicBezTo>
                  <a:cubicBezTo>
                    <a:pt x="3069183" y="1536303"/>
                    <a:pt x="3071564" y="1520428"/>
                    <a:pt x="3063627" y="1483916"/>
                  </a:cubicBezTo>
                  <a:cubicBezTo>
                    <a:pt x="3055690" y="1447404"/>
                    <a:pt x="3028702" y="1404541"/>
                    <a:pt x="3011239" y="1379141"/>
                  </a:cubicBezTo>
                  <a:cubicBezTo>
                    <a:pt x="2993776" y="1353741"/>
                    <a:pt x="2969171" y="1355329"/>
                    <a:pt x="2958852" y="1331516"/>
                  </a:cubicBezTo>
                  <a:cubicBezTo>
                    <a:pt x="2948533" y="1307704"/>
                    <a:pt x="2949327" y="1271191"/>
                    <a:pt x="2949327" y="1236266"/>
                  </a:cubicBezTo>
                  <a:cubicBezTo>
                    <a:pt x="2949327" y="1201341"/>
                    <a:pt x="2949327" y="1152922"/>
                    <a:pt x="2958852" y="1121966"/>
                  </a:cubicBezTo>
                  <a:cubicBezTo>
                    <a:pt x="2968377" y="1091010"/>
                    <a:pt x="2985839" y="1066404"/>
                    <a:pt x="3006477" y="1050529"/>
                  </a:cubicBezTo>
                  <a:cubicBezTo>
                    <a:pt x="3021955" y="1038623"/>
                    <a:pt x="3041898" y="1001267"/>
                    <a:pt x="3062288" y="1005769"/>
                  </a:cubicBezTo>
                  <a:close/>
                  <a:moveTo>
                    <a:pt x="1814660" y="0"/>
                  </a:moveTo>
                  <a:lnTo>
                    <a:pt x="1957138" y="1191"/>
                  </a:lnTo>
                  <a:cubicBezTo>
                    <a:pt x="2036513" y="2249"/>
                    <a:pt x="2083080" y="133"/>
                    <a:pt x="2153988" y="20241"/>
                  </a:cubicBezTo>
                  <a:cubicBezTo>
                    <a:pt x="2224896" y="40349"/>
                    <a:pt x="2301096" y="69983"/>
                    <a:pt x="2382588" y="121841"/>
                  </a:cubicBezTo>
                  <a:cubicBezTo>
                    <a:pt x="2464080" y="173699"/>
                    <a:pt x="2548747" y="236141"/>
                    <a:pt x="2642938" y="331391"/>
                  </a:cubicBezTo>
                  <a:cubicBezTo>
                    <a:pt x="2737129" y="426641"/>
                    <a:pt x="2877888" y="601266"/>
                    <a:pt x="2947738" y="693341"/>
                  </a:cubicBezTo>
                  <a:cubicBezTo>
                    <a:pt x="3017588" y="785416"/>
                    <a:pt x="3051455" y="831983"/>
                    <a:pt x="3062038" y="883841"/>
                  </a:cubicBezTo>
                  <a:cubicBezTo>
                    <a:pt x="3072621" y="935699"/>
                    <a:pt x="3037696" y="974858"/>
                    <a:pt x="3011238" y="1004491"/>
                  </a:cubicBezTo>
                  <a:cubicBezTo>
                    <a:pt x="2984780" y="1034124"/>
                    <a:pt x="2933980" y="1062699"/>
                    <a:pt x="2903288" y="1061641"/>
                  </a:cubicBezTo>
                  <a:cubicBezTo>
                    <a:pt x="2872596" y="1060583"/>
                    <a:pt x="2868363" y="1038358"/>
                    <a:pt x="2827088" y="998141"/>
                  </a:cubicBezTo>
                  <a:cubicBezTo>
                    <a:pt x="2785813" y="957924"/>
                    <a:pt x="2735013" y="874316"/>
                    <a:pt x="2655638" y="820341"/>
                  </a:cubicBezTo>
                  <a:cubicBezTo>
                    <a:pt x="2576263" y="766366"/>
                    <a:pt x="2456671" y="698633"/>
                    <a:pt x="2350838" y="674291"/>
                  </a:cubicBezTo>
                  <a:cubicBezTo>
                    <a:pt x="2245005" y="649949"/>
                    <a:pt x="2004008" y="658416"/>
                    <a:pt x="2020638" y="674291"/>
                  </a:cubicBezTo>
                  <a:cubicBezTo>
                    <a:pt x="2037268" y="690166"/>
                    <a:pt x="2322805" y="697365"/>
                    <a:pt x="2450619" y="769542"/>
                  </a:cubicBezTo>
                  <a:cubicBezTo>
                    <a:pt x="2578433" y="841719"/>
                    <a:pt x="2592091" y="839501"/>
                    <a:pt x="2660171" y="895090"/>
                  </a:cubicBezTo>
                  <a:cubicBezTo>
                    <a:pt x="2728251" y="950679"/>
                    <a:pt x="2812957" y="1052543"/>
                    <a:pt x="2859098" y="1103077"/>
                  </a:cubicBezTo>
                  <a:cubicBezTo>
                    <a:pt x="2840639" y="1173982"/>
                    <a:pt x="2842709" y="1151206"/>
                    <a:pt x="2830884" y="1212445"/>
                  </a:cubicBezTo>
                  <a:cubicBezTo>
                    <a:pt x="2856921" y="1275211"/>
                    <a:pt x="2830896" y="1445184"/>
                    <a:pt x="2830884" y="1445256"/>
                  </a:cubicBezTo>
                  <a:cubicBezTo>
                    <a:pt x="2830987" y="1445263"/>
                    <a:pt x="2939795" y="1453141"/>
                    <a:pt x="2939795" y="1531580"/>
                  </a:cubicBezTo>
                  <a:cubicBezTo>
                    <a:pt x="2939795" y="1610041"/>
                    <a:pt x="2823824" y="2041512"/>
                    <a:pt x="2823781" y="2041674"/>
                  </a:cubicBezTo>
                  <a:cubicBezTo>
                    <a:pt x="2823748" y="2041731"/>
                    <a:pt x="2792983" y="2093987"/>
                    <a:pt x="2757487" y="2086142"/>
                  </a:cubicBezTo>
                  <a:cubicBezTo>
                    <a:pt x="2719935" y="2402501"/>
                    <a:pt x="2591644" y="2600616"/>
                    <a:pt x="2480886" y="2698176"/>
                  </a:cubicBezTo>
                  <a:cubicBezTo>
                    <a:pt x="2497333" y="2737923"/>
                    <a:pt x="2509017" y="2787194"/>
                    <a:pt x="2530227" y="2817416"/>
                  </a:cubicBezTo>
                  <a:lnTo>
                    <a:pt x="2592139" y="2874566"/>
                  </a:lnTo>
                  <a:lnTo>
                    <a:pt x="2658814" y="2884091"/>
                  </a:lnTo>
                  <a:lnTo>
                    <a:pt x="2682627" y="2912666"/>
                  </a:lnTo>
                  <a:lnTo>
                    <a:pt x="2749302" y="3079354"/>
                  </a:lnTo>
                  <a:lnTo>
                    <a:pt x="2844552" y="3174604"/>
                  </a:lnTo>
                  <a:lnTo>
                    <a:pt x="2939802" y="3207941"/>
                  </a:lnTo>
                  <a:lnTo>
                    <a:pt x="3282702" y="3317479"/>
                  </a:lnTo>
                  <a:lnTo>
                    <a:pt x="3658939" y="3493691"/>
                  </a:lnTo>
                  <a:lnTo>
                    <a:pt x="3868489" y="3641329"/>
                  </a:lnTo>
                  <a:cubicBezTo>
                    <a:pt x="3879602" y="3684191"/>
                    <a:pt x="3906589" y="3708004"/>
                    <a:pt x="3901827" y="3769916"/>
                  </a:cubicBezTo>
                  <a:cubicBezTo>
                    <a:pt x="3909764" y="3830241"/>
                    <a:pt x="3898652" y="3938191"/>
                    <a:pt x="3878014" y="4027091"/>
                  </a:cubicBezTo>
                  <a:cubicBezTo>
                    <a:pt x="3855789" y="4119166"/>
                    <a:pt x="3820864" y="4166791"/>
                    <a:pt x="3792289" y="4236641"/>
                  </a:cubicBezTo>
                  <a:lnTo>
                    <a:pt x="3620839" y="4598591"/>
                  </a:lnTo>
                  <a:lnTo>
                    <a:pt x="3473202" y="4760516"/>
                  </a:lnTo>
                  <a:cubicBezTo>
                    <a:pt x="2419193" y="4883157"/>
                    <a:pt x="1553862" y="4873723"/>
                    <a:pt x="339477" y="4760516"/>
                  </a:cubicBezTo>
                  <a:lnTo>
                    <a:pt x="163264" y="4436666"/>
                  </a:lnTo>
                  <a:lnTo>
                    <a:pt x="58489" y="4141391"/>
                  </a:lnTo>
                  <a:cubicBezTo>
                    <a:pt x="39439" y="4046141"/>
                    <a:pt x="14039" y="3992166"/>
                    <a:pt x="1339" y="3855641"/>
                  </a:cubicBezTo>
                  <a:cubicBezTo>
                    <a:pt x="-3423" y="3795316"/>
                    <a:pt x="4514" y="3744516"/>
                    <a:pt x="25152" y="3703241"/>
                  </a:cubicBezTo>
                  <a:lnTo>
                    <a:pt x="220414" y="3584179"/>
                  </a:lnTo>
                  <a:lnTo>
                    <a:pt x="534739" y="3450829"/>
                  </a:lnTo>
                  <a:lnTo>
                    <a:pt x="934789" y="3293666"/>
                  </a:lnTo>
                  <a:lnTo>
                    <a:pt x="1134814" y="3217466"/>
                  </a:lnTo>
                  <a:cubicBezTo>
                    <a:pt x="1234827" y="3090466"/>
                    <a:pt x="1241971" y="3068241"/>
                    <a:pt x="1277689" y="2950766"/>
                  </a:cubicBezTo>
                  <a:lnTo>
                    <a:pt x="1372939" y="2888854"/>
                  </a:lnTo>
                  <a:lnTo>
                    <a:pt x="1444377" y="2750741"/>
                  </a:lnTo>
                  <a:lnTo>
                    <a:pt x="1430089" y="2665016"/>
                  </a:lnTo>
                  <a:lnTo>
                    <a:pt x="1433678" y="2655556"/>
                  </a:lnTo>
                  <a:cubicBezTo>
                    <a:pt x="1422983" y="2644679"/>
                    <a:pt x="1415776" y="2635961"/>
                    <a:pt x="1412671" y="2630242"/>
                  </a:cubicBezTo>
                  <a:cubicBezTo>
                    <a:pt x="1381893" y="2577926"/>
                    <a:pt x="1178275" y="2345112"/>
                    <a:pt x="1171172" y="2059985"/>
                  </a:cubicBezTo>
                  <a:cubicBezTo>
                    <a:pt x="1071731" y="2052136"/>
                    <a:pt x="1014908" y="1764391"/>
                    <a:pt x="977027" y="1612672"/>
                  </a:cubicBezTo>
                  <a:cubicBezTo>
                    <a:pt x="946258" y="1484545"/>
                    <a:pt x="1052708" y="1487108"/>
                    <a:pt x="1052790" y="1487109"/>
                  </a:cubicBezTo>
                  <a:cubicBezTo>
                    <a:pt x="1052758" y="1487025"/>
                    <a:pt x="992834" y="1362590"/>
                    <a:pt x="1018186" y="1277790"/>
                  </a:cubicBezTo>
                  <a:cubicBezTo>
                    <a:pt x="962383" y="1308036"/>
                    <a:pt x="957154" y="1319916"/>
                    <a:pt x="934788" y="1341041"/>
                  </a:cubicBezTo>
                  <a:cubicBezTo>
                    <a:pt x="912422" y="1362166"/>
                    <a:pt x="899863" y="1373849"/>
                    <a:pt x="883988" y="1404541"/>
                  </a:cubicBezTo>
                  <a:cubicBezTo>
                    <a:pt x="868113" y="1435233"/>
                    <a:pt x="843771" y="1484974"/>
                    <a:pt x="839538" y="1525191"/>
                  </a:cubicBezTo>
                  <a:cubicBezTo>
                    <a:pt x="835305" y="1565408"/>
                    <a:pt x="850121" y="1595041"/>
                    <a:pt x="858588" y="1645841"/>
                  </a:cubicBezTo>
                  <a:cubicBezTo>
                    <a:pt x="867055" y="1696641"/>
                    <a:pt x="872346" y="1749558"/>
                    <a:pt x="890338" y="1829991"/>
                  </a:cubicBezTo>
                  <a:cubicBezTo>
                    <a:pt x="908330" y="1910424"/>
                    <a:pt x="940080" y="2067058"/>
                    <a:pt x="966538" y="2128441"/>
                  </a:cubicBezTo>
                  <a:cubicBezTo>
                    <a:pt x="992996" y="2189824"/>
                    <a:pt x="1026863" y="2164424"/>
                    <a:pt x="1049088" y="2198291"/>
                  </a:cubicBezTo>
                  <a:cubicBezTo>
                    <a:pt x="1071313" y="2232158"/>
                    <a:pt x="1071313" y="2270258"/>
                    <a:pt x="1099888" y="2331641"/>
                  </a:cubicBezTo>
                  <a:cubicBezTo>
                    <a:pt x="1128463" y="2393024"/>
                    <a:pt x="1191963" y="2503091"/>
                    <a:pt x="1220538" y="2566591"/>
                  </a:cubicBezTo>
                  <a:cubicBezTo>
                    <a:pt x="1249113" y="2630091"/>
                    <a:pt x="1286155" y="2681949"/>
                    <a:pt x="1271338" y="2712641"/>
                  </a:cubicBezTo>
                  <a:cubicBezTo>
                    <a:pt x="1256521" y="2743333"/>
                    <a:pt x="1188788" y="2740158"/>
                    <a:pt x="1131638" y="2750741"/>
                  </a:cubicBezTo>
                  <a:cubicBezTo>
                    <a:pt x="1074488" y="2761324"/>
                    <a:pt x="992996" y="2779316"/>
                    <a:pt x="928438" y="2776141"/>
                  </a:cubicBezTo>
                  <a:cubicBezTo>
                    <a:pt x="863880" y="2772966"/>
                    <a:pt x="788738" y="2762383"/>
                    <a:pt x="744288" y="2731691"/>
                  </a:cubicBezTo>
                  <a:cubicBezTo>
                    <a:pt x="699838" y="2700999"/>
                    <a:pt x="681846" y="2656549"/>
                    <a:pt x="661738" y="2591991"/>
                  </a:cubicBezTo>
                  <a:cubicBezTo>
                    <a:pt x="641630" y="2527433"/>
                    <a:pt x="627871" y="2439591"/>
                    <a:pt x="623638" y="2344341"/>
                  </a:cubicBezTo>
                  <a:cubicBezTo>
                    <a:pt x="619405" y="2249091"/>
                    <a:pt x="617288" y="2189824"/>
                    <a:pt x="636338" y="2020491"/>
                  </a:cubicBezTo>
                  <a:cubicBezTo>
                    <a:pt x="655388" y="1851158"/>
                    <a:pt x="681846" y="1561174"/>
                    <a:pt x="737938" y="1328341"/>
                  </a:cubicBezTo>
                  <a:cubicBezTo>
                    <a:pt x="794030" y="1095508"/>
                    <a:pt x="900921" y="794941"/>
                    <a:pt x="972888" y="623491"/>
                  </a:cubicBezTo>
                  <a:cubicBezTo>
                    <a:pt x="1044855" y="452041"/>
                    <a:pt x="1105180" y="380074"/>
                    <a:pt x="1169738" y="299641"/>
                  </a:cubicBezTo>
                  <a:cubicBezTo>
                    <a:pt x="1234296" y="219208"/>
                    <a:pt x="1299913" y="171583"/>
                    <a:pt x="1360238" y="140891"/>
                  </a:cubicBezTo>
                  <a:cubicBezTo>
                    <a:pt x="1420563" y="110199"/>
                    <a:pt x="1478771" y="136658"/>
                    <a:pt x="1531688" y="115491"/>
                  </a:cubicBezTo>
                  <a:cubicBezTo>
                    <a:pt x="1584605" y="94324"/>
                    <a:pt x="1605771" y="32941"/>
                    <a:pt x="1677738" y="13891"/>
                  </a:cubicBezTo>
                  <a:cubicBezTo>
                    <a:pt x="1713722" y="4366"/>
                    <a:pt x="1763728" y="926"/>
                    <a:pt x="181466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505050"/>
                </a:solidFill>
                <a:effectLst/>
                <a:uLnTx/>
                <a:uFillTx/>
                <a:latin typeface="Segoe UI"/>
                <a:ea typeface="+mn-ea"/>
                <a:cs typeface="+mn-cs"/>
              </a:endParaRPr>
            </a:p>
          </p:txBody>
        </p:sp>
      </p:grpSp>
      <p:pic>
        <p:nvPicPr>
          <p:cNvPr id="257" name="Picture 42"/>
          <p:cNvPicPr>
            <a:picLocks noChangeAspect="1"/>
          </p:cNvPicPr>
          <p:nvPr/>
        </p:nvPicPr>
        <p:blipFill>
          <a:blip r:embed="rId11" cstate="screen">
            <a:duotone>
              <a:prstClr val="black"/>
              <a:schemeClr val="tx2">
                <a:tint val="45000"/>
                <a:satMod val="400000"/>
              </a:schemeClr>
            </a:duotone>
            <a:extLst>
              <a:ext uri="{28A0092B-C50C-407E-A947-70E740481C1C}">
                <a14:useLocalDpi xmlns:a14="http://schemas.microsoft.com/office/drawing/2010/main"/>
              </a:ext>
            </a:extLst>
          </a:blip>
          <a:stretch>
            <a:fillRect/>
          </a:stretch>
        </p:blipFill>
        <p:spPr bwMode="auto">
          <a:xfrm>
            <a:off x="6761234" y="3191953"/>
            <a:ext cx="455030" cy="336422"/>
          </a:xfrm>
          <a:prstGeom prst="rect">
            <a:avLst/>
          </a:prstGeom>
        </p:spPr>
      </p:pic>
      <p:sp>
        <p:nvSpPr>
          <p:cNvPr id="259" name="Freeform 258"/>
          <p:cNvSpPr/>
          <p:nvPr/>
        </p:nvSpPr>
        <p:spPr bwMode="auto">
          <a:xfrm rot="5400000">
            <a:off x="4401549" y="3061840"/>
            <a:ext cx="270797" cy="277541"/>
          </a:xfrm>
          <a:custGeom>
            <a:avLst/>
            <a:gdLst>
              <a:gd name="connsiteX0" fmla="*/ 1428514 w 1552549"/>
              <a:gd name="connsiteY0" fmla="*/ 2111614 h 2111614"/>
              <a:gd name="connsiteX1" fmla="*/ 1428514 w 1552549"/>
              <a:gd name="connsiteY1" fmla="*/ 0 h 2111614"/>
              <a:gd name="connsiteX2" fmla="*/ 1552549 w 1552549"/>
              <a:gd name="connsiteY2" fmla="*/ 0 h 2111614"/>
              <a:gd name="connsiteX3" fmla="*/ 1552549 w 1552549"/>
              <a:gd name="connsiteY3" fmla="*/ 2111614 h 2111614"/>
              <a:gd name="connsiteX4" fmla="*/ 1324492 w 1552549"/>
              <a:gd name="connsiteY4" fmla="*/ 2030828 h 2111614"/>
              <a:gd name="connsiteX5" fmla="*/ 1324492 w 1552549"/>
              <a:gd name="connsiteY5" fmla="*/ 80786 h 2111614"/>
              <a:gd name="connsiteX6" fmla="*/ 1388469 w 1552549"/>
              <a:gd name="connsiteY6" fmla="*/ 80786 h 2111614"/>
              <a:gd name="connsiteX7" fmla="*/ 1388469 w 1552549"/>
              <a:gd name="connsiteY7" fmla="*/ 2030828 h 2111614"/>
              <a:gd name="connsiteX8" fmla="*/ 725282 w 1552549"/>
              <a:gd name="connsiteY8" fmla="*/ 363804 h 2111614"/>
              <a:gd name="connsiteX9" fmla="*/ 725282 w 1552549"/>
              <a:gd name="connsiteY9" fmla="*/ 214930 h 2111614"/>
              <a:gd name="connsiteX10" fmla="*/ 1284447 w 1552549"/>
              <a:gd name="connsiteY10" fmla="*/ 214930 h 2111614"/>
              <a:gd name="connsiteX11" fmla="*/ 1284447 w 1552549"/>
              <a:gd name="connsiteY11" fmla="*/ 363804 h 2111614"/>
              <a:gd name="connsiteX12" fmla="*/ 725281 w 1552549"/>
              <a:gd name="connsiteY12" fmla="*/ 670381 h 2111614"/>
              <a:gd name="connsiteX13" fmla="*/ 725281 w 1552549"/>
              <a:gd name="connsiteY13" fmla="*/ 521507 h 2111614"/>
              <a:gd name="connsiteX14" fmla="*/ 1284446 w 1552549"/>
              <a:gd name="connsiteY14" fmla="*/ 521507 h 2111614"/>
              <a:gd name="connsiteX15" fmla="*/ 1284446 w 1552549"/>
              <a:gd name="connsiteY15" fmla="*/ 670381 h 2111614"/>
              <a:gd name="connsiteX16" fmla="*/ 725280 w 1552549"/>
              <a:gd name="connsiteY16" fmla="*/ 976957 h 2111614"/>
              <a:gd name="connsiteX17" fmla="*/ 725280 w 1552549"/>
              <a:gd name="connsiteY17" fmla="*/ 828083 h 2111614"/>
              <a:gd name="connsiteX18" fmla="*/ 1284445 w 1552549"/>
              <a:gd name="connsiteY18" fmla="*/ 828083 h 2111614"/>
              <a:gd name="connsiteX19" fmla="*/ 1284445 w 1552549"/>
              <a:gd name="connsiteY19" fmla="*/ 976957 h 2111614"/>
              <a:gd name="connsiteX20" fmla="*/ 725279 w 1552549"/>
              <a:gd name="connsiteY20" fmla="*/ 1283533 h 2111614"/>
              <a:gd name="connsiteX21" fmla="*/ 725279 w 1552549"/>
              <a:gd name="connsiteY21" fmla="*/ 1134659 h 2111614"/>
              <a:gd name="connsiteX22" fmla="*/ 1284444 w 1552549"/>
              <a:gd name="connsiteY22" fmla="*/ 1134659 h 2111614"/>
              <a:gd name="connsiteX23" fmla="*/ 1284444 w 1552549"/>
              <a:gd name="connsiteY23" fmla="*/ 1283533 h 2111614"/>
              <a:gd name="connsiteX24" fmla="*/ 725278 w 1552549"/>
              <a:gd name="connsiteY24" fmla="*/ 1590109 h 2111614"/>
              <a:gd name="connsiteX25" fmla="*/ 725278 w 1552549"/>
              <a:gd name="connsiteY25" fmla="*/ 1441235 h 2111614"/>
              <a:gd name="connsiteX26" fmla="*/ 1284443 w 1552549"/>
              <a:gd name="connsiteY26" fmla="*/ 1441235 h 2111614"/>
              <a:gd name="connsiteX27" fmla="*/ 1284443 w 1552549"/>
              <a:gd name="connsiteY27" fmla="*/ 1590109 h 2111614"/>
              <a:gd name="connsiteX28" fmla="*/ 725277 w 1552549"/>
              <a:gd name="connsiteY28" fmla="*/ 1896685 h 2111614"/>
              <a:gd name="connsiteX29" fmla="*/ 725277 w 1552549"/>
              <a:gd name="connsiteY29" fmla="*/ 1747811 h 2111614"/>
              <a:gd name="connsiteX30" fmla="*/ 1284442 w 1552549"/>
              <a:gd name="connsiteY30" fmla="*/ 1747811 h 2111614"/>
              <a:gd name="connsiteX31" fmla="*/ 1284442 w 1552549"/>
              <a:gd name="connsiteY31" fmla="*/ 1896685 h 2111614"/>
              <a:gd name="connsiteX32" fmla="*/ 621254 w 1552549"/>
              <a:gd name="connsiteY32" fmla="*/ 2030828 h 2111614"/>
              <a:gd name="connsiteX33" fmla="*/ 621254 w 1552549"/>
              <a:gd name="connsiteY33" fmla="*/ 80786 h 2111614"/>
              <a:gd name="connsiteX34" fmla="*/ 685231 w 1552549"/>
              <a:gd name="connsiteY34" fmla="*/ 80786 h 2111614"/>
              <a:gd name="connsiteX35" fmla="*/ 685231 w 1552549"/>
              <a:gd name="connsiteY35" fmla="*/ 2030828 h 2111614"/>
              <a:gd name="connsiteX36" fmla="*/ 0 w 1552549"/>
              <a:gd name="connsiteY36" fmla="*/ 1055807 h 2111614"/>
              <a:gd name="connsiteX37" fmla="*/ 581209 w 1552549"/>
              <a:gd name="connsiteY37" fmla="*/ 80786 h 2111614"/>
              <a:gd name="connsiteX38" fmla="*/ 581209 w 1552549"/>
              <a:gd name="connsiteY38" fmla="*/ 2030828 h 2111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49" h="2111614">
                <a:moveTo>
                  <a:pt x="1428514" y="2111614"/>
                </a:moveTo>
                <a:lnTo>
                  <a:pt x="1428514" y="0"/>
                </a:lnTo>
                <a:lnTo>
                  <a:pt x="1552549" y="0"/>
                </a:lnTo>
                <a:lnTo>
                  <a:pt x="1552549" y="2111614"/>
                </a:lnTo>
                <a:close/>
                <a:moveTo>
                  <a:pt x="1324492" y="2030828"/>
                </a:moveTo>
                <a:lnTo>
                  <a:pt x="1324492" y="80786"/>
                </a:lnTo>
                <a:lnTo>
                  <a:pt x="1388469" y="80786"/>
                </a:lnTo>
                <a:lnTo>
                  <a:pt x="1388469" y="2030828"/>
                </a:lnTo>
                <a:close/>
                <a:moveTo>
                  <a:pt x="725282" y="363804"/>
                </a:moveTo>
                <a:lnTo>
                  <a:pt x="725282" y="214930"/>
                </a:lnTo>
                <a:lnTo>
                  <a:pt x="1284447" y="214930"/>
                </a:lnTo>
                <a:lnTo>
                  <a:pt x="1284447" y="363804"/>
                </a:lnTo>
                <a:close/>
                <a:moveTo>
                  <a:pt x="725281" y="670381"/>
                </a:moveTo>
                <a:lnTo>
                  <a:pt x="725281" y="521507"/>
                </a:lnTo>
                <a:lnTo>
                  <a:pt x="1284446" y="521507"/>
                </a:lnTo>
                <a:lnTo>
                  <a:pt x="1284446" y="670381"/>
                </a:lnTo>
                <a:close/>
                <a:moveTo>
                  <a:pt x="725280" y="976957"/>
                </a:moveTo>
                <a:lnTo>
                  <a:pt x="725280" y="828083"/>
                </a:lnTo>
                <a:lnTo>
                  <a:pt x="1284445" y="828083"/>
                </a:lnTo>
                <a:lnTo>
                  <a:pt x="1284445" y="976957"/>
                </a:lnTo>
                <a:close/>
                <a:moveTo>
                  <a:pt x="725279" y="1283533"/>
                </a:moveTo>
                <a:lnTo>
                  <a:pt x="725279" y="1134659"/>
                </a:lnTo>
                <a:lnTo>
                  <a:pt x="1284444" y="1134659"/>
                </a:lnTo>
                <a:lnTo>
                  <a:pt x="1284444" y="1283533"/>
                </a:lnTo>
                <a:close/>
                <a:moveTo>
                  <a:pt x="725278" y="1590109"/>
                </a:moveTo>
                <a:lnTo>
                  <a:pt x="725278" y="1441235"/>
                </a:lnTo>
                <a:lnTo>
                  <a:pt x="1284443" y="1441235"/>
                </a:lnTo>
                <a:lnTo>
                  <a:pt x="1284443" y="1590109"/>
                </a:lnTo>
                <a:close/>
                <a:moveTo>
                  <a:pt x="725277" y="1896685"/>
                </a:moveTo>
                <a:lnTo>
                  <a:pt x="725277" y="1747811"/>
                </a:lnTo>
                <a:lnTo>
                  <a:pt x="1284442" y="1747811"/>
                </a:lnTo>
                <a:lnTo>
                  <a:pt x="1284442" y="1896685"/>
                </a:lnTo>
                <a:close/>
                <a:moveTo>
                  <a:pt x="621254" y="2030828"/>
                </a:moveTo>
                <a:lnTo>
                  <a:pt x="621254" y="80786"/>
                </a:lnTo>
                <a:lnTo>
                  <a:pt x="685231" y="80786"/>
                </a:lnTo>
                <a:lnTo>
                  <a:pt x="685231" y="2030828"/>
                </a:lnTo>
                <a:close/>
                <a:moveTo>
                  <a:pt x="0" y="1055807"/>
                </a:moveTo>
                <a:lnTo>
                  <a:pt x="581209" y="80786"/>
                </a:lnTo>
                <a:lnTo>
                  <a:pt x="581209" y="2030828"/>
                </a:lnTo>
                <a:close/>
              </a:path>
            </a:pathLst>
          </a:custGeom>
          <a:solidFill>
            <a:srgbClr val="5E83B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IN" sz="2200" b="0" i="0" u="none" strike="noStrike" kern="1200" cap="none" spc="-50" normalizeH="0" baseline="0" noProof="0" err="1">
              <a:ln>
                <a:noFill/>
              </a:ln>
              <a:solidFill>
                <a:srgbClr val="505050"/>
              </a:solidFill>
              <a:effectLst/>
              <a:uLnTx/>
              <a:uFillTx/>
              <a:latin typeface="Segoe UI" pitchFamily="34" charset="0"/>
              <a:ea typeface="Segoe UI" pitchFamily="34" charset="0"/>
              <a:cs typeface="Segoe UI" pitchFamily="34" charset="0"/>
            </a:endParaRPr>
          </a:p>
        </p:txBody>
      </p:sp>
      <p:sp>
        <p:nvSpPr>
          <p:cNvPr id="260" name="Rectangle 259"/>
          <p:cNvSpPr/>
          <p:nvPr/>
        </p:nvSpPr>
        <p:spPr>
          <a:xfrm>
            <a:off x="303212" y="4315367"/>
            <a:ext cx="11582400" cy="3795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1088105" rtl="0" eaLnBrk="1" fontAlgn="auto" latinLnBrk="0" hangingPunct="1">
              <a:lnSpc>
                <a:spcPct val="100000"/>
              </a:lnSpc>
              <a:spcBef>
                <a:spcPts val="20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Top-line Impact</a:t>
            </a:r>
          </a:p>
          <a:p>
            <a:pPr marL="0" marR="0" lvl="0" indent="0" algn="l" defTabSz="1088105" rtl="0" eaLnBrk="1" fontAlgn="auto" latinLnBrk="0" hangingPunct="1">
              <a:lnSpc>
                <a:spcPct val="100000"/>
              </a:lnSpc>
              <a:spcBef>
                <a:spcPts val="20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More satisfied and engaged customers with an enhanced value proposition</a:t>
            </a:r>
            <a:r>
              <a:rPr lang="en-US" sz="1100" dirty="0">
                <a:solidFill>
                  <a:srgbClr val="505050"/>
                </a:solidFill>
                <a:latin typeface="Segoe UI"/>
                <a:cs typeface="Segoe UI Semibold" panose="020B0702040204020203" pitchFamily="34" charset="0"/>
              </a:rPr>
              <a:t> </a:t>
            </a:r>
            <a:r>
              <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in every attribute of their mobility experiences.</a:t>
            </a:r>
          </a:p>
        </p:txBody>
      </p:sp>
      <p:sp>
        <p:nvSpPr>
          <p:cNvPr id="98" name="Text Placeholder 6"/>
          <p:cNvSpPr txBox="1">
            <a:spLocks/>
          </p:cNvSpPr>
          <p:nvPr/>
        </p:nvSpPr>
        <p:spPr>
          <a:xfrm>
            <a:off x="8389559" y="142996"/>
            <a:ext cx="3361765" cy="373063"/>
          </a:xfrm>
          <a:prstGeom prst="rect">
            <a:avLst/>
          </a:prstGeom>
        </p:spPr>
        <p:txBody>
          <a:bodyPr vert="horz" lIns="320040" tIns="53325" rIns="53325" bIns="53325" rtlCol="0">
            <a:noAutofit/>
          </a:bodyPr>
          <a:lstStyle>
            <a:lvl1pPr marL="0" indent="0" algn="l" defTabSz="1088105" rtl="0" eaLnBrk="1" latinLnBrk="0" hangingPunct="1">
              <a:spcBef>
                <a:spcPts val="1800"/>
              </a:spcBef>
              <a:buClr>
                <a:srgbClr val="0072C6"/>
              </a:buClr>
              <a:buSzPct val="100000"/>
              <a:buFont typeface="Wingdings" pitchFamily="2" charset="2"/>
              <a:buNone/>
              <a:defRPr sz="2800" kern="1200">
                <a:solidFill>
                  <a:schemeClr val="tx1"/>
                </a:solidFill>
                <a:latin typeface="Segoe UI Light" pitchFamily="34" charset="0"/>
                <a:ea typeface="Segoe UI" pitchFamily="34" charset="0"/>
                <a:cs typeface="Segoe UI" pitchFamily="34" charset="0"/>
              </a:defRPr>
            </a:lvl1pPr>
            <a:lvl2pPr marL="281674" indent="0" algn="l" defTabSz="1088105" rtl="0" eaLnBrk="1" latinLnBrk="0" hangingPunct="1">
              <a:spcBef>
                <a:spcPct val="20000"/>
              </a:spcBef>
              <a:buFont typeface="Arial" pitchFamily="34" charset="0"/>
              <a:buNone/>
              <a:defRPr sz="1800" kern="1200">
                <a:solidFill>
                  <a:schemeClr val="tx1"/>
                </a:solidFill>
                <a:latin typeface="Segoe UI" pitchFamily="34" charset="0"/>
                <a:ea typeface="Segoe UI" pitchFamily="34" charset="0"/>
                <a:cs typeface="Segoe UI" pitchFamily="34" charset="0"/>
              </a:defRPr>
            </a:lvl2pPr>
            <a:lvl3pPr marL="588476" indent="0" algn="l" defTabSz="1088105" rtl="0" eaLnBrk="1" latinLnBrk="0" hangingPunct="1">
              <a:spcBef>
                <a:spcPct val="20000"/>
              </a:spcBef>
              <a:buFont typeface="Arial" pitchFamily="34" charset="0"/>
              <a:buNone/>
              <a:defRPr sz="1600" kern="1200">
                <a:solidFill>
                  <a:schemeClr val="tx1"/>
                </a:solidFill>
                <a:latin typeface="Segoe UI" pitchFamily="34" charset="0"/>
                <a:ea typeface="Segoe UI" pitchFamily="34" charset="0"/>
                <a:cs typeface="Segoe UI" pitchFamily="34" charset="0"/>
              </a:defRPr>
            </a:lvl3pPr>
            <a:lvl4pPr marL="87015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4pPr>
            <a:lvl5pPr marL="110554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marL="0" marR="0" lvl="0" indent="0" algn="l" defTabSz="1088105" rtl="0" eaLnBrk="1" fontAlgn="auto" latinLnBrk="0" hangingPunct="1">
              <a:lnSpc>
                <a:spcPct val="100000"/>
              </a:lnSpc>
              <a:spcBef>
                <a:spcPts val="1800"/>
              </a:spcBef>
              <a:spcAft>
                <a:spcPts val="0"/>
              </a:spcAft>
              <a:buClr>
                <a:srgbClr val="0072C6"/>
              </a:buClr>
              <a:buSzPct val="100000"/>
              <a:buFont typeface="Wingdings" pitchFamily="2" charset="2"/>
              <a:buNone/>
              <a:tabLst/>
              <a:defRPr/>
            </a:pPr>
            <a:r>
              <a:rPr kumimoji="0" lang="en-US" sz="2800" b="0" i="0" u="none" strike="noStrike" kern="1200" cap="none" spc="0" normalizeH="0" baseline="0" noProof="0">
                <a:ln>
                  <a:noFill/>
                </a:ln>
                <a:solidFill>
                  <a:srgbClr val="505050"/>
                </a:solidFill>
                <a:effectLst/>
                <a:uLnTx/>
                <a:uFillTx/>
                <a:latin typeface="Segoe UI Light" pitchFamily="34" charset="0"/>
                <a:cs typeface="Segoe UI" pitchFamily="34" charset="0"/>
              </a:rPr>
              <a:t>Solution Storyboard</a:t>
            </a:r>
          </a:p>
        </p:txBody>
      </p:sp>
      <p:sp>
        <p:nvSpPr>
          <p:cNvPr id="96" name="Freeform 518">
            <a:extLst>
              <a:ext uri="{FF2B5EF4-FFF2-40B4-BE49-F238E27FC236}">
                <a16:creationId xmlns:a16="http://schemas.microsoft.com/office/drawing/2014/main" id="{26169174-A388-4C6C-8A4D-532295A276FE}"/>
              </a:ext>
            </a:extLst>
          </p:cNvPr>
          <p:cNvSpPr/>
          <p:nvPr/>
        </p:nvSpPr>
        <p:spPr>
          <a:xfrm>
            <a:off x="9390641" y="2736980"/>
            <a:ext cx="374259" cy="326709"/>
          </a:xfrm>
          <a:custGeom>
            <a:avLst/>
            <a:gdLst/>
            <a:ahLst/>
            <a:cxnLst/>
            <a:rect l="l" t="t" r="r" b="b"/>
            <a:pathLst>
              <a:path w="5259936" h="4591663">
                <a:moveTo>
                  <a:pt x="0" y="3512322"/>
                </a:moveTo>
                <a:lnTo>
                  <a:pt x="653753" y="3512322"/>
                </a:lnTo>
                <a:lnTo>
                  <a:pt x="653753" y="4591662"/>
                </a:lnTo>
                <a:lnTo>
                  <a:pt x="0" y="4591662"/>
                </a:lnTo>
                <a:close/>
                <a:moveTo>
                  <a:pt x="921237" y="3443955"/>
                </a:moveTo>
                <a:lnTo>
                  <a:pt x="1574990" y="3443955"/>
                </a:lnTo>
                <a:lnTo>
                  <a:pt x="1574990" y="4591662"/>
                </a:lnTo>
                <a:lnTo>
                  <a:pt x="921237" y="4591662"/>
                </a:lnTo>
                <a:close/>
                <a:moveTo>
                  <a:pt x="1842474" y="3187583"/>
                </a:moveTo>
                <a:lnTo>
                  <a:pt x="2496227" y="3187583"/>
                </a:lnTo>
                <a:lnTo>
                  <a:pt x="2496227" y="4591663"/>
                </a:lnTo>
                <a:lnTo>
                  <a:pt x="1842474" y="4591663"/>
                </a:lnTo>
                <a:close/>
                <a:moveTo>
                  <a:pt x="2763711" y="2820112"/>
                </a:moveTo>
                <a:lnTo>
                  <a:pt x="3417464" y="2820112"/>
                </a:lnTo>
                <a:lnTo>
                  <a:pt x="3417464" y="4591663"/>
                </a:lnTo>
                <a:lnTo>
                  <a:pt x="2763711" y="4591663"/>
                </a:lnTo>
                <a:close/>
                <a:moveTo>
                  <a:pt x="3684948" y="2187724"/>
                </a:moveTo>
                <a:lnTo>
                  <a:pt x="4338701" y="2187724"/>
                </a:lnTo>
                <a:lnTo>
                  <a:pt x="4338701" y="4591663"/>
                </a:lnTo>
                <a:lnTo>
                  <a:pt x="3684948" y="4591663"/>
                </a:lnTo>
                <a:close/>
                <a:moveTo>
                  <a:pt x="4606183" y="1828800"/>
                </a:moveTo>
                <a:lnTo>
                  <a:pt x="5259936" y="1828800"/>
                </a:lnTo>
                <a:lnTo>
                  <a:pt x="5259936" y="4591663"/>
                </a:lnTo>
                <a:lnTo>
                  <a:pt x="4606183" y="4591663"/>
                </a:lnTo>
                <a:close/>
                <a:moveTo>
                  <a:pt x="5123203" y="0"/>
                </a:moveTo>
                <a:lnTo>
                  <a:pt x="4730097" y="1683522"/>
                </a:lnTo>
                <a:lnTo>
                  <a:pt x="4379719" y="1401510"/>
                </a:lnTo>
                <a:cubicBezTo>
                  <a:pt x="2644923" y="2999574"/>
                  <a:pt x="1602336" y="3273040"/>
                  <a:pt x="12818" y="3161944"/>
                </a:cubicBezTo>
                <a:cubicBezTo>
                  <a:pt x="1397236" y="3099275"/>
                  <a:pt x="2559465" y="2498221"/>
                  <a:pt x="3832788" y="922946"/>
                </a:cubicBezTo>
                <a:lnTo>
                  <a:pt x="3490957" y="632389"/>
                </a:lnTo>
                <a:close/>
              </a:path>
            </a:pathLst>
          </a:custGeom>
          <a:solidFill>
            <a:srgbClr val="5E83BD"/>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prstClr val="white"/>
              </a:solidFill>
              <a:effectLst/>
              <a:uLnTx/>
              <a:uFillTx/>
              <a:latin typeface="Segoe UI"/>
              <a:ea typeface="+mn-ea"/>
              <a:cs typeface="+mn-cs"/>
            </a:endParaRPr>
          </a:p>
        </p:txBody>
      </p:sp>
      <p:pic>
        <p:nvPicPr>
          <p:cNvPr id="100" name="Picture 7" descr="\\MAGNUM\Projects\Microsoft\Cloud Power FY12\Design\ICONS_PNG\Within_Your_Reach.png">
            <a:extLst>
              <a:ext uri="{FF2B5EF4-FFF2-40B4-BE49-F238E27FC236}">
                <a16:creationId xmlns:a16="http://schemas.microsoft.com/office/drawing/2014/main" id="{EFFDB4DA-6DCD-4B2C-90E3-469649340F7A}"/>
              </a:ext>
            </a:extLst>
          </p:cNvPr>
          <p:cNvPicPr>
            <a:picLocks noChangeAspect="1" noChangeArrowheads="1"/>
          </p:cNvPicPr>
          <p:nvPr/>
        </p:nvPicPr>
        <p:blipFill>
          <a:blip r:embed="rId12" cstate="print">
            <a:duotone>
              <a:srgbClr val="0A5BBA">
                <a:shade val="45000"/>
                <a:satMod val="135000"/>
              </a:srgbClr>
              <a:prstClr val="white"/>
            </a:duotone>
            <a:extLst>
              <a:ext uri="{BEBA8EAE-BF5A-486C-A8C5-ECC9F3942E4B}">
                <a14:imgProps xmlns:a14="http://schemas.microsoft.com/office/drawing/2010/main">
                  <a14:imgLayer r:embed="rId13">
                    <a14:imgEffect>
                      <a14:brightnessContrast bright="-31000" contrast="-40000"/>
                    </a14:imgEffect>
                  </a14:imgLayer>
                </a14:imgProps>
              </a:ext>
              <a:ext uri="{28A0092B-C50C-407E-A947-70E740481C1C}">
                <a14:useLocalDpi xmlns:a14="http://schemas.microsoft.com/office/drawing/2010/main"/>
              </a:ext>
            </a:extLst>
          </a:blip>
          <a:srcRect/>
          <a:stretch>
            <a:fillRect/>
          </a:stretch>
        </p:blipFill>
        <p:spPr bwMode="auto">
          <a:xfrm>
            <a:off x="3741033" y="3040984"/>
            <a:ext cx="378383" cy="378383"/>
          </a:xfrm>
          <a:prstGeom prst="rect">
            <a:avLst/>
          </a:prstGeom>
          <a:noFill/>
        </p:spPr>
      </p:pic>
      <p:grpSp>
        <p:nvGrpSpPr>
          <p:cNvPr id="119" name="Group 118">
            <a:extLst>
              <a:ext uri="{FF2B5EF4-FFF2-40B4-BE49-F238E27FC236}">
                <a16:creationId xmlns:a16="http://schemas.microsoft.com/office/drawing/2014/main" id="{5C00E145-F1C8-46B6-A2D4-66B05D698518}"/>
              </a:ext>
            </a:extLst>
          </p:cNvPr>
          <p:cNvGrpSpPr>
            <a:grpSpLocks noChangeAspect="1"/>
          </p:cNvGrpSpPr>
          <p:nvPr/>
        </p:nvGrpSpPr>
        <p:grpSpPr bwMode="black">
          <a:xfrm>
            <a:off x="5916327" y="3262942"/>
            <a:ext cx="419481" cy="317087"/>
            <a:chOff x="5152725" y="4450437"/>
            <a:chExt cx="311284" cy="235362"/>
          </a:xfrm>
          <a:solidFill>
            <a:srgbClr val="5E83BD"/>
          </a:solidFill>
        </p:grpSpPr>
        <p:sp>
          <p:nvSpPr>
            <p:cNvPr id="124" name="Freeform 168">
              <a:extLst>
                <a:ext uri="{FF2B5EF4-FFF2-40B4-BE49-F238E27FC236}">
                  <a16:creationId xmlns:a16="http://schemas.microsoft.com/office/drawing/2014/main" id="{DB952A8B-DE7F-4AFC-9687-0803FC57699B}"/>
                </a:ext>
              </a:extLst>
            </p:cNvPr>
            <p:cNvSpPr>
              <a:spLocks noEditPoints="1"/>
            </p:cNvSpPr>
            <p:nvPr/>
          </p:nvSpPr>
          <p:spPr bwMode="black">
            <a:xfrm>
              <a:off x="5152725" y="4450437"/>
              <a:ext cx="212585" cy="199299"/>
            </a:xfrm>
            <a:custGeom>
              <a:avLst/>
              <a:gdLst/>
              <a:ahLst/>
              <a:cxnLst>
                <a:cxn ang="0">
                  <a:pos x="215" y="24"/>
                </a:cxn>
                <a:cxn ang="0">
                  <a:pos x="127" y="0"/>
                </a:cxn>
                <a:cxn ang="0">
                  <a:pos x="39" y="24"/>
                </a:cxn>
                <a:cxn ang="0">
                  <a:pos x="0" y="89"/>
                </a:cxn>
                <a:cxn ang="0">
                  <a:pos x="42" y="155"/>
                </a:cxn>
                <a:cxn ang="0">
                  <a:pos x="34" y="197"/>
                </a:cxn>
                <a:cxn ang="0">
                  <a:pos x="27" y="231"/>
                </a:cxn>
                <a:cxn ang="0">
                  <a:pos x="25" y="240"/>
                </a:cxn>
                <a:cxn ang="0">
                  <a:pos x="31" y="233"/>
                </a:cxn>
                <a:cxn ang="0">
                  <a:pos x="55" y="207"/>
                </a:cxn>
                <a:cxn ang="0">
                  <a:pos x="87" y="173"/>
                </a:cxn>
                <a:cxn ang="0">
                  <a:pos x="127" y="178"/>
                </a:cxn>
                <a:cxn ang="0">
                  <a:pos x="215" y="153"/>
                </a:cxn>
                <a:cxn ang="0">
                  <a:pos x="255" y="89"/>
                </a:cxn>
                <a:cxn ang="0">
                  <a:pos x="215" y="24"/>
                </a:cxn>
                <a:cxn ang="0">
                  <a:pos x="59" y="149"/>
                </a:cxn>
                <a:cxn ang="0">
                  <a:pos x="59" y="147"/>
                </a:cxn>
                <a:cxn ang="0">
                  <a:pos x="57" y="147"/>
                </a:cxn>
                <a:cxn ang="0">
                  <a:pos x="15" y="89"/>
                </a:cxn>
                <a:cxn ang="0">
                  <a:pos x="127" y="15"/>
                </a:cxn>
                <a:cxn ang="0">
                  <a:pos x="240" y="89"/>
                </a:cxn>
                <a:cxn ang="0">
                  <a:pos x="127" y="163"/>
                </a:cxn>
                <a:cxn ang="0">
                  <a:pos x="83" y="157"/>
                </a:cxn>
                <a:cxn ang="0">
                  <a:pos x="82" y="156"/>
                </a:cxn>
                <a:cxn ang="0">
                  <a:pos x="81" y="158"/>
                </a:cxn>
                <a:cxn ang="0">
                  <a:pos x="50" y="191"/>
                </a:cxn>
                <a:cxn ang="0">
                  <a:pos x="59" y="149"/>
                </a:cxn>
              </a:cxnLst>
              <a:rect l="0" t="0" r="r" b="b"/>
              <a:pathLst>
                <a:path w="255" h="240">
                  <a:moveTo>
                    <a:pt x="215" y="24"/>
                  </a:moveTo>
                  <a:cubicBezTo>
                    <a:pt x="192" y="8"/>
                    <a:pt x="160" y="0"/>
                    <a:pt x="127" y="0"/>
                  </a:cubicBezTo>
                  <a:cubicBezTo>
                    <a:pt x="94" y="0"/>
                    <a:pt x="63" y="8"/>
                    <a:pt x="39" y="24"/>
                  </a:cubicBezTo>
                  <a:cubicBezTo>
                    <a:pt x="14" y="41"/>
                    <a:pt x="0" y="64"/>
                    <a:pt x="0" y="89"/>
                  </a:cubicBezTo>
                  <a:cubicBezTo>
                    <a:pt x="0" y="114"/>
                    <a:pt x="15" y="138"/>
                    <a:pt x="42" y="155"/>
                  </a:cubicBezTo>
                  <a:cubicBezTo>
                    <a:pt x="34" y="197"/>
                    <a:pt x="34" y="197"/>
                    <a:pt x="34" y="197"/>
                  </a:cubicBezTo>
                  <a:cubicBezTo>
                    <a:pt x="27" y="231"/>
                    <a:pt x="27" y="231"/>
                    <a:pt x="27" y="231"/>
                  </a:cubicBezTo>
                  <a:cubicBezTo>
                    <a:pt x="25" y="240"/>
                    <a:pt x="25" y="240"/>
                    <a:pt x="25" y="240"/>
                  </a:cubicBezTo>
                  <a:cubicBezTo>
                    <a:pt x="31" y="233"/>
                    <a:pt x="31" y="233"/>
                    <a:pt x="31" y="233"/>
                  </a:cubicBezTo>
                  <a:cubicBezTo>
                    <a:pt x="55" y="207"/>
                    <a:pt x="55" y="207"/>
                    <a:pt x="55" y="207"/>
                  </a:cubicBezTo>
                  <a:cubicBezTo>
                    <a:pt x="87" y="173"/>
                    <a:pt x="87" y="173"/>
                    <a:pt x="87" y="173"/>
                  </a:cubicBezTo>
                  <a:cubicBezTo>
                    <a:pt x="100" y="176"/>
                    <a:pt x="113" y="178"/>
                    <a:pt x="127" y="178"/>
                  </a:cubicBezTo>
                  <a:cubicBezTo>
                    <a:pt x="160" y="178"/>
                    <a:pt x="192" y="169"/>
                    <a:pt x="215" y="153"/>
                  </a:cubicBezTo>
                  <a:cubicBezTo>
                    <a:pt x="241" y="136"/>
                    <a:pt x="255" y="113"/>
                    <a:pt x="255" y="89"/>
                  </a:cubicBezTo>
                  <a:cubicBezTo>
                    <a:pt x="255" y="64"/>
                    <a:pt x="241" y="41"/>
                    <a:pt x="215" y="24"/>
                  </a:cubicBezTo>
                  <a:close/>
                  <a:moveTo>
                    <a:pt x="59" y="149"/>
                  </a:moveTo>
                  <a:cubicBezTo>
                    <a:pt x="59" y="147"/>
                    <a:pt x="59" y="147"/>
                    <a:pt x="59" y="147"/>
                  </a:cubicBezTo>
                  <a:cubicBezTo>
                    <a:pt x="57" y="147"/>
                    <a:pt x="57" y="147"/>
                    <a:pt x="57" y="147"/>
                  </a:cubicBezTo>
                  <a:cubicBezTo>
                    <a:pt x="30" y="132"/>
                    <a:pt x="15" y="111"/>
                    <a:pt x="15" y="89"/>
                  </a:cubicBezTo>
                  <a:cubicBezTo>
                    <a:pt x="15" y="48"/>
                    <a:pt x="65" y="15"/>
                    <a:pt x="127" y="15"/>
                  </a:cubicBezTo>
                  <a:cubicBezTo>
                    <a:pt x="189" y="15"/>
                    <a:pt x="240" y="48"/>
                    <a:pt x="240" y="89"/>
                  </a:cubicBezTo>
                  <a:cubicBezTo>
                    <a:pt x="240" y="129"/>
                    <a:pt x="189" y="163"/>
                    <a:pt x="127" y="163"/>
                  </a:cubicBezTo>
                  <a:cubicBezTo>
                    <a:pt x="112" y="163"/>
                    <a:pt x="97" y="161"/>
                    <a:pt x="83" y="157"/>
                  </a:cubicBezTo>
                  <a:cubicBezTo>
                    <a:pt x="82" y="156"/>
                    <a:pt x="82" y="156"/>
                    <a:pt x="82" y="156"/>
                  </a:cubicBezTo>
                  <a:cubicBezTo>
                    <a:pt x="81" y="158"/>
                    <a:pt x="81" y="158"/>
                    <a:pt x="81" y="158"/>
                  </a:cubicBezTo>
                  <a:cubicBezTo>
                    <a:pt x="50" y="191"/>
                    <a:pt x="50" y="191"/>
                    <a:pt x="50" y="191"/>
                  </a:cubicBezTo>
                  <a:lnTo>
                    <a:pt x="59" y="149"/>
                  </a:lnTo>
                  <a:close/>
                </a:path>
              </a:pathLst>
            </a:custGeom>
            <a:grpFill/>
            <a:ln w="25400"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marL="0" marR="0" lvl="0" indent="0" defTabSz="740740" eaLnBrk="1" fontAlgn="auto" latinLnBrk="0" hangingPunct="1">
                <a:lnSpc>
                  <a:spcPct val="100000"/>
                </a:lnSpc>
                <a:spcBef>
                  <a:spcPts val="0"/>
                </a:spcBef>
                <a:spcAft>
                  <a:spcPts val="0"/>
                </a:spcAft>
                <a:buClrTx/>
                <a:buSzTx/>
                <a:buFontTx/>
                <a:buNone/>
                <a:tabLst/>
                <a:defRPr/>
              </a:pPr>
              <a:endParaRPr kumimoji="0" lang="en-US" sz="1900" b="0" i="0" u="none" strike="noStrike" kern="0" cap="none" spc="-122" normalizeH="0" baseline="0" noProof="0">
                <a:ln>
                  <a:noFill/>
                </a:ln>
                <a:solidFill>
                  <a:srgbClr val="FFFFFF">
                    <a:lumMod val="50000"/>
                  </a:srgbClr>
                </a:solidFill>
                <a:effectLst/>
                <a:uLnTx/>
                <a:uFillTx/>
                <a:latin typeface="Segoe Light" pitchFamily="34" charset="0"/>
                <a:ea typeface="+mn-ea"/>
                <a:cs typeface="+mn-cs"/>
              </a:endParaRPr>
            </a:p>
          </p:txBody>
        </p:sp>
        <p:sp>
          <p:nvSpPr>
            <p:cNvPr id="132" name="Freeform 169">
              <a:extLst>
                <a:ext uri="{FF2B5EF4-FFF2-40B4-BE49-F238E27FC236}">
                  <a16:creationId xmlns:a16="http://schemas.microsoft.com/office/drawing/2014/main" id="{01C89F8D-B7C1-4E48-BBBF-C944B1FD2599}"/>
                </a:ext>
              </a:extLst>
            </p:cNvPr>
            <p:cNvSpPr>
              <a:spLocks/>
            </p:cNvSpPr>
            <p:nvPr/>
          </p:nvSpPr>
          <p:spPr bwMode="black">
            <a:xfrm>
              <a:off x="5295080" y="4518768"/>
              <a:ext cx="168929" cy="167031"/>
            </a:xfrm>
            <a:custGeom>
              <a:avLst/>
              <a:gdLst/>
              <a:ahLst/>
              <a:cxnLst>
                <a:cxn ang="0">
                  <a:pos x="203" y="74"/>
                </a:cxn>
                <a:cxn ang="0">
                  <a:pos x="170" y="20"/>
                </a:cxn>
                <a:cxn ang="0">
                  <a:pos x="98" y="0"/>
                </a:cxn>
                <a:cxn ang="0">
                  <a:pos x="95" y="0"/>
                </a:cxn>
                <a:cxn ang="0">
                  <a:pos x="95" y="3"/>
                </a:cxn>
                <a:cxn ang="0">
                  <a:pos x="96" y="11"/>
                </a:cxn>
                <a:cxn ang="0">
                  <a:pos x="96" y="13"/>
                </a:cxn>
                <a:cxn ang="0">
                  <a:pos x="99" y="13"/>
                </a:cxn>
                <a:cxn ang="0">
                  <a:pos x="190" y="74"/>
                </a:cxn>
                <a:cxn ang="0">
                  <a:pos x="155" y="121"/>
                </a:cxn>
                <a:cxn ang="0">
                  <a:pos x="153" y="122"/>
                </a:cxn>
                <a:cxn ang="0">
                  <a:pos x="153" y="124"/>
                </a:cxn>
                <a:cxn ang="0">
                  <a:pos x="160" y="157"/>
                </a:cxn>
                <a:cxn ang="0">
                  <a:pos x="136" y="130"/>
                </a:cxn>
                <a:cxn ang="0">
                  <a:pos x="134" y="129"/>
                </a:cxn>
                <a:cxn ang="0">
                  <a:pos x="133" y="130"/>
                </a:cxn>
                <a:cxn ang="0">
                  <a:pos x="97" y="134"/>
                </a:cxn>
                <a:cxn ang="0">
                  <a:pos x="15" y="102"/>
                </a:cxn>
                <a:cxn ang="0">
                  <a:pos x="14" y="100"/>
                </a:cxn>
                <a:cxn ang="0">
                  <a:pos x="12" y="101"/>
                </a:cxn>
                <a:cxn ang="0">
                  <a:pos x="4" y="103"/>
                </a:cxn>
                <a:cxn ang="0">
                  <a:pos x="0" y="104"/>
                </a:cxn>
                <a:cxn ang="0">
                  <a:pos x="2" y="107"/>
                </a:cxn>
                <a:cxn ang="0">
                  <a:pos x="24" y="127"/>
                </a:cxn>
                <a:cxn ang="0">
                  <a:pos x="97" y="148"/>
                </a:cxn>
                <a:cxn ang="0">
                  <a:pos x="130" y="144"/>
                </a:cxn>
                <a:cxn ang="0">
                  <a:pos x="156" y="172"/>
                </a:cxn>
                <a:cxn ang="0">
                  <a:pos x="176" y="194"/>
                </a:cxn>
                <a:cxn ang="0">
                  <a:pos x="182" y="200"/>
                </a:cxn>
                <a:cxn ang="0">
                  <a:pos x="180" y="192"/>
                </a:cxn>
                <a:cxn ang="0">
                  <a:pos x="175" y="163"/>
                </a:cxn>
                <a:cxn ang="0">
                  <a:pos x="168" y="129"/>
                </a:cxn>
                <a:cxn ang="0">
                  <a:pos x="203" y="74"/>
                </a:cxn>
              </a:cxnLst>
              <a:rect l="0" t="0" r="r" b="b"/>
              <a:pathLst>
                <a:path w="203" h="200">
                  <a:moveTo>
                    <a:pt x="203" y="74"/>
                  </a:moveTo>
                  <a:cubicBezTo>
                    <a:pt x="203" y="53"/>
                    <a:pt x="191" y="34"/>
                    <a:pt x="170" y="20"/>
                  </a:cubicBezTo>
                  <a:cubicBezTo>
                    <a:pt x="151" y="7"/>
                    <a:pt x="125" y="0"/>
                    <a:pt x="98" y="0"/>
                  </a:cubicBezTo>
                  <a:cubicBezTo>
                    <a:pt x="95" y="0"/>
                    <a:pt x="95" y="0"/>
                    <a:pt x="95" y="0"/>
                  </a:cubicBezTo>
                  <a:cubicBezTo>
                    <a:pt x="95" y="3"/>
                    <a:pt x="95" y="3"/>
                    <a:pt x="95" y="3"/>
                  </a:cubicBezTo>
                  <a:cubicBezTo>
                    <a:pt x="96" y="5"/>
                    <a:pt x="96" y="8"/>
                    <a:pt x="96" y="11"/>
                  </a:cubicBezTo>
                  <a:cubicBezTo>
                    <a:pt x="96" y="13"/>
                    <a:pt x="96" y="13"/>
                    <a:pt x="96" y="13"/>
                  </a:cubicBezTo>
                  <a:cubicBezTo>
                    <a:pt x="99" y="13"/>
                    <a:pt x="99" y="13"/>
                    <a:pt x="99" y="13"/>
                  </a:cubicBezTo>
                  <a:cubicBezTo>
                    <a:pt x="149" y="14"/>
                    <a:pt x="190" y="41"/>
                    <a:pt x="190" y="74"/>
                  </a:cubicBezTo>
                  <a:cubicBezTo>
                    <a:pt x="190" y="92"/>
                    <a:pt x="177" y="110"/>
                    <a:pt x="155" y="121"/>
                  </a:cubicBezTo>
                  <a:cubicBezTo>
                    <a:pt x="153" y="122"/>
                    <a:pt x="153" y="122"/>
                    <a:pt x="153" y="122"/>
                  </a:cubicBezTo>
                  <a:cubicBezTo>
                    <a:pt x="153" y="124"/>
                    <a:pt x="153" y="124"/>
                    <a:pt x="153" y="124"/>
                  </a:cubicBezTo>
                  <a:cubicBezTo>
                    <a:pt x="160" y="157"/>
                    <a:pt x="160" y="157"/>
                    <a:pt x="160" y="157"/>
                  </a:cubicBezTo>
                  <a:cubicBezTo>
                    <a:pt x="136" y="130"/>
                    <a:pt x="136" y="130"/>
                    <a:pt x="136" y="130"/>
                  </a:cubicBezTo>
                  <a:cubicBezTo>
                    <a:pt x="134" y="129"/>
                    <a:pt x="134" y="129"/>
                    <a:pt x="134" y="129"/>
                  </a:cubicBezTo>
                  <a:cubicBezTo>
                    <a:pt x="133" y="130"/>
                    <a:pt x="133" y="130"/>
                    <a:pt x="133" y="130"/>
                  </a:cubicBezTo>
                  <a:cubicBezTo>
                    <a:pt x="122" y="133"/>
                    <a:pt x="109" y="134"/>
                    <a:pt x="97" y="134"/>
                  </a:cubicBezTo>
                  <a:cubicBezTo>
                    <a:pt x="62" y="134"/>
                    <a:pt x="31" y="122"/>
                    <a:pt x="15" y="102"/>
                  </a:cubicBezTo>
                  <a:cubicBezTo>
                    <a:pt x="14" y="100"/>
                    <a:pt x="14" y="100"/>
                    <a:pt x="14" y="100"/>
                  </a:cubicBezTo>
                  <a:cubicBezTo>
                    <a:pt x="12" y="101"/>
                    <a:pt x="12" y="101"/>
                    <a:pt x="12" y="101"/>
                  </a:cubicBezTo>
                  <a:cubicBezTo>
                    <a:pt x="10" y="102"/>
                    <a:pt x="7" y="102"/>
                    <a:pt x="4" y="103"/>
                  </a:cubicBezTo>
                  <a:cubicBezTo>
                    <a:pt x="0" y="104"/>
                    <a:pt x="0" y="104"/>
                    <a:pt x="0" y="104"/>
                  </a:cubicBezTo>
                  <a:cubicBezTo>
                    <a:pt x="2" y="107"/>
                    <a:pt x="2" y="107"/>
                    <a:pt x="2" y="107"/>
                  </a:cubicBezTo>
                  <a:cubicBezTo>
                    <a:pt x="8" y="115"/>
                    <a:pt x="15" y="121"/>
                    <a:pt x="24" y="127"/>
                  </a:cubicBezTo>
                  <a:cubicBezTo>
                    <a:pt x="44" y="141"/>
                    <a:pt x="70" y="148"/>
                    <a:pt x="97" y="148"/>
                  </a:cubicBezTo>
                  <a:cubicBezTo>
                    <a:pt x="108" y="148"/>
                    <a:pt x="119" y="147"/>
                    <a:pt x="130" y="144"/>
                  </a:cubicBezTo>
                  <a:cubicBezTo>
                    <a:pt x="156" y="172"/>
                    <a:pt x="156" y="172"/>
                    <a:pt x="156" y="172"/>
                  </a:cubicBezTo>
                  <a:cubicBezTo>
                    <a:pt x="176" y="194"/>
                    <a:pt x="176" y="194"/>
                    <a:pt x="176" y="194"/>
                  </a:cubicBezTo>
                  <a:cubicBezTo>
                    <a:pt x="182" y="200"/>
                    <a:pt x="182" y="200"/>
                    <a:pt x="182" y="200"/>
                  </a:cubicBezTo>
                  <a:cubicBezTo>
                    <a:pt x="180" y="192"/>
                    <a:pt x="180" y="192"/>
                    <a:pt x="180" y="192"/>
                  </a:cubicBezTo>
                  <a:cubicBezTo>
                    <a:pt x="175" y="163"/>
                    <a:pt x="175" y="163"/>
                    <a:pt x="175" y="163"/>
                  </a:cubicBezTo>
                  <a:cubicBezTo>
                    <a:pt x="168" y="129"/>
                    <a:pt x="168" y="129"/>
                    <a:pt x="168" y="129"/>
                  </a:cubicBezTo>
                  <a:cubicBezTo>
                    <a:pt x="190" y="115"/>
                    <a:pt x="203" y="95"/>
                    <a:pt x="203" y="74"/>
                  </a:cubicBezTo>
                  <a:close/>
                </a:path>
              </a:pathLst>
            </a:custGeom>
            <a:grpFill/>
            <a:ln w="25400" cap="flat" cmpd="sng" algn="ctr">
              <a:noFill/>
              <a:prstDash val="solid"/>
              <a:headEnd type="none" w="med" len="med"/>
              <a:tailEnd type="none" w="med" len="med"/>
            </a:ln>
            <a:effectLst/>
            <a:extLst/>
          </p:spPr>
          <p:txBody>
            <a:bodyPr vert="horz" wrap="square" lIns="91436" tIns="45718" rIns="91436" bIns="45718" numCol="1" rtlCol="0" anchor="ctr" anchorCtr="0" compatLnSpc="1">
              <a:prstTxWarp prst="textNoShape">
                <a:avLst/>
              </a:prstTxWarp>
            </a:bodyPr>
            <a:lstStyle/>
            <a:p>
              <a:pPr marL="0" marR="0" lvl="0" indent="0" defTabSz="740740" eaLnBrk="1" fontAlgn="auto" latinLnBrk="0" hangingPunct="1">
                <a:lnSpc>
                  <a:spcPct val="100000"/>
                </a:lnSpc>
                <a:spcBef>
                  <a:spcPts val="0"/>
                </a:spcBef>
                <a:spcAft>
                  <a:spcPts val="0"/>
                </a:spcAft>
                <a:buClrTx/>
                <a:buSzTx/>
                <a:buFontTx/>
                <a:buNone/>
                <a:tabLst/>
                <a:defRPr/>
              </a:pPr>
              <a:endParaRPr kumimoji="0" lang="en-US" sz="1900" b="0" i="0" u="none" strike="noStrike" kern="0" cap="none" spc="-122" normalizeH="0" baseline="0" noProof="0">
                <a:ln>
                  <a:noFill/>
                </a:ln>
                <a:solidFill>
                  <a:srgbClr val="FFFFFF">
                    <a:lumMod val="50000"/>
                  </a:srgbClr>
                </a:solidFill>
                <a:effectLst/>
                <a:uLnTx/>
                <a:uFillTx/>
                <a:latin typeface="Segoe Light" pitchFamily="34" charset="0"/>
                <a:ea typeface="+mn-ea"/>
                <a:cs typeface="+mn-cs"/>
              </a:endParaRPr>
            </a:p>
          </p:txBody>
        </p:sp>
      </p:grpSp>
    </p:spTree>
    <p:extLst>
      <p:ext uri="{BB962C8B-B14F-4D97-AF65-F5344CB8AC3E}">
        <p14:creationId xmlns:p14="http://schemas.microsoft.com/office/powerpoint/2010/main" val="37342237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895"/>
            <a:ext cx="12188825" cy="645874"/>
          </a:xfrm>
        </p:spPr>
        <p:txBody>
          <a:bodyPr/>
          <a:lstStyle/>
          <a:p>
            <a:r>
              <a:rPr lang="en-US" dirty="0"/>
              <a:t>Personalized Mobility Services</a:t>
            </a:r>
            <a:endParaRPr lang="en-IN" dirty="0"/>
          </a:p>
        </p:txBody>
      </p:sp>
      <p:sp>
        <p:nvSpPr>
          <p:cNvPr id="6" name="Text Placeholder 5"/>
          <p:cNvSpPr>
            <a:spLocks noGrp="1"/>
          </p:cNvSpPr>
          <p:nvPr>
            <p:ph type="body" sz="quarter" idx="13"/>
          </p:nvPr>
        </p:nvSpPr>
        <p:spPr>
          <a:xfrm>
            <a:off x="0" y="574210"/>
            <a:ext cx="12188825" cy="372966"/>
          </a:xfrm>
        </p:spPr>
        <p:txBody>
          <a:bodyPr/>
          <a:lstStyle/>
          <a:p>
            <a:r>
              <a:rPr lang="en-US" dirty="0"/>
              <a:t>Technology Storyboard</a:t>
            </a:r>
          </a:p>
        </p:txBody>
      </p:sp>
      <p:sp>
        <p:nvSpPr>
          <p:cNvPr id="5" name="Slide Number Placeholder 4"/>
          <p:cNvSpPr>
            <a:spLocks noGrp="1"/>
          </p:cNvSpPr>
          <p:nvPr>
            <p:ph type="sldNum" sz="quarter" idx="12"/>
          </p:nvPr>
        </p:nvSpPr>
        <p:spPr/>
        <p:txBody>
          <a:bodyPr/>
          <a:lstStyle/>
          <a:p>
            <a:pPr defTabSz="914126">
              <a:defRPr/>
            </a:pPr>
            <a:r>
              <a:rPr lang="en-US" sz="1799" kern="0" dirty="0">
                <a:solidFill>
                  <a:srgbClr val="505050"/>
                </a:solidFill>
                <a:latin typeface="Segoe UI"/>
              </a:rPr>
              <a:t> </a:t>
            </a:r>
          </a:p>
        </p:txBody>
      </p:sp>
      <p:grpSp>
        <p:nvGrpSpPr>
          <p:cNvPr id="162" name="Group 161"/>
          <p:cNvGrpSpPr/>
          <p:nvPr/>
        </p:nvGrpSpPr>
        <p:grpSpPr>
          <a:xfrm>
            <a:off x="1287993" y="11742581"/>
            <a:ext cx="697124" cy="626865"/>
            <a:chOff x="5915648" y="4649267"/>
            <a:chExt cx="697306" cy="627028"/>
          </a:xfrm>
        </p:grpSpPr>
        <p:sp>
          <p:nvSpPr>
            <p:cNvPr id="163" name="TextBox 162"/>
            <p:cNvSpPr txBox="1"/>
            <p:nvPr/>
          </p:nvSpPr>
          <p:spPr>
            <a:xfrm>
              <a:off x="5915648" y="4968518"/>
              <a:ext cx="697306" cy="307777"/>
            </a:xfrm>
            <a:prstGeom prst="rect">
              <a:avLst/>
            </a:prstGeom>
          </p:spPr>
          <p:txBody>
            <a:bodyPr vert="horz" wrap="none" lIns="0" tIns="0" rIns="0" bIns="0" rtlCol="0" anchor="ctr">
              <a:spAutoFit/>
            </a:bodyPr>
            <a:lstStyle/>
            <a:p>
              <a:pPr algn="ctr" defTabSz="1087779">
                <a:defRPr/>
              </a:pPr>
              <a:r>
                <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rPr>
                <a:t>Dynamics</a:t>
              </a:r>
              <a:br>
                <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rPr>
              </a:br>
              <a:r>
                <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rPr>
                <a:t>CRM Online</a:t>
              </a:r>
            </a:p>
          </p:txBody>
        </p:sp>
        <p:pic>
          <p:nvPicPr>
            <p:cNvPr id="184" name="Picture 183"/>
            <p:cNvPicPr>
              <a:picLocks noChangeAspect="1"/>
            </p:cNvPicPr>
            <p:nvPr/>
          </p:nvPicPr>
          <p:blipFill rotWithShape="1">
            <a:blip r:embed="rId3" cstate="print">
              <a:extLst>
                <a:ext uri="{28A0092B-C50C-407E-A947-70E740481C1C}">
                  <a14:useLocalDpi xmlns:a14="http://schemas.microsoft.com/office/drawing/2010/main" val="0"/>
                </a:ext>
              </a:extLst>
            </a:blip>
            <a:srcRect l="-16556" r="-17824" b="-6828"/>
            <a:stretch/>
          </p:blipFill>
          <p:spPr>
            <a:xfrm>
              <a:off x="6077527" y="4649267"/>
              <a:ext cx="332509" cy="268877"/>
            </a:xfrm>
            <a:prstGeom prst="rect">
              <a:avLst/>
            </a:prstGeom>
          </p:spPr>
        </p:pic>
      </p:grpSp>
      <p:grpSp>
        <p:nvGrpSpPr>
          <p:cNvPr id="295" name="Group 294"/>
          <p:cNvGrpSpPr/>
          <p:nvPr/>
        </p:nvGrpSpPr>
        <p:grpSpPr>
          <a:xfrm>
            <a:off x="3008211" y="2347099"/>
            <a:ext cx="1315847" cy="1430485"/>
            <a:chOff x="3730114" y="4767439"/>
            <a:chExt cx="1955801" cy="1792728"/>
          </a:xfrm>
        </p:grpSpPr>
        <p:grpSp>
          <p:nvGrpSpPr>
            <p:cNvPr id="296" name="Group 295"/>
            <p:cNvGrpSpPr/>
            <p:nvPr/>
          </p:nvGrpSpPr>
          <p:grpSpPr>
            <a:xfrm>
              <a:off x="3730114" y="4767439"/>
              <a:ext cx="1955801" cy="1538559"/>
              <a:chOff x="3467100" y="2017870"/>
              <a:chExt cx="1955801" cy="1538559"/>
            </a:xfrm>
          </p:grpSpPr>
          <p:sp>
            <p:nvSpPr>
              <p:cNvPr id="298" name="Rounded Rectangle 60"/>
              <p:cNvSpPr>
                <a:spLocks noChangeArrowheads="1"/>
              </p:cNvSpPr>
              <p:nvPr/>
            </p:nvSpPr>
            <p:spPr bwMode="auto">
              <a:xfrm>
                <a:off x="3467100" y="2017870"/>
                <a:ext cx="1955801" cy="1538559"/>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914126">
                  <a:defRPr/>
                </a:pPr>
                <a:endParaRPr lang="en-US" sz="1200" kern="0" dirty="0">
                  <a:solidFill>
                    <a:srgbClr val="505050"/>
                  </a:solidFill>
                  <a:latin typeface="Segoe UI"/>
                </a:endParaRPr>
              </a:p>
            </p:txBody>
          </p:sp>
          <p:pic>
            <p:nvPicPr>
              <p:cNvPr id="299" name="Picture 298"/>
              <p:cNvPicPr>
                <a:picLocks noChangeAspect="1"/>
              </p:cNvPicPr>
              <p:nvPr/>
            </p:nvPicPr>
            <p:blipFill>
              <a:blip r:embed="rId4" cstate="screen">
                <a:lum bright="-40000" contrast="-40000"/>
                <a:extLst>
                  <a:ext uri="{28A0092B-C50C-407E-A947-70E740481C1C}">
                    <a14:useLocalDpi xmlns:a14="http://schemas.microsoft.com/office/drawing/2010/main"/>
                  </a:ext>
                </a:extLst>
              </a:blip>
              <a:stretch>
                <a:fillRect/>
              </a:stretch>
            </p:blipFill>
            <p:spPr bwMode="auto">
              <a:xfrm>
                <a:off x="4923723" y="2692706"/>
                <a:ext cx="376166" cy="335748"/>
              </a:xfrm>
              <a:prstGeom prst="rect">
                <a:avLst/>
              </a:prstGeom>
              <a:noFill/>
              <a:ln>
                <a:noFill/>
              </a:ln>
            </p:spPr>
          </p:pic>
          <p:sp>
            <p:nvSpPr>
              <p:cNvPr id="300" name="Freeform 14"/>
              <p:cNvSpPr>
                <a:spLocks noEditPoints="1"/>
              </p:cNvSpPr>
              <p:nvPr/>
            </p:nvSpPr>
            <p:spPr bwMode="black">
              <a:xfrm>
                <a:off x="4696500" y="2297546"/>
                <a:ext cx="187261" cy="199336"/>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chemeClr val="bg1">
                  <a:lumMod val="50000"/>
                </a:schemeClr>
              </a:solidFill>
              <a:ln w="10795" cap="flat" cmpd="sng" algn="ctr">
                <a:noFill/>
                <a:prstDash val="solid"/>
                <a:headEnd type="none" w="med" len="med"/>
                <a:tailEnd type="none" w="med" len="med"/>
              </a:ln>
              <a:effectLst/>
            </p:spPr>
            <p:txBody>
              <a:bodyPr lIns="109678" tIns="54840" rIns="109678" bIns="54840" anchor="ctr"/>
              <a:lstStyle/>
              <a:p>
                <a:pPr defTabSz="987110">
                  <a:defRPr/>
                </a:pPr>
                <a:endParaRPr lang="en-US" sz="2398" kern="0" dirty="0">
                  <a:solidFill>
                    <a:srgbClr val="505050"/>
                  </a:solidFill>
                  <a:latin typeface="Segoe Light" pitchFamily="34" charset="0"/>
                </a:endParaRPr>
              </a:p>
            </p:txBody>
          </p:sp>
          <p:pic>
            <p:nvPicPr>
              <p:cNvPr id="301" name="Picture 300"/>
              <p:cNvPicPr>
                <a:picLocks noChangeAspect="1"/>
              </p:cNvPicPr>
              <p:nvPr/>
            </p:nvPicPr>
            <p:blipFill>
              <a:blip r:embed="rId5" cstate="screen">
                <a:duotone>
                  <a:prstClr val="black"/>
                  <a:schemeClr val="accent5">
                    <a:tint val="45000"/>
                    <a:satMod val="400000"/>
                  </a:schemeClr>
                </a:duotone>
                <a:extLst>
                  <a:ext uri="{BEBA8EAE-BF5A-486C-A8C5-ECC9F3942E4B}">
                    <a14:imgProps xmlns:a14="http://schemas.microsoft.com/office/drawing/2010/main">
                      <a14:imgLayer r:embed="rId6">
                        <a14:imgEffect>
                          <a14:brightnessContrast bright="-20000" contrast="-20000"/>
                        </a14:imgEffect>
                      </a14:imgLayer>
                    </a14:imgProps>
                  </a:ext>
                  <a:ext uri="{28A0092B-C50C-407E-A947-70E740481C1C}">
                    <a14:useLocalDpi xmlns:a14="http://schemas.microsoft.com/office/drawing/2010/main"/>
                  </a:ext>
                </a:extLst>
              </a:blip>
              <a:stretch>
                <a:fillRect/>
              </a:stretch>
            </p:blipFill>
            <p:spPr bwMode="auto">
              <a:xfrm>
                <a:off x="4977252" y="2462284"/>
                <a:ext cx="157603" cy="181015"/>
              </a:xfrm>
              <a:prstGeom prst="rect">
                <a:avLst/>
              </a:prstGeom>
            </p:spPr>
          </p:pic>
          <p:sp>
            <p:nvSpPr>
              <p:cNvPr id="302" name="Freeform 13"/>
              <p:cNvSpPr>
                <a:spLocks noEditPoints="1"/>
              </p:cNvSpPr>
              <p:nvPr/>
            </p:nvSpPr>
            <p:spPr bwMode="black">
              <a:xfrm>
                <a:off x="3646568" y="2632177"/>
                <a:ext cx="273843" cy="233566"/>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lumMod val="50000"/>
                </a:schemeClr>
              </a:solidFill>
              <a:ln w="10795" cap="flat" cmpd="sng" algn="ctr">
                <a:noFill/>
                <a:prstDash val="solid"/>
                <a:headEnd type="none" w="med" len="med"/>
                <a:tailEnd type="none" w="med" len="med"/>
              </a:ln>
              <a:effectLst/>
            </p:spPr>
            <p:txBody>
              <a:bodyPr lIns="82281" tIns="41140" rIns="82281" bIns="41140" anchor="ctr"/>
              <a:lstStyle/>
              <a:p>
                <a:pPr defTabSz="740518">
                  <a:defRPr/>
                </a:pPr>
                <a:endParaRPr lang="en-US" sz="1799" kern="0" dirty="0">
                  <a:solidFill>
                    <a:srgbClr val="505050"/>
                  </a:solidFill>
                  <a:latin typeface="Segoe Light" pitchFamily="34" charset="0"/>
                </a:endParaRPr>
              </a:p>
            </p:txBody>
          </p:sp>
          <p:sp>
            <p:nvSpPr>
              <p:cNvPr id="303" name="Freeform 302"/>
              <p:cNvSpPr>
                <a:spLocks/>
              </p:cNvSpPr>
              <p:nvPr/>
            </p:nvSpPr>
            <p:spPr bwMode="black">
              <a:xfrm>
                <a:off x="4152839" y="2924872"/>
                <a:ext cx="199340" cy="199336"/>
              </a:xfrm>
              <a:custGeom>
                <a:avLst/>
                <a:gdLst>
                  <a:gd name="connsiteX0" fmla="*/ 276253 w 393142"/>
                  <a:gd name="connsiteY0" fmla="*/ 48406 h 393039"/>
                  <a:gd name="connsiteX1" fmla="*/ 213366 w 393142"/>
                  <a:gd name="connsiteY1" fmla="*/ 111283 h 393039"/>
                  <a:gd name="connsiteX2" fmla="*/ 213366 w 393142"/>
                  <a:gd name="connsiteY2" fmla="*/ 143229 h 393039"/>
                  <a:gd name="connsiteX3" fmla="*/ 168230 w 393142"/>
                  <a:gd name="connsiteY3" fmla="*/ 143229 h 393039"/>
                  <a:gd name="connsiteX4" fmla="*/ 168230 w 393142"/>
                  <a:gd name="connsiteY4" fmla="*/ 196725 h 393039"/>
                  <a:gd name="connsiteX5" fmla="*/ 213366 w 393142"/>
                  <a:gd name="connsiteY5" fmla="*/ 196725 h 393039"/>
                  <a:gd name="connsiteX6" fmla="*/ 213366 w 393142"/>
                  <a:gd name="connsiteY6" fmla="*/ 361270 h 393039"/>
                  <a:gd name="connsiteX7" fmla="*/ 283606 w 393142"/>
                  <a:gd name="connsiteY7" fmla="*/ 361270 h 393039"/>
                  <a:gd name="connsiteX8" fmla="*/ 283606 w 393142"/>
                  <a:gd name="connsiteY8" fmla="*/ 196725 h 393039"/>
                  <a:gd name="connsiteX9" fmla="*/ 333560 w 393142"/>
                  <a:gd name="connsiteY9" fmla="*/ 196725 h 393039"/>
                  <a:gd name="connsiteX10" fmla="*/ 333560 w 393142"/>
                  <a:gd name="connsiteY10" fmla="*/ 143229 h 393039"/>
                  <a:gd name="connsiteX11" fmla="*/ 283606 w 393142"/>
                  <a:gd name="connsiteY11" fmla="*/ 143229 h 393039"/>
                  <a:gd name="connsiteX12" fmla="*/ 283606 w 393142"/>
                  <a:gd name="connsiteY12" fmla="*/ 125481 h 393039"/>
                  <a:gd name="connsiteX13" fmla="*/ 307189 w 393142"/>
                  <a:gd name="connsiteY13" fmla="*/ 101902 h 393039"/>
                  <a:gd name="connsiteX14" fmla="*/ 333560 w 393142"/>
                  <a:gd name="connsiteY14" fmla="*/ 101902 h 393039"/>
                  <a:gd name="connsiteX15" fmla="*/ 333560 w 393142"/>
                  <a:gd name="connsiteY15" fmla="*/ 48406 h 393039"/>
                  <a:gd name="connsiteX16" fmla="*/ 276253 w 393142"/>
                  <a:gd name="connsiteY16" fmla="*/ 48406 h 393039"/>
                  <a:gd name="connsiteX17" fmla="*/ 70512 w 393142"/>
                  <a:gd name="connsiteY17" fmla="*/ 0 h 393039"/>
                  <a:gd name="connsiteX18" fmla="*/ 322630 w 393142"/>
                  <a:gd name="connsiteY18" fmla="*/ 0 h 393039"/>
                  <a:gd name="connsiteX19" fmla="*/ 393142 w 393142"/>
                  <a:gd name="connsiteY19" fmla="*/ 70494 h 393039"/>
                  <a:gd name="connsiteX20" fmla="*/ 393142 w 393142"/>
                  <a:gd name="connsiteY20" fmla="*/ 322546 h 393039"/>
                  <a:gd name="connsiteX21" fmla="*/ 322630 w 393142"/>
                  <a:gd name="connsiteY21" fmla="*/ 393039 h 393039"/>
                  <a:gd name="connsiteX22" fmla="*/ 70512 w 393142"/>
                  <a:gd name="connsiteY22" fmla="*/ 393039 h 393039"/>
                  <a:gd name="connsiteX23" fmla="*/ 0 w 393142"/>
                  <a:gd name="connsiteY23" fmla="*/ 322546 h 393039"/>
                  <a:gd name="connsiteX24" fmla="*/ 0 w 393142"/>
                  <a:gd name="connsiteY24" fmla="*/ 70494 h 393039"/>
                  <a:gd name="connsiteX25" fmla="*/ 70512 w 393142"/>
                  <a:gd name="connsiteY25" fmla="*/ 0 h 393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93142" h="393039">
                    <a:moveTo>
                      <a:pt x="276253" y="48406"/>
                    </a:moveTo>
                    <a:cubicBezTo>
                      <a:pt x="241513" y="48406"/>
                      <a:pt x="213366" y="76549"/>
                      <a:pt x="213366" y="111283"/>
                    </a:cubicBezTo>
                    <a:cubicBezTo>
                      <a:pt x="213366" y="143229"/>
                      <a:pt x="213366" y="143229"/>
                      <a:pt x="213366" y="143229"/>
                    </a:cubicBezTo>
                    <a:cubicBezTo>
                      <a:pt x="168230" y="143229"/>
                      <a:pt x="168230" y="143229"/>
                      <a:pt x="168230" y="143229"/>
                    </a:cubicBezTo>
                    <a:cubicBezTo>
                      <a:pt x="168230" y="196725"/>
                      <a:pt x="168230" y="196725"/>
                      <a:pt x="168230" y="196725"/>
                    </a:cubicBezTo>
                    <a:cubicBezTo>
                      <a:pt x="213366" y="196725"/>
                      <a:pt x="213366" y="196725"/>
                      <a:pt x="213366" y="196725"/>
                    </a:cubicBezTo>
                    <a:cubicBezTo>
                      <a:pt x="213366" y="361270"/>
                      <a:pt x="213366" y="361270"/>
                      <a:pt x="213366" y="361270"/>
                    </a:cubicBezTo>
                    <a:cubicBezTo>
                      <a:pt x="283606" y="361270"/>
                      <a:pt x="283606" y="361270"/>
                      <a:pt x="283606" y="361270"/>
                    </a:cubicBezTo>
                    <a:cubicBezTo>
                      <a:pt x="283606" y="196725"/>
                      <a:pt x="283606" y="196725"/>
                      <a:pt x="283606" y="196725"/>
                    </a:cubicBezTo>
                    <a:cubicBezTo>
                      <a:pt x="333560" y="196725"/>
                      <a:pt x="333560" y="196725"/>
                      <a:pt x="333560" y="196725"/>
                    </a:cubicBezTo>
                    <a:cubicBezTo>
                      <a:pt x="333560" y="143229"/>
                      <a:pt x="333560" y="143229"/>
                      <a:pt x="333560" y="143229"/>
                    </a:cubicBezTo>
                    <a:cubicBezTo>
                      <a:pt x="283606" y="143229"/>
                      <a:pt x="283606" y="143229"/>
                      <a:pt x="283606" y="143229"/>
                    </a:cubicBezTo>
                    <a:cubicBezTo>
                      <a:pt x="283606" y="125481"/>
                      <a:pt x="283606" y="125481"/>
                      <a:pt x="283606" y="125481"/>
                    </a:cubicBezTo>
                    <a:cubicBezTo>
                      <a:pt x="283606" y="112297"/>
                      <a:pt x="294003" y="101902"/>
                      <a:pt x="307189" y="101902"/>
                    </a:cubicBezTo>
                    <a:cubicBezTo>
                      <a:pt x="333560" y="101902"/>
                      <a:pt x="333560" y="101902"/>
                      <a:pt x="333560" y="101902"/>
                    </a:cubicBezTo>
                    <a:cubicBezTo>
                      <a:pt x="333560" y="48406"/>
                      <a:pt x="333560" y="48406"/>
                      <a:pt x="333560" y="48406"/>
                    </a:cubicBezTo>
                    <a:cubicBezTo>
                      <a:pt x="276253" y="48406"/>
                      <a:pt x="276253" y="48406"/>
                      <a:pt x="276253" y="48406"/>
                    </a:cubicBezTo>
                    <a:close/>
                    <a:moveTo>
                      <a:pt x="70512" y="0"/>
                    </a:moveTo>
                    <a:cubicBezTo>
                      <a:pt x="70512" y="0"/>
                      <a:pt x="70512" y="0"/>
                      <a:pt x="322630" y="0"/>
                    </a:cubicBezTo>
                    <a:cubicBezTo>
                      <a:pt x="361437" y="0"/>
                      <a:pt x="393142" y="31697"/>
                      <a:pt x="393142" y="70494"/>
                    </a:cubicBezTo>
                    <a:cubicBezTo>
                      <a:pt x="393142" y="70494"/>
                      <a:pt x="393142" y="70494"/>
                      <a:pt x="393142" y="322546"/>
                    </a:cubicBezTo>
                    <a:cubicBezTo>
                      <a:pt x="393142" y="361342"/>
                      <a:pt x="361437" y="393039"/>
                      <a:pt x="322630" y="393039"/>
                    </a:cubicBezTo>
                    <a:cubicBezTo>
                      <a:pt x="322630" y="393039"/>
                      <a:pt x="322630" y="393039"/>
                      <a:pt x="70512" y="393039"/>
                    </a:cubicBezTo>
                    <a:cubicBezTo>
                      <a:pt x="31705" y="393039"/>
                      <a:pt x="0" y="361342"/>
                      <a:pt x="0" y="322546"/>
                    </a:cubicBezTo>
                    <a:cubicBezTo>
                      <a:pt x="0" y="322546"/>
                      <a:pt x="0" y="322546"/>
                      <a:pt x="0" y="70494"/>
                    </a:cubicBezTo>
                    <a:cubicBezTo>
                      <a:pt x="0" y="31697"/>
                      <a:pt x="31705" y="0"/>
                      <a:pt x="70512" y="0"/>
                    </a:cubicBezTo>
                    <a:close/>
                  </a:path>
                </a:pathLst>
              </a:custGeom>
              <a:solidFill>
                <a:schemeClr val="bg1">
                  <a:lumMod val="50000"/>
                </a:schemeClr>
              </a:solidFill>
              <a:ln w="10795" cap="flat" cmpd="sng" algn="ctr">
                <a:noFill/>
                <a:prstDash val="solid"/>
                <a:headEnd type="none" w="med" len="med"/>
                <a:tailEnd type="none" w="med" len="med"/>
              </a:ln>
              <a:effectLst/>
              <a:extLst/>
            </p:spPr>
            <p:txBody>
              <a:bodyPr lIns="91412" tIns="45706" rIns="91412" bIns="45706" anchor="ctr"/>
              <a:lstStyle/>
              <a:p>
                <a:pPr defTabSz="740518">
                  <a:defRPr/>
                </a:pPr>
                <a:endParaRPr lang="en-US" sz="1799" kern="0" dirty="0">
                  <a:solidFill>
                    <a:srgbClr val="505050"/>
                  </a:solidFill>
                  <a:latin typeface="Segoe Light" pitchFamily="34" charset="0"/>
                </a:endParaRPr>
              </a:p>
            </p:txBody>
          </p:sp>
          <p:sp>
            <p:nvSpPr>
              <p:cNvPr id="304" name="Freeform 303"/>
              <p:cNvSpPr>
                <a:spLocks/>
              </p:cNvSpPr>
              <p:nvPr/>
            </p:nvSpPr>
            <p:spPr bwMode="black">
              <a:xfrm>
                <a:off x="4559485" y="3225823"/>
                <a:ext cx="195314" cy="195308"/>
              </a:xfrm>
              <a:custGeom>
                <a:avLst/>
                <a:gdLst/>
                <a:ahLst/>
                <a:cxnLst/>
                <a:rect l="l" t="t" r="r" b="b"/>
                <a:pathLst>
                  <a:path w="393142" h="393039">
                    <a:moveTo>
                      <a:pt x="81679" y="184317"/>
                    </a:moveTo>
                    <a:lnTo>
                      <a:pt x="81679" y="344009"/>
                    </a:lnTo>
                    <a:lnTo>
                      <a:pt x="138295" y="344009"/>
                    </a:lnTo>
                    <a:lnTo>
                      <a:pt x="138295" y="184317"/>
                    </a:lnTo>
                    <a:close/>
                    <a:moveTo>
                      <a:pt x="285263" y="180875"/>
                    </a:moveTo>
                    <a:cubicBezTo>
                      <a:pt x="271861" y="180875"/>
                      <a:pt x="260692" y="183399"/>
                      <a:pt x="251758" y="188447"/>
                    </a:cubicBezTo>
                    <a:cubicBezTo>
                      <a:pt x="246259" y="191544"/>
                      <a:pt x="240245" y="196879"/>
                      <a:pt x="233717" y="204450"/>
                    </a:cubicBezTo>
                    <a:lnTo>
                      <a:pt x="233717" y="184317"/>
                    </a:lnTo>
                    <a:lnTo>
                      <a:pt x="177101" y="184317"/>
                    </a:lnTo>
                    <a:lnTo>
                      <a:pt x="177101" y="344009"/>
                    </a:lnTo>
                    <a:lnTo>
                      <a:pt x="233717" y="344009"/>
                    </a:lnTo>
                    <a:lnTo>
                      <a:pt x="233717" y="258484"/>
                    </a:lnTo>
                    <a:cubicBezTo>
                      <a:pt x="233717" y="247299"/>
                      <a:pt x="236339" y="239081"/>
                      <a:pt x="241584" y="233831"/>
                    </a:cubicBezTo>
                    <a:cubicBezTo>
                      <a:pt x="247399" y="228010"/>
                      <a:pt x="254582" y="225100"/>
                      <a:pt x="263132" y="225100"/>
                    </a:cubicBezTo>
                    <a:cubicBezTo>
                      <a:pt x="272480" y="225100"/>
                      <a:pt x="279491" y="228480"/>
                      <a:pt x="284166" y="235240"/>
                    </a:cubicBezTo>
                    <a:cubicBezTo>
                      <a:pt x="287359" y="239821"/>
                      <a:pt x="288955" y="249157"/>
                      <a:pt x="288955" y="263246"/>
                    </a:cubicBezTo>
                    <a:lnTo>
                      <a:pt x="288955" y="344009"/>
                    </a:lnTo>
                    <a:lnTo>
                      <a:pt x="345570" y="344009"/>
                    </a:lnTo>
                    <a:lnTo>
                      <a:pt x="345570" y="242308"/>
                    </a:lnTo>
                    <a:cubicBezTo>
                      <a:pt x="345570" y="221200"/>
                      <a:pt x="339443" y="205368"/>
                      <a:pt x="327187" y="194814"/>
                    </a:cubicBezTo>
                    <a:cubicBezTo>
                      <a:pt x="316419" y="185521"/>
                      <a:pt x="302445" y="180875"/>
                      <a:pt x="285263" y="180875"/>
                    </a:cubicBezTo>
                    <a:close/>
                    <a:moveTo>
                      <a:pt x="109987" y="91392"/>
                    </a:moveTo>
                    <a:cubicBezTo>
                      <a:pt x="101177" y="91392"/>
                      <a:pt x="93711" y="94452"/>
                      <a:pt x="87591" y="100573"/>
                    </a:cubicBezTo>
                    <a:cubicBezTo>
                      <a:pt x="81470" y="106693"/>
                      <a:pt x="78410" y="114159"/>
                      <a:pt x="78410" y="122969"/>
                    </a:cubicBezTo>
                    <a:cubicBezTo>
                      <a:pt x="78410" y="131779"/>
                      <a:pt x="81470" y="139274"/>
                      <a:pt x="87591" y="145451"/>
                    </a:cubicBezTo>
                    <a:cubicBezTo>
                      <a:pt x="93711" y="151629"/>
                      <a:pt x="101177" y="154718"/>
                      <a:pt x="109987" y="154718"/>
                    </a:cubicBezTo>
                    <a:cubicBezTo>
                      <a:pt x="118912" y="154718"/>
                      <a:pt x="126435" y="151658"/>
                      <a:pt x="132555" y="145537"/>
                    </a:cubicBezTo>
                    <a:cubicBezTo>
                      <a:pt x="138676" y="139417"/>
                      <a:pt x="141736" y="131894"/>
                      <a:pt x="141736" y="122969"/>
                    </a:cubicBezTo>
                    <a:cubicBezTo>
                      <a:pt x="141736" y="114159"/>
                      <a:pt x="138647" y="106693"/>
                      <a:pt x="132469" y="100573"/>
                    </a:cubicBezTo>
                    <a:cubicBezTo>
                      <a:pt x="126291" y="94452"/>
                      <a:pt x="118797" y="91392"/>
                      <a:pt x="109987" y="91392"/>
                    </a:cubicBezTo>
                    <a:close/>
                    <a:moveTo>
                      <a:pt x="70512" y="0"/>
                    </a:moveTo>
                    <a:cubicBezTo>
                      <a:pt x="70512" y="0"/>
                      <a:pt x="70512" y="0"/>
                      <a:pt x="322630" y="0"/>
                    </a:cubicBezTo>
                    <a:cubicBezTo>
                      <a:pt x="361437" y="0"/>
                      <a:pt x="393142" y="31697"/>
                      <a:pt x="393142" y="70494"/>
                    </a:cubicBezTo>
                    <a:cubicBezTo>
                      <a:pt x="393142" y="70494"/>
                      <a:pt x="393142" y="70494"/>
                      <a:pt x="393142" y="322546"/>
                    </a:cubicBezTo>
                    <a:cubicBezTo>
                      <a:pt x="393142" y="361342"/>
                      <a:pt x="361437" y="393039"/>
                      <a:pt x="322630" y="393039"/>
                    </a:cubicBezTo>
                    <a:cubicBezTo>
                      <a:pt x="322630" y="393039"/>
                      <a:pt x="322630" y="393039"/>
                      <a:pt x="70512" y="393039"/>
                    </a:cubicBezTo>
                    <a:cubicBezTo>
                      <a:pt x="31705" y="393039"/>
                      <a:pt x="0" y="361342"/>
                      <a:pt x="0" y="322546"/>
                    </a:cubicBezTo>
                    <a:cubicBezTo>
                      <a:pt x="0" y="322546"/>
                      <a:pt x="0" y="322546"/>
                      <a:pt x="0" y="70494"/>
                    </a:cubicBezTo>
                    <a:cubicBezTo>
                      <a:pt x="0" y="31697"/>
                      <a:pt x="31705" y="0"/>
                      <a:pt x="70512" y="0"/>
                    </a:cubicBezTo>
                    <a:close/>
                  </a:path>
                </a:pathLst>
              </a:custGeom>
              <a:solidFill>
                <a:schemeClr val="bg1">
                  <a:lumMod val="50000"/>
                </a:schemeClr>
              </a:solidFill>
              <a:ln w="10795" cap="flat" cmpd="sng" algn="ctr">
                <a:noFill/>
                <a:prstDash val="solid"/>
                <a:headEnd type="none" w="med" len="med"/>
                <a:tailEnd type="none" w="med" len="med"/>
              </a:ln>
              <a:effectLst/>
              <a:extLst/>
            </p:spPr>
            <p:txBody>
              <a:bodyPr lIns="91412" tIns="45706" rIns="91412" bIns="45706" anchor="ctr"/>
              <a:lstStyle/>
              <a:p>
                <a:pPr defTabSz="740518">
                  <a:defRPr/>
                </a:pPr>
                <a:endParaRPr lang="en-US" sz="1799" kern="0" dirty="0">
                  <a:solidFill>
                    <a:srgbClr val="505050"/>
                  </a:solidFill>
                  <a:latin typeface="Segoe Light" pitchFamily="34" charset="0"/>
                </a:endParaRPr>
              </a:p>
            </p:txBody>
          </p:sp>
          <p:sp>
            <p:nvSpPr>
              <p:cNvPr id="305" name="Trapezoid 86"/>
              <p:cNvSpPr/>
              <p:nvPr/>
            </p:nvSpPr>
            <p:spPr>
              <a:xfrm rot="16200000">
                <a:off x="3926391" y="2322063"/>
                <a:ext cx="214998" cy="224675"/>
              </a:xfrm>
              <a:custGeom>
                <a:avLst/>
                <a:gdLst/>
                <a:ahLst/>
                <a:cxnLst/>
                <a:rect l="l" t="t" r="r" b="b"/>
                <a:pathLst>
                  <a:path w="2026419" h="2117634">
                    <a:moveTo>
                      <a:pt x="683394" y="1357221"/>
                    </a:moveTo>
                    <a:cubicBezTo>
                      <a:pt x="683394" y="1472952"/>
                      <a:pt x="589575" y="1566771"/>
                      <a:pt x="473844" y="1566771"/>
                    </a:cubicBezTo>
                    <a:cubicBezTo>
                      <a:pt x="358113" y="1566771"/>
                      <a:pt x="264294" y="1472952"/>
                      <a:pt x="264294" y="1357221"/>
                    </a:cubicBezTo>
                    <a:cubicBezTo>
                      <a:pt x="264294" y="1241490"/>
                      <a:pt x="358113" y="1147671"/>
                      <a:pt x="473844" y="1147671"/>
                    </a:cubicBezTo>
                    <a:cubicBezTo>
                      <a:pt x="589575" y="1147671"/>
                      <a:pt x="683394" y="1241490"/>
                      <a:pt x="683394" y="1357221"/>
                    </a:cubicBezTo>
                    <a:close/>
                    <a:moveTo>
                      <a:pt x="794521" y="1772403"/>
                    </a:moveTo>
                    <a:cubicBezTo>
                      <a:pt x="775533" y="1803019"/>
                      <a:pt x="763564" y="1838106"/>
                      <a:pt x="760480" y="1875663"/>
                    </a:cubicBezTo>
                    <a:cubicBezTo>
                      <a:pt x="654054" y="1822066"/>
                      <a:pt x="568072" y="1734443"/>
                      <a:pt x="516913" y="1626725"/>
                    </a:cubicBezTo>
                    <a:cubicBezTo>
                      <a:pt x="554560" y="1621730"/>
                      <a:pt x="589522" y="1608175"/>
                      <a:pt x="619969" y="1588089"/>
                    </a:cubicBezTo>
                    <a:cubicBezTo>
                      <a:pt x="656986" y="1666600"/>
                      <a:pt x="718716" y="1730458"/>
                      <a:pt x="794521" y="1772403"/>
                    </a:cubicBezTo>
                    <a:close/>
                    <a:moveTo>
                      <a:pt x="1240606" y="1908084"/>
                    </a:moveTo>
                    <a:cubicBezTo>
                      <a:pt x="1240606" y="2023815"/>
                      <a:pt x="1146787" y="2117634"/>
                      <a:pt x="1031056" y="2117634"/>
                    </a:cubicBezTo>
                    <a:cubicBezTo>
                      <a:pt x="915325" y="2117634"/>
                      <a:pt x="821506" y="2023815"/>
                      <a:pt x="821506" y="1908084"/>
                    </a:cubicBezTo>
                    <a:cubicBezTo>
                      <a:pt x="821506" y="1792353"/>
                      <a:pt x="915325" y="1698534"/>
                      <a:pt x="1031056" y="1698534"/>
                    </a:cubicBezTo>
                    <a:cubicBezTo>
                      <a:pt x="1146787" y="1698534"/>
                      <a:pt x="1240606" y="1792353"/>
                      <a:pt x="1240606" y="1908084"/>
                    </a:cubicBezTo>
                    <a:close/>
                    <a:moveTo>
                      <a:pt x="1373359" y="613050"/>
                    </a:moveTo>
                    <a:cubicBezTo>
                      <a:pt x="1373781" y="592439"/>
                      <a:pt x="1371525" y="580084"/>
                      <a:pt x="1366588" y="548121"/>
                    </a:cubicBezTo>
                    <a:cubicBezTo>
                      <a:pt x="1346003" y="461219"/>
                      <a:pt x="1278868" y="410011"/>
                      <a:pt x="1201868" y="402221"/>
                    </a:cubicBezTo>
                    <a:cubicBezTo>
                      <a:pt x="931351" y="360536"/>
                      <a:pt x="985455" y="670197"/>
                      <a:pt x="854062" y="652331"/>
                    </a:cubicBezTo>
                    <a:cubicBezTo>
                      <a:pt x="735550" y="625534"/>
                      <a:pt x="783213" y="491547"/>
                      <a:pt x="823146" y="420087"/>
                    </a:cubicBezTo>
                    <a:lnTo>
                      <a:pt x="695617" y="393290"/>
                    </a:lnTo>
                    <a:cubicBezTo>
                      <a:pt x="669255" y="453845"/>
                      <a:pt x="655521" y="504886"/>
                      <a:pt x="653658" y="548121"/>
                    </a:cubicBezTo>
                    <a:cubicBezTo>
                      <a:pt x="652750" y="592572"/>
                      <a:pt x="651843" y="592994"/>
                      <a:pt x="658078" y="637445"/>
                    </a:cubicBezTo>
                    <a:cubicBezTo>
                      <a:pt x="684114" y="745767"/>
                      <a:pt x="788926" y="772909"/>
                      <a:pt x="827010" y="783341"/>
                    </a:cubicBezTo>
                    <a:cubicBezTo>
                      <a:pt x="1076916" y="832967"/>
                      <a:pt x="1075626" y="531247"/>
                      <a:pt x="1182546" y="530254"/>
                    </a:cubicBezTo>
                    <a:cubicBezTo>
                      <a:pt x="1299767" y="545140"/>
                      <a:pt x="1246955" y="694015"/>
                      <a:pt x="1209598" y="735701"/>
                    </a:cubicBezTo>
                    <a:lnTo>
                      <a:pt x="1340990" y="762499"/>
                    </a:lnTo>
                    <a:cubicBezTo>
                      <a:pt x="1359764" y="717009"/>
                      <a:pt x="1370090" y="675238"/>
                      <a:pt x="1372044" y="637445"/>
                    </a:cubicBezTo>
                    <a:cubicBezTo>
                      <a:pt x="1372780" y="627708"/>
                      <a:pt x="1373218" y="619921"/>
                      <a:pt x="1373359" y="613050"/>
                    </a:cubicBezTo>
                    <a:close/>
                    <a:moveTo>
                      <a:pt x="1512939" y="1619251"/>
                    </a:moveTo>
                    <a:cubicBezTo>
                      <a:pt x="1467757" y="1718695"/>
                      <a:pt x="1392941" y="1801540"/>
                      <a:pt x="1299780" y="1857295"/>
                    </a:cubicBezTo>
                    <a:cubicBezTo>
                      <a:pt x="1293356" y="1820868"/>
                      <a:pt x="1279346" y="1787051"/>
                      <a:pt x="1259468" y="1757439"/>
                    </a:cubicBezTo>
                    <a:cubicBezTo>
                      <a:pt x="1328714" y="1711331"/>
                      <a:pt x="1384214" y="1646253"/>
                      <a:pt x="1415932" y="1568433"/>
                    </a:cubicBezTo>
                    <a:cubicBezTo>
                      <a:pt x="1443458" y="1592539"/>
                      <a:pt x="1476496" y="1610117"/>
                      <a:pt x="1512939" y="1619251"/>
                    </a:cubicBezTo>
                    <a:close/>
                    <a:moveTo>
                      <a:pt x="1797819" y="1357221"/>
                    </a:moveTo>
                    <a:cubicBezTo>
                      <a:pt x="1797819" y="1472952"/>
                      <a:pt x="1704000" y="1566771"/>
                      <a:pt x="1588269" y="1566771"/>
                    </a:cubicBezTo>
                    <a:cubicBezTo>
                      <a:pt x="1472538" y="1566771"/>
                      <a:pt x="1378719" y="1472952"/>
                      <a:pt x="1378719" y="1357221"/>
                    </a:cubicBezTo>
                    <a:cubicBezTo>
                      <a:pt x="1378719" y="1241490"/>
                      <a:pt x="1472538" y="1147671"/>
                      <a:pt x="1588269" y="1147671"/>
                    </a:cubicBezTo>
                    <a:cubicBezTo>
                      <a:pt x="1704000" y="1147671"/>
                      <a:pt x="1797819" y="1241490"/>
                      <a:pt x="1797819" y="1357221"/>
                    </a:cubicBezTo>
                    <a:close/>
                    <a:moveTo>
                      <a:pt x="2026419" y="1204820"/>
                    </a:moveTo>
                    <a:lnTo>
                      <a:pt x="1815729" y="1204820"/>
                    </a:lnTo>
                    <a:cubicBezTo>
                      <a:pt x="1766640" y="1131561"/>
                      <a:pt x="1683081" y="1083377"/>
                      <a:pt x="1588269" y="1083377"/>
                    </a:cubicBezTo>
                    <a:cubicBezTo>
                      <a:pt x="1493456" y="1083377"/>
                      <a:pt x="1409898" y="1131561"/>
                      <a:pt x="1360808" y="1204820"/>
                    </a:cubicBezTo>
                    <a:lnTo>
                      <a:pt x="701304" y="1204820"/>
                    </a:lnTo>
                    <a:cubicBezTo>
                      <a:pt x="652215" y="1131561"/>
                      <a:pt x="568656" y="1083377"/>
                      <a:pt x="473844" y="1083377"/>
                    </a:cubicBezTo>
                    <a:cubicBezTo>
                      <a:pt x="379031" y="1083377"/>
                      <a:pt x="295473" y="1131561"/>
                      <a:pt x="246383" y="1204820"/>
                    </a:cubicBezTo>
                    <a:lnTo>
                      <a:pt x="0" y="1204820"/>
                    </a:lnTo>
                    <a:lnTo>
                      <a:pt x="199603" y="0"/>
                    </a:lnTo>
                    <a:lnTo>
                      <a:pt x="1826816" y="0"/>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16" tIns="45708" rIns="91416" bIns="45708"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89">
                  <a:defRPr/>
                </a:pPr>
                <a:endParaRPr lang="en-US" sz="1799" dirty="0">
                  <a:solidFill>
                    <a:srgbClr val="505050"/>
                  </a:solidFill>
                  <a:latin typeface="Segoe UI"/>
                </a:endParaRPr>
              </a:p>
            </p:txBody>
          </p:sp>
          <p:sp>
            <p:nvSpPr>
              <p:cNvPr id="306" name="Freeform 305"/>
              <p:cNvSpPr/>
              <p:nvPr/>
            </p:nvSpPr>
            <p:spPr>
              <a:xfrm>
                <a:off x="4739777" y="2702651"/>
                <a:ext cx="212360" cy="205921"/>
              </a:xfrm>
              <a:custGeom>
                <a:avLst/>
                <a:gdLst>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598424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1358 w 4062047"/>
                  <a:gd name="connsiteY5" fmla="*/ 1576817 h 3938955"/>
                  <a:gd name="connsiteX6" fmla="*/ 2420651 w 4062047"/>
                  <a:gd name="connsiteY6" fmla="*/ 1739087 h 3938955"/>
                  <a:gd name="connsiteX7" fmla="*/ 3241046 w 4062047"/>
                  <a:gd name="connsiteY7" fmla="*/ 1879207 h 3938955"/>
                  <a:gd name="connsiteX8" fmla="*/ 3223454 w 4062047"/>
                  <a:gd name="connsiteY8" fmla="*/ 1598424 h 3938955"/>
                  <a:gd name="connsiteX9" fmla="*/ 3121358 w 4062047"/>
                  <a:gd name="connsiteY9" fmla="*/ 1576817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3739 w 4062047"/>
                  <a:gd name="connsiteY5" fmla="*/ 1610155 h 3938955"/>
                  <a:gd name="connsiteX6" fmla="*/ 2420651 w 4062047"/>
                  <a:gd name="connsiteY6" fmla="*/ 1739087 h 3938955"/>
                  <a:gd name="connsiteX7" fmla="*/ 3241046 w 4062047"/>
                  <a:gd name="connsiteY7" fmla="*/ 1879207 h 3938955"/>
                  <a:gd name="connsiteX8" fmla="*/ 3223454 w 4062047"/>
                  <a:gd name="connsiteY8" fmla="*/ 1598424 h 3938955"/>
                  <a:gd name="connsiteX9" fmla="*/ 3123739 w 4062047"/>
                  <a:gd name="connsiteY9" fmla="*/ 1610155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4214 w 4062047"/>
                  <a:gd name="connsiteY5" fmla="*/ 1610155 h 3938955"/>
                  <a:gd name="connsiteX6" fmla="*/ 2420651 w 4062047"/>
                  <a:gd name="connsiteY6" fmla="*/ 1739087 h 3938955"/>
                  <a:gd name="connsiteX7" fmla="*/ 3241046 w 4062047"/>
                  <a:gd name="connsiteY7" fmla="*/ 1879207 h 3938955"/>
                  <a:gd name="connsiteX8" fmla="*/ 3223454 w 4062047"/>
                  <a:gd name="connsiteY8" fmla="*/ 1598424 h 3938955"/>
                  <a:gd name="connsiteX9" fmla="*/ 3114214 w 4062047"/>
                  <a:gd name="connsiteY9" fmla="*/ 1610155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4214 w 4062047"/>
                  <a:gd name="connsiteY5" fmla="*/ 1610155 h 3938955"/>
                  <a:gd name="connsiteX6" fmla="*/ 2420651 w 4062047"/>
                  <a:gd name="connsiteY6" fmla="*/ 1739087 h 3938955"/>
                  <a:gd name="connsiteX7" fmla="*/ 3241046 w 4062047"/>
                  <a:gd name="connsiteY7" fmla="*/ 1879207 h 3938955"/>
                  <a:gd name="connsiteX8" fmla="*/ 3206785 w 4062047"/>
                  <a:gd name="connsiteY8" fmla="*/ 1600806 h 3938955"/>
                  <a:gd name="connsiteX9" fmla="*/ 3114214 w 4062047"/>
                  <a:gd name="connsiteY9" fmla="*/ 1610155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1832 w 4062047"/>
                  <a:gd name="connsiteY5" fmla="*/ 1605392 h 3938955"/>
                  <a:gd name="connsiteX6" fmla="*/ 2420651 w 4062047"/>
                  <a:gd name="connsiteY6" fmla="*/ 1739087 h 3938955"/>
                  <a:gd name="connsiteX7" fmla="*/ 3241046 w 4062047"/>
                  <a:gd name="connsiteY7" fmla="*/ 1879207 h 3938955"/>
                  <a:gd name="connsiteX8" fmla="*/ 3206785 w 4062047"/>
                  <a:gd name="connsiteY8" fmla="*/ 1600806 h 3938955"/>
                  <a:gd name="connsiteX9" fmla="*/ 3111832 w 4062047"/>
                  <a:gd name="connsiteY9" fmla="*/ 1605392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1832 w 4062047"/>
                  <a:gd name="connsiteY5" fmla="*/ 1605392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3111832 w 4062047"/>
                  <a:gd name="connsiteY9" fmla="*/ 1605392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1832 w 4062047"/>
                  <a:gd name="connsiteY5" fmla="*/ 1605392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3111832 w 4062047"/>
                  <a:gd name="connsiteY9" fmla="*/ 1605392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1832 w 4062047"/>
                  <a:gd name="connsiteY5" fmla="*/ 1605392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3111832 w 4062047"/>
                  <a:gd name="connsiteY9" fmla="*/ 1605392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1832 w 4062047"/>
                  <a:gd name="connsiteY5" fmla="*/ 1605392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3111832 w 4062047"/>
                  <a:gd name="connsiteY9" fmla="*/ 1605392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206785 w 4062047"/>
                  <a:gd name="connsiteY5" fmla="*/ 1603188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2950677 w 4062047"/>
                  <a:gd name="connsiteY9" fmla="*/ 857698 h 3938955"/>
                  <a:gd name="connsiteX10" fmla="*/ 2870505 w 4062047"/>
                  <a:gd name="connsiteY10" fmla="*/ 878864 h 3938955"/>
                  <a:gd name="connsiteX11" fmla="*/ 2227569 w 4062047"/>
                  <a:gd name="connsiteY11" fmla="*/ 1381308 h 3938955"/>
                  <a:gd name="connsiteX12" fmla="*/ 3013380 w 4062047"/>
                  <a:gd name="connsiteY12" fmla="*/ 1093177 h 3938955"/>
                  <a:gd name="connsiteX13" fmla="*/ 2950677 w 4062047"/>
                  <a:gd name="connsiteY13" fmla="*/ 857698 h 3938955"/>
                  <a:gd name="connsiteX14" fmla="*/ 850835 w 4062047"/>
                  <a:gd name="connsiteY14" fmla="*/ 587237 h 3938955"/>
                  <a:gd name="connsiteX15" fmla="*/ 691663 w 4062047"/>
                  <a:gd name="connsiteY15" fmla="*/ 759803 h 3938955"/>
                  <a:gd name="connsiteX16" fmla="*/ 1286976 w 4062047"/>
                  <a:gd name="connsiteY16" fmla="*/ 2250466 h 3938955"/>
                  <a:gd name="connsiteX17" fmla="*/ 1072663 w 4062047"/>
                  <a:gd name="connsiteY17" fmla="*/ 2593366 h 3938955"/>
                  <a:gd name="connsiteX18" fmla="*/ 744051 w 4062047"/>
                  <a:gd name="connsiteY18" fmla="*/ 2731478 h 3938955"/>
                  <a:gd name="connsiteX19" fmla="*/ 1191726 w 4062047"/>
                  <a:gd name="connsiteY19" fmla="*/ 2836253 h 3938955"/>
                  <a:gd name="connsiteX20" fmla="*/ 1696551 w 4062047"/>
                  <a:gd name="connsiteY20" fmla="*/ 2036153 h 3938955"/>
                  <a:gd name="connsiteX21" fmla="*/ 2201376 w 4062047"/>
                  <a:gd name="connsiteY21" fmla="*/ 769328 h 3938955"/>
                  <a:gd name="connsiteX22" fmla="*/ 1929913 w 4062047"/>
                  <a:gd name="connsiteY22" fmla="*/ 683603 h 3938955"/>
                  <a:gd name="connsiteX23" fmla="*/ 1458426 w 4062047"/>
                  <a:gd name="connsiteY23" fmla="*/ 1855178 h 3938955"/>
                  <a:gd name="connsiteX24" fmla="*/ 972651 w 4062047"/>
                  <a:gd name="connsiteY24" fmla="*/ 650266 h 3938955"/>
                  <a:gd name="connsiteX25" fmla="*/ 850835 w 4062047"/>
                  <a:gd name="connsiteY25" fmla="*/ 587237 h 3938955"/>
                  <a:gd name="connsiteX26" fmla="*/ 540732 w 4062047"/>
                  <a:gd name="connsiteY26" fmla="*/ 0 h 3938955"/>
                  <a:gd name="connsiteX27" fmla="*/ 3521315 w 4062047"/>
                  <a:gd name="connsiteY27" fmla="*/ 0 h 3938955"/>
                  <a:gd name="connsiteX28" fmla="*/ 4062047 w 4062047"/>
                  <a:gd name="connsiteY28" fmla="*/ 540731 h 3938955"/>
                  <a:gd name="connsiteX29" fmla="*/ 4062047 w 4062047"/>
                  <a:gd name="connsiteY29" fmla="*/ 2914645 h 3938955"/>
                  <a:gd name="connsiteX30" fmla="*/ 3521315 w 4062047"/>
                  <a:gd name="connsiteY30" fmla="*/ 3455377 h 3938955"/>
                  <a:gd name="connsiteX31" fmla="*/ 1802912 w 4062047"/>
                  <a:gd name="connsiteY31" fmla="*/ 3455377 h 3938955"/>
                  <a:gd name="connsiteX32" fmla="*/ 1075041 w 4062047"/>
                  <a:gd name="connsiteY32" fmla="*/ 3938955 h 3938955"/>
                  <a:gd name="connsiteX33" fmla="*/ 1075041 w 4062047"/>
                  <a:gd name="connsiteY33" fmla="*/ 3455377 h 3938955"/>
                  <a:gd name="connsiteX34" fmla="*/ 540732 w 4062047"/>
                  <a:gd name="connsiteY34" fmla="*/ 3455377 h 3938955"/>
                  <a:gd name="connsiteX35" fmla="*/ 0 w 4062047"/>
                  <a:gd name="connsiteY35" fmla="*/ 2914645 h 3938955"/>
                  <a:gd name="connsiteX36" fmla="*/ 0 w 4062047"/>
                  <a:gd name="connsiteY36" fmla="*/ 540731 h 3938955"/>
                  <a:gd name="connsiteX37" fmla="*/ 540732 w 4062047"/>
                  <a:gd name="connsiteY37"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206785 w 4062047"/>
                  <a:gd name="connsiteY5" fmla="*/ 1603188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2950677 w 4062047"/>
                  <a:gd name="connsiteY9" fmla="*/ 857698 h 3938955"/>
                  <a:gd name="connsiteX10" fmla="*/ 2870505 w 4062047"/>
                  <a:gd name="connsiteY10" fmla="*/ 878864 h 3938955"/>
                  <a:gd name="connsiteX11" fmla="*/ 2227569 w 4062047"/>
                  <a:gd name="connsiteY11" fmla="*/ 1381308 h 3938955"/>
                  <a:gd name="connsiteX12" fmla="*/ 3013380 w 4062047"/>
                  <a:gd name="connsiteY12" fmla="*/ 1093177 h 3938955"/>
                  <a:gd name="connsiteX13" fmla="*/ 2950677 w 4062047"/>
                  <a:gd name="connsiteY13" fmla="*/ 857698 h 3938955"/>
                  <a:gd name="connsiteX14" fmla="*/ 850835 w 4062047"/>
                  <a:gd name="connsiteY14" fmla="*/ 587237 h 3938955"/>
                  <a:gd name="connsiteX15" fmla="*/ 691663 w 4062047"/>
                  <a:gd name="connsiteY15" fmla="*/ 759803 h 3938955"/>
                  <a:gd name="connsiteX16" fmla="*/ 1286976 w 4062047"/>
                  <a:gd name="connsiteY16" fmla="*/ 2250466 h 3938955"/>
                  <a:gd name="connsiteX17" fmla="*/ 1072663 w 4062047"/>
                  <a:gd name="connsiteY17" fmla="*/ 2593366 h 3938955"/>
                  <a:gd name="connsiteX18" fmla="*/ 744051 w 4062047"/>
                  <a:gd name="connsiteY18" fmla="*/ 2731478 h 3938955"/>
                  <a:gd name="connsiteX19" fmla="*/ 1191726 w 4062047"/>
                  <a:gd name="connsiteY19" fmla="*/ 2836253 h 3938955"/>
                  <a:gd name="connsiteX20" fmla="*/ 1696551 w 4062047"/>
                  <a:gd name="connsiteY20" fmla="*/ 2036153 h 3938955"/>
                  <a:gd name="connsiteX21" fmla="*/ 2201376 w 4062047"/>
                  <a:gd name="connsiteY21" fmla="*/ 769328 h 3938955"/>
                  <a:gd name="connsiteX22" fmla="*/ 1929913 w 4062047"/>
                  <a:gd name="connsiteY22" fmla="*/ 683603 h 3938955"/>
                  <a:gd name="connsiteX23" fmla="*/ 1458426 w 4062047"/>
                  <a:gd name="connsiteY23" fmla="*/ 1855178 h 3938955"/>
                  <a:gd name="connsiteX24" fmla="*/ 972651 w 4062047"/>
                  <a:gd name="connsiteY24" fmla="*/ 650266 h 3938955"/>
                  <a:gd name="connsiteX25" fmla="*/ 850835 w 4062047"/>
                  <a:gd name="connsiteY25" fmla="*/ 587237 h 3938955"/>
                  <a:gd name="connsiteX26" fmla="*/ 540732 w 4062047"/>
                  <a:gd name="connsiteY26" fmla="*/ 0 h 3938955"/>
                  <a:gd name="connsiteX27" fmla="*/ 3521315 w 4062047"/>
                  <a:gd name="connsiteY27" fmla="*/ 0 h 3938955"/>
                  <a:gd name="connsiteX28" fmla="*/ 4062047 w 4062047"/>
                  <a:gd name="connsiteY28" fmla="*/ 540731 h 3938955"/>
                  <a:gd name="connsiteX29" fmla="*/ 4062047 w 4062047"/>
                  <a:gd name="connsiteY29" fmla="*/ 2914645 h 3938955"/>
                  <a:gd name="connsiteX30" fmla="*/ 3521315 w 4062047"/>
                  <a:gd name="connsiteY30" fmla="*/ 3455377 h 3938955"/>
                  <a:gd name="connsiteX31" fmla="*/ 1802912 w 4062047"/>
                  <a:gd name="connsiteY31" fmla="*/ 3455377 h 3938955"/>
                  <a:gd name="connsiteX32" fmla="*/ 1075041 w 4062047"/>
                  <a:gd name="connsiteY32" fmla="*/ 3938955 h 3938955"/>
                  <a:gd name="connsiteX33" fmla="*/ 1075041 w 4062047"/>
                  <a:gd name="connsiteY33" fmla="*/ 3455377 h 3938955"/>
                  <a:gd name="connsiteX34" fmla="*/ 540732 w 4062047"/>
                  <a:gd name="connsiteY34" fmla="*/ 3455377 h 3938955"/>
                  <a:gd name="connsiteX35" fmla="*/ 0 w 4062047"/>
                  <a:gd name="connsiteY35" fmla="*/ 2914645 h 3938955"/>
                  <a:gd name="connsiteX36" fmla="*/ 0 w 4062047"/>
                  <a:gd name="connsiteY36" fmla="*/ 540731 h 3938955"/>
                  <a:gd name="connsiteX37" fmla="*/ 540732 w 4062047"/>
                  <a:gd name="connsiteY37"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206785 w 4062047"/>
                  <a:gd name="connsiteY5" fmla="*/ 1603188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2950677 w 4062047"/>
                  <a:gd name="connsiteY9" fmla="*/ 857698 h 3938955"/>
                  <a:gd name="connsiteX10" fmla="*/ 2870505 w 4062047"/>
                  <a:gd name="connsiteY10" fmla="*/ 878864 h 3938955"/>
                  <a:gd name="connsiteX11" fmla="*/ 2227569 w 4062047"/>
                  <a:gd name="connsiteY11" fmla="*/ 1381308 h 3938955"/>
                  <a:gd name="connsiteX12" fmla="*/ 3013380 w 4062047"/>
                  <a:gd name="connsiteY12" fmla="*/ 1093177 h 3938955"/>
                  <a:gd name="connsiteX13" fmla="*/ 2950677 w 4062047"/>
                  <a:gd name="connsiteY13" fmla="*/ 857698 h 3938955"/>
                  <a:gd name="connsiteX14" fmla="*/ 850835 w 4062047"/>
                  <a:gd name="connsiteY14" fmla="*/ 587237 h 3938955"/>
                  <a:gd name="connsiteX15" fmla="*/ 691663 w 4062047"/>
                  <a:gd name="connsiteY15" fmla="*/ 759803 h 3938955"/>
                  <a:gd name="connsiteX16" fmla="*/ 1286976 w 4062047"/>
                  <a:gd name="connsiteY16" fmla="*/ 2250466 h 3938955"/>
                  <a:gd name="connsiteX17" fmla="*/ 1072663 w 4062047"/>
                  <a:gd name="connsiteY17" fmla="*/ 2593366 h 3938955"/>
                  <a:gd name="connsiteX18" fmla="*/ 744051 w 4062047"/>
                  <a:gd name="connsiteY18" fmla="*/ 2731478 h 3938955"/>
                  <a:gd name="connsiteX19" fmla="*/ 1191726 w 4062047"/>
                  <a:gd name="connsiteY19" fmla="*/ 2836253 h 3938955"/>
                  <a:gd name="connsiteX20" fmla="*/ 1696551 w 4062047"/>
                  <a:gd name="connsiteY20" fmla="*/ 2036153 h 3938955"/>
                  <a:gd name="connsiteX21" fmla="*/ 2201376 w 4062047"/>
                  <a:gd name="connsiteY21" fmla="*/ 769328 h 3938955"/>
                  <a:gd name="connsiteX22" fmla="*/ 1929913 w 4062047"/>
                  <a:gd name="connsiteY22" fmla="*/ 683603 h 3938955"/>
                  <a:gd name="connsiteX23" fmla="*/ 1458426 w 4062047"/>
                  <a:gd name="connsiteY23" fmla="*/ 1855178 h 3938955"/>
                  <a:gd name="connsiteX24" fmla="*/ 972651 w 4062047"/>
                  <a:gd name="connsiteY24" fmla="*/ 650266 h 3938955"/>
                  <a:gd name="connsiteX25" fmla="*/ 850835 w 4062047"/>
                  <a:gd name="connsiteY25" fmla="*/ 587237 h 3938955"/>
                  <a:gd name="connsiteX26" fmla="*/ 540732 w 4062047"/>
                  <a:gd name="connsiteY26" fmla="*/ 0 h 3938955"/>
                  <a:gd name="connsiteX27" fmla="*/ 3521315 w 4062047"/>
                  <a:gd name="connsiteY27" fmla="*/ 0 h 3938955"/>
                  <a:gd name="connsiteX28" fmla="*/ 4062047 w 4062047"/>
                  <a:gd name="connsiteY28" fmla="*/ 540731 h 3938955"/>
                  <a:gd name="connsiteX29" fmla="*/ 4062047 w 4062047"/>
                  <a:gd name="connsiteY29" fmla="*/ 2914645 h 3938955"/>
                  <a:gd name="connsiteX30" fmla="*/ 3521315 w 4062047"/>
                  <a:gd name="connsiteY30" fmla="*/ 3455377 h 3938955"/>
                  <a:gd name="connsiteX31" fmla="*/ 1802912 w 4062047"/>
                  <a:gd name="connsiteY31" fmla="*/ 3455377 h 3938955"/>
                  <a:gd name="connsiteX32" fmla="*/ 1075041 w 4062047"/>
                  <a:gd name="connsiteY32" fmla="*/ 3938955 h 3938955"/>
                  <a:gd name="connsiteX33" fmla="*/ 1075041 w 4062047"/>
                  <a:gd name="connsiteY33" fmla="*/ 3455377 h 3938955"/>
                  <a:gd name="connsiteX34" fmla="*/ 540732 w 4062047"/>
                  <a:gd name="connsiteY34" fmla="*/ 3455377 h 3938955"/>
                  <a:gd name="connsiteX35" fmla="*/ 0 w 4062047"/>
                  <a:gd name="connsiteY35" fmla="*/ 2914645 h 3938955"/>
                  <a:gd name="connsiteX36" fmla="*/ 0 w 4062047"/>
                  <a:gd name="connsiteY36" fmla="*/ 540731 h 3938955"/>
                  <a:gd name="connsiteX37" fmla="*/ 540732 w 4062047"/>
                  <a:gd name="connsiteY37" fmla="*/ 0 h 393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62047" h="3938955">
                    <a:moveTo>
                      <a:pt x="2292410" y="2109292"/>
                    </a:moveTo>
                    <a:cubicBezTo>
                      <a:pt x="2268687" y="2107678"/>
                      <a:pt x="2249265" y="2109514"/>
                      <a:pt x="2235381" y="2115515"/>
                    </a:cubicBezTo>
                    <a:cubicBezTo>
                      <a:pt x="2217974" y="2189262"/>
                      <a:pt x="2613445" y="2474616"/>
                      <a:pt x="2889776" y="2637325"/>
                    </a:cubicBezTo>
                    <a:cubicBezTo>
                      <a:pt x="2978370" y="2687082"/>
                      <a:pt x="3175001" y="2558447"/>
                      <a:pt x="2998691" y="2403914"/>
                    </a:cubicBezTo>
                    <a:cubicBezTo>
                      <a:pt x="2835268" y="2300874"/>
                      <a:pt x="2458468" y="2120587"/>
                      <a:pt x="2292410" y="2109292"/>
                    </a:cubicBezTo>
                    <a:close/>
                    <a:moveTo>
                      <a:pt x="3206785" y="1603188"/>
                    </a:moveTo>
                    <a:cubicBezTo>
                      <a:pt x="3072434" y="1591741"/>
                      <a:pt x="2414941" y="1693084"/>
                      <a:pt x="2420651" y="1739087"/>
                    </a:cubicBezTo>
                    <a:cubicBezTo>
                      <a:pt x="2441093" y="1812050"/>
                      <a:pt x="2920489" y="1870481"/>
                      <a:pt x="3241046" y="1879207"/>
                    </a:cubicBezTo>
                    <a:cubicBezTo>
                      <a:pt x="3377656" y="1864033"/>
                      <a:pt x="3431985" y="1611977"/>
                      <a:pt x="3206785" y="1603188"/>
                    </a:cubicBezTo>
                    <a:close/>
                    <a:moveTo>
                      <a:pt x="2950677" y="857698"/>
                    </a:moveTo>
                    <a:cubicBezTo>
                      <a:pt x="2927159" y="860050"/>
                      <a:pt x="2900469" y="866759"/>
                      <a:pt x="2870505" y="878864"/>
                    </a:cubicBezTo>
                    <a:cubicBezTo>
                      <a:pt x="2672862" y="977289"/>
                      <a:pt x="2275194" y="1268596"/>
                      <a:pt x="2227569" y="1381308"/>
                    </a:cubicBezTo>
                    <a:cubicBezTo>
                      <a:pt x="2281544" y="1434489"/>
                      <a:pt x="2730806" y="1244784"/>
                      <a:pt x="3013380" y="1093177"/>
                    </a:cubicBezTo>
                    <a:cubicBezTo>
                      <a:pt x="3117363" y="1016878"/>
                      <a:pt x="3055771" y="876954"/>
                      <a:pt x="2950677" y="857698"/>
                    </a:cubicBezTo>
                    <a:close/>
                    <a:moveTo>
                      <a:pt x="850835" y="587237"/>
                    </a:moveTo>
                    <a:cubicBezTo>
                      <a:pt x="745540" y="573769"/>
                      <a:pt x="690473" y="689557"/>
                      <a:pt x="691663" y="759803"/>
                    </a:cubicBezTo>
                    <a:lnTo>
                      <a:pt x="1286976" y="2250466"/>
                    </a:lnTo>
                    <a:cubicBezTo>
                      <a:pt x="1258401" y="2445728"/>
                      <a:pt x="1167913" y="2564791"/>
                      <a:pt x="1072663" y="2593366"/>
                    </a:cubicBezTo>
                    <a:cubicBezTo>
                      <a:pt x="963126" y="2639403"/>
                      <a:pt x="767864" y="2542565"/>
                      <a:pt x="744051" y="2731478"/>
                    </a:cubicBezTo>
                    <a:cubicBezTo>
                      <a:pt x="759926" y="2890228"/>
                      <a:pt x="947251" y="2896578"/>
                      <a:pt x="1191726" y="2836253"/>
                    </a:cubicBezTo>
                    <a:cubicBezTo>
                      <a:pt x="1426676" y="2750528"/>
                      <a:pt x="1466364" y="2636228"/>
                      <a:pt x="1696551" y="2036153"/>
                    </a:cubicBezTo>
                    <a:lnTo>
                      <a:pt x="2201376" y="769328"/>
                    </a:lnTo>
                    <a:cubicBezTo>
                      <a:pt x="2215663" y="650265"/>
                      <a:pt x="2048976" y="521678"/>
                      <a:pt x="1929913" y="683603"/>
                    </a:cubicBezTo>
                    <a:lnTo>
                      <a:pt x="1458426" y="1855178"/>
                    </a:lnTo>
                    <a:lnTo>
                      <a:pt x="972651" y="650266"/>
                    </a:lnTo>
                    <a:cubicBezTo>
                      <a:pt x="926614" y="610579"/>
                      <a:pt x="885934" y="591727"/>
                      <a:pt x="850835" y="587237"/>
                    </a:cubicBezTo>
                    <a:close/>
                    <a:moveTo>
                      <a:pt x="540732" y="0"/>
                    </a:moveTo>
                    <a:lnTo>
                      <a:pt x="3521315" y="0"/>
                    </a:lnTo>
                    <a:cubicBezTo>
                      <a:pt x="3819953" y="0"/>
                      <a:pt x="4062047" y="242093"/>
                      <a:pt x="4062047" y="540731"/>
                    </a:cubicBezTo>
                    <a:lnTo>
                      <a:pt x="4062047" y="2914645"/>
                    </a:lnTo>
                    <a:cubicBezTo>
                      <a:pt x="4062047" y="3213283"/>
                      <a:pt x="3819953" y="3455377"/>
                      <a:pt x="3521315" y="3455377"/>
                    </a:cubicBezTo>
                    <a:lnTo>
                      <a:pt x="1802912" y="3455377"/>
                    </a:lnTo>
                    <a:lnTo>
                      <a:pt x="1075041" y="3938955"/>
                    </a:lnTo>
                    <a:lnTo>
                      <a:pt x="1075041" y="3455377"/>
                    </a:lnTo>
                    <a:lnTo>
                      <a:pt x="540732" y="3455377"/>
                    </a:lnTo>
                    <a:cubicBezTo>
                      <a:pt x="242094" y="3455377"/>
                      <a:pt x="0" y="3213283"/>
                      <a:pt x="0" y="2914645"/>
                    </a:cubicBezTo>
                    <a:lnTo>
                      <a:pt x="0" y="540731"/>
                    </a:lnTo>
                    <a:cubicBezTo>
                      <a:pt x="0" y="242093"/>
                      <a:pt x="242094" y="0"/>
                      <a:pt x="540732" y="0"/>
                    </a:cubicBez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defRPr/>
                </a:pPr>
                <a:endParaRPr lang="en-US" sz="1799" dirty="0">
                  <a:solidFill>
                    <a:srgbClr val="505050"/>
                  </a:solidFill>
                  <a:latin typeface="Segoe UI"/>
                  <a:ea typeface="Segoe UI" pitchFamily="34" charset="0"/>
                  <a:cs typeface="Segoe UI" pitchFamily="34" charset="0"/>
                </a:endParaRPr>
              </a:p>
            </p:txBody>
          </p:sp>
          <p:sp>
            <p:nvSpPr>
              <p:cNvPr id="307" name="Freeform 306"/>
              <p:cNvSpPr>
                <a:spLocks/>
              </p:cNvSpPr>
              <p:nvPr/>
            </p:nvSpPr>
            <p:spPr bwMode="auto">
              <a:xfrm>
                <a:off x="4790660" y="3040183"/>
                <a:ext cx="179316" cy="173928"/>
              </a:xfrm>
              <a:custGeom>
                <a:avLst/>
                <a:gdLst/>
                <a:ahLst/>
                <a:cxnLst/>
                <a:rect l="l" t="t" r="r" b="b"/>
                <a:pathLst>
                  <a:path w="792162" h="768350">
                    <a:moveTo>
                      <a:pt x="428082" y="239713"/>
                    </a:moveTo>
                    <a:lnTo>
                      <a:pt x="415438" y="240512"/>
                    </a:lnTo>
                    <a:lnTo>
                      <a:pt x="403583" y="242907"/>
                    </a:lnTo>
                    <a:lnTo>
                      <a:pt x="391728" y="248496"/>
                    </a:lnTo>
                    <a:lnTo>
                      <a:pt x="380664" y="254884"/>
                    </a:lnTo>
                    <a:lnTo>
                      <a:pt x="369599" y="264466"/>
                    </a:lnTo>
                    <a:lnTo>
                      <a:pt x="360116" y="274846"/>
                    </a:lnTo>
                    <a:lnTo>
                      <a:pt x="349842" y="288420"/>
                    </a:lnTo>
                    <a:lnTo>
                      <a:pt x="340358" y="303591"/>
                    </a:lnTo>
                    <a:lnTo>
                      <a:pt x="331664" y="319561"/>
                    </a:lnTo>
                    <a:lnTo>
                      <a:pt x="324552" y="334732"/>
                    </a:lnTo>
                    <a:lnTo>
                      <a:pt x="318229" y="350701"/>
                    </a:lnTo>
                    <a:lnTo>
                      <a:pt x="312697" y="366671"/>
                    </a:lnTo>
                    <a:lnTo>
                      <a:pt x="308745" y="381842"/>
                    </a:lnTo>
                    <a:lnTo>
                      <a:pt x="306374" y="397013"/>
                    </a:lnTo>
                    <a:lnTo>
                      <a:pt x="304004" y="412184"/>
                    </a:lnTo>
                    <a:lnTo>
                      <a:pt x="303213" y="427355"/>
                    </a:lnTo>
                    <a:lnTo>
                      <a:pt x="304004" y="444922"/>
                    </a:lnTo>
                    <a:lnTo>
                      <a:pt x="307955" y="459294"/>
                    </a:lnTo>
                    <a:lnTo>
                      <a:pt x="312697" y="472868"/>
                    </a:lnTo>
                    <a:lnTo>
                      <a:pt x="319810" y="484845"/>
                    </a:lnTo>
                    <a:lnTo>
                      <a:pt x="324552" y="490435"/>
                    </a:lnTo>
                    <a:lnTo>
                      <a:pt x="328503" y="495226"/>
                    </a:lnTo>
                    <a:lnTo>
                      <a:pt x="334035" y="499218"/>
                    </a:lnTo>
                    <a:lnTo>
                      <a:pt x="339568" y="502412"/>
                    </a:lnTo>
                    <a:lnTo>
                      <a:pt x="345100" y="505606"/>
                    </a:lnTo>
                    <a:lnTo>
                      <a:pt x="351422" y="506404"/>
                    </a:lnTo>
                    <a:lnTo>
                      <a:pt x="358535" y="508001"/>
                    </a:lnTo>
                    <a:lnTo>
                      <a:pt x="366438" y="508001"/>
                    </a:lnTo>
                    <a:lnTo>
                      <a:pt x="379083" y="507203"/>
                    </a:lnTo>
                    <a:lnTo>
                      <a:pt x="390938" y="502412"/>
                    </a:lnTo>
                    <a:lnTo>
                      <a:pt x="402793" y="496024"/>
                    </a:lnTo>
                    <a:lnTo>
                      <a:pt x="413857" y="488039"/>
                    </a:lnTo>
                    <a:lnTo>
                      <a:pt x="424131" y="476062"/>
                    </a:lnTo>
                    <a:lnTo>
                      <a:pt x="434405" y="462488"/>
                    </a:lnTo>
                    <a:lnTo>
                      <a:pt x="443889" y="445720"/>
                    </a:lnTo>
                    <a:lnTo>
                      <a:pt x="451792" y="427355"/>
                    </a:lnTo>
                    <a:lnTo>
                      <a:pt x="459695" y="407393"/>
                    </a:lnTo>
                    <a:lnTo>
                      <a:pt x="466017" y="389028"/>
                    </a:lnTo>
                    <a:lnTo>
                      <a:pt x="472340" y="372260"/>
                    </a:lnTo>
                    <a:lnTo>
                      <a:pt x="477082" y="355492"/>
                    </a:lnTo>
                    <a:lnTo>
                      <a:pt x="481033" y="340321"/>
                    </a:lnTo>
                    <a:lnTo>
                      <a:pt x="483404" y="325949"/>
                    </a:lnTo>
                    <a:lnTo>
                      <a:pt x="484195" y="313173"/>
                    </a:lnTo>
                    <a:lnTo>
                      <a:pt x="485775" y="301196"/>
                    </a:lnTo>
                    <a:lnTo>
                      <a:pt x="484195" y="288420"/>
                    </a:lnTo>
                    <a:lnTo>
                      <a:pt x="481824" y="277242"/>
                    </a:lnTo>
                    <a:lnTo>
                      <a:pt x="476292" y="266063"/>
                    </a:lnTo>
                    <a:lnTo>
                      <a:pt x="469969" y="256481"/>
                    </a:lnTo>
                    <a:lnTo>
                      <a:pt x="466017" y="253287"/>
                    </a:lnTo>
                    <a:lnTo>
                      <a:pt x="462066" y="249295"/>
                    </a:lnTo>
                    <a:lnTo>
                      <a:pt x="457324" y="246900"/>
                    </a:lnTo>
                    <a:lnTo>
                      <a:pt x="451792" y="243706"/>
                    </a:lnTo>
                    <a:lnTo>
                      <a:pt x="446260" y="242109"/>
                    </a:lnTo>
                    <a:lnTo>
                      <a:pt x="440727" y="240512"/>
                    </a:lnTo>
                    <a:lnTo>
                      <a:pt x="434405" y="239713"/>
                    </a:lnTo>
                    <a:close/>
                    <a:moveTo>
                      <a:pt x="427466" y="0"/>
                    </a:moveTo>
                    <a:lnTo>
                      <a:pt x="446535" y="0"/>
                    </a:lnTo>
                    <a:lnTo>
                      <a:pt x="464809" y="1588"/>
                    </a:lnTo>
                    <a:lnTo>
                      <a:pt x="483084" y="3175"/>
                    </a:lnTo>
                    <a:lnTo>
                      <a:pt x="501359" y="5556"/>
                    </a:lnTo>
                    <a:lnTo>
                      <a:pt x="518839" y="8731"/>
                    </a:lnTo>
                    <a:lnTo>
                      <a:pt x="536319" y="11906"/>
                    </a:lnTo>
                    <a:lnTo>
                      <a:pt x="553004" y="15875"/>
                    </a:lnTo>
                    <a:lnTo>
                      <a:pt x="569689" y="20638"/>
                    </a:lnTo>
                    <a:lnTo>
                      <a:pt x="584786" y="26194"/>
                    </a:lnTo>
                    <a:lnTo>
                      <a:pt x="600677" y="32544"/>
                    </a:lnTo>
                    <a:lnTo>
                      <a:pt x="614979" y="38894"/>
                    </a:lnTo>
                    <a:lnTo>
                      <a:pt x="630075" y="46038"/>
                    </a:lnTo>
                    <a:lnTo>
                      <a:pt x="644377" y="53975"/>
                    </a:lnTo>
                    <a:lnTo>
                      <a:pt x="657884" y="62706"/>
                    </a:lnTo>
                    <a:lnTo>
                      <a:pt x="672186" y="71438"/>
                    </a:lnTo>
                    <a:lnTo>
                      <a:pt x="684899" y="81756"/>
                    </a:lnTo>
                    <a:lnTo>
                      <a:pt x="709529" y="103981"/>
                    </a:lnTo>
                    <a:lnTo>
                      <a:pt x="730982" y="127794"/>
                    </a:lnTo>
                    <a:lnTo>
                      <a:pt x="750051" y="153988"/>
                    </a:lnTo>
                    <a:lnTo>
                      <a:pt x="765148" y="181769"/>
                    </a:lnTo>
                    <a:lnTo>
                      <a:pt x="777066" y="211138"/>
                    </a:lnTo>
                    <a:lnTo>
                      <a:pt x="785011" y="242094"/>
                    </a:lnTo>
                    <a:lnTo>
                      <a:pt x="789779" y="273844"/>
                    </a:lnTo>
                    <a:lnTo>
                      <a:pt x="792162" y="308769"/>
                    </a:lnTo>
                    <a:lnTo>
                      <a:pt x="790573" y="336550"/>
                    </a:lnTo>
                    <a:lnTo>
                      <a:pt x="787395" y="362744"/>
                    </a:lnTo>
                    <a:lnTo>
                      <a:pt x="781833" y="387350"/>
                    </a:lnTo>
                    <a:lnTo>
                      <a:pt x="774682" y="411956"/>
                    </a:lnTo>
                    <a:lnTo>
                      <a:pt x="765148" y="435769"/>
                    </a:lnTo>
                    <a:lnTo>
                      <a:pt x="753229" y="457994"/>
                    </a:lnTo>
                    <a:lnTo>
                      <a:pt x="739722" y="480219"/>
                    </a:lnTo>
                    <a:lnTo>
                      <a:pt x="723037" y="500063"/>
                    </a:lnTo>
                    <a:lnTo>
                      <a:pt x="715091" y="510381"/>
                    </a:lnTo>
                    <a:lnTo>
                      <a:pt x="705557" y="518319"/>
                    </a:lnTo>
                    <a:lnTo>
                      <a:pt x="697611" y="527844"/>
                    </a:lnTo>
                    <a:lnTo>
                      <a:pt x="688077" y="534988"/>
                    </a:lnTo>
                    <a:lnTo>
                      <a:pt x="679337" y="542131"/>
                    </a:lnTo>
                    <a:lnTo>
                      <a:pt x="669802" y="548481"/>
                    </a:lnTo>
                    <a:lnTo>
                      <a:pt x="661062" y="554038"/>
                    </a:lnTo>
                    <a:lnTo>
                      <a:pt x="650733" y="559594"/>
                    </a:lnTo>
                    <a:lnTo>
                      <a:pt x="640404" y="564356"/>
                    </a:lnTo>
                    <a:lnTo>
                      <a:pt x="631664" y="568325"/>
                    </a:lnTo>
                    <a:lnTo>
                      <a:pt x="621335" y="572294"/>
                    </a:lnTo>
                    <a:lnTo>
                      <a:pt x="611800" y="574675"/>
                    </a:lnTo>
                    <a:lnTo>
                      <a:pt x="600677" y="577056"/>
                    </a:lnTo>
                    <a:lnTo>
                      <a:pt x="590348" y="578644"/>
                    </a:lnTo>
                    <a:lnTo>
                      <a:pt x="579224" y="579438"/>
                    </a:lnTo>
                    <a:lnTo>
                      <a:pt x="568100" y="579438"/>
                    </a:lnTo>
                    <a:lnTo>
                      <a:pt x="557771" y="579438"/>
                    </a:lnTo>
                    <a:lnTo>
                      <a:pt x="547442" y="577850"/>
                    </a:lnTo>
                    <a:lnTo>
                      <a:pt x="537113" y="576263"/>
                    </a:lnTo>
                    <a:lnTo>
                      <a:pt x="528373" y="573088"/>
                    </a:lnTo>
                    <a:lnTo>
                      <a:pt x="519633" y="569913"/>
                    </a:lnTo>
                    <a:lnTo>
                      <a:pt x="512482" y="565150"/>
                    </a:lnTo>
                    <a:lnTo>
                      <a:pt x="505331" y="560388"/>
                    </a:lnTo>
                    <a:lnTo>
                      <a:pt x="498975" y="554038"/>
                    </a:lnTo>
                    <a:lnTo>
                      <a:pt x="488646" y="541338"/>
                    </a:lnTo>
                    <a:lnTo>
                      <a:pt x="481495" y="527844"/>
                    </a:lnTo>
                    <a:lnTo>
                      <a:pt x="476728" y="514350"/>
                    </a:lnTo>
                    <a:lnTo>
                      <a:pt x="475139" y="501650"/>
                    </a:lnTo>
                    <a:lnTo>
                      <a:pt x="475139" y="498475"/>
                    </a:lnTo>
                    <a:lnTo>
                      <a:pt x="475139" y="494506"/>
                    </a:lnTo>
                    <a:lnTo>
                      <a:pt x="475139" y="489744"/>
                    </a:lnTo>
                    <a:lnTo>
                      <a:pt x="475933" y="484188"/>
                    </a:lnTo>
                    <a:lnTo>
                      <a:pt x="471166" y="493713"/>
                    </a:lnTo>
                    <a:lnTo>
                      <a:pt x="465604" y="501650"/>
                    </a:lnTo>
                    <a:lnTo>
                      <a:pt x="461631" y="508794"/>
                    </a:lnTo>
                    <a:lnTo>
                      <a:pt x="456069" y="516731"/>
                    </a:lnTo>
                    <a:lnTo>
                      <a:pt x="450508" y="523875"/>
                    </a:lnTo>
                    <a:lnTo>
                      <a:pt x="444946" y="530225"/>
                    </a:lnTo>
                    <a:lnTo>
                      <a:pt x="439384" y="535781"/>
                    </a:lnTo>
                    <a:lnTo>
                      <a:pt x="433822" y="541338"/>
                    </a:lnTo>
                    <a:lnTo>
                      <a:pt x="422699" y="550069"/>
                    </a:lnTo>
                    <a:lnTo>
                      <a:pt x="411575" y="558006"/>
                    </a:lnTo>
                    <a:lnTo>
                      <a:pt x="399657" y="564356"/>
                    </a:lnTo>
                    <a:lnTo>
                      <a:pt x="387739" y="569913"/>
                    </a:lnTo>
                    <a:lnTo>
                      <a:pt x="375026" y="573088"/>
                    </a:lnTo>
                    <a:lnTo>
                      <a:pt x="362313" y="577056"/>
                    </a:lnTo>
                    <a:lnTo>
                      <a:pt x="348806" y="577850"/>
                    </a:lnTo>
                    <a:lnTo>
                      <a:pt x="333709" y="578644"/>
                    </a:lnTo>
                    <a:lnTo>
                      <a:pt x="319408" y="577850"/>
                    </a:lnTo>
                    <a:lnTo>
                      <a:pt x="305900" y="576263"/>
                    </a:lnTo>
                    <a:lnTo>
                      <a:pt x="291598" y="573088"/>
                    </a:lnTo>
                    <a:lnTo>
                      <a:pt x="278886" y="568325"/>
                    </a:lnTo>
                    <a:lnTo>
                      <a:pt x="266968" y="561975"/>
                    </a:lnTo>
                    <a:lnTo>
                      <a:pt x="255844" y="554831"/>
                    </a:lnTo>
                    <a:lnTo>
                      <a:pt x="245515" y="546894"/>
                    </a:lnTo>
                    <a:lnTo>
                      <a:pt x="235186" y="536575"/>
                    </a:lnTo>
                    <a:lnTo>
                      <a:pt x="225651" y="525463"/>
                    </a:lnTo>
                    <a:lnTo>
                      <a:pt x="217706" y="512763"/>
                    </a:lnTo>
                    <a:lnTo>
                      <a:pt x="210555" y="500063"/>
                    </a:lnTo>
                    <a:lnTo>
                      <a:pt x="204993" y="484981"/>
                    </a:lnTo>
                    <a:lnTo>
                      <a:pt x="200226" y="469900"/>
                    </a:lnTo>
                    <a:lnTo>
                      <a:pt x="197842" y="453231"/>
                    </a:lnTo>
                    <a:lnTo>
                      <a:pt x="195458" y="434975"/>
                    </a:lnTo>
                    <a:lnTo>
                      <a:pt x="194664" y="416719"/>
                    </a:lnTo>
                    <a:lnTo>
                      <a:pt x="195458" y="394494"/>
                    </a:lnTo>
                    <a:lnTo>
                      <a:pt x="198637" y="373856"/>
                    </a:lnTo>
                    <a:lnTo>
                      <a:pt x="203404" y="351631"/>
                    </a:lnTo>
                    <a:lnTo>
                      <a:pt x="210555" y="330994"/>
                    </a:lnTo>
                    <a:lnTo>
                      <a:pt x="218500" y="310356"/>
                    </a:lnTo>
                    <a:lnTo>
                      <a:pt x="228829" y="289719"/>
                    </a:lnTo>
                    <a:lnTo>
                      <a:pt x="241542" y="270669"/>
                    </a:lnTo>
                    <a:lnTo>
                      <a:pt x="255049" y="250031"/>
                    </a:lnTo>
                    <a:lnTo>
                      <a:pt x="262995" y="241300"/>
                    </a:lnTo>
                    <a:lnTo>
                      <a:pt x="270940" y="231775"/>
                    </a:lnTo>
                    <a:lnTo>
                      <a:pt x="278886" y="223838"/>
                    </a:lnTo>
                    <a:lnTo>
                      <a:pt x="287626" y="216694"/>
                    </a:lnTo>
                    <a:lnTo>
                      <a:pt x="295571" y="209550"/>
                    </a:lnTo>
                    <a:lnTo>
                      <a:pt x="305106" y="203200"/>
                    </a:lnTo>
                    <a:lnTo>
                      <a:pt x="313846" y="197644"/>
                    </a:lnTo>
                    <a:lnTo>
                      <a:pt x="323380" y="192881"/>
                    </a:lnTo>
                    <a:lnTo>
                      <a:pt x="332120" y="188119"/>
                    </a:lnTo>
                    <a:lnTo>
                      <a:pt x="342449" y="184150"/>
                    </a:lnTo>
                    <a:lnTo>
                      <a:pt x="351984" y="180975"/>
                    </a:lnTo>
                    <a:lnTo>
                      <a:pt x="362313" y="177800"/>
                    </a:lnTo>
                    <a:lnTo>
                      <a:pt x="372642" y="176213"/>
                    </a:lnTo>
                    <a:lnTo>
                      <a:pt x="382177" y="174625"/>
                    </a:lnTo>
                    <a:lnTo>
                      <a:pt x="393300" y="173038"/>
                    </a:lnTo>
                    <a:lnTo>
                      <a:pt x="404424" y="173038"/>
                    </a:lnTo>
                    <a:lnTo>
                      <a:pt x="417137" y="173038"/>
                    </a:lnTo>
                    <a:lnTo>
                      <a:pt x="428260" y="175419"/>
                    </a:lnTo>
                    <a:lnTo>
                      <a:pt x="439384" y="177006"/>
                    </a:lnTo>
                    <a:lnTo>
                      <a:pt x="450508" y="180975"/>
                    </a:lnTo>
                    <a:lnTo>
                      <a:pt x="459248" y="184150"/>
                    </a:lnTo>
                    <a:lnTo>
                      <a:pt x="468782" y="188913"/>
                    </a:lnTo>
                    <a:lnTo>
                      <a:pt x="476728" y="195263"/>
                    </a:lnTo>
                    <a:lnTo>
                      <a:pt x="483879" y="201613"/>
                    </a:lnTo>
                    <a:lnTo>
                      <a:pt x="489440" y="207169"/>
                    </a:lnTo>
                    <a:lnTo>
                      <a:pt x="494208" y="212725"/>
                    </a:lnTo>
                    <a:lnTo>
                      <a:pt x="498975" y="219075"/>
                    </a:lnTo>
                    <a:lnTo>
                      <a:pt x="502153" y="225425"/>
                    </a:lnTo>
                    <a:lnTo>
                      <a:pt x="505331" y="231775"/>
                    </a:lnTo>
                    <a:lnTo>
                      <a:pt x="509304" y="238125"/>
                    </a:lnTo>
                    <a:lnTo>
                      <a:pt x="511688" y="244475"/>
                    </a:lnTo>
                    <a:lnTo>
                      <a:pt x="513277" y="252413"/>
                    </a:lnTo>
                    <a:lnTo>
                      <a:pt x="530757" y="189706"/>
                    </a:lnTo>
                    <a:lnTo>
                      <a:pt x="624513" y="189706"/>
                    </a:lnTo>
                    <a:lnTo>
                      <a:pt x="560949" y="403225"/>
                    </a:lnTo>
                    <a:lnTo>
                      <a:pt x="557771" y="415131"/>
                    </a:lnTo>
                    <a:lnTo>
                      <a:pt x="554593" y="426244"/>
                    </a:lnTo>
                    <a:lnTo>
                      <a:pt x="552209" y="434181"/>
                    </a:lnTo>
                    <a:lnTo>
                      <a:pt x="549826" y="441325"/>
                    </a:lnTo>
                    <a:lnTo>
                      <a:pt x="549031" y="447675"/>
                    </a:lnTo>
                    <a:lnTo>
                      <a:pt x="548237" y="453231"/>
                    </a:lnTo>
                    <a:lnTo>
                      <a:pt x="547442" y="458788"/>
                    </a:lnTo>
                    <a:lnTo>
                      <a:pt x="547442" y="463550"/>
                    </a:lnTo>
                    <a:lnTo>
                      <a:pt x="548237" y="470694"/>
                    </a:lnTo>
                    <a:lnTo>
                      <a:pt x="549826" y="477838"/>
                    </a:lnTo>
                    <a:lnTo>
                      <a:pt x="553004" y="484188"/>
                    </a:lnTo>
                    <a:lnTo>
                      <a:pt x="557771" y="492125"/>
                    </a:lnTo>
                    <a:lnTo>
                      <a:pt x="560155" y="494506"/>
                    </a:lnTo>
                    <a:lnTo>
                      <a:pt x="562539" y="496888"/>
                    </a:lnTo>
                    <a:lnTo>
                      <a:pt x="566511" y="499269"/>
                    </a:lnTo>
                    <a:lnTo>
                      <a:pt x="570484" y="500856"/>
                    </a:lnTo>
                    <a:lnTo>
                      <a:pt x="573662" y="502444"/>
                    </a:lnTo>
                    <a:lnTo>
                      <a:pt x="578429" y="504031"/>
                    </a:lnTo>
                    <a:lnTo>
                      <a:pt x="583197" y="504825"/>
                    </a:lnTo>
                    <a:lnTo>
                      <a:pt x="588759" y="504825"/>
                    </a:lnTo>
                    <a:lnTo>
                      <a:pt x="599882" y="504031"/>
                    </a:lnTo>
                    <a:lnTo>
                      <a:pt x="609417" y="500856"/>
                    </a:lnTo>
                    <a:lnTo>
                      <a:pt x="620540" y="496888"/>
                    </a:lnTo>
                    <a:lnTo>
                      <a:pt x="630869" y="490538"/>
                    </a:lnTo>
                    <a:lnTo>
                      <a:pt x="641993" y="482600"/>
                    </a:lnTo>
                    <a:lnTo>
                      <a:pt x="651528" y="473869"/>
                    </a:lnTo>
                    <a:lnTo>
                      <a:pt x="662651" y="461963"/>
                    </a:lnTo>
                    <a:lnTo>
                      <a:pt x="672980" y="448469"/>
                    </a:lnTo>
                    <a:lnTo>
                      <a:pt x="682515" y="434181"/>
                    </a:lnTo>
                    <a:lnTo>
                      <a:pt x="691255" y="419100"/>
                    </a:lnTo>
                    <a:lnTo>
                      <a:pt x="698406" y="402431"/>
                    </a:lnTo>
                    <a:lnTo>
                      <a:pt x="704762" y="384969"/>
                    </a:lnTo>
                    <a:lnTo>
                      <a:pt x="709529" y="366713"/>
                    </a:lnTo>
                    <a:lnTo>
                      <a:pt x="712708" y="346075"/>
                    </a:lnTo>
                    <a:lnTo>
                      <a:pt x="715091" y="324644"/>
                    </a:lnTo>
                    <a:lnTo>
                      <a:pt x="715886" y="302419"/>
                    </a:lnTo>
                    <a:lnTo>
                      <a:pt x="714297" y="270669"/>
                    </a:lnTo>
                    <a:lnTo>
                      <a:pt x="708735" y="240506"/>
                    </a:lnTo>
                    <a:lnTo>
                      <a:pt x="699200" y="211931"/>
                    </a:lnTo>
                    <a:lnTo>
                      <a:pt x="686488" y="185738"/>
                    </a:lnTo>
                    <a:lnTo>
                      <a:pt x="670597" y="163513"/>
                    </a:lnTo>
                    <a:lnTo>
                      <a:pt x="650733" y="142081"/>
                    </a:lnTo>
                    <a:lnTo>
                      <a:pt x="626897" y="123825"/>
                    </a:lnTo>
                    <a:lnTo>
                      <a:pt x="599882" y="108744"/>
                    </a:lnTo>
                    <a:lnTo>
                      <a:pt x="590348" y="103981"/>
                    </a:lnTo>
                    <a:lnTo>
                      <a:pt x="581608" y="99219"/>
                    </a:lnTo>
                    <a:lnTo>
                      <a:pt x="572073" y="95250"/>
                    </a:lnTo>
                    <a:lnTo>
                      <a:pt x="561744" y="92075"/>
                    </a:lnTo>
                    <a:lnTo>
                      <a:pt x="552209" y="88900"/>
                    </a:lnTo>
                    <a:lnTo>
                      <a:pt x="542675" y="85725"/>
                    </a:lnTo>
                    <a:lnTo>
                      <a:pt x="532346" y="82550"/>
                    </a:lnTo>
                    <a:lnTo>
                      <a:pt x="522811" y="80169"/>
                    </a:lnTo>
                    <a:lnTo>
                      <a:pt x="512482" y="77788"/>
                    </a:lnTo>
                    <a:lnTo>
                      <a:pt x="501359" y="76200"/>
                    </a:lnTo>
                    <a:lnTo>
                      <a:pt x="491824" y="74613"/>
                    </a:lnTo>
                    <a:lnTo>
                      <a:pt x="480700" y="73819"/>
                    </a:lnTo>
                    <a:lnTo>
                      <a:pt x="469577" y="71438"/>
                    </a:lnTo>
                    <a:lnTo>
                      <a:pt x="458453" y="71438"/>
                    </a:lnTo>
                    <a:lnTo>
                      <a:pt x="446535" y="70644"/>
                    </a:lnTo>
                    <a:lnTo>
                      <a:pt x="435411" y="70644"/>
                    </a:lnTo>
                    <a:lnTo>
                      <a:pt x="415548" y="70644"/>
                    </a:lnTo>
                    <a:lnTo>
                      <a:pt x="395684" y="73025"/>
                    </a:lnTo>
                    <a:lnTo>
                      <a:pt x="375026" y="74613"/>
                    </a:lnTo>
                    <a:lnTo>
                      <a:pt x="356751" y="76994"/>
                    </a:lnTo>
                    <a:lnTo>
                      <a:pt x="337682" y="80963"/>
                    </a:lnTo>
                    <a:lnTo>
                      <a:pt x="320202" y="85725"/>
                    </a:lnTo>
                    <a:lnTo>
                      <a:pt x="301928" y="91281"/>
                    </a:lnTo>
                    <a:lnTo>
                      <a:pt x="285242" y="96838"/>
                    </a:lnTo>
                    <a:lnTo>
                      <a:pt x="269351" y="103981"/>
                    </a:lnTo>
                    <a:lnTo>
                      <a:pt x="252666" y="111125"/>
                    </a:lnTo>
                    <a:lnTo>
                      <a:pt x="236775" y="119063"/>
                    </a:lnTo>
                    <a:lnTo>
                      <a:pt x="222473" y="128588"/>
                    </a:lnTo>
                    <a:lnTo>
                      <a:pt x="207377" y="138906"/>
                    </a:lnTo>
                    <a:lnTo>
                      <a:pt x="193869" y="149225"/>
                    </a:lnTo>
                    <a:lnTo>
                      <a:pt x="180362" y="161131"/>
                    </a:lnTo>
                    <a:lnTo>
                      <a:pt x="167649" y="173038"/>
                    </a:lnTo>
                    <a:lnTo>
                      <a:pt x="146197" y="196850"/>
                    </a:lnTo>
                    <a:lnTo>
                      <a:pt x="127922" y="221456"/>
                    </a:lnTo>
                    <a:lnTo>
                      <a:pt x="112826" y="247650"/>
                    </a:lnTo>
                    <a:lnTo>
                      <a:pt x="99318" y="274638"/>
                    </a:lnTo>
                    <a:lnTo>
                      <a:pt x="89784" y="303213"/>
                    </a:lnTo>
                    <a:lnTo>
                      <a:pt x="82633" y="332581"/>
                    </a:lnTo>
                    <a:lnTo>
                      <a:pt x="78660" y="362744"/>
                    </a:lnTo>
                    <a:lnTo>
                      <a:pt x="77071" y="394494"/>
                    </a:lnTo>
                    <a:lnTo>
                      <a:pt x="78660" y="429419"/>
                    </a:lnTo>
                    <a:lnTo>
                      <a:pt x="83428" y="463550"/>
                    </a:lnTo>
                    <a:lnTo>
                      <a:pt x="91373" y="494506"/>
                    </a:lnTo>
                    <a:lnTo>
                      <a:pt x="103291" y="523875"/>
                    </a:lnTo>
                    <a:lnTo>
                      <a:pt x="119182" y="550863"/>
                    </a:lnTo>
                    <a:lnTo>
                      <a:pt x="137457" y="577056"/>
                    </a:lnTo>
                    <a:lnTo>
                      <a:pt x="158909" y="600869"/>
                    </a:lnTo>
                    <a:lnTo>
                      <a:pt x="183540" y="622300"/>
                    </a:lnTo>
                    <a:lnTo>
                      <a:pt x="195458" y="631825"/>
                    </a:lnTo>
                    <a:lnTo>
                      <a:pt x="208966" y="639763"/>
                    </a:lnTo>
                    <a:lnTo>
                      <a:pt x="220884" y="648494"/>
                    </a:lnTo>
                    <a:lnTo>
                      <a:pt x="234391" y="654844"/>
                    </a:lnTo>
                    <a:lnTo>
                      <a:pt x="247104" y="661988"/>
                    </a:lnTo>
                    <a:lnTo>
                      <a:pt x="260611" y="667544"/>
                    </a:lnTo>
                    <a:lnTo>
                      <a:pt x="274913" y="673100"/>
                    </a:lnTo>
                    <a:lnTo>
                      <a:pt x="289215" y="678656"/>
                    </a:lnTo>
                    <a:lnTo>
                      <a:pt x="303517" y="681831"/>
                    </a:lnTo>
                    <a:lnTo>
                      <a:pt x="318613" y="686594"/>
                    </a:lnTo>
                    <a:lnTo>
                      <a:pt x="333709" y="689769"/>
                    </a:lnTo>
                    <a:lnTo>
                      <a:pt x="349600" y="692150"/>
                    </a:lnTo>
                    <a:lnTo>
                      <a:pt x="365491" y="693738"/>
                    </a:lnTo>
                    <a:lnTo>
                      <a:pt x="381382" y="696119"/>
                    </a:lnTo>
                    <a:lnTo>
                      <a:pt x="398068" y="696913"/>
                    </a:lnTo>
                    <a:lnTo>
                      <a:pt x="414753" y="696913"/>
                    </a:lnTo>
                    <a:lnTo>
                      <a:pt x="426671" y="696913"/>
                    </a:lnTo>
                    <a:lnTo>
                      <a:pt x="437795" y="696119"/>
                    </a:lnTo>
                    <a:lnTo>
                      <a:pt x="449713" y="696119"/>
                    </a:lnTo>
                    <a:lnTo>
                      <a:pt x="460042" y="694531"/>
                    </a:lnTo>
                    <a:lnTo>
                      <a:pt x="471960" y="692944"/>
                    </a:lnTo>
                    <a:lnTo>
                      <a:pt x="483084" y="692150"/>
                    </a:lnTo>
                    <a:lnTo>
                      <a:pt x="494208" y="690563"/>
                    </a:lnTo>
                    <a:lnTo>
                      <a:pt x="505331" y="687388"/>
                    </a:lnTo>
                    <a:lnTo>
                      <a:pt x="516455" y="685800"/>
                    </a:lnTo>
                    <a:lnTo>
                      <a:pt x="527579" y="683419"/>
                    </a:lnTo>
                    <a:lnTo>
                      <a:pt x="537113" y="680244"/>
                    </a:lnTo>
                    <a:lnTo>
                      <a:pt x="548237" y="676275"/>
                    </a:lnTo>
                    <a:lnTo>
                      <a:pt x="558566" y="673894"/>
                    </a:lnTo>
                    <a:lnTo>
                      <a:pt x="569689" y="669925"/>
                    </a:lnTo>
                    <a:lnTo>
                      <a:pt x="579224" y="666750"/>
                    </a:lnTo>
                    <a:lnTo>
                      <a:pt x="589553" y="661988"/>
                    </a:lnTo>
                    <a:lnTo>
                      <a:pt x="600677" y="657225"/>
                    </a:lnTo>
                    <a:lnTo>
                      <a:pt x="611800" y="651669"/>
                    </a:lnTo>
                    <a:lnTo>
                      <a:pt x="622129" y="646113"/>
                    </a:lnTo>
                    <a:lnTo>
                      <a:pt x="634048" y="639763"/>
                    </a:lnTo>
                    <a:lnTo>
                      <a:pt x="645171" y="633413"/>
                    </a:lnTo>
                    <a:lnTo>
                      <a:pt x="657089" y="626269"/>
                    </a:lnTo>
                    <a:lnTo>
                      <a:pt x="669008" y="619125"/>
                    </a:lnTo>
                    <a:lnTo>
                      <a:pt x="680926" y="610394"/>
                    </a:lnTo>
                    <a:lnTo>
                      <a:pt x="692844" y="602456"/>
                    </a:lnTo>
                    <a:lnTo>
                      <a:pt x="728599" y="657225"/>
                    </a:lnTo>
                    <a:lnTo>
                      <a:pt x="719859" y="663575"/>
                    </a:lnTo>
                    <a:lnTo>
                      <a:pt x="711119" y="669925"/>
                    </a:lnTo>
                    <a:lnTo>
                      <a:pt x="702379" y="676275"/>
                    </a:lnTo>
                    <a:lnTo>
                      <a:pt x="692844" y="683419"/>
                    </a:lnTo>
                    <a:lnTo>
                      <a:pt x="684104" y="688181"/>
                    </a:lnTo>
                    <a:lnTo>
                      <a:pt x="674569" y="693738"/>
                    </a:lnTo>
                    <a:lnTo>
                      <a:pt x="665829" y="699294"/>
                    </a:lnTo>
                    <a:lnTo>
                      <a:pt x="656295" y="704850"/>
                    </a:lnTo>
                    <a:lnTo>
                      <a:pt x="645966" y="709613"/>
                    </a:lnTo>
                    <a:lnTo>
                      <a:pt x="637226" y="715169"/>
                    </a:lnTo>
                    <a:lnTo>
                      <a:pt x="626897" y="719931"/>
                    </a:lnTo>
                    <a:lnTo>
                      <a:pt x="618157" y="723900"/>
                    </a:lnTo>
                    <a:lnTo>
                      <a:pt x="607828" y="727869"/>
                    </a:lnTo>
                    <a:lnTo>
                      <a:pt x="597499" y="732631"/>
                    </a:lnTo>
                    <a:lnTo>
                      <a:pt x="587964" y="735806"/>
                    </a:lnTo>
                    <a:lnTo>
                      <a:pt x="577635" y="739775"/>
                    </a:lnTo>
                    <a:lnTo>
                      <a:pt x="567306" y="743744"/>
                    </a:lnTo>
                    <a:lnTo>
                      <a:pt x="557771" y="746125"/>
                    </a:lnTo>
                    <a:lnTo>
                      <a:pt x="547442" y="749300"/>
                    </a:lnTo>
                    <a:lnTo>
                      <a:pt x="536319" y="751681"/>
                    </a:lnTo>
                    <a:lnTo>
                      <a:pt x="525989" y="754063"/>
                    </a:lnTo>
                    <a:lnTo>
                      <a:pt x="515660" y="757238"/>
                    </a:lnTo>
                    <a:lnTo>
                      <a:pt x="505331" y="758825"/>
                    </a:lnTo>
                    <a:lnTo>
                      <a:pt x="494208" y="761206"/>
                    </a:lnTo>
                    <a:lnTo>
                      <a:pt x="483879" y="762794"/>
                    </a:lnTo>
                    <a:lnTo>
                      <a:pt x="473549" y="763588"/>
                    </a:lnTo>
                    <a:lnTo>
                      <a:pt x="462426" y="765175"/>
                    </a:lnTo>
                    <a:lnTo>
                      <a:pt x="452097" y="765969"/>
                    </a:lnTo>
                    <a:lnTo>
                      <a:pt x="440973" y="767556"/>
                    </a:lnTo>
                    <a:lnTo>
                      <a:pt x="429849" y="767556"/>
                    </a:lnTo>
                    <a:lnTo>
                      <a:pt x="419520" y="768350"/>
                    </a:lnTo>
                    <a:lnTo>
                      <a:pt x="408397" y="768350"/>
                    </a:lnTo>
                    <a:lnTo>
                      <a:pt x="383766" y="767556"/>
                    </a:lnTo>
                    <a:lnTo>
                      <a:pt x="359135" y="765969"/>
                    </a:lnTo>
                    <a:lnTo>
                      <a:pt x="335299" y="763588"/>
                    </a:lnTo>
                    <a:lnTo>
                      <a:pt x="312257" y="759619"/>
                    </a:lnTo>
                    <a:lnTo>
                      <a:pt x="290009" y="755650"/>
                    </a:lnTo>
                    <a:lnTo>
                      <a:pt x="267762" y="750094"/>
                    </a:lnTo>
                    <a:lnTo>
                      <a:pt x="247898" y="743744"/>
                    </a:lnTo>
                    <a:lnTo>
                      <a:pt x="228035" y="735806"/>
                    </a:lnTo>
                    <a:lnTo>
                      <a:pt x="208966" y="727869"/>
                    </a:lnTo>
                    <a:lnTo>
                      <a:pt x="189102" y="717550"/>
                    </a:lnTo>
                    <a:lnTo>
                      <a:pt x="171622" y="708025"/>
                    </a:lnTo>
                    <a:lnTo>
                      <a:pt x="154937" y="696913"/>
                    </a:lnTo>
                    <a:lnTo>
                      <a:pt x="138251" y="684213"/>
                    </a:lnTo>
                    <a:lnTo>
                      <a:pt x="121566" y="669925"/>
                    </a:lnTo>
                    <a:lnTo>
                      <a:pt x="107264" y="656431"/>
                    </a:lnTo>
                    <a:lnTo>
                      <a:pt x="92168" y="640556"/>
                    </a:lnTo>
                    <a:lnTo>
                      <a:pt x="70715" y="614363"/>
                    </a:lnTo>
                    <a:lnTo>
                      <a:pt x="52440" y="585788"/>
                    </a:lnTo>
                    <a:lnTo>
                      <a:pt x="36549" y="556419"/>
                    </a:lnTo>
                    <a:lnTo>
                      <a:pt x="23042" y="526256"/>
                    </a:lnTo>
                    <a:lnTo>
                      <a:pt x="12713" y="494506"/>
                    </a:lnTo>
                    <a:lnTo>
                      <a:pt x="5562" y="461963"/>
                    </a:lnTo>
                    <a:lnTo>
                      <a:pt x="1589" y="427831"/>
                    </a:lnTo>
                    <a:lnTo>
                      <a:pt x="0" y="392113"/>
                    </a:lnTo>
                    <a:lnTo>
                      <a:pt x="1589" y="352425"/>
                    </a:lnTo>
                    <a:lnTo>
                      <a:pt x="7151" y="314325"/>
                    </a:lnTo>
                    <a:lnTo>
                      <a:pt x="16686" y="278606"/>
                    </a:lnTo>
                    <a:lnTo>
                      <a:pt x="29398" y="242888"/>
                    </a:lnTo>
                    <a:lnTo>
                      <a:pt x="44495" y="209550"/>
                    </a:lnTo>
                    <a:lnTo>
                      <a:pt x="65153" y="177800"/>
                    </a:lnTo>
                    <a:lnTo>
                      <a:pt x="87400" y="147638"/>
                    </a:lnTo>
                    <a:lnTo>
                      <a:pt x="115209" y="119063"/>
                    </a:lnTo>
                    <a:lnTo>
                      <a:pt x="131100" y="104775"/>
                    </a:lnTo>
                    <a:lnTo>
                      <a:pt x="146991" y="91281"/>
                    </a:lnTo>
                    <a:lnTo>
                      <a:pt x="163677" y="79375"/>
                    </a:lnTo>
                    <a:lnTo>
                      <a:pt x="180362" y="67469"/>
                    </a:lnTo>
                    <a:lnTo>
                      <a:pt x="198637" y="56356"/>
                    </a:lnTo>
                    <a:lnTo>
                      <a:pt x="216911" y="46831"/>
                    </a:lnTo>
                    <a:lnTo>
                      <a:pt x="235186" y="38100"/>
                    </a:lnTo>
                    <a:lnTo>
                      <a:pt x="254255" y="29369"/>
                    </a:lnTo>
                    <a:lnTo>
                      <a:pt x="274913" y="23019"/>
                    </a:lnTo>
                    <a:lnTo>
                      <a:pt x="294777" y="16669"/>
                    </a:lnTo>
                    <a:lnTo>
                      <a:pt x="315435" y="11906"/>
                    </a:lnTo>
                    <a:lnTo>
                      <a:pt x="336888" y="7938"/>
                    </a:lnTo>
                    <a:lnTo>
                      <a:pt x="359135" y="4763"/>
                    </a:lnTo>
                    <a:lnTo>
                      <a:pt x="380588" y="2381"/>
                    </a:lnTo>
                    <a:lnTo>
                      <a:pt x="403629" y="1588"/>
                    </a:lnTo>
                    <a:close/>
                  </a:path>
                </a:pathLst>
              </a:custGeom>
              <a:solidFill>
                <a:schemeClr val="bg1">
                  <a:lumMod val="50000"/>
                </a:schemeClr>
              </a:solidFill>
              <a:ln>
                <a:noFill/>
              </a:ln>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dirty="0">
                  <a:solidFill>
                    <a:srgbClr val="505050"/>
                  </a:solidFill>
                  <a:latin typeface="Segoe UI"/>
                </a:endParaRPr>
              </a:p>
            </p:txBody>
          </p:sp>
          <p:grpSp>
            <p:nvGrpSpPr>
              <p:cNvPr id="308" name="Group 307"/>
              <p:cNvGrpSpPr/>
              <p:nvPr/>
            </p:nvGrpSpPr>
            <p:grpSpPr>
              <a:xfrm>
                <a:off x="4195952" y="3237771"/>
                <a:ext cx="229678" cy="198426"/>
                <a:chOff x="3960963" y="2956210"/>
                <a:chExt cx="229678" cy="198426"/>
              </a:xfrm>
            </p:grpSpPr>
            <p:sp>
              <p:nvSpPr>
                <p:cNvPr id="314" name="Oval 313"/>
                <p:cNvSpPr>
                  <a:spLocks noChangeArrowheads="1"/>
                </p:cNvSpPr>
                <p:nvPr/>
              </p:nvSpPr>
              <p:spPr bwMode="auto">
                <a:xfrm>
                  <a:off x="4041271" y="2956210"/>
                  <a:ext cx="73284" cy="73406"/>
                </a:xfrm>
                <a:prstGeom prst="ellipse">
                  <a:avLst/>
                </a:prstGeom>
                <a:solidFill>
                  <a:schemeClr val="bg1">
                    <a:lumMod val="50000"/>
                  </a:schemeClr>
                </a:solidFill>
                <a:ln w="9525" cap="flat" cmpd="sng" algn="ctr">
                  <a:noFill/>
                  <a:prstDash val="solid"/>
                  <a:headEnd type="none" w="med" len="med"/>
                  <a:tailEnd type="none" w="med" len="med"/>
                </a:ln>
                <a:effectLst/>
              </p:spPr>
              <p:txBody>
                <a:bodyPr vert="horz" wrap="square" lIns="91412" tIns="45706" rIns="91412" bIns="45706"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825" fontAlgn="base">
                    <a:spcBef>
                      <a:spcPct val="0"/>
                    </a:spcBef>
                    <a:spcAft>
                      <a:spcPct val="0"/>
                    </a:spcAft>
                    <a:defRPr/>
                  </a:pPr>
                  <a:endParaRPr lang="en-US" sz="2199" dirty="0">
                    <a:solidFill>
                      <a:srgbClr val="505050"/>
                    </a:solidFill>
                    <a:latin typeface="Segoe"/>
                  </a:endParaRPr>
                </a:p>
              </p:txBody>
            </p:sp>
            <p:sp>
              <p:nvSpPr>
                <p:cNvPr id="315" name="Freeform 314"/>
                <p:cNvSpPr>
                  <a:spLocks/>
                </p:cNvSpPr>
                <p:nvPr/>
              </p:nvSpPr>
              <p:spPr bwMode="auto">
                <a:xfrm>
                  <a:off x="4011324" y="3038258"/>
                  <a:ext cx="131108" cy="116378"/>
                </a:xfrm>
                <a:custGeom>
                  <a:avLst/>
                  <a:gdLst>
                    <a:gd name="T0" fmla="*/ 420 w 456"/>
                    <a:gd name="T1" fmla="*/ 125 h 405"/>
                    <a:gd name="T2" fmla="*/ 311 w 456"/>
                    <a:gd name="T3" fmla="*/ 0 h 405"/>
                    <a:gd name="T4" fmla="*/ 233 w 456"/>
                    <a:gd name="T5" fmla="*/ 97 h 405"/>
                    <a:gd name="T6" fmla="*/ 223 w 456"/>
                    <a:gd name="T7" fmla="*/ 97 h 405"/>
                    <a:gd name="T8" fmla="*/ 145 w 456"/>
                    <a:gd name="T9" fmla="*/ 0 h 405"/>
                    <a:gd name="T10" fmla="*/ 37 w 456"/>
                    <a:gd name="T11" fmla="*/ 125 h 405"/>
                    <a:gd name="T12" fmla="*/ 30 w 456"/>
                    <a:gd name="T13" fmla="*/ 307 h 405"/>
                    <a:gd name="T14" fmla="*/ 220 w 456"/>
                    <a:gd name="T15" fmla="*/ 405 h 405"/>
                    <a:gd name="T16" fmla="*/ 236 w 456"/>
                    <a:gd name="T17" fmla="*/ 405 h 405"/>
                    <a:gd name="T18" fmla="*/ 427 w 456"/>
                    <a:gd name="T19" fmla="*/ 307 h 405"/>
                    <a:gd name="T20" fmla="*/ 420 w 456"/>
                    <a:gd name="T21" fmla="*/ 125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6" h="405">
                      <a:moveTo>
                        <a:pt x="420" y="125"/>
                      </a:moveTo>
                      <a:cubicBezTo>
                        <a:pt x="369" y="38"/>
                        <a:pt x="327" y="0"/>
                        <a:pt x="311" y="0"/>
                      </a:cubicBezTo>
                      <a:cubicBezTo>
                        <a:pt x="296" y="0"/>
                        <a:pt x="247" y="97"/>
                        <a:pt x="233" y="97"/>
                      </a:cubicBezTo>
                      <a:cubicBezTo>
                        <a:pt x="223" y="97"/>
                        <a:pt x="223" y="97"/>
                        <a:pt x="223" y="97"/>
                      </a:cubicBezTo>
                      <a:cubicBezTo>
                        <a:pt x="210" y="97"/>
                        <a:pt x="161" y="0"/>
                        <a:pt x="145" y="0"/>
                      </a:cubicBezTo>
                      <a:cubicBezTo>
                        <a:pt x="130" y="0"/>
                        <a:pt x="88" y="38"/>
                        <a:pt x="37" y="125"/>
                      </a:cubicBezTo>
                      <a:cubicBezTo>
                        <a:pt x="13" y="165"/>
                        <a:pt x="0" y="251"/>
                        <a:pt x="30" y="307"/>
                      </a:cubicBezTo>
                      <a:cubicBezTo>
                        <a:pt x="64" y="372"/>
                        <a:pt x="149" y="405"/>
                        <a:pt x="220" y="405"/>
                      </a:cubicBezTo>
                      <a:cubicBezTo>
                        <a:pt x="236" y="405"/>
                        <a:pt x="236" y="405"/>
                        <a:pt x="236" y="405"/>
                      </a:cubicBezTo>
                      <a:cubicBezTo>
                        <a:pt x="308" y="405"/>
                        <a:pt x="393" y="372"/>
                        <a:pt x="427" y="307"/>
                      </a:cubicBezTo>
                      <a:cubicBezTo>
                        <a:pt x="456" y="251"/>
                        <a:pt x="444" y="165"/>
                        <a:pt x="420" y="125"/>
                      </a:cubicBezTo>
                      <a:close/>
                    </a:path>
                  </a:pathLst>
                </a:custGeom>
                <a:solidFill>
                  <a:schemeClr val="bg1">
                    <a:lumMod val="50000"/>
                  </a:schemeClr>
                </a:solidFill>
                <a:ln w="9525" cap="flat" cmpd="sng" algn="ctr">
                  <a:noFill/>
                  <a:prstDash val="solid"/>
                  <a:headEnd type="none" w="med" len="med"/>
                  <a:tailEnd type="none" w="med" len="med"/>
                </a:ln>
                <a:effectLst/>
              </p:spPr>
              <p:txBody>
                <a:bodyPr vert="horz" wrap="square" lIns="91412" tIns="45706" rIns="91412" bIns="45706"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825" fontAlgn="base">
                    <a:spcBef>
                      <a:spcPct val="0"/>
                    </a:spcBef>
                    <a:spcAft>
                      <a:spcPct val="0"/>
                    </a:spcAft>
                    <a:defRPr/>
                  </a:pPr>
                  <a:endParaRPr lang="en-US" sz="2199" dirty="0">
                    <a:solidFill>
                      <a:srgbClr val="505050"/>
                    </a:solidFill>
                    <a:latin typeface="Segoe"/>
                  </a:endParaRPr>
                </a:p>
              </p:txBody>
            </p:sp>
            <p:sp>
              <p:nvSpPr>
                <p:cNvPr id="316" name="Oval 315"/>
                <p:cNvSpPr>
                  <a:spLocks noChangeArrowheads="1"/>
                </p:cNvSpPr>
                <p:nvPr/>
              </p:nvSpPr>
              <p:spPr bwMode="auto">
                <a:xfrm>
                  <a:off x="3979716" y="2985802"/>
                  <a:ext cx="45687" cy="45942"/>
                </a:xfrm>
                <a:prstGeom prst="ellipse">
                  <a:avLst/>
                </a:prstGeom>
                <a:solidFill>
                  <a:schemeClr val="bg1">
                    <a:lumMod val="50000"/>
                  </a:schemeClr>
                </a:solidFill>
                <a:ln w="9525" cap="flat" cmpd="sng" algn="ctr">
                  <a:noFill/>
                  <a:prstDash val="solid"/>
                  <a:headEnd type="none" w="med" len="med"/>
                  <a:tailEnd type="none" w="med" len="med"/>
                </a:ln>
                <a:effectLst/>
              </p:spPr>
              <p:txBody>
                <a:bodyPr vert="horz" wrap="square" lIns="91412" tIns="45706" rIns="91412" bIns="45706"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825" fontAlgn="base">
                    <a:spcBef>
                      <a:spcPct val="0"/>
                    </a:spcBef>
                    <a:spcAft>
                      <a:spcPct val="0"/>
                    </a:spcAft>
                    <a:defRPr/>
                  </a:pPr>
                  <a:endParaRPr lang="en-US" sz="2199" dirty="0">
                    <a:solidFill>
                      <a:srgbClr val="505050"/>
                    </a:solidFill>
                    <a:latin typeface="Segoe"/>
                  </a:endParaRPr>
                </a:p>
              </p:txBody>
            </p:sp>
            <p:sp>
              <p:nvSpPr>
                <p:cNvPr id="317" name="Freeform 316"/>
                <p:cNvSpPr>
                  <a:spLocks/>
                </p:cNvSpPr>
                <p:nvPr/>
              </p:nvSpPr>
              <p:spPr bwMode="auto">
                <a:xfrm>
                  <a:off x="3960963" y="3036944"/>
                  <a:ext cx="67509" cy="72877"/>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solidFill>
                  <a:schemeClr val="bg1">
                    <a:lumMod val="50000"/>
                  </a:schemeClr>
                </a:solidFill>
                <a:ln w="9525" cap="flat" cmpd="sng" algn="ctr">
                  <a:noFill/>
                  <a:prstDash val="solid"/>
                  <a:headEnd type="none" w="med" len="med"/>
                  <a:tailEnd type="none" w="med" len="med"/>
                </a:ln>
                <a:effectLst/>
              </p:spPr>
              <p:txBody>
                <a:bodyPr vert="horz" wrap="square" lIns="91412" tIns="45706" rIns="91412" bIns="45706"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825" fontAlgn="base">
                    <a:spcBef>
                      <a:spcPct val="0"/>
                    </a:spcBef>
                    <a:spcAft>
                      <a:spcPct val="0"/>
                    </a:spcAft>
                    <a:defRPr/>
                  </a:pPr>
                  <a:endParaRPr lang="en-US" sz="2199" dirty="0">
                    <a:solidFill>
                      <a:srgbClr val="505050"/>
                    </a:solidFill>
                    <a:latin typeface="Segoe"/>
                  </a:endParaRPr>
                </a:p>
              </p:txBody>
            </p:sp>
            <p:sp>
              <p:nvSpPr>
                <p:cNvPr id="318" name="Oval 317"/>
                <p:cNvSpPr>
                  <a:spLocks noChangeArrowheads="1"/>
                </p:cNvSpPr>
                <p:nvPr/>
              </p:nvSpPr>
              <p:spPr bwMode="auto">
                <a:xfrm flipH="1">
                  <a:off x="4126201" y="2985802"/>
                  <a:ext cx="45687" cy="45942"/>
                </a:xfrm>
                <a:prstGeom prst="ellipse">
                  <a:avLst/>
                </a:prstGeom>
                <a:solidFill>
                  <a:schemeClr val="bg1">
                    <a:lumMod val="50000"/>
                  </a:schemeClr>
                </a:solidFill>
                <a:ln w="9525" cap="flat" cmpd="sng" algn="ctr">
                  <a:noFill/>
                  <a:prstDash val="solid"/>
                  <a:headEnd type="none" w="med" len="med"/>
                  <a:tailEnd type="none" w="med" len="med"/>
                </a:ln>
                <a:effectLst/>
              </p:spPr>
              <p:txBody>
                <a:bodyPr vert="horz" wrap="square" lIns="91412" tIns="45706" rIns="91412" bIns="45706"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825" fontAlgn="base">
                    <a:spcBef>
                      <a:spcPct val="0"/>
                    </a:spcBef>
                    <a:spcAft>
                      <a:spcPct val="0"/>
                    </a:spcAft>
                    <a:defRPr/>
                  </a:pPr>
                  <a:endParaRPr lang="en-US" sz="2199" dirty="0">
                    <a:solidFill>
                      <a:srgbClr val="505050"/>
                    </a:solidFill>
                    <a:latin typeface="Segoe"/>
                  </a:endParaRPr>
                </a:p>
              </p:txBody>
            </p:sp>
            <p:sp>
              <p:nvSpPr>
                <p:cNvPr id="319" name="Freeform 318"/>
                <p:cNvSpPr>
                  <a:spLocks/>
                </p:cNvSpPr>
                <p:nvPr/>
              </p:nvSpPr>
              <p:spPr bwMode="auto">
                <a:xfrm flipH="1">
                  <a:off x="4123132" y="3036944"/>
                  <a:ext cx="67509" cy="72877"/>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solidFill>
                  <a:schemeClr val="bg1">
                    <a:lumMod val="50000"/>
                  </a:schemeClr>
                </a:solidFill>
                <a:ln w="9525" cap="flat" cmpd="sng" algn="ctr">
                  <a:noFill/>
                  <a:prstDash val="solid"/>
                  <a:headEnd type="none" w="med" len="med"/>
                  <a:tailEnd type="none" w="med" len="med"/>
                </a:ln>
                <a:effectLst/>
              </p:spPr>
              <p:txBody>
                <a:bodyPr vert="horz" wrap="square" lIns="91412" tIns="45706" rIns="91412" bIns="45706"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825" fontAlgn="base">
                    <a:spcBef>
                      <a:spcPct val="0"/>
                    </a:spcBef>
                    <a:spcAft>
                      <a:spcPct val="0"/>
                    </a:spcAft>
                    <a:defRPr/>
                  </a:pPr>
                  <a:endParaRPr lang="en-US" sz="2199" dirty="0">
                    <a:solidFill>
                      <a:srgbClr val="505050"/>
                    </a:solidFill>
                    <a:latin typeface="Segoe"/>
                  </a:endParaRPr>
                </a:p>
              </p:txBody>
            </p:sp>
          </p:grpSp>
          <p:pic>
            <p:nvPicPr>
              <p:cNvPr id="309" name="Picture 42"/>
              <p:cNvPicPr>
                <a:picLocks noChangeAspect="1"/>
              </p:cNvPicPr>
              <p:nvPr/>
            </p:nvPicPr>
            <p:blipFill>
              <a:blip r:embed="rId7"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bwMode="auto">
              <a:xfrm>
                <a:off x="3751205" y="3007090"/>
                <a:ext cx="292379" cy="216168"/>
              </a:xfrm>
              <a:prstGeom prst="rect">
                <a:avLst/>
              </a:prstGeom>
            </p:spPr>
          </p:pic>
          <p:grpSp>
            <p:nvGrpSpPr>
              <p:cNvPr id="310" name="Group 309"/>
              <p:cNvGrpSpPr/>
              <p:nvPr/>
            </p:nvGrpSpPr>
            <p:grpSpPr>
              <a:xfrm>
                <a:off x="4178056" y="2150348"/>
                <a:ext cx="454851" cy="261892"/>
                <a:chOff x="10810856" y="2000146"/>
                <a:chExt cx="542944" cy="312613"/>
              </a:xfrm>
            </p:grpSpPr>
            <p:pic>
              <p:nvPicPr>
                <p:cNvPr id="312" name="Picture 47" descr="C:\Users\sakuu\Documents\Ballmer MGX 2011\Tile Icons\Calendar.png"/>
                <p:cNvPicPr>
                  <a:picLocks noChangeAspect="1" noChangeArrowheads="1"/>
                </p:cNvPicPr>
                <p:nvPr/>
              </p:nvPicPr>
              <p:blipFill>
                <a:blip r:embed="rId8" cstate="print">
                  <a:duotone>
                    <a:schemeClr val="accent5">
                      <a:shade val="45000"/>
                      <a:satMod val="135000"/>
                    </a:schemeClr>
                    <a:prstClr val="white"/>
                  </a:duotone>
                  <a:extLst>
                    <a:ext uri="{BEBA8EAE-BF5A-486C-A8C5-ECC9F3942E4B}">
                      <a14:imgProps xmlns:a14="http://schemas.microsoft.com/office/drawing/2010/main">
                        <a14:imgLayer r:embed="rId9">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bwMode="black">
                <a:xfrm>
                  <a:off x="11038367" y="2022449"/>
                  <a:ext cx="315433" cy="29031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13" name="Freeform 113"/>
                <p:cNvSpPr>
                  <a:spLocks noEditPoints="1"/>
                </p:cNvSpPr>
                <p:nvPr/>
              </p:nvSpPr>
              <p:spPr bwMode="black">
                <a:xfrm>
                  <a:off x="10810856" y="2000146"/>
                  <a:ext cx="215583" cy="215583"/>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bg1">
                    <a:lumMod val="50000"/>
                  </a:schemeClr>
                </a:solidFill>
                <a:ln>
                  <a:noFill/>
                </a:ln>
                <a:extLst/>
              </p:spPr>
              <p:txBody>
                <a:bodyPr/>
                <a:lstStyle/>
                <a:p>
                  <a:pPr defTabSz="914126">
                    <a:defRPr/>
                  </a:pPr>
                  <a:endParaRPr lang="en-US" sz="1050" kern="0" dirty="0">
                    <a:solidFill>
                      <a:srgbClr val="000000"/>
                    </a:solidFill>
                    <a:latin typeface="Segoe UI"/>
                  </a:endParaRPr>
                </a:p>
              </p:txBody>
            </p:sp>
          </p:grpSp>
          <p:pic>
            <p:nvPicPr>
              <p:cNvPr id="311" name="Picture 310"/>
              <p:cNvPicPr>
                <a:picLocks noChangeAspect="1"/>
              </p:cNvPicPr>
              <p:nvPr/>
            </p:nvPicPr>
            <p:blipFill>
              <a:blip r:embed="rId10">
                <a:duotone>
                  <a:prstClr val="black"/>
                  <a:schemeClr val="accent5">
                    <a:tint val="45000"/>
                    <a:satMod val="400000"/>
                  </a:schemeClr>
                </a:duotone>
              </a:blip>
              <a:stretch>
                <a:fillRect/>
              </a:stretch>
            </p:blipFill>
            <p:spPr bwMode="auto">
              <a:xfrm>
                <a:off x="4189696" y="2540145"/>
                <a:ext cx="380979" cy="354244"/>
              </a:xfrm>
              <a:prstGeom prst="rect">
                <a:avLst/>
              </a:prstGeom>
              <a:noFill/>
              <a:ln>
                <a:noFill/>
              </a:ln>
            </p:spPr>
          </p:pic>
        </p:grpSp>
        <p:sp>
          <p:nvSpPr>
            <p:cNvPr id="297" name="TextBox 296"/>
            <p:cNvSpPr txBox="1"/>
            <p:nvPr/>
          </p:nvSpPr>
          <p:spPr>
            <a:xfrm>
              <a:off x="4264784" y="6375501"/>
              <a:ext cx="886461" cy="184666"/>
            </a:xfrm>
            <a:prstGeom prst="rect">
              <a:avLst/>
            </a:prstGeom>
          </p:spPr>
          <p:txBody>
            <a:bodyPr vert="horz" wrap="none" lIns="0" tIns="0" rIns="0" bIns="0" rtlCol="0" anchor="t">
              <a:noAutofit/>
            </a:bodyPr>
            <a:lstStyle/>
            <a:p>
              <a:pPr algn="ctr" defTabSz="1087779">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Social Media</a:t>
              </a:r>
            </a:p>
          </p:txBody>
        </p:sp>
      </p:grpSp>
      <p:sp>
        <p:nvSpPr>
          <p:cNvPr id="239" name="TextBox 238"/>
          <p:cNvSpPr txBox="1"/>
          <p:nvPr/>
        </p:nvSpPr>
        <p:spPr>
          <a:xfrm rot="3368437">
            <a:off x="6836749" y="4091248"/>
            <a:ext cx="1722589" cy="323619"/>
          </a:xfrm>
          <a:prstGeom prst="rect">
            <a:avLst/>
          </a:prstGeom>
        </p:spPr>
        <p:txBody>
          <a:bodyPr vert="horz" wrap="square" lIns="45708" tIns="45708" rIns="45708" bIns="45708" rtlCol="0" anchor="ctr">
            <a:noAutofit/>
          </a:bodyPr>
          <a:lstStyle/>
          <a:p>
            <a:pPr algn="ctr" defTabSz="1087779">
              <a:defRPr/>
            </a:pPr>
            <a:endPar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endParaRPr>
          </a:p>
        </p:txBody>
      </p:sp>
      <p:grpSp>
        <p:nvGrpSpPr>
          <p:cNvPr id="186" name="Group 185"/>
          <p:cNvGrpSpPr/>
          <p:nvPr/>
        </p:nvGrpSpPr>
        <p:grpSpPr>
          <a:xfrm>
            <a:off x="4737778" y="879924"/>
            <a:ext cx="4564584" cy="2961482"/>
            <a:chOff x="4646849" y="1000592"/>
            <a:chExt cx="4267442" cy="2962253"/>
          </a:xfrm>
        </p:grpSpPr>
        <p:sp>
          <p:nvSpPr>
            <p:cNvPr id="322" name="Oval 209"/>
            <p:cNvSpPr/>
            <p:nvPr/>
          </p:nvSpPr>
          <p:spPr bwMode="auto">
            <a:xfrm>
              <a:off x="4646849" y="1000592"/>
              <a:ext cx="4267442" cy="2696898"/>
            </a:xfrm>
            <a:custGeom>
              <a:avLst/>
              <a:gdLst/>
              <a:ahLst/>
              <a:cxnLst/>
              <a:rect l="l" t="t" r="r" b="b"/>
              <a:pathLst>
                <a:path w="8803468" h="5170759">
                  <a:moveTo>
                    <a:pt x="4909183" y="0"/>
                  </a:moveTo>
                  <a:cubicBezTo>
                    <a:pt x="6195616" y="0"/>
                    <a:pt x="7238475" y="1021136"/>
                    <a:pt x="7238475" y="2280772"/>
                  </a:cubicBezTo>
                  <a:cubicBezTo>
                    <a:pt x="7238475" y="2369141"/>
                    <a:pt x="7233343" y="2456337"/>
                    <a:pt x="7222091" y="2541933"/>
                  </a:cubicBezTo>
                  <a:cubicBezTo>
                    <a:pt x="7294788" y="2525239"/>
                    <a:pt x="7370149" y="2518684"/>
                    <a:pt x="7447004" y="2518684"/>
                  </a:cubicBezTo>
                  <a:cubicBezTo>
                    <a:pt x="8196160" y="2518684"/>
                    <a:pt x="8803468" y="3141396"/>
                    <a:pt x="8803468" y="3909552"/>
                  </a:cubicBezTo>
                  <a:cubicBezTo>
                    <a:pt x="8803468" y="4469014"/>
                    <a:pt x="8481324" y="4951325"/>
                    <a:pt x="8016221" y="5170759"/>
                  </a:cubicBezTo>
                  <a:lnTo>
                    <a:pt x="895411" y="5170759"/>
                  </a:lnTo>
                  <a:cubicBezTo>
                    <a:pt x="372663" y="4963354"/>
                    <a:pt x="0" y="4399621"/>
                    <a:pt x="0" y="3737717"/>
                  </a:cubicBezTo>
                  <a:cubicBezTo>
                    <a:pt x="0" y="2972099"/>
                    <a:pt x="498598" y="2337829"/>
                    <a:pt x="1150481" y="2231184"/>
                  </a:cubicBezTo>
                  <a:cubicBezTo>
                    <a:pt x="1172083" y="1693806"/>
                    <a:pt x="1604866" y="1266237"/>
                    <a:pt x="2135045" y="1266237"/>
                  </a:cubicBezTo>
                  <a:cubicBezTo>
                    <a:pt x="2360210" y="1266237"/>
                    <a:pt x="2567805" y="1343357"/>
                    <a:pt x="2731785" y="1476336"/>
                  </a:cubicBezTo>
                  <a:cubicBezTo>
                    <a:pt x="3061724" y="613163"/>
                    <a:pt x="3912322" y="0"/>
                    <a:pt x="4909183" y="0"/>
                  </a:cubicBezTo>
                  <a:close/>
                </a:path>
              </a:pathLst>
            </a:cu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850609">
                <a:defRPr/>
              </a:pPr>
              <a:endParaRPr lang="en-US" sz="1200" kern="0" dirty="0">
                <a:solidFill>
                  <a:srgbClr val="FFFFFF"/>
                </a:solidFill>
                <a:latin typeface="Segoe UI Semibold" panose="020B0702040204020203" pitchFamily="34" charset="0"/>
                <a:cs typeface="Segoe UI Semibold" panose="020B0702040204020203" pitchFamily="34" charset="0"/>
              </a:endParaRPr>
            </a:p>
          </p:txBody>
        </p:sp>
        <p:sp>
          <p:nvSpPr>
            <p:cNvPr id="323" name="TextBox 322"/>
            <p:cNvSpPr txBox="1"/>
            <p:nvPr/>
          </p:nvSpPr>
          <p:spPr>
            <a:xfrm>
              <a:off x="5084724" y="3697491"/>
              <a:ext cx="3464098" cy="265354"/>
            </a:xfrm>
            <a:prstGeom prst="rect">
              <a:avLst/>
            </a:prstGeom>
          </p:spPr>
          <p:txBody>
            <a:bodyPr vert="horz" wrap="square" lIns="45708" tIns="45708" rIns="45708" bIns="45708" rtlCol="0" anchor="ctr">
              <a:noAutofit/>
            </a:bodyPr>
            <a:lstStyle/>
            <a:p>
              <a:pPr algn="ctr" defTabSz="1087779">
                <a:defRPr/>
              </a:pPr>
              <a:r>
                <a:rPr lang="en-US" sz="1600" kern="0" dirty="0">
                  <a:solidFill>
                    <a:srgbClr val="505050"/>
                  </a:solidFill>
                  <a:latin typeface="Segoe UI Semibold" panose="020B0702040204020203" pitchFamily="34" charset="0"/>
                  <a:ea typeface="Segoe UI" pitchFamily="34" charset="0"/>
                  <a:cs typeface="Segoe UI Semibold" panose="020B0702040204020203" pitchFamily="34" charset="0"/>
                </a:rPr>
                <a:t>Productivity Cloud</a:t>
              </a:r>
            </a:p>
          </p:txBody>
        </p:sp>
      </p:grpSp>
      <p:sp>
        <p:nvSpPr>
          <p:cNvPr id="191" name="TextBox 190"/>
          <p:cNvSpPr txBox="1"/>
          <p:nvPr/>
        </p:nvSpPr>
        <p:spPr>
          <a:xfrm>
            <a:off x="8008427" y="2684330"/>
            <a:ext cx="787210" cy="321150"/>
          </a:xfrm>
          <a:prstGeom prst="rect">
            <a:avLst/>
          </a:prstGeom>
        </p:spPr>
        <p:txBody>
          <a:bodyPr vert="horz" wrap="square" lIns="45708" tIns="45708" rIns="45708" bIns="45708" rtlCol="0" anchor="ctr">
            <a:noAutofit/>
          </a:bodyPr>
          <a:lstStyle/>
          <a:p>
            <a:pPr algn="ctr" defTabSz="1087779">
              <a:defRPr/>
            </a:pPr>
            <a:endPar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endParaRPr>
          </a:p>
        </p:txBody>
      </p:sp>
      <p:sp>
        <p:nvSpPr>
          <p:cNvPr id="192" name="TextBox 191"/>
          <p:cNvSpPr txBox="1"/>
          <p:nvPr/>
        </p:nvSpPr>
        <p:spPr>
          <a:xfrm>
            <a:off x="5085233" y="3078569"/>
            <a:ext cx="577715" cy="321498"/>
          </a:xfrm>
          <a:prstGeom prst="rect">
            <a:avLst/>
          </a:prstGeom>
        </p:spPr>
        <p:txBody>
          <a:bodyPr vert="horz" wrap="square" lIns="45708" tIns="45708" rIns="45708" bIns="45708"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kern="0" dirty="0">
                <a:solidFill>
                  <a:prstClr val="white"/>
                </a:solidFill>
              </a:rPr>
              <a:t>Smart Agents</a:t>
            </a:r>
          </a:p>
        </p:txBody>
      </p:sp>
      <p:grpSp>
        <p:nvGrpSpPr>
          <p:cNvPr id="199" name="Group 198"/>
          <p:cNvGrpSpPr/>
          <p:nvPr/>
        </p:nvGrpSpPr>
        <p:grpSpPr>
          <a:xfrm>
            <a:off x="7677409" y="1772697"/>
            <a:ext cx="602572" cy="688781"/>
            <a:chOff x="6786468" y="4155554"/>
            <a:chExt cx="602729" cy="688960"/>
          </a:xfrm>
        </p:grpSpPr>
        <p:pic>
          <p:nvPicPr>
            <p:cNvPr id="283" name="Picture 2" descr="Deploy Microsoft Dynamics AX on Azure"/>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901478" y="4155554"/>
              <a:ext cx="372712" cy="368378"/>
            </a:xfrm>
            <a:prstGeom prst="rect">
              <a:avLst/>
            </a:prstGeom>
            <a:noFill/>
            <a:extLst>
              <a:ext uri="{909E8E84-426E-40DD-AFC4-6F175D3DCCD1}">
                <a14:hiddenFill xmlns:a14="http://schemas.microsoft.com/office/drawing/2010/main">
                  <a:solidFill>
                    <a:srgbClr val="FFFFFF"/>
                  </a:solidFill>
                </a14:hiddenFill>
              </a:ext>
            </a:extLst>
          </p:spPr>
        </p:pic>
        <p:sp>
          <p:nvSpPr>
            <p:cNvPr id="286" name="TextBox 285"/>
            <p:cNvSpPr txBox="1"/>
            <p:nvPr/>
          </p:nvSpPr>
          <p:spPr>
            <a:xfrm>
              <a:off x="6786468" y="4536737"/>
              <a:ext cx="602729" cy="307777"/>
            </a:xfrm>
            <a:prstGeom prst="rect">
              <a:avLst/>
            </a:prstGeom>
          </p:spPr>
          <p:txBody>
            <a:bodyPr vert="horz" wrap="none" lIns="0" tIns="0" rIns="0" bIns="0" rtlCol="0" anchor="ctr">
              <a:noAutofit/>
            </a:bodyPr>
            <a:lstStyle/>
            <a:p>
              <a:pPr algn="ctr" defTabSz="1087779">
                <a:defRPr/>
              </a:pPr>
              <a:r>
                <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rPr>
                <a:t>Dynamics </a:t>
              </a:r>
              <a:br>
                <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rPr>
              </a:br>
              <a:r>
                <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rPr>
                <a:t>Marketing/AX</a:t>
              </a:r>
            </a:p>
          </p:txBody>
        </p:sp>
      </p:grpSp>
      <p:grpSp>
        <p:nvGrpSpPr>
          <p:cNvPr id="201" name="Group 200"/>
          <p:cNvGrpSpPr/>
          <p:nvPr/>
        </p:nvGrpSpPr>
        <p:grpSpPr>
          <a:xfrm>
            <a:off x="6444592" y="1233937"/>
            <a:ext cx="694320" cy="587979"/>
            <a:chOff x="6778590" y="4958763"/>
            <a:chExt cx="694501" cy="588132"/>
          </a:xfrm>
        </p:grpSpPr>
        <p:sp>
          <p:nvSpPr>
            <p:cNvPr id="280" name="TextBox 279"/>
            <p:cNvSpPr txBox="1"/>
            <p:nvPr/>
          </p:nvSpPr>
          <p:spPr>
            <a:xfrm>
              <a:off x="6778590" y="5393007"/>
              <a:ext cx="694501" cy="153888"/>
            </a:xfrm>
            <a:prstGeom prst="rect">
              <a:avLst/>
            </a:prstGeom>
          </p:spPr>
          <p:txBody>
            <a:bodyPr vert="horz" wrap="square" lIns="0" tIns="0" rIns="0" bIns="0"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kern="0" dirty="0">
                  <a:solidFill>
                    <a:prstClr val="white"/>
                  </a:solidFill>
                </a:rPr>
                <a:t>CRM Online</a:t>
              </a:r>
            </a:p>
          </p:txBody>
        </p:sp>
        <p:pic>
          <p:nvPicPr>
            <p:cNvPr id="282" name="Picture 281"/>
            <p:cNvPicPr>
              <a:picLocks noChangeAspect="1"/>
            </p:cNvPicPr>
            <p:nvPr/>
          </p:nvPicPr>
          <p:blipFill>
            <a:blip r:embed="rId12"/>
            <a:stretch>
              <a:fillRect/>
            </a:stretch>
          </p:blipFill>
          <p:spPr>
            <a:xfrm>
              <a:off x="6933148" y="4958763"/>
              <a:ext cx="327217" cy="387206"/>
            </a:xfrm>
            <a:prstGeom prst="rect">
              <a:avLst/>
            </a:prstGeom>
          </p:spPr>
        </p:pic>
      </p:grpSp>
      <p:grpSp>
        <p:nvGrpSpPr>
          <p:cNvPr id="205" name="Group 204"/>
          <p:cNvGrpSpPr/>
          <p:nvPr/>
        </p:nvGrpSpPr>
        <p:grpSpPr>
          <a:xfrm>
            <a:off x="8290317" y="2694203"/>
            <a:ext cx="661869" cy="566201"/>
            <a:chOff x="6721210" y="2977753"/>
            <a:chExt cx="662041" cy="566348"/>
          </a:xfrm>
        </p:grpSpPr>
        <p:sp>
          <p:nvSpPr>
            <p:cNvPr id="245" name="Rectangle 244"/>
            <p:cNvSpPr/>
            <p:nvPr/>
          </p:nvSpPr>
          <p:spPr>
            <a:xfrm>
              <a:off x="6914124" y="3008521"/>
              <a:ext cx="332963" cy="3488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914126">
                <a:defRPr/>
              </a:pPr>
              <a:endParaRPr lang="en-US" sz="1200" kern="0" dirty="0" err="1">
                <a:solidFill>
                  <a:sysClr val="windowText" lastClr="000000"/>
                </a:solidFill>
                <a:latin typeface="Segoe UI"/>
              </a:endParaRPr>
            </a:p>
          </p:txBody>
        </p:sp>
        <p:grpSp>
          <p:nvGrpSpPr>
            <p:cNvPr id="246" name="Group 245"/>
            <p:cNvGrpSpPr/>
            <p:nvPr/>
          </p:nvGrpSpPr>
          <p:grpSpPr>
            <a:xfrm>
              <a:off x="6721210" y="2977753"/>
              <a:ext cx="662041" cy="566348"/>
              <a:chOff x="6332079" y="3918572"/>
              <a:chExt cx="662041" cy="566348"/>
            </a:xfrm>
          </p:grpSpPr>
          <p:pic>
            <p:nvPicPr>
              <p:cNvPr id="261" name="Picture 260"/>
              <p:cNvPicPr>
                <a:picLocks noChangeAspect="1"/>
              </p:cNvPicPr>
              <p:nvPr/>
            </p:nvPicPr>
            <p:blipFill>
              <a:blip r:embed="rId13">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6452395" y="3918572"/>
                <a:ext cx="414076" cy="414076"/>
              </a:xfrm>
              <a:prstGeom prst="rect">
                <a:avLst/>
              </a:prstGeom>
            </p:spPr>
          </p:pic>
          <p:sp>
            <p:nvSpPr>
              <p:cNvPr id="271" name="TextBox 270"/>
              <p:cNvSpPr txBox="1"/>
              <p:nvPr/>
            </p:nvSpPr>
            <p:spPr>
              <a:xfrm>
                <a:off x="6332079" y="4331032"/>
                <a:ext cx="662041" cy="153888"/>
              </a:xfrm>
              <a:prstGeom prst="rect">
                <a:avLst/>
              </a:prstGeom>
            </p:spPr>
            <p:txBody>
              <a:bodyPr vert="horz" wrap="none" lIns="0" tIns="0" rIns="0" bIns="0" rtlCol="0" anchor="ctr">
                <a:spAutoFit/>
              </a:bodyPr>
              <a:lstStyle/>
              <a:p>
                <a:pPr algn="ctr" defTabSz="1087779">
                  <a:defRPr/>
                </a:pPr>
                <a:r>
                  <a:rPr lang="en-US" sz="1000" kern="0" dirty="0" err="1">
                    <a:solidFill>
                      <a:prstClr val="white"/>
                    </a:solidFill>
                    <a:latin typeface="Segoe UI Semibold" panose="020B0702040204020203" pitchFamily="34" charset="0"/>
                    <a:ea typeface="Segoe UI" pitchFamily="34" charset="0"/>
                    <a:cs typeface="Segoe UI Semibold" panose="020B0702040204020203" pitchFamily="34" charset="0"/>
                  </a:rPr>
                  <a:t>PowerApps</a:t>
                </a:r>
                <a:endPar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endParaRPr>
              </a:p>
            </p:txBody>
          </p:sp>
        </p:grpSp>
      </p:grpSp>
      <p:grpSp>
        <p:nvGrpSpPr>
          <p:cNvPr id="206" name="Group 205"/>
          <p:cNvGrpSpPr/>
          <p:nvPr/>
        </p:nvGrpSpPr>
        <p:grpSpPr>
          <a:xfrm>
            <a:off x="5545314" y="1597908"/>
            <a:ext cx="613011" cy="875113"/>
            <a:chOff x="4928969" y="2462281"/>
            <a:chExt cx="613171" cy="875341"/>
          </a:xfrm>
        </p:grpSpPr>
        <p:pic>
          <p:nvPicPr>
            <p:cNvPr id="243" name="Picture 242"/>
            <p:cNvPicPr>
              <a:picLocks noChangeAspect="1"/>
            </p:cNvPicPr>
            <p:nvPr/>
          </p:nvPicPr>
          <p:blipFill>
            <a:blip r:embed="rId14">
              <a:biLevel thresh="25000"/>
              <a:extLst>
                <a:ext uri="{28A0092B-C50C-407E-A947-70E740481C1C}">
                  <a14:useLocalDpi xmlns:a14="http://schemas.microsoft.com/office/drawing/2010/main" val="0"/>
                </a:ext>
              </a:extLst>
            </a:blip>
            <a:stretch>
              <a:fillRect/>
            </a:stretch>
          </p:blipFill>
          <p:spPr>
            <a:xfrm>
              <a:off x="4928969" y="2462281"/>
              <a:ext cx="603471" cy="603471"/>
            </a:xfrm>
            <a:prstGeom prst="rect">
              <a:avLst/>
            </a:prstGeom>
          </p:spPr>
        </p:pic>
        <p:sp>
          <p:nvSpPr>
            <p:cNvPr id="244" name="TextBox 243"/>
            <p:cNvSpPr txBox="1"/>
            <p:nvPr/>
          </p:nvSpPr>
          <p:spPr>
            <a:xfrm>
              <a:off x="4949029" y="3029845"/>
              <a:ext cx="593111" cy="307777"/>
            </a:xfrm>
            <a:prstGeom prst="rect">
              <a:avLst/>
            </a:prstGeom>
          </p:spPr>
          <p:txBody>
            <a:bodyPr vert="horz" wrap="none" lIns="0" tIns="0" rIns="0" bIns="0" rtlCol="0" anchor="ctr">
              <a:spAutoFit/>
            </a:bodyPr>
            <a:lstStyle/>
            <a:p>
              <a:pPr algn="ctr" defTabSz="1087779">
                <a:defRPr/>
              </a:pPr>
              <a:r>
                <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rPr>
                <a:t>Cognitive </a:t>
              </a:r>
            </a:p>
            <a:p>
              <a:pPr algn="ctr" defTabSz="1087779">
                <a:defRPr/>
              </a:pPr>
              <a:r>
                <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rPr>
                <a:t>Services</a:t>
              </a:r>
            </a:p>
          </p:txBody>
        </p:sp>
      </p:grpSp>
      <p:sp>
        <p:nvSpPr>
          <p:cNvPr id="207" name="TextBox 206"/>
          <p:cNvSpPr txBox="1"/>
          <p:nvPr/>
        </p:nvSpPr>
        <p:spPr>
          <a:xfrm>
            <a:off x="6219085" y="2020186"/>
            <a:ext cx="1073312" cy="180706"/>
          </a:xfrm>
          <a:prstGeom prst="rect">
            <a:avLst/>
          </a:prstGeom>
        </p:spPr>
        <p:txBody>
          <a:bodyPr vert="horz" wrap="square" lIns="45708" tIns="45708" rIns="45708" bIns="45708"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kern="0" dirty="0">
                <a:solidFill>
                  <a:prstClr val="white"/>
                </a:solidFill>
              </a:rPr>
              <a:t>Personal Graph</a:t>
            </a:r>
          </a:p>
        </p:txBody>
      </p:sp>
      <p:sp>
        <p:nvSpPr>
          <p:cNvPr id="208" name="TextBox 207"/>
          <p:cNvSpPr txBox="1"/>
          <p:nvPr/>
        </p:nvSpPr>
        <p:spPr>
          <a:xfrm>
            <a:off x="6295920" y="2364909"/>
            <a:ext cx="1073312" cy="180706"/>
          </a:xfrm>
          <a:prstGeom prst="rect">
            <a:avLst/>
          </a:prstGeom>
        </p:spPr>
        <p:txBody>
          <a:bodyPr vert="horz" wrap="square" lIns="45708" tIns="45708" rIns="45708" bIns="45708"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kern="0" dirty="0">
                <a:solidFill>
                  <a:prstClr val="white"/>
                </a:solidFill>
              </a:rPr>
              <a:t>Office Graph</a:t>
            </a:r>
          </a:p>
        </p:txBody>
      </p:sp>
      <p:grpSp>
        <p:nvGrpSpPr>
          <p:cNvPr id="209" name="Group 208"/>
          <p:cNvGrpSpPr/>
          <p:nvPr/>
        </p:nvGrpSpPr>
        <p:grpSpPr>
          <a:xfrm>
            <a:off x="7542171" y="2747608"/>
            <a:ext cx="521621" cy="622357"/>
            <a:chOff x="5545272" y="2267453"/>
            <a:chExt cx="521757" cy="622519"/>
          </a:xfrm>
        </p:grpSpPr>
        <p:sp>
          <p:nvSpPr>
            <p:cNvPr id="231" name="TextBox 230"/>
            <p:cNvSpPr txBox="1"/>
            <p:nvPr/>
          </p:nvSpPr>
          <p:spPr>
            <a:xfrm>
              <a:off x="5545272" y="2691064"/>
              <a:ext cx="521757" cy="198908"/>
            </a:xfrm>
            <a:prstGeom prst="rect">
              <a:avLst/>
            </a:prstGeom>
          </p:spPr>
          <p:txBody>
            <a:bodyPr vert="horz" wrap="square" lIns="45708" tIns="45708" rIns="45708" bIns="45708"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kern="0" dirty="0">
                  <a:solidFill>
                    <a:prstClr val="white"/>
                  </a:solidFill>
                </a:rPr>
                <a:t>Bing</a:t>
              </a:r>
            </a:p>
          </p:txBody>
        </p:sp>
        <p:pic>
          <p:nvPicPr>
            <p:cNvPr id="242" name="Picture 241"/>
            <p:cNvPicPr>
              <a:picLocks noChangeAspect="1"/>
            </p:cNvPicPr>
            <p:nvPr/>
          </p:nvPicPr>
          <p:blipFill>
            <a:blip r:embed="rId15"/>
            <a:stretch>
              <a:fillRect/>
            </a:stretch>
          </p:blipFill>
          <p:spPr>
            <a:xfrm>
              <a:off x="5608585" y="2267453"/>
              <a:ext cx="382985" cy="391892"/>
            </a:xfrm>
            <a:prstGeom prst="rect">
              <a:avLst/>
            </a:prstGeom>
          </p:spPr>
        </p:pic>
      </p:grpSp>
      <p:grpSp>
        <p:nvGrpSpPr>
          <p:cNvPr id="210" name="Group 209"/>
          <p:cNvGrpSpPr/>
          <p:nvPr/>
        </p:nvGrpSpPr>
        <p:grpSpPr>
          <a:xfrm>
            <a:off x="7170362" y="1093944"/>
            <a:ext cx="683008" cy="538652"/>
            <a:chOff x="5313364" y="3758616"/>
            <a:chExt cx="715691" cy="538792"/>
          </a:xfrm>
        </p:grpSpPr>
        <p:sp>
          <p:nvSpPr>
            <p:cNvPr id="229" name="TextBox 228"/>
            <p:cNvSpPr txBox="1"/>
            <p:nvPr/>
          </p:nvSpPr>
          <p:spPr>
            <a:xfrm>
              <a:off x="5313364" y="4107912"/>
              <a:ext cx="715691" cy="189496"/>
            </a:xfrm>
            <a:prstGeom prst="rect">
              <a:avLst/>
            </a:prstGeom>
          </p:spPr>
          <p:txBody>
            <a:bodyPr vert="horz" wrap="square" lIns="91416" tIns="91416" rIns="91416" bIns="91416" rtlCol="0" anchor="ctr">
              <a:noAutofit/>
            </a:bodyPr>
            <a:lstStyle/>
            <a:p>
              <a:pPr algn="ctr" defTabSz="914126">
                <a:defRPr/>
              </a:pPr>
              <a:r>
                <a:rPr lang="en-US" sz="1000" kern="0" dirty="0" err="1">
                  <a:solidFill>
                    <a:prstClr val="white"/>
                  </a:solidFill>
                  <a:latin typeface="Segoe UI Semibold" panose="020B0702040204020203" pitchFamily="34" charset="0"/>
                  <a:cs typeface="Segoe UI Semibold" panose="020B0702040204020203" pitchFamily="34" charset="0"/>
                </a:rPr>
                <a:t>PowerBI</a:t>
              </a:r>
              <a:endParaRPr lang="en-US" sz="1000" kern="0" dirty="0">
                <a:solidFill>
                  <a:prstClr val="white"/>
                </a:solidFill>
                <a:latin typeface="Segoe UI Semibold" panose="020B0702040204020203" pitchFamily="34" charset="0"/>
                <a:cs typeface="Segoe UI Semibold" panose="020B0702040204020203" pitchFamily="34" charset="0"/>
              </a:endParaRPr>
            </a:p>
          </p:txBody>
        </p:sp>
        <p:pic>
          <p:nvPicPr>
            <p:cNvPr id="230" name="Picture 229"/>
            <p:cNvPicPr>
              <a:picLocks noChangeAspect="1"/>
            </p:cNvPicPr>
            <p:nvPr/>
          </p:nvPicPr>
          <p:blipFill>
            <a:blip r:embed="rId16">
              <a:lum bright="70000" contrast="-70000"/>
            </a:blip>
            <a:stretch>
              <a:fillRect/>
            </a:stretch>
          </p:blipFill>
          <p:spPr>
            <a:xfrm>
              <a:off x="5441238" y="3758616"/>
              <a:ext cx="459943" cy="353647"/>
            </a:xfrm>
            <a:prstGeom prst="rect">
              <a:avLst/>
            </a:prstGeom>
          </p:spPr>
        </p:pic>
      </p:grpSp>
      <p:grpSp>
        <p:nvGrpSpPr>
          <p:cNvPr id="211" name="Group 210"/>
          <p:cNvGrpSpPr/>
          <p:nvPr/>
        </p:nvGrpSpPr>
        <p:grpSpPr>
          <a:xfrm>
            <a:off x="5912645" y="2717664"/>
            <a:ext cx="694320" cy="587979"/>
            <a:chOff x="6864062" y="4991160"/>
            <a:chExt cx="694501" cy="588132"/>
          </a:xfrm>
        </p:grpSpPr>
        <p:sp>
          <p:nvSpPr>
            <p:cNvPr id="217" name="TextBox 216"/>
            <p:cNvSpPr txBox="1"/>
            <p:nvPr/>
          </p:nvSpPr>
          <p:spPr>
            <a:xfrm>
              <a:off x="6864062" y="5425404"/>
              <a:ext cx="694501" cy="153888"/>
            </a:xfrm>
            <a:prstGeom prst="rect">
              <a:avLst/>
            </a:prstGeom>
          </p:spPr>
          <p:txBody>
            <a:bodyPr vert="horz" wrap="square" lIns="0" tIns="0" rIns="0" bIns="0"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kern="0" dirty="0">
                  <a:solidFill>
                    <a:prstClr val="white"/>
                  </a:solidFill>
                </a:rPr>
                <a:t>Office 365</a:t>
              </a:r>
            </a:p>
          </p:txBody>
        </p:sp>
        <p:pic>
          <p:nvPicPr>
            <p:cNvPr id="218" name="Picture 217"/>
            <p:cNvPicPr>
              <a:picLocks noChangeAspect="1"/>
            </p:cNvPicPr>
            <p:nvPr/>
          </p:nvPicPr>
          <p:blipFill>
            <a:blip r:embed="rId12"/>
            <a:stretch>
              <a:fillRect/>
            </a:stretch>
          </p:blipFill>
          <p:spPr>
            <a:xfrm>
              <a:off x="7018620" y="4991160"/>
              <a:ext cx="327217" cy="387206"/>
            </a:xfrm>
            <a:prstGeom prst="rect">
              <a:avLst/>
            </a:prstGeom>
          </p:spPr>
        </p:pic>
      </p:grpSp>
      <p:grpSp>
        <p:nvGrpSpPr>
          <p:cNvPr id="212" name="Group 211"/>
          <p:cNvGrpSpPr/>
          <p:nvPr/>
        </p:nvGrpSpPr>
        <p:grpSpPr>
          <a:xfrm>
            <a:off x="6715679" y="2746337"/>
            <a:ext cx="639432" cy="665959"/>
            <a:chOff x="3526638" y="3914961"/>
            <a:chExt cx="639599" cy="666132"/>
          </a:xfrm>
        </p:grpSpPr>
        <p:pic>
          <p:nvPicPr>
            <p:cNvPr id="213" name="Picture 212"/>
            <p:cNvPicPr>
              <a:picLocks noChangeAspect="1"/>
            </p:cNvPicPr>
            <p:nvPr/>
          </p:nvPicPr>
          <p:blipFill>
            <a:blip r:embed="rId17">
              <a:biLevel thresh="25000"/>
              <a:extLst>
                <a:ext uri="{28A0092B-C50C-407E-A947-70E740481C1C}">
                  <a14:useLocalDpi xmlns:a14="http://schemas.microsoft.com/office/drawing/2010/main" val="0"/>
                </a:ext>
              </a:extLst>
            </a:blip>
            <a:stretch>
              <a:fillRect/>
            </a:stretch>
          </p:blipFill>
          <p:spPr>
            <a:xfrm>
              <a:off x="3631257" y="3914961"/>
              <a:ext cx="454977" cy="454977"/>
            </a:xfrm>
            <a:prstGeom prst="rect">
              <a:avLst/>
            </a:prstGeom>
          </p:spPr>
        </p:pic>
        <p:sp>
          <p:nvSpPr>
            <p:cNvPr id="216" name="TextBox 215"/>
            <p:cNvSpPr txBox="1"/>
            <p:nvPr/>
          </p:nvSpPr>
          <p:spPr>
            <a:xfrm>
              <a:off x="3526638" y="4427205"/>
              <a:ext cx="639599" cy="153888"/>
            </a:xfrm>
            <a:prstGeom prst="rect">
              <a:avLst/>
            </a:prstGeom>
          </p:spPr>
          <p:txBody>
            <a:bodyPr vert="horz" wrap="none" lIns="0" tIns="0" rIns="0" bIns="0" rtlCol="0" anchor="ctr">
              <a:spAutoFit/>
            </a:bodyPr>
            <a:lstStyle/>
            <a:p>
              <a:pPr algn="ctr" defTabSz="1087779">
                <a:defRPr/>
              </a:pPr>
              <a:r>
                <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rPr>
                <a:t>Sharepoint</a:t>
              </a:r>
            </a:p>
          </p:txBody>
        </p:sp>
      </p:grpSp>
      <p:grpSp>
        <p:nvGrpSpPr>
          <p:cNvPr id="379" name="Group 378"/>
          <p:cNvGrpSpPr/>
          <p:nvPr/>
        </p:nvGrpSpPr>
        <p:grpSpPr>
          <a:xfrm>
            <a:off x="3444864" y="4193513"/>
            <a:ext cx="4595666" cy="2663592"/>
            <a:chOff x="2173294" y="2508387"/>
            <a:chExt cx="4596863" cy="2664286"/>
          </a:xfrm>
        </p:grpSpPr>
        <p:sp>
          <p:nvSpPr>
            <p:cNvPr id="380" name="Oval 209"/>
            <p:cNvSpPr/>
            <p:nvPr/>
          </p:nvSpPr>
          <p:spPr bwMode="auto">
            <a:xfrm>
              <a:off x="2173294" y="2508387"/>
              <a:ext cx="4596863" cy="2440080"/>
            </a:xfrm>
            <a:custGeom>
              <a:avLst/>
              <a:gdLst/>
              <a:ahLst/>
              <a:cxnLst/>
              <a:rect l="l" t="t" r="r" b="b"/>
              <a:pathLst>
                <a:path w="8803468" h="5170759">
                  <a:moveTo>
                    <a:pt x="4909183" y="0"/>
                  </a:moveTo>
                  <a:cubicBezTo>
                    <a:pt x="6195616" y="0"/>
                    <a:pt x="7238475" y="1021136"/>
                    <a:pt x="7238475" y="2280772"/>
                  </a:cubicBezTo>
                  <a:cubicBezTo>
                    <a:pt x="7238475" y="2369141"/>
                    <a:pt x="7233343" y="2456337"/>
                    <a:pt x="7222091" y="2541933"/>
                  </a:cubicBezTo>
                  <a:cubicBezTo>
                    <a:pt x="7294788" y="2525239"/>
                    <a:pt x="7370149" y="2518684"/>
                    <a:pt x="7447004" y="2518684"/>
                  </a:cubicBezTo>
                  <a:cubicBezTo>
                    <a:pt x="8196160" y="2518684"/>
                    <a:pt x="8803468" y="3141396"/>
                    <a:pt x="8803468" y="3909552"/>
                  </a:cubicBezTo>
                  <a:cubicBezTo>
                    <a:pt x="8803468" y="4469014"/>
                    <a:pt x="8481324" y="4951325"/>
                    <a:pt x="8016221" y="5170759"/>
                  </a:cubicBezTo>
                  <a:lnTo>
                    <a:pt x="895411" y="5170759"/>
                  </a:lnTo>
                  <a:cubicBezTo>
                    <a:pt x="372663" y="4963354"/>
                    <a:pt x="0" y="4399621"/>
                    <a:pt x="0" y="3737717"/>
                  </a:cubicBezTo>
                  <a:cubicBezTo>
                    <a:pt x="0" y="2972099"/>
                    <a:pt x="498598" y="2337829"/>
                    <a:pt x="1150481" y="2231184"/>
                  </a:cubicBezTo>
                  <a:cubicBezTo>
                    <a:pt x="1172083" y="1693806"/>
                    <a:pt x="1604866" y="1266237"/>
                    <a:pt x="2135045" y="1266237"/>
                  </a:cubicBezTo>
                  <a:cubicBezTo>
                    <a:pt x="2360210" y="1266237"/>
                    <a:pt x="2567805" y="1343357"/>
                    <a:pt x="2731785" y="1476336"/>
                  </a:cubicBezTo>
                  <a:cubicBezTo>
                    <a:pt x="3061724" y="613163"/>
                    <a:pt x="3912322" y="0"/>
                    <a:pt x="4909183" y="0"/>
                  </a:cubicBezTo>
                  <a:close/>
                </a:path>
              </a:pathLst>
            </a:cu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850609">
                <a:defRPr/>
              </a:pPr>
              <a:endParaRPr lang="en-US" sz="1200" kern="0" dirty="0">
                <a:solidFill>
                  <a:srgbClr val="FFFFFF"/>
                </a:solidFill>
                <a:latin typeface="Segoe UI Semibold" panose="020B0702040204020203" pitchFamily="34" charset="0"/>
                <a:cs typeface="Segoe UI Semibold" panose="020B0702040204020203" pitchFamily="34" charset="0"/>
              </a:endParaRPr>
            </a:p>
          </p:txBody>
        </p:sp>
        <p:sp>
          <p:nvSpPr>
            <p:cNvPr id="381" name="TextBox 380"/>
            <p:cNvSpPr txBox="1"/>
            <p:nvPr/>
          </p:nvSpPr>
          <p:spPr>
            <a:xfrm>
              <a:off x="2701252" y="4948467"/>
              <a:ext cx="3721526" cy="224206"/>
            </a:xfrm>
            <a:prstGeom prst="rect">
              <a:avLst/>
            </a:prstGeom>
          </p:spPr>
          <p:txBody>
            <a:bodyPr vert="horz" wrap="square" lIns="45708" tIns="45708" rIns="45708" bIns="45708" rtlCol="0" anchor="ctr">
              <a:noAutofit/>
            </a:bodyPr>
            <a:lstStyle/>
            <a:p>
              <a:pPr algn="ctr" defTabSz="1087779">
                <a:defRPr/>
              </a:pPr>
              <a:r>
                <a:rPr lang="en-US" sz="1600" kern="0" dirty="0">
                  <a:solidFill>
                    <a:srgbClr val="505050"/>
                  </a:solidFill>
                  <a:latin typeface="Segoe UI Semibold" panose="020B0702040204020203" pitchFamily="34" charset="0"/>
                  <a:ea typeface="Segoe UI" pitchFamily="34" charset="0"/>
                  <a:cs typeface="Segoe UI Semibold" panose="020B0702040204020203" pitchFamily="34" charset="0"/>
                </a:rPr>
                <a:t>Intelligent Cloud</a:t>
              </a:r>
            </a:p>
          </p:txBody>
        </p:sp>
        <p:pic>
          <p:nvPicPr>
            <p:cNvPr id="382" name="Picture 381"/>
            <p:cNvPicPr>
              <a:picLocks noChangeAspect="1"/>
            </p:cNvPicPr>
            <p:nvPr/>
          </p:nvPicPr>
          <p:blipFill>
            <a:blip r:embed="rId18">
              <a:biLevel thresh="25000"/>
            </a:blip>
            <a:stretch>
              <a:fillRect/>
            </a:stretch>
          </p:blipFill>
          <p:spPr>
            <a:xfrm>
              <a:off x="3007745" y="3210013"/>
              <a:ext cx="483065" cy="483065"/>
            </a:xfrm>
            <a:prstGeom prst="rect">
              <a:avLst/>
            </a:prstGeom>
          </p:spPr>
        </p:pic>
        <p:sp>
          <p:nvSpPr>
            <p:cNvPr id="383" name="TextBox 382"/>
            <p:cNvSpPr txBox="1"/>
            <p:nvPr/>
          </p:nvSpPr>
          <p:spPr>
            <a:xfrm>
              <a:off x="2884593" y="3722624"/>
              <a:ext cx="729367" cy="153888"/>
            </a:xfrm>
            <a:prstGeom prst="rect">
              <a:avLst/>
            </a:prstGeom>
          </p:spPr>
          <p:txBody>
            <a:bodyPr vert="horz" wrap="none" lIns="0" tIns="0" rIns="0" bIns="0" rtlCol="0" anchor="ctr">
              <a:spAutoFit/>
            </a:bodyPr>
            <a:lstStyle/>
            <a:p>
              <a:pPr algn="ctr" defTabSz="1087779">
                <a:defRPr/>
              </a:pPr>
              <a:r>
                <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rPr>
                <a:t>App Insights</a:t>
              </a:r>
            </a:p>
          </p:txBody>
        </p:sp>
        <p:pic>
          <p:nvPicPr>
            <p:cNvPr id="384" name="Picture 383"/>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4589087" y="3501752"/>
              <a:ext cx="413553" cy="413553"/>
            </a:xfrm>
            <a:prstGeom prst="rect">
              <a:avLst/>
            </a:prstGeom>
          </p:spPr>
        </p:pic>
        <p:sp>
          <p:nvSpPr>
            <p:cNvPr id="385" name="TextBox 384"/>
            <p:cNvSpPr txBox="1"/>
            <p:nvPr/>
          </p:nvSpPr>
          <p:spPr>
            <a:xfrm>
              <a:off x="4455333" y="3868742"/>
              <a:ext cx="681060" cy="246221"/>
            </a:xfrm>
            <a:prstGeom prst="rect">
              <a:avLst/>
            </a:prstGeom>
          </p:spPr>
          <p:txBody>
            <a:bodyPr vert="horz" wrap="square" lIns="45708" tIns="45708" rIns="45708" bIns="45708" rtlCol="0" anchor="ctr">
              <a:noAutofit/>
            </a:bodyPr>
            <a:lstStyle>
              <a:defPPr>
                <a:defRPr lang="en-US"/>
              </a:defPPr>
              <a:lvl1pPr algn="ctr" defTabSz="1088105">
                <a:defRPr sz="12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sz="1000" kern="0" dirty="0" err="1">
                  <a:solidFill>
                    <a:prstClr val="white"/>
                  </a:solidFill>
                </a:rPr>
                <a:t>HDInsight</a:t>
              </a:r>
              <a:endParaRPr lang="en-US" sz="1000" kern="0" dirty="0">
                <a:solidFill>
                  <a:prstClr val="white"/>
                </a:solidFill>
              </a:endParaRPr>
            </a:p>
          </p:txBody>
        </p:sp>
        <p:pic>
          <p:nvPicPr>
            <p:cNvPr id="386" name="Picture 385"/>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4291811" y="2676250"/>
              <a:ext cx="359016" cy="359016"/>
            </a:xfrm>
            <a:prstGeom prst="rect">
              <a:avLst/>
            </a:prstGeom>
          </p:spPr>
        </p:pic>
        <p:sp>
          <p:nvSpPr>
            <p:cNvPr id="387" name="TextBox 386"/>
            <p:cNvSpPr txBox="1"/>
            <p:nvPr/>
          </p:nvSpPr>
          <p:spPr>
            <a:xfrm>
              <a:off x="3970701" y="3041546"/>
              <a:ext cx="1001236" cy="400110"/>
            </a:xfrm>
            <a:prstGeom prst="rect">
              <a:avLst/>
            </a:prstGeom>
          </p:spPr>
          <p:txBody>
            <a:bodyPr vert="horz" wrap="none" lIns="45708" tIns="45708" rIns="45708" bIns="45708" rtlCol="0" anchor="ctr">
              <a:spAutoFit/>
            </a:bodyPr>
            <a:lstStyle>
              <a:defPPr>
                <a:defRPr lang="en-US"/>
              </a:defPPr>
              <a:lvl1pPr algn="ctr" defTabSz="1088105">
                <a:defRPr sz="12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sz="1000" kern="0" dirty="0">
                  <a:solidFill>
                    <a:prstClr val="white"/>
                  </a:solidFill>
                </a:rPr>
                <a:t>Azure Machine </a:t>
              </a:r>
              <a:br>
                <a:rPr lang="en-US" sz="1000" kern="0" dirty="0">
                  <a:solidFill>
                    <a:prstClr val="white"/>
                  </a:solidFill>
                </a:rPr>
              </a:br>
              <a:r>
                <a:rPr lang="en-US" sz="1000" kern="0" dirty="0">
                  <a:solidFill>
                    <a:prstClr val="white"/>
                  </a:solidFill>
                </a:rPr>
                <a:t>Learning</a:t>
              </a:r>
            </a:p>
          </p:txBody>
        </p:sp>
        <p:pic>
          <p:nvPicPr>
            <p:cNvPr id="388" name="Picture 387"/>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5136626" y="2894953"/>
              <a:ext cx="401119" cy="401119"/>
            </a:xfrm>
            <a:prstGeom prst="rect">
              <a:avLst/>
            </a:prstGeom>
          </p:spPr>
        </p:pic>
        <p:sp>
          <p:nvSpPr>
            <p:cNvPr id="389" name="TextBox 388"/>
            <p:cNvSpPr txBox="1"/>
            <p:nvPr/>
          </p:nvSpPr>
          <p:spPr>
            <a:xfrm>
              <a:off x="4975514" y="3314726"/>
              <a:ext cx="737381" cy="153888"/>
            </a:xfrm>
            <a:prstGeom prst="rect">
              <a:avLst/>
            </a:prstGeom>
          </p:spPr>
          <p:txBody>
            <a:bodyPr vert="horz" wrap="none" lIns="0" tIns="0" rIns="0" bIns="0" rtlCol="0" anchor="ctr">
              <a:spAutoFit/>
            </a:bodyPr>
            <a:lstStyle/>
            <a:p>
              <a:pPr algn="ctr" defTabSz="1087779">
                <a:defRPr/>
              </a:pPr>
              <a:r>
                <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rPr>
                <a:t>Data Factory</a:t>
              </a:r>
            </a:p>
          </p:txBody>
        </p:sp>
        <p:pic>
          <p:nvPicPr>
            <p:cNvPr id="390" name="Picture 389"/>
            <p:cNvPicPr>
              <a:picLocks noChangeAspect="1"/>
            </p:cNvPicPr>
            <p:nvPr/>
          </p:nvPicPr>
          <p:blipFill>
            <a:blip r:embed="rId22">
              <a:biLevel thresh="25000"/>
            </a:blip>
            <a:stretch>
              <a:fillRect/>
            </a:stretch>
          </p:blipFill>
          <p:spPr>
            <a:xfrm>
              <a:off x="3736073" y="3451546"/>
              <a:ext cx="412587" cy="412587"/>
            </a:xfrm>
            <a:prstGeom prst="rect">
              <a:avLst/>
            </a:prstGeom>
          </p:spPr>
        </p:pic>
        <p:sp>
          <p:nvSpPr>
            <p:cNvPr id="391" name="TextBox 390"/>
            <p:cNvSpPr txBox="1"/>
            <p:nvPr/>
          </p:nvSpPr>
          <p:spPr>
            <a:xfrm>
              <a:off x="3655429" y="3936667"/>
              <a:ext cx="573875" cy="153888"/>
            </a:xfrm>
            <a:prstGeom prst="rect">
              <a:avLst/>
            </a:prstGeom>
          </p:spPr>
          <p:txBody>
            <a:bodyPr vert="horz" wrap="none" lIns="0" tIns="0" rIns="0" bIns="0" rtlCol="0" anchor="ctr">
              <a:spAutoFit/>
            </a:bodyPr>
            <a:lstStyle/>
            <a:p>
              <a:pPr algn="ctr" defTabSz="1087779">
                <a:defRPr/>
              </a:pPr>
              <a:r>
                <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rPr>
                <a:t>Data Lake</a:t>
              </a:r>
            </a:p>
          </p:txBody>
        </p:sp>
        <p:sp>
          <p:nvSpPr>
            <p:cNvPr id="392" name="TextBox 391"/>
            <p:cNvSpPr txBox="1"/>
            <p:nvPr/>
          </p:nvSpPr>
          <p:spPr>
            <a:xfrm>
              <a:off x="4852401" y="4454629"/>
              <a:ext cx="760737" cy="400110"/>
            </a:xfrm>
            <a:prstGeom prst="rect">
              <a:avLst/>
            </a:prstGeom>
          </p:spPr>
          <p:txBody>
            <a:bodyPr vert="horz" wrap="square" lIns="45708" tIns="45708" rIns="45708" bIns="45708" rtlCol="0" anchor="ctr">
              <a:noAutofit/>
            </a:bodyPr>
            <a:lstStyle>
              <a:defPPr>
                <a:defRPr lang="en-US"/>
              </a:defPPr>
              <a:lvl1pPr algn="ctr" defTabSz="1088105">
                <a:defRPr sz="12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sz="1000" kern="0" dirty="0">
                  <a:solidFill>
                    <a:prstClr val="white"/>
                  </a:solidFill>
                </a:rPr>
                <a:t>Stream</a:t>
              </a:r>
              <a:br>
                <a:rPr lang="en-US" sz="1000" kern="0" dirty="0">
                  <a:solidFill>
                    <a:prstClr val="white"/>
                  </a:solidFill>
                </a:rPr>
              </a:br>
              <a:r>
                <a:rPr lang="en-US" sz="1000" kern="0" dirty="0">
                  <a:solidFill>
                    <a:prstClr val="white"/>
                  </a:solidFill>
                </a:rPr>
                <a:t>Analytics</a:t>
              </a:r>
            </a:p>
          </p:txBody>
        </p:sp>
        <p:pic>
          <p:nvPicPr>
            <p:cNvPr id="393" name="Picture 392"/>
            <p:cNvPicPr>
              <a:picLocks noChangeAspect="1"/>
            </p:cNvPicPr>
            <p:nvPr/>
          </p:nvPicPr>
          <p:blipFill>
            <a:blip r:embed="rId23" cstate="print">
              <a:biLevel thresh="25000"/>
              <a:extLst>
                <a:ext uri="{28A0092B-C50C-407E-A947-70E740481C1C}">
                  <a14:useLocalDpi xmlns:a14="http://schemas.microsoft.com/office/drawing/2010/main" val="0"/>
                </a:ext>
              </a:extLst>
            </a:blip>
            <a:stretch>
              <a:fillRect/>
            </a:stretch>
          </p:blipFill>
          <p:spPr>
            <a:xfrm>
              <a:off x="4979261" y="4090555"/>
              <a:ext cx="507016" cy="507016"/>
            </a:xfrm>
            <a:prstGeom prst="rect">
              <a:avLst/>
            </a:prstGeom>
          </p:spPr>
        </p:pic>
        <p:pic>
          <p:nvPicPr>
            <p:cNvPr id="394" name="Picture 393"/>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5857152" y="4295133"/>
              <a:ext cx="389797" cy="389797"/>
            </a:xfrm>
            <a:prstGeom prst="rect">
              <a:avLst/>
            </a:prstGeom>
          </p:spPr>
        </p:pic>
        <p:sp>
          <p:nvSpPr>
            <p:cNvPr id="395" name="TextBox 394"/>
            <p:cNvSpPr txBox="1"/>
            <p:nvPr/>
          </p:nvSpPr>
          <p:spPr>
            <a:xfrm>
              <a:off x="5647365" y="4718309"/>
              <a:ext cx="809369" cy="183356"/>
            </a:xfrm>
            <a:prstGeom prst="rect">
              <a:avLst/>
            </a:prstGeom>
          </p:spPr>
          <p:txBody>
            <a:bodyPr vert="horz" wrap="square" lIns="45708" tIns="45708" rIns="45708" bIns="45708" rtlCol="0" anchor="ctr">
              <a:noAutofit/>
            </a:bodyPr>
            <a:lstStyle>
              <a:defPPr>
                <a:defRPr lang="en-US"/>
              </a:defPPr>
              <a:lvl1pPr algn="ctr" defTabSz="1088105">
                <a:defRPr sz="12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sz="1000" kern="0" dirty="0">
                  <a:solidFill>
                    <a:prstClr val="white"/>
                  </a:solidFill>
                </a:rPr>
                <a:t>Event Hubs</a:t>
              </a:r>
            </a:p>
          </p:txBody>
        </p:sp>
        <p:pic>
          <p:nvPicPr>
            <p:cNvPr id="396" name="Picture 395"/>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4221389" y="4200388"/>
              <a:ext cx="413553" cy="413553"/>
            </a:xfrm>
            <a:prstGeom prst="rect">
              <a:avLst/>
            </a:prstGeom>
          </p:spPr>
        </p:pic>
        <p:sp>
          <p:nvSpPr>
            <p:cNvPr id="397" name="TextBox 396"/>
            <p:cNvSpPr txBox="1"/>
            <p:nvPr/>
          </p:nvSpPr>
          <p:spPr>
            <a:xfrm>
              <a:off x="4087635" y="4567378"/>
              <a:ext cx="681060" cy="246221"/>
            </a:xfrm>
            <a:prstGeom prst="rect">
              <a:avLst/>
            </a:prstGeom>
          </p:spPr>
          <p:txBody>
            <a:bodyPr vert="horz" wrap="square" lIns="45708" tIns="45708" rIns="45708" bIns="45708" rtlCol="0" anchor="ctr">
              <a:noAutofit/>
            </a:bodyPr>
            <a:lstStyle>
              <a:defPPr>
                <a:defRPr lang="en-US"/>
              </a:defPPr>
              <a:lvl1pPr algn="ctr" defTabSz="1088105">
                <a:defRPr sz="12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sz="1000" kern="0" dirty="0" err="1">
                  <a:solidFill>
                    <a:prstClr val="white"/>
                  </a:solidFill>
                </a:rPr>
                <a:t>HDStorm</a:t>
              </a:r>
              <a:endParaRPr lang="en-US" sz="1000" kern="0" dirty="0">
                <a:solidFill>
                  <a:prstClr val="white"/>
                </a:solidFill>
              </a:endParaRPr>
            </a:p>
          </p:txBody>
        </p:sp>
        <p:sp>
          <p:nvSpPr>
            <p:cNvPr id="398" name="TextBox 397"/>
            <p:cNvSpPr txBox="1"/>
            <p:nvPr/>
          </p:nvSpPr>
          <p:spPr>
            <a:xfrm>
              <a:off x="2951311" y="4619878"/>
              <a:ext cx="1020867" cy="246221"/>
            </a:xfrm>
            <a:prstGeom prst="rect">
              <a:avLst/>
            </a:prstGeom>
          </p:spPr>
          <p:txBody>
            <a:bodyPr vert="horz" wrap="square" lIns="45708" tIns="45708" rIns="45708" bIns="45708"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kern="0" dirty="0">
                  <a:solidFill>
                    <a:prstClr val="white"/>
                  </a:solidFill>
                </a:rPr>
                <a:t>Azure SQL DB</a:t>
              </a:r>
            </a:p>
          </p:txBody>
        </p:sp>
        <p:pic>
          <p:nvPicPr>
            <p:cNvPr id="399" name="Picture 398"/>
            <p:cNvPicPr>
              <a:picLocks noChangeAspect="1"/>
            </p:cNvPicPr>
            <p:nvPr/>
          </p:nvPicPr>
          <p:blipFill>
            <a:blip r:embed="rId25" cstate="print">
              <a:biLevel thresh="25000"/>
              <a:extLst>
                <a:ext uri="{28A0092B-C50C-407E-A947-70E740481C1C}">
                  <a14:useLocalDpi xmlns:a14="http://schemas.microsoft.com/office/drawing/2010/main" val="0"/>
                </a:ext>
              </a:extLst>
            </a:blip>
            <a:stretch>
              <a:fillRect/>
            </a:stretch>
          </p:blipFill>
          <p:spPr>
            <a:xfrm>
              <a:off x="3271411" y="4205989"/>
              <a:ext cx="380667" cy="380667"/>
            </a:xfrm>
            <a:prstGeom prst="rect">
              <a:avLst/>
            </a:prstGeom>
          </p:spPr>
        </p:pic>
        <p:pic>
          <p:nvPicPr>
            <p:cNvPr id="400" name="Picture 399"/>
            <p:cNvPicPr>
              <a:picLocks noChangeAspect="1"/>
            </p:cNvPicPr>
            <p:nvPr/>
          </p:nvPicPr>
          <p:blipFill>
            <a:blip r:embed="rId26">
              <a:biLevel thresh="25000"/>
            </a:blip>
            <a:stretch>
              <a:fillRect/>
            </a:stretch>
          </p:blipFill>
          <p:spPr>
            <a:xfrm>
              <a:off x="2495493" y="3942526"/>
              <a:ext cx="414299" cy="414299"/>
            </a:xfrm>
            <a:prstGeom prst="rect">
              <a:avLst/>
            </a:prstGeom>
          </p:spPr>
        </p:pic>
        <p:sp>
          <p:nvSpPr>
            <p:cNvPr id="401" name="TextBox 400"/>
            <p:cNvSpPr txBox="1"/>
            <p:nvPr/>
          </p:nvSpPr>
          <p:spPr>
            <a:xfrm>
              <a:off x="2188372" y="4282318"/>
              <a:ext cx="1004732" cy="385143"/>
            </a:xfrm>
            <a:prstGeom prst="rect">
              <a:avLst/>
            </a:prstGeom>
          </p:spPr>
          <p:txBody>
            <a:bodyPr vert="horz" wrap="square" lIns="91416" tIns="91416" rIns="91416" bIns="91416" rtlCol="0" anchor="t">
              <a:noAutofit/>
            </a:bodyPr>
            <a:lstStyle/>
            <a:p>
              <a:pPr algn="ctr" defTabSz="914126">
                <a:defRPr/>
              </a:pPr>
              <a:r>
                <a:rPr lang="en-US" sz="1000" kern="0" dirty="0">
                  <a:solidFill>
                    <a:prstClr val="white"/>
                  </a:solidFill>
                  <a:latin typeface="Segoe UI" pitchFamily="34" charset="0"/>
                  <a:ea typeface="Segoe UI" pitchFamily="34" charset="0"/>
                  <a:cs typeface="Segoe UI" pitchFamily="34" charset="0"/>
                </a:rPr>
                <a:t>Notification </a:t>
              </a:r>
            </a:p>
            <a:p>
              <a:pPr algn="ctr" defTabSz="914126">
                <a:defRPr/>
              </a:pPr>
              <a:r>
                <a:rPr lang="en-US" sz="1000" kern="0" dirty="0">
                  <a:solidFill>
                    <a:prstClr val="white"/>
                  </a:solidFill>
                  <a:latin typeface="Segoe UI" pitchFamily="34" charset="0"/>
                  <a:ea typeface="Segoe UI" pitchFamily="34" charset="0"/>
                  <a:cs typeface="Segoe UI" pitchFamily="34" charset="0"/>
                </a:rPr>
                <a:t>Hubs</a:t>
              </a:r>
            </a:p>
          </p:txBody>
        </p:sp>
      </p:grpSp>
      <p:grpSp>
        <p:nvGrpSpPr>
          <p:cNvPr id="264" name="Group 263"/>
          <p:cNvGrpSpPr/>
          <p:nvPr/>
        </p:nvGrpSpPr>
        <p:grpSpPr>
          <a:xfrm>
            <a:off x="8736480" y="336675"/>
            <a:ext cx="1242700" cy="1050508"/>
            <a:chOff x="10584240" y="1529037"/>
            <a:chExt cx="1243024" cy="1050782"/>
          </a:xfrm>
        </p:grpSpPr>
        <p:sp>
          <p:nvSpPr>
            <p:cNvPr id="265" name="Rectangle 264"/>
            <p:cNvSpPr/>
            <p:nvPr/>
          </p:nvSpPr>
          <p:spPr>
            <a:xfrm>
              <a:off x="10584240" y="1529037"/>
              <a:ext cx="1242328" cy="246221"/>
            </a:xfrm>
            <a:prstGeom prst="rect">
              <a:avLst/>
            </a:prstGeom>
            <a:noFill/>
            <a:ln w="6350" cap="flat" cmpd="sng" algn="ctr">
              <a:noFill/>
              <a:prstDash val="solid"/>
            </a:ln>
            <a:effectLst/>
          </p:spPr>
          <p:txBody>
            <a:bodyPr wrap="none" lIns="0" tIns="0" rIns="0" bIns="0" rtlCol="0" anchor="ctr">
              <a:spAutoFit/>
            </a:bodyPr>
            <a:lstStyle/>
            <a:p>
              <a:pPr marL="0" lvl="1" algn="ctr" defTabSz="1217741" fontAlgn="base">
                <a:spcBef>
                  <a:spcPts val="200"/>
                </a:spcBef>
                <a:buClr>
                  <a:srgbClr val="FFFF99"/>
                </a:buClr>
                <a:buSzPct val="90000"/>
                <a:defRPr/>
              </a:pPr>
              <a:r>
                <a:rPr lang="en-US" sz="1600" kern="0" dirty="0">
                  <a:solidFill>
                    <a:srgbClr val="0072C6"/>
                  </a:solidFill>
                  <a:latin typeface="Segoe UI Semibold" panose="020B0702040204020203" pitchFamily="34" charset="0"/>
                  <a:ea typeface="Segoe UI" pitchFamily="34" charset="0"/>
                  <a:cs typeface="Segoe UI" pitchFamily="34" charset="0"/>
                </a:rPr>
                <a:t>Service Techs</a:t>
              </a:r>
            </a:p>
          </p:txBody>
        </p:sp>
        <p:grpSp>
          <p:nvGrpSpPr>
            <p:cNvPr id="266" name="Group 265"/>
            <p:cNvGrpSpPr/>
            <p:nvPr/>
          </p:nvGrpSpPr>
          <p:grpSpPr>
            <a:xfrm>
              <a:off x="10638485" y="1766250"/>
              <a:ext cx="1188779" cy="813569"/>
              <a:chOff x="8650901" y="2563132"/>
              <a:chExt cx="1188779" cy="813569"/>
            </a:xfrm>
          </p:grpSpPr>
          <p:sp>
            <p:nvSpPr>
              <p:cNvPr id="267" name="Oval 266"/>
              <p:cNvSpPr/>
              <p:nvPr/>
            </p:nvSpPr>
            <p:spPr>
              <a:xfrm>
                <a:off x="8650901" y="2615346"/>
                <a:ext cx="1188779" cy="7613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914126">
                  <a:defRPr/>
                </a:pPr>
                <a:endParaRPr lang="en-US" sz="1200" kern="0" dirty="0">
                  <a:solidFill>
                    <a:prstClr val="white"/>
                  </a:solidFill>
                  <a:latin typeface="Segoe UI"/>
                </a:endParaRPr>
              </a:p>
            </p:txBody>
          </p:sp>
          <p:pic>
            <p:nvPicPr>
              <p:cNvPr id="269" name="Picture 268"/>
              <p:cNvPicPr>
                <a:picLocks noChangeAspect="1"/>
              </p:cNvPicPr>
              <p:nvPr/>
            </p:nvPicPr>
            <p:blipFill>
              <a:blip r:embed="rId27" cstate="screen">
                <a:duotone>
                  <a:prstClr val="black"/>
                  <a:schemeClr val="accent5">
                    <a:tint val="45000"/>
                    <a:satMod val="400000"/>
                  </a:schemeClr>
                </a:duotone>
                <a:extLst>
                  <a:ext uri="{BEBA8EAE-BF5A-486C-A8C5-ECC9F3942E4B}">
                    <a14:imgProps xmlns:a14="http://schemas.microsoft.com/office/drawing/2010/main">
                      <a14:imgLayer r:embed="rId28">
                        <a14:imgEffect>
                          <a14:brightnessContrast bright="-20000" contrast="-20000"/>
                        </a14:imgEffect>
                      </a14:imgLayer>
                    </a14:imgProps>
                  </a:ext>
                  <a:ext uri="{28A0092B-C50C-407E-A947-70E740481C1C}">
                    <a14:useLocalDpi xmlns:a14="http://schemas.microsoft.com/office/drawing/2010/main"/>
                  </a:ext>
                </a:extLst>
              </a:blip>
              <a:stretch>
                <a:fillRect/>
              </a:stretch>
            </p:blipFill>
            <p:spPr>
              <a:xfrm>
                <a:off x="8837372" y="2563132"/>
                <a:ext cx="797830" cy="797829"/>
              </a:xfrm>
              <a:prstGeom prst="rect">
                <a:avLst/>
              </a:prstGeom>
            </p:spPr>
          </p:pic>
        </p:grpSp>
      </p:grpSp>
      <p:grpSp>
        <p:nvGrpSpPr>
          <p:cNvPr id="225" name="Group 224"/>
          <p:cNvGrpSpPr/>
          <p:nvPr/>
        </p:nvGrpSpPr>
        <p:grpSpPr>
          <a:xfrm>
            <a:off x="10518770" y="266248"/>
            <a:ext cx="1472776" cy="1033414"/>
            <a:chOff x="10468819" y="1529037"/>
            <a:chExt cx="1473160" cy="1033683"/>
          </a:xfrm>
        </p:grpSpPr>
        <p:sp>
          <p:nvSpPr>
            <p:cNvPr id="226" name="Rectangle 225"/>
            <p:cNvSpPr/>
            <p:nvPr/>
          </p:nvSpPr>
          <p:spPr>
            <a:xfrm>
              <a:off x="10468819" y="1529037"/>
              <a:ext cx="1473160" cy="246221"/>
            </a:xfrm>
            <a:prstGeom prst="rect">
              <a:avLst/>
            </a:prstGeom>
            <a:noFill/>
            <a:ln w="6350" cap="flat" cmpd="sng" algn="ctr">
              <a:noFill/>
              <a:prstDash val="solid"/>
            </a:ln>
            <a:effectLst/>
          </p:spPr>
          <p:txBody>
            <a:bodyPr wrap="none" lIns="0" tIns="0" rIns="0" bIns="0" rtlCol="0" anchor="ctr">
              <a:spAutoFit/>
            </a:bodyPr>
            <a:lstStyle/>
            <a:p>
              <a:pPr marL="0" lvl="1" algn="ctr" defTabSz="1217741" fontAlgn="base">
                <a:spcBef>
                  <a:spcPts val="200"/>
                </a:spcBef>
                <a:buClr>
                  <a:srgbClr val="FFFF99"/>
                </a:buClr>
                <a:buSzPct val="90000"/>
                <a:defRPr/>
              </a:pPr>
              <a:r>
                <a:rPr lang="en-US" sz="1600" kern="0" dirty="0">
                  <a:solidFill>
                    <a:srgbClr val="0072C6"/>
                  </a:solidFill>
                  <a:latin typeface="Segoe UI Semibold" panose="020B0702040204020203" pitchFamily="34" charset="0"/>
                  <a:ea typeface="Segoe UI" pitchFamily="34" charset="0"/>
                  <a:cs typeface="Segoe UI" pitchFamily="34" charset="0"/>
                </a:rPr>
                <a:t>Field Workforce</a:t>
              </a:r>
            </a:p>
          </p:txBody>
        </p:sp>
        <p:grpSp>
          <p:nvGrpSpPr>
            <p:cNvPr id="228" name="Group 227"/>
            <p:cNvGrpSpPr/>
            <p:nvPr/>
          </p:nvGrpSpPr>
          <p:grpSpPr>
            <a:xfrm>
              <a:off x="10564016" y="1749151"/>
              <a:ext cx="1188779" cy="813569"/>
              <a:chOff x="8576432" y="2546033"/>
              <a:chExt cx="1188779" cy="813569"/>
            </a:xfrm>
          </p:grpSpPr>
          <p:sp>
            <p:nvSpPr>
              <p:cNvPr id="234" name="Oval 233"/>
              <p:cNvSpPr/>
              <p:nvPr/>
            </p:nvSpPr>
            <p:spPr>
              <a:xfrm>
                <a:off x="8576432" y="2598247"/>
                <a:ext cx="1188779" cy="7613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914126">
                  <a:defRPr/>
                </a:pPr>
                <a:endParaRPr lang="en-US" sz="1200" kern="0" dirty="0">
                  <a:solidFill>
                    <a:prstClr val="white"/>
                  </a:solidFill>
                  <a:latin typeface="Segoe UI"/>
                </a:endParaRPr>
              </a:p>
            </p:txBody>
          </p:sp>
          <p:pic>
            <p:nvPicPr>
              <p:cNvPr id="235" name="Picture 234"/>
              <p:cNvPicPr>
                <a:picLocks noChangeAspect="1"/>
              </p:cNvPicPr>
              <p:nvPr/>
            </p:nvPicPr>
            <p:blipFill>
              <a:blip r:embed="rId27" cstate="screen">
                <a:duotone>
                  <a:prstClr val="black"/>
                  <a:schemeClr val="accent5">
                    <a:tint val="45000"/>
                    <a:satMod val="400000"/>
                  </a:schemeClr>
                </a:duotone>
                <a:extLst>
                  <a:ext uri="{BEBA8EAE-BF5A-486C-A8C5-ECC9F3942E4B}">
                    <a14:imgProps xmlns:a14="http://schemas.microsoft.com/office/drawing/2010/main">
                      <a14:imgLayer r:embed="rId28">
                        <a14:imgEffect>
                          <a14:brightnessContrast bright="-20000" contrast="-20000"/>
                        </a14:imgEffect>
                      </a14:imgLayer>
                    </a14:imgProps>
                  </a:ext>
                  <a:ext uri="{28A0092B-C50C-407E-A947-70E740481C1C}">
                    <a14:useLocalDpi xmlns:a14="http://schemas.microsoft.com/office/drawing/2010/main"/>
                  </a:ext>
                </a:extLst>
              </a:blip>
              <a:stretch>
                <a:fillRect/>
              </a:stretch>
            </p:blipFill>
            <p:spPr>
              <a:xfrm>
                <a:off x="8762903" y="2546033"/>
                <a:ext cx="797830" cy="797829"/>
              </a:xfrm>
              <a:prstGeom prst="rect">
                <a:avLst/>
              </a:prstGeom>
            </p:spPr>
          </p:pic>
        </p:grpSp>
      </p:grpSp>
      <p:sp>
        <p:nvSpPr>
          <p:cNvPr id="48" name="Quad Arrow 47"/>
          <p:cNvSpPr/>
          <p:nvPr/>
        </p:nvSpPr>
        <p:spPr>
          <a:xfrm rot="20676370">
            <a:off x="9149584" y="1269490"/>
            <a:ext cx="2003973" cy="899819"/>
          </a:xfrm>
          <a:prstGeom prst="quad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914126">
              <a:defRPr/>
            </a:pPr>
            <a:endParaRPr lang="en-US" sz="1200" kern="0" dirty="0" err="1">
              <a:solidFill>
                <a:sysClr val="windowText" lastClr="000000"/>
              </a:solidFill>
              <a:latin typeface="Segoe UI"/>
            </a:endParaRPr>
          </a:p>
        </p:txBody>
      </p:sp>
      <p:sp>
        <p:nvSpPr>
          <p:cNvPr id="339" name="TextBox 338"/>
          <p:cNvSpPr txBox="1"/>
          <p:nvPr/>
        </p:nvSpPr>
        <p:spPr>
          <a:xfrm rot="20650088">
            <a:off x="9319052" y="1573043"/>
            <a:ext cx="1967314" cy="199256"/>
          </a:xfrm>
          <a:prstGeom prst="rect">
            <a:avLst/>
          </a:prstGeom>
        </p:spPr>
        <p:txBody>
          <a:bodyPr vert="horz" wrap="none" lIns="0" tIns="0" rIns="0" bIns="0" rtlCol="0" anchor="ctr">
            <a:noAutofit/>
          </a:bodyPr>
          <a:lstStyle>
            <a:defPPr>
              <a:defRPr lang="en-US"/>
            </a:defPPr>
            <a:lvl1pPr algn="ctr" defTabSz="1088105">
              <a:defRPr sz="1200">
                <a:solidFill>
                  <a:srgbClr val="505050"/>
                </a:solidFill>
                <a:latin typeface="Segoe UI Semibold" panose="020B0702040204020203" pitchFamily="34" charset="0"/>
                <a:ea typeface="Segoe UI" pitchFamily="34" charset="0"/>
                <a:cs typeface="Segoe UI Semibold" panose="020B0702040204020203" pitchFamily="34" charset="0"/>
              </a:defRPr>
            </a:lvl1pPr>
          </a:lstStyle>
          <a:p>
            <a:pPr algn="l" defTabSz="1087779">
              <a:defRPr/>
            </a:pPr>
            <a:r>
              <a:rPr lang="en-US" kern="0" dirty="0">
                <a:solidFill>
                  <a:prstClr val="white"/>
                </a:solidFill>
              </a:rPr>
              <a:t>Improved Collaboration</a:t>
            </a:r>
          </a:p>
        </p:txBody>
      </p:sp>
      <p:grpSp>
        <p:nvGrpSpPr>
          <p:cNvPr id="357" name="Group 356"/>
          <p:cNvGrpSpPr/>
          <p:nvPr/>
        </p:nvGrpSpPr>
        <p:grpSpPr>
          <a:xfrm>
            <a:off x="205328" y="5754534"/>
            <a:ext cx="1532072" cy="1033414"/>
            <a:chOff x="10439167" y="1529037"/>
            <a:chExt cx="1532471" cy="1033683"/>
          </a:xfrm>
        </p:grpSpPr>
        <p:sp>
          <p:nvSpPr>
            <p:cNvPr id="358" name="Rectangle 357"/>
            <p:cNvSpPr/>
            <p:nvPr/>
          </p:nvSpPr>
          <p:spPr>
            <a:xfrm>
              <a:off x="10439167" y="1529037"/>
              <a:ext cx="1532471" cy="246221"/>
            </a:xfrm>
            <a:prstGeom prst="rect">
              <a:avLst/>
            </a:prstGeom>
            <a:noFill/>
            <a:ln w="6350" cap="flat" cmpd="sng" algn="ctr">
              <a:noFill/>
              <a:prstDash val="solid"/>
            </a:ln>
            <a:effectLst/>
          </p:spPr>
          <p:txBody>
            <a:bodyPr wrap="none" lIns="0" tIns="0" rIns="0" bIns="0" rtlCol="0" anchor="ctr">
              <a:spAutoFit/>
            </a:bodyPr>
            <a:lstStyle/>
            <a:p>
              <a:pPr marL="0" lvl="1" algn="ctr" defTabSz="1217741" fontAlgn="base">
                <a:spcBef>
                  <a:spcPts val="200"/>
                </a:spcBef>
                <a:buClr>
                  <a:srgbClr val="FFFF99"/>
                </a:buClr>
                <a:buSzPct val="90000"/>
                <a:defRPr/>
              </a:pPr>
              <a:r>
                <a:rPr lang="en-US" sz="1600" kern="0" dirty="0">
                  <a:solidFill>
                    <a:srgbClr val="0072C6"/>
                  </a:solidFill>
                  <a:latin typeface="Segoe UI Semibold" panose="020B0702040204020203" pitchFamily="34" charset="0"/>
                  <a:ea typeface="Segoe UI" pitchFamily="34" charset="0"/>
                  <a:cs typeface="Segoe UI" pitchFamily="34" charset="0"/>
                </a:rPr>
                <a:t>Friends &amp; Family</a:t>
              </a:r>
            </a:p>
          </p:txBody>
        </p:sp>
        <p:grpSp>
          <p:nvGrpSpPr>
            <p:cNvPr id="359" name="Group 358"/>
            <p:cNvGrpSpPr/>
            <p:nvPr/>
          </p:nvGrpSpPr>
          <p:grpSpPr>
            <a:xfrm>
              <a:off x="10564016" y="1749151"/>
              <a:ext cx="1188779" cy="813569"/>
              <a:chOff x="8576432" y="2546033"/>
              <a:chExt cx="1188779" cy="813569"/>
            </a:xfrm>
          </p:grpSpPr>
          <p:sp>
            <p:nvSpPr>
              <p:cNvPr id="360" name="Oval 359"/>
              <p:cNvSpPr/>
              <p:nvPr/>
            </p:nvSpPr>
            <p:spPr>
              <a:xfrm>
                <a:off x="8576432" y="2598247"/>
                <a:ext cx="1188779" cy="7613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914126">
                  <a:defRPr/>
                </a:pPr>
                <a:endParaRPr lang="en-US" sz="1200" kern="0" dirty="0">
                  <a:solidFill>
                    <a:prstClr val="white"/>
                  </a:solidFill>
                  <a:latin typeface="Segoe UI"/>
                </a:endParaRPr>
              </a:p>
            </p:txBody>
          </p:sp>
          <p:pic>
            <p:nvPicPr>
              <p:cNvPr id="361" name="Picture 360"/>
              <p:cNvPicPr>
                <a:picLocks noChangeAspect="1"/>
              </p:cNvPicPr>
              <p:nvPr/>
            </p:nvPicPr>
            <p:blipFill>
              <a:blip r:embed="rId27" cstate="screen">
                <a:duotone>
                  <a:prstClr val="black"/>
                  <a:schemeClr val="accent5">
                    <a:tint val="45000"/>
                    <a:satMod val="400000"/>
                  </a:schemeClr>
                </a:duotone>
                <a:extLst>
                  <a:ext uri="{BEBA8EAE-BF5A-486C-A8C5-ECC9F3942E4B}">
                    <a14:imgProps xmlns:a14="http://schemas.microsoft.com/office/drawing/2010/main">
                      <a14:imgLayer r:embed="rId28">
                        <a14:imgEffect>
                          <a14:brightnessContrast bright="-20000" contrast="-20000"/>
                        </a14:imgEffect>
                      </a14:imgLayer>
                    </a14:imgProps>
                  </a:ext>
                  <a:ext uri="{28A0092B-C50C-407E-A947-70E740481C1C}">
                    <a14:useLocalDpi xmlns:a14="http://schemas.microsoft.com/office/drawing/2010/main"/>
                  </a:ext>
                </a:extLst>
              </a:blip>
              <a:stretch>
                <a:fillRect/>
              </a:stretch>
            </p:blipFill>
            <p:spPr>
              <a:xfrm>
                <a:off x="8762903" y="2546033"/>
                <a:ext cx="797830" cy="797829"/>
              </a:xfrm>
              <a:prstGeom prst="rect">
                <a:avLst/>
              </a:prstGeom>
            </p:spPr>
          </p:pic>
        </p:grpSp>
      </p:grpSp>
      <p:sp>
        <p:nvSpPr>
          <p:cNvPr id="214" name="TextBox 213"/>
          <p:cNvSpPr txBox="1"/>
          <p:nvPr/>
        </p:nvSpPr>
        <p:spPr>
          <a:xfrm>
            <a:off x="9374562" y="4622551"/>
            <a:ext cx="2070872" cy="926355"/>
          </a:xfrm>
          <a:prstGeom prst="rect">
            <a:avLst/>
          </a:prstGeom>
        </p:spPr>
        <p:txBody>
          <a:bodyPr vert="horz" wrap="square" lIns="45708" tIns="45708" rIns="45708" bIns="45708" rtlCol="0" anchor="ctr">
            <a:noAutofit/>
          </a:bodyPr>
          <a:lstStyle/>
          <a:p>
            <a:pPr defTabSz="1087779">
              <a:defRPr/>
            </a:pPr>
            <a:r>
              <a:rPr lang="en-US" sz="1600" kern="0" dirty="0">
                <a:solidFill>
                  <a:srgbClr val="505050"/>
                </a:solidFill>
                <a:latin typeface="Segoe UI Semibold" panose="020B0702040204020203" pitchFamily="34" charset="0"/>
                <a:ea typeface="Segoe UI" pitchFamily="34" charset="0"/>
                <a:cs typeface="Segoe UI Semibold" panose="020B0702040204020203" pitchFamily="34" charset="0"/>
              </a:rPr>
              <a:t>Consistent</a:t>
            </a:r>
            <a:br>
              <a:rPr lang="en-US" sz="1600" kern="0" dirty="0">
                <a:solidFill>
                  <a:srgbClr val="505050"/>
                </a:solidFill>
                <a:latin typeface="Segoe UI Semibold" panose="020B0702040204020203" pitchFamily="34" charset="0"/>
                <a:ea typeface="Segoe UI" pitchFamily="34" charset="0"/>
                <a:cs typeface="Segoe UI Semibold" panose="020B0702040204020203" pitchFamily="34" charset="0"/>
              </a:rPr>
            </a:br>
            <a:r>
              <a:rPr lang="en-US" sz="1600" kern="0" dirty="0">
                <a:solidFill>
                  <a:srgbClr val="505050"/>
                </a:solidFill>
                <a:latin typeface="Segoe UI Semibold" panose="020B0702040204020203" pitchFamily="34" charset="0"/>
                <a:ea typeface="Segoe UI" pitchFamily="34" charset="0"/>
                <a:cs typeface="Segoe UI Semibold" panose="020B0702040204020203" pitchFamily="34" charset="0"/>
              </a:rPr>
              <a:t>Engaging </a:t>
            </a:r>
            <a:br>
              <a:rPr lang="en-US" sz="1600" kern="0" dirty="0">
                <a:solidFill>
                  <a:srgbClr val="505050"/>
                </a:solidFill>
                <a:latin typeface="Segoe UI Semibold" panose="020B0702040204020203" pitchFamily="34" charset="0"/>
                <a:ea typeface="Segoe UI" pitchFamily="34" charset="0"/>
                <a:cs typeface="Segoe UI Semibold" panose="020B0702040204020203" pitchFamily="34" charset="0"/>
              </a:rPr>
            </a:br>
            <a:r>
              <a:rPr lang="en-US" sz="1600" kern="0" dirty="0">
                <a:solidFill>
                  <a:srgbClr val="505050"/>
                </a:solidFill>
                <a:latin typeface="Segoe UI Semibold" panose="020B0702040204020203" pitchFamily="34" charset="0"/>
                <a:ea typeface="Segoe UI" pitchFamily="34" charset="0"/>
                <a:cs typeface="Segoe UI Semibold" panose="020B0702040204020203" pitchFamily="34" charset="0"/>
              </a:rPr>
              <a:t>Experiences</a:t>
            </a:r>
            <a:br>
              <a:rPr lang="en-US" sz="1600" kern="0" dirty="0">
                <a:solidFill>
                  <a:srgbClr val="505050"/>
                </a:solidFill>
                <a:latin typeface="Segoe UI Semibold" panose="020B0702040204020203" pitchFamily="34" charset="0"/>
                <a:ea typeface="Segoe UI" pitchFamily="34" charset="0"/>
                <a:cs typeface="Segoe UI Semibold" panose="020B0702040204020203" pitchFamily="34" charset="0"/>
              </a:rPr>
            </a:br>
            <a:r>
              <a:rPr lang="en-US" sz="1600" kern="0" dirty="0">
                <a:solidFill>
                  <a:srgbClr val="505050"/>
                </a:solidFill>
                <a:latin typeface="Segoe UI Semibold" panose="020B0702040204020203" pitchFamily="34" charset="0"/>
                <a:ea typeface="Segoe UI" pitchFamily="34" charset="0"/>
                <a:cs typeface="Segoe UI Semibold" panose="020B0702040204020203" pitchFamily="34" charset="0"/>
              </a:rPr>
              <a:t>Across all </a:t>
            </a:r>
            <a:br>
              <a:rPr lang="en-US" sz="1600" kern="0" dirty="0">
                <a:solidFill>
                  <a:srgbClr val="505050"/>
                </a:solidFill>
                <a:latin typeface="Segoe UI Semibold" panose="020B0702040204020203" pitchFamily="34" charset="0"/>
                <a:ea typeface="Segoe UI" pitchFamily="34" charset="0"/>
                <a:cs typeface="Segoe UI Semibold" panose="020B0702040204020203" pitchFamily="34" charset="0"/>
              </a:rPr>
            </a:br>
            <a:r>
              <a:rPr lang="en-US" sz="1600" kern="0" dirty="0">
                <a:solidFill>
                  <a:srgbClr val="505050"/>
                </a:solidFill>
                <a:latin typeface="Segoe UI Semibold" panose="020B0702040204020203" pitchFamily="34" charset="0"/>
                <a:ea typeface="Segoe UI" pitchFamily="34" charset="0"/>
                <a:cs typeface="Segoe UI Semibold" panose="020B0702040204020203" pitchFamily="34" charset="0"/>
              </a:rPr>
              <a:t>Transport</a:t>
            </a:r>
          </a:p>
          <a:p>
            <a:pPr defTabSz="1087779">
              <a:defRPr/>
            </a:pPr>
            <a:r>
              <a:rPr lang="en-US" sz="1600" kern="0" dirty="0">
                <a:solidFill>
                  <a:srgbClr val="505050"/>
                </a:solidFill>
                <a:latin typeface="Segoe UI Semibold" panose="020B0702040204020203" pitchFamily="34" charset="0"/>
                <a:ea typeface="Segoe UI" pitchFamily="34" charset="0"/>
                <a:cs typeface="Segoe UI Semibold" panose="020B0702040204020203" pitchFamily="34" charset="0"/>
              </a:rPr>
              <a:t>Modes</a:t>
            </a:r>
          </a:p>
        </p:txBody>
      </p:sp>
      <p:grpSp>
        <p:nvGrpSpPr>
          <p:cNvPr id="215" name="Group 214"/>
          <p:cNvGrpSpPr>
            <a:grpSpLocks noChangeAspect="1"/>
          </p:cNvGrpSpPr>
          <p:nvPr/>
        </p:nvGrpSpPr>
        <p:grpSpPr bwMode="black">
          <a:xfrm>
            <a:off x="6635210" y="5238129"/>
            <a:ext cx="446077" cy="338610"/>
            <a:chOff x="5461246" y="4575892"/>
            <a:chExt cx="223480" cy="169685"/>
          </a:xfrm>
          <a:solidFill>
            <a:srgbClr val="5E83BD"/>
          </a:solidFill>
        </p:grpSpPr>
        <p:sp>
          <p:nvSpPr>
            <p:cNvPr id="219" name="Freeform 168"/>
            <p:cNvSpPr>
              <a:spLocks noEditPoints="1"/>
            </p:cNvSpPr>
            <p:nvPr/>
          </p:nvSpPr>
          <p:spPr bwMode="black">
            <a:xfrm>
              <a:off x="5461246" y="4575892"/>
              <a:ext cx="137550" cy="128953"/>
            </a:xfrm>
            <a:custGeom>
              <a:avLst/>
              <a:gdLst/>
              <a:ahLst/>
              <a:cxnLst>
                <a:cxn ang="0">
                  <a:pos x="215" y="24"/>
                </a:cxn>
                <a:cxn ang="0">
                  <a:pos x="127" y="0"/>
                </a:cxn>
                <a:cxn ang="0">
                  <a:pos x="39" y="24"/>
                </a:cxn>
                <a:cxn ang="0">
                  <a:pos x="0" y="89"/>
                </a:cxn>
                <a:cxn ang="0">
                  <a:pos x="42" y="155"/>
                </a:cxn>
                <a:cxn ang="0">
                  <a:pos x="34" y="197"/>
                </a:cxn>
                <a:cxn ang="0">
                  <a:pos x="27" y="231"/>
                </a:cxn>
                <a:cxn ang="0">
                  <a:pos x="25" y="240"/>
                </a:cxn>
                <a:cxn ang="0">
                  <a:pos x="31" y="233"/>
                </a:cxn>
                <a:cxn ang="0">
                  <a:pos x="55" y="207"/>
                </a:cxn>
                <a:cxn ang="0">
                  <a:pos x="87" y="173"/>
                </a:cxn>
                <a:cxn ang="0">
                  <a:pos x="127" y="178"/>
                </a:cxn>
                <a:cxn ang="0">
                  <a:pos x="215" y="153"/>
                </a:cxn>
                <a:cxn ang="0">
                  <a:pos x="255" y="89"/>
                </a:cxn>
                <a:cxn ang="0">
                  <a:pos x="215" y="24"/>
                </a:cxn>
                <a:cxn ang="0">
                  <a:pos x="59" y="149"/>
                </a:cxn>
                <a:cxn ang="0">
                  <a:pos x="59" y="147"/>
                </a:cxn>
                <a:cxn ang="0">
                  <a:pos x="57" y="147"/>
                </a:cxn>
                <a:cxn ang="0">
                  <a:pos x="15" y="89"/>
                </a:cxn>
                <a:cxn ang="0">
                  <a:pos x="127" y="15"/>
                </a:cxn>
                <a:cxn ang="0">
                  <a:pos x="240" y="89"/>
                </a:cxn>
                <a:cxn ang="0">
                  <a:pos x="127" y="163"/>
                </a:cxn>
                <a:cxn ang="0">
                  <a:pos x="83" y="157"/>
                </a:cxn>
                <a:cxn ang="0">
                  <a:pos x="82" y="156"/>
                </a:cxn>
                <a:cxn ang="0">
                  <a:pos x="81" y="158"/>
                </a:cxn>
                <a:cxn ang="0">
                  <a:pos x="50" y="191"/>
                </a:cxn>
                <a:cxn ang="0">
                  <a:pos x="59" y="149"/>
                </a:cxn>
              </a:cxnLst>
              <a:rect l="0" t="0" r="r" b="b"/>
              <a:pathLst>
                <a:path w="255" h="240">
                  <a:moveTo>
                    <a:pt x="215" y="24"/>
                  </a:moveTo>
                  <a:cubicBezTo>
                    <a:pt x="192" y="8"/>
                    <a:pt x="160" y="0"/>
                    <a:pt x="127" y="0"/>
                  </a:cubicBezTo>
                  <a:cubicBezTo>
                    <a:pt x="94" y="0"/>
                    <a:pt x="63" y="8"/>
                    <a:pt x="39" y="24"/>
                  </a:cubicBezTo>
                  <a:cubicBezTo>
                    <a:pt x="14" y="41"/>
                    <a:pt x="0" y="64"/>
                    <a:pt x="0" y="89"/>
                  </a:cubicBezTo>
                  <a:cubicBezTo>
                    <a:pt x="0" y="114"/>
                    <a:pt x="15" y="138"/>
                    <a:pt x="42" y="155"/>
                  </a:cubicBezTo>
                  <a:cubicBezTo>
                    <a:pt x="34" y="197"/>
                    <a:pt x="34" y="197"/>
                    <a:pt x="34" y="197"/>
                  </a:cubicBezTo>
                  <a:cubicBezTo>
                    <a:pt x="27" y="231"/>
                    <a:pt x="27" y="231"/>
                    <a:pt x="27" y="231"/>
                  </a:cubicBezTo>
                  <a:cubicBezTo>
                    <a:pt x="25" y="240"/>
                    <a:pt x="25" y="240"/>
                    <a:pt x="25" y="240"/>
                  </a:cubicBezTo>
                  <a:cubicBezTo>
                    <a:pt x="31" y="233"/>
                    <a:pt x="31" y="233"/>
                    <a:pt x="31" y="233"/>
                  </a:cubicBezTo>
                  <a:cubicBezTo>
                    <a:pt x="55" y="207"/>
                    <a:pt x="55" y="207"/>
                    <a:pt x="55" y="207"/>
                  </a:cubicBezTo>
                  <a:cubicBezTo>
                    <a:pt x="87" y="173"/>
                    <a:pt x="87" y="173"/>
                    <a:pt x="87" y="173"/>
                  </a:cubicBezTo>
                  <a:cubicBezTo>
                    <a:pt x="100" y="176"/>
                    <a:pt x="113" y="178"/>
                    <a:pt x="127" y="178"/>
                  </a:cubicBezTo>
                  <a:cubicBezTo>
                    <a:pt x="160" y="178"/>
                    <a:pt x="192" y="169"/>
                    <a:pt x="215" y="153"/>
                  </a:cubicBezTo>
                  <a:cubicBezTo>
                    <a:pt x="241" y="136"/>
                    <a:pt x="255" y="113"/>
                    <a:pt x="255" y="89"/>
                  </a:cubicBezTo>
                  <a:cubicBezTo>
                    <a:pt x="255" y="64"/>
                    <a:pt x="241" y="41"/>
                    <a:pt x="215" y="24"/>
                  </a:cubicBezTo>
                  <a:close/>
                  <a:moveTo>
                    <a:pt x="59" y="149"/>
                  </a:moveTo>
                  <a:cubicBezTo>
                    <a:pt x="59" y="147"/>
                    <a:pt x="59" y="147"/>
                    <a:pt x="59" y="147"/>
                  </a:cubicBezTo>
                  <a:cubicBezTo>
                    <a:pt x="57" y="147"/>
                    <a:pt x="57" y="147"/>
                    <a:pt x="57" y="147"/>
                  </a:cubicBezTo>
                  <a:cubicBezTo>
                    <a:pt x="30" y="132"/>
                    <a:pt x="15" y="111"/>
                    <a:pt x="15" y="89"/>
                  </a:cubicBezTo>
                  <a:cubicBezTo>
                    <a:pt x="15" y="48"/>
                    <a:pt x="65" y="15"/>
                    <a:pt x="127" y="15"/>
                  </a:cubicBezTo>
                  <a:cubicBezTo>
                    <a:pt x="189" y="15"/>
                    <a:pt x="240" y="48"/>
                    <a:pt x="240" y="89"/>
                  </a:cubicBezTo>
                  <a:cubicBezTo>
                    <a:pt x="240" y="129"/>
                    <a:pt x="189" y="163"/>
                    <a:pt x="127" y="163"/>
                  </a:cubicBezTo>
                  <a:cubicBezTo>
                    <a:pt x="112" y="163"/>
                    <a:pt x="97" y="161"/>
                    <a:pt x="83" y="157"/>
                  </a:cubicBezTo>
                  <a:cubicBezTo>
                    <a:pt x="82" y="156"/>
                    <a:pt x="82" y="156"/>
                    <a:pt x="82" y="156"/>
                  </a:cubicBezTo>
                  <a:cubicBezTo>
                    <a:pt x="81" y="158"/>
                    <a:pt x="81" y="158"/>
                    <a:pt x="81" y="158"/>
                  </a:cubicBezTo>
                  <a:cubicBezTo>
                    <a:pt x="50" y="191"/>
                    <a:pt x="50" y="191"/>
                    <a:pt x="50" y="191"/>
                  </a:cubicBezTo>
                  <a:lnTo>
                    <a:pt x="59" y="149"/>
                  </a:lnTo>
                  <a:close/>
                </a:path>
              </a:pathLst>
            </a:custGeom>
            <a:solidFill>
              <a:schemeClr val="bg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defRPr/>
              </a:pPr>
              <a:endParaRPr lang="en-US" sz="1799" kern="0" spc="-122">
                <a:solidFill>
                  <a:srgbClr val="FFFFFF">
                    <a:lumMod val="50000"/>
                  </a:srgbClr>
                </a:solidFill>
                <a:latin typeface="Segoe Light" pitchFamily="34" charset="0"/>
              </a:endParaRPr>
            </a:p>
          </p:txBody>
        </p:sp>
        <p:sp>
          <p:nvSpPr>
            <p:cNvPr id="220" name="Freeform 169"/>
            <p:cNvSpPr>
              <a:spLocks/>
            </p:cNvSpPr>
            <p:nvPr/>
          </p:nvSpPr>
          <p:spPr bwMode="black">
            <a:xfrm>
              <a:off x="5534929" y="4585607"/>
              <a:ext cx="149797" cy="159970"/>
            </a:xfrm>
            <a:custGeom>
              <a:avLst/>
              <a:gdLst/>
              <a:ahLst/>
              <a:cxnLst>
                <a:cxn ang="0">
                  <a:pos x="203" y="74"/>
                </a:cxn>
                <a:cxn ang="0">
                  <a:pos x="170" y="20"/>
                </a:cxn>
                <a:cxn ang="0">
                  <a:pos x="98" y="0"/>
                </a:cxn>
                <a:cxn ang="0">
                  <a:pos x="95" y="0"/>
                </a:cxn>
                <a:cxn ang="0">
                  <a:pos x="95" y="3"/>
                </a:cxn>
                <a:cxn ang="0">
                  <a:pos x="96" y="11"/>
                </a:cxn>
                <a:cxn ang="0">
                  <a:pos x="96" y="13"/>
                </a:cxn>
                <a:cxn ang="0">
                  <a:pos x="99" y="13"/>
                </a:cxn>
                <a:cxn ang="0">
                  <a:pos x="190" y="74"/>
                </a:cxn>
                <a:cxn ang="0">
                  <a:pos x="155" y="121"/>
                </a:cxn>
                <a:cxn ang="0">
                  <a:pos x="153" y="122"/>
                </a:cxn>
                <a:cxn ang="0">
                  <a:pos x="153" y="124"/>
                </a:cxn>
                <a:cxn ang="0">
                  <a:pos x="160" y="157"/>
                </a:cxn>
                <a:cxn ang="0">
                  <a:pos x="136" y="130"/>
                </a:cxn>
                <a:cxn ang="0">
                  <a:pos x="134" y="129"/>
                </a:cxn>
                <a:cxn ang="0">
                  <a:pos x="133" y="130"/>
                </a:cxn>
                <a:cxn ang="0">
                  <a:pos x="97" y="134"/>
                </a:cxn>
                <a:cxn ang="0">
                  <a:pos x="15" y="102"/>
                </a:cxn>
                <a:cxn ang="0">
                  <a:pos x="14" y="100"/>
                </a:cxn>
                <a:cxn ang="0">
                  <a:pos x="12" y="101"/>
                </a:cxn>
                <a:cxn ang="0">
                  <a:pos x="4" y="103"/>
                </a:cxn>
                <a:cxn ang="0">
                  <a:pos x="0" y="104"/>
                </a:cxn>
                <a:cxn ang="0">
                  <a:pos x="2" y="107"/>
                </a:cxn>
                <a:cxn ang="0">
                  <a:pos x="24" y="127"/>
                </a:cxn>
                <a:cxn ang="0">
                  <a:pos x="97" y="148"/>
                </a:cxn>
                <a:cxn ang="0">
                  <a:pos x="130" y="144"/>
                </a:cxn>
                <a:cxn ang="0">
                  <a:pos x="156" y="172"/>
                </a:cxn>
                <a:cxn ang="0">
                  <a:pos x="176" y="194"/>
                </a:cxn>
                <a:cxn ang="0">
                  <a:pos x="182" y="200"/>
                </a:cxn>
                <a:cxn ang="0">
                  <a:pos x="180" y="192"/>
                </a:cxn>
                <a:cxn ang="0">
                  <a:pos x="175" y="163"/>
                </a:cxn>
                <a:cxn ang="0">
                  <a:pos x="168" y="129"/>
                </a:cxn>
                <a:cxn ang="0">
                  <a:pos x="203" y="74"/>
                </a:cxn>
              </a:cxnLst>
              <a:rect l="0" t="0" r="r" b="b"/>
              <a:pathLst>
                <a:path w="203" h="200">
                  <a:moveTo>
                    <a:pt x="203" y="74"/>
                  </a:moveTo>
                  <a:cubicBezTo>
                    <a:pt x="203" y="53"/>
                    <a:pt x="191" y="34"/>
                    <a:pt x="170" y="20"/>
                  </a:cubicBezTo>
                  <a:cubicBezTo>
                    <a:pt x="151" y="7"/>
                    <a:pt x="125" y="0"/>
                    <a:pt x="98" y="0"/>
                  </a:cubicBezTo>
                  <a:cubicBezTo>
                    <a:pt x="95" y="0"/>
                    <a:pt x="95" y="0"/>
                    <a:pt x="95" y="0"/>
                  </a:cubicBezTo>
                  <a:cubicBezTo>
                    <a:pt x="95" y="3"/>
                    <a:pt x="95" y="3"/>
                    <a:pt x="95" y="3"/>
                  </a:cubicBezTo>
                  <a:cubicBezTo>
                    <a:pt x="96" y="5"/>
                    <a:pt x="96" y="8"/>
                    <a:pt x="96" y="11"/>
                  </a:cubicBezTo>
                  <a:cubicBezTo>
                    <a:pt x="96" y="13"/>
                    <a:pt x="96" y="13"/>
                    <a:pt x="96" y="13"/>
                  </a:cubicBezTo>
                  <a:cubicBezTo>
                    <a:pt x="99" y="13"/>
                    <a:pt x="99" y="13"/>
                    <a:pt x="99" y="13"/>
                  </a:cubicBezTo>
                  <a:cubicBezTo>
                    <a:pt x="149" y="14"/>
                    <a:pt x="190" y="41"/>
                    <a:pt x="190" y="74"/>
                  </a:cubicBezTo>
                  <a:cubicBezTo>
                    <a:pt x="190" y="92"/>
                    <a:pt x="177" y="110"/>
                    <a:pt x="155" y="121"/>
                  </a:cubicBezTo>
                  <a:cubicBezTo>
                    <a:pt x="153" y="122"/>
                    <a:pt x="153" y="122"/>
                    <a:pt x="153" y="122"/>
                  </a:cubicBezTo>
                  <a:cubicBezTo>
                    <a:pt x="153" y="124"/>
                    <a:pt x="153" y="124"/>
                    <a:pt x="153" y="124"/>
                  </a:cubicBezTo>
                  <a:cubicBezTo>
                    <a:pt x="160" y="157"/>
                    <a:pt x="160" y="157"/>
                    <a:pt x="160" y="157"/>
                  </a:cubicBezTo>
                  <a:cubicBezTo>
                    <a:pt x="136" y="130"/>
                    <a:pt x="136" y="130"/>
                    <a:pt x="136" y="130"/>
                  </a:cubicBezTo>
                  <a:cubicBezTo>
                    <a:pt x="134" y="129"/>
                    <a:pt x="134" y="129"/>
                    <a:pt x="134" y="129"/>
                  </a:cubicBezTo>
                  <a:cubicBezTo>
                    <a:pt x="133" y="130"/>
                    <a:pt x="133" y="130"/>
                    <a:pt x="133" y="130"/>
                  </a:cubicBezTo>
                  <a:cubicBezTo>
                    <a:pt x="122" y="133"/>
                    <a:pt x="109" y="134"/>
                    <a:pt x="97" y="134"/>
                  </a:cubicBezTo>
                  <a:cubicBezTo>
                    <a:pt x="62" y="134"/>
                    <a:pt x="31" y="122"/>
                    <a:pt x="15" y="102"/>
                  </a:cubicBezTo>
                  <a:cubicBezTo>
                    <a:pt x="14" y="100"/>
                    <a:pt x="14" y="100"/>
                    <a:pt x="14" y="100"/>
                  </a:cubicBezTo>
                  <a:cubicBezTo>
                    <a:pt x="12" y="101"/>
                    <a:pt x="12" y="101"/>
                    <a:pt x="12" y="101"/>
                  </a:cubicBezTo>
                  <a:cubicBezTo>
                    <a:pt x="10" y="102"/>
                    <a:pt x="7" y="102"/>
                    <a:pt x="4" y="103"/>
                  </a:cubicBezTo>
                  <a:cubicBezTo>
                    <a:pt x="0" y="104"/>
                    <a:pt x="0" y="104"/>
                    <a:pt x="0" y="104"/>
                  </a:cubicBezTo>
                  <a:cubicBezTo>
                    <a:pt x="2" y="107"/>
                    <a:pt x="2" y="107"/>
                    <a:pt x="2" y="107"/>
                  </a:cubicBezTo>
                  <a:cubicBezTo>
                    <a:pt x="8" y="115"/>
                    <a:pt x="15" y="121"/>
                    <a:pt x="24" y="127"/>
                  </a:cubicBezTo>
                  <a:cubicBezTo>
                    <a:pt x="44" y="141"/>
                    <a:pt x="70" y="148"/>
                    <a:pt x="97" y="148"/>
                  </a:cubicBezTo>
                  <a:cubicBezTo>
                    <a:pt x="108" y="148"/>
                    <a:pt x="119" y="147"/>
                    <a:pt x="130" y="144"/>
                  </a:cubicBezTo>
                  <a:cubicBezTo>
                    <a:pt x="156" y="172"/>
                    <a:pt x="156" y="172"/>
                    <a:pt x="156" y="172"/>
                  </a:cubicBezTo>
                  <a:cubicBezTo>
                    <a:pt x="176" y="194"/>
                    <a:pt x="176" y="194"/>
                    <a:pt x="176" y="194"/>
                  </a:cubicBezTo>
                  <a:cubicBezTo>
                    <a:pt x="182" y="200"/>
                    <a:pt x="182" y="200"/>
                    <a:pt x="182" y="200"/>
                  </a:cubicBezTo>
                  <a:cubicBezTo>
                    <a:pt x="180" y="192"/>
                    <a:pt x="180" y="192"/>
                    <a:pt x="180" y="192"/>
                  </a:cubicBezTo>
                  <a:cubicBezTo>
                    <a:pt x="175" y="163"/>
                    <a:pt x="175" y="163"/>
                    <a:pt x="175" y="163"/>
                  </a:cubicBezTo>
                  <a:cubicBezTo>
                    <a:pt x="168" y="129"/>
                    <a:pt x="168" y="129"/>
                    <a:pt x="168" y="129"/>
                  </a:cubicBezTo>
                  <a:cubicBezTo>
                    <a:pt x="190" y="115"/>
                    <a:pt x="203" y="95"/>
                    <a:pt x="203" y="74"/>
                  </a:cubicBezTo>
                  <a:close/>
                </a:path>
              </a:pathLst>
            </a:custGeom>
            <a:solidFill>
              <a:schemeClr val="bg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defRPr/>
              </a:pPr>
              <a:endParaRPr lang="en-US" sz="1799" kern="0" spc="-122">
                <a:solidFill>
                  <a:srgbClr val="FFFFFF">
                    <a:lumMod val="50000"/>
                  </a:srgbClr>
                </a:solidFill>
                <a:latin typeface="Segoe Light" pitchFamily="34" charset="0"/>
              </a:endParaRPr>
            </a:p>
          </p:txBody>
        </p:sp>
      </p:grpSp>
      <p:sp>
        <p:nvSpPr>
          <p:cNvPr id="221" name="TextBox 220"/>
          <p:cNvSpPr txBox="1"/>
          <p:nvPr/>
        </p:nvSpPr>
        <p:spPr>
          <a:xfrm>
            <a:off x="6472819" y="5549721"/>
            <a:ext cx="1171947" cy="310308"/>
          </a:xfrm>
          <a:prstGeom prst="rect">
            <a:avLst/>
          </a:prstGeom>
        </p:spPr>
        <p:txBody>
          <a:bodyPr vert="horz" wrap="square" lIns="45708" tIns="45708" rIns="45708" bIns="45708" rtlCol="0" anchor="ctr">
            <a:noAutofit/>
          </a:bodyPr>
          <a:lstStyle>
            <a:defPPr>
              <a:defRPr lang="en-US"/>
            </a:defPPr>
            <a:lvl1pPr algn="ctr" defTabSz="1088105">
              <a:defRPr sz="12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sz="1000" kern="0" dirty="0">
                <a:solidFill>
                  <a:prstClr val="white"/>
                </a:solidFill>
              </a:rPr>
              <a:t>Microsoft Social Engagement</a:t>
            </a:r>
          </a:p>
        </p:txBody>
      </p:sp>
      <p:grpSp>
        <p:nvGrpSpPr>
          <p:cNvPr id="222" name="Group 221"/>
          <p:cNvGrpSpPr/>
          <p:nvPr/>
        </p:nvGrpSpPr>
        <p:grpSpPr>
          <a:xfrm>
            <a:off x="2075985" y="4922670"/>
            <a:ext cx="1093105" cy="965323"/>
            <a:chOff x="3781915" y="3807774"/>
            <a:chExt cx="1093390" cy="965574"/>
          </a:xfrm>
        </p:grpSpPr>
        <p:sp>
          <p:nvSpPr>
            <p:cNvPr id="223" name="Rectangle 222"/>
            <p:cNvSpPr/>
            <p:nvPr/>
          </p:nvSpPr>
          <p:spPr>
            <a:xfrm>
              <a:off x="3814117" y="4557904"/>
              <a:ext cx="1061188" cy="215444"/>
            </a:xfrm>
            <a:prstGeom prst="rect">
              <a:avLst/>
            </a:prstGeom>
            <a:noFill/>
            <a:ln w="6350" cap="flat" cmpd="sng" algn="ctr">
              <a:noFill/>
              <a:prstDash val="solid"/>
            </a:ln>
            <a:effectLst/>
          </p:spPr>
          <p:txBody>
            <a:bodyPr wrap="none" lIns="0" tIns="0" rIns="0" bIns="0" rtlCol="0" anchor="ctr">
              <a:spAutoFit/>
            </a:bodyPr>
            <a:lstStyle/>
            <a:p>
              <a:pPr marL="0" lvl="1" algn="ctr" defTabSz="1217741" fontAlgn="base">
                <a:spcBef>
                  <a:spcPts val="200"/>
                </a:spcBef>
                <a:buClr>
                  <a:srgbClr val="FFFF99"/>
                </a:buClr>
                <a:buSzPct val="90000"/>
                <a:defRPr/>
              </a:pPr>
              <a:r>
                <a:rPr lang="en-US" sz="1400" kern="0" dirty="0">
                  <a:solidFill>
                    <a:srgbClr val="0072C6"/>
                  </a:solidFill>
                  <a:latin typeface="Segoe UI Semibold" panose="020B0702040204020203" pitchFamily="34" charset="0"/>
                  <a:ea typeface="Segoe UI" pitchFamily="34" charset="0"/>
                  <a:cs typeface="Segoe UI" pitchFamily="34" charset="0"/>
                </a:rPr>
                <a:t>Data Insights</a:t>
              </a:r>
            </a:p>
          </p:txBody>
        </p:sp>
        <p:sp>
          <p:nvSpPr>
            <p:cNvPr id="224" name="Freeform 223"/>
            <p:cNvSpPr>
              <a:spLocks noChangeAspect="1"/>
            </p:cNvSpPr>
            <p:nvPr/>
          </p:nvSpPr>
          <p:spPr bwMode="auto">
            <a:xfrm>
              <a:off x="3997999" y="3891288"/>
              <a:ext cx="581904" cy="567941"/>
            </a:xfrm>
            <a:custGeom>
              <a:avLst/>
              <a:gdLst/>
              <a:ahLst/>
              <a:cxnLst/>
              <a:rect l="l" t="t" r="r" b="b"/>
              <a:pathLst>
                <a:path w="4302474" h="4244921">
                  <a:moveTo>
                    <a:pt x="662474" y="3031306"/>
                  </a:moveTo>
                  <a:lnTo>
                    <a:pt x="1339698" y="3086511"/>
                  </a:lnTo>
                  <a:lnTo>
                    <a:pt x="1189316" y="3212867"/>
                  </a:lnTo>
                  <a:cubicBezTo>
                    <a:pt x="1361738" y="3339494"/>
                    <a:pt x="1899676" y="3610086"/>
                    <a:pt x="2421111" y="3521876"/>
                  </a:cubicBezTo>
                  <a:lnTo>
                    <a:pt x="2206882" y="3794685"/>
                  </a:lnTo>
                  <a:lnTo>
                    <a:pt x="2512604" y="4104137"/>
                  </a:lnTo>
                  <a:cubicBezTo>
                    <a:pt x="1778146" y="4225364"/>
                    <a:pt x="1188060" y="3987486"/>
                    <a:pt x="709988" y="3532493"/>
                  </a:cubicBezTo>
                  <a:lnTo>
                    <a:pt x="551662" y="3684753"/>
                  </a:lnTo>
                  <a:close/>
                  <a:moveTo>
                    <a:pt x="3525512" y="2472932"/>
                  </a:moveTo>
                  <a:lnTo>
                    <a:pt x="3736350" y="2855417"/>
                  </a:lnTo>
                  <a:lnTo>
                    <a:pt x="4067130" y="2735505"/>
                  </a:lnTo>
                  <a:cubicBezTo>
                    <a:pt x="3910343" y="3276383"/>
                    <a:pt x="3434822" y="3814468"/>
                    <a:pt x="2761327" y="4046261"/>
                  </a:cubicBezTo>
                  <a:lnTo>
                    <a:pt x="2775115" y="4244921"/>
                  </a:lnTo>
                  <a:lnTo>
                    <a:pt x="2336714" y="3800527"/>
                  </a:lnTo>
                  <a:lnTo>
                    <a:pt x="2699735" y="3292318"/>
                  </a:lnTo>
                  <a:lnTo>
                    <a:pt x="2716265" y="3448052"/>
                  </a:lnTo>
                  <a:cubicBezTo>
                    <a:pt x="2913217" y="3364543"/>
                    <a:pt x="3450254" y="3000009"/>
                    <a:pt x="3525512" y="2472932"/>
                  </a:cubicBezTo>
                  <a:close/>
                  <a:moveTo>
                    <a:pt x="647776" y="1318635"/>
                  </a:moveTo>
                  <a:lnTo>
                    <a:pt x="912024" y="1889568"/>
                  </a:lnTo>
                  <a:lnTo>
                    <a:pt x="724354" y="1824308"/>
                  </a:lnTo>
                  <a:cubicBezTo>
                    <a:pt x="680520" y="2033694"/>
                    <a:pt x="670035" y="2536527"/>
                    <a:pt x="988263" y="2969836"/>
                  </a:cubicBezTo>
                  <a:lnTo>
                    <a:pt x="578667" y="2940790"/>
                  </a:lnTo>
                  <a:lnTo>
                    <a:pt x="519757" y="3323386"/>
                  </a:lnTo>
                  <a:cubicBezTo>
                    <a:pt x="142529" y="2837302"/>
                    <a:pt x="74113" y="2104852"/>
                    <a:pt x="196686" y="1642899"/>
                  </a:cubicBezTo>
                  <a:lnTo>
                    <a:pt x="0" y="1594841"/>
                  </a:lnTo>
                  <a:close/>
                  <a:moveTo>
                    <a:pt x="3620260" y="730478"/>
                  </a:moveTo>
                  <a:cubicBezTo>
                    <a:pt x="4033733" y="1098029"/>
                    <a:pt x="4275138" y="1844086"/>
                    <a:pt x="4120540" y="2491437"/>
                  </a:cubicBezTo>
                  <a:lnTo>
                    <a:pt x="4302474" y="2563960"/>
                  </a:lnTo>
                  <a:lnTo>
                    <a:pt x="3798677" y="2749109"/>
                  </a:lnTo>
                  <a:lnTo>
                    <a:pt x="3472387" y="2208919"/>
                  </a:lnTo>
                  <a:lnTo>
                    <a:pt x="3585155" y="2254985"/>
                  </a:lnTo>
                  <a:cubicBezTo>
                    <a:pt x="3611001" y="1852129"/>
                    <a:pt x="3432844" y="1328610"/>
                    <a:pt x="3114005" y="1104075"/>
                  </a:cubicBezTo>
                  <a:lnTo>
                    <a:pt x="3585698" y="1050994"/>
                  </a:lnTo>
                  <a:close/>
                  <a:moveTo>
                    <a:pt x="1892533" y="133349"/>
                  </a:moveTo>
                  <a:cubicBezTo>
                    <a:pt x="2384988" y="60439"/>
                    <a:pt x="2955319" y="178992"/>
                    <a:pt x="3438386" y="560947"/>
                  </a:cubicBezTo>
                  <a:lnTo>
                    <a:pt x="3550393" y="467694"/>
                  </a:lnTo>
                  <a:lnTo>
                    <a:pt x="3502246" y="970368"/>
                  </a:lnTo>
                  <a:cubicBezTo>
                    <a:pt x="3271583" y="1000546"/>
                    <a:pt x="3040920" y="1015483"/>
                    <a:pt x="2810256" y="1038041"/>
                  </a:cubicBezTo>
                  <a:lnTo>
                    <a:pt x="2933313" y="934789"/>
                  </a:lnTo>
                  <a:cubicBezTo>
                    <a:pt x="2656424" y="758977"/>
                    <a:pt x="2363689" y="669355"/>
                    <a:pt x="1969181" y="705095"/>
                  </a:cubicBezTo>
                  <a:lnTo>
                    <a:pt x="2154737" y="335131"/>
                  </a:lnTo>
                  <a:close/>
                  <a:moveTo>
                    <a:pt x="1460851" y="0"/>
                  </a:moveTo>
                  <a:cubicBezTo>
                    <a:pt x="1609533" y="83809"/>
                    <a:pt x="1867446" y="214583"/>
                    <a:pt x="2054478" y="354019"/>
                  </a:cubicBezTo>
                  <a:lnTo>
                    <a:pt x="1741070" y="954311"/>
                  </a:lnTo>
                  <a:lnTo>
                    <a:pt x="1656922" y="757789"/>
                  </a:lnTo>
                  <a:cubicBezTo>
                    <a:pt x="1340856" y="892862"/>
                    <a:pt x="931601" y="1317770"/>
                    <a:pt x="856671" y="1587702"/>
                  </a:cubicBezTo>
                  <a:lnTo>
                    <a:pt x="694928" y="1212887"/>
                  </a:lnTo>
                  <a:lnTo>
                    <a:pt x="269556" y="1396576"/>
                  </a:lnTo>
                  <a:cubicBezTo>
                    <a:pt x="520909" y="684763"/>
                    <a:pt x="1206237" y="294700"/>
                    <a:pt x="1528653" y="200296"/>
                  </a:cubicBezTo>
                  <a:close/>
                </a:path>
              </a:pathLst>
            </a:custGeom>
            <a:solidFill>
              <a:schemeClr val="bg1">
                <a:lumMod val="50000"/>
              </a:schemeClr>
            </a:solidFill>
            <a:ln w="12700" cap="flat" cmpd="sng" algn="ctr">
              <a:noFill/>
              <a:prstDash val="solid"/>
              <a:round/>
              <a:headEnd type="none" w="med" len="med"/>
              <a:tailEnd type="none" w="med" len="med"/>
            </a:ln>
            <a:effectLst/>
          </p:spPr>
          <p:txBody>
            <a:bodyPr vert="horz" wrap="square" lIns="91416" tIns="45708" rIns="91416" bIns="45708" numCol="1" rtlCol="0" anchor="t" anchorCtr="0" compatLnSpc="1">
              <a:prstTxWarp prst="textNoShape">
                <a:avLst/>
              </a:prstTxWarp>
            </a:bodyPr>
            <a:lstStyle/>
            <a:p>
              <a:pPr defTabSz="914126" eaLnBrk="0" fontAlgn="base" hangingPunct="0">
                <a:spcBef>
                  <a:spcPct val="0"/>
                </a:spcBef>
                <a:spcAft>
                  <a:spcPct val="0"/>
                </a:spcAft>
                <a:defRPr/>
              </a:pPr>
              <a:endParaRPr lang="en-US" sz="1799" kern="0">
                <a:solidFill>
                  <a:srgbClr val="505050"/>
                </a:solidFill>
                <a:latin typeface="Arial" charset="0"/>
              </a:endParaRPr>
            </a:p>
          </p:txBody>
        </p:sp>
        <p:sp>
          <p:nvSpPr>
            <p:cNvPr id="227" name="Rectangle 6"/>
            <p:cNvSpPr>
              <a:spLocks noChangeAspect="1"/>
            </p:cNvSpPr>
            <p:nvPr/>
          </p:nvSpPr>
          <p:spPr>
            <a:xfrm>
              <a:off x="4126743" y="4046493"/>
              <a:ext cx="309385" cy="174406"/>
            </a:xfrm>
            <a:custGeom>
              <a:avLst/>
              <a:gdLst/>
              <a:ahLst/>
              <a:cxnLst/>
              <a:rect l="l" t="t" r="r" b="b"/>
              <a:pathLst>
                <a:path w="1625202" h="916157">
                  <a:moveTo>
                    <a:pt x="821597" y="911038"/>
                  </a:moveTo>
                  <a:lnTo>
                    <a:pt x="818570" y="916157"/>
                  </a:lnTo>
                  <a:lnTo>
                    <a:pt x="809922" y="911044"/>
                  </a:lnTo>
                  <a:lnTo>
                    <a:pt x="815746" y="912261"/>
                  </a:lnTo>
                  <a:close/>
                  <a:moveTo>
                    <a:pt x="720180" y="855444"/>
                  </a:moveTo>
                  <a:lnTo>
                    <a:pt x="719065" y="857329"/>
                  </a:lnTo>
                  <a:lnTo>
                    <a:pt x="722873" y="859580"/>
                  </a:lnTo>
                  <a:close/>
                  <a:moveTo>
                    <a:pt x="48843" y="793270"/>
                  </a:moveTo>
                  <a:cubicBezTo>
                    <a:pt x="75818" y="793271"/>
                    <a:pt x="97685" y="815912"/>
                    <a:pt x="97685" y="843840"/>
                  </a:cubicBezTo>
                  <a:cubicBezTo>
                    <a:pt x="97685" y="871769"/>
                    <a:pt x="75818" y="894410"/>
                    <a:pt x="48842" y="894410"/>
                  </a:cubicBezTo>
                  <a:cubicBezTo>
                    <a:pt x="21868" y="894411"/>
                    <a:pt x="1" y="871769"/>
                    <a:pt x="0" y="843840"/>
                  </a:cubicBezTo>
                  <a:cubicBezTo>
                    <a:pt x="1" y="815911"/>
                    <a:pt x="21868" y="793270"/>
                    <a:pt x="48843" y="793270"/>
                  </a:cubicBezTo>
                  <a:close/>
                  <a:moveTo>
                    <a:pt x="1576360" y="793270"/>
                  </a:moveTo>
                  <a:cubicBezTo>
                    <a:pt x="1603335" y="793270"/>
                    <a:pt x="1625202" y="815911"/>
                    <a:pt x="1625202" y="843840"/>
                  </a:cubicBezTo>
                  <a:cubicBezTo>
                    <a:pt x="1625202" y="871770"/>
                    <a:pt x="1603335" y="894410"/>
                    <a:pt x="1576360" y="894410"/>
                  </a:cubicBezTo>
                  <a:cubicBezTo>
                    <a:pt x="1549385" y="894410"/>
                    <a:pt x="1527518" y="871769"/>
                    <a:pt x="1527519" y="843840"/>
                  </a:cubicBezTo>
                  <a:cubicBezTo>
                    <a:pt x="1527518" y="815912"/>
                    <a:pt x="1549385" y="793270"/>
                    <a:pt x="1576360" y="793270"/>
                  </a:cubicBezTo>
                  <a:close/>
                  <a:moveTo>
                    <a:pt x="149401" y="396635"/>
                  </a:moveTo>
                  <a:cubicBezTo>
                    <a:pt x="176376" y="396635"/>
                    <a:pt x="198243" y="419276"/>
                    <a:pt x="198243" y="447206"/>
                  </a:cubicBezTo>
                  <a:cubicBezTo>
                    <a:pt x="198243" y="475134"/>
                    <a:pt x="176376" y="497774"/>
                    <a:pt x="149401" y="497775"/>
                  </a:cubicBezTo>
                  <a:cubicBezTo>
                    <a:pt x="122425" y="497775"/>
                    <a:pt x="100558" y="475134"/>
                    <a:pt x="100559" y="447205"/>
                  </a:cubicBezTo>
                  <a:cubicBezTo>
                    <a:pt x="100559" y="419276"/>
                    <a:pt x="122426" y="396635"/>
                    <a:pt x="149401" y="396635"/>
                  </a:cubicBezTo>
                  <a:close/>
                  <a:moveTo>
                    <a:pt x="1475802" y="396635"/>
                  </a:moveTo>
                  <a:cubicBezTo>
                    <a:pt x="1502777" y="396635"/>
                    <a:pt x="1524645" y="419276"/>
                    <a:pt x="1524644" y="447205"/>
                  </a:cubicBezTo>
                  <a:cubicBezTo>
                    <a:pt x="1524644" y="475134"/>
                    <a:pt x="1502777" y="497775"/>
                    <a:pt x="1475802" y="497775"/>
                  </a:cubicBezTo>
                  <a:cubicBezTo>
                    <a:pt x="1448827" y="497775"/>
                    <a:pt x="1426960" y="475134"/>
                    <a:pt x="1426960" y="447205"/>
                  </a:cubicBezTo>
                  <a:cubicBezTo>
                    <a:pt x="1426960" y="419276"/>
                    <a:pt x="1448827" y="396635"/>
                    <a:pt x="1475802" y="396635"/>
                  </a:cubicBezTo>
                  <a:close/>
                  <a:moveTo>
                    <a:pt x="1113808" y="303208"/>
                  </a:moveTo>
                  <a:lnTo>
                    <a:pt x="1116298" y="312902"/>
                  </a:lnTo>
                  <a:lnTo>
                    <a:pt x="1103680" y="305810"/>
                  </a:lnTo>
                  <a:close/>
                  <a:moveTo>
                    <a:pt x="815746" y="228408"/>
                  </a:moveTo>
                  <a:cubicBezTo>
                    <a:pt x="900583" y="228409"/>
                    <a:pt x="981403" y="246211"/>
                    <a:pt x="1054914" y="278404"/>
                  </a:cubicBezTo>
                  <a:lnTo>
                    <a:pt x="1103680" y="305810"/>
                  </a:lnTo>
                  <a:lnTo>
                    <a:pt x="955475" y="343885"/>
                  </a:lnTo>
                  <a:lnTo>
                    <a:pt x="1005228" y="373299"/>
                  </a:lnTo>
                  <a:lnTo>
                    <a:pt x="826016" y="676426"/>
                  </a:lnTo>
                  <a:lnTo>
                    <a:pt x="860479" y="683630"/>
                  </a:lnTo>
                  <a:cubicBezTo>
                    <a:pt x="874229" y="689651"/>
                    <a:pt x="886611" y="698364"/>
                    <a:pt x="897009" y="709131"/>
                  </a:cubicBezTo>
                  <a:lnTo>
                    <a:pt x="920048" y="744512"/>
                  </a:lnTo>
                  <a:lnTo>
                    <a:pt x="1104732" y="432127"/>
                  </a:lnTo>
                  <a:lnTo>
                    <a:pt x="1154485" y="461541"/>
                  </a:lnTo>
                  <a:lnTo>
                    <a:pt x="1116298" y="312902"/>
                  </a:lnTo>
                  <a:lnTo>
                    <a:pt x="1159285" y="337059"/>
                  </a:lnTo>
                  <a:cubicBezTo>
                    <a:pt x="1322728" y="451387"/>
                    <a:pt x="1430186" y="644999"/>
                    <a:pt x="1430186" y="864596"/>
                  </a:cubicBezTo>
                  <a:lnTo>
                    <a:pt x="875467" y="864596"/>
                  </a:lnTo>
                  <a:lnTo>
                    <a:pt x="883991" y="858645"/>
                  </a:lnTo>
                  <a:cubicBezTo>
                    <a:pt x="900150" y="841914"/>
                    <a:pt x="910145" y="818800"/>
                    <a:pt x="910145" y="793270"/>
                  </a:cubicBezTo>
                  <a:cubicBezTo>
                    <a:pt x="910145" y="742209"/>
                    <a:pt x="870165" y="700815"/>
                    <a:pt x="820850" y="700816"/>
                  </a:cubicBezTo>
                  <a:cubicBezTo>
                    <a:pt x="771535" y="700815"/>
                    <a:pt x="731555" y="742209"/>
                    <a:pt x="731555" y="793270"/>
                  </a:cubicBezTo>
                  <a:cubicBezTo>
                    <a:pt x="731555" y="818800"/>
                    <a:pt x="741550" y="841914"/>
                    <a:pt x="757709" y="858646"/>
                  </a:cubicBezTo>
                  <a:lnTo>
                    <a:pt x="766233" y="864596"/>
                  </a:lnTo>
                  <a:lnTo>
                    <a:pt x="201306" y="864596"/>
                  </a:lnTo>
                  <a:cubicBezTo>
                    <a:pt x="201306" y="513240"/>
                    <a:pt x="476400" y="228408"/>
                    <a:pt x="815746" y="228408"/>
                  </a:cubicBezTo>
                  <a:close/>
                  <a:moveTo>
                    <a:pt x="1231592" y="118991"/>
                  </a:moveTo>
                  <a:cubicBezTo>
                    <a:pt x="1258567" y="118991"/>
                    <a:pt x="1280434" y="141632"/>
                    <a:pt x="1280434" y="169560"/>
                  </a:cubicBezTo>
                  <a:cubicBezTo>
                    <a:pt x="1280434" y="197490"/>
                    <a:pt x="1258567" y="220131"/>
                    <a:pt x="1231592" y="220130"/>
                  </a:cubicBezTo>
                  <a:cubicBezTo>
                    <a:pt x="1204617" y="220130"/>
                    <a:pt x="1182750" y="197490"/>
                    <a:pt x="1182750" y="169561"/>
                  </a:cubicBezTo>
                  <a:cubicBezTo>
                    <a:pt x="1182750" y="141632"/>
                    <a:pt x="1204617" y="118991"/>
                    <a:pt x="1231592" y="118991"/>
                  </a:cubicBezTo>
                  <a:close/>
                  <a:moveTo>
                    <a:pt x="436708" y="118991"/>
                  </a:moveTo>
                  <a:cubicBezTo>
                    <a:pt x="463682" y="118991"/>
                    <a:pt x="485550" y="141632"/>
                    <a:pt x="485550" y="169561"/>
                  </a:cubicBezTo>
                  <a:cubicBezTo>
                    <a:pt x="485550" y="197490"/>
                    <a:pt x="463683" y="220131"/>
                    <a:pt x="436708" y="220131"/>
                  </a:cubicBezTo>
                  <a:cubicBezTo>
                    <a:pt x="409733" y="220131"/>
                    <a:pt x="387866" y="197490"/>
                    <a:pt x="387866" y="169561"/>
                  </a:cubicBezTo>
                  <a:cubicBezTo>
                    <a:pt x="387866" y="141632"/>
                    <a:pt x="409733" y="118991"/>
                    <a:pt x="436708" y="118991"/>
                  </a:cubicBezTo>
                  <a:close/>
                  <a:moveTo>
                    <a:pt x="824572" y="0"/>
                  </a:moveTo>
                  <a:cubicBezTo>
                    <a:pt x="851547" y="0"/>
                    <a:pt x="873414" y="22641"/>
                    <a:pt x="873414" y="50570"/>
                  </a:cubicBezTo>
                  <a:cubicBezTo>
                    <a:pt x="873414" y="78498"/>
                    <a:pt x="851547" y="101140"/>
                    <a:pt x="824572" y="101140"/>
                  </a:cubicBezTo>
                  <a:cubicBezTo>
                    <a:pt x="797597" y="101140"/>
                    <a:pt x="775730" y="78499"/>
                    <a:pt x="775730" y="50570"/>
                  </a:cubicBezTo>
                  <a:cubicBezTo>
                    <a:pt x="775730" y="22640"/>
                    <a:pt x="797597" y="0"/>
                    <a:pt x="824572" y="0"/>
                  </a:cubicBezTo>
                  <a:close/>
                </a:path>
              </a:pathLst>
            </a:custGeom>
            <a:solidFill>
              <a:schemeClr val="bg1">
                <a:lumMod val="50000"/>
              </a:schemeClr>
            </a:solidFill>
          </p:spPr>
          <p:txBody>
            <a:bodyPr vert="horz" lIns="137124" tIns="91416" rIns="91416" bIns="91416" rtlCol="0" anchor="t" anchorCtr="0">
              <a:normAutofit fontScale="25000" lnSpcReduction="20000"/>
            </a:bodyPr>
            <a:lstStyle/>
            <a:p>
              <a:pPr algn="ctr" defTabSz="914126">
                <a:defRPr/>
              </a:pPr>
              <a:endParaRPr lang="en-US" sz="2665" kern="800">
                <a:solidFill>
                  <a:srgbClr val="FFFFFF"/>
                </a:solidFill>
                <a:latin typeface="Segoe UI"/>
                <a:cs typeface="Segoe UI Light"/>
              </a:endParaRPr>
            </a:p>
          </p:txBody>
        </p:sp>
        <p:grpSp>
          <p:nvGrpSpPr>
            <p:cNvPr id="232" name="Group 231"/>
            <p:cNvGrpSpPr>
              <a:grpSpLocks noChangeAspect="1"/>
            </p:cNvGrpSpPr>
            <p:nvPr/>
          </p:nvGrpSpPr>
          <p:grpSpPr>
            <a:xfrm>
              <a:off x="3781915" y="4081316"/>
              <a:ext cx="143023" cy="219898"/>
              <a:chOff x="2868251" y="1951011"/>
              <a:chExt cx="1221836" cy="1878573"/>
            </a:xfrm>
            <a:solidFill>
              <a:schemeClr val="bg2">
                <a:lumMod val="75000"/>
                <a:lumOff val="25000"/>
              </a:schemeClr>
            </a:solidFill>
          </p:grpSpPr>
          <p:sp>
            <p:nvSpPr>
              <p:cNvPr id="370" name="Freeform 38"/>
              <p:cNvSpPr>
                <a:spLocks noEditPoints="1"/>
              </p:cNvSpPr>
              <p:nvPr/>
            </p:nvSpPr>
            <p:spPr bwMode="black">
              <a:xfrm rot="378314" flipH="1">
                <a:off x="2868251" y="3251394"/>
                <a:ext cx="368236" cy="578190"/>
              </a:xfrm>
              <a:custGeom>
                <a:avLst/>
                <a:gdLst>
                  <a:gd name="T0" fmla="*/ 87 w 210"/>
                  <a:gd name="T1" fmla="*/ 63 h 330"/>
                  <a:gd name="T2" fmla="*/ 172 w 210"/>
                  <a:gd name="T3" fmla="*/ 88 h 330"/>
                  <a:gd name="T4" fmla="*/ 191 w 210"/>
                  <a:gd name="T5" fmla="*/ 240 h 330"/>
                  <a:gd name="T6" fmla="*/ 167 w 210"/>
                  <a:gd name="T7" fmla="*/ 324 h 330"/>
                  <a:gd name="T8" fmla="*/ 117 w 210"/>
                  <a:gd name="T9" fmla="*/ 267 h 330"/>
                  <a:gd name="T10" fmla="*/ 79 w 210"/>
                  <a:gd name="T11" fmla="*/ 152 h 330"/>
                  <a:gd name="T12" fmla="*/ 87 w 210"/>
                  <a:gd name="T13" fmla="*/ 63 h 330"/>
                  <a:gd name="T14" fmla="*/ 9 w 210"/>
                  <a:gd name="T15" fmla="*/ 24 h 330"/>
                  <a:gd name="T16" fmla="*/ 9 w 210"/>
                  <a:gd name="T17" fmla="*/ 60 h 330"/>
                  <a:gd name="T18" fmla="*/ 41 w 210"/>
                  <a:gd name="T19" fmla="*/ 77 h 330"/>
                  <a:gd name="T20" fmla="*/ 42 w 210"/>
                  <a:gd name="T21" fmla="*/ 40 h 330"/>
                  <a:gd name="T22" fmla="*/ 9 w 210"/>
                  <a:gd name="T23" fmla="*/ 24 h 330"/>
                  <a:gd name="T24" fmla="*/ 54 w 210"/>
                  <a:gd name="T25" fmla="*/ 5 h 330"/>
                  <a:gd name="T26" fmla="*/ 48 w 210"/>
                  <a:gd name="T27" fmla="*/ 34 h 330"/>
                  <a:gd name="T28" fmla="*/ 71 w 210"/>
                  <a:gd name="T29" fmla="*/ 52 h 330"/>
                  <a:gd name="T30" fmla="*/ 77 w 210"/>
                  <a:gd name="T31" fmla="*/ 24 h 330"/>
                  <a:gd name="T32" fmla="*/ 54 w 210"/>
                  <a:gd name="T33" fmla="*/ 5 h 330"/>
                  <a:gd name="T34" fmla="*/ 95 w 210"/>
                  <a:gd name="T35" fmla="*/ 2 h 330"/>
                  <a:gd name="T36" fmla="*/ 86 w 210"/>
                  <a:gd name="T37" fmla="*/ 26 h 330"/>
                  <a:gd name="T38" fmla="*/ 104 w 210"/>
                  <a:gd name="T39" fmla="*/ 46 h 330"/>
                  <a:gd name="T40" fmla="*/ 113 w 210"/>
                  <a:gd name="T41" fmla="*/ 21 h 330"/>
                  <a:gd name="T42" fmla="*/ 95 w 210"/>
                  <a:gd name="T43" fmla="*/ 2 h 330"/>
                  <a:gd name="T44" fmla="*/ 133 w 210"/>
                  <a:gd name="T45" fmla="*/ 7 h 330"/>
                  <a:gd name="T46" fmla="*/ 120 w 210"/>
                  <a:gd name="T47" fmla="*/ 28 h 330"/>
                  <a:gd name="T48" fmla="*/ 133 w 210"/>
                  <a:gd name="T49" fmla="*/ 48 h 330"/>
                  <a:gd name="T50" fmla="*/ 145 w 210"/>
                  <a:gd name="T51" fmla="*/ 28 h 330"/>
                  <a:gd name="T52" fmla="*/ 133 w 210"/>
                  <a:gd name="T53" fmla="*/ 7 h 330"/>
                  <a:gd name="T54" fmla="*/ 163 w 210"/>
                  <a:gd name="T55" fmla="*/ 23 h 330"/>
                  <a:gd name="T56" fmla="*/ 150 w 210"/>
                  <a:gd name="T57" fmla="*/ 40 h 330"/>
                  <a:gd name="T58" fmla="*/ 160 w 210"/>
                  <a:gd name="T59" fmla="*/ 59 h 330"/>
                  <a:gd name="T60" fmla="*/ 173 w 210"/>
                  <a:gd name="T61" fmla="*/ 42 h 330"/>
                  <a:gd name="T62" fmla="*/ 163 w 210"/>
                  <a:gd name="T63" fmla="*/ 23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0" h="330">
                    <a:moveTo>
                      <a:pt x="87" y="63"/>
                    </a:moveTo>
                    <a:cubicBezTo>
                      <a:pt x="119" y="54"/>
                      <a:pt x="160" y="61"/>
                      <a:pt x="172" y="88"/>
                    </a:cubicBezTo>
                    <a:cubicBezTo>
                      <a:pt x="195" y="141"/>
                      <a:pt x="169" y="168"/>
                      <a:pt x="191" y="240"/>
                    </a:cubicBezTo>
                    <a:cubicBezTo>
                      <a:pt x="210" y="299"/>
                      <a:pt x="188" y="318"/>
                      <a:pt x="167" y="324"/>
                    </a:cubicBezTo>
                    <a:cubicBezTo>
                      <a:pt x="145" y="330"/>
                      <a:pt x="116" y="306"/>
                      <a:pt x="117" y="267"/>
                    </a:cubicBezTo>
                    <a:cubicBezTo>
                      <a:pt x="118" y="216"/>
                      <a:pt x="111" y="178"/>
                      <a:pt x="79" y="152"/>
                    </a:cubicBezTo>
                    <a:cubicBezTo>
                      <a:pt x="41" y="122"/>
                      <a:pt x="32" y="77"/>
                      <a:pt x="87" y="63"/>
                    </a:cubicBezTo>
                    <a:close/>
                    <a:moveTo>
                      <a:pt x="9" y="24"/>
                    </a:moveTo>
                    <a:cubicBezTo>
                      <a:pt x="0" y="29"/>
                      <a:pt x="0" y="46"/>
                      <a:pt x="9" y="60"/>
                    </a:cubicBezTo>
                    <a:cubicBezTo>
                      <a:pt x="17" y="75"/>
                      <a:pt x="32" y="82"/>
                      <a:pt x="41" y="77"/>
                    </a:cubicBezTo>
                    <a:cubicBezTo>
                      <a:pt x="50" y="71"/>
                      <a:pt x="50" y="55"/>
                      <a:pt x="42" y="40"/>
                    </a:cubicBezTo>
                    <a:cubicBezTo>
                      <a:pt x="33" y="26"/>
                      <a:pt x="18" y="18"/>
                      <a:pt x="9" y="24"/>
                    </a:cubicBezTo>
                    <a:close/>
                    <a:moveTo>
                      <a:pt x="54" y="5"/>
                    </a:moveTo>
                    <a:cubicBezTo>
                      <a:pt x="46" y="8"/>
                      <a:pt x="43" y="21"/>
                      <a:pt x="48" y="34"/>
                    </a:cubicBezTo>
                    <a:cubicBezTo>
                      <a:pt x="53" y="47"/>
                      <a:pt x="63" y="55"/>
                      <a:pt x="71" y="52"/>
                    </a:cubicBezTo>
                    <a:cubicBezTo>
                      <a:pt x="79" y="50"/>
                      <a:pt x="82" y="37"/>
                      <a:pt x="77" y="24"/>
                    </a:cubicBezTo>
                    <a:cubicBezTo>
                      <a:pt x="72" y="11"/>
                      <a:pt x="62" y="3"/>
                      <a:pt x="54" y="5"/>
                    </a:cubicBezTo>
                    <a:close/>
                    <a:moveTo>
                      <a:pt x="95" y="2"/>
                    </a:moveTo>
                    <a:cubicBezTo>
                      <a:pt x="88" y="3"/>
                      <a:pt x="84" y="14"/>
                      <a:pt x="86" y="26"/>
                    </a:cubicBezTo>
                    <a:cubicBezTo>
                      <a:pt x="88" y="38"/>
                      <a:pt x="96" y="47"/>
                      <a:pt x="104" y="46"/>
                    </a:cubicBezTo>
                    <a:cubicBezTo>
                      <a:pt x="111" y="44"/>
                      <a:pt x="115" y="33"/>
                      <a:pt x="113" y="21"/>
                    </a:cubicBezTo>
                    <a:cubicBezTo>
                      <a:pt x="111" y="9"/>
                      <a:pt x="103" y="0"/>
                      <a:pt x="95" y="2"/>
                    </a:cubicBezTo>
                    <a:close/>
                    <a:moveTo>
                      <a:pt x="133" y="7"/>
                    </a:moveTo>
                    <a:cubicBezTo>
                      <a:pt x="126" y="8"/>
                      <a:pt x="120" y="17"/>
                      <a:pt x="120" y="28"/>
                    </a:cubicBezTo>
                    <a:cubicBezTo>
                      <a:pt x="120" y="39"/>
                      <a:pt x="126" y="48"/>
                      <a:pt x="133" y="48"/>
                    </a:cubicBezTo>
                    <a:cubicBezTo>
                      <a:pt x="140" y="48"/>
                      <a:pt x="145" y="39"/>
                      <a:pt x="145" y="28"/>
                    </a:cubicBezTo>
                    <a:cubicBezTo>
                      <a:pt x="145" y="16"/>
                      <a:pt x="139" y="7"/>
                      <a:pt x="133" y="7"/>
                    </a:cubicBezTo>
                    <a:close/>
                    <a:moveTo>
                      <a:pt x="163" y="23"/>
                    </a:moveTo>
                    <a:cubicBezTo>
                      <a:pt x="157" y="22"/>
                      <a:pt x="151" y="30"/>
                      <a:pt x="150" y="40"/>
                    </a:cubicBezTo>
                    <a:cubicBezTo>
                      <a:pt x="149" y="50"/>
                      <a:pt x="154" y="59"/>
                      <a:pt x="160" y="59"/>
                    </a:cubicBezTo>
                    <a:cubicBezTo>
                      <a:pt x="166" y="60"/>
                      <a:pt x="172" y="52"/>
                      <a:pt x="173" y="42"/>
                    </a:cubicBezTo>
                    <a:cubicBezTo>
                      <a:pt x="173" y="32"/>
                      <a:pt x="169" y="23"/>
                      <a:pt x="163" y="23"/>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defTabSz="914126">
                  <a:defRPr/>
                </a:pPr>
                <a:endParaRPr lang="en-US" sz="1600" kern="0">
                  <a:solidFill>
                    <a:srgbClr val="FFFFFF"/>
                  </a:solidFill>
                  <a:latin typeface="Segoe UI"/>
                </a:endParaRPr>
              </a:p>
            </p:txBody>
          </p:sp>
          <p:sp>
            <p:nvSpPr>
              <p:cNvPr id="371" name="Freeform 38"/>
              <p:cNvSpPr>
                <a:spLocks noEditPoints="1"/>
              </p:cNvSpPr>
              <p:nvPr/>
            </p:nvSpPr>
            <p:spPr bwMode="black">
              <a:xfrm rot="2155644">
                <a:off x="3387235" y="2917764"/>
                <a:ext cx="368236" cy="578190"/>
              </a:xfrm>
              <a:custGeom>
                <a:avLst/>
                <a:gdLst>
                  <a:gd name="T0" fmla="*/ 87 w 210"/>
                  <a:gd name="T1" fmla="*/ 63 h 330"/>
                  <a:gd name="T2" fmla="*/ 172 w 210"/>
                  <a:gd name="T3" fmla="*/ 88 h 330"/>
                  <a:gd name="T4" fmla="*/ 191 w 210"/>
                  <a:gd name="T5" fmla="*/ 240 h 330"/>
                  <a:gd name="T6" fmla="*/ 167 w 210"/>
                  <a:gd name="T7" fmla="*/ 324 h 330"/>
                  <a:gd name="T8" fmla="*/ 117 w 210"/>
                  <a:gd name="T9" fmla="*/ 267 h 330"/>
                  <a:gd name="T10" fmla="*/ 79 w 210"/>
                  <a:gd name="T11" fmla="*/ 152 h 330"/>
                  <a:gd name="T12" fmla="*/ 87 w 210"/>
                  <a:gd name="T13" fmla="*/ 63 h 330"/>
                  <a:gd name="T14" fmla="*/ 9 w 210"/>
                  <a:gd name="T15" fmla="*/ 24 h 330"/>
                  <a:gd name="T16" fmla="*/ 9 w 210"/>
                  <a:gd name="T17" fmla="*/ 60 h 330"/>
                  <a:gd name="T18" fmla="*/ 41 w 210"/>
                  <a:gd name="T19" fmla="*/ 77 h 330"/>
                  <a:gd name="T20" fmla="*/ 42 w 210"/>
                  <a:gd name="T21" fmla="*/ 40 h 330"/>
                  <a:gd name="T22" fmla="*/ 9 w 210"/>
                  <a:gd name="T23" fmla="*/ 24 h 330"/>
                  <a:gd name="T24" fmla="*/ 54 w 210"/>
                  <a:gd name="T25" fmla="*/ 5 h 330"/>
                  <a:gd name="T26" fmla="*/ 48 w 210"/>
                  <a:gd name="T27" fmla="*/ 34 h 330"/>
                  <a:gd name="T28" fmla="*/ 71 w 210"/>
                  <a:gd name="T29" fmla="*/ 52 h 330"/>
                  <a:gd name="T30" fmla="*/ 77 w 210"/>
                  <a:gd name="T31" fmla="*/ 24 h 330"/>
                  <a:gd name="T32" fmla="*/ 54 w 210"/>
                  <a:gd name="T33" fmla="*/ 5 h 330"/>
                  <a:gd name="T34" fmla="*/ 95 w 210"/>
                  <a:gd name="T35" fmla="*/ 2 h 330"/>
                  <a:gd name="T36" fmla="*/ 86 w 210"/>
                  <a:gd name="T37" fmla="*/ 26 h 330"/>
                  <a:gd name="T38" fmla="*/ 104 w 210"/>
                  <a:gd name="T39" fmla="*/ 46 h 330"/>
                  <a:gd name="T40" fmla="*/ 113 w 210"/>
                  <a:gd name="T41" fmla="*/ 21 h 330"/>
                  <a:gd name="T42" fmla="*/ 95 w 210"/>
                  <a:gd name="T43" fmla="*/ 2 h 330"/>
                  <a:gd name="T44" fmla="*/ 133 w 210"/>
                  <a:gd name="T45" fmla="*/ 7 h 330"/>
                  <a:gd name="T46" fmla="*/ 120 w 210"/>
                  <a:gd name="T47" fmla="*/ 28 h 330"/>
                  <a:gd name="T48" fmla="*/ 133 w 210"/>
                  <a:gd name="T49" fmla="*/ 48 h 330"/>
                  <a:gd name="T50" fmla="*/ 145 w 210"/>
                  <a:gd name="T51" fmla="*/ 28 h 330"/>
                  <a:gd name="T52" fmla="*/ 133 w 210"/>
                  <a:gd name="T53" fmla="*/ 7 h 330"/>
                  <a:gd name="T54" fmla="*/ 163 w 210"/>
                  <a:gd name="T55" fmla="*/ 23 h 330"/>
                  <a:gd name="T56" fmla="*/ 150 w 210"/>
                  <a:gd name="T57" fmla="*/ 40 h 330"/>
                  <a:gd name="T58" fmla="*/ 160 w 210"/>
                  <a:gd name="T59" fmla="*/ 59 h 330"/>
                  <a:gd name="T60" fmla="*/ 173 w 210"/>
                  <a:gd name="T61" fmla="*/ 42 h 330"/>
                  <a:gd name="T62" fmla="*/ 163 w 210"/>
                  <a:gd name="T63" fmla="*/ 23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0" h="330">
                    <a:moveTo>
                      <a:pt x="87" y="63"/>
                    </a:moveTo>
                    <a:cubicBezTo>
                      <a:pt x="119" y="54"/>
                      <a:pt x="160" y="61"/>
                      <a:pt x="172" y="88"/>
                    </a:cubicBezTo>
                    <a:cubicBezTo>
                      <a:pt x="195" y="141"/>
                      <a:pt x="169" y="168"/>
                      <a:pt x="191" y="240"/>
                    </a:cubicBezTo>
                    <a:cubicBezTo>
                      <a:pt x="210" y="299"/>
                      <a:pt x="188" y="318"/>
                      <a:pt x="167" y="324"/>
                    </a:cubicBezTo>
                    <a:cubicBezTo>
                      <a:pt x="145" y="330"/>
                      <a:pt x="116" y="306"/>
                      <a:pt x="117" y="267"/>
                    </a:cubicBezTo>
                    <a:cubicBezTo>
                      <a:pt x="118" y="216"/>
                      <a:pt x="111" y="178"/>
                      <a:pt x="79" y="152"/>
                    </a:cubicBezTo>
                    <a:cubicBezTo>
                      <a:pt x="41" y="122"/>
                      <a:pt x="32" y="77"/>
                      <a:pt x="87" y="63"/>
                    </a:cubicBezTo>
                    <a:close/>
                    <a:moveTo>
                      <a:pt x="9" y="24"/>
                    </a:moveTo>
                    <a:cubicBezTo>
                      <a:pt x="0" y="29"/>
                      <a:pt x="0" y="46"/>
                      <a:pt x="9" y="60"/>
                    </a:cubicBezTo>
                    <a:cubicBezTo>
                      <a:pt x="17" y="75"/>
                      <a:pt x="32" y="82"/>
                      <a:pt x="41" y="77"/>
                    </a:cubicBezTo>
                    <a:cubicBezTo>
                      <a:pt x="50" y="71"/>
                      <a:pt x="50" y="55"/>
                      <a:pt x="42" y="40"/>
                    </a:cubicBezTo>
                    <a:cubicBezTo>
                      <a:pt x="33" y="26"/>
                      <a:pt x="18" y="18"/>
                      <a:pt x="9" y="24"/>
                    </a:cubicBezTo>
                    <a:close/>
                    <a:moveTo>
                      <a:pt x="54" y="5"/>
                    </a:moveTo>
                    <a:cubicBezTo>
                      <a:pt x="46" y="8"/>
                      <a:pt x="43" y="21"/>
                      <a:pt x="48" y="34"/>
                    </a:cubicBezTo>
                    <a:cubicBezTo>
                      <a:pt x="53" y="47"/>
                      <a:pt x="63" y="55"/>
                      <a:pt x="71" y="52"/>
                    </a:cubicBezTo>
                    <a:cubicBezTo>
                      <a:pt x="79" y="50"/>
                      <a:pt x="82" y="37"/>
                      <a:pt x="77" y="24"/>
                    </a:cubicBezTo>
                    <a:cubicBezTo>
                      <a:pt x="72" y="11"/>
                      <a:pt x="62" y="3"/>
                      <a:pt x="54" y="5"/>
                    </a:cubicBezTo>
                    <a:close/>
                    <a:moveTo>
                      <a:pt x="95" y="2"/>
                    </a:moveTo>
                    <a:cubicBezTo>
                      <a:pt x="88" y="3"/>
                      <a:pt x="84" y="14"/>
                      <a:pt x="86" y="26"/>
                    </a:cubicBezTo>
                    <a:cubicBezTo>
                      <a:pt x="88" y="38"/>
                      <a:pt x="96" y="47"/>
                      <a:pt x="104" y="46"/>
                    </a:cubicBezTo>
                    <a:cubicBezTo>
                      <a:pt x="111" y="44"/>
                      <a:pt x="115" y="33"/>
                      <a:pt x="113" y="21"/>
                    </a:cubicBezTo>
                    <a:cubicBezTo>
                      <a:pt x="111" y="9"/>
                      <a:pt x="103" y="0"/>
                      <a:pt x="95" y="2"/>
                    </a:cubicBezTo>
                    <a:close/>
                    <a:moveTo>
                      <a:pt x="133" y="7"/>
                    </a:moveTo>
                    <a:cubicBezTo>
                      <a:pt x="126" y="8"/>
                      <a:pt x="120" y="17"/>
                      <a:pt x="120" y="28"/>
                    </a:cubicBezTo>
                    <a:cubicBezTo>
                      <a:pt x="120" y="39"/>
                      <a:pt x="126" y="48"/>
                      <a:pt x="133" y="48"/>
                    </a:cubicBezTo>
                    <a:cubicBezTo>
                      <a:pt x="140" y="48"/>
                      <a:pt x="145" y="39"/>
                      <a:pt x="145" y="28"/>
                    </a:cubicBezTo>
                    <a:cubicBezTo>
                      <a:pt x="145" y="16"/>
                      <a:pt x="139" y="7"/>
                      <a:pt x="133" y="7"/>
                    </a:cubicBezTo>
                    <a:close/>
                    <a:moveTo>
                      <a:pt x="163" y="23"/>
                    </a:moveTo>
                    <a:cubicBezTo>
                      <a:pt x="157" y="22"/>
                      <a:pt x="151" y="30"/>
                      <a:pt x="150" y="40"/>
                    </a:cubicBezTo>
                    <a:cubicBezTo>
                      <a:pt x="149" y="50"/>
                      <a:pt x="154" y="59"/>
                      <a:pt x="160" y="59"/>
                    </a:cubicBezTo>
                    <a:cubicBezTo>
                      <a:pt x="166" y="60"/>
                      <a:pt x="172" y="52"/>
                      <a:pt x="173" y="42"/>
                    </a:cubicBezTo>
                    <a:cubicBezTo>
                      <a:pt x="173" y="32"/>
                      <a:pt x="169" y="23"/>
                      <a:pt x="163" y="23"/>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defTabSz="914126">
                  <a:defRPr/>
                </a:pPr>
                <a:endParaRPr lang="en-US" sz="1600" kern="0">
                  <a:solidFill>
                    <a:srgbClr val="FFFFFF"/>
                  </a:solidFill>
                  <a:latin typeface="Segoe UI"/>
                </a:endParaRPr>
              </a:p>
            </p:txBody>
          </p:sp>
          <p:grpSp>
            <p:nvGrpSpPr>
              <p:cNvPr id="372" name="Group 371"/>
              <p:cNvGrpSpPr/>
              <p:nvPr/>
            </p:nvGrpSpPr>
            <p:grpSpPr>
              <a:xfrm>
                <a:off x="3251311" y="1951011"/>
                <a:ext cx="838776" cy="939459"/>
                <a:chOff x="3226597" y="2005294"/>
                <a:chExt cx="966831" cy="1082885"/>
              </a:xfrm>
              <a:grpFill/>
            </p:grpSpPr>
            <p:sp>
              <p:nvSpPr>
                <p:cNvPr id="373" name="Freeform 38"/>
                <p:cNvSpPr>
                  <a:spLocks noEditPoints="1"/>
                </p:cNvSpPr>
                <p:nvPr/>
              </p:nvSpPr>
              <p:spPr bwMode="black">
                <a:xfrm rot="378314" flipH="1">
                  <a:off x="3226597" y="2509989"/>
                  <a:ext cx="368236" cy="578190"/>
                </a:xfrm>
                <a:custGeom>
                  <a:avLst/>
                  <a:gdLst>
                    <a:gd name="T0" fmla="*/ 87 w 210"/>
                    <a:gd name="T1" fmla="*/ 63 h 330"/>
                    <a:gd name="T2" fmla="*/ 172 w 210"/>
                    <a:gd name="T3" fmla="*/ 88 h 330"/>
                    <a:gd name="T4" fmla="*/ 191 w 210"/>
                    <a:gd name="T5" fmla="*/ 240 h 330"/>
                    <a:gd name="T6" fmla="*/ 167 w 210"/>
                    <a:gd name="T7" fmla="*/ 324 h 330"/>
                    <a:gd name="T8" fmla="*/ 117 w 210"/>
                    <a:gd name="T9" fmla="*/ 267 h 330"/>
                    <a:gd name="T10" fmla="*/ 79 w 210"/>
                    <a:gd name="T11" fmla="*/ 152 h 330"/>
                    <a:gd name="T12" fmla="*/ 87 w 210"/>
                    <a:gd name="T13" fmla="*/ 63 h 330"/>
                    <a:gd name="T14" fmla="*/ 9 w 210"/>
                    <a:gd name="T15" fmla="*/ 24 h 330"/>
                    <a:gd name="T16" fmla="*/ 9 w 210"/>
                    <a:gd name="T17" fmla="*/ 60 h 330"/>
                    <a:gd name="T18" fmla="*/ 41 w 210"/>
                    <a:gd name="T19" fmla="*/ 77 h 330"/>
                    <a:gd name="T20" fmla="*/ 42 w 210"/>
                    <a:gd name="T21" fmla="*/ 40 h 330"/>
                    <a:gd name="T22" fmla="*/ 9 w 210"/>
                    <a:gd name="T23" fmla="*/ 24 h 330"/>
                    <a:gd name="T24" fmla="*/ 54 w 210"/>
                    <a:gd name="T25" fmla="*/ 5 h 330"/>
                    <a:gd name="T26" fmla="*/ 48 w 210"/>
                    <a:gd name="T27" fmla="*/ 34 h 330"/>
                    <a:gd name="T28" fmla="*/ 71 w 210"/>
                    <a:gd name="T29" fmla="*/ 52 h 330"/>
                    <a:gd name="T30" fmla="*/ 77 w 210"/>
                    <a:gd name="T31" fmla="*/ 24 h 330"/>
                    <a:gd name="T32" fmla="*/ 54 w 210"/>
                    <a:gd name="T33" fmla="*/ 5 h 330"/>
                    <a:gd name="T34" fmla="*/ 95 w 210"/>
                    <a:gd name="T35" fmla="*/ 2 h 330"/>
                    <a:gd name="T36" fmla="*/ 86 w 210"/>
                    <a:gd name="T37" fmla="*/ 26 h 330"/>
                    <a:gd name="T38" fmla="*/ 104 w 210"/>
                    <a:gd name="T39" fmla="*/ 46 h 330"/>
                    <a:gd name="T40" fmla="*/ 113 w 210"/>
                    <a:gd name="T41" fmla="*/ 21 h 330"/>
                    <a:gd name="T42" fmla="*/ 95 w 210"/>
                    <a:gd name="T43" fmla="*/ 2 h 330"/>
                    <a:gd name="T44" fmla="*/ 133 w 210"/>
                    <a:gd name="T45" fmla="*/ 7 h 330"/>
                    <a:gd name="T46" fmla="*/ 120 w 210"/>
                    <a:gd name="T47" fmla="*/ 28 h 330"/>
                    <a:gd name="T48" fmla="*/ 133 w 210"/>
                    <a:gd name="T49" fmla="*/ 48 h 330"/>
                    <a:gd name="T50" fmla="*/ 145 w 210"/>
                    <a:gd name="T51" fmla="*/ 28 h 330"/>
                    <a:gd name="T52" fmla="*/ 133 w 210"/>
                    <a:gd name="T53" fmla="*/ 7 h 330"/>
                    <a:gd name="T54" fmla="*/ 163 w 210"/>
                    <a:gd name="T55" fmla="*/ 23 h 330"/>
                    <a:gd name="T56" fmla="*/ 150 w 210"/>
                    <a:gd name="T57" fmla="*/ 40 h 330"/>
                    <a:gd name="T58" fmla="*/ 160 w 210"/>
                    <a:gd name="T59" fmla="*/ 59 h 330"/>
                    <a:gd name="T60" fmla="*/ 173 w 210"/>
                    <a:gd name="T61" fmla="*/ 42 h 330"/>
                    <a:gd name="T62" fmla="*/ 163 w 210"/>
                    <a:gd name="T63" fmla="*/ 23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0" h="330">
                      <a:moveTo>
                        <a:pt x="87" y="63"/>
                      </a:moveTo>
                      <a:cubicBezTo>
                        <a:pt x="119" y="54"/>
                        <a:pt x="160" y="61"/>
                        <a:pt x="172" y="88"/>
                      </a:cubicBezTo>
                      <a:cubicBezTo>
                        <a:pt x="195" y="141"/>
                        <a:pt x="169" y="168"/>
                        <a:pt x="191" y="240"/>
                      </a:cubicBezTo>
                      <a:cubicBezTo>
                        <a:pt x="210" y="299"/>
                        <a:pt x="188" y="318"/>
                        <a:pt x="167" y="324"/>
                      </a:cubicBezTo>
                      <a:cubicBezTo>
                        <a:pt x="145" y="330"/>
                        <a:pt x="116" y="306"/>
                        <a:pt x="117" y="267"/>
                      </a:cubicBezTo>
                      <a:cubicBezTo>
                        <a:pt x="118" y="216"/>
                        <a:pt x="111" y="178"/>
                        <a:pt x="79" y="152"/>
                      </a:cubicBezTo>
                      <a:cubicBezTo>
                        <a:pt x="41" y="122"/>
                        <a:pt x="32" y="77"/>
                        <a:pt x="87" y="63"/>
                      </a:cubicBezTo>
                      <a:close/>
                      <a:moveTo>
                        <a:pt x="9" y="24"/>
                      </a:moveTo>
                      <a:cubicBezTo>
                        <a:pt x="0" y="29"/>
                        <a:pt x="0" y="46"/>
                        <a:pt x="9" y="60"/>
                      </a:cubicBezTo>
                      <a:cubicBezTo>
                        <a:pt x="17" y="75"/>
                        <a:pt x="32" y="82"/>
                        <a:pt x="41" y="77"/>
                      </a:cubicBezTo>
                      <a:cubicBezTo>
                        <a:pt x="50" y="71"/>
                        <a:pt x="50" y="55"/>
                        <a:pt x="42" y="40"/>
                      </a:cubicBezTo>
                      <a:cubicBezTo>
                        <a:pt x="33" y="26"/>
                        <a:pt x="18" y="18"/>
                        <a:pt x="9" y="24"/>
                      </a:cubicBezTo>
                      <a:close/>
                      <a:moveTo>
                        <a:pt x="54" y="5"/>
                      </a:moveTo>
                      <a:cubicBezTo>
                        <a:pt x="46" y="8"/>
                        <a:pt x="43" y="21"/>
                        <a:pt x="48" y="34"/>
                      </a:cubicBezTo>
                      <a:cubicBezTo>
                        <a:pt x="53" y="47"/>
                        <a:pt x="63" y="55"/>
                        <a:pt x="71" y="52"/>
                      </a:cubicBezTo>
                      <a:cubicBezTo>
                        <a:pt x="79" y="50"/>
                        <a:pt x="82" y="37"/>
                        <a:pt x="77" y="24"/>
                      </a:cubicBezTo>
                      <a:cubicBezTo>
                        <a:pt x="72" y="11"/>
                        <a:pt x="62" y="3"/>
                        <a:pt x="54" y="5"/>
                      </a:cubicBezTo>
                      <a:close/>
                      <a:moveTo>
                        <a:pt x="95" y="2"/>
                      </a:moveTo>
                      <a:cubicBezTo>
                        <a:pt x="88" y="3"/>
                        <a:pt x="84" y="14"/>
                        <a:pt x="86" y="26"/>
                      </a:cubicBezTo>
                      <a:cubicBezTo>
                        <a:pt x="88" y="38"/>
                        <a:pt x="96" y="47"/>
                        <a:pt x="104" y="46"/>
                      </a:cubicBezTo>
                      <a:cubicBezTo>
                        <a:pt x="111" y="44"/>
                        <a:pt x="115" y="33"/>
                        <a:pt x="113" y="21"/>
                      </a:cubicBezTo>
                      <a:cubicBezTo>
                        <a:pt x="111" y="9"/>
                        <a:pt x="103" y="0"/>
                        <a:pt x="95" y="2"/>
                      </a:cubicBezTo>
                      <a:close/>
                      <a:moveTo>
                        <a:pt x="133" y="7"/>
                      </a:moveTo>
                      <a:cubicBezTo>
                        <a:pt x="126" y="8"/>
                        <a:pt x="120" y="17"/>
                        <a:pt x="120" y="28"/>
                      </a:cubicBezTo>
                      <a:cubicBezTo>
                        <a:pt x="120" y="39"/>
                        <a:pt x="126" y="48"/>
                        <a:pt x="133" y="48"/>
                      </a:cubicBezTo>
                      <a:cubicBezTo>
                        <a:pt x="140" y="48"/>
                        <a:pt x="145" y="39"/>
                        <a:pt x="145" y="28"/>
                      </a:cubicBezTo>
                      <a:cubicBezTo>
                        <a:pt x="145" y="16"/>
                        <a:pt x="139" y="7"/>
                        <a:pt x="133" y="7"/>
                      </a:cubicBezTo>
                      <a:close/>
                      <a:moveTo>
                        <a:pt x="163" y="23"/>
                      </a:moveTo>
                      <a:cubicBezTo>
                        <a:pt x="157" y="22"/>
                        <a:pt x="151" y="30"/>
                        <a:pt x="150" y="40"/>
                      </a:cubicBezTo>
                      <a:cubicBezTo>
                        <a:pt x="149" y="50"/>
                        <a:pt x="154" y="59"/>
                        <a:pt x="160" y="59"/>
                      </a:cubicBezTo>
                      <a:cubicBezTo>
                        <a:pt x="166" y="60"/>
                        <a:pt x="172" y="52"/>
                        <a:pt x="173" y="42"/>
                      </a:cubicBezTo>
                      <a:cubicBezTo>
                        <a:pt x="173" y="32"/>
                        <a:pt x="169" y="23"/>
                        <a:pt x="163" y="23"/>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defTabSz="914126">
                    <a:defRPr/>
                  </a:pPr>
                  <a:endParaRPr lang="en-US" sz="1600" kern="0">
                    <a:solidFill>
                      <a:srgbClr val="FFFFFF"/>
                    </a:solidFill>
                    <a:latin typeface="Segoe UI"/>
                  </a:endParaRPr>
                </a:p>
              </p:txBody>
            </p:sp>
            <p:sp>
              <p:nvSpPr>
                <p:cNvPr id="374" name="Freeform 38"/>
                <p:cNvSpPr>
                  <a:spLocks noEditPoints="1"/>
                </p:cNvSpPr>
                <p:nvPr/>
              </p:nvSpPr>
              <p:spPr bwMode="black">
                <a:xfrm rot="2155644">
                  <a:off x="3825192" y="2005294"/>
                  <a:ext cx="368236" cy="578190"/>
                </a:xfrm>
                <a:custGeom>
                  <a:avLst/>
                  <a:gdLst>
                    <a:gd name="T0" fmla="*/ 87 w 210"/>
                    <a:gd name="T1" fmla="*/ 63 h 330"/>
                    <a:gd name="T2" fmla="*/ 172 w 210"/>
                    <a:gd name="T3" fmla="*/ 88 h 330"/>
                    <a:gd name="T4" fmla="*/ 191 w 210"/>
                    <a:gd name="T5" fmla="*/ 240 h 330"/>
                    <a:gd name="T6" fmla="*/ 167 w 210"/>
                    <a:gd name="T7" fmla="*/ 324 h 330"/>
                    <a:gd name="T8" fmla="*/ 117 w 210"/>
                    <a:gd name="T9" fmla="*/ 267 h 330"/>
                    <a:gd name="T10" fmla="*/ 79 w 210"/>
                    <a:gd name="T11" fmla="*/ 152 h 330"/>
                    <a:gd name="T12" fmla="*/ 87 w 210"/>
                    <a:gd name="T13" fmla="*/ 63 h 330"/>
                    <a:gd name="T14" fmla="*/ 9 w 210"/>
                    <a:gd name="T15" fmla="*/ 24 h 330"/>
                    <a:gd name="T16" fmla="*/ 9 w 210"/>
                    <a:gd name="T17" fmla="*/ 60 h 330"/>
                    <a:gd name="T18" fmla="*/ 41 w 210"/>
                    <a:gd name="T19" fmla="*/ 77 h 330"/>
                    <a:gd name="T20" fmla="*/ 42 w 210"/>
                    <a:gd name="T21" fmla="*/ 40 h 330"/>
                    <a:gd name="T22" fmla="*/ 9 w 210"/>
                    <a:gd name="T23" fmla="*/ 24 h 330"/>
                    <a:gd name="T24" fmla="*/ 54 w 210"/>
                    <a:gd name="T25" fmla="*/ 5 h 330"/>
                    <a:gd name="T26" fmla="*/ 48 w 210"/>
                    <a:gd name="T27" fmla="*/ 34 h 330"/>
                    <a:gd name="T28" fmla="*/ 71 w 210"/>
                    <a:gd name="T29" fmla="*/ 52 h 330"/>
                    <a:gd name="T30" fmla="*/ 77 w 210"/>
                    <a:gd name="T31" fmla="*/ 24 h 330"/>
                    <a:gd name="T32" fmla="*/ 54 w 210"/>
                    <a:gd name="T33" fmla="*/ 5 h 330"/>
                    <a:gd name="T34" fmla="*/ 95 w 210"/>
                    <a:gd name="T35" fmla="*/ 2 h 330"/>
                    <a:gd name="T36" fmla="*/ 86 w 210"/>
                    <a:gd name="T37" fmla="*/ 26 h 330"/>
                    <a:gd name="T38" fmla="*/ 104 w 210"/>
                    <a:gd name="T39" fmla="*/ 46 h 330"/>
                    <a:gd name="T40" fmla="*/ 113 w 210"/>
                    <a:gd name="T41" fmla="*/ 21 h 330"/>
                    <a:gd name="T42" fmla="*/ 95 w 210"/>
                    <a:gd name="T43" fmla="*/ 2 h 330"/>
                    <a:gd name="T44" fmla="*/ 133 w 210"/>
                    <a:gd name="T45" fmla="*/ 7 h 330"/>
                    <a:gd name="T46" fmla="*/ 120 w 210"/>
                    <a:gd name="T47" fmla="*/ 28 h 330"/>
                    <a:gd name="T48" fmla="*/ 133 w 210"/>
                    <a:gd name="T49" fmla="*/ 48 h 330"/>
                    <a:gd name="T50" fmla="*/ 145 w 210"/>
                    <a:gd name="T51" fmla="*/ 28 h 330"/>
                    <a:gd name="T52" fmla="*/ 133 w 210"/>
                    <a:gd name="T53" fmla="*/ 7 h 330"/>
                    <a:gd name="T54" fmla="*/ 163 w 210"/>
                    <a:gd name="T55" fmla="*/ 23 h 330"/>
                    <a:gd name="T56" fmla="*/ 150 w 210"/>
                    <a:gd name="T57" fmla="*/ 40 h 330"/>
                    <a:gd name="T58" fmla="*/ 160 w 210"/>
                    <a:gd name="T59" fmla="*/ 59 h 330"/>
                    <a:gd name="T60" fmla="*/ 173 w 210"/>
                    <a:gd name="T61" fmla="*/ 42 h 330"/>
                    <a:gd name="T62" fmla="*/ 163 w 210"/>
                    <a:gd name="T63" fmla="*/ 23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0" h="330">
                      <a:moveTo>
                        <a:pt x="87" y="63"/>
                      </a:moveTo>
                      <a:cubicBezTo>
                        <a:pt x="119" y="54"/>
                        <a:pt x="160" y="61"/>
                        <a:pt x="172" y="88"/>
                      </a:cubicBezTo>
                      <a:cubicBezTo>
                        <a:pt x="195" y="141"/>
                        <a:pt x="169" y="168"/>
                        <a:pt x="191" y="240"/>
                      </a:cubicBezTo>
                      <a:cubicBezTo>
                        <a:pt x="210" y="299"/>
                        <a:pt x="188" y="318"/>
                        <a:pt x="167" y="324"/>
                      </a:cubicBezTo>
                      <a:cubicBezTo>
                        <a:pt x="145" y="330"/>
                        <a:pt x="116" y="306"/>
                        <a:pt x="117" y="267"/>
                      </a:cubicBezTo>
                      <a:cubicBezTo>
                        <a:pt x="118" y="216"/>
                        <a:pt x="111" y="178"/>
                        <a:pt x="79" y="152"/>
                      </a:cubicBezTo>
                      <a:cubicBezTo>
                        <a:pt x="41" y="122"/>
                        <a:pt x="32" y="77"/>
                        <a:pt x="87" y="63"/>
                      </a:cubicBezTo>
                      <a:close/>
                      <a:moveTo>
                        <a:pt x="9" y="24"/>
                      </a:moveTo>
                      <a:cubicBezTo>
                        <a:pt x="0" y="29"/>
                        <a:pt x="0" y="46"/>
                        <a:pt x="9" y="60"/>
                      </a:cubicBezTo>
                      <a:cubicBezTo>
                        <a:pt x="17" y="75"/>
                        <a:pt x="32" y="82"/>
                        <a:pt x="41" y="77"/>
                      </a:cubicBezTo>
                      <a:cubicBezTo>
                        <a:pt x="50" y="71"/>
                        <a:pt x="50" y="55"/>
                        <a:pt x="42" y="40"/>
                      </a:cubicBezTo>
                      <a:cubicBezTo>
                        <a:pt x="33" y="26"/>
                        <a:pt x="18" y="18"/>
                        <a:pt x="9" y="24"/>
                      </a:cubicBezTo>
                      <a:close/>
                      <a:moveTo>
                        <a:pt x="54" y="5"/>
                      </a:moveTo>
                      <a:cubicBezTo>
                        <a:pt x="46" y="8"/>
                        <a:pt x="43" y="21"/>
                        <a:pt x="48" y="34"/>
                      </a:cubicBezTo>
                      <a:cubicBezTo>
                        <a:pt x="53" y="47"/>
                        <a:pt x="63" y="55"/>
                        <a:pt x="71" y="52"/>
                      </a:cubicBezTo>
                      <a:cubicBezTo>
                        <a:pt x="79" y="50"/>
                        <a:pt x="82" y="37"/>
                        <a:pt x="77" y="24"/>
                      </a:cubicBezTo>
                      <a:cubicBezTo>
                        <a:pt x="72" y="11"/>
                        <a:pt x="62" y="3"/>
                        <a:pt x="54" y="5"/>
                      </a:cubicBezTo>
                      <a:close/>
                      <a:moveTo>
                        <a:pt x="95" y="2"/>
                      </a:moveTo>
                      <a:cubicBezTo>
                        <a:pt x="88" y="3"/>
                        <a:pt x="84" y="14"/>
                        <a:pt x="86" y="26"/>
                      </a:cubicBezTo>
                      <a:cubicBezTo>
                        <a:pt x="88" y="38"/>
                        <a:pt x="96" y="47"/>
                        <a:pt x="104" y="46"/>
                      </a:cubicBezTo>
                      <a:cubicBezTo>
                        <a:pt x="111" y="44"/>
                        <a:pt x="115" y="33"/>
                        <a:pt x="113" y="21"/>
                      </a:cubicBezTo>
                      <a:cubicBezTo>
                        <a:pt x="111" y="9"/>
                        <a:pt x="103" y="0"/>
                        <a:pt x="95" y="2"/>
                      </a:cubicBezTo>
                      <a:close/>
                      <a:moveTo>
                        <a:pt x="133" y="7"/>
                      </a:moveTo>
                      <a:cubicBezTo>
                        <a:pt x="126" y="8"/>
                        <a:pt x="120" y="17"/>
                        <a:pt x="120" y="28"/>
                      </a:cubicBezTo>
                      <a:cubicBezTo>
                        <a:pt x="120" y="39"/>
                        <a:pt x="126" y="48"/>
                        <a:pt x="133" y="48"/>
                      </a:cubicBezTo>
                      <a:cubicBezTo>
                        <a:pt x="140" y="48"/>
                        <a:pt x="145" y="39"/>
                        <a:pt x="145" y="28"/>
                      </a:cubicBezTo>
                      <a:cubicBezTo>
                        <a:pt x="145" y="16"/>
                        <a:pt x="139" y="7"/>
                        <a:pt x="133" y="7"/>
                      </a:cubicBezTo>
                      <a:close/>
                      <a:moveTo>
                        <a:pt x="163" y="23"/>
                      </a:moveTo>
                      <a:cubicBezTo>
                        <a:pt x="157" y="22"/>
                        <a:pt x="151" y="30"/>
                        <a:pt x="150" y="40"/>
                      </a:cubicBezTo>
                      <a:cubicBezTo>
                        <a:pt x="149" y="50"/>
                        <a:pt x="154" y="59"/>
                        <a:pt x="160" y="59"/>
                      </a:cubicBezTo>
                      <a:cubicBezTo>
                        <a:pt x="166" y="60"/>
                        <a:pt x="172" y="52"/>
                        <a:pt x="173" y="42"/>
                      </a:cubicBezTo>
                      <a:cubicBezTo>
                        <a:pt x="173" y="32"/>
                        <a:pt x="169" y="23"/>
                        <a:pt x="163" y="23"/>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defTabSz="914126">
                    <a:defRPr/>
                  </a:pPr>
                  <a:endParaRPr lang="en-US" sz="1600" kern="0">
                    <a:solidFill>
                      <a:srgbClr val="FFFFFF"/>
                    </a:solidFill>
                    <a:latin typeface="Segoe UI"/>
                  </a:endParaRPr>
                </a:p>
              </p:txBody>
            </p:sp>
          </p:grpSp>
        </p:grpSp>
        <p:pic>
          <p:nvPicPr>
            <p:cNvPr id="233" name="Picture 7" descr="\\MAGNUM\Projects\Microsoft\Cloud Power FY12\Design\ICONS_PNG\Availability.png"/>
            <p:cNvPicPr>
              <a:picLocks noChangeAspect="1" noChangeArrowheads="1"/>
            </p:cNvPicPr>
            <p:nvPr/>
          </p:nvPicPr>
          <p:blipFill>
            <a:blip r:embed="rId29" cstate="print">
              <a:duotone>
                <a:prstClr val="black"/>
                <a:schemeClr val="accent5">
                  <a:tint val="45000"/>
                  <a:satMod val="400000"/>
                </a:schemeClr>
              </a:duotone>
              <a:extLst>
                <a:ext uri="{BEBA8EAE-BF5A-486C-A8C5-ECC9F3942E4B}">
                  <a14:imgProps xmlns:a14="http://schemas.microsoft.com/office/drawing/2010/main">
                    <a14:imgLayer r:embed="rId30">
                      <a14:imgEffect>
                        <a14:brightnessContrast bright="-31000" contrast="-40000"/>
                      </a14:imgEffect>
                    </a14:imgLayer>
                  </a14:imgProps>
                </a:ext>
                <a:ext uri="{28A0092B-C50C-407E-A947-70E740481C1C}">
                  <a14:useLocalDpi xmlns:a14="http://schemas.microsoft.com/office/drawing/2010/main"/>
                </a:ext>
              </a:extLst>
            </a:blip>
            <a:srcRect/>
            <a:stretch>
              <a:fillRect/>
            </a:stretch>
          </p:blipFill>
          <p:spPr bwMode="auto">
            <a:xfrm>
              <a:off x="3805391" y="4322978"/>
              <a:ext cx="269218" cy="269218"/>
            </a:xfrm>
            <a:prstGeom prst="rect">
              <a:avLst/>
            </a:prstGeom>
            <a:noFill/>
          </p:spPr>
        </p:pic>
        <p:sp>
          <p:nvSpPr>
            <p:cNvPr id="251" name="Rounded Rectangle 40"/>
            <p:cNvSpPr>
              <a:spLocks noChangeAspect="1"/>
            </p:cNvSpPr>
            <p:nvPr/>
          </p:nvSpPr>
          <p:spPr bwMode="auto">
            <a:xfrm flipH="1">
              <a:off x="4528058" y="4300656"/>
              <a:ext cx="166514" cy="224982"/>
            </a:xfrm>
            <a:custGeom>
              <a:avLst/>
              <a:gdLst/>
              <a:ahLst/>
              <a:cxnLst/>
              <a:rect l="l" t="t" r="r" b="b"/>
              <a:pathLst>
                <a:path w="4131411" h="5582054">
                  <a:moveTo>
                    <a:pt x="2066013" y="2133770"/>
                  </a:moveTo>
                  <a:cubicBezTo>
                    <a:pt x="1811471" y="2135626"/>
                    <a:pt x="1564825" y="2222353"/>
                    <a:pt x="1365141" y="2380213"/>
                  </a:cubicBezTo>
                  <a:lnTo>
                    <a:pt x="2074355" y="3277327"/>
                  </a:lnTo>
                  <a:cubicBezTo>
                    <a:pt x="2071575" y="2896141"/>
                    <a:pt x="2068793" y="2514955"/>
                    <a:pt x="2066013" y="2133770"/>
                  </a:cubicBezTo>
                  <a:close/>
                  <a:moveTo>
                    <a:pt x="359955" y="1939409"/>
                  </a:moveTo>
                  <a:cubicBezTo>
                    <a:pt x="332829" y="1941717"/>
                    <a:pt x="303073" y="1951472"/>
                    <a:pt x="268703" y="1971346"/>
                  </a:cubicBezTo>
                  <a:lnTo>
                    <a:pt x="42397" y="2287019"/>
                  </a:lnTo>
                  <a:cubicBezTo>
                    <a:pt x="34151" y="2343388"/>
                    <a:pt x="-86071" y="2362146"/>
                    <a:pt x="119491" y="2570715"/>
                  </a:cubicBezTo>
                  <a:cubicBezTo>
                    <a:pt x="898361" y="3164480"/>
                    <a:pt x="1529075" y="4096386"/>
                    <a:pt x="1823051" y="4514516"/>
                  </a:cubicBezTo>
                  <a:cubicBezTo>
                    <a:pt x="2083689" y="4689761"/>
                    <a:pt x="2170245" y="4571337"/>
                    <a:pt x="2226247" y="4508004"/>
                  </a:cubicBezTo>
                  <a:cubicBezTo>
                    <a:pt x="2544961" y="4137839"/>
                    <a:pt x="2852359" y="3812770"/>
                    <a:pt x="3199361" y="3482066"/>
                  </a:cubicBezTo>
                  <a:cubicBezTo>
                    <a:pt x="3280456" y="3350534"/>
                    <a:pt x="3293654" y="3297924"/>
                    <a:pt x="3120156" y="3087476"/>
                  </a:cubicBezTo>
                  <a:lnTo>
                    <a:pt x="2916480" y="2884544"/>
                  </a:lnTo>
                  <a:cubicBezTo>
                    <a:pt x="2816529" y="2799988"/>
                    <a:pt x="2637369" y="2777440"/>
                    <a:pt x="2531761" y="2952188"/>
                  </a:cubicBezTo>
                  <a:lnTo>
                    <a:pt x="2067833" y="3414422"/>
                  </a:lnTo>
                  <a:cubicBezTo>
                    <a:pt x="1683627" y="3032238"/>
                    <a:pt x="1279189" y="2562785"/>
                    <a:pt x="586749" y="2047545"/>
                  </a:cubicBezTo>
                  <a:cubicBezTo>
                    <a:pt x="499057" y="1992585"/>
                    <a:pt x="441335" y="1932486"/>
                    <a:pt x="359955" y="1939409"/>
                  </a:cubicBezTo>
                  <a:close/>
                  <a:moveTo>
                    <a:pt x="2074353" y="230374"/>
                  </a:moveTo>
                  <a:cubicBezTo>
                    <a:pt x="2313891" y="230374"/>
                    <a:pt x="2508075" y="424556"/>
                    <a:pt x="2508075" y="664094"/>
                  </a:cubicBezTo>
                  <a:cubicBezTo>
                    <a:pt x="2508075" y="796672"/>
                    <a:pt x="2448591" y="915353"/>
                    <a:pt x="2351361" y="990792"/>
                  </a:cubicBezTo>
                  <a:lnTo>
                    <a:pt x="2351361" y="771127"/>
                  </a:lnTo>
                  <a:cubicBezTo>
                    <a:pt x="2351361" y="668716"/>
                    <a:pt x="2268339" y="585694"/>
                    <a:pt x="2165927" y="585694"/>
                  </a:cubicBezTo>
                  <a:lnTo>
                    <a:pt x="1982781" y="585694"/>
                  </a:lnTo>
                  <a:cubicBezTo>
                    <a:pt x="1880369" y="585694"/>
                    <a:pt x="1797347" y="668716"/>
                    <a:pt x="1797347" y="771127"/>
                  </a:cubicBezTo>
                  <a:lnTo>
                    <a:pt x="1797347" y="990794"/>
                  </a:lnTo>
                  <a:cubicBezTo>
                    <a:pt x="1700113" y="915357"/>
                    <a:pt x="1640629" y="796674"/>
                    <a:pt x="1640629" y="664094"/>
                  </a:cubicBezTo>
                  <a:cubicBezTo>
                    <a:pt x="1640629" y="424556"/>
                    <a:pt x="1834813" y="230374"/>
                    <a:pt x="2074353" y="230374"/>
                  </a:cubicBezTo>
                  <a:close/>
                  <a:moveTo>
                    <a:pt x="2074353" y="0"/>
                  </a:moveTo>
                  <a:cubicBezTo>
                    <a:pt x="1707583" y="0"/>
                    <a:pt x="1410255" y="297325"/>
                    <a:pt x="1410255" y="664094"/>
                  </a:cubicBezTo>
                  <a:cubicBezTo>
                    <a:pt x="1410255" y="931716"/>
                    <a:pt x="1568559" y="1162363"/>
                    <a:pt x="1797347" y="1265956"/>
                  </a:cubicBezTo>
                  <a:lnTo>
                    <a:pt x="1797347" y="1488746"/>
                  </a:lnTo>
                  <a:cubicBezTo>
                    <a:pt x="1356023" y="1547204"/>
                    <a:pt x="1035313" y="1682460"/>
                    <a:pt x="729009" y="1975369"/>
                  </a:cubicBezTo>
                  <a:cubicBezTo>
                    <a:pt x="892771" y="2082139"/>
                    <a:pt x="1022807" y="2192734"/>
                    <a:pt x="1149257" y="2304668"/>
                  </a:cubicBezTo>
                  <a:cubicBezTo>
                    <a:pt x="1413091" y="2073726"/>
                    <a:pt x="1798947" y="2018225"/>
                    <a:pt x="2074353" y="1999408"/>
                  </a:cubicBezTo>
                  <a:cubicBezTo>
                    <a:pt x="2349759" y="1980591"/>
                    <a:pt x="2588113" y="2066849"/>
                    <a:pt x="2801693" y="2191764"/>
                  </a:cubicBezTo>
                  <a:lnTo>
                    <a:pt x="2656029" y="2380977"/>
                  </a:lnTo>
                  <a:lnTo>
                    <a:pt x="2805121" y="2495755"/>
                  </a:lnTo>
                  <a:lnTo>
                    <a:pt x="2963605" y="2289887"/>
                  </a:lnTo>
                  <a:cubicBezTo>
                    <a:pt x="3102562" y="2385452"/>
                    <a:pt x="3222313" y="2506173"/>
                    <a:pt x="3317467" y="2645442"/>
                  </a:cubicBezTo>
                  <a:lnTo>
                    <a:pt x="3089082" y="2827431"/>
                  </a:lnTo>
                  <a:lnTo>
                    <a:pt x="3206339" y="2974582"/>
                  </a:lnTo>
                  <a:lnTo>
                    <a:pt x="3413866" y="2809214"/>
                  </a:lnTo>
                  <a:cubicBezTo>
                    <a:pt x="3516584" y="2985924"/>
                    <a:pt x="3577926" y="3187607"/>
                    <a:pt x="3593733" y="3401865"/>
                  </a:cubicBezTo>
                  <a:lnTo>
                    <a:pt x="3315515" y="3401865"/>
                  </a:lnTo>
                  <a:lnTo>
                    <a:pt x="3315515" y="3590020"/>
                  </a:lnTo>
                  <a:lnTo>
                    <a:pt x="3596670" y="3590020"/>
                  </a:lnTo>
                  <a:cubicBezTo>
                    <a:pt x="3589618" y="3803768"/>
                    <a:pt x="3536702" y="4006072"/>
                    <a:pt x="3443701" y="4185822"/>
                  </a:cubicBezTo>
                  <a:lnTo>
                    <a:pt x="3193257" y="4061714"/>
                  </a:lnTo>
                  <a:lnTo>
                    <a:pt x="3109712" y="4230305"/>
                  </a:lnTo>
                  <a:lnTo>
                    <a:pt x="3353882" y="4351304"/>
                  </a:lnTo>
                  <a:cubicBezTo>
                    <a:pt x="3238178" y="4534950"/>
                    <a:pt x="3082464" y="4690424"/>
                    <a:pt x="2898521" y="4805686"/>
                  </a:cubicBezTo>
                  <a:lnTo>
                    <a:pt x="2797075" y="4583078"/>
                  </a:lnTo>
                  <a:lnTo>
                    <a:pt x="2625859" y="4661106"/>
                  </a:lnTo>
                  <a:lnTo>
                    <a:pt x="2732753" y="4895660"/>
                  </a:lnTo>
                  <a:cubicBezTo>
                    <a:pt x="2558775" y="4985326"/>
                    <a:pt x="2363655" y="5037271"/>
                    <a:pt x="2157573" y="5046392"/>
                  </a:cubicBezTo>
                  <a:lnTo>
                    <a:pt x="2157573" y="4766542"/>
                  </a:lnTo>
                  <a:lnTo>
                    <a:pt x="1969417" y="4766542"/>
                  </a:lnTo>
                  <a:lnTo>
                    <a:pt x="1969417" y="5045296"/>
                  </a:lnTo>
                  <a:cubicBezTo>
                    <a:pt x="1773509" y="5033720"/>
                    <a:pt x="1587857" y="4983464"/>
                    <a:pt x="1421429" y="4898634"/>
                  </a:cubicBezTo>
                  <a:lnTo>
                    <a:pt x="1570617" y="4680676"/>
                  </a:lnTo>
                  <a:lnTo>
                    <a:pt x="1415349" y="4574401"/>
                  </a:lnTo>
                  <a:lnTo>
                    <a:pt x="1255181" y="4808398"/>
                  </a:lnTo>
                  <a:cubicBezTo>
                    <a:pt x="1094951" y="4709758"/>
                    <a:pt x="956445" y="4579899"/>
                    <a:pt x="848917" y="4425992"/>
                  </a:cubicBezTo>
                  <a:lnTo>
                    <a:pt x="1058297" y="4276376"/>
                  </a:lnTo>
                  <a:lnTo>
                    <a:pt x="948907" y="4123288"/>
                  </a:lnTo>
                  <a:lnTo>
                    <a:pt x="748707" y="4266344"/>
                  </a:lnTo>
                  <a:cubicBezTo>
                    <a:pt x="629091" y="4067262"/>
                    <a:pt x="560449" y="3836220"/>
                    <a:pt x="552035" y="3590020"/>
                  </a:cubicBezTo>
                  <a:lnTo>
                    <a:pt x="799165" y="3590020"/>
                  </a:lnTo>
                  <a:lnTo>
                    <a:pt x="799165" y="3401865"/>
                  </a:lnTo>
                  <a:lnTo>
                    <a:pt x="554971" y="3401865"/>
                  </a:lnTo>
                  <a:cubicBezTo>
                    <a:pt x="560633" y="3324228"/>
                    <a:pt x="572323" y="3248246"/>
                    <a:pt x="591339" y="3174852"/>
                  </a:cubicBezTo>
                  <a:cubicBezTo>
                    <a:pt x="455953" y="3046341"/>
                    <a:pt x="310183" y="2919785"/>
                    <a:pt x="150861" y="2795544"/>
                  </a:cubicBezTo>
                  <a:cubicBezTo>
                    <a:pt x="64401" y="3022125"/>
                    <a:pt x="17293" y="3268062"/>
                    <a:pt x="17293" y="3525001"/>
                  </a:cubicBezTo>
                  <a:cubicBezTo>
                    <a:pt x="17293" y="4661079"/>
                    <a:pt x="938269" y="5582054"/>
                    <a:pt x="2074353" y="5582054"/>
                  </a:cubicBezTo>
                  <a:cubicBezTo>
                    <a:pt x="3210434" y="5582054"/>
                    <a:pt x="4131411" y="4661079"/>
                    <a:pt x="4131411" y="3525001"/>
                  </a:cubicBezTo>
                  <a:cubicBezTo>
                    <a:pt x="4131411" y="2832729"/>
                    <a:pt x="3789443" y="2220326"/>
                    <a:pt x="3262807" y="1850890"/>
                  </a:cubicBezTo>
                  <a:lnTo>
                    <a:pt x="3436211" y="1789427"/>
                  </a:lnTo>
                  <a:lnTo>
                    <a:pt x="3609724" y="1570554"/>
                  </a:lnTo>
                  <a:lnTo>
                    <a:pt x="3298804" y="1351864"/>
                  </a:lnTo>
                  <a:lnTo>
                    <a:pt x="3136289" y="1555584"/>
                  </a:lnTo>
                  <a:lnTo>
                    <a:pt x="3115877" y="1753288"/>
                  </a:lnTo>
                  <a:cubicBezTo>
                    <a:pt x="2886825" y="1615786"/>
                    <a:pt x="2627941" y="1523711"/>
                    <a:pt x="2351361" y="1488748"/>
                  </a:cubicBezTo>
                  <a:lnTo>
                    <a:pt x="2351361" y="1265953"/>
                  </a:lnTo>
                  <a:cubicBezTo>
                    <a:pt x="2580149" y="1162359"/>
                    <a:pt x="2738449" y="931714"/>
                    <a:pt x="2738449" y="664094"/>
                  </a:cubicBezTo>
                  <a:cubicBezTo>
                    <a:pt x="2738449" y="297325"/>
                    <a:pt x="2441121" y="0"/>
                    <a:pt x="2074353" y="0"/>
                  </a:cubicBez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algn="ctr" defTabSz="913825" fontAlgn="base">
                <a:spcBef>
                  <a:spcPct val="0"/>
                </a:spcBef>
                <a:spcAft>
                  <a:spcPct val="0"/>
                </a:spcAft>
                <a:defRPr/>
              </a:pPr>
              <a:endParaRPr lang="en-US" sz="1799" kern="0" spc="-5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8" name="Rectangle 135"/>
            <p:cNvSpPr>
              <a:spLocks noChangeAspect="1"/>
            </p:cNvSpPr>
            <p:nvPr/>
          </p:nvSpPr>
          <p:spPr bwMode="auto">
            <a:xfrm>
              <a:off x="4642509" y="4105241"/>
              <a:ext cx="157794" cy="157794"/>
            </a:xfrm>
            <a:custGeom>
              <a:avLst/>
              <a:gdLst/>
              <a:ahLst/>
              <a:cxnLst/>
              <a:rect l="l" t="t" r="r" b="b"/>
              <a:pathLst>
                <a:path w="4486492" h="4486492">
                  <a:moveTo>
                    <a:pt x="3115020" y="3115652"/>
                  </a:moveTo>
                  <a:lnTo>
                    <a:pt x="3115020" y="4358307"/>
                  </a:lnTo>
                  <a:lnTo>
                    <a:pt x="4358306" y="4358307"/>
                  </a:lnTo>
                  <a:lnTo>
                    <a:pt x="4358306" y="3115652"/>
                  </a:lnTo>
                  <a:close/>
                  <a:moveTo>
                    <a:pt x="1473659" y="3115652"/>
                  </a:moveTo>
                  <a:lnTo>
                    <a:pt x="1473659" y="4358307"/>
                  </a:lnTo>
                  <a:lnTo>
                    <a:pt x="3012833" y="4358307"/>
                  </a:lnTo>
                  <a:lnTo>
                    <a:pt x="3012833" y="3115652"/>
                  </a:lnTo>
                  <a:close/>
                  <a:moveTo>
                    <a:pt x="128186" y="3115652"/>
                  </a:moveTo>
                  <a:lnTo>
                    <a:pt x="128186" y="4358307"/>
                  </a:lnTo>
                  <a:lnTo>
                    <a:pt x="1371472" y="4358307"/>
                  </a:lnTo>
                  <a:lnTo>
                    <a:pt x="1371472" y="3115652"/>
                  </a:lnTo>
                  <a:close/>
                  <a:moveTo>
                    <a:pt x="1473659" y="2755431"/>
                  </a:moveTo>
                  <a:lnTo>
                    <a:pt x="1473659" y="3013467"/>
                  </a:lnTo>
                  <a:lnTo>
                    <a:pt x="1793547" y="3013467"/>
                  </a:lnTo>
                  <a:close/>
                  <a:moveTo>
                    <a:pt x="963448" y="2343871"/>
                  </a:moveTo>
                  <a:lnTo>
                    <a:pt x="330177" y="3013467"/>
                  </a:lnTo>
                  <a:lnTo>
                    <a:pt x="1371472" y="3013467"/>
                  </a:lnTo>
                  <a:lnTo>
                    <a:pt x="1371472" y="2673002"/>
                  </a:lnTo>
                  <a:close/>
                  <a:moveTo>
                    <a:pt x="3012833" y="1906434"/>
                  </a:moveTo>
                  <a:lnTo>
                    <a:pt x="2010377" y="3013467"/>
                  </a:lnTo>
                  <a:lnTo>
                    <a:pt x="3012833" y="3013467"/>
                  </a:lnTo>
                  <a:close/>
                  <a:moveTo>
                    <a:pt x="3386427" y="1493866"/>
                  </a:moveTo>
                  <a:lnTo>
                    <a:pt x="3115020" y="1793586"/>
                  </a:lnTo>
                  <a:lnTo>
                    <a:pt x="3115020" y="3013467"/>
                  </a:lnTo>
                  <a:lnTo>
                    <a:pt x="4358306" y="3013467"/>
                  </a:lnTo>
                  <a:lnTo>
                    <a:pt x="4358306" y="2522701"/>
                  </a:lnTo>
                  <a:close/>
                  <a:moveTo>
                    <a:pt x="3801600" y="1473023"/>
                  </a:moveTo>
                  <a:lnTo>
                    <a:pt x="4358306" y="2069204"/>
                  </a:lnTo>
                  <a:lnTo>
                    <a:pt x="4358306" y="1473023"/>
                  </a:lnTo>
                  <a:close/>
                  <a:moveTo>
                    <a:pt x="1473659" y="1473023"/>
                  </a:moveTo>
                  <a:lnTo>
                    <a:pt x="1473659" y="2383401"/>
                  </a:lnTo>
                  <a:lnTo>
                    <a:pt x="1820355" y="2695206"/>
                  </a:lnTo>
                  <a:lnTo>
                    <a:pt x="2954285" y="1473023"/>
                  </a:lnTo>
                  <a:close/>
                  <a:moveTo>
                    <a:pt x="128186" y="1473023"/>
                  </a:moveTo>
                  <a:lnTo>
                    <a:pt x="128186" y="2789526"/>
                  </a:lnTo>
                  <a:lnTo>
                    <a:pt x="963448" y="1924535"/>
                  </a:lnTo>
                  <a:lnTo>
                    <a:pt x="1371472" y="2291497"/>
                  </a:lnTo>
                  <a:lnTo>
                    <a:pt x="1371472" y="1473023"/>
                  </a:lnTo>
                  <a:close/>
                  <a:moveTo>
                    <a:pt x="3115020" y="128186"/>
                  </a:moveTo>
                  <a:lnTo>
                    <a:pt x="3115020" y="1299778"/>
                  </a:lnTo>
                  <a:lnTo>
                    <a:pt x="3376578" y="1017863"/>
                  </a:lnTo>
                  <a:lnTo>
                    <a:pt x="3706181" y="1370838"/>
                  </a:lnTo>
                  <a:lnTo>
                    <a:pt x="4358306" y="1370838"/>
                  </a:lnTo>
                  <a:lnTo>
                    <a:pt x="4358306" y="128186"/>
                  </a:lnTo>
                  <a:close/>
                  <a:moveTo>
                    <a:pt x="1473659" y="128186"/>
                  </a:moveTo>
                  <a:lnTo>
                    <a:pt x="1473659" y="1370838"/>
                  </a:lnTo>
                  <a:lnTo>
                    <a:pt x="3012833" y="1370838"/>
                  </a:lnTo>
                  <a:lnTo>
                    <a:pt x="3012833" y="128186"/>
                  </a:lnTo>
                  <a:close/>
                  <a:moveTo>
                    <a:pt x="128186" y="128186"/>
                  </a:moveTo>
                  <a:lnTo>
                    <a:pt x="128186" y="1370838"/>
                  </a:lnTo>
                  <a:lnTo>
                    <a:pt x="1371472" y="1370838"/>
                  </a:lnTo>
                  <a:lnTo>
                    <a:pt x="1371472" y="128186"/>
                  </a:lnTo>
                  <a:close/>
                  <a:moveTo>
                    <a:pt x="0" y="0"/>
                  </a:moveTo>
                  <a:lnTo>
                    <a:pt x="4486492" y="0"/>
                  </a:lnTo>
                  <a:lnTo>
                    <a:pt x="4486492" y="4486492"/>
                  </a:lnTo>
                  <a:lnTo>
                    <a:pt x="0" y="4486492"/>
                  </a:lnTo>
                  <a:close/>
                </a:path>
              </a:pathLst>
            </a:custGeom>
            <a:solidFill>
              <a:schemeClr val="bg1">
                <a:lumMod val="50000"/>
              </a:schemeClr>
            </a:solidFill>
            <a:ln>
              <a:noFill/>
            </a:ln>
            <a:ex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algn="ctr" defTabSz="914126">
                <a:defRPr/>
              </a:pPr>
              <a:endParaRPr lang="en-US" sz="1799" kern="0">
                <a:solidFill>
                  <a:srgbClr val="000000"/>
                </a:solidFill>
                <a:latin typeface="Segoe UI"/>
              </a:endParaRPr>
            </a:p>
          </p:txBody>
        </p:sp>
        <p:grpSp>
          <p:nvGrpSpPr>
            <p:cNvPr id="272" name="Group 271"/>
            <p:cNvGrpSpPr>
              <a:grpSpLocks noChangeAspect="1"/>
            </p:cNvGrpSpPr>
            <p:nvPr/>
          </p:nvGrpSpPr>
          <p:grpSpPr>
            <a:xfrm>
              <a:off x="4526485" y="3807774"/>
              <a:ext cx="264642" cy="282324"/>
              <a:chOff x="5189537" y="2049462"/>
              <a:chExt cx="2280987" cy="2433387"/>
            </a:xfrm>
            <a:noFill/>
          </p:grpSpPr>
          <p:grpSp>
            <p:nvGrpSpPr>
              <p:cNvPr id="276" name="Group 275"/>
              <p:cNvGrpSpPr/>
              <p:nvPr/>
            </p:nvGrpSpPr>
            <p:grpSpPr>
              <a:xfrm rot="20928238">
                <a:off x="5580216" y="2468155"/>
                <a:ext cx="1580053" cy="1632472"/>
                <a:chOff x="2419350" y="1390650"/>
                <a:chExt cx="4019550" cy="4152900"/>
              </a:xfrm>
              <a:grpFill/>
            </p:grpSpPr>
            <p:cxnSp>
              <p:nvCxnSpPr>
                <p:cNvPr id="366" name="Straight Connector 365"/>
                <p:cNvCxnSpPr/>
                <p:nvPr/>
              </p:nvCxnSpPr>
              <p:spPr>
                <a:xfrm rot="671762" flipV="1">
                  <a:off x="3487989" y="1881693"/>
                  <a:ext cx="1742543" cy="3329308"/>
                </a:xfrm>
                <a:prstGeom prst="line">
                  <a:avLst/>
                </a:prstGeom>
                <a:grpFill/>
                <a:ln w="6350">
                  <a:solidFill>
                    <a:srgbClr val="5E83BD"/>
                  </a:solidFill>
                </a:ln>
              </p:spPr>
              <p:style>
                <a:lnRef idx="1">
                  <a:schemeClr val="accent1"/>
                </a:lnRef>
                <a:fillRef idx="0">
                  <a:schemeClr val="accent1"/>
                </a:fillRef>
                <a:effectRef idx="0">
                  <a:schemeClr val="accent1"/>
                </a:effectRef>
                <a:fontRef idx="minor">
                  <a:schemeClr val="tx1"/>
                </a:fontRef>
              </p:style>
            </p:cxnSp>
            <p:cxnSp>
              <p:nvCxnSpPr>
                <p:cNvPr id="367" name="Straight Connector 366"/>
                <p:cNvCxnSpPr/>
                <p:nvPr/>
              </p:nvCxnSpPr>
              <p:spPr>
                <a:xfrm>
                  <a:off x="3009900" y="1809750"/>
                  <a:ext cx="2914650" cy="3314700"/>
                </a:xfrm>
                <a:prstGeom prst="line">
                  <a:avLst/>
                </a:prstGeom>
                <a:grpFill/>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68" name="Straight Connector 367"/>
                <p:cNvCxnSpPr/>
                <p:nvPr/>
              </p:nvCxnSpPr>
              <p:spPr>
                <a:xfrm flipV="1">
                  <a:off x="2419350" y="3238500"/>
                  <a:ext cx="4019550" cy="228600"/>
                </a:xfrm>
                <a:prstGeom prst="line">
                  <a:avLst/>
                </a:prstGeom>
                <a:grpFill/>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69" name="Straight Connector 368"/>
                <p:cNvCxnSpPr/>
                <p:nvPr/>
              </p:nvCxnSpPr>
              <p:spPr>
                <a:xfrm flipV="1">
                  <a:off x="4438650" y="1390650"/>
                  <a:ext cx="38100" cy="4152900"/>
                </a:xfrm>
                <a:prstGeom prst="line">
                  <a:avLst/>
                </a:prstGeom>
                <a:grpFill/>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277" name="Oval 276"/>
              <p:cNvSpPr/>
              <p:nvPr/>
            </p:nvSpPr>
            <p:spPr bwMode="auto">
              <a:xfrm>
                <a:off x="6093424" y="2989603"/>
                <a:ext cx="545079" cy="54190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algn="ctr" defTabSz="913825" fontAlgn="base">
                  <a:spcBef>
                    <a:spcPct val="0"/>
                  </a:spcBef>
                  <a:spcAft>
                    <a:spcPct val="0"/>
                  </a:spcAft>
                  <a:defRPr/>
                </a:pPr>
                <a:endParaRPr lang="en-US" sz="1799" kern="0" spc="-5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78" name="Group 277"/>
              <p:cNvGrpSpPr/>
              <p:nvPr/>
            </p:nvGrpSpPr>
            <p:grpSpPr>
              <a:xfrm>
                <a:off x="6164838" y="3074715"/>
                <a:ext cx="422709" cy="329710"/>
                <a:chOff x="3868489" y="2175446"/>
                <a:chExt cx="1461312" cy="1139815"/>
              </a:xfrm>
              <a:grpFill/>
            </p:grpSpPr>
            <p:sp>
              <p:nvSpPr>
                <p:cNvPr id="333" name="Freeform 332"/>
                <p:cNvSpPr>
                  <a:spLocks/>
                </p:cNvSpPr>
                <p:nvPr/>
              </p:nvSpPr>
              <p:spPr bwMode="black">
                <a:xfrm>
                  <a:off x="3868489" y="2618684"/>
                  <a:ext cx="570161" cy="570012"/>
                </a:xfrm>
                <a:custGeom>
                  <a:avLst/>
                  <a:gdLst>
                    <a:gd name="connsiteX0" fmla="*/ 1158284 w 1648391"/>
                    <a:gd name="connsiteY0" fmla="*/ 202957 h 1647959"/>
                    <a:gd name="connsiteX1" fmla="*/ 894611 w 1648391"/>
                    <a:gd name="connsiteY1" fmla="*/ 466592 h 1647959"/>
                    <a:gd name="connsiteX2" fmla="*/ 894611 w 1648391"/>
                    <a:gd name="connsiteY2" fmla="*/ 600535 h 1647959"/>
                    <a:gd name="connsiteX3" fmla="*/ 705361 w 1648391"/>
                    <a:gd name="connsiteY3" fmla="*/ 600535 h 1647959"/>
                    <a:gd name="connsiteX4" fmla="*/ 705361 w 1648391"/>
                    <a:gd name="connsiteY4" fmla="*/ 824838 h 1647959"/>
                    <a:gd name="connsiteX5" fmla="*/ 894611 w 1648391"/>
                    <a:gd name="connsiteY5" fmla="*/ 824838 h 1647959"/>
                    <a:gd name="connsiteX6" fmla="*/ 894611 w 1648391"/>
                    <a:gd name="connsiteY6" fmla="*/ 1514753 h 1647959"/>
                    <a:gd name="connsiteX7" fmla="*/ 1189117 w 1648391"/>
                    <a:gd name="connsiteY7" fmla="*/ 1514753 h 1647959"/>
                    <a:gd name="connsiteX8" fmla="*/ 1189117 w 1648391"/>
                    <a:gd name="connsiteY8" fmla="*/ 824838 h 1647959"/>
                    <a:gd name="connsiteX9" fmla="*/ 1398567 w 1648391"/>
                    <a:gd name="connsiteY9" fmla="*/ 824838 h 1647959"/>
                    <a:gd name="connsiteX10" fmla="*/ 1398567 w 1648391"/>
                    <a:gd name="connsiteY10" fmla="*/ 600535 h 1647959"/>
                    <a:gd name="connsiteX11" fmla="*/ 1189117 w 1648391"/>
                    <a:gd name="connsiteY11" fmla="*/ 600535 h 1647959"/>
                    <a:gd name="connsiteX12" fmla="*/ 1189117 w 1648391"/>
                    <a:gd name="connsiteY12" fmla="*/ 526122 h 1647959"/>
                    <a:gd name="connsiteX13" fmla="*/ 1287994 w 1648391"/>
                    <a:gd name="connsiteY13" fmla="*/ 427259 h 1647959"/>
                    <a:gd name="connsiteX14" fmla="*/ 1398567 w 1648391"/>
                    <a:gd name="connsiteY14" fmla="*/ 427259 h 1647959"/>
                    <a:gd name="connsiteX15" fmla="*/ 1398567 w 1648391"/>
                    <a:gd name="connsiteY15" fmla="*/ 202957 h 1647959"/>
                    <a:gd name="connsiteX16" fmla="*/ 1158284 w 1648391"/>
                    <a:gd name="connsiteY16" fmla="*/ 202957 h 1647959"/>
                    <a:gd name="connsiteX17" fmla="*/ 295647 w 1648391"/>
                    <a:gd name="connsiteY17" fmla="*/ 0 h 1647959"/>
                    <a:gd name="connsiteX18" fmla="*/ 1352744 w 1648391"/>
                    <a:gd name="connsiteY18" fmla="*/ 0 h 1647959"/>
                    <a:gd name="connsiteX19" fmla="*/ 1648391 w 1648391"/>
                    <a:gd name="connsiteY19" fmla="*/ 295569 h 1647959"/>
                    <a:gd name="connsiteX20" fmla="*/ 1648391 w 1648391"/>
                    <a:gd name="connsiteY20" fmla="*/ 1352390 h 1647959"/>
                    <a:gd name="connsiteX21" fmla="*/ 1352744 w 1648391"/>
                    <a:gd name="connsiteY21" fmla="*/ 1647959 h 1647959"/>
                    <a:gd name="connsiteX22" fmla="*/ 295647 w 1648391"/>
                    <a:gd name="connsiteY22" fmla="*/ 1647959 h 1647959"/>
                    <a:gd name="connsiteX23" fmla="*/ 0 w 1648391"/>
                    <a:gd name="connsiteY23" fmla="*/ 1352390 h 1647959"/>
                    <a:gd name="connsiteX24" fmla="*/ 0 w 1648391"/>
                    <a:gd name="connsiteY24" fmla="*/ 295569 h 1647959"/>
                    <a:gd name="connsiteX25" fmla="*/ 295647 w 1648391"/>
                    <a:gd name="connsiteY25" fmla="*/ 0 h 1647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648391" h="1647959">
                      <a:moveTo>
                        <a:pt x="1158284" y="202957"/>
                      </a:moveTo>
                      <a:cubicBezTo>
                        <a:pt x="1012626" y="202957"/>
                        <a:pt x="894611" y="320955"/>
                        <a:pt x="894611" y="466592"/>
                      </a:cubicBezTo>
                      <a:cubicBezTo>
                        <a:pt x="894611" y="600535"/>
                        <a:pt x="894611" y="600535"/>
                        <a:pt x="894611" y="600535"/>
                      </a:cubicBezTo>
                      <a:cubicBezTo>
                        <a:pt x="705361" y="600535"/>
                        <a:pt x="705361" y="600535"/>
                        <a:pt x="705361" y="600535"/>
                      </a:cubicBezTo>
                      <a:cubicBezTo>
                        <a:pt x="705361" y="824838"/>
                        <a:pt x="705361" y="824838"/>
                        <a:pt x="705361" y="824838"/>
                      </a:cubicBezTo>
                      <a:cubicBezTo>
                        <a:pt x="894611" y="824838"/>
                        <a:pt x="894611" y="824838"/>
                        <a:pt x="894611" y="824838"/>
                      </a:cubicBezTo>
                      <a:cubicBezTo>
                        <a:pt x="894611" y="1514753"/>
                        <a:pt x="894611" y="1514753"/>
                        <a:pt x="894611" y="1514753"/>
                      </a:cubicBezTo>
                      <a:cubicBezTo>
                        <a:pt x="1189117" y="1514753"/>
                        <a:pt x="1189117" y="1514753"/>
                        <a:pt x="1189117" y="1514753"/>
                      </a:cubicBezTo>
                      <a:cubicBezTo>
                        <a:pt x="1189117" y="824838"/>
                        <a:pt x="1189117" y="824838"/>
                        <a:pt x="1189117" y="824838"/>
                      </a:cubicBezTo>
                      <a:cubicBezTo>
                        <a:pt x="1398567" y="824838"/>
                        <a:pt x="1398567" y="824838"/>
                        <a:pt x="1398567" y="824838"/>
                      </a:cubicBezTo>
                      <a:cubicBezTo>
                        <a:pt x="1398567" y="600535"/>
                        <a:pt x="1398567" y="600535"/>
                        <a:pt x="1398567" y="600535"/>
                      </a:cubicBezTo>
                      <a:cubicBezTo>
                        <a:pt x="1189117" y="600535"/>
                        <a:pt x="1189117" y="600535"/>
                        <a:pt x="1189117" y="600535"/>
                      </a:cubicBezTo>
                      <a:cubicBezTo>
                        <a:pt x="1189117" y="526122"/>
                        <a:pt x="1189117" y="526122"/>
                        <a:pt x="1189117" y="526122"/>
                      </a:cubicBezTo>
                      <a:cubicBezTo>
                        <a:pt x="1189117" y="470844"/>
                        <a:pt x="1232708" y="427259"/>
                        <a:pt x="1287994" y="427259"/>
                      </a:cubicBezTo>
                      <a:cubicBezTo>
                        <a:pt x="1398567" y="427259"/>
                        <a:pt x="1398567" y="427259"/>
                        <a:pt x="1398567" y="427259"/>
                      </a:cubicBezTo>
                      <a:cubicBezTo>
                        <a:pt x="1398567" y="202957"/>
                        <a:pt x="1398567" y="202957"/>
                        <a:pt x="1398567" y="202957"/>
                      </a:cubicBezTo>
                      <a:cubicBezTo>
                        <a:pt x="1158284" y="202957"/>
                        <a:pt x="1158284" y="202957"/>
                        <a:pt x="1158284" y="202957"/>
                      </a:cubicBezTo>
                      <a:close/>
                      <a:moveTo>
                        <a:pt x="295647" y="0"/>
                      </a:moveTo>
                      <a:cubicBezTo>
                        <a:pt x="295647" y="0"/>
                        <a:pt x="295647" y="0"/>
                        <a:pt x="1352744" y="0"/>
                      </a:cubicBezTo>
                      <a:cubicBezTo>
                        <a:pt x="1515456" y="0"/>
                        <a:pt x="1648391" y="132900"/>
                        <a:pt x="1648391" y="295569"/>
                      </a:cubicBezTo>
                      <a:cubicBezTo>
                        <a:pt x="1648391" y="295569"/>
                        <a:pt x="1648391" y="295569"/>
                        <a:pt x="1648391" y="1352390"/>
                      </a:cubicBezTo>
                      <a:cubicBezTo>
                        <a:pt x="1648391" y="1515059"/>
                        <a:pt x="1515456" y="1647959"/>
                        <a:pt x="1352744" y="1647959"/>
                      </a:cubicBezTo>
                      <a:cubicBezTo>
                        <a:pt x="1352744" y="1647959"/>
                        <a:pt x="1352744" y="1647959"/>
                        <a:pt x="295647" y="1647959"/>
                      </a:cubicBezTo>
                      <a:cubicBezTo>
                        <a:pt x="132935" y="1647959"/>
                        <a:pt x="0" y="1515059"/>
                        <a:pt x="0" y="1352390"/>
                      </a:cubicBezTo>
                      <a:cubicBezTo>
                        <a:pt x="0" y="1352390"/>
                        <a:pt x="0" y="1352390"/>
                        <a:pt x="0" y="295569"/>
                      </a:cubicBezTo>
                      <a:cubicBezTo>
                        <a:pt x="0" y="132900"/>
                        <a:pt x="132935" y="0"/>
                        <a:pt x="295647" y="0"/>
                      </a:cubicBezTo>
                      <a:close/>
                    </a:path>
                  </a:pathLst>
                </a:custGeom>
                <a:grpFill/>
                <a:ln>
                  <a:noFill/>
                  <a:headEnd type="none" w="med" len="med"/>
                  <a:tailEnd type="none" w="med" len="med"/>
                </a:ln>
                <a:extLst/>
              </p:spPr>
              <p:style>
                <a:lnRef idx="2">
                  <a:schemeClr val="accent2">
                    <a:shade val="50000"/>
                  </a:schemeClr>
                </a:lnRef>
                <a:fillRef idx="1">
                  <a:schemeClr val="accent2"/>
                </a:fillRef>
                <a:effectRef idx="0">
                  <a:schemeClr val="accent2"/>
                </a:effectRef>
                <a:fontRef idx="minor">
                  <a:schemeClr val="lt1"/>
                </a:fontRef>
              </p:style>
              <p:txBody>
                <a:bodyPr vert="horz" wrap="square" lIns="91412" tIns="45706" rIns="91412" bIns="45706" numCol="1" rtlCol="0" anchor="ctr" anchorCtr="0" compatLnSpc="1">
                  <a:prstTxWarp prst="textNoShape">
                    <a:avLst/>
                  </a:prstTxWarp>
                  <a:noAutofit/>
                </a:bodyPr>
                <a:lstStyle/>
                <a:p>
                  <a:pPr algn="ctr" defTabSz="822534" fontAlgn="base">
                    <a:spcBef>
                      <a:spcPct val="0"/>
                    </a:spcBef>
                    <a:spcAft>
                      <a:spcPct val="0"/>
                    </a:spcAft>
                    <a:defRPr/>
                  </a:pPr>
                  <a:endParaRPr lang="en-US" sz="1200" kern="0">
                    <a:gradFill>
                      <a:gsLst>
                        <a:gs pos="0">
                          <a:srgbClr val="FFFFFF"/>
                        </a:gs>
                        <a:gs pos="100000">
                          <a:srgbClr val="FFFFFF"/>
                        </a:gs>
                      </a:gsLst>
                      <a:lin ang="5400000" scaled="0"/>
                    </a:gradFill>
                    <a:latin typeface="Segoe UI"/>
                  </a:endParaRPr>
                </a:p>
              </p:txBody>
            </p:sp>
            <p:sp>
              <p:nvSpPr>
                <p:cNvPr id="334" name="Freeform 13"/>
                <p:cNvSpPr>
                  <a:spLocks noEditPoints="1"/>
                </p:cNvSpPr>
                <p:nvPr/>
              </p:nvSpPr>
              <p:spPr bwMode="black">
                <a:xfrm>
                  <a:off x="4353818" y="2175446"/>
                  <a:ext cx="573511" cy="488304"/>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81" tIns="41140" rIns="82281" bIns="41140" numCol="1" rtlCol="0" anchor="ctr" anchorCtr="0" compatLnSpc="1">
                  <a:prstTxWarp prst="textNoShape">
                    <a:avLst/>
                  </a:prstTxWarp>
                </a:bodyPr>
                <a:lstStyle/>
                <a:p>
                  <a:pPr defTabSz="740518">
                    <a:defRPr/>
                  </a:pPr>
                  <a:endParaRPr lang="en-US" sz="1799" kern="0" spc="-122">
                    <a:solidFill>
                      <a:srgbClr val="FFFFFF">
                        <a:lumMod val="50000"/>
                      </a:srgbClr>
                    </a:solidFill>
                    <a:latin typeface="Segoe Light" pitchFamily="34" charset="0"/>
                  </a:endParaRPr>
                </a:p>
              </p:txBody>
            </p:sp>
            <p:grpSp>
              <p:nvGrpSpPr>
                <p:cNvPr id="335" name="Group 334"/>
                <p:cNvGrpSpPr>
                  <a:grpSpLocks noChangeAspect="1"/>
                </p:cNvGrpSpPr>
                <p:nvPr/>
              </p:nvGrpSpPr>
              <p:grpSpPr bwMode="black">
                <a:xfrm>
                  <a:off x="4600348" y="2763865"/>
                  <a:ext cx="729453" cy="551396"/>
                  <a:chOff x="5152725" y="4450437"/>
                  <a:chExt cx="311284" cy="235362"/>
                </a:xfrm>
                <a:grpFill/>
              </p:grpSpPr>
              <p:sp>
                <p:nvSpPr>
                  <p:cNvPr id="364" name="Freeform 168"/>
                  <p:cNvSpPr>
                    <a:spLocks noEditPoints="1"/>
                  </p:cNvSpPr>
                  <p:nvPr/>
                </p:nvSpPr>
                <p:spPr bwMode="black">
                  <a:xfrm>
                    <a:off x="5152725" y="4450437"/>
                    <a:ext cx="212585" cy="199299"/>
                  </a:xfrm>
                  <a:custGeom>
                    <a:avLst/>
                    <a:gdLst/>
                    <a:ahLst/>
                    <a:cxnLst>
                      <a:cxn ang="0">
                        <a:pos x="215" y="24"/>
                      </a:cxn>
                      <a:cxn ang="0">
                        <a:pos x="127" y="0"/>
                      </a:cxn>
                      <a:cxn ang="0">
                        <a:pos x="39" y="24"/>
                      </a:cxn>
                      <a:cxn ang="0">
                        <a:pos x="0" y="89"/>
                      </a:cxn>
                      <a:cxn ang="0">
                        <a:pos x="42" y="155"/>
                      </a:cxn>
                      <a:cxn ang="0">
                        <a:pos x="34" y="197"/>
                      </a:cxn>
                      <a:cxn ang="0">
                        <a:pos x="27" y="231"/>
                      </a:cxn>
                      <a:cxn ang="0">
                        <a:pos x="25" y="240"/>
                      </a:cxn>
                      <a:cxn ang="0">
                        <a:pos x="31" y="233"/>
                      </a:cxn>
                      <a:cxn ang="0">
                        <a:pos x="55" y="207"/>
                      </a:cxn>
                      <a:cxn ang="0">
                        <a:pos x="87" y="173"/>
                      </a:cxn>
                      <a:cxn ang="0">
                        <a:pos x="127" y="178"/>
                      </a:cxn>
                      <a:cxn ang="0">
                        <a:pos x="215" y="153"/>
                      </a:cxn>
                      <a:cxn ang="0">
                        <a:pos x="255" y="89"/>
                      </a:cxn>
                      <a:cxn ang="0">
                        <a:pos x="215" y="24"/>
                      </a:cxn>
                      <a:cxn ang="0">
                        <a:pos x="59" y="149"/>
                      </a:cxn>
                      <a:cxn ang="0">
                        <a:pos x="59" y="147"/>
                      </a:cxn>
                      <a:cxn ang="0">
                        <a:pos x="57" y="147"/>
                      </a:cxn>
                      <a:cxn ang="0">
                        <a:pos x="15" y="89"/>
                      </a:cxn>
                      <a:cxn ang="0">
                        <a:pos x="127" y="15"/>
                      </a:cxn>
                      <a:cxn ang="0">
                        <a:pos x="240" y="89"/>
                      </a:cxn>
                      <a:cxn ang="0">
                        <a:pos x="127" y="163"/>
                      </a:cxn>
                      <a:cxn ang="0">
                        <a:pos x="83" y="157"/>
                      </a:cxn>
                      <a:cxn ang="0">
                        <a:pos x="82" y="156"/>
                      </a:cxn>
                      <a:cxn ang="0">
                        <a:pos x="81" y="158"/>
                      </a:cxn>
                      <a:cxn ang="0">
                        <a:pos x="50" y="191"/>
                      </a:cxn>
                      <a:cxn ang="0">
                        <a:pos x="59" y="149"/>
                      </a:cxn>
                    </a:cxnLst>
                    <a:rect l="0" t="0" r="r" b="b"/>
                    <a:pathLst>
                      <a:path w="255" h="240">
                        <a:moveTo>
                          <a:pt x="215" y="24"/>
                        </a:moveTo>
                        <a:cubicBezTo>
                          <a:pt x="192" y="8"/>
                          <a:pt x="160" y="0"/>
                          <a:pt x="127" y="0"/>
                        </a:cubicBezTo>
                        <a:cubicBezTo>
                          <a:pt x="94" y="0"/>
                          <a:pt x="63" y="8"/>
                          <a:pt x="39" y="24"/>
                        </a:cubicBezTo>
                        <a:cubicBezTo>
                          <a:pt x="14" y="41"/>
                          <a:pt x="0" y="64"/>
                          <a:pt x="0" y="89"/>
                        </a:cubicBezTo>
                        <a:cubicBezTo>
                          <a:pt x="0" y="114"/>
                          <a:pt x="15" y="138"/>
                          <a:pt x="42" y="155"/>
                        </a:cubicBezTo>
                        <a:cubicBezTo>
                          <a:pt x="34" y="197"/>
                          <a:pt x="34" y="197"/>
                          <a:pt x="34" y="197"/>
                        </a:cubicBezTo>
                        <a:cubicBezTo>
                          <a:pt x="27" y="231"/>
                          <a:pt x="27" y="231"/>
                          <a:pt x="27" y="231"/>
                        </a:cubicBezTo>
                        <a:cubicBezTo>
                          <a:pt x="25" y="240"/>
                          <a:pt x="25" y="240"/>
                          <a:pt x="25" y="240"/>
                        </a:cubicBezTo>
                        <a:cubicBezTo>
                          <a:pt x="31" y="233"/>
                          <a:pt x="31" y="233"/>
                          <a:pt x="31" y="233"/>
                        </a:cubicBezTo>
                        <a:cubicBezTo>
                          <a:pt x="55" y="207"/>
                          <a:pt x="55" y="207"/>
                          <a:pt x="55" y="207"/>
                        </a:cubicBezTo>
                        <a:cubicBezTo>
                          <a:pt x="87" y="173"/>
                          <a:pt x="87" y="173"/>
                          <a:pt x="87" y="173"/>
                        </a:cubicBezTo>
                        <a:cubicBezTo>
                          <a:pt x="100" y="176"/>
                          <a:pt x="113" y="178"/>
                          <a:pt x="127" y="178"/>
                        </a:cubicBezTo>
                        <a:cubicBezTo>
                          <a:pt x="160" y="178"/>
                          <a:pt x="192" y="169"/>
                          <a:pt x="215" y="153"/>
                        </a:cubicBezTo>
                        <a:cubicBezTo>
                          <a:pt x="241" y="136"/>
                          <a:pt x="255" y="113"/>
                          <a:pt x="255" y="89"/>
                        </a:cubicBezTo>
                        <a:cubicBezTo>
                          <a:pt x="255" y="64"/>
                          <a:pt x="241" y="41"/>
                          <a:pt x="215" y="24"/>
                        </a:cubicBezTo>
                        <a:close/>
                        <a:moveTo>
                          <a:pt x="59" y="149"/>
                        </a:moveTo>
                        <a:cubicBezTo>
                          <a:pt x="59" y="147"/>
                          <a:pt x="59" y="147"/>
                          <a:pt x="59" y="147"/>
                        </a:cubicBezTo>
                        <a:cubicBezTo>
                          <a:pt x="57" y="147"/>
                          <a:pt x="57" y="147"/>
                          <a:pt x="57" y="147"/>
                        </a:cubicBezTo>
                        <a:cubicBezTo>
                          <a:pt x="30" y="132"/>
                          <a:pt x="15" y="111"/>
                          <a:pt x="15" y="89"/>
                        </a:cubicBezTo>
                        <a:cubicBezTo>
                          <a:pt x="15" y="48"/>
                          <a:pt x="65" y="15"/>
                          <a:pt x="127" y="15"/>
                        </a:cubicBezTo>
                        <a:cubicBezTo>
                          <a:pt x="189" y="15"/>
                          <a:pt x="240" y="48"/>
                          <a:pt x="240" y="89"/>
                        </a:cubicBezTo>
                        <a:cubicBezTo>
                          <a:pt x="240" y="129"/>
                          <a:pt x="189" y="163"/>
                          <a:pt x="127" y="163"/>
                        </a:cubicBezTo>
                        <a:cubicBezTo>
                          <a:pt x="112" y="163"/>
                          <a:pt x="97" y="161"/>
                          <a:pt x="83" y="157"/>
                        </a:cubicBezTo>
                        <a:cubicBezTo>
                          <a:pt x="82" y="156"/>
                          <a:pt x="82" y="156"/>
                          <a:pt x="82" y="156"/>
                        </a:cubicBezTo>
                        <a:cubicBezTo>
                          <a:pt x="81" y="158"/>
                          <a:pt x="81" y="158"/>
                          <a:pt x="81" y="158"/>
                        </a:cubicBezTo>
                        <a:cubicBezTo>
                          <a:pt x="50" y="191"/>
                          <a:pt x="50" y="191"/>
                          <a:pt x="50" y="191"/>
                        </a:cubicBezTo>
                        <a:lnTo>
                          <a:pt x="59" y="149"/>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defRPr/>
                    </a:pPr>
                    <a:endParaRPr lang="en-US" sz="1799" kern="0" spc="-122">
                      <a:solidFill>
                        <a:srgbClr val="FFFFFF">
                          <a:lumMod val="50000"/>
                        </a:srgbClr>
                      </a:solidFill>
                      <a:latin typeface="Segoe Light" pitchFamily="34" charset="0"/>
                    </a:endParaRPr>
                  </a:p>
                </p:txBody>
              </p:sp>
              <p:sp>
                <p:nvSpPr>
                  <p:cNvPr id="365" name="Freeform 169"/>
                  <p:cNvSpPr>
                    <a:spLocks/>
                  </p:cNvSpPr>
                  <p:nvPr/>
                </p:nvSpPr>
                <p:spPr bwMode="black">
                  <a:xfrm>
                    <a:off x="5295080" y="4518768"/>
                    <a:ext cx="168929" cy="167031"/>
                  </a:xfrm>
                  <a:custGeom>
                    <a:avLst/>
                    <a:gdLst/>
                    <a:ahLst/>
                    <a:cxnLst>
                      <a:cxn ang="0">
                        <a:pos x="203" y="74"/>
                      </a:cxn>
                      <a:cxn ang="0">
                        <a:pos x="170" y="20"/>
                      </a:cxn>
                      <a:cxn ang="0">
                        <a:pos x="98" y="0"/>
                      </a:cxn>
                      <a:cxn ang="0">
                        <a:pos x="95" y="0"/>
                      </a:cxn>
                      <a:cxn ang="0">
                        <a:pos x="95" y="3"/>
                      </a:cxn>
                      <a:cxn ang="0">
                        <a:pos x="96" y="11"/>
                      </a:cxn>
                      <a:cxn ang="0">
                        <a:pos x="96" y="13"/>
                      </a:cxn>
                      <a:cxn ang="0">
                        <a:pos x="99" y="13"/>
                      </a:cxn>
                      <a:cxn ang="0">
                        <a:pos x="190" y="74"/>
                      </a:cxn>
                      <a:cxn ang="0">
                        <a:pos x="155" y="121"/>
                      </a:cxn>
                      <a:cxn ang="0">
                        <a:pos x="153" y="122"/>
                      </a:cxn>
                      <a:cxn ang="0">
                        <a:pos x="153" y="124"/>
                      </a:cxn>
                      <a:cxn ang="0">
                        <a:pos x="160" y="157"/>
                      </a:cxn>
                      <a:cxn ang="0">
                        <a:pos x="136" y="130"/>
                      </a:cxn>
                      <a:cxn ang="0">
                        <a:pos x="134" y="129"/>
                      </a:cxn>
                      <a:cxn ang="0">
                        <a:pos x="133" y="130"/>
                      </a:cxn>
                      <a:cxn ang="0">
                        <a:pos x="97" y="134"/>
                      </a:cxn>
                      <a:cxn ang="0">
                        <a:pos x="15" y="102"/>
                      </a:cxn>
                      <a:cxn ang="0">
                        <a:pos x="14" y="100"/>
                      </a:cxn>
                      <a:cxn ang="0">
                        <a:pos x="12" y="101"/>
                      </a:cxn>
                      <a:cxn ang="0">
                        <a:pos x="4" y="103"/>
                      </a:cxn>
                      <a:cxn ang="0">
                        <a:pos x="0" y="104"/>
                      </a:cxn>
                      <a:cxn ang="0">
                        <a:pos x="2" y="107"/>
                      </a:cxn>
                      <a:cxn ang="0">
                        <a:pos x="24" y="127"/>
                      </a:cxn>
                      <a:cxn ang="0">
                        <a:pos x="97" y="148"/>
                      </a:cxn>
                      <a:cxn ang="0">
                        <a:pos x="130" y="144"/>
                      </a:cxn>
                      <a:cxn ang="0">
                        <a:pos x="156" y="172"/>
                      </a:cxn>
                      <a:cxn ang="0">
                        <a:pos x="176" y="194"/>
                      </a:cxn>
                      <a:cxn ang="0">
                        <a:pos x="182" y="200"/>
                      </a:cxn>
                      <a:cxn ang="0">
                        <a:pos x="180" y="192"/>
                      </a:cxn>
                      <a:cxn ang="0">
                        <a:pos x="175" y="163"/>
                      </a:cxn>
                      <a:cxn ang="0">
                        <a:pos x="168" y="129"/>
                      </a:cxn>
                      <a:cxn ang="0">
                        <a:pos x="203" y="74"/>
                      </a:cxn>
                    </a:cxnLst>
                    <a:rect l="0" t="0" r="r" b="b"/>
                    <a:pathLst>
                      <a:path w="203" h="200">
                        <a:moveTo>
                          <a:pt x="203" y="74"/>
                        </a:moveTo>
                        <a:cubicBezTo>
                          <a:pt x="203" y="53"/>
                          <a:pt x="191" y="34"/>
                          <a:pt x="170" y="20"/>
                        </a:cubicBezTo>
                        <a:cubicBezTo>
                          <a:pt x="151" y="7"/>
                          <a:pt x="125" y="0"/>
                          <a:pt x="98" y="0"/>
                        </a:cubicBezTo>
                        <a:cubicBezTo>
                          <a:pt x="95" y="0"/>
                          <a:pt x="95" y="0"/>
                          <a:pt x="95" y="0"/>
                        </a:cubicBezTo>
                        <a:cubicBezTo>
                          <a:pt x="95" y="3"/>
                          <a:pt x="95" y="3"/>
                          <a:pt x="95" y="3"/>
                        </a:cubicBezTo>
                        <a:cubicBezTo>
                          <a:pt x="96" y="5"/>
                          <a:pt x="96" y="8"/>
                          <a:pt x="96" y="11"/>
                        </a:cubicBezTo>
                        <a:cubicBezTo>
                          <a:pt x="96" y="13"/>
                          <a:pt x="96" y="13"/>
                          <a:pt x="96" y="13"/>
                        </a:cubicBezTo>
                        <a:cubicBezTo>
                          <a:pt x="99" y="13"/>
                          <a:pt x="99" y="13"/>
                          <a:pt x="99" y="13"/>
                        </a:cubicBezTo>
                        <a:cubicBezTo>
                          <a:pt x="149" y="14"/>
                          <a:pt x="190" y="41"/>
                          <a:pt x="190" y="74"/>
                        </a:cubicBezTo>
                        <a:cubicBezTo>
                          <a:pt x="190" y="92"/>
                          <a:pt x="177" y="110"/>
                          <a:pt x="155" y="121"/>
                        </a:cubicBezTo>
                        <a:cubicBezTo>
                          <a:pt x="153" y="122"/>
                          <a:pt x="153" y="122"/>
                          <a:pt x="153" y="122"/>
                        </a:cubicBezTo>
                        <a:cubicBezTo>
                          <a:pt x="153" y="124"/>
                          <a:pt x="153" y="124"/>
                          <a:pt x="153" y="124"/>
                        </a:cubicBezTo>
                        <a:cubicBezTo>
                          <a:pt x="160" y="157"/>
                          <a:pt x="160" y="157"/>
                          <a:pt x="160" y="157"/>
                        </a:cubicBezTo>
                        <a:cubicBezTo>
                          <a:pt x="136" y="130"/>
                          <a:pt x="136" y="130"/>
                          <a:pt x="136" y="130"/>
                        </a:cubicBezTo>
                        <a:cubicBezTo>
                          <a:pt x="134" y="129"/>
                          <a:pt x="134" y="129"/>
                          <a:pt x="134" y="129"/>
                        </a:cubicBezTo>
                        <a:cubicBezTo>
                          <a:pt x="133" y="130"/>
                          <a:pt x="133" y="130"/>
                          <a:pt x="133" y="130"/>
                        </a:cubicBezTo>
                        <a:cubicBezTo>
                          <a:pt x="122" y="133"/>
                          <a:pt x="109" y="134"/>
                          <a:pt x="97" y="134"/>
                        </a:cubicBezTo>
                        <a:cubicBezTo>
                          <a:pt x="62" y="134"/>
                          <a:pt x="31" y="122"/>
                          <a:pt x="15" y="102"/>
                        </a:cubicBezTo>
                        <a:cubicBezTo>
                          <a:pt x="14" y="100"/>
                          <a:pt x="14" y="100"/>
                          <a:pt x="14" y="100"/>
                        </a:cubicBezTo>
                        <a:cubicBezTo>
                          <a:pt x="12" y="101"/>
                          <a:pt x="12" y="101"/>
                          <a:pt x="12" y="101"/>
                        </a:cubicBezTo>
                        <a:cubicBezTo>
                          <a:pt x="10" y="102"/>
                          <a:pt x="7" y="102"/>
                          <a:pt x="4" y="103"/>
                        </a:cubicBezTo>
                        <a:cubicBezTo>
                          <a:pt x="0" y="104"/>
                          <a:pt x="0" y="104"/>
                          <a:pt x="0" y="104"/>
                        </a:cubicBezTo>
                        <a:cubicBezTo>
                          <a:pt x="2" y="107"/>
                          <a:pt x="2" y="107"/>
                          <a:pt x="2" y="107"/>
                        </a:cubicBezTo>
                        <a:cubicBezTo>
                          <a:pt x="8" y="115"/>
                          <a:pt x="15" y="121"/>
                          <a:pt x="24" y="127"/>
                        </a:cubicBezTo>
                        <a:cubicBezTo>
                          <a:pt x="44" y="141"/>
                          <a:pt x="70" y="148"/>
                          <a:pt x="97" y="148"/>
                        </a:cubicBezTo>
                        <a:cubicBezTo>
                          <a:pt x="108" y="148"/>
                          <a:pt x="119" y="147"/>
                          <a:pt x="130" y="144"/>
                        </a:cubicBezTo>
                        <a:cubicBezTo>
                          <a:pt x="156" y="172"/>
                          <a:pt x="156" y="172"/>
                          <a:pt x="156" y="172"/>
                        </a:cubicBezTo>
                        <a:cubicBezTo>
                          <a:pt x="176" y="194"/>
                          <a:pt x="176" y="194"/>
                          <a:pt x="176" y="194"/>
                        </a:cubicBezTo>
                        <a:cubicBezTo>
                          <a:pt x="182" y="200"/>
                          <a:pt x="182" y="200"/>
                          <a:pt x="182" y="200"/>
                        </a:cubicBezTo>
                        <a:cubicBezTo>
                          <a:pt x="180" y="192"/>
                          <a:pt x="180" y="192"/>
                          <a:pt x="180" y="192"/>
                        </a:cubicBezTo>
                        <a:cubicBezTo>
                          <a:pt x="175" y="163"/>
                          <a:pt x="175" y="163"/>
                          <a:pt x="175" y="163"/>
                        </a:cubicBezTo>
                        <a:cubicBezTo>
                          <a:pt x="168" y="129"/>
                          <a:pt x="168" y="129"/>
                          <a:pt x="168" y="129"/>
                        </a:cubicBezTo>
                        <a:cubicBezTo>
                          <a:pt x="190" y="115"/>
                          <a:pt x="203" y="95"/>
                          <a:pt x="203" y="74"/>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defRPr/>
                    </a:pPr>
                    <a:endParaRPr lang="en-US" sz="1799" kern="0" spc="-122">
                      <a:solidFill>
                        <a:srgbClr val="FFFFFF">
                          <a:lumMod val="50000"/>
                        </a:srgbClr>
                      </a:solidFill>
                      <a:latin typeface="Segoe Light" pitchFamily="34" charset="0"/>
                    </a:endParaRPr>
                  </a:p>
                </p:txBody>
              </p:sp>
            </p:grpSp>
          </p:grpSp>
          <p:pic>
            <p:nvPicPr>
              <p:cNvPr id="279" name="Picture 4" descr="\\MAGNUM\Projects\Microsoft\Cloud Power FY12\Design\Icons\PNGs\IT_guy.png"/>
              <p:cNvPicPr>
                <a:picLocks noChangeAspect="1" noChangeArrowheads="1"/>
              </p:cNvPicPr>
              <p:nvPr/>
            </p:nvPicPr>
            <p:blipFill>
              <a:blip r:embed="rId31" cstate="print">
                <a:duotone>
                  <a:prstClr val="black"/>
                  <a:schemeClr val="accent5">
                    <a:tint val="45000"/>
                    <a:satMod val="400000"/>
                  </a:schemeClr>
                </a:duotone>
                <a:extLst>
                  <a:ext uri="{BEBA8EAE-BF5A-486C-A8C5-ECC9F3942E4B}">
                    <a14:imgProps xmlns:a14="http://schemas.microsoft.com/office/drawing/2010/main">
                      <a14:imgLayer r:embed="rId32">
                        <a14:imgEffect>
                          <a14:brightnessContrast bright="-31000" contrast="-40000"/>
                        </a14:imgEffect>
                      </a14:imgLayer>
                    </a14:imgProps>
                  </a:ext>
                  <a:ext uri="{28A0092B-C50C-407E-A947-70E740481C1C}">
                    <a14:useLocalDpi xmlns:a14="http://schemas.microsoft.com/office/drawing/2010/main"/>
                  </a:ext>
                </a:extLst>
              </a:blip>
              <a:srcRect/>
              <a:stretch>
                <a:fillRect/>
              </a:stretch>
            </p:blipFill>
            <p:spPr bwMode="auto">
              <a:xfrm>
                <a:off x="5189537" y="3078162"/>
                <a:ext cx="718887" cy="718887"/>
              </a:xfrm>
              <a:prstGeom prst="rect">
                <a:avLst/>
              </a:prstGeom>
              <a:grpFill/>
            </p:spPr>
          </p:pic>
          <p:pic>
            <p:nvPicPr>
              <p:cNvPr id="281" name="Picture 4" descr="\\MAGNUM\Projects\Microsoft\Cloud Power FY12\Design\Icons\PNGs\IT_guy.png"/>
              <p:cNvPicPr>
                <a:picLocks noChangeAspect="1" noChangeArrowheads="1"/>
              </p:cNvPicPr>
              <p:nvPr/>
            </p:nvPicPr>
            <p:blipFill>
              <a:blip r:embed="rId31" cstate="print">
                <a:duotone>
                  <a:prstClr val="black"/>
                  <a:schemeClr val="accent5">
                    <a:tint val="45000"/>
                    <a:satMod val="400000"/>
                  </a:schemeClr>
                </a:duotone>
                <a:extLst>
                  <a:ext uri="{BEBA8EAE-BF5A-486C-A8C5-ECC9F3942E4B}">
                    <a14:imgProps xmlns:a14="http://schemas.microsoft.com/office/drawing/2010/main">
                      <a14:imgLayer r:embed="rId32">
                        <a14:imgEffect>
                          <a14:brightnessContrast bright="-31000" contrast="-40000"/>
                        </a14:imgEffect>
                      </a14:imgLayer>
                    </a14:imgProps>
                  </a:ext>
                  <a:ext uri="{28A0092B-C50C-407E-A947-70E740481C1C}">
                    <a14:useLocalDpi xmlns:a14="http://schemas.microsoft.com/office/drawing/2010/main"/>
                  </a:ext>
                </a:extLst>
              </a:blip>
              <a:srcRect/>
              <a:stretch>
                <a:fillRect/>
              </a:stretch>
            </p:blipFill>
            <p:spPr bwMode="auto">
              <a:xfrm>
                <a:off x="6751637" y="2697162"/>
                <a:ext cx="718887" cy="718887"/>
              </a:xfrm>
              <a:prstGeom prst="rect">
                <a:avLst/>
              </a:prstGeom>
              <a:grpFill/>
            </p:spPr>
          </p:pic>
          <p:pic>
            <p:nvPicPr>
              <p:cNvPr id="324" name="Picture 4" descr="\\MAGNUM\Projects\Microsoft\Cloud Power FY12\Design\Icons\PNGs\IT_guy.png"/>
              <p:cNvPicPr>
                <a:picLocks noChangeAspect="1" noChangeArrowheads="1"/>
              </p:cNvPicPr>
              <p:nvPr/>
            </p:nvPicPr>
            <p:blipFill>
              <a:blip r:embed="rId31" cstate="print">
                <a:duotone>
                  <a:prstClr val="black"/>
                  <a:schemeClr val="accent5">
                    <a:tint val="45000"/>
                    <a:satMod val="400000"/>
                  </a:schemeClr>
                </a:duotone>
                <a:extLst>
                  <a:ext uri="{BEBA8EAE-BF5A-486C-A8C5-ECC9F3942E4B}">
                    <a14:imgProps xmlns:a14="http://schemas.microsoft.com/office/drawing/2010/main">
                      <a14:imgLayer r:embed="rId32">
                        <a14:imgEffect>
                          <a14:brightnessContrast bright="-31000" contrast="-40000"/>
                        </a14:imgEffect>
                      </a14:imgLayer>
                    </a14:imgProps>
                  </a:ext>
                  <a:ext uri="{28A0092B-C50C-407E-A947-70E740481C1C}">
                    <a14:useLocalDpi xmlns:a14="http://schemas.microsoft.com/office/drawing/2010/main"/>
                  </a:ext>
                </a:extLst>
              </a:blip>
              <a:srcRect/>
              <a:stretch>
                <a:fillRect/>
              </a:stretch>
            </p:blipFill>
            <p:spPr bwMode="auto">
              <a:xfrm>
                <a:off x="5837237" y="2049462"/>
                <a:ext cx="718887" cy="718887"/>
              </a:xfrm>
              <a:prstGeom prst="rect">
                <a:avLst/>
              </a:prstGeom>
              <a:grpFill/>
            </p:spPr>
          </p:pic>
          <p:pic>
            <p:nvPicPr>
              <p:cNvPr id="325" name="Picture 4" descr="\\MAGNUM\Projects\Microsoft\Cloud Power FY12\Design\Icons\PNGs\IT_guy.png"/>
              <p:cNvPicPr>
                <a:picLocks noChangeAspect="1" noChangeArrowheads="1"/>
              </p:cNvPicPr>
              <p:nvPr/>
            </p:nvPicPr>
            <p:blipFill>
              <a:blip r:embed="rId31" cstate="print">
                <a:duotone>
                  <a:prstClr val="black"/>
                  <a:schemeClr val="accent5">
                    <a:tint val="45000"/>
                    <a:satMod val="400000"/>
                  </a:schemeClr>
                </a:duotone>
                <a:extLst>
                  <a:ext uri="{BEBA8EAE-BF5A-486C-A8C5-ECC9F3942E4B}">
                    <a14:imgProps xmlns:a14="http://schemas.microsoft.com/office/drawing/2010/main">
                      <a14:imgLayer r:embed="rId32">
                        <a14:imgEffect>
                          <a14:brightnessContrast bright="-31000" contrast="-40000"/>
                        </a14:imgEffect>
                      </a14:imgLayer>
                    </a14:imgProps>
                  </a:ext>
                  <a:ext uri="{28A0092B-C50C-407E-A947-70E740481C1C}">
                    <a14:useLocalDpi xmlns:a14="http://schemas.microsoft.com/office/drawing/2010/main"/>
                  </a:ext>
                </a:extLst>
              </a:blip>
              <a:srcRect/>
              <a:stretch>
                <a:fillRect/>
              </a:stretch>
            </p:blipFill>
            <p:spPr bwMode="auto">
              <a:xfrm>
                <a:off x="6256337" y="3763962"/>
                <a:ext cx="718887" cy="718887"/>
              </a:xfrm>
              <a:prstGeom prst="rect">
                <a:avLst/>
              </a:prstGeom>
              <a:grpFill/>
            </p:spPr>
          </p:pic>
          <p:pic>
            <p:nvPicPr>
              <p:cNvPr id="327" name="Picture 4" descr="\\MAGNUM\Projects\Microsoft\Cloud Power FY12\Design\Icons\PNGs\IT_guy.png"/>
              <p:cNvPicPr>
                <a:picLocks noChangeAspect="1" noChangeArrowheads="1"/>
              </p:cNvPicPr>
              <p:nvPr/>
            </p:nvPicPr>
            <p:blipFill>
              <a:blip r:embed="rId33" cstate="print">
                <a:duotone>
                  <a:prstClr val="black"/>
                  <a:schemeClr val="accent5">
                    <a:tint val="45000"/>
                    <a:satMod val="400000"/>
                  </a:schemeClr>
                </a:duotone>
                <a:extLst>
                  <a:ext uri="{28A0092B-C50C-407E-A947-70E740481C1C}">
                    <a14:useLocalDpi xmlns:a14="http://schemas.microsoft.com/office/drawing/2010/main"/>
                  </a:ext>
                </a:extLst>
              </a:blip>
              <a:srcRect/>
              <a:stretch>
                <a:fillRect/>
              </a:stretch>
            </p:blipFill>
            <p:spPr bwMode="auto">
              <a:xfrm>
                <a:off x="5380037" y="2430462"/>
                <a:ext cx="592208" cy="592208"/>
              </a:xfrm>
              <a:prstGeom prst="rect">
                <a:avLst/>
              </a:prstGeom>
              <a:grpFill/>
            </p:spPr>
          </p:pic>
          <p:pic>
            <p:nvPicPr>
              <p:cNvPr id="328" name="Picture 4"/>
              <p:cNvPicPr>
                <a:picLocks noChangeAspect="1" noChangeArrowheads="1"/>
              </p:cNvPicPr>
              <p:nvPr/>
            </p:nvPicPr>
            <p:blipFill>
              <a:blip r:embed="rId34" cstate="print">
                <a:duotone>
                  <a:prstClr val="black"/>
                  <a:schemeClr val="accent5">
                    <a:tint val="45000"/>
                    <a:satMod val="400000"/>
                  </a:schemeClr>
                </a:duotone>
                <a:extLst>
                  <a:ext uri="{BEBA8EAE-BF5A-486C-A8C5-ECC9F3942E4B}">
                    <a14:imgProps xmlns:a14="http://schemas.microsoft.com/office/drawing/2010/main">
                      <a14:imgLayer r:embed="rId35">
                        <a14:imgEffect>
                          <a14:brightnessContrast bright="-90000" contrast="-40000"/>
                        </a14:imgEffect>
                      </a14:imgLayer>
                    </a14:imgProps>
                  </a:ext>
                  <a:ext uri="{28A0092B-C50C-407E-A947-70E740481C1C}">
                    <a14:useLocalDpi xmlns:a14="http://schemas.microsoft.com/office/drawing/2010/main"/>
                  </a:ext>
                </a:extLst>
              </a:blip>
              <a:stretch>
                <a:fillRect/>
              </a:stretch>
            </p:blipFill>
            <p:spPr bwMode="auto">
              <a:xfrm>
                <a:off x="6586394" y="2298884"/>
                <a:ext cx="352447" cy="592208"/>
              </a:xfrm>
              <a:prstGeom prst="rect">
                <a:avLst/>
              </a:prstGeom>
              <a:grpFill/>
            </p:spPr>
          </p:pic>
          <p:pic>
            <p:nvPicPr>
              <p:cNvPr id="330" name="Picture 4" descr="\\MAGNUM\Projects\Microsoft\Cloud Power FY12\Design\Icons\PNGs\IT_guy.png"/>
              <p:cNvPicPr>
                <a:picLocks noChangeAspect="1" noChangeArrowheads="1"/>
              </p:cNvPicPr>
              <p:nvPr/>
            </p:nvPicPr>
            <p:blipFill>
              <a:blip r:embed="rId33" cstate="print">
                <a:duotone>
                  <a:prstClr val="black"/>
                  <a:schemeClr val="accent5">
                    <a:tint val="45000"/>
                    <a:satMod val="400000"/>
                  </a:schemeClr>
                </a:duotone>
                <a:extLst>
                  <a:ext uri="{28A0092B-C50C-407E-A947-70E740481C1C}">
                    <a14:useLocalDpi xmlns:a14="http://schemas.microsoft.com/office/drawing/2010/main"/>
                  </a:ext>
                </a:extLst>
              </a:blip>
              <a:srcRect/>
              <a:stretch>
                <a:fillRect/>
              </a:stretch>
            </p:blipFill>
            <p:spPr bwMode="auto">
              <a:xfrm>
                <a:off x="6789737" y="3535362"/>
                <a:ext cx="592208" cy="592208"/>
              </a:xfrm>
              <a:prstGeom prst="rect">
                <a:avLst/>
              </a:prstGeom>
              <a:grpFill/>
            </p:spPr>
          </p:pic>
          <p:pic>
            <p:nvPicPr>
              <p:cNvPr id="331" name="Picture 4"/>
              <p:cNvPicPr>
                <a:picLocks noChangeAspect="1" noChangeArrowheads="1"/>
              </p:cNvPicPr>
              <p:nvPr/>
            </p:nvPicPr>
            <p:blipFill>
              <a:blip r:embed="rId36" cstate="print">
                <a:duotone>
                  <a:prstClr val="black"/>
                  <a:schemeClr val="accent5">
                    <a:tint val="45000"/>
                    <a:satMod val="400000"/>
                  </a:schemeClr>
                </a:duotone>
                <a:extLst>
                  <a:ext uri="{BEBA8EAE-BF5A-486C-A8C5-ECC9F3942E4B}">
                    <a14:imgProps xmlns:a14="http://schemas.microsoft.com/office/drawing/2010/main">
                      <a14:imgLayer r:embed="rId37">
                        <a14:imgEffect>
                          <a14:brightnessContrast bright="-90000" contrast="-40000"/>
                        </a14:imgEffect>
                      </a14:imgLayer>
                    </a14:imgProps>
                  </a:ext>
                  <a:ext uri="{28A0092B-C50C-407E-A947-70E740481C1C}">
                    <a14:useLocalDpi xmlns:a14="http://schemas.microsoft.com/office/drawing/2010/main"/>
                  </a:ext>
                </a:extLst>
              </a:blip>
              <a:stretch>
                <a:fillRect/>
              </a:stretch>
            </p:blipFill>
            <p:spPr bwMode="auto">
              <a:xfrm>
                <a:off x="5750930" y="3736610"/>
                <a:ext cx="421787" cy="708717"/>
              </a:xfrm>
              <a:prstGeom prst="rect">
                <a:avLst/>
              </a:prstGeom>
              <a:grpFill/>
            </p:spPr>
          </p:pic>
        </p:grpSp>
        <p:sp>
          <p:nvSpPr>
            <p:cNvPr id="275" name="Freeform 274"/>
            <p:cNvSpPr>
              <a:spLocks noChangeAspect="1"/>
            </p:cNvSpPr>
            <p:nvPr/>
          </p:nvSpPr>
          <p:spPr>
            <a:xfrm>
              <a:off x="3836921" y="3865818"/>
              <a:ext cx="183339" cy="178618"/>
            </a:xfrm>
            <a:custGeom>
              <a:avLst/>
              <a:gdLst/>
              <a:ahLst/>
              <a:cxnLst/>
              <a:rect l="l" t="t" r="r" b="b"/>
              <a:pathLst>
                <a:path w="3519626" h="3429003">
                  <a:moveTo>
                    <a:pt x="329758" y="805793"/>
                  </a:moveTo>
                  <a:lnTo>
                    <a:pt x="925306" y="805793"/>
                  </a:lnTo>
                  <a:cubicBezTo>
                    <a:pt x="1064768" y="805793"/>
                    <a:pt x="1187092" y="887740"/>
                    <a:pt x="1234646" y="1010334"/>
                  </a:cubicBezTo>
                  <a:cubicBezTo>
                    <a:pt x="1243786" y="1026258"/>
                    <a:pt x="1245316" y="1041875"/>
                    <a:pt x="1248990" y="1056123"/>
                  </a:cubicBezTo>
                  <a:lnTo>
                    <a:pt x="1255065" y="1116387"/>
                  </a:lnTo>
                  <a:lnTo>
                    <a:pt x="1255065" y="1135551"/>
                  </a:lnTo>
                  <a:lnTo>
                    <a:pt x="1255065" y="1226048"/>
                  </a:lnTo>
                  <a:lnTo>
                    <a:pt x="1255065" y="1971211"/>
                  </a:lnTo>
                  <a:cubicBezTo>
                    <a:pt x="1255065" y="2036615"/>
                    <a:pt x="1202045" y="2089635"/>
                    <a:pt x="1136642" y="2089635"/>
                  </a:cubicBezTo>
                  <a:cubicBezTo>
                    <a:pt x="1071239" y="2089635"/>
                    <a:pt x="1018219" y="2036615"/>
                    <a:pt x="1018219" y="1971211"/>
                  </a:cubicBezTo>
                  <a:lnTo>
                    <a:pt x="1018219" y="1540896"/>
                  </a:lnTo>
                  <a:lnTo>
                    <a:pt x="1016964" y="1541209"/>
                  </a:lnTo>
                  <a:lnTo>
                    <a:pt x="1016964" y="1222819"/>
                  </a:lnTo>
                  <a:cubicBezTo>
                    <a:pt x="1016964" y="1220051"/>
                    <a:pt x="1014721" y="1217807"/>
                    <a:pt x="1011953" y="1217807"/>
                  </a:cubicBezTo>
                  <a:lnTo>
                    <a:pt x="961839" y="1217807"/>
                  </a:lnTo>
                  <a:cubicBezTo>
                    <a:pt x="959071" y="1217807"/>
                    <a:pt x="956828" y="1220051"/>
                    <a:pt x="956828" y="1222819"/>
                  </a:cubicBezTo>
                  <a:cubicBezTo>
                    <a:pt x="957155" y="1321303"/>
                    <a:pt x="957481" y="1419787"/>
                    <a:pt x="957808" y="1518271"/>
                  </a:cubicBezTo>
                  <a:lnTo>
                    <a:pt x="957808" y="3280974"/>
                  </a:lnTo>
                  <a:cubicBezTo>
                    <a:pt x="957808" y="3362728"/>
                    <a:pt x="891533" y="3429003"/>
                    <a:pt x="809779" y="3429003"/>
                  </a:cubicBezTo>
                  <a:cubicBezTo>
                    <a:pt x="728025" y="3429003"/>
                    <a:pt x="661750" y="3362728"/>
                    <a:pt x="661750" y="3280974"/>
                  </a:cubicBezTo>
                  <a:lnTo>
                    <a:pt x="661750" y="2167108"/>
                  </a:lnTo>
                  <a:cubicBezTo>
                    <a:pt x="661423" y="2138763"/>
                    <a:pt x="661097" y="2110418"/>
                    <a:pt x="660770" y="2082072"/>
                  </a:cubicBezTo>
                  <a:cubicBezTo>
                    <a:pt x="660770" y="2079643"/>
                    <a:pt x="658801" y="2077674"/>
                    <a:pt x="656372" y="2077674"/>
                  </a:cubicBezTo>
                  <a:lnTo>
                    <a:pt x="601776" y="2077674"/>
                  </a:lnTo>
                  <a:cubicBezTo>
                    <a:pt x="599347" y="2077674"/>
                    <a:pt x="597379" y="2079643"/>
                    <a:pt x="597379" y="2082072"/>
                  </a:cubicBezTo>
                  <a:lnTo>
                    <a:pt x="597379" y="2167108"/>
                  </a:lnTo>
                  <a:cubicBezTo>
                    <a:pt x="597256" y="2538397"/>
                    <a:pt x="597133" y="2909685"/>
                    <a:pt x="597011" y="3280974"/>
                  </a:cubicBezTo>
                  <a:cubicBezTo>
                    <a:pt x="597011" y="3362728"/>
                    <a:pt x="530736" y="3429003"/>
                    <a:pt x="448982" y="3429003"/>
                  </a:cubicBezTo>
                  <a:cubicBezTo>
                    <a:pt x="367228" y="3429003"/>
                    <a:pt x="300953" y="3362728"/>
                    <a:pt x="300953" y="3280974"/>
                  </a:cubicBezTo>
                  <a:lnTo>
                    <a:pt x="300953" y="1553621"/>
                  </a:lnTo>
                  <a:cubicBezTo>
                    <a:pt x="299413" y="1443328"/>
                    <a:pt x="297875" y="1333034"/>
                    <a:pt x="296336" y="1222742"/>
                  </a:cubicBezTo>
                  <a:cubicBezTo>
                    <a:pt x="296336" y="1220017"/>
                    <a:pt x="294126" y="1217807"/>
                    <a:pt x="291401" y="1217807"/>
                  </a:cubicBezTo>
                  <a:lnTo>
                    <a:pt x="242058" y="1217807"/>
                  </a:lnTo>
                  <a:cubicBezTo>
                    <a:pt x="239333" y="1217807"/>
                    <a:pt x="237124" y="1220017"/>
                    <a:pt x="237124" y="1222742"/>
                  </a:cubicBezTo>
                  <a:lnTo>
                    <a:pt x="237124" y="1540965"/>
                  </a:lnTo>
                  <a:cubicBezTo>
                    <a:pt x="237026" y="1540958"/>
                    <a:pt x="236936" y="1540927"/>
                    <a:pt x="236846" y="1540896"/>
                  </a:cubicBezTo>
                  <a:lnTo>
                    <a:pt x="236846" y="1971211"/>
                  </a:lnTo>
                  <a:cubicBezTo>
                    <a:pt x="236846" y="2036615"/>
                    <a:pt x="183826" y="2089635"/>
                    <a:pt x="118423" y="2089635"/>
                  </a:cubicBezTo>
                  <a:cubicBezTo>
                    <a:pt x="53020" y="2089635"/>
                    <a:pt x="0" y="2036615"/>
                    <a:pt x="0" y="1971211"/>
                  </a:cubicBezTo>
                  <a:lnTo>
                    <a:pt x="0" y="1226048"/>
                  </a:lnTo>
                  <a:lnTo>
                    <a:pt x="0" y="1135551"/>
                  </a:lnTo>
                  <a:lnTo>
                    <a:pt x="0" y="1116387"/>
                  </a:lnTo>
                  <a:cubicBezTo>
                    <a:pt x="0" y="1088374"/>
                    <a:pt x="3644" y="1061212"/>
                    <a:pt x="11703" y="1035671"/>
                  </a:cubicBezTo>
                  <a:cubicBezTo>
                    <a:pt x="13902" y="1027807"/>
                    <a:pt x="13653" y="1017983"/>
                    <a:pt x="18877" y="1011876"/>
                  </a:cubicBezTo>
                  <a:cubicBezTo>
                    <a:pt x="66432" y="889282"/>
                    <a:pt x="190298" y="805793"/>
                    <a:pt x="329758" y="805793"/>
                  </a:cubicBezTo>
                  <a:close/>
                  <a:moveTo>
                    <a:pt x="2948126" y="559595"/>
                  </a:moveTo>
                  <a:lnTo>
                    <a:pt x="2948126" y="742475"/>
                  </a:lnTo>
                  <a:lnTo>
                    <a:pt x="3014313" y="744580"/>
                  </a:lnTo>
                  <a:cubicBezTo>
                    <a:pt x="3057069" y="761075"/>
                    <a:pt x="3018593" y="839512"/>
                    <a:pt x="2948126" y="860104"/>
                  </a:cubicBezTo>
                  <a:lnTo>
                    <a:pt x="2989604" y="942501"/>
                  </a:lnTo>
                  <a:cubicBezTo>
                    <a:pt x="3072550" y="941153"/>
                    <a:pt x="3141521" y="820581"/>
                    <a:pt x="3145769" y="752000"/>
                  </a:cubicBezTo>
                  <a:cubicBezTo>
                    <a:pt x="3145397" y="702528"/>
                    <a:pt x="3145277" y="637303"/>
                    <a:pt x="3143689" y="559595"/>
                  </a:cubicBezTo>
                  <a:close/>
                  <a:moveTo>
                    <a:pt x="2719526" y="559595"/>
                  </a:moveTo>
                  <a:lnTo>
                    <a:pt x="2719526" y="742475"/>
                  </a:lnTo>
                  <a:lnTo>
                    <a:pt x="2785713" y="744580"/>
                  </a:lnTo>
                  <a:cubicBezTo>
                    <a:pt x="2828469" y="761075"/>
                    <a:pt x="2789993" y="839512"/>
                    <a:pt x="2719526" y="860104"/>
                  </a:cubicBezTo>
                  <a:lnTo>
                    <a:pt x="2761004" y="942501"/>
                  </a:lnTo>
                  <a:cubicBezTo>
                    <a:pt x="2843950" y="941153"/>
                    <a:pt x="2912921" y="820581"/>
                    <a:pt x="2917169" y="752000"/>
                  </a:cubicBezTo>
                  <a:cubicBezTo>
                    <a:pt x="2916797" y="702528"/>
                    <a:pt x="2916677" y="637303"/>
                    <a:pt x="2915089" y="559595"/>
                  </a:cubicBezTo>
                  <a:close/>
                  <a:moveTo>
                    <a:pt x="2335147" y="559595"/>
                  </a:moveTo>
                  <a:cubicBezTo>
                    <a:pt x="2252202" y="560943"/>
                    <a:pt x="2183230" y="681515"/>
                    <a:pt x="2178982" y="750096"/>
                  </a:cubicBezTo>
                  <a:cubicBezTo>
                    <a:pt x="2179354" y="799568"/>
                    <a:pt x="2179474" y="864793"/>
                    <a:pt x="2181062" y="942501"/>
                  </a:cubicBezTo>
                  <a:lnTo>
                    <a:pt x="2376625" y="942501"/>
                  </a:lnTo>
                  <a:lnTo>
                    <a:pt x="2376625" y="759621"/>
                  </a:lnTo>
                  <a:lnTo>
                    <a:pt x="2310439" y="757516"/>
                  </a:lnTo>
                  <a:cubicBezTo>
                    <a:pt x="2267683" y="741021"/>
                    <a:pt x="2306159" y="662584"/>
                    <a:pt x="2376625" y="641992"/>
                  </a:cubicBezTo>
                  <a:close/>
                  <a:moveTo>
                    <a:pt x="2106547" y="559595"/>
                  </a:moveTo>
                  <a:cubicBezTo>
                    <a:pt x="2023602" y="560943"/>
                    <a:pt x="1954630" y="681515"/>
                    <a:pt x="1950382" y="750096"/>
                  </a:cubicBezTo>
                  <a:cubicBezTo>
                    <a:pt x="1950754" y="799568"/>
                    <a:pt x="1950874" y="864793"/>
                    <a:pt x="1952462" y="942501"/>
                  </a:cubicBezTo>
                  <a:lnTo>
                    <a:pt x="2148025" y="942501"/>
                  </a:lnTo>
                  <a:lnTo>
                    <a:pt x="2148025" y="759621"/>
                  </a:lnTo>
                  <a:lnTo>
                    <a:pt x="2081839" y="757516"/>
                  </a:lnTo>
                  <a:cubicBezTo>
                    <a:pt x="2039083" y="741021"/>
                    <a:pt x="2077559" y="662584"/>
                    <a:pt x="2148025" y="641992"/>
                  </a:cubicBezTo>
                  <a:close/>
                  <a:moveTo>
                    <a:pt x="627532" y="213403"/>
                  </a:moveTo>
                  <a:cubicBezTo>
                    <a:pt x="771759" y="213403"/>
                    <a:pt x="888677" y="330322"/>
                    <a:pt x="888677" y="474548"/>
                  </a:cubicBezTo>
                  <a:cubicBezTo>
                    <a:pt x="888677" y="618775"/>
                    <a:pt x="771759" y="735694"/>
                    <a:pt x="627532" y="735694"/>
                  </a:cubicBezTo>
                  <a:cubicBezTo>
                    <a:pt x="483306" y="735694"/>
                    <a:pt x="366387" y="618775"/>
                    <a:pt x="366387" y="474548"/>
                  </a:cubicBezTo>
                  <a:cubicBezTo>
                    <a:pt x="366387" y="330322"/>
                    <a:pt x="483306" y="213403"/>
                    <a:pt x="627532" y="213403"/>
                  </a:cubicBezTo>
                  <a:close/>
                  <a:moveTo>
                    <a:pt x="1628913" y="0"/>
                  </a:moveTo>
                  <a:lnTo>
                    <a:pt x="3519626" y="0"/>
                  </a:lnTo>
                  <a:lnTo>
                    <a:pt x="3519626" y="1462090"/>
                  </a:lnTo>
                  <a:lnTo>
                    <a:pt x="1628913" y="1462090"/>
                  </a:lnTo>
                  <a:lnTo>
                    <a:pt x="1628913" y="953692"/>
                  </a:lnTo>
                  <a:lnTo>
                    <a:pt x="985977" y="466728"/>
                  </a:lnTo>
                  <a:lnTo>
                    <a:pt x="1628913" y="356995"/>
                  </a:lnTo>
                  <a:close/>
                </a:path>
              </a:pathLst>
            </a:custGeom>
            <a:solidFill>
              <a:schemeClr val="bg1">
                <a:lumMod val="5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914126">
                <a:defRPr/>
              </a:pPr>
              <a:endParaRPr lang="en-US" sz="1200" kern="0" dirty="0" err="1">
                <a:solidFill>
                  <a:srgbClr val="FFFFFF"/>
                </a:solidFill>
                <a:latin typeface="Segoe UI"/>
              </a:endParaRPr>
            </a:p>
          </p:txBody>
        </p:sp>
      </p:grpSp>
      <p:grpSp>
        <p:nvGrpSpPr>
          <p:cNvPr id="8" name="Group 7">
            <a:extLst>
              <a:ext uri="{FF2B5EF4-FFF2-40B4-BE49-F238E27FC236}">
                <a16:creationId xmlns:a16="http://schemas.microsoft.com/office/drawing/2014/main" id="{C521946B-7838-471E-B7CD-19B0B61AAE11}"/>
              </a:ext>
            </a:extLst>
          </p:cNvPr>
          <p:cNvGrpSpPr/>
          <p:nvPr/>
        </p:nvGrpSpPr>
        <p:grpSpPr>
          <a:xfrm>
            <a:off x="1906643" y="1263127"/>
            <a:ext cx="3546137" cy="552227"/>
            <a:chOff x="1894495" y="2113009"/>
            <a:chExt cx="2771891" cy="552371"/>
          </a:xfrm>
        </p:grpSpPr>
        <p:sp>
          <p:nvSpPr>
            <p:cNvPr id="2" name="Arrow: Left-Right 1">
              <a:extLst>
                <a:ext uri="{FF2B5EF4-FFF2-40B4-BE49-F238E27FC236}">
                  <a16:creationId xmlns:a16="http://schemas.microsoft.com/office/drawing/2014/main" id="{AED963BF-EB9E-4ED8-8A03-28711320383D}"/>
                </a:ext>
              </a:extLst>
            </p:cNvPr>
            <p:cNvSpPr/>
            <p:nvPr/>
          </p:nvSpPr>
          <p:spPr>
            <a:xfrm>
              <a:off x="1894495" y="2113009"/>
              <a:ext cx="2771891" cy="552371"/>
            </a:xfrm>
            <a:prstGeom prst="lef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914126">
                <a:defRPr/>
              </a:pPr>
              <a:endParaRPr lang="en-US" sz="1200" dirty="0" err="1">
                <a:solidFill>
                  <a:prstClr val="white"/>
                </a:solidFill>
                <a:latin typeface="Segoe UI"/>
              </a:endParaRPr>
            </a:p>
          </p:txBody>
        </p:sp>
        <p:sp>
          <p:nvSpPr>
            <p:cNvPr id="238" name="TextBox 237">
              <a:extLst>
                <a:ext uri="{FF2B5EF4-FFF2-40B4-BE49-F238E27FC236}">
                  <a16:creationId xmlns:a16="http://schemas.microsoft.com/office/drawing/2014/main" id="{06141CAA-6E6C-4D9D-9418-3290FC2630DD}"/>
                </a:ext>
              </a:extLst>
            </p:cNvPr>
            <p:cNvSpPr txBox="1"/>
            <p:nvPr/>
          </p:nvSpPr>
          <p:spPr>
            <a:xfrm>
              <a:off x="2181456" y="2283041"/>
              <a:ext cx="1967826" cy="199308"/>
            </a:xfrm>
            <a:prstGeom prst="rect">
              <a:avLst/>
            </a:prstGeom>
          </p:spPr>
          <p:txBody>
            <a:bodyPr vert="horz" wrap="none" lIns="0" tIns="0" rIns="0" bIns="0" rtlCol="0" anchor="ctr">
              <a:noAutofit/>
            </a:bodyPr>
            <a:lstStyle>
              <a:defPPr>
                <a:defRPr lang="en-US"/>
              </a:defPPr>
              <a:lvl1pPr algn="ctr" defTabSz="1088105">
                <a:defRPr sz="1200">
                  <a:solidFill>
                    <a:srgbClr val="505050"/>
                  </a:solidFill>
                  <a:latin typeface="Segoe UI Semibold" panose="020B0702040204020203" pitchFamily="34" charset="0"/>
                  <a:ea typeface="Segoe UI" pitchFamily="34" charset="0"/>
                  <a:cs typeface="Segoe UI Semibold" panose="020B0702040204020203" pitchFamily="34" charset="0"/>
                </a:defRPr>
              </a:lvl1pPr>
            </a:lstStyle>
            <a:p>
              <a:pPr algn="l" defTabSz="1087779">
                <a:defRPr/>
              </a:pPr>
              <a:r>
                <a:rPr lang="en-US" kern="0" dirty="0">
                  <a:solidFill>
                    <a:prstClr val="white"/>
                  </a:solidFill>
                </a:rPr>
                <a:t>Personalized Mobility Experiences</a:t>
              </a:r>
            </a:p>
          </p:txBody>
        </p:sp>
      </p:grpSp>
      <p:grpSp>
        <p:nvGrpSpPr>
          <p:cNvPr id="256" name="Group 255">
            <a:extLst>
              <a:ext uri="{FF2B5EF4-FFF2-40B4-BE49-F238E27FC236}">
                <a16:creationId xmlns:a16="http://schemas.microsoft.com/office/drawing/2014/main" id="{2C0A1DFC-0C63-490C-8BBD-E03FE76864B7}"/>
              </a:ext>
            </a:extLst>
          </p:cNvPr>
          <p:cNvGrpSpPr/>
          <p:nvPr/>
        </p:nvGrpSpPr>
        <p:grpSpPr>
          <a:xfrm>
            <a:off x="9806576" y="2131255"/>
            <a:ext cx="2038490" cy="1301149"/>
            <a:chOff x="10185888" y="1405926"/>
            <a:chExt cx="2039021" cy="1301488"/>
          </a:xfrm>
        </p:grpSpPr>
        <p:sp>
          <p:nvSpPr>
            <p:cNvPr id="257" name="Rectangle 256">
              <a:extLst>
                <a:ext uri="{FF2B5EF4-FFF2-40B4-BE49-F238E27FC236}">
                  <a16:creationId xmlns:a16="http://schemas.microsoft.com/office/drawing/2014/main" id="{FD7770FA-C8B0-4AB7-8138-E345E3C34586}"/>
                </a:ext>
              </a:extLst>
            </p:cNvPr>
            <p:cNvSpPr/>
            <p:nvPr/>
          </p:nvSpPr>
          <p:spPr>
            <a:xfrm>
              <a:off x="10185888" y="1405926"/>
              <a:ext cx="2039021" cy="492443"/>
            </a:xfrm>
            <a:prstGeom prst="rect">
              <a:avLst/>
            </a:prstGeom>
            <a:noFill/>
            <a:ln w="6350" cap="flat" cmpd="sng" algn="ctr">
              <a:noFill/>
              <a:prstDash val="solid"/>
            </a:ln>
            <a:effectLst/>
          </p:spPr>
          <p:txBody>
            <a:bodyPr wrap="none" lIns="0" tIns="0" rIns="0" bIns="0" rtlCol="0" anchor="ctr">
              <a:spAutoFit/>
            </a:bodyPr>
            <a:lstStyle/>
            <a:p>
              <a:pPr marL="0" lvl="1" algn="ctr" defTabSz="1217741" fontAlgn="base">
                <a:spcBef>
                  <a:spcPts val="200"/>
                </a:spcBef>
                <a:buClr>
                  <a:srgbClr val="FFFF99"/>
                </a:buClr>
                <a:buSzPct val="90000"/>
                <a:defRPr/>
              </a:pPr>
              <a:r>
                <a:rPr lang="en-US" sz="1600" kern="0" dirty="0">
                  <a:solidFill>
                    <a:srgbClr val="0072C6"/>
                  </a:solidFill>
                  <a:latin typeface="Segoe UI Semibold" panose="020B0702040204020203" pitchFamily="34" charset="0"/>
                  <a:ea typeface="Segoe UI" pitchFamily="34" charset="0"/>
                  <a:cs typeface="Segoe UI" pitchFamily="34" charset="0"/>
                </a:rPr>
                <a:t>Marketing &amp; </a:t>
              </a:r>
              <a:br>
                <a:rPr lang="en-US" sz="1600" kern="0" dirty="0">
                  <a:solidFill>
                    <a:srgbClr val="0072C6"/>
                  </a:solidFill>
                  <a:latin typeface="Segoe UI Semibold" panose="020B0702040204020203" pitchFamily="34" charset="0"/>
                  <a:ea typeface="Segoe UI" pitchFamily="34" charset="0"/>
                  <a:cs typeface="Segoe UI" pitchFamily="34" charset="0"/>
                </a:rPr>
              </a:br>
              <a:r>
                <a:rPr lang="en-US" sz="1600" kern="0" dirty="0">
                  <a:solidFill>
                    <a:srgbClr val="0072C6"/>
                  </a:solidFill>
                  <a:latin typeface="Segoe UI Semibold" panose="020B0702040204020203" pitchFamily="34" charset="0"/>
                  <a:ea typeface="Segoe UI" pitchFamily="34" charset="0"/>
                  <a:cs typeface="Segoe UI" pitchFamily="34" charset="0"/>
                </a:rPr>
                <a:t>Product Development</a:t>
              </a:r>
            </a:p>
          </p:txBody>
        </p:sp>
        <p:grpSp>
          <p:nvGrpSpPr>
            <p:cNvPr id="258" name="Group 257">
              <a:extLst>
                <a:ext uri="{FF2B5EF4-FFF2-40B4-BE49-F238E27FC236}">
                  <a16:creationId xmlns:a16="http://schemas.microsoft.com/office/drawing/2014/main" id="{E0F71C15-A098-4DE7-A400-A4CD6689DFEE}"/>
                </a:ext>
              </a:extLst>
            </p:cNvPr>
            <p:cNvGrpSpPr/>
            <p:nvPr/>
          </p:nvGrpSpPr>
          <p:grpSpPr>
            <a:xfrm>
              <a:off x="10590380" y="1893845"/>
              <a:ext cx="1188779" cy="813569"/>
              <a:chOff x="8602796" y="2690727"/>
              <a:chExt cx="1188779" cy="813569"/>
            </a:xfrm>
          </p:grpSpPr>
          <p:sp>
            <p:nvSpPr>
              <p:cNvPr id="259" name="Oval 258">
                <a:extLst>
                  <a:ext uri="{FF2B5EF4-FFF2-40B4-BE49-F238E27FC236}">
                    <a16:creationId xmlns:a16="http://schemas.microsoft.com/office/drawing/2014/main" id="{B983A7C7-CB24-4EDA-9ADF-DF7462E2CA24}"/>
                  </a:ext>
                </a:extLst>
              </p:cNvPr>
              <p:cNvSpPr/>
              <p:nvPr/>
            </p:nvSpPr>
            <p:spPr>
              <a:xfrm>
                <a:off x="8602796" y="2742941"/>
                <a:ext cx="1188779" cy="7613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914126">
                  <a:defRPr/>
                </a:pPr>
                <a:endParaRPr lang="en-US" sz="1200" kern="0" dirty="0">
                  <a:solidFill>
                    <a:prstClr val="white"/>
                  </a:solidFill>
                  <a:latin typeface="Segoe UI"/>
                </a:endParaRPr>
              </a:p>
            </p:txBody>
          </p:sp>
          <p:pic>
            <p:nvPicPr>
              <p:cNvPr id="260" name="Picture 259">
                <a:extLst>
                  <a:ext uri="{FF2B5EF4-FFF2-40B4-BE49-F238E27FC236}">
                    <a16:creationId xmlns:a16="http://schemas.microsoft.com/office/drawing/2014/main" id="{1C6229A4-5FBF-40E4-B956-49FCC5D90FB0}"/>
                  </a:ext>
                </a:extLst>
              </p:cNvPr>
              <p:cNvPicPr>
                <a:picLocks noChangeAspect="1"/>
              </p:cNvPicPr>
              <p:nvPr/>
            </p:nvPicPr>
            <p:blipFill>
              <a:blip r:embed="rId27" cstate="screen">
                <a:duotone>
                  <a:prstClr val="black"/>
                  <a:schemeClr val="accent5">
                    <a:tint val="45000"/>
                    <a:satMod val="400000"/>
                  </a:schemeClr>
                </a:duotone>
                <a:extLst>
                  <a:ext uri="{BEBA8EAE-BF5A-486C-A8C5-ECC9F3942E4B}">
                    <a14:imgProps xmlns:a14="http://schemas.microsoft.com/office/drawing/2010/main">
                      <a14:imgLayer r:embed="rId28">
                        <a14:imgEffect>
                          <a14:brightnessContrast bright="-20000" contrast="-20000"/>
                        </a14:imgEffect>
                      </a14:imgLayer>
                    </a14:imgProps>
                  </a:ext>
                  <a:ext uri="{28A0092B-C50C-407E-A947-70E740481C1C}">
                    <a14:useLocalDpi xmlns:a14="http://schemas.microsoft.com/office/drawing/2010/main"/>
                  </a:ext>
                </a:extLst>
              </a:blip>
              <a:stretch>
                <a:fillRect/>
              </a:stretch>
            </p:blipFill>
            <p:spPr>
              <a:xfrm>
                <a:off x="8789267" y="2690727"/>
                <a:ext cx="797830" cy="797829"/>
              </a:xfrm>
              <a:prstGeom prst="rect">
                <a:avLst/>
              </a:prstGeom>
            </p:spPr>
          </p:pic>
        </p:grpSp>
      </p:grpSp>
      <p:grpSp>
        <p:nvGrpSpPr>
          <p:cNvPr id="284" name="Group 283">
            <a:extLst>
              <a:ext uri="{FF2B5EF4-FFF2-40B4-BE49-F238E27FC236}">
                <a16:creationId xmlns:a16="http://schemas.microsoft.com/office/drawing/2014/main" id="{1BC30AE0-48DD-438E-B163-33A9C1644A7C}"/>
              </a:ext>
            </a:extLst>
          </p:cNvPr>
          <p:cNvGrpSpPr/>
          <p:nvPr/>
        </p:nvGrpSpPr>
        <p:grpSpPr>
          <a:xfrm rot="2782497">
            <a:off x="2045101" y="4351927"/>
            <a:ext cx="2293092" cy="552227"/>
            <a:chOff x="2907652" y="2004498"/>
            <a:chExt cx="2293689" cy="552371"/>
          </a:xfrm>
        </p:grpSpPr>
        <p:sp>
          <p:nvSpPr>
            <p:cNvPr id="285" name="Arrow: Left-Right 284">
              <a:extLst>
                <a:ext uri="{FF2B5EF4-FFF2-40B4-BE49-F238E27FC236}">
                  <a16:creationId xmlns:a16="http://schemas.microsoft.com/office/drawing/2014/main" id="{01636D2D-8CF5-4D60-9F09-D1F366ACF461}"/>
                </a:ext>
              </a:extLst>
            </p:cNvPr>
            <p:cNvSpPr/>
            <p:nvPr/>
          </p:nvSpPr>
          <p:spPr>
            <a:xfrm>
              <a:off x="2907652" y="2004498"/>
              <a:ext cx="2031967" cy="552371"/>
            </a:xfrm>
            <a:prstGeom prst="lef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914126">
                <a:defRPr/>
              </a:pPr>
              <a:endParaRPr lang="en-US" sz="1200" dirty="0" err="1">
                <a:solidFill>
                  <a:prstClr val="white"/>
                </a:solidFill>
                <a:latin typeface="Segoe UI"/>
              </a:endParaRPr>
            </a:p>
          </p:txBody>
        </p:sp>
        <p:sp>
          <p:nvSpPr>
            <p:cNvPr id="288" name="TextBox 287">
              <a:extLst>
                <a:ext uri="{FF2B5EF4-FFF2-40B4-BE49-F238E27FC236}">
                  <a16:creationId xmlns:a16="http://schemas.microsoft.com/office/drawing/2014/main" id="{75BA4358-9E8A-43D3-82C8-A84EAFFAB3B8}"/>
                </a:ext>
              </a:extLst>
            </p:cNvPr>
            <p:cNvSpPr txBox="1"/>
            <p:nvPr/>
          </p:nvSpPr>
          <p:spPr>
            <a:xfrm>
              <a:off x="3233515" y="2172213"/>
              <a:ext cx="1967826" cy="199308"/>
            </a:xfrm>
            <a:prstGeom prst="rect">
              <a:avLst/>
            </a:prstGeom>
          </p:spPr>
          <p:txBody>
            <a:bodyPr vert="horz" wrap="none" lIns="0" tIns="0" rIns="0" bIns="0" rtlCol="0" anchor="ctr">
              <a:noAutofit/>
            </a:bodyPr>
            <a:lstStyle>
              <a:defPPr>
                <a:defRPr lang="en-US"/>
              </a:defPPr>
              <a:lvl1pPr algn="ctr" defTabSz="1088105">
                <a:defRPr sz="1200">
                  <a:solidFill>
                    <a:srgbClr val="505050"/>
                  </a:solidFill>
                  <a:latin typeface="Segoe UI Semibold" panose="020B0702040204020203" pitchFamily="34" charset="0"/>
                  <a:ea typeface="Segoe UI" pitchFamily="34" charset="0"/>
                  <a:cs typeface="Segoe UI Semibold" panose="020B0702040204020203" pitchFamily="34" charset="0"/>
                </a:defRPr>
              </a:lvl1pPr>
            </a:lstStyle>
            <a:p>
              <a:pPr algn="l" defTabSz="1087779">
                <a:defRPr/>
              </a:pPr>
              <a:r>
                <a:rPr lang="en-US" kern="0" dirty="0">
                  <a:solidFill>
                    <a:prstClr val="white"/>
                  </a:solidFill>
                </a:rPr>
                <a:t>Empowering Insight</a:t>
              </a:r>
            </a:p>
          </p:txBody>
        </p:sp>
      </p:grpSp>
      <p:grpSp>
        <p:nvGrpSpPr>
          <p:cNvPr id="290" name="Group 289">
            <a:extLst>
              <a:ext uri="{FF2B5EF4-FFF2-40B4-BE49-F238E27FC236}">
                <a16:creationId xmlns:a16="http://schemas.microsoft.com/office/drawing/2014/main" id="{D0DF03ED-B42A-45CB-81AD-CA8100158411}"/>
              </a:ext>
            </a:extLst>
          </p:cNvPr>
          <p:cNvGrpSpPr/>
          <p:nvPr/>
        </p:nvGrpSpPr>
        <p:grpSpPr>
          <a:xfrm rot="16896328">
            <a:off x="87726" y="4482118"/>
            <a:ext cx="1943300" cy="552227"/>
            <a:chOff x="2634419" y="2113009"/>
            <a:chExt cx="2111785" cy="552371"/>
          </a:xfrm>
        </p:grpSpPr>
        <p:sp>
          <p:nvSpPr>
            <p:cNvPr id="291" name="Arrow: Left-Right 290">
              <a:extLst>
                <a:ext uri="{FF2B5EF4-FFF2-40B4-BE49-F238E27FC236}">
                  <a16:creationId xmlns:a16="http://schemas.microsoft.com/office/drawing/2014/main" id="{FF86D77D-399A-4414-A93B-2B499565FBE8}"/>
                </a:ext>
              </a:extLst>
            </p:cNvPr>
            <p:cNvSpPr/>
            <p:nvPr/>
          </p:nvSpPr>
          <p:spPr>
            <a:xfrm>
              <a:off x="2634419" y="2113009"/>
              <a:ext cx="2031967" cy="552371"/>
            </a:xfrm>
            <a:prstGeom prst="lef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914126">
                <a:defRPr/>
              </a:pPr>
              <a:endParaRPr lang="en-US" sz="1200" dirty="0" err="1">
                <a:solidFill>
                  <a:prstClr val="white"/>
                </a:solidFill>
                <a:latin typeface="Segoe UI"/>
              </a:endParaRPr>
            </a:p>
          </p:txBody>
        </p:sp>
        <p:sp>
          <p:nvSpPr>
            <p:cNvPr id="292" name="TextBox 291">
              <a:extLst>
                <a:ext uri="{FF2B5EF4-FFF2-40B4-BE49-F238E27FC236}">
                  <a16:creationId xmlns:a16="http://schemas.microsoft.com/office/drawing/2014/main" id="{4340F29E-62B1-4821-B891-0D42A6754244}"/>
                </a:ext>
              </a:extLst>
            </p:cNvPr>
            <p:cNvSpPr txBox="1"/>
            <p:nvPr/>
          </p:nvSpPr>
          <p:spPr>
            <a:xfrm>
              <a:off x="2778378" y="2279158"/>
              <a:ext cx="1967826" cy="199308"/>
            </a:xfrm>
            <a:prstGeom prst="rect">
              <a:avLst/>
            </a:prstGeom>
          </p:spPr>
          <p:txBody>
            <a:bodyPr vert="horz" wrap="none" lIns="0" tIns="0" rIns="0" bIns="0" rtlCol="0" anchor="ctr">
              <a:noAutofit/>
            </a:bodyPr>
            <a:lstStyle>
              <a:defPPr>
                <a:defRPr lang="en-US"/>
              </a:defPPr>
              <a:lvl1pPr algn="ctr" defTabSz="1088105">
                <a:defRPr sz="1200">
                  <a:solidFill>
                    <a:srgbClr val="505050"/>
                  </a:solidFill>
                  <a:latin typeface="Segoe UI Semibold" panose="020B0702040204020203" pitchFamily="34" charset="0"/>
                  <a:ea typeface="Segoe UI" pitchFamily="34" charset="0"/>
                  <a:cs typeface="Segoe UI Semibold" panose="020B0702040204020203" pitchFamily="34" charset="0"/>
                </a:defRPr>
              </a:lvl1pPr>
            </a:lstStyle>
            <a:p>
              <a:pPr algn="l" defTabSz="1087779">
                <a:defRPr/>
              </a:pPr>
              <a:r>
                <a:rPr lang="en-US" kern="0" dirty="0">
                  <a:solidFill>
                    <a:prstClr val="white"/>
                  </a:solidFill>
                </a:rPr>
                <a:t>Engaging Interactions</a:t>
              </a:r>
            </a:p>
          </p:txBody>
        </p:sp>
      </p:grpSp>
      <p:grpSp>
        <p:nvGrpSpPr>
          <p:cNvPr id="375" name="Group 374">
            <a:extLst>
              <a:ext uri="{FF2B5EF4-FFF2-40B4-BE49-F238E27FC236}">
                <a16:creationId xmlns:a16="http://schemas.microsoft.com/office/drawing/2014/main" id="{AE4D0DC3-849D-4763-9D4F-BA7DA1C78EAC}"/>
              </a:ext>
            </a:extLst>
          </p:cNvPr>
          <p:cNvGrpSpPr/>
          <p:nvPr/>
        </p:nvGrpSpPr>
        <p:grpSpPr>
          <a:xfrm>
            <a:off x="2248716" y="1787063"/>
            <a:ext cx="2694525" cy="552227"/>
            <a:chOff x="2243235" y="2113009"/>
            <a:chExt cx="2423151" cy="552371"/>
          </a:xfrm>
        </p:grpSpPr>
        <p:sp>
          <p:nvSpPr>
            <p:cNvPr id="376" name="Arrow: Left-Right 375">
              <a:extLst>
                <a:ext uri="{FF2B5EF4-FFF2-40B4-BE49-F238E27FC236}">
                  <a16:creationId xmlns:a16="http://schemas.microsoft.com/office/drawing/2014/main" id="{42A1E59D-A567-4961-A9FF-650A92EF277F}"/>
                </a:ext>
              </a:extLst>
            </p:cNvPr>
            <p:cNvSpPr/>
            <p:nvPr/>
          </p:nvSpPr>
          <p:spPr>
            <a:xfrm>
              <a:off x="2243235" y="2113009"/>
              <a:ext cx="2423151" cy="552371"/>
            </a:xfrm>
            <a:prstGeom prst="lef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914126">
                <a:defRPr/>
              </a:pPr>
              <a:endParaRPr lang="en-US" sz="1200" dirty="0" err="1">
                <a:solidFill>
                  <a:prstClr val="white"/>
                </a:solidFill>
                <a:latin typeface="Segoe UI"/>
              </a:endParaRPr>
            </a:p>
          </p:txBody>
        </p:sp>
        <p:sp>
          <p:nvSpPr>
            <p:cNvPr id="377" name="TextBox 376">
              <a:extLst>
                <a:ext uri="{FF2B5EF4-FFF2-40B4-BE49-F238E27FC236}">
                  <a16:creationId xmlns:a16="http://schemas.microsoft.com/office/drawing/2014/main" id="{35E98A9D-4AC3-4BE5-947C-9343E074E509}"/>
                </a:ext>
              </a:extLst>
            </p:cNvPr>
            <p:cNvSpPr txBox="1"/>
            <p:nvPr/>
          </p:nvSpPr>
          <p:spPr>
            <a:xfrm>
              <a:off x="2507535" y="2270398"/>
              <a:ext cx="1967826" cy="199308"/>
            </a:xfrm>
            <a:prstGeom prst="rect">
              <a:avLst/>
            </a:prstGeom>
          </p:spPr>
          <p:txBody>
            <a:bodyPr vert="horz" wrap="none" lIns="0" tIns="0" rIns="0" bIns="0" rtlCol="0" anchor="ctr">
              <a:noAutofit/>
            </a:bodyPr>
            <a:lstStyle>
              <a:defPPr>
                <a:defRPr lang="en-US"/>
              </a:defPPr>
              <a:lvl1pPr algn="ctr" defTabSz="1088105">
                <a:defRPr sz="1200">
                  <a:solidFill>
                    <a:srgbClr val="505050"/>
                  </a:solidFill>
                  <a:latin typeface="Segoe UI Semibold" panose="020B0702040204020203" pitchFamily="34" charset="0"/>
                  <a:ea typeface="Segoe UI" pitchFamily="34" charset="0"/>
                  <a:cs typeface="Segoe UI Semibold" panose="020B0702040204020203" pitchFamily="34" charset="0"/>
                </a:defRPr>
              </a:lvl1pPr>
            </a:lstStyle>
            <a:p>
              <a:pPr algn="l" defTabSz="1087779">
                <a:defRPr/>
              </a:pPr>
              <a:r>
                <a:rPr lang="en-US" kern="0" dirty="0">
                  <a:solidFill>
                    <a:prstClr val="white"/>
                  </a:solidFill>
                </a:rPr>
                <a:t>Proactive Alerts &amp; Information</a:t>
              </a:r>
            </a:p>
          </p:txBody>
        </p:sp>
      </p:grpSp>
      <p:grpSp>
        <p:nvGrpSpPr>
          <p:cNvPr id="236" name="Group 235">
            <a:extLst>
              <a:ext uri="{FF2B5EF4-FFF2-40B4-BE49-F238E27FC236}">
                <a16:creationId xmlns:a16="http://schemas.microsoft.com/office/drawing/2014/main" id="{FB191CBB-4077-45B0-818B-BD0E77E64ABD}"/>
              </a:ext>
            </a:extLst>
          </p:cNvPr>
          <p:cNvGrpSpPr/>
          <p:nvPr/>
        </p:nvGrpSpPr>
        <p:grpSpPr>
          <a:xfrm>
            <a:off x="4354361" y="2481768"/>
            <a:ext cx="1363140" cy="469549"/>
            <a:chOff x="8725281" y="4214448"/>
            <a:chExt cx="1363850" cy="469793"/>
          </a:xfrm>
        </p:grpSpPr>
        <p:grpSp>
          <p:nvGrpSpPr>
            <p:cNvPr id="237" name="Group 236">
              <a:extLst>
                <a:ext uri="{FF2B5EF4-FFF2-40B4-BE49-F238E27FC236}">
                  <a16:creationId xmlns:a16="http://schemas.microsoft.com/office/drawing/2014/main" id="{1EBA7004-262A-4C09-B3B1-29F89272A162}"/>
                </a:ext>
              </a:extLst>
            </p:cNvPr>
            <p:cNvGrpSpPr>
              <a:grpSpLocks noChangeAspect="1"/>
            </p:cNvGrpSpPr>
            <p:nvPr/>
          </p:nvGrpSpPr>
          <p:grpSpPr bwMode="black">
            <a:xfrm>
              <a:off x="8725281" y="4214448"/>
              <a:ext cx="621499" cy="469793"/>
              <a:chOff x="5152725" y="4450437"/>
              <a:chExt cx="311284" cy="235362"/>
            </a:xfrm>
            <a:solidFill>
              <a:srgbClr val="5E83BD"/>
            </a:solidFill>
          </p:grpSpPr>
          <p:sp>
            <p:nvSpPr>
              <p:cNvPr id="241" name="Freeform 168">
                <a:extLst>
                  <a:ext uri="{FF2B5EF4-FFF2-40B4-BE49-F238E27FC236}">
                    <a16:creationId xmlns:a16="http://schemas.microsoft.com/office/drawing/2014/main" id="{AC3D2504-0C71-4DDB-AAA7-63475F4F8F5D}"/>
                  </a:ext>
                </a:extLst>
              </p:cNvPr>
              <p:cNvSpPr>
                <a:spLocks noEditPoints="1"/>
              </p:cNvSpPr>
              <p:nvPr/>
            </p:nvSpPr>
            <p:spPr bwMode="black">
              <a:xfrm>
                <a:off x="5152725" y="4450437"/>
                <a:ext cx="212585" cy="199299"/>
              </a:xfrm>
              <a:custGeom>
                <a:avLst/>
                <a:gdLst/>
                <a:ahLst/>
                <a:cxnLst>
                  <a:cxn ang="0">
                    <a:pos x="215" y="24"/>
                  </a:cxn>
                  <a:cxn ang="0">
                    <a:pos x="127" y="0"/>
                  </a:cxn>
                  <a:cxn ang="0">
                    <a:pos x="39" y="24"/>
                  </a:cxn>
                  <a:cxn ang="0">
                    <a:pos x="0" y="89"/>
                  </a:cxn>
                  <a:cxn ang="0">
                    <a:pos x="42" y="155"/>
                  </a:cxn>
                  <a:cxn ang="0">
                    <a:pos x="34" y="197"/>
                  </a:cxn>
                  <a:cxn ang="0">
                    <a:pos x="27" y="231"/>
                  </a:cxn>
                  <a:cxn ang="0">
                    <a:pos x="25" y="240"/>
                  </a:cxn>
                  <a:cxn ang="0">
                    <a:pos x="31" y="233"/>
                  </a:cxn>
                  <a:cxn ang="0">
                    <a:pos x="55" y="207"/>
                  </a:cxn>
                  <a:cxn ang="0">
                    <a:pos x="87" y="173"/>
                  </a:cxn>
                  <a:cxn ang="0">
                    <a:pos x="127" y="178"/>
                  </a:cxn>
                  <a:cxn ang="0">
                    <a:pos x="215" y="153"/>
                  </a:cxn>
                  <a:cxn ang="0">
                    <a:pos x="255" y="89"/>
                  </a:cxn>
                  <a:cxn ang="0">
                    <a:pos x="215" y="24"/>
                  </a:cxn>
                  <a:cxn ang="0">
                    <a:pos x="59" y="149"/>
                  </a:cxn>
                  <a:cxn ang="0">
                    <a:pos x="59" y="147"/>
                  </a:cxn>
                  <a:cxn ang="0">
                    <a:pos x="57" y="147"/>
                  </a:cxn>
                  <a:cxn ang="0">
                    <a:pos x="15" y="89"/>
                  </a:cxn>
                  <a:cxn ang="0">
                    <a:pos x="127" y="15"/>
                  </a:cxn>
                  <a:cxn ang="0">
                    <a:pos x="240" y="89"/>
                  </a:cxn>
                  <a:cxn ang="0">
                    <a:pos x="127" y="163"/>
                  </a:cxn>
                  <a:cxn ang="0">
                    <a:pos x="83" y="157"/>
                  </a:cxn>
                  <a:cxn ang="0">
                    <a:pos x="82" y="156"/>
                  </a:cxn>
                  <a:cxn ang="0">
                    <a:pos x="81" y="158"/>
                  </a:cxn>
                  <a:cxn ang="0">
                    <a:pos x="50" y="191"/>
                  </a:cxn>
                  <a:cxn ang="0">
                    <a:pos x="59" y="149"/>
                  </a:cxn>
                </a:cxnLst>
                <a:rect l="0" t="0" r="r" b="b"/>
                <a:pathLst>
                  <a:path w="255" h="240">
                    <a:moveTo>
                      <a:pt x="215" y="24"/>
                    </a:moveTo>
                    <a:cubicBezTo>
                      <a:pt x="192" y="8"/>
                      <a:pt x="160" y="0"/>
                      <a:pt x="127" y="0"/>
                    </a:cubicBezTo>
                    <a:cubicBezTo>
                      <a:pt x="94" y="0"/>
                      <a:pt x="63" y="8"/>
                      <a:pt x="39" y="24"/>
                    </a:cubicBezTo>
                    <a:cubicBezTo>
                      <a:pt x="14" y="41"/>
                      <a:pt x="0" y="64"/>
                      <a:pt x="0" y="89"/>
                    </a:cubicBezTo>
                    <a:cubicBezTo>
                      <a:pt x="0" y="114"/>
                      <a:pt x="15" y="138"/>
                      <a:pt x="42" y="155"/>
                    </a:cubicBezTo>
                    <a:cubicBezTo>
                      <a:pt x="34" y="197"/>
                      <a:pt x="34" y="197"/>
                      <a:pt x="34" y="197"/>
                    </a:cubicBezTo>
                    <a:cubicBezTo>
                      <a:pt x="27" y="231"/>
                      <a:pt x="27" y="231"/>
                      <a:pt x="27" y="231"/>
                    </a:cubicBezTo>
                    <a:cubicBezTo>
                      <a:pt x="25" y="240"/>
                      <a:pt x="25" y="240"/>
                      <a:pt x="25" y="240"/>
                    </a:cubicBezTo>
                    <a:cubicBezTo>
                      <a:pt x="31" y="233"/>
                      <a:pt x="31" y="233"/>
                      <a:pt x="31" y="233"/>
                    </a:cubicBezTo>
                    <a:cubicBezTo>
                      <a:pt x="55" y="207"/>
                      <a:pt x="55" y="207"/>
                      <a:pt x="55" y="207"/>
                    </a:cubicBezTo>
                    <a:cubicBezTo>
                      <a:pt x="87" y="173"/>
                      <a:pt x="87" y="173"/>
                      <a:pt x="87" y="173"/>
                    </a:cubicBezTo>
                    <a:cubicBezTo>
                      <a:pt x="100" y="176"/>
                      <a:pt x="113" y="178"/>
                      <a:pt x="127" y="178"/>
                    </a:cubicBezTo>
                    <a:cubicBezTo>
                      <a:pt x="160" y="178"/>
                      <a:pt x="192" y="169"/>
                      <a:pt x="215" y="153"/>
                    </a:cubicBezTo>
                    <a:cubicBezTo>
                      <a:pt x="241" y="136"/>
                      <a:pt x="255" y="113"/>
                      <a:pt x="255" y="89"/>
                    </a:cubicBezTo>
                    <a:cubicBezTo>
                      <a:pt x="255" y="64"/>
                      <a:pt x="241" y="41"/>
                      <a:pt x="215" y="24"/>
                    </a:cubicBezTo>
                    <a:close/>
                    <a:moveTo>
                      <a:pt x="59" y="149"/>
                    </a:moveTo>
                    <a:cubicBezTo>
                      <a:pt x="59" y="147"/>
                      <a:pt x="59" y="147"/>
                      <a:pt x="59" y="147"/>
                    </a:cubicBezTo>
                    <a:cubicBezTo>
                      <a:pt x="57" y="147"/>
                      <a:pt x="57" y="147"/>
                      <a:pt x="57" y="147"/>
                    </a:cubicBezTo>
                    <a:cubicBezTo>
                      <a:pt x="30" y="132"/>
                      <a:pt x="15" y="111"/>
                      <a:pt x="15" y="89"/>
                    </a:cubicBezTo>
                    <a:cubicBezTo>
                      <a:pt x="15" y="48"/>
                      <a:pt x="65" y="15"/>
                      <a:pt x="127" y="15"/>
                    </a:cubicBezTo>
                    <a:cubicBezTo>
                      <a:pt x="189" y="15"/>
                      <a:pt x="240" y="48"/>
                      <a:pt x="240" y="89"/>
                    </a:cubicBezTo>
                    <a:cubicBezTo>
                      <a:pt x="240" y="129"/>
                      <a:pt x="189" y="163"/>
                      <a:pt x="127" y="163"/>
                    </a:cubicBezTo>
                    <a:cubicBezTo>
                      <a:pt x="112" y="163"/>
                      <a:pt x="97" y="161"/>
                      <a:pt x="83" y="157"/>
                    </a:cubicBezTo>
                    <a:cubicBezTo>
                      <a:pt x="82" y="156"/>
                      <a:pt x="82" y="156"/>
                      <a:pt x="82" y="156"/>
                    </a:cubicBezTo>
                    <a:cubicBezTo>
                      <a:pt x="81" y="158"/>
                      <a:pt x="81" y="158"/>
                      <a:pt x="81" y="158"/>
                    </a:cubicBezTo>
                    <a:cubicBezTo>
                      <a:pt x="50" y="191"/>
                      <a:pt x="50" y="191"/>
                      <a:pt x="50" y="191"/>
                    </a:cubicBezTo>
                    <a:lnTo>
                      <a:pt x="59" y="149"/>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88" tIns="45694" rIns="91388" bIns="45694" numCol="1" rtlCol="0" anchor="ctr" anchorCtr="0" compatLnSpc="1">
                <a:prstTxWarp prst="textNoShape">
                  <a:avLst/>
                </a:prstTxWarp>
              </a:bodyPr>
              <a:lstStyle/>
              <a:p>
                <a:pPr defTabSz="740296">
                  <a:defRPr/>
                </a:pPr>
                <a:endParaRPr lang="en-US" sz="1798" kern="0" spc="-122">
                  <a:solidFill>
                    <a:srgbClr val="FFFFFF">
                      <a:lumMod val="50000"/>
                    </a:srgbClr>
                  </a:solidFill>
                  <a:latin typeface="Segoe Light" pitchFamily="34" charset="0"/>
                </a:endParaRPr>
              </a:p>
            </p:txBody>
          </p:sp>
          <p:sp>
            <p:nvSpPr>
              <p:cNvPr id="247" name="Freeform 169">
                <a:extLst>
                  <a:ext uri="{FF2B5EF4-FFF2-40B4-BE49-F238E27FC236}">
                    <a16:creationId xmlns:a16="http://schemas.microsoft.com/office/drawing/2014/main" id="{04076C93-D584-41E5-9E92-3474200B4454}"/>
                  </a:ext>
                </a:extLst>
              </p:cNvPr>
              <p:cNvSpPr>
                <a:spLocks/>
              </p:cNvSpPr>
              <p:nvPr/>
            </p:nvSpPr>
            <p:spPr bwMode="black">
              <a:xfrm>
                <a:off x="5295080" y="4518768"/>
                <a:ext cx="168929" cy="167031"/>
              </a:xfrm>
              <a:custGeom>
                <a:avLst/>
                <a:gdLst/>
                <a:ahLst/>
                <a:cxnLst>
                  <a:cxn ang="0">
                    <a:pos x="203" y="74"/>
                  </a:cxn>
                  <a:cxn ang="0">
                    <a:pos x="170" y="20"/>
                  </a:cxn>
                  <a:cxn ang="0">
                    <a:pos x="98" y="0"/>
                  </a:cxn>
                  <a:cxn ang="0">
                    <a:pos x="95" y="0"/>
                  </a:cxn>
                  <a:cxn ang="0">
                    <a:pos x="95" y="3"/>
                  </a:cxn>
                  <a:cxn ang="0">
                    <a:pos x="96" y="11"/>
                  </a:cxn>
                  <a:cxn ang="0">
                    <a:pos x="96" y="13"/>
                  </a:cxn>
                  <a:cxn ang="0">
                    <a:pos x="99" y="13"/>
                  </a:cxn>
                  <a:cxn ang="0">
                    <a:pos x="190" y="74"/>
                  </a:cxn>
                  <a:cxn ang="0">
                    <a:pos x="155" y="121"/>
                  </a:cxn>
                  <a:cxn ang="0">
                    <a:pos x="153" y="122"/>
                  </a:cxn>
                  <a:cxn ang="0">
                    <a:pos x="153" y="124"/>
                  </a:cxn>
                  <a:cxn ang="0">
                    <a:pos x="160" y="157"/>
                  </a:cxn>
                  <a:cxn ang="0">
                    <a:pos x="136" y="130"/>
                  </a:cxn>
                  <a:cxn ang="0">
                    <a:pos x="134" y="129"/>
                  </a:cxn>
                  <a:cxn ang="0">
                    <a:pos x="133" y="130"/>
                  </a:cxn>
                  <a:cxn ang="0">
                    <a:pos x="97" y="134"/>
                  </a:cxn>
                  <a:cxn ang="0">
                    <a:pos x="15" y="102"/>
                  </a:cxn>
                  <a:cxn ang="0">
                    <a:pos x="14" y="100"/>
                  </a:cxn>
                  <a:cxn ang="0">
                    <a:pos x="12" y="101"/>
                  </a:cxn>
                  <a:cxn ang="0">
                    <a:pos x="4" y="103"/>
                  </a:cxn>
                  <a:cxn ang="0">
                    <a:pos x="0" y="104"/>
                  </a:cxn>
                  <a:cxn ang="0">
                    <a:pos x="2" y="107"/>
                  </a:cxn>
                  <a:cxn ang="0">
                    <a:pos x="24" y="127"/>
                  </a:cxn>
                  <a:cxn ang="0">
                    <a:pos x="97" y="148"/>
                  </a:cxn>
                  <a:cxn ang="0">
                    <a:pos x="130" y="144"/>
                  </a:cxn>
                  <a:cxn ang="0">
                    <a:pos x="156" y="172"/>
                  </a:cxn>
                  <a:cxn ang="0">
                    <a:pos x="176" y="194"/>
                  </a:cxn>
                  <a:cxn ang="0">
                    <a:pos x="182" y="200"/>
                  </a:cxn>
                  <a:cxn ang="0">
                    <a:pos x="180" y="192"/>
                  </a:cxn>
                  <a:cxn ang="0">
                    <a:pos x="175" y="163"/>
                  </a:cxn>
                  <a:cxn ang="0">
                    <a:pos x="168" y="129"/>
                  </a:cxn>
                  <a:cxn ang="0">
                    <a:pos x="203" y="74"/>
                  </a:cxn>
                </a:cxnLst>
                <a:rect l="0" t="0" r="r" b="b"/>
                <a:pathLst>
                  <a:path w="203" h="200">
                    <a:moveTo>
                      <a:pt x="203" y="74"/>
                    </a:moveTo>
                    <a:cubicBezTo>
                      <a:pt x="203" y="53"/>
                      <a:pt x="191" y="34"/>
                      <a:pt x="170" y="20"/>
                    </a:cubicBezTo>
                    <a:cubicBezTo>
                      <a:pt x="151" y="7"/>
                      <a:pt x="125" y="0"/>
                      <a:pt x="98" y="0"/>
                    </a:cubicBezTo>
                    <a:cubicBezTo>
                      <a:pt x="95" y="0"/>
                      <a:pt x="95" y="0"/>
                      <a:pt x="95" y="0"/>
                    </a:cubicBezTo>
                    <a:cubicBezTo>
                      <a:pt x="95" y="3"/>
                      <a:pt x="95" y="3"/>
                      <a:pt x="95" y="3"/>
                    </a:cubicBezTo>
                    <a:cubicBezTo>
                      <a:pt x="96" y="5"/>
                      <a:pt x="96" y="8"/>
                      <a:pt x="96" y="11"/>
                    </a:cubicBezTo>
                    <a:cubicBezTo>
                      <a:pt x="96" y="13"/>
                      <a:pt x="96" y="13"/>
                      <a:pt x="96" y="13"/>
                    </a:cubicBezTo>
                    <a:cubicBezTo>
                      <a:pt x="99" y="13"/>
                      <a:pt x="99" y="13"/>
                      <a:pt x="99" y="13"/>
                    </a:cubicBezTo>
                    <a:cubicBezTo>
                      <a:pt x="149" y="14"/>
                      <a:pt x="190" y="41"/>
                      <a:pt x="190" y="74"/>
                    </a:cubicBezTo>
                    <a:cubicBezTo>
                      <a:pt x="190" y="92"/>
                      <a:pt x="177" y="110"/>
                      <a:pt x="155" y="121"/>
                    </a:cubicBezTo>
                    <a:cubicBezTo>
                      <a:pt x="153" y="122"/>
                      <a:pt x="153" y="122"/>
                      <a:pt x="153" y="122"/>
                    </a:cubicBezTo>
                    <a:cubicBezTo>
                      <a:pt x="153" y="124"/>
                      <a:pt x="153" y="124"/>
                      <a:pt x="153" y="124"/>
                    </a:cubicBezTo>
                    <a:cubicBezTo>
                      <a:pt x="160" y="157"/>
                      <a:pt x="160" y="157"/>
                      <a:pt x="160" y="157"/>
                    </a:cubicBezTo>
                    <a:cubicBezTo>
                      <a:pt x="136" y="130"/>
                      <a:pt x="136" y="130"/>
                      <a:pt x="136" y="130"/>
                    </a:cubicBezTo>
                    <a:cubicBezTo>
                      <a:pt x="134" y="129"/>
                      <a:pt x="134" y="129"/>
                      <a:pt x="134" y="129"/>
                    </a:cubicBezTo>
                    <a:cubicBezTo>
                      <a:pt x="133" y="130"/>
                      <a:pt x="133" y="130"/>
                      <a:pt x="133" y="130"/>
                    </a:cubicBezTo>
                    <a:cubicBezTo>
                      <a:pt x="122" y="133"/>
                      <a:pt x="109" y="134"/>
                      <a:pt x="97" y="134"/>
                    </a:cubicBezTo>
                    <a:cubicBezTo>
                      <a:pt x="62" y="134"/>
                      <a:pt x="31" y="122"/>
                      <a:pt x="15" y="102"/>
                    </a:cubicBezTo>
                    <a:cubicBezTo>
                      <a:pt x="14" y="100"/>
                      <a:pt x="14" y="100"/>
                      <a:pt x="14" y="100"/>
                    </a:cubicBezTo>
                    <a:cubicBezTo>
                      <a:pt x="12" y="101"/>
                      <a:pt x="12" y="101"/>
                      <a:pt x="12" y="101"/>
                    </a:cubicBezTo>
                    <a:cubicBezTo>
                      <a:pt x="10" y="102"/>
                      <a:pt x="7" y="102"/>
                      <a:pt x="4" y="103"/>
                    </a:cubicBezTo>
                    <a:cubicBezTo>
                      <a:pt x="0" y="104"/>
                      <a:pt x="0" y="104"/>
                      <a:pt x="0" y="104"/>
                    </a:cubicBezTo>
                    <a:cubicBezTo>
                      <a:pt x="2" y="107"/>
                      <a:pt x="2" y="107"/>
                      <a:pt x="2" y="107"/>
                    </a:cubicBezTo>
                    <a:cubicBezTo>
                      <a:pt x="8" y="115"/>
                      <a:pt x="15" y="121"/>
                      <a:pt x="24" y="127"/>
                    </a:cubicBezTo>
                    <a:cubicBezTo>
                      <a:pt x="44" y="141"/>
                      <a:pt x="70" y="148"/>
                      <a:pt x="97" y="148"/>
                    </a:cubicBezTo>
                    <a:cubicBezTo>
                      <a:pt x="108" y="148"/>
                      <a:pt x="119" y="147"/>
                      <a:pt x="130" y="144"/>
                    </a:cubicBezTo>
                    <a:cubicBezTo>
                      <a:pt x="156" y="172"/>
                      <a:pt x="156" y="172"/>
                      <a:pt x="156" y="172"/>
                    </a:cubicBezTo>
                    <a:cubicBezTo>
                      <a:pt x="176" y="194"/>
                      <a:pt x="176" y="194"/>
                      <a:pt x="176" y="194"/>
                    </a:cubicBezTo>
                    <a:cubicBezTo>
                      <a:pt x="182" y="200"/>
                      <a:pt x="182" y="200"/>
                      <a:pt x="182" y="200"/>
                    </a:cubicBezTo>
                    <a:cubicBezTo>
                      <a:pt x="180" y="192"/>
                      <a:pt x="180" y="192"/>
                      <a:pt x="180" y="192"/>
                    </a:cubicBezTo>
                    <a:cubicBezTo>
                      <a:pt x="175" y="163"/>
                      <a:pt x="175" y="163"/>
                      <a:pt x="175" y="163"/>
                    </a:cubicBezTo>
                    <a:cubicBezTo>
                      <a:pt x="168" y="129"/>
                      <a:pt x="168" y="129"/>
                      <a:pt x="168" y="129"/>
                    </a:cubicBezTo>
                    <a:cubicBezTo>
                      <a:pt x="190" y="115"/>
                      <a:pt x="203" y="95"/>
                      <a:pt x="203" y="74"/>
                    </a:cubicBezTo>
                    <a:close/>
                  </a:path>
                </a:pathLst>
              </a:custGeom>
              <a:solidFill>
                <a:schemeClr val="bg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88" tIns="45694" rIns="91388" bIns="45694" numCol="1" rtlCol="0" anchor="ctr" anchorCtr="0" compatLnSpc="1">
                <a:prstTxWarp prst="textNoShape">
                  <a:avLst/>
                </a:prstTxWarp>
              </a:bodyPr>
              <a:lstStyle/>
              <a:p>
                <a:pPr defTabSz="740296">
                  <a:defRPr/>
                </a:pPr>
                <a:endParaRPr lang="en-US" sz="1798" kern="0" spc="-122">
                  <a:solidFill>
                    <a:srgbClr val="FFFFFF">
                      <a:lumMod val="50000"/>
                    </a:srgbClr>
                  </a:solidFill>
                  <a:latin typeface="Segoe Light" pitchFamily="34" charset="0"/>
                </a:endParaRPr>
              </a:p>
            </p:txBody>
          </p:sp>
        </p:grpSp>
        <p:sp>
          <p:nvSpPr>
            <p:cNvPr id="240" name="TextBox 239">
              <a:extLst>
                <a:ext uri="{FF2B5EF4-FFF2-40B4-BE49-F238E27FC236}">
                  <a16:creationId xmlns:a16="http://schemas.microsoft.com/office/drawing/2014/main" id="{28135849-18AB-40F5-B47D-4B0DDAC3D501}"/>
                </a:ext>
              </a:extLst>
            </p:cNvPr>
            <p:cNvSpPr txBox="1"/>
            <p:nvPr/>
          </p:nvSpPr>
          <p:spPr>
            <a:xfrm>
              <a:off x="9312567" y="4367896"/>
              <a:ext cx="776564" cy="137116"/>
            </a:xfrm>
            <a:prstGeom prst="rect">
              <a:avLst/>
            </a:prstGeom>
          </p:spPr>
          <p:txBody>
            <a:bodyPr vert="horz" wrap="square" lIns="0" tIns="0" rIns="0" bIns="0"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kern="0" dirty="0">
                  <a:solidFill>
                    <a:prstClr val="white"/>
                  </a:solidFill>
                </a:rPr>
                <a:t>Microsoft Social Engagement</a:t>
              </a:r>
            </a:p>
          </p:txBody>
        </p:sp>
      </p:grpSp>
      <p:pic>
        <p:nvPicPr>
          <p:cNvPr id="248" name="Picture 247">
            <a:extLst>
              <a:ext uri="{FF2B5EF4-FFF2-40B4-BE49-F238E27FC236}">
                <a16:creationId xmlns:a16="http://schemas.microsoft.com/office/drawing/2014/main" id="{E7A5361E-F367-43E6-B07A-C2829C684D0C}"/>
              </a:ext>
            </a:extLst>
          </p:cNvPr>
          <p:cNvPicPr>
            <a:picLocks noChangeAspect="1"/>
          </p:cNvPicPr>
          <p:nvPr/>
        </p:nvPicPr>
        <p:blipFill>
          <a:blip r:embed="rId38"/>
          <a:stretch>
            <a:fillRect/>
          </a:stretch>
        </p:blipFill>
        <p:spPr>
          <a:xfrm>
            <a:off x="1129423" y="2971788"/>
            <a:ext cx="1590228" cy="877275"/>
          </a:xfrm>
          <a:prstGeom prst="rect">
            <a:avLst/>
          </a:prstGeom>
        </p:spPr>
      </p:pic>
      <p:cxnSp>
        <p:nvCxnSpPr>
          <p:cNvPr id="249" name="Straight Arrow Connector 248">
            <a:extLst>
              <a:ext uri="{FF2B5EF4-FFF2-40B4-BE49-F238E27FC236}">
                <a16:creationId xmlns:a16="http://schemas.microsoft.com/office/drawing/2014/main" id="{76E6F5FA-8C64-4F63-A481-4DC7584BE80B}"/>
              </a:ext>
            </a:extLst>
          </p:cNvPr>
          <p:cNvCxnSpPr/>
          <p:nvPr/>
        </p:nvCxnSpPr>
        <p:spPr>
          <a:xfrm>
            <a:off x="1533063" y="2643334"/>
            <a:ext cx="4180" cy="44406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50" name="TextBox 249">
            <a:extLst>
              <a:ext uri="{FF2B5EF4-FFF2-40B4-BE49-F238E27FC236}">
                <a16:creationId xmlns:a16="http://schemas.microsoft.com/office/drawing/2014/main" id="{FD0BACAE-A613-4433-B914-4D75E95C7E51}"/>
              </a:ext>
            </a:extLst>
          </p:cNvPr>
          <p:cNvSpPr txBox="1"/>
          <p:nvPr/>
        </p:nvSpPr>
        <p:spPr>
          <a:xfrm>
            <a:off x="741980" y="2556501"/>
            <a:ext cx="783965" cy="249415"/>
          </a:xfrm>
          <a:prstGeom prst="rect">
            <a:avLst/>
          </a:prstGeom>
        </p:spPr>
        <p:txBody>
          <a:bodyPr vert="horz" wrap="square" lIns="45696" tIns="45696" rIns="45696" bIns="45696" rtlCol="0" anchor="ctr">
            <a:noAutofit/>
          </a:bodyPr>
          <a:lstStyle/>
          <a:p>
            <a:pPr algn="ctr" defTabSz="913852">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Use/Hire</a:t>
            </a:r>
          </a:p>
        </p:txBody>
      </p:sp>
      <p:sp>
        <p:nvSpPr>
          <p:cNvPr id="252" name="Rectangle 251">
            <a:extLst>
              <a:ext uri="{FF2B5EF4-FFF2-40B4-BE49-F238E27FC236}">
                <a16:creationId xmlns:a16="http://schemas.microsoft.com/office/drawing/2014/main" id="{C96DA4A0-63E0-484D-812F-3184500089E2}"/>
              </a:ext>
            </a:extLst>
          </p:cNvPr>
          <p:cNvSpPr/>
          <p:nvPr/>
        </p:nvSpPr>
        <p:spPr>
          <a:xfrm>
            <a:off x="1446477" y="3846962"/>
            <a:ext cx="732813" cy="267144"/>
          </a:xfrm>
          <a:prstGeom prst="rect">
            <a:avLst/>
          </a:prstGeom>
          <a:noFill/>
          <a:effectLst/>
        </p:spPr>
        <p:txBody>
          <a:bodyPr wrap="square" lIns="0" tIns="0" rIns="0" bIns="0" anchor="ctr" anchorCtr="0">
            <a:noAutofit/>
          </a:bodyPr>
          <a:lstStyle/>
          <a:p>
            <a:pPr algn="ctr" defTabSz="913852">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Intelligent</a:t>
            </a:r>
            <a:b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b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Vehicle</a:t>
            </a:r>
          </a:p>
        </p:txBody>
      </p:sp>
      <p:grpSp>
        <p:nvGrpSpPr>
          <p:cNvPr id="253" name="Group 252">
            <a:extLst>
              <a:ext uri="{FF2B5EF4-FFF2-40B4-BE49-F238E27FC236}">
                <a16:creationId xmlns:a16="http://schemas.microsoft.com/office/drawing/2014/main" id="{0CD8147E-7A44-4BE2-88CE-CAB032CF6E6A}"/>
              </a:ext>
            </a:extLst>
          </p:cNvPr>
          <p:cNvGrpSpPr/>
          <p:nvPr/>
        </p:nvGrpSpPr>
        <p:grpSpPr>
          <a:xfrm>
            <a:off x="816092" y="1481200"/>
            <a:ext cx="1124458" cy="994747"/>
            <a:chOff x="401810" y="2316345"/>
            <a:chExt cx="1125044" cy="995265"/>
          </a:xfrm>
        </p:grpSpPr>
        <p:sp>
          <p:nvSpPr>
            <p:cNvPr id="254" name="TextBox 253">
              <a:extLst>
                <a:ext uri="{FF2B5EF4-FFF2-40B4-BE49-F238E27FC236}">
                  <a16:creationId xmlns:a16="http://schemas.microsoft.com/office/drawing/2014/main" id="{87D31208-6DE8-4515-9BEF-93CB9080A9E7}"/>
                </a:ext>
              </a:extLst>
            </p:cNvPr>
            <p:cNvSpPr txBox="1"/>
            <p:nvPr/>
          </p:nvSpPr>
          <p:spPr>
            <a:xfrm>
              <a:off x="401810" y="3022942"/>
              <a:ext cx="1125044" cy="288668"/>
            </a:xfrm>
            <a:prstGeom prst="rect">
              <a:avLst/>
            </a:prstGeom>
          </p:spPr>
          <p:txBody>
            <a:bodyPr vert="horz" wrap="square" lIns="45696" tIns="45696" rIns="45696" bIns="45696" rtlCol="0" anchor="ctr">
              <a:noAutofit/>
            </a:bodyPr>
            <a:lstStyle/>
            <a:p>
              <a:pPr algn="ctr" defTabSz="1087779">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Customers</a:t>
              </a:r>
            </a:p>
          </p:txBody>
        </p:sp>
        <p:pic>
          <p:nvPicPr>
            <p:cNvPr id="255" name="Picture 3" descr="\\MAGNUM\Projects\Microsoft\Cloud Power FY12\Design\ICONS_PNG\Iaas.png">
              <a:extLst>
                <a:ext uri="{FF2B5EF4-FFF2-40B4-BE49-F238E27FC236}">
                  <a16:creationId xmlns:a16="http://schemas.microsoft.com/office/drawing/2014/main" id="{B7B03F87-FBB1-4FD7-9B6A-46980656714C}"/>
                </a:ext>
              </a:extLst>
            </p:cNvPr>
            <p:cNvPicPr>
              <a:picLocks noChangeAspect="1" noChangeArrowheads="1"/>
            </p:cNvPicPr>
            <p:nvPr/>
          </p:nvPicPr>
          <p:blipFill>
            <a:blip r:embed="rId39" cstate="print">
              <a:biLevel thresh="75000"/>
            </a:blip>
            <a:stretch>
              <a:fillRect/>
            </a:stretch>
          </p:blipFill>
          <p:spPr bwMode="auto">
            <a:xfrm>
              <a:off x="544662" y="2316345"/>
              <a:ext cx="812223" cy="812223"/>
            </a:xfrm>
            <a:prstGeom prst="rect">
              <a:avLst/>
            </a:prstGeom>
            <a:noFill/>
          </p:spPr>
        </p:pic>
      </p:grpSp>
      <p:grpSp>
        <p:nvGrpSpPr>
          <p:cNvPr id="200" name="Group 199">
            <a:extLst>
              <a:ext uri="{FF2B5EF4-FFF2-40B4-BE49-F238E27FC236}">
                <a16:creationId xmlns:a16="http://schemas.microsoft.com/office/drawing/2014/main" id="{6C8D7662-B35E-43F9-BE39-406890EF4962}"/>
              </a:ext>
            </a:extLst>
          </p:cNvPr>
          <p:cNvGrpSpPr/>
          <p:nvPr/>
        </p:nvGrpSpPr>
        <p:grpSpPr>
          <a:xfrm>
            <a:off x="1745969" y="2239281"/>
            <a:ext cx="1344813" cy="552227"/>
            <a:chOff x="2243235" y="2113009"/>
            <a:chExt cx="2423151" cy="552371"/>
          </a:xfrm>
        </p:grpSpPr>
        <p:sp>
          <p:nvSpPr>
            <p:cNvPr id="202" name="Arrow: Left-Right 201">
              <a:extLst>
                <a:ext uri="{FF2B5EF4-FFF2-40B4-BE49-F238E27FC236}">
                  <a16:creationId xmlns:a16="http://schemas.microsoft.com/office/drawing/2014/main" id="{74072E16-353B-4F27-AB70-F9928D0FBB77}"/>
                </a:ext>
              </a:extLst>
            </p:cNvPr>
            <p:cNvSpPr/>
            <p:nvPr/>
          </p:nvSpPr>
          <p:spPr>
            <a:xfrm>
              <a:off x="2243235" y="2113009"/>
              <a:ext cx="2423151" cy="552371"/>
            </a:xfrm>
            <a:prstGeom prst="lef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914126">
                <a:defRPr/>
              </a:pPr>
              <a:endParaRPr lang="en-US" sz="1200" dirty="0" err="1">
                <a:solidFill>
                  <a:prstClr val="white"/>
                </a:solidFill>
                <a:latin typeface="Segoe UI"/>
              </a:endParaRPr>
            </a:p>
          </p:txBody>
        </p:sp>
        <p:sp>
          <p:nvSpPr>
            <p:cNvPr id="203" name="TextBox 202">
              <a:extLst>
                <a:ext uri="{FF2B5EF4-FFF2-40B4-BE49-F238E27FC236}">
                  <a16:creationId xmlns:a16="http://schemas.microsoft.com/office/drawing/2014/main" id="{2ACC3B09-198A-471E-AB6F-6731326E534F}"/>
                </a:ext>
              </a:extLst>
            </p:cNvPr>
            <p:cNvSpPr txBox="1"/>
            <p:nvPr/>
          </p:nvSpPr>
          <p:spPr>
            <a:xfrm>
              <a:off x="2719798" y="2280259"/>
              <a:ext cx="1552949" cy="197109"/>
            </a:xfrm>
            <a:prstGeom prst="rect">
              <a:avLst/>
            </a:prstGeom>
          </p:spPr>
          <p:txBody>
            <a:bodyPr vert="horz" wrap="none" lIns="0" tIns="0" rIns="0" bIns="0" rtlCol="0" anchor="ctr">
              <a:noAutofit/>
            </a:bodyPr>
            <a:lstStyle>
              <a:defPPr>
                <a:defRPr lang="en-US"/>
              </a:defPPr>
              <a:lvl1pPr algn="ctr" defTabSz="1088105">
                <a:defRPr sz="1200">
                  <a:solidFill>
                    <a:srgbClr val="505050"/>
                  </a:solidFill>
                  <a:latin typeface="Segoe UI Semibold" panose="020B0702040204020203" pitchFamily="34" charset="0"/>
                  <a:ea typeface="Segoe UI" pitchFamily="34" charset="0"/>
                  <a:cs typeface="Segoe UI Semibold" panose="020B0702040204020203" pitchFamily="34" charset="0"/>
                </a:defRPr>
              </a:lvl1pPr>
            </a:lstStyle>
            <a:p>
              <a:pPr algn="l" defTabSz="1087779">
                <a:defRPr/>
              </a:pPr>
              <a:r>
                <a:rPr lang="en-US" kern="0" dirty="0">
                  <a:solidFill>
                    <a:prstClr val="white"/>
                  </a:solidFill>
                </a:rPr>
                <a:t>Experiences</a:t>
              </a:r>
            </a:p>
          </p:txBody>
        </p:sp>
      </p:grpSp>
      <p:grpSp>
        <p:nvGrpSpPr>
          <p:cNvPr id="204" name="Group 203">
            <a:extLst>
              <a:ext uri="{FF2B5EF4-FFF2-40B4-BE49-F238E27FC236}">
                <a16:creationId xmlns:a16="http://schemas.microsoft.com/office/drawing/2014/main" id="{3408D3E1-0855-4702-AC15-1BC2FF7C291D}"/>
              </a:ext>
            </a:extLst>
          </p:cNvPr>
          <p:cNvGrpSpPr/>
          <p:nvPr/>
        </p:nvGrpSpPr>
        <p:grpSpPr>
          <a:xfrm rot="18691193">
            <a:off x="7099089" y="4153816"/>
            <a:ext cx="1561472" cy="552227"/>
            <a:chOff x="2243235" y="2113009"/>
            <a:chExt cx="2423151" cy="552371"/>
          </a:xfrm>
        </p:grpSpPr>
        <p:sp>
          <p:nvSpPr>
            <p:cNvPr id="287" name="Arrow: Left-Right 286">
              <a:extLst>
                <a:ext uri="{FF2B5EF4-FFF2-40B4-BE49-F238E27FC236}">
                  <a16:creationId xmlns:a16="http://schemas.microsoft.com/office/drawing/2014/main" id="{964FF4DD-D145-46A1-AB6C-BC212AF69AB4}"/>
                </a:ext>
              </a:extLst>
            </p:cNvPr>
            <p:cNvSpPr/>
            <p:nvPr/>
          </p:nvSpPr>
          <p:spPr>
            <a:xfrm>
              <a:off x="2243235" y="2113009"/>
              <a:ext cx="2423151" cy="552371"/>
            </a:xfrm>
            <a:prstGeom prst="lef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914126">
                <a:defRPr/>
              </a:pPr>
              <a:endParaRPr lang="en-US" sz="1200" dirty="0" err="1">
                <a:solidFill>
                  <a:prstClr val="white"/>
                </a:solidFill>
                <a:latin typeface="Segoe UI"/>
              </a:endParaRPr>
            </a:p>
          </p:txBody>
        </p:sp>
        <p:sp>
          <p:nvSpPr>
            <p:cNvPr id="289" name="TextBox 288">
              <a:extLst>
                <a:ext uri="{FF2B5EF4-FFF2-40B4-BE49-F238E27FC236}">
                  <a16:creationId xmlns:a16="http://schemas.microsoft.com/office/drawing/2014/main" id="{1B3B0747-9FDF-455D-892B-608A7274F486}"/>
                </a:ext>
              </a:extLst>
            </p:cNvPr>
            <p:cNvSpPr txBox="1"/>
            <p:nvPr/>
          </p:nvSpPr>
          <p:spPr>
            <a:xfrm>
              <a:off x="2877492" y="2275489"/>
              <a:ext cx="1552948" cy="197109"/>
            </a:xfrm>
            <a:prstGeom prst="rect">
              <a:avLst/>
            </a:prstGeom>
          </p:spPr>
          <p:txBody>
            <a:bodyPr vert="horz" wrap="none" lIns="0" tIns="0" rIns="0" bIns="0" rtlCol="0" anchor="ctr">
              <a:noAutofit/>
            </a:bodyPr>
            <a:lstStyle>
              <a:defPPr>
                <a:defRPr lang="en-US"/>
              </a:defPPr>
              <a:lvl1pPr algn="ctr" defTabSz="1088105">
                <a:defRPr sz="1200">
                  <a:solidFill>
                    <a:srgbClr val="505050"/>
                  </a:solidFill>
                  <a:latin typeface="Segoe UI Semibold" panose="020B0702040204020203" pitchFamily="34" charset="0"/>
                  <a:ea typeface="Segoe UI" pitchFamily="34" charset="0"/>
                  <a:cs typeface="Segoe UI Semibold" panose="020B0702040204020203" pitchFamily="34" charset="0"/>
                </a:defRPr>
              </a:lvl1pPr>
            </a:lstStyle>
            <a:p>
              <a:pPr algn="l" defTabSz="1087779">
                <a:defRPr/>
              </a:pPr>
              <a:r>
                <a:rPr lang="en-US" kern="0" dirty="0">
                  <a:solidFill>
                    <a:prstClr val="white"/>
                  </a:solidFill>
                </a:rPr>
                <a:t>Insights</a:t>
              </a:r>
            </a:p>
          </p:txBody>
        </p:sp>
      </p:grpSp>
    </p:spTree>
    <p:extLst>
      <p:ext uri="{BB962C8B-B14F-4D97-AF65-F5344CB8AC3E}">
        <p14:creationId xmlns:p14="http://schemas.microsoft.com/office/powerpoint/2010/main" val="19689459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rsonalized Mobility Services</a:t>
            </a:r>
            <a:endParaRPr lang="en-IN" dirty="0"/>
          </a:p>
        </p:txBody>
      </p:sp>
      <p:sp>
        <p:nvSpPr>
          <p:cNvPr id="4" name="Slide Number Placeholder 3"/>
          <p:cNvSpPr>
            <a:spLocks noGrp="1"/>
          </p:cNvSpPr>
          <p:nvPr>
            <p:ph type="sldNum" sz="quarter" idx="14"/>
          </p:nvPr>
        </p:nvSpPr>
        <p:spPr/>
        <p:txBody>
          <a:bodyPr/>
          <a:lstStyle/>
          <a:p>
            <a:fld id="{FAADACFB-7C71-4E89-89D2-7BBA40B7BFA9}" type="slidenum">
              <a:rPr lang="en-US" smtClean="0"/>
              <a:pPr/>
              <a:t>19</a:t>
            </a:fld>
            <a:endParaRPr lang="en-US"/>
          </a:p>
        </p:txBody>
      </p:sp>
      <p:sp>
        <p:nvSpPr>
          <p:cNvPr id="91" name="Rectangle 90"/>
          <p:cNvSpPr/>
          <p:nvPr>
            <p:custDataLst>
              <p:tags r:id="rId1"/>
            </p:custDataLst>
          </p:nvPr>
        </p:nvSpPr>
        <p:spPr>
          <a:xfrm>
            <a:off x="6329009" y="1917700"/>
            <a:ext cx="1545336" cy="4560174"/>
          </a:xfrm>
          <a:prstGeom prst="rect">
            <a:avLst/>
          </a:prstGeom>
          <a:solidFill>
            <a:schemeClr val="bg1">
              <a:lumMod val="95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1217693" eaLnBrk="1" fontAlgn="auto" latinLnBrk="0" hangingPunct="1">
              <a:lnSpc>
                <a:spcPct val="100000"/>
              </a:lnSpc>
              <a:spcBef>
                <a:spcPts val="0"/>
              </a:spcBef>
              <a:spcAft>
                <a:spcPts val="0"/>
              </a:spcAft>
              <a:buClrTx/>
              <a:buSzTx/>
              <a:buFontTx/>
              <a:buNone/>
              <a:tabLst/>
              <a:defRPr/>
            </a:pPr>
            <a:endParaRPr kumimoji="0" lang="en-US" sz="1899" b="0" i="0" u="none" strike="noStrike" kern="0" cap="none" spc="0" normalizeH="0" baseline="0" noProof="0" err="1">
              <a:solidFill>
                <a:srgbClr val="595959">
                  <a:lumMod val="75000"/>
                </a:srgbClr>
              </a:solidFill>
              <a:effectLst/>
              <a:uLnTx/>
              <a:uFillTx/>
            </a:endParaRPr>
          </a:p>
        </p:txBody>
      </p:sp>
      <p:sp>
        <p:nvSpPr>
          <p:cNvPr id="92" name="Rectangle 91"/>
          <p:cNvSpPr/>
          <p:nvPr>
            <p:custDataLst>
              <p:tags r:id="rId2"/>
            </p:custDataLst>
          </p:nvPr>
        </p:nvSpPr>
        <p:spPr>
          <a:xfrm>
            <a:off x="6329009" y="1295400"/>
            <a:ext cx="1545336" cy="622300"/>
          </a:xfrm>
          <a:prstGeom prst="rect">
            <a:avLst/>
          </a:prstGeom>
          <a:solidFill>
            <a:schemeClr val="accent3"/>
          </a:solidFill>
          <a:ln w="25400" cap="flat" cmpd="sng" algn="ctr">
            <a:noFill/>
            <a:prstDash val="solid"/>
          </a:ln>
          <a:effectLst/>
        </p:spPr>
        <p:txBody>
          <a:bodyPr lIns="91440" tIns="45720" rIns="91440" bIns="45720" rtlCol="0" anchor="ctr">
            <a:noAutofit/>
          </a:bodyPr>
          <a:lstStyle/>
          <a:p>
            <a:pPr marL="0" marR="0" lvl="0" indent="0" algn="ctr" defTabSz="788730" eaLnBrk="1" fontAlgn="auto" latinLnBrk="0" hangingPunct="1">
              <a:lnSpc>
                <a:spcPct val="100000"/>
              </a:lnSpc>
              <a:spcBef>
                <a:spcPts val="0"/>
              </a:spcBef>
              <a:spcAft>
                <a:spcPts val="0"/>
              </a:spcAft>
              <a:buClrTx/>
              <a:buSzTx/>
              <a:buFontTx/>
              <a:buNone/>
              <a:tabLst/>
              <a:defRPr/>
            </a:pPr>
            <a:r>
              <a:rPr kumimoji="0" lang="en-GB" sz="1400" i="0" u="none" strike="noStrike" kern="0" cap="none" spc="0" normalizeH="0" baseline="0" noProof="0">
                <a:solidFill>
                  <a:schemeClr val="bg1"/>
                </a:solidFill>
                <a:effectLst/>
                <a:uLnTx/>
                <a:uFillTx/>
                <a:latin typeface="Segoe UI Semibold" panose="020B0702040204020203" pitchFamily="34" charset="0"/>
                <a:cs typeface="Segoe UI Semibold" panose="020B0702040204020203" pitchFamily="34" charset="0"/>
              </a:rPr>
              <a:t>Benefits</a:t>
            </a:r>
          </a:p>
        </p:txBody>
      </p:sp>
      <p:sp>
        <p:nvSpPr>
          <p:cNvPr id="93" name="Rectangle 92"/>
          <p:cNvSpPr/>
          <p:nvPr>
            <p:custDataLst>
              <p:tags r:id="rId3"/>
            </p:custDataLst>
          </p:nvPr>
        </p:nvSpPr>
        <p:spPr>
          <a:xfrm>
            <a:off x="6329009" y="2039338"/>
            <a:ext cx="1545336" cy="1015663"/>
          </a:xfrm>
          <a:prstGeom prst="rect">
            <a:avLst/>
          </a:prstGeom>
          <a:solidFill>
            <a:schemeClr val="accent3"/>
          </a:solidFill>
          <a:ln w="25400" cap="flat" cmpd="sng" algn="ctr">
            <a:noFill/>
            <a:prstDash val="solid"/>
          </a:ln>
          <a:effectLst/>
        </p:spPr>
        <p:txBody>
          <a:bodyPr lIns="91440" tIns="45720" rIns="91440" bIns="45720" rtlCol="0" anchor="ctr">
            <a:noAutofit/>
          </a:bodyPr>
          <a:lstStyle/>
          <a:p>
            <a:pPr marL="171450" marR="0" lvl="0" indent="-171450" defTabSz="78873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solidFill>
                  <a:schemeClr val="bg1"/>
                </a:solidFill>
                <a:effectLst/>
                <a:uLnTx/>
                <a:uFillTx/>
              </a:rPr>
              <a:t>Increased relevant touch points</a:t>
            </a:r>
          </a:p>
        </p:txBody>
      </p:sp>
      <p:sp>
        <p:nvSpPr>
          <p:cNvPr id="94" name="Rectangle 93"/>
          <p:cNvSpPr/>
          <p:nvPr>
            <p:custDataLst>
              <p:tags r:id="rId4"/>
            </p:custDataLst>
          </p:nvPr>
        </p:nvSpPr>
        <p:spPr>
          <a:xfrm>
            <a:off x="6329009" y="4586714"/>
            <a:ext cx="1545336" cy="646331"/>
          </a:xfrm>
          <a:prstGeom prst="rect">
            <a:avLst/>
          </a:prstGeom>
          <a:solidFill>
            <a:schemeClr val="accent3"/>
          </a:solidFill>
          <a:ln w="25400" cap="flat" cmpd="sng" algn="ctr">
            <a:noFill/>
            <a:prstDash val="solid"/>
          </a:ln>
          <a:effectLst/>
        </p:spPr>
        <p:txBody>
          <a:bodyPr lIns="91440" tIns="45720" rIns="91440" bIns="45720" rtlCol="0" anchor="ctr">
            <a:noAutofit/>
          </a:bodyPr>
          <a:lstStyle/>
          <a:p>
            <a:pPr marL="171450" marR="0" lvl="0" indent="-171450" defTabSz="914080" eaLnBrk="1" fontAlgn="auto" latinLnBrk="0" hangingPunct="1">
              <a:lnSpc>
                <a:spcPct val="100000"/>
              </a:lnSpc>
              <a:spcBef>
                <a:spcPts val="267"/>
              </a:spcBef>
              <a:spcAft>
                <a:spcPts val="0"/>
              </a:spcAft>
              <a:buClrTx/>
              <a:buSzTx/>
              <a:buFont typeface="Arial" panose="020B0604020202020204" pitchFamily="34" charset="0"/>
              <a:buChar char="•"/>
              <a:tabLst/>
              <a:defRPr/>
            </a:pPr>
            <a:r>
              <a:rPr lang="en-US" sz="1200" kern="0" dirty="0">
                <a:solidFill>
                  <a:schemeClr val="bg1"/>
                </a:solidFill>
              </a:rPr>
              <a:t>New customer acquisition and retention</a:t>
            </a:r>
            <a:endParaRPr kumimoji="0" lang="en-US" sz="1200" b="0" i="0" u="none" strike="noStrike" kern="0" cap="none" spc="0" normalizeH="0" baseline="0" noProof="0" dirty="0">
              <a:solidFill>
                <a:schemeClr val="bg1"/>
              </a:solidFill>
              <a:effectLst/>
              <a:uLnTx/>
              <a:uFillTx/>
            </a:endParaRPr>
          </a:p>
        </p:txBody>
      </p:sp>
      <p:sp>
        <p:nvSpPr>
          <p:cNvPr id="95" name="Rectangle 94"/>
          <p:cNvSpPr/>
          <p:nvPr>
            <p:custDataLst>
              <p:tags r:id="rId5"/>
            </p:custDataLst>
          </p:nvPr>
        </p:nvSpPr>
        <p:spPr>
          <a:xfrm>
            <a:off x="6329009" y="3405359"/>
            <a:ext cx="1545336" cy="830997"/>
          </a:xfrm>
          <a:prstGeom prst="rect">
            <a:avLst/>
          </a:prstGeom>
          <a:solidFill>
            <a:schemeClr val="accent3"/>
          </a:solidFill>
          <a:ln w="25400" cap="flat" cmpd="sng" algn="ctr">
            <a:noFill/>
            <a:prstDash val="solid"/>
          </a:ln>
          <a:effectLst/>
        </p:spPr>
        <p:txBody>
          <a:bodyPr lIns="91440" tIns="45720" rIns="91440" bIns="45720" rtlCol="0" anchor="ctr">
            <a:noAutofit/>
          </a:bodyPr>
          <a:lstStyle/>
          <a:p>
            <a:pPr marL="171450" marR="0" lvl="0" indent="-171450" defTabSz="78873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dirty="0">
                <a:solidFill>
                  <a:schemeClr val="bg1"/>
                </a:solidFill>
              </a:rPr>
              <a:t>Improved flexibility</a:t>
            </a:r>
            <a:endParaRPr kumimoji="0" lang="en-US" sz="1200" b="0" i="0" u="none" strike="noStrike" kern="0" cap="none" spc="0" normalizeH="0" baseline="0" noProof="0" dirty="0">
              <a:solidFill>
                <a:schemeClr val="bg1"/>
              </a:solidFill>
              <a:effectLst/>
              <a:uLnTx/>
              <a:uFillTx/>
            </a:endParaRPr>
          </a:p>
        </p:txBody>
      </p:sp>
      <p:sp>
        <p:nvSpPr>
          <p:cNvPr id="122" name="Rectangle 121"/>
          <p:cNvSpPr/>
          <p:nvPr>
            <p:custDataLst>
              <p:tags r:id="rId6"/>
            </p:custDataLst>
          </p:nvPr>
        </p:nvSpPr>
        <p:spPr>
          <a:xfrm>
            <a:off x="6329009" y="5583402"/>
            <a:ext cx="1545336" cy="830997"/>
          </a:xfrm>
          <a:prstGeom prst="rect">
            <a:avLst/>
          </a:prstGeom>
          <a:solidFill>
            <a:schemeClr val="accent3"/>
          </a:solidFill>
          <a:ln w="25400" cap="flat" cmpd="sng" algn="ctr">
            <a:noFill/>
            <a:prstDash val="solid"/>
          </a:ln>
          <a:effectLst/>
        </p:spPr>
        <p:txBody>
          <a:bodyPr lIns="91440" tIns="45720" rIns="91440" bIns="45720" rtlCol="0" anchor="ctr">
            <a:noAutofit/>
          </a:bodyPr>
          <a:lstStyle/>
          <a:p>
            <a:pPr marL="171450" marR="0" lvl="0" indent="-171450" defTabSz="913868"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0" dirty="0">
                <a:solidFill>
                  <a:schemeClr val="bg1"/>
                </a:solidFill>
              </a:rPr>
              <a:t>Increased customer satisfaction</a:t>
            </a:r>
            <a:endParaRPr kumimoji="0" lang="en-US" sz="1200" b="0" i="0" u="none" strike="noStrike" kern="0" cap="none" spc="0" normalizeH="0" baseline="0" noProof="0" dirty="0">
              <a:solidFill>
                <a:schemeClr val="bg1"/>
              </a:solidFill>
              <a:effectLst/>
              <a:uLnTx/>
              <a:uFillTx/>
            </a:endParaRPr>
          </a:p>
        </p:txBody>
      </p:sp>
      <p:sp>
        <p:nvSpPr>
          <p:cNvPr id="136" name="Rectangle 135"/>
          <p:cNvSpPr/>
          <p:nvPr>
            <p:custDataLst>
              <p:tags r:id="rId7"/>
            </p:custDataLst>
          </p:nvPr>
        </p:nvSpPr>
        <p:spPr>
          <a:xfrm>
            <a:off x="303213" y="1917700"/>
            <a:ext cx="1545336" cy="4560174"/>
          </a:xfrm>
          <a:prstGeom prst="rect">
            <a:avLst/>
          </a:prstGeom>
          <a:solidFill>
            <a:schemeClr val="bg1">
              <a:lumMod val="95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1217693" eaLnBrk="1" fontAlgn="auto" latinLnBrk="0" hangingPunct="1">
              <a:lnSpc>
                <a:spcPct val="100000"/>
              </a:lnSpc>
              <a:spcBef>
                <a:spcPts val="0"/>
              </a:spcBef>
              <a:spcAft>
                <a:spcPts val="0"/>
              </a:spcAft>
              <a:buClrTx/>
              <a:buSzTx/>
              <a:buFontTx/>
              <a:buNone/>
              <a:tabLst/>
              <a:defRPr/>
            </a:pPr>
            <a:endParaRPr kumimoji="0" lang="en-US" sz="1899" b="0" i="0" u="none" strike="noStrike" kern="0" cap="none" spc="0" normalizeH="0" baseline="0" noProof="0" err="1">
              <a:ln>
                <a:solidFill>
                  <a:srgbClr val="FFFFFF">
                    <a:alpha val="0"/>
                  </a:srgbClr>
                </a:solidFill>
              </a:ln>
              <a:solidFill>
                <a:schemeClr val="bg1"/>
              </a:solidFill>
              <a:effectLst/>
              <a:uLnTx/>
              <a:uFillTx/>
            </a:endParaRPr>
          </a:p>
        </p:txBody>
      </p:sp>
      <p:sp>
        <p:nvSpPr>
          <p:cNvPr id="137" name="Rectangle 136"/>
          <p:cNvSpPr/>
          <p:nvPr>
            <p:custDataLst>
              <p:tags r:id="rId8"/>
            </p:custDataLst>
          </p:nvPr>
        </p:nvSpPr>
        <p:spPr>
          <a:xfrm>
            <a:off x="303213" y="1295400"/>
            <a:ext cx="1545336" cy="622300"/>
          </a:xfrm>
          <a:prstGeom prst="rect">
            <a:avLst/>
          </a:prstGeom>
          <a:solidFill>
            <a:schemeClr val="tx2"/>
          </a:solidFill>
          <a:ln w="25400" cap="flat" cmpd="sng" algn="ctr">
            <a:noFill/>
            <a:prstDash val="solid"/>
          </a:ln>
          <a:effectLst/>
        </p:spPr>
        <p:txBody>
          <a:bodyPr lIns="91440" tIns="45720" rIns="91440" bIns="45720" rtlCol="0" anchor="ctr">
            <a:noAutofit/>
          </a:bodyPr>
          <a:lstStyle/>
          <a:p>
            <a:pPr marL="0" marR="0" lvl="0" indent="0" algn="ctr" defTabSz="788730" eaLnBrk="1" fontAlgn="auto" latinLnBrk="0" hangingPunct="1">
              <a:lnSpc>
                <a:spcPct val="100000"/>
              </a:lnSpc>
              <a:spcBef>
                <a:spcPts val="0"/>
              </a:spcBef>
              <a:spcAft>
                <a:spcPts val="0"/>
              </a:spcAft>
              <a:buClrTx/>
              <a:buSzTx/>
              <a:buFontTx/>
              <a:buNone/>
              <a:tabLst/>
              <a:defRPr/>
            </a:pPr>
            <a:r>
              <a:rPr kumimoji="0" lang="en-US" sz="1400" i="0" u="none" strike="noStrike" kern="0" cap="none" spc="0" normalizeH="0" baseline="0" noProof="0">
                <a:solidFill>
                  <a:schemeClr val="bg1"/>
                </a:solidFill>
                <a:effectLst/>
                <a:uLnTx/>
                <a:uFillTx/>
                <a:latin typeface="Segoe UI Semibold" panose="020B0702040204020203" pitchFamily="34" charset="0"/>
                <a:cs typeface="Segoe UI Semibold" panose="020B0702040204020203" pitchFamily="34" charset="0"/>
              </a:rPr>
              <a:t>Enabling Technologies</a:t>
            </a:r>
            <a:endParaRPr kumimoji="0" lang="en-CA" sz="1400" i="0" u="none" strike="noStrike" kern="0" cap="none" spc="0" normalizeH="0" baseline="0" noProof="0">
              <a:solidFill>
                <a:schemeClr val="bg1"/>
              </a:solidFill>
              <a:effectLst/>
              <a:uLnTx/>
              <a:uFillTx/>
              <a:latin typeface="Segoe UI Semibold" panose="020B0702040204020203" pitchFamily="34" charset="0"/>
              <a:cs typeface="Segoe UI Semibold" panose="020B0702040204020203" pitchFamily="34" charset="0"/>
            </a:endParaRPr>
          </a:p>
        </p:txBody>
      </p:sp>
      <p:sp>
        <p:nvSpPr>
          <p:cNvPr id="138" name="Rectangle 137"/>
          <p:cNvSpPr/>
          <p:nvPr>
            <p:custDataLst>
              <p:tags r:id="rId9"/>
            </p:custDataLst>
          </p:nvPr>
        </p:nvSpPr>
        <p:spPr>
          <a:xfrm>
            <a:off x="303213" y="2039338"/>
            <a:ext cx="1545336" cy="462919"/>
          </a:xfrm>
          <a:prstGeom prst="rect">
            <a:avLst/>
          </a:prstGeom>
          <a:solidFill>
            <a:schemeClr val="tx2"/>
          </a:solidFill>
          <a:ln w="25400" cap="flat" cmpd="sng" algn="ctr">
            <a:noFill/>
            <a:prstDash val="solid"/>
          </a:ln>
          <a:effectLst/>
        </p:spPr>
        <p:txBody>
          <a:bodyPr wrap="square" lIns="91440" tIns="45720" rIns="91440" bIns="45720" rtlCol="0" anchor="ctr" anchorCtr="0">
            <a:noAutofit/>
          </a:bodyPr>
          <a:lstStyle/>
          <a:p>
            <a:pPr marL="0" marR="0" lvl="0" indent="0" defTabSz="788730" eaLnBrk="1" fontAlgn="auto" latinLnBrk="0" hangingPunct="1">
              <a:lnSpc>
                <a:spcPct val="100000"/>
              </a:lnSpc>
              <a:spcBef>
                <a:spcPts val="0"/>
              </a:spcBef>
              <a:spcAft>
                <a:spcPts val="0"/>
              </a:spcAft>
              <a:buClrTx/>
              <a:buSzTx/>
              <a:buFontTx/>
              <a:buNone/>
              <a:tabLst/>
              <a:defRPr/>
            </a:pPr>
            <a:r>
              <a:rPr kumimoji="0" lang="en-CA" sz="1200" b="0" i="0" u="none" strike="noStrike" kern="0" cap="none" spc="0" normalizeH="0" baseline="0" noProof="0" dirty="0">
                <a:solidFill>
                  <a:schemeClr val="bg1"/>
                </a:solidFill>
                <a:effectLst/>
                <a:uLnTx/>
                <a:uFillTx/>
              </a:rPr>
              <a:t>Internet of Things</a:t>
            </a:r>
          </a:p>
        </p:txBody>
      </p:sp>
      <p:sp>
        <p:nvSpPr>
          <p:cNvPr id="139" name="Rectangle 138"/>
          <p:cNvSpPr/>
          <p:nvPr>
            <p:custDataLst>
              <p:tags r:id="rId10"/>
            </p:custDataLst>
          </p:nvPr>
        </p:nvSpPr>
        <p:spPr>
          <a:xfrm>
            <a:off x="303213" y="3333225"/>
            <a:ext cx="1545336" cy="462919"/>
          </a:xfrm>
          <a:prstGeom prst="rect">
            <a:avLst/>
          </a:prstGeom>
          <a:solidFill>
            <a:schemeClr val="tx2"/>
          </a:solidFill>
          <a:ln w="25400" cap="flat" cmpd="sng" algn="ctr">
            <a:noFill/>
            <a:prstDash val="solid"/>
          </a:ln>
          <a:effectLst/>
        </p:spPr>
        <p:txBody>
          <a:bodyPr wrap="square" lIns="91440" tIns="45720" rIns="91440" bIns="45720" rtlCol="0" anchor="ctr" anchorCtr="0">
            <a:noAutofit/>
          </a:bodyPr>
          <a:lstStyle/>
          <a:p>
            <a:pPr marL="0" marR="0" lvl="0" indent="0" defTabSz="788730" eaLnBrk="1" fontAlgn="auto" latinLnBrk="0" hangingPunct="1">
              <a:lnSpc>
                <a:spcPct val="100000"/>
              </a:lnSpc>
              <a:spcBef>
                <a:spcPts val="0"/>
              </a:spcBef>
              <a:spcAft>
                <a:spcPts val="0"/>
              </a:spcAft>
              <a:buClrTx/>
              <a:buSzTx/>
              <a:buFontTx/>
              <a:buNone/>
              <a:tabLst/>
              <a:defRPr/>
            </a:pPr>
            <a:r>
              <a:rPr kumimoji="0" lang="en-CA" sz="1200" b="0" i="0" u="none" strike="noStrike" kern="0" cap="none" spc="0" normalizeH="0" baseline="0" noProof="0" dirty="0">
                <a:solidFill>
                  <a:schemeClr val="bg1"/>
                </a:solidFill>
                <a:effectLst/>
                <a:uLnTx/>
                <a:uFillTx/>
              </a:rPr>
              <a:t>Artificial Intelligence</a:t>
            </a:r>
          </a:p>
        </p:txBody>
      </p:sp>
      <p:sp>
        <p:nvSpPr>
          <p:cNvPr id="140" name="Rectangle 139"/>
          <p:cNvSpPr/>
          <p:nvPr>
            <p:custDataLst>
              <p:tags r:id="rId11"/>
            </p:custDataLst>
          </p:nvPr>
        </p:nvSpPr>
        <p:spPr>
          <a:xfrm>
            <a:off x="303213" y="5951480"/>
            <a:ext cx="1545336" cy="462919"/>
          </a:xfrm>
          <a:prstGeom prst="rect">
            <a:avLst/>
          </a:prstGeom>
          <a:solidFill>
            <a:schemeClr val="tx2"/>
          </a:solidFill>
          <a:ln w="25400" cap="flat" cmpd="sng" algn="ctr">
            <a:noFill/>
            <a:prstDash val="solid"/>
          </a:ln>
          <a:effectLst/>
        </p:spPr>
        <p:txBody>
          <a:bodyPr wrap="square" lIns="91440" tIns="45720" rIns="91440" bIns="45720" rtlCol="0" anchor="ctr" anchorCtr="0">
            <a:noAutofit/>
          </a:bodyPr>
          <a:lstStyle/>
          <a:p>
            <a:pPr marL="0" marR="0" lvl="0" indent="0" defTabSz="788730" eaLnBrk="1" fontAlgn="auto" latinLnBrk="0" hangingPunct="1">
              <a:lnSpc>
                <a:spcPct val="100000"/>
              </a:lnSpc>
              <a:spcBef>
                <a:spcPts val="0"/>
              </a:spcBef>
              <a:spcAft>
                <a:spcPts val="0"/>
              </a:spcAft>
              <a:buClrTx/>
              <a:buSzTx/>
              <a:buFontTx/>
              <a:buNone/>
              <a:tabLst/>
              <a:defRPr/>
            </a:pPr>
            <a:r>
              <a:rPr kumimoji="0" lang="en-CA" sz="1200" b="0" i="0" u="none" strike="noStrike" kern="0" cap="none" spc="0" normalizeH="0" baseline="0" noProof="0">
                <a:solidFill>
                  <a:schemeClr val="bg1"/>
                </a:solidFill>
                <a:effectLst/>
                <a:uLnTx/>
                <a:uFillTx/>
              </a:rPr>
              <a:t>Big Data and Analytics</a:t>
            </a:r>
          </a:p>
        </p:txBody>
      </p:sp>
      <p:sp>
        <p:nvSpPr>
          <p:cNvPr id="141" name="Rectangle 140"/>
          <p:cNvSpPr/>
          <p:nvPr>
            <p:custDataLst>
              <p:tags r:id="rId12"/>
            </p:custDataLst>
          </p:nvPr>
        </p:nvSpPr>
        <p:spPr>
          <a:xfrm>
            <a:off x="303213" y="4627112"/>
            <a:ext cx="1545336" cy="462919"/>
          </a:xfrm>
          <a:prstGeom prst="rect">
            <a:avLst/>
          </a:prstGeom>
          <a:solidFill>
            <a:schemeClr val="tx2"/>
          </a:solidFill>
          <a:ln w="25400" cap="flat" cmpd="sng" algn="ctr">
            <a:noFill/>
            <a:prstDash val="solid"/>
          </a:ln>
          <a:effectLst/>
        </p:spPr>
        <p:txBody>
          <a:bodyPr wrap="square" lIns="91440" tIns="45720" rIns="91440" bIns="45720" rtlCol="0" anchor="ctr" anchorCtr="0">
            <a:noAutofit/>
          </a:bodyPr>
          <a:lstStyle/>
          <a:p>
            <a:pPr marL="0" marR="0" lvl="0" indent="0" defTabSz="788730" eaLnBrk="1" fontAlgn="auto" latinLnBrk="0" hangingPunct="1">
              <a:lnSpc>
                <a:spcPct val="100000"/>
              </a:lnSpc>
              <a:spcBef>
                <a:spcPts val="0"/>
              </a:spcBef>
              <a:spcAft>
                <a:spcPts val="0"/>
              </a:spcAft>
              <a:buClrTx/>
              <a:buSzTx/>
              <a:buFontTx/>
              <a:buNone/>
              <a:tabLst/>
              <a:defRPr/>
            </a:pPr>
            <a:r>
              <a:rPr kumimoji="0" lang="en-CA" sz="1200" b="0" i="0" u="none" strike="noStrike" kern="0" cap="none" spc="0" normalizeH="0" baseline="0" noProof="0">
                <a:solidFill>
                  <a:schemeClr val="bg1"/>
                </a:solidFill>
                <a:effectLst/>
                <a:uLnTx/>
                <a:uFillTx/>
              </a:rPr>
              <a:t>Cloud and Mobile Services</a:t>
            </a:r>
          </a:p>
        </p:txBody>
      </p:sp>
      <p:sp>
        <p:nvSpPr>
          <p:cNvPr id="142" name="Rectangle 141"/>
          <p:cNvSpPr/>
          <p:nvPr>
            <p:custDataLst>
              <p:tags r:id="rId13"/>
            </p:custDataLst>
          </p:nvPr>
        </p:nvSpPr>
        <p:spPr>
          <a:xfrm>
            <a:off x="2363728" y="1917700"/>
            <a:ext cx="1545336" cy="4560174"/>
          </a:xfrm>
          <a:prstGeom prst="rect">
            <a:avLst/>
          </a:prstGeom>
          <a:solidFill>
            <a:schemeClr val="bg1">
              <a:lumMod val="95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1217693" eaLnBrk="1" fontAlgn="auto" latinLnBrk="0" hangingPunct="1">
              <a:lnSpc>
                <a:spcPct val="100000"/>
              </a:lnSpc>
              <a:spcBef>
                <a:spcPts val="0"/>
              </a:spcBef>
              <a:spcAft>
                <a:spcPts val="0"/>
              </a:spcAft>
              <a:buClrTx/>
              <a:buSzTx/>
              <a:buFontTx/>
              <a:buNone/>
              <a:tabLst/>
              <a:defRPr/>
            </a:pPr>
            <a:endParaRPr kumimoji="0" lang="en-US" sz="1899" b="0" i="0" u="none" strike="noStrike" kern="0" cap="none" spc="0" normalizeH="0" baseline="0" noProof="0" err="1">
              <a:solidFill>
                <a:srgbClr val="FFFFFF"/>
              </a:solidFill>
              <a:effectLst/>
              <a:uLnTx/>
              <a:uFillTx/>
            </a:endParaRPr>
          </a:p>
        </p:txBody>
      </p:sp>
      <p:sp>
        <p:nvSpPr>
          <p:cNvPr id="143" name="Rectangle 142"/>
          <p:cNvSpPr/>
          <p:nvPr>
            <p:custDataLst>
              <p:tags r:id="rId14"/>
            </p:custDataLst>
          </p:nvPr>
        </p:nvSpPr>
        <p:spPr>
          <a:xfrm>
            <a:off x="2363728" y="1295400"/>
            <a:ext cx="1545336" cy="622300"/>
          </a:xfrm>
          <a:prstGeom prst="rect">
            <a:avLst/>
          </a:prstGeom>
          <a:solidFill>
            <a:schemeClr val="accent1"/>
          </a:solidFill>
          <a:ln w="25400" cap="flat" cmpd="sng" algn="ctr">
            <a:noFill/>
            <a:prstDash val="solid"/>
          </a:ln>
          <a:effectLst/>
        </p:spPr>
        <p:txBody>
          <a:bodyPr lIns="91440" tIns="45720" rIns="91440" bIns="45720" rtlCol="0" anchor="ctr">
            <a:noAutofit/>
          </a:bodyPr>
          <a:lstStyle/>
          <a:p>
            <a:pPr marL="0" marR="0" lvl="0" indent="0" algn="ctr" defTabSz="788730" eaLnBrk="1" fontAlgn="auto" latinLnBrk="0" hangingPunct="1">
              <a:lnSpc>
                <a:spcPct val="100000"/>
              </a:lnSpc>
              <a:spcBef>
                <a:spcPts val="0"/>
              </a:spcBef>
              <a:spcAft>
                <a:spcPts val="0"/>
              </a:spcAft>
              <a:buClrTx/>
              <a:buSzTx/>
              <a:buFontTx/>
              <a:buNone/>
              <a:tabLst/>
              <a:defRPr/>
            </a:pPr>
            <a:r>
              <a:rPr kumimoji="0" lang="en-GB" sz="1400" i="0" u="none" strike="noStrike" kern="0" cap="none" spc="0" normalizeH="0" baseline="0" noProof="0">
                <a:solidFill>
                  <a:schemeClr val="bg1"/>
                </a:solidFill>
                <a:effectLst/>
                <a:uLnTx/>
                <a:uFillTx/>
                <a:latin typeface="Segoe UI Semibold" panose="020B0702040204020203" pitchFamily="34" charset="0"/>
                <a:cs typeface="Segoe UI Semibold" panose="020B0702040204020203" pitchFamily="34" charset="0"/>
              </a:rPr>
              <a:t>Enabling Changes</a:t>
            </a:r>
          </a:p>
        </p:txBody>
      </p:sp>
      <p:sp>
        <p:nvSpPr>
          <p:cNvPr id="144" name="Rectangle 143"/>
          <p:cNvSpPr/>
          <p:nvPr>
            <p:custDataLst>
              <p:tags r:id="rId15"/>
            </p:custDataLst>
          </p:nvPr>
        </p:nvSpPr>
        <p:spPr>
          <a:xfrm>
            <a:off x="2363728" y="2039338"/>
            <a:ext cx="1545336" cy="731520"/>
          </a:xfrm>
          <a:prstGeom prst="rect">
            <a:avLst/>
          </a:prstGeom>
          <a:solidFill>
            <a:schemeClr val="accent1"/>
          </a:solidFill>
          <a:ln w="25400" cap="flat" cmpd="sng" algn="ctr">
            <a:noFill/>
            <a:prstDash val="solid"/>
          </a:ln>
          <a:effectLst/>
        </p:spPr>
        <p:txBody>
          <a:bodyPr lIns="91440" tIns="45720" rIns="91440" bIns="45720" rtlCol="0" anchor="ctr">
            <a:noAutofit/>
          </a:bodyPr>
          <a:lstStyle/>
          <a:p>
            <a:pPr marL="0" marR="0" lvl="0" indent="0" defTabSz="78873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solidFill>
                  <a:schemeClr val="bg1"/>
                </a:solidFill>
                <a:effectLst/>
                <a:uLnTx/>
                <a:uFillTx/>
              </a:rPr>
              <a:t>Enable dynamic business channels</a:t>
            </a:r>
            <a:endParaRPr kumimoji="0" lang="en-GB" sz="1200" b="0" i="0" u="none" strike="noStrike" kern="0" cap="none" spc="0" normalizeH="0" baseline="0" noProof="0">
              <a:solidFill>
                <a:schemeClr val="bg1"/>
              </a:solidFill>
              <a:effectLst/>
              <a:uLnTx/>
              <a:uFillTx/>
            </a:endParaRPr>
          </a:p>
        </p:txBody>
      </p:sp>
      <p:sp>
        <p:nvSpPr>
          <p:cNvPr id="145" name="Rectangle 144"/>
          <p:cNvSpPr/>
          <p:nvPr>
            <p:custDataLst>
              <p:tags r:id="rId16"/>
            </p:custDataLst>
          </p:nvPr>
        </p:nvSpPr>
        <p:spPr>
          <a:xfrm>
            <a:off x="2363728" y="3865546"/>
            <a:ext cx="1545336" cy="731520"/>
          </a:xfrm>
          <a:prstGeom prst="rect">
            <a:avLst/>
          </a:prstGeom>
          <a:solidFill>
            <a:schemeClr val="accent1"/>
          </a:solidFill>
          <a:ln w="25400" cap="flat" cmpd="sng" algn="ctr">
            <a:noFill/>
            <a:prstDash val="solid"/>
          </a:ln>
          <a:effectLst/>
        </p:spPr>
        <p:txBody>
          <a:bodyPr lIns="91440" tIns="45720" rIns="91440" bIns="45720" rtlCol="0" anchor="ctr">
            <a:noAutofit/>
          </a:bodyPr>
          <a:lstStyle/>
          <a:p>
            <a:pPr marL="0" marR="0" lvl="0" indent="0" defTabSz="78873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solidFill>
                  <a:schemeClr val="bg1"/>
                </a:solidFill>
                <a:effectLst/>
                <a:uLnTx/>
                <a:uFillTx/>
              </a:rPr>
              <a:t>Delivery of the digital mobile strategy</a:t>
            </a:r>
          </a:p>
        </p:txBody>
      </p:sp>
      <p:sp>
        <p:nvSpPr>
          <p:cNvPr id="146" name="Rectangle 145"/>
          <p:cNvSpPr/>
          <p:nvPr>
            <p:custDataLst>
              <p:tags r:id="rId17"/>
            </p:custDataLst>
          </p:nvPr>
        </p:nvSpPr>
        <p:spPr>
          <a:xfrm>
            <a:off x="2363728" y="2946707"/>
            <a:ext cx="1545336" cy="731520"/>
          </a:xfrm>
          <a:prstGeom prst="rect">
            <a:avLst/>
          </a:prstGeom>
          <a:solidFill>
            <a:schemeClr val="accent1"/>
          </a:solidFill>
          <a:ln w="25400" cap="flat" cmpd="sng" algn="ctr">
            <a:noFill/>
            <a:prstDash val="solid"/>
          </a:ln>
          <a:effectLst/>
        </p:spPr>
        <p:txBody>
          <a:bodyPr lIns="91440" tIns="45720" rIns="91440" bIns="45720" rtlCol="0" anchor="ctr">
            <a:noAutofit/>
          </a:bodyPr>
          <a:lstStyle/>
          <a:p>
            <a:pPr marL="0" marR="0" lvl="0" indent="0" defTabSz="78873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solidFill>
                  <a:schemeClr val="bg1"/>
                </a:solidFill>
                <a:effectLst/>
                <a:uLnTx/>
                <a:uFillTx/>
              </a:rPr>
              <a:t>Enable OEM-Partner ecosystem</a:t>
            </a:r>
          </a:p>
        </p:txBody>
      </p:sp>
      <p:sp>
        <p:nvSpPr>
          <p:cNvPr id="186" name="Rectangle 185"/>
          <p:cNvSpPr/>
          <p:nvPr>
            <p:custDataLst>
              <p:tags r:id="rId18"/>
            </p:custDataLst>
          </p:nvPr>
        </p:nvSpPr>
        <p:spPr>
          <a:xfrm>
            <a:off x="2363728" y="4879797"/>
            <a:ext cx="1545336" cy="731520"/>
          </a:xfrm>
          <a:prstGeom prst="rect">
            <a:avLst/>
          </a:prstGeom>
          <a:solidFill>
            <a:schemeClr val="accent1"/>
          </a:solidFill>
          <a:ln w="25400" cap="flat" cmpd="sng" algn="ctr">
            <a:noFill/>
            <a:prstDash val="solid"/>
          </a:ln>
          <a:effectLst/>
        </p:spPr>
        <p:txBody>
          <a:bodyPr lIns="91440" tIns="45720" rIns="91440" bIns="45720" rtlCol="0" anchor="ctr">
            <a:noAutofit/>
          </a:bodyPr>
          <a:lstStyle/>
          <a:p>
            <a:pPr marL="0" marR="0" lvl="0" indent="0" defTabSz="78873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solidFill>
                  <a:schemeClr val="bg1"/>
                </a:solidFill>
                <a:effectLst/>
                <a:uLnTx/>
                <a:uFillTx/>
              </a:rPr>
              <a:t>Reimagine marketing analytics and targeting</a:t>
            </a:r>
          </a:p>
        </p:txBody>
      </p:sp>
      <p:sp>
        <p:nvSpPr>
          <p:cNvPr id="187" name="Rectangle 186"/>
          <p:cNvSpPr/>
          <p:nvPr>
            <p:custDataLst>
              <p:tags r:id="rId19"/>
            </p:custDataLst>
          </p:nvPr>
        </p:nvSpPr>
        <p:spPr>
          <a:xfrm>
            <a:off x="4317443" y="2150684"/>
            <a:ext cx="1545336" cy="4560174"/>
          </a:xfrm>
          <a:prstGeom prst="rect">
            <a:avLst/>
          </a:prstGeom>
          <a:solidFill>
            <a:schemeClr val="bg1">
              <a:lumMod val="95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1217693" eaLnBrk="1" fontAlgn="auto" latinLnBrk="0" hangingPunct="1">
              <a:lnSpc>
                <a:spcPct val="100000"/>
              </a:lnSpc>
              <a:spcBef>
                <a:spcPts val="0"/>
              </a:spcBef>
              <a:spcAft>
                <a:spcPts val="0"/>
              </a:spcAft>
              <a:buClrTx/>
              <a:buSzTx/>
              <a:buFontTx/>
              <a:buNone/>
              <a:tabLst/>
              <a:defRPr/>
            </a:pPr>
            <a:endParaRPr kumimoji="0" lang="en-US" sz="1899" b="0" i="0" u="none" strike="noStrike" kern="0" cap="none" spc="0" normalizeH="0" baseline="0" noProof="0" err="1">
              <a:solidFill>
                <a:srgbClr val="FFFFFF"/>
              </a:solidFill>
              <a:effectLst/>
              <a:uLnTx/>
              <a:uFillTx/>
            </a:endParaRPr>
          </a:p>
        </p:txBody>
      </p:sp>
      <p:sp>
        <p:nvSpPr>
          <p:cNvPr id="188" name="Rectangle 187"/>
          <p:cNvSpPr/>
          <p:nvPr>
            <p:custDataLst>
              <p:tags r:id="rId20"/>
            </p:custDataLst>
          </p:nvPr>
        </p:nvSpPr>
        <p:spPr>
          <a:xfrm>
            <a:off x="4317443" y="1295400"/>
            <a:ext cx="1545336" cy="622300"/>
          </a:xfrm>
          <a:prstGeom prst="rect">
            <a:avLst/>
          </a:prstGeom>
          <a:solidFill>
            <a:schemeClr val="accent2"/>
          </a:solidFill>
          <a:ln w="25400" cap="flat" cmpd="sng" algn="ctr">
            <a:noFill/>
            <a:prstDash val="solid"/>
          </a:ln>
          <a:effectLst/>
        </p:spPr>
        <p:txBody>
          <a:bodyPr lIns="91440" tIns="45720" rIns="91440" bIns="45720" rtlCol="0" anchor="ctr">
            <a:noAutofit/>
          </a:bodyPr>
          <a:lstStyle/>
          <a:p>
            <a:pPr marL="0" marR="0" lvl="0" indent="0" algn="ctr" defTabSz="788730" eaLnBrk="1" fontAlgn="auto" latinLnBrk="0" hangingPunct="1">
              <a:lnSpc>
                <a:spcPct val="100000"/>
              </a:lnSpc>
              <a:spcBef>
                <a:spcPts val="0"/>
              </a:spcBef>
              <a:spcAft>
                <a:spcPts val="0"/>
              </a:spcAft>
              <a:buClrTx/>
              <a:buSzTx/>
              <a:buFontTx/>
              <a:buNone/>
              <a:tabLst/>
              <a:defRPr/>
            </a:pPr>
            <a:r>
              <a:rPr kumimoji="0" lang="en-GB" sz="1400" i="0" u="none" strike="noStrike" kern="0" cap="none" spc="0" normalizeH="0" baseline="0" noProof="0">
                <a:effectLst/>
                <a:uLnTx/>
                <a:uFillTx/>
                <a:latin typeface="Segoe UI Semibold" panose="020B0702040204020203" pitchFamily="34" charset="0"/>
                <a:cs typeface="Segoe UI Semibold" panose="020B0702040204020203" pitchFamily="34" charset="0"/>
              </a:rPr>
              <a:t>Business Changes</a:t>
            </a:r>
          </a:p>
        </p:txBody>
      </p:sp>
      <p:sp>
        <p:nvSpPr>
          <p:cNvPr id="189" name="Rectangle 188"/>
          <p:cNvSpPr/>
          <p:nvPr>
            <p:custDataLst>
              <p:tags r:id="rId21"/>
            </p:custDataLst>
          </p:nvPr>
        </p:nvSpPr>
        <p:spPr>
          <a:xfrm>
            <a:off x="4317443" y="3180522"/>
            <a:ext cx="1545336" cy="1042553"/>
          </a:xfrm>
          <a:prstGeom prst="rect">
            <a:avLst/>
          </a:prstGeom>
          <a:solidFill>
            <a:schemeClr val="accent2"/>
          </a:solidFill>
          <a:ln w="25400" cap="flat" cmpd="sng" algn="ctr">
            <a:noFill/>
            <a:prstDash val="solid"/>
          </a:ln>
          <a:effectLst/>
        </p:spPr>
        <p:txBody>
          <a:bodyPr lIns="91440" tIns="45720" rIns="91440" bIns="45720" rtlCol="0" anchor="ctr">
            <a:noAutofit/>
          </a:bodyPr>
          <a:lstStyle/>
          <a:p>
            <a:pPr marL="0" marR="0" lvl="0" indent="0" defTabSz="914080" eaLnBrk="1" fontAlgn="auto" latinLnBrk="0" hangingPunct="1">
              <a:lnSpc>
                <a:spcPct val="100000"/>
              </a:lnSpc>
              <a:spcBef>
                <a:spcPts val="267"/>
              </a:spcBef>
              <a:spcAft>
                <a:spcPts val="0"/>
              </a:spcAft>
              <a:buClrTx/>
              <a:buSzTx/>
              <a:buFontTx/>
              <a:buNone/>
              <a:tabLst/>
              <a:defRPr/>
            </a:pPr>
            <a:r>
              <a:rPr kumimoji="0" lang="en-US" sz="1200" b="0" i="0" u="none" strike="noStrike" kern="0" cap="none" spc="0" normalizeH="0" baseline="0" noProof="0">
                <a:effectLst/>
                <a:uLnTx/>
                <a:uFillTx/>
              </a:rPr>
              <a:t>Safety regulations and customer needs prioritized</a:t>
            </a:r>
          </a:p>
        </p:txBody>
      </p:sp>
      <p:sp>
        <p:nvSpPr>
          <p:cNvPr id="190" name="Rectangle 189"/>
          <p:cNvSpPr/>
          <p:nvPr>
            <p:custDataLst>
              <p:tags r:id="rId22"/>
            </p:custDataLst>
          </p:nvPr>
        </p:nvSpPr>
        <p:spPr>
          <a:xfrm>
            <a:off x="4317443" y="2039339"/>
            <a:ext cx="1545336" cy="894692"/>
          </a:xfrm>
          <a:prstGeom prst="rect">
            <a:avLst/>
          </a:prstGeom>
          <a:solidFill>
            <a:schemeClr val="accent2"/>
          </a:solidFill>
          <a:ln w="25400" cap="flat" cmpd="sng" algn="ctr">
            <a:noFill/>
            <a:prstDash val="solid"/>
          </a:ln>
          <a:effectLst/>
        </p:spPr>
        <p:txBody>
          <a:bodyPr lIns="91440" tIns="45720" rIns="91440" bIns="45720" rtlCol="0" anchor="ctr">
            <a:noAutofit/>
          </a:bodyPr>
          <a:lstStyle/>
          <a:p>
            <a:pPr marR="0" lvl="0" defTabSz="914080" eaLnBrk="1" fontAlgn="auto" latinLnBrk="0" hangingPunct="1">
              <a:lnSpc>
                <a:spcPct val="100000"/>
              </a:lnSpc>
              <a:spcBef>
                <a:spcPts val="267"/>
              </a:spcBef>
              <a:spcAft>
                <a:spcPts val="0"/>
              </a:spcAft>
              <a:buClrTx/>
              <a:buSzTx/>
              <a:tabLst/>
              <a:defRPr/>
            </a:pPr>
            <a:r>
              <a:rPr kumimoji="0" lang="en-US" sz="1200" b="0" i="0" u="none" strike="noStrike" kern="0" cap="none" spc="0" normalizeH="0" baseline="0" noProof="0" dirty="0">
                <a:effectLst/>
                <a:uLnTx/>
                <a:uFillTx/>
              </a:rPr>
              <a:t>Shifting markets and revenue pools</a:t>
            </a:r>
          </a:p>
        </p:txBody>
      </p:sp>
      <p:sp>
        <p:nvSpPr>
          <p:cNvPr id="192" name="Rectangle 191"/>
          <p:cNvSpPr/>
          <p:nvPr>
            <p:custDataLst>
              <p:tags r:id="rId23"/>
            </p:custDataLst>
          </p:nvPr>
        </p:nvSpPr>
        <p:spPr>
          <a:xfrm>
            <a:off x="4317443" y="4515930"/>
            <a:ext cx="1545336" cy="811444"/>
          </a:xfrm>
          <a:prstGeom prst="rect">
            <a:avLst/>
          </a:prstGeom>
          <a:solidFill>
            <a:schemeClr val="accent2"/>
          </a:solidFill>
          <a:ln w="25400" cap="flat" cmpd="sng" algn="ctr">
            <a:noFill/>
            <a:prstDash val="solid"/>
          </a:ln>
          <a:effectLst/>
        </p:spPr>
        <p:txBody>
          <a:bodyPr lIns="91440" tIns="45720" rIns="91440" bIns="45720" rtlCol="0" anchor="ctr">
            <a:noAutofit/>
          </a:bodyPr>
          <a:lstStyle/>
          <a:p>
            <a:pPr marL="0" marR="0" lvl="0" indent="0" defTabSz="914080" eaLnBrk="1" fontAlgn="auto" latinLnBrk="0" hangingPunct="1">
              <a:lnSpc>
                <a:spcPct val="100000"/>
              </a:lnSpc>
              <a:spcBef>
                <a:spcPts val="267"/>
              </a:spcBef>
              <a:spcAft>
                <a:spcPts val="0"/>
              </a:spcAft>
              <a:buClrTx/>
              <a:buSzTx/>
              <a:buFontTx/>
              <a:buNone/>
              <a:tabLst/>
              <a:defRPr/>
            </a:pPr>
            <a:r>
              <a:rPr kumimoji="0" lang="en-US" sz="1200" b="0" i="0" u="none" strike="noStrike" kern="0" cap="none" spc="0" normalizeH="0" baseline="0" noProof="0">
                <a:effectLst/>
                <a:uLnTx/>
                <a:uFillTx/>
              </a:rPr>
              <a:t>Value driven offer targeting </a:t>
            </a:r>
          </a:p>
        </p:txBody>
      </p:sp>
      <p:sp>
        <p:nvSpPr>
          <p:cNvPr id="193" name="Rectangle 192"/>
          <p:cNvSpPr/>
          <p:nvPr>
            <p:custDataLst>
              <p:tags r:id="rId24"/>
            </p:custDataLst>
          </p:nvPr>
        </p:nvSpPr>
        <p:spPr>
          <a:xfrm>
            <a:off x="8363205" y="1917700"/>
            <a:ext cx="1545336" cy="4560174"/>
          </a:xfrm>
          <a:prstGeom prst="rect">
            <a:avLst/>
          </a:prstGeom>
          <a:solidFill>
            <a:schemeClr val="bg1">
              <a:lumMod val="95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1217693" eaLnBrk="1" fontAlgn="auto" latinLnBrk="0" hangingPunct="1">
              <a:lnSpc>
                <a:spcPct val="100000"/>
              </a:lnSpc>
              <a:spcBef>
                <a:spcPts val="0"/>
              </a:spcBef>
              <a:spcAft>
                <a:spcPts val="0"/>
              </a:spcAft>
              <a:buClrTx/>
              <a:buSzTx/>
              <a:buFontTx/>
              <a:buNone/>
              <a:tabLst/>
              <a:defRPr/>
            </a:pPr>
            <a:endParaRPr kumimoji="0" lang="en-US" sz="1899" b="0" i="0" u="none" strike="noStrike" kern="0" cap="none" spc="0" normalizeH="0" baseline="0" noProof="0" err="1">
              <a:solidFill>
                <a:srgbClr val="FFFFFF"/>
              </a:solidFill>
              <a:effectLst/>
              <a:uLnTx/>
              <a:uFillTx/>
            </a:endParaRPr>
          </a:p>
        </p:txBody>
      </p:sp>
      <p:sp>
        <p:nvSpPr>
          <p:cNvPr id="194" name="Rectangle 193"/>
          <p:cNvSpPr/>
          <p:nvPr>
            <p:custDataLst>
              <p:tags r:id="rId25"/>
            </p:custDataLst>
          </p:nvPr>
        </p:nvSpPr>
        <p:spPr>
          <a:xfrm>
            <a:off x="8363205" y="1295400"/>
            <a:ext cx="1545336" cy="622300"/>
          </a:xfrm>
          <a:prstGeom prst="rect">
            <a:avLst/>
          </a:prstGeom>
          <a:solidFill>
            <a:schemeClr val="accent4"/>
          </a:solidFill>
          <a:ln w="25400" cap="flat" cmpd="sng" algn="ctr">
            <a:noFill/>
            <a:prstDash val="solid"/>
          </a:ln>
          <a:effectLst/>
        </p:spPr>
        <p:txBody>
          <a:bodyPr lIns="91440" tIns="45720" rIns="91440" bIns="45720" rtlCol="0" anchor="ctr">
            <a:noAutofit/>
          </a:bodyPr>
          <a:lstStyle/>
          <a:p>
            <a:pPr marL="0" marR="0" lvl="0" indent="0" algn="ctr" defTabSz="788730" eaLnBrk="1" fontAlgn="auto" latinLnBrk="0" hangingPunct="1">
              <a:lnSpc>
                <a:spcPct val="100000"/>
              </a:lnSpc>
              <a:spcBef>
                <a:spcPts val="0"/>
              </a:spcBef>
              <a:spcAft>
                <a:spcPts val="0"/>
              </a:spcAft>
              <a:buClrTx/>
              <a:buSzTx/>
              <a:buFontTx/>
              <a:buNone/>
              <a:tabLst/>
              <a:defRPr/>
            </a:pPr>
            <a:r>
              <a:rPr kumimoji="0" lang="en-US" sz="1400" i="0" u="none" strike="noStrike" kern="0" cap="none" spc="0" normalizeH="0" baseline="0" noProof="0">
                <a:solidFill>
                  <a:schemeClr val="bg1"/>
                </a:solidFill>
                <a:effectLst/>
                <a:uLnTx/>
                <a:uFillTx/>
                <a:latin typeface="Segoe UI Semibold" panose="020B0702040204020203" pitchFamily="34" charset="0"/>
                <a:cs typeface="Segoe UI Semibold" panose="020B0702040204020203" pitchFamily="34" charset="0"/>
              </a:rPr>
              <a:t>Investment Objectives</a:t>
            </a:r>
            <a:endParaRPr kumimoji="0" lang="en-CA" sz="1400" i="0" u="none" strike="noStrike" kern="0" cap="none" spc="0" normalizeH="0" baseline="0" noProof="0">
              <a:solidFill>
                <a:schemeClr val="bg1"/>
              </a:solidFill>
              <a:effectLst/>
              <a:uLnTx/>
              <a:uFillTx/>
              <a:latin typeface="Segoe UI Semibold" panose="020B0702040204020203" pitchFamily="34" charset="0"/>
              <a:cs typeface="Segoe UI Semibold" panose="020B0702040204020203" pitchFamily="34" charset="0"/>
            </a:endParaRPr>
          </a:p>
        </p:txBody>
      </p:sp>
      <p:sp>
        <p:nvSpPr>
          <p:cNvPr id="195" name="Rectangle 194"/>
          <p:cNvSpPr/>
          <p:nvPr>
            <p:custDataLst>
              <p:tags r:id="rId26"/>
            </p:custDataLst>
          </p:nvPr>
        </p:nvSpPr>
        <p:spPr>
          <a:xfrm>
            <a:off x="8363205" y="3405359"/>
            <a:ext cx="1545336" cy="830997"/>
          </a:xfrm>
          <a:prstGeom prst="rect">
            <a:avLst/>
          </a:prstGeom>
          <a:solidFill>
            <a:schemeClr val="accent4"/>
          </a:solidFill>
          <a:ln w="25400" cap="flat" cmpd="sng" algn="ctr">
            <a:noFill/>
            <a:prstDash val="solid"/>
          </a:ln>
          <a:effectLst/>
        </p:spPr>
        <p:txBody>
          <a:bodyPr lIns="91440" tIns="45720" rIns="91440" bIns="45720" rtlCol="0" anchor="ctr">
            <a:noAutofit/>
          </a:bodyPr>
          <a:lstStyle/>
          <a:p>
            <a:pPr marL="0" marR="0" lvl="0" indent="0" defTabSz="788730" eaLnBrk="1" fontAlgn="auto" latinLnBrk="0" hangingPunct="1">
              <a:lnSpc>
                <a:spcPct val="100000"/>
              </a:lnSpc>
              <a:spcBef>
                <a:spcPts val="0"/>
              </a:spcBef>
              <a:spcAft>
                <a:spcPts val="0"/>
              </a:spcAft>
              <a:buClrTx/>
              <a:buSzTx/>
              <a:buFontTx/>
              <a:buNone/>
              <a:tabLst/>
              <a:defRPr/>
            </a:pPr>
            <a:r>
              <a:rPr lang="en-US" sz="1200" kern="0" dirty="0">
                <a:solidFill>
                  <a:schemeClr val="bg1"/>
                </a:solidFill>
              </a:rPr>
              <a:t>Provide relevant products and services</a:t>
            </a:r>
            <a:endParaRPr kumimoji="0" lang="en-US" sz="1200" b="0" i="0" u="none" strike="noStrike" kern="0" cap="none" spc="0" normalizeH="0" baseline="0" noProof="0" dirty="0">
              <a:solidFill>
                <a:schemeClr val="bg1"/>
              </a:solidFill>
              <a:effectLst/>
              <a:uLnTx/>
              <a:uFillTx/>
            </a:endParaRPr>
          </a:p>
        </p:txBody>
      </p:sp>
      <p:sp>
        <p:nvSpPr>
          <p:cNvPr id="196" name="Rectangle 195"/>
          <p:cNvSpPr/>
          <p:nvPr>
            <p:custDataLst>
              <p:tags r:id="rId27"/>
            </p:custDataLst>
          </p:nvPr>
        </p:nvSpPr>
        <p:spPr>
          <a:xfrm>
            <a:off x="8363205" y="2039338"/>
            <a:ext cx="1545336" cy="1015663"/>
          </a:xfrm>
          <a:prstGeom prst="rect">
            <a:avLst/>
          </a:prstGeom>
          <a:solidFill>
            <a:schemeClr val="accent4"/>
          </a:solidFill>
          <a:ln w="25400" cap="flat" cmpd="sng" algn="ctr">
            <a:noFill/>
            <a:prstDash val="solid"/>
          </a:ln>
          <a:effectLst/>
        </p:spPr>
        <p:txBody>
          <a:bodyPr lIns="91440" tIns="45720" rIns="91440" bIns="45720" rtlCol="0" anchor="ctr">
            <a:noAutofit/>
          </a:bodyPr>
          <a:lstStyle/>
          <a:p>
            <a:pPr marL="0" marR="0" lvl="0" indent="0" defTabSz="788730" eaLnBrk="1" fontAlgn="auto" latinLnBrk="0" hangingPunct="1">
              <a:lnSpc>
                <a:spcPct val="100000"/>
              </a:lnSpc>
              <a:spcBef>
                <a:spcPts val="0"/>
              </a:spcBef>
              <a:spcAft>
                <a:spcPts val="0"/>
              </a:spcAft>
              <a:buClrTx/>
              <a:buSzTx/>
              <a:buFontTx/>
              <a:buNone/>
              <a:tabLst/>
              <a:defRPr/>
            </a:pPr>
            <a:r>
              <a:rPr lang="en-US" sz="1200" kern="0" dirty="0">
                <a:solidFill>
                  <a:schemeClr val="bg1"/>
                </a:solidFill>
              </a:rPr>
              <a:t>Create an engaging digital experience</a:t>
            </a:r>
            <a:endParaRPr kumimoji="0" lang="en-US" sz="1200" b="0" i="0" u="none" strike="noStrike" kern="0" cap="none" spc="0" normalizeH="0" baseline="0" noProof="0" dirty="0">
              <a:solidFill>
                <a:schemeClr val="bg1"/>
              </a:solidFill>
              <a:effectLst/>
              <a:uLnTx/>
              <a:uFillTx/>
            </a:endParaRPr>
          </a:p>
        </p:txBody>
      </p:sp>
      <p:sp>
        <p:nvSpPr>
          <p:cNvPr id="197" name="Rectangle 196"/>
          <p:cNvSpPr/>
          <p:nvPr>
            <p:custDataLst>
              <p:tags r:id="rId28"/>
            </p:custDataLst>
          </p:nvPr>
        </p:nvSpPr>
        <p:spPr>
          <a:xfrm>
            <a:off x="8363205" y="4586714"/>
            <a:ext cx="1545336" cy="830997"/>
          </a:xfrm>
          <a:prstGeom prst="rect">
            <a:avLst/>
          </a:prstGeom>
          <a:solidFill>
            <a:schemeClr val="accent4"/>
          </a:solidFill>
          <a:ln w="25400" cap="flat" cmpd="sng" algn="ctr">
            <a:noFill/>
            <a:prstDash val="solid"/>
          </a:ln>
          <a:effectLst/>
        </p:spPr>
        <p:txBody>
          <a:bodyPr lIns="91440" tIns="45720" rIns="91440" bIns="45720" rtlCol="0" anchor="ctr">
            <a:noAutofit/>
          </a:bodyPr>
          <a:lstStyle/>
          <a:p>
            <a:pPr marL="0" marR="0" lvl="0" indent="0" defTabSz="788730" eaLnBrk="1" fontAlgn="auto" latinLnBrk="0" hangingPunct="1">
              <a:lnSpc>
                <a:spcPct val="100000"/>
              </a:lnSpc>
              <a:spcBef>
                <a:spcPts val="0"/>
              </a:spcBef>
              <a:spcAft>
                <a:spcPts val="0"/>
              </a:spcAft>
              <a:buClrTx/>
              <a:buSzTx/>
              <a:buFontTx/>
              <a:buNone/>
              <a:tabLst/>
              <a:defRPr/>
            </a:pPr>
            <a:r>
              <a:rPr lang="en-US" sz="1200" kern="0" dirty="0">
                <a:solidFill>
                  <a:schemeClr val="bg1"/>
                </a:solidFill>
              </a:rPr>
              <a:t>Proactively </a:t>
            </a:r>
            <a:r>
              <a:rPr kumimoji="0" lang="en-US" sz="1200" b="0" i="0" u="none" strike="noStrike" kern="0" cap="none" spc="0" normalizeH="0" baseline="0" noProof="0" dirty="0">
                <a:solidFill>
                  <a:schemeClr val="bg1"/>
                </a:solidFill>
                <a:effectLst/>
                <a:uLnTx/>
                <a:uFillTx/>
              </a:rPr>
              <a:t>address opportunities and mitigate risks</a:t>
            </a:r>
          </a:p>
        </p:txBody>
      </p:sp>
      <p:sp>
        <p:nvSpPr>
          <p:cNvPr id="198" name="Rectangle 197"/>
          <p:cNvSpPr/>
          <p:nvPr>
            <p:custDataLst>
              <p:tags r:id="rId29"/>
            </p:custDataLst>
          </p:nvPr>
        </p:nvSpPr>
        <p:spPr>
          <a:xfrm>
            <a:off x="8363205" y="5768068"/>
            <a:ext cx="1545336" cy="646331"/>
          </a:xfrm>
          <a:prstGeom prst="rect">
            <a:avLst/>
          </a:prstGeom>
          <a:solidFill>
            <a:schemeClr val="accent4"/>
          </a:solidFill>
          <a:ln w="25400" cap="flat" cmpd="sng" algn="ctr">
            <a:noFill/>
            <a:prstDash val="solid"/>
          </a:ln>
          <a:effectLst/>
        </p:spPr>
        <p:txBody>
          <a:bodyPr lIns="91440" tIns="45720" rIns="91440" bIns="45720" rtlCol="0" anchor="ctr">
            <a:noAutofit/>
          </a:bodyPr>
          <a:lstStyle/>
          <a:p>
            <a:pPr marL="0" marR="0" lvl="0" indent="0" defTabSz="788730" eaLnBrk="1" fontAlgn="auto" latinLnBrk="0" hangingPunct="1">
              <a:lnSpc>
                <a:spcPct val="100000"/>
              </a:lnSpc>
              <a:spcBef>
                <a:spcPts val="0"/>
              </a:spcBef>
              <a:spcAft>
                <a:spcPts val="0"/>
              </a:spcAft>
              <a:buClrTx/>
              <a:buSzTx/>
              <a:buFontTx/>
              <a:buNone/>
              <a:tabLst/>
              <a:defRPr/>
            </a:pPr>
            <a:r>
              <a:rPr lang="en-US" sz="1200" kern="0" dirty="0">
                <a:solidFill>
                  <a:schemeClr val="bg1"/>
                </a:solidFill>
              </a:rPr>
              <a:t>Leveraging customer analytics</a:t>
            </a:r>
            <a:endParaRPr kumimoji="0" lang="en-US" sz="1200" b="0" i="0" u="none" strike="noStrike" kern="0" cap="none" spc="0" normalizeH="0" baseline="0" noProof="0" dirty="0">
              <a:solidFill>
                <a:schemeClr val="bg1"/>
              </a:solidFill>
              <a:effectLst/>
              <a:uLnTx/>
              <a:uFillTx/>
            </a:endParaRPr>
          </a:p>
        </p:txBody>
      </p:sp>
      <p:cxnSp>
        <p:nvCxnSpPr>
          <p:cNvPr id="199" name="Straight Connector 198"/>
          <p:cNvCxnSpPr>
            <a:stCxn id="138" idx="3"/>
            <a:endCxn id="144" idx="1"/>
          </p:cNvCxnSpPr>
          <p:nvPr/>
        </p:nvCxnSpPr>
        <p:spPr>
          <a:xfrm>
            <a:off x="1848549" y="2270798"/>
            <a:ext cx="515179" cy="134300"/>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00" name="Straight Connector 199"/>
          <p:cNvCxnSpPr>
            <a:cxnSpLocks/>
            <a:stCxn id="138" idx="3"/>
          </p:cNvCxnSpPr>
          <p:nvPr/>
        </p:nvCxnSpPr>
        <p:spPr>
          <a:xfrm>
            <a:off x="1848549" y="2270798"/>
            <a:ext cx="515179" cy="1045185"/>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01" name="Straight Connector 200"/>
          <p:cNvCxnSpPr>
            <a:cxnSpLocks/>
            <a:stCxn id="144" idx="3"/>
            <a:endCxn id="190" idx="1"/>
          </p:cNvCxnSpPr>
          <p:nvPr/>
        </p:nvCxnSpPr>
        <p:spPr>
          <a:xfrm>
            <a:off x="3909064" y="2405098"/>
            <a:ext cx="408379" cy="81587"/>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02" name="Straight Connector 201"/>
          <p:cNvCxnSpPr>
            <a:cxnSpLocks/>
            <a:stCxn id="144" idx="3"/>
            <a:endCxn id="189" idx="1"/>
          </p:cNvCxnSpPr>
          <p:nvPr/>
        </p:nvCxnSpPr>
        <p:spPr>
          <a:xfrm>
            <a:off x="3909064" y="2405098"/>
            <a:ext cx="408379" cy="1296701"/>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03" name="Straight Connector 202"/>
          <p:cNvCxnSpPr>
            <a:cxnSpLocks/>
            <a:endCxn id="189" idx="1"/>
          </p:cNvCxnSpPr>
          <p:nvPr/>
        </p:nvCxnSpPr>
        <p:spPr>
          <a:xfrm>
            <a:off x="3909064" y="3315983"/>
            <a:ext cx="408379" cy="385816"/>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04" name="Straight Connector 203"/>
          <p:cNvCxnSpPr>
            <a:cxnSpLocks/>
            <a:stCxn id="145" idx="3"/>
            <a:endCxn id="190" idx="1"/>
          </p:cNvCxnSpPr>
          <p:nvPr/>
        </p:nvCxnSpPr>
        <p:spPr>
          <a:xfrm flipV="1">
            <a:off x="3909064" y="2486685"/>
            <a:ext cx="408379" cy="1744621"/>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06" name="Straight Connector 205"/>
          <p:cNvCxnSpPr>
            <a:cxnSpLocks/>
            <a:stCxn id="186" idx="3"/>
            <a:endCxn id="192" idx="1"/>
          </p:cNvCxnSpPr>
          <p:nvPr/>
        </p:nvCxnSpPr>
        <p:spPr>
          <a:xfrm flipV="1">
            <a:off x="3909064" y="4921652"/>
            <a:ext cx="408379" cy="323905"/>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07" name="Straight Connector 206"/>
          <p:cNvCxnSpPr>
            <a:cxnSpLocks/>
            <a:stCxn id="190" idx="3"/>
            <a:endCxn id="93" idx="1"/>
          </p:cNvCxnSpPr>
          <p:nvPr/>
        </p:nvCxnSpPr>
        <p:spPr>
          <a:xfrm>
            <a:off x="5862779" y="2486685"/>
            <a:ext cx="466230" cy="60485"/>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08" name="Straight Connector 207"/>
          <p:cNvCxnSpPr>
            <a:cxnSpLocks/>
            <a:stCxn id="190" idx="3"/>
            <a:endCxn id="95" idx="1"/>
          </p:cNvCxnSpPr>
          <p:nvPr/>
        </p:nvCxnSpPr>
        <p:spPr>
          <a:xfrm>
            <a:off x="5862779" y="2486685"/>
            <a:ext cx="466230" cy="1334173"/>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09" name="Straight Connector 208"/>
          <p:cNvCxnSpPr>
            <a:cxnSpLocks/>
            <a:stCxn id="189" idx="3"/>
            <a:endCxn id="122" idx="1"/>
          </p:cNvCxnSpPr>
          <p:nvPr/>
        </p:nvCxnSpPr>
        <p:spPr>
          <a:xfrm>
            <a:off x="5862779" y="3701799"/>
            <a:ext cx="466230" cy="2297102"/>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10" name="Straight Connector 209"/>
          <p:cNvCxnSpPr>
            <a:cxnSpLocks/>
            <a:stCxn id="189" idx="3"/>
            <a:endCxn id="94" idx="1"/>
          </p:cNvCxnSpPr>
          <p:nvPr/>
        </p:nvCxnSpPr>
        <p:spPr>
          <a:xfrm>
            <a:off x="5862779" y="3701799"/>
            <a:ext cx="466230" cy="1208081"/>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14" name="Straight Connector 213"/>
          <p:cNvCxnSpPr>
            <a:cxnSpLocks/>
            <a:stCxn id="192" idx="3"/>
            <a:endCxn id="94" idx="1"/>
          </p:cNvCxnSpPr>
          <p:nvPr/>
        </p:nvCxnSpPr>
        <p:spPr>
          <a:xfrm flipV="1">
            <a:off x="5862779" y="4909880"/>
            <a:ext cx="466230" cy="11772"/>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15" name="Straight Connector 214"/>
          <p:cNvCxnSpPr>
            <a:cxnSpLocks/>
            <a:stCxn id="192" idx="3"/>
            <a:endCxn id="93" idx="1"/>
          </p:cNvCxnSpPr>
          <p:nvPr/>
        </p:nvCxnSpPr>
        <p:spPr>
          <a:xfrm flipV="1">
            <a:off x="5862779" y="2547170"/>
            <a:ext cx="466230" cy="2374482"/>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16" name="Straight Connector 215"/>
          <p:cNvCxnSpPr>
            <a:stCxn id="196" idx="1"/>
            <a:endCxn id="93" idx="3"/>
          </p:cNvCxnSpPr>
          <p:nvPr/>
        </p:nvCxnSpPr>
        <p:spPr>
          <a:xfrm flipH="1">
            <a:off x="7874345" y="2547170"/>
            <a:ext cx="488860" cy="0"/>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17" name="Straight Connector 216"/>
          <p:cNvCxnSpPr>
            <a:stCxn id="196" idx="1"/>
            <a:endCxn id="94" idx="3"/>
          </p:cNvCxnSpPr>
          <p:nvPr/>
        </p:nvCxnSpPr>
        <p:spPr>
          <a:xfrm flipH="1">
            <a:off x="7874345" y="2547170"/>
            <a:ext cx="488860" cy="2362710"/>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18" name="Straight Connector 217"/>
          <p:cNvCxnSpPr>
            <a:stCxn id="196" idx="1"/>
            <a:endCxn id="122" idx="3"/>
          </p:cNvCxnSpPr>
          <p:nvPr/>
        </p:nvCxnSpPr>
        <p:spPr>
          <a:xfrm flipH="1">
            <a:off x="7874345" y="2547170"/>
            <a:ext cx="488860" cy="3451731"/>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20" name="Straight Connector 219"/>
          <p:cNvCxnSpPr>
            <a:cxnSpLocks/>
            <a:stCxn id="195" idx="1"/>
            <a:endCxn id="93" idx="3"/>
          </p:cNvCxnSpPr>
          <p:nvPr/>
        </p:nvCxnSpPr>
        <p:spPr>
          <a:xfrm flipH="1" flipV="1">
            <a:off x="7874345" y="2547170"/>
            <a:ext cx="488860" cy="1273688"/>
          </a:xfrm>
          <a:prstGeom prst="line">
            <a:avLst/>
          </a:prstGeom>
          <a:noFill/>
          <a:ln w="12700" cap="flat" cmpd="sng" algn="ctr">
            <a:solidFill>
              <a:srgbClr val="FFFFFF">
                <a:lumMod val="65000"/>
              </a:srgbClr>
            </a:solidFill>
            <a:prstDash val="solid"/>
            <a:headEnd type="none"/>
            <a:tailEnd type="triangle" w="med" len="med"/>
          </a:ln>
          <a:effectLst/>
        </p:spPr>
      </p:cxnSp>
      <p:sp>
        <p:nvSpPr>
          <p:cNvPr id="224" name="Rectangle 223"/>
          <p:cNvSpPr/>
          <p:nvPr>
            <p:custDataLst>
              <p:tags r:id="rId30"/>
            </p:custDataLst>
          </p:nvPr>
        </p:nvSpPr>
        <p:spPr>
          <a:xfrm>
            <a:off x="10340277" y="1917700"/>
            <a:ext cx="1545336" cy="4560174"/>
          </a:xfrm>
          <a:prstGeom prst="rect">
            <a:avLst/>
          </a:prstGeom>
          <a:solidFill>
            <a:schemeClr val="bg1">
              <a:lumMod val="95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1217693" eaLnBrk="1" fontAlgn="auto" latinLnBrk="0" hangingPunct="1">
              <a:lnSpc>
                <a:spcPct val="100000"/>
              </a:lnSpc>
              <a:spcBef>
                <a:spcPts val="0"/>
              </a:spcBef>
              <a:spcAft>
                <a:spcPts val="0"/>
              </a:spcAft>
              <a:buClrTx/>
              <a:buSzTx/>
              <a:buFontTx/>
              <a:buNone/>
              <a:tabLst/>
              <a:defRPr/>
            </a:pPr>
            <a:endParaRPr kumimoji="0" lang="en-US" sz="1899" b="0" i="0" u="none" strike="noStrike" kern="0" cap="none" spc="0" normalizeH="0" baseline="0" noProof="0" err="1">
              <a:solidFill>
                <a:schemeClr val="bg1"/>
              </a:solidFill>
              <a:effectLst/>
              <a:uLnTx/>
              <a:uFillTx/>
            </a:endParaRPr>
          </a:p>
        </p:txBody>
      </p:sp>
      <p:sp>
        <p:nvSpPr>
          <p:cNvPr id="225" name="Rectangle 224"/>
          <p:cNvSpPr/>
          <p:nvPr>
            <p:custDataLst>
              <p:tags r:id="rId31"/>
            </p:custDataLst>
          </p:nvPr>
        </p:nvSpPr>
        <p:spPr>
          <a:xfrm>
            <a:off x="10340277" y="1295400"/>
            <a:ext cx="1545336" cy="622300"/>
          </a:xfrm>
          <a:prstGeom prst="rect">
            <a:avLst/>
          </a:prstGeom>
          <a:solidFill>
            <a:schemeClr val="accent5"/>
          </a:solidFill>
          <a:ln w="25400" cap="flat" cmpd="sng" algn="ctr">
            <a:noFill/>
            <a:prstDash val="solid"/>
          </a:ln>
          <a:effectLst/>
        </p:spPr>
        <p:txBody>
          <a:bodyPr lIns="91440" tIns="45720" rIns="91440" bIns="45720" rtlCol="0" anchor="ctr">
            <a:noAutofit/>
          </a:bodyPr>
          <a:lstStyle/>
          <a:p>
            <a:pPr marL="0" marR="0" lvl="0" indent="0" algn="ctr" defTabSz="788730" eaLnBrk="1" fontAlgn="auto" latinLnBrk="0" hangingPunct="1">
              <a:lnSpc>
                <a:spcPct val="100000"/>
              </a:lnSpc>
              <a:spcBef>
                <a:spcPts val="0"/>
              </a:spcBef>
              <a:spcAft>
                <a:spcPts val="0"/>
              </a:spcAft>
              <a:buClrTx/>
              <a:buSzTx/>
              <a:buFontTx/>
              <a:buNone/>
              <a:tabLst/>
              <a:defRPr/>
            </a:pPr>
            <a:r>
              <a:rPr kumimoji="0" lang="en-GB" sz="1400" i="0" u="none" strike="noStrike" kern="0" cap="none" spc="0" normalizeH="0" baseline="0" noProof="0">
                <a:solidFill>
                  <a:schemeClr val="bg1"/>
                </a:solidFill>
                <a:effectLst/>
                <a:uLnTx/>
                <a:uFillTx/>
                <a:latin typeface="Segoe UI Semibold" panose="020B0702040204020203" pitchFamily="34" charset="0"/>
                <a:cs typeface="Segoe UI Semibold" panose="020B0702040204020203" pitchFamily="34" charset="0"/>
              </a:rPr>
              <a:t>Business Drivers</a:t>
            </a:r>
          </a:p>
        </p:txBody>
      </p:sp>
      <p:sp>
        <p:nvSpPr>
          <p:cNvPr id="226" name="Rectangle 225"/>
          <p:cNvSpPr/>
          <p:nvPr>
            <p:custDataLst>
              <p:tags r:id="rId32"/>
            </p:custDataLst>
          </p:nvPr>
        </p:nvSpPr>
        <p:spPr>
          <a:xfrm>
            <a:off x="10340277" y="2047287"/>
            <a:ext cx="1545336" cy="822960"/>
          </a:xfrm>
          <a:prstGeom prst="rect">
            <a:avLst/>
          </a:prstGeom>
          <a:solidFill>
            <a:schemeClr val="accent5"/>
          </a:solidFill>
          <a:ln w="25400" cap="flat" cmpd="sng" algn="ctr">
            <a:noFill/>
            <a:prstDash val="solid"/>
          </a:ln>
          <a:effectLst/>
        </p:spPr>
        <p:txBody>
          <a:bodyPr lIns="91440" tIns="45720" rIns="91440" bIns="45720" rtlCol="0" anchor="ctr">
            <a:noAutofit/>
          </a:bodyPr>
          <a:lstStyle/>
          <a:p>
            <a:pPr marL="0" marR="0" lvl="0" indent="0" defTabSz="788730" eaLnBrk="1" fontAlgn="auto" latinLnBrk="0" hangingPunct="1">
              <a:lnSpc>
                <a:spcPct val="100000"/>
              </a:lnSpc>
              <a:spcBef>
                <a:spcPts val="0"/>
              </a:spcBef>
              <a:spcAft>
                <a:spcPts val="0"/>
              </a:spcAft>
              <a:buClrTx/>
              <a:buSzTx/>
              <a:buFontTx/>
              <a:buNone/>
              <a:tabLst/>
              <a:defRPr/>
            </a:pPr>
            <a:r>
              <a:rPr lang="en-GB" sz="1200" kern="0" dirty="0">
                <a:solidFill>
                  <a:schemeClr val="bg1"/>
                </a:solidFill>
              </a:rPr>
              <a:t>Growing after sales competition</a:t>
            </a:r>
            <a:endParaRPr kumimoji="0" lang="en-GB" sz="1200" b="0" i="0" u="none" strike="noStrike" kern="0" cap="none" spc="0" normalizeH="0" baseline="0" noProof="0" dirty="0">
              <a:solidFill>
                <a:schemeClr val="bg1"/>
              </a:solidFill>
              <a:effectLst/>
              <a:uLnTx/>
              <a:uFillTx/>
            </a:endParaRPr>
          </a:p>
        </p:txBody>
      </p:sp>
      <p:sp>
        <p:nvSpPr>
          <p:cNvPr id="227" name="Rectangle 226"/>
          <p:cNvSpPr/>
          <p:nvPr>
            <p:custDataLst>
              <p:tags r:id="rId33"/>
            </p:custDataLst>
          </p:nvPr>
        </p:nvSpPr>
        <p:spPr>
          <a:xfrm>
            <a:off x="10340277" y="4003610"/>
            <a:ext cx="1545336" cy="822960"/>
          </a:xfrm>
          <a:prstGeom prst="rect">
            <a:avLst/>
          </a:prstGeom>
          <a:solidFill>
            <a:schemeClr val="accent5"/>
          </a:solidFill>
          <a:ln w="25400" cap="flat" cmpd="sng" algn="ctr">
            <a:noFill/>
            <a:prstDash val="solid"/>
          </a:ln>
          <a:effectLst/>
        </p:spPr>
        <p:txBody>
          <a:bodyPr lIns="91440" tIns="45720" rIns="91440" bIns="45720" rtlCol="0" anchor="ctr">
            <a:noAutofit/>
          </a:bodyPr>
          <a:lstStyle/>
          <a:p>
            <a:pPr marL="0" marR="0" lvl="0" indent="0" defTabSz="788730" eaLnBrk="1" fontAlgn="auto" latinLnBrk="0" hangingPunct="1">
              <a:lnSpc>
                <a:spcPct val="100000"/>
              </a:lnSpc>
              <a:spcBef>
                <a:spcPts val="0"/>
              </a:spcBef>
              <a:spcAft>
                <a:spcPts val="0"/>
              </a:spcAft>
              <a:buClrTx/>
              <a:buSzTx/>
              <a:buFontTx/>
              <a:buNone/>
              <a:tabLst/>
              <a:defRPr/>
            </a:pPr>
            <a:r>
              <a:rPr lang="en-GB" sz="1200" kern="0" dirty="0">
                <a:solidFill>
                  <a:schemeClr val="bg1"/>
                </a:solidFill>
              </a:rPr>
              <a:t>Changing consumer mobility behaviour</a:t>
            </a:r>
            <a:endParaRPr kumimoji="0" lang="en-GB" sz="1200" b="0" i="0" u="none" strike="noStrike" kern="0" cap="none" spc="0" normalizeH="0" baseline="0" noProof="0" dirty="0">
              <a:solidFill>
                <a:schemeClr val="bg1"/>
              </a:solidFill>
              <a:effectLst/>
              <a:uLnTx/>
              <a:uFillTx/>
            </a:endParaRPr>
          </a:p>
        </p:txBody>
      </p:sp>
      <p:sp>
        <p:nvSpPr>
          <p:cNvPr id="230" name="Rectangle 229"/>
          <p:cNvSpPr/>
          <p:nvPr>
            <p:custDataLst>
              <p:tags r:id="rId34"/>
            </p:custDataLst>
          </p:nvPr>
        </p:nvSpPr>
        <p:spPr>
          <a:xfrm>
            <a:off x="10340277" y="3025449"/>
            <a:ext cx="1545336" cy="822960"/>
          </a:xfrm>
          <a:prstGeom prst="rect">
            <a:avLst/>
          </a:prstGeom>
          <a:solidFill>
            <a:schemeClr val="accent5"/>
          </a:solidFill>
          <a:ln w="25400" cap="flat" cmpd="sng" algn="ctr">
            <a:noFill/>
            <a:prstDash val="solid"/>
          </a:ln>
          <a:effectLst/>
        </p:spPr>
        <p:txBody>
          <a:bodyPr lIns="91440" tIns="45720" rIns="91440" bIns="45720" rtlCol="0" anchor="ctr">
            <a:noAutofit/>
          </a:bodyPr>
          <a:lstStyle/>
          <a:p>
            <a:pPr marL="0" marR="0" lvl="0" indent="0" defTabSz="788730" eaLnBrk="1" fontAlgn="auto" latinLnBrk="0" hangingPunct="1">
              <a:lnSpc>
                <a:spcPct val="100000"/>
              </a:lnSpc>
              <a:spcBef>
                <a:spcPts val="0"/>
              </a:spcBef>
              <a:spcAft>
                <a:spcPts val="0"/>
              </a:spcAft>
              <a:buClrTx/>
              <a:buSzTx/>
              <a:buFontTx/>
              <a:buNone/>
              <a:tabLst/>
              <a:defRPr/>
            </a:pPr>
            <a:r>
              <a:rPr lang="en-GB" sz="1200" kern="0" dirty="0">
                <a:solidFill>
                  <a:schemeClr val="bg1"/>
                </a:solidFill>
              </a:rPr>
              <a:t>Rethinking value propositions or business models</a:t>
            </a:r>
            <a:endParaRPr kumimoji="0" lang="en-GB" sz="1200" b="0" i="0" u="none" strike="noStrike" kern="0" cap="none" spc="0" normalizeH="0" baseline="0" noProof="0" dirty="0">
              <a:solidFill>
                <a:schemeClr val="bg1"/>
              </a:solidFill>
              <a:effectLst/>
              <a:uLnTx/>
              <a:uFillTx/>
            </a:endParaRPr>
          </a:p>
        </p:txBody>
      </p:sp>
      <p:cxnSp>
        <p:nvCxnSpPr>
          <p:cNvPr id="234" name="Straight Connector 233"/>
          <p:cNvCxnSpPr>
            <a:cxnSpLocks/>
            <a:stCxn id="226" idx="1"/>
            <a:endCxn id="195" idx="3"/>
          </p:cNvCxnSpPr>
          <p:nvPr/>
        </p:nvCxnSpPr>
        <p:spPr>
          <a:xfrm flipH="1">
            <a:off x="9908541" y="2458767"/>
            <a:ext cx="431736" cy="1362091"/>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35" name="Straight Connector 234"/>
          <p:cNvCxnSpPr>
            <a:cxnSpLocks/>
            <a:stCxn id="226" idx="1"/>
            <a:endCxn id="198" idx="3"/>
          </p:cNvCxnSpPr>
          <p:nvPr/>
        </p:nvCxnSpPr>
        <p:spPr>
          <a:xfrm flipH="1">
            <a:off x="9908541" y="2458767"/>
            <a:ext cx="431736" cy="3632467"/>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36" name="Straight Connector 235"/>
          <p:cNvCxnSpPr>
            <a:cxnSpLocks/>
            <a:stCxn id="230" idx="1"/>
            <a:endCxn id="195" idx="3"/>
          </p:cNvCxnSpPr>
          <p:nvPr/>
        </p:nvCxnSpPr>
        <p:spPr>
          <a:xfrm flipH="1">
            <a:off x="9908541" y="3436929"/>
            <a:ext cx="431736" cy="383929"/>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37" name="Straight Connector 236"/>
          <p:cNvCxnSpPr>
            <a:cxnSpLocks/>
            <a:stCxn id="230" idx="1"/>
            <a:endCxn id="197" idx="3"/>
          </p:cNvCxnSpPr>
          <p:nvPr/>
        </p:nvCxnSpPr>
        <p:spPr>
          <a:xfrm flipH="1">
            <a:off x="9908541" y="3436929"/>
            <a:ext cx="431736" cy="1565284"/>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38" name="Straight Connector 237"/>
          <p:cNvCxnSpPr>
            <a:cxnSpLocks/>
            <a:stCxn id="230" idx="1"/>
            <a:endCxn id="196" idx="3"/>
          </p:cNvCxnSpPr>
          <p:nvPr/>
        </p:nvCxnSpPr>
        <p:spPr>
          <a:xfrm flipH="1" flipV="1">
            <a:off x="9908541" y="2547170"/>
            <a:ext cx="431736" cy="889759"/>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39" name="Straight Connector 238"/>
          <p:cNvCxnSpPr>
            <a:stCxn id="227" idx="1"/>
            <a:endCxn id="198" idx="3"/>
          </p:cNvCxnSpPr>
          <p:nvPr/>
        </p:nvCxnSpPr>
        <p:spPr>
          <a:xfrm flipH="1">
            <a:off x="9908541" y="4415090"/>
            <a:ext cx="431736" cy="1676144"/>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44" name="Straight Connector 243"/>
          <p:cNvCxnSpPr>
            <a:stCxn id="138" idx="3"/>
            <a:endCxn id="145" idx="1"/>
          </p:cNvCxnSpPr>
          <p:nvPr/>
        </p:nvCxnSpPr>
        <p:spPr>
          <a:xfrm>
            <a:off x="1848549" y="2270798"/>
            <a:ext cx="515179" cy="1960508"/>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45" name="Straight Connector 244"/>
          <p:cNvCxnSpPr>
            <a:stCxn id="139" idx="3"/>
            <a:endCxn id="144" idx="1"/>
          </p:cNvCxnSpPr>
          <p:nvPr/>
        </p:nvCxnSpPr>
        <p:spPr>
          <a:xfrm flipV="1">
            <a:off x="1848549" y="2405098"/>
            <a:ext cx="515179" cy="1159587"/>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46" name="Straight Connector 245"/>
          <p:cNvCxnSpPr>
            <a:stCxn id="139" idx="3"/>
            <a:endCxn id="145" idx="1"/>
          </p:cNvCxnSpPr>
          <p:nvPr/>
        </p:nvCxnSpPr>
        <p:spPr>
          <a:xfrm>
            <a:off x="1848549" y="3564685"/>
            <a:ext cx="515179" cy="666621"/>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47" name="Straight Connector 246"/>
          <p:cNvCxnSpPr>
            <a:stCxn id="140" idx="3"/>
            <a:endCxn id="186" idx="1"/>
          </p:cNvCxnSpPr>
          <p:nvPr/>
        </p:nvCxnSpPr>
        <p:spPr>
          <a:xfrm flipV="1">
            <a:off x="1848549" y="5245557"/>
            <a:ext cx="515179" cy="937383"/>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48" name="Straight Connector 247"/>
          <p:cNvCxnSpPr>
            <a:stCxn id="141" idx="3"/>
            <a:endCxn id="186" idx="1"/>
          </p:cNvCxnSpPr>
          <p:nvPr/>
        </p:nvCxnSpPr>
        <p:spPr>
          <a:xfrm>
            <a:off x="1848549" y="4858572"/>
            <a:ext cx="515179" cy="386985"/>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49" name="Straight Connector 248"/>
          <p:cNvCxnSpPr>
            <a:stCxn id="140" idx="3"/>
            <a:endCxn id="145" idx="1"/>
          </p:cNvCxnSpPr>
          <p:nvPr/>
        </p:nvCxnSpPr>
        <p:spPr>
          <a:xfrm flipV="1">
            <a:off x="1848549" y="4231306"/>
            <a:ext cx="515179" cy="1951634"/>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50" name="Straight Connector 249"/>
          <p:cNvCxnSpPr>
            <a:cxnSpLocks/>
            <a:stCxn id="140" idx="3"/>
          </p:cNvCxnSpPr>
          <p:nvPr/>
        </p:nvCxnSpPr>
        <p:spPr>
          <a:xfrm flipV="1">
            <a:off x="1848549" y="3315983"/>
            <a:ext cx="515179" cy="2866957"/>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51" name="Straight Connector 250"/>
          <p:cNvCxnSpPr>
            <a:stCxn id="140" idx="3"/>
            <a:endCxn id="144" idx="1"/>
          </p:cNvCxnSpPr>
          <p:nvPr/>
        </p:nvCxnSpPr>
        <p:spPr>
          <a:xfrm flipV="1">
            <a:off x="1848549" y="2405098"/>
            <a:ext cx="515179" cy="3777842"/>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52" name="Straight Connector 251"/>
          <p:cNvCxnSpPr>
            <a:stCxn id="141" idx="3"/>
          </p:cNvCxnSpPr>
          <p:nvPr/>
        </p:nvCxnSpPr>
        <p:spPr>
          <a:xfrm flipV="1">
            <a:off x="1848549" y="4211206"/>
            <a:ext cx="515181" cy="647366"/>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53" name="Straight Connector 252"/>
          <p:cNvCxnSpPr>
            <a:stCxn id="141" idx="3"/>
          </p:cNvCxnSpPr>
          <p:nvPr/>
        </p:nvCxnSpPr>
        <p:spPr>
          <a:xfrm flipV="1">
            <a:off x="1848549" y="3429000"/>
            <a:ext cx="524896" cy="1429572"/>
          </a:xfrm>
          <a:prstGeom prst="line">
            <a:avLst/>
          </a:prstGeom>
          <a:noFill/>
          <a:ln w="12700" cap="flat" cmpd="sng" algn="ctr">
            <a:solidFill>
              <a:srgbClr val="FFFFFF">
                <a:lumMod val="65000"/>
              </a:srgbClr>
            </a:solidFill>
            <a:prstDash val="solid"/>
            <a:headEnd type="none"/>
            <a:tailEnd type="triangle" w="med" len="med"/>
          </a:ln>
          <a:effectLst/>
        </p:spPr>
      </p:cxnSp>
      <p:pic>
        <p:nvPicPr>
          <p:cNvPr id="96" name="Picture 2" descr="https://www.eiseverywhere.com/file_uploads/9385c12ce72fb040cefcd7089e87571c_CranfieldUni_logo.jpg"/>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10433441" y="677100"/>
            <a:ext cx="1452172" cy="563443"/>
          </a:xfrm>
          <a:prstGeom prst="rect">
            <a:avLst/>
          </a:prstGeom>
          <a:noFill/>
          <a:extLst>
            <a:ext uri="{909E8E84-426E-40DD-AFC4-6F175D3DCCD1}">
              <a14:hiddenFill xmlns:a14="http://schemas.microsoft.com/office/drawing/2010/main">
                <a:solidFill>
                  <a:srgbClr val="FFFFFF"/>
                </a:solidFill>
              </a14:hiddenFill>
            </a:ext>
          </a:extLst>
        </p:spPr>
      </p:pic>
      <p:sp>
        <p:nvSpPr>
          <p:cNvPr id="97" name="Text Placeholder 6"/>
          <p:cNvSpPr txBox="1">
            <a:spLocks/>
          </p:cNvSpPr>
          <p:nvPr/>
        </p:nvSpPr>
        <p:spPr>
          <a:xfrm>
            <a:off x="6996545" y="142996"/>
            <a:ext cx="4889068" cy="456230"/>
          </a:xfrm>
          <a:prstGeom prst="rect">
            <a:avLst/>
          </a:prstGeom>
        </p:spPr>
        <p:txBody>
          <a:bodyPr vert="horz" lIns="320040" tIns="53325" rIns="53325" bIns="53325" rtlCol="0">
            <a:noAutofit/>
          </a:bodyPr>
          <a:lstStyle>
            <a:lvl1pPr marL="0" indent="0" algn="l" defTabSz="1088105" rtl="0" eaLnBrk="1" latinLnBrk="0" hangingPunct="1">
              <a:spcBef>
                <a:spcPts val="1800"/>
              </a:spcBef>
              <a:buClr>
                <a:srgbClr val="0072C6"/>
              </a:buClr>
              <a:buSzPct val="100000"/>
              <a:buFont typeface="Wingdings" pitchFamily="2" charset="2"/>
              <a:buNone/>
              <a:defRPr sz="2800" kern="1200">
                <a:solidFill>
                  <a:schemeClr val="tx1"/>
                </a:solidFill>
                <a:latin typeface="Segoe UI Light" pitchFamily="34" charset="0"/>
                <a:ea typeface="Segoe UI" pitchFamily="34" charset="0"/>
                <a:cs typeface="Segoe UI" pitchFamily="34" charset="0"/>
              </a:defRPr>
            </a:lvl1pPr>
            <a:lvl2pPr marL="281674" indent="0" algn="l" defTabSz="1088105" rtl="0" eaLnBrk="1" latinLnBrk="0" hangingPunct="1">
              <a:spcBef>
                <a:spcPct val="20000"/>
              </a:spcBef>
              <a:buFont typeface="Arial" pitchFamily="34" charset="0"/>
              <a:buNone/>
              <a:defRPr sz="1800" kern="1200">
                <a:solidFill>
                  <a:schemeClr val="tx1"/>
                </a:solidFill>
                <a:latin typeface="Segoe UI" pitchFamily="34" charset="0"/>
                <a:ea typeface="Segoe UI" pitchFamily="34" charset="0"/>
                <a:cs typeface="Segoe UI" pitchFamily="34" charset="0"/>
              </a:defRPr>
            </a:lvl2pPr>
            <a:lvl3pPr marL="588476" indent="0" algn="l" defTabSz="1088105" rtl="0" eaLnBrk="1" latinLnBrk="0" hangingPunct="1">
              <a:spcBef>
                <a:spcPct val="20000"/>
              </a:spcBef>
              <a:buFont typeface="Arial" pitchFamily="34" charset="0"/>
              <a:buNone/>
              <a:defRPr sz="1600" kern="1200">
                <a:solidFill>
                  <a:schemeClr val="tx1"/>
                </a:solidFill>
                <a:latin typeface="Segoe UI" pitchFamily="34" charset="0"/>
                <a:ea typeface="Segoe UI" pitchFamily="34" charset="0"/>
                <a:cs typeface="Segoe UI" pitchFamily="34" charset="0"/>
              </a:defRPr>
            </a:lvl3pPr>
            <a:lvl4pPr marL="87015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4pPr>
            <a:lvl5pPr marL="110554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marL="0" marR="0" lvl="0" indent="0" algn="l" defTabSz="1088105" rtl="0" eaLnBrk="1" fontAlgn="auto" latinLnBrk="0" hangingPunct="1">
              <a:lnSpc>
                <a:spcPct val="100000"/>
              </a:lnSpc>
              <a:spcBef>
                <a:spcPts val="1800"/>
              </a:spcBef>
              <a:spcAft>
                <a:spcPts val="0"/>
              </a:spcAft>
              <a:buClr>
                <a:srgbClr val="0072C6"/>
              </a:buClr>
              <a:buSzPct val="100000"/>
              <a:buFont typeface="Wingdings" pitchFamily="2" charset="2"/>
              <a:buNone/>
              <a:tabLst/>
              <a:defRPr/>
            </a:pPr>
            <a:r>
              <a:rPr kumimoji="0" lang="en-US" sz="2800" b="0" i="0" u="none" strike="noStrike" kern="1200" cap="none" spc="0" normalizeH="0" baseline="0" noProof="0">
                <a:ln>
                  <a:noFill/>
                </a:ln>
                <a:solidFill>
                  <a:schemeClr val="tx1"/>
                </a:solidFill>
                <a:effectLst/>
                <a:uLnTx/>
                <a:uFillTx/>
                <a:latin typeface="Segoe UI Light" pitchFamily="34" charset="0"/>
                <a:ea typeface="Segoe UI" pitchFamily="34" charset="0"/>
                <a:cs typeface="Segoe UI" pitchFamily="34" charset="0"/>
              </a:rPr>
              <a:t>Benefits Dependency Network</a:t>
            </a:r>
          </a:p>
        </p:txBody>
      </p:sp>
      <p:cxnSp>
        <p:nvCxnSpPr>
          <p:cNvPr id="88" name="Straight Connector 87">
            <a:extLst>
              <a:ext uri="{FF2B5EF4-FFF2-40B4-BE49-F238E27FC236}">
                <a16:creationId xmlns:a16="http://schemas.microsoft.com/office/drawing/2014/main" id="{E5B20670-2607-4545-807D-33BC2A952ED1}"/>
              </a:ext>
            </a:extLst>
          </p:cNvPr>
          <p:cNvCxnSpPr>
            <a:cxnSpLocks/>
            <a:stCxn id="195" idx="1"/>
            <a:endCxn id="94" idx="3"/>
          </p:cNvCxnSpPr>
          <p:nvPr/>
        </p:nvCxnSpPr>
        <p:spPr>
          <a:xfrm flipH="1">
            <a:off x="7874345" y="3820858"/>
            <a:ext cx="488860" cy="1089022"/>
          </a:xfrm>
          <a:prstGeom prst="line">
            <a:avLst/>
          </a:prstGeom>
          <a:noFill/>
          <a:ln w="12700" cap="flat" cmpd="sng" algn="ctr">
            <a:solidFill>
              <a:srgbClr val="FFFFFF">
                <a:lumMod val="65000"/>
              </a:srgbClr>
            </a:solidFill>
            <a:prstDash val="solid"/>
            <a:headEnd type="none"/>
            <a:tailEnd type="triangle" w="med" len="med"/>
          </a:ln>
          <a:effectLst/>
        </p:spPr>
      </p:cxnSp>
      <p:cxnSp>
        <p:nvCxnSpPr>
          <p:cNvPr id="98" name="Straight Connector 97">
            <a:extLst>
              <a:ext uri="{FF2B5EF4-FFF2-40B4-BE49-F238E27FC236}">
                <a16:creationId xmlns:a16="http://schemas.microsoft.com/office/drawing/2014/main" id="{D3B017DC-3183-4746-ACD9-4E1F17A85773}"/>
              </a:ext>
            </a:extLst>
          </p:cNvPr>
          <p:cNvCxnSpPr>
            <a:cxnSpLocks/>
            <a:stCxn id="195" idx="1"/>
            <a:endCxn id="122" idx="3"/>
          </p:cNvCxnSpPr>
          <p:nvPr/>
        </p:nvCxnSpPr>
        <p:spPr>
          <a:xfrm flipH="1">
            <a:off x="7874345" y="3820858"/>
            <a:ext cx="488860" cy="2178043"/>
          </a:xfrm>
          <a:prstGeom prst="line">
            <a:avLst/>
          </a:prstGeom>
          <a:noFill/>
          <a:ln w="12700" cap="flat" cmpd="sng" algn="ctr">
            <a:solidFill>
              <a:srgbClr val="FFFFFF">
                <a:lumMod val="65000"/>
              </a:srgbClr>
            </a:solidFill>
            <a:prstDash val="solid"/>
            <a:headEnd type="none"/>
            <a:tailEnd type="triangle" w="med" len="med"/>
          </a:ln>
          <a:effectLst/>
        </p:spPr>
      </p:cxnSp>
      <p:cxnSp>
        <p:nvCxnSpPr>
          <p:cNvPr id="99" name="Straight Connector 98">
            <a:extLst>
              <a:ext uri="{FF2B5EF4-FFF2-40B4-BE49-F238E27FC236}">
                <a16:creationId xmlns:a16="http://schemas.microsoft.com/office/drawing/2014/main" id="{69A2D87B-FF09-45CA-84C7-F31765E22E8D}"/>
              </a:ext>
            </a:extLst>
          </p:cNvPr>
          <p:cNvCxnSpPr>
            <a:cxnSpLocks/>
            <a:stCxn id="197" idx="1"/>
            <a:endCxn id="95" idx="3"/>
          </p:cNvCxnSpPr>
          <p:nvPr/>
        </p:nvCxnSpPr>
        <p:spPr>
          <a:xfrm flipH="1" flipV="1">
            <a:off x="7874345" y="3820858"/>
            <a:ext cx="488860" cy="1181355"/>
          </a:xfrm>
          <a:prstGeom prst="line">
            <a:avLst/>
          </a:prstGeom>
          <a:noFill/>
          <a:ln w="12700" cap="flat" cmpd="sng" algn="ctr">
            <a:solidFill>
              <a:srgbClr val="FFFFFF">
                <a:lumMod val="65000"/>
              </a:srgbClr>
            </a:solidFill>
            <a:prstDash val="solid"/>
            <a:headEnd type="none"/>
            <a:tailEnd type="triangle" w="med" len="med"/>
          </a:ln>
          <a:effectLst/>
        </p:spPr>
      </p:cxnSp>
      <p:cxnSp>
        <p:nvCxnSpPr>
          <p:cNvPr id="100" name="Straight Connector 99">
            <a:extLst>
              <a:ext uri="{FF2B5EF4-FFF2-40B4-BE49-F238E27FC236}">
                <a16:creationId xmlns:a16="http://schemas.microsoft.com/office/drawing/2014/main" id="{F6D09148-2B54-40F5-A092-62ED3EA8D222}"/>
              </a:ext>
            </a:extLst>
          </p:cNvPr>
          <p:cNvCxnSpPr>
            <a:cxnSpLocks/>
            <a:stCxn id="197" idx="1"/>
            <a:endCxn id="122" idx="3"/>
          </p:cNvCxnSpPr>
          <p:nvPr/>
        </p:nvCxnSpPr>
        <p:spPr>
          <a:xfrm flipH="1">
            <a:off x="7874345" y="5002213"/>
            <a:ext cx="488860" cy="996688"/>
          </a:xfrm>
          <a:prstGeom prst="line">
            <a:avLst/>
          </a:prstGeom>
          <a:noFill/>
          <a:ln w="12700" cap="flat" cmpd="sng" algn="ctr">
            <a:solidFill>
              <a:srgbClr val="FFFFFF">
                <a:lumMod val="65000"/>
              </a:srgbClr>
            </a:solidFill>
            <a:prstDash val="solid"/>
            <a:headEnd type="none"/>
            <a:tailEnd type="triangle" w="med" len="med"/>
          </a:ln>
          <a:effectLst/>
        </p:spPr>
      </p:cxnSp>
      <p:cxnSp>
        <p:nvCxnSpPr>
          <p:cNvPr id="101" name="Straight Connector 100">
            <a:extLst>
              <a:ext uri="{FF2B5EF4-FFF2-40B4-BE49-F238E27FC236}">
                <a16:creationId xmlns:a16="http://schemas.microsoft.com/office/drawing/2014/main" id="{D1C3EDBD-71DD-4B1C-A72A-4E8C4C13E1ED}"/>
              </a:ext>
            </a:extLst>
          </p:cNvPr>
          <p:cNvCxnSpPr>
            <a:cxnSpLocks/>
            <a:stCxn id="198" idx="1"/>
            <a:endCxn id="93" idx="3"/>
          </p:cNvCxnSpPr>
          <p:nvPr/>
        </p:nvCxnSpPr>
        <p:spPr>
          <a:xfrm flipH="1" flipV="1">
            <a:off x="7874345" y="2547170"/>
            <a:ext cx="488860" cy="3544064"/>
          </a:xfrm>
          <a:prstGeom prst="line">
            <a:avLst/>
          </a:prstGeom>
          <a:noFill/>
          <a:ln w="12700" cap="flat" cmpd="sng" algn="ctr">
            <a:solidFill>
              <a:srgbClr val="FFFFFF">
                <a:lumMod val="65000"/>
              </a:srgbClr>
            </a:solidFill>
            <a:prstDash val="solid"/>
            <a:headEnd type="none"/>
            <a:tailEnd type="triangle" w="med" len="med"/>
          </a:ln>
          <a:effectLst/>
        </p:spPr>
      </p:cxnSp>
      <p:cxnSp>
        <p:nvCxnSpPr>
          <p:cNvPr id="103" name="Straight Connector 102">
            <a:extLst>
              <a:ext uri="{FF2B5EF4-FFF2-40B4-BE49-F238E27FC236}">
                <a16:creationId xmlns:a16="http://schemas.microsoft.com/office/drawing/2014/main" id="{20279DFF-C8CA-4CDC-98C3-B48413EC2FCA}"/>
              </a:ext>
            </a:extLst>
          </p:cNvPr>
          <p:cNvCxnSpPr>
            <a:cxnSpLocks/>
            <a:stCxn id="198" idx="1"/>
            <a:endCxn id="122" idx="3"/>
          </p:cNvCxnSpPr>
          <p:nvPr/>
        </p:nvCxnSpPr>
        <p:spPr>
          <a:xfrm flipH="1" flipV="1">
            <a:off x="7874345" y="5998901"/>
            <a:ext cx="488860" cy="92333"/>
          </a:xfrm>
          <a:prstGeom prst="line">
            <a:avLst/>
          </a:prstGeom>
          <a:noFill/>
          <a:ln w="12700" cap="flat" cmpd="sng" algn="ctr">
            <a:solidFill>
              <a:srgbClr val="FFFFFF">
                <a:lumMod val="65000"/>
              </a:srgbClr>
            </a:solidFill>
            <a:prstDash val="solid"/>
            <a:headEnd type="none"/>
            <a:tailEnd type="triangle" w="med" len="med"/>
          </a:ln>
          <a:effectLst/>
        </p:spPr>
      </p:cxnSp>
    </p:spTree>
    <p:extLst>
      <p:ext uri="{BB962C8B-B14F-4D97-AF65-F5344CB8AC3E}">
        <p14:creationId xmlns:p14="http://schemas.microsoft.com/office/powerpoint/2010/main" val="19183621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ow to Use the Book of Dreams</a:t>
            </a:r>
            <a:endParaRPr lang="en-IN"/>
          </a:p>
        </p:txBody>
      </p:sp>
      <p:sp>
        <p:nvSpPr>
          <p:cNvPr id="19" name="Rectangle 18"/>
          <p:cNvSpPr/>
          <p:nvPr>
            <p:custDataLst>
              <p:tags r:id="rId1"/>
            </p:custDataLst>
          </p:nvPr>
        </p:nvSpPr>
        <p:spPr bwMode="auto">
          <a:xfrm>
            <a:off x="303132" y="930817"/>
            <a:ext cx="8372076" cy="5314046"/>
          </a:xfrm>
          <a:prstGeom prst="rect">
            <a:avLst/>
          </a:prstGeom>
          <a:solidFill>
            <a:schemeClr val="bg1">
              <a:lumMod val="95000"/>
            </a:schemeClr>
          </a:solidFill>
          <a:ln w="3175" cap="flat" cmpd="sng" algn="ctr">
            <a:noFill/>
            <a:prstDash val="solid"/>
            <a:round/>
            <a:headEnd type="none" w="med" len="med"/>
            <a:tailEnd type="none" w="med" len="med"/>
          </a:ln>
          <a:effectLst/>
        </p:spPr>
        <p:txBody>
          <a:bodyPr lIns="91416" tIns="45708" rIns="914162" bIns="45708" rtlCol="0" anchor="t" anchorCtr="0">
            <a:noAutofit/>
          </a:bodyPr>
          <a:lstStyle/>
          <a:p>
            <a:pPr marL="182825" lvl="1" defTabSz="1623532">
              <a:spcBef>
                <a:spcPts val="600"/>
              </a:spcBef>
              <a:buClr>
                <a:srgbClr val="595959">
                  <a:lumMod val="75000"/>
                </a:srgbClr>
              </a:buClr>
              <a:defRPr/>
            </a:pPr>
            <a:r>
              <a:rPr lang="en-US" altLang="zh-CN" sz="2350" kern="0" dirty="0">
                <a:solidFill>
                  <a:srgbClr val="0072C6"/>
                </a:solidFill>
                <a:latin typeface="Segoe UI Semibold" panose="020B0702040204020203" pitchFamily="34" charset="0"/>
                <a:ea typeface="Segoe UI" pitchFamily="34" charset="0"/>
                <a:cs typeface="Segoe UI Semibold" panose="020B0702040204020203" pitchFamily="34" charset="0"/>
              </a:rPr>
              <a:t>The Book of Dreams helps Digital Advisors drive Digital Business Transformation.</a:t>
            </a:r>
          </a:p>
          <a:p>
            <a:pPr marL="182825" lvl="1" defTabSz="1623532">
              <a:spcBef>
                <a:spcPts val="600"/>
              </a:spcBef>
              <a:buClr>
                <a:srgbClr val="595959">
                  <a:lumMod val="75000"/>
                </a:srgbClr>
              </a:buClr>
              <a:defRPr/>
            </a:pPr>
            <a:endParaRPr lang="en-US" altLang="zh-CN" sz="2399" kern="0" dirty="0">
              <a:solidFill>
                <a:srgbClr val="0072C6"/>
              </a:solidFill>
              <a:latin typeface="Segoe UI Semibold" panose="020B0702040204020203" pitchFamily="34" charset="0"/>
              <a:ea typeface="Segoe UI" pitchFamily="34" charset="0"/>
              <a:cs typeface="Segoe UI Semibold" panose="020B0702040204020203" pitchFamily="34" charset="0"/>
            </a:endParaRPr>
          </a:p>
          <a:p>
            <a:pPr marL="182825" lvl="1" defTabSz="1623532">
              <a:spcBef>
                <a:spcPts val="600"/>
              </a:spcBef>
              <a:buClr>
                <a:srgbClr val="595959">
                  <a:lumMod val="75000"/>
                </a:srgbClr>
              </a:buClr>
              <a:defRPr/>
            </a:pPr>
            <a:r>
              <a:rPr lang="en-US" altLang="zh-CN" sz="2350" kern="0" dirty="0">
                <a:solidFill>
                  <a:srgbClr val="0072C6"/>
                </a:solidFill>
                <a:latin typeface="Segoe UI Semibold" panose="020B0702040204020203" pitchFamily="34" charset="0"/>
                <a:ea typeface="Segoe UI" pitchFamily="34" charset="0"/>
                <a:cs typeface="Segoe UI Semibold" panose="020B0702040204020203" pitchFamily="34" charset="0"/>
              </a:rPr>
              <a:t>A Digital Advisor uses the Book of Dreams to drive Vision, Value, and Scenarios for a mobile-first, cloud-first world.</a:t>
            </a:r>
          </a:p>
          <a:p>
            <a:pPr marL="182825" lvl="1" defTabSz="1623532">
              <a:spcBef>
                <a:spcPts val="600"/>
              </a:spcBef>
              <a:buClr>
                <a:srgbClr val="595959">
                  <a:lumMod val="75000"/>
                </a:srgbClr>
              </a:buClr>
              <a:defRPr/>
            </a:pPr>
            <a:endParaRPr lang="en-US" altLang="zh-CN" sz="2399" kern="0" dirty="0">
              <a:solidFill>
                <a:srgbClr val="0072C6"/>
              </a:solidFill>
              <a:latin typeface="Segoe UI Semibold" panose="020B0702040204020203" pitchFamily="34" charset="0"/>
              <a:ea typeface="Segoe UI" pitchFamily="34" charset="0"/>
              <a:cs typeface="Segoe UI Semibold" panose="020B0702040204020203" pitchFamily="34" charset="0"/>
            </a:endParaRPr>
          </a:p>
          <a:p>
            <a:pPr marL="182825" lvl="1" defTabSz="1623532">
              <a:spcBef>
                <a:spcPts val="600"/>
              </a:spcBef>
              <a:buClr>
                <a:srgbClr val="595959">
                  <a:lumMod val="75000"/>
                </a:srgbClr>
              </a:buClr>
              <a:defRPr/>
            </a:pPr>
            <a:r>
              <a:rPr lang="en-US" altLang="zh-CN" sz="2350" kern="0" dirty="0">
                <a:solidFill>
                  <a:srgbClr val="0072C6"/>
                </a:solidFill>
                <a:latin typeface="Segoe UI Semibold" panose="020B0702040204020203" pitchFamily="34" charset="0"/>
                <a:ea typeface="Segoe UI" pitchFamily="34" charset="0"/>
                <a:cs typeface="Segoe UI Semibold" panose="020B0702040204020203" pitchFamily="34" charset="0"/>
              </a:rPr>
              <a:t>A Digital Advisor will tailor the placeholder and example content for their customer.</a:t>
            </a:r>
          </a:p>
          <a:p>
            <a:pPr marL="182825" lvl="1" defTabSz="1623532">
              <a:spcBef>
                <a:spcPts val="600"/>
              </a:spcBef>
              <a:buClr>
                <a:srgbClr val="595959">
                  <a:lumMod val="75000"/>
                </a:srgbClr>
              </a:buClr>
              <a:defRPr/>
            </a:pPr>
            <a:endParaRPr lang="en-US" altLang="zh-CN" sz="2399" kern="0" dirty="0">
              <a:solidFill>
                <a:srgbClr val="0072C6"/>
              </a:solidFill>
              <a:latin typeface="Segoe UI Semibold" panose="020B0702040204020203" pitchFamily="34" charset="0"/>
              <a:ea typeface="Segoe UI" pitchFamily="34" charset="0"/>
              <a:cs typeface="Segoe UI Semibold" panose="020B0702040204020203" pitchFamily="34" charset="0"/>
            </a:endParaRPr>
          </a:p>
          <a:p>
            <a:pPr marL="182825" lvl="1" defTabSz="1623532">
              <a:spcBef>
                <a:spcPts val="600"/>
              </a:spcBef>
              <a:buClr>
                <a:srgbClr val="595959">
                  <a:lumMod val="75000"/>
                </a:srgbClr>
              </a:buClr>
              <a:defRPr/>
            </a:pPr>
            <a:r>
              <a:rPr lang="en-US" altLang="zh-CN" sz="2399" kern="0" dirty="0">
                <a:solidFill>
                  <a:srgbClr val="0072C6"/>
                </a:solidFill>
                <a:latin typeface="Segoe UI Semibold" panose="020B0702040204020203" pitchFamily="34" charset="0"/>
                <a:ea typeface="Segoe UI" pitchFamily="34" charset="0"/>
                <a:cs typeface="Segoe UI Semibold" panose="020B0702040204020203" pitchFamily="34" charset="0"/>
              </a:rPr>
              <a:t>More Books of Dreams can be found at: http://aka.ms/BookOfDreams</a:t>
            </a:r>
          </a:p>
          <a:p>
            <a:pPr marL="196791" lvl="1" defTabSz="1623532">
              <a:spcBef>
                <a:spcPts val="100"/>
              </a:spcBef>
              <a:spcAft>
                <a:spcPts val="300"/>
              </a:spcAft>
              <a:buClr>
                <a:srgbClr val="595959">
                  <a:lumMod val="75000"/>
                </a:srgbClr>
              </a:buClr>
              <a:defRPr/>
            </a:pPr>
            <a:endParaRPr lang="en-US" altLang="zh-CN" sz="1799" i="1" kern="0" dirty="0">
              <a:solidFill>
                <a:srgbClr val="505050"/>
              </a:solidFill>
              <a:ea typeface="Segoe UI" pitchFamily="34" charset="0"/>
              <a:cs typeface="Segoe UI" pitchFamily="34" charset="0"/>
            </a:endParaRPr>
          </a:p>
        </p:txBody>
      </p:sp>
      <p:pic>
        <p:nvPicPr>
          <p:cNvPr id="3" name="Picture 2"/>
          <p:cNvPicPr>
            <a:picLocks noChangeAspect="1"/>
          </p:cNvPicPr>
          <p:nvPr/>
        </p:nvPicPr>
        <p:blipFill>
          <a:blip r:embed="rId4"/>
          <a:stretch>
            <a:fillRect/>
          </a:stretch>
        </p:blipFill>
        <p:spPr>
          <a:xfrm>
            <a:off x="8842152" y="930817"/>
            <a:ext cx="2994669" cy="1684501"/>
          </a:xfrm>
          <a:prstGeom prst="rect">
            <a:avLst/>
          </a:prstGeom>
          <a:ln>
            <a:solidFill>
              <a:schemeClr val="accent5"/>
            </a:solidFill>
          </a:ln>
        </p:spPr>
      </p:pic>
      <p:pic>
        <p:nvPicPr>
          <p:cNvPr id="4" name="Picture 3"/>
          <p:cNvPicPr>
            <a:picLocks noChangeAspect="1"/>
          </p:cNvPicPr>
          <p:nvPr/>
        </p:nvPicPr>
        <p:blipFill>
          <a:blip r:embed="rId5"/>
          <a:stretch>
            <a:fillRect/>
          </a:stretch>
        </p:blipFill>
        <p:spPr>
          <a:xfrm>
            <a:off x="8842152" y="2745589"/>
            <a:ext cx="2994669" cy="1684501"/>
          </a:xfrm>
          <a:prstGeom prst="rect">
            <a:avLst/>
          </a:prstGeom>
          <a:ln>
            <a:solidFill>
              <a:schemeClr val="accent5"/>
            </a:solidFill>
          </a:ln>
        </p:spPr>
      </p:pic>
      <p:pic>
        <p:nvPicPr>
          <p:cNvPr id="5" name="Picture 4"/>
          <p:cNvPicPr>
            <a:picLocks noChangeAspect="1"/>
          </p:cNvPicPr>
          <p:nvPr/>
        </p:nvPicPr>
        <p:blipFill>
          <a:blip r:embed="rId6"/>
          <a:stretch>
            <a:fillRect/>
          </a:stretch>
        </p:blipFill>
        <p:spPr>
          <a:xfrm>
            <a:off x="8842152" y="4560361"/>
            <a:ext cx="2994669" cy="1684501"/>
          </a:xfrm>
          <a:prstGeom prst="rect">
            <a:avLst/>
          </a:prstGeom>
          <a:ln>
            <a:solidFill>
              <a:schemeClr val="accent5"/>
            </a:solidFill>
          </a:ln>
        </p:spPr>
      </p:pic>
    </p:spTree>
    <p:extLst>
      <p:ext uri="{BB962C8B-B14F-4D97-AF65-F5344CB8AC3E}">
        <p14:creationId xmlns:p14="http://schemas.microsoft.com/office/powerpoint/2010/main" val="34407813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rsonalized Mobility Services</a:t>
            </a:r>
            <a:endParaRPr lang="en-IN" dirty="0"/>
          </a:p>
        </p:txBody>
      </p:sp>
      <p:sp>
        <p:nvSpPr>
          <p:cNvPr id="4" name="Slide Number Placeholder 3"/>
          <p:cNvSpPr>
            <a:spLocks noGrp="1"/>
          </p:cNvSpPr>
          <p:nvPr>
            <p:ph type="sldNum" sz="quarter" idx="14"/>
          </p:nvPr>
        </p:nvSpPr>
        <p:spPr/>
        <p:txBody>
          <a:bodyPr/>
          <a:lstStyle/>
          <a:p>
            <a:fld id="{FAADACFB-7C71-4E89-89D2-7BBA40B7BFA9}" type="slidenum">
              <a:rPr lang="en-US" smtClean="0"/>
              <a:pPr/>
              <a:t>20</a:t>
            </a:fld>
            <a:endParaRPr lang="en-US"/>
          </a:p>
        </p:txBody>
      </p:sp>
      <p:graphicFrame>
        <p:nvGraphicFramePr>
          <p:cNvPr id="6" name="Table 5"/>
          <p:cNvGraphicFramePr>
            <a:graphicFrameLocks noGrp="1"/>
          </p:cNvGraphicFramePr>
          <p:nvPr>
            <p:extLst>
              <p:ext uri="{D42A27DB-BD31-4B8C-83A1-F6EECF244321}">
                <p14:modId xmlns:p14="http://schemas.microsoft.com/office/powerpoint/2010/main" val="4147002644"/>
              </p:ext>
            </p:extLst>
          </p:nvPr>
        </p:nvGraphicFramePr>
        <p:xfrm>
          <a:off x="303214" y="1085850"/>
          <a:ext cx="11582399" cy="5633720"/>
        </p:xfrm>
        <a:graphic>
          <a:graphicData uri="http://schemas.openxmlformats.org/drawingml/2006/table">
            <a:tbl>
              <a:tblPr firstRow="1" firstCol="1" bandRow="1">
                <a:tableStyleId>{5C22544A-7EE6-4342-B048-85BDC9FD1C3A}</a:tableStyleId>
              </a:tblPr>
              <a:tblGrid>
                <a:gridCol w="1294580">
                  <a:extLst>
                    <a:ext uri="{9D8B030D-6E8A-4147-A177-3AD203B41FA5}">
                      <a16:colId xmlns:a16="http://schemas.microsoft.com/office/drawing/2014/main" val="20000"/>
                    </a:ext>
                  </a:extLst>
                </a:gridCol>
                <a:gridCol w="3342696">
                  <a:extLst>
                    <a:ext uri="{9D8B030D-6E8A-4147-A177-3AD203B41FA5}">
                      <a16:colId xmlns:a16="http://schemas.microsoft.com/office/drawing/2014/main" val="20001"/>
                    </a:ext>
                  </a:extLst>
                </a:gridCol>
                <a:gridCol w="4039737">
                  <a:extLst>
                    <a:ext uri="{9D8B030D-6E8A-4147-A177-3AD203B41FA5}">
                      <a16:colId xmlns:a16="http://schemas.microsoft.com/office/drawing/2014/main" val="20002"/>
                    </a:ext>
                  </a:extLst>
                </a:gridCol>
                <a:gridCol w="2905386">
                  <a:extLst>
                    <a:ext uri="{9D8B030D-6E8A-4147-A177-3AD203B41FA5}">
                      <a16:colId xmlns:a16="http://schemas.microsoft.com/office/drawing/2014/main" val="20003"/>
                    </a:ext>
                  </a:extLst>
                </a:gridCol>
              </a:tblGrid>
              <a:tr h="0">
                <a:tc>
                  <a:txBody>
                    <a:bodyPr/>
                    <a:lstStyle/>
                    <a:p>
                      <a:pPr>
                        <a:lnSpc>
                          <a:spcPct val="100000"/>
                        </a:lnSpc>
                      </a:pPr>
                      <a:endParaRPr lang="en-US" sz="10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a:latin typeface="Segoe UI Semibold" panose="020B0702040204020203" pitchFamily="34" charset="0"/>
                          <a:cs typeface="Segoe UI Semibold" panose="020B0702040204020203" pitchFamily="34" charset="0"/>
                        </a:rPr>
                        <a:t>Value</a:t>
                      </a:r>
                      <a:r>
                        <a:rPr lang="en-US" sz="1200" b="0" baseline="0">
                          <a:latin typeface="Segoe UI Semibold" panose="020B0702040204020203" pitchFamily="34" charset="0"/>
                          <a:cs typeface="Segoe UI Semibold" panose="020B0702040204020203" pitchFamily="34" charset="0"/>
                        </a:rPr>
                        <a:t> for Customers</a:t>
                      </a:r>
                      <a:endParaRPr lang="en-US" sz="1200" b="0">
                        <a:latin typeface="Segoe UI Semibold" panose="020B0702040204020203" pitchFamily="34" charset="0"/>
                        <a:cs typeface="Segoe UI Semibold" panose="020B0702040204020203" pitchFamily="34"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lnSpc>
                          <a:spcPct val="100000"/>
                        </a:lnSpc>
                      </a:pPr>
                      <a:r>
                        <a:rPr lang="en-US" sz="1200" b="0">
                          <a:latin typeface="Segoe UI Semibold" panose="020B0702040204020203" pitchFamily="34" charset="0"/>
                          <a:cs typeface="Segoe UI Semibold" panose="020B0702040204020203" pitchFamily="34" charset="0"/>
                        </a:rPr>
                        <a:t>Value for Business Leader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lnSpc>
                          <a:spcPct val="100000"/>
                        </a:lnSpc>
                      </a:pPr>
                      <a:r>
                        <a:rPr lang="en-US" sz="1200" b="0">
                          <a:latin typeface="Segoe UI Semibold" panose="020B0702040204020203" pitchFamily="34" charset="0"/>
                          <a:cs typeface="Segoe UI Semibold" panose="020B0702040204020203" pitchFamily="34" charset="0"/>
                        </a:rPr>
                        <a:t>Value for IT Leader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0">
                <a:tc>
                  <a:txBody>
                    <a:bodyPr/>
                    <a:lstStyle/>
                    <a:p>
                      <a:pPr>
                        <a:lnSpc>
                          <a:spcPct val="100000"/>
                        </a:lnSpc>
                      </a:pPr>
                      <a:r>
                        <a:rPr lang="en-US" sz="1100" b="0">
                          <a:solidFill>
                            <a:schemeClr val="tx1"/>
                          </a:solidFill>
                          <a:latin typeface="Segoe UI Semibold" panose="020B0702040204020203" pitchFamily="34" charset="0"/>
                          <a:cs typeface="Segoe UI Semibold" panose="020B0702040204020203" pitchFamily="34" charset="0"/>
                        </a:rPr>
                        <a:t>Strategic</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lgn="l" defTabSz="1088105" rtl="0" eaLnBrk="1" latinLnBrk="0" hangingPunct="1">
                        <a:lnSpc>
                          <a:spcPct val="100000"/>
                        </a:lnSpc>
                        <a:spcBef>
                          <a:spcPts val="200"/>
                        </a:spcBef>
                        <a:buFont typeface="Arial" panose="020B0604020202020204" pitchFamily="34" charset="0"/>
                        <a:buChar char="•"/>
                      </a:pPr>
                      <a:r>
                        <a:rPr lang="en-US" sz="1050" kern="1200" dirty="0">
                          <a:solidFill>
                            <a:schemeClr val="tx1"/>
                          </a:solidFill>
                          <a:latin typeface="+mn-lt"/>
                          <a:ea typeface="+mn-ea"/>
                          <a:cs typeface="+mn-cs"/>
                        </a:rPr>
                        <a:t>Improved usage, comfort and longevity of products through customer feedback</a:t>
                      </a:r>
                    </a:p>
                    <a:p>
                      <a:pPr marL="171450" indent="-171450" algn="l" defTabSz="1088105" rtl="0" eaLnBrk="1" latinLnBrk="0" hangingPunct="1">
                        <a:lnSpc>
                          <a:spcPct val="100000"/>
                        </a:lnSpc>
                        <a:spcBef>
                          <a:spcPts val="200"/>
                        </a:spcBef>
                        <a:buFont typeface="Arial" panose="020B0604020202020204" pitchFamily="34" charset="0"/>
                        <a:buChar char="•"/>
                      </a:pPr>
                      <a:r>
                        <a:rPr lang="en-US" sz="1050" dirty="0"/>
                        <a:t>Increased interaction points with the brand</a:t>
                      </a:r>
                    </a:p>
                    <a:p>
                      <a:pPr marL="171450" indent="-171450" algn="l" defTabSz="1088105" rtl="0" eaLnBrk="1" latinLnBrk="0" hangingPunct="1">
                        <a:lnSpc>
                          <a:spcPct val="100000"/>
                        </a:lnSpc>
                        <a:spcBef>
                          <a:spcPts val="200"/>
                        </a:spcBef>
                        <a:buFont typeface="Arial" panose="020B0604020202020204" pitchFamily="34" charset="0"/>
                        <a:buChar char="•"/>
                      </a:pPr>
                      <a:r>
                        <a:rPr lang="en-US" sz="1050" kern="1200" dirty="0">
                          <a:solidFill>
                            <a:schemeClr val="tx1"/>
                          </a:solidFill>
                          <a:latin typeface="+mn-lt"/>
                          <a:ea typeface="+mn-ea"/>
                          <a:cs typeface="+mn-cs"/>
                        </a:rPr>
                        <a:t>Improved digital experience</a:t>
                      </a:r>
                    </a:p>
                    <a:p>
                      <a:pPr marL="171450" marR="0" lvl="0" indent="-171450" algn="l" defTabSz="1088105"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50" kern="1200" baseline="0" dirty="0">
                          <a:solidFill>
                            <a:schemeClr val="tx1"/>
                          </a:solidFill>
                          <a:latin typeface="+mn-lt"/>
                          <a:ea typeface="+mn-ea"/>
                          <a:cs typeface="+mn-cs"/>
                        </a:rPr>
                        <a:t>Simplified life with highly personalized services and relevant offers to customer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gn="l" defTabSz="1088105" rtl="0" eaLnBrk="1" latinLnBrk="0" hangingPunct="1">
                        <a:lnSpc>
                          <a:spcPct val="100000"/>
                        </a:lnSpc>
                        <a:spcBef>
                          <a:spcPts val="200"/>
                        </a:spcBef>
                        <a:buFont typeface="Arial" panose="020B0604020202020204" pitchFamily="34" charset="0"/>
                        <a:buChar char="•"/>
                      </a:pPr>
                      <a:r>
                        <a:rPr lang="en-US" sz="1050" kern="1200" dirty="0">
                          <a:solidFill>
                            <a:schemeClr val="tx1"/>
                          </a:solidFill>
                          <a:latin typeface="+mn-lt"/>
                          <a:ea typeface="+mn-ea"/>
                          <a:cs typeface="+mn-cs"/>
                        </a:rPr>
                        <a:t>Increased brand recognition and recall</a:t>
                      </a:r>
                    </a:p>
                    <a:p>
                      <a:pPr marL="171450" indent="-171450" algn="l" defTabSz="1088105" rtl="0" eaLnBrk="1" latinLnBrk="0" hangingPunct="1">
                        <a:lnSpc>
                          <a:spcPct val="100000"/>
                        </a:lnSpc>
                        <a:spcBef>
                          <a:spcPts val="200"/>
                        </a:spcBef>
                        <a:buFont typeface="Arial" panose="020B0604020202020204" pitchFamily="34" charset="0"/>
                        <a:buChar char="•"/>
                      </a:pPr>
                      <a:r>
                        <a:rPr lang="en-US" sz="1050" kern="1200" dirty="0">
                          <a:solidFill>
                            <a:schemeClr val="tx1"/>
                          </a:solidFill>
                          <a:latin typeface="+mn-lt"/>
                          <a:ea typeface="+mn-ea"/>
                          <a:cs typeface="+mn-cs"/>
                        </a:rPr>
                        <a:t>New customer acquisition and retention</a:t>
                      </a:r>
                    </a:p>
                    <a:p>
                      <a:pPr marL="171450" indent="-171450" algn="l" defTabSz="1088105" rtl="0" eaLnBrk="1" latinLnBrk="0" hangingPunct="1">
                        <a:lnSpc>
                          <a:spcPct val="100000"/>
                        </a:lnSpc>
                        <a:spcBef>
                          <a:spcPts val="200"/>
                        </a:spcBef>
                        <a:buFont typeface="Arial" panose="020B0604020202020204" pitchFamily="34" charset="0"/>
                        <a:buChar char="•"/>
                      </a:pPr>
                      <a:r>
                        <a:rPr lang="en-US" sz="1050" kern="1200" dirty="0">
                          <a:solidFill>
                            <a:schemeClr val="tx1"/>
                          </a:solidFill>
                          <a:latin typeface="+mn-lt"/>
                          <a:ea typeface="+mn-ea"/>
                          <a:cs typeface="+mn-cs"/>
                        </a:rPr>
                        <a:t>Higher customer satisfaction</a:t>
                      </a:r>
                    </a:p>
                    <a:p>
                      <a:pPr marL="171450" indent="-171450" algn="l" defTabSz="1088105" rtl="0" eaLnBrk="1" latinLnBrk="0" hangingPunct="1">
                        <a:lnSpc>
                          <a:spcPct val="100000"/>
                        </a:lnSpc>
                        <a:spcBef>
                          <a:spcPts val="200"/>
                        </a:spcBef>
                        <a:buFont typeface="Arial" panose="020B0604020202020204" pitchFamily="34" charset="0"/>
                        <a:buChar char="•"/>
                      </a:pPr>
                      <a:r>
                        <a:rPr lang="en-US" sz="1050" kern="1200" dirty="0">
                          <a:solidFill>
                            <a:schemeClr val="tx1"/>
                          </a:solidFill>
                          <a:latin typeface="+mn-lt"/>
                          <a:ea typeface="+mn-ea"/>
                          <a:cs typeface="+mn-cs"/>
                        </a:rPr>
                        <a:t>Increased customer engagement and brand loyalty</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nSpc>
                          <a:spcPct val="100000"/>
                        </a:lnSpc>
                        <a:spcBef>
                          <a:spcPts val="200"/>
                        </a:spcBef>
                        <a:buFont typeface="Arial" panose="020B0604020202020204" pitchFamily="34" charset="0"/>
                        <a:buChar char="•"/>
                      </a:pPr>
                      <a:r>
                        <a:rPr lang="it-IT" sz="1050" dirty="0">
                          <a:solidFill>
                            <a:schemeClr val="tx1"/>
                          </a:solidFill>
                          <a:latin typeface="+mn-lt"/>
                        </a:rPr>
                        <a:t>Improve data process scalability</a:t>
                      </a:r>
                    </a:p>
                    <a:p>
                      <a:pPr marL="171450" indent="-171450">
                        <a:lnSpc>
                          <a:spcPct val="100000"/>
                        </a:lnSpc>
                        <a:spcBef>
                          <a:spcPts val="200"/>
                        </a:spcBef>
                        <a:buFont typeface="Arial" panose="020B0604020202020204" pitchFamily="34" charset="0"/>
                        <a:buChar char="•"/>
                      </a:pPr>
                      <a:r>
                        <a:rPr lang="it-IT" sz="1050" dirty="0">
                          <a:solidFill>
                            <a:schemeClr val="tx1"/>
                          </a:solidFill>
                          <a:latin typeface="+mn-lt"/>
                        </a:rPr>
                        <a:t>Improve data modeling capability</a:t>
                      </a:r>
                    </a:p>
                    <a:p>
                      <a:pPr marL="171450" indent="-171450">
                        <a:lnSpc>
                          <a:spcPct val="100000"/>
                        </a:lnSpc>
                        <a:spcBef>
                          <a:spcPts val="200"/>
                        </a:spcBef>
                        <a:buFont typeface="Arial" panose="020B0604020202020204" pitchFamily="34" charset="0"/>
                        <a:buChar char="•"/>
                      </a:pPr>
                      <a:r>
                        <a:rPr lang="it-IT" sz="1050" dirty="0">
                          <a:solidFill>
                            <a:schemeClr val="tx1"/>
                          </a:solidFill>
                          <a:latin typeface="+mn-lt"/>
                        </a:rPr>
                        <a:t>Improve analytical capabilities</a:t>
                      </a:r>
                    </a:p>
                    <a:p>
                      <a:pPr marL="171450" indent="-171450">
                        <a:lnSpc>
                          <a:spcPct val="100000"/>
                        </a:lnSpc>
                        <a:spcBef>
                          <a:spcPts val="200"/>
                        </a:spcBef>
                        <a:buFont typeface="Arial" panose="020B0604020202020204" pitchFamily="34" charset="0"/>
                        <a:buChar char="•"/>
                      </a:pPr>
                      <a:r>
                        <a:rPr lang="it-IT" sz="1050" dirty="0">
                          <a:solidFill>
                            <a:schemeClr val="tx1"/>
                          </a:solidFill>
                          <a:latin typeface="+mn-lt"/>
                        </a:rPr>
                        <a:t>Optimize infrastructure</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0">
                <a:tc>
                  <a:txBody>
                    <a:bodyPr/>
                    <a:lstStyle/>
                    <a:p>
                      <a:pPr>
                        <a:lnSpc>
                          <a:spcPct val="100000"/>
                        </a:lnSpc>
                      </a:pPr>
                      <a:r>
                        <a:rPr lang="en-US" sz="1100" b="0">
                          <a:solidFill>
                            <a:schemeClr val="tx1"/>
                          </a:solidFill>
                          <a:latin typeface="Segoe UI Semibold" panose="020B0702040204020203" pitchFamily="34" charset="0"/>
                          <a:cs typeface="Segoe UI Semibold" panose="020B0702040204020203" pitchFamily="34" charset="0"/>
                        </a:rPr>
                        <a:t>Time to Value</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0" indent="-171450" algn="l" defTabSz="108810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dirty="0">
                          <a:solidFill>
                            <a:schemeClr val="tx1"/>
                          </a:solidFill>
                          <a:latin typeface="+mn-lt"/>
                        </a:rPr>
                        <a:t>Faster access to travel related support – i.e. In car support requests for future</a:t>
                      </a:r>
                      <a:r>
                        <a:rPr lang="en-US" sz="1050" baseline="0" dirty="0">
                          <a:solidFill>
                            <a:schemeClr val="tx1"/>
                          </a:solidFill>
                          <a:latin typeface="+mn-lt"/>
                        </a:rPr>
                        <a:t> service (dealer), </a:t>
                      </a:r>
                    </a:p>
                    <a:p>
                      <a:pPr marL="171450" marR="0" lvl="0" indent="-171450" algn="l" defTabSz="108810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aseline="0" dirty="0">
                          <a:solidFill>
                            <a:schemeClr val="tx1"/>
                          </a:solidFill>
                          <a:latin typeface="+mn-lt"/>
                        </a:rPr>
                        <a:t>Faster access to services (tow/dealer/collision repair), travel services (navigation, hotel, food, parking, accident circumnavigation, etc.)</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nSpc>
                          <a:spcPct val="100000"/>
                        </a:lnSpc>
                        <a:buFont typeface="Arial" panose="020B0604020202020204" pitchFamily="34" charset="0"/>
                        <a:buChar char="•"/>
                      </a:pPr>
                      <a:r>
                        <a:rPr lang="en-US" sz="1050" dirty="0">
                          <a:solidFill>
                            <a:schemeClr val="tx1"/>
                          </a:solidFill>
                          <a:latin typeface="+mn-lt"/>
                        </a:rPr>
                        <a:t>Increased value touchpoints (</a:t>
                      </a:r>
                      <a:r>
                        <a:rPr lang="en-US" sz="1050" dirty="0"/>
                        <a:t>interact with and engage the business)</a:t>
                      </a:r>
                    </a:p>
                    <a:p>
                      <a:pPr marL="171450" indent="-171450" algn="l" defTabSz="1088105" rtl="0" eaLnBrk="1" latinLnBrk="0" hangingPunct="1">
                        <a:lnSpc>
                          <a:spcPct val="100000"/>
                        </a:lnSpc>
                        <a:spcBef>
                          <a:spcPts val="200"/>
                        </a:spcBef>
                        <a:buFont typeface="Arial" panose="020B0604020202020204" pitchFamily="34" charset="0"/>
                        <a:buChar char="•"/>
                      </a:pPr>
                      <a:r>
                        <a:rPr lang="en-US" sz="1050" kern="1200" dirty="0">
                          <a:solidFill>
                            <a:schemeClr val="tx1"/>
                          </a:solidFill>
                          <a:latin typeface="+mn-lt"/>
                          <a:ea typeface="+mn-ea"/>
                          <a:cs typeface="+mn-cs"/>
                        </a:rPr>
                        <a:t>Reduce time to </a:t>
                      </a:r>
                      <a:r>
                        <a:rPr lang="en-US" sz="1050" kern="1200" baseline="0" dirty="0">
                          <a:solidFill>
                            <a:schemeClr val="tx1"/>
                          </a:solidFill>
                          <a:latin typeface="+mn-lt"/>
                          <a:ea typeface="+mn-ea"/>
                          <a:cs typeface="+mn-cs"/>
                        </a:rPr>
                        <a:t>market for new products and services</a:t>
                      </a:r>
                    </a:p>
                    <a:p>
                      <a:pPr marL="171450" indent="-171450" algn="l" defTabSz="1088105" rtl="0" eaLnBrk="1" latinLnBrk="0" hangingPunct="1">
                        <a:lnSpc>
                          <a:spcPct val="100000"/>
                        </a:lnSpc>
                        <a:spcBef>
                          <a:spcPts val="200"/>
                        </a:spcBef>
                        <a:buFont typeface="Arial" panose="020B0604020202020204" pitchFamily="34" charset="0"/>
                        <a:buChar char="•"/>
                      </a:pPr>
                      <a:r>
                        <a:rPr lang="en-US" sz="1050" kern="1200" baseline="0" dirty="0">
                          <a:solidFill>
                            <a:schemeClr val="tx1"/>
                          </a:solidFill>
                          <a:latin typeface="+mn-lt"/>
                          <a:ea typeface="+mn-ea"/>
                          <a:cs typeface="+mn-cs"/>
                        </a:rPr>
                        <a:t>Launch dynamic pricing and new digital business models to enhance profitability</a:t>
                      </a:r>
                    </a:p>
                    <a:p>
                      <a:pPr marL="171450" indent="-171450" algn="l" defTabSz="1088105" rtl="0" eaLnBrk="1" latinLnBrk="0" hangingPunct="1">
                        <a:lnSpc>
                          <a:spcPct val="100000"/>
                        </a:lnSpc>
                        <a:spcBef>
                          <a:spcPts val="200"/>
                        </a:spcBef>
                        <a:buFont typeface="Arial" panose="020B0604020202020204" pitchFamily="34" charset="0"/>
                        <a:buChar char="•"/>
                      </a:pPr>
                      <a:r>
                        <a:rPr lang="en-US" sz="1050" kern="1200" baseline="0" dirty="0">
                          <a:solidFill>
                            <a:schemeClr val="tx1"/>
                          </a:solidFill>
                          <a:latin typeface="+mn-lt"/>
                          <a:ea typeface="+mn-ea"/>
                          <a:cs typeface="+mn-cs"/>
                        </a:rPr>
                        <a:t>Improved self service capabilities</a:t>
                      </a:r>
                      <a:endParaRPr lang="en-US" sz="1050" dirty="0">
                        <a:solidFill>
                          <a:schemeClr val="tx1"/>
                        </a:solidFill>
                        <a:latin typeface="+mn-lt"/>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lvl="0" indent="-171450" algn="l" defTabSz="108810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dirty="0">
                          <a:solidFill>
                            <a:schemeClr val="tx1"/>
                          </a:solidFill>
                          <a:latin typeface="+mn-lt"/>
                        </a:rPr>
                        <a:t>Increase agility</a:t>
                      </a:r>
                      <a:r>
                        <a:rPr lang="en-US" sz="1050" baseline="0" dirty="0">
                          <a:solidFill>
                            <a:schemeClr val="tx1"/>
                          </a:solidFill>
                          <a:latin typeface="+mn-lt"/>
                        </a:rPr>
                        <a:t> in responding to new business needs (cloud time)</a:t>
                      </a:r>
                    </a:p>
                    <a:p>
                      <a:pPr marL="171450" marR="0" lvl="0" indent="-171450" algn="l" defTabSz="108810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dirty="0"/>
                        <a:t>Respond to questions and reviews in a timely manner</a:t>
                      </a:r>
                      <a:endParaRPr lang="en-US" sz="1050" dirty="0">
                        <a:solidFill>
                          <a:schemeClr val="tx1"/>
                        </a:solidFill>
                        <a:latin typeface="+mn-lt"/>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0">
                <a:tc>
                  <a:txBody>
                    <a:bodyPr/>
                    <a:lstStyle/>
                    <a:p>
                      <a:pPr>
                        <a:lnSpc>
                          <a:spcPct val="100000"/>
                        </a:lnSpc>
                      </a:pPr>
                      <a:r>
                        <a:rPr lang="en-US" sz="1100" b="0">
                          <a:solidFill>
                            <a:schemeClr val="tx1"/>
                          </a:solidFill>
                          <a:latin typeface="Segoe UI Semibold" panose="020B0702040204020203" pitchFamily="34" charset="0"/>
                          <a:cs typeface="Segoe UI Semibold" panose="020B0702040204020203" pitchFamily="34" charset="0"/>
                        </a:rPr>
                        <a:t>Increase Revenue</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lnSpc>
                          <a:spcPct val="100000"/>
                        </a:lnSpc>
                        <a:buFont typeface="Arial" panose="020B0604020202020204" pitchFamily="34" charset="0"/>
                        <a:buChar char="•"/>
                      </a:pPr>
                      <a:r>
                        <a:rPr lang="en-US" sz="1050" dirty="0">
                          <a:solidFill>
                            <a:schemeClr val="tx1"/>
                          </a:solidFill>
                          <a:latin typeface="+mn-lt"/>
                        </a:rPr>
                        <a:t>Additional revenue opportunities by sub-letting personal vehicles.</a:t>
                      </a:r>
                    </a:p>
                    <a:p>
                      <a:pPr marL="171450" indent="-171450">
                        <a:lnSpc>
                          <a:spcPct val="100000"/>
                        </a:lnSpc>
                        <a:buFont typeface="Arial" panose="020B0604020202020204" pitchFamily="34" charset="0"/>
                        <a:buChar char="•"/>
                      </a:pPr>
                      <a:r>
                        <a:rPr lang="en-US" sz="1050" dirty="0">
                          <a:solidFill>
                            <a:schemeClr val="tx1"/>
                          </a:solidFill>
                          <a:latin typeface="+mn-lt"/>
                        </a:rPr>
                        <a:t>Improved overall efficiency of vehicle use.</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gn="l" defTabSz="1088105" rtl="0" eaLnBrk="1" latinLnBrk="0" hangingPunct="1">
                        <a:lnSpc>
                          <a:spcPct val="100000"/>
                        </a:lnSpc>
                        <a:spcBef>
                          <a:spcPts val="200"/>
                        </a:spcBef>
                        <a:buFont typeface="Arial" panose="020B0604020202020204" pitchFamily="34" charset="0"/>
                        <a:buChar char="•"/>
                      </a:pPr>
                      <a:r>
                        <a:rPr lang="en-US" sz="1050" kern="1200" dirty="0">
                          <a:solidFill>
                            <a:schemeClr val="tx1"/>
                          </a:solidFill>
                          <a:latin typeface="+mn-lt"/>
                          <a:ea typeface="+mn-ea"/>
                          <a:cs typeface="+mn-cs"/>
                        </a:rPr>
                        <a:t>Repeat sales and increased cross sell and upsell to satisfied customers</a:t>
                      </a:r>
                    </a:p>
                    <a:p>
                      <a:pPr marL="171450" indent="-171450" algn="l" defTabSz="1088105" rtl="0" eaLnBrk="1" latinLnBrk="0" hangingPunct="1">
                        <a:lnSpc>
                          <a:spcPct val="100000"/>
                        </a:lnSpc>
                        <a:spcBef>
                          <a:spcPts val="200"/>
                        </a:spcBef>
                        <a:buFont typeface="Arial" panose="020B0604020202020204" pitchFamily="34" charset="0"/>
                        <a:buChar char="•"/>
                      </a:pPr>
                      <a:r>
                        <a:rPr lang="en-US" sz="1050" kern="1200" dirty="0">
                          <a:solidFill>
                            <a:schemeClr val="tx1"/>
                          </a:solidFill>
                          <a:latin typeface="+mn-lt"/>
                          <a:ea typeface="+mn-ea"/>
                          <a:cs typeface="+mn-cs"/>
                        </a:rPr>
                        <a:t>Revenue from automotive partners (aftermarket, services)</a:t>
                      </a:r>
                    </a:p>
                    <a:p>
                      <a:pPr marL="171450" indent="-171450" algn="l" defTabSz="1088105" rtl="0" eaLnBrk="1" latinLnBrk="0" hangingPunct="1">
                        <a:lnSpc>
                          <a:spcPct val="100000"/>
                        </a:lnSpc>
                        <a:spcBef>
                          <a:spcPts val="200"/>
                        </a:spcBef>
                        <a:buFont typeface="Arial" panose="020B0604020202020204" pitchFamily="34" charset="0"/>
                        <a:buChar char="•"/>
                      </a:pPr>
                      <a:r>
                        <a:rPr lang="en-US" sz="1050" kern="1200" dirty="0">
                          <a:solidFill>
                            <a:schemeClr val="tx1"/>
                          </a:solidFill>
                          <a:latin typeface="+mn-lt"/>
                          <a:ea typeface="+mn-ea"/>
                          <a:cs typeface="+mn-cs"/>
                        </a:rPr>
                        <a:t>Ancillary sources (non-automotive services and offerings)</a:t>
                      </a:r>
                    </a:p>
                    <a:p>
                      <a:pPr marL="171450" indent="-171450" algn="l" defTabSz="1088105" rtl="0" eaLnBrk="1" latinLnBrk="0" hangingPunct="1">
                        <a:lnSpc>
                          <a:spcPct val="100000"/>
                        </a:lnSpc>
                        <a:spcBef>
                          <a:spcPts val="200"/>
                        </a:spcBef>
                        <a:buFont typeface="Arial" panose="020B0604020202020204" pitchFamily="34" charset="0"/>
                        <a:buChar char="•"/>
                      </a:pPr>
                      <a:r>
                        <a:rPr lang="en-US" sz="1050" kern="1200" dirty="0">
                          <a:solidFill>
                            <a:schemeClr val="tx1"/>
                          </a:solidFill>
                          <a:latin typeface="+mn-lt"/>
                          <a:ea typeface="+mn-ea"/>
                          <a:cs typeface="+mn-cs"/>
                        </a:rPr>
                        <a:t>New car sales lead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100000"/>
                        </a:lnSpc>
                      </a:pPr>
                      <a:endParaRPr lang="en-US" sz="1050" dirty="0">
                        <a:solidFill>
                          <a:schemeClr val="tx1"/>
                        </a:solidFill>
                        <a:latin typeface="+mn-lt"/>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0">
                <a:tc>
                  <a:txBody>
                    <a:bodyPr/>
                    <a:lstStyle/>
                    <a:p>
                      <a:pPr>
                        <a:lnSpc>
                          <a:spcPct val="100000"/>
                        </a:lnSpc>
                      </a:pPr>
                      <a:r>
                        <a:rPr lang="en-US" sz="1100" b="0">
                          <a:solidFill>
                            <a:schemeClr val="tx1"/>
                          </a:solidFill>
                          <a:latin typeface="Segoe UI Semibold" panose="020B0702040204020203" pitchFamily="34" charset="0"/>
                          <a:cs typeface="Segoe UI Semibold" panose="020B0702040204020203" pitchFamily="34" charset="0"/>
                        </a:rPr>
                        <a:t>Decrease Cost</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lgn="l" defTabSz="1088105" rtl="0" eaLnBrk="1" latinLnBrk="0" hangingPunct="1">
                        <a:lnSpc>
                          <a:spcPct val="100000"/>
                        </a:lnSpc>
                        <a:spcBef>
                          <a:spcPts val="200"/>
                        </a:spcBef>
                        <a:buFont typeface="Arial" panose="020B0604020202020204" pitchFamily="34" charset="0"/>
                        <a:buChar char="•"/>
                      </a:pPr>
                      <a:r>
                        <a:rPr lang="en-US" sz="1050" kern="1200" dirty="0">
                          <a:solidFill>
                            <a:schemeClr val="tx1"/>
                          </a:solidFill>
                          <a:latin typeface="+mn-lt"/>
                          <a:ea typeface="+mn-ea"/>
                          <a:cs typeface="+mn-cs"/>
                        </a:rPr>
                        <a:t>Reduced vehicle ownership costs </a:t>
                      </a:r>
                    </a:p>
                    <a:p>
                      <a:pPr marL="171450" indent="-171450" algn="l" defTabSz="1088105" rtl="0" eaLnBrk="1" latinLnBrk="0" hangingPunct="1">
                        <a:lnSpc>
                          <a:spcPct val="100000"/>
                        </a:lnSpc>
                        <a:spcBef>
                          <a:spcPts val="200"/>
                        </a:spcBef>
                        <a:buFont typeface="Arial" panose="020B0604020202020204" pitchFamily="34" charset="0"/>
                        <a:buChar char="•"/>
                      </a:pPr>
                      <a:r>
                        <a:rPr lang="en-US" sz="1050" kern="1200" dirty="0">
                          <a:solidFill>
                            <a:schemeClr val="tx1"/>
                          </a:solidFill>
                          <a:latin typeface="+mn-lt"/>
                          <a:ea typeface="+mn-ea"/>
                          <a:cs typeface="+mn-cs"/>
                        </a:rPr>
                        <a:t>Reduced toll and parking prices </a:t>
                      </a:r>
                    </a:p>
                    <a:p>
                      <a:pPr marL="171450" marR="0" lvl="0" indent="-171450" algn="l" defTabSz="1088105"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50" kern="1200" dirty="0">
                          <a:solidFill>
                            <a:schemeClr val="tx1"/>
                          </a:solidFill>
                          <a:latin typeface="+mn-lt"/>
                          <a:ea typeface="+mn-ea"/>
                          <a:cs typeface="+mn-cs"/>
                        </a:rPr>
                        <a:t>Reduced costs due to targeted mobile offers/discounts from dealer and partner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gn="l" defTabSz="1088105" rtl="0" eaLnBrk="1" fontAlgn="t" latinLnBrk="0" hangingPunct="1">
                        <a:lnSpc>
                          <a:spcPct val="100000"/>
                        </a:lnSpc>
                        <a:spcBef>
                          <a:spcPts val="200"/>
                        </a:spcBef>
                        <a:buFont typeface="Arial" panose="020B0604020202020204" pitchFamily="34" charset="0"/>
                        <a:buChar char="•"/>
                      </a:pPr>
                      <a:r>
                        <a:rPr lang="en-US" sz="1050" dirty="0"/>
                        <a:t>Increased opportunities to listen to reviews and feedback in a constructive manner (improving the product/ service thereby reducing the cost of operations).</a:t>
                      </a:r>
                    </a:p>
                    <a:p>
                      <a:pPr marL="171450" indent="-171450" algn="l" defTabSz="1088105" rtl="0" eaLnBrk="1" fontAlgn="t" latinLnBrk="0" hangingPunct="1">
                        <a:lnSpc>
                          <a:spcPct val="100000"/>
                        </a:lnSpc>
                        <a:spcBef>
                          <a:spcPts val="200"/>
                        </a:spcBef>
                        <a:buFont typeface="Arial" panose="020B0604020202020204" pitchFamily="34" charset="0"/>
                        <a:buChar char="•"/>
                      </a:pPr>
                      <a:r>
                        <a:rPr lang="en-US" sz="1050" kern="1200" dirty="0">
                          <a:solidFill>
                            <a:schemeClr val="tx1"/>
                          </a:solidFill>
                          <a:latin typeface="+mn-lt"/>
                          <a:ea typeface="+mn-ea"/>
                          <a:cs typeface="+mn-cs"/>
                        </a:rPr>
                        <a:t>Higher degree of shared ownership increases system wide asset efficiency</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indent="-171450" algn="l" defTabSz="1088105"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50" kern="1200" dirty="0">
                          <a:solidFill>
                            <a:schemeClr val="tx1"/>
                          </a:solidFill>
                          <a:latin typeface="+mn-lt"/>
                          <a:ea typeface="+mn-ea"/>
                          <a:cs typeface="+mn-cs"/>
                        </a:rPr>
                        <a:t>Reduced cost of data management and storage</a:t>
                      </a:r>
                    </a:p>
                    <a:p>
                      <a:pPr marL="171450" indent="-171450" algn="l" defTabSz="1088105" rtl="0" eaLnBrk="1" fontAlgn="t" latinLnBrk="0" hangingPunct="1">
                        <a:lnSpc>
                          <a:spcPct val="100000"/>
                        </a:lnSpc>
                        <a:spcBef>
                          <a:spcPts val="200"/>
                        </a:spcBef>
                        <a:buFont typeface="Arial" panose="020B0604020202020204" pitchFamily="34" charset="0"/>
                        <a:buChar char="•"/>
                      </a:pPr>
                      <a:r>
                        <a:rPr lang="en-US" sz="1050" kern="1200" dirty="0">
                          <a:solidFill>
                            <a:schemeClr val="tx1"/>
                          </a:solidFill>
                          <a:latin typeface="+mn-lt"/>
                          <a:ea typeface="+mn-ea"/>
                          <a:cs typeface="+mn-cs"/>
                        </a:rPr>
                        <a:t>Reduced cost of data acquisition</a:t>
                      </a:r>
                    </a:p>
                    <a:p>
                      <a:pPr marL="171450" indent="-171450" algn="l" defTabSz="1088105" rtl="0" eaLnBrk="1" fontAlgn="t" latinLnBrk="0" hangingPunct="1">
                        <a:lnSpc>
                          <a:spcPct val="100000"/>
                        </a:lnSpc>
                        <a:spcBef>
                          <a:spcPts val="200"/>
                        </a:spcBef>
                        <a:buFont typeface="Arial" panose="020B0604020202020204" pitchFamily="34" charset="0"/>
                        <a:buChar char="•"/>
                      </a:pPr>
                      <a:r>
                        <a:rPr lang="en-US" sz="1050" kern="1200" dirty="0">
                          <a:solidFill>
                            <a:schemeClr val="tx1"/>
                          </a:solidFill>
                          <a:latin typeface="+mn-lt"/>
                          <a:ea typeface="+mn-ea"/>
                          <a:cs typeface="+mn-cs"/>
                        </a:rPr>
                        <a:t>Optimize connectivity costs</a:t>
                      </a:r>
                    </a:p>
                    <a:p>
                      <a:pPr marL="171450" indent="-171450" algn="l" defTabSz="1088105" rtl="0" eaLnBrk="1" fontAlgn="t" latinLnBrk="0" hangingPunct="1">
                        <a:lnSpc>
                          <a:spcPct val="100000"/>
                        </a:lnSpc>
                        <a:spcBef>
                          <a:spcPts val="200"/>
                        </a:spcBef>
                        <a:buFont typeface="Arial" panose="020B0604020202020204" pitchFamily="34" charset="0"/>
                        <a:buChar char="•"/>
                      </a:pPr>
                      <a:r>
                        <a:rPr lang="en-US" sz="1050" kern="1200" dirty="0">
                          <a:solidFill>
                            <a:schemeClr val="tx1"/>
                          </a:solidFill>
                          <a:latin typeface="+mn-lt"/>
                          <a:ea typeface="+mn-ea"/>
                          <a:cs typeface="+mn-cs"/>
                        </a:rPr>
                        <a:t>Reduced cost of data analytic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0">
                <a:tc>
                  <a:txBody>
                    <a:bodyPr/>
                    <a:lstStyle/>
                    <a:p>
                      <a:pPr>
                        <a:lnSpc>
                          <a:spcPct val="100000"/>
                        </a:lnSpc>
                      </a:pPr>
                      <a:r>
                        <a:rPr lang="en-US" sz="1100" b="0">
                          <a:solidFill>
                            <a:schemeClr val="tx1"/>
                          </a:solidFill>
                          <a:latin typeface="Segoe UI Semibold" panose="020B0702040204020203" pitchFamily="34" charset="0"/>
                          <a:cs typeface="Segoe UI Semibold" panose="020B0702040204020203" pitchFamily="34" charset="0"/>
                        </a:rPr>
                        <a:t>Decrease</a:t>
                      </a:r>
                      <a:r>
                        <a:rPr lang="en-US" sz="1100" b="0" baseline="0">
                          <a:solidFill>
                            <a:schemeClr val="tx1"/>
                          </a:solidFill>
                          <a:latin typeface="Segoe UI Semibold" panose="020B0702040204020203" pitchFamily="34" charset="0"/>
                          <a:cs typeface="Segoe UI Semibold" panose="020B0702040204020203" pitchFamily="34" charset="0"/>
                        </a:rPr>
                        <a:t> Risk</a:t>
                      </a:r>
                      <a:endParaRPr lang="en-US" sz="1100" b="0">
                        <a:solidFill>
                          <a:schemeClr val="tx1"/>
                        </a:solidFill>
                        <a:latin typeface="Segoe UI Semibold" panose="020B0702040204020203" pitchFamily="34" charset="0"/>
                        <a:cs typeface="Segoe UI Semibold" panose="020B0702040204020203" pitchFamily="34" charset="0"/>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lnSpc>
                          <a:spcPct val="100000"/>
                        </a:lnSpc>
                        <a:buFont typeface="Arial" panose="020B0604020202020204" pitchFamily="34" charset="0"/>
                        <a:buChar char="•"/>
                      </a:pPr>
                      <a:r>
                        <a:rPr lang="en-US" sz="1050" dirty="0">
                          <a:solidFill>
                            <a:schemeClr val="tx1"/>
                          </a:solidFill>
                          <a:latin typeface="+mn-lt"/>
                        </a:rPr>
                        <a:t>Less stranded and safety incidents resulting from operational monitoring and better design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lvl="0" indent="-171450" algn="l" defTabSz="108810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dirty="0">
                          <a:solidFill>
                            <a:schemeClr val="tx1"/>
                          </a:solidFill>
                          <a:latin typeface="+mn-lt"/>
                        </a:rPr>
                        <a:t>Identify operational trends that indicate flaw and react to reduce safety or performance incident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gn="l" defTabSz="1088105" rtl="0" eaLnBrk="1" latinLnBrk="0" hangingPunct="1">
                        <a:lnSpc>
                          <a:spcPct val="100000"/>
                        </a:lnSpc>
                        <a:spcBef>
                          <a:spcPts val="200"/>
                        </a:spcBef>
                        <a:buFont typeface="Arial" panose="020B0604020202020204" pitchFamily="34" charset="0"/>
                        <a:buChar char="•"/>
                      </a:pPr>
                      <a:r>
                        <a:rPr lang="en-US" sz="1050" kern="1200" dirty="0">
                          <a:solidFill>
                            <a:schemeClr val="tx1"/>
                          </a:solidFill>
                          <a:latin typeface="+mn-lt"/>
                          <a:ea typeface="+mn-ea"/>
                          <a:cs typeface="+mn-cs"/>
                        </a:rPr>
                        <a:t>Rapid prototyping and agile development with cloud based services</a:t>
                      </a:r>
                    </a:p>
                    <a:p>
                      <a:pPr marL="171450" indent="-171450" algn="l" defTabSz="1088105" rtl="0" eaLnBrk="1" latinLnBrk="0" hangingPunct="1">
                        <a:lnSpc>
                          <a:spcPct val="100000"/>
                        </a:lnSpc>
                        <a:spcBef>
                          <a:spcPts val="200"/>
                        </a:spcBef>
                        <a:buFont typeface="Arial" panose="020B0604020202020204" pitchFamily="34" charset="0"/>
                        <a:buChar char="•"/>
                      </a:pPr>
                      <a:r>
                        <a:rPr lang="en-US" sz="1050" kern="1200" dirty="0">
                          <a:solidFill>
                            <a:schemeClr val="tx1"/>
                          </a:solidFill>
                          <a:latin typeface="+mn-lt"/>
                          <a:ea typeface="+mn-ea"/>
                          <a:cs typeface="+mn-cs"/>
                        </a:rPr>
                        <a:t>Enhance data security features without impairing customer experience</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r h="0">
                <a:tc>
                  <a:txBody>
                    <a:bodyPr/>
                    <a:lstStyle/>
                    <a:p>
                      <a:pPr>
                        <a:lnSpc>
                          <a:spcPct val="100000"/>
                        </a:lnSpc>
                      </a:pPr>
                      <a:r>
                        <a:rPr lang="en-US" sz="1100" b="0">
                          <a:solidFill>
                            <a:schemeClr val="tx1"/>
                          </a:solidFill>
                          <a:latin typeface="Segoe UI Semibold" panose="020B0702040204020203" pitchFamily="34" charset="0"/>
                          <a:cs typeface="Segoe UI Semibold" panose="020B0702040204020203" pitchFamily="34" charset="0"/>
                        </a:rPr>
                        <a:t>Option</a:t>
                      </a:r>
                      <a:r>
                        <a:rPr lang="en-US" sz="1100" b="0" baseline="0">
                          <a:solidFill>
                            <a:schemeClr val="tx1"/>
                          </a:solidFill>
                          <a:latin typeface="Segoe UI Semibold" panose="020B0702040204020203" pitchFamily="34" charset="0"/>
                          <a:cs typeface="Segoe UI Semibold" panose="020B0702040204020203" pitchFamily="34" charset="0"/>
                        </a:rPr>
                        <a:t> value</a:t>
                      </a:r>
                      <a:endParaRPr lang="en-US" sz="1100" b="0">
                        <a:solidFill>
                          <a:schemeClr val="tx1"/>
                        </a:solidFill>
                        <a:latin typeface="Segoe UI Semibold" panose="020B0702040204020203" pitchFamily="34" charset="0"/>
                        <a:cs typeface="Segoe UI Semibold" panose="020B0702040204020203" pitchFamily="34" charset="0"/>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nSpc>
                          <a:spcPct val="100000"/>
                        </a:lnSpc>
                      </a:pPr>
                      <a:endParaRPr lang="en-US" sz="1050">
                        <a:solidFill>
                          <a:schemeClr val="tx1"/>
                        </a:solidFill>
                        <a:latin typeface="+mn-lt"/>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nSpc>
                          <a:spcPct val="100000"/>
                        </a:lnSpc>
                        <a:buFont typeface="Arial" panose="020B0604020202020204" pitchFamily="34" charset="0"/>
                        <a:buChar char="•"/>
                      </a:pPr>
                      <a:r>
                        <a:rPr lang="en-US" sz="1050" dirty="0">
                          <a:solidFill>
                            <a:schemeClr val="tx1"/>
                          </a:solidFill>
                          <a:latin typeface="+mn-lt"/>
                        </a:rPr>
                        <a:t>Piloting of new offers in-car and either discontinuing, revising or expanding improves new product acceptance.</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nSpc>
                          <a:spcPct val="100000"/>
                        </a:lnSpc>
                      </a:pPr>
                      <a:endParaRPr lang="en-US" sz="1050" dirty="0">
                        <a:solidFill>
                          <a:schemeClr val="tx1"/>
                        </a:solidFill>
                        <a:latin typeface="+mn-lt"/>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bl>
          </a:graphicData>
        </a:graphic>
      </p:graphicFrame>
      <p:sp>
        <p:nvSpPr>
          <p:cNvPr id="7" name="Text Placeholder 6"/>
          <p:cNvSpPr txBox="1">
            <a:spLocks/>
          </p:cNvSpPr>
          <p:nvPr/>
        </p:nvSpPr>
        <p:spPr>
          <a:xfrm>
            <a:off x="8615285" y="142996"/>
            <a:ext cx="3361765" cy="373063"/>
          </a:xfrm>
          <a:prstGeom prst="rect">
            <a:avLst/>
          </a:prstGeom>
        </p:spPr>
        <p:txBody>
          <a:bodyPr vert="horz" lIns="320040" tIns="53325" rIns="53325" bIns="53325" rtlCol="0">
            <a:noAutofit/>
          </a:bodyPr>
          <a:lstStyle>
            <a:lvl1pPr marL="0" indent="0" algn="l" defTabSz="1088105" rtl="0" eaLnBrk="1" latinLnBrk="0" hangingPunct="1">
              <a:spcBef>
                <a:spcPts val="1800"/>
              </a:spcBef>
              <a:buClr>
                <a:srgbClr val="0072C6"/>
              </a:buClr>
              <a:buSzPct val="100000"/>
              <a:buFont typeface="Wingdings" pitchFamily="2" charset="2"/>
              <a:buNone/>
              <a:defRPr sz="2800" kern="1200">
                <a:solidFill>
                  <a:schemeClr val="tx1"/>
                </a:solidFill>
                <a:latin typeface="Segoe UI Light" pitchFamily="34" charset="0"/>
                <a:ea typeface="Segoe UI" pitchFamily="34" charset="0"/>
                <a:cs typeface="Segoe UI" pitchFamily="34" charset="0"/>
              </a:defRPr>
            </a:lvl1pPr>
            <a:lvl2pPr marL="281674" indent="0" algn="l" defTabSz="1088105" rtl="0" eaLnBrk="1" latinLnBrk="0" hangingPunct="1">
              <a:spcBef>
                <a:spcPct val="20000"/>
              </a:spcBef>
              <a:buFont typeface="Arial" pitchFamily="34" charset="0"/>
              <a:buNone/>
              <a:defRPr sz="1800" kern="1200">
                <a:solidFill>
                  <a:schemeClr val="tx1"/>
                </a:solidFill>
                <a:latin typeface="Segoe UI" pitchFamily="34" charset="0"/>
                <a:ea typeface="Segoe UI" pitchFamily="34" charset="0"/>
                <a:cs typeface="Segoe UI" pitchFamily="34" charset="0"/>
              </a:defRPr>
            </a:lvl2pPr>
            <a:lvl3pPr marL="588476" indent="0" algn="l" defTabSz="1088105" rtl="0" eaLnBrk="1" latinLnBrk="0" hangingPunct="1">
              <a:spcBef>
                <a:spcPct val="20000"/>
              </a:spcBef>
              <a:buFont typeface="Arial" pitchFamily="34" charset="0"/>
              <a:buNone/>
              <a:defRPr sz="1600" kern="1200">
                <a:solidFill>
                  <a:schemeClr val="tx1"/>
                </a:solidFill>
                <a:latin typeface="Segoe UI" pitchFamily="34" charset="0"/>
                <a:ea typeface="Segoe UI" pitchFamily="34" charset="0"/>
                <a:cs typeface="Segoe UI" pitchFamily="34" charset="0"/>
              </a:defRPr>
            </a:lvl3pPr>
            <a:lvl4pPr marL="87015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4pPr>
            <a:lvl5pPr marL="110554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r>
              <a:rPr lang="en-US"/>
              <a:t>Value Touch Points</a:t>
            </a:r>
          </a:p>
        </p:txBody>
      </p:sp>
    </p:spTree>
    <p:extLst>
      <p:ext uri="{BB962C8B-B14F-4D97-AF65-F5344CB8AC3E}">
        <p14:creationId xmlns:p14="http://schemas.microsoft.com/office/powerpoint/2010/main" val="12412216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rsonalized Mobility Services</a:t>
            </a:r>
            <a:endParaRPr lang="en-IN" dirty="0"/>
          </a:p>
        </p:txBody>
      </p:sp>
      <p:sp>
        <p:nvSpPr>
          <p:cNvPr id="7" name="Text Placeholder 6"/>
          <p:cNvSpPr>
            <a:spLocks noGrp="1"/>
          </p:cNvSpPr>
          <p:nvPr>
            <p:ph type="body" sz="quarter" idx="13"/>
          </p:nvPr>
        </p:nvSpPr>
        <p:spPr>
          <a:xfrm>
            <a:off x="0" y="1044590"/>
            <a:ext cx="12188825" cy="373063"/>
          </a:xfrm>
        </p:spPr>
        <p:txBody>
          <a:bodyPr/>
          <a:lstStyle/>
          <a:p>
            <a:r>
              <a:rPr lang="en-US" sz="2000"/>
              <a:t>Continuously managing &amp; measuring clear value levers, success factors, and performance measure</a:t>
            </a:r>
          </a:p>
        </p:txBody>
      </p:sp>
      <p:sp>
        <p:nvSpPr>
          <p:cNvPr id="4" name="Slide Number Placeholder 3"/>
          <p:cNvSpPr>
            <a:spLocks noGrp="1"/>
          </p:cNvSpPr>
          <p:nvPr>
            <p:ph type="sldNum" sz="quarter" idx="14"/>
          </p:nvPr>
        </p:nvSpPr>
        <p:spPr/>
        <p:txBody>
          <a:bodyPr/>
          <a:lstStyle/>
          <a:p>
            <a:fld id="{FAADACFB-7C71-4E89-89D2-7BBA40B7BFA9}" type="slidenum">
              <a:rPr lang="en-US" smtClean="0"/>
              <a:pPr/>
              <a:t>21</a:t>
            </a:fld>
            <a:endParaRPr lang="en-US"/>
          </a:p>
        </p:txBody>
      </p:sp>
      <p:sp>
        <p:nvSpPr>
          <p:cNvPr id="19" name="Rectangle 18"/>
          <p:cNvSpPr/>
          <p:nvPr>
            <p:custDataLst>
              <p:tags r:id="rId1"/>
            </p:custDataLst>
          </p:nvPr>
        </p:nvSpPr>
        <p:spPr>
          <a:xfrm flipH="1">
            <a:off x="303212" y="1600200"/>
            <a:ext cx="6765245" cy="400110"/>
          </a:xfrm>
          <a:prstGeom prst="rect">
            <a:avLst/>
          </a:prstGeom>
          <a:solidFill>
            <a:schemeClr val="tx2"/>
          </a:solidFill>
          <a:ln w="6350">
            <a:noFill/>
          </a:ln>
          <a:effectLst/>
        </p:spPr>
        <p:txBody>
          <a:bodyPr vert="horz" wrap="square" lIns="91440" tIns="45720" rIns="91440" bIns="45720" numCol="1" rtlCol="0" anchor="ctr" anchorCtr="0" compatLnSpc="1">
            <a:prstTxWarp prst="textNoShape">
              <a:avLst/>
            </a:prstTxWarp>
            <a:spAutoFit/>
          </a:bodyPr>
          <a:lstStyle/>
          <a:p>
            <a:pPr marL="0" lvl="1" algn="ctr" defTabSz="1624019" fontAlgn="base">
              <a:buClr>
                <a:srgbClr val="FFFF99"/>
              </a:buClr>
              <a:buSzPct val="90000"/>
              <a:defRPr/>
            </a:pPr>
            <a:r>
              <a:rPr lang="en-IN" altLang="zh-CN" sz="2000" kern="0" dirty="0">
                <a:solidFill>
                  <a:srgbClr val="FFFFFF"/>
                </a:solidFill>
                <a:latin typeface="Segoe UI Semibold" panose="020B0702040204020203" pitchFamily="34" charset="0"/>
                <a:ea typeface="Segoe UI" pitchFamily="34" charset="0"/>
                <a:cs typeface="Segoe UI Semibold" panose="020B0702040204020203" pitchFamily="34" charset="0"/>
              </a:rPr>
              <a:t>Personalized Mobility Services</a:t>
            </a:r>
          </a:p>
        </p:txBody>
      </p:sp>
      <p:sp>
        <p:nvSpPr>
          <p:cNvPr id="20" name="Rectangle 19"/>
          <p:cNvSpPr/>
          <p:nvPr>
            <p:custDataLst>
              <p:tags r:id="rId2"/>
            </p:custDataLst>
          </p:nvPr>
        </p:nvSpPr>
        <p:spPr bwMode="auto">
          <a:xfrm>
            <a:off x="303212" y="2057400"/>
            <a:ext cx="3345037" cy="2428875"/>
          </a:xfrm>
          <a:prstGeom prst="rect">
            <a:avLst/>
          </a:prstGeom>
          <a:solidFill>
            <a:srgbClr val="FFFFFF">
              <a:lumMod val="95000"/>
            </a:srgbClr>
          </a:solidFill>
          <a:ln w="3175" cap="flat" cmpd="sng" algn="ctr">
            <a:noFill/>
            <a:prstDash val="solid"/>
            <a:round/>
            <a:headEnd type="none" w="med" len="med"/>
            <a:tailEnd type="none" w="med" len="med"/>
          </a:ln>
          <a:effectLst/>
        </p:spPr>
        <p:txBody>
          <a:bodyPr lIns="91440" tIns="45720" rIns="91440" bIns="45720" rtlCol="0" anchor="t" anchorCtr="0">
            <a:noAutofit/>
          </a:bodyPr>
          <a:lstStyle/>
          <a:p>
            <a:pPr marL="0" lvl="1" defTabSz="1624019">
              <a:spcBef>
                <a:spcPts val="600"/>
              </a:spcBef>
              <a:buClr>
                <a:srgbClr val="595959">
                  <a:lumMod val="75000"/>
                </a:srgbClr>
              </a:buClr>
              <a:defRPr/>
            </a:pPr>
            <a:r>
              <a:rPr lang="en-IN" altLang="zh-CN" sz="1600" kern="0" dirty="0">
                <a:solidFill>
                  <a:schemeClr val="tx2"/>
                </a:solidFill>
                <a:latin typeface="Segoe UI Semibold" panose="020B0702040204020203" pitchFamily="34" charset="0"/>
                <a:ea typeface="Segoe UI" pitchFamily="34" charset="0"/>
                <a:cs typeface="Segoe UI Semibold" panose="020B0702040204020203" pitchFamily="34" charset="0"/>
              </a:rPr>
              <a:t>Innovation</a:t>
            </a:r>
          </a:p>
          <a:p>
            <a:pPr marL="285750" lvl="1" indent="-285750" defTabSz="1624019">
              <a:spcBef>
                <a:spcPts val="600"/>
              </a:spcBef>
              <a:buClr>
                <a:srgbClr val="595959">
                  <a:lumMod val="75000"/>
                </a:srgbClr>
              </a:buClr>
              <a:buFont typeface="Arial" panose="020B0604020202020204" pitchFamily="34" charset="0"/>
              <a:buChar char="•"/>
              <a:defRPr/>
            </a:pPr>
            <a:r>
              <a:rPr lang="en-US" sz="1600" kern="0" dirty="0">
                <a:cs typeface="Segoe UI" pitchFamily="34" charset="0"/>
              </a:rPr>
              <a:t>Data-backed innovation</a:t>
            </a:r>
          </a:p>
          <a:p>
            <a:pPr marL="285750" lvl="1" indent="-285750" defTabSz="1624019">
              <a:spcBef>
                <a:spcPts val="600"/>
              </a:spcBef>
              <a:buClr>
                <a:srgbClr val="595959">
                  <a:lumMod val="75000"/>
                </a:srgbClr>
              </a:buClr>
              <a:buFont typeface="Arial" panose="020B0604020202020204" pitchFamily="34" charset="0"/>
              <a:buChar char="•"/>
              <a:defRPr/>
            </a:pPr>
            <a:r>
              <a:rPr lang="en-US" sz="1600" kern="0" dirty="0">
                <a:cs typeface="Segoe UI" pitchFamily="34" charset="0"/>
              </a:rPr>
              <a:t>Increased number of ideas generated</a:t>
            </a:r>
          </a:p>
          <a:p>
            <a:pPr marL="285750" lvl="1" indent="-285750" defTabSz="1624019">
              <a:spcBef>
                <a:spcPts val="600"/>
              </a:spcBef>
              <a:buClr>
                <a:srgbClr val="595959">
                  <a:lumMod val="75000"/>
                </a:srgbClr>
              </a:buClr>
              <a:buFont typeface="Arial" panose="020B0604020202020204" pitchFamily="34" charset="0"/>
              <a:buChar char="•"/>
              <a:defRPr/>
            </a:pPr>
            <a:r>
              <a:rPr lang="en-US" sz="1600" kern="0" dirty="0">
                <a:cs typeface="Segoe UI" pitchFamily="34" charset="0"/>
              </a:rPr>
              <a:t>New capabilities that support testing and delivering digital mobility services. </a:t>
            </a:r>
            <a:endParaRPr lang="en-US" altLang="zh-CN" sz="1600" kern="0" dirty="0">
              <a:cs typeface="Segoe UI" pitchFamily="34" charset="0"/>
            </a:endParaRPr>
          </a:p>
        </p:txBody>
      </p:sp>
      <p:sp>
        <p:nvSpPr>
          <p:cNvPr id="21" name="Rectangle 20"/>
          <p:cNvSpPr/>
          <p:nvPr>
            <p:custDataLst>
              <p:tags r:id="rId3"/>
            </p:custDataLst>
          </p:nvPr>
        </p:nvSpPr>
        <p:spPr bwMode="auto">
          <a:xfrm>
            <a:off x="303212" y="4543425"/>
            <a:ext cx="3345037" cy="1934448"/>
          </a:xfrm>
          <a:prstGeom prst="rect">
            <a:avLst/>
          </a:prstGeom>
          <a:solidFill>
            <a:srgbClr val="FFFFFF">
              <a:lumMod val="95000"/>
            </a:srgbClr>
          </a:solidFill>
          <a:ln w="3175" cap="flat" cmpd="sng" algn="ctr">
            <a:noFill/>
            <a:prstDash val="solid"/>
            <a:round/>
            <a:headEnd type="none" w="med" len="med"/>
            <a:tailEnd type="none" w="med" len="med"/>
          </a:ln>
          <a:effectLst/>
        </p:spPr>
        <p:txBody>
          <a:bodyPr lIns="91440" tIns="45720" rIns="91440" bIns="45720" rtlCol="0" anchor="t" anchorCtr="0">
            <a:noAutofit/>
          </a:bodyPr>
          <a:lstStyle/>
          <a:p>
            <a:pPr marL="0" lvl="1" defTabSz="1624019">
              <a:spcBef>
                <a:spcPts val="600"/>
              </a:spcBef>
              <a:buClr>
                <a:srgbClr val="595959">
                  <a:lumMod val="75000"/>
                </a:srgbClr>
              </a:buClr>
              <a:defRPr/>
            </a:pPr>
            <a:r>
              <a:rPr lang="en-IN" altLang="zh-CN" sz="1600" kern="0" dirty="0">
                <a:solidFill>
                  <a:schemeClr val="tx2"/>
                </a:solidFill>
                <a:latin typeface="Segoe UI Semibold" panose="020B0702040204020203" pitchFamily="34" charset="0"/>
                <a:ea typeface="Segoe UI" pitchFamily="34" charset="0"/>
                <a:cs typeface="Segoe UI Semibold" panose="020B0702040204020203" pitchFamily="34" charset="0"/>
              </a:rPr>
              <a:t>Ecosystem</a:t>
            </a:r>
          </a:p>
          <a:p>
            <a:pPr marL="285750" lvl="1" indent="-285750" defTabSz="1624019">
              <a:spcBef>
                <a:spcPts val="600"/>
              </a:spcBef>
              <a:buClr>
                <a:srgbClr val="595959">
                  <a:lumMod val="75000"/>
                </a:srgbClr>
              </a:buClr>
              <a:buFont typeface="Arial" panose="020B0604020202020204" pitchFamily="34" charset="0"/>
              <a:buChar char="•"/>
              <a:defRPr/>
            </a:pPr>
            <a:r>
              <a:rPr lang="en-US" altLang="zh-CN" sz="1600" kern="0" dirty="0">
                <a:cs typeface="Segoe UI" pitchFamily="34" charset="0"/>
              </a:rPr>
              <a:t>Expand partner value network</a:t>
            </a:r>
          </a:p>
          <a:p>
            <a:pPr marL="285750" lvl="1" indent="-285750" defTabSz="1624019">
              <a:spcBef>
                <a:spcPts val="600"/>
              </a:spcBef>
              <a:buClr>
                <a:srgbClr val="595959">
                  <a:lumMod val="75000"/>
                </a:srgbClr>
              </a:buClr>
              <a:buFont typeface="Arial" panose="020B0604020202020204" pitchFamily="34" charset="0"/>
              <a:buChar char="•"/>
              <a:defRPr/>
            </a:pPr>
            <a:r>
              <a:rPr lang="en-US" altLang="zh-CN" sz="1600" kern="0" dirty="0">
                <a:cs typeface="Segoe UI" pitchFamily="34" charset="0"/>
              </a:rPr>
              <a:t>Enable technology collaboration across industries</a:t>
            </a:r>
          </a:p>
          <a:p>
            <a:pPr marL="285750" lvl="1" indent="-285750" defTabSz="1624019">
              <a:spcBef>
                <a:spcPts val="600"/>
              </a:spcBef>
              <a:buClr>
                <a:srgbClr val="595959">
                  <a:lumMod val="75000"/>
                </a:srgbClr>
              </a:buClr>
              <a:buFont typeface="Arial" panose="020B0604020202020204" pitchFamily="34" charset="0"/>
              <a:buChar char="•"/>
              <a:defRPr/>
            </a:pPr>
            <a:r>
              <a:rPr lang="en-US" altLang="zh-CN" sz="1600" kern="0" dirty="0">
                <a:cs typeface="Segoe UI" pitchFamily="34" charset="0"/>
              </a:rPr>
              <a:t>Enable compliance transparency</a:t>
            </a:r>
          </a:p>
          <a:p>
            <a:pPr marL="0" lvl="1" defTabSz="1624019">
              <a:spcBef>
                <a:spcPts val="600"/>
              </a:spcBef>
              <a:buClr>
                <a:srgbClr val="595959">
                  <a:lumMod val="75000"/>
                </a:srgbClr>
              </a:buClr>
              <a:defRPr/>
            </a:pPr>
            <a:endParaRPr lang="en-US" altLang="zh-CN" sz="1600" kern="0" dirty="0">
              <a:solidFill>
                <a:schemeClr val="tx2"/>
              </a:solidFill>
              <a:ea typeface="Segoe UI" pitchFamily="34" charset="0"/>
              <a:cs typeface="Segoe UI" pitchFamily="34" charset="0"/>
            </a:endParaRPr>
          </a:p>
        </p:txBody>
      </p:sp>
      <p:sp>
        <p:nvSpPr>
          <p:cNvPr id="22" name="Rectangle 21"/>
          <p:cNvSpPr/>
          <p:nvPr>
            <p:custDataLst>
              <p:tags r:id="rId4"/>
            </p:custDataLst>
          </p:nvPr>
        </p:nvSpPr>
        <p:spPr bwMode="auto">
          <a:xfrm>
            <a:off x="3723420" y="2057400"/>
            <a:ext cx="3345037" cy="2428875"/>
          </a:xfrm>
          <a:prstGeom prst="rect">
            <a:avLst/>
          </a:prstGeom>
          <a:solidFill>
            <a:srgbClr val="FFFFFF">
              <a:lumMod val="95000"/>
            </a:srgbClr>
          </a:solidFill>
          <a:ln w="3175" cap="flat" cmpd="sng" algn="ctr">
            <a:noFill/>
            <a:prstDash val="solid"/>
            <a:round/>
            <a:headEnd type="none" w="med" len="med"/>
            <a:tailEnd type="none" w="med" len="med"/>
          </a:ln>
          <a:effectLst/>
        </p:spPr>
        <p:txBody>
          <a:bodyPr lIns="91440" tIns="45720" rIns="91440" bIns="45720" rtlCol="0" anchor="t" anchorCtr="0">
            <a:noAutofit/>
          </a:bodyPr>
          <a:lstStyle/>
          <a:p>
            <a:pPr marL="0" lvl="1" defTabSz="1624019">
              <a:spcBef>
                <a:spcPts val="600"/>
              </a:spcBef>
              <a:buClr>
                <a:srgbClr val="595959">
                  <a:lumMod val="75000"/>
                </a:srgbClr>
              </a:buClr>
              <a:defRPr/>
            </a:pPr>
            <a:r>
              <a:rPr lang="en-IN" altLang="zh-CN" sz="1600" kern="0" dirty="0">
                <a:solidFill>
                  <a:schemeClr val="tx2"/>
                </a:solidFill>
                <a:latin typeface="Segoe UI Semibold" panose="020B0702040204020203" pitchFamily="34" charset="0"/>
                <a:ea typeface="Segoe UI" pitchFamily="34" charset="0"/>
                <a:cs typeface="Segoe UI Semibold" panose="020B0702040204020203" pitchFamily="34" charset="0"/>
              </a:rPr>
              <a:t>Customer</a:t>
            </a:r>
          </a:p>
          <a:p>
            <a:pPr marL="292100" lvl="1" indent="-201613" defTabSz="1624019">
              <a:spcBef>
                <a:spcPts val="100"/>
              </a:spcBef>
              <a:spcAft>
                <a:spcPts val="300"/>
              </a:spcAft>
              <a:buClr>
                <a:srgbClr val="595959">
                  <a:lumMod val="75000"/>
                </a:srgbClr>
              </a:buClr>
              <a:buFont typeface="Arial" pitchFamily="34" charset="0"/>
              <a:buChar char="•"/>
              <a:defRPr/>
            </a:pPr>
            <a:r>
              <a:rPr lang="en-US" altLang="zh-CN" sz="1600" kern="0" dirty="0">
                <a:cs typeface="Segoe UI" pitchFamily="34" charset="0"/>
              </a:rPr>
              <a:t>Personalized customer experience</a:t>
            </a:r>
          </a:p>
          <a:p>
            <a:pPr marL="292100" lvl="1" indent="-201613" defTabSz="1624019">
              <a:spcBef>
                <a:spcPts val="100"/>
              </a:spcBef>
              <a:spcAft>
                <a:spcPts val="300"/>
              </a:spcAft>
              <a:buClr>
                <a:srgbClr val="595959">
                  <a:lumMod val="75000"/>
                </a:srgbClr>
              </a:buClr>
              <a:buFont typeface="Arial" pitchFamily="34" charset="0"/>
              <a:buChar char="•"/>
              <a:defRPr/>
            </a:pPr>
            <a:r>
              <a:rPr lang="en-US" altLang="zh-CN" sz="1600" kern="0" dirty="0">
                <a:cs typeface="Segoe UI" pitchFamily="34" charset="0"/>
              </a:rPr>
              <a:t>Retention of existing customers (reduced churn)</a:t>
            </a:r>
          </a:p>
          <a:p>
            <a:pPr marL="292100" lvl="1" indent="-201613" defTabSz="1624019">
              <a:spcBef>
                <a:spcPts val="100"/>
              </a:spcBef>
              <a:spcAft>
                <a:spcPts val="300"/>
              </a:spcAft>
              <a:buClr>
                <a:srgbClr val="595959">
                  <a:lumMod val="75000"/>
                </a:srgbClr>
              </a:buClr>
              <a:buFont typeface="Arial" pitchFamily="34" charset="0"/>
              <a:buChar char="•"/>
              <a:defRPr/>
            </a:pPr>
            <a:r>
              <a:rPr lang="en-US" altLang="zh-CN" sz="1600" kern="0" dirty="0">
                <a:cs typeface="Segoe UI" pitchFamily="34" charset="0"/>
              </a:rPr>
              <a:t>Increased customer satisfaction</a:t>
            </a:r>
          </a:p>
          <a:p>
            <a:pPr marL="0" lvl="1" defTabSz="1624019">
              <a:spcBef>
                <a:spcPts val="600"/>
              </a:spcBef>
              <a:buClr>
                <a:srgbClr val="595959">
                  <a:lumMod val="75000"/>
                </a:srgbClr>
              </a:buClr>
              <a:defRPr/>
            </a:pPr>
            <a:endParaRPr lang="en-US" altLang="zh-CN" sz="1600" kern="0" dirty="0">
              <a:solidFill>
                <a:schemeClr val="tx2"/>
              </a:solidFill>
              <a:ea typeface="Segoe UI" pitchFamily="34" charset="0"/>
              <a:cs typeface="Segoe UI" pitchFamily="34" charset="0"/>
            </a:endParaRPr>
          </a:p>
        </p:txBody>
      </p:sp>
      <p:sp>
        <p:nvSpPr>
          <p:cNvPr id="23" name="Rectangle 22"/>
          <p:cNvSpPr/>
          <p:nvPr>
            <p:custDataLst>
              <p:tags r:id="rId5"/>
            </p:custDataLst>
          </p:nvPr>
        </p:nvSpPr>
        <p:spPr bwMode="auto">
          <a:xfrm>
            <a:off x="3723420" y="4543425"/>
            <a:ext cx="3345037" cy="1934448"/>
          </a:xfrm>
          <a:prstGeom prst="rect">
            <a:avLst/>
          </a:prstGeom>
          <a:solidFill>
            <a:srgbClr val="FFFFFF">
              <a:lumMod val="95000"/>
            </a:srgbClr>
          </a:solidFill>
          <a:ln w="3175" cap="flat" cmpd="sng" algn="ctr">
            <a:noFill/>
            <a:prstDash val="solid"/>
            <a:round/>
            <a:headEnd type="none" w="med" len="med"/>
            <a:tailEnd type="none" w="med" len="med"/>
          </a:ln>
          <a:effectLst/>
        </p:spPr>
        <p:txBody>
          <a:bodyPr lIns="91440" tIns="45720" rIns="91440" bIns="45720" rtlCol="0" anchor="t" anchorCtr="0">
            <a:noAutofit/>
          </a:bodyPr>
          <a:lstStyle/>
          <a:p>
            <a:pPr marL="0" lvl="1" defTabSz="1624019">
              <a:spcBef>
                <a:spcPts val="600"/>
              </a:spcBef>
              <a:buClr>
                <a:srgbClr val="595959">
                  <a:lumMod val="75000"/>
                </a:srgbClr>
              </a:buClr>
              <a:defRPr/>
            </a:pPr>
            <a:r>
              <a:rPr lang="en-IN" altLang="zh-CN" sz="1600" kern="0" dirty="0">
                <a:solidFill>
                  <a:schemeClr val="tx2"/>
                </a:solidFill>
                <a:latin typeface="Segoe UI Semibold" panose="020B0702040204020203" pitchFamily="34" charset="0"/>
                <a:ea typeface="Segoe UI" pitchFamily="34" charset="0"/>
                <a:cs typeface="Segoe UI Semibold" panose="020B0702040204020203" pitchFamily="34" charset="0"/>
              </a:rPr>
              <a:t>Engineering</a:t>
            </a:r>
          </a:p>
          <a:p>
            <a:pPr marL="285750" lvl="1" indent="-285750" defTabSz="1624019">
              <a:spcBef>
                <a:spcPts val="600"/>
              </a:spcBef>
              <a:buClr>
                <a:srgbClr val="595959">
                  <a:lumMod val="75000"/>
                </a:srgbClr>
              </a:buClr>
              <a:buFont typeface="Arial" panose="020B0604020202020204" pitchFamily="34" charset="0"/>
              <a:buChar char="•"/>
              <a:defRPr/>
            </a:pPr>
            <a:r>
              <a:rPr lang="en-US" altLang="zh-CN" sz="1600" kern="0" dirty="0">
                <a:cs typeface="Segoe UI" pitchFamily="34" charset="0"/>
              </a:rPr>
              <a:t>Integrated platform for the future</a:t>
            </a:r>
          </a:p>
          <a:p>
            <a:pPr marL="285750" lvl="1" indent="-285750" defTabSz="1624019">
              <a:spcBef>
                <a:spcPts val="600"/>
              </a:spcBef>
              <a:buClr>
                <a:srgbClr val="595959">
                  <a:lumMod val="75000"/>
                </a:srgbClr>
              </a:buClr>
              <a:buFont typeface="Arial" panose="020B0604020202020204" pitchFamily="34" charset="0"/>
              <a:buChar char="•"/>
              <a:defRPr/>
            </a:pPr>
            <a:r>
              <a:rPr lang="en-US" altLang="zh-CN" sz="1600" kern="0" dirty="0">
                <a:cs typeface="Segoe UI" pitchFamily="34" charset="0"/>
              </a:rPr>
              <a:t>Proactive recall prevention</a:t>
            </a:r>
          </a:p>
          <a:p>
            <a:pPr marL="285750" lvl="1" indent="-285750" defTabSz="1624019">
              <a:spcBef>
                <a:spcPts val="600"/>
              </a:spcBef>
              <a:buClr>
                <a:srgbClr val="595959">
                  <a:lumMod val="75000"/>
                </a:srgbClr>
              </a:buClr>
              <a:buFont typeface="Arial" panose="020B0604020202020204" pitchFamily="34" charset="0"/>
              <a:buChar char="•"/>
              <a:defRPr/>
            </a:pPr>
            <a:r>
              <a:rPr lang="en-US" altLang="zh-CN" sz="1600" kern="0" dirty="0">
                <a:cs typeface="Segoe UI" pitchFamily="34" charset="0"/>
              </a:rPr>
              <a:t>Insightful prioritizing of engineering ambitions</a:t>
            </a:r>
          </a:p>
          <a:p>
            <a:pPr marL="0" lvl="1" defTabSz="1624019">
              <a:spcBef>
                <a:spcPts val="600"/>
              </a:spcBef>
              <a:buClr>
                <a:srgbClr val="595959">
                  <a:lumMod val="75000"/>
                </a:srgbClr>
              </a:buClr>
              <a:defRPr/>
            </a:pPr>
            <a:endParaRPr lang="en-US" altLang="zh-CN" sz="1600" kern="0" dirty="0">
              <a:solidFill>
                <a:schemeClr val="tx2"/>
              </a:solidFill>
              <a:ea typeface="Segoe UI" pitchFamily="34" charset="0"/>
              <a:cs typeface="Segoe UI" pitchFamily="34" charset="0"/>
            </a:endParaRPr>
          </a:p>
        </p:txBody>
      </p:sp>
      <p:sp>
        <p:nvSpPr>
          <p:cNvPr id="29" name="Rectangle 28"/>
          <p:cNvSpPr/>
          <p:nvPr>
            <p:custDataLst>
              <p:tags r:id="rId6"/>
            </p:custDataLst>
          </p:nvPr>
        </p:nvSpPr>
        <p:spPr bwMode="auto">
          <a:xfrm>
            <a:off x="7569201" y="2057400"/>
            <a:ext cx="4314904" cy="4420474"/>
          </a:xfrm>
          <a:prstGeom prst="rect">
            <a:avLst/>
          </a:prstGeom>
          <a:solidFill>
            <a:srgbClr val="FFFFFF">
              <a:lumMod val="95000"/>
            </a:srgbClr>
          </a:solidFill>
          <a:ln w="3175" cap="flat" cmpd="sng" algn="ctr">
            <a:noFill/>
            <a:prstDash val="solid"/>
            <a:round/>
            <a:headEnd type="none" w="med" len="med"/>
            <a:tailEnd type="none" w="med" len="med"/>
          </a:ln>
          <a:effectLst/>
        </p:spPr>
        <p:txBody>
          <a:bodyPr lIns="91440" tIns="45720" rIns="91440" bIns="45720" rtlCol="0" anchor="t" anchorCtr="0"/>
          <a:lstStyle/>
          <a:p>
            <a:pPr marL="233363" lvl="1" indent="-201613" defTabSz="1624019">
              <a:spcBef>
                <a:spcPts val="900"/>
              </a:spcBef>
              <a:buClr>
                <a:srgbClr val="595959">
                  <a:lumMod val="75000"/>
                </a:srgbClr>
              </a:buClr>
              <a:buFont typeface="Arial" pitchFamily="34" charset="0"/>
              <a:buChar char="•"/>
              <a:defRPr/>
            </a:pPr>
            <a:r>
              <a:rPr lang="en-US" altLang="zh-CN" sz="1600" dirty="0">
                <a:solidFill>
                  <a:srgbClr val="505050"/>
                </a:solidFill>
                <a:ea typeface="Segoe UI" pitchFamily="34" charset="0"/>
                <a:cs typeface="Segoe UI Semibold" panose="020B0702040204020203" pitchFamily="34" charset="0"/>
              </a:rPr>
              <a:t>Increased customer satisfaction/loyalty</a:t>
            </a:r>
          </a:p>
          <a:p>
            <a:pPr marL="233363" lvl="1" indent="-201613" defTabSz="1624019">
              <a:spcBef>
                <a:spcPts val="900"/>
              </a:spcBef>
              <a:buClr>
                <a:srgbClr val="595959">
                  <a:lumMod val="75000"/>
                </a:srgbClr>
              </a:buClr>
              <a:buFont typeface="Arial" pitchFamily="34" charset="0"/>
              <a:buChar char="•"/>
              <a:defRPr/>
            </a:pPr>
            <a:r>
              <a:rPr lang="en-US" altLang="zh-CN" sz="1600" kern="0" dirty="0">
                <a:solidFill>
                  <a:srgbClr val="505050"/>
                </a:solidFill>
                <a:ea typeface="Segoe UI" pitchFamily="34" charset="0"/>
                <a:cs typeface="Segoe UI" pitchFamily="34" charset="0"/>
              </a:rPr>
              <a:t>Increased revenue</a:t>
            </a:r>
          </a:p>
          <a:p>
            <a:pPr marL="233363" lvl="1" indent="-201613" defTabSz="1624019">
              <a:spcBef>
                <a:spcPts val="900"/>
              </a:spcBef>
              <a:buClr>
                <a:srgbClr val="595959">
                  <a:lumMod val="75000"/>
                </a:srgbClr>
              </a:buClr>
              <a:buFont typeface="Arial" pitchFamily="34" charset="0"/>
              <a:buChar char="•"/>
              <a:defRPr/>
            </a:pPr>
            <a:r>
              <a:rPr lang="en-US" altLang="zh-CN" sz="1600" kern="0" dirty="0">
                <a:solidFill>
                  <a:srgbClr val="505050"/>
                </a:solidFill>
                <a:ea typeface="Segoe UI" pitchFamily="34" charset="0"/>
                <a:cs typeface="Segoe UI" pitchFamily="34" charset="0"/>
              </a:rPr>
              <a:t>Increased cross-sell/up-sell</a:t>
            </a:r>
          </a:p>
          <a:p>
            <a:pPr marL="233363" lvl="1" indent="-201613" defTabSz="1624019">
              <a:spcBef>
                <a:spcPts val="900"/>
              </a:spcBef>
              <a:buClr>
                <a:srgbClr val="595959">
                  <a:lumMod val="75000"/>
                </a:srgbClr>
              </a:buClr>
              <a:buFont typeface="Arial" pitchFamily="34" charset="0"/>
              <a:buChar char="•"/>
              <a:defRPr/>
            </a:pPr>
            <a:r>
              <a:rPr lang="en-US" altLang="zh-CN" sz="1600" kern="0" dirty="0">
                <a:solidFill>
                  <a:srgbClr val="505050"/>
                </a:solidFill>
                <a:ea typeface="Segoe UI" pitchFamily="34" charset="0"/>
                <a:cs typeface="Segoe UI" pitchFamily="34" charset="0"/>
              </a:rPr>
              <a:t>Increased sales efficiency</a:t>
            </a:r>
          </a:p>
          <a:p>
            <a:pPr marL="233363" lvl="1" indent="-201613" defTabSz="1624019">
              <a:spcBef>
                <a:spcPts val="900"/>
              </a:spcBef>
              <a:buClr>
                <a:srgbClr val="595959">
                  <a:lumMod val="75000"/>
                </a:srgbClr>
              </a:buClr>
              <a:buFont typeface="Arial" pitchFamily="34" charset="0"/>
              <a:buChar char="•"/>
              <a:defRPr/>
            </a:pPr>
            <a:r>
              <a:rPr lang="en-US" altLang="zh-CN" sz="1600" kern="0" dirty="0">
                <a:solidFill>
                  <a:srgbClr val="505050"/>
                </a:solidFill>
                <a:ea typeface="Segoe UI" pitchFamily="34" charset="0"/>
                <a:cs typeface="Segoe UI" pitchFamily="34" charset="0"/>
              </a:rPr>
              <a:t>Improved customer lifetime value</a:t>
            </a:r>
          </a:p>
        </p:txBody>
      </p:sp>
      <p:sp>
        <p:nvSpPr>
          <p:cNvPr id="30" name="Rectangle 29"/>
          <p:cNvSpPr/>
          <p:nvPr>
            <p:custDataLst>
              <p:tags r:id="rId7"/>
            </p:custDataLst>
          </p:nvPr>
        </p:nvSpPr>
        <p:spPr>
          <a:xfrm flipH="1">
            <a:off x="7569201" y="1600200"/>
            <a:ext cx="4314904" cy="400110"/>
          </a:xfrm>
          <a:prstGeom prst="rect">
            <a:avLst/>
          </a:prstGeom>
          <a:solidFill>
            <a:schemeClr val="accent1"/>
          </a:solidFill>
          <a:ln w="6350">
            <a:noFill/>
          </a:ln>
          <a:effectLst/>
        </p:spPr>
        <p:txBody>
          <a:bodyPr vert="horz" wrap="square" lIns="91440" tIns="45720" rIns="91440" bIns="45720" numCol="1" rtlCol="0" anchor="ctr" anchorCtr="0" compatLnSpc="1">
            <a:prstTxWarp prst="textNoShape">
              <a:avLst/>
            </a:prstTxWarp>
            <a:spAutoFit/>
          </a:bodyPr>
          <a:lstStyle/>
          <a:p>
            <a:pPr marL="0" lvl="1" algn="ctr" defTabSz="1624019" fontAlgn="base">
              <a:buClr>
                <a:srgbClr val="FFFF99"/>
              </a:buClr>
              <a:buSzPct val="90000"/>
            </a:pPr>
            <a:r>
              <a:rPr lang="en-IN" altLang="zh-CN" sz="2000" kern="0">
                <a:solidFill>
                  <a:srgbClr val="FFFFFF"/>
                </a:solidFill>
                <a:latin typeface="Segoe UI Semibold" panose="020B0702040204020203" pitchFamily="34" charset="0"/>
                <a:ea typeface="Segoe UI" pitchFamily="34" charset="0"/>
                <a:cs typeface="Segoe UI Semibold" panose="020B0702040204020203" pitchFamily="34" charset="0"/>
              </a:rPr>
              <a:t>Business Outcomes/Results</a:t>
            </a:r>
          </a:p>
        </p:txBody>
      </p:sp>
      <p:grpSp>
        <p:nvGrpSpPr>
          <p:cNvPr id="31" name="Group 30"/>
          <p:cNvGrpSpPr/>
          <p:nvPr/>
        </p:nvGrpSpPr>
        <p:grpSpPr>
          <a:xfrm>
            <a:off x="7148469" y="2109820"/>
            <a:ext cx="321806" cy="4367180"/>
            <a:chOff x="7148469" y="2109820"/>
            <a:chExt cx="321806" cy="4367180"/>
          </a:xfrm>
        </p:grpSpPr>
        <p:sp>
          <p:nvSpPr>
            <p:cNvPr id="33" name="Right Bracket 32"/>
            <p:cNvSpPr/>
            <p:nvPr/>
          </p:nvSpPr>
          <p:spPr>
            <a:xfrm>
              <a:off x="7148469" y="2109820"/>
              <a:ext cx="164233" cy="4367180"/>
            </a:xfrm>
            <a:prstGeom prst="rightBracket">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N"/>
            </a:p>
          </p:txBody>
        </p:sp>
        <p:grpSp>
          <p:nvGrpSpPr>
            <p:cNvPr id="34" name="Group 33"/>
            <p:cNvGrpSpPr/>
            <p:nvPr/>
          </p:nvGrpSpPr>
          <p:grpSpPr>
            <a:xfrm rot="16200000">
              <a:off x="7155128" y="4357278"/>
              <a:ext cx="315149" cy="315144"/>
              <a:chOff x="3676651" y="-638174"/>
              <a:chExt cx="247650" cy="247650"/>
            </a:xfrm>
            <a:effectLst/>
          </p:grpSpPr>
          <p:sp>
            <p:nvSpPr>
              <p:cNvPr id="35" name="Oval 34"/>
              <p:cNvSpPr/>
              <p:nvPr/>
            </p:nvSpPr>
            <p:spPr>
              <a:xfrm>
                <a:off x="3676651" y="-638174"/>
                <a:ext cx="247650" cy="247650"/>
              </a:xfrm>
              <a:prstGeom prst="ellipse">
                <a:avLst/>
              </a:prstGeom>
              <a:solidFill>
                <a:schemeClr val="bg1">
                  <a:lumMod val="75000"/>
                </a:schemeClr>
              </a:solidFill>
              <a:ln w="12700">
                <a:solidFill>
                  <a:schemeClr val="bg1"/>
                </a:solidFill>
              </a:ln>
              <a:effectLst/>
            </p:spPr>
            <p:txBody>
              <a:bodyPr vert="horz" wrap="square" lIns="0" tIns="45720" rIns="0" bIns="45720" rtlCol="0" anchor="ctr">
                <a:noAutofit/>
              </a:bodyPr>
              <a:lstStyle/>
              <a:p>
                <a:pPr indent="0" algn="ctr">
                  <a:spcBef>
                    <a:spcPts val="0"/>
                  </a:spcBef>
                  <a:spcAft>
                    <a:spcPts val="0"/>
                  </a:spcAft>
                  <a:buClrTx/>
                  <a:buFont typeface="Arial" pitchFamily="34" charset="0"/>
                  <a:buNone/>
                </a:pPr>
                <a:endParaRPr lang="en-IN" sz="2400" b="0" i="0">
                  <a:solidFill>
                    <a:schemeClr val="bg1"/>
                  </a:solidFill>
                  <a:effectLst>
                    <a:outerShdw blurRad="38100" dist="25400" dir="2700000" algn="tl">
                      <a:srgbClr val="000000">
                        <a:alpha val="0"/>
                      </a:srgbClr>
                    </a:outerShdw>
                  </a:effectLst>
                  <a:latin typeface="+mj-lt"/>
                </a:endParaRPr>
              </a:p>
            </p:txBody>
          </p:sp>
          <p:grpSp>
            <p:nvGrpSpPr>
              <p:cNvPr id="36" name="Group 35"/>
              <p:cNvGrpSpPr/>
              <p:nvPr/>
            </p:nvGrpSpPr>
            <p:grpSpPr>
              <a:xfrm>
                <a:off x="3737720" y="-596214"/>
                <a:ext cx="125525" cy="163729"/>
                <a:chOff x="2624724" y="-933452"/>
                <a:chExt cx="289928" cy="378170"/>
              </a:xfrm>
              <a:solidFill>
                <a:schemeClr val="bg1"/>
              </a:solidFill>
            </p:grpSpPr>
            <p:sp>
              <p:nvSpPr>
                <p:cNvPr id="37" name="Rectangle 36"/>
                <p:cNvSpPr/>
                <p:nvPr/>
              </p:nvSpPr>
              <p:spPr>
                <a:xfrm>
                  <a:off x="2713628" y="-933452"/>
                  <a:ext cx="112098" cy="295273"/>
                </a:xfrm>
                <a:prstGeom prst="rect">
                  <a:avLst/>
                </a:prstGeom>
                <a:grpFill/>
                <a:ln>
                  <a:solidFill>
                    <a:schemeClr val="bg1"/>
                  </a:solidFill>
                </a:ln>
              </p:spPr>
              <p:txBody>
                <a:bodyPr vert="horz" wrap="square" lIns="0" tIns="45720" rIns="0" bIns="45720" rtlCol="0" anchor="ctr">
                  <a:noAutofit/>
                </a:bodyPr>
                <a:lstStyle/>
                <a:p>
                  <a:pPr indent="0" algn="ctr">
                    <a:spcBef>
                      <a:spcPts val="0"/>
                    </a:spcBef>
                    <a:spcAft>
                      <a:spcPts val="0"/>
                    </a:spcAft>
                    <a:buClrTx/>
                    <a:buFont typeface="Arial" pitchFamily="34" charset="0"/>
                    <a:buNone/>
                  </a:pPr>
                  <a:endParaRPr lang="en-IN" sz="2400" b="0" i="0">
                    <a:solidFill>
                      <a:schemeClr val="bg1"/>
                    </a:solidFill>
                    <a:effectLst>
                      <a:outerShdw blurRad="38100" dist="25400" dir="2700000" algn="tl">
                        <a:srgbClr val="000000">
                          <a:alpha val="0"/>
                        </a:srgbClr>
                      </a:outerShdw>
                    </a:effectLst>
                    <a:latin typeface="+mj-lt"/>
                  </a:endParaRPr>
                </a:p>
              </p:txBody>
            </p:sp>
            <p:sp>
              <p:nvSpPr>
                <p:cNvPr id="38" name="Chevron 37"/>
                <p:cNvSpPr/>
                <p:nvPr/>
              </p:nvSpPr>
              <p:spPr>
                <a:xfrm rot="5400000">
                  <a:off x="2642809" y="-827125"/>
                  <a:ext cx="253758" cy="289928"/>
                </a:xfrm>
                <a:prstGeom prst="chevron">
                  <a:avLst>
                    <a:gd name="adj" fmla="val 59856"/>
                  </a:avLst>
                </a:prstGeom>
                <a:grpFill/>
                <a:ln>
                  <a:solidFill>
                    <a:schemeClr val="bg1"/>
                  </a:solidFill>
                </a:ln>
              </p:spPr>
              <p:txBody>
                <a:bodyPr vert="horz" wrap="square" lIns="0" tIns="45720" rIns="0" bIns="45720" rtlCol="0" anchor="ctr">
                  <a:noAutofit/>
                </a:bodyPr>
                <a:lstStyle/>
                <a:p>
                  <a:pPr indent="0" algn="ctr">
                    <a:spcBef>
                      <a:spcPts val="0"/>
                    </a:spcBef>
                    <a:spcAft>
                      <a:spcPts val="0"/>
                    </a:spcAft>
                    <a:buClrTx/>
                    <a:buFont typeface="Arial" pitchFamily="34" charset="0"/>
                    <a:buNone/>
                  </a:pPr>
                  <a:endParaRPr lang="en-IN" sz="2400" b="0" i="0">
                    <a:solidFill>
                      <a:schemeClr val="bg1"/>
                    </a:solidFill>
                    <a:effectLst>
                      <a:outerShdw blurRad="38100" dist="25400" dir="2700000" algn="tl">
                        <a:srgbClr val="000000">
                          <a:alpha val="0"/>
                        </a:srgbClr>
                      </a:outerShdw>
                    </a:effectLst>
                    <a:latin typeface="+mj-lt"/>
                  </a:endParaRPr>
                </a:p>
              </p:txBody>
            </p:sp>
          </p:grpSp>
        </p:grpSp>
      </p:grpSp>
      <p:sp>
        <p:nvSpPr>
          <p:cNvPr id="24" name="Text Placeholder 6"/>
          <p:cNvSpPr txBox="1">
            <a:spLocks/>
          </p:cNvSpPr>
          <p:nvPr/>
        </p:nvSpPr>
        <p:spPr>
          <a:xfrm>
            <a:off x="7351012" y="142996"/>
            <a:ext cx="4533093" cy="503048"/>
          </a:xfrm>
          <a:prstGeom prst="rect">
            <a:avLst/>
          </a:prstGeom>
        </p:spPr>
        <p:txBody>
          <a:bodyPr vert="horz" lIns="320040" tIns="53325" rIns="53325" bIns="53325" rtlCol="0">
            <a:noAutofit/>
          </a:bodyPr>
          <a:lstStyle>
            <a:lvl1pPr marL="0" indent="0" algn="l" defTabSz="1088105" rtl="0" eaLnBrk="1" latinLnBrk="0" hangingPunct="1">
              <a:spcBef>
                <a:spcPts val="1800"/>
              </a:spcBef>
              <a:buClr>
                <a:srgbClr val="0072C6"/>
              </a:buClr>
              <a:buSzPct val="100000"/>
              <a:buFont typeface="Wingdings" pitchFamily="2" charset="2"/>
              <a:buNone/>
              <a:defRPr sz="2800" kern="1200">
                <a:solidFill>
                  <a:schemeClr val="tx1"/>
                </a:solidFill>
                <a:latin typeface="Segoe UI Light" pitchFamily="34" charset="0"/>
                <a:ea typeface="Segoe UI" pitchFamily="34" charset="0"/>
                <a:cs typeface="Segoe UI" pitchFamily="34" charset="0"/>
              </a:defRPr>
            </a:lvl1pPr>
            <a:lvl2pPr marL="281674" indent="0" algn="l" defTabSz="1088105" rtl="0" eaLnBrk="1" latinLnBrk="0" hangingPunct="1">
              <a:spcBef>
                <a:spcPct val="20000"/>
              </a:spcBef>
              <a:buFont typeface="Arial" pitchFamily="34" charset="0"/>
              <a:buNone/>
              <a:defRPr sz="1800" kern="1200">
                <a:solidFill>
                  <a:schemeClr val="tx1"/>
                </a:solidFill>
                <a:latin typeface="Segoe UI" pitchFamily="34" charset="0"/>
                <a:ea typeface="Segoe UI" pitchFamily="34" charset="0"/>
                <a:cs typeface="Segoe UI" pitchFamily="34" charset="0"/>
              </a:defRPr>
            </a:lvl2pPr>
            <a:lvl3pPr marL="588476" indent="0" algn="l" defTabSz="1088105" rtl="0" eaLnBrk="1" latinLnBrk="0" hangingPunct="1">
              <a:spcBef>
                <a:spcPct val="20000"/>
              </a:spcBef>
              <a:buFont typeface="Arial" pitchFamily="34" charset="0"/>
              <a:buNone/>
              <a:defRPr sz="1600" kern="1200">
                <a:solidFill>
                  <a:schemeClr val="tx1"/>
                </a:solidFill>
                <a:latin typeface="Segoe UI" pitchFamily="34" charset="0"/>
                <a:ea typeface="Segoe UI" pitchFamily="34" charset="0"/>
                <a:cs typeface="Segoe UI" pitchFamily="34" charset="0"/>
              </a:defRPr>
            </a:lvl3pPr>
            <a:lvl4pPr marL="87015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4pPr>
            <a:lvl5pPr marL="110554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r>
              <a:rPr lang="en-US"/>
              <a:t>Value Realization Scorecard</a:t>
            </a:r>
          </a:p>
        </p:txBody>
      </p:sp>
    </p:spTree>
    <p:extLst>
      <p:ext uri="{BB962C8B-B14F-4D97-AF65-F5344CB8AC3E}">
        <p14:creationId xmlns:p14="http://schemas.microsoft.com/office/powerpoint/2010/main" val="10818189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 y="102541"/>
            <a:ext cx="12188825" cy="645874"/>
          </a:xfrm>
        </p:spPr>
        <p:txBody>
          <a:bodyPr/>
          <a:lstStyle/>
          <a:p>
            <a:r>
              <a:rPr lang="en-US" dirty="0"/>
              <a:t>Personalized Mobility Services</a:t>
            </a:r>
          </a:p>
        </p:txBody>
      </p:sp>
      <p:sp>
        <p:nvSpPr>
          <p:cNvPr id="4" name="Slide Number Placeholder 3"/>
          <p:cNvSpPr>
            <a:spLocks noGrp="1"/>
          </p:cNvSpPr>
          <p:nvPr>
            <p:ph type="sldNum" sz="quarter" idx="14"/>
          </p:nvPr>
        </p:nvSpPr>
        <p:spPr/>
        <p:txBody>
          <a:bodyPr/>
          <a:lstStyle/>
          <a:p>
            <a:pPr defTabSz="914126">
              <a:defRPr/>
            </a:pPr>
            <a:fld id="{FAADACFB-7C71-4E89-89D2-7BBA40B7BFA9}" type="slidenum">
              <a:rPr lang="en-US" sz="1799" kern="0">
                <a:solidFill>
                  <a:sysClr val="windowText" lastClr="000000"/>
                </a:solidFill>
              </a:rPr>
              <a:pPr defTabSz="914126">
                <a:defRPr/>
              </a:pPr>
              <a:t>22</a:t>
            </a:fld>
            <a:endParaRPr lang="en-US" sz="1799" kern="0" dirty="0">
              <a:solidFill>
                <a:sysClr val="windowText" lastClr="000000"/>
              </a:solidFill>
            </a:endParaRPr>
          </a:p>
        </p:txBody>
      </p:sp>
      <p:sp>
        <p:nvSpPr>
          <p:cNvPr id="17" name="Pentagon 44"/>
          <p:cNvSpPr/>
          <p:nvPr>
            <p:custDataLst>
              <p:tags r:id="rId1"/>
            </p:custDataLst>
          </p:nvPr>
        </p:nvSpPr>
        <p:spPr>
          <a:xfrm>
            <a:off x="2774813" y="3185286"/>
            <a:ext cx="5714195" cy="1296531"/>
          </a:xfrm>
          <a:prstGeom prst="homePlate">
            <a:avLst>
              <a:gd name="adj" fmla="val 25548"/>
            </a:avLst>
          </a:prstGeom>
          <a:solidFill>
            <a:schemeClr val="tx2"/>
          </a:solidFill>
          <a:ln w="25400" cap="flat" cmpd="sng" algn="ctr">
            <a:noFill/>
            <a:prstDash val="solid"/>
          </a:ln>
          <a:effectLst/>
        </p:spPr>
        <p:txBody>
          <a:bodyPr rtlCol="0" anchor="t">
            <a:noAutofit/>
          </a:bodyPr>
          <a:lstStyle/>
          <a:p>
            <a:pPr marL="0" lvl="1" defTabSz="685405">
              <a:spcBef>
                <a:spcPts val="225"/>
              </a:spcBef>
              <a:buClr>
                <a:srgbClr val="595959">
                  <a:lumMod val="75000"/>
                </a:srgbClr>
              </a:buClr>
              <a:defRPr/>
            </a:pPr>
            <a:r>
              <a:rPr lang="en-IN" sz="1400" kern="0" dirty="0">
                <a:solidFill>
                  <a:prstClr val="white"/>
                </a:solidFill>
                <a:latin typeface="Segoe UI Semibold" panose="020B0702040204020203" pitchFamily="34" charset="0"/>
                <a:ea typeface="Segoe UI" pitchFamily="34" charset="0"/>
                <a:cs typeface="Segoe UI Semibold" panose="020B0702040204020203" pitchFamily="34" charset="0"/>
              </a:rPr>
              <a:t>Phase 2: Build basic bot interfaces and services</a:t>
            </a:r>
          </a:p>
          <a:p>
            <a:pPr marL="228531" lvl="1" indent="-165050" defTabSz="685405">
              <a:spcAft>
                <a:spcPts val="300"/>
              </a:spcAft>
              <a:buFont typeface="Arial" pitchFamily="34" charset="0"/>
              <a:buChar char="•"/>
              <a:defRPr/>
            </a:pPr>
            <a:r>
              <a:rPr lang="en-IN" sz="1200" i="1" kern="0" dirty="0">
                <a:solidFill>
                  <a:prstClr val="white"/>
                </a:solidFill>
                <a:ea typeface="Segoe UI" pitchFamily="34" charset="0"/>
                <a:cs typeface="Segoe UI" pitchFamily="34" charset="0"/>
              </a:rPr>
              <a:t>Reimagine driver/rider in-car experiences for personal needs and business productivity</a:t>
            </a:r>
          </a:p>
          <a:p>
            <a:pPr marL="228531" lvl="1" indent="-165050" defTabSz="685405">
              <a:spcAft>
                <a:spcPts val="300"/>
              </a:spcAft>
              <a:buFont typeface="Arial" pitchFamily="34" charset="0"/>
              <a:buChar char="•"/>
              <a:defRPr/>
            </a:pPr>
            <a:r>
              <a:rPr lang="en-US" sz="1200" i="1" kern="0" dirty="0">
                <a:solidFill>
                  <a:prstClr val="white"/>
                </a:solidFill>
                <a:latin typeface="Segoe UI"/>
                <a:cs typeface="Segoe UI" pitchFamily="34" charset="0"/>
              </a:rPr>
              <a:t>Integrate conversational and intelligent in-car experiences</a:t>
            </a:r>
          </a:p>
          <a:p>
            <a:pPr marL="228531" lvl="1" indent="-165050" defTabSz="685405">
              <a:spcAft>
                <a:spcPts val="300"/>
              </a:spcAft>
              <a:buFont typeface="Arial" pitchFamily="34" charset="0"/>
              <a:buChar char="•"/>
              <a:defRPr/>
            </a:pPr>
            <a:r>
              <a:rPr lang="en-US" sz="1200" i="1" kern="0" dirty="0">
                <a:solidFill>
                  <a:prstClr val="white"/>
                </a:solidFill>
                <a:latin typeface="Segoe UI"/>
                <a:cs typeface="Segoe UI" pitchFamily="34" charset="0"/>
              </a:rPr>
              <a:t>Deliver baseline bot capabilities to enable personalized services</a:t>
            </a:r>
            <a:endParaRPr lang="en-IN" sz="1200" i="1" kern="0" dirty="0">
              <a:solidFill>
                <a:prstClr val="white"/>
              </a:solidFill>
              <a:latin typeface="Segoe UI"/>
              <a:cs typeface="Segoe UI" pitchFamily="34" charset="0"/>
            </a:endParaRPr>
          </a:p>
        </p:txBody>
      </p:sp>
      <p:sp>
        <p:nvSpPr>
          <p:cNvPr id="19" name="Rectangle 43"/>
          <p:cNvSpPr/>
          <p:nvPr>
            <p:custDataLst>
              <p:tags r:id="rId2"/>
            </p:custDataLst>
          </p:nvPr>
        </p:nvSpPr>
        <p:spPr>
          <a:xfrm>
            <a:off x="8616566" y="2040562"/>
            <a:ext cx="2599818" cy="253541"/>
          </a:xfrm>
          <a:prstGeom prst="rect">
            <a:avLst/>
          </a:prstGeom>
        </p:spPr>
        <p:txBody>
          <a:bodyPr wrap="square">
            <a:spAutoFit/>
          </a:bodyPr>
          <a:lstStyle/>
          <a:p>
            <a:pPr marL="174922" lvl="1" indent="-128512" defTabSz="685405">
              <a:buClr>
                <a:srgbClr val="595959">
                  <a:lumMod val="75000"/>
                </a:srgbClr>
              </a:buClr>
              <a:buFont typeface="Arial" pitchFamily="34" charset="0"/>
              <a:buChar char="•"/>
              <a:defRPr/>
            </a:pPr>
            <a:endParaRPr lang="en-US" sz="1050" i="1" kern="0" dirty="0">
              <a:ln>
                <a:solidFill>
                  <a:srgbClr val="FFFFFF">
                    <a:alpha val="0"/>
                  </a:srgbClr>
                </a:solidFill>
              </a:ln>
              <a:solidFill>
                <a:srgbClr val="595959">
                  <a:lumMod val="75000"/>
                </a:srgbClr>
              </a:solidFill>
              <a:latin typeface="Segoe UI"/>
              <a:ea typeface="Segoe UI" pitchFamily="34" charset="0"/>
              <a:cs typeface="Segoe UI" pitchFamily="34" charset="0"/>
            </a:endParaRPr>
          </a:p>
        </p:txBody>
      </p:sp>
      <p:sp>
        <p:nvSpPr>
          <p:cNvPr id="20" name="Rectangle 45"/>
          <p:cNvSpPr/>
          <p:nvPr>
            <p:custDataLst>
              <p:tags r:id="rId3"/>
            </p:custDataLst>
          </p:nvPr>
        </p:nvSpPr>
        <p:spPr>
          <a:xfrm>
            <a:off x="8750747" y="3127939"/>
            <a:ext cx="2754757" cy="1220529"/>
          </a:xfrm>
          <a:prstGeom prst="rect">
            <a:avLst/>
          </a:prstGeom>
        </p:spPr>
        <p:txBody>
          <a:bodyPr wrap="square" lIns="0" rIns="0">
            <a:spAutoFit/>
          </a:bodyPr>
          <a:lstStyle/>
          <a:p>
            <a:pPr marL="174922" lvl="1" indent="-128512" defTabSz="685405">
              <a:spcBef>
                <a:spcPts val="400"/>
              </a:spcBef>
              <a:buClr>
                <a:srgbClr val="595959">
                  <a:lumMod val="75000"/>
                </a:srgbClr>
              </a:buClr>
              <a:buFont typeface="Arial" pitchFamily="34" charset="0"/>
              <a:buChar char="•"/>
              <a:defRPr/>
            </a:pPr>
            <a:r>
              <a:rPr lang="en-US" sz="1200" i="1" kern="0" dirty="0">
                <a:solidFill>
                  <a:sysClr val="windowText" lastClr="000000"/>
                </a:solidFill>
                <a:latin typeface="Segoe UI"/>
                <a:ea typeface="Segoe UI" pitchFamily="34" charset="0"/>
                <a:cs typeface="Segoe UI" pitchFamily="34" charset="0"/>
              </a:rPr>
              <a:t>Bots</a:t>
            </a:r>
          </a:p>
          <a:p>
            <a:pPr marL="174922" lvl="1" indent="-128512" defTabSz="685405">
              <a:spcBef>
                <a:spcPts val="400"/>
              </a:spcBef>
              <a:buClr>
                <a:srgbClr val="595959">
                  <a:lumMod val="75000"/>
                </a:srgbClr>
              </a:buClr>
              <a:buFont typeface="Arial" pitchFamily="34" charset="0"/>
              <a:buChar char="•"/>
              <a:defRPr/>
            </a:pPr>
            <a:r>
              <a:rPr lang="en-US" sz="1200" i="1" kern="0" dirty="0">
                <a:solidFill>
                  <a:sysClr val="windowText" lastClr="000000"/>
                </a:solidFill>
                <a:latin typeface="Segoe UI"/>
                <a:ea typeface="Segoe UI" pitchFamily="34" charset="0"/>
                <a:cs typeface="Segoe UI" pitchFamily="34" charset="0"/>
              </a:rPr>
              <a:t>Human-Computer Interface</a:t>
            </a:r>
          </a:p>
          <a:p>
            <a:pPr marL="174922" lvl="1" indent="-128512" defTabSz="685405">
              <a:spcBef>
                <a:spcPts val="400"/>
              </a:spcBef>
              <a:buClr>
                <a:srgbClr val="595959">
                  <a:lumMod val="75000"/>
                </a:srgbClr>
              </a:buClr>
              <a:buFont typeface="Arial" pitchFamily="34" charset="0"/>
              <a:buChar char="•"/>
              <a:defRPr/>
            </a:pPr>
            <a:r>
              <a:rPr lang="en-US" sz="1200" i="1" kern="0" dirty="0">
                <a:solidFill>
                  <a:sysClr val="windowText" lastClr="000000"/>
                </a:solidFill>
                <a:latin typeface="Segoe UI"/>
                <a:ea typeface="Segoe UI" pitchFamily="34" charset="0"/>
                <a:cs typeface="Segoe UI" pitchFamily="34" charset="0"/>
              </a:rPr>
              <a:t>Natural Language Processing</a:t>
            </a:r>
          </a:p>
          <a:p>
            <a:pPr marL="174922" lvl="1" indent="-128512" defTabSz="685405">
              <a:spcBef>
                <a:spcPts val="400"/>
              </a:spcBef>
              <a:buClr>
                <a:srgbClr val="595959">
                  <a:lumMod val="75000"/>
                </a:srgbClr>
              </a:buClr>
              <a:buFont typeface="Arial" pitchFamily="34" charset="0"/>
              <a:buChar char="•"/>
              <a:defRPr/>
            </a:pPr>
            <a:r>
              <a:rPr lang="en-US" sz="1200" i="1" kern="0" dirty="0">
                <a:solidFill>
                  <a:sysClr val="windowText" lastClr="000000"/>
                </a:solidFill>
                <a:latin typeface="Segoe UI"/>
                <a:ea typeface="Segoe UI" pitchFamily="34" charset="0"/>
                <a:cs typeface="Segoe UI" pitchFamily="34" charset="0"/>
              </a:rPr>
              <a:t>Machine Learning</a:t>
            </a:r>
          </a:p>
          <a:p>
            <a:pPr marL="174922" lvl="1" indent="-128512" defTabSz="685405">
              <a:spcBef>
                <a:spcPts val="400"/>
              </a:spcBef>
              <a:buClr>
                <a:srgbClr val="595959">
                  <a:lumMod val="75000"/>
                </a:srgbClr>
              </a:buClr>
              <a:buFont typeface="Arial" pitchFamily="34" charset="0"/>
              <a:buChar char="•"/>
              <a:defRPr/>
            </a:pPr>
            <a:r>
              <a:rPr lang="en-US" sz="1200" i="1" kern="0" dirty="0">
                <a:solidFill>
                  <a:sysClr val="windowText" lastClr="000000"/>
                </a:solidFill>
                <a:latin typeface="Segoe UI"/>
                <a:ea typeface="Segoe UI" pitchFamily="34" charset="0"/>
                <a:cs typeface="Segoe UI" pitchFamily="34" charset="0"/>
              </a:rPr>
              <a:t>Advanced Analytics</a:t>
            </a:r>
          </a:p>
        </p:txBody>
      </p:sp>
      <p:sp>
        <p:nvSpPr>
          <p:cNvPr id="22" name="Pentagon 46"/>
          <p:cNvSpPr/>
          <p:nvPr>
            <p:custDataLst>
              <p:tags r:id="rId4"/>
            </p:custDataLst>
          </p:nvPr>
        </p:nvSpPr>
        <p:spPr>
          <a:xfrm>
            <a:off x="2245203" y="4641893"/>
            <a:ext cx="6115938" cy="1383683"/>
          </a:xfrm>
          <a:prstGeom prst="homePlate">
            <a:avLst>
              <a:gd name="adj" fmla="val 29837"/>
            </a:avLst>
          </a:prstGeom>
          <a:solidFill>
            <a:schemeClr val="tx2"/>
          </a:solidFill>
          <a:ln w="25400" cap="flat" cmpd="sng" algn="ctr">
            <a:noFill/>
            <a:prstDash val="solid"/>
          </a:ln>
          <a:effectLst/>
        </p:spPr>
        <p:txBody>
          <a:bodyPr rtlCol="0" anchor="t"/>
          <a:lstStyle/>
          <a:p>
            <a:pPr marL="0" lvl="1" defTabSz="685405">
              <a:spcBef>
                <a:spcPts val="225"/>
              </a:spcBef>
              <a:buClr>
                <a:srgbClr val="595959">
                  <a:lumMod val="75000"/>
                </a:srgbClr>
              </a:buClr>
              <a:defRPr/>
            </a:pPr>
            <a:r>
              <a:rPr lang="en-IN" sz="1400" kern="0" dirty="0">
                <a:solidFill>
                  <a:prstClr val="white"/>
                </a:solidFill>
                <a:latin typeface="Segoe UI Semibold" panose="020B0702040204020203" pitchFamily="34" charset="0"/>
                <a:ea typeface="Segoe UI" pitchFamily="34" charset="0"/>
                <a:cs typeface="Segoe UI Semibold" panose="020B0702040204020203" pitchFamily="34" charset="0"/>
              </a:rPr>
              <a:t>Phase 1: Connect the vehicle and build the edge compute foundation</a:t>
            </a:r>
          </a:p>
          <a:p>
            <a:pPr marL="231705" lvl="1" indent="-115853" defTabSz="685405">
              <a:spcAft>
                <a:spcPts val="200"/>
              </a:spcAft>
              <a:buFont typeface="Arial" pitchFamily="34" charset="0"/>
              <a:buChar char="•"/>
              <a:defRPr/>
            </a:pPr>
            <a:r>
              <a:rPr lang="en-IN" sz="1200" i="1" kern="0" dirty="0">
                <a:solidFill>
                  <a:prstClr val="white"/>
                </a:solidFill>
                <a:latin typeface="Segoe UI"/>
                <a:ea typeface="Segoe UI" pitchFamily="34" charset="0"/>
                <a:cs typeface="Segoe UI" pitchFamily="34" charset="0"/>
              </a:rPr>
              <a:t>Design, test and deploy edge compute, data connectivity instrumentation, platform and telemetry capabilities</a:t>
            </a:r>
          </a:p>
          <a:p>
            <a:pPr marL="231705" lvl="1" indent="-115853" defTabSz="685405">
              <a:spcAft>
                <a:spcPts val="200"/>
              </a:spcAft>
              <a:buFont typeface="Arial" pitchFamily="34" charset="0"/>
              <a:buChar char="•"/>
              <a:defRPr/>
            </a:pPr>
            <a:r>
              <a:rPr lang="en-IN" sz="1200" i="1" kern="0" dirty="0">
                <a:solidFill>
                  <a:prstClr val="white"/>
                </a:solidFill>
                <a:latin typeface="Segoe UI"/>
                <a:ea typeface="Segoe UI" pitchFamily="34" charset="0"/>
                <a:cs typeface="Segoe UI" pitchFamily="34" charset="0"/>
              </a:rPr>
              <a:t>Test connectivity links, data logs and data banks</a:t>
            </a:r>
          </a:p>
          <a:p>
            <a:pPr marL="231705" lvl="1" indent="-115853" defTabSz="685405">
              <a:spcAft>
                <a:spcPts val="200"/>
              </a:spcAft>
              <a:buFont typeface="Arial" pitchFamily="34" charset="0"/>
              <a:buChar char="•"/>
              <a:defRPr/>
            </a:pPr>
            <a:r>
              <a:rPr lang="en-IN" sz="1200" i="1" kern="0" dirty="0">
                <a:solidFill>
                  <a:prstClr val="white"/>
                </a:solidFill>
                <a:latin typeface="Segoe UI"/>
                <a:ea typeface="Segoe UI" pitchFamily="34" charset="0"/>
                <a:cs typeface="Segoe UI" pitchFamily="34" charset="0"/>
              </a:rPr>
              <a:t>Establish baseline capability for human-to-computer interactions and apps</a:t>
            </a:r>
          </a:p>
        </p:txBody>
      </p:sp>
      <p:sp>
        <p:nvSpPr>
          <p:cNvPr id="23" name="Right Arrow 22"/>
          <p:cNvSpPr/>
          <p:nvPr/>
        </p:nvSpPr>
        <p:spPr>
          <a:xfrm>
            <a:off x="305272" y="5998381"/>
            <a:ext cx="11161205" cy="489174"/>
          </a:xfrm>
          <a:prstGeom prst="rightArrow">
            <a:avLst/>
          </a:prstGeom>
          <a:solidFill>
            <a:schemeClr val="bg1">
              <a:lumMod val="75000"/>
            </a:schemeClr>
          </a:solidFill>
          <a:ln w="9525" cap="flat" cmpd="sng" algn="ctr">
            <a:noFill/>
            <a:prstDash val="solid"/>
          </a:ln>
          <a:effectLst/>
        </p:spPr>
        <p:txBody>
          <a:bodyPr rot="0" spcFirstLastPara="0" vertOverflow="overflow" horzOverflow="overflow" vert="horz" wrap="square" lIns="91416" tIns="45696" rIns="91416" bIns="45696" numCol="1" spcCol="0" rtlCol="0" fromWordArt="0" anchor="ctr" anchorCtr="0" forceAA="0" compatLnSpc="1">
            <a:prstTxWarp prst="textNoShape">
              <a:avLst/>
            </a:prstTxWarp>
            <a:noAutofit/>
          </a:bodyPr>
          <a:lstStyle/>
          <a:p>
            <a:pPr algn="ctr" defTabSz="609113">
              <a:defRPr/>
            </a:pPr>
            <a:r>
              <a:rPr lang="en-US" sz="1400" kern="0" dirty="0">
                <a:solidFill>
                  <a:srgbClr val="505050"/>
                </a:solidFill>
                <a:latin typeface="Segoe UI Semibold" panose="020B0702040204020203" pitchFamily="34" charset="0"/>
                <a:cs typeface="Segoe UI Semibold" panose="020B0702040204020203" pitchFamily="34" charset="0"/>
              </a:rPr>
              <a:t>Time</a:t>
            </a:r>
          </a:p>
        </p:txBody>
      </p:sp>
      <p:sp>
        <p:nvSpPr>
          <p:cNvPr id="24" name="Right Arrow 23"/>
          <p:cNvSpPr/>
          <p:nvPr/>
        </p:nvSpPr>
        <p:spPr>
          <a:xfrm rot="5400000" flipH="1">
            <a:off x="9121044" y="3450585"/>
            <a:ext cx="5108127" cy="494149"/>
          </a:xfrm>
          <a:prstGeom prst="rightArrow">
            <a:avLst/>
          </a:prstGeom>
          <a:solidFill>
            <a:schemeClr val="bg1">
              <a:lumMod val="75000"/>
            </a:schemeClr>
          </a:solidFill>
          <a:ln w="9525" cap="flat" cmpd="sng" algn="ctr">
            <a:noFill/>
            <a:prstDash val="solid"/>
          </a:ln>
          <a:effectLst/>
        </p:spPr>
        <p:txBody>
          <a:bodyPr rot="0" spcFirstLastPara="0" vertOverflow="overflow" horzOverflow="overflow" vert="horz" wrap="square" lIns="91416" tIns="45696" rIns="91416" bIns="45696" numCol="1" spcCol="0" rtlCol="0" fromWordArt="0" anchor="ctr" anchorCtr="0" forceAA="0" compatLnSpc="1">
            <a:prstTxWarp prst="textNoShape">
              <a:avLst/>
            </a:prstTxWarp>
            <a:noAutofit/>
          </a:bodyPr>
          <a:lstStyle/>
          <a:p>
            <a:pPr algn="ctr" defTabSz="609113">
              <a:defRPr/>
            </a:pPr>
            <a:r>
              <a:rPr lang="en-US" sz="1400" kern="0" dirty="0">
                <a:solidFill>
                  <a:srgbClr val="505050"/>
                </a:solidFill>
                <a:latin typeface="Segoe UI Semibold" panose="020B0702040204020203" pitchFamily="34" charset="0"/>
                <a:cs typeface="Segoe UI Semibold" panose="020B0702040204020203" pitchFamily="34" charset="0"/>
              </a:rPr>
              <a:t>Value</a:t>
            </a:r>
          </a:p>
        </p:txBody>
      </p:sp>
      <p:sp>
        <p:nvSpPr>
          <p:cNvPr id="25" name="TextBox 24"/>
          <p:cNvSpPr txBox="1"/>
          <p:nvPr/>
        </p:nvSpPr>
        <p:spPr>
          <a:xfrm>
            <a:off x="9110556" y="1367149"/>
            <a:ext cx="1611836" cy="307568"/>
          </a:xfrm>
          <a:prstGeom prst="rect">
            <a:avLst/>
          </a:prstGeom>
          <a:noFill/>
        </p:spPr>
        <p:txBody>
          <a:bodyPr wrap="square" lIns="0" tIns="0" rIns="0" bIns="0" rtlCol="0" anchor="ctr">
            <a:spAutoFit/>
          </a:bodyPr>
          <a:lstStyle/>
          <a:p>
            <a:pPr defTabSz="609113">
              <a:defRPr/>
            </a:pPr>
            <a:r>
              <a:rPr lang="en-US" sz="1998" kern="0" dirty="0">
                <a:solidFill>
                  <a:sysClr val="windowText" lastClr="000000"/>
                </a:solidFill>
                <a:latin typeface="Segoe UI Semibold" panose="020B0702040204020203" pitchFamily="34" charset="0"/>
                <a:cs typeface="Segoe UI Semibold" panose="020B0702040204020203" pitchFamily="34" charset="0"/>
              </a:rPr>
              <a:t>IT Projects</a:t>
            </a:r>
          </a:p>
        </p:txBody>
      </p:sp>
      <p:sp>
        <p:nvSpPr>
          <p:cNvPr id="26" name="Pentagon 42"/>
          <p:cNvSpPr/>
          <p:nvPr>
            <p:custDataLst>
              <p:tags r:id="rId5"/>
            </p:custDataLst>
          </p:nvPr>
        </p:nvSpPr>
        <p:spPr>
          <a:xfrm>
            <a:off x="3225998" y="1746940"/>
            <a:ext cx="5558164" cy="1278270"/>
          </a:xfrm>
          <a:prstGeom prst="homePlate">
            <a:avLst>
              <a:gd name="adj" fmla="val 26190"/>
            </a:avLst>
          </a:prstGeom>
          <a:solidFill>
            <a:schemeClr val="tx2"/>
          </a:solidFill>
          <a:ln w="25400" cap="flat" cmpd="sng" algn="ctr">
            <a:noFill/>
            <a:prstDash val="solid"/>
          </a:ln>
          <a:effectLst/>
        </p:spPr>
        <p:txBody>
          <a:bodyPr rtlCol="0" anchor="t">
            <a:noAutofit/>
          </a:bodyPr>
          <a:lstStyle/>
          <a:p>
            <a:pPr marL="0" lvl="1" defTabSz="685405">
              <a:spcBef>
                <a:spcPts val="225"/>
              </a:spcBef>
              <a:buClr>
                <a:srgbClr val="595959">
                  <a:lumMod val="75000"/>
                </a:srgbClr>
              </a:buClr>
              <a:defRPr/>
            </a:pPr>
            <a:r>
              <a:rPr lang="en-IN" sz="1400" kern="0" dirty="0">
                <a:solidFill>
                  <a:prstClr val="white"/>
                </a:solidFill>
                <a:latin typeface="Segoe UI Semibold" panose="020B0702040204020203" pitchFamily="34" charset="0"/>
                <a:ea typeface="Segoe UI" pitchFamily="34" charset="0"/>
                <a:cs typeface="Segoe UI Semibold" panose="020B0702040204020203" pitchFamily="34" charset="0"/>
              </a:rPr>
              <a:t>Phase 3: Advanced human-computer interactions</a:t>
            </a:r>
          </a:p>
          <a:p>
            <a:pPr marL="228531" lvl="1" indent="-165050" defTabSz="685405">
              <a:spcAft>
                <a:spcPts val="300"/>
              </a:spcAft>
              <a:buFont typeface="Arial" pitchFamily="34" charset="0"/>
              <a:buChar char="•"/>
              <a:defRPr/>
            </a:pPr>
            <a:r>
              <a:rPr lang="en-US" sz="1200" i="1" kern="0" dirty="0">
                <a:solidFill>
                  <a:prstClr val="white"/>
                </a:solidFill>
                <a:latin typeface="Segoe UI"/>
                <a:ea typeface="Segoe UI" pitchFamily="34" charset="0"/>
                <a:cs typeface="Segoe UI" pitchFamily="34" charset="0"/>
              </a:rPr>
              <a:t>Analyze customer service, preferences, resource and asset availability</a:t>
            </a:r>
          </a:p>
          <a:p>
            <a:pPr marL="228531" lvl="1" indent="-165050" defTabSz="685405">
              <a:spcAft>
                <a:spcPts val="300"/>
              </a:spcAft>
              <a:buFont typeface="Arial" pitchFamily="34" charset="0"/>
              <a:buChar char="•"/>
              <a:defRPr/>
            </a:pPr>
            <a:r>
              <a:rPr lang="en-US" sz="1200" i="1" kern="0" dirty="0">
                <a:solidFill>
                  <a:prstClr val="white"/>
                </a:solidFill>
                <a:latin typeface="Segoe UI"/>
                <a:ea typeface="Segoe UI" pitchFamily="34" charset="0"/>
                <a:cs typeface="Segoe UI" pitchFamily="34" charset="0"/>
              </a:rPr>
              <a:t>Recommend actions</a:t>
            </a:r>
          </a:p>
          <a:p>
            <a:pPr marL="228531" lvl="1" indent="-165050" defTabSz="685405">
              <a:spcAft>
                <a:spcPts val="300"/>
              </a:spcAft>
              <a:buFont typeface="Arial" pitchFamily="34" charset="0"/>
              <a:buChar char="•"/>
              <a:defRPr/>
            </a:pPr>
            <a:r>
              <a:rPr lang="en-US" sz="1200" i="1" kern="0" dirty="0">
                <a:solidFill>
                  <a:prstClr val="white"/>
                </a:solidFill>
                <a:latin typeface="Segoe UI"/>
                <a:ea typeface="Segoe UI" pitchFamily="34" charset="0"/>
                <a:cs typeface="Segoe UI" pitchFamily="34" charset="0"/>
              </a:rPr>
              <a:t>Expand services provided by bots to provide insightful guidance</a:t>
            </a:r>
          </a:p>
          <a:p>
            <a:pPr marL="228531" lvl="1" indent="-165050" defTabSz="685405">
              <a:spcAft>
                <a:spcPts val="300"/>
              </a:spcAft>
              <a:buFont typeface="Arial" pitchFamily="34" charset="0"/>
              <a:buChar char="•"/>
              <a:defRPr/>
            </a:pPr>
            <a:r>
              <a:rPr lang="en-US" sz="1200" i="1" kern="0" dirty="0">
                <a:solidFill>
                  <a:prstClr val="white"/>
                </a:solidFill>
                <a:latin typeface="Segoe UI"/>
                <a:ea typeface="Segoe UI" pitchFamily="34" charset="0"/>
                <a:cs typeface="Segoe UI" pitchFamily="34" charset="0"/>
              </a:rPr>
              <a:t>Proactive bots that act autonomously based on deep insight</a:t>
            </a:r>
          </a:p>
        </p:txBody>
      </p:sp>
      <p:sp>
        <p:nvSpPr>
          <p:cNvPr id="27" name="Rectangle 45"/>
          <p:cNvSpPr/>
          <p:nvPr>
            <p:custDataLst>
              <p:tags r:id="rId6"/>
            </p:custDataLst>
          </p:nvPr>
        </p:nvSpPr>
        <p:spPr>
          <a:xfrm>
            <a:off x="8828216" y="1746939"/>
            <a:ext cx="2808318" cy="892320"/>
          </a:xfrm>
          <a:prstGeom prst="rect">
            <a:avLst/>
          </a:prstGeom>
        </p:spPr>
        <p:txBody>
          <a:bodyPr wrap="square" lIns="0" tIns="0" rIns="0" bIns="0">
            <a:spAutoFit/>
          </a:bodyPr>
          <a:lstStyle/>
          <a:p>
            <a:pPr marL="174922" lvl="1" indent="-128512" defTabSz="685405">
              <a:spcBef>
                <a:spcPts val="400"/>
              </a:spcBef>
              <a:buClr>
                <a:srgbClr val="595959">
                  <a:lumMod val="75000"/>
                </a:srgbClr>
              </a:buClr>
              <a:buFont typeface="Arial" pitchFamily="34" charset="0"/>
              <a:buChar char="•"/>
              <a:defRPr/>
            </a:pPr>
            <a:r>
              <a:rPr lang="en-US" sz="1200" i="1" kern="0" dirty="0">
                <a:solidFill>
                  <a:sysClr val="windowText" lastClr="000000"/>
                </a:solidFill>
                <a:latin typeface="Segoe UI"/>
                <a:ea typeface="Segoe UI" pitchFamily="34" charset="0"/>
                <a:cs typeface="Segoe UI" pitchFamily="34" charset="0"/>
              </a:rPr>
              <a:t>Bots</a:t>
            </a:r>
          </a:p>
          <a:p>
            <a:pPr marL="174922" lvl="1" indent="-128512" defTabSz="685405">
              <a:spcBef>
                <a:spcPts val="400"/>
              </a:spcBef>
              <a:buClr>
                <a:srgbClr val="595959">
                  <a:lumMod val="75000"/>
                </a:srgbClr>
              </a:buClr>
              <a:buFont typeface="Arial" pitchFamily="34" charset="0"/>
              <a:buChar char="•"/>
              <a:defRPr/>
            </a:pPr>
            <a:r>
              <a:rPr lang="en-US" sz="1200" i="1" kern="0" dirty="0">
                <a:solidFill>
                  <a:sysClr val="windowText" lastClr="000000"/>
                </a:solidFill>
                <a:latin typeface="Segoe UI"/>
                <a:ea typeface="Segoe UI" pitchFamily="34" charset="0"/>
                <a:cs typeface="Segoe UI" pitchFamily="34" charset="0"/>
              </a:rPr>
              <a:t>Human Computer Interface</a:t>
            </a:r>
          </a:p>
          <a:p>
            <a:pPr marL="174922" lvl="1" indent="-128512" defTabSz="685405">
              <a:spcBef>
                <a:spcPts val="400"/>
              </a:spcBef>
              <a:buClr>
                <a:srgbClr val="595959">
                  <a:lumMod val="75000"/>
                </a:srgbClr>
              </a:buClr>
              <a:buFont typeface="Arial" pitchFamily="34" charset="0"/>
              <a:buChar char="•"/>
              <a:defRPr/>
            </a:pPr>
            <a:r>
              <a:rPr lang="en-US" sz="1200" i="1" kern="0" dirty="0">
                <a:solidFill>
                  <a:sysClr val="windowText" lastClr="000000"/>
                </a:solidFill>
                <a:latin typeface="Segoe UI"/>
                <a:ea typeface="Segoe UI" pitchFamily="34" charset="0"/>
                <a:cs typeface="Segoe UI" pitchFamily="34" charset="0"/>
              </a:rPr>
              <a:t>Natural Language Processing</a:t>
            </a:r>
          </a:p>
          <a:p>
            <a:pPr marL="174922" lvl="1" indent="-128512" defTabSz="685405">
              <a:spcBef>
                <a:spcPts val="400"/>
              </a:spcBef>
              <a:buClr>
                <a:srgbClr val="595959">
                  <a:lumMod val="75000"/>
                </a:srgbClr>
              </a:buClr>
              <a:buFont typeface="Arial" pitchFamily="34" charset="0"/>
              <a:buChar char="•"/>
              <a:defRPr/>
            </a:pPr>
            <a:r>
              <a:rPr lang="en-US" sz="1200" i="1" kern="0" dirty="0">
                <a:solidFill>
                  <a:sysClr val="windowText" lastClr="000000"/>
                </a:solidFill>
                <a:latin typeface="Segoe UI"/>
                <a:ea typeface="Segoe UI" pitchFamily="34" charset="0"/>
                <a:cs typeface="Segoe UI" pitchFamily="34" charset="0"/>
              </a:rPr>
              <a:t>AI &amp; Machine Learning</a:t>
            </a:r>
          </a:p>
        </p:txBody>
      </p:sp>
      <p:sp>
        <p:nvSpPr>
          <p:cNvPr id="28" name="Rectangle 50"/>
          <p:cNvSpPr/>
          <p:nvPr>
            <p:custDataLst>
              <p:tags r:id="rId7"/>
            </p:custDataLst>
          </p:nvPr>
        </p:nvSpPr>
        <p:spPr>
          <a:xfrm>
            <a:off x="300645" y="3189992"/>
            <a:ext cx="2262520" cy="1038746"/>
          </a:xfrm>
          <a:prstGeom prst="rect">
            <a:avLst/>
          </a:prstGeom>
        </p:spPr>
        <p:txBody>
          <a:bodyPr wrap="square" lIns="0" tIns="0" rIns="0" bIns="0">
            <a:spAutoFit/>
          </a:bodyPr>
          <a:lstStyle/>
          <a:p>
            <a:pPr marL="122201" indent="-122201" defTabSz="456835">
              <a:spcBef>
                <a:spcPts val="100"/>
              </a:spcBef>
              <a:spcAft>
                <a:spcPts val="200"/>
              </a:spcAft>
              <a:buFont typeface="Arial" panose="020B0604020202020204" pitchFamily="34" charset="0"/>
              <a:buChar char="•"/>
              <a:defRPr/>
            </a:pPr>
            <a:r>
              <a:rPr lang="en-US" sz="1200" kern="0" dirty="0">
                <a:solidFill>
                  <a:sysClr val="windowText" lastClr="000000"/>
                </a:solidFill>
                <a:latin typeface="Segoe UI"/>
                <a:ea typeface="Segoe UI" pitchFamily="34" charset="0"/>
                <a:cs typeface="Segoe UI Semibold" panose="020B0702040204020203" pitchFamily="34" charset="0"/>
              </a:rPr>
              <a:t>Better understand customers</a:t>
            </a:r>
          </a:p>
          <a:p>
            <a:pPr marL="122201" indent="-122201" defTabSz="456835">
              <a:spcBef>
                <a:spcPts val="100"/>
              </a:spcBef>
              <a:spcAft>
                <a:spcPts val="200"/>
              </a:spcAft>
              <a:buFont typeface="Arial" panose="020B0604020202020204" pitchFamily="34" charset="0"/>
              <a:buChar char="•"/>
              <a:defRPr/>
            </a:pPr>
            <a:r>
              <a:rPr lang="en-US" sz="1200" kern="0" dirty="0">
                <a:solidFill>
                  <a:sysClr val="windowText" lastClr="000000"/>
                </a:solidFill>
                <a:latin typeface="Segoe UI"/>
                <a:ea typeface="Segoe UI" pitchFamily="34" charset="0"/>
                <a:cs typeface="Segoe UI Semibold" panose="020B0702040204020203" pitchFamily="34" charset="0"/>
              </a:rPr>
              <a:t>Improve business insight and workflow</a:t>
            </a:r>
          </a:p>
          <a:p>
            <a:pPr marL="122201" indent="-122201" defTabSz="456835">
              <a:spcBef>
                <a:spcPts val="100"/>
              </a:spcBef>
              <a:spcAft>
                <a:spcPts val="200"/>
              </a:spcAft>
              <a:buFont typeface="Arial" panose="020B0604020202020204" pitchFamily="34" charset="0"/>
              <a:buChar char="•"/>
              <a:defRPr/>
            </a:pPr>
            <a:r>
              <a:rPr lang="en-US" sz="1200" kern="0" dirty="0">
                <a:solidFill>
                  <a:sysClr val="windowText" lastClr="000000"/>
                </a:solidFill>
                <a:latin typeface="Segoe UI"/>
                <a:ea typeface="Segoe UI" pitchFamily="34" charset="0"/>
                <a:cs typeface="Segoe UI Semibold" panose="020B0702040204020203" pitchFamily="34" charset="0"/>
              </a:rPr>
              <a:t>Unified customer view</a:t>
            </a:r>
          </a:p>
          <a:p>
            <a:pPr marL="122201" indent="-122201" defTabSz="456835">
              <a:spcBef>
                <a:spcPts val="100"/>
              </a:spcBef>
              <a:spcAft>
                <a:spcPts val="200"/>
              </a:spcAft>
              <a:buFont typeface="Arial" panose="020B0604020202020204" pitchFamily="34" charset="0"/>
              <a:buChar char="•"/>
              <a:defRPr/>
            </a:pPr>
            <a:r>
              <a:rPr lang="en-US" sz="1200" kern="0" dirty="0">
                <a:solidFill>
                  <a:sysClr val="windowText" lastClr="000000"/>
                </a:solidFill>
                <a:latin typeface="Segoe UI"/>
                <a:ea typeface="Segoe UI" pitchFamily="34" charset="0"/>
                <a:cs typeface="Segoe UI Semibold" panose="020B0702040204020203" pitchFamily="34" charset="0"/>
              </a:rPr>
              <a:t>Sentiment analysis</a:t>
            </a:r>
          </a:p>
        </p:txBody>
      </p:sp>
      <p:sp>
        <p:nvSpPr>
          <p:cNvPr id="29" name="Rectangle 48"/>
          <p:cNvSpPr/>
          <p:nvPr>
            <p:custDataLst>
              <p:tags r:id="rId8"/>
            </p:custDataLst>
          </p:nvPr>
        </p:nvSpPr>
        <p:spPr>
          <a:xfrm>
            <a:off x="305271" y="4641893"/>
            <a:ext cx="1926436" cy="1369606"/>
          </a:xfrm>
          <a:prstGeom prst="rect">
            <a:avLst/>
          </a:prstGeom>
        </p:spPr>
        <p:txBody>
          <a:bodyPr wrap="square" lIns="0" tIns="0" rIns="0" bIns="0">
            <a:spAutoFit/>
          </a:bodyPr>
          <a:lstStyle/>
          <a:p>
            <a:pPr marL="122201" indent="-122201" defTabSz="456835">
              <a:spcBef>
                <a:spcPts val="100"/>
              </a:spcBef>
              <a:spcAft>
                <a:spcPts val="200"/>
              </a:spcAft>
              <a:buFont typeface="Arial" panose="020B0604020202020204" pitchFamily="34" charset="0"/>
              <a:buChar char="•"/>
              <a:defRPr/>
            </a:pPr>
            <a:r>
              <a:rPr lang="en-US" sz="1200" kern="0" dirty="0">
                <a:solidFill>
                  <a:sysClr val="windowText" lastClr="000000"/>
                </a:solidFill>
                <a:latin typeface="Segoe UI"/>
                <a:ea typeface="Segoe UI" pitchFamily="34" charset="0"/>
                <a:cs typeface="Segoe UI Semibold" panose="020B0702040204020203" pitchFamily="34" charset="0"/>
              </a:rPr>
              <a:t>Establish basic car to HQ human computer interactions</a:t>
            </a:r>
          </a:p>
          <a:p>
            <a:pPr marL="122201" indent="-122201" defTabSz="456835">
              <a:spcBef>
                <a:spcPts val="100"/>
              </a:spcBef>
              <a:spcAft>
                <a:spcPts val="200"/>
              </a:spcAft>
              <a:buFont typeface="Arial" panose="020B0604020202020204" pitchFamily="34" charset="0"/>
              <a:buChar char="•"/>
              <a:defRPr/>
            </a:pPr>
            <a:r>
              <a:rPr lang="en-US" sz="1200" kern="0" dirty="0">
                <a:solidFill>
                  <a:sysClr val="windowText" lastClr="000000"/>
                </a:solidFill>
                <a:latin typeface="Segoe UI"/>
                <a:ea typeface="Segoe UI" pitchFamily="34" charset="0"/>
                <a:cs typeface="Segoe UI Semibold" panose="020B0702040204020203" pitchFamily="34" charset="0"/>
              </a:rPr>
              <a:t>Data flow and management capabilities</a:t>
            </a:r>
          </a:p>
          <a:p>
            <a:pPr marL="122201" indent="-122201" defTabSz="456835">
              <a:spcBef>
                <a:spcPts val="100"/>
              </a:spcBef>
              <a:spcAft>
                <a:spcPts val="200"/>
              </a:spcAft>
              <a:buFont typeface="Arial" panose="020B0604020202020204" pitchFamily="34" charset="0"/>
              <a:buChar char="•"/>
              <a:defRPr/>
            </a:pPr>
            <a:r>
              <a:rPr lang="en-US" sz="1200" kern="0" dirty="0">
                <a:solidFill>
                  <a:sysClr val="windowText" lastClr="000000"/>
                </a:solidFill>
                <a:latin typeface="Segoe UI"/>
                <a:ea typeface="Segoe UI" pitchFamily="34" charset="0"/>
                <a:cs typeface="Segoe UI Semibold" panose="020B0702040204020203" pitchFamily="34" charset="0"/>
              </a:rPr>
              <a:t>Support for telemetry and human-computer requests</a:t>
            </a:r>
          </a:p>
        </p:txBody>
      </p:sp>
      <p:sp>
        <p:nvSpPr>
          <p:cNvPr id="30" name="Rectangle 50"/>
          <p:cNvSpPr/>
          <p:nvPr>
            <p:custDataLst>
              <p:tags r:id="rId9"/>
            </p:custDataLst>
          </p:nvPr>
        </p:nvSpPr>
        <p:spPr>
          <a:xfrm>
            <a:off x="300644" y="1746939"/>
            <a:ext cx="2713705" cy="853858"/>
          </a:xfrm>
          <a:prstGeom prst="rect">
            <a:avLst/>
          </a:prstGeom>
        </p:spPr>
        <p:txBody>
          <a:bodyPr wrap="square" lIns="0" tIns="0" rIns="0" bIns="0">
            <a:spAutoFit/>
          </a:bodyPr>
          <a:lstStyle/>
          <a:p>
            <a:pPr marL="122201" indent="-122201" defTabSz="456835">
              <a:spcBef>
                <a:spcPts val="100"/>
              </a:spcBef>
              <a:spcAft>
                <a:spcPts val="200"/>
              </a:spcAft>
              <a:buFont typeface="Arial" panose="020B0604020202020204" pitchFamily="34" charset="0"/>
              <a:buChar char="•"/>
              <a:defRPr/>
            </a:pPr>
            <a:r>
              <a:rPr lang="en-US" sz="1200" kern="0" dirty="0">
                <a:solidFill>
                  <a:sysClr val="windowText" lastClr="000000"/>
                </a:solidFill>
                <a:latin typeface="Segoe UI"/>
                <a:ea typeface="Segoe UI" pitchFamily="34" charset="0"/>
                <a:cs typeface="Segoe UI Semibold" panose="020B0702040204020203" pitchFamily="34" charset="0"/>
              </a:rPr>
              <a:t>New sources of revenue</a:t>
            </a:r>
          </a:p>
          <a:p>
            <a:pPr marL="122201" indent="-122201" defTabSz="456835">
              <a:spcBef>
                <a:spcPts val="100"/>
              </a:spcBef>
              <a:spcAft>
                <a:spcPts val="200"/>
              </a:spcAft>
              <a:buFont typeface="Arial" panose="020B0604020202020204" pitchFamily="34" charset="0"/>
              <a:buChar char="•"/>
              <a:defRPr/>
            </a:pPr>
            <a:r>
              <a:rPr lang="en-US" sz="1200" kern="0" dirty="0">
                <a:solidFill>
                  <a:sysClr val="windowText" lastClr="000000"/>
                </a:solidFill>
                <a:latin typeface="Segoe UI"/>
                <a:ea typeface="Segoe UI" pitchFamily="34" charset="0"/>
                <a:cs typeface="Segoe UI Semibold" panose="020B0702040204020203" pitchFamily="34" charset="0"/>
              </a:rPr>
              <a:t>Improved customer satisfaction</a:t>
            </a:r>
          </a:p>
          <a:p>
            <a:pPr marL="122201" indent="-122201" defTabSz="456835">
              <a:spcBef>
                <a:spcPts val="100"/>
              </a:spcBef>
              <a:spcAft>
                <a:spcPts val="200"/>
              </a:spcAft>
              <a:buFont typeface="Arial" panose="020B0604020202020204" pitchFamily="34" charset="0"/>
              <a:buChar char="•"/>
              <a:defRPr/>
            </a:pPr>
            <a:r>
              <a:rPr lang="en-US" sz="1200" kern="0" dirty="0">
                <a:solidFill>
                  <a:sysClr val="windowText" lastClr="000000"/>
                </a:solidFill>
                <a:latin typeface="Segoe UI"/>
                <a:ea typeface="Segoe UI" pitchFamily="34" charset="0"/>
                <a:cs typeface="Segoe UI Semibold" panose="020B0702040204020203" pitchFamily="34" charset="0"/>
              </a:rPr>
              <a:t>Improved market/wallet share</a:t>
            </a:r>
          </a:p>
          <a:p>
            <a:pPr marL="122201" indent="-122201" defTabSz="456835">
              <a:spcBef>
                <a:spcPts val="100"/>
              </a:spcBef>
              <a:spcAft>
                <a:spcPts val="200"/>
              </a:spcAft>
              <a:buFont typeface="Arial" panose="020B0604020202020204" pitchFamily="34" charset="0"/>
              <a:buChar char="•"/>
              <a:defRPr/>
            </a:pPr>
            <a:r>
              <a:rPr lang="en-US" sz="1200" kern="0" dirty="0">
                <a:solidFill>
                  <a:sysClr val="windowText" lastClr="000000"/>
                </a:solidFill>
                <a:latin typeface="Segoe UI"/>
                <a:ea typeface="Segoe UI" pitchFamily="34" charset="0"/>
                <a:cs typeface="Segoe UI Semibold" panose="020B0702040204020203" pitchFamily="34" charset="0"/>
              </a:rPr>
              <a:t>Reduced customer churn</a:t>
            </a:r>
          </a:p>
        </p:txBody>
      </p:sp>
      <p:sp>
        <p:nvSpPr>
          <p:cNvPr id="31" name="TextBox 30"/>
          <p:cNvSpPr txBox="1"/>
          <p:nvPr/>
        </p:nvSpPr>
        <p:spPr>
          <a:xfrm>
            <a:off x="803973" y="1370856"/>
            <a:ext cx="2568593" cy="307194"/>
          </a:xfrm>
          <a:prstGeom prst="rect">
            <a:avLst/>
          </a:prstGeom>
          <a:noFill/>
        </p:spPr>
        <p:txBody>
          <a:bodyPr wrap="square" lIns="0" tIns="0" rIns="0" bIns="0" rtlCol="0" anchor="ctr">
            <a:spAutoFit/>
          </a:bodyPr>
          <a:lstStyle/>
          <a:p>
            <a:pPr defTabSz="609113">
              <a:defRPr/>
            </a:pPr>
            <a:r>
              <a:rPr lang="en-US" sz="1998" kern="0" dirty="0">
                <a:solidFill>
                  <a:sysClr val="windowText" lastClr="000000"/>
                </a:solidFill>
                <a:latin typeface="Segoe UI Semibold" panose="020B0702040204020203" pitchFamily="34" charset="0"/>
                <a:cs typeface="Segoe UI Semibold" panose="020B0702040204020203" pitchFamily="34" charset="0"/>
              </a:rPr>
              <a:t>Business Benefits</a:t>
            </a:r>
          </a:p>
        </p:txBody>
      </p:sp>
      <p:sp>
        <p:nvSpPr>
          <p:cNvPr id="18" name="Text Placeholder 6"/>
          <p:cNvSpPr txBox="1">
            <a:spLocks/>
          </p:cNvSpPr>
          <p:nvPr/>
        </p:nvSpPr>
        <p:spPr>
          <a:xfrm>
            <a:off x="9881654" y="143852"/>
            <a:ext cx="2000863" cy="456111"/>
          </a:xfrm>
          <a:prstGeom prst="rect">
            <a:avLst/>
          </a:prstGeom>
        </p:spPr>
        <p:txBody>
          <a:bodyPr vert="horz" lIns="319957" tIns="53311" rIns="53311" bIns="53311" rtlCol="0">
            <a:noAutofit/>
          </a:bodyPr>
          <a:lstStyle>
            <a:lvl1pPr marL="0" indent="0" algn="l" defTabSz="1088105" rtl="0" eaLnBrk="1" latinLnBrk="0" hangingPunct="1">
              <a:spcBef>
                <a:spcPts val="1800"/>
              </a:spcBef>
              <a:buClr>
                <a:srgbClr val="0072C6"/>
              </a:buClr>
              <a:buSzPct val="100000"/>
              <a:buFont typeface="Wingdings" pitchFamily="2" charset="2"/>
              <a:buNone/>
              <a:defRPr sz="2800" kern="1200">
                <a:solidFill>
                  <a:schemeClr val="tx1"/>
                </a:solidFill>
                <a:latin typeface="Segoe UI Light" pitchFamily="34" charset="0"/>
                <a:ea typeface="Segoe UI" pitchFamily="34" charset="0"/>
                <a:cs typeface="Segoe UI" pitchFamily="34" charset="0"/>
              </a:defRPr>
            </a:lvl1pPr>
            <a:lvl2pPr marL="281674" indent="0" algn="l" defTabSz="1088105" rtl="0" eaLnBrk="1" latinLnBrk="0" hangingPunct="1">
              <a:spcBef>
                <a:spcPct val="20000"/>
              </a:spcBef>
              <a:buFont typeface="Arial" pitchFamily="34" charset="0"/>
              <a:buNone/>
              <a:defRPr sz="1800" kern="1200">
                <a:solidFill>
                  <a:schemeClr val="tx1"/>
                </a:solidFill>
                <a:latin typeface="Segoe UI" pitchFamily="34" charset="0"/>
                <a:ea typeface="Segoe UI" pitchFamily="34" charset="0"/>
                <a:cs typeface="Segoe UI" pitchFamily="34" charset="0"/>
              </a:defRPr>
            </a:lvl2pPr>
            <a:lvl3pPr marL="588476" indent="0" algn="l" defTabSz="1088105" rtl="0" eaLnBrk="1" latinLnBrk="0" hangingPunct="1">
              <a:spcBef>
                <a:spcPct val="20000"/>
              </a:spcBef>
              <a:buFont typeface="Arial" pitchFamily="34" charset="0"/>
              <a:buNone/>
              <a:defRPr sz="1600" kern="1200">
                <a:solidFill>
                  <a:schemeClr val="tx1"/>
                </a:solidFill>
                <a:latin typeface="Segoe UI" pitchFamily="34" charset="0"/>
                <a:ea typeface="Segoe UI" pitchFamily="34" charset="0"/>
                <a:cs typeface="Segoe UI" pitchFamily="34" charset="0"/>
              </a:defRPr>
            </a:lvl3pPr>
            <a:lvl4pPr marL="87015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4pPr>
            <a:lvl5pPr marL="110554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defTabSz="1087779">
              <a:spcBef>
                <a:spcPts val="1799"/>
              </a:spcBef>
              <a:defRPr/>
            </a:pPr>
            <a:r>
              <a:rPr lang="en-US" sz="2799" dirty="0">
                <a:solidFill>
                  <a:srgbClr val="505050"/>
                </a:solidFill>
              </a:rPr>
              <a:t>Roadmap</a:t>
            </a:r>
          </a:p>
        </p:txBody>
      </p:sp>
      <p:sp>
        <p:nvSpPr>
          <p:cNvPr id="32" name="Rectangle 47">
            <a:extLst>
              <a:ext uri="{FF2B5EF4-FFF2-40B4-BE49-F238E27FC236}">
                <a16:creationId xmlns:a16="http://schemas.microsoft.com/office/drawing/2014/main" id="{957D9748-9B5C-40BE-94AF-A7F29796E944}"/>
              </a:ext>
            </a:extLst>
          </p:cNvPr>
          <p:cNvSpPr/>
          <p:nvPr>
            <p:custDataLst>
              <p:tags r:id="rId10"/>
            </p:custDataLst>
          </p:nvPr>
        </p:nvSpPr>
        <p:spPr>
          <a:xfrm>
            <a:off x="8816846" y="4578187"/>
            <a:ext cx="1908470" cy="1220529"/>
          </a:xfrm>
          <a:prstGeom prst="rect">
            <a:avLst/>
          </a:prstGeom>
        </p:spPr>
        <p:txBody>
          <a:bodyPr wrap="square" lIns="0" rIns="0">
            <a:spAutoFit/>
          </a:bodyPr>
          <a:lstStyle/>
          <a:p>
            <a:pPr marL="174922" lvl="1" indent="-128512" defTabSz="685405">
              <a:spcBef>
                <a:spcPts val="400"/>
              </a:spcBef>
              <a:buClr>
                <a:srgbClr val="595959">
                  <a:lumMod val="75000"/>
                </a:srgbClr>
              </a:buClr>
              <a:buFont typeface="Arial" pitchFamily="34" charset="0"/>
              <a:buChar char="•"/>
              <a:defRPr/>
            </a:pPr>
            <a:r>
              <a:rPr lang="en-US" sz="1200" i="1" kern="0" dirty="0">
                <a:solidFill>
                  <a:srgbClr val="040404"/>
                </a:solidFill>
                <a:latin typeface="Segoe UI"/>
                <a:ea typeface="Segoe UI" pitchFamily="34" charset="0"/>
                <a:cs typeface="Segoe UI" pitchFamily="34" charset="0"/>
              </a:rPr>
              <a:t>Edge Computing &amp; IOT </a:t>
            </a:r>
          </a:p>
          <a:p>
            <a:pPr marL="174922" lvl="1" indent="-128512" defTabSz="685405">
              <a:spcBef>
                <a:spcPts val="400"/>
              </a:spcBef>
              <a:buClr>
                <a:srgbClr val="595959">
                  <a:lumMod val="75000"/>
                </a:srgbClr>
              </a:buClr>
              <a:buFont typeface="Arial" pitchFamily="34" charset="0"/>
              <a:buChar char="•"/>
              <a:defRPr/>
            </a:pPr>
            <a:r>
              <a:rPr lang="en-US" sz="1200" i="1" kern="0" dirty="0">
                <a:solidFill>
                  <a:srgbClr val="040404"/>
                </a:solidFill>
                <a:latin typeface="Segoe UI"/>
                <a:ea typeface="Segoe UI" pitchFamily="34" charset="0"/>
                <a:cs typeface="Segoe UI" pitchFamily="34" charset="0"/>
              </a:rPr>
              <a:t>Data Management</a:t>
            </a:r>
          </a:p>
          <a:p>
            <a:pPr marL="174922" lvl="1" indent="-128512" defTabSz="685405">
              <a:spcBef>
                <a:spcPts val="400"/>
              </a:spcBef>
              <a:buClr>
                <a:srgbClr val="595959">
                  <a:lumMod val="75000"/>
                </a:srgbClr>
              </a:buClr>
              <a:buFont typeface="Arial" pitchFamily="34" charset="0"/>
              <a:buChar char="•"/>
              <a:defRPr/>
            </a:pPr>
            <a:r>
              <a:rPr lang="en-US" sz="1200" i="1" kern="0" dirty="0">
                <a:solidFill>
                  <a:srgbClr val="040404"/>
                </a:solidFill>
                <a:latin typeface="Segoe UI"/>
                <a:ea typeface="Segoe UI" pitchFamily="34" charset="0"/>
                <a:cs typeface="Segoe UI" pitchFamily="34" charset="0"/>
              </a:rPr>
              <a:t>Advanced Analytics </a:t>
            </a:r>
          </a:p>
          <a:p>
            <a:pPr marL="174922" lvl="1" indent="-128512" defTabSz="685405">
              <a:spcBef>
                <a:spcPts val="400"/>
              </a:spcBef>
              <a:buClr>
                <a:srgbClr val="595959">
                  <a:lumMod val="75000"/>
                </a:srgbClr>
              </a:buClr>
              <a:buFont typeface="Arial" pitchFamily="34" charset="0"/>
              <a:buChar char="•"/>
              <a:defRPr/>
            </a:pPr>
            <a:r>
              <a:rPr lang="en-US" sz="1200" i="1" kern="0" dirty="0">
                <a:solidFill>
                  <a:srgbClr val="040404"/>
                </a:solidFill>
                <a:latin typeface="Segoe UI"/>
                <a:ea typeface="Segoe UI" pitchFamily="34" charset="0"/>
                <a:cs typeface="Segoe UI" pitchFamily="34" charset="0"/>
              </a:rPr>
              <a:t>Modern Apps</a:t>
            </a:r>
          </a:p>
          <a:p>
            <a:pPr marL="174922" lvl="1" indent="-128512" defTabSz="685405">
              <a:spcBef>
                <a:spcPts val="400"/>
              </a:spcBef>
              <a:buClr>
                <a:srgbClr val="595959">
                  <a:lumMod val="75000"/>
                </a:srgbClr>
              </a:buClr>
              <a:buFont typeface="Arial" pitchFamily="34" charset="0"/>
              <a:buChar char="•"/>
              <a:defRPr/>
            </a:pPr>
            <a:r>
              <a:rPr lang="en-US" sz="1200" i="1" kern="0" dirty="0">
                <a:solidFill>
                  <a:srgbClr val="040404"/>
                </a:solidFill>
                <a:latin typeface="Segoe UI"/>
                <a:ea typeface="Segoe UI" pitchFamily="34" charset="0"/>
                <a:cs typeface="Segoe UI" pitchFamily="34" charset="0"/>
              </a:rPr>
              <a:t>CRM</a:t>
            </a:r>
          </a:p>
        </p:txBody>
      </p:sp>
    </p:spTree>
    <p:extLst>
      <p:ext uri="{BB962C8B-B14F-4D97-AF65-F5344CB8AC3E}">
        <p14:creationId xmlns:p14="http://schemas.microsoft.com/office/powerpoint/2010/main" val="19752666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p:cNvSpPr/>
          <p:nvPr>
            <p:custDataLst>
              <p:tags r:id="rId1"/>
            </p:custDataLst>
          </p:nvPr>
        </p:nvSpPr>
        <p:spPr bwMode="auto">
          <a:xfrm>
            <a:off x="3140844" y="1287490"/>
            <a:ext cx="2897440" cy="3951048"/>
          </a:xfrm>
          <a:prstGeom prst="rect">
            <a:avLst/>
          </a:prstGeom>
          <a:solidFill>
            <a:schemeClr val="tx2"/>
          </a:solidFill>
          <a:ln w="3175" cap="flat" cmpd="sng" algn="ctr">
            <a:noFill/>
            <a:prstDash val="solid"/>
            <a:round/>
            <a:headEnd type="none" w="med" len="med"/>
            <a:tailEnd type="none" w="med" len="med"/>
          </a:ln>
          <a:effectLst/>
        </p:spPr>
        <p:txBody>
          <a:bodyPr lIns="91416" tIns="91416" rIns="91416" bIns="91416" rtlCol="0" anchor="t" anchorCtr="0"/>
          <a:lstStyle/>
          <a:p>
            <a:pPr defTabSz="932192" fontAlgn="base">
              <a:spcBef>
                <a:spcPts val="600"/>
              </a:spcBef>
              <a:spcAft>
                <a:spcPts val="1200"/>
              </a:spcAft>
              <a:defRPr/>
            </a:pPr>
            <a:r>
              <a:rPr lang="en-US" sz="2399" kern="0" dirty="0">
                <a:solidFill>
                  <a:prstClr val="white"/>
                </a:solidFill>
                <a:latin typeface="Segoe UI Light"/>
              </a:rPr>
              <a:t>Challenge</a:t>
            </a:r>
          </a:p>
          <a:p>
            <a:pPr defTabSz="914126">
              <a:defRPr/>
            </a:pPr>
            <a:r>
              <a:rPr lang="en-US" sz="1600" kern="0" dirty="0">
                <a:solidFill>
                  <a:prstClr val="white"/>
                </a:solidFill>
                <a:latin typeface="Segoe UI"/>
              </a:rPr>
              <a:t>Keep up with the rising customer demand for personalized mobility services.</a:t>
            </a:r>
          </a:p>
        </p:txBody>
      </p:sp>
      <p:sp>
        <p:nvSpPr>
          <p:cNvPr id="31" name="Rectangle 30"/>
          <p:cNvSpPr/>
          <p:nvPr>
            <p:custDataLst>
              <p:tags r:id="rId2"/>
            </p:custDataLst>
          </p:nvPr>
        </p:nvSpPr>
        <p:spPr bwMode="auto">
          <a:xfrm>
            <a:off x="6062961" y="1295955"/>
            <a:ext cx="2897440" cy="3951048"/>
          </a:xfrm>
          <a:prstGeom prst="rect">
            <a:avLst/>
          </a:prstGeom>
          <a:solidFill>
            <a:schemeClr val="accent1"/>
          </a:solidFill>
          <a:ln w="3175" cap="flat" cmpd="sng" algn="ctr">
            <a:noFill/>
            <a:prstDash val="solid"/>
            <a:round/>
            <a:headEnd type="none" w="med" len="med"/>
            <a:tailEnd type="none" w="med" len="med"/>
          </a:ln>
          <a:effectLst/>
        </p:spPr>
        <p:txBody>
          <a:bodyPr lIns="137124" tIns="91416" rIns="137124" bIns="91416" rtlCol="0" anchor="t" anchorCtr="0"/>
          <a:lstStyle/>
          <a:p>
            <a:pPr defTabSz="914126">
              <a:spcBef>
                <a:spcPts val="600"/>
              </a:spcBef>
              <a:spcAft>
                <a:spcPts val="1200"/>
              </a:spcAft>
              <a:defRPr/>
            </a:pPr>
            <a:r>
              <a:rPr lang="en-US" sz="2399" kern="0" dirty="0">
                <a:solidFill>
                  <a:prstClr val="white"/>
                </a:solidFill>
                <a:latin typeface="Segoe UI Light"/>
              </a:rPr>
              <a:t>Strategy</a:t>
            </a:r>
          </a:p>
          <a:p>
            <a:pPr defTabSz="914126">
              <a:defRPr/>
            </a:pPr>
            <a:r>
              <a:rPr lang="en-US" sz="1600" kern="0" dirty="0">
                <a:solidFill>
                  <a:prstClr val="white"/>
                </a:solidFill>
                <a:latin typeface="Segoe UI"/>
              </a:rPr>
              <a:t>Store and analyze information on traffic conditions and the subscribers individual calendar, contacts, message, app and habits.</a:t>
            </a:r>
          </a:p>
          <a:p>
            <a:pPr defTabSz="914126">
              <a:defRPr/>
            </a:pPr>
            <a:endParaRPr lang="en-US" sz="1600" kern="0" dirty="0">
              <a:solidFill>
                <a:prstClr val="white"/>
              </a:solidFill>
              <a:latin typeface="Segoe UI"/>
            </a:endParaRPr>
          </a:p>
        </p:txBody>
      </p:sp>
      <p:sp>
        <p:nvSpPr>
          <p:cNvPr id="32" name="Rectangle 31"/>
          <p:cNvSpPr/>
          <p:nvPr>
            <p:custDataLst>
              <p:tags r:id="rId3"/>
            </p:custDataLst>
          </p:nvPr>
        </p:nvSpPr>
        <p:spPr bwMode="auto">
          <a:xfrm>
            <a:off x="9027401" y="1287490"/>
            <a:ext cx="2897440" cy="3951048"/>
          </a:xfrm>
          <a:prstGeom prst="rect">
            <a:avLst/>
          </a:prstGeom>
          <a:solidFill>
            <a:schemeClr val="accent2"/>
          </a:solidFill>
          <a:ln w="3175" cap="flat" cmpd="sng" algn="ctr">
            <a:noFill/>
            <a:prstDash val="solid"/>
            <a:round/>
            <a:headEnd type="none" w="med" len="med"/>
            <a:tailEnd type="none" w="med" len="med"/>
          </a:ln>
          <a:effectLst/>
        </p:spPr>
        <p:txBody>
          <a:bodyPr lIns="137124" tIns="91416" rIns="137124" bIns="91416" rtlCol="0" anchor="t" anchorCtr="0"/>
          <a:lstStyle/>
          <a:p>
            <a:pPr defTabSz="932192" fontAlgn="base">
              <a:spcBef>
                <a:spcPts val="600"/>
              </a:spcBef>
              <a:spcAft>
                <a:spcPts val="1200"/>
              </a:spcAft>
              <a:defRPr/>
            </a:pPr>
            <a:r>
              <a:rPr lang="en-US" sz="2399" kern="0" dirty="0">
                <a:solidFill>
                  <a:srgbClr val="000000"/>
                </a:solidFill>
                <a:latin typeface="Segoe UI Light"/>
                <a:ea typeface="Segoe UI" pitchFamily="34" charset="0"/>
                <a:cs typeface="Segoe UI" pitchFamily="34" charset="0"/>
              </a:rPr>
              <a:t>Results</a:t>
            </a:r>
          </a:p>
          <a:p>
            <a:pPr marL="285664" indent="-285664" defTabSz="914126">
              <a:spcBef>
                <a:spcPts val="600"/>
              </a:spcBef>
              <a:buFont typeface="Arial" panose="020B0604020202020204" pitchFamily="34" charset="0"/>
              <a:buChar char="•"/>
              <a:defRPr/>
            </a:pPr>
            <a:r>
              <a:rPr lang="en-US" sz="1600" kern="0" dirty="0">
                <a:solidFill>
                  <a:srgbClr val="000000"/>
                </a:solidFill>
                <a:latin typeface="Segoe UI"/>
              </a:rPr>
              <a:t>Provided subscribers with a journey management tool that communicates to them when and where they need to be and how they get there.</a:t>
            </a:r>
          </a:p>
          <a:p>
            <a:pPr marL="285664" indent="-285664" defTabSz="914126">
              <a:spcBef>
                <a:spcPts val="600"/>
              </a:spcBef>
              <a:buFont typeface="Arial" panose="020B0604020202020204" pitchFamily="34" charset="0"/>
              <a:buChar char="•"/>
              <a:defRPr/>
            </a:pPr>
            <a:endParaRPr lang="en-US" sz="1600" kern="0" dirty="0">
              <a:solidFill>
                <a:srgbClr val="000000"/>
              </a:solidFill>
              <a:latin typeface="Segoe UI"/>
            </a:endParaRPr>
          </a:p>
        </p:txBody>
      </p:sp>
      <p:sp>
        <p:nvSpPr>
          <p:cNvPr id="33" name="Rectangle 32"/>
          <p:cNvSpPr/>
          <p:nvPr/>
        </p:nvSpPr>
        <p:spPr>
          <a:xfrm>
            <a:off x="303133" y="5247003"/>
            <a:ext cx="11579385" cy="12234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t" anchorCtr="0" forceAA="0" compatLnSpc="1">
            <a:prstTxWarp prst="textNoShape">
              <a:avLst/>
            </a:prstTxWarp>
            <a:noAutofit/>
          </a:bodyPr>
          <a:lstStyle/>
          <a:p>
            <a:pPr lvl="0" defTabSz="914126"/>
            <a:endParaRPr lang="en-US" sz="1600" kern="0" dirty="0">
              <a:solidFill>
                <a:schemeClr val="tx1"/>
              </a:solidFill>
            </a:endParaRPr>
          </a:p>
        </p:txBody>
      </p:sp>
      <p:sp>
        <p:nvSpPr>
          <p:cNvPr id="34" name="Subtitle 2"/>
          <p:cNvSpPr txBox="1">
            <a:spLocks/>
          </p:cNvSpPr>
          <p:nvPr/>
        </p:nvSpPr>
        <p:spPr>
          <a:xfrm>
            <a:off x="303139" y="1295955"/>
            <a:ext cx="2742485" cy="3942583"/>
          </a:xfrm>
          <a:prstGeom prst="rect">
            <a:avLst/>
          </a:prstGeom>
          <a:solidFill>
            <a:schemeClr val="bg2"/>
          </a:solidFill>
        </p:spPr>
        <p:txBody>
          <a:bodyPr lIns="91416" tIns="45708" rIns="91416" bIns="45708">
            <a:noAutofit/>
          </a:bodyPr>
          <a:lstStyle>
            <a:lvl1pPr marL="0" indent="0" algn="l" defTabSz="1088105" rtl="0" eaLnBrk="1" latinLnBrk="0" hangingPunct="1">
              <a:lnSpc>
                <a:spcPct val="80000"/>
              </a:lnSpc>
              <a:spcBef>
                <a:spcPct val="20000"/>
              </a:spcBef>
              <a:buClr>
                <a:schemeClr val="tx1"/>
              </a:buClr>
              <a:buSzPct val="100000"/>
              <a:buFont typeface="Wingdings" pitchFamily="2" charset="2"/>
              <a:buNone/>
              <a:defRPr sz="1600" kern="1200">
                <a:solidFill>
                  <a:srgbClr val="FFFFFF"/>
                </a:solidFill>
                <a:latin typeface="Segoe UI" pitchFamily="34" charset="0"/>
                <a:ea typeface="Segoe UI" pitchFamily="34" charset="0"/>
                <a:cs typeface="Segoe UI" pitchFamily="34" charset="0"/>
              </a:defRPr>
            </a:lvl1pPr>
            <a:lvl2pPr marL="544053" indent="0" algn="ctr" defTabSz="1088105" rtl="0" eaLnBrk="1" latinLnBrk="0" hangingPunct="1">
              <a:spcBef>
                <a:spcPct val="20000"/>
              </a:spcBef>
              <a:buFont typeface="Arial" pitchFamily="34" charset="0"/>
              <a:buNone/>
              <a:defRPr sz="1400" kern="1200">
                <a:solidFill>
                  <a:schemeClr val="tx1">
                    <a:tint val="75000"/>
                  </a:schemeClr>
                </a:solidFill>
                <a:latin typeface="Segoe UI" pitchFamily="34" charset="0"/>
                <a:ea typeface="Segoe UI" pitchFamily="34" charset="0"/>
                <a:cs typeface="Segoe UI" pitchFamily="34" charset="0"/>
              </a:defRPr>
            </a:lvl2pPr>
            <a:lvl3pPr marL="1088105" indent="0" algn="ctr" defTabSz="1088105" rtl="0" eaLnBrk="1" latinLnBrk="0" hangingPunct="1">
              <a:spcBef>
                <a:spcPct val="20000"/>
              </a:spcBef>
              <a:buFont typeface="Arial" pitchFamily="34" charset="0"/>
              <a:buNone/>
              <a:defRPr sz="1200" kern="1200">
                <a:solidFill>
                  <a:schemeClr val="tx1">
                    <a:tint val="75000"/>
                  </a:schemeClr>
                </a:solidFill>
                <a:latin typeface="Segoe UI" pitchFamily="34" charset="0"/>
                <a:ea typeface="Segoe UI" pitchFamily="34" charset="0"/>
                <a:cs typeface="Segoe UI" pitchFamily="34" charset="0"/>
              </a:defRPr>
            </a:lvl3pPr>
            <a:lvl4pPr marL="1632159" indent="0" algn="ctr" defTabSz="1088105" rtl="0" eaLnBrk="1" latinLnBrk="0" hangingPunct="1">
              <a:spcBef>
                <a:spcPct val="20000"/>
              </a:spcBef>
              <a:buFont typeface="Arial" pitchFamily="34" charset="0"/>
              <a:buNone/>
              <a:defRPr sz="1100" kern="1200">
                <a:solidFill>
                  <a:schemeClr val="tx1">
                    <a:tint val="75000"/>
                  </a:schemeClr>
                </a:solidFill>
                <a:latin typeface="Segoe UI" pitchFamily="34" charset="0"/>
                <a:ea typeface="Segoe UI" pitchFamily="34" charset="0"/>
                <a:cs typeface="Segoe UI" pitchFamily="34" charset="0"/>
              </a:defRPr>
            </a:lvl4pPr>
            <a:lvl5pPr marL="2176211" indent="0" algn="ctr" defTabSz="1088105" rtl="0" eaLnBrk="1" latinLnBrk="0" hangingPunct="1">
              <a:spcBef>
                <a:spcPct val="20000"/>
              </a:spcBef>
              <a:buFont typeface="Arial" pitchFamily="34" charset="0"/>
              <a:buNone/>
              <a:defRPr sz="1100" kern="1200">
                <a:solidFill>
                  <a:schemeClr val="tx1">
                    <a:tint val="75000"/>
                  </a:schemeClr>
                </a:solidFill>
                <a:latin typeface="Segoe UI" pitchFamily="34" charset="0"/>
                <a:ea typeface="Segoe UI" pitchFamily="34" charset="0"/>
                <a:cs typeface="Segoe UI" pitchFamily="34" charset="0"/>
              </a:defRPr>
            </a:lvl5pPr>
            <a:lvl6pPr marL="2720264" indent="0" algn="ctr" defTabSz="1088105" rtl="0" eaLnBrk="1" latinLnBrk="0" hangingPunct="1">
              <a:spcBef>
                <a:spcPct val="20000"/>
              </a:spcBef>
              <a:buFont typeface="Arial" pitchFamily="34" charset="0"/>
              <a:buNone/>
              <a:defRPr sz="2500" kern="1200">
                <a:solidFill>
                  <a:schemeClr val="tx1">
                    <a:tint val="75000"/>
                  </a:schemeClr>
                </a:solidFill>
                <a:latin typeface="+mn-lt"/>
                <a:ea typeface="+mn-ea"/>
                <a:cs typeface="+mn-cs"/>
              </a:defRPr>
            </a:lvl6pPr>
            <a:lvl7pPr marL="3264316" indent="0" algn="ctr" defTabSz="1088105" rtl="0" eaLnBrk="1" latinLnBrk="0" hangingPunct="1">
              <a:spcBef>
                <a:spcPct val="20000"/>
              </a:spcBef>
              <a:buFont typeface="Arial" pitchFamily="34" charset="0"/>
              <a:buNone/>
              <a:defRPr sz="2500" kern="1200">
                <a:solidFill>
                  <a:schemeClr val="tx1">
                    <a:tint val="75000"/>
                  </a:schemeClr>
                </a:solidFill>
                <a:latin typeface="+mn-lt"/>
                <a:ea typeface="+mn-ea"/>
                <a:cs typeface="+mn-cs"/>
              </a:defRPr>
            </a:lvl7pPr>
            <a:lvl8pPr marL="3808369" indent="0" algn="ctr" defTabSz="1088105" rtl="0" eaLnBrk="1" latinLnBrk="0" hangingPunct="1">
              <a:spcBef>
                <a:spcPct val="20000"/>
              </a:spcBef>
              <a:buFont typeface="Arial" pitchFamily="34" charset="0"/>
              <a:buNone/>
              <a:defRPr sz="2500" kern="1200">
                <a:solidFill>
                  <a:schemeClr val="tx1">
                    <a:tint val="75000"/>
                  </a:schemeClr>
                </a:solidFill>
                <a:latin typeface="+mn-lt"/>
                <a:ea typeface="+mn-ea"/>
                <a:cs typeface="+mn-cs"/>
              </a:defRPr>
            </a:lvl8pPr>
            <a:lvl9pPr marL="4352422" indent="0" algn="ctr" defTabSz="1088105" rtl="0" eaLnBrk="1" latinLnBrk="0" hangingPunct="1">
              <a:spcBef>
                <a:spcPct val="20000"/>
              </a:spcBef>
              <a:buFont typeface="Arial" pitchFamily="34" charset="0"/>
              <a:buNone/>
              <a:defRPr sz="2500" kern="1200">
                <a:solidFill>
                  <a:schemeClr val="tx1">
                    <a:tint val="75000"/>
                  </a:schemeClr>
                </a:solidFill>
                <a:latin typeface="+mn-lt"/>
                <a:ea typeface="+mn-ea"/>
                <a:cs typeface="+mn-cs"/>
              </a:defRPr>
            </a:lvl9pPr>
          </a:lstStyle>
          <a:p>
            <a:pPr defTabSz="1087779">
              <a:lnSpc>
                <a:spcPct val="100000"/>
              </a:lnSpc>
              <a:spcBef>
                <a:spcPts val="600"/>
              </a:spcBef>
              <a:buClr>
                <a:srgbClr val="505050"/>
              </a:buClr>
              <a:defRPr/>
            </a:pPr>
            <a:r>
              <a:rPr lang="en-US" sz="2399" dirty="0">
                <a:latin typeface="Segoe UI Light" pitchFamily="34" charset="0"/>
              </a:rPr>
              <a:t>Deliver personalized mobility services</a:t>
            </a:r>
          </a:p>
        </p:txBody>
      </p:sp>
      <p:sp>
        <p:nvSpPr>
          <p:cNvPr id="20" name="Title 1"/>
          <p:cNvSpPr>
            <a:spLocks noGrp="1"/>
          </p:cNvSpPr>
          <p:nvPr>
            <p:ph type="title"/>
          </p:nvPr>
        </p:nvSpPr>
        <p:spPr>
          <a:xfrm>
            <a:off x="0" y="895"/>
            <a:ext cx="12188825" cy="645874"/>
          </a:xfrm>
        </p:spPr>
        <p:txBody>
          <a:bodyPr/>
          <a:lstStyle/>
          <a:p>
            <a:r>
              <a:rPr lang="en-US" dirty="0"/>
              <a:t>An Automobile Manufacturer</a:t>
            </a:r>
          </a:p>
        </p:txBody>
      </p:sp>
      <p:sp>
        <p:nvSpPr>
          <p:cNvPr id="21" name="Text Placeholder 2"/>
          <p:cNvSpPr>
            <a:spLocks noGrp="1"/>
          </p:cNvSpPr>
          <p:nvPr>
            <p:ph type="body" sz="quarter" idx="13"/>
          </p:nvPr>
        </p:nvSpPr>
        <p:spPr>
          <a:xfrm>
            <a:off x="0" y="574349"/>
            <a:ext cx="12188825" cy="372966"/>
          </a:xfrm>
        </p:spPr>
        <p:txBody>
          <a:bodyPr/>
          <a:lstStyle/>
          <a:p>
            <a:r>
              <a:rPr lang="en-US" sz="2399" i="1" dirty="0"/>
              <a:t>Deliver personalized mobility services</a:t>
            </a:r>
            <a:endParaRPr lang="en-IN" sz="2399" i="1" dirty="0"/>
          </a:p>
        </p:txBody>
      </p:sp>
      <p:sp>
        <p:nvSpPr>
          <p:cNvPr id="24" name="Text Placeholder 6"/>
          <p:cNvSpPr txBox="1">
            <a:spLocks/>
          </p:cNvSpPr>
          <p:nvPr/>
        </p:nvSpPr>
        <p:spPr>
          <a:xfrm>
            <a:off x="9141618" y="143852"/>
            <a:ext cx="2832312" cy="372966"/>
          </a:xfrm>
          <a:prstGeom prst="rect">
            <a:avLst/>
          </a:prstGeom>
        </p:spPr>
        <p:txBody>
          <a:bodyPr vert="horz" lIns="319957" tIns="53311" rIns="53311" bIns="53311" rtlCol="0">
            <a:noAutofit/>
          </a:bodyPr>
          <a:lstStyle>
            <a:lvl1pPr marL="0" indent="0" algn="l" defTabSz="1088105" rtl="0" eaLnBrk="1" latinLnBrk="0" hangingPunct="1">
              <a:spcBef>
                <a:spcPts val="1800"/>
              </a:spcBef>
              <a:buClr>
                <a:srgbClr val="0072C6"/>
              </a:buClr>
              <a:buSzPct val="100000"/>
              <a:buFont typeface="Wingdings" pitchFamily="2" charset="2"/>
              <a:buNone/>
              <a:defRPr sz="2800" kern="1200">
                <a:solidFill>
                  <a:schemeClr val="tx1"/>
                </a:solidFill>
                <a:latin typeface="Segoe UI Light" pitchFamily="34" charset="0"/>
                <a:ea typeface="Segoe UI" pitchFamily="34" charset="0"/>
                <a:cs typeface="Segoe UI" pitchFamily="34" charset="0"/>
              </a:defRPr>
            </a:lvl1pPr>
            <a:lvl2pPr marL="281674" indent="0" algn="l" defTabSz="1088105" rtl="0" eaLnBrk="1" latinLnBrk="0" hangingPunct="1">
              <a:spcBef>
                <a:spcPct val="20000"/>
              </a:spcBef>
              <a:buFont typeface="Arial" pitchFamily="34" charset="0"/>
              <a:buNone/>
              <a:defRPr sz="1800" kern="1200">
                <a:solidFill>
                  <a:schemeClr val="tx1"/>
                </a:solidFill>
                <a:latin typeface="Segoe UI" pitchFamily="34" charset="0"/>
                <a:ea typeface="Segoe UI" pitchFamily="34" charset="0"/>
                <a:cs typeface="Segoe UI" pitchFamily="34" charset="0"/>
              </a:defRPr>
            </a:lvl2pPr>
            <a:lvl3pPr marL="588476" indent="0" algn="l" defTabSz="1088105" rtl="0" eaLnBrk="1" latinLnBrk="0" hangingPunct="1">
              <a:spcBef>
                <a:spcPct val="20000"/>
              </a:spcBef>
              <a:buFont typeface="Arial" pitchFamily="34" charset="0"/>
              <a:buNone/>
              <a:defRPr sz="1600" kern="1200">
                <a:solidFill>
                  <a:schemeClr val="tx1"/>
                </a:solidFill>
                <a:latin typeface="Segoe UI" pitchFamily="34" charset="0"/>
                <a:ea typeface="Segoe UI" pitchFamily="34" charset="0"/>
                <a:cs typeface="Segoe UI" pitchFamily="34" charset="0"/>
              </a:defRPr>
            </a:lvl3pPr>
            <a:lvl4pPr marL="87015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4pPr>
            <a:lvl5pPr marL="110554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defTabSz="1087779">
              <a:spcBef>
                <a:spcPts val="1799"/>
              </a:spcBef>
              <a:defRPr/>
            </a:pPr>
            <a:r>
              <a:rPr lang="en-US" sz="2799" dirty="0">
                <a:solidFill>
                  <a:srgbClr val="505050"/>
                </a:solidFill>
              </a:rPr>
              <a:t>Customer Story</a:t>
            </a:r>
          </a:p>
        </p:txBody>
      </p:sp>
    </p:spTree>
    <p:extLst>
      <p:ext uri="{BB962C8B-B14F-4D97-AF65-F5344CB8AC3E}">
        <p14:creationId xmlns:p14="http://schemas.microsoft.com/office/powerpoint/2010/main" val="40556140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50813" y="1145907"/>
            <a:ext cx="11887200" cy="1822988"/>
          </a:xfrm>
        </p:spPr>
        <p:txBody>
          <a:bodyPr>
            <a:noAutofit/>
          </a:bodyPr>
          <a:lstStyle/>
          <a:p>
            <a:r>
              <a:rPr lang="en-US" sz="7200">
                <a:cs typeface="Segoe UI Light" panose="020B0502040204020203" pitchFamily="34" charset="0"/>
              </a:rPr>
              <a:t>Empower Your Employees</a:t>
            </a:r>
          </a:p>
        </p:txBody>
      </p:sp>
      <p:sp>
        <p:nvSpPr>
          <p:cNvPr id="10" name="Freeform 9"/>
          <p:cNvSpPr>
            <a:spLocks noChangeAspect="1"/>
          </p:cNvSpPr>
          <p:nvPr/>
        </p:nvSpPr>
        <p:spPr bwMode="auto">
          <a:xfrm>
            <a:off x="10238046" y="5542930"/>
            <a:ext cx="1254999" cy="760887"/>
          </a:xfrm>
          <a:custGeom>
            <a:avLst/>
            <a:gdLst/>
            <a:ahLst/>
            <a:cxnLst/>
            <a:rect l="l" t="t" r="r" b="b"/>
            <a:pathLst>
              <a:path w="5246824" h="3181073">
                <a:moveTo>
                  <a:pt x="3735445" y="1121019"/>
                </a:moveTo>
                <a:cubicBezTo>
                  <a:pt x="4182142" y="1131526"/>
                  <a:pt x="4061877" y="1376195"/>
                  <a:pt x="4077497" y="1517293"/>
                </a:cubicBezTo>
                <a:cubicBezTo>
                  <a:pt x="4205571" y="1536806"/>
                  <a:pt x="4104048" y="1718431"/>
                  <a:pt x="4054068" y="1737945"/>
                </a:cubicBezTo>
                <a:cubicBezTo>
                  <a:pt x="4025955" y="1799487"/>
                  <a:pt x="3990812" y="1855965"/>
                  <a:pt x="3969727" y="1922572"/>
                </a:cubicBezTo>
                <a:lnTo>
                  <a:pt x="3967668" y="2088035"/>
                </a:lnTo>
                <a:cubicBezTo>
                  <a:pt x="4003538" y="2104933"/>
                  <a:pt x="4038513" y="2106213"/>
                  <a:pt x="4086820" y="2117581"/>
                </a:cubicBezTo>
                <a:cubicBezTo>
                  <a:pt x="4135128" y="2128948"/>
                  <a:pt x="4568184" y="2210801"/>
                  <a:pt x="4581245" y="2510322"/>
                </a:cubicBezTo>
                <a:cubicBezTo>
                  <a:pt x="4593591" y="2632786"/>
                  <a:pt x="4589468" y="2749118"/>
                  <a:pt x="4578859" y="2859218"/>
                </a:cubicBezTo>
                <a:lnTo>
                  <a:pt x="3801770" y="2858677"/>
                </a:lnTo>
                <a:cubicBezTo>
                  <a:pt x="3802502" y="2787752"/>
                  <a:pt x="3799437" y="2715169"/>
                  <a:pt x="3791954" y="2640940"/>
                </a:cubicBezTo>
                <a:cubicBezTo>
                  <a:pt x="3779735" y="2360730"/>
                  <a:pt x="3499101" y="2219631"/>
                  <a:pt x="3301043" y="2154424"/>
                </a:cubicBezTo>
                <a:cubicBezTo>
                  <a:pt x="3358735" y="2142280"/>
                  <a:pt x="3413196" y="2132840"/>
                  <a:pt x="3454407" y="2118009"/>
                </a:cubicBezTo>
                <a:cubicBezTo>
                  <a:pt x="3488241" y="2106029"/>
                  <a:pt x="3529557" y="2100195"/>
                  <a:pt x="3558509" y="2086370"/>
                </a:cubicBezTo>
                <a:lnTo>
                  <a:pt x="3562077" y="1925923"/>
                </a:lnTo>
                <a:cubicBezTo>
                  <a:pt x="3543530" y="1859877"/>
                  <a:pt x="3510925" y="1790481"/>
                  <a:pt x="3485349" y="1731190"/>
                </a:cubicBezTo>
                <a:cubicBezTo>
                  <a:pt x="3429708" y="1709425"/>
                  <a:pt x="3327795" y="1602102"/>
                  <a:pt x="3458993" y="1530802"/>
                </a:cubicBezTo>
                <a:cubicBezTo>
                  <a:pt x="3438688" y="1403214"/>
                  <a:pt x="3371528" y="1158545"/>
                  <a:pt x="3735445" y="1121019"/>
                </a:cubicBezTo>
                <a:close/>
                <a:moveTo>
                  <a:pt x="1511380" y="1121019"/>
                </a:moveTo>
                <a:cubicBezTo>
                  <a:pt x="1875297" y="1158545"/>
                  <a:pt x="1808137" y="1403214"/>
                  <a:pt x="1787833" y="1530802"/>
                </a:cubicBezTo>
                <a:cubicBezTo>
                  <a:pt x="1919030" y="1602102"/>
                  <a:pt x="1817117" y="1709425"/>
                  <a:pt x="1761476" y="1731190"/>
                </a:cubicBezTo>
                <a:cubicBezTo>
                  <a:pt x="1735900" y="1790481"/>
                  <a:pt x="1703295" y="1859877"/>
                  <a:pt x="1684749" y="1925923"/>
                </a:cubicBezTo>
                <a:lnTo>
                  <a:pt x="1688316" y="2086370"/>
                </a:lnTo>
                <a:cubicBezTo>
                  <a:pt x="1717268" y="2100195"/>
                  <a:pt x="1758585" y="2106029"/>
                  <a:pt x="1792418" y="2118009"/>
                </a:cubicBezTo>
                <a:cubicBezTo>
                  <a:pt x="1833629" y="2132840"/>
                  <a:pt x="1888090" y="2142280"/>
                  <a:pt x="1945782" y="2154424"/>
                </a:cubicBezTo>
                <a:cubicBezTo>
                  <a:pt x="1747724" y="2219631"/>
                  <a:pt x="1467090" y="2360730"/>
                  <a:pt x="1454871" y="2640940"/>
                </a:cubicBezTo>
                <a:cubicBezTo>
                  <a:pt x="1447388" y="2715169"/>
                  <a:pt x="1444323" y="2787752"/>
                  <a:pt x="1445055" y="2858677"/>
                </a:cubicBezTo>
                <a:lnTo>
                  <a:pt x="667966" y="2859218"/>
                </a:lnTo>
                <a:cubicBezTo>
                  <a:pt x="657357" y="2749118"/>
                  <a:pt x="653234" y="2632786"/>
                  <a:pt x="665580" y="2510322"/>
                </a:cubicBezTo>
                <a:cubicBezTo>
                  <a:pt x="678641" y="2210801"/>
                  <a:pt x="1111697" y="2128948"/>
                  <a:pt x="1160005" y="2117581"/>
                </a:cubicBezTo>
                <a:cubicBezTo>
                  <a:pt x="1208313" y="2106213"/>
                  <a:pt x="1243288" y="2104933"/>
                  <a:pt x="1279157" y="2088035"/>
                </a:cubicBezTo>
                <a:lnTo>
                  <a:pt x="1277099" y="1922572"/>
                </a:lnTo>
                <a:cubicBezTo>
                  <a:pt x="1256013" y="1855965"/>
                  <a:pt x="1220871" y="1799487"/>
                  <a:pt x="1192757" y="1737945"/>
                </a:cubicBezTo>
                <a:cubicBezTo>
                  <a:pt x="1142777" y="1718431"/>
                  <a:pt x="1041254" y="1536806"/>
                  <a:pt x="1169328" y="1517293"/>
                </a:cubicBezTo>
                <a:cubicBezTo>
                  <a:pt x="1184948" y="1376195"/>
                  <a:pt x="1064683" y="1131526"/>
                  <a:pt x="1511380" y="1121019"/>
                </a:cubicBezTo>
                <a:close/>
                <a:moveTo>
                  <a:pt x="2644025" y="804535"/>
                </a:moveTo>
                <a:cubicBezTo>
                  <a:pt x="3117058" y="855925"/>
                  <a:pt x="3029760" y="1190988"/>
                  <a:pt x="3003368" y="1365715"/>
                </a:cubicBezTo>
                <a:cubicBezTo>
                  <a:pt x="3173903" y="1463356"/>
                  <a:pt x="3041433" y="1610331"/>
                  <a:pt x="2969109" y="1640138"/>
                </a:cubicBezTo>
                <a:cubicBezTo>
                  <a:pt x="2935865" y="1721334"/>
                  <a:pt x="2895675" y="1820987"/>
                  <a:pt x="2871567" y="1911433"/>
                </a:cubicBezTo>
                <a:cubicBezTo>
                  <a:pt x="2872383" y="1983135"/>
                  <a:pt x="2873197" y="2054838"/>
                  <a:pt x="2874013" y="2126540"/>
                </a:cubicBezTo>
                <a:cubicBezTo>
                  <a:pt x="2911646" y="2145473"/>
                  <a:pt x="2965350" y="2153462"/>
                  <a:pt x="3009329" y="2169868"/>
                </a:cubicBezTo>
                <a:cubicBezTo>
                  <a:pt x="3222053" y="2221603"/>
                  <a:pt x="3720748" y="2225705"/>
                  <a:pt x="3725199" y="2704028"/>
                </a:cubicBezTo>
                <a:cubicBezTo>
                  <a:pt x="3737590" y="2865486"/>
                  <a:pt x="3727458" y="3021680"/>
                  <a:pt x="3731525" y="3179525"/>
                </a:cubicBezTo>
                <a:lnTo>
                  <a:pt x="1544046" y="3181073"/>
                </a:lnTo>
                <a:cubicBezTo>
                  <a:pt x="1548730" y="3030295"/>
                  <a:pt x="1528577" y="2874833"/>
                  <a:pt x="1544625" y="2707124"/>
                </a:cubicBezTo>
                <a:cubicBezTo>
                  <a:pt x="1524658" y="2213819"/>
                  <a:pt x="2124503" y="2184850"/>
                  <a:pt x="2187295" y="2169283"/>
                </a:cubicBezTo>
                <a:cubicBezTo>
                  <a:pt x="2250087" y="2153715"/>
                  <a:pt x="2295549" y="2151961"/>
                  <a:pt x="2342174" y="2128821"/>
                </a:cubicBezTo>
                <a:lnTo>
                  <a:pt x="2339498" y="1902226"/>
                </a:lnTo>
                <a:cubicBezTo>
                  <a:pt x="2312090" y="1811010"/>
                  <a:pt x="2266411" y="1733667"/>
                  <a:pt x="2229868" y="1649387"/>
                </a:cubicBezTo>
                <a:cubicBezTo>
                  <a:pt x="2164902" y="1622664"/>
                  <a:pt x="2032939" y="1373938"/>
                  <a:pt x="2199415" y="1347214"/>
                </a:cubicBezTo>
                <a:cubicBezTo>
                  <a:pt x="2219717" y="1153987"/>
                  <a:pt x="2063393" y="818925"/>
                  <a:pt x="2644025" y="804535"/>
                </a:cubicBezTo>
                <a:close/>
                <a:moveTo>
                  <a:pt x="2618959" y="4"/>
                </a:moveTo>
                <a:cubicBezTo>
                  <a:pt x="3113091" y="-895"/>
                  <a:pt x="3607459" y="147580"/>
                  <a:pt x="4040549" y="445541"/>
                </a:cubicBezTo>
                <a:cubicBezTo>
                  <a:pt x="4829951" y="988640"/>
                  <a:pt x="5288727" y="1942162"/>
                  <a:pt x="5243804" y="2946395"/>
                </a:cubicBezTo>
                <a:lnTo>
                  <a:pt x="4893772" y="2928408"/>
                </a:lnTo>
                <a:cubicBezTo>
                  <a:pt x="4932097" y="2053874"/>
                  <a:pt x="4538512" y="1223127"/>
                  <a:pt x="3860159" y="746736"/>
                </a:cubicBezTo>
                <a:cubicBezTo>
                  <a:pt x="3105483" y="216746"/>
                  <a:pt x="2133172" y="218542"/>
                  <a:pt x="1380169" y="751315"/>
                </a:cubicBezTo>
                <a:cubicBezTo>
                  <a:pt x="703569" y="1230031"/>
                  <a:pt x="312623" y="2061806"/>
                  <a:pt x="353389" y="2935887"/>
                </a:cubicBezTo>
                <a:lnTo>
                  <a:pt x="3419" y="2955027"/>
                </a:lnTo>
                <a:cubicBezTo>
                  <a:pt x="-44367" y="1951271"/>
                  <a:pt x="411365" y="996507"/>
                  <a:pt x="1198789" y="450712"/>
                </a:cubicBezTo>
                <a:cubicBezTo>
                  <a:pt x="1630932" y="151176"/>
                  <a:pt x="2124827" y="903"/>
                  <a:pt x="2618959" y="4"/>
                </a:cubicBezTo>
                <a:close/>
              </a:path>
            </a:pathLst>
          </a:cu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00" b="0" i="0" u="none" strike="noStrike" kern="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itle 3"/>
          <p:cNvSpPr txBox="1">
            <a:spLocks/>
          </p:cNvSpPr>
          <p:nvPr/>
        </p:nvSpPr>
        <p:spPr>
          <a:xfrm>
            <a:off x="150853" y="215287"/>
            <a:ext cx="11890296" cy="1822988"/>
          </a:xfrm>
          <a:prstGeom prst="rect">
            <a:avLst/>
          </a:prstGeom>
          <a:noFill/>
        </p:spPr>
        <p:txBody>
          <a:bodyPr vert="horz" lIns="137160" tIns="137160" rIns="137160" bIns="137160" rtlCol="0" anchor="t" anchorCtr="0">
            <a:noAutofit/>
          </a:bodyPr>
          <a:lstStyle>
            <a:lvl1pPr marL="0" algn="l" defTabSz="1088105" rtl="0" eaLnBrk="1" latinLnBrk="0" hangingPunct="1">
              <a:lnSpc>
                <a:spcPct val="90000"/>
              </a:lnSpc>
              <a:spcBef>
                <a:spcPct val="0"/>
              </a:spcBef>
              <a:buNone/>
              <a:defRPr lang="en-US" sz="8600" kern="1200" spc="-98" baseline="0">
                <a:solidFill>
                  <a:schemeClr val="tx1"/>
                </a:solidFill>
                <a:latin typeface="Segoe UI Light" pitchFamily="34" charset="0"/>
                <a:ea typeface="Segoe UI" pitchFamily="34" charset="0"/>
                <a:cs typeface="Segoe UI" pitchFamily="34" charset="0"/>
              </a:defRPr>
            </a:lvl1pPr>
          </a:lstStyle>
          <a:p>
            <a:r>
              <a:rPr lang="en-US" sz="3600"/>
              <a:t>Automotive Book of Dreams</a:t>
            </a:r>
          </a:p>
        </p:txBody>
      </p:sp>
    </p:spTree>
    <p:extLst>
      <p:ext uri="{BB962C8B-B14F-4D97-AF65-F5344CB8AC3E}">
        <p14:creationId xmlns:p14="http://schemas.microsoft.com/office/powerpoint/2010/main" val="13452359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b="697"/>
          <a:stretch/>
        </p:blipFill>
        <p:spPr>
          <a:xfrm>
            <a:off x="1588" y="893"/>
            <a:ext cx="12185651" cy="6856214"/>
          </a:xfrm>
          <a:prstGeom prst="rect">
            <a:avLst/>
          </a:prstGeom>
          <a:noFill/>
          <a:ln>
            <a:noFill/>
          </a:ln>
        </p:spPr>
      </p:pic>
      <p:sp>
        <p:nvSpPr>
          <p:cNvPr id="2" name="Title 1"/>
          <p:cNvSpPr>
            <a:spLocks noGrp="1"/>
          </p:cNvSpPr>
          <p:nvPr>
            <p:ph type="title"/>
          </p:nvPr>
        </p:nvSpPr>
        <p:spPr/>
        <p:txBody>
          <a:bodyPr/>
          <a:lstStyle/>
          <a:p>
            <a:r>
              <a:rPr lang="en-US" dirty="0"/>
              <a:t>Imagine if…</a:t>
            </a:r>
          </a:p>
        </p:txBody>
      </p:sp>
      <p:sp>
        <p:nvSpPr>
          <p:cNvPr id="8" name="Rectangle 7"/>
          <p:cNvSpPr/>
          <p:nvPr/>
        </p:nvSpPr>
        <p:spPr>
          <a:xfrm>
            <a:off x="304722" y="1307984"/>
            <a:ext cx="5331023" cy="5180251"/>
          </a:xfrm>
          <a:prstGeom prst="rect">
            <a:avLst/>
          </a:prstGeom>
          <a:solidFill>
            <a:schemeClr val="tx2">
              <a:alpha val="89000"/>
            </a:schemeClr>
          </a:solidFill>
        </p:spPr>
        <p:txBody>
          <a:bodyPr wrap="square" lIns="137124" tIns="91416" rIns="137124" bIns="91416">
            <a:noAutofit/>
          </a:bodyPr>
          <a:lstStyle/>
          <a:p>
            <a:pPr lvl="0" defTabSz="1087779">
              <a:spcBef>
                <a:spcPts val="600"/>
              </a:spcBef>
              <a:defRPr/>
            </a:pPr>
            <a:r>
              <a:rPr lang="en-US" sz="2800" dirty="0">
                <a:solidFill>
                  <a:prstClr val="white"/>
                </a:solidFill>
              </a:rPr>
              <a:t>Imagine if you could create a factory of the future where humans and robots learn to work with each, collaborate optimally and safely, and perform complicated tasks.</a:t>
            </a:r>
          </a:p>
        </p:txBody>
      </p:sp>
      <p:sp>
        <p:nvSpPr>
          <p:cNvPr id="3" name="Slide Number Placeholder 2"/>
          <p:cNvSpPr>
            <a:spLocks noGrp="1"/>
          </p:cNvSpPr>
          <p:nvPr>
            <p:ph type="sldNum" sz="quarter" idx="15"/>
          </p:nvPr>
        </p:nvSpPr>
        <p:spPr/>
        <p:txBody>
          <a:bodyPr/>
          <a:lstStyle/>
          <a:p>
            <a:pPr marL="0" marR="0" lvl="0" indent="0" algn="l" defTabSz="1087779" rtl="0" eaLnBrk="1" fontAlgn="auto" latinLnBrk="0" hangingPunct="1">
              <a:lnSpc>
                <a:spcPct val="100000"/>
              </a:lnSpc>
              <a:spcBef>
                <a:spcPts val="0"/>
              </a:spcBef>
              <a:spcAft>
                <a:spcPts val="0"/>
              </a:spcAft>
              <a:buClrTx/>
              <a:buSzTx/>
              <a:buFontTx/>
              <a:buNone/>
              <a:tabLst/>
              <a:defRPr/>
            </a:pPr>
            <a:r>
              <a:rPr kumimoji="0" lang="en-US" sz="1799" b="0" i="0" u="none" strike="noStrike" kern="1200" cap="none" spc="0" normalizeH="0" baseline="0" noProof="0" dirty="0">
                <a:ln>
                  <a:noFill/>
                </a:ln>
                <a:solidFill>
                  <a:prstClr val="white"/>
                </a:solidFill>
                <a:effectLst/>
                <a:uLnTx/>
                <a:uFillTx/>
                <a:latin typeface="Segoe UI"/>
                <a:ea typeface="+mn-ea"/>
                <a:cs typeface="+mn-cs"/>
              </a:rPr>
              <a:t> </a:t>
            </a:r>
          </a:p>
        </p:txBody>
      </p:sp>
    </p:spTree>
    <p:extLst>
      <p:ext uri="{BB962C8B-B14F-4D97-AF65-F5344CB8AC3E}">
        <p14:creationId xmlns:p14="http://schemas.microsoft.com/office/powerpoint/2010/main" val="2835742396"/>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Rectangle 82"/>
          <p:cNvSpPr/>
          <p:nvPr/>
        </p:nvSpPr>
        <p:spPr bwMode="auto">
          <a:xfrm>
            <a:off x="3443942" y="2024295"/>
            <a:ext cx="2148840" cy="444754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82" name="Rectangle 81"/>
          <p:cNvSpPr/>
          <p:nvPr/>
        </p:nvSpPr>
        <p:spPr bwMode="auto">
          <a:xfrm>
            <a:off x="303216" y="2024295"/>
            <a:ext cx="2148840" cy="444754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Human-Robot Collaboration</a:t>
            </a:r>
          </a:p>
        </p:txBody>
      </p:sp>
      <p:sp>
        <p:nvSpPr>
          <p:cNvPr id="29" name="Text Placeholder 28"/>
          <p:cNvSpPr>
            <a:spLocks noGrp="1"/>
          </p:cNvSpPr>
          <p:nvPr>
            <p:ph type="body" sz="quarter" idx="13"/>
          </p:nvPr>
        </p:nvSpPr>
        <p:spPr/>
        <p:txBody>
          <a:bodyPr/>
          <a:lstStyle/>
          <a:p>
            <a:r>
              <a:rPr lang="en-IN" dirty="0"/>
              <a:t>Scenarios Mapped to Benefits</a:t>
            </a:r>
          </a:p>
        </p:txBody>
      </p:sp>
      <p:sp>
        <p:nvSpPr>
          <p:cNvPr id="3" name="Slide Number Placeholder 2"/>
          <p:cNvSpPr>
            <a:spLocks noGrp="1"/>
          </p:cNvSpPr>
          <p:nvPr>
            <p:ph type="sldNum" sz="quarter" idx="14"/>
          </p:nvPr>
        </p:nvSpPr>
        <p:spPr/>
        <p:txBody>
          <a:bodyPr/>
          <a:lstStyle/>
          <a:p>
            <a:pPr marL="0" marR="0" lvl="0" indent="0" algn="r" defTabSz="1088105"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1088105" rtl="0" eaLnBrk="1" fontAlgn="auto" latinLnBrk="0" hangingPunct="1">
                <a:lnSpc>
                  <a:spcPct val="100000"/>
                </a:lnSpc>
                <a:spcBef>
                  <a:spcPts val="0"/>
                </a:spcBef>
                <a:spcAft>
                  <a:spcPts val="0"/>
                </a:spcAft>
                <a:buClrTx/>
                <a:buSzTx/>
                <a:buFontTx/>
                <a:buNone/>
                <a:tabLst/>
                <a:defRPr/>
              </a:pPr>
              <a:t>26</a:t>
            </a:fld>
            <a:endParaRPr kumimoji="0" lang="en-US" sz="800" b="0" i="0" u="none" strike="noStrike" kern="1200" cap="none" spc="0" normalizeH="0" baseline="0" noProof="0">
              <a:ln>
                <a:noFill/>
              </a:ln>
              <a:solidFill>
                <a:srgbClr val="505050"/>
              </a:solidFill>
              <a:effectLst/>
              <a:uLnTx/>
              <a:uFillTx/>
              <a:latin typeface="Segoe UI" pitchFamily="34" charset="0"/>
              <a:cs typeface="Segoe UI" pitchFamily="34" charset="0"/>
            </a:endParaRPr>
          </a:p>
        </p:txBody>
      </p:sp>
      <p:sp>
        <p:nvSpPr>
          <p:cNvPr id="4" name="Rectangle 3"/>
          <p:cNvSpPr/>
          <p:nvPr/>
        </p:nvSpPr>
        <p:spPr bwMode="auto">
          <a:xfrm>
            <a:off x="9732090" y="1475655"/>
            <a:ext cx="2148840" cy="548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52024"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Key Benefits</a:t>
            </a:r>
          </a:p>
        </p:txBody>
      </p:sp>
      <p:sp>
        <p:nvSpPr>
          <p:cNvPr id="5" name="Rectangle 4"/>
          <p:cNvSpPr/>
          <p:nvPr/>
        </p:nvSpPr>
        <p:spPr bwMode="auto">
          <a:xfrm>
            <a:off x="9732090" y="2024295"/>
            <a:ext cx="2148840" cy="445357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7" name="Rectangle 26"/>
          <p:cNvSpPr/>
          <p:nvPr/>
        </p:nvSpPr>
        <p:spPr>
          <a:xfrm>
            <a:off x="9732090" y="3175742"/>
            <a:ext cx="2148840" cy="457200"/>
          </a:xfrm>
          <a:prstGeom prst="rect">
            <a:avLst/>
          </a:prstGeom>
          <a:solidFill>
            <a:schemeClr val="accent2"/>
          </a:solidFill>
          <a:ln w="25400" cap="flat" cmpd="sng" algn="ctr">
            <a:noFill/>
            <a:prstDash val="solid"/>
          </a:ln>
          <a:effectLst/>
        </p:spPr>
        <p:txBody>
          <a:bodyPr wrap="square" lIns="91440" tIns="45720" rIns="91440" bIns="45720" rtlCol="0" anchor="ctr">
            <a:noAutofit/>
          </a:bodyPr>
          <a:lstStyle/>
          <a:p>
            <a:pPr lvl="0" defTabSz="914241">
              <a:lnSpc>
                <a:spcPct val="110000"/>
              </a:lnSpc>
              <a:spcBef>
                <a:spcPts val="267"/>
              </a:spcBef>
              <a:defRPr/>
            </a:pPr>
            <a:r>
              <a:rPr lang="en-US" sz="1100" kern="0" dirty="0">
                <a:solidFill>
                  <a:srgbClr val="505050"/>
                </a:solidFill>
              </a:rPr>
              <a:t>Improved product quality </a:t>
            </a:r>
            <a:endParaRPr kumimoji="0" lang="en-US" sz="1100" b="0" i="0" u="none" strike="noStrike" kern="0" cap="none" spc="0" normalizeH="0" baseline="0" noProof="0" dirty="0">
              <a:ln>
                <a:noFill/>
              </a:ln>
              <a:solidFill>
                <a:srgbClr val="505050"/>
              </a:solidFill>
              <a:effectLst/>
              <a:uLnTx/>
              <a:uFillTx/>
              <a:latin typeface="Segoe UI"/>
              <a:ea typeface="+mn-ea"/>
              <a:cs typeface="+mn-cs"/>
            </a:endParaRPr>
          </a:p>
        </p:txBody>
      </p:sp>
      <p:sp>
        <p:nvSpPr>
          <p:cNvPr id="8" name="Rectangle 223"/>
          <p:cNvSpPr/>
          <p:nvPr/>
        </p:nvSpPr>
        <p:spPr>
          <a:xfrm>
            <a:off x="9732090" y="4050472"/>
            <a:ext cx="2148840" cy="457200"/>
          </a:xfrm>
          <a:prstGeom prst="rect">
            <a:avLst/>
          </a:prstGeom>
          <a:solidFill>
            <a:schemeClr val="accent2"/>
          </a:solidFill>
          <a:ln w="25400" cap="flat" cmpd="sng" algn="ctr">
            <a:noFill/>
            <a:prstDash val="solid"/>
          </a:ln>
          <a:effectLst/>
        </p:spPr>
        <p:txBody>
          <a:bodyPr wrap="square" lIns="91440" tIns="45720" rIns="91440" bIns="45720" rtlCol="0" anchor="ctr">
            <a:noAutofit/>
          </a:bodyPr>
          <a:lstStyle/>
          <a:p>
            <a:pPr lvl="0" defTabSz="914241">
              <a:lnSpc>
                <a:spcPct val="110000"/>
              </a:lnSpc>
              <a:spcBef>
                <a:spcPts val="267"/>
              </a:spcBef>
              <a:defRPr/>
            </a:pPr>
            <a:r>
              <a:rPr lang="en-US" sz="1100" kern="0" dirty="0">
                <a:solidFill>
                  <a:srgbClr val="505050"/>
                </a:solidFill>
              </a:rPr>
              <a:t>Increased production output </a:t>
            </a:r>
            <a:endParaRPr kumimoji="0" lang="en-US" sz="1100" b="0" i="0" u="none" strike="noStrike" kern="0" cap="none" spc="0" normalizeH="0" baseline="0" noProof="0" dirty="0">
              <a:ln>
                <a:noFill/>
              </a:ln>
              <a:solidFill>
                <a:srgbClr val="505050"/>
              </a:solidFill>
              <a:effectLst/>
              <a:uLnTx/>
              <a:uFillTx/>
              <a:latin typeface="Segoe UI"/>
              <a:ea typeface="+mn-ea"/>
              <a:cs typeface="+mn-cs"/>
            </a:endParaRPr>
          </a:p>
        </p:txBody>
      </p:sp>
      <p:sp>
        <p:nvSpPr>
          <p:cNvPr id="11" name="Rectangle 10"/>
          <p:cNvSpPr/>
          <p:nvPr>
            <p:custDataLst>
              <p:tags r:id="rId1"/>
            </p:custDataLst>
          </p:nvPr>
        </p:nvSpPr>
        <p:spPr>
          <a:xfrm>
            <a:off x="9732090" y="2301012"/>
            <a:ext cx="2148840" cy="457200"/>
          </a:xfrm>
          <a:prstGeom prst="rect">
            <a:avLst/>
          </a:prstGeom>
          <a:solidFill>
            <a:schemeClr val="accent2"/>
          </a:solidFill>
          <a:ln w="25400" cap="flat" cmpd="sng" algn="ctr">
            <a:noFill/>
            <a:prstDash val="solid"/>
          </a:ln>
          <a:effectLst/>
        </p:spPr>
        <p:txBody>
          <a:bodyPr lIns="91440" tIns="45720" rIns="91440" bIns="45720" rtlCol="0" anchor="ctr">
            <a:noAutofit/>
          </a:bodyPr>
          <a:lstStyle/>
          <a:p>
            <a:pPr lvl="0" defTabSz="914241">
              <a:lnSpc>
                <a:spcPct val="110000"/>
              </a:lnSpc>
              <a:spcBef>
                <a:spcPts val="267"/>
              </a:spcBef>
              <a:defRPr/>
            </a:pPr>
            <a:r>
              <a:rPr lang="en-US" sz="1100" kern="0" dirty="0">
                <a:solidFill>
                  <a:srgbClr val="505050"/>
                </a:solidFill>
              </a:rPr>
              <a:t>Reduced operating costs </a:t>
            </a:r>
            <a:endParaRPr kumimoji="0" lang="en-US" sz="1100" b="0" i="0" u="none" strike="noStrike" kern="0" cap="none" spc="0" normalizeH="0" baseline="0" noProof="0" dirty="0">
              <a:ln>
                <a:noFill/>
              </a:ln>
              <a:solidFill>
                <a:srgbClr val="505050"/>
              </a:solidFill>
              <a:effectLst/>
              <a:uLnTx/>
              <a:uFillTx/>
              <a:latin typeface="Segoe UI"/>
              <a:ea typeface="+mn-ea"/>
              <a:cs typeface="+mn-cs"/>
            </a:endParaRPr>
          </a:p>
        </p:txBody>
      </p:sp>
      <p:sp>
        <p:nvSpPr>
          <p:cNvPr id="12" name="Rectangle 25"/>
          <p:cNvSpPr/>
          <p:nvPr/>
        </p:nvSpPr>
        <p:spPr>
          <a:xfrm>
            <a:off x="9732090" y="4925203"/>
            <a:ext cx="2148840" cy="457200"/>
          </a:xfrm>
          <a:prstGeom prst="rect">
            <a:avLst/>
          </a:prstGeom>
          <a:solidFill>
            <a:schemeClr val="accent2"/>
          </a:solidFill>
          <a:ln w="25400" cap="flat" cmpd="sng" algn="ctr">
            <a:noFill/>
            <a:prstDash val="solid"/>
          </a:ln>
          <a:effectLst/>
        </p:spPr>
        <p:txBody>
          <a:bodyPr lIns="91440" tIns="45720" rIns="91440" bIns="45720" rtlCol="0" anchor="ctr">
            <a:noAutofit/>
          </a:bodyPr>
          <a:lstStyle/>
          <a:p>
            <a:pPr lvl="0" defTabSz="914241">
              <a:lnSpc>
                <a:spcPct val="110000"/>
              </a:lnSpc>
              <a:spcBef>
                <a:spcPts val="267"/>
              </a:spcBef>
              <a:defRPr/>
            </a:pPr>
            <a:r>
              <a:rPr lang="en-US" sz="1100" kern="0" dirty="0">
                <a:solidFill>
                  <a:srgbClr val="505050"/>
                </a:solidFill>
              </a:rPr>
              <a:t>Improved quality of work for employees </a:t>
            </a:r>
            <a:endParaRPr kumimoji="0" lang="en-GB" sz="1100" b="0" i="0" u="none" strike="noStrike" kern="0" cap="none" spc="0" normalizeH="0" baseline="0" noProof="0" dirty="0">
              <a:ln>
                <a:noFill/>
              </a:ln>
              <a:solidFill>
                <a:srgbClr val="505050"/>
              </a:solidFill>
              <a:effectLst/>
              <a:uLnTx/>
              <a:uFillTx/>
              <a:latin typeface="Segoe UI"/>
              <a:ea typeface="+mn-ea"/>
              <a:cs typeface="+mn-cs"/>
            </a:endParaRPr>
          </a:p>
        </p:txBody>
      </p:sp>
      <p:sp>
        <p:nvSpPr>
          <p:cNvPr id="16" name="Rectangle 15"/>
          <p:cNvSpPr/>
          <p:nvPr/>
        </p:nvSpPr>
        <p:spPr bwMode="auto">
          <a:xfrm>
            <a:off x="303216" y="1475655"/>
            <a:ext cx="2148840" cy="54864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panose="020B0702040204020203" pitchFamily="34" charset="0"/>
                <a:ea typeface="Segoe UI" pitchFamily="34" charset="0"/>
                <a:cs typeface="Segoe UI Semibold" panose="020B0702040204020203" pitchFamily="34" charset="0"/>
              </a:rPr>
              <a:t>Business Drivers</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panose="020B0702040204020203" pitchFamily="34" charset="0"/>
                <a:ea typeface="Segoe UI" pitchFamily="34" charset="0"/>
                <a:cs typeface="Segoe UI Semibold" panose="020B0702040204020203" pitchFamily="34" charset="0"/>
              </a:rPr>
              <a:t>[Business environment]</a:t>
            </a:r>
          </a:p>
        </p:txBody>
      </p:sp>
      <p:sp>
        <p:nvSpPr>
          <p:cNvPr id="17" name="Rectangle 16"/>
          <p:cNvSpPr/>
          <p:nvPr/>
        </p:nvSpPr>
        <p:spPr bwMode="auto">
          <a:xfrm>
            <a:off x="3443942" y="1475655"/>
            <a:ext cx="2148840" cy="5486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51946"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Investment Objectives</a:t>
            </a:r>
          </a:p>
          <a:p>
            <a:pPr marL="0" marR="0" lvl="0" indent="0" algn="ctr" defTabSz="1051946"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white"/>
                </a:solidFill>
                <a:effectLst/>
                <a:uLnTx/>
                <a:uFillTx/>
                <a:latin typeface="Segoe UI"/>
                <a:ea typeface="+mn-ea"/>
                <a:cs typeface="+mn-cs"/>
              </a:rPr>
              <a:t>[Strategic Options]</a:t>
            </a:r>
          </a:p>
        </p:txBody>
      </p:sp>
      <p:sp>
        <p:nvSpPr>
          <p:cNvPr id="18" name="Rectangle 17"/>
          <p:cNvSpPr/>
          <p:nvPr/>
        </p:nvSpPr>
        <p:spPr bwMode="auto">
          <a:xfrm>
            <a:off x="6580209" y="1475655"/>
            <a:ext cx="2148840" cy="54864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52024"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Enterprise Scenarios</a:t>
            </a:r>
          </a:p>
          <a:p>
            <a:pPr marL="0" marR="0" lvl="0" indent="0" algn="ctr" defTabSz="1052024"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white"/>
                </a:solidFill>
                <a:effectLst/>
                <a:uLnTx/>
                <a:uFillTx/>
                <a:latin typeface="Segoe UI"/>
                <a:ea typeface="+mn-ea"/>
                <a:cs typeface="+mn-cs"/>
              </a:rPr>
              <a:t>[Tactical Business Changes]</a:t>
            </a:r>
          </a:p>
        </p:txBody>
      </p:sp>
      <p:sp>
        <p:nvSpPr>
          <p:cNvPr id="20" name="Rectangle 19"/>
          <p:cNvSpPr/>
          <p:nvPr/>
        </p:nvSpPr>
        <p:spPr>
          <a:xfrm>
            <a:off x="303216" y="4561720"/>
            <a:ext cx="2148840" cy="820683"/>
          </a:xfrm>
          <a:prstGeom prst="rect">
            <a:avLst/>
          </a:prstGeom>
          <a:solidFill>
            <a:schemeClr val="tx2"/>
          </a:solidFill>
          <a:ln w="25400" cap="flat" cmpd="sng" algn="ctr">
            <a:noFill/>
            <a:prstDash val="solid"/>
          </a:ln>
          <a:effectLst/>
        </p:spPr>
        <p:txBody>
          <a:bodyPr wrap="square" lIns="91440" tIns="45720" rIns="91440" bIns="45720" rtlCol="0" anchor="ctr">
            <a:noAutofit/>
          </a:bodyPr>
          <a:lstStyle/>
          <a:p>
            <a:pPr lvl="0" defTabSz="591836">
              <a:lnSpc>
                <a:spcPct val="110000"/>
              </a:lnSpc>
              <a:spcBef>
                <a:spcPts val="100"/>
              </a:spcBef>
              <a:defRPr/>
            </a:pPr>
            <a:r>
              <a:rPr lang="en-US" sz="1100" kern="0" dirty="0">
                <a:solidFill>
                  <a:prstClr val="white"/>
                </a:solidFill>
              </a:rPr>
              <a:t>Shift from “mass production” towards “mass customization” </a:t>
            </a:r>
            <a:endParaRPr kumimoji="0" lang="en-US" sz="1100" b="0" i="0" u="none" strike="noStrike" kern="0" cap="none" spc="0" normalizeH="0" baseline="0" noProof="0" dirty="0">
              <a:ln>
                <a:noFill/>
              </a:ln>
              <a:solidFill>
                <a:prstClr val="white"/>
              </a:solidFill>
              <a:effectLst/>
              <a:uLnTx/>
              <a:uFillTx/>
              <a:latin typeface="Segoe UI"/>
              <a:ea typeface="+mn-ea"/>
              <a:cs typeface="+mn-cs"/>
            </a:endParaRPr>
          </a:p>
        </p:txBody>
      </p:sp>
      <p:sp>
        <p:nvSpPr>
          <p:cNvPr id="21" name="Rectangle 20"/>
          <p:cNvSpPr/>
          <p:nvPr/>
        </p:nvSpPr>
        <p:spPr>
          <a:xfrm>
            <a:off x="303216" y="3431366"/>
            <a:ext cx="2148840" cy="820683"/>
          </a:xfrm>
          <a:prstGeom prst="rect">
            <a:avLst/>
          </a:prstGeom>
          <a:solidFill>
            <a:schemeClr val="tx2"/>
          </a:solidFill>
          <a:ln w="25400" cap="flat" cmpd="sng" algn="ctr">
            <a:noFill/>
            <a:prstDash val="solid"/>
          </a:ln>
          <a:effectLst/>
        </p:spPr>
        <p:txBody>
          <a:bodyPr wrap="square" lIns="91440" tIns="45720" rIns="91440" bIns="45720" rtlCol="0" anchor="ctr">
            <a:noAutofit/>
          </a:bodyPr>
          <a:lstStyle/>
          <a:p>
            <a:pPr lvl="0" defTabSz="591836">
              <a:lnSpc>
                <a:spcPct val="110000"/>
              </a:lnSpc>
              <a:spcBef>
                <a:spcPts val="100"/>
              </a:spcBef>
              <a:defRPr/>
            </a:pPr>
            <a:r>
              <a:rPr lang="en-US" sz="1100" kern="0" dirty="0">
                <a:solidFill>
                  <a:prstClr val="white"/>
                </a:solidFill>
              </a:rPr>
              <a:t>Decreasing product lifetime </a:t>
            </a:r>
            <a:endParaRPr kumimoji="0" lang="en-GB" sz="1100" b="0" i="0" u="none" strike="noStrike" kern="0" cap="none" spc="0" normalizeH="0" baseline="0" noProof="0" dirty="0">
              <a:ln>
                <a:noFill/>
              </a:ln>
              <a:solidFill>
                <a:prstClr val="white"/>
              </a:solidFill>
              <a:effectLst/>
              <a:uLnTx/>
              <a:uFillTx/>
              <a:latin typeface="Segoe UI"/>
              <a:ea typeface="+mn-ea"/>
              <a:cs typeface="+mn-cs"/>
            </a:endParaRPr>
          </a:p>
        </p:txBody>
      </p:sp>
      <p:sp>
        <p:nvSpPr>
          <p:cNvPr id="23" name="Rectangle 22"/>
          <p:cNvSpPr/>
          <p:nvPr/>
        </p:nvSpPr>
        <p:spPr>
          <a:xfrm>
            <a:off x="303216" y="2301012"/>
            <a:ext cx="2148840" cy="820683"/>
          </a:xfrm>
          <a:prstGeom prst="rect">
            <a:avLst/>
          </a:prstGeom>
          <a:solidFill>
            <a:schemeClr val="tx2"/>
          </a:solidFill>
          <a:ln w="25400" cap="flat" cmpd="sng" algn="ctr">
            <a:noFill/>
            <a:prstDash val="solid"/>
          </a:ln>
          <a:effectLst/>
        </p:spPr>
        <p:txBody>
          <a:bodyPr wrap="square" lIns="91440" tIns="45720" rIns="91440" bIns="45720" rtlCol="0" anchor="ctr">
            <a:noAutofit/>
          </a:bodyPr>
          <a:lstStyle/>
          <a:p>
            <a:pPr lvl="0" defTabSz="591836">
              <a:lnSpc>
                <a:spcPct val="110000"/>
              </a:lnSpc>
              <a:spcBef>
                <a:spcPts val="100"/>
              </a:spcBef>
              <a:defRPr/>
            </a:pPr>
            <a:r>
              <a:rPr lang="en-US" sz="1100" kern="0" dirty="0">
                <a:solidFill>
                  <a:prstClr val="white"/>
                </a:solidFill>
              </a:rPr>
              <a:t>Increasing number of product variants</a:t>
            </a:r>
            <a:endParaRPr kumimoji="0" lang="en-US" sz="1100" b="0" i="0" u="none" strike="noStrike" kern="0" cap="none" spc="0" normalizeH="0" baseline="0" noProof="0" dirty="0">
              <a:ln>
                <a:noFill/>
              </a:ln>
              <a:solidFill>
                <a:prstClr val="white"/>
              </a:solidFill>
              <a:effectLst/>
              <a:uLnTx/>
              <a:uFillTx/>
              <a:latin typeface="Segoe UI"/>
              <a:ea typeface="+mn-ea"/>
              <a:cs typeface="+mn-cs"/>
            </a:endParaRPr>
          </a:p>
        </p:txBody>
      </p:sp>
      <p:sp>
        <p:nvSpPr>
          <p:cNvPr id="60" name="Rectangle 1"/>
          <p:cNvSpPr/>
          <p:nvPr/>
        </p:nvSpPr>
        <p:spPr>
          <a:xfrm>
            <a:off x="3443942" y="2301012"/>
            <a:ext cx="2148840" cy="584610"/>
          </a:xfrm>
          <a:prstGeom prst="rect">
            <a:avLst/>
          </a:prstGeom>
          <a:solidFill>
            <a:schemeClr val="accent1"/>
          </a:solidFill>
          <a:ln w="25400" cap="flat" cmpd="sng" algn="ctr">
            <a:noFill/>
            <a:prstDash val="solid"/>
          </a:ln>
          <a:effectLst/>
        </p:spPr>
        <p:txBody>
          <a:bodyPr wrap="square" lIns="91440" tIns="45720" rIns="91440" bIns="45720" rtlCol="0" anchor="ctr">
            <a:noAutofit/>
          </a:bodyPr>
          <a:lstStyle/>
          <a:p>
            <a:pPr marL="0" marR="0" lvl="0" indent="0" algn="ctr" defTabSz="591836" rtl="0" eaLnBrk="1" fontAlgn="auto" latinLnBrk="0" hangingPunct="1">
              <a:lnSpc>
                <a:spcPct val="110000"/>
              </a:lnSpc>
              <a:spcBef>
                <a:spcPts val="10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Segoe UI"/>
                <a:ea typeface="+mn-ea"/>
                <a:cs typeface="+mn-cs"/>
              </a:rPr>
              <a:t>Improve employee productivity, health and safety</a:t>
            </a:r>
            <a:endParaRPr kumimoji="0" lang="en-GB" sz="1100" b="0" i="0" u="none" strike="noStrike" kern="0" cap="none" spc="0" normalizeH="0" baseline="0" noProof="0" dirty="0">
              <a:ln>
                <a:noFill/>
              </a:ln>
              <a:solidFill>
                <a:prstClr val="white"/>
              </a:solidFill>
              <a:effectLst/>
              <a:uLnTx/>
              <a:uFillTx/>
              <a:latin typeface="Segoe UI"/>
              <a:ea typeface="+mn-ea"/>
              <a:cs typeface="+mn-cs"/>
            </a:endParaRPr>
          </a:p>
        </p:txBody>
      </p:sp>
      <p:sp>
        <p:nvSpPr>
          <p:cNvPr id="61" name="Rectangle 3"/>
          <p:cNvSpPr/>
          <p:nvPr/>
        </p:nvSpPr>
        <p:spPr>
          <a:xfrm>
            <a:off x="3443942" y="3145957"/>
            <a:ext cx="2148840" cy="584610"/>
          </a:xfrm>
          <a:prstGeom prst="rect">
            <a:avLst/>
          </a:prstGeom>
          <a:solidFill>
            <a:schemeClr val="accent1"/>
          </a:solidFill>
          <a:ln w="25400" cap="flat" cmpd="sng" algn="ctr">
            <a:noFill/>
            <a:prstDash val="solid"/>
          </a:ln>
          <a:effectLst/>
        </p:spPr>
        <p:txBody>
          <a:bodyPr wrap="square" lIns="91440" tIns="45720" rIns="91440" bIns="45720" rtlCol="0" anchor="ctr">
            <a:noAutofit/>
          </a:bodyPr>
          <a:lstStyle/>
          <a:p>
            <a:pPr lvl="0" algn="ctr" defTabSz="591836">
              <a:lnSpc>
                <a:spcPct val="110000"/>
              </a:lnSpc>
              <a:spcBef>
                <a:spcPts val="100"/>
              </a:spcBef>
              <a:defRPr/>
            </a:pPr>
            <a:r>
              <a:rPr lang="en-CA" sz="1100" kern="0" dirty="0">
                <a:solidFill>
                  <a:prstClr val="white"/>
                </a:solidFill>
              </a:rPr>
              <a:t>Smart manufacturing	</a:t>
            </a:r>
          </a:p>
        </p:txBody>
      </p:sp>
      <p:sp>
        <p:nvSpPr>
          <p:cNvPr id="63" name="Rectangle 3"/>
          <p:cNvSpPr/>
          <p:nvPr/>
        </p:nvSpPr>
        <p:spPr>
          <a:xfrm>
            <a:off x="3443942" y="3969969"/>
            <a:ext cx="2148840" cy="584610"/>
          </a:xfrm>
          <a:prstGeom prst="rect">
            <a:avLst/>
          </a:prstGeom>
          <a:solidFill>
            <a:schemeClr val="accent1"/>
          </a:solidFill>
          <a:ln w="25400" cap="flat" cmpd="sng" algn="ctr">
            <a:noFill/>
            <a:prstDash val="solid"/>
          </a:ln>
          <a:effectLst/>
        </p:spPr>
        <p:txBody>
          <a:bodyPr wrap="square" lIns="91440" tIns="45720" rIns="91440" bIns="45720" rtlCol="0" anchor="ctr">
            <a:noAutofit/>
          </a:bodyPr>
          <a:lstStyle/>
          <a:p>
            <a:pPr algn="ctr" defTabSz="1051946"/>
            <a:r>
              <a:rPr lang="en-IN" sz="1100" kern="0" dirty="0">
                <a:solidFill>
                  <a:prstClr val="white"/>
                </a:solidFill>
                <a:cs typeface="Segoe UI Semibold" panose="020B0702040204020203" pitchFamily="34" charset="0"/>
              </a:rPr>
              <a:t>Delivery of the digital mobile strategy</a:t>
            </a:r>
          </a:p>
        </p:txBody>
      </p:sp>
      <p:sp>
        <p:nvSpPr>
          <p:cNvPr id="66" name="Text Placeholder 6"/>
          <p:cNvSpPr txBox="1">
            <a:spLocks/>
          </p:cNvSpPr>
          <p:nvPr/>
        </p:nvSpPr>
        <p:spPr>
          <a:xfrm>
            <a:off x="9230569" y="142996"/>
            <a:ext cx="2746481" cy="456230"/>
          </a:xfrm>
          <a:prstGeom prst="rect">
            <a:avLst/>
          </a:prstGeom>
        </p:spPr>
        <p:txBody>
          <a:bodyPr vert="horz" lIns="320040" tIns="53325" rIns="53325" bIns="53325" rtlCol="0">
            <a:noAutofit/>
          </a:bodyPr>
          <a:lstStyle>
            <a:lvl1pPr marL="0" indent="0" algn="l" defTabSz="1088105" rtl="0" eaLnBrk="1" latinLnBrk="0" hangingPunct="1">
              <a:spcBef>
                <a:spcPts val="1800"/>
              </a:spcBef>
              <a:buClr>
                <a:srgbClr val="0072C6"/>
              </a:buClr>
              <a:buSzPct val="100000"/>
              <a:buFont typeface="Wingdings" pitchFamily="2" charset="2"/>
              <a:buNone/>
              <a:defRPr sz="2800" kern="1200">
                <a:solidFill>
                  <a:schemeClr val="tx1"/>
                </a:solidFill>
                <a:latin typeface="Segoe UI Light" pitchFamily="34" charset="0"/>
                <a:ea typeface="Segoe UI" pitchFamily="34" charset="0"/>
                <a:cs typeface="Segoe UI" pitchFamily="34" charset="0"/>
              </a:defRPr>
            </a:lvl1pPr>
            <a:lvl2pPr marL="281674" indent="0" algn="l" defTabSz="1088105" rtl="0" eaLnBrk="1" latinLnBrk="0" hangingPunct="1">
              <a:spcBef>
                <a:spcPct val="20000"/>
              </a:spcBef>
              <a:buFont typeface="Arial" pitchFamily="34" charset="0"/>
              <a:buNone/>
              <a:defRPr sz="1800" kern="1200">
                <a:solidFill>
                  <a:schemeClr val="tx1"/>
                </a:solidFill>
                <a:latin typeface="Segoe UI" pitchFamily="34" charset="0"/>
                <a:ea typeface="Segoe UI" pitchFamily="34" charset="0"/>
                <a:cs typeface="Segoe UI" pitchFamily="34" charset="0"/>
              </a:defRPr>
            </a:lvl2pPr>
            <a:lvl3pPr marL="588476" indent="0" algn="l" defTabSz="1088105" rtl="0" eaLnBrk="1" latinLnBrk="0" hangingPunct="1">
              <a:spcBef>
                <a:spcPct val="20000"/>
              </a:spcBef>
              <a:buFont typeface="Arial" pitchFamily="34" charset="0"/>
              <a:buNone/>
              <a:defRPr sz="1600" kern="1200">
                <a:solidFill>
                  <a:schemeClr val="tx1"/>
                </a:solidFill>
                <a:latin typeface="Segoe UI" pitchFamily="34" charset="0"/>
                <a:ea typeface="Segoe UI" pitchFamily="34" charset="0"/>
                <a:cs typeface="Segoe UI" pitchFamily="34" charset="0"/>
              </a:defRPr>
            </a:lvl3pPr>
            <a:lvl4pPr marL="87015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4pPr>
            <a:lvl5pPr marL="110554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marL="0" marR="0" lvl="0" indent="0" algn="l" defTabSz="1088105" rtl="0" eaLnBrk="1" fontAlgn="auto" latinLnBrk="0" hangingPunct="1">
              <a:lnSpc>
                <a:spcPct val="100000"/>
              </a:lnSpc>
              <a:spcBef>
                <a:spcPts val="1800"/>
              </a:spcBef>
              <a:spcAft>
                <a:spcPts val="0"/>
              </a:spcAft>
              <a:buClr>
                <a:srgbClr val="0072C6"/>
              </a:buClr>
              <a:buSzPct val="100000"/>
              <a:buFont typeface="Wingdings" pitchFamily="2" charset="2"/>
              <a:buNone/>
              <a:tabLst/>
              <a:defRPr/>
            </a:pPr>
            <a:r>
              <a:rPr kumimoji="0" lang="en-US" sz="2800" b="0" i="0" u="none" strike="noStrike" kern="1200" cap="none" spc="0" normalizeH="0" baseline="0" noProof="0">
                <a:ln>
                  <a:noFill/>
                </a:ln>
                <a:solidFill>
                  <a:srgbClr val="505050"/>
                </a:solidFill>
                <a:effectLst/>
                <a:uLnTx/>
                <a:uFillTx/>
                <a:latin typeface="Segoe UI Light" pitchFamily="34" charset="0"/>
                <a:cs typeface="Segoe UI" pitchFamily="34" charset="0"/>
              </a:rPr>
              <a:t>Scenario Chain</a:t>
            </a:r>
          </a:p>
        </p:txBody>
      </p:sp>
      <p:sp>
        <p:nvSpPr>
          <p:cNvPr id="68" name="Rectangle 11"/>
          <p:cNvSpPr/>
          <p:nvPr/>
        </p:nvSpPr>
        <p:spPr>
          <a:xfrm>
            <a:off x="6579988" y="2301012"/>
            <a:ext cx="2149061" cy="571555"/>
          </a:xfrm>
          <a:prstGeom prst="rect">
            <a:avLst/>
          </a:prstGeom>
          <a:solidFill>
            <a:schemeClr val="accent3"/>
          </a:solidFill>
          <a:ln w="25400" cap="flat" cmpd="sng" algn="ctr">
            <a:noFill/>
            <a:prstDash val="solid"/>
          </a:ln>
          <a:effectLst/>
        </p:spPr>
        <p:txBody>
          <a:bodyPr wrap="square" lIns="91440" tIns="45720" rIns="91440" bIns="45720" rtlCol="0" anchor="ctr"/>
          <a:lstStyle/>
          <a:p>
            <a:pPr marL="0" marR="0" lvl="0" indent="0" algn="l" defTabSz="591836" rtl="0" eaLnBrk="1" fontAlgn="auto" latinLnBrk="0" hangingPunct="1">
              <a:lnSpc>
                <a:spcPct val="110000"/>
              </a:lnSpc>
              <a:spcBef>
                <a:spcPts val="10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Segoe UI"/>
                <a:ea typeface="+mn-ea"/>
                <a:cs typeface="+mn-cs"/>
              </a:rPr>
              <a:t>Human-Robot collaboration</a:t>
            </a:r>
            <a:endParaRPr kumimoji="0" lang="en-US" sz="1100" b="0" i="1" u="none" strike="noStrike" kern="0" cap="none" spc="0" normalizeH="0" baseline="0" noProof="0" dirty="0">
              <a:ln>
                <a:noFill/>
              </a:ln>
              <a:solidFill>
                <a:prstClr val="white"/>
              </a:solidFill>
              <a:effectLst/>
              <a:uLnTx/>
              <a:uFillTx/>
              <a:latin typeface="Segoe UI"/>
              <a:ea typeface="+mn-ea"/>
              <a:cs typeface="+mn-cs"/>
            </a:endParaRPr>
          </a:p>
        </p:txBody>
      </p:sp>
      <p:cxnSp>
        <p:nvCxnSpPr>
          <p:cNvPr id="41" name="Straight Connector 236">
            <a:extLst>
              <a:ext uri="{FF2B5EF4-FFF2-40B4-BE49-F238E27FC236}">
                <a16:creationId xmlns:a16="http://schemas.microsoft.com/office/drawing/2014/main" id="{485DED1F-7B20-4FDA-8272-9129F6E66B25}"/>
              </a:ext>
            </a:extLst>
          </p:cNvPr>
          <p:cNvCxnSpPr>
            <a:cxnSpLocks/>
            <a:stCxn id="23" idx="3"/>
            <a:endCxn id="63" idx="1"/>
          </p:cNvCxnSpPr>
          <p:nvPr/>
        </p:nvCxnSpPr>
        <p:spPr>
          <a:xfrm>
            <a:off x="2452056" y="2711354"/>
            <a:ext cx="991886" cy="1550920"/>
          </a:xfrm>
          <a:prstGeom prst="line">
            <a:avLst/>
          </a:prstGeom>
          <a:noFill/>
          <a:ln w="9525" cap="flat" cmpd="sng" algn="ctr">
            <a:solidFill>
              <a:schemeClr val="bg1">
                <a:lumMod val="65000"/>
              </a:schemeClr>
            </a:solidFill>
            <a:prstDash val="solid"/>
            <a:headEnd type="oval" w="sm" len="sm"/>
            <a:tailEnd type="oval" w="sm" len="sm"/>
          </a:ln>
          <a:effectLst/>
        </p:spPr>
      </p:cxnSp>
      <p:cxnSp>
        <p:nvCxnSpPr>
          <p:cNvPr id="57" name="Straight Connector 236">
            <a:extLst>
              <a:ext uri="{FF2B5EF4-FFF2-40B4-BE49-F238E27FC236}">
                <a16:creationId xmlns:a16="http://schemas.microsoft.com/office/drawing/2014/main" id="{161F0515-DEB4-4F74-9242-614A1A7E2067}"/>
              </a:ext>
            </a:extLst>
          </p:cNvPr>
          <p:cNvCxnSpPr>
            <a:cxnSpLocks/>
            <a:stCxn id="60" idx="3"/>
            <a:endCxn id="68" idx="1"/>
          </p:cNvCxnSpPr>
          <p:nvPr/>
        </p:nvCxnSpPr>
        <p:spPr>
          <a:xfrm flipV="1">
            <a:off x="5592782" y="2586790"/>
            <a:ext cx="987206" cy="6527"/>
          </a:xfrm>
          <a:prstGeom prst="line">
            <a:avLst/>
          </a:prstGeom>
          <a:noFill/>
          <a:ln w="9525" cap="flat" cmpd="sng" algn="ctr">
            <a:solidFill>
              <a:schemeClr val="bg1">
                <a:lumMod val="65000"/>
              </a:schemeClr>
            </a:solidFill>
            <a:prstDash val="solid"/>
            <a:headEnd type="oval" w="sm" len="sm"/>
            <a:tailEnd type="oval" w="sm" len="sm"/>
          </a:ln>
          <a:effectLst/>
        </p:spPr>
      </p:cxnSp>
      <p:cxnSp>
        <p:nvCxnSpPr>
          <p:cNvPr id="65" name="Straight Connector 236">
            <a:extLst>
              <a:ext uri="{FF2B5EF4-FFF2-40B4-BE49-F238E27FC236}">
                <a16:creationId xmlns:a16="http://schemas.microsoft.com/office/drawing/2014/main" id="{ED3AE18C-61F6-49FE-8D70-9C00F2BD3AB0}"/>
              </a:ext>
            </a:extLst>
          </p:cNvPr>
          <p:cNvCxnSpPr>
            <a:cxnSpLocks/>
            <a:stCxn id="61" idx="3"/>
            <a:endCxn id="68" idx="1"/>
          </p:cNvCxnSpPr>
          <p:nvPr/>
        </p:nvCxnSpPr>
        <p:spPr>
          <a:xfrm flipV="1">
            <a:off x="5592782" y="2586790"/>
            <a:ext cx="987206" cy="851472"/>
          </a:xfrm>
          <a:prstGeom prst="line">
            <a:avLst/>
          </a:prstGeom>
          <a:noFill/>
          <a:ln w="9525" cap="flat" cmpd="sng" algn="ctr">
            <a:solidFill>
              <a:schemeClr val="bg1">
                <a:lumMod val="65000"/>
              </a:schemeClr>
            </a:solidFill>
            <a:prstDash val="solid"/>
            <a:headEnd type="oval" w="sm" len="sm"/>
            <a:tailEnd type="oval" w="sm" len="sm"/>
          </a:ln>
          <a:effectLst/>
        </p:spPr>
      </p:cxnSp>
      <p:cxnSp>
        <p:nvCxnSpPr>
          <p:cNvPr id="67" name="Straight Connector 236">
            <a:extLst>
              <a:ext uri="{FF2B5EF4-FFF2-40B4-BE49-F238E27FC236}">
                <a16:creationId xmlns:a16="http://schemas.microsoft.com/office/drawing/2014/main" id="{D3052784-69AF-4CE5-86AF-DACA99CFFE1F}"/>
              </a:ext>
            </a:extLst>
          </p:cNvPr>
          <p:cNvCxnSpPr>
            <a:cxnSpLocks/>
            <a:stCxn id="63" idx="3"/>
            <a:endCxn id="68" idx="1"/>
          </p:cNvCxnSpPr>
          <p:nvPr/>
        </p:nvCxnSpPr>
        <p:spPr>
          <a:xfrm flipV="1">
            <a:off x="5592782" y="2586790"/>
            <a:ext cx="987206" cy="1675484"/>
          </a:xfrm>
          <a:prstGeom prst="line">
            <a:avLst/>
          </a:prstGeom>
          <a:noFill/>
          <a:ln w="9525" cap="flat" cmpd="sng" algn="ctr">
            <a:solidFill>
              <a:schemeClr val="bg1">
                <a:lumMod val="65000"/>
              </a:schemeClr>
            </a:solidFill>
            <a:prstDash val="solid"/>
            <a:headEnd type="oval" w="sm" len="sm"/>
            <a:tailEnd type="oval" w="sm" len="sm"/>
          </a:ln>
          <a:effectLst/>
        </p:spPr>
      </p:cxnSp>
      <p:cxnSp>
        <p:nvCxnSpPr>
          <p:cNvPr id="69" name="Straight Connector 236">
            <a:extLst>
              <a:ext uri="{FF2B5EF4-FFF2-40B4-BE49-F238E27FC236}">
                <a16:creationId xmlns:a16="http://schemas.microsoft.com/office/drawing/2014/main" id="{A3348727-E2FB-469A-AA81-41987DC719DD}"/>
              </a:ext>
            </a:extLst>
          </p:cNvPr>
          <p:cNvCxnSpPr>
            <a:cxnSpLocks/>
            <a:endCxn id="68" idx="3"/>
          </p:cNvCxnSpPr>
          <p:nvPr/>
        </p:nvCxnSpPr>
        <p:spPr>
          <a:xfrm flipH="1">
            <a:off x="8729049" y="2301012"/>
            <a:ext cx="1003042" cy="285778"/>
          </a:xfrm>
          <a:prstGeom prst="line">
            <a:avLst/>
          </a:prstGeom>
          <a:noFill/>
          <a:ln w="9525" cap="flat" cmpd="sng" algn="ctr">
            <a:solidFill>
              <a:schemeClr val="bg1">
                <a:lumMod val="65000"/>
              </a:schemeClr>
            </a:solidFill>
            <a:prstDash val="solid"/>
            <a:headEnd type="oval" w="sm" len="sm"/>
            <a:tailEnd type="oval" w="sm" len="sm"/>
          </a:ln>
          <a:effectLst/>
        </p:spPr>
      </p:cxnSp>
      <p:cxnSp>
        <p:nvCxnSpPr>
          <p:cNvPr id="72" name="Straight Connector 236">
            <a:extLst>
              <a:ext uri="{FF2B5EF4-FFF2-40B4-BE49-F238E27FC236}">
                <a16:creationId xmlns:a16="http://schemas.microsoft.com/office/drawing/2014/main" id="{11AB84DB-8000-4C06-B425-4F2089EF6B41}"/>
              </a:ext>
            </a:extLst>
          </p:cNvPr>
          <p:cNvCxnSpPr>
            <a:cxnSpLocks/>
            <a:stCxn id="12" idx="1"/>
            <a:endCxn id="68" idx="3"/>
          </p:cNvCxnSpPr>
          <p:nvPr/>
        </p:nvCxnSpPr>
        <p:spPr>
          <a:xfrm flipH="1" flipV="1">
            <a:off x="8729049" y="2586790"/>
            <a:ext cx="1003041" cy="2567013"/>
          </a:xfrm>
          <a:prstGeom prst="line">
            <a:avLst/>
          </a:prstGeom>
          <a:noFill/>
          <a:ln w="9525" cap="flat" cmpd="sng" algn="ctr">
            <a:solidFill>
              <a:schemeClr val="bg1">
                <a:lumMod val="65000"/>
              </a:schemeClr>
            </a:solidFill>
            <a:prstDash val="solid"/>
            <a:headEnd type="oval" w="sm" len="sm"/>
            <a:tailEnd type="oval" w="sm" len="sm"/>
          </a:ln>
          <a:effectLst/>
        </p:spPr>
      </p:cxnSp>
      <p:cxnSp>
        <p:nvCxnSpPr>
          <p:cNvPr id="75" name="Straight Connector 236">
            <a:extLst>
              <a:ext uri="{FF2B5EF4-FFF2-40B4-BE49-F238E27FC236}">
                <a16:creationId xmlns:a16="http://schemas.microsoft.com/office/drawing/2014/main" id="{82376DD5-2795-4082-B83F-0D83EA9BC993}"/>
              </a:ext>
            </a:extLst>
          </p:cNvPr>
          <p:cNvCxnSpPr>
            <a:cxnSpLocks/>
            <a:stCxn id="7" idx="1"/>
            <a:endCxn id="68" idx="3"/>
          </p:cNvCxnSpPr>
          <p:nvPr/>
        </p:nvCxnSpPr>
        <p:spPr>
          <a:xfrm flipH="1" flipV="1">
            <a:off x="8729049" y="2586790"/>
            <a:ext cx="1003041" cy="817552"/>
          </a:xfrm>
          <a:prstGeom prst="line">
            <a:avLst/>
          </a:prstGeom>
          <a:noFill/>
          <a:ln w="9525" cap="flat" cmpd="sng" algn="ctr">
            <a:solidFill>
              <a:schemeClr val="bg1">
                <a:lumMod val="65000"/>
              </a:schemeClr>
            </a:solidFill>
            <a:prstDash val="solid"/>
            <a:headEnd type="oval" w="sm" len="sm"/>
            <a:tailEnd type="oval" w="sm" len="sm"/>
          </a:ln>
          <a:effectLst/>
        </p:spPr>
      </p:cxnSp>
      <p:cxnSp>
        <p:nvCxnSpPr>
          <p:cNvPr id="78" name="Straight Connector 236">
            <a:extLst>
              <a:ext uri="{FF2B5EF4-FFF2-40B4-BE49-F238E27FC236}">
                <a16:creationId xmlns:a16="http://schemas.microsoft.com/office/drawing/2014/main" id="{4D133862-1C00-4059-98EA-FA10D9E70595}"/>
              </a:ext>
            </a:extLst>
          </p:cNvPr>
          <p:cNvCxnSpPr>
            <a:cxnSpLocks/>
            <a:stCxn id="8" idx="1"/>
            <a:endCxn id="68" idx="3"/>
          </p:cNvCxnSpPr>
          <p:nvPr/>
        </p:nvCxnSpPr>
        <p:spPr>
          <a:xfrm flipH="1" flipV="1">
            <a:off x="8729049" y="2586790"/>
            <a:ext cx="1003041" cy="1692282"/>
          </a:xfrm>
          <a:prstGeom prst="line">
            <a:avLst/>
          </a:prstGeom>
          <a:noFill/>
          <a:ln w="9525" cap="flat" cmpd="sng" algn="ctr">
            <a:solidFill>
              <a:schemeClr val="bg1">
                <a:lumMod val="65000"/>
              </a:schemeClr>
            </a:solidFill>
            <a:prstDash val="solid"/>
            <a:headEnd type="oval" w="sm" len="sm"/>
            <a:tailEnd type="oval" w="sm" len="sm"/>
          </a:ln>
          <a:effectLst/>
        </p:spPr>
      </p:cxnSp>
      <p:cxnSp>
        <p:nvCxnSpPr>
          <p:cNvPr id="40" name="Straight Connector 236">
            <a:extLst>
              <a:ext uri="{FF2B5EF4-FFF2-40B4-BE49-F238E27FC236}">
                <a16:creationId xmlns:a16="http://schemas.microsoft.com/office/drawing/2014/main" id="{927D5EDC-65A4-4237-B916-9F2E50ACE73D}"/>
              </a:ext>
            </a:extLst>
          </p:cNvPr>
          <p:cNvCxnSpPr>
            <a:cxnSpLocks/>
            <a:stCxn id="20" idx="3"/>
            <a:endCxn id="61" idx="1"/>
          </p:cNvCxnSpPr>
          <p:nvPr/>
        </p:nvCxnSpPr>
        <p:spPr>
          <a:xfrm flipV="1">
            <a:off x="2452056" y="3438262"/>
            <a:ext cx="991886" cy="1533800"/>
          </a:xfrm>
          <a:prstGeom prst="line">
            <a:avLst/>
          </a:prstGeom>
          <a:noFill/>
          <a:ln w="9525" cap="flat" cmpd="sng" algn="ctr">
            <a:solidFill>
              <a:schemeClr val="bg1">
                <a:lumMod val="65000"/>
              </a:schemeClr>
            </a:solidFill>
            <a:prstDash val="solid"/>
            <a:headEnd type="oval" w="sm" len="sm"/>
            <a:tailEnd type="oval" w="sm" len="sm"/>
          </a:ln>
          <a:effectLst/>
        </p:spPr>
      </p:cxnSp>
      <p:cxnSp>
        <p:nvCxnSpPr>
          <p:cNvPr id="45" name="Straight Connector 236">
            <a:extLst>
              <a:ext uri="{FF2B5EF4-FFF2-40B4-BE49-F238E27FC236}">
                <a16:creationId xmlns:a16="http://schemas.microsoft.com/office/drawing/2014/main" id="{185BC735-CF9B-4D4E-84B0-76AF83AE4FBC}"/>
              </a:ext>
            </a:extLst>
          </p:cNvPr>
          <p:cNvCxnSpPr>
            <a:cxnSpLocks/>
            <a:stCxn id="21" idx="3"/>
            <a:endCxn id="61" idx="1"/>
          </p:cNvCxnSpPr>
          <p:nvPr/>
        </p:nvCxnSpPr>
        <p:spPr>
          <a:xfrm flipV="1">
            <a:off x="2452056" y="3438262"/>
            <a:ext cx="991886" cy="403446"/>
          </a:xfrm>
          <a:prstGeom prst="line">
            <a:avLst/>
          </a:prstGeom>
          <a:noFill/>
          <a:ln w="9525" cap="flat" cmpd="sng" algn="ctr">
            <a:solidFill>
              <a:schemeClr val="bg1">
                <a:lumMod val="65000"/>
              </a:schemeClr>
            </a:solidFill>
            <a:prstDash val="solid"/>
            <a:headEnd type="oval" w="sm" len="sm"/>
            <a:tailEnd type="oval" w="sm" len="sm"/>
          </a:ln>
          <a:effectLst/>
        </p:spPr>
      </p:cxnSp>
      <p:cxnSp>
        <p:nvCxnSpPr>
          <p:cNvPr id="48" name="Straight Connector 236">
            <a:extLst>
              <a:ext uri="{FF2B5EF4-FFF2-40B4-BE49-F238E27FC236}">
                <a16:creationId xmlns:a16="http://schemas.microsoft.com/office/drawing/2014/main" id="{60BED9D7-DB85-43B1-9A5A-2F2BCC664695}"/>
              </a:ext>
            </a:extLst>
          </p:cNvPr>
          <p:cNvCxnSpPr>
            <a:cxnSpLocks/>
            <a:stCxn id="21" idx="3"/>
            <a:endCxn id="60" idx="1"/>
          </p:cNvCxnSpPr>
          <p:nvPr/>
        </p:nvCxnSpPr>
        <p:spPr>
          <a:xfrm flipV="1">
            <a:off x="2452056" y="2593317"/>
            <a:ext cx="991886" cy="1248391"/>
          </a:xfrm>
          <a:prstGeom prst="line">
            <a:avLst/>
          </a:prstGeom>
          <a:noFill/>
          <a:ln w="9525" cap="flat" cmpd="sng" algn="ctr">
            <a:solidFill>
              <a:schemeClr val="bg1">
                <a:lumMod val="65000"/>
              </a:schemeClr>
            </a:solidFill>
            <a:prstDash val="solid"/>
            <a:headEnd type="oval" w="sm" len="sm"/>
            <a:tailEnd type="oval" w="sm" len="sm"/>
          </a:ln>
          <a:effectLst/>
        </p:spPr>
      </p:cxnSp>
      <p:cxnSp>
        <p:nvCxnSpPr>
          <p:cNvPr id="51" name="Straight Connector 236">
            <a:extLst>
              <a:ext uri="{FF2B5EF4-FFF2-40B4-BE49-F238E27FC236}">
                <a16:creationId xmlns:a16="http://schemas.microsoft.com/office/drawing/2014/main" id="{6C54924A-E0A4-4E69-B1C4-BCAB3BFD398E}"/>
              </a:ext>
            </a:extLst>
          </p:cNvPr>
          <p:cNvCxnSpPr>
            <a:cxnSpLocks/>
            <a:stCxn id="23" idx="3"/>
            <a:endCxn id="60" idx="1"/>
          </p:cNvCxnSpPr>
          <p:nvPr/>
        </p:nvCxnSpPr>
        <p:spPr>
          <a:xfrm flipV="1">
            <a:off x="2452056" y="2593317"/>
            <a:ext cx="991886" cy="118037"/>
          </a:xfrm>
          <a:prstGeom prst="line">
            <a:avLst/>
          </a:prstGeom>
          <a:noFill/>
          <a:ln w="9525" cap="flat" cmpd="sng" algn="ctr">
            <a:solidFill>
              <a:schemeClr val="bg1">
                <a:lumMod val="65000"/>
              </a:schemeClr>
            </a:solidFill>
            <a:prstDash val="solid"/>
            <a:headEnd type="oval" w="sm" len="sm"/>
            <a:tailEnd type="oval" w="sm" len="sm"/>
          </a:ln>
          <a:effectLst/>
        </p:spPr>
      </p:cxnSp>
    </p:spTree>
    <p:extLst>
      <p:ext uri="{BB962C8B-B14F-4D97-AF65-F5344CB8AC3E}">
        <p14:creationId xmlns:p14="http://schemas.microsoft.com/office/powerpoint/2010/main" val="42880406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4"/>
          <a:srcRect l="4825"/>
          <a:stretch/>
        </p:blipFill>
        <p:spPr>
          <a:xfrm>
            <a:off x="9066211" y="1868038"/>
            <a:ext cx="2819401" cy="1974887"/>
          </a:xfrm>
          <a:prstGeom prst="rect">
            <a:avLst/>
          </a:prstGeom>
        </p:spPr>
      </p:pic>
      <p:pic>
        <p:nvPicPr>
          <p:cNvPr id="5" name="Picture 4"/>
          <p:cNvPicPr>
            <a:picLocks noChangeAspect="1"/>
          </p:cNvPicPr>
          <p:nvPr/>
        </p:nvPicPr>
        <p:blipFill rotWithShape="1">
          <a:blip r:embed="rId5"/>
          <a:srcRect t="11220"/>
          <a:stretch/>
        </p:blipFill>
        <p:spPr>
          <a:xfrm>
            <a:off x="5725859" y="1868038"/>
            <a:ext cx="3346704" cy="1980812"/>
          </a:xfrm>
          <a:prstGeom prst="rect">
            <a:avLst/>
          </a:prstGeom>
        </p:spPr>
      </p:pic>
      <p:sp>
        <p:nvSpPr>
          <p:cNvPr id="2" name="Title 1"/>
          <p:cNvSpPr>
            <a:spLocks noGrp="1"/>
          </p:cNvSpPr>
          <p:nvPr>
            <p:ph type="title"/>
          </p:nvPr>
        </p:nvSpPr>
        <p:spPr/>
        <p:txBody>
          <a:bodyPr/>
          <a:lstStyle/>
          <a:p>
            <a:r>
              <a:rPr lang="en-US" dirty="0"/>
              <a:t>Human-Robot Collaboration</a:t>
            </a:r>
          </a:p>
        </p:txBody>
      </p:sp>
      <p:sp>
        <p:nvSpPr>
          <p:cNvPr id="3" name="Slide Number Placeholder 2"/>
          <p:cNvSpPr>
            <a:spLocks noGrp="1"/>
          </p:cNvSpPr>
          <p:nvPr>
            <p:ph type="sldNum" sz="quarter" idx="14"/>
          </p:nvPr>
        </p:nvSpPr>
        <p:spPr>
          <a:xfrm>
            <a:off x="11215250" y="6230974"/>
            <a:ext cx="761800" cy="380126"/>
          </a:xfrm>
        </p:spPr>
        <p:txBody>
          <a:bodyPr/>
          <a:lstStyle/>
          <a:p>
            <a:fld id="{FAADACFB-7C71-4E89-89D2-7BBA40B7BFA9}" type="slidenum">
              <a:rPr lang="en-US" smtClean="0">
                <a:solidFill>
                  <a:srgbClr val="505050"/>
                </a:solidFill>
              </a:rPr>
              <a:pPr/>
              <a:t>27</a:t>
            </a:fld>
            <a:endParaRPr lang="en-US">
              <a:solidFill>
                <a:srgbClr val="505050"/>
              </a:solidFill>
            </a:endParaRPr>
          </a:p>
        </p:txBody>
      </p:sp>
      <p:sp>
        <p:nvSpPr>
          <p:cNvPr id="8" name="Rectangle 7"/>
          <p:cNvSpPr/>
          <p:nvPr/>
        </p:nvSpPr>
        <p:spPr>
          <a:xfrm>
            <a:off x="303213" y="926198"/>
            <a:ext cx="11582400" cy="369332"/>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IN" sz="2400" dirty="0">
                <a:solidFill>
                  <a:srgbClr val="505050"/>
                </a:solidFill>
                <a:latin typeface="Segoe UI Light"/>
                <a:cs typeface="Segoe UI Semibold" panose="020B0702040204020203" pitchFamily="34" charset="0"/>
              </a:rPr>
              <a:t>Create a factory of the future where humans and robots collaborate safely and optimally</a:t>
            </a:r>
          </a:p>
        </p:txBody>
      </p:sp>
      <p:sp>
        <p:nvSpPr>
          <p:cNvPr id="11" name="Rectangle 10"/>
          <p:cNvSpPr/>
          <p:nvPr/>
        </p:nvSpPr>
        <p:spPr>
          <a:xfrm>
            <a:off x="5724525" y="1353300"/>
            <a:ext cx="6161088" cy="514738"/>
          </a:xfrm>
          <a:prstGeom prst="rect">
            <a:avLst/>
          </a:prstGeom>
          <a:solidFill>
            <a:schemeClr val="bg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spAutoFit/>
          </a:bodyPr>
          <a:lstStyle/>
          <a:p>
            <a:pPr algn="ctr">
              <a:spcBef>
                <a:spcPts val="1800"/>
              </a:spcBef>
            </a:pPr>
            <a:r>
              <a:rPr lang="en-US" sz="2400" dirty="0">
                <a:solidFill>
                  <a:prstClr val="white"/>
                </a:solidFill>
                <a:latin typeface="Segoe UI Light"/>
                <a:cs typeface="Segoe UI Semibold" panose="020B0702040204020203" pitchFamily="34" charset="0"/>
              </a:rPr>
              <a:t>COO</a:t>
            </a:r>
          </a:p>
        </p:txBody>
      </p:sp>
      <p:sp>
        <p:nvSpPr>
          <p:cNvPr id="9" name="Rectangle 8"/>
          <p:cNvSpPr/>
          <p:nvPr/>
        </p:nvSpPr>
        <p:spPr>
          <a:xfrm>
            <a:off x="303213" y="1353300"/>
            <a:ext cx="5334000" cy="2633484"/>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800"/>
              </a:spcBef>
            </a:pPr>
            <a:r>
              <a:rPr lang="en-US" sz="2400" dirty="0">
                <a:solidFill>
                  <a:srgbClr val="002050"/>
                </a:solidFill>
                <a:latin typeface="Segoe UI Light"/>
                <a:cs typeface="Segoe UI Semibold" panose="020B0702040204020203" pitchFamily="34" charset="0"/>
              </a:rPr>
              <a:t>Current State</a:t>
            </a:r>
            <a:endParaRPr lang="en-US" sz="2400" dirty="0">
              <a:solidFill>
                <a:srgbClr val="002050"/>
              </a:solidFill>
              <a:latin typeface="Segoe UI Light"/>
            </a:endParaRPr>
          </a:p>
          <a:p>
            <a:pPr>
              <a:spcBef>
                <a:spcPts val="600"/>
              </a:spcBef>
            </a:pPr>
            <a:r>
              <a:rPr lang="en-US" sz="1400" dirty="0">
                <a:solidFill>
                  <a:srgbClr val="505050"/>
                </a:solidFill>
              </a:rPr>
              <a:t>We need to produce products with more precision, as well as decrease waste and improve our manufacturing processes.</a:t>
            </a:r>
          </a:p>
          <a:p>
            <a:pPr>
              <a:spcBef>
                <a:spcPts val="600"/>
              </a:spcBef>
            </a:pPr>
            <a:r>
              <a:rPr lang="en-US" sz="1400" dirty="0">
                <a:solidFill>
                  <a:srgbClr val="505050"/>
                </a:solidFill>
              </a:rPr>
              <a:t>Programming our robots and customizing them for tasks can be very difficult.</a:t>
            </a:r>
          </a:p>
          <a:p>
            <a:pPr>
              <a:spcBef>
                <a:spcPts val="600"/>
              </a:spcBef>
            </a:pPr>
            <a:r>
              <a:rPr lang="en-US" sz="1400" dirty="0">
                <a:solidFill>
                  <a:srgbClr val="505050"/>
                </a:solidFill>
              </a:rPr>
              <a:t>Our robots and workers must remain separated to ensure safety, limiting the ways that robots can assist our workers with ergonomically difficult and repetitive tasks.</a:t>
            </a:r>
          </a:p>
        </p:txBody>
      </p:sp>
      <p:sp>
        <p:nvSpPr>
          <p:cNvPr id="16" name="Rectangle 15"/>
          <p:cNvSpPr/>
          <p:nvPr/>
        </p:nvSpPr>
        <p:spPr>
          <a:xfrm>
            <a:off x="303213" y="3986784"/>
            <a:ext cx="5334000" cy="2648826"/>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200"/>
              </a:spcBef>
            </a:pPr>
            <a:r>
              <a:rPr lang="en-US" sz="2400" dirty="0">
                <a:solidFill>
                  <a:srgbClr val="002050"/>
                </a:solidFill>
                <a:latin typeface="Segoe UI Light"/>
                <a:cs typeface="Segoe UI Semibold" panose="020B0702040204020203" pitchFamily="34" charset="0"/>
              </a:rPr>
              <a:t>Desired Future State</a:t>
            </a:r>
          </a:p>
          <a:p>
            <a:pPr>
              <a:spcBef>
                <a:spcPts val="600"/>
              </a:spcBef>
            </a:pPr>
            <a:r>
              <a:rPr lang="en-IN" sz="1400" dirty="0">
                <a:solidFill>
                  <a:srgbClr val="505050"/>
                </a:solidFill>
              </a:rPr>
              <a:t>Our robots work collaboratively with our workers, safely assisting </a:t>
            </a:r>
            <a:r>
              <a:rPr lang="en-US" sz="1400" dirty="0">
                <a:solidFill>
                  <a:srgbClr val="505050"/>
                </a:solidFill>
              </a:rPr>
              <a:t>them in a variety of tasks to improve our manufacturing quality.</a:t>
            </a:r>
          </a:p>
          <a:p>
            <a:pPr>
              <a:spcBef>
                <a:spcPts val="600"/>
              </a:spcBef>
            </a:pPr>
            <a:r>
              <a:rPr lang="en-US" sz="1400" dirty="0">
                <a:solidFill>
                  <a:srgbClr val="505050"/>
                </a:solidFill>
              </a:rPr>
              <a:t>Our manufacturing productivity and output have increased, our processes are more efficient, and we have reduced idle time.</a:t>
            </a:r>
          </a:p>
          <a:p>
            <a:pPr>
              <a:spcBef>
                <a:spcPts val="600"/>
              </a:spcBef>
            </a:pPr>
            <a:r>
              <a:rPr lang="en-US" sz="1400" dirty="0">
                <a:solidFill>
                  <a:srgbClr val="505050"/>
                </a:solidFill>
              </a:rPr>
              <a:t>Many labor intensive and ergonomically challenging issues are gone, and our work environment has become safer.</a:t>
            </a:r>
            <a:endParaRPr lang="en-IN" sz="1400" dirty="0">
              <a:solidFill>
                <a:srgbClr val="505050"/>
              </a:solidFill>
            </a:endParaRPr>
          </a:p>
          <a:p>
            <a:pPr>
              <a:spcBef>
                <a:spcPts val="600"/>
              </a:spcBef>
            </a:pPr>
            <a:r>
              <a:rPr lang="en-IN" sz="1400" dirty="0">
                <a:solidFill>
                  <a:srgbClr val="505050"/>
                </a:solidFill>
              </a:rPr>
              <a:t>Our teams </a:t>
            </a:r>
            <a:r>
              <a:rPr lang="en-US" sz="1400" dirty="0">
                <a:solidFill>
                  <a:srgbClr val="505050"/>
                </a:solidFill>
              </a:rPr>
              <a:t>of human and robot collaborators have outperformed both all-human and all-robot teams. </a:t>
            </a:r>
            <a:endParaRPr lang="en-IN" sz="1400" dirty="0">
              <a:solidFill>
                <a:srgbClr val="505050"/>
              </a:solidFill>
            </a:endParaRPr>
          </a:p>
        </p:txBody>
      </p:sp>
      <p:sp>
        <p:nvSpPr>
          <p:cNvPr id="13" name="Rectangle 12"/>
          <p:cNvSpPr/>
          <p:nvPr>
            <p:custDataLst>
              <p:tags r:id="rId1"/>
            </p:custDataLst>
          </p:nvPr>
        </p:nvSpPr>
        <p:spPr>
          <a:xfrm>
            <a:off x="5724525" y="3844088"/>
            <a:ext cx="6161088" cy="2791522"/>
          </a:xfrm>
          <a:prstGeom prst="rect">
            <a:avLst/>
          </a:prstGeom>
          <a:solidFill>
            <a:schemeClr val="bg1">
              <a:lumMod val="95000"/>
            </a:schemeClr>
          </a:solidFill>
          <a:ln w="19050">
            <a:noFill/>
            <a:prstDash val="solid"/>
          </a:ln>
        </p:spPr>
        <p:txBody>
          <a:bodyPr wrap="square" lIns="72000" tIns="36000" rIns="72000" bIns="36000">
            <a:noAutofit/>
          </a:bodyPr>
          <a:lstStyle/>
          <a:p>
            <a:pPr defTabSz="1096730">
              <a:defRPr/>
            </a:pPr>
            <a:r>
              <a:rPr lang="en-IN" sz="1600" kern="0" dirty="0">
                <a:ln>
                  <a:solidFill>
                    <a:srgbClr val="FFFFFF">
                      <a:alpha val="0"/>
                    </a:srgbClr>
                  </a:solidFill>
                </a:ln>
                <a:solidFill>
                  <a:srgbClr val="505050"/>
                </a:solidFill>
              </a:rPr>
              <a:t>We are always looking to…</a:t>
            </a:r>
          </a:p>
          <a:p>
            <a:pPr defTabSz="1096730">
              <a:defRPr/>
            </a:pPr>
            <a:endParaRPr lang="en-IN" sz="1600" kern="0" dirty="0">
              <a:ln>
                <a:solidFill>
                  <a:srgbClr val="FFFFFF">
                    <a:alpha val="0"/>
                  </a:srgbClr>
                </a:solidFill>
              </a:ln>
              <a:solidFill>
                <a:srgbClr val="505050"/>
              </a:solidFill>
            </a:endParaRPr>
          </a:p>
          <a:p>
            <a:pPr marL="285750" indent="-285750" defTabSz="1096730">
              <a:buFont typeface="Arial" panose="020B0604020202020204" pitchFamily="34" charset="0"/>
              <a:buChar char="•"/>
              <a:defRPr/>
            </a:pPr>
            <a:r>
              <a:rPr lang="en-IN" sz="1600" kern="0" dirty="0">
                <a:ln>
                  <a:solidFill>
                    <a:srgbClr val="FFFFFF">
                      <a:alpha val="0"/>
                    </a:srgbClr>
                  </a:solidFill>
                </a:ln>
                <a:solidFill>
                  <a:srgbClr val="505050"/>
                </a:solidFill>
              </a:rPr>
              <a:t>Reduce labour intensive and ergonomically challenging issues</a:t>
            </a:r>
          </a:p>
          <a:p>
            <a:pPr marL="285750" indent="-285750" defTabSz="1096730">
              <a:buFont typeface="Arial" panose="020B0604020202020204" pitchFamily="34" charset="0"/>
              <a:buChar char="•"/>
              <a:defRPr/>
            </a:pPr>
            <a:r>
              <a:rPr lang="en-IN" sz="1600" kern="0" dirty="0">
                <a:ln>
                  <a:solidFill>
                    <a:srgbClr val="FFFFFF">
                      <a:alpha val="0"/>
                    </a:srgbClr>
                  </a:solidFill>
                </a:ln>
                <a:solidFill>
                  <a:srgbClr val="505050"/>
                </a:solidFill>
              </a:rPr>
              <a:t>Reduce development delays and product defects</a:t>
            </a:r>
          </a:p>
          <a:p>
            <a:pPr marL="285750" indent="-285750" defTabSz="1096730">
              <a:buFont typeface="Arial" panose="020B0604020202020204" pitchFamily="34" charset="0"/>
              <a:buChar char="•"/>
              <a:defRPr/>
            </a:pPr>
            <a:r>
              <a:rPr lang="en-IN" sz="1600" kern="0" dirty="0">
                <a:ln>
                  <a:solidFill>
                    <a:srgbClr val="FFFFFF">
                      <a:alpha val="0"/>
                    </a:srgbClr>
                  </a:solidFill>
                </a:ln>
                <a:solidFill>
                  <a:srgbClr val="505050"/>
                </a:solidFill>
              </a:rPr>
              <a:t>Improve the work health index of the workers in the factory</a:t>
            </a:r>
          </a:p>
          <a:p>
            <a:pPr defTabSz="1096730">
              <a:defRPr/>
            </a:pPr>
            <a:endParaRPr lang="en-IN" sz="1600" kern="0" dirty="0">
              <a:ln>
                <a:solidFill>
                  <a:srgbClr val="FFFFFF">
                    <a:alpha val="0"/>
                  </a:srgbClr>
                </a:solidFill>
              </a:ln>
              <a:solidFill>
                <a:srgbClr val="505050"/>
              </a:solidFill>
            </a:endParaRPr>
          </a:p>
          <a:p>
            <a:pPr defTabSz="1096730">
              <a:defRPr/>
            </a:pPr>
            <a:endParaRPr lang="en-IN" sz="1600" kern="0" dirty="0">
              <a:ln>
                <a:solidFill>
                  <a:srgbClr val="FFFFFF">
                    <a:alpha val="0"/>
                  </a:srgbClr>
                </a:solidFill>
              </a:ln>
              <a:solidFill>
                <a:srgbClr val="505050"/>
              </a:solidFill>
            </a:endParaRPr>
          </a:p>
        </p:txBody>
      </p:sp>
      <p:sp>
        <p:nvSpPr>
          <p:cNvPr id="14" name="Text Placeholder 6"/>
          <p:cNvSpPr txBox="1">
            <a:spLocks/>
          </p:cNvSpPr>
          <p:nvPr/>
        </p:nvSpPr>
        <p:spPr>
          <a:xfrm>
            <a:off x="8389559" y="142996"/>
            <a:ext cx="3361765" cy="373063"/>
          </a:xfrm>
          <a:prstGeom prst="rect">
            <a:avLst/>
          </a:prstGeom>
        </p:spPr>
        <p:txBody>
          <a:bodyPr vert="horz" lIns="320040" tIns="53325" rIns="53325" bIns="53325" rtlCol="0">
            <a:noAutofit/>
          </a:bodyPr>
          <a:lstStyle>
            <a:lvl1pPr marL="0" indent="0" algn="l" defTabSz="1088105" rtl="0" eaLnBrk="1" latinLnBrk="0" hangingPunct="1">
              <a:spcBef>
                <a:spcPts val="1800"/>
              </a:spcBef>
              <a:buClr>
                <a:srgbClr val="0072C6"/>
              </a:buClr>
              <a:buSzPct val="100000"/>
              <a:buFont typeface="Wingdings" pitchFamily="2" charset="2"/>
              <a:buNone/>
              <a:defRPr sz="2800" kern="1200">
                <a:solidFill>
                  <a:schemeClr val="tx1"/>
                </a:solidFill>
                <a:latin typeface="Segoe UI Light" pitchFamily="34" charset="0"/>
                <a:ea typeface="Segoe UI" pitchFamily="34" charset="0"/>
                <a:cs typeface="Segoe UI" pitchFamily="34" charset="0"/>
              </a:defRPr>
            </a:lvl1pPr>
            <a:lvl2pPr marL="281674" indent="0" algn="l" defTabSz="1088105" rtl="0" eaLnBrk="1" latinLnBrk="0" hangingPunct="1">
              <a:spcBef>
                <a:spcPct val="20000"/>
              </a:spcBef>
              <a:buFont typeface="Arial" pitchFamily="34" charset="0"/>
              <a:buNone/>
              <a:defRPr sz="1800" kern="1200">
                <a:solidFill>
                  <a:schemeClr val="tx1"/>
                </a:solidFill>
                <a:latin typeface="Segoe UI" pitchFamily="34" charset="0"/>
                <a:ea typeface="Segoe UI" pitchFamily="34" charset="0"/>
                <a:cs typeface="Segoe UI" pitchFamily="34" charset="0"/>
              </a:defRPr>
            </a:lvl2pPr>
            <a:lvl3pPr marL="588476" indent="0" algn="l" defTabSz="1088105" rtl="0" eaLnBrk="1" latinLnBrk="0" hangingPunct="1">
              <a:spcBef>
                <a:spcPct val="20000"/>
              </a:spcBef>
              <a:buFont typeface="Arial" pitchFamily="34" charset="0"/>
              <a:buNone/>
              <a:defRPr sz="1600" kern="1200">
                <a:solidFill>
                  <a:schemeClr val="tx1"/>
                </a:solidFill>
                <a:latin typeface="Segoe UI" pitchFamily="34" charset="0"/>
                <a:ea typeface="Segoe UI" pitchFamily="34" charset="0"/>
                <a:cs typeface="Segoe UI" pitchFamily="34" charset="0"/>
              </a:defRPr>
            </a:lvl3pPr>
            <a:lvl4pPr marL="87015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4pPr>
            <a:lvl5pPr marL="110554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r>
              <a:rPr lang="en-US"/>
              <a:t>Scenario Narrative</a:t>
            </a:r>
          </a:p>
        </p:txBody>
      </p:sp>
    </p:spTree>
    <p:extLst>
      <p:ext uri="{BB962C8B-B14F-4D97-AF65-F5344CB8AC3E}">
        <p14:creationId xmlns:p14="http://schemas.microsoft.com/office/powerpoint/2010/main" val="31670543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Human-Robot Collaboration</a:t>
            </a:r>
          </a:p>
        </p:txBody>
      </p:sp>
      <p:sp>
        <p:nvSpPr>
          <p:cNvPr id="3" name="Slide Number Placeholder 2"/>
          <p:cNvSpPr>
            <a:spLocks noGrp="1"/>
          </p:cNvSpPr>
          <p:nvPr>
            <p:ph type="sldNum" sz="quarter" idx="14"/>
          </p:nvPr>
        </p:nvSpPr>
        <p:spPr/>
        <p:txBody>
          <a:bodyPr/>
          <a:lstStyle/>
          <a:p>
            <a:pPr marL="0" marR="0" lvl="0" indent="0" algn="r" defTabSz="1088105"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1088105" rtl="0" eaLnBrk="1" fontAlgn="auto" latinLnBrk="0" hangingPunct="1">
                <a:lnSpc>
                  <a:spcPct val="100000"/>
                </a:lnSpc>
                <a:spcBef>
                  <a:spcPts val="0"/>
                </a:spcBef>
                <a:spcAft>
                  <a:spcPts val="0"/>
                </a:spcAft>
                <a:buClrTx/>
                <a:buSzTx/>
                <a:buFontTx/>
                <a:buNone/>
                <a:tabLst/>
                <a:defRPr/>
              </a:pPr>
              <a:t>28</a:t>
            </a:fld>
            <a:endParaRPr kumimoji="0" lang="en-US" sz="800" b="0" i="0" u="none" strike="noStrike" kern="1200" cap="none" spc="0" normalizeH="0" baseline="0" noProof="0">
              <a:ln>
                <a:noFill/>
              </a:ln>
              <a:solidFill>
                <a:srgbClr val="505050"/>
              </a:solidFill>
              <a:effectLst/>
              <a:uLnTx/>
              <a:uFillTx/>
              <a:latin typeface="Segoe UI" pitchFamily="34" charset="0"/>
              <a:cs typeface="Segoe UI" pitchFamily="34" charset="0"/>
            </a:endParaRPr>
          </a:p>
        </p:txBody>
      </p:sp>
      <p:sp>
        <p:nvSpPr>
          <p:cNvPr id="6" name="Text Box 4"/>
          <p:cNvSpPr txBox="1">
            <a:spLocks noChangeArrowheads="1"/>
          </p:cNvSpPr>
          <p:nvPr/>
        </p:nvSpPr>
        <p:spPr bwMode="gray">
          <a:xfrm>
            <a:off x="303212" y="1687869"/>
            <a:ext cx="3657600" cy="2560320"/>
          </a:xfrm>
          <a:prstGeom prst="rect">
            <a:avLst/>
          </a:prstGeom>
          <a:solidFill>
            <a:schemeClr val="bg1"/>
          </a:solidFill>
          <a:ln w="3175" cap="flat" cmpd="sng" algn="ctr">
            <a:solidFill>
              <a:schemeClr val="bg1">
                <a:lumMod val="75000"/>
              </a:schemeClr>
            </a:solid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685645" rtl="0" eaLnBrk="1" fontAlgn="auto" latinLnBrk="0" hangingPunct="1">
              <a:lnSpc>
                <a:spcPct val="100000"/>
              </a:lnSpc>
              <a:spcBef>
                <a:spcPts val="0"/>
              </a:spcBef>
              <a:spcAft>
                <a:spcPts val="0"/>
              </a:spcAft>
              <a:buClrTx/>
              <a:buSzTx/>
              <a:buFontTx/>
              <a:buNone/>
              <a:tabLst/>
              <a:defRPr/>
            </a:pPr>
            <a:r>
              <a:rPr kumimoji="0" lang="en-IN" sz="140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Integrated environment</a:t>
            </a:r>
          </a:p>
        </p:txBody>
      </p:sp>
      <p:sp>
        <p:nvSpPr>
          <p:cNvPr id="7" name="Text Box 4"/>
          <p:cNvSpPr txBox="1">
            <a:spLocks noChangeArrowheads="1"/>
          </p:cNvSpPr>
          <p:nvPr/>
        </p:nvSpPr>
        <p:spPr bwMode="gray">
          <a:xfrm>
            <a:off x="8214431" y="1687869"/>
            <a:ext cx="3657600" cy="2560320"/>
          </a:xfrm>
          <a:prstGeom prst="rect">
            <a:avLst/>
          </a:prstGeom>
          <a:solidFill>
            <a:schemeClr val="bg1"/>
          </a:solidFill>
          <a:ln w="3175" cap="flat" cmpd="sng" algn="ctr">
            <a:solidFill>
              <a:schemeClr val="bg1">
                <a:lumMod val="75000"/>
              </a:schemeClr>
            </a:solid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685645" rtl="0" eaLnBrk="1" fontAlgn="auto" latinLnBrk="0" hangingPunct="1">
              <a:lnSpc>
                <a:spcPct val="100000"/>
              </a:lnSpc>
              <a:spcBef>
                <a:spcPts val="0"/>
              </a:spcBef>
              <a:spcAft>
                <a:spcPts val="0"/>
              </a:spcAft>
              <a:buClrTx/>
              <a:buSzTx/>
              <a:buFontTx/>
              <a:buNone/>
              <a:tabLst/>
              <a:defRPr/>
            </a:pPr>
            <a:r>
              <a:rPr kumimoji="0" lang="en-IN" sz="140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Collaborative capabilities; </a:t>
            </a:r>
            <a:br>
              <a:rPr kumimoji="0" lang="en-IN" sz="140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br>
            <a:r>
              <a:rPr kumimoji="0" lang="en-IN" sz="140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increased productivity</a:t>
            </a:r>
          </a:p>
        </p:txBody>
      </p:sp>
      <p:sp>
        <p:nvSpPr>
          <p:cNvPr id="8" name="Rectangle 7"/>
          <p:cNvSpPr/>
          <p:nvPr/>
        </p:nvSpPr>
        <p:spPr>
          <a:xfrm>
            <a:off x="303212" y="1275415"/>
            <a:ext cx="11582400" cy="276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1088105"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prstClr val="white"/>
                </a:solidFill>
                <a:effectLst/>
                <a:uLnTx/>
                <a:uFillTx/>
                <a:latin typeface="Segoe UI"/>
                <a:ea typeface="+mn-ea"/>
                <a:cs typeface="Segoe UI Semibold" panose="020B0702040204020203" pitchFamily="34" charset="0"/>
              </a:rPr>
              <a:t>Our team of human and robot collaborators work together, ensure safety, and maintain high quality standards on our assembly line.</a:t>
            </a:r>
          </a:p>
        </p:txBody>
      </p:sp>
      <p:sp>
        <p:nvSpPr>
          <p:cNvPr id="9" name="Isosceles Triangle 8"/>
          <p:cNvSpPr/>
          <p:nvPr/>
        </p:nvSpPr>
        <p:spPr>
          <a:xfrm rot="5400000">
            <a:off x="3929243" y="2909088"/>
            <a:ext cx="396749" cy="156227"/>
          </a:xfrm>
          <a:prstGeom prst="triangle">
            <a:avLst/>
          </a:prstGeom>
          <a:solidFill>
            <a:srgbClr val="5E83BD"/>
          </a:solidFill>
        </p:spPr>
        <p:txBody>
          <a:bodyPr vert="horz" lIns="137160" tIns="91440" rIns="91440" bIns="91440" rtlCol="0" anchor="t" anchorCtr="0">
            <a:noAutofit/>
          </a:bodyPr>
          <a:lstStyle/>
          <a:p>
            <a:pPr marL="0" marR="0" lvl="0" indent="0" algn="ctr" defTabSz="914241" rtl="0" eaLnBrk="1" fontAlgn="auto" latinLnBrk="0" hangingPunct="1">
              <a:lnSpc>
                <a:spcPct val="100000"/>
              </a:lnSpc>
              <a:spcBef>
                <a:spcPts val="0"/>
              </a:spcBef>
              <a:spcAft>
                <a:spcPts val="0"/>
              </a:spcAft>
              <a:buClrTx/>
              <a:buSzTx/>
              <a:buFontTx/>
              <a:buNone/>
              <a:tabLst/>
              <a:defRPr/>
            </a:pPr>
            <a:endParaRPr kumimoji="0" lang="en-US" sz="900" b="0" i="0" u="none" strike="noStrike" kern="800" cap="none" spc="0" normalizeH="0" baseline="0" noProof="0">
              <a:ln>
                <a:noFill/>
              </a:ln>
              <a:solidFill>
                <a:srgbClr val="FFFFFF"/>
              </a:solidFill>
              <a:effectLst/>
              <a:uLnTx/>
              <a:uFillTx/>
              <a:latin typeface="Segoe UI"/>
              <a:ea typeface="+mn-ea"/>
              <a:cs typeface="Segoe UI Light"/>
            </a:endParaRPr>
          </a:p>
        </p:txBody>
      </p:sp>
      <p:sp>
        <p:nvSpPr>
          <p:cNvPr id="11" name="Isosceles Triangle 10"/>
          <p:cNvSpPr/>
          <p:nvPr/>
        </p:nvSpPr>
        <p:spPr>
          <a:xfrm rot="5400000">
            <a:off x="7901730" y="2909088"/>
            <a:ext cx="396749" cy="156227"/>
          </a:xfrm>
          <a:prstGeom prst="triangle">
            <a:avLst/>
          </a:prstGeom>
          <a:solidFill>
            <a:srgbClr val="5E83BD"/>
          </a:solidFill>
        </p:spPr>
        <p:txBody>
          <a:bodyPr vert="horz" lIns="137160" tIns="91440" rIns="91440" bIns="91440" rtlCol="0" anchor="t" anchorCtr="0">
            <a:noAutofit/>
          </a:bodyPr>
          <a:lstStyle/>
          <a:p>
            <a:pPr marL="0" marR="0" lvl="0" indent="0" algn="ctr" defTabSz="914241" rtl="0" eaLnBrk="1" fontAlgn="auto" latinLnBrk="0" hangingPunct="1">
              <a:lnSpc>
                <a:spcPct val="100000"/>
              </a:lnSpc>
              <a:spcBef>
                <a:spcPts val="0"/>
              </a:spcBef>
              <a:spcAft>
                <a:spcPts val="0"/>
              </a:spcAft>
              <a:buClrTx/>
              <a:buSzTx/>
              <a:buFontTx/>
              <a:buNone/>
              <a:tabLst/>
              <a:defRPr/>
            </a:pPr>
            <a:endParaRPr kumimoji="0" lang="en-US" sz="900" b="0" i="0" u="none" strike="noStrike" kern="800" cap="none" spc="0" normalizeH="0" baseline="0" noProof="0">
              <a:ln>
                <a:noFill/>
              </a:ln>
              <a:solidFill>
                <a:srgbClr val="505050"/>
              </a:solidFill>
              <a:effectLst/>
              <a:uLnTx/>
              <a:uFillTx/>
              <a:latin typeface="Segoe UI"/>
              <a:ea typeface="+mn-ea"/>
              <a:cs typeface="Segoe UI Light"/>
            </a:endParaRPr>
          </a:p>
        </p:txBody>
      </p:sp>
      <p:grpSp>
        <p:nvGrpSpPr>
          <p:cNvPr id="12" name="Group 11"/>
          <p:cNvGrpSpPr/>
          <p:nvPr/>
        </p:nvGrpSpPr>
        <p:grpSpPr>
          <a:xfrm>
            <a:off x="303212" y="4762175"/>
            <a:ext cx="11582400" cy="1717539"/>
            <a:chOff x="303212" y="4677426"/>
            <a:chExt cx="11243879" cy="1843336"/>
          </a:xfrm>
        </p:grpSpPr>
        <p:grpSp>
          <p:nvGrpSpPr>
            <p:cNvPr id="13" name="Group 12"/>
            <p:cNvGrpSpPr/>
            <p:nvPr/>
          </p:nvGrpSpPr>
          <p:grpSpPr>
            <a:xfrm>
              <a:off x="303212" y="4677426"/>
              <a:ext cx="2858806" cy="1840423"/>
              <a:chOff x="303212" y="4677426"/>
              <a:chExt cx="2858806" cy="1840423"/>
            </a:xfrm>
          </p:grpSpPr>
          <p:sp>
            <p:nvSpPr>
              <p:cNvPr id="23" name="Text Box 4"/>
              <p:cNvSpPr txBox="1">
                <a:spLocks noChangeArrowheads="1"/>
              </p:cNvSpPr>
              <p:nvPr/>
            </p:nvSpPr>
            <p:spPr bwMode="gray">
              <a:xfrm>
                <a:off x="303212" y="4951747"/>
                <a:ext cx="2858806" cy="1566102"/>
              </a:xfrm>
              <a:prstGeom prst="rect">
                <a:avLst/>
              </a:prstGeom>
              <a:solidFill>
                <a:schemeClr val="bg1">
                  <a:lumMod val="95000"/>
                </a:schemeClr>
              </a:solidFill>
              <a:ln w="3175" cap="flat" cmpd="sng" algn="ctr">
                <a:no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IN" sz="1050" b="0" i="0" u="none" strike="noStrike" kern="0" cap="none" spc="0" normalizeH="0" baseline="0" noProof="0" dirty="0">
                    <a:ln>
                      <a:noFill/>
                    </a:ln>
                    <a:solidFill>
                      <a:srgbClr val="505050"/>
                    </a:solidFill>
                    <a:effectLst/>
                    <a:uLnTx/>
                    <a:uFillTx/>
                    <a:latin typeface="Segoe UI"/>
                    <a:ea typeface="+mn-ea"/>
                    <a:cs typeface="+mn-cs"/>
                  </a:rPr>
                  <a:t>Reduce </a:t>
                </a:r>
                <a:r>
                  <a:rPr kumimoji="0" lang="en-IN" sz="1050" b="0" i="0" u="none" strike="noStrike" kern="0" cap="none" spc="0" normalizeH="0" baseline="0" noProof="0" dirty="0" err="1">
                    <a:ln>
                      <a:noFill/>
                    </a:ln>
                    <a:solidFill>
                      <a:srgbClr val="505050"/>
                    </a:solidFill>
                    <a:effectLst/>
                    <a:uLnTx/>
                    <a:uFillTx/>
                    <a:latin typeface="Segoe UI"/>
                    <a:ea typeface="+mn-ea"/>
                    <a:cs typeface="+mn-cs"/>
                  </a:rPr>
                  <a:t>labor</a:t>
                </a:r>
                <a:r>
                  <a:rPr kumimoji="0" lang="en-IN" sz="1050" b="0" i="0" u="none" strike="noStrike" kern="0" cap="none" spc="0" normalizeH="0" baseline="0" noProof="0" dirty="0">
                    <a:ln>
                      <a:noFill/>
                    </a:ln>
                    <a:solidFill>
                      <a:srgbClr val="505050"/>
                    </a:solidFill>
                    <a:effectLst/>
                    <a:uLnTx/>
                    <a:uFillTx/>
                    <a:latin typeface="Segoe UI"/>
                    <a:ea typeface="+mn-ea"/>
                    <a:cs typeface="+mn-cs"/>
                  </a:rPr>
                  <a:t> intensive and ergonomically challenging issues</a:t>
                </a:r>
              </a:p>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IN" sz="1050" b="0" i="0" u="none" strike="noStrike" kern="0" cap="none" spc="0" normalizeH="0" baseline="0" noProof="0" dirty="0">
                    <a:ln>
                      <a:noFill/>
                    </a:ln>
                    <a:solidFill>
                      <a:srgbClr val="505050"/>
                    </a:solidFill>
                    <a:effectLst/>
                    <a:uLnTx/>
                    <a:uFillTx/>
                    <a:latin typeface="Segoe UI"/>
                    <a:ea typeface="+mn-ea"/>
                    <a:cs typeface="+mn-cs"/>
                  </a:rPr>
                  <a:t>Improve product quality</a:t>
                </a:r>
              </a:p>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IN" sz="1050" b="0" i="0" u="none" strike="noStrike" kern="0" cap="none" spc="0" normalizeH="0" baseline="0" noProof="0" dirty="0">
                    <a:ln>
                      <a:noFill/>
                    </a:ln>
                    <a:solidFill>
                      <a:srgbClr val="505050"/>
                    </a:solidFill>
                    <a:effectLst/>
                    <a:uLnTx/>
                    <a:uFillTx/>
                    <a:latin typeface="Segoe UI"/>
                    <a:ea typeface="+mn-ea"/>
                    <a:cs typeface="+mn-cs"/>
                  </a:rPr>
                  <a:t>Improve employee skill and satisfaction</a:t>
                </a:r>
              </a:p>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IN" sz="1050" b="0" i="0" u="none" strike="noStrike" kern="0" cap="none" spc="0" normalizeH="0" baseline="0" noProof="0" dirty="0">
                    <a:ln>
                      <a:noFill/>
                    </a:ln>
                    <a:solidFill>
                      <a:srgbClr val="505050"/>
                    </a:solidFill>
                    <a:effectLst/>
                    <a:uLnTx/>
                    <a:uFillTx/>
                    <a:latin typeface="Segoe UI"/>
                    <a:ea typeface="+mn-ea"/>
                    <a:cs typeface="+mn-cs"/>
                  </a:rPr>
                  <a:t>Improve productivity and precision</a:t>
                </a:r>
              </a:p>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IN" sz="1050" b="0" i="0" u="none" strike="noStrike" kern="0" cap="none" spc="0" normalizeH="0" baseline="0" noProof="0" dirty="0">
                    <a:ln>
                      <a:noFill/>
                    </a:ln>
                    <a:solidFill>
                      <a:srgbClr val="505050"/>
                    </a:solidFill>
                    <a:effectLst/>
                    <a:uLnTx/>
                    <a:uFillTx/>
                    <a:latin typeface="Segoe UI"/>
                    <a:ea typeface="+mn-ea"/>
                    <a:cs typeface="+mn-cs"/>
                  </a:rPr>
                  <a:t>Reduced injuries, waste, and inefficiencies</a:t>
                </a:r>
              </a:p>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endParaRPr kumimoji="0" lang="en-IN" sz="1050" b="0" i="0" u="none" strike="noStrike" kern="0" cap="none" spc="0" normalizeH="0" baseline="0" noProof="0" dirty="0">
                  <a:ln>
                    <a:noFill/>
                  </a:ln>
                  <a:solidFill>
                    <a:srgbClr val="505050"/>
                  </a:solidFill>
                  <a:effectLst/>
                  <a:uLnTx/>
                  <a:uFillTx/>
                  <a:latin typeface="Segoe UI"/>
                  <a:ea typeface="+mn-ea"/>
                  <a:cs typeface="+mn-cs"/>
                </a:endParaRPr>
              </a:p>
            </p:txBody>
          </p:sp>
          <p:sp>
            <p:nvSpPr>
              <p:cNvPr id="24" name="Rectangle 23"/>
              <p:cNvSpPr/>
              <p:nvPr/>
            </p:nvSpPr>
            <p:spPr>
              <a:xfrm>
                <a:off x="303212" y="4677426"/>
                <a:ext cx="2858806" cy="274320"/>
              </a:xfrm>
              <a:prstGeom prst="rect">
                <a:avLst/>
              </a:prstGeom>
              <a:solidFill>
                <a:schemeClr val="bg2"/>
              </a:solidFill>
              <a:ln w="3175" cap="flat" cmpd="sng" algn="ctr">
                <a:noFill/>
                <a:prstDash val="solid"/>
              </a:ln>
              <a:effectLst/>
            </p:spPr>
            <p:txBody>
              <a:bodyPr wrap="square" lIns="91440" tIns="45720" rIns="91440" bIns="45720" rtlCol="0" anchor="ctr">
                <a:noAutofit/>
              </a:bodyPr>
              <a:lstStyle/>
              <a:p>
                <a:pPr marL="0" marR="0" lvl="1" indent="0" algn="ctr" defTabSz="1218106" rtl="0" eaLnBrk="1" fontAlgn="base" latinLnBrk="0" hangingPunct="1">
                  <a:lnSpc>
                    <a:spcPct val="100000"/>
                  </a:lnSpc>
                  <a:spcBef>
                    <a:spcPts val="0"/>
                  </a:spcBef>
                  <a:spcAft>
                    <a:spcPts val="0"/>
                  </a:spcAft>
                  <a:buClr>
                    <a:srgbClr val="FFFF99"/>
                  </a:buClr>
                  <a:buSzPct val="90000"/>
                  <a:buFontTx/>
                  <a:buNone/>
                  <a:tabLst/>
                  <a:defRPr/>
                </a:pPr>
                <a:r>
                  <a:rPr kumimoji="0" lang="en-US" sz="1200" b="0" i="0" u="none" strike="noStrike" kern="0" cap="none" spc="0" normalizeH="0" baseline="0" noProof="0">
                    <a:ln>
                      <a:noFill/>
                    </a:ln>
                    <a:solidFill>
                      <a:srgbClr val="FFFFFF"/>
                    </a:solidFill>
                    <a:effectLst/>
                    <a:uLnTx/>
                    <a:uFillTx/>
                    <a:latin typeface="Segoe UI Semibold" panose="020B0702040204020203" pitchFamily="34" charset="0"/>
                    <a:ea typeface="Segoe UI" pitchFamily="34" charset="0"/>
                    <a:cs typeface="Segoe UI" pitchFamily="34" charset="0"/>
                  </a:rPr>
                  <a:t>Benefits</a:t>
                </a:r>
              </a:p>
            </p:txBody>
          </p:sp>
        </p:grpSp>
        <p:grpSp>
          <p:nvGrpSpPr>
            <p:cNvPr id="14" name="Group 13"/>
            <p:cNvGrpSpPr/>
            <p:nvPr/>
          </p:nvGrpSpPr>
          <p:grpSpPr>
            <a:xfrm>
              <a:off x="3221455" y="4677426"/>
              <a:ext cx="2678716" cy="1843336"/>
              <a:chOff x="3391166" y="4677426"/>
              <a:chExt cx="2678716" cy="1843336"/>
            </a:xfrm>
          </p:grpSpPr>
          <p:sp>
            <p:nvSpPr>
              <p:cNvPr id="21" name="Text Box 4"/>
              <p:cNvSpPr txBox="1">
                <a:spLocks noChangeArrowheads="1"/>
              </p:cNvSpPr>
              <p:nvPr/>
            </p:nvSpPr>
            <p:spPr bwMode="gray">
              <a:xfrm>
                <a:off x="3391166" y="4951747"/>
                <a:ext cx="2678716" cy="1569015"/>
              </a:xfrm>
              <a:prstGeom prst="rect">
                <a:avLst/>
              </a:prstGeom>
              <a:solidFill>
                <a:schemeClr val="bg1">
                  <a:lumMod val="95000"/>
                </a:schemeClr>
              </a:solidFill>
              <a:ln w="3175" cap="flat" cmpd="sng" algn="ctr">
                <a:no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IN" sz="1050" b="0" i="0" u="none" strike="noStrike" kern="0" cap="none" spc="0" normalizeH="0" baseline="0" noProof="0" dirty="0">
                    <a:ln>
                      <a:noFill/>
                    </a:ln>
                    <a:solidFill>
                      <a:srgbClr val="505050"/>
                    </a:solidFill>
                    <a:effectLst/>
                    <a:uLnTx/>
                    <a:uFillTx/>
                    <a:latin typeface="Segoe UI"/>
                    <a:ea typeface="+mn-ea"/>
                    <a:cs typeface="+mn-cs"/>
                  </a:rPr>
                  <a:t>Using intuitive interfaces to lead employees through programming</a:t>
                </a:r>
              </a:p>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IN" sz="1050" b="0" i="0" u="none" strike="noStrike" kern="0" cap="none" spc="0" normalizeH="0" baseline="0" noProof="0" dirty="0">
                    <a:ln>
                      <a:noFill/>
                    </a:ln>
                    <a:solidFill>
                      <a:srgbClr val="505050"/>
                    </a:solidFill>
                    <a:effectLst/>
                    <a:uLnTx/>
                    <a:uFillTx/>
                    <a:latin typeface="Segoe UI"/>
                    <a:ea typeface="+mn-ea"/>
                    <a:cs typeface="+mn-cs"/>
                  </a:rPr>
                  <a:t>Increasing the safety of human-robot interactions</a:t>
                </a:r>
              </a:p>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IN" sz="1050" b="0" i="0" u="none" strike="noStrike" kern="0" cap="none" spc="0" normalizeH="0" baseline="0" noProof="0" dirty="0">
                    <a:ln>
                      <a:noFill/>
                    </a:ln>
                    <a:solidFill>
                      <a:srgbClr val="505050"/>
                    </a:solidFill>
                    <a:effectLst/>
                    <a:uLnTx/>
                    <a:uFillTx/>
                    <a:latin typeface="Segoe UI"/>
                    <a:ea typeface="+mn-ea"/>
                    <a:cs typeface="+mn-cs"/>
                  </a:rPr>
                  <a:t>Improving quality and precision</a:t>
                </a:r>
              </a:p>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IN" sz="1050" b="0" i="0" u="none" strike="noStrike" kern="0" cap="none" spc="0" normalizeH="0" baseline="0" noProof="0" dirty="0">
                    <a:ln>
                      <a:noFill/>
                    </a:ln>
                    <a:solidFill>
                      <a:srgbClr val="505050"/>
                    </a:solidFill>
                    <a:effectLst/>
                    <a:uLnTx/>
                    <a:uFillTx/>
                    <a:latin typeface="Segoe UI"/>
                    <a:ea typeface="+mn-ea"/>
                    <a:cs typeface="+mn-cs"/>
                  </a:rPr>
                  <a:t>Enabling your employees and robots to continuously learn from each other</a:t>
                </a:r>
                <a:endParaRPr kumimoji="0" lang="en-US" sz="1050" b="0" i="0" u="none" strike="noStrike" kern="0" cap="none" spc="0" normalizeH="0" baseline="0" noProof="0" dirty="0">
                  <a:ln>
                    <a:noFill/>
                  </a:ln>
                  <a:solidFill>
                    <a:srgbClr val="505050"/>
                  </a:solidFill>
                  <a:effectLst/>
                  <a:uLnTx/>
                  <a:uFillTx/>
                  <a:latin typeface="Segoe UI"/>
                  <a:ea typeface="+mn-ea"/>
                  <a:cs typeface="+mn-cs"/>
                </a:endParaRPr>
              </a:p>
            </p:txBody>
          </p:sp>
          <p:sp>
            <p:nvSpPr>
              <p:cNvPr id="22" name="Rectangle 21"/>
              <p:cNvSpPr/>
              <p:nvPr/>
            </p:nvSpPr>
            <p:spPr>
              <a:xfrm>
                <a:off x="3391166" y="4677426"/>
                <a:ext cx="2678716" cy="274320"/>
              </a:xfrm>
              <a:prstGeom prst="rect">
                <a:avLst/>
              </a:prstGeom>
              <a:solidFill>
                <a:schemeClr val="tx2"/>
              </a:solidFill>
              <a:ln w="3175" cap="flat" cmpd="sng" algn="ctr">
                <a:noFill/>
                <a:prstDash val="solid"/>
              </a:ln>
              <a:effectLst/>
            </p:spPr>
            <p:txBody>
              <a:bodyPr wrap="square" lIns="91440" tIns="45720" rIns="91440" bIns="45720" rtlCol="0" anchor="ctr">
                <a:noAutofit/>
              </a:bodyPr>
              <a:lstStyle/>
              <a:p>
                <a:pPr marL="0" marR="0" lvl="1" indent="0" algn="ctr" defTabSz="1218106" rtl="0" eaLnBrk="1" fontAlgn="base" latinLnBrk="0" hangingPunct="1">
                  <a:lnSpc>
                    <a:spcPct val="100000"/>
                  </a:lnSpc>
                  <a:spcBef>
                    <a:spcPts val="200"/>
                  </a:spcBef>
                  <a:spcAft>
                    <a:spcPts val="0"/>
                  </a:spcAft>
                  <a:buClr>
                    <a:srgbClr val="FFFF99"/>
                  </a:buClr>
                  <a:buSzPct val="90000"/>
                  <a:buFontTx/>
                  <a:buNone/>
                  <a:tabLst/>
                  <a:defRPr/>
                </a:pPr>
                <a:r>
                  <a:rPr kumimoji="0" lang="en-US" sz="1200" b="0" i="0" u="none" strike="noStrike" kern="0" cap="none" spc="0" normalizeH="0" baseline="0" noProof="0">
                    <a:ln>
                      <a:noFill/>
                    </a:ln>
                    <a:solidFill>
                      <a:srgbClr val="FFFFFF"/>
                    </a:solidFill>
                    <a:effectLst/>
                    <a:uLnTx/>
                    <a:uFillTx/>
                    <a:latin typeface="Segoe UI Semibold" panose="020B0702040204020203" pitchFamily="34" charset="0"/>
                    <a:ea typeface="Segoe UI" pitchFamily="34" charset="0"/>
                    <a:cs typeface="Segoe UI" pitchFamily="34" charset="0"/>
                  </a:rPr>
                  <a:t>Start </a:t>
                </a:r>
              </a:p>
            </p:txBody>
          </p:sp>
        </p:grpSp>
        <p:grpSp>
          <p:nvGrpSpPr>
            <p:cNvPr id="15" name="Group 14"/>
            <p:cNvGrpSpPr/>
            <p:nvPr/>
          </p:nvGrpSpPr>
          <p:grpSpPr>
            <a:xfrm>
              <a:off x="5959608" y="4677426"/>
              <a:ext cx="2669241" cy="1843336"/>
              <a:chOff x="6118941" y="4677426"/>
              <a:chExt cx="2669241" cy="1843336"/>
            </a:xfrm>
          </p:grpSpPr>
          <p:sp>
            <p:nvSpPr>
              <p:cNvPr id="19" name="Text Box 4"/>
              <p:cNvSpPr txBox="1">
                <a:spLocks noChangeArrowheads="1"/>
              </p:cNvSpPr>
              <p:nvPr/>
            </p:nvSpPr>
            <p:spPr bwMode="gray">
              <a:xfrm>
                <a:off x="6118941" y="4951747"/>
                <a:ext cx="2669241" cy="1569015"/>
              </a:xfrm>
              <a:prstGeom prst="rect">
                <a:avLst/>
              </a:prstGeom>
              <a:solidFill>
                <a:schemeClr val="bg1">
                  <a:lumMod val="95000"/>
                </a:schemeClr>
              </a:solidFill>
              <a:ln w="3175" cap="flat" cmpd="sng" algn="ctr">
                <a:no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IN" sz="1050" b="0" i="0" u="none" strike="noStrike" kern="0" cap="none" spc="0" normalizeH="0" baseline="0" noProof="0" dirty="0">
                    <a:ln>
                      <a:noFill/>
                    </a:ln>
                    <a:solidFill>
                      <a:srgbClr val="505050"/>
                    </a:solidFill>
                    <a:effectLst/>
                    <a:uLnTx/>
                    <a:uFillTx/>
                    <a:latin typeface="Segoe UI"/>
                    <a:ea typeface="+mn-ea"/>
                    <a:cs typeface="+mn-cs"/>
                  </a:rPr>
                  <a:t>Requiring a difficult programming environment to teach and direct robots</a:t>
                </a:r>
              </a:p>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IN" sz="1050" b="0" i="0" u="none" strike="noStrike" kern="0" cap="none" spc="0" normalizeH="0" baseline="0" noProof="0" dirty="0">
                    <a:ln>
                      <a:noFill/>
                    </a:ln>
                    <a:solidFill>
                      <a:srgbClr val="505050"/>
                    </a:solidFill>
                    <a:effectLst/>
                    <a:uLnTx/>
                    <a:uFillTx/>
                    <a:latin typeface="Segoe UI"/>
                    <a:ea typeface="+mn-ea"/>
                    <a:cs typeface="+mn-cs"/>
                  </a:rPr>
                  <a:t>Exposing your employees to risky manufacturing situations</a:t>
                </a:r>
              </a:p>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IN" sz="1050" b="0" i="0" u="none" strike="noStrike" kern="0" cap="none" spc="0" normalizeH="0" baseline="0" noProof="0" dirty="0">
                    <a:ln>
                      <a:noFill/>
                    </a:ln>
                    <a:solidFill>
                      <a:srgbClr val="505050"/>
                    </a:solidFill>
                    <a:effectLst/>
                    <a:uLnTx/>
                    <a:uFillTx/>
                    <a:latin typeface="Segoe UI"/>
                    <a:ea typeface="+mn-ea"/>
                    <a:cs typeface="+mn-cs"/>
                  </a:rPr>
                  <a:t>Excessive idle time of employees</a:t>
                </a:r>
              </a:p>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endParaRPr kumimoji="0" lang="en-IN" sz="1050" b="0" i="0" u="none" strike="noStrike" kern="0" cap="none" spc="0" normalizeH="0" baseline="0" noProof="0" dirty="0">
                  <a:ln>
                    <a:noFill/>
                  </a:ln>
                  <a:solidFill>
                    <a:srgbClr val="505050"/>
                  </a:solidFill>
                  <a:effectLst/>
                  <a:uLnTx/>
                  <a:uFillTx/>
                  <a:latin typeface="Segoe UI"/>
                  <a:ea typeface="+mn-ea"/>
                  <a:cs typeface="+mn-cs"/>
                </a:endParaRPr>
              </a:p>
            </p:txBody>
          </p:sp>
          <p:sp>
            <p:nvSpPr>
              <p:cNvPr id="20" name="Rectangle 19"/>
              <p:cNvSpPr/>
              <p:nvPr/>
            </p:nvSpPr>
            <p:spPr>
              <a:xfrm>
                <a:off x="6118941" y="4677426"/>
                <a:ext cx="2669241" cy="274320"/>
              </a:xfrm>
              <a:prstGeom prst="rect">
                <a:avLst/>
              </a:prstGeom>
              <a:solidFill>
                <a:schemeClr val="accent1"/>
              </a:solidFill>
              <a:ln w="3175" cap="flat" cmpd="sng" algn="ctr">
                <a:noFill/>
                <a:prstDash val="solid"/>
              </a:ln>
              <a:effectLst/>
            </p:spPr>
            <p:txBody>
              <a:bodyPr wrap="square" lIns="91440" tIns="45720" rIns="91440" bIns="45720" rtlCol="0" anchor="ctr">
                <a:noAutofit/>
              </a:bodyPr>
              <a:lstStyle/>
              <a:p>
                <a:pPr marL="0" marR="0" lvl="1" indent="0" algn="ctr" defTabSz="1218106" rtl="0" eaLnBrk="1" fontAlgn="base" latinLnBrk="0" hangingPunct="1">
                  <a:lnSpc>
                    <a:spcPct val="100000"/>
                  </a:lnSpc>
                  <a:spcBef>
                    <a:spcPts val="200"/>
                  </a:spcBef>
                  <a:spcAft>
                    <a:spcPts val="0"/>
                  </a:spcAft>
                  <a:buClr>
                    <a:srgbClr val="FFFF99"/>
                  </a:buClr>
                  <a:buSzPct val="90000"/>
                  <a:buFontTx/>
                  <a:buNone/>
                  <a:tabLst/>
                  <a:defRPr/>
                </a:pPr>
                <a:r>
                  <a:rPr kumimoji="0" lang="en-US" sz="1200" b="0" i="0" u="none" strike="noStrike" kern="0" cap="none" spc="0" normalizeH="0" baseline="0" noProof="0">
                    <a:ln>
                      <a:noFill/>
                    </a:ln>
                    <a:solidFill>
                      <a:srgbClr val="FFFFFF"/>
                    </a:solidFill>
                    <a:effectLst/>
                    <a:uLnTx/>
                    <a:uFillTx/>
                    <a:latin typeface="Segoe UI Semibold" panose="020B0702040204020203" pitchFamily="34" charset="0"/>
                    <a:ea typeface="Segoe UI" pitchFamily="34" charset="0"/>
                    <a:cs typeface="Segoe UI" pitchFamily="34" charset="0"/>
                  </a:rPr>
                  <a:t>Stop</a:t>
                </a:r>
              </a:p>
            </p:txBody>
          </p:sp>
        </p:grpSp>
        <p:grpSp>
          <p:nvGrpSpPr>
            <p:cNvPr id="16" name="Group 15"/>
            <p:cNvGrpSpPr/>
            <p:nvPr/>
          </p:nvGrpSpPr>
          <p:grpSpPr>
            <a:xfrm>
              <a:off x="8688285" y="4677426"/>
              <a:ext cx="2858806" cy="1843336"/>
              <a:chOff x="9026806" y="4677426"/>
              <a:chExt cx="2858806" cy="1843336"/>
            </a:xfrm>
          </p:grpSpPr>
          <p:sp>
            <p:nvSpPr>
              <p:cNvPr id="17" name="Text Box 4"/>
              <p:cNvSpPr txBox="1">
                <a:spLocks noChangeArrowheads="1"/>
              </p:cNvSpPr>
              <p:nvPr/>
            </p:nvSpPr>
            <p:spPr bwMode="gray">
              <a:xfrm>
                <a:off x="9026806" y="4951747"/>
                <a:ext cx="2858806" cy="1569015"/>
              </a:xfrm>
              <a:prstGeom prst="rect">
                <a:avLst/>
              </a:prstGeom>
              <a:solidFill>
                <a:schemeClr val="bg1">
                  <a:lumMod val="95000"/>
                </a:schemeClr>
              </a:solidFill>
              <a:ln w="3175" cap="flat" cmpd="sng" algn="ctr">
                <a:no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IN" sz="1050" b="0" i="0" u="none" strike="noStrike" kern="0" cap="none" spc="0" normalizeH="0" baseline="0" noProof="0" dirty="0">
                    <a:ln>
                      <a:noFill/>
                    </a:ln>
                    <a:solidFill>
                      <a:srgbClr val="505050"/>
                    </a:solidFill>
                    <a:effectLst/>
                    <a:uLnTx/>
                    <a:uFillTx/>
                    <a:latin typeface="Segoe UI"/>
                    <a:ea typeface="+mn-ea"/>
                    <a:cs typeface="+mn-cs"/>
                  </a:rPr>
                  <a:t>Increasing the quality of products</a:t>
                </a:r>
              </a:p>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IN" sz="1050" b="0" i="0" u="none" strike="noStrike" kern="0" cap="none" spc="0" normalizeH="0" baseline="0" noProof="0" dirty="0">
                    <a:ln>
                      <a:noFill/>
                    </a:ln>
                    <a:solidFill>
                      <a:srgbClr val="505050"/>
                    </a:solidFill>
                    <a:effectLst/>
                    <a:uLnTx/>
                    <a:uFillTx/>
                    <a:latin typeface="Segoe UI"/>
                    <a:ea typeface="+mn-ea"/>
                    <a:cs typeface="+mn-cs"/>
                  </a:rPr>
                  <a:t>Improving manufacturing quality and output</a:t>
                </a:r>
              </a:p>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IN" sz="1050" b="0" i="0" u="none" strike="noStrike" kern="0" cap="none" spc="0" normalizeH="0" baseline="0" noProof="0" dirty="0">
                    <a:ln>
                      <a:noFill/>
                    </a:ln>
                    <a:solidFill>
                      <a:srgbClr val="505050"/>
                    </a:solidFill>
                    <a:effectLst/>
                    <a:uLnTx/>
                    <a:uFillTx/>
                    <a:latin typeface="Segoe UI"/>
                    <a:ea typeface="+mn-ea"/>
                    <a:cs typeface="+mn-cs"/>
                  </a:rPr>
                  <a:t>Offering a safe manufacturing environment</a:t>
                </a:r>
              </a:p>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IN" sz="1050" b="0" i="0" u="none" strike="noStrike" kern="0" cap="none" spc="0" normalizeH="0" baseline="0" noProof="0" dirty="0">
                    <a:ln>
                      <a:noFill/>
                    </a:ln>
                    <a:solidFill>
                      <a:srgbClr val="505050"/>
                    </a:solidFill>
                    <a:effectLst/>
                    <a:uLnTx/>
                    <a:uFillTx/>
                    <a:latin typeface="Segoe UI"/>
                    <a:ea typeface="+mn-ea"/>
                    <a:cs typeface="+mn-cs"/>
                  </a:rPr>
                  <a:t>Extending capabilities to create new product opportunities</a:t>
                </a:r>
              </a:p>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endParaRPr kumimoji="0" lang="en-IN" sz="1050" b="0" i="0" u="none" strike="noStrike" kern="0" cap="none" spc="0" normalizeH="0" baseline="0" noProof="0" dirty="0">
                  <a:ln>
                    <a:noFill/>
                  </a:ln>
                  <a:solidFill>
                    <a:srgbClr val="505050"/>
                  </a:solidFill>
                  <a:effectLst/>
                  <a:uLnTx/>
                  <a:uFillTx/>
                  <a:latin typeface="Segoe UI"/>
                  <a:ea typeface="+mn-ea"/>
                  <a:cs typeface="+mn-cs"/>
                </a:endParaRPr>
              </a:p>
            </p:txBody>
          </p:sp>
          <p:sp>
            <p:nvSpPr>
              <p:cNvPr id="18" name="Rectangle 17"/>
              <p:cNvSpPr/>
              <p:nvPr/>
            </p:nvSpPr>
            <p:spPr>
              <a:xfrm>
                <a:off x="9026806" y="4677426"/>
                <a:ext cx="2858806" cy="274320"/>
              </a:xfrm>
              <a:prstGeom prst="rect">
                <a:avLst/>
              </a:prstGeom>
              <a:solidFill>
                <a:schemeClr val="accent2"/>
              </a:solidFill>
              <a:ln w="3175" cap="flat" cmpd="sng" algn="ctr">
                <a:noFill/>
                <a:prstDash val="solid"/>
              </a:ln>
              <a:effectLst/>
            </p:spPr>
            <p:txBody>
              <a:bodyPr wrap="square" lIns="91440" tIns="45720" rIns="91440" bIns="45720" rtlCol="0" anchor="ctr">
                <a:noAutofit/>
              </a:bodyPr>
              <a:lstStyle/>
              <a:p>
                <a:pPr marL="0" marR="0" lvl="1" indent="0" algn="ctr" defTabSz="1218106" rtl="0" eaLnBrk="1" fontAlgn="base" latinLnBrk="0" hangingPunct="1">
                  <a:lnSpc>
                    <a:spcPct val="100000"/>
                  </a:lnSpc>
                  <a:spcBef>
                    <a:spcPts val="200"/>
                  </a:spcBef>
                  <a:spcAft>
                    <a:spcPts val="0"/>
                  </a:spcAft>
                  <a:buClr>
                    <a:srgbClr val="FFFF99"/>
                  </a:buClr>
                  <a:buSzPct val="90000"/>
                  <a:buFontTx/>
                  <a:buNone/>
                  <a:tabLst/>
                  <a:defRPr/>
                </a:pPr>
                <a:r>
                  <a:rPr kumimoji="0" lang="en-US" sz="1200" b="0" i="0" u="none" strike="noStrike" kern="0" cap="none" spc="0" normalizeH="0" baseline="0" noProof="0">
                    <a:ln>
                      <a:noFill/>
                    </a:ln>
                    <a:solidFill>
                      <a:srgbClr val="505050"/>
                    </a:solidFill>
                    <a:effectLst/>
                    <a:uLnTx/>
                    <a:uFillTx/>
                    <a:latin typeface="Segoe UI Semibold" panose="020B0702040204020203" pitchFamily="34" charset="0"/>
                    <a:ea typeface="Segoe UI" pitchFamily="34" charset="0"/>
                    <a:cs typeface="Segoe UI" pitchFamily="34" charset="0"/>
                  </a:rPr>
                  <a:t>Continue</a:t>
                </a:r>
              </a:p>
            </p:txBody>
          </p:sp>
        </p:grpSp>
      </p:grpSp>
      <p:grpSp>
        <p:nvGrpSpPr>
          <p:cNvPr id="533" name="Group 532"/>
          <p:cNvGrpSpPr/>
          <p:nvPr/>
        </p:nvGrpSpPr>
        <p:grpSpPr>
          <a:xfrm>
            <a:off x="9742413" y="2640258"/>
            <a:ext cx="342140" cy="325235"/>
            <a:chOff x="1775460" y="599350"/>
            <a:chExt cx="6295391" cy="5984329"/>
          </a:xfrm>
          <a:solidFill>
            <a:schemeClr val="bg1"/>
          </a:solidFill>
        </p:grpSpPr>
        <p:sp>
          <p:nvSpPr>
            <p:cNvPr id="534" name="Freeform 533"/>
            <p:cNvSpPr/>
            <p:nvPr/>
          </p:nvSpPr>
          <p:spPr>
            <a:xfrm>
              <a:off x="1775460" y="1069630"/>
              <a:ext cx="6141720" cy="5514049"/>
            </a:xfrm>
            <a:custGeom>
              <a:avLst/>
              <a:gdLst/>
              <a:ahLst/>
              <a:cxnLst/>
              <a:rect l="l" t="t" r="r" b="b"/>
              <a:pathLst>
                <a:path w="6141720" h="5514049">
                  <a:moveTo>
                    <a:pt x="2437765" y="4651720"/>
                  </a:moveTo>
                  <a:lnTo>
                    <a:pt x="1748790" y="4880320"/>
                  </a:lnTo>
                  <a:lnTo>
                    <a:pt x="3021965" y="5321645"/>
                  </a:lnTo>
                  <a:lnTo>
                    <a:pt x="4457065" y="4893020"/>
                  </a:lnTo>
                  <a:lnTo>
                    <a:pt x="3041015" y="4800945"/>
                  </a:lnTo>
                  <a:close/>
                  <a:moveTo>
                    <a:pt x="1005840" y="4480270"/>
                  </a:moveTo>
                  <a:lnTo>
                    <a:pt x="878840" y="4524720"/>
                  </a:lnTo>
                  <a:lnTo>
                    <a:pt x="1551940" y="4731095"/>
                  </a:lnTo>
                  <a:lnTo>
                    <a:pt x="1678940" y="4686645"/>
                  </a:lnTo>
                  <a:close/>
                  <a:moveTo>
                    <a:pt x="586740" y="4207220"/>
                  </a:moveTo>
                  <a:lnTo>
                    <a:pt x="97790" y="4311995"/>
                  </a:lnTo>
                  <a:lnTo>
                    <a:pt x="789940" y="4556470"/>
                  </a:lnTo>
                  <a:lnTo>
                    <a:pt x="789940" y="4508845"/>
                  </a:lnTo>
                  <a:lnTo>
                    <a:pt x="945515" y="4461220"/>
                  </a:lnTo>
                  <a:lnTo>
                    <a:pt x="945515" y="4365970"/>
                  </a:lnTo>
                  <a:lnTo>
                    <a:pt x="1069340" y="4331045"/>
                  </a:lnTo>
                  <a:close/>
                  <a:moveTo>
                    <a:pt x="3918109" y="3795264"/>
                  </a:moveTo>
                  <a:lnTo>
                    <a:pt x="3587115" y="3809551"/>
                  </a:lnTo>
                  <a:lnTo>
                    <a:pt x="3587115" y="3864320"/>
                  </a:lnTo>
                  <a:lnTo>
                    <a:pt x="3872865" y="3847651"/>
                  </a:lnTo>
                  <a:lnTo>
                    <a:pt x="3872865" y="4278658"/>
                  </a:lnTo>
                  <a:lnTo>
                    <a:pt x="3920490" y="4269133"/>
                  </a:lnTo>
                  <a:cubicBezTo>
                    <a:pt x="3919696" y="4111177"/>
                    <a:pt x="3918903" y="3953220"/>
                    <a:pt x="3918109" y="3795264"/>
                  </a:cubicBezTo>
                  <a:close/>
                  <a:moveTo>
                    <a:pt x="4713446" y="3754783"/>
                  </a:moveTo>
                  <a:lnTo>
                    <a:pt x="4434840" y="3769070"/>
                  </a:lnTo>
                  <a:lnTo>
                    <a:pt x="4434840" y="3819076"/>
                  </a:lnTo>
                  <a:lnTo>
                    <a:pt x="4672965" y="3797645"/>
                  </a:lnTo>
                  <a:lnTo>
                    <a:pt x="4672965" y="4161976"/>
                  </a:lnTo>
                  <a:lnTo>
                    <a:pt x="4713446" y="4157214"/>
                  </a:lnTo>
                  <a:close/>
                  <a:moveTo>
                    <a:pt x="5356384" y="3719064"/>
                  </a:moveTo>
                  <a:lnTo>
                    <a:pt x="5120640" y="3730970"/>
                  </a:lnTo>
                  <a:lnTo>
                    <a:pt x="5120640" y="3766689"/>
                  </a:lnTo>
                  <a:lnTo>
                    <a:pt x="5327809" y="3761926"/>
                  </a:lnTo>
                  <a:lnTo>
                    <a:pt x="5342096" y="4064345"/>
                  </a:lnTo>
                  <a:lnTo>
                    <a:pt x="5370671" y="4059583"/>
                  </a:lnTo>
                  <a:close/>
                  <a:moveTo>
                    <a:pt x="5127784" y="3018976"/>
                  </a:moveTo>
                  <a:lnTo>
                    <a:pt x="5127784" y="3057076"/>
                  </a:lnTo>
                  <a:lnTo>
                    <a:pt x="5323046" y="3076126"/>
                  </a:lnTo>
                  <a:lnTo>
                    <a:pt x="5339715" y="3378545"/>
                  </a:lnTo>
                  <a:lnTo>
                    <a:pt x="5368290" y="3383307"/>
                  </a:lnTo>
                  <a:lnTo>
                    <a:pt x="5356384" y="3049933"/>
                  </a:lnTo>
                  <a:close/>
                  <a:moveTo>
                    <a:pt x="4434840" y="2952301"/>
                  </a:moveTo>
                  <a:lnTo>
                    <a:pt x="4437222" y="2995165"/>
                  </a:lnTo>
                  <a:cubicBezTo>
                    <a:pt x="4671378" y="3011833"/>
                    <a:pt x="4555490" y="3004690"/>
                    <a:pt x="4680109" y="3016595"/>
                  </a:cubicBezTo>
                  <a:lnTo>
                    <a:pt x="4680109" y="3376164"/>
                  </a:lnTo>
                  <a:lnTo>
                    <a:pt x="4718209" y="3380926"/>
                  </a:lnTo>
                  <a:cubicBezTo>
                    <a:pt x="4716621" y="3246782"/>
                    <a:pt x="4715034" y="3112639"/>
                    <a:pt x="4713446" y="2978495"/>
                  </a:cubicBezTo>
                  <a:close/>
                  <a:moveTo>
                    <a:pt x="1129665" y="2921345"/>
                  </a:moveTo>
                  <a:lnTo>
                    <a:pt x="656590" y="2994370"/>
                  </a:lnTo>
                  <a:lnTo>
                    <a:pt x="621665" y="4153245"/>
                  </a:lnTo>
                  <a:lnTo>
                    <a:pt x="1097915" y="4273895"/>
                  </a:lnTo>
                  <a:close/>
                  <a:moveTo>
                    <a:pt x="3589496" y="2868958"/>
                  </a:moveTo>
                  <a:lnTo>
                    <a:pt x="3589496" y="2918964"/>
                  </a:lnTo>
                  <a:lnTo>
                    <a:pt x="3875246" y="2949920"/>
                  </a:lnTo>
                  <a:lnTo>
                    <a:pt x="3875246" y="3380926"/>
                  </a:lnTo>
                  <a:lnTo>
                    <a:pt x="3920490" y="3380926"/>
                  </a:lnTo>
                  <a:lnTo>
                    <a:pt x="3920490" y="2902295"/>
                  </a:lnTo>
                  <a:close/>
                  <a:moveTo>
                    <a:pt x="1139190" y="2728464"/>
                  </a:moveTo>
                  <a:lnTo>
                    <a:pt x="605790" y="2838001"/>
                  </a:lnTo>
                  <a:lnTo>
                    <a:pt x="605790" y="2888008"/>
                  </a:lnTo>
                  <a:lnTo>
                    <a:pt x="1139190" y="2778470"/>
                  </a:lnTo>
                  <a:close/>
                  <a:moveTo>
                    <a:pt x="3048953" y="2621308"/>
                  </a:moveTo>
                  <a:lnTo>
                    <a:pt x="2220278" y="2749895"/>
                  </a:lnTo>
                  <a:lnTo>
                    <a:pt x="2205990" y="4531070"/>
                  </a:lnTo>
                  <a:lnTo>
                    <a:pt x="3029903" y="4731095"/>
                  </a:lnTo>
                  <a:close/>
                  <a:moveTo>
                    <a:pt x="1859915" y="2378420"/>
                  </a:moveTo>
                  <a:lnTo>
                    <a:pt x="1199515" y="2546695"/>
                  </a:lnTo>
                  <a:lnTo>
                    <a:pt x="1161415" y="4340570"/>
                  </a:lnTo>
                  <a:lnTo>
                    <a:pt x="1028065" y="4381845"/>
                  </a:lnTo>
                  <a:lnTo>
                    <a:pt x="1678940" y="4569170"/>
                  </a:lnTo>
                  <a:lnTo>
                    <a:pt x="1824990" y="4515195"/>
                  </a:lnTo>
                  <a:close/>
                  <a:moveTo>
                    <a:pt x="3082290" y="2321270"/>
                  </a:moveTo>
                  <a:lnTo>
                    <a:pt x="2225040" y="2499864"/>
                  </a:lnTo>
                  <a:lnTo>
                    <a:pt x="2225040" y="2571301"/>
                  </a:lnTo>
                  <a:lnTo>
                    <a:pt x="3082290" y="2395089"/>
                  </a:lnTo>
                  <a:close/>
                  <a:moveTo>
                    <a:pt x="3034665" y="1897408"/>
                  </a:moveTo>
                  <a:lnTo>
                    <a:pt x="853440" y="2540345"/>
                  </a:lnTo>
                  <a:lnTo>
                    <a:pt x="853440" y="2716558"/>
                  </a:lnTo>
                  <a:lnTo>
                    <a:pt x="1141571" y="2657026"/>
                  </a:lnTo>
                  <a:lnTo>
                    <a:pt x="1141571" y="2509389"/>
                  </a:lnTo>
                  <a:lnTo>
                    <a:pt x="1860709" y="2306983"/>
                  </a:lnTo>
                  <a:lnTo>
                    <a:pt x="2196465" y="2418901"/>
                  </a:lnTo>
                  <a:lnTo>
                    <a:pt x="3034665" y="2230783"/>
                  </a:lnTo>
                  <a:close/>
                  <a:moveTo>
                    <a:pt x="2139315" y="1759295"/>
                  </a:moveTo>
                  <a:lnTo>
                    <a:pt x="1482090" y="2016470"/>
                  </a:lnTo>
                  <a:lnTo>
                    <a:pt x="1482090" y="2290314"/>
                  </a:lnTo>
                  <a:lnTo>
                    <a:pt x="2139315" y="2095051"/>
                  </a:lnTo>
                  <a:close/>
                  <a:moveTo>
                    <a:pt x="3960971" y="1437826"/>
                  </a:moveTo>
                  <a:lnTo>
                    <a:pt x="2675096" y="1864070"/>
                  </a:lnTo>
                  <a:lnTo>
                    <a:pt x="2675096" y="1937889"/>
                  </a:lnTo>
                  <a:lnTo>
                    <a:pt x="3034665" y="1833114"/>
                  </a:lnTo>
                  <a:lnTo>
                    <a:pt x="3253740" y="1890264"/>
                  </a:lnTo>
                  <a:lnTo>
                    <a:pt x="3844290" y="1721195"/>
                  </a:lnTo>
                  <a:lnTo>
                    <a:pt x="3844290" y="1809301"/>
                  </a:lnTo>
                  <a:lnTo>
                    <a:pt x="3429953" y="1930745"/>
                  </a:lnTo>
                  <a:lnTo>
                    <a:pt x="3960971" y="2080764"/>
                  </a:lnTo>
                  <a:close/>
                  <a:moveTo>
                    <a:pt x="4450467" y="798721"/>
                  </a:moveTo>
                  <a:cubicBezTo>
                    <a:pt x="4330363" y="791764"/>
                    <a:pt x="4200883" y="824655"/>
                    <a:pt x="4170521" y="840133"/>
                  </a:cubicBezTo>
                  <a:lnTo>
                    <a:pt x="4156234" y="1447351"/>
                  </a:lnTo>
                  <a:lnTo>
                    <a:pt x="4603909" y="1623564"/>
                  </a:lnTo>
                  <a:lnTo>
                    <a:pt x="4563428" y="821083"/>
                  </a:lnTo>
                  <a:cubicBezTo>
                    <a:pt x="4529495" y="807788"/>
                    <a:pt x="4490502" y="801041"/>
                    <a:pt x="4450467" y="798721"/>
                  </a:cubicBezTo>
                  <a:close/>
                  <a:moveTo>
                    <a:pt x="2501265" y="767802"/>
                  </a:moveTo>
                  <a:cubicBezTo>
                    <a:pt x="2490351" y="763138"/>
                    <a:pt x="2477056" y="767107"/>
                    <a:pt x="2463165" y="794888"/>
                  </a:cubicBezTo>
                  <a:lnTo>
                    <a:pt x="2434590" y="1761675"/>
                  </a:lnTo>
                  <a:lnTo>
                    <a:pt x="2536984" y="1787869"/>
                  </a:lnTo>
                  <a:lnTo>
                    <a:pt x="2525078" y="792507"/>
                  </a:lnTo>
                  <a:cubicBezTo>
                    <a:pt x="2520712" y="785761"/>
                    <a:pt x="2512179" y="772465"/>
                    <a:pt x="2501265" y="767802"/>
                  </a:cubicBezTo>
                  <a:close/>
                  <a:moveTo>
                    <a:pt x="4302793" y="558846"/>
                  </a:moveTo>
                  <a:cubicBezTo>
                    <a:pt x="4256396" y="562269"/>
                    <a:pt x="4216361" y="576408"/>
                    <a:pt x="4177665" y="597243"/>
                  </a:cubicBezTo>
                  <a:lnTo>
                    <a:pt x="4170521" y="780600"/>
                  </a:lnTo>
                  <a:cubicBezTo>
                    <a:pt x="4199096" y="769488"/>
                    <a:pt x="4272915" y="739325"/>
                    <a:pt x="4349115" y="747262"/>
                  </a:cubicBezTo>
                  <a:lnTo>
                    <a:pt x="4351497" y="559144"/>
                  </a:lnTo>
                  <a:cubicBezTo>
                    <a:pt x="4334431" y="557755"/>
                    <a:pt x="4318259" y="557705"/>
                    <a:pt x="4302793" y="558846"/>
                  </a:cubicBezTo>
                  <a:close/>
                  <a:moveTo>
                    <a:pt x="3202810" y="335363"/>
                  </a:moveTo>
                  <a:cubicBezTo>
                    <a:pt x="3126836" y="339232"/>
                    <a:pt x="3059668" y="355250"/>
                    <a:pt x="3020378" y="375788"/>
                  </a:cubicBezTo>
                  <a:lnTo>
                    <a:pt x="2987040" y="1687857"/>
                  </a:lnTo>
                  <a:lnTo>
                    <a:pt x="3449003" y="1528313"/>
                  </a:lnTo>
                  <a:lnTo>
                    <a:pt x="3387090" y="351975"/>
                  </a:lnTo>
                  <a:cubicBezTo>
                    <a:pt x="3352364" y="343244"/>
                    <a:pt x="3316447" y="338084"/>
                    <a:pt x="3281013" y="335827"/>
                  </a:cubicBezTo>
                  <a:cubicBezTo>
                    <a:pt x="3254438" y="334134"/>
                    <a:pt x="3228135" y="334074"/>
                    <a:pt x="3202810" y="335363"/>
                  </a:cubicBezTo>
                  <a:close/>
                  <a:moveTo>
                    <a:pt x="3210878" y="80513"/>
                  </a:moveTo>
                  <a:cubicBezTo>
                    <a:pt x="3142615" y="74956"/>
                    <a:pt x="3086259" y="86070"/>
                    <a:pt x="3034665" y="113850"/>
                  </a:cubicBezTo>
                  <a:lnTo>
                    <a:pt x="3027521" y="297207"/>
                  </a:lnTo>
                  <a:cubicBezTo>
                    <a:pt x="3056096" y="286095"/>
                    <a:pt x="3129915" y="263076"/>
                    <a:pt x="3206115" y="271013"/>
                  </a:cubicBezTo>
                  <a:close/>
                  <a:moveTo>
                    <a:pt x="3339623" y="1383"/>
                  </a:moveTo>
                  <a:cubicBezTo>
                    <a:pt x="3446502" y="8108"/>
                    <a:pt x="3543419" y="40032"/>
                    <a:pt x="3581400" y="111469"/>
                  </a:cubicBezTo>
                  <a:lnTo>
                    <a:pt x="3672840" y="1460209"/>
                  </a:lnTo>
                  <a:lnTo>
                    <a:pt x="3947160" y="1368769"/>
                  </a:lnTo>
                  <a:lnTo>
                    <a:pt x="4091940" y="1429729"/>
                  </a:lnTo>
                  <a:lnTo>
                    <a:pt x="4130040" y="561049"/>
                  </a:lnTo>
                  <a:cubicBezTo>
                    <a:pt x="4317048" y="361024"/>
                    <a:pt x="4746943" y="489611"/>
                    <a:pt x="4762500" y="561049"/>
                  </a:cubicBezTo>
                  <a:lnTo>
                    <a:pt x="4892040" y="2328889"/>
                  </a:lnTo>
                  <a:lnTo>
                    <a:pt x="5433060" y="2466049"/>
                  </a:lnTo>
                  <a:lnTo>
                    <a:pt x="5448300" y="2793709"/>
                  </a:lnTo>
                  <a:lnTo>
                    <a:pt x="5692140" y="2862289"/>
                  </a:lnTo>
                  <a:lnTo>
                    <a:pt x="5692140" y="3113749"/>
                  </a:lnTo>
                  <a:lnTo>
                    <a:pt x="5631180" y="3128989"/>
                  </a:lnTo>
                  <a:lnTo>
                    <a:pt x="5646420" y="4142449"/>
                  </a:lnTo>
                  <a:lnTo>
                    <a:pt x="6103620" y="4256749"/>
                  </a:lnTo>
                  <a:lnTo>
                    <a:pt x="6141720" y="4462489"/>
                  </a:lnTo>
                  <a:lnTo>
                    <a:pt x="3048000" y="5514049"/>
                  </a:lnTo>
                  <a:lnTo>
                    <a:pt x="0" y="4401529"/>
                  </a:lnTo>
                  <a:lnTo>
                    <a:pt x="0" y="4271989"/>
                  </a:lnTo>
                  <a:lnTo>
                    <a:pt x="556260" y="4165309"/>
                  </a:lnTo>
                  <a:lnTo>
                    <a:pt x="601980" y="3022309"/>
                  </a:lnTo>
                  <a:lnTo>
                    <a:pt x="556260" y="3007069"/>
                  </a:lnTo>
                  <a:lnTo>
                    <a:pt x="556260" y="2786089"/>
                  </a:lnTo>
                  <a:lnTo>
                    <a:pt x="792480" y="2732749"/>
                  </a:lnTo>
                  <a:lnTo>
                    <a:pt x="792480" y="2481289"/>
                  </a:lnTo>
                  <a:lnTo>
                    <a:pt x="1424940" y="2298409"/>
                  </a:lnTo>
                  <a:lnTo>
                    <a:pt x="1424940" y="1970749"/>
                  </a:lnTo>
                  <a:lnTo>
                    <a:pt x="2141220" y="1681189"/>
                  </a:lnTo>
                  <a:lnTo>
                    <a:pt x="2392680" y="1757389"/>
                  </a:lnTo>
                  <a:lnTo>
                    <a:pt x="2423637" y="751549"/>
                  </a:lnTo>
                  <a:cubicBezTo>
                    <a:pt x="2433321" y="709957"/>
                    <a:pt x="2595403" y="687414"/>
                    <a:pt x="2631281" y="748215"/>
                  </a:cubicBezTo>
                  <a:lnTo>
                    <a:pt x="2682240" y="1795489"/>
                  </a:lnTo>
                  <a:lnTo>
                    <a:pt x="2872740" y="1726909"/>
                  </a:lnTo>
                  <a:lnTo>
                    <a:pt x="2948940" y="111469"/>
                  </a:lnTo>
                  <a:cubicBezTo>
                    <a:pt x="2955687" y="48961"/>
                    <a:pt x="3161491" y="-9826"/>
                    <a:pt x="3339623" y="138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535" name="Freeform 534"/>
            <p:cNvSpPr/>
            <p:nvPr/>
          </p:nvSpPr>
          <p:spPr>
            <a:xfrm>
              <a:off x="4167188" y="3940969"/>
              <a:ext cx="435768" cy="557212"/>
            </a:xfrm>
            <a:custGeom>
              <a:avLst/>
              <a:gdLst>
                <a:gd name="connsiteX0" fmla="*/ 435768 w 435768"/>
                <a:gd name="connsiteY0" fmla="*/ 76200 h 557212"/>
                <a:gd name="connsiteX1" fmla="*/ 435768 w 435768"/>
                <a:gd name="connsiteY1" fmla="*/ 0 h 557212"/>
                <a:gd name="connsiteX2" fmla="*/ 4762 w 435768"/>
                <a:gd name="connsiteY2" fmla="*/ 45244 h 557212"/>
                <a:gd name="connsiteX3" fmla="*/ 0 w 435768"/>
                <a:gd name="connsiteY3" fmla="*/ 557212 h 557212"/>
                <a:gd name="connsiteX4" fmla="*/ 64293 w 435768"/>
                <a:gd name="connsiteY4" fmla="*/ 557212 h 557212"/>
                <a:gd name="connsiteX5" fmla="*/ 66675 w 435768"/>
                <a:gd name="connsiteY5" fmla="*/ 104775 h 557212"/>
                <a:gd name="connsiteX6" fmla="*/ 435768 w 435768"/>
                <a:gd name="connsiteY6" fmla="*/ 76200 h 557212"/>
                <a:gd name="connsiteX0" fmla="*/ 435768 w 435768"/>
                <a:gd name="connsiteY0" fmla="*/ 76200 h 557212"/>
                <a:gd name="connsiteX1" fmla="*/ 435768 w 435768"/>
                <a:gd name="connsiteY1" fmla="*/ 0 h 557212"/>
                <a:gd name="connsiteX2" fmla="*/ 4762 w 435768"/>
                <a:gd name="connsiteY2" fmla="*/ 45244 h 557212"/>
                <a:gd name="connsiteX3" fmla="*/ 0 w 435768"/>
                <a:gd name="connsiteY3" fmla="*/ 557212 h 557212"/>
                <a:gd name="connsiteX4" fmla="*/ 64293 w 435768"/>
                <a:gd name="connsiteY4" fmla="*/ 557212 h 557212"/>
                <a:gd name="connsiteX5" fmla="*/ 66675 w 435768"/>
                <a:gd name="connsiteY5" fmla="*/ 109537 h 557212"/>
                <a:gd name="connsiteX6" fmla="*/ 435768 w 435768"/>
                <a:gd name="connsiteY6" fmla="*/ 76200 h 557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768" h="557212">
                  <a:moveTo>
                    <a:pt x="435768" y="76200"/>
                  </a:moveTo>
                  <a:lnTo>
                    <a:pt x="435768" y="0"/>
                  </a:lnTo>
                  <a:lnTo>
                    <a:pt x="4762" y="45244"/>
                  </a:lnTo>
                  <a:cubicBezTo>
                    <a:pt x="3175" y="215900"/>
                    <a:pt x="1587" y="386556"/>
                    <a:pt x="0" y="557212"/>
                  </a:cubicBezTo>
                  <a:lnTo>
                    <a:pt x="64293" y="557212"/>
                  </a:lnTo>
                  <a:lnTo>
                    <a:pt x="66675" y="109537"/>
                  </a:lnTo>
                  <a:lnTo>
                    <a:pt x="435768" y="762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536" name="Freeform 535"/>
            <p:cNvSpPr/>
            <p:nvPr/>
          </p:nvSpPr>
          <p:spPr>
            <a:xfrm>
              <a:off x="4167188" y="4798220"/>
              <a:ext cx="438149" cy="550068"/>
            </a:xfrm>
            <a:custGeom>
              <a:avLst/>
              <a:gdLst>
                <a:gd name="connsiteX0" fmla="*/ 435768 w 435768"/>
                <a:gd name="connsiteY0" fmla="*/ 76200 h 557212"/>
                <a:gd name="connsiteX1" fmla="*/ 435768 w 435768"/>
                <a:gd name="connsiteY1" fmla="*/ 0 h 557212"/>
                <a:gd name="connsiteX2" fmla="*/ 4762 w 435768"/>
                <a:gd name="connsiteY2" fmla="*/ 45244 h 557212"/>
                <a:gd name="connsiteX3" fmla="*/ 0 w 435768"/>
                <a:gd name="connsiteY3" fmla="*/ 557212 h 557212"/>
                <a:gd name="connsiteX4" fmla="*/ 64293 w 435768"/>
                <a:gd name="connsiteY4" fmla="*/ 557212 h 557212"/>
                <a:gd name="connsiteX5" fmla="*/ 66675 w 435768"/>
                <a:gd name="connsiteY5" fmla="*/ 104775 h 557212"/>
                <a:gd name="connsiteX6" fmla="*/ 435768 w 435768"/>
                <a:gd name="connsiteY6" fmla="*/ 76200 h 557212"/>
                <a:gd name="connsiteX0" fmla="*/ 435768 w 435768"/>
                <a:gd name="connsiteY0" fmla="*/ 76200 h 557212"/>
                <a:gd name="connsiteX1" fmla="*/ 435768 w 435768"/>
                <a:gd name="connsiteY1" fmla="*/ 0 h 557212"/>
                <a:gd name="connsiteX2" fmla="*/ 4762 w 435768"/>
                <a:gd name="connsiteY2" fmla="*/ 45244 h 557212"/>
                <a:gd name="connsiteX3" fmla="*/ 0 w 435768"/>
                <a:gd name="connsiteY3" fmla="*/ 557212 h 557212"/>
                <a:gd name="connsiteX4" fmla="*/ 64293 w 435768"/>
                <a:gd name="connsiteY4" fmla="*/ 557212 h 557212"/>
                <a:gd name="connsiteX5" fmla="*/ 66675 w 435768"/>
                <a:gd name="connsiteY5" fmla="*/ 109537 h 557212"/>
                <a:gd name="connsiteX6" fmla="*/ 435768 w 435768"/>
                <a:gd name="connsiteY6" fmla="*/ 76200 h 557212"/>
                <a:gd name="connsiteX0" fmla="*/ 435768 w 435768"/>
                <a:gd name="connsiteY0" fmla="*/ 76200 h 585787"/>
                <a:gd name="connsiteX1" fmla="*/ 435768 w 435768"/>
                <a:gd name="connsiteY1" fmla="*/ 0 h 585787"/>
                <a:gd name="connsiteX2" fmla="*/ 4762 w 435768"/>
                <a:gd name="connsiteY2" fmla="*/ 45244 h 585787"/>
                <a:gd name="connsiteX3" fmla="*/ 0 w 435768"/>
                <a:gd name="connsiteY3" fmla="*/ 585787 h 585787"/>
                <a:gd name="connsiteX4" fmla="*/ 64293 w 435768"/>
                <a:gd name="connsiteY4" fmla="*/ 557212 h 585787"/>
                <a:gd name="connsiteX5" fmla="*/ 66675 w 435768"/>
                <a:gd name="connsiteY5" fmla="*/ 109537 h 585787"/>
                <a:gd name="connsiteX6" fmla="*/ 435768 w 435768"/>
                <a:gd name="connsiteY6" fmla="*/ 76200 h 585787"/>
                <a:gd name="connsiteX0" fmla="*/ 435768 w 435768"/>
                <a:gd name="connsiteY0" fmla="*/ 76200 h 595312"/>
                <a:gd name="connsiteX1" fmla="*/ 435768 w 435768"/>
                <a:gd name="connsiteY1" fmla="*/ 0 h 595312"/>
                <a:gd name="connsiteX2" fmla="*/ 4762 w 435768"/>
                <a:gd name="connsiteY2" fmla="*/ 45244 h 595312"/>
                <a:gd name="connsiteX3" fmla="*/ 0 w 435768"/>
                <a:gd name="connsiteY3" fmla="*/ 585787 h 595312"/>
                <a:gd name="connsiteX4" fmla="*/ 54768 w 435768"/>
                <a:gd name="connsiteY4" fmla="*/ 595312 h 595312"/>
                <a:gd name="connsiteX5" fmla="*/ 66675 w 435768"/>
                <a:gd name="connsiteY5" fmla="*/ 109537 h 595312"/>
                <a:gd name="connsiteX6" fmla="*/ 435768 w 435768"/>
                <a:gd name="connsiteY6" fmla="*/ 76200 h 595312"/>
                <a:gd name="connsiteX0" fmla="*/ 433387 w 435768"/>
                <a:gd name="connsiteY0" fmla="*/ 128588 h 595312"/>
                <a:gd name="connsiteX1" fmla="*/ 435768 w 435768"/>
                <a:gd name="connsiteY1" fmla="*/ 0 h 595312"/>
                <a:gd name="connsiteX2" fmla="*/ 4762 w 435768"/>
                <a:gd name="connsiteY2" fmla="*/ 45244 h 595312"/>
                <a:gd name="connsiteX3" fmla="*/ 0 w 435768"/>
                <a:gd name="connsiteY3" fmla="*/ 585787 h 595312"/>
                <a:gd name="connsiteX4" fmla="*/ 54768 w 435768"/>
                <a:gd name="connsiteY4" fmla="*/ 595312 h 595312"/>
                <a:gd name="connsiteX5" fmla="*/ 66675 w 435768"/>
                <a:gd name="connsiteY5" fmla="*/ 109537 h 595312"/>
                <a:gd name="connsiteX6" fmla="*/ 433387 w 435768"/>
                <a:gd name="connsiteY6" fmla="*/ 128588 h 595312"/>
                <a:gd name="connsiteX0" fmla="*/ 433387 w 438149"/>
                <a:gd name="connsiteY0" fmla="*/ 83344 h 550068"/>
                <a:gd name="connsiteX1" fmla="*/ 438149 w 438149"/>
                <a:gd name="connsiteY1" fmla="*/ 21431 h 550068"/>
                <a:gd name="connsiteX2" fmla="*/ 4762 w 438149"/>
                <a:gd name="connsiteY2" fmla="*/ 0 h 550068"/>
                <a:gd name="connsiteX3" fmla="*/ 0 w 438149"/>
                <a:gd name="connsiteY3" fmla="*/ 540543 h 550068"/>
                <a:gd name="connsiteX4" fmla="*/ 54768 w 438149"/>
                <a:gd name="connsiteY4" fmla="*/ 550068 h 550068"/>
                <a:gd name="connsiteX5" fmla="*/ 66675 w 438149"/>
                <a:gd name="connsiteY5" fmla="*/ 64293 h 550068"/>
                <a:gd name="connsiteX6" fmla="*/ 433387 w 438149"/>
                <a:gd name="connsiteY6" fmla="*/ 83344 h 550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149" h="550068">
                  <a:moveTo>
                    <a:pt x="433387" y="83344"/>
                  </a:moveTo>
                  <a:cubicBezTo>
                    <a:pt x="434181" y="40481"/>
                    <a:pt x="437355" y="64294"/>
                    <a:pt x="438149" y="21431"/>
                  </a:cubicBezTo>
                  <a:lnTo>
                    <a:pt x="4762" y="0"/>
                  </a:lnTo>
                  <a:cubicBezTo>
                    <a:pt x="3175" y="170656"/>
                    <a:pt x="1587" y="369887"/>
                    <a:pt x="0" y="540543"/>
                  </a:cubicBezTo>
                  <a:lnTo>
                    <a:pt x="54768" y="550068"/>
                  </a:lnTo>
                  <a:lnTo>
                    <a:pt x="66675" y="64293"/>
                  </a:lnTo>
                  <a:lnTo>
                    <a:pt x="433387" y="8334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537" name="Freeform 536"/>
            <p:cNvSpPr/>
            <p:nvPr/>
          </p:nvSpPr>
          <p:spPr>
            <a:xfrm>
              <a:off x="4160044" y="3938588"/>
              <a:ext cx="450056" cy="561975"/>
            </a:xfrm>
            <a:custGeom>
              <a:avLst/>
              <a:gdLst>
                <a:gd name="connsiteX0" fmla="*/ 0 w 450056"/>
                <a:gd name="connsiteY0" fmla="*/ 561975 h 561975"/>
                <a:gd name="connsiteX1" fmla="*/ 73819 w 450056"/>
                <a:gd name="connsiteY1" fmla="*/ 561975 h 561975"/>
                <a:gd name="connsiteX2" fmla="*/ 73819 w 450056"/>
                <a:gd name="connsiteY2" fmla="*/ 116681 h 561975"/>
                <a:gd name="connsiteX3" fmla="*/ 450056 w 450056"/>
                <a:gd name="connsiteY3" fmla="*/ 73818 h 561975"/>
                <a:gd name="connsiteX4" fmla="*/ 450056 w 450056"/>
                <a:gd name="connsiteY4" fmla="*/ 0 h 561975"/>
                <a:gd name="connsiteX5" fmla="*/ 7144 w 450056"/>
                <a:gd name="connsiteY5" fmla="*/ 47625 h 561975"/>
                <a:gd name="connsiteX6" fmla="*/ 0 w 450056"/>
                <a:gd name="connsiteY6" fmla="*/ 561975 h 561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056" h="561975">
                  <a:moveTo>
                    <a:pt x="0" y="561975"/>
                  </a:moveTo>
                  <a:lnTo>
                    <a:pt x="73819" y="561975"/>
                  </a:lnTo>
                  <a:lnTo>
                    <a:pt x="73819" y="116681"/>
                  </a:lnTo>
                  <a:lnTo>
                    <a:pt x="450056" y="73818"/>
                  </a:lnTo>
                  <a:lnTo>
                    <a:pt x="450056" y="0"/>
                  </a:lnTo>
                  <a:lnTo>
                    <a:pt x="7144" y="47625"/>
                  </a:lnTo>
                  <a:cubicBezTo>
                    <a:pt x="4763" y="219075"/>
                    <a:pt x="2381" y="390525"/>
                    <a:pt x="0" y="56197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538" name="Freeform 537"/>
            <p:cNvSpPr/>
            <p:nvPr/>
          </p:nvSpPr>
          <p:spPr>
            <a:xfrm>
              <a:off x="4160044" y="4795838"/>
              <a:ext cx="450056" cy="559594"/>
            </a:xfrm>
            <a:custGeom>
              <a:avLst/>
              <a:gdLst>
                <a:gd name="connsiteX0" fmla="*/ 0 w 450056"/>
                <a:gd name="connsiteY0" fmla="*/ 561975 h 561975"/>
                <a:gd name="connsiteX1" fmla="*/ 73819 w 450056"/>
                <a:gd name="connsiteY1" fmla="*/ 561975 h 561975"/>
                <a:gd name="connsiteX2" fmla="*/ 73819 w 450056"/>
                <a:gd name="connsiteY2" fmla="*/ 116681 h 561975"/>
                <a:gd name="connsiteX3" fmla="*/ 450056 w 450056"/>
                <a:gd name="connsiteY3" fmla="*/ 73818 h 561975"/>
                <a:gd name="connsiteX4" fmla="*/ 450056 w 450056"/>
                <a:gd name="connsiteY4" fmla="*/ 0 h 561975"/>
                <a:gd name="connsiteX5" fmla="*/ 7144 w 450056"/>
                <a:gd name="connsiteY5" fmla="*/ 47625 h 561975"/>
                <a:gd name="connsiteX6" fmla="*/ 0 w 450056"/>
                <a:gd name="connsiteY6" fmla="*/ 561975 h 561975"/>
                <a:gd name="connsiteX0" fmla="*/ 0 w 450056"/>
                <a:gd name="connsiteY0" fmla="*/ 561975 h 576262"/>
                <a:gd name="connsiteX1" fmla="*/ 71438 w 450056"/>
                <a:gd name="connsiteY1" fmla="*/ 576262 h 576262"/>
                <a:gd name="connsiteX2" fmla="*/ 73819 w 450056"/>
                <a:gd name="connsiteY2" fmla="*/ 116681 h 576262"/>
                <a:gd name="connsiteX3" fmla="*/ 450056 w 450056"/>
                <a:gd name="connsiteY3" fmla="*/ 73818 h 576262"/>
                <a:gd name="connsiteX4" fmla="*/ 450056 w 450056"/>
                <a:gd name="connsiteY4" fmla="*/ 0 h 576262"/>
                <a:gd name="connsiteX5" fmla="*/ 7144 w 450056"/>
                <a:gd name="connsiteY5" fmla="*/ 47625 h 576262"/>
                <a:gd name="connsiteX6" fmla="*/ 0 w 450056"/>
                <a:gd name="connsiteY6" fmla="*/ 561975 h 576262"/>
                <a:gd name="connsiteX0" fmla="*/ 0 w 450056"/>
                <a:gd name="connsiteY0" fmla="*/ 561975 h 576262"/>
                <a:gd name="connsiteX1" fmla="*/ 71438 w 450056"/>
                <a:gd name="connsiteY1" fmla="*/ 576262 h 576262"/>
                <a:gd name="connsiteX2" fmla="*/ 73819 w 450056"/>
                <a:gd name="connsiteY2" fmla="*/ 116681 h 576262"/>
                <a:gd name="connsiteX3" fmla="*/ 450056 w 450056"/>
                <a:gd name="connsiteY3" fmla="*/ 73818 h 576262"/>
                <a:gd name="connsiteX4" fmla="*/ 450056 w 450056"/>
                <a:gd name="connsiteY4" fmla="*/ 0 h 576262"/>
                <a:gd name="connsiteX5" fmla="*/ 7144 w 450056"/>
                <a:gd name="connsiteY5" fmla="*/ 16668 h 576262"/>
                <a:gd name="connsiteX6" fmla="*/ 0 w 450056"/>
                <a:gd name="connsiteY6" fmla="*/ 561975 h 576262"/>
                <a:gd name="connsiteX0" fmla="*/ 0 w 450056"/>
                <a:gd name="connsiteY0" fmla="*/ 561975 h 576262"/>
                <a:gd name="connsiteX1" fmla="*/ 71438 w 450056"/>
                <a:gd name="connsiteY1" fmla="*/ 576262 h 576262"/>
                <a:gd name="connsiteX2" fmla="*/ 73819 w 450056"/>
                <a:gd name="connsiteY2" fmla="*/ 116681 h 576262"/>
                <a:gd name="connsiteX3" fmla="*/ 450056 w 450056"/>
                <a:gd name="connsiteY3" fmla="*/ 104775 h 576262"/>
                <a:gd name="connsiteX4" fmla="*/ 450056 w 450056"/>
                <a:gd name="connsiteY4" fmla="*/ 0 h 576262"/>
                <a:gd name="connsiteX5" fmla="*/ 7144 w 450056"/>
                <a:gd name="connsiteY5" fmla="*/ 16668 h 576262"/>
                <a:gd name="connsiteX6" fmla="*/ 0 w 450056"/>
                <a:gd name="connsiteY6" fmla="*/ 561975 h 576262"/>
                <a:gd name="connsiteX0" fmla="*/ 0 w 450056"/>
                <a:gd name="connsiteY0" fmla="*/ 545307 h 559594"/>
                <a:gd name="connsiteX1" fmla="*/ 71438 w 450056"/>
                <a:gd name="connsiteY1" fmla="*/ 559594 h 559594"/>
                <a:gd name="connsiteX2" fmla="*/ 73819 w 450056"/>
                <a:gd name="connsiteY2" fmla="*/ 100013 h 559594"/>
                <a:gd name="connsiteX3" fmla="*/ 450056 w 450056"/>
                <a:gd name="connsiteY3" fmla="*/ 88107 h 559594"/>
                <a:gd name="connsiteX4" fmla="*/ 450056 w 450056"/>
                <a:gd name="connsiteY4" fmla="*/ 21432 h 559594"/>
                <a:gd name="connsiteX5" fmla="*/ 7144 w 450056"/>
                <a:gd name="connsiteY5" fmla="*/ 0 h 559594"/>
                <a:gd name="connsiteX6" fmla="*/ 0 w 450056"/>
                <a:gd name="connsiteY6" fmla="*/ 545307 h 559594"/>
                <a:gd name="connsiteX0" fmla="*/ 0 w 450056"/>
                <a:gd name="connsiteY0" fmla="*/ 545307 h 559594"/>
                <a:gd name="connsiteX1" fmla="*/ 71438 w 450056"/>
                <a:gd name="connsiteY1" fmla="*/ 559594 h 559594"/>
                <a:gd name="connsiteX2" fmla="*/ 76200 w 450056"/>
                <a:gd name="connsiteY2" fmla="*/ 71438 h 559594"/>
                <a:gd name="connsiteX3" fmla="*/ 450056 w 450056"/>
                <a:gd name="connsiteY3" fmla="*/ 88107 h 559594"/>
                <a:gd name="connsiteX4" fmla="*/ 450056 w 450056"/>
                <a:gd name="connsiteY4" fmla="*/ 21432 h 559594"/>
                <a:gd name="connsiteX5" fmla="*/ 7144 w 450056"/>
                <a:gd name="connsiteY5" fmla="*/ 0 h 559594"/>
                <a:gd name="connsiteX6" fmla="*/ 0 w 450056"/>
                <a:gd name="connsiteY6" fmla="*/ 545307 h 559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056" h="559594">
                  <a:moveTo>
                    <a:pt x="0" y="545307"/>
                  </a:moveTo>
                  <a:lnTo>
                    <a:pt x="71438" y="559594"/>
                  </a:lnTo>
                  <a:cubicBezTo>
                    <a:pt x="72232" y="406400"/>
                    <a:pt x="75406" y="224632"/>
                    <a:pt x="76200" y="71438"/>
                  </a:cubicBezTo>
                  <a:lnTo>
                    <a:pt x="450056" y="88107"/>
                  </a:lnTo>
                  <a:lnTo>
                    <a:pt x="450056" y="21432"/>
                  </a:lnTo>
                  <a:lnTo>
                    <a:pt x="7144" y="0"/>
                  </a:lnTo>
                  <a:cubicBezTo>
                    <a:pt x="4763" y="171450"/>
                    <a:pt x="2381" y="373857"/>
                    <a:pt x="0" y="54530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539" name="Freeform 538"/>
            <p:cNvSpPr/>
            <p:nvPr/>
          </p:nvSpPr>
          <p:spPr>
            <a:xfrm>
              <a:off x="3088481" y="3907631"/>
              <a:ext cx="321469" cy="490538"/>
            </a:xfrm>
            <a:custGeom>
              <a:avLst/>
              <a:gdLst>
                <a:gd name="connsiteX0" fmla="*/ 0 w 321469"/>
                <a:gd name="connsiteY0" fmla="*/ 490538 h 490538"/>
                <a:gd name="connsiteX1" fmla="*/ 11907 w 321469"/>
                <a:gd name="connsiteY1" fmla="*/ 47625 h 490538"/>
                <a:gd name="connsiteX2" fmla="*/ 321469 w 321469"/>
                <a:gd name="connsiteY2" fmla="*/ 0 h 490538"/>
                <a:gd name="connsiteX3" fmla="*/ 316707 w 321469"/>
                <a:gd name="connsiteY3" fmla="*/ 80963 h 490538"/>
                <a:gd name="connsiteX4" fmla="*/ 80963 w 321469"/>
                <a:gd name="connsiteY4" fmla="*/ 109538 h 490538"/>
                <a:gd name="connsiteX5" fmla="*/ 66675 w 321469"/>
                <a:gd name="connsiteY5" fmla="*/ 490538 h 490538"/>
                <a:gd name="connsiteX6" fmla="*/ 0 w 321469"/>
                <a:gd name="connsiteY6" fmla="*/ 490538 h 490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1469" h="490538">
                  <a:moveTo>
                    <a:pt x="0" y="490538"/>
                  </a:moveTo>
                  <a:lnTo>
                    <a:pt x="11907" y="47625"/>
                  </a:lnTo>
                  <a:lnTo>
                    <a:pt x="321469" y="0"/>
                  </a:lnTo>
                  <a:lnTo>
                    <a:pt x="316707" y="80963"/>
                  </a:lnTo>
                  <a:lnTo>
                    <a:pt x="80963" y="109538"/>
                  </a:lnTo>
                  <a:lnTo>
                    <a:pt x="66675" y="490538"/>
                  </a:lnTo>
                  <a:lnTo>
                    <a:pt x="0" y="49053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540" name="Freeform 539"/>
            <p:cNvSpPr/>
            <p:nvPr/>
          </p:nvSpPr>
          <p:spPr>
            <a:xfrm>
              <a:off x="2528888" y="4133850"/>
              <a:ext cx="278606" cy="364331"/>
            </a:xfrm>
            <a:custGeom>
              <a:avLst/>
              <a:gdLst>
                <a:gd name="connsiteX0" fmla="*/ 11906 w 278606"/>
                <a:gd name="connsiteY0" fmla="*/ 26194 h 364331"/>
                <a:gd name="connsiteX1" fmla="*/ 0 w 278606"/>
                <a:gd name="connsiteY1" fmla="*/ 361950 h 364331"/>
                <a:gd name="connsiteX2" fmla="*/ 64293 w 278606"/>
                <a:gd name="connsiteY2" fmla="*/ 364331 h 364331"/>
                <a:gd name="connsiteX3" fmla="*/ 71437 w 278606"/>
                <a:gd name="connsiteY3" fmla="*/ 95250 h 364331"/>
                <a:gd name="connsiteX4" fmla="*/ 276225 w 278606"/>
                <a:gd name="connsiteY4" fmla="*/ 73819 h 364331"/>
                <a:gd name="connsiteX5" fmla="*/ 278606 w 278606"/>
                <a:gd name="connsiteY5" fmla="*/ 0 h 364331"/>
                <a:gd name="connsiteX6" fmla="*/ 11906 w 278606"/>
                <a:gd name="connsiteY6" fmla="*/ 26194 h 364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8606" h="364331">
                  <a:moveTo>
                    <a:pt x="11906" y="26194"/>
                  </a:moveTo>
                  <a:lnTo>
                    <a:pt x="0" y="361950"/>
                  </a:lnTo>
                  <a:lnTo>
                    <a:pt x="64293" y="364331"/>
                  </a:lnTo>
                  <a:lnTo>
                    <a:pt x="71437" y="95250"/>
                  </a:lnTo>
                  <a:lnTo>
                    <a:pt x="276225" y="73819"/>
                  </a:lnTo>
                  <a:cubicBezTo>
                    <a:pt x="277019" y="49213"/>
                    <a:pt x="277812" y="24606"/>
                    <a:pt x="278606" y="0"/>
                  </a:cubicBezTo>
                  <a:lnTo>
                    <a:pt x="11906" y="2619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541" name="Freeform 540"/>
            <p:cNvSpPr/>
            <p:nvPr/>
          </p:nvSpPr>
          <p:spPr>
            <a:xfrm>
              <a:off x="2509838" y="4695825"/>
              <a:ext cx="285750" cy="366713"/>
            </a:xfrm>
            <a:custGeom>
              <a:avLst/>
              <a:gdLst>
                <a:gd name="connsiteX0" fmla="*/ 0 w 285750"/>
                <a:gd name="connsiteY0" fmla="*/ 354806 h 366713"/>
                <a:gd name="connsiteX1" fmla="*/ 19050 w 285750"/>
                <a:gd name="connsiteY1" fmla="*/ 0 h 366713"/>
                <a:gd name="connsiteX2" fmla="*/ 285750 w 285750"/>
                <a:gd name="connsiteY2" fmla="*/ 16669 h 366713"/>
                <a:gd name="connsiteX3" fmla="*/ 280987 w 285750"/>
                <a:gd name="connsiteY3" fmla="*/ 80963 h 366713"/>
                <a:gd name="connsiteX4" fmla="*/ 80962 w 285750"/>
                <a:gd name="connsiteY4" fmla="*/ 71438 h 366713"/>
                <a:gd name="connsiteX5" fmla="*/ 66675 w 285750"/>
                <a:gd name="connsiteY5" fmla="*/ 366713 h 366713"/>
                <a:gd name="connsiteX6" fmla="*/ 0 w 285750"/>
                <a:gd name="connsiteY6" fmla="*/ 354806 h 366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50" h="366713">
                  <a:moveTo>
                    <a:pt x="0" y="354806"/>
                  </a:moveTo>
                  <a:lnTo>
                    <a:pt x="19050" y="0"/>
                  </a:lnTo>
                  <a:lnTo>
                    <a:pt x="285750" y="16669"/>
                  </a:lnTo>
                  <a:lnTo>
                    <a:pt x="280987" y="80963"/>
                  </a:lnTo>
                  <a:lnTo>
                    <a:pt x="80962" y="71438"/>
                  </a:lnTo>
                  <a:lnTo>
                    <a:pt x="66675" y="366713"/>
                  </a:lnTo>
                  <a:lnTo>
                    <a:pt x="0" y="35480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542" name="Freeform 541"/>
            <p:cNvSpPr/>
            <p:nvPr/>
          </p:nvSpPr>
          <p:spPr>
            <a:xfrm>
              <a:off x="3048000" y="4738688"/>
              <a:ext cx="392906" cy="804862"/>
            </a:xfrm>
            <a:custGeom>
              <a:avLst/>
              <a:gdLst>
                <a:gd name="connsiteX0" fmla="*/ 85725 w 392906"/>
                <a:gd name="connsiteY0" fmla="*/ 685800 h 804862"/>
                <a:gd name="connsiteX1" fmla="*/ 0 w 392906"/>
                <a:gd name="connsiteY1" fmla="*/ 707231 h 804862"/>
                <a:gd name="connsiteX2" fmla="*/ 23813 w 392906"/>
                <a:gd name="connsiteY2" fmla="*/ 0 h 804862"/>
                <a:gd name="connsiteX3" fmla="*/ 392906 w 392906"/>
                <a:gd name="connsiteY3" fmla="*/ 19050 h 804862"/>
                <a:gd name="connsiteX4" fmla="*/ 376238 w 392906"/>
                <a:gd name="connsiteY4" fmla="*/ 804862 h 804862"/>
                <a:gd name="connsiteX5" fmla="*/ 347663 w 392906"/>
                <a:gd name="connsiteY5" fmla="*/ 792956 h 804862"/>
                <a:gd name="connsiteX6" fmla="*/ 364331 w 392906"/>
                <a:gd name="connsiteY6" fmla="*/ 76200 h 804862"/>
                <a:gd name="connsiteX7" fmla="*/ 252413 w 392906"/>
                <a:gd name="connsiteY7" fmla="*/ 71437 h 804862"/>
                <a:gd name="connsiteX8" fmla="*/ 235744 w 392906"/>
                <a:gd name="connsiteY8" fmla="*/ 700087 h 804862"/>
                <a:gd name="connsiteX9" fmla="*/ 197644 w 392906"/>
                <a:gd name="connsiteY9" fmla="*/ 690562 h 804862"/>
                <a:gd name="connsiteX10" fmla="*/ 211931 w 392906"/>
                <a:gd name="connsiteY10" fmla="*/ 69056 h 804862"/>
                <a:gd name="connsiteX11" fmla="*/ 100013 w 392906"/>
                <a:gd name="connsiteY11" fmla="*/ 59531 h 804862"/>
                <a:gd name="connsiteX12" fmla="*/ 85725 w 392906"/>
                <a:gd name="connsiteY12" fmla="*/ 685800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2906" h="804862">
                  <a:moveTo>
                    <a:pt x="85725" y="685800"/>
                  </a:moveTo>
                  <a:lnTo>
                    <a:pt x="0" y="707231"/>
                  </a:lnTo>
                  <a:lnTo>
                    <a:pt x="23813" y="0"/>
                  </a:lnTo>
                  <a:lnTo>
                    <a:pt x="392906" y="19050"/>
                  </a:lnTo>
                  <a:lnTo>
                    <a:pt x="376238" y="804862"/>
                  </a:lnTo>
                  <a:lnTo>
                    <a:pt x="347663" y="792956"/>
                  </a:lnTo>
                  <a:lnTo>
                    <a:pt x="364331" y="76200"/>
                  </a:lnTo>
                  <a:lnTo>
                    <a:pt x="252413" y="71437"/>
                  </a:lnTo>
                  <a:lnTo>
                    <a:pt x="235744" y="700087"/>
                  </a:lnTo>
                  <a:lnTo>
                    <a:pt x="197644" y="690562"/>
                  </a:lnTo>
                  <a:lnTo>
                    <a:pt x="211931" y="69056"/>
                  </a:lnTo>
                  <a:lnTo>
                    <a:pt x="100013" y="59531"/>
                  </a:lnTo>
                  <a:lnTo>
                    <a:pt x="85725" y="6858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543" name="Freeform 542"/>
            <p:cNvSpPr/>
            <p:nvPr/>
          </p:nvSpPr>
          <p:spPr>
            <a:xfrm>
              <a:off x="4262201" y="1501448"/>
              <a:ext cx="1662350" cy="311416"/>
            </a:xfrm>
            <a:custGeom>
              <a:avLst/>
              <a:gdLst>
                <a:gd name="connsiteX0" fmla="*/ 0 w 1654175"/>
                <a:gd name="connsiteY0" fmla="*/ 158750 h 276225"/>
                <a:gd name="connsiteX1" fmla="*/ 311150 w 1654175"/>
                <a:gd name="connsiteY1" fmla="*/ 76200 h 276225"/>
                <a:gd name="connsiteX2" fmla="*/ 1136650 w 1654175"/>
                <a:gd name="connsiteY2" fmla="*/ 238125 h 276225"/>
                <a:gd name="connsiteX3" fmla="*/ 1654175 w 1654175"/>
                <a:gd name="connsiteY3" fmla="*/ 276225 h 276225"/>
                <a:gd name="connsiteX4" fmla="*/ 1177925 w 1654175"/>
                <a:gd name="connsiteY4" fmla="*/ 165100 h 276225"/>
                <a:gd name="connsiteX5" fmla="*/ 238125 w 1654175"/>
                <a:gd name="connsiteY5" fmla="*/ 0 h 276225"/>
                <a:gd name="connsiteX6" fmla="*/ 0 w 1654175"/>
                <a:gd name="connsiteY6" fmla="*/ 158750 h 276225"/>
                <a:gd name="connsiteX0" fmla="*/ 8663 w 1662838"/>
                <a:gd name="connsiteY0" fmla="*/ 158750 h 276225"/>
                <a:gd name="connsiteX1" fmla="*/ 319813 w 1662838"/>
                <a:gd name="connsiteY1" fmla="*/ 76200 h 276225"/>
                <a:gd name="connsiteX2" fmla="*/ 1145313 w 1662838"/>
                <a:gd name="connsiteY2" fmla="*/ 238125 h 276225"/>
                <a:gd name="connsiteX3" fmla="*/ 1662838 w 1662838"/>
                <a:gd name="connsiteY3" fmla="*/ 276225 h 276225"/>
                <a:gd name="connsiteX4" fmla="*/ 1186588 w 1662838"/>
                <a:gd name="connsiteY4" fmla="*/ 165100 h 276225"/>
                <a:gd name="connsiteX5" fmla="*/ 246788 w 1662838"/>
                <a:gd name="connsiteY5" fmla="*/ 0 h 276225"/>
                <a:gd name="connsiteX6" fmla="*/ 8663 w 1662838"/>
                <a:gd name="connsiteY6" fmla="*/ 158750 h 276225"/>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528"/>
                <a:gd name="connsiteX1" fmla="*/ 319612 w 1662637"/>
                <a:gd name="connsiteY1" fmla="*/ 104203 h 304528"/>
                <a:gd name="connsiteX2" fmla="*/ 1145112 w 1662637"/>
                <a:gd name="connsiteY2" fmla="*/ 266128 h 304528"/>
                <a:gd name="connsiteX3" fmla="*/ 1662637 w 1662637"/>
                <a:gd name="connsiteY3" fmla="*/ 304228 h 304528"/>
                <a:gd name="connsiteX4" fmla="*/ 1186387 w 1662637"/>
                <a:gd name="connsiteY4" fmla="*/ 193103 h 304528"/>
                <a:gd name="connsiteX5" fmla="*/ 246587 w 1662637"/>
                <a:gd name="connsiteY5" fmla="*/ 28003 h 304528"/>
                <a:gd name="connsiteX6" fmla="*/ 8462 w 1662637"/>
                <a:gd name="connsiteY6" fmla="*/ 186753 h 304528"/>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2350" h="311416">
                  <a:moveTo>
                    <a:pt x="8175" y="190827"/>
                  </a:moveTo>
                  <a:cubicBezTo>
                    <a:pt x="26167" y="172835"/>
                    <a:pt x="-51092" y="-64231"/>
                    <a:pt x="319325" y="108277"/>
                  </a:cubicBezTo>
                  <a:cubicBezTo>
                    <a:pt x="470667" y="187652"/>
                    <a:pt x="733133" y="400377"/>
                    <a:pt x="1144825" y="270202"/>
                  </a:cubicBezTo>
                  <a:cubicBezTo>
                    <a:pt x="1307808" y="200352"/>
                    <a:pt x="1461267" y="200352"/>
                    <a:pt x="1662350" y="308302"/>
                  </a:cubicBezTo>
                  <a:cubicBezTo>
                    <a:pt x="1592500" y="258560"/>
                    <a:pt x="1405175" y="151669"/>
                    <a:pt x="1186100" y="197177"/>
                  </a:cubicBezTo>
                  <a:cubicBezTo>
                    <a:pt x="720433" y="345344"/>
                    <a:pt x="623067" y="188710"/>
                    <a:pt x="246300" y="32077"/>
                  </a:cubicBezTo>
                  <a:cubicBezTo>
                    <a:pt x="182800" y="-731"/>
                    <a:pt x="-45800" y="-65290"/>
                    <a:pt x="8175" y="19082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544" name="Freeform 543"/>
            <p:cNvSpPr/>
            <p:nvPr/>
          </p:nvSpPr>
          <p:spPr>
            <a:xfrm>
              <a:off x="5030337" y="599350"/>
              <a:ext cx="2926214" cy="590347"/>
            </a:xfrm>
            <a:custGeom>
              <a:avLst/>
              <a:gdLst>
                <a:gd name="connsiteX0" fmla="*/ 0 w 1654175"/>
                <a:gd name="connsiteY0" fmla="*/ 158750 h 276225"/>
                <a:gd name="connsiteX1" fmla="*/ 311150 w 1654175"/>
                <a:gd name="connsiteY1" fmla="*/ 76200 h 276225"/>
                <a:gd name="connsiteX2" fmla="*/ 1136650 w 1654175"/>
                <a:gd name="connsiteY2" fmla="*/ 238125 h 276225"/>
                <a:gd name="connsiteX3" fmla="*/ 1654175 w 1654175"/>
                <a:gd name="connsiteY3" fmla="*/ 276225 h 276225"/>
                <a:gd name="connsiteX4" fmla="*/ 1177925 w 1654175"/>
                <a:gd name="connsiteY4" fmla="*/ 165100 h 276225"/>
                <a:gd name="connsiteX5" fmla="*/ 238125 w 1654175"/>
                <a:gd name="connsiteY5" fmla="*/ 0 h 276225"/>
                <a:gd name="connsiteX6" fmla="*/ 0 w 1654175"/>
                <a:gd name="connsiteY6" fmla="*/ 158750 h 276225"/>
                <a:gd name="connsiteX0" fmla="*/ 8663 w 1662838"/>
                <a:gd name="connsiteY0" fmla="*/ 158750 h 276225"/>
                <a:gd name="connsiteX1" fmla="*/ 319813 w 1662838"/>
                <a:gd name="connsiteY1" fmla="*/ 76200 h 276225"/>
                <a:gd name="connsiteX2" fmla="*/ 1145313 w 1662838"/>
                <a:gd name="connsiteY2" fmla="*/ 238125 h 276225"/>
                <a:gd name="connsiteX3" fmla="*/ 1662838 w 1662838"/>
                <a:gd name="connsiteY3" fmla="*/ 276225 h 276225"/>
                <a:gd name="connsiteX4" fmla="*/ 1186588 w 1662838"/>
                <a:gd name="connsiteY4" fmla="*/ 165100 h 276225"/>
                <a:gd name="connsiteX5" fmla="*/ 246788 w 1662838"/>
                <a:gd name="connsiteY5" fmla="*/ 0 h 276225"/>
                <a:gd name="connsiteX6" fmla="*/ 8663 w 1662838"/>
                <a:gd name="connsiteY6" fmla="*/ 158750 h 276225"/>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528"/>
                <a:gd name="connsiteX1" fmla="*/ 319612 w 1662637"/>
                <a:gd name="connsiteY1" fmla="*/ 104203 h 304528"/>
                <a:gd name="connsiteX2" fmla="*/ 1145112 w 1662637"/>
                <a:gd name="connsiteY2" fmla="*/ 266128 h 304528"/>
                <a:gd name="connsiteX3" fmla="*/ 1662637 w 1662637"/>
                <a:gd name="connsiteY3" fmla="*/ 304228 h 304528"/>
                <a:gd name="connsiteX4" fmla="*/ 1186387 w 1662637"/>
                <a:gd name="connsiteY4" fmla="*/ 193103 h 304528"/>
                <a:gd name="connsiteX5" fmla="*/ 246587 w 1662637"/>
                <a:gd name="connsiteY5" fmla="*/ 28003 h 304528"/>
                <a:gd name="connsiteX6" fmla="*/ 8462 w 1662637"/>
                <a:gd name="connsiteY6" fmla="*/ 186753 h 304528"/>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 name="connsiteX0" fmla="*/ 8175 w 1646273"/>
                <a:gd name="connsiteY0" fmla="*/ 190827 h 445287"/>
                <a:gd name="connsiteX1" fmla="*/ 319325 w 1646273"/>
                <a:gd name="connsiteY1" fmla="*/ 108277 h 445287"/>
                <a:gd name="connsiteX2" fmla="*/ 1144825 w 1646273"/>
                <a:gd name="connsiteY2" fmla="*/ 2702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9325 w 1646273"/>
                <a:gd name="connsiteY1" fmla="*/ 108277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9325 w 1646273"/>
                <a:gd name="connsiteY1" fmla="*/ 108277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2180 w 1646273"/>
                <a:gd name="connsiteY1" fmla="*/ 125400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2180 w 1646273"/>
                <a:gd name="connsiteY1" fmla="*/ 125400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2180 w 1646273"/>
                <a:gd name="connsiteY1" fmla="*/ 125400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7914 w 1646012"/>
                <a:gd name="connsiteY0" fmla="*/ 189281 h 443741"/>
                <a:gd name="connsiteX1" fmla="*/ 311919 w 1646012"/>
                <a:gd name="connsiteY1" fmla="*/ 123854 h 443741"/>
                <a:gd name="connsiteX2" fmla="*/ 1144564 w 1646012"/>
                <a:gd name="connsiteY2" fmla="*/ 300456 h 443741"/>
                <a:gd name="connsiteX3" fmla="*/ 1646012 w 1646012"/>
                <a:gd name="connsiteY3" fmla="*/ 443741 h 443741"/>
                <a:gd name="connsiteX4" fmla="*/ 1185839 w 1646012"/>
                <a:gd name="connsiteY4" fmla="*/ 195631 h 443741"/>
                <a:gd name="connsiteX5" fmla="*/ 254971 w 1646012"/>
                <a:gd name="connsiteY5" fmla="*/ 32977 h 443741"/>
                <a:gd name="connsiteX6" fmla="*/ 7914 w 1646012"/>
                <a:gd name="connsiteY6" fmla="*/ 189281 h 443741"/>
                <a:gd name="connsiteX0" fmla="*/ 8487 w 1646585"/>
                <a:gd name="connsiteY0" fmla="*/ 212527 h 466987"/>
                <a:gd name="connsiteX1" fmla="*/ 312492 w 1646585"/>
                <a:gd name="connsiteY1" fmla="*/ 147100 h 466987"/>
                <a:gd name="connsiteX2" fmla="*/ 1145137 w 1646585"/>
                <a:gd name="connsiteY2" fmla="*/ 323702 h 466987"/>
                <a:gd name="connsiteX3" fmla="*/ 1646585 w 1646585"/>
                <a:gd name="connsiteY3" fmla="*/ 466987 h 466987"/>
                <a:gd name="connsiteX4" fmla="*/ 1186412 w 1646585"/>
                <a:gd name="connsiteY4" fmla="*/ 218877 h 466987"/>
                <a:gd name="connsiteX5" fmla="*/ 255544 w 1646585"/>
                <a:gd name="connsiteY5" fmla="*/ 56223 h 466987"/>
                <a:gd name="connsiteX6" fmla="*/ 8487 w 1646585"/>
                <a:gd name="connsiteY6" fmla="*/ 212527 h 466987"/>
                <a:gd name="connsiteX0" fmla="*/ 8487 w 1646585"/>
                <a:gd name="connsiteY0" fmla="*/ 212527 h 466987"/>
                <a:gd name="connsiteX1" fmla="*/ 312492 w 1646585"/>
                <a:gd name="connsiteY1" fmla="*/ 147100 h 466987"/>
                <a:gd name="connsiteX2" fmla="*/ 1145137 w 1646585"/>
                <a:gd name="connsiteY2" fmla="*/ 323702 h 466987"/>
                <a:gd name="connsiteX3" fmla="*/ 1646585 w 1646585"/>
                <a:gd name="connsiteY3" fmla="*/ 466987 h 466987"/>
                <a:gd name="connsiteX4" fmla="*/ 1186412 w 1646585"/>
                <a:gd name="connsiteY4" fmla="*/ 218877 h 466987"/>
                <a:gd name="connsiteX5" fmla="*/ 255544 w 1646585"/>
                <a:gd name="connsiteY5" fmla="*/ 56223 h 466987"/>
                <a:gd name="connsiteX6" fmla="*/ 8487 w 1646585"/>
                <a:gd name="connsiteY6" fmla="*/ 212527 h 466987"/>
                <a:gd name="connsiteX0" fmla="*/ 8487 w 1646585"/>
                <a:gd name="connsiteY0" fmla="*/ 212527 h 466987"/>
                <a:gd name="connsiteX1" fmla="*/ 312492 w 1646585"/>
                <a:gd name="connsiteY1" fmla="*/ 147100 h 466987"/>
                <a:gd name="connsiteX2" fmla="*/ 1145137 w 1646585"/>
                <a:gd name="connsiteY2" fmla="*/ 323702 h 466987"/>
                <a:gd name="connsiteX3" fmla="*/ 1646585 w 1646585"/>
                <a:gd name="connsiteY3" fmla="*/ 466987 h 466987"/>
                <a:gd name="connsiteX4" fmla="*/ 1186412 w 1646585"/>
                <a:gd name="connsiteY4" fmla="*/ 218877 h 466987"/>
                <a:gd name="connsiteX5" fmla="*/ 255544 w 1646585"/>
                <a:gd name="connsiteY5" fmla="*/ 56223 h 466987"/>
                <a:gd name="connsiteX6" fmla="*/ 8487 w 1646585"/>
                <a:gd name="connsiteY6" fmla="*/ 212527 h 466987"/>
                <a:gd name="connsiteX0" fmla="*/ 7122 w 1645220"/>
                <a:gd name="connsiteY0" fmla="*/ 195482 h 449942"/>
                <a:gd name="connsiteX1" fmla="*/ 311127 w 1645220"/>
                <a:gd name="connsiteY1" fmla="*/ 130055 h 449942"/>
                <a:gd name="connsiteX2" fmla="*/ 1143772 w 1645220"/>
                <a:gd name="connsiteY2" fmla="*/ 306657 h 449942"/>
                <a:gd name="connsiteX3" fmla="*/ 1645220 w 1645220"/>
                <a:gd name="connsiteY3" fmla="*/ 449942 h 449942"/>
                <a:gd name="connsiteX4" fmla="*/ 1185047 w 1645220"/>
                <a:gd name="connsiteY4" fmla="*/ 201832 h 449942"/>
                <a:gd name="connsiteX5" fmla="*/ 304198 w 1645220"/>
                <a:gd name="connsiteY5" fmla="*/ 66086 h 449942"/>
                <a:gd name="connsiteX6" fmla="*/ 7122 w 1645220"/>
                <a:gd name="connsiteY6" fmla="*/ 195482 h 449942"/>
                <a:gd name="connsiteX0" fmla="*/ 8480 w 1646578"/>
                <a:gd name="connsiteY0" fmla="*/ 207867 h 462327"/>
                <a:gd name="connsiteX1" fmla="*/ 312485 w 1646578"/>
                <a:gd name="connsiteY1" fmla="*/ 142440 h 462327"/>
                <a:gd name="connsiteX2" fmla="*/ 1145130 w 1646578"/>
                <a:gd name="connsiteY2" fmla="*/ 319042 h 462327"/>
                <a:gd name="connsiteX3" fmla="*/ 1646578 w 1646578"/>
                <a:gd name="connsiteY3" fmla="*/ 462327 h 462327"/>
                <a:gd name="connsiteX4" fmla="*/ 1186405 w 1646578"/>
                <a:gd name="connsiteY4" fmla="*/ 214217 h 462327"/>
                <a:gd name="connsiteX5" fmla="*/ 305556 w 1646578"/>
                <a:gd name="connsiteY5" fmla="*/ 78471 h 462327"/>
                <a:gd name="connsiteX6" fmla="*/ 8480 w 1646578"/>
                <a:gd name="connsiteY6" fmla="*/ 207867 h 462327"/>
                <a:gd name="connsiteX0" fmla="*/ 8480 w 1646578"/>
                <a:gd name="connsiteY0" fmla="*/ 207867 h 462327"/>
                <a:gd name="connsiteX1" fmla="*/ 312485 w 1646578"/>
                <a:gd name="connsiteY1" fmla="*/ 142440 h 462327"/>
                <a:gd name="connsiteX2" fmla="*/ 1145130 w 1646578"/>
                <a:gd name="connsiteY2" fmla="*/ 319042 h 462327"/>
                <a:gd name="connsiteX3" fmla="*/ 1646578 w 1646578"/>
                <a:gd name="connsiteY3" fmla="*/ 462327 h 462327"/>
                <a:gd name="connsiteX4" fmla="*/ 1198909 w 1646578"/>
                <a:gd name="connsiteY4" fmla="*/ 238679 h 462327"/>
                <a:gd name="connsiteX5" fmla="*/ 305556 w 1646578"/>
                <a:gd name="connsiteY5" fmla="*/ 78471 h 462327"/>
                <a:gd name="connsiteX6" fmla="*/ 8480 w 1646578"/>
                <a:gd name="connsiteY6" fmla="*/ 207867 h 462327"/>
                <a:gd name="connsiteX0" fmla="*/ 7917 w 1646015"/>
                <a:gd name="connsiteY0" fmla="*/ 201136 h 455596"/>
                <a:gd name="connsiteX1" fmla="*/ 311922 w 1646015"/>
                <a:gd name="connsiteY1" fmla="*/ 135709 h 455596"/>
                <a:gd name="connsiteX2" fmla="*/ 1144567 w 1646015"/>
                <a:gd name="connsiteY2" fmla="*/ 312311 h 455596"/>
                <a:gd name="connsiteX3" fmla="*/ 1646015 w 1646015"/>
                <a:gd name="connsiteY3" fmla="*/ 455596 h 455596"/>
                <a:gd name="connsiteX4" fmla="*/ 1198346 w 1646015"/>
                <a:gd name="connsiteY4" fmla="*/ 231948 h 455596"/>
                <a:gd name="connsiteX5" fmla="*/ 323750 w 1646015"/>
                <a:gd name="connsiteY5" fmla="*/ 82748 h 455596"/>
                <a:gd name="connsiteX6" fmla="*/ 7917 w 1646015"/>
                <a:gd name="connsiteY6" fmla="*/ 201136 h 455596"/>
                <a:gd name="connsiteX0" fmla="*/ 8295 w 1646393"/>
                <a:gd name="connsiteY0" fmla="*/ 200370 h 454830"/>
                <a:gd name="connsiteX1" fmla="*/ 312300 w 1646393"/>
                <a:gd name="connsiteY1" fmla="*/ 134943 h 454830"/>
                <a:gd name="connsiteX2" fmla="*/ 1144945 w 1646393"/>
                <a:gd name="connsiteY2" fmla="*/ 311545 h 454830"/>
                <a:gd name="connsiteX3" fmla="*/ 1646393 w 1646393"/>
                <a:gd name="connsiteY3" fmla="*/ 454830 h 454830"/>
                <a:gd name="connsiteX4" fmla="*/ 1198724 w 1646393"/>
                <a:gd name="connsiteY4" fmla="*/ 231182 h 454830"/>
                <a:gd name="connsiteX5" fmla="*/ 324128 w 1646393"/>
                <a:gd name="connsiteY5" fmla="*/ 81982 h 454830"/>
                <a:gd name="connsiteX6" fmla="*/ 8295 w 1646393"/>
                <a:gd name="connsiteY6" fmla="*/ 200370 h 454830"/>
                <a:gd name="connsiteX0" fmla="*/ 8295 w 1646393"/>
                <a:gd name="connsiteY0" fmla="*/ 200370 h 454830"/>
                <a:gd name="connsiteX1" fmla="*/ 312300 w 1646393"/>
                <a:gd name="connsiteY1" fmla="*/ 134943 h 454830"/>
                <a:gd name="connsiteX2" fmla="*/ 1144945 w 1646393"/>
                <a:gd name="connsiteY2" fmla="*/ 311545 h 454830"/>
                <a:gd name="connsiteX3" fmla="*/ 1646393 w 1646393"/>
                <a:gd name="connsiteY3" fmla="*/ 454830 h 454830"/>
                <a:gd name="connsiteX4" fmla="*/ 1198724 w 1646393"/>
                <a:gd name="connsiteY4" fmla="*/ 231182 h 454830"/>
                <a:gd name="connsiteX5" fmla="*/ 324128 w 1646393"/>
                <a:gd name="connsiteY5" fmla="*/ 81982 h 454830"/>
                <a:gd name="connsiteX6" fmla="*/ 8295 w 1646393"/>
                <a:gd name="connsiteY6" fmla="*/ 200370 h 454830"/>
                <a:gd name="connsiteX0" fmla="*/ 8295 w 1646393"/>
                <a:gd name="connsiteY0" fmla="*/ 200370 h 454830"/>
                <a:gd name="connsiteX1" fmla="*/ 312300 w 1646393"/>
                <a:gd name="connsiteY1" fmla="*/ 134943 h 454830"/>
                <a:gd name="connsiteX2" fmla="*/ 1144945 w 1646393"/>
                <a:gd name="connsiteY2" fmla="*/ 311545 h 454830"/>
                <a:gd name="connsiteX3" fmla="*/ 1646393 w 1646393"/>
                <a:gd name="connsiteY3" fmla="*/ 454830 h 454830"/>
                <a:gd name="connsiteX4" fmla="*/ 1198724 w 1646393"/>
                <a:gd name="connsiteY4" fmla="*/ 231182 h 454830"/>
                <a:gd name="connsiteX5" fmla="*/ 324128 w 1646393"/>
                <a:gd name="connsiteY5" fmla="*/ 81982 h 454830"/>
                <a:gd name="connsiteX6" fmla="*/ 8295 w 1646393"/>
                <a:gd name="connsiteY6" fmla="*/ 200370 h 454830"/>
                <a:gd name="connsiteX0" fmla="*/ 8295 w 1646393"/>
                <a:gd name="connsiteY0" fmla="*/ 200370 h 454830"/>
                <a:gd name="connsiteX1" fmla="*/ 312300 w 1646393"/>
                <a:gd name="connsiteY1" fmla="*/ 134943 h 454830"/>
                <a:gd name="connsiteX2" fmla="*/ 1144945 w 1646393"/>
                <a:gd name="connsiteY2" fmla="*/ 311545 h 454830"/>
                <a:gd name="connsiteX3" fmla="*/ 1646393 w 1646393"/>
                <a:gd name="connsiteY3" fmla="*/ 454830 h 454830"/>
                <a:gd name="connsiteX4" fmla="*/ 1198724 w 1646393"/>
                <a:gd name="connsiteY4" fmla="*/ 231182 h 454830"/>
                <a:gd name="connsiteX5" fmla="*/ 324128 w 1646393"/>
                <a:gd name="connsiteY5" fmla="*/ 81982 h 454830"/>
                <a:gd name="connsiteX6" fmla="*/ 8295 w 1646393"/>
                <a:gd name="connsiteY6" fmla="*/ 200370 h 454830"/>
                <a:gd name="connsiteX0" fmla="*/ 8295 w 1646393"/>
                <a:gd name="connsiteY0" fmla="*/ 200370 h 454830"/>
                <a:gd name="connsiteX1" fmla="*/ 312300 w 1646393"/>
                <a:gd name="connsiteY1" fmla="*/ 134943 h 454830"/>
                <a:gd name="connsiteX2" fmla="*/ 547329 w 1646393"/>
                <a:gd name="connsiteY2" fmla="*/ 306941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47329 w 1646393"/>
                <a:gd name="connsiteY2" fmla="*/ 306941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47329 w 1646393"/>
                <a:gd name="connsiteY2" fmla="*/ 306941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47329 w 1646393"/>
                <a:gd name="connsiteY2" fmla="*/ 306941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83503 w 1646393"/>
                <a:gd name="connsiteY2" fmla="*/ 316114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83503 w 1646393"/>
                <a:gd name="connsiteY2" fmla="*/ 316114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83503 w 1646393"/>
                <a:gd name="connsiteY2" fmla="*/ 316114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83503 w 1646393"/>
                <a:gd name="connsiteY2" fmla="*/ 316114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46393" h="454830">
                  <a:moveTo>
                    <a:pt x="8295" y="200370"/>
                  </a:moveTo>
                  <a:cubicBezTo>
                    <a:pt x="26287" y="182378"/>
                    <a:pt x="-22389" y="-76704"/>
                    <a:pt x="312300" y="134943"/>
                  </a:cubicBezTo>
                  <a:cubicBezTo>
                    <a:pt x="413304" y="203768"/>
                    <a:pt x="460807" y="246318"/>
                    <a:pt x="583503" y="316114"/>
                  </a:cubicBezTo>
                  <a:cubicBezTo>
                    <a:pt x="840177" y="475806"/>
                    <a:pt x="1022504" y="350802"/>
                    <a:pt x="1144945" y="311545"/>
                  </a:cubicBezTo>
                  <a:cubicBezTo>
                    <a:pt x="1307928" y="241695"/>
                    <a:pt x="1469426" y="330368"/>
                    <a:pt x="1646393" y="454830"/>
                  </a:cubicBezTo>
                  <a:cubicBezTo>
                    <a:pt x="1576543" y="405088"/>
                    <a:pt x="1417799" y="185674"/>
                    <a:pt x="1198724" y="231182"/>
                  </a:cubicBezTo>
                  <a:cubicBezTo>
                    <a:pt x="733057" y="379349"/>
                    <a:pt x="817456" y="395171"/>
                    <a:pt x="324128" y="81982"/>
                  </a:cubicBezTo>
                  <a:cubicBezTo>
                    <a:pt x="175775" y="-32162"/>
                    <a:pt x="-45680" y="-55747"/>
                    <a:pt x="8295" y="20037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545" name="Freeform 544"/>
            <p:cNvSpPr/>
            <p:nvPr/>
          </p:nvSpPr>
          <p:spPr>
            <a:xfrm>
              <a:off x="6408501" y="1253798"/>
              <a:ext cx="1662350" cy="311416"/>
            </a:xfrm>
            <a:custGeom>
              <a:avLst/>
              <a:gdLst>
                <a:gd name="connsiteX0" fmla="*/ 0 w 1654175"/>
                <a:gd name="connsiteY0" fmla="*/ 158750 h 276225"/>
                <a:gd name="connsiteX1" fmla="*/ 311150 w 1654175"/>
                <a:gd name="connsiteY1" fmla="*/ 76200 h 276225"/>
                <a:gd name="connsiteX2" fmla="*/ 1136650 w 1654175"/>
                <a:gd name="connsiteY2" fmla="*/ 238125 h 276225"/>
                <a:gd name="connsiteX3" fmla="*/ 1654175 w 1654175"/>
                <a:gd name="connsiteY3" fmla="*/ 276225 h 276225"/>
                <a:gd name="connsiteX4" fmla="*/ 1177925 w 1654175"/>
                <a:gd name="connsiteY4" fmla="*/ 165100 h 276225"/>
                <a:gd name="connsiteX5" fmla="*/ 238125 w 1654175"/>
                <a:gd name="connsiteY5" fmla="*/ 0 h 276225"/>
                <a:gd name="connsiteX6" fmla="*/ 0 w 1654175"/>
                <a:gd name="connsiteY6" fmla="*/ 158750 h 276225"/>
                <a:gd name="connsiteX0" fmla="*/ 8663 w 1662838"/>
                <a:gd name="connsiteY0" fmla="*/ 158750 h 276225"/>
                <a:gd name="connsiteX1" fmla="*/ 319813 w 1662838"/>
                <a:gd name="connsiteY1" fmla="*/ 76200 h 276225"/>
                <a:gd name="connsiteX2" fmla="*/ 1145313 w 1662838"/>
                <a:gd name="connsiteY2" fmla="*/ 238125 h 276225"/>
                <a:gd name="connsiteX3" fmla="*/ 1662838 w 1662838"/>
                <a:gd name="connsiteY3" fmla="*/ 276225 h 276225"/>
                <a:gd name="connsiteX4" fmla="*/ 1186588 w 1662838"/>
                <a:gd name="connsiteY4" fmla="*/ 165100 h 276225"/>
                <a:gd name="connsiteX5" fmla="*/ 246788 w 1662838"/>
                <a:gd name="connsiteY5" fmla="*/ 0 h 276225"/>
                <a:gd name="connsiteX6" fmla="*/ 8663 w 1662838"/>
                <a:gd name="connsiteY6" fmla="*/ 158750 h 276225"/>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528"/>
                <a:gd name="connsiteX1" fmla="*/ 319612 w 1662637"/>
                <a:gd name="connsiteY1" fmla="*/ 104203 h 304528"/>
                <a:gd name="connsiteX2" fmla="*/ 1145112 w 1662637"/>
                <a:gd name="connsiteY2" fmla="*/ 266128 h 304528"/>
                <a:gd name="connsiteX3" fmla="*/ 1662637 w 1662637"/>
                <a:gd name="connsiteY3" fmla="*/ 304228 h 304528"/>
                <a:gd name="connsiteX4" fmla="*/ 1186387 w 1662637"/>
                <a:gd name="connsiteY4" fmla="*/ 193103 h 304528"/>
                <a:gd name="connsiteX5" fmla="*/ 246587 w 1662637"/>
                <a:gd name="connsiteY5" fmla="*/ 28003 h 304528"/>
                <a:gd name="connsiteX6" fmla="*/ 8462 w 1662637"/>
                <a:gd name="connsiteY6" fmla="*/ 186753 h 304528"/>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2350" h="311416">
                  <a:moveTo>
                    <a:pt x="8175" y="190827"/>
                  </a:moveTo>
                  <a:cubicBezTo>
                    <a:pt x="26167" y="172835"/>
                    <a:pt x="-51092" y="-64231"/>
                    <a:pt x="319325" y="108277"/>
                  </a:cubicBezTo>
                  <a:cubicBezTo>
                    <a:pt x="470667" y="187652"/>
                    <a:pt x="733133" y="400377"/>
                    <a:pt x="1144825" y="270202"/>
                  </a:cubicBezTo>
                  <a:cubicBezTo>
                    <a:pt x="1307808" y="200352"/>
                    <a:pt x="1461267" y="200352"/>
                    <a:pt x="1662350" y="308302"/>
                  </a:cubicBezTo>
                  <a:cubicBezTo>
                    <a:pt x="1592500" y="258560"/>
                    <a:pt x="1405175" y="151669"/>
                    <a:pt x="1186100" y="197177"/>
                  </a:cubicBezTo>
                  <a:cubicBezTo>
                    <a:pt x="720433" y="345344"/>
                    <a:pt x="623067" y="188710"/>
                    <a:pt x="246300" y="32077"/>
                  </a:cubicBezTo>
                  <a:cubicBezTo>
                    <a:pt x="182800" y="-731"/>
                    <a:pt x="-45800" y="-65290"/>
                    <a:pt x="8175" y="19082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sp>
        <p:nvSpPr>
          <p:cNvPr id="508" name="Text Placeholder 6"/>
          <p:cNvSpPr txBox="1">
            <a:spLocks/>
          </p:cNvSpPr>
          <p:nvPr/>
        </p:nvSpPr>
        <p:spPr>
          <a:xfrm>
            <a:off x="8389559" y="142996"/>
            <a:ext cx="3361765" cy="373063"/>
          </a:xfrm>
          <a:prstGeom prst="rect">
            <a:avLst/>
          </a:prstGeom>
        </p:spPr>
        <p:txBody>
          <a:bodyPr vert="horz" lIns="320040" tIns="53325" rIns="53325" bIns="53325" rtlCol="0">
            <a:noAutofit/>
          </a:bodyPr>
          <a:lstStyle>
            <a:lvl1pPr marL="0" indent="0" algn="l" defTabSz="1088105" rtl="0" eaLnBrk="1" latinLnBrk="0" hangingPunct="1">
              <a:spcBef>
                <a:spcPts val="1800"/>
              </a:spcBef>
              <a:buClr>
                <a:srgbClr val="0072C6"/>
              </a:buClr>
              <a:buSzPct val="100000"/>
              <a:buFont typeface="Wingdings" pitchFamily="2" charset="2"/>
              <a:buNone/>
              <a:defRPr sz="2800" kern="1200">
                <a:solidFill>
                  <a:schemeClr val="tx1"/>
                </a:solidFill>
                <a:latin typeface="Segoe UI Light" pitchFamily="34" charset="0"/>
                <a:ea typeface="Segoe UI" pitchFamily="34" charset="0"/>
                <a:cs typeface="Segoe UI" pitchFamily="34" charset="0"/>
              </a:defRPr>
            </a:lvl1pPr>
            <a:lvl2pPr marL="281674" indent="0" algn="l" defTabSz="1088105" rtl="0" eaLnBrk="1" latinLnBrk="0" hangingPunct="1">
              <a:spcBef>
                <a:spcPct val="20000"/>
              </a:spcBef>
              <a:buFont typeface="Arial" pitchFamily="34" charset="0"/>
              <a:buNone/>
              <a:defRPr sz="1800" kern="1200">
                <a:solidFill>
                  <a:schemeClr val="tx1"/>
                </a:solidFill>
                <a:latin typeface="Segoe UI" pitchFamily="34" charset="0"/>
                <a:ea typeface="Segoe UI" pitchFamily="34" charset="0"/>
                <a:cs typeface="Segoe UI" pitchFamily="34" charset="0"/>
              </a:defRPr>
            </a:lvl2pPr>
            <a:lvl3pPr marL="588476" indent="0" algn="l" defTabSz="1088105" rtl="0" eaLnBrk="1" latinLnBrk="0" hangingPunct="1">
              <a:spcBef>
                <a:spcPct val="20000"/>
              </a:spcBef>
              <a:buFont typeface="Arial" pitchFamily="34" charset="0"/>
              <a:buNone/>
              <a:defRPr sz="1600" kern="1200">
                <a:solidFill>
                  <a:schemeClr val="tx1"/>
                </a:solidFill>
                <a:latin typeface="Segoe UI" pitchFamily="34" charset="0"/>
                <a:ea typeface="Segoe UI" pitchFamily="34" charset="0"/>
                <a:cs typeface="Segoe UI" pitchFamily="34" charset="0"/>
              </a:defRPr>
            </a:lvl3pPr>
            <a:lvl4pPr marL="87015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4pPr>
            <a:lvl5pPr marL="110554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marL="0" marR="0" lvl="0" indent="0" algn="l" defTabSz="1088105" rtl="0" eaLnBrk="1" fontAlgn="auto" latinLnBrk="0" hangingPunct="1">
              <a:lnSpc>
                <a:spcPct val="100000"/>
              </a:lnSpc>
              <a:spcBef>
                <a:spcPts val="1800"/>
              </a:spcBef>
              <a:spcAft>
                <a:spcPts val="0"/>
              </a:spcAft>
              <a:buClr>
                <a:srgbClr val="0072C6"/>
              </a:buClr>
              <a:buSzPct val="100000"/>
              <a:buFont typeface="Wingdings" pitchFamily="2" charset="2"/>
              <a:buNone/>
              <a:tabLst/>
              <a:defRPr/>
            </a:pPr>
            <a:r>
              <a:rPr kumimoji="0" lang="en-US" sz="2800" b="0" i="0" u="none" strike="noStrike" kern="1200" cap="none" spc="0" normalizeH="0" baseline="0" noProof="0">
                <a:ln>
                  <a:noFill/>
                </a:ln>
                <a:solidFill>
                  <a:srgbClr val="505050"/>
                </a:solidFill>
                <a:effectLst/>
                <a:uLnTx/>
                <a:uFillTx/>
                <a:latin typeface="Segoe UI Light" pitchFamily="34" charset="0"/>
                <a:cs typeface="Segoe UI" pitchFamily="34" charset="0"/>
              </a:rPr>
              <a:t>Solution Storyboard</a:t>
            </a:r>
          </a:p>
        </p:txBody>
      </p:sp>
      <p:sp>
        <p:nvSpPr>
          <p:cNvPr id="552" name="Text Box 4">
            <a:extLst>
              <a:ext uri="{FF2B5EF4-FFF2-40B4-BE49-F238E27FC236}">
                <a16:creationId xmlns:a16="http://schemas.microsoft.com/office/drawing/2014/main" id="{898FDF01-0ADA-40EF-AD51-E9231BEBE64B}"/>
              </a:ext>
            </a:extLst>
          </p:cNvPr>
          <p:cNvSpPr txBox="1">
            <a:spLocks noChangeArrowheads="1"/>
          </p:cNvSpPr>
          <p:nvPr/>
        </p:nvSpPr>
        <p:spPr bwMode="gray">
          <a:xfrm>
            <a:off x="4258822" y="1687869"/>
            <a:ext cx="3657600" cy="2560320"/>
          </a:xfrm>
          <a:prstGeom prst="rect">
            <a:avLst/>
          </a:prstGeom>
          <a:solidFill>
            <a:schemeClr val="bg1"/>
          </a:solidFill>
          <a:ln w="3175" cap="flat" cmpd="sng" algn="ctr">
            <a:solidFill>
              <a:schemeClr val="bg1">
                <a:lumMod val="75000"/>
              </a:schemeClr>
            </a:solid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685645" rtl="0" eaLnBrk="1" fontAlgn="auto" latinLnBrk="0" hangingPunct="1">
              <a:lnSpc>
                <a:spcPct val="100000"/>
              </a:lnSpc>
              <a:spcBef>
                <a:spcPts val="0"/>
              </a:spcBef>
              <a:spcAft>
                <a:spcPts val="0"/>
              </a:spcAft>
              <a:buClrTx/>
              <a:buSzTx/>
              <a:buFontTx/>
              <a:buNone/>
              <a:tabLst/>
              <a:defRPr/>
            </a:pPr>
            <a:r>
              <a:rPr kumimoji="0" lang="en-IN" sz="140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Cognitive interaction</a:t>
            </a:r>
          </a:p>
        </p:txBody>
      </p:sp>
      <p:sp>
        <p:nvSpPr>
          <p:cNvPr id="569" name="Rectangle 568">
            <a:extLst>
              <a:ext uri="{FF2B5EF4-FFF2-40B4-BE49-F238E27FC236}">
                <a16:creationId xmlns:a16="http://schemas.microsoft.com/office/drawing/2014/main" id="{0051DD80-86E7-4C82-B5B2-234B35736516}"/>
              </a:ext>
            </a:extLst>
          </p:cNvPr>
          <p:cNvSpPr/>
          <p:nvPr/>
        </p:nvSpPr>
        <p:spPr bwMode="auto">
          <a:xfrm>
            <a:off x="10195907" y="2692993"/>
            <a:ext cx="880049" cy="276999"/>
          </a:xfrm>
          <a:prstGeom prst="rect">
            <a:avLst/>
          </a:prstGeom>
          <a:noFill/>
          <a:ln w="9525" cap="flat" cmpd="sng" algn="ctr">
            <a:noFill/>
            <a:prstDash val="sysDot"/>
            <a:headEnd type="none" w="med" len="med"/>
            <a:tailEnd type="none" w="med" len="med"/>
          </a:ln>
          <a:effectLst/>
        </p:spPr>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marL="0" marR="0" lvl="0" indent="0" algn="ctr" defTabSz="60888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505050"/>
                </a:solidFill>
                <a:effectLst/>
                <a:uLnTx/>
                <a:uFillTx/>
                <a:latin typeface="Segoe UI"/>
                <a:ea typeface="+mn-ea"/>
                <a:cs typeface="+mn-cs"/>
              </a:rPr>
              <a:t>Reduced waste  </a:t>
            </a:r>
            <a:br>
              <a:rPr kumimoji="0" lang="en-US" sz="900" b="0" i="0" u="none" strike="noStrike" kern="0" cap="none" spc="0" normalizeH="0" baseline="0" noProof="0" dirty="0">
                <a:ln>
                  <a:noFill/>
                </a:ln>
                <a:solidFill>
                  <a:srgbClr val="505050"/>
                </a:solidFill>
                <a:effectLst/>
                <a:uLnTx/>
                <a:uFillTx/>
                <a:latin typeface="Segoe UI"/>
                <a:ea typeface="+mn-ea"/>
                <a:cs typeface="+mn-cs"/>
              </a:rPr>
            </a:br>
            <a:r>
              <a:rPr kumimoji="0" lang="en-US" sz="900" b="0" i="0" u="none" strike="noStrike" kern="0" cap="none" spc="0" normalizeH="0" baseline="0" noProof="0" dirty="0">
                <a:ln>
                  <a:noFill/>
                </a:ln>
                <a:solidFill>
                  <a:srgbClr val="505050"/>
                </a:solidFill>
                <a:effectLst/>
                <a:uLnTx/>
                <a:uFillTx/>
                <a:latin typeface="Segoe UI"/>
                <a:ea typeface="+mn-ea"/>
                <a:cs typeface="+mn-cs"/>
              </a:rPr>
              <a:t>and Inefficiencies</a:t>
            </a:r>
          </a:p>
        </p:txBody>
      </p:sp>
      <p:sp>
        <p:nvSpPr>
          <p:cNvPr id="118" name="Rectangle 117">
            <a:extLst>
              <a:ext uri="{FF2B5EF4-FFF2-40B4-BE49-F238E27FC236}">
                <a16:creationId xmlns:a16="http://schemas.microsoft.com/office/drawing/2014/main" id="{74E9E588-63D9-4DFD-AE42-4D82F304AFB7}"/>
              </a:ext>
            </a:extLst>
          </p:cNvPr>
          <p:cNvSpPr/>
          <p:nvPr/>
        </p:nvSpPr>
        <p:spPr bwMode="auto">
          <a:xfrm>
            <a:off x="1707522" y="2803054"/>
            <a:ext cx="931345" cy="276999"/>
          </a:xfrm>
          <a:prstGeom prst="rect">
            <a:avLst/>
          </a:prstGeom>
          <a:noFill/>
          <a:ln w="9525" cap="flat" cmpd="sng" algn="ctr">
            <a:noFill/>
            <a:prstDash val="sysDot"/>
            <a:headEnd type="none" w="med" len="med"/>
            <a:tailEnd type="none" w="med" len="med"/>
          </a:ln>
          <a:effectLst/>
        </p:spPr>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marL="0" marR="0" lvl="0" indent="0" algn="ctr" defTabSz="60888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505050"/>
                </a:solidFill>
                <a:effectLst/>
                <a:uLnTx/>
                <a:uFillTx/>
                <a:latin typeface="Segoe UI"/>
                <a:ea typeface="+mn-ea"/>
                <a:cs typeface="+mn-cs"/>
              </a:rPr>
              <a:t>Shared </a:t>
            </a:r>
            <a:br>
              <a:rPr kumimoji="0" lang="en-US" sz="900" b="0" i="0" u="none" strike="noStrike" kern="0" cap="none" spc="0" normalizeH="0" baseline="0" noProof="0" dirty="0">
                <a:ln>
                  <a:noFill/>
                </a:ln>
                <a:solidFill>
                  <a:srgbClr val="505050"/>
                </a:solidFill>
                <a:effectLst/>
                <a:uLnTx/>
                <a:uFillTx/>
                <a:latin typeface="Segoe UI"/>
                <a:ea typeface="+mn-ea"/>
                <a:cs typeface="+mn-cs"/>
              </a:rPr>
            </a:br>
            <a:r>
              <a:rPr kumimoji="0" lang="en-US" sz="900" b="0" i="0" u="none" strike="noStrike" kern="0" cap="none" spc="0" normalizeH="0" baseline="0" noProof="0" dirty="0">
                <a:ln>
                  <a:noFill/>
                </a:ln>
                <a:solidFill>
                  <a:srgbClr val="505050"/>
                </a:solidFill>
                <a:effectLst/>
                <a:uLnTx/>
                <a:uFillTx/>
                <a:latin typeface="Segoe UI"/>
                <a:ea typeface="+mn-ea"/>
                <a:cs typeface="+mn-cs"/>
              </a:rPr>
              <a:t>production spaces</a:t>
            </a:r>
          </a:p>
        </p:txBody>
      </p:sp>
      <p:sp>
        <p:nvSpPr>
          <p:cNvPr id="120" name="Rectangle 119">
            <a:extLst>
              <a:ext uri="{FF2B5EF4-FFF2-40B4-BE49-F238E27FC236}">
                <a16:creationId xmlns:a16="http://schemas.microsoft.com/office/drawing/2014/main" id="{4E248D59-D509-44BC-8D5D-2960AA6B045A}"/>
              </a:ext>
            </a:extLst>
          </p:cNvPr>
          <p:cNvSpPr/>
          <p:nvPr/>
        </p:nvSpPr>
        <p:spPr bwMode="auto">
          <a:xfrm>
            <a:off x="9456150" y="2683725"/>
            <a:ext cx="448841" cy="276999"/>
          </a:xfrm>
          <a:prstGeom prst="rect">
            <a:avLst/>
          </a:prstGeom>
          <a:noFill/>
          <a:ln w="9525" cap="flat" cmpd="sng" algn="ctr">
            <a:noFill/>
            <a:prstDash val="sysDot"/>
            <a:headEnd type="none" w="med" len="med"/>
            <a:tailEnd type="none" w="med" len="med"/>
          </a:ln>
          <a:effectLst/>
        </p:spPr>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marL="0" marR="0" lvl="0" indent="0" algn="ctr" defTabSz="60888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505050"/>
                </a:solidFill>
                <a:effectLst/>
                <a:uLnTx/>
                <a:uFillTx/>
                <a:latin typeface="Segoe UI"/>
                <a:ea typeface="+mn-ea"/>
                <a:cs typeface="+mn-cs"/>
              </a:rPr>
              <a:t>Greater </a:t>
            </a:r>
            <a:br>
              <a:rPr kumimoji="0" lang="en-US" sz="900" b="0" i="0" u="none" strike="noStrike" kern="0" cap="none" spc="0" normalizeH="0" baseline="0" noProof="0" dirty="0">
                <a:ln>
                  <a:noFill/>
                </a:ln>
                <a:solidFill>
                  <a:srgbClr val="505050"/>
                </a:solidFill>
                <a:effectLst/>
                <a:uLnTx/>
                <a:uFillTx/>
                <a:latin typeface="Segoe UI"/>
                <a:ea typeface="+mn-ea"/>
                <a:cs typeface="+mn-cs"/>
              </a:rPr>
            </a:br>
            <a:r>
              <a:rPr kumimoji="0" lang="en-US" sz="900" b="0" i="0" u="none" strike="noStrike" kern="0" cap="none" spc="0" normalizeH="0" baseline="0" noProof="0" dirty="0">
                <a:ln>
                  <a:noFill/>
                </a:ln>
                <a:solidFill>
                  <a:srgbClr val="505050"/>
                </a:solidFill>
                <a:effectLst/>
                <a:uLnTx/>
                <a:uFillTx/>
                <a:latin typeface="Segoe UI"/>
                <a:ea typeface="+mn-ea"/>
                <a:cs typeface="+mn-cs"/>
              </a:rPr>
              <a:t>flexibility</a:t>
            </a:r>
          </a:p>
        </p:txBody>
      </p:sp>
      <p:sp>
        <p:nvSpPr>
          <p:cNvPr id="121" name="Rectangle 120">
            <a:extLst>
              <a:ext uri="{FF2B5EF4-FFF2-40B4-BE49-F238E27FC236}">
                <a16:creationId xmlns:a16="http://schemas.microsoft.com/office/drawing/2014/main" id="{245AA14D-BD6F-43C1-BD2B-588AA47D06F5}"/>
              </a:ext>
            </a:extLst>
          </p:cNvPr>
          <p:cNvSpPr/>
          <p:nvPr/>
        </p:nvSpPr>
        <p:spPr bwMode="auto">
          <a:xfrm>
            <a:off x="7004785" y="2934067"/>
            <a:ext cx="395942" cy="276999"/>
          </a:xfrm>
          <a:prstGeom prst="rect">
            <a:avLst/>
          </a:prstGeom>
          <a:noFill/>
          <a:ln w="9525" cap="flat" cmpd="sng" algn="ctr">
            <a:noFill/>
            <a:prstDash val="sysDot"/>
            <a:headEnd type="none" w="med" len="med"/>
            <a:tailEnd type="none" w="med" len="med"/>
          </a:ln>
          <a:effectLst/>
        </p:spPr>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marL="0" marR="0" lvl="0" indent="0" algn="ctr" defTabSz="60888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505050"/>
                </a:solidFill>
                <a:effectLst/>
                <a:uLnTx/>
                <a:uFillTx/>
                <a:latin typeface="Segoe UI"/>
                <a:ea typeface="+mn-ea"/>
                <a:cs typeface="+mn-cs"/>
              </a:rPr>
              <a:t>Ease of </a:t>
            </a:r>
            <a:br>
              <a:rPr kumimoji="0" lang="en-US" sz="900" b="0" i="0" u="none" strike="noStrike" kern="0" cap="none" spc="0" normalizeH="0" baseline="0" noProof="0" dirty="0">
                <a:ln>
                  <a:noFill/>
                </a:ln>
                <a:solidFill>
                  <a:srgbClr val="505050"/>
                </a:solidFill>
                <a:effectLst/>
                <a:uLnTx/>
                <a:uFillTx/>
                <a:latin typeface="Segoe UI"/>
                <a:ea typeface="+mn-ea"/>
                <a:cs typeface="+mn-cs"/>
              </a:rPr>
            </a:br>
            <a:r>
              <a:rPr kumimoji="0" lang="en-US" sz="900" b="0" i="0" u="none" strike="noStrike" kern="0" cap="none" spc="0" normalizeH="0" baseline="0" noProof="0" dirty="0">
                <a:ln>
                  <a:noFill/>
                </a:ln>
                <a:solidFill>
                  <a:srgbClr val="505050"/>
                </a:solidFill>
                <a:effectLst/>
                <a:uLnTx/>
                <a:uFillTx/>
                <a:latin typeface="Segoe UI"/>
                <a:ea typeface="+mn-ea"/>
                <a:cs typeface="+mn-cs"/>
              </a:rPr>
              <a:t>use</a:t>
            </a:r>
          </a:p>
        </p:txBody>
      </p:sp>
      <p:sp>
        <p:nvSpPr>
          <p:cNvPr id="127" name="Rectangle 126">
            <a:extLst>
              <a:ext uri="{FF2B5EF4-FFF2-40B4-BE49-F238E27FC236}">
                <a16:creationId xmlns:a16="http://schemas.microsoft.com/office/drawing/2014/main" id="{278FE539-0258-4931-A624-41B890A74DB7}"/>
              </a:ext>
            </a:extLst>
          </p:cNvPr>
          <p:cNvSpPr/>
          <p:nvPr/>
        </p:nvSpPr>
        <p:spPr bwMode="auto">
          <a:xfrm>
            <a:off x="4678933" y="2913169"/>
            <a:ext cx="386324" cy="276999"/>
          </a:xfrm>
          <a:prstGeom prst="rect">
            <a:avLst/>
          </a:prstGeom>
          <a:noFill/>
          <a:ln w="9525" cap="flat" cmpd="sng" algn="ctr">
            <a:noFill/>
            <a:prstDash val="sysDot"/>
            <a:headEnd type="none" w="med" len="med"/>
            <a:tailEnd type="none" w="med" len="med"/>
          </a:ln>
          <a:effectLst/>
        </p:spPr>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marL="0" marR="0" lvl="0" indent="0" algn="l" defTabSz="60888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505050"/>
                </a:solidFill>
                <a:effectLst/>
                <a:uLnTx/>
                <a:uFillTx/>
                <a:latin typeface="Segoe UI"/>
                <a:ea typeface="+mn-ea"/>
                <a:cs typeface="+mn-cs"/>
              </a:rPr>
              <a:t>Shared </a:t>
            </a:r>
            <a:br>
              <a:rPr kumimoji="0" lang="en-US" sz="900" b="0" i="0" u="none" strike="noStrike" kern="0" cap="none" spc="0" normalizeH="0" baseline="0" noProof="0" dirty="0">
                <a:ln>
                  <a:noFill/>
                </a:ln>
                <a:solidFill>
                  <a:srgbClr val="505050"/>
                </a:solidFill>
                <a:effectLst/>
                <a:uLnTx/>
                <a:uFillTx/>
                <a:latin typeface="Segoe UI"/>
                <a:ea typeface="+mn-ea"/>
                <a:cs typeface="+mn-cs"/>
              </a:rPr>
            </a:br>
            <a:r>
              <a:rPr kumimoji="0" lang="en-US" sz="900" b="0" i="0" u="none" strike="noStrike" kern="0" cap="none" spc="0" normalizeH="0" baseline="0" noProof="0" dirty="0">
                <a:ln>
                  <a:noFill/>
                </a:ln>
                <a:solidFill>
                  <a:srgbClr val="505050"/>
                </a:solidFill>
                <a:effectLst/>
                <a:uLnTx/>
                <a:uFillTx/>
                <a:latin typeface="Segoe UI"/>
                <a:ea typeface="+mn-ea"/>
                <a:cs typeface="+mn-cs"/>
              </a:rPr>
              <a:t>control</a:t>
            </a:r>
          </a:p>
        </p:txBody>
      </p:sp>
      <p:grpSp>
        <p:nvGrpSpPr>
          <p:cNvPr id="143" name="Group 142">
            <a:extLst>
              <a:ext uri="{FF2B5EF4-FFF2-40B4-BE49-F238E27FC236}">
                <a16:creationId xmlns:a16="http://schemas.microsoft.com/office/drawing/2014/main" id="{BFE332CB-7FCB-4A13-B002-1DEE9F83DE8C}"/>
              </a:ext>
            </a:extLst>
          </p:cNvPr>
          <p:cNvGrpSpPr/>
          <p:nvPr/>
        </p:nvGrpSpPr>
        <p:grpSpPr>
          <a:xfrm rot="12600000">
            <a:off x="5565245" y="3022786"/>
            <a:ext cx="70235" cy="117337"/>
            <a:chOff x="2687372" y="3149601"/>
            <a:chExt cx="81465" cy="132564"/>
          </a:xfrm>
          <a:solidFill>
            <a:srgbClr val="5E83BD"/>
          </a:solidFill>
        </p:grpSpPr>
        <p:sp>
          <p:nvSpPr>
            <p:cNvPr id="144" name="Freeform 75">
              <a:extLst>
                <a:ext uri="{FF2B5EF4-FFF2-40B4-BE49-F238E27FC236}">
                  <a16:creationId xmlns:a16="http://schemas.microsoft.com/office/drawing/2014/main" id="{BFB2238A-1E35-4A44-AEBA-0A7F81D4C313}"/>
                </a:ext>
              </a:extLst>
            </p:cNvPr>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199" b="0" i="0" u="none" strike="noStrike" kern="1200" cap="none" spc="0" normalizeH="0" baseline="0" noProof="0">
                <a:ln>
                  <a:noFill/>
                </a:ln>
                <a:solidFill>
                  <a:srgbClr val="000000"/>
                </a:solidFill>
                <a:effectLst/>
                <a:uLnTx/>
                <a:uFillTx/>
                <a:latin typeface="Segoe UI"/>
                <a:ea typeface="+mn-ea"/>
                <a:cs typeface="+mn-cs"/>
              </a:endParaRPr>
            </a:p>
          </p:txBody>
        </p:sp>
        <p:sp>
          <p:nvSpPr>
            <p:cNvPr id="145" name="Freeform 76">
              <a:extLst>
                <a:ext uri="{FF2B5EF4-FFF2-40B4-BE49-F238E27FC236}">
                  <a16:creationId xmlns:a16="http://schemas.microsoft.com/office/drawing/2014/main" id="{0D4B871B-647D-49B7-9432-2A80996EC173}"/>
                </a:ext>
              </a:extLst>
            </p:cNvPr>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199" b="0" i="0" u="none" strike="noStrike" kern="1200" cap="none" spc="0" normalizeH="0" baseline="0" noProof="0">
                <a:ln>
                  <a:noFill/>
                </a:ln>
                <a:solidFill>
                  <a:srgbClr val="000000"/>
                </a:solidFill>
                <a:effectLst/>
                <a:uLnTx/>
                <a:uFillTx/>
                <a:latin typeface="Segoe UI"/>
                <a:ea typeface="+mn-ea"/>
                <a:cs typeface="+mn-cs"/>
              </a:endParaRPr>
            </a:p>
          </p:txBody>
        </p:sp>
        <p:sp>
          <p:nvSpPr>
            <p:cNvPr id="146" name="Freeform 77">
              <a:extLst>
                <a:ext uri="{FF2B5EF4-FFF2-40B4-BE49-F238E27FC236}">
                  <a16:creationId xmlns:a16="http://schemas.microsoft.com/office/drawing/2014/main" id="{FCE6E10D-7A3C-4520-98B3-1039DC916A3B}"/>
                </a:ext>
              </a:extLst>
            </p:cNvPr>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199" b="0" i="0" u="none" strike="noStrike" kern="1200" cap="none" spc="0" normalizeH="0" baseline="0" noProof="0">
                <a:ln>
                  <a:noFill/>
                </a:ln>
                <a:solidFill>
                  <a:srgbClr val="000000"/>
                </a:solidFill>
                <a:effectLst/>
                <a:uLnTx/>
                <a:uFillTx/>
                <a:latin typeface="Segoe UI"/>
                <a:ea typeface="+mn-ea"/>
                <a:cs typeface="+mn-cs"/>
              </a:endParaRPr>
            </a:p>
          </p:txBody>
        </p:sp>
        <p:sp>
          <p:nvSpPr>
            <p:cNvPr id="147" name="Freeform 78">
              <a:extLst>
                <a:ext uri="{FF2B5EF4-FFF2-40B4-BE49-F238E27FC236}">
                  <a16:creationId xmlns:a16="http://schemas.microsoft.com/office/drawing/2014/main" id="{9A96C1A4-1A52-454A-B14E-1431D390817A}"/>
                </a:ext>
              </a:extLst>
            </p:cNvPr>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199" b="0" i="0" u="none" strike="noStrike" kern="1200" cap="none" spc="0" normalizeH="0" baseline="0" noProof="0">
                <a:ln>
                  <a:noFill/>
                </a:ln>
                <a:solidFill>
                  <a:srgbClr val="000000"/>
                </a:solidFill>
                <a:effectLst/>
                <a:uLnTx/>
                <a:uFillTx/>
                <a:latin typeface="Segoe UI"/>
                <a:ea typeface="+mn-ea"/>
                <a:cs typeface="+mn-cs"/>
              </a:endParaRPr>
            </a:p>
          </p:txBody>
        </p:sp>
        <p:sp>
          <p:nvSpPr>
            <p:cNvPr id="148" name="Freeform 79">
              <a:extLst>
                <a:ext uri="{FF2B5EF4-FFF2-40B4-BE49-F238E27FC236}">
                  <a16:creationId xmlns:a16="http://schemas.microsoft.com/office/drawing/2014/main" id="{C5F96A9B-ECEE-4F07-A252-B1539DCC1AF7}"/>
                </a:ext>
              </a:extLst>
            </p:cNvPr>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199" b="0" i="0" u="none" strike="noStrike" kern="1200" cap="none" spc="0" normalizeH="0" baseline="0" noProof="0">
                <a:ln>
                  <a:noFill/>
                </a:ln>
                <a:solidFill>
                  <a:srgbClr val="000000"/>
                </a:solidFill>
                <a:effectLst/>
                <a:uLnTx/>
                <a:uFillTx/>
                <a:latin typeface="Segoe UI"/>
                <a:ea typeface="+mn-ea"/>
                <a:cs typeface="+mn-cs"/>
              </a:endParaRPr>
            </a:p>
          </p:txBody>
        </p:sp>
        <p:sp>
          <p:nvSpPr>
            <p:cNvPr id="149" name="Freeform 80">
              <a:extLst>
                <a:ext uri="{FF2B5EF4-FFF2-40B4-BE49-F238E27FC236}">
                  <a16:creationId xmlns:a16="http://schemas.microsoft.com/office/drawing/2014/main" id="{60691ABD-9FDD-4F8B-B42F-25AD31AEB606}"/>
                </a:ext>
              </a:extLst>
            </p:cNvPr>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199"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7" name="Group 26">
            <a:extLst>
              <a:ext uri="{FF2B5EF4-FFF2-40B4-BE49-F238E27FC236}">
                <a16:creationId xmlns:a16="http://schemas.microsoft.com/office/drawing/2014/main" id="{1CB0BA67-0D82-46A6-8262-4CBF862DD8FF}"/>
              </a:ext>
            </a:extLst>
          </p:cNvPr>
          <p:cNvGrpSpPr/>
          <p:nvPr/>
        </p:nvGrpSpPr>
        <p:grpSpPr>
          <a:xfrm>
            <a:off x="6333483" y="1889550"/>
            <a:ext cx="502223" cy="663198"/>
            <a:chOff x="6266863" y="2055337"/>
            <a:chExt cx="502223" cy="663198"/>
          </a:xfrm>
        </p:grpSpPr>
        <p:sp>
          <p:nvSpPr>
            <p:cNvPr id="131" name="Rectangle 130">
              <a:extLst>
                <a:ext uri="{FF2B5EF4-FFF2-40B4-BE49-F238E27FC236}">
                  <a16:creationId xmlns:a16="http://schemas.microsoft.com/office/drawing/2014/main" id="{C9D334A0-4347-4C7F-8756-CF431D6C1DC3}"/>
                </a:ext>
              </a:extLst>
            </p:cNvPr>
            <p:cNvSpPr/>
            <p:nvPr/>
          </p:nvSpPr>
          <p:spPr bwMode="auto">
            <a:xfrm>
              <a:off x="6276964" y="2441536"/>
              <a:ext cx="492122" cy="276999"/>
            </a:xfrm>
            <a:prstGeom prst="rect">
              <a:avLst/>
            </a:prstGeom>
            <a:noFill/>
            <a:ln w="9525" cap="flat" cmpd="sng" algn="ctr">
              <a:noFill/>
              <a:prstDash val="sysDot"/>
              <a:headEnd type="none" w="med" len="med"/>
              <a:tailEnd type="none" w="med" len="med"/>
            </a:ln>
            <a:effectLst/>
          </p:spPr>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marL="0" marR="0" lvl="0" indent="0" algn="ctr" defTabSz="60888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505050"/>
                  </a:solidFill>
                  <a:effectLst/>
                  <a:uLnTx/>
                  <a:uFillTx/>
                  <a:latin typeface="Segoe UI"/>
                  <a:ea typeface="+mn-ea"/>
                  <a:cs typeface="+mn-cs"/>
                </a:rPr>
                <a:t>Intuitive </a:t>
              </a:r>
              <a:br>
                <a:rPr kumimoji="0" lang="en-US" sz="900" b="0" i="0" u="none" strike="noStrike" kern="0" cap="none" spc="0" normalizeH="0" baseline="0" noProof="0" dirty="0">
                  <a:ln>
                    <a:noFill/>
                  </a:ln>
                  <a:solidFill>
                    <a:srgbClr val="505050"/>
                  </a:solidFill>
                  <a:effectLst/>
                  <a:uLnTx/>
                  <a:uFillTx/>
                  <a:latin typeface="Segoe UI"/>
                  <a:ea typeface="+mn-ea"/>
                  <a:cs typeface="+mn-cs"/>
                </a:rPr>
              </a:br>
              <a:r>
                <a:rPr kumimoji="0" lang="en-US" sz="900" b="0" i="0" u="none" strike="noStrike" kern="0" cap="none" spc="0" normalizeH="0" baseline="0" noProof="0" dirty="0">
                  <a:ln>
                    <a:noFill/>
                  </a:ln>
                  <a:solidFill>
                    <a:srgbClr val="505050"/>
                  </a:solidFill>
                  <a:effectLst/>
                  <a:uLnTx/>
                  <a:uFillTx/>
                  <a:latin typeface="Segoe UI"/>
                  <a:ea typeface="+mn-ea"/>
                  <a:cs typeface="+mn-cs"/>
                </a:rPr>
                <a:t>interfaces</a:t>
              </a:r>
            </a:p>
          </p:txBody>
        </p:sp>
        <p:pic>
          <p:nvPicPr>
            <p:cNvPr id="202" name="Picture 5" descr="\\MAGNUM\Projects\Microsoft\Cloud Power FY12\Design\Icons\PNGs\Stop_watch.png">
              <a:extLst>
                <a:ext uri="{FF2B5EF4-FFF2-40B4-BE49-F238E27FC236}">
                  <a16:creationId xmlns:a16="http://schemas.microsoft.com/office/drawing/2014/main" id="{EA7B4FA8-5CA2-4D32-A013-88134E93725F}"/>
                </a:ext>
              </a:extLst>
            </p:cNvPr>
            <p:cNvPicPr>
              <a:picLocks noChangeAspect="1" noChangeArrowheads="1"/>
            </p:cNvPicPr>
            <p:nvPr/>
          </p:nvPicPr>
          <p:blipFill>
            <a:blip r:embed="rId3" cstate="print">
              <a:duotone>
                <a:srgbClr val="0A5BBA">
                  <a:shade val="45000"/>
                  <a:satMod val="135000"/>
                </a:srgbClr>
                <a:prstClr val="white"/>
              </a:duotone>
              <a:extLst>
                <a:ext uri="{BEBA8EAE-BF5A-486C-A8C5-ECC9F3942E4B}">
                  <a14:imgProps xmlns:a14="http://schemas.microsoft.com/office/drawing/2010/main">
                    <a14:imgLayer r:embed="rId4">
                      <a14:imgEffect>
                        <a14:brightnessContrast bright="-31000" contrast="-40000"/>
                      </a14:imgEffect>
                    </a14:imgLayer>
                  </a14:imgProps>
                </a:ext>
                <a:ext uri="{28A0092B-C50C-407E-A947-70E740481C1C}">
                  <a14:useLocalDpi xmlns:a14="http://schemas.microsoft.com/office/drawing/2010/main"/>
                </a:ext>
              </a:extLst>
            </a:blip>
            <a:stretch>
              <a:fillRect/>
            </a:stretch>
          </p:blipFill>
          <p:spPr bwMode="auto">
            <a:xfrm>
              <a:off x="6266863" y="2055337"/>
              <a:ext cx="457200" cy="457200"/>
            </a:xfrm>
            <a:prstGeom prst="rect">
              <a:avLst/>
            </a:prstGeom>
            <a:noFill/>
          </p:spPr>
        </p:pic>
      </p:grpSp>
      <p:grpSp>
        <p:nvGrpSpPr>
          <p:cNvPr id="29" name="Group 28">
            <a:extLst>
              <a:ext uri="{FF2B5EF4-FFF2-40B4-BE49-F238E27FC236}">
                <a16:creationId xmlns:a16="http://schemas.microsoft.com/office/drawing/2014/main" id="{6DBB16DC-C51E-4703-9C3F-6688A9E16F6C}"/>
              </a:ext>
            </a:extLst>
          </p:cNvPr>
          <p:cNvGrpSpPr/>
          <p:nvPr/>
        </p:nvGrpSpPr>
        <p:grpSpPr>
          <a:xfrm>
            <a:off x="5142679" y="1950953"/>
            <a:ext cx="785471" cy="599942"/>
            <a:chOff x="5188422" y="2124892"/>
            <a:chExt cx="785471" cy="599942"/>
          </a:xfrm>
        </p:grpSpPr>
        <p:sp>
          <p:nvSpPr>
            <p:cNvPr id="126" name="Rectangle 125">
              <a:extLst>
                <a:ext uri="{FF2B5EF4-FFF2-40B4-BE49-F238E27FC236}">
                  <a16:creationId xmlns:a16="http://schemas.microsoft.com/office/drawing/2014/main" id="{9EC9E0F7-D94D-4A63-9D3C-D547F9A6A315}"/>
                </a:ext>
              </a:extLst>
            </p:cNvPr>
            <p:cNvSpPr/>
            <p:nvPr/>
          </p:nvSpPr>
          <p:spPr bwMode="auto">
            <a:xfrm>
              <a:off x="5188422" y="2447835"/>
              <a:ext cx="785471" cy="276999"/>
            </a:xfrm>
            <a:prstGeom prst="rect">
              <a:avLst/>
            </a:prstGeom>
            <a:noFill/>
            <a:ln w="9525" cap="flat" cmpd="sng" algn="ctr">
              <a:noFill/>
              <a:prstDash val="sysDot"/>
              <a:headEnd type="none" w="med" len="med"/>
              <a:tailEnd type="none" w="med" len="med"/>
            </a:ln>
            <a:effectLst/>
          </p:spPr>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marL="0" marR="0" lvl="0" indent="0" algn="ctr" defTabSz="60888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505050"/>
                  </a:solidFill>
                  <a:effectLst/>
                  <a:uLnTx/>
                  <a:uFillTx/>
                  <a:latin typeface="Segoe UI"/>
                  <a:ea typeface="+mn-ea"/>
                  <a:cs typeface="+mn-cs"/>
                </a:rPr>
                <a:t>Active learning </a:t>
              </a:r>
              <a:br>
                <a:rPr kumimoji="0" lang="en-US" sz="900" b="0" i="0" u="none" strike="noStrike" kern="0" cap="none" spc="0" normalizeH="0" baseline="0" noProof="0" dirty="0">
                  <a:ln>
                    <a:noFill/>
                  </a:ln>
                  <a:solidFill>
                    <a:srgbClr val="505050"/>
                  </a:solidFill>
                  <a:effectLst/>
                  <a:uLnTx/>
                  <a:uFillTx/>
                  <a:latin typeface="Segoe UI"/>
                  <a:ea typeface="+mn-ea"/>
                  <a:cs typeface="+mn-cs"/>
                </a:rPr>
              </a:br>
              <a:r>
                <a:rPr kumimoji="0" lang="en-US" sz="900" b="0" i="0" u="none" strike="noStrike" kern="0" cap="none" spc="0" normalizeH="0" baseline="0" noProof="0" dirty="0">
                  <a:ln>
                    <a:noFill/>
                  </a:ln>
                  <a:solidFill>
                    <a:srgbClr val="505050"/>
                  </a:solidFill>
                  <a:effectLst/>
                  <a:uLnTx/>
                  <a:uFillTx/>
                  <a:latin typeface="Segoe UI"/>
                  <a:ea typeface="+mn-ea"/>
                  <a:cs typeface="+mn-cs"/>
                </a:rPr>
                <a:t>and planning</a:t>
              </a:r>
            </a:p>
          </p:txBody>
        </p:sp>
        <p:pic>
          <p:nvPicPr>
            <p:cNvPr id="204" name="Picture 2" descr="C:\Users\mitchellg\Desktop\Automated_2.png">
              <a:extLst>
                <a:ext uri="{FF2B5EF4-FFF2-40B4-BE49-F238E27FC236}">
                  <a16:creationId xmlns:a16="http://schemas.microsoft.com/office/drawing/2014/main" id="{3F6C1799-A38F-4973-9823-D588966D848D}"/>
                </a:ext>
              </a:extLst>
            </p:cNvPr>
            <p:cNvPicPr>
              <a:picLocks noChangeAspect="1" noChangeArrowheads="1"/>
            </p:cNvPicPr>
            <p:nvPr/>
          </p:nvPicPr>
          <p:blipFill rotWithShape="1">
            <a:blip r:embed="rId5" cstate="print">
              <a:duotone>
                <a:srgbClr val="0A5BBA">
                  <a:shade val="45000"/>
                  <a:satMod val="135000"/>
                </a:srgbClr>
                <a:prstClr val="white"/>
              </a:duotone>
              <a:extLst>
                <a:ext uri="{BEBA8EAE-BF5A-486C-A8C5-ECC9F3942E4B}">
                  <a14:imgProps xmlns:a14="http://schemas.microsoft.com/office/drawing/2010/main">
                    <a14:imgLayer r:embed="rId6">
                      <a14:imgEffect>
                        <a14:brightnessContrast bright="-31000" contrast="-40000"/>
                      </a14:imgEffect>
                    </a14:imgLayer>
                  </a14:imgProps>
                </a:ext>
                <a:ext uri="{28A0092B-C50C-407E-A947-70E740481C1C}">
                  <a14:useLocalDpi xmlns:a14="http://schemas.microsoft.com/office/drawing/2010/main"/>
                </a:ext>
              </a:extLst>
            </a:blip>
            <a:srcRect/>
            <a:stretch/>
          </p:blipFill>
          <p:spPr bwMode="auto">
            <a:xfrm>
              <a:off x="5412446" y="2124892"/>
              <a:ext cx="324458" cy="324458"/>
            </a:xfrm>
            <a:prstGeom prst="rect">
              <a:avLst/>
            </a:prstGeom>
            <a:noFill/>
          </p:spPr>
        </p:pic>
      </p:grpSp>
      <p:grpSp>
        <p:nvGrpSpPr>
          <p:cNvPr id="30" name="Group 29">
            <a:extLst>
              <a:ext uri="{FF2B5EF4-FFF2-40B4-BE49-F238E27FC236}">
                <a16:creationId xmlns:a16="http://schemas.microsoft.com/office/drawing/2014/main" id="{82B4AF39-EDE4-4D1F-BC87-84468CCCF8A4}"/>
              </a:ext>
            </a:extLst>
          </p:cNvPr>
          <p:cNvGrpSpPr/>
          <p:nvPr/>
        </p:nvGrpSpPr>
        <p:grpSpPr>
          <a:xfrm>
            <a:off x="5481178" y="3559693"/>
            <a:ext cx="1175002" cy="626771"/>
            <a:chOff x="5098532" y="3588522"/>
            <a:chExt cx="1175002" cy="626771"/>
          </a:xfrm>
        </p:grpSpPr>
        <p:sp>
          <p:nvSpPr>
            <p:cNvPr id="125" name="Rectangle 124">
              <a:extLst>
                <a:ext uri="{FF2B5EF4-FFF2-40B4-BE49-F238E27FC236}">
                  <a16:creationId xmlns:a16="http://schemas.microsoft.com/office/drawing/2014/main" id="{7D665FFB-615D-48F5-AABA-77E96A7C8468}"/>
                </a:ext>
              </a:extLst>
            </p:cNvPr>
            <p:cNvSpPr/>
            <p:nvPr/>
          </p:nvSpPr>
          <p:spPr bwMode="auto">
            <a:xfrm>
              <a:off x="5098532" y="3938294"/>
              <a:ext cx="1175002" cy="276999"/>
            </a:xfrm>
            <a:prstGeom prst="rect">
              <a:avLst/>
            </a:prstGeom>
            <a:noFill/>
            <a:ln w="9525" cap="flat" cmpd="sng" algn="ctr">
              <a:noFill/>
              <a:prstDash val="sysDot"/>
              <a:headEnd type="none" w="med" len="med"/>
              <a:tailEnd type="none" w="med" len="med"/>
            </a:ln>
            <a:effectLst/>
          </p:spPr>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marL="0" marR="0" lvl="0" indent="0" algn="ctr" defTabSz="60888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505050"/>
                  </a:solidFill>
                  <a:effectLst/>
                  <a:uLnTx/>
                  <a:uFillTx/>
                  <a:latin typeface="Segoe UI"/>
                  <a:ea typeface="+mn-ea"/>
                  <a:cs typeface="+mn-cs"/>
                </a:rPr>
                <a:t>Autonomous and joint </a:t>
              </a:r>
              <a:br>
                <a:rPr kumimoji="0" lang="en-US" sz="900" b="0" i="0" u="none" strike="noStrike" kern="0" cap="none" spc="0" normalizeH="0" baseline="0" noProof="0" dirty="0">
                  <a:ln>
                    <a:noFill/>
                  </a:ln>
                  <a:solidFill>
                    <a:srgbClr val="505050"/>
                  </a:solidFill>
                  <a:effectLst/>
                  <a:uLnTx/>
                  <a:uFillTx/>
                  <a:latin typeface="Segoe UI"/>
                  <a:ea typeface="+mn-ea"/>
                  <a:cs typeface="+mn-cs"/>
                </a:rPr>
              </a:br>
              <a:r>
                <a:rPr kumimoji="0" lang="en-US" sz="900" b="0" i="0" u="none" strike="noStrike" kern="0" cap="none" spc="0" normalizeH="0" baseline="0" noProof="0" dirty="0">
                  <a:ln>
                    <a:noFill/>
                  </a:ln>
                  <a:solidFill>
                    <a:srgbClr val="505050"/>
                  </a:solidFill>
                  <a:effectLst/>
                  <a:uLnTx/>
                  <a:uFillTx/>
                  <a:latin typeface="Segoe UI"/>
                  <a:ea typeface="+mn-ea"/>
                  <a:cs typeface="+mn-cs"/>
                </a:rPr>
                <a:t>decision making</a:t>
              </a:r>
            </a:p>
          </p:txBody>
        </p:sp>
        <p:pic>
          <p:nvPicPr>
            <p:cNvPr id="207" name="Picture 50" descr="C:\Users\sakuu\Documents\Ballmer MGX 2011\Tile Icons\Road Fork.png">
              <a:extLst>
                <a:ext uri="{FF2B5EF4-FFF2-40B4-BE49-F238E27FC236}">
                  <a16:creationId xmlns:a16="http://schemas.microsoft.com/office/drawing/2014/main" id="{AA3C70D0-6BAB-4232-988B-57E7A9F216BB}"/>
                </a:ext>
              </a:extLst>
            </p:cNvPr>
            <p:cNvPicPr>
              <a:picLocks noChangeAspect="1" noChangeArrowheads="1"/>
            </p:cNvPicPr>
            <p:nvPr/>
          </p:nvPicPr>
          <p:blipFill>
            <a:blip r:embed="rId7" cstate="print">
              <a:duotone>
                <a:srgbClr val="0A5BBA">
                  <a:shade val="45000"/>
                  <a:satMod val="135000"/>
                </a:srgbClr>
                <a:prstClr val="white"/>
              </a:duotone>
              <a:extLst>
                <a:ext uri="{BEBA8EAE-BF5A-486C-A8C5-ECC9F3942E4B}">
                  <a14:imgProps xmlns:a14="http://schemas.microsoft.com/office/drawing/2010/main">
                    <a14:imgLayer r:embed="rId8">
                      <a14:imgEffect>
                        <a14:brightnessContrast bright="-79000" contrast="-40000"/>
                      </a14:imgEffect>
                    </a14:imgLayer>
                  </a14:imgProps>
                </a:ext>
                <a:ext uri="{28A0092B-C50C-407E-A947-70E740481C1C}">
                  <a14:useLocalDpi xmlns:a14="http://schemas.microsoft.com/office/drawing/2010/main"/>
                </a:ext>
              </a:extLst>
            </a:blip>
            <a:srcRect/>
            <a:stretch>
              <a:fillRect/>
            </a:stretch>
          </p:blipFill>
          <p:spPr bwMode="black">
            <a:xfrm>
              <a:off x="5521126" y="3588522"/>
              <a:ext cx="347562" cy="347472"/>
            </a:xfrm>
            <a:prstGeom prst="rect">
              <a:avLst/>
            </a:prstGeom>
            <a:noFill/>
            <a:extLst/>
          </p:spPr>
        </p:pic>
      </p:grpSp>
      <p:grpSp>
        <p:nvGrpSpPr>
          <p:cNvPr id="519" name="Group 518">
            <a:extLst>
              <a:ext uri="{FF2B5EF4-FFF2-40B4-BE49-F238E27FC236}">
                <a16:creationId xmlns:a16="http://schemas.microsoft.com/office/drawing/2014/main" id="{02F3A7D8-377E-4B2F-BF1E-5CAC50915A06}"/>
              </a:ext>
            </a:extLst>
          </p:cNvPr>
          <p:cNvGrpSpPr/>
          <p:nvPr/>
        </p:nvGrpSpPr>
        <p:grpSpPr>
          <a:xfrm>
            <a:off x="4624841" y="3297772"/>
            <a:ext cx="498471" cy="678189"/>
            <a:chOff x="4330566" y="3398605"/>
            <a:chExt cx="498471" cy="678189"/>
          </a:xfrm>
        </p:grpSpPr>
        <p:sp>
          <p:nvSpPr>
            <p:cNvPr id="112" name="Rectangle 111">
              <a:extLst>
                <a:ext uri="{FF2B5EF4-FFF2-40B4-BE49-F238E27FC236}">
                  <a16:creationId xmlns:a16="http://schemas.microsoft.com/office/drawing/2014/main" id="{2574EBE7-570A-4A2E-9925-A9BD5C89E16C}"/>
                </a:ext>
              </a:extLst>
            </p:cNvPr>
            <p:cNvSpPr/>
            <p:nvPr/>
          </p:nvSpPr>
          <p:spPr bwMode="auto">
            <a:xfrm>
              <a:off x="4330566" y="3799795"/>
              <a:ext cx="479298" cy="276999"/>
            </a:xfrm>
            <a:prstGeom prst="rect">
              <a:avLst/>
            </a:prstGeom>
            <a:noFill/>
            <a:ln w="9525" cap="flat" cmpd="sng" algn="ctr">
              <a:noFill/>
              <a:prstDash val="sysDot"/>
              <a:headEnd type="none" w="med" len="med"/>
              <a:tailEnd type="none" w="med" len="med"/>
            </a:ln>
            <a:effectLst/>
          </p:spPr>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marL="0" marR="0" lvl="0" indent="0" algn="ctr" defTabSz="60888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505050"/>
                  </a:solidFill>
                  <a:effectLst/>
                  <a:uLnTx/>
                  <a:uFillTx/>
                  <a:latin typeface="Segoe UI"/>
                  <a:ea typeface="+mn-ea"/>
                  <a:cs typeface="+mn-cs"/>
                </a:rPr>
                <a:t>Collision </a:t>
              </a:r>
              <a:br>
                <a:rPr kumimoji="0" lang="en-US" sz="900" b="0" i="0" u="none" strike="noStrike" kern="0" cap="none" spc="0" normalizeH="0" baseline="0" noProof="0" dirty="0">
                  <a:ln>
                    <a:noFill/>
                  </a:ln>
                  <a:solidFill>
                    <a:srgbClr val="505050"/>
                  </a:solidFill>
                  <a:effectLst/>
                  <a:uLnTx/>
                  <a:uFillTx/>
                  <a:latin typeface="Segoe UI"/>
                  <a:ea typeface="+mn-ea"/>
                  <a:cs typeface="+mn-cs"/>
                </a:rPr>
              </a:br>
              <a:r>
                <a:rPr kumimoji="0" lang="en-US" sz="900" b="0" i="0" u="none" strike="noStrike" kern="0" cap="none" spc="0" normalizeH="0" baseline="0" noProof="0" dirty="0">
                  <a:ln>
                    <a:noFill/>
                  </a:ln>
                  <a:solidFill>
                    <a:srgbClr val="505050"/>
                  </a:solidFill>
                  <a:effectLst/>
                  <a:uLnTx/>
                  <a:uFillTx/>
                  <a:latin typeface="Segoe UI"/>
                  <a:ea typeface="+mn-ea"/>
                  <a:cs typeface="+mn-cs"/>
                </a:rPr>
                <a:t>detection</a:t>
              </a:r>
            </a:p>
          </p:txBody>
        </p:sp>
        <p:pic>
          <p:nvPicPr>
            <p:cNvPr id="209" name="Picture 2" descr="\\MAGNUM\Projects\Microsoft\Cloud Power FY12\Design\Icons\PNGs\Electricity.png">
              <a:extLst>
                <a:ext uri="{FF2B5EF4-FFF2-40B4-BE49-F238E27FC236}">
                  <a16:creationId xmlns:a16="http://schemas.microsoft.com/office/drawing/2014/main" id="{50621183-DC38-45A5-8FB0-7437DE1E2448}"/>
                </a:ext>
              </a:extLst>
            </p:cNvPr>
            <p:cNvPicPr>
              <a:picLocks noChangeAspect="1" noChangeArrowheads="1"/>
            </p:cNvPicPr>
            <p:nvPr/>
          </p:nvPicPr>
          <p:blipFill>
            <a:blip r:embed="rId9" cstate="print">
              <a:duotone>
                <a:srgbClr val="0A5BBA">
                  <a:shade val="45000"/>
                  <a:satMod val="135000"/>
                </a:srgbClr>
                <a:prstClr val="white"/>
              </a:duotone>
              <a:extLst>
                <a:ext uri="{BEBA8EAE-BF5A-486C-A8C5-ECC9F3942E4B}">
                  <a14:imgProps xmlns:a14="http://schemas.microsoft.com/office/drawing/2010/main">
                    <a14:imgLayer r:embed="rId10">
                      <a14:imgEffect>
                        <a14:brightnessContrast bright="-31000" contrast="-40000"/>
                      </a14:imgEffect>
                    </a14:imgLayer>
                  </a14:imgProps>
                </a:ext>
                <a:ext uri="{28A0092B-C50C-407E-A947-70E740481C1C}">
                  <a14:useLocalDpi xmlns:a14="http://schemas.microsoft.com/office/drawing/2010/main"/>
                </a:ext>
              </a:extLst>
            </a:blip>
            <a:srcRect/>
            <a:stretch>
              <a:fillRect/>
            </a:stretch>
          </p:blipFill>
          <p:spPr bwMode="auto">
            <a:xfrm>
              <a:off x="4371837" y="3398605"/>
              <a:ext cx="457200" cy="457200"/>
            </a:xfrm>
            <a:prstGeom prst="rect">
              <a:avLst/>
            </a:prstGeom>
            <a:noFill/>
          </p:spPr>
        </p:pic>
      </p:grpSp>
      <p:grpSp>
        <p:nvGrpSpPr>
          <p:cNvPr id="518" name="Group 517">
            <a:extLst>
              <a:ext uri="{FF2B5EF4-FFF2-40B4-BE49-F238E27FC236}">
                <a16:creationId xmlns:a16="http://schemas.microsoft.com/office/drawing/2014/main" id="{8D6FE3C7-7A9D-4902-AD66-0708B1F14E11}"/>
              </a:ext>
            </a:extLst>
          </p:cNvPr>
          <p:cNvGrpSpPr/>
          <p:nvPr/>
        </p:nvGrpSpPr>
        <p:grpSpPr>
          <a:xfrm>
            <a:off x="6930429" y="3411932"/>
            <a:ext cx="514564" cy="531417"/>
            <a:chOff x="4628853" y="2782843"/>
            <a:chExt cx="514564" cy="531417"/>
          </a:xfrm>
        </p:grpSpPr>
        <p:sp>
          <p:nvSpPr>
            <p:cNvPr id="124" name="Rectangle 123">
              <a:extLst>
                <a:ext uri="{FF2B5EF4-FFF2-40B4-BE49-F238E27FC236}">
                  <a16:creationId xmlns:a16="http://schemas.microsoft.com/office/drawing/2014/main" id="{2BC7EA0B-386C-48E1-8B5D-ED4B4C8946AD}"/>
                </a:ext>
              </a:extLst>
            </p:cNvPr>
            <p:cNvSpPr/>
            <p:nvPr/>
          </p:nvSpPr>
          <p:spPr bwMode="auto">
            <a:xfrm>
              <a:off x="4628853" y="3037261"/>
              <a:ext cx="514564" cy="276999"/>
            </a:xfrm>
            <a:prstGeom prst="rect">
              <a:avLst/>
            </a:prstGeom>
            <a:noFill/>
            <a:ln w="9525" cap="flat" cmpd="sng" algn="ctr">
              <a:noFill/>
              <a:prstDash val="sysDot"/>
              <a:headEnd type="none" w="med" len="med"/>
              <a:tailEnd type="none" w="med" len="med"/>
            </a:ln>
            <a:effectLst/>
          </p:spPr>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marL="0" marR="0" lvl="0" indent="0" algn="ctr" defTabSz="60888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505050"/>
                  </a:solidFill>
                  <a:effectLst/>
                  <a:uLnTx/>
                  <a:uFillTx/>
                  <a:latin typeface="Segoe UI"/>
                  <a:ea typeface="+mn-ea"/>
                  <a:cs typeface="+mn-cs"/>
                </a:rPr>
                <a:t>Motion </a:t>
              </a:r>
              <a:br>
                <a:rPr kumimoji="0" lang="en-US" sz="900" b="0" i="0" u="none" strike="noStrike" kern="0" cap="none" spc="0" normalizeH="0" baseline="0" noProof="0" dirty="0">
                  <a:ln>
                    <a:noFill/>
                  </a:ln>
                  <a:solidFill>
                    <a:srgbClr val="505050"/>
                  </a:solidFill>
                  <a:effectLst/>
                  <a:uLnTx/>
                  <a:uFillTx/>
                  <a:latin typeface="Segoe UI"/>
                  <a:ea typeface="+mn-ea"/>
                  <a:cs typeface="+mn-cs"/>
                </a:rPr>
              </a:br>
              <a:r>
                <a:rPr kumimoji="0" lang="en-US" sz="900" b="0" i="0" u="none" strike="noStrike" kern="0" cap="none" spc="0" normalizeH="0" baseline="0" noProof="0" dirty="0">
                  <a:ln>
                    <a:noFill/>
                  </a:ln>
                  <a:solidFill>
                    <a:srgbClr val="505050"/>
                  </a:solidFill>
                  <a:effectLst/>
                  <a:uLnTx/>
                  <a:uFillTx/>
                  <a:latin typeface="Segoe UI"/>
                  <a:ea typeface="+mn-ea"/>
                  <a:cs typeface="+mn-cs"/>
                </a:rPr>
                <a:t>prediction</a:t>
              </a:r>
            </a:p>
          </p:txBody>
        </p:sp>
        <p:grpSp>
          <p:nvGrpSpPr>
            <p:cNvPr id="511" name="Group 510">
              <a:extLst>
                <a:ext uri="{FF2B5EF4-FFF2-40B4-BE49-F238E27FC236}">
                  <a16:creationId xmlns:a16="http://schemas.microsoft.com/office/drawing/2014/main" id="{6432C3A5-4E11-475B-BC23-4DB85A0E4518}"/>
                </a:ext>
              </a:extLst>
            </p:cNvPr>
            <p:cNvGrpSpPr/>
            <p:nvPr/>
          </p:nvGrpSpPr>
          <p:grpSpPr>
            <a:xfrm>
              <a:off x="4745843" y="2782843"/>
              <a:ext cx="289374" cy="223264"/>
              <a:chOff x="4738348" y="2934415"/>
              <a:chExt cx="1118773" cy="863180"/>
            </a:xfrm>
          </p:grpSpPr>
          <p:cxnSp>
            <p:nvCxnSpPr>
              <p:cNvPr id="217" name="Straight Connector 216">
                <a:extLst>
                  <a:ext uri="{FF2B5EF4-FFF2-40B4-BE49-F238E27FC236}">
                    <a16:creationId xmlns:a16="http://schemas.microsoft.com/office/drawing/2014/main" id="{FA34359F-8603-44FE-9BA9-73298FCCBF3C}"/>
                  </a:ext>
                </a:extLst>
              </p:cNvPr>
              <p:cNvCxnSpPr>
                <a:cxnSpLocks/>
                <a:stCxn id="216" idx="3"/>
                <a:endCxn id="215" idx="7"/>
              </p:cNvCxnSpPr>
              <p:nvPr/>
            </p:nvCxnSpPr>
            <p:spPr>
              <a:xfrm flipH="1">
                <a:off x="5523716" y="3102681"/>
                <a:ext cx="165139" cy="293970"/>
              </a:xfrm>
              <a:prstGeom prst="line">
                <a:avLst/>
              </a:prstGeom>
              <a:ln w="57150">
                <a:solidFill>
                  <a:srgbClr val="5F82BE"/>
                </a:solidFill>
              </a:ln>
            </p:spPr>
            <p:style>
              <a:lnRef idx="1">
                <a:schemeClr val="accent1"/>
              </a:lnRef>
              <a:fillRef idx="0">
                <a:schemeClr val="accent1"/>
              </a:fillRef>
              <a:effectRef idx="0">
                <a:schemeClr val="accent1"/>
              </a:effectRef>
              <a:fontRef idx="minor">
                <a:schemeClr val="tx1"/>
              </a:fontRef>
            </p:style>
          </p:cxnSp>
          <p:grpSp>
            <p:nvGrpSpPr>
              <p:cNvPr id="510" name="Group 509">
                <a:extLst>
                  <a:ext uri="{FF2B5EF4-FFF2-40B4-BE49-F238E27FC236}">
                    <a16:creationId xmlns:a16="http://schemas.microsoft.com/office/drawing/2014/main" id="{9964D5AB-37EF-41B8-AC7F-176AAF5F1766}"/>
                  </a:ext>
                </a:extLst>
              </p:cNvPr>
              <p:cNvGrpSpPr/>
              <p:nvPr/>
            </p:nvGrpSpPr>
            <p:grpSpPr>
              <a:xfrm>
                <a:off x="4738348" y="2934415"/>
                <a:ext cx="1118773" cy="863180"/>
                <a:chOff x="4738348" y="2934415"/>
                <a:chExt cx="1118773" cy="863180"/>
              </a:xfrm>
            </p:grpSpPr>
            <p:sp>
              <p:nvSpPr>
                <p:cNvPr id="31" name="Oval 30">
                  <a:extLst>
                    <a:ext uri="{FF2B5EF4-FFF2-40B4-BE49-F238E27FC236}">
                      <a16:creationId xmlns:a16="http://schemas.microsoft.com/office/drawing/2014/main" id="{0D7DA83E-2B0B-4B64-BDF4-FA2DE8EC4E9F}"/>
                    </a:ext>
                  </a:extLst>
                </p:cNvPr>
                <p:cNvSpPr/>
                <p:nvPr/>
              </p:nvSpPr>
              <p:spPr>
                <a:xfrm>
                  <a:off x="4738348" y="3600458"/>
                  <a:ext cx="197137" cy="197137"/>
                </a:xfrm>
                <a:prstGeom prst="ellipse">
                  <a:avLst/>
                </a:prstGeom>
                <a:noFill/>
                <a:ln w="28575">
                  <a:solidFill>
                    <a:srgbClr val="5F82B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210" name="Oval 209">
                  <a:extLst>
                    <a:ext uri="{FF2B5EF4-FFF2-40B4-BE49-F238E27FC236}">
                      <a16:creationId xmlns:a16="http://schemas.microsoft.com/office/drawing/2014/main" id="{83F12F68-9280-45B1-9E6B-1F151BED194A}"/>
                    </a:ext>
                  </a:extLst>
                </p:cNvPr>
                <p:cNvSpPr/>
                <p:nvPr/>
              </p:nvSpPr>
              <p:spPr>
                <a:xfrm>
                  <a:off x="5042884" y="3167093"/>
                  <a:ext cx="197137" cy="197137"/>
                </a:xfrm>
                <a:prstGeom prst="ellipse">
                  <a:avLst/>
                </a:prstGeom>
                <a:noFill/>
                <a:ln w="28575">
                  <a:solidFill>
                    <a:srgbClr val="5F82B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err="1">
                    <a:ln>
                      <a:noFill/>
                    </a:ln>
                    <a:solidFill>
                      <a:prstClr val="white"/>
                    </a:solidFill>
                    <a:effectLst/>
                    <a:uLnTx/>
                    <a:uFillTx/>
                    <a:latin typeface="Segoe UI"/>
                    <a:ea typeface="+mn-ea"/>
                    <a:cs typeface="+mn-cs"/>
                  </a:endParaRPr>
                </a:p>
              </p:txBody>
            </p:sp>
            <p:cxnSp>
              <p:nvCxnSpPr>
                <p:cNvPr id="451" name="Straight Connector 450">
                  <a:extLst>
                    <a:ext uri="{FF2B5EF4-FFF2-40B4-BE49-F238E27FC236}">
                      <a16:creationId xmlns:a16="http://schemas.microsoft.com/office/drawing/2014/main" id="{5C01B91E-D6D9-41E4-A164-4822ECCEE9D7}"/>
                    </a:ext>
                  </a:extLst>
                </p:cNvPr>
                <p:cNvCxnSpPr>
                  <a:cxnSpLocks/>
                  <a:stCxn id="210" idx="3"/>
                  <a:endCxn id="31" idx="7"/>
                </p:cNvCxnSpPr>
                <p:nvPr/>
              </p:nvCxnSpPr>
              <p:spPr>
                <a:xfrm flipH="1">
                  <a:off x="4906616" y="3335358"/>
                  <a:ext cx="165140" cy="293969"/>
                </a:xfrm>
                <a:prstGeom prst="line">
                  <a:avLst/>
                </a:prstGeom>
                <a:ln w="57150">
                  <a:solidFill>
                    <a:srgbClr val="5F82BE"/>
                  </a:solidFill>
                </a:ln>
              </p:spPr>
              <p:style>
                <a:lnRef idx="1">
                  <a:schemeClr val="accent1"/>
                </a:lnRef>
                <a:fillRef idx="0">
                  <a:schemeClr val="accent1"/>
                </a:fillRef>
                <a:effectRef idx="0">
                  <a:schemeClr val="accent1"/>
                </a:effectRef>
                <a:fontRef idx="minor">
                  <a:schemeClr val="tx1"/>
                </a:fontRef>
              </p:style>
            </p:cxnSp>
            <p:sp>
              <p:nvSpPr>
                <p:cNvPr id="215" name="Oval 214">
                  <a:extLst>
                    <a:ext uri="{FF2B5EF4-FFF2-40B4-BE49-F238E27FC236}">
                      <a16:creationId xmlns:a16="http://schemas.microsoft.com/office/drawing/2014/main" id="{C8958B20-87D2-4D26-928F-68710891507F}"/>
                    </a:ext>
                  </a:extLst>
                </p:cNvPr>
                <p:cNvSpPr/>
                <p:nvPr/>
              </p:nvSpPr>
              <p:spPr>
                <a:xfrm>
                  <a:off x="5355451" y="3367780"/>
                  <a:ext cx="197137" cy="197137"/>
                </a:xfrm>
                <a:prstGeom prst="ellipse">
                  <a:avLst/>
                </a:prstGeom>
                <a:noFill/>
                <a:ln w="28575">
                  <a:solidFill>
                    <a:srgbClr val="5F82B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216" name="Oval 215">
                  <a:extLst>
                    <a:ext uri="{FF2B5EF4-FFF2-40B4-BE49-F238E27FC236}">
                      <a16:creationId xmlns:a16="http://schemas.microsoft.com/office/drawing/2014/main" id="{48F895F1-3101-4793-870E-F651F418F44B}"/>
                    </a:ext>
                  </a:extLst>
                </p:cNvPr>
                <p:cNvSpPr/>
                <p:nvPr/>
              </p:nvSpPr>
              <p:spPr>
                <a:xfrm>
                  <a:off x="5659984" y="2934415"/>
                  <a:ext cx="197137" cy="197137"/>
                </a:xfrm>
                <a:prstGeom prst="ellipse">
                  <a:avLst/>
                </a:prstGeom>
                <a:noFill/>
                <a:ln w="28575">
                  <a:solidFill>
                    <a:srgbClr val="5F82B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err="1">
                    <a:ln>
                      <a:noFill/>
                    </a:ln>
                    <a:solidFill>
                      <a:prstClr val="white"/>
                    </a:solidFill>
                    <a:effectLst/>
                    <a:uLnTx/>
                    <a:uFillTx/>
                    <a:latin typeface="Segoe UI"/>
                    <a:ea typeface="+mn-ea"/>
                    <a:cs typeface="+mn-cs"/>
                  </a:endParaRPr>
                </a:p>
              </p:txBody>
            </p:sp>
            <p:cxnSp>
              <p:nvCxnSpPr>
                <p:cNvPr id="503" name="Straight Connector 502">
                  <a:extLst>
                    <a:ext uri="{FF2B5EF4-FFF2-40B4-BE49-F238E27FC236}">
                      <a16:creationId xmlns:a16="http://schemas.microsoft.com/office/drawing/2014/main" id="{4876C233-EF9B-4A6D-9AB0-D28621130DBA}"/>
                    </a:ext>
                  </a:extLst>
                </p:cNvPr>
                <p:cNvCxnSpPr>
                  <a:cxnSpLocks/>
                  <a:stCxn id="210" idx="5"/>
                  <a:endCxn id="215" idx="1"/>
                </p:cNvCxnSpPr>
                <p:nvPr/>
              </p:nvCxnSpPr>
              <p:spPr>
                <a:xfrm>
                  <a:off x="5211149" y="3335359"/>
                  <a:ext cx="173173" cy="61293"/>
                </a:xfrm>
                <a:prstGeom prst="line">
                  <a:avLst/>
                </a:prstGeom>
                <a:ln w="57150">
                  <a:solidFill>
                    <a:srgbClr val="5F82BE"/>
                  </a:solidFill>
                </a:ln>
              </p:spPr>
              <p:style>
                <a:lnRef idx="1">
                  <a:schemeClr val="accent1"/>
                </a:lnRef>
                <a:fillRef idx="0">
                  <a:schemeClr val="accent1"/>
                </a:fillRef>
                <a:effectRef idx="0">
                  <a:schemeClr val="accent1"/>
                </a:effectRef>
                <a:fontRef idx="minor">
                  <a:schemeClr val="tx1"/>
                </a:fontRef>
              </p:style>
            </p:cxnSp>
          </p:grpSp>
        </p:grpSp>
      </p:grpSp>
      <p:grpSp>
        <p:nvGrpSpPr>
          <p:cNvPr id="530" name="Group 529">
            <a:extLst>
              <a:ext uri="{FF2B5EF4-FFF2-40B4-BE49-F238E27FC236}">
                <a16:creationId xmlns:a16="http://schemas.microsoft.com/office/drawing/2014/main" id="{4FBF3657-071C-4F3C-A4FF-9FB5902A02F4}"/>
              </a:ext>
            </a:extLst>
          </p:cNvPr>
          <p:cNvGrpSpPr/>
          <p:nvPr/>
        </p:nvGrpSpPr>
        <p:grpSpPr>
          <a:xfrm rot="10800000">
            <a:off x="4757039" y="2613347"/>
            <a:ext cx="192223" cy="250696"/>
            <a:chOff x="4544550" y="2082035"/>
            <a:chExt cx="515628" cy="672480"/>
          </a:xfrm>
        </p:grpSpPr>
        <p:sp>
          <p:nvSpPr>
            <p:cNvPr id="520" name="Oval 519">
              <a:extLst>
                <a:ext uri="{FF2B5EF4-FFF2-40B4-BE49-F238E27FC236}">
                  <a16:creationId xmlns:a16="http://schemas.microsoft.com/office/drawing/2014/main" id="{EC101DF7-48F0-48FD-AA3B-BC2037F06273}"/>
                </a:ext>
              </a:extLst>
            </p:cNvPr>
            <p:cNvSpPr/>
            <p:nvPr/>
          </p:nvSpPr>
          <p:spPr>
            <a:xfrm>
              <a:off x="4715408" y="2589339"/>
              <a:ext cx="165176" cy="16517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err="1">
                <a:ln>
                  <a:noFill/>
                </a:ln>
                <a:solidFill>
                  <a:prstClr val="white"/>
                </a:solidFill>
                <a:effectLst/>
                <a:uLnTx/>
                <a:uFillTx/>
                <a:latin typeface="Segoe UI"/>
                <a:ea typeface="+mn-ea"/>
                <a:cs typeface="+mn-cs"/>
              </a:endParaRPr>
            </a:p>
          </p:txBody>
        </p:sp>
        <p:cxnSp>
          <p:nvCxnSpPr>
            <p:cNvPr id="522" name="Straight Connector 521">
              <a:extLst>
                <a:ext uri="{FF2B5EF4-FFF2-40B4-BE49-F238E27FC236}">
                  <a16:creationId xmlns:a16="http://schemas.microsoft.com/office/drawing/2014/main" id="{102441D2-07D2-4C4E-AA65-D89F4C65FA23}"/>
                </a:ext>
              </a:extLst>
            </p:cNvPr>
            <p:cNvCxnSpPr>
              <a:cxnSpLocks/>
            </p:cNvCxnSpPr>
            <p:nvPr/>
          </p:nvCxnSpPr>
          <p:spPr>
            <a:xfrm flipV="1">
              <a:off x="4800753" y="2084964"/>
              <a:ext cx="0" cy="525618"/>
            </a:xfrm>
            <a:prstGeom prst="line">
              <a:avLst/>
            </a:prstGeom>
            <a:ln w="28575">
              <a:solidFill>
                <a:srgbClr val="5F82BE"/>
              </a:solidFill>
            </a:ln>
          </p:spPr>
          <p:style>
            <a:lnRef idx="1">
              <a:schemeClr val="accent1"/>
            </a:lnRef>
            <a:fillRef idx="0">
              <a:schemeClr val="accent1"/>
            </a:fillRef>
            <a:effectRef idx="0">
              <a:schemeClr val="accent1"/>
            </a:effectRef>
            <a:fontRef idx="minor">
              <a:schemeClr val="tx1"/>
            </a:fontRef>
          </p:style>
        </p:cxnSp>
        <p:sp>
          <p:nvSpPr>
            <p:cNvPr id="234" name="Oval 233">
              <a:extLst>
                <a:ext uri="{FF2B5EF4-FFF2-40B4-BE49-F238E27FC236}">
                  <a16:creationId xmlns:a16="http://schemas.microsoft.com/office/drawing/2014/main" id="{029066A7-BC84-406B-B892-CC4B5B3D678D}"/>
                </a:ext>
              </a:extLst>
            </p:cNvPr>
            <p:cNvSpPr/>
            <p:nvPr/>
          </p:nvSpPr>
          <p:spPr>
            <a:xfrm>
              <a:off x="4544550" y="2313723"/>
              <a:ext cx="165176" cy="16517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err="1">
                <a:ln>
                  <a:noFill/>
                </a:ln>
                <a:solidFill>
                  <a:prstClr val="white"/>
                </a:solidFill>
                <a:effectLst/>
                <a:uLnTx/>
                <a:uFillTx/>
                <a:latin typeface="Segoe UI"/>
                <a:ea typeface="+mn-ea"/>
                <a:cs typeface="+mn-cs"/>
              </a:endParaRPr>
            </a:p>
          </p:txBody>
        </p:sp>
        <p:cxnSp>
          <p:nvCxnSpPr>
            <p:cNvPr id="235" name="Straight Connector 234">
              <a:extLst>
                <a:ext uri="{FF2B5EF4-FFF2-40B4-BE49-F238E27FC236}">
                  <a16:creationId xmlns:a16="http://schemas.microsoft.com/office/drawing/2014/main" id="{2915F12B-B4B7-4030-80B4-55E023328C9A}"/>
                </a:ext>
              </a:extLst>
            </p:cNvPr>
            <p:cNvCxnSpPr>
              <a:cxnSpLocks/>
            </p:cNvCxnSpPr>
            <p:nvPr/>
          </p:nvCxnSpPr>
          <p:spPr>
            <a:xfrm flipV="1">
              <a:off x="4624841" y="2084964"/>
              <a:ext cx="0" cy="667916"/>
            </a:xfrm>
            <a:prstGeom prst="line">
              <a:avLst/>
            </a:prstGeom>
            <a:ln w="28575">
              <a:solidFill>
                <a:srgbClr val="5F82BE"/>
              </a:solidFill>
            </a:ln>
          </p:spPr>
          <p:style>
            <a:lnRef idx="1">
              <a:schemeClr val="accent1"/>
            </a:lnRef>
            <a:fillRef idx="0">
              <a:schemeClr val="accent1"/>
            </a:fillRef>
            <a:effectRef idx="0">
              <a:schemeClr val="accent1"/>
            </a:effectRef>
            <a:fontRef idx="minor">
              <a:schemeClr val="tx1"/>
            </a:fontRef>
          </p:style>
        </p:cxnSp>
        <p:grpSp>
          <p:nvGrpSpPr>
            <p:cNvPr id="528" name="Group 527">
              <a:extLst>
                <a:ext uri="{FF2B5EF4-FFF2-40B4-BE49-F238E27FC236}">
                  <a16:creationId xmlns:a16="http://schemas.microsoft.com/office/drawing/2014/main" id="{8DD688D1-FE48-4EDD-BF88-EBFE9F5F7446}"/>
                </a:ext>
              </a:extLst>
            </p:cNvPr>
            <p:cNvGrpSpPr/>
            <p:nvPr/>
          </p:nvGrpSpPr>
          <p:grpSpPr>
            <a:xfrm rot="10800000">
              <a:off x="4895002" y="2082035"/>
              <a:ext cx="165176" cy="670844"/>
              <a:chOff x="4877170" y="2237364"/>
              <a:chExt cx="165176" cy="670844"/>
            </a:xfrm>
          </p:grpSpPr>
          <p:sp>
            <p:nvSpPr>
              <p:cNvPr id="237" name="Oval 236">
                <a:extLst>
                  <a:ext uri="{FF2B5EF4-FFF2-40B4-BE49-F238E27FC236}">
                    <a16:creationId xmlns:a16="http://schemas.microsoft.com/office/drawing/2014/main" id="{1F83276D-CC4F-4551-BA34-ADB7953ABCC1}"/>
                  </a:ext>
                </a:extLst>
              </p:cNvPr>
              <p:cNvSpPr/>
              <p:nvPr/>
            </p:nvSpPr>
            <p:spPr>
              <a:xfrm>
                <a:off x="4877170" y="2743032"/>
                <a:ext cx="165176" cy="16517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err="1">
                  <a:ln>
                    <a:noFill/>
                  </a:ln>
                  <a:solidFill>
                    <a:prstClr val="white"/>
                  </a:solidFill>
                  <a:effectLst/>
                  <a:uLnTx/>
                  <a:uFillTx/>
                  <a:latin typeface="Segoe UI"/>
                  <a:ea typeface="+mn-ea"/>
                  <a:cs typeface="+mn-cs"/>
                </a:endParaRPr>
              </a:p>
            </p:txBody>
          </p:sp>
          <p:cxnSp>
            <p:nvCxnSpPr>
              <p:cNvPr id="238" name="Straight Connector 237">
                <a:extLst>
                  <a:ext uri="{FF2B5EF4-FFF2-40B4-BE49-F238E27FC236}">
                    <a16:creationId xmlns:a16="http://schemas.microsoft.com/office/drawing/2014/main" id="{8C3B9A87-83EA-4445-9F99-CE2EEC4F9F40}"/>
                  </a:ext>
                </a:extLst>
              </p:cNvPr>
              <p:cNvCxnSpPr>
                <a:cxnSpLocks/>
              </p:cNvCxnSpPr>
              <p:nvPr/>
            </p:nvCxnSpPr>
            <p:spPr>
              <a:xfrm flipV="1">
                <a:off x="4958235" y="2237364"/>
                <a:ext cx="0" cy="525618"/>
              </a:xfrm>
              <a:prstGeom prst="line">
                <a:avLst/>
              </a:prstGeom>
              <a:ln w="28575">
                <a:solidFill>
                  <a:srgbClr val="5F82BE"/>
                </a:solidFill>
              </a:ln>
            </p:spPr>
            <p:style>
              <a:lnRef idx="1">
                <a:schemeClr val="accent1"/>
              </a:lnRef>
              <a:fillRef idx="0">
                <a:schemeClr val="accent1"/>
              </a:fillRef>
              <a:effectRef idx="0">
                <a:schemeClr val="accent1"/>
              </a:effectRef>
              <a:fontRef idx="minor">
                <a:schemeClr val="tx1"/>
              </a:fontRef>
            </p:style>
          </p:cxnSp>
        </p:grpSp>
      </p:grpSp>
      <p:sp>
        <p:nvSpPr>
          <p:cNvPr id="531" name="Oval 530">
            <a:extLst>
              <a:ext uri="{FF2B5EF4-FFF2-40B4-BE49-F238E27FC236}">
                <a16:creationId xmlns:a16="http://schemas.microsoft.com/office/drawing/2014/main" id="{166798BE-790F-4655-9CCA-44E865F964C0}"/>
              </a:ext>
            </a:extLst>
          </p:cNvPr>
          <p:cNvSpPr/>
          <p:nvPr/>
        </p:nvSpPr>
        <p:spPr>
          <a:xfrm>
            <a:off x="5554492" y="2539979"/>
            <a:ext cx="1004462" cy="1004462"/>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err="1">
              <a:ln>
                <a:noFill/>
              </a:ln>
              <a:solidFill>
                <a:prstClr val="white"/>
              </a:solidFill>
              <a:effectLst/>
              <a:uLnTx/>
              <a:uFillTx/>
              <a:latin typeface="Segoe UI"/>
              <a:ea typeface="+mn-ea"/>
              <a:cs typeface="+mn-cs"/>
            </a:endParaRPr>
          </a:p>
        </p:txBody>
      </p:sp>
      <p:grpSp>
        <p:nvGrpSpPr>
          <p:cNvPr id="245" name="Group 244">
            <a:extLst>
              <a:ext uri="{FF2B5EF4-FFF2-40B4-BE49-F238E27FC236}">
                <a16:creationId xmlns:a16="http://schemas.microsoft.com/office/drawing/2014/main" id="{6778BD02-7810-4086-84B2-F5204C3870EA}"/>
              </a:ext>
            </a:extLst>
          </p:cNvPr>
          <p:cNvGrpSpPr/>
          <p:nvPr/>
        </p:nvGrpSpPr>
        <p:grpSpPr>
          <a:xfrm>
            <a:off x="5653336" y="2710826"/>
            <a:ext cx="770912" cy="629001"/>
            <a:chOff x="5579487" y="2925080"/>
            <a:chExt cx="770912" cy="629001"/>
          </a:xfrm>
        </p:grpSpPr>
        <p:sp>
          <p:nvSpPr>
            <p:cNvPr id="246" name="Rectangle 245">
              <a:extLst>
                <a:ext uri="{FF2B5EF4-FFF2-40B4-BE49-F238E27FC236}">
                  <a16:creationId xmlns:a16="http://schemas.microsoft.com/office/drawing/2014/main" id="{FEDBE391-B0DC-402A-9C3E-95024AD50A0B}"/>
                </a:ext>
              </a:extLst>
            </p:cNvPr>
            <p:cNvSpPr/>
            <p:nvPr/>
          </p:nvSpPr>
          <p:spPr bwMode="auto">
            <a:xfrm>
              <a:off x="5664314" y="3415582"/>
              <a:ext cx="686085" cy="138499"/>
            </a:xfrm>
            <a:prstGeom prst="rect">
              <a:avLst/>
            </a:prstGeom>
            <a:noFill/>
            <a:ln w="9525" cap="flat" cmpd="sng" algn="ctr">
              <a:noFill/>
              <a:prstDash val="sysDot"/>
              <a:headEnd type="none" w="med" len="med"/>
              <a:tailEnd type="none" w="med" len="med"/>
            </a:ln>
            <a:effectLst/>
          </p:spPr>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marL="0" marR="0" lvl="0" indent="0" algn="l" defTabSz="60888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505050"/>
                  </a:solidFill>
                  <a:effectLst/>
                  <a:uLnTx/>
                  <a:uFillTx/>
                  <a:latin typeface="Segoe UI"/>
                  <a:ea typeface="+mn-ea"/>
                  <a:cs typeface="+mn-cs"/>
                </a:rPr>
                <a:t>Collaboration</a:t>
              </a:r>
            </a:p>
          </p:txBody>
        </p:sp>
        <p:grpSp>
          <p:nvGrpSpPr>
            <p:cNvPr id="247" name="Group 246">
              <a:extLst>
                <a:ext uri="{FF2B5EF4-FFF2-40B4-BE49-F238E27FC236}">
                  <a16:creationId xmlns:a16="http://schemas.microsoft.com/office/drawing/2014/main" id="{D6B117AA-4F58-47C3-8BD4-7A2568263933}"/>
                </a:ext>
              </a:extLst>
            </p:cNvPr>
            <p:cNvGrpSpPr>
              <a:grpSpLocks noChangeAspect="1"/>
            </p:cNvGrpSpPr>
            <p:nvPr/>
          </p:nvGrpSpPr>
          <p:grpSpPr>
            <a:xfrm>
              <a:off x="6086182" y="2925080"/>
              <a:ext cx="245232" cy="467465"/>
              <a:chOff x="13253772" y="-14449"/>
              <a:chExt cx="3216275" cy="6130925"/>
            </a:xfrm>
            <a:solidFill>
              <a:srgbClr val="5E83BD"/>
            </a:solidFill>
          </p:grpSpPr>
          <p:sp>
            <p:nvSpPr>
              <p:cNvPr id="284" name="Freeform 120">
                <a:extLst>
                  <a:ext uri="{FF2B5EF4-FFF2-40B4-BE49-F238E27FC236}">
                    <a16:creationId xmlns:a16="http://schemas.microsoft.com/office/drawing/2014/main" id="{B79064E5-C9BC-43F2-828C-D261CD7E7B12}"/>
                  </a:ext>
                </a:extLst>
              </p:cNvPr>
              <p:cNvSpPr>
                <a:spLocks/>
              </p:cNvSpPr>
              <p:nvPr/>
            </p:nvSpPr>
            <p:spPr bwMode="auto">
              <a:xfrm>
                <a:off x="14787297" y="-14449"/>
                <a:ext cx="993775" cy="981075"/>
              </a:xfrm>
              <a:custGeom>
                <a:avLst/>
                <a:gdLst>
                  <a:gd name="T0" fmla="*/ 194 w 626"/>
                  <a:gd name="T1" fmla="*/ 24 h 618"/>
                  <a:gd name="T2" fmla="*/ 232 w 626"/>
                  <a:gd name="T3" fmla="*/ 10 h 618"/>
                  <a:gd name="T4" fmla="*/ 270 w 626"/>
                  <a:gd name="T5" fmla="*/ 2 h 618"/>
                  <a:gd name="T6" fmla="*/ 310 w 626"/>
                  <a:gd name="T7" fmla="*/ 0 h 618"/>
                  <a:gd name="T8" fmla="*/ 348 w 626"/>
                  <a:gd name="T9" fmla="*/ 2 h 618"/>
                  <a:gd name="T10" fmla="*/ 386 w 626"/>
                  <a:gd name="T11" fmla="*/ 10 h 618"/>
                  <a:gd name="T12" fmla="*/ 458 w 626"/>
                  <a:gd name="T13" fmla="*/ 38 h 618"/>
                  <a:gd name="T14" fmla="*/ 522 w 626"/>
                  <a:gd name="T15" fmla="*/ 82 h 618"/>
                  <a:gd name="T16" fmla="*/ 574 w 626"/>
                  <a:gd name="T17" fmla="*/ 140 h 618"/>
                  <a:gd name="T18" fmla="*/ 594 w 626"/>
                  <a:gd name="T19" fmla="*/ 172 h 618"/>
                  <a:gd name="T20" fmla="*/ 610 w 626"/>
                  <a:gd name="T21" fmla="*/ 208 h 618"/>
                  <a:gd name="T22" fmla="*/ 622 w 626"/>
                  <a:gd name="T23" fmla="*/ 246 h 618"/>
                  <a:gd name="T24" fmla="*/ 626 w 626"/>
                  <a:gd name="T25" fmla="*/ 284 h 618"/>
                  <a:gd name="T26" fmla="*/ 626 w 626"/>
                  <a:gd name="T27" fmla="*/ 324 h 618"/>
                  <a:gd name="T28" fmla="*/ 626 w 626"/>
                  <a:gd name="T29" fmla="*/ 348 h 618"/>
                  <a:gd name="T30" fmla="*/ 620 w 626"/>
                  <a:gd name="T31" fmla="*/ 392 h 618"/>
                  <a:gd name="T32" fmla="*/ 608 w 626"/>
                  <a:gd name="T33" fmla="*/ 434 h 618"/>
                  <a:gd name="T34" fmla="*/ 588 w 626"/>
                  <a:gd name="T35" fmla="*/ 472 h 618"/>
                  <a:gd name="T36" fmla="*/ 562 w 626"/>
                  <a:gd name="T37" fmla="*/ 506 h 618"/>
                  <a:gd name="T38" fmla="*/ 532 w 626"/>
                  <a:gd name="T39" fmla="*/ 536 h 618"/>
                  <a:gd name="T40" fmla="*/ 498 w 626"/>
                  <a:gd name="T41" fmla="*/ 560 h 618"/>
                  <a:gd name="T42" fmla="*/ 460 w 626"/>
                  <a:gd name="T43" fmla="*/ 582 h 618"/>
                  <a:gd name="T44" fmla="*/ 420 w 626"/>
                  <a:gd name="T45" fmla="*/ 598 h 618"/>
                  <a:gd name="T46" fmla="*/ 378 w 626"/>
                  <a:gd name="T47" fmla="*/ 610 h 618"/>
                  <a:gd name="T48" fmla="*/ 336 w 626"/>
                  <a:gd name="T49" fmla="*/ 616 h 618"/>
                  <a:gd name="T50" fmla="*/ 292 w 626"/>
                  <a:gd name="T51" fmla="*/ 618 h 618"/>
                  <a:gd name="T52" fmla="*/ 248 w 626"/>
                  <a:gd name="T53" fmla="*/ 612 h 618"/>
                  <a:gd name="T54" fmla="*/ 206 w 626"/>
                  <a:gd name="T55" fmla="*/ 602 h 618"/>
                  <a:gd name="T56" fmla="*/ 166 w 626"/>
                  <a:gd name="T57" fmla="*/ 586 h 618"/>
                  <a:gd name="T58" fmla="*/ 130 w 626"/>
                  <a:gd name="T59" fmla="*/ 562 h 618"/>
                  <a:gd name="T60" fmla="*/ 112 w 626"/>
                  <a:gd name="T61" fmla="*/ 548 h 618"/>
                  <a:gd name="T62" fmla="*/ 80 w 626"/>
                  <a:gd name="T63" fmla="*/ 520 h 618"/>
                  <a:gd name="T64" fmla="*/ 56 w 626"/>
                  <a:gd name="T65" fmla="*/ 490 h 618"/>
                  <a:gd name="T66" fmla="*/ 34 w 626"/>
                  <a:gd name="T67" fmla="*/ 456 h 618"/>
                  <a:gd name="T68" fmla="*/ 18 w 626"/>
                  <a:gd name="T69" fmla="*/ 420 h 618"/>
                  <a:gd name="T70" fmla="*/ 8 w 626"/>
                  <a:gd name="T71" fmla="*/ 382 h 618"/>
                  <a:gd name="T72" fmla="*/ 2 w 626"/>
                  <a:gd name="T73" fmla="*/ 342 h 618"/>
                  <a:gd name="T74" fmla="*/ 4 w 626"/>
                  <a:gd name="T75" fmla="*/ 262 h 618"/>
                  <a:gd name="T76" fmla="*/ 18 w 626"/>
                  <a:gd name="T77" fmla="*/ 204 h 618"/>
                  <a:gd name="T78" fmla="*/ 34 w 626"/>
                  <a:gd name="T79" fmla="*/ 168 h 618"/>
                  <a:gd name="T80" fmla="*/ 54 w 626"/>
                  <a:gd name="T81" fmla="*/ 132 h 618"/>
                  <a:gd name="T82" fmla="*/ 78 w 626"/>
                  <a:gd name="T83" fmla="*/ 102 h 618"/>
                  <a:gd name="T84" fmla="*/ 106 w 626"/>
                  <a:gd name="T85" fmla="*/ 74 h 618"/>
                  <a:gd name="T86" fmla="*/ 138 w 626"/>
                  <a:gd name="T87" fmla="*/ 50 h 618"/>
                  <a:gd name="T88" fmla="*/ 174 w 626"/>
                  <a:gd name="T89" fmla="*/ 32 h 618"/>
                  <a:gd name="T90" fmla="*/ 194 w 626"/>
                  <a:gd name="T91" fmla="*/ 2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26" h="618">
                    <a:moveTo>
                      <a:pt x="194" y="24"/>
                    </a:moveTo>
                    <a:lnTo>
                      <a:pt x="194" y="24"/>
                    </a:lnTo>
                    <a:lnTo>
                      <a:pt x="212" y="16"/>
                    </a:lnTo>
                    <a:lnTo>
                      <a:pt x="232" y="10"/>
                    </a:lnTo>
                    <a:lnTo>
                      <a:pt x="250" y="6"/>
                    </a:lnTo>
                    <a:lnTo>
                      <a:pt x="270" y="2"/>
                    </a:lnTo>
                    <a:lnTo>
                      <a:pt x="290" y="0"/>
                    </a:lnTo>
                    <a:lnTo>
                      <a:pt x="310" y="0"/>
                    </a:lnTo>
                    <a:lnTo>
                      <a:pt x="328" y="0"/>
                    </a:lnTo>
                    <a:lnTo>
                      <a:pt x="348" y="2"/>
                    </a:lnTo>
                    <a:lnTo>
                      <a:pt x="366" y="4"/>
                    </a:lnTo>
                    <a:lnTo>
                      <a:pt x="386" y="10"/>
                    </a:lnTo>
                    <a:lnTo>
                      <a:pt x="422" y="22"/>
                    </a:lnTo>
                    <a:lnTo>
                      <a:pt x="458" y="38"/>
                    </a:lnTo>
                    <a:lnTo>
                      <a:pt x="492" y="58"/>
                    </a:lnTo>
                    <a:lnTo>
                      <a:pt x="522" y="82"/>
                    </a:lnTo>
                    <a:lnTo>
                      <a:pt x="550" y="110"/>
                    </a:lnTo>
                    <a:lnTo>
                      <a:pt x="574" y="140"/>
                    </a:lnTo>
                    <a:lnTo>
                      <a:pt x="586" y="156"/>
                    </a:lnTo>
                    <a:lnTo>
                      <a:pt x="594" y="172"/>
                    </a:lnTo>
                    <a:lnTo>
                      <a:pt x="604" y="190"/>
                    </a:lnTo>
                    <a:lnTo>
                      <a:pt x="610" y="208"/>
                    </a:lnTo>
                    <a:lnTo>
                      <a:pt x="616" y="226"/>
                    </a:lnTo>
                    <a:lnTo>
                      <a:pt x="622" y="246"/>
                    </a:lnTo>
                    <a:lnTo>
                      <a:pt x="624" y="264"/>
                    </a:lnTo>
                    <a:lnTo>
                      <a:pt x="626" y="284"/>
                    </a:lnTo>
                    <a:lnTo>
                      <a:pt x="626" y="304"/>
                    </a:lnTo>
                    <a:lnTo>
                      <a:pt x="626" y="324"/>
                    </a:lnTo>
                    <a:lnTo>
                      <a:pt x="626" y="324"/>
                    </a:lnTo>
                    <a:lnTo>
                      <a:pt x="626" y="348"/>
                    </a:lnTo>
                    <a:lnTo>
                      <a:pt x="624" y="370"/>
                    </a:lnTo>
                    <a:lnTo>
                      <a:pt x="620" y="392"/>
                    </a:lnTo>
                    <a:lnTo>
                      <a:pt x="614" y="414"/>
                    </a:lnTo>
                    <a:lnTo>
                      <a:pt x="608" y="434"/>
                    </a:lnTo>
                    <a:lnTo>
                      <a:pt x="598" y="452"/>
                    </a:lnTo>
                    <a:lnTo>
                      <a:pt x="588" y="472"/>
                    </a:lnTo>
                    <a:lnTo>
                      <a:pt x="576" y="488"/>
                    </a:lnTo>
                    <a:lnTo>
                      <a:pt x="562" y="506"/>
                    </a:lnTo>
                    <a:lnTo>
                      <a:pt x="548" y="520"/>
                    </a:lnTo>
                    <a:lnTo>
                      <a:pt x="532" y="536"/>
                    </a:lnTo>
                    <a:lnTo>
                      <a:pt x="516" y="548"/>
                    </a:lnTo>
                    <a:lnTo>
                      <a:pt x="498" y="560"/>
                    </a:lnTo>
                    <a:lnTo>
                      <a:pt x="480" y="572"/>
                    </a:lnTo>
                    <a:lnTo>
                      <a:pt x="460" y="582"/>
                    </a:lnTo>
                    <a:lnTo>
                      <a:pt x="442" y="590"/>
                    </a:lnTo>
                    <a:lnTo>
                      <a:pt x="420" y="598"/>
                    </a:lnTo>
                    <a:lnTo>
                      <a:pt x="400" y="604"/>
                    </a:lnTo>
                    <a:lnTo>
                      <a:pt x="378" y="610"/>
                    </a:lnTo>
                    <a:lnTo>
                      <a:pt x="358" y="614"/>
                    </a:lnTo>
                    <a:lnTo>
                      <a:pt x="336" y="616"/>
                    </a:lnTo>
                    <a:lnTo>
                      <a:pt x="314" y="618"/>
                    </a:lnTo>
                    <a:lnTo>
                      <a:pt x="292" y="618"/>
                    </a:lnTo>
                    <a:lnTo>
                      <a:pt x="270" y="616"/>
                    </a:lnTo>
                    <a:lnTo>
                      <a:pt x="248" y="612"/>
                    </a:lnTo>
                    <a:lnTo>
                      <a:pt x="228" y="608"/>
                    </a:lnTo>
                    <a:lnTo>
                      <a:pt x="206" y="602"/>
                    </a:lnTo>
                    <a:lnTo>
                      <a:pt x="186" y="594"/>
                    </a:lnTo>
                    <a:lnTo>
                      <a:pt x="166" y="586"/>
                    </a:lnTo>
                    <a:lnTo>
                      <a:pt x="148" y="574"/>
                    </a:lnTo>
                    <a:lnTo>
                      <a:pt x="130" y="562"/>
                    </a:lnTo>
                    <a:lnTo>
                      <a:pt x="112" y="548"/>
                    </a:lnTo>
                    <a:lnTo>
                      <a:pt x="112" y="548"/>
                    </a:lnTo>
                    <a:lnTo>
                      <a:pt x="96" y="536"/>
                    </a:lnTo>
                    <a:lnTo>
                      <a:pt x="80" y="520"/>
                    </a:lnTo>
                    <a:lnTo>
                      <a:pt x="68" y="506"/>
                    </a:lnTo>
                    <a:lnTo>
                      <a:pt x="56" y="490"/>
                    </a:lnTo>
                    <a:lnTo>
                      <a:pt x="44" y="474"/>
                    </a:lnTo>
                    <a:lnTo>
                      <a:pt x="34" y="456"/>
                    </a:lnTo>
                    <a:lnTo>
                      <a:pt x="26" y="438"/>
                    </a:lnTo>
                    <a:lnTo>
                      <a:pt x="18" y="420"/>
                    </a:lnTo>
                    <a:lnTo>
                      <a:pt x="12" y="400"/>
                    </a:lnTo>
                    <a:lnTo>
                      <a:pt x="8" y="382"/>
                    </a:lnTo>
                    <a:lnTo>
                      <a:pt x="4" y="362"/>
                    </a:lnTo>
                    <a:lnTo>
                      <a:pt x="2" y="342"/>
                    </a:lnTo>
                    <a:lnTo>
                      <a:pt x="0" y="302"/>
                    </a:lnTo>
                    <a:lnTo>
                      <a:pt x="4" y="262"/>
                    </a:lnTo>
                    <a:lnTo>
                      <a:pt x="12" y="222"/>
                    </a:lnTo>
                    <a:lnTo>
                      <a:pt x="18" y="204"/>
                    </a:lnTo>
                    <a:lnTo>
                      <a:pt x="26" y="186"/>
                    </a:lnTo>
                    <a:lnTo>
                      <a:pt x="34" y="168"/>
                    </a:lnTo>
                    <a:lnTo>
                      <a:pt x="42" y="150"/>
                    </a:lnTo>
                    <a:lnTo>
                      <a:pt x="54" y="132"/>
                    </a:lnTo>
                    <a:lnTo>
                      <a:pt x="64" y="116"/>
                    </a:lnTo>
                    <a:lnTo>
                      <a:pt x="78" y="102"/>
                    </a:lnTo>
                    <a:lnTo>
                      <a:pt x="90" y="88"/>
                    </a:lnTo>
                    <a:lnTo>
                      <a:pt x="106" y="74"/>
                    </a:lnTo>
                    <a:lnTo>
                      <a:pt x="120" y="62"/>
                    </a:lnTo>
                    <a:lnTo>
                      <a:pt x="138" y="50"/>
                    </a:lnTo>
                    <a:lnTo>
                      <a:pt x="156" y="40"/>
                    </a:lnTo>
                    <a:lnTo>
                      <a:pt x="174" y="32"/>
                    </a:lnTo>
                    <a:lnTo>
                      <a:pt x="194" y="24"/>
                    </a:lnTo>
                    <a:lnTo>
                      <a:pt x="194"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Segoe UI"/>
                  <a:ea typeface="+mn-ea"/>
                  <a:cs typeface="+mn-cs"/>
                </a:endParaRPr>
              </a:p>
            </p:txBody>
          </p:sp>
          <p:sp>
            <p:nvSpPr>
              <p:cNvPr id="285" name="Freeform 121">
                <a:extLst>
                  <a:ext uri="{FF2B5EF4-FFF2-40B4-BE49-F238E27FC236}">
                    <a16:creationId xmlns:a16="http://schemas.microsoft.com/office/drawing/2014/main" id="{E20EC893-C6F1-4113-ABE3-5A322B59F735}"/>
                  </a:ext>
                </a:extLst>
              </p:cNvPr>
              <p:cNvSpPr>
                <a:spLocks/>
              </p:cNvSpPr>
              <p:nvPr/>
            </p:nvSpPr>
            <p:spPr bwMode="auto">
              <a:xfrm>
                <a:off x="13253772" y="1125376"/>
                <a:ext cx="3216275" cy="4991100"/>
              </a:xfrm>
              <a:custGeom>
                <a:avLst/>
                <a:gdLst>
                  <a:gd name="T0" fmla="*/ 690 w 2026"/>
                  <a:gd name="T1" fmla="*/ 66 h 3144"/>
                  <a:gd name="T2" fmla="*/ 796 w 2026"/>
                  <a:gd name="T3" fmla="*/ 14 h 3144"/>
                  <a:gd name="T4" fmla="*/ 918 w 2026"/>
                  <a:gd name="T5" fmla="*/ 0 h 3144"/>
                  <a:gd name="T6" fmla="*/ 1102 w 2026"/>
                  <a:gd name="T7" fmla="*/ 0 h 3144"/>
                  <a:gd name="T8" fmla="*/ 1476 w 2026"/>
                  <a:gd name="T9" fmla="*/ 2 h 3144"/>
                  <a:gd name="T10" fmla="*/ 1660 w 2026"/>
                  <a:gd name="T11" fmla="*/ 18 h 3144"/>
                  <a:gd name="T12" fmla="*/ 1840 w 2026"/>
                  <a:gd name="T13" fmla="*/ 68 h 3144"/>
                  <a:gd name="T14" fmla="*/ 1910 w 2026"/>
                  <a:gd name="T15" fmla="*/ 114 h 3144"/>
                  <a:gd name="T16" fmla="*/ 1974 w 2026"/>
                  <a:gd name="T17" fmla="*/ 202 h 3144"/>
                  <a:gd name="T18" fmla="*/ 2010 w 2026"/>
                  <a:gd name="T19" fmla="*/ 310 h 3144"/>
                  <a:gd name="T20" fmla="*/ 2026 w 2026"/>
                  <a:gd name="T21" fmla="*/ 448 h 3144"/>
                  <a:gd name="T22" fmla="*/ 2024 w 2026"/>
                  <a:gd name="T23" fmla="*/ 1290 h 3144"/>
                  <a:gd name="T24" fmla="*/ 2020 w 2026"/>
                  <a:gd name="T25" fmla="*/ 1438 h 3144"/>
                  <a:gd name="T26" fmla="*/ 2004 w 2026"/>
                  <a:gd name="T27" fmla="*/ 1484 h 3144"/>
                  <a:gd name="T28" fmla="*/ 1948 w 2026"/>
                  <a:gd name="T29" fmla="*/ 1528 h 3144"/>
                  <a:gd name="T30" fmla="*/ 1854 w 2026"/>
                  <a:gd name="T31" fmla="*/ 1538 h 3144"/>
                  <a:gd name="T32" fmla="*/ 1794 w 2026"/>
                  <a:gd name="T33" fmla="*/ 1504 h 3144"/>
                  <a:gd name="T34" fmla="*/ 1770 w 2026"/>
                  <a:gd name="T35" fmla="*/ 1462 h 3144"/>
                  <a:gd name="T36" fmla="*/ 1762 w 2026"/>
                  <a:gd name="T37" fmla="*/ 1320 h 3144"/>
                  <a:gd name="T38" fmla="*/ 1762 w 2026"/>
                  <a:gd name="T39" fmla="*/ 630 h 3144"/>
                  <a:gd name="T40" fmla="*/ 1664 w 2026"/>
                  <a:gd name="T41" fmla="*/ 514 h 3144"/>
                  <a:gd name="T42" fmla="*/ 1664 w 2026"/>
                  <a:gd name="T43" fmla="*/ 2966 h 3144"/>
                  <a:gd name="T44" fmla="*/ 1634 w 2026"/>
                  <a:gd name="T45" fmla="*/ 3058 h 3144"/>
                  <a:gd name="T46" fmla="*/ 1564 w 2026"/>
                  <a:gd name="T47" fmla="*/ 3122 h 3144"/>
                  <a:gd name="T48" fmla="*/ 1472 w 2026"/>
                  <a:gd name="T49" fmla="*/ 3144 h 3144"/>
                  <a:gd name="T50" fmla="*/ 1400 w 2026"/>
                  <a:gd name="T51" fmla="*/ 3126 h 3144"/>
                  <a:gd name="T52" fmla="*/ 1358 w 2026"/>
                  <a:gd name="T53" fmla="*/ 3104 h 3144"/>
                  <a:gd name="T54" fmla="*/ 1330 w 2026"/>
                  <a:gd name="T55" fmla="*/ 3044 h 3144"/>
                  <a:gd name="T56" fmla="*/ 1318 w 2026"/>
                  <a:gd name="T57" fmla="*/ 2796 h 3144"/>
                  <a:gd name="T58" fmla="*/ 1320 w 2026"/>
                  <a:gd name="T59" fmla="*/ 1900 h 3144"/>
                  <a:gd name="T60" fmla="*/ 1226 w 2026"/>
                  <a:gd name="T61" fmla="*/ 1530 h 3144"/>
                  <a:gd name="T62" fmla="*/ 1222 w 2026"/>
                  <a:gd name="T63" fmla="*/ 2268 h 3144"/>
                  <a:gd name="T64" fmla="*/ 1220 w 2026"/>
                  <a:gd name="T65" fmla="*/ 3008 h 3144"/>
                  <a:gd name="T66" fmla="*/ 1194 w 2026"/>
                  <a:gd name="T67" fmla="*/ 3070 h 3144"/>
                  <a:gd name="T68" fmla="*/ 1148 w 2026"/>
                  <a:gd name="T69" fmla="*/ 3114 h 3144"/>
                  <a:gd name="T70" fmla="*/ 1090 w 2026"/>
                  <a:gd name="T71" fmla="*/ 3136 h 3144"/>
                  <a:gd name="T72" fmla="*/ 994 w 2026"/>
                  <a:gd name="T73" fmla="*/ 3136 h 3144"/>
                  <a:gd name="T74" fmla="*/ 936 w 2026"/>
                  <a:gd name="T75" fmla="*/ 3112 h 3144"/>
                  <a:gd name="T76" fmla="*/ 890 w 2026"/>
                  <a:gd name="T77" fmla="*/ 3070 h 3144"/>
                  <a:gd name="T78" fmla="*/ 866 w 2026"/>
                  <a:gd name="T79" fmla="*/ 3010 h 3144"/>
                  <a:gd name="T80" fmla="*/ 862 w 2026"/>
                  <a:gd name="T81" fmla="*/ 2320 h 3144"/>
                  <a:gd name="T82" fmla="*/ 860 w 2026"/>
                  <a:gd name="T83" fmla="*/ 356 h 3144"/>
                  <a:gd name="T84" fmla="*/ 552 w 2026"/>
                  <a:gd name="T85" fmla="*/ 718 h 3144"/>
                  <a:gd name="T86" fmla="*/ 282 w 2026"/>
                  <a:gd name="T87" fmla="*/ 1032 h 3144"/>
                  <a:gd name="T88" fmla="*/ 216 w 2026"/>
                  <a:gd name="T89" fmla="*/ 1090 h 3144"/>
                  <a:gd name="T90" fmla="*/ 164 w 2026"/>
                  <a:gd name="T91" fmla="*/ 1104 h 3144"/>
                  <a:gd name="T92" fmla="*/ 90 w 2026"/>
                  <a:gd name="T93" fmla="*/ 1088 h 3144"/>
                  <a:gd name="T94" fmla="*/ 18 w 2026"/>
                  <a:gd name="T95" fmla="*/ 1016 h 3144"/>
                  <a:gd name="T96" fmla="*/ 0 w 2026"/>
                  <a:gd name="T97" fmla="*/ 942 h 3144"/>
                  <a:gd name="T98" fmla="*/ 12 w 2026"/>
                  <a:gd name="T99" fmla="*/ 890 h 3144"/>
                  <a:gd name="T100" fmla="*/ 102 w 2026"/>
                  <a:gd name="T101" fmla="*/ 770 h 3144"/>
                  <a:gd name="T102" fmla="*/ 646 w 2026"/>
                  <a:gd name="T103" fmla="*/ 112 h 3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26" h="3144">
                    <a:moveTo>
                      <a:pt x="646" y="112"/>
                    </a:moveTo>
                    <a:lnTo>
                      <a:pt x="646" y="112"/>
                    </a:lnTo>
                    <a:lnTo>
                      <a:pt x="666" y="88"/>
                    </a:lnTo>
                    <a:lnTo>
                      <a:pt x="690" y="66"/>
                    </a:lnTo>
                    <a:lnTo>
                      <a:pt x="714" y="48"/>
                    </a:lnTo>
                    <a:lnTo>
                      <a:pt x="740" y="34"/>
                    </a:lnTo>
                    <a:lnTo>
                      <a:pt x="768" y="22"/>
                    </a:lnTo>
                    <a:lnTo>
                      <a:pt x="796" y="14"/>
                    </a:lnTo>
                    <a:lnTo>
                      <a:pt x="826" y="8"/>
                    </a:lnTo>
                    <a:lnTo>
                      <a:pt x="856" y="4"/>
                    </a:lnTo>
                    <a:lnTo>
                      <a:pt x="886" y="2"/>
                    </a:lnTo>
                    <a:lnTo>
                      <a:pt x="918" y="0"/>
                    </a:lnTo>
                    <a:lnTo>
                      <a:pt x="980" y="0"/>
                    </a:lnTo>
                    <a:lnTo>
                      <a:pt x="1042" y="2"/>
                    </a:lnTo>
                    <a:lnTo>
                      <a:pt x="1102" y="0"/>
                    </a:lnTo>
                    <a:lnTo>
                      <a:pt x="1102" y="0"/>
                    </a:lnTo>
                    <a:lnTo>
                      <a:pt x="1196" y="2"/>
                    </a:lnTo>
                    <a:lnTo>
                      <a:pt x="1288" y="2"/>
                    </a:lnTo>
                    <a:lnTo>
                      <a:pt x="1382" y="0"/>
                    </a:lnTo>
                    <a:lnTo>
                      <a:pt x="1476" y="2"/>
                    </a:lnTo>
                    <a:lnTo>
                      <a:pt x="1522" y="4"/>
                    </a:lnTo>
                    <a:lnTo>
                      <a:pt x="1568" y="6"/>
                    </a:lnTo>
                    <a:lnTo>
                      <a:pt x="1614" y="12"/>
                    </a:lnTo>
                    <a:lnTo>
                      <a:pt x="1660" y="18"/>
                    </a:lnTo>
                    <a:lnTo>
                      <a:pt x="1706" y="26"/>
                    </a:lnTo>
                    <a:lnTo>
                      <a:pt x="1750" y="38"/>
                    </a:lnTo>
                    <a:lnTo>
                      <a:pt x="1796" y="50"/>
                    </a:lnTo>
                    <a:lnTo>
                      <a:pt x="1840" y="68"/>
                    </a:lnTo>
                    <a:lnTo>
                      <a:pt x="1840" y="68"/>
                    </a:lnTo>
                    <a:lnTo>
                      <a:pt x="1866" y="80"/>
                    </a:lnTo>
                    <a:lnTo>
                      <a:pt x="1888" y="96"/>
                    </a:lnTo>
                    <a:lnTo>
                      <a:pt x="1910" y="114"/>
                    </a:lnTo>
                    <a:lnTo>
                      <a:pt x="1930" y="134"/>
                    </a:lnTo>
                    <a:lnTo>
                      <a:pt x="1946" y="154"/>
                    </a:lnTo>
                    <a:lnTo>
                      <a:pt x="1960" y="178"/>
                    </a:lnTo>
                    <a:lnTo>
                      <a:pt x="1974" y="202"/>
                    </a:lnTo>
                    <a:lnTo>
                      <a:pt x="1984" y="228"/>
                    </a:lnTo>
                    <a:lnTo>
                      <a:pt x="1994" y="254"/>
                    </a:lnTo>
                    <a:lnTo>
                      <a:pt x="2002" y="282"/>
                    </a:lnTo>
                    <a:lnTo>
                      <a:pt x="2010" y="310"/>
                    </a:lnTo>
                    <a:lnTo>
                      <a:pt x="2014" y="338"/>
                    </a:lnTo>
                    <a:lnTo>
                      <a:pt x="2022" y="394"/>
                    </a:lnTo>
                    <a:lnTo>
                      <a:pt x="2026" y="448"/>
                    </a:lnTo>
                    <a:lnTo>
                      <a:pt x="2026" y="448"/>
                    </a:lnTo>
                    <a:lnTo>
                      <a:pt x="2026" y="690"/>
                    </a:lnTo>
                    <a:lnTo>
                      <a:pt x="2026" y="930"/>
                    </a:lnTo>
                    <a:lnTo>
                      <a:pt x="2026" y="1170"/>
                    </a:lnTo>
                    <a:lnTo>
                      <a:pt x="2024" y="1290"/>
                    </a:lnTo>
                    <a:lnTo>
                      <a:pt x="2022" y="1410"/>
                    </a:lnTo>
                    <a:lnTo>
                      <a:pt x="2022" y="1410"/>
                    </a:lnTo>
                    <a:lnTo>
                      <a:pt x="2022" y="1426"/>
                    </a:lnTo>
                    <a:lnTo>
                      <a:pt x="2020" y="1438"/>
                    </a:lnTo>
                    <a:lnTo>
                      <a:pt x="2018" y="1452"/>
                    </a:lnTo>
                    <a:lnTo>
                      <a:pt x="2014" y="1462"/>
                    </a:lnTo>
                    <a:lnTo>
                      <a:pt x="2010" y="1474"/>
                    </a:lnTo>
                    <a:lnTo>
                      <a:pt x="2004" y="1484"/>
                    </a:lnTo>
                    <a:lnTo>
                      <a:pt x="1996" y="1494"/>
                    </a:lnTo>
                    <a:lnTo>
                      <a:pt x="1988" y="1502"/>
                    </a:lnTo>
                    <a:lnTo>
                      <a:pt x="1970" y="1516"/>
                    </a:lnTo>
                    <a:lnTo>
                      <a:pt x="1948" y="1528"/>
                    </a:lnTo>
                    <a:lnTo>
                      <a:pt x="1926" y="1536"/>
                    </a:lnTo>
                    <a:lnTo>
                      <a:pt x="1902" y="1540"/>
                    </a:lnTo>
                    <a:lnTo>
                      <a:pt x="1878" y="1540"/>
                    </a:lnTo>
                    <a:lnTo>
                      <a:pt x="1854" y="1538"/>
                    </a:lnTo>
                    <a:lnTo>
                      <a:pt x="1832" y="1530"/>
                    </a:lnTo>
                    <a:lnTo>
                      <a:pt x="1812" y="1520"/>
                    </a:lnTo>
                    <a:lnTo>
                      <a:pt x="1802" y="1512"/>
                    </a:lnTo>
                    <a:lnTo>
                      <a:pt x="1794" y="1504"/>
                    </a:lnTo>
                    <a:lnTo>
                      <a:pt x="1786" y="1496"/>
                    </a:lnTo>
                    <a:lnTo>
                      <a:pt x="1780" y="1486"/>
                    </a:lnTo>
                    <a:lnTo>
                      <a:pt x="1774" y="1474"/>
                    </a:lnTo>
                    <a:lnTo>
                      <a:pt x="1770" y="1462"/>
                    </a:lnTo>
                    <a:lnTo>
                      <a:pt x="1768" y="1450"/>
                    </a:lnTo>
                    <a:lnTo>
                      <a:pt x="1766" y="1434"/>
                    </a:lnTo>
                    <a:lnTo>
                      <a:pt x="1766" y="1434"/>
                    </a:lnTo>
                    <a:lnTo>
                      <a:pt x="1762" y="1320"/>
                    </a:lnTo>
                    <a:lnTo>
                      <a:pt x="1760" y="1206"/>
                    </a:lnTo>
                    <a:lnTo>
                      <a:pt x="1760" y="976"/>
                    </a:lnTo>
                    <a:lnTo>
                      <a:pt x="1762" y="746"/>
                    </a:lnTo>
                    <a:lnTo>
                      <a:pt x="1762" y="630"/>
                    </a:lnTo>
                    <a:lnTo>
                      <a:pt x="1760" y="516"/>
                    </a:lnTo>
                    <a:lnTo>
                      <a:pt x="1760" y="516"/>
                    </a:lnTo>
                    <a:lnTo>
                      <a:pt x="1664" y="514"/>
                    </a:lnTo>
                    <a:lnTo>
                      <a:pt x="1664" y="514"/>
                    </a:lnTo>
                    <a:lnTo>
                      <a:pt x="1664" y="1726"/>
                    </a:lnTo>
                    <a:lnTo>
                      <a:pt x="1664" y="2940"/>
                    </a:lnTo>
                    <a:lnTo>
                      <a:pt x="1664" y="2940"/>
                    </a:lnTo>
                    <a:lnTo>
                      <a:pt x="1664" y="2966"/>
                    </a:lnTo>
                    <a:lnTo>
                      <a:pt x="1662" y="2992"/>
                    </a:lnTo>
                    <a:lnTo>
                      <a:pt x="1654" y="3016"/>
                    </a:lnTo>
                    <a:lnTo>
                      <a:pt x="1646" y="3038"/>
                    </a:lnTo>
                    <a:lnTo>
                      <a:pt x="1634" y="3058"/>
                    </a:lnTo>
                    <a:lnTo>
                      <a:pt x="1620" y="3078"/>
                    </a:lnTo>
                    <a:lnTo>
                      <a:pt x="1602" y="3094"/>
                    </a:lnTo>
                    <a:lnTo>
                      <a:pt x="1584" y="3110"/>
                    </a:lnTo>
                    <a:lnTo>
                      <a:pt x="1564" y="3122"/>
                    </a:lnTo>
                    <a:lnTo>
                      <a:pt x="1542" y="3132"/>
                    </a:lnTo>
                    <a:lnTo>
                      <a:pt x="1520" y="3138"/>
                    </a:lnTo>
                    <a:lnTo>
                      <a:pt x="1496" y="3142"/>
                    </a:lnTo>
                    <a:lnTo>
                      <a:pt x="1472" y="3144"/>
                    </a:lnTo>
                    <a:lnTo>
                      <a:pt x="1448" y="3142"/>
                    </a:lnTo>
                    <a:lnTo>
                      <a:pt x="1424" y="3136"/>
                    </a:lnTo>
                    <a:lnTo>
                      <a:pt x="1400" y="3126"/>
                    </a:lnTo>
                    <a:lnTo>
                      <a:pt x="1400" y="3126"/>
                    </a:lnTo>
                    <a:lnTo>
                      <a:pt x="1386" y="3122"/>
                    </a:lnTo>
                    <a:lnTo>
                      <a:pt x="1376" y="3118"/>
                    </a:lnTo>
                    <a:lnTo>
                      <a:pt x="1366" y="3112"/>
                    </a:lnTo>
                    <a:lnTo>
                      <a:pt x="1358" y="3104"/>
                    </a:lnTo>
                    <a:lnTo>
                      <a:pt x="1350" y="3096"/>
                    </a:lnTo>
                    <a:lnTo>
                      <a:pt x="1344" y="3086"/>
                    </a:lnTo>
                    <a:lnTo>
                      <a:pt x="1336" y="3066"/>
                    </a:lnTo>
                    <a:lnTo>
                      <a:pt x="1330" y="3044"/>
                    </a:lnTo>
                    <a:lnTo>
                      <a:pt x="1326" y="3020"/>
                    </a:lnTo>
                    <a:lnTo>
                      <a:pt x="1322" y="2974"/>
                    </a:lnTo>
                    <a:lnTo>
                      <a:pt x="1322" y="2974"/>
                    </a:lnTo>
                    <a:lnTo>
                      <a:pt x="1318" y="2796"/>
                    </a:lnTo>
                    <a:lnTo>
                      <a:pt x="1318" y="2616"/>
                    </a:lnTo>
                    <a:lnTo>
                      <a:pt x="1320" y="2258"/>
                    </a:lnTo>
                    <a:lnTo>
                      <a:pt x="1320" y="2080"/>
                    </a:lnTo>
                    <a:lnTo>
                      <a:pt x="1320" y="1900"/>
                    </a:lnTo>
                    <a:lnTo>
                      <a:pt x="1318" y="1722"/>
                    </a:lnTo>
                    <a:lnTo>
                      <a:pt x="1314" y="1542"/>
                    </a:lnTo>
                    <a:lnTo>
                      <a:pt x="1314" y="1542"/>
                    </a:lnTo>
                    <a:lnTo>
                      <a:pt x="1226" y="1530"/>
                    </a:lnTo>
                    <a:lnTo>
                      <a:pt x="1226" y="1530"/>
                    </a:lnTo>
                    <a:lnTo>
                      <a:pt x="1224" y="1714"/>
                    </a:lnTo>
                    <a:lnTo>
                      <a:pt x="1222" y="1900"/>
                    </a:lnTo>
                    <a:lnTo>
                      <a:pt x="1222" y="2268"/>
                    </a:lnTo>
                    <a:lnTo>
                      <a:pt x="1224" y="2638"/>
                    </a:lnTo>
                    <a:lnTo>
                      <a:pt x="1222" y="2824"/>
                    </a:lnTo>
                    <a:lnTo>
                      <a:pt x="1220" y="3008"/>
                    </a:lnTo>
                    <a:lnTo>
                      <a:pt x="1220" y="3008"/>
                    </a:lnTo>
                    <a:lnTo>
                      <a:pt x="1216" y="3026"/>
                    </a:lnTo>
                    <a:lnTo>
                      <a:pt x="1210" y="3042"/>
                    </a:lnTo>
                    <a:lnTo>
                      <a:pt x="1202" y="3056"/>
                    </a:lnTo>
                    <a:lnTo>
                      <a:pt x="1194" y="3070"/>
                    </a:lnTo>
                    <a:lnTo>
                      <a:pt x="1184" y="3084"/>
                    </a:lnTo>
                    <a:lnTo>
                      <a:pt x="1174" y="3094"/>
                    </a:lnTo>
                    <a:lnTo>
                      <a:pt x="1162" y="3104"/>
                    </a:lnTo>
                    <a:lnTo>
                      <a:pt x="1148" y="3114"/>
                    </a:lnTo>
                    <a:lnTo>
                      <a:pt x="1136" y="3120"/>
                    </a:lnTo>
                    <a:lnTo>
                      <a:pt x="1120" y="3128"/>
                    </a:lnTo>
                    <a:lnTo>
                      <a:pt x="1106" y="3132"/>
                    </a:lnTo>
                    <a:lnTo>
                      <a:pt x="1090" y="3136"/>
                    </a:lnTo>
                    <a:lnTo>
                      <a:pt x="1074" y="3140"/>
                    </a:lnTo>
                    <a:lnTo>
                      <a:pt x="1058" y="3140"/>
                    </a:lnTo>
                    <a:lnTo>
                      <a:pt x="1026" y="3140"/>
                    </a:lnTo>
                    <a:lnTo>
                      <a:pt x="994" y="3136"/>
                    </a:lnTo>
                    <a:lnTo>
                      <a:pt x="978" y="3132"/>
                    </a:lnTo>
                    <a:lnTo>
                      <a:pt x="964" y="3126"/>
                    </a:lnTo>
                    <a:lnTo>
                      <a:pt x="948" y="3120"/>
                    </a:lnTo>
                    <a:lnTo>
                      <a:pt x="936" y="3112"/>
                    </a:lnTo>
                    <a:lnTo>
                      <a:pt x="922" y="3102"/>
                    </a:lnTo>
                    <a:lnTo>
                      <a:pt x="910" y="3092"/>
                    </a:lnTo>
                    <a:lnTo>
                      <a:pt x="900" y="3082"/>
                    </a:lnTo>
                    <a:lnTo>
                      <a:pt x="890" y="3070"/>
                    </a:lnTo>
                    <a:lnTo>
                      <a:pt x="882" y="3056"/>
                    </a:lnTo>
                    <a:lnTo>
                      <a:pt x="874" y="3042"/>
                    </a:lnTo>
                    <a:lnTo>
                      <a:pt x="870" y="3026"/>
                    </a:lnTo>
                    <a:lnTo>
                      <a:pt x="866" y="3010"/>
                    </a:lnTo>
                    <a:lnTo>
                      <a:pt x="864" y="2992"/>
                    </a:lnTo>
                    <a:lnTo>
                      <a:pt x="864" y="2974"/>
                    </a:lnTo>
                    <a:lnTo>
                      <a:pt x="864" y="2974"/>
                    </a:lnTo>
                    <a:lnTo>
                      <a:pt x="862" y="2320"/>
                    </a:lnTo>
                    <a:lnTo>
                      <a:pt x="862" y="1664"/>
                    </a:lnTo>
                    <a:lnTo>
                      <a:pt x="862" y="1010"/>
                    </a:lnTo>
                    <a:lnTo>
                      <a:pt x="860" y="356"/>
                    </a:lnTo>
                    <a:lnTo>
                      <a:pt x="860" y="356"/>
                    </a:lnTo>
                    <a:lnTo>
                      <a:pt x="780" y="444"/>
                    </a:lnTo>
                    <a:lnTo>
                      <a:pt x="702" y="534"/>
                    </a:lnTo>
                    <a:lnTo>
                      <a:pt x="628" y="626"/>
                    </a:lnTo>
                    <a:lnTo>
                      <a:pt x="552" y="718"/>
                    </a:lnTo>
                    <a:lnTo>
                      <a:pt x="478" y="810"/>
                    </a:lnTo>
                    <a:lnTo>
                      <a:pt x="400" y="900"/>
                    </a:lnTo>
                    <a:lnTo>
                      <a:pt x="322" y="988"/>
                    </a:lnTo>
                    <a:lnTo>
                      <a:pt x="282" y="1032"/>
                    </a:lnTo>
                    <a:lnTo>
                      <a:pt x="240" y="1074"/>
                    </a:lnTo>
                    <a:lnTo>
                      <a:pt x="240" y="1074"/>
                    </a:lnTo>
                    <a:lnTo>
                      <a:pt x="228" y="1082"/>
                    </a:lnTo>
                    <a:lnTo>
                      <a:pt x="216" y="1090"/>
                    </a:lnTo>
                    <a:lnTo>
                      <a:pt x="202" y="1096"/>
                    </a:lnTo>
                    <a:lnTo>
                      <a:pt x="190" y="1100"/>
                    </a:lnTo>
                    <a:lnTo>
                      <a:pt x="178" y="1104"/>
                    </a:lnTo>
                    <a:lnTo>
                      <a:pt x="164" y="1104"/>
                    </a:lnTo>
                    <a:lnTo>
                      <a:pt x="152" y="1104"/>
                    </a:lnTo>
                    <a:lnTo>
                      <a:pt x="140" y="1104"/>
                    </a:lnTo>
                    <a:lnTo>
                      <a:pt x="114" y="1098"/>
                    </a:lnTo>
                    <a:lnTo>
                      <a:pt x="90" y="1088"/>
                    </a:lnTo>
                    <a:lnTo>
                      <a:pt x="68" y="1074"/>
                    </a:lnTo>
                    <a:lnTo>
                      <a:pt x="50" y="1058"/>
                    </a:lnTo>
                    <a:lnTo>
                      <a:pt x="32" y="1038"/>
                    </a:lnTo>
                    <a:lnTo>
                      <a:pt x="18" y="1016"/>
                    </a:lnTo>
                    <a:lnTo>
                      <a:pt x="8" y="992"/>
                    </a:lnTo>
                    <a:lnTo>
                      <a:pt x="2" y="968"/>
                    </a:lnTo>
                    <a:lnTo>
                      <a:pt x="0" y="954"/>
                    </a:lnTo>
                    <a:lnTo>
                      <a:pt x="0" y="942"/>
                    </a:lnTo>
                    <a:lnTo>
                      <a:pt x="0" y="930"/>
                    </a:lnTo>
                    <a:lnTo>
                      <a:pt x="4" y="916"/>
                    </a:lnTo>
                    <a:lnTo>
                      <a:pt x="8" y="904"/>
                    </a:lnTo>
                    <a:lnTo>
                      <a:pt x="12" y="890"/>
                    </a:lnTo>
                    <a:lnTo>
                      <a:pt x="20" y="878"/>
                    </a:lnTo>
                    <a:lnTo>
                      <a:pt x="28" y="866"/>
                    </a:lnTo>
                    <a:lnTo>
                      <a:pt x="28" y="866"/>
                    </a:lnTo>
                    <a:lnTo>
                      <a:pt x="102" y="770"/>
                    </a:lnTo>
                    <a:lnTo>
                      <a:pt x="178" y="674"/>
                    </a:lnTo>
                    <a:lnTo>
                      <a:pt x="334" y="486"/>
                    </a:lnTo>
                    <a:lnTo>
                      <a:pt x="490" y="300"/>
                    </a:lnTo>
                    <a:lnTo>
                      <a:pt x="646" y="112"/>
                    </a:lnTo>
                    <a:lnTo>
                      <a:pt x="646" y="1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Segoe UI"/>
                  <a:ea typeface="+mn-ea"/>
                  <a:cs typeface="+mn-cs"/>
                </a:endParaRPr>
              </a:p>
            </p:txBody>
          </p:sp>
        </p:grpSp>
        <p:grpSp>
          <p:nvGrpSpPr>
            <p:cNvPr id="248" name="Group 247">
              <a:extLst>
                <a:ext uri="{FF2B5EF4-FFF2-40B4-BE49-F238E27FC236}">
                  <a16:creationId xmlns:a16="http://schemas.microsoft.com/office/drawing/2014/main" id="{EC1AD0D8-BD1B-4F0E-9335-E8A0B5808F78}"/>
                </a:ext>
              </a:extLst>
            </p:cNvPr>
            <p:cNvGrpSpPr/>
            <p:nvPr/>
          </p:nvGrpSpPr>
          <p:grpSpPr>
            <a:xfrm>
              <a:off x="5579487" y="2946805"/>
              <a:ext cx="467747" cy="440990"/>
              <a:chOff x="1048844" y="2929382"/>
              <a:chExt cx="2146850" cy="1792260"/>
            </a:xfrm>
            <a:solidFill>
              <a:srgbClr val="5E83BD"/>
            </a:solidFill>
          </p:grpSpPr>
          <p:sp>
            <p:nvSpPr>
              <p:cNvPr id="249" name="Rectangle 248">
                <a:extLst>
                  <a:ext uri="{FF2B5EF4-FFF2-40B4-BE49-F238E27FC236}">
                    <a16:creationId xmlns:a16="http://schemas.microsoft.com/office/drawing/2014/main" id="{200D5EB6-4153-44D8-A678-62A6E38D8F82}"/>
                  </a:ext>
                </a:extLst>
              </p:cNvPr>
              <p:cNvSpPr/>
              <p:nvPr/>
            </p:nvSpPr>
            <p:spPr bwMode="auto">
              <a:xfrm rot="19233811" flipH="1">
                <a:off x="1672997" y="4111453"/>
                <a:ext cx="265596" cy="33623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0" name="Rectangle 21">
                <a:extLst>
                  <a:ext uri="{FF2B5EF4-FFF2-40B4-BE49-F238E27FC236}">
                    <a16:creationId xmlns:a16="http://schemas.microsoft.com/office/drawing/2014/main" id="{410217C5-B135-430E-B3E7-746FE5CBE52A}"/>
                  </a:ext>
                </a:extLst>
              </p:cNvPr>
              <p:cNvSpPr/>
              <p:nvPr/>
            </p:nvSpPr>
            <p:spPr bwMode="auto">
              <a:xfrm rot="1663182" flipH="1">
                <a:off x="1661723" y="3093970"/>
                <a:ext cx="283331" cy="751494"/>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1" name="Rectangle 29">
                <a:extLst>
                  <a:ext uri="{FF2B5EF4-FFF2-40B4-BE49-F238E27FC236}">
                    <a16:creationId xmlns:a16="http://schemas.microsoft.com/office/drawing/2014/main" id="{0CC461EA-8C56-4B80-A6ED-7372F7E6C979}"/>
                  </a:ext>
                </a:extLst>
              </p:cNvPr>
              <p:cNvSpPr/>
              <p:nvPr/>
            </p:nvSpPr>
            <p:spPr bwMode="auto">
              <a:xfrm rot="6300000" flipH="1">
                <a:off x="2375889" y="2873020"/>
                <a:ext cx="215107" cy="735159"/>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52" name="Group 251">
                <a:extLst>
                  <a:ext uri="{FF2B5EF4-FFF2-40B4-BE49-F238E27FC236}">
                    <a16:creationId xmlns:a16="http://schemas.microsoft.com/office/drawing/2014/main" id="{1BE7A91D-8D07-44D8-A578-78CF1BEBE243}"/>
                  </a:ext>
                </a:extLst>
              </p:cNvPr>
              <p:cNvGrpSpPr/>
              <p:nvPr/>
            </p:nvGrpSpPr>
            <p:grpSpPr>
              <a:xfrm>
                <a:off x="1297664" y="3722455"/>
                <a:ext cx="516897" cy="516898"/>
                <a:chOff x="4394973" y="1762558"/>
                <a:chExt cx="352210" cy="352210"/>
              </a:xfrm>
              <a:grpFill/>
            </p:grpSpPr>
            <p:grpSp>
              <p:nvGrpSpPr>
                <p:cNvPr id="278" name="Group 277">
                  <a:extLst>
                    <a:ext uri="{FF2B5EF4-FFF2-40B4-BE49-F238E27FC236}">
                      <a16:creationId xmlns:a16="http://schemas.microsoft.com/office/drawing/2014/main" id="{DD530A29-D1B4-4264-9607-23B5C193EB8B}"/>
                    </a:ext>
                  </a:extLst>
                </p:cNvPr>
                <p:cNvGrpSpPr/>
                <p:nvPr/>
              </p:nvGrpSpPr>
              <p:grpSpPr>
                <a:xfrm flipH="1">
                  <a:off x="4394973" y="1762558"/>
                  <a:ext cx="352210" cy="352210"/>
                  <a:chOff x="5411363" y="1755522"/>
                  <a:chExt cx="316187" cy="316187"/>
                </a:xfrm>
                <a:grpFill/>
              </p:grpSpPr>
              <p:sp>
                <p:nvSpPr>
                  <p:cNvPr id="281" name="Oval 280">
                    <a:extLst>
                      <a:ext uri="{FF2B5EF4-FFF2-40B4-BE49-F238E27FC236}">
                        <a16:creationId xmlns:a16="http://schemas.microsoft.com/office/drawing/2014/main" id="{CE30A1C1-BCA2-4B0B-AA95-C7C7F6414E97}"/>
                      </a:ext>
                    </a:extLst>
                  </p:cNvPr>
                  <p:cNvSpPr/>
                  <p:nvPr/>
                </p:nvSpPr>
                <p:spPr bwMode="auto">
                  <a:xfrm>
                    <a:off x="5411363" y="1755522"/>
                    <a:ext cx="316187" cy="31618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2" name="Oval 281">
                    <a:extLst>
                      <a:ext uri="{FF2B5EF4-FFF2-40B4-BE49-F238E27FC236}">
                        <a16:creationId xmlns:a16="http://schemas.microsoft.com/office/drawing/2014/main" id="{AEE29DA7-5E00-4ED3-A150-3618870F799E}"/>
                      </a:ext>
                    </a:extLst>
                  </p:cNvPr>
                  <p:cNvSpPr/>
                  <p:nvPr/>
                </p:nvSpPr>
                <p:spPr bwMode="auto">
                  <a:xfrm>
                    <a:off x="5462797" y="1806956"/>
                    <a:ext cx="213318" cy="21331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3" name="Oval 282">
                    <a:extLst>
                      <a:ext uri="{FF2B5EF4-FFF2-40B4-BE49-F238E27FC236}">
                        <a16:creationId xmlns:a16="http://schemas.microsoft.com/office/drawing/2014/main" id="{C19ABB9B-D03B-4FF2-A356-9B7533A96AA1}"/>
                      </a:ext>
                    </a:extLst>
                  </p:cNvPr>
                  <p:cNvSpPr/>
                  <p:nvPr/>
                </p:nvSpPr>
                <p:spPr bwMode="auto">
                  <a:xfrm>
                    <a:off x="5506446" y="1850605"/>
                    <a:ext cx="126020" cy="1260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79" name="Rectangle 278">
                  <a:extLst>
                    <a:ext uri="{FF2B5EF4-FFF2-40B4-BE49-F238E27FC236}">
                      <a16:creationId xmlns:a16="http://schemas.microsoft.com/office/drawing/2014/main" id="{E97FBE0A-6D0F-47DD-9566-63CCDB52C071}"/>
                    </a:ext>
                  </a:extLst>
                </p:cNvPr>
                <p:cNvSpPr/>
                <p:nvPr/>
              </p:nvSpPr>
              <p:spPr bwMode="auto">
                <a:xfrm flipH="1">
                  <a:off x="4553230" y="1780423"/>
                  <a:ext cx="35696" cy="30433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0" name="Rectangle 279">
                  <a:extLst>
                    <a:ext uri="{FF2B5EF4-FFF2-40B4-BE49-F238E27FC236}">
                      <a16:creationId xmlns:a16="http://schemas.microsoft.com/office/drawing/2014/main" id="{CF18E941-2DB8-41B9-A3F0-297F1E8C5BAB}"/>
                    </a:ext>
                  </a:extLst>
                </p:cNvPr>
                <p:cNvSpPr/>
                <p:nvPr/>
              </p:nvSpPr>
              <p:spPr bwMode="auto">
                <a:xfrm rot="5400000" flipH="1">
                  <a:off x="4561685" y="1786498"/>
                  <a:ext cx="35696" cy="30433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53" name="Group 252">
                <a:extLst>
                  <a:ext uri="{FF2B5EF4-FFF2-40B4-BE49-F238E27FC236}">
                    <a16:creationId xmlns:a16="http://schemas.microsoft.com/office/drawing/2014/main" id="{DE27ADD9-0F09-4596-8EAD-4DD675E04948}"/>
                  </a:ext>
                </a:extLst>
              </p:cNvPr>
              <p:cNvGrpSpPr/>
              <p:nvPr/>
            </p:nvGrpSpPr>
            <p:grpSpPr>
              <a:xfrm>
                <a:off x="1830772" y="2929382"/>
                <a:ext cx="375748" cy="375748"/>
                <a:chOff x="4394973" y="1762558"/>
                <a:chExt cx="352210" cy="352210"/>
              </a:xfrm>
              <a:grpFill/>
            </p:grpSpPr>
            <p:grpSp>
              <p:nvGrpSpPr>
                <p:cNvPr id="272" name="Group 271">
                  <a:extLst>
                    <a:ext uri="{FF2B5EF4-FFF2-40B4-BE49-F238E27FC236}">
                      <a16:creationId xmlns:a16="http://schemas.microsoft.com/office/drawing/2014/main" id="{AA554C17-51CE-4D7A-87C9-3A3424B5BC12}"/>
                    </a:ext>
                  </a:extLst>
                </p:cNvPr>
                <p:cNvGrpSpPr/>
                <p:nvPr/>
              </p:nvGrpSpPr>
              <p:grpSpPr>
                <a:xfrm flipH="1">
                  <a:off x="4394973" y="1762558"/>
                  <a:ext cx="352210" cy="352210"/>
                  <a:chOff x="5411363" y="1755522"/>
                  <a:chExt cx="316187" cy="316187"/>
                </a:xfrm>
                <a:grpFill/>
              </p:grpSpPr>
              <p:sp>
                <p:nvSpPr>
                  <p:cNvPr id="275" name="Oval 274">
                    <a:extLst>
                      <a:ext uri="{FF2B5EF4-FFF2-40B4-BE49-F238E27FC236}">
                        <a16:creationId xmlns:a16="http://schemas.microsoft.com/office/drawing/2014/main" id="{C245F527-05AD-40C0-8D28-47FF00CC3EBD}"/>
                      </a:ext>
                    </a:extLst>
                  </p:cNvPr>
                  <p:cNvSpPr/>
                  <p:nvPr/>
                </p:nvSpPr>
                <p:spPr bwMode="auto">
                  <a:xfrm>
                    <a:off x="5411363" y="1755522"/>
                    <a:ext cx="316187" cy="31618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6" name="Oval 275">
                    <a:extLst>
                      <a:ext uri="{FF2B5EF4-FFF2-40B4-BE49-F238E27FC236}">
                        <a16:creationId xmlns:a16="http://schemas.microsoft.com/office/drawing/2014/main" id="{30077C7D-6896-49AE-A8DB-1E087EEC401B}"/>
                      </a:ext>
                    </a:extLst>
                  </p:cNvPr>
                  <p:cNvSpPr/>
                  <p:nvPr/>
                </p:nvSpPr>
                <p:spPr bwMode="auto">
                  <a:xfrm>
                    <a:off x="5462797" y="1806956"/>
                    <a:ext cx="213318" cy="21331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7" name="Oval 276">
                    <a:extLst>
                      <a:ext uri="{FF2B5EF4-FFF2-40B4-BE49-F238E27FC236}">
                        <a16:creationId xmlns:a16="http://schemas.microsoft.com/office/drawing/2014/main" id="{40F6B60D-1731-4A16-BF5E-D8A5BA9E0604}"/>
                      </a:ext>
                    </a:extLst>
                  </p:cNvPr>
                  <p:cNvSpPr/>
                  <p:nvPr/>
                </p:nvSpPr>
                <p:spPr bwMode="auto">
                  <a:xfrm>
                    <a:off x="5506446" y="1850605"/>
                    <a:ext cx="126020" cy="1260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73" name="Rectangle 272">
                  <a:extLst>
                    <a:ext uri="{FF2B5EF4-FFF2-40B4-BE49-F238E27FC236}">
                      <a16:creationId xmlns:a16="http://schemas.microsoft.com/office/drawing/2014/main" id="{8A5E596C-6A22-4B35-A165-33CE408BFEC3}"/>
                    </a:ext>
                  </a:extLst>
                </p:cNvPr>
                <p:cNvSpPr/>
                <p:nvPr/>
              </p:nvSpPr>
              <p:spPr bwMode="auto">
                <a:xfrm flipH="1">
                  <a:off x="4553231" y="1789294"/>
                  <a:ext cx="35695" cy="28644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4" name="Rectangle 273">
                  <a:extLst>
                    <a:ext uri="{FF2B5EF4-FFF2-40B4-BE49-F238E27FC236}">
                      <a16:creationId xmlns:a16="http://schemas.microsoft.com/office/drawing/2014/main" id="{6E038C4C-6438-45BB-B7AF-DA90A6FA332D}"/>
                    </a:ext>
                  </a:extLst>
                </p:cNvPr>
                <p:cNvSpPr/>
                <p:nvPr/>
              </p:nvSpPr>
              <p:spPr bwMode="auto">
                <a:xfrm rot="5400000" flipH="1">
                  <a:off x="4556016" y="1795437"/>
                  <a:ext cx="35695" cy="2864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54" name="Group 253">
                <a:extLst>
                  <a:ext uri="{FF2B5EF4-FFF2-40B4-BE49-F238E27FC236}">
                    <a16:creationId xmlns:a16="http://schemas.microsoft.com/office/drawing/2014/main" id="{EEBFCD1D-BF59-4643-ABB2-EA0AB2D89BDE}"/>
                  </a:ext>
                </a:extLst>
              </p:cNvPr>
              <p:cNvGrpSpPr/>
              <p:nvPr/>
            </p:nvGrpSpPr>
            <p:grpSpPr>
              <a:xfrm rot="20781386">
                <a:off x="2789459" y="3462425"/>
                <a:ext cx="406235" cy="662070"/>
                <a:chOff x="6203753" y="1569838"/>
                <a:chExt cx="276805" cy="451130"/>
              </a:xfrm>
              <a:grpFill/>
            </p:grpSpPr>
            <p:sp>
              <p:nvSpPr>
                <p:cNvPr id="264" name="Rectangle 263">
                  <a:extLst>
                    <a:ext uri="{FF2B5EF4-FFF2-40B4-BE49-F238E27FC236}">
                      <a16:creationId xmlns:a16="http://schemas.microsoft.com/office/drawing/2014/main" id="{96B94E02-97BF-4097-B15B-8A3FAF7DFEB8}"/>
                    </a:ext>
                  </a:extLst>
                </p:cNvPr>
                <p:cNvSpPr/>
                <p:nvPr/>
              </p:nvSpPr>
              <p:spPr bwMode="auto">
                <a:xfrm rot="10800000" flipH="1">
                  <a:off x="6289818" y="1569838"/>
                  <a:ext cx="96717" cy="17378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5" name="Oval 264">
                  <a:extLst>
                    <a:ext uri="{FF2B5EF4-FFF2-40B4-BE49-F238E27FC236}">
                      <a16:creationId xmlns:a16="http://schemas.microsoft.com/office/drawing/2014/main" id="{EB8E4C48-7BFB-4DD5-80EE-C48688BC8ADC}"/>
                    </a:ext>
                  </a:extLst>
                </p:cNvPr>
                <p:cNvSpPr/>
                <p:nvPr/>
              </p:nvSpPr>
              <p:spPr bwMode="auto">
                <a:xfrm rot="10737439" flipH="1">
                  <a:off x="6286686" y="1707639"/>
                  <a:ext cx="110946" cy="11094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66" name="Group 265">
                  <a:extLst>
                    <a:ext uri="{FF2B5EF4-FFF2-40B4-BE49-F238E27FC236}">
                      <a16:creationId xmlns:a16="http://schemas.microsoft.com/office/drawing/2014/main" id="{D1280601-9869-4F3E-B9C9-95745FC8551D}"/>
                    </a:ext>
                  </a:extLst>
                </p:cNvPr>
                <p:cNvGrpSpPr/>
                <p:nvPr/>
              </p:nvGrpSpPr>
              <p:grpSpPr>
                <a:xfrm>
                  <a:off x="6203753" y="1748133"/>
                  <a:ext cx="99173" cy="272835"/>
                  <a:chOff x="5430362" y="1772113"/>
                  <a:chExt cx="99173" cy="272835"/>
                </a:xfrm>
                <a:grpFill/>
              </p:grpSpPr>
              <p:sp>
                <p:nvSpPr>
                  <p:cNvPr id="270" name="Rectangle 269">
                    <a:extLst>
                      <a:ext uri="{FF2B5EF4-FFF2-40B4-BE49-F238E27FC236}">
                        <a16:creationId xmlns:a16="http://schemas.microsoft.com/office/drawing/2014/main" id="{8A1914AB-9AB7-43D9-8FC5-104203615F75}"/>
                      </a:ext>
                    </a:extLst>
                  </p:cNvPr>
                  <p:cNvSpPr/>
                  <p:nvPr/>
                </p:nvSpPr>
                <p:spPr bwMode="auto">
                  <a:xfrm rot="13260000" flipH="1">
                    <a:off x="5468027" y="1772113"/>
                    <a:ext cx="45719" cy="1371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1" name="Diagonal Stripe 270">
                    <a:extLst>
                      <a:ext uri="{FF2B5EF4-FFF2-40B4-BE49-F238E27FC236}">
                        <a16:creationId xmlns:a16="http://schemas.microsoft.com/office/drawing/2014/main" id="{A9773206-12EF-479E-9EDE-FDB295BE7246}"/>
                      </a:ext>
                    </a:extLst>
                  </p:cNvPr>
                  <p:cNvSpPr/>
                  <p:nvPr/>
                </p:nvSpPr>
                <p:spPr bwMode="auto">
                  <a:xfrm rot="19432650">
                    <a:off x="5430362" y="1862068"/>
                    <a:ext cx="99173" cy="182880"/>
                  </a:xfrm>
                  <a:prstGeom prst="diagStrip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67" name="Group 266">
                  <a:extLst>
                    <a:ext uri="{FF2B5EF4-FFF2-40B4-BE49-F238E27FC236}">
                      <a16:creationId xmlns:a16="http://schemas.microsoft.com/office/drawing/2014/main" id="{9EC3F096-C200-4699-91C1-4D0AB4316AC5}"/>
                    </a:ext>
                  </a:extLst>
                </p:cNvPr>
                <p:cNvGrpSpPr/>
                <p:nvPr/>
              </p:nvGrpSpPr>
              <p:grpSpPr>
                <a:xfrm flipH="1">
                  <a:off x="6381385" y="1748134"/>
                  <a:ext cx="99173" cy="272833"/>
                  <a:chOff x="5422401" y="1772114"/>
                  <a:chExt cx="99173" cy="272833"/>
                </a:xfrm>
                <a:grpFill/>
              </p:grpSpPr>
              <p:sp>
                <p:nvSpPr>
                  <p:cNvPr id="268" name="Rectangle 267">
                    <a:extLst>
                      <a:ext uri="{FF2B5EF4-FFF2-40B4-BE49-F238E27FC236}">
                        <a16:creationId xmlns:a16="http://schemas.microsoft.com/office/drawing/2014/main" id="{CDEFE12D-2058-4F79-B361-FAE26322116E}"/>
                      </a:ext>
                    </a:extLst>
                  </p:cNvPr>
                  <p:cNvSpPr/>
                  <p:nvPr/>
                </p:nvSpPr>
                <p:spPr bwMode="auto">
                  <a:xfrm rot="13260000" flipH="1">
                    <a:off x="5460058" y="1772114"/>
                    <a:ext cx="45719" cy="1371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9" name="Diagonal Stripe 268">
                    <a:extLst>
                      <a:ext uri="{FF2B5EF4-FFF2-40B4-BE49-F238E27FC236}">
                        <a16:creationId xmlns:a16="http://schemas.microsoft.com/office/drawing/2014/main" id="{4EE80BCC-09AF-4E64-8B9F-56D329AFB83C}"/>
                      </a:ext>
                    </a:extLst>
                  </p:cNvPr>
                  <p:cNvSpPr/>
                  <p:nvPr/>
                </p:nvSpPr>
                <p:spPr bwMode="auto">
                  <a:xfrm rot="19432650">
                    <a:off x="5422401" y="1862067"/>
                    <a:ext cx="99173" cy="182880"/>
                  </a:xfrm>
                  <a:prstGeom prst="diagStrip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55" name="Group 254">
                <a:extLst>
                  <a:ext uri="{FF2B5EF4-FFF2-40B4-BE49-F238E27FC236}">
                    <a16:creationId xmlns:a16="http://schemas.microsoft.com/office/drawing/2014/main" id="{A74B21DC-E3DD-4912-8838-7C13662773F0}"/>
                  </a:ext>
                </a:extLst>
              </p:cNvPr>
              <p:cNvGrpSpPr/>
              <p:nvPr/>
            </p:nvGrpSpPr>
            <p:grpSpPr>
              <a:xfrm>
                <a:off x="2732452" y="3244007"/>
                <a:ext cx="281811" cy="281811"/>
                <a:chOff x="4394973" y="1762558"/>
                <a:chExt cx="352210" cy="352210"/>
              </a:xfrm>
              <a:grpFill/>
            </p:grpSpPr>
            <p:grpSp>
              <p:nvGrpSpPr>
                <p:cNvPr id="258" name="Group 257">
                  <a:extLst>
                    <a:ext uri="{FF2B5EF4-FFF2-40B4-BE49-F238E27FC236}">
                      <a16:creationId xmlns:a16="http://schemas.microsoft.com/office/drawing/2014/main" id="{4F235F68-B9DF-4303-A260-8B3CE1F1057F}"/>
                    </a:ext>
                  </a:extLst>
                </p:cNvPr>
                <p:cNvGrpSpPr/>
                <p:nvPr/>
              </p:nvGrpSpPr>
              <p:grpSpPr>
                <a:xfrm flipH="1">
                  <a:off x="4394973" y="1762558"/>
                  <a:ext cx="352210" cy="352210"/>
                  <a:chOff x="5411363" y="1755522"/>
                  <a:chExt cx="316187" cy="316187"/>
                </a:xfrm>
                <a:grpFill/>
              </p:grpSpPr>
              <p:sp>
                <p:nvSpPr>
                  <p:cNvPr id="261" name="Oval 260">
                    <a:extLst>
                      <a:ext uri="{FF2B5EF4-FFF2-40B4-BE49-F238E27FC236}">
                        <a16:creationId xmlns:a16="http://schemas.microsoft.com/office/drawing/2014/main" id="{3B0181D1-2B5B-41C2-85F1-3B2DEAD83C3C}"/>
                      </a:ext>
                    </a:extLst>
                  </p:cNvPr>
                  <p:cNvSpPr/>
                  <p:nvPr/>
                </p:nvSpPr>
                <p:spPr bwMode="auto">
                  <a:xfrm>
                    <a:off x="5411363" y="1755522"/>
                    <a:ext cx="316187" cy="31618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2" name="Oval 261">
                    <a:extLst>
                      <a:ext uri="{FF2B5EF4-FFF2-40B4-BE49-F238E27FC236}">
                        <a16:creationId xmlns:a16="http://schemas.microsoft.com/office/drawing/2014/main" id="{52804A29-6AD6-4EE6-ADDF-9C7153CEAE39}"/>
                      </a:ext>
                    </a:extLst>
                  </p:cNvPr>
                  <p:cNvSpPr/>
                  <p:nvPr/>
                </p:nvSpPr>
                <p:spPr bwMode="auto">
                  <a:xfrm>
                    <a:off x="5462797" y="1806956"/>
                    <a:ext cx="213318" cy="21331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3" name="Oval 262">
                    <a:extLst>
                      <a:ext uri="{FF2B5EF4-FFF2-40B4-BE49-F238E27FC236}">
                        <a16:creationId xmlns:a16="http://schemas.microsoft.com/office/drawing/2014/main" id="{DAB15316-F78B-4F73-843E-ED31FF16BFAF}"/>
                      </a:ext>
                    </a:extLst>
                  </p:cNvPr>
                  <p:cNvSpPr/>
                  <p:nvPr/>
                </p:nvSpPr>
                <p:spPr bwMode="auto">
                  <a:xfrm>
                    <a:off x="5506446" y="1850605"/>
                    <a:ext cx="126020" cy="1260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59" name="Rectangle 258">
                  <a:extLst>
                    <a:ext uri="{FF2B5EF4-FFF2-40B4-BE49-F238E27FC236}">
                      <a16:creationId xmlns:a16="http://schemas.microsoft.com/office/drawing/2014/main" id="{3F3DF295-D64F-4CD9-BF86-9A938B41246B}"/>
                    </a:ext>
                  </a:extLst>
                </p:cNvPr>
                <p:cNvSpPr/>
                <p:nvPr/>
              </p:nvSpPr>
              <p:spPr bwMode="auto">
                <a:xfrm flipH="1">
                  <a:off x="4553229" y="1795031"/>
                  <a:ext cx="35696" cy="26441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0" name="Rectangle 259">
                  <a:extLst>
                    <a:ext uri="{FF2B5EF4-FFF2-40B4-BE49-F238E27FC236}">
                      <a16:creationId xmlns:a16="http://schemas.microsoft.com/office/drawing/2014/main" id="{6EF7C69D-37A2-4631-9CF5-D17DD7E7AE2D}"/>
                    </a:ext>
                  </a:extLst>
                </p:cNvPr>
                <p:cNvSpPr/>
                <p:nvPr/>
              </p:nvSpPr>
              <p:spPr bwMode="auto">
                <a:xfrm rot="5400000" flipH="1">
                  <a:off x="4559388" y="1806456"/>
                  <a:ext cx="35696" cy="26441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56" name="Rounded Rectangle 473">
                <a:extLst>
                  <a:ext uri="{FF2B5EF4-FFF2-40B4-BE49-F238E27FC236}">
                    <a16:creationId xmlns:a16="http://schemas.microsoft.com/office/drawing/2014/main" id="{49EC4B8B-A6F5-4552-B54D-26E28D2FEDDF}"/>
                  </a:ext>
                </a:extLst>
              </p:cNvPr>
              <p:cNvSpPr/>
              <p:nvPr/>
            </p:nvSpPr>
            <p:spPr bwMode="auto">
              <a:xfrm flipH="1">
                <a:off x="1188631" y="4306131"/>
                <a:ext cx="1241311" cy="391405"/>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7" name="Rounded Rectangle 474">
                <a:extLst>
                  <a:ext uri="{FF2B5EF4-FFF2-40B4-BE49-F238E27FC236}">
                    <a16:creationId xmlns:a16="http://schemas.microsoft.com/office/drawing/2014/main" id="{70F4F5AA-7D9D-4F12-B464-44ECE3A49916}"/>
                  </a:ext>
                </a:extLst>
              </p:cNvPr>
              <p:cNvSpPr/>
              <p:nvPr/>
            </p:nvSpPr>
            <p:spPr bwMode="auto">
              <a:xfrm flipH="1">
                <a:off x="1048844" y="4501833"/>
                <a:ext cx="1520885" cy="219809"/>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225" name="Group 224">
            <a:extLst>
              <a:ext uri="{FF2B5EF4-FFF2-40B4-BE49-F238E27FC236}">
                <a16:creationId xmlns:a16="http://schemas.microsoft.com/office/drawing/2014/main" id="{057D3465-BD11-4FB7-86D7-EBF1C4592467}"/>
              </a:ext>
            </a:extLst>
          </p:cNvPr>
          <p:cNvGrpSpPr/>
          <p:nvPr/>
        </p:nvGrpSpPr>
        <p:grpSpPr>
          <a:xfrm>
            <a:off x="8605668" y="2536286"/>
            <a:ext cx="556048" cy="742104"/>
            <a:chOff x="2948475" y="2107745"/>
            <a:chExt cx="556048" cy="742104"/>
          </a:xfrm>
        </p:grpSpPr>
        <p:pic>
          <p:nvPicPr>
            <p:cNvPr id="289" name="Picture 5" descr="\\MAGNUM\Projects\Microsoft\Cloud Power FY12\Design\Icons\PNGs\Seal.png">
              <a:extLst>
                <a:ext uri="{FF2B5EF4-FFF2-40B4-BE49-F238E27FC236}">
                  <a16:creationId xmlns:a16="http://schemas.microsoft.com/office/drawing/2014/main" id="{349D894E-3DFD-4383-A9A9-0123F528E84B}"/>
                </a:ext>
              </a:extLst>
            </p:cNvPr>
            <p:cNvPicPr>
              <a:picLocks noChangeAspect="1" noChangeArrowheads="1"/>
            </p:cNvPicPr>
            <p:nvPr/>
          </p:nvPicPr>
          <p:blipFill>
            <a:blip r:embed="rId11" cstate="print">
              <a:duotone>
                <a:srgbClr val="0A5BBA">
                  <a:shade val="45000"/>
                  <a:satMod val="135000"/>
                </a:srgbClr>
                <a:prstClr val="white"/>
              </a:duotone>
              <a:extLst>
                <a:ext uri="{BEBA8EAE-BF5A-486C-A8C5-ECC9F3942E4B}">
                  <a14:imgProps xmlns:a14="http://schemas.microsoft.com/office/drawing/2010/main">
                    <a14:imgLayer r:embed="rId12">
                      <a14:imgEffect>
                        <a14:brightnessContrast bright="-31000" contrast="-40000"/>
                      </a14:imgEffect>
                    </a14:imgLayer>
                  </a14:imgProps>
                </a:ext>
                <a:ext uri="{28A0092B-C50C-407E-A947-70E740481C1C}">
                  <a14:useLocalDpi xmlns:a14="http://schemas.microsoft.com/office/drawing/2010/main"/>
                </a:ext>
              </a:extLst>
            </a:blip>
            <a:srcRect/>
            <a:stretch>
              <a:fillRect/>
            </a:stretch>
          </p:blipFill>
          <p:spPr bwMode="auto">
            <a:xfrm>
              <a:off x="2948475" y="2107745"/>
              <a:ext cx="556048" cy="556048"/>
            </a:xfrm>
            <a:prstGeom prst="rect">
              <a:avLst/>
            </a:prstGeom>
            <a:noFill/>
          </p:spPr>
        </p:pic>
        <p:sp>
          <p:nvSpPr>
            <p:cNvPr id="290" name="Rectangle 289">
              <a:extLst>
                <a:ext uri="{FF2B5EF4-FFF2-40B4-BE49-F238E27FC236}">
                  <a16:creationId xmlns:a16="http://schemas.microsoft.com/office/drawing/2014/main" id="{1C0217B3-BB66-4BB1-ABDE-6F7CC5ECE14B}"/>
                </a:ext>
              </a:extLst>
            </p:cNvPr>
            <p:cNvSpPr/>
            <p:nvPr/>
          </p:nvSpPr>
          <p:spPr bwMode="auto">
            <a:xfrm>
              <a:off x="2979227" y="2572850"/>
              <a:ext cx="519373" cy="276999"/>
            </a:xfrm>
            <a:prstGeom prst="rect">
              <a:avLst/>
            </a:prstGeom>
            <a:noFill/>
            <a:ln w="9525" cap="flat" cmpd="sng" algn="ctr">
              <a:noFill/>
              <a:prstDash val="sysDot"/>
              <a:headEnd type="none" w="med" len="med"/>
              <a:tailEnd type="none" w="med" len="med"/>
            </a:ln>
            <a:effectLst/>
          </p:spPr>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marL="0" marR="0" lvl="0" indent="0" algn="ctr" defTabSz="60888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505050"/>
                  </a:solidFill>
                  <a:effectLst/>
                  <a:uLnTx/>
                  <a:uFillTx/>
                  <a:latin typeface="Segoe UI"/>
                  <a:ea typeface="+mn-ea"/>
                  <a:cs typeface="+mn-cs"/>
                </a:rPr>
                <a:t>Increased </a:t>
              </a:r>
              <a:br>
                <a:rPr kumimoji="0" lang="en-US" sz="900" b="0" i="0" u="none" strike="noStrike" kern="0" cap="none" spc="0" normalizeH="0" baseline="0" noProof="0" dirty="0">
                  <a:ln>
                    <a:noFill/>
                  </a:ln>
                  <a:solidFill>
                    <a:srgbClr val="505050"/>
                  </a:solidFill>
                  <a:effectLst/>
                  <a:uLnTx/>
                  <a:uFillTx/>
                  <a:latin typeface="Segoe UI"/>
                  <a:ea typeface="+mn-ea"/>
                  <a:cs typeface="+mn-cs"/>
                </a:rPr>
              </a:br>
              <a:r>
                <a:rPr kumimoji="0" lang="en-US" sz="900" b="0" i="0" u="none" strike="noStrike" kern="0" cap="none" spc="0" normalizeH="0" baseline="0" noProof="0" dirty="0">
                  <a:ln>
                    <a:noFill/>
                  </a:ln>
                  <a:solidFill>
                    <a:srgbClr val="505050"/>
                  </a:solidFill>
                  <a:effectLst/>
                  <a:uLnTx/>
                  <a:uFillTx/>
                  <a:latin typeface="Segoe UI"/>
                  <a:ea typeface="+mn-ea"/>
                  <a:cs typeface="+mn-cs"/>
                </a:rPr>
                <a:t>Safety</a:t>
              </a:r>
            </a:p>
          </p:txBody>
        </p:sp>
      </p:grpSp>
      <p:grpSp>
        <p:nvGrpSpPr>
          <p:cNvPr id="228" name="Group 227">
            <a:extLst>
              <a:ext uri="{FF2B5EF4-FFF2-40B4-BE49-F238E27FC236}">
                <a16:creationId xmlns:a16="http://schemas.microsoft.com/office/drawing/2014/main" id="{76CF02E7-34F8-44E9-98EC-F5CA5CD0F8C3}"/>
              </a:ext>
            </a:extLst>
          </p:cNvPr>
          <p:cNvGrpSpPr/>
          <p:nvPr/>
        </p:nvGrpSpPr>
        <p:grpSpPr>
          <a:xfrm>
            <a:off x="11085083" y="2725778"/>
            <a:ext cx="756617" cy="558409"/>
            <a:chOff x="6847032" y="2643458"/>
            <a:chExt cx="756617" cy="558409"/>
          </a:xfrm>
        </p:grpSpPr>
        <p:sp>
          <p:nvSpPr>
            <p:cNvPr id="130" name="Rectangle 129">
              <a:extLst>
                <a:ext uri="{FF2B5EF4-FFF2-40B4-BE49-F238E27FC236}">
                  <a16:creationId xmlns:a16="http://schemas.microsoft.com/office/drawing/2014/main" id="{AA45B85E-180F-4B22-92DF-0FD37E14727D}"/>
                </a:ext>
              </a:extLst>
            </p:cNvPr>
            <p:cNvSpPr/>
            <p:nvPr/>
          </p:nvSpPr>
          <p:spPr bwMode="auto">
            <a:xfrm>
              <a:off x="6847032" y="2924868"/>
              <a:ext cx="756617" cy="276999"/>
            </a:xfrm>
            <a:prstGeom prst="rect">
              <a:avLst/>
            </a:prstGeom>
            <a:noFill/>
            <a:ln w="9525" cap="flat" cmpd="sng" algn="ctr">
              <a:noFill/>
              <a:prstDash val="sysDot"/>
              <a:headEnd type="none" w="med" len="med"/>
              <a:tailEnd type="none" w="med" len="med"/>
            </a:ln>
            <a:effectLst/>
          </p:spPr>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marL="0" marR="0" lvl="0" indent="0" algn="ctr" defTabSz="60888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505050"/>
                  </a:solidFill>
                  <a:effectLst/>
                  <a:uLnTx/>
                  <a:uFillTx/>
                  <a:latin typeface="Segoe UI"/>
                  <a:ea typeface="+mn-ea"/>
                  <a:cs typeface="+mn-cs"/>
                </a:rPr>
                <a:t>Increased task </a:t>
              </a:r>
              <a:br>
                <a:rPr kumimoji="0" lang="en-US" sz="900" b="0" i="0" u="none" strike="noStrike" kern="0" cap="none" spc="0" normalizeH="0" baseline="0" noProof="0" dirty="0">
                  <a:ln>
                    <a:noFill/>
                  </a:ln>
                  <a:solidFill>
                    <a:srgbClr val="505050"/>
                  </a:solidFill>
                  <a:effectLst/>
                  <a:uLnTx/>
                  <a:uFillTx/>
                  <a:latin typeface="Segoe UI"/>
                  <a:ea typeface="+mn-ea"/>
                  <a:cs typeface="+mn-cs"/>
                </a:rPr>
              </a:br>
              <a:r>
                <a:rPr kumimoji="0" lang="en-US" sz="900" b="0" i="0" u="none" strike="noStrike" kern="0" cap="none" spc="0" normalizeH="0" baseline="0" noProof="0" dirty="0">
                  <a:ln>
                    <a:noFill/>
                  </a:ln>
                  <a:solidFill>
                    <a:srgbClr val="505050"/>
                  </a:solidFill>
                  <a:effectLst/>
                  <a:uLnTx/>
                  <a:uFillTx/>
                  <a:latin typeface="Segoe UI"/>
                  <a:ea typeface="+mn-ea"/>
                  <a:cs typeface="+mn-cs"/>
                </a:rPr>
                <a:t>complexity</a:t>
              </a:r>
            </a:p>
          </p:txBody>
        </p:sp>
        <p:pic>
          <p:nvPicPr>
            <p:cNvPr id="227" name="Picture 226">
              <a:extLst>
                <a:ext uri="{FF2B5EF4-FFF2-40B4-BE49-F238E27FC236}">
                  <a16:creationId xmlns:a16="http://schemas.microsoft.com/office/drawing/2014/main" id="{864BD905-BBFC-488A-86EC-9D60EAE2EA42}"/>
                </a:ext>
              </a:extLst>
            </p:cNvPr>
            <p:cNvPicPr>
              <a:picLocks noChangeAspect="1"/>
            </p:cNvPicPr>
            <p:nvPr/>
          </p:nvPicPr>
          <p:blipFill>
            <a:blip r:embed="rId13"/>
            <a:stretch>
              <a:fillRect/>
            </a:stretch>
          </p:blipFill>
          <p:spPr>
            <a:xfrm>
              <a:off x="7072914" y="2643458"/>
              <a:ext cx="254013" cy="254013"/>
            </a:xfrm>
            <a:prstGeom prst="rect">
              <a:avLst/>
            </a:prstGeom>
          </p:spPr>
        </p:pic>
      </p:grpSp>
      <p:grpSp>
        <p:nvGrpSpPr>
          <p:cNvPr id="308" name="Group 307">
            <a:extLst>
              <a:ext uri="{FF2B5EF4-FFF2-40B4-BE49-F238E27FC236}">
                <a16:creationId xmlns:a16="http://schemas.microsoft.com/office/drawing/2014/main" id="{5D5796B9-3187-4715-B056-88945F112580}"/>
              </a:ext>
            </a:extLst>
          </p:cNvPr>
          <p:cNvGrpSpPr/>
          <p:nvPr/>
        </p:nvGrpSpPr>
        <p:grpSpPr>
          <a:xfrm>
            <a:off x="1579523" y="2301516"/>
            <a:ext cx="1001569" cy="483528"/>
            <a:chOff x="719380" y="2224219"/>
            <a:chExt cx="1001569" cy="483528"/>
          </a:xfrm>
        </p:grpSpPr>
        <p:grpSp>
          <p:nvGrpSpPr>
            <p:cNvPr id="304" name="Group 303">
              <a:extLst>
                <a:ext uri="{FF2B5EF4-FFF2-40B4-BE49-F238E27FC236}">
                  <a16:creationId xmlns:a16="http://schemas.microsoft.com/office/drawing/2014/main" id="{6BD8E5FA-3478-4B0A-BBB5-EF46B78C4684}"/>
                </a:ext>
              </a:extLst>
            </p:cNvPr>
            <p:cNvGrpSpPr/>
            <p:nvPr/>
          </p:nvGrpSpPr>
          <p:grpSpPr>
            <a:xfrm rot="5400000">
              <a:off x="1125927" y="2233107"/>
              <a:ext cx="406533" cy="388758"/>
              <a:chOff x="6877745" y="361701"/>
              <a:chExt cx="443224" cy="423845"/>
            </a:xfrm>
          </p:grpSpPr>
          <p:sp>
            <p:nvSpPr>
              <p:cNvPr id="229" name="Oval 228">
                <a:extLst>
                  <a:ext uri="{FF2B5EF4-FFF2-40B4-BE49-F238E27FC236}">
                    <a16:creationId xmlns:a16="http://schemas.microsoft.com/office/drawing/2014/main" id="{551CF832-7F7F-4672-A9B2-AE737816EEC0}"/>
                  </a:ext>
                </a:extLst>
              </p:cNvPr>
              <p:cNvSpPr/>
              <p:nvPr/>
            </p:nvSpPr>
            <p:spPr>
              <a:xfrm>
                <a:off x="6877745" y="505829"/>
                <a:ext cx="137709" cy="137709"/>
              </a:xfrm>
              <a:prstGeom prst="ellipse">
                <a:avLst/>
              </a:prstGeom>
              <a:solidFill>
                <a:srgbClr val="527A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301" name="Oval 300">
                <a:extLst>
                  <a:ext uri="{FF2B5EF4-FFF2-40B4-BE49-F238E27FC236}">
                    <a16:creationId xmlns:a16="http://schemas.microsoft.com/office/drawing/2014/main" id="{70848BC5-8FAA-4E62-B6A5-D7428899FD54}"/>
                  </a:ext>
                </a:extLst>
              </p:cNvPr>
              <p:cNvSpPr/>
              <p:nvPr/>
            </p:nvSpPr>
            <p:spPr>
              <a:xfrm>
                <a:off x="7181702" y="647837"/>
                <a:ext cx="137709" cy="137709"/>
              </a:xfrm>
              <a:prstGeom prst="ellipse">
                <a:avLst/>
              </a:prstGeom>
              <a:solidFill>
                <a:srgbClr val="527A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302" name="Oval 301">
                <a:extLst>
                  <a:ext uri="{FF2B5EF4-FFF2-40B4-BE49-F238E27FC236}">
                    <a16:creationId xmlns:a16="http://schemas.microsoft.com/office/drawing/2014/main" id="{F4EB34B4-E4BB-4103-AA5E-A424D6D13C23}"/>
                  </a:ext>
                </a:extLst>
              </p:cNvPr>
              <p:cNvSpPr/>
              <p:nvPr/>
            </p:nvSpPr>
            <p:spPr>
              <a:xfrm>
                <a:off x="7183260" y="361701"/>
                <a:ext cx="137709" cy="137709"/>
              </a:xfrm>
              <a:prstGeom prst="ellipse">
                <a:avLst/>
              </a:prstGeom>
              <a:solidFill>
                <a:srgbClr val="527A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err="1">
                  <a:ln>
                    <a:noFill/>
                  </a:ln>
                  <a:solidFill>
                    <a:prstClr val="white"/>
                  </a:solidFill>
                  <a:effectLst/>
                  <a:uLnTx/>
                  <a:uFillTx/>
                  <a:latin typeface="Segoe UI"/>
                  <a:ea typeface="+mn-ea"/>
                  <a:cs typeface="+mn-cs"/>
                </a:endParaRPr>
              </a:p>
            </p:txBody>
          </p:sp>
          <p:cxnSp>
            <p:nvCxnSpPr>
              <p:cNvPr id="240" name="Straight Connector 239">
                <a:extLst>
                  <a:ext uri="{FF2B5EF4-FFF2-40B4-BE49-F238E27FC236}">
                    <a16:creationId xmlns:a16="http://schemas.microsoft.com/office/drawing/2014/main" id="{9AA0055E-285F-4C13-B4CD-5A04FEB5CBD1}"/>
                  </a:ext>
                </a:extLst>
              </p:cNvPr>
              <p:cNvCxnSpPr>
                <a:cxnSpLocks/>
              </p:cNvCxnSpPr>
              <p:nvPr/>
            </p:nvCxnSpPr>
            <p:spPr>
              <a:xfrm>
                <a:off x="6998152" y="591945"/>
                <a:ext cx="216350" cy="118924"/>
              </a:xfrm>
              <a:prstGeom prst="line">
                <a:avLst/>
              </a:prstGeom>
              <a:ln w="38100">
                <a:solidFill>
                  <a:srgbClr val="5F82BE"/>
                </a:solidFill>
              </a:ln>
            </p:spPr>
            <p:style>
              <a:lnRef idx="1">
                <a:schemeClr val="accent1"/>
              </a:lnRef>
              <a:fillRef idx="0">
                <a:schemeClr val="accent1"/>
              </a:fillRef>
              <a:effectRef idx="0">
                <a:schemeClr val="accent1"/>
              </a:effectRef>
              <a:fontRef idx="minor">
                <a:schemeClr val="tx1"/>
              </a:fontRef>
            </p:style>
          </p:cxnSp>
          <p:cxnSp>
            <p:nvCxnSpPr>
              <p:cNvPr id="310" name="Straight Connector 309">
                <a:extLst>
                  <a:ext uri="{FF2B5EF4-FFF2-40B4-BE49-F238E27FC236}">
                    <a16:creationId xmlns:a16="http://schemas.microsoft.com/office/drawing/2014/main" id="{18577997-7FEF-4692-93FA-C19DCDAEC569}"/>
                  </a:ext>
                </a:extLst>
              </p:cNvPr>
              <p:cNvCxnSpPr>
                <a:cxnSpLocks/>
                <a:endCxn id="302" idx="7"/>
              </p:cNvCxnSpPr>
              <p:nvPr/>
            </p:nvCxnSpPr>
            <p:spPr>
              <a:xfrm rot="16200000">
                <a:off x="7067072" y="316416"/>
                <a:ext cx="168277" cy="299183"/>
              </a:xfrm>
              <a:prstGeom prst="line">
                <a:avLst/>
              </a:prstGeom>
              <a:ln w="38100">
                <a:solidFill>
                  <a:srgbClr val="5F82BE"/>
                </a:solidFill>
              </a:ln>
            </p:spPr>
            <p:style>
              <a:lnRef idx="1">
                <a:schemeClr val="accent1"/>
              </a:lnRef>
              <a:fillRef idx="0">
                <a:schemeClr val="accent1"/>
              </a:fillRef>
              <a:effectRef idx="0">
                <a:schemeClr val="accent1"/>
              </a:effectRef>
              <a:fontRef idx="minor">
                <a:schemeClr val="tx1"/>
              </a:fontRef>
            </p:style>
          </p:cxnSp>
        </p:grpSp>
        <p:grpSp>
          <p:nvGrpSpPr>
            <p:cNvPr id="322" name="Group 321">
              <a:extLst>
                <a:ext uri="{FF2B5EF4-FFF2-40B4-BE49-F238E27FC236}">
                  <a16:creationId xmlns:a16="http://schemas.microsoft.com/office/drawing/2014/main" id="{CDF8D616-66AE-4672-AB20-EF5A21EFC9A1}"/>
                </a:ext>
              </a:extLst>
            </p:cNvPr>
            <p:cNvGrpSpPr/>
            <p:nvPr/>
          </p:nvGrpSpPr>
          <p:grpSpPr>
            <a:xfrm>
              <a:off x="719380" y="2322535"/>
              <a:ext cx="389668" cy="356521"/>
              <a:chOff x="4479531" y="3625553"/>
              <a:chExt cx="490374" cy="448661"/>
            </a:xfrm>
            <a:solidFill>
              <a:srgbClr val="5E83BD"/>
            </a:solidFill>
          </p:grpSpPr>
          <p:grpSp>
            <p:nvGrpSpPr>
              <p:cNvPr id="324" name="Group 323">
                <a:extLst>
                  <a:ext uri="{FF2B5EF4-FFF2-40B4-BE49-F238E27FC236}">
                    <a16:creationId xmlns:a16="http://schemas.microsoft.com/office/drawing/2014/main" id="{BFCEEB5A-3F81-47EC-86F4-D6BDD0AB1D32}"/>
                  </a:ext>
                </a:extLst>
              </p:cNvPr>
              <p:cNvGrpSpPr/>
              <p:nvPr/>
            </p:nvGrpSpPr>
            <p:grpSpPr>
              <a:xfrm>
                <a:off x="4494021" y="3625553"/>
                <a:ext cx="475884" cy="448661"/>
                <a:chOff x="1048844" y="2929382"/>
                <a:chExt cx="2146850" cy="1792260"/>
              </a:xfrm>
              <a:grpFill/>
            </p:grpSpPr>
            <p:sp>
              <p:nvSpPr>
                <p:cNvPr id="332" name="Rectangle 331">
                  <a:extLst>
                    <a:ext uri="{FF2B5EF4-FFF2-40B4-BE49-F238E27FC236}">
                      <a16:creationId xmlns:a16="http://schemas.microsoft.com/office/drawing/2014/main" id="{95D4AB4E-BAD5-48EC-BBD9-2F24230AA6DB}"/>
                    </a:ext>
                  </a:extLst>
                </p:cNvPr>
                <p:cNvSpPr/>
                <p:nvPr/>
              </p:nvSpPr>
              <p:spPr bwMode="auto">
                <a:xfrm rot="19233811" flipH="1">
                  <a:off x="1672997" y="4111453"/>
                  <a:ext cx="265596" cy="33623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3" name="Rectangle 21">
                  <a:extLst>
                    <a:ext uri="{FF2B5EF4-FFF2-40B4-BE49-F238E27FC236}">
                      <a16:creationId xmlns:a16="http://schemas.microsoft.com/office/drawing/2014/main" id="{9CDCAFA0-9B0C-4F81-B0CD-E190060C2495}"/>
                    </a:ext>
                  </a:extLst>
                </p:cNvPr>
                <p:cNvSpPr/>
                <p:nvPr/>
              </p:nvSpPr>
              <p:spPr bwMode="auto">
                <a:xfrm rot="1663182" flipH="1">
                  <a:off x="1661723" y="3093970"/>
                  <a:ext cx="283331" cy="751494"/>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4" name="Rectangle 29">
                  <a:extLst>
                    <a:ext uri="{FF2B5EF4-FFF2-40B4-BE49-F238E27FC236}">
                      <a16:creationId xmlns:a16="http://schemas.microsoft.com/office/drawing/2014/main" id="{6A988BE1-2A8D-4945-8B6F-1AFC1E13DE9E}"/>
                    </a:ext>
                  </a:extLst>
                </p:cNvPr>
                <p:cNvSpPr/>
                <p:nvPr/>
              </p:nvSpPr>
              <p:spPr bwMode="auto">
                <a:xfrm rot="6300000" flipH="1">
                  <a:off x="2375889" y="2873020"/>
                  <a:ext cx="215107" cy="735159"/>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35" name="Group 334">
                  <a:extLst>
                    <a:ext uri="{FF2B5EF4-FFF2-40B4-BE49-F238E27FC236}">
                      <a16:creationId xmlns:a16="http://schemas.microsoft.com/office/drawing/2014/main" id="{99AB783E-6CCE-402C-8395-37806CDD1915}"/>
                    </a:ext>
                  </a:extLst>
                </p:cNvPr>
                <p:cNvGrpSpPr/>
                <p:nvPr/>
              </p:nvGrpSpPr>
              <p:grpSpPr>
                <a:xfrm>
                  <a:off x="1297664" y="3722455"/>
                  <a:ext cx="516897" cy="516898"/>
                  <a:chOff x="4394973" y="1762558"/>
                  <a:chExt cx="352210" cy="352210"/>
                </a:xfrm>
                <a:grpFill/>
              </p:grpSpPr>
              <p:grpSp>
                <p:nvGrpSpPr>
                  <p:cNvPr id="361" name="Group 360">
                    <a:extLst>
                      <a:ext uri="{FF2B5EF4-FFF2-40B4-BE49-F238E27FC236}">
                        <a16:creationId xmlns:a16="http://schemas.microsoft.com/office/drawing/2014/main" id="{E12B8EC5-19F3-4366-B24F-D00BC7B65223}"/>
                      </a:ext>
                    </a:extLst>
                  </p:cNvPr>
                  <p:cNvGrpSpPr/>
                  <p:nvPr/>
                </p:nvGrpSpPr>
                <p:grpSpPr>
                  <a:xfrm flipH="1">
                    <a:off x="4394973" y="1762558"/>
                    <a:ext cx="352210" cy="352210"/>
                    <a:chOff x="5411363" y="1755522"/>
                    <a:chExt cx="316187" cy="316187"/>
                  </a:xfrm>
                  <a:grpFill/>
                </p:grpSpPr>
                <p:sp>
                  <p:nvSpPr>
                    <p:cNvPr id="364" name="Oval 363">
                      <a:extLst>
                        <a:ext uri="{FF2B5EF4-FFF2-40B4-BE49-F238E27FC236}">
                          <a16:creationId xmlns:a16="http://schemas.microsoft.com/office/drawing/2014/main" id="{F043F063-F959-48D4-AF30-6925E82E087C}"/>
                        </a:ext>
                      </a:extLst>
                    </p:cNvPr>
                    <p:cNvSpPr/>
                    <p:nvPr/>
                  </p:nvSpPr>
                  <p:spPr bwMode="auto">
                    <a:xfrm>
                      <a:off x="5411363" y="1755522"/>
                      <a:ext cx="316187" cy="31618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5" name="Oval 364">
                      <a:extLst>
                        <a:ext uri="{FF2B5EF4-FFF2-40B4-BE49-F238E27FC236}">
                          <a16:creationId xmlns:a16="http://schemas.microsoft.com/office/drawing/2014/main" id="{BD42D138-6145-4E75-A213-C353BB966F1F}"/>
                        </a:ext>
                      </a:extLst>
                    </p:cNvPr>
                    <p:cNvSpPr/>
                    <p:nvPr/>
                  </p:nvSpPr>
                  <p:spPr bwMode="auto">
                    <a:xfrm>
                      <a:off x="5462797" y="1806956"/>
                      <a:ext cx="213318" cy="21331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6" name="Oval 365">
                      <a:extLst>
                        <a:ext uri="{FF2B5EF4-FFF2-40B4-BE49-F238E27FC236}">
                          <a16:creationId xmlns:a16="http://schemas.microsoft.com/office/drawing/2014/main" id="{95CAE764-C0BC-4FB0-A0C3-80A137B41151}"/>
                        </a:ext>
                      </a:extLst>
                    </p:cNvPr>
                    <p:cNvSpPr/>
                    <p:nvPr/>
                  </p:nvSpPr>
                  <p:spPr bwMode="auto">
                    <a:xfrm>
                      <a:off x="5506446" y="1850605"/>
                      <a:ext cx="126020" cy="1260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62" name="Rectangle 361">
                    <a:extLst>
                      <a:ext uri="{FF2B5EF4-FFF2-40B4-BE49-F238E27FC236}">
                        <a16:creationId xmlns:a16="http://schemas.microsoft.com/office/drawing/2014/main" id="{6A1B1BD6-0E6E-4001-8586-38F631B274D1}"/>
                      </a:ext>
                    </a:extLst>
                  </p:cNvPr>
                  <p:cNvSpPr/>
                  <p:nvPr/>
                </p:nvSpPr>
                <p:spPr bwMode="auto">
                  <a:xfrm flipH="1">
                    <a:off x="4553230" y="1780423"/>
                    <a:ext cx="35696" cy="30433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3" name="Rectangle 362">
                    <a:extLst>
                      <a:ext uri="{FF2B5EF4-FFF2-40B4-BE49-F238E27FC236}">
                        <a16:creationId xmlns:a16="http://schemas.microsoft.com/office/drawing/2014/main" id="{2CA97700-7E15-46F8-80DC-C005069E563A}"/>
                      </a:ext>
                    </a:extLst>
                  </p:cNvPr>
                  <p:cNvSpPr/>
                  <p:nvPr/>
                </p:nvSpPr>
                <p:spPr bwMode="auto">
                  <a:xfrm rot="5400000" flipH="1">
                    <a:off x="4561685" y="1786498"/>
                    <a:ext cx="35696" cy="30433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36" name="Group 335">
                  <a:extLst>
                    <a:ext uri="{FF2B5EF4-FFF2-40B4-BE49-F238E27FC236}">
                      <a16:creationId xmlns:a16="http://schemas.microsoft.com/office/drawing/2014/main" id="{49961531-28A6-4F80-B4F5-26B658526106}"/>
                    </a:ext>
                  </a:extLst>
                </p:cNvPr>
                <p:cNvGrpSpPr/>
                <p:nvPr/>
              </p:nvGrpSpPr>
              <p:grpSpPr>
                <a:xfrm>
                  <a:off x="1830772" y="2929382"/>
                  <a:ext cx="375748" cy="375748"/>
                  <a:chOff x="4394973" y="1762558"/>
                  <a:chExt cx="352210" cy="352210"/>
                </a:xfrm>
                <a:grpFill/>
              </p:grpSpPr>
              <p:grpSp>
                <p:nvGrpSpPr>
                  <p:cNvPr id="355" name="Group 354">
                    <a:extLst>
                      <a:ext uri="{FF2B5EF4-FFF2-40B4-BE49-F238E27FC236}">
                        <a16:creationId xmlns:a16="http://schemas.microsoft.com/office/drawing/2014/main" id="{168A8D38-06FA-44BF-8933-6EAEDFF29C10}"/>
                      </a:ext>
                    </a:extLst>
                  </p:cNvPr>
                  <p:cNvGrpSpPr/>
                  <p:nvPr/>
                </p:nvGrpSpPr>
                <p:grpSpPr>
                  <a:xfrm flipH="1">
                    <a:off x="4394973" y="1762558"/>
                    <a:ext cx="352210" cy="352210"/>
                    <a:chOff x="5411363" y="1755522"/>
                    <a:chExt cx="316187" cy="316187"/>
                  </a:xfrm>
                  <a:grpFill/>
                </p:grpSpPr>
                <p:sp>
                  <p:nvSpPr>
                    <p:cNvPr id="358" name="Oval 357">
                      <a:extLst>
                        <a:ext uri="{FF2B5EF4-FFF2-40B4-BE49-F238E27FC236}">
                          <a16:creationId xmlns:a16="http://schemas.microsoft.com/office/drawing/2014/main" id="{CBA863E7-8866-4587-8FCB-7BF099242121}"/>
                        </a:ext>
                      </a:extLst>
                    </p:cNvPr>
                    <p:cNvSpPr/>
                    <p:nvPr/>
                  </p:nvSpPr>
                  <p:spPr bwMode="auto">
                    <a:xfrm>
                      <a:off x="5411363" y="1755522"/>
                      <a:ext cx="316187" cy="31618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9" name="Oval 358">
                      <a:extLst>
                        <a:ext uri="{FF2B5EF4-FFF2-40B4-BE49-F238E27FC236}">
                          <a16:creationId xmlns:a16="http://schemas.microsoft.com/office/drawing/2014/main" id="{78B76A84-A9B9-4C21-ABFC-E3385DA01DE5}"/>
                        </a:ext>
                      </a:extLst>
                    </p:cNvPr>
                    <p:cNvSpPr/>
                    <p:nvPr/>
                  </p:nvSpPr>
                  <p:spPr bwMode="auto">
                    <a:xfrm>
                      <a:off x="5462797" y="1806956"/>
                      <a:ext cx="213318" cy="21331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0" name="Oval 359">
                      <a:extLst>
                        <a:ext uri="{FF2B5EF4-FFF2-40B4-BE49-F238E27FC236}">
                          <a16:creationId xmlns:a16="http://schemas.microsoft.com/office/drawing/2014/main" id="{33287B0C-3B2E-4C3B-9A7C-D2FB5A567D77}"/>
                        </a:ext>
                      </a:extLst>
                    </p:cNvPr>
                    <p:cNvSpPr/>
                    <p:nvPr/>
                  </p:nvSpPr>
                  <p:spPr bwMode="auto">
                    <a:xfrm>
                      <a:off x="5506446" y="1850605"/>
                      <a:ext cx="126020" cy="1260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56" name="Rectangle 355">
                    <a:extLst>
                      <a:ext uri="{FF2B5EF4-FFF2-40B4-BE49-F238E27FC236}">
                        <a16:creationId xmlns:a16="http://schemas.microsoft.com/office/drawing/2014/main" id="{C94B3D4A-BF7B-429D-94A0-D65883FAE0C7}"/>
                      </a:ext>
                    </a:extLst>
                  </p:cNvPr>
                  <p:cNvSpPr/>
                  <p:nvPr/>
                </p:nvSpPr>
                <p:spPr bwMode="auto">
                  <a:xfrm flipH="1">
                    <a:off x="4553231" y="1789294"/>
                    <a:ext cx="35695" cy="28644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7" name="Rectangle 356">
                    <a:extLst>
                      <a:ext uri="{FF2B5EF4-FFF2-40B4-BE49-F238E27FC236}">
                        <a16:creationId xmlns:a16="http://schemas.microsoft.com/office/drawing/2014/main" id="{65B83813-E150-4DD4-B5AC-1327F65D1D01}"/>
                      </a:ext>
                    </a:extLst>
                  </p:cNvPr>
                  <p:cNvSpPr/>
                  <p:nvPr/>
                </p:nvSpPr>
                <p:spPr bwMode="auto">
                  <a:xfrm rot="5400000" flipH="1">
                    <a:off x="4556016" y="1795437"/>
                    <a:ext cx="35695" cy="2864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37" name="Group 336">
                  <a:extLst>
                    <a:ext uri="{FF2B5EF4-FFF2-40B4-BE49-F238E27FC236}">
                      <a16:creationId xmlns:a16="http://schemas.microsoft.com/office/drawing/2014/main" id="{D1379339-02E6-47B7-9EA7-0A915A4A562C}"/>
                    </a:ext>
                  </a:extLst>
                </p:cNvPr>
                <p:cNvGrpSpPr/>
                <p:nvPr/>
              </p:nvGrpSpPr>
              <p:grpSpPr>
                <a:xfrm rot="20781386">
                  <a:off x="2789459" y="3462425"/>
                  <a:ext cx="406235" cy="662070"/>
                  <a:chOff x="6203753" y="1569838"/>
                  <a:chExt cx="276805" cy="451130"/>
                </a:xfrm>
                <a:grpFill/>
              </p:grpSpPr>
              <p:sp>
                <p:nvSpPr>
                  <p:cNvPr id="347" name="Rectangle 346">
                    <a:extLst>
                      <a:ext uri="{FF2B5EF4-FFF2-40B4-BE49-F238E27FC236}">
                        <a16:creationId xmlns:a16="http://schemas.microsoft.com/office/drawing/2014/main" id="{CAB598F0-E8E1-4CA3-A1C8-23C6DC78A767}"/>
                      </a:ext>
                    </a:extLst>
                  </p:cNvPr>
                  <p:cNvSpPr/>
                  <p:nvPr/>
                </p:nvSpPr>
                <p:spPr bwMode="auto">
                  <a:xfrm rot="10800000" flipH="1">
                    <a:off x="6289818" y="1569838"/>
                    <a:ext cx="96717" cy="17378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8" name="Oval 347">
                    <a:extLst>
                      <a:ext uri="{FF2B5EF4-FFF2-40B4-BE49-F238E27FC236}">
                        <a16:creationId xmlns:a16="http://schemas.microsoft.com/office/drawing/2014/main" id="{C35D0E6A-8819-4459-91C2-C357C36FF8D8}"/>
                      </a:ext>
                    </a:extLst>
                  </p:cNvPr>
                  <p:cNvSpPr/>
                  <p:nvPr/>
                </p:nvSpPr>
                <p:spPr bwMode="auto">
                  <a:xfrm rot="10737439" flipH="1">
                    <a:off x="6286686" y="1707639"/>
                    <a:ext cx="110946" cy="11094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49" name="Group 348">
                    <a:extLst>
                      <a:ext uri="{FF2B5EF4-FFF2-40B4-BE49-F238E27FC236}">
                        <a16:creationId xmlns:a16="http://schemas.microsoft.com/office/drawing/2014/main" id="{39CF2775-65A7-4C0F-BA46-F2B65F60B0C9}"/>
                      </a:ext>
                    </a:extLst>
                  </p:cNvPr>
                  <p:cNvGrpSpPr/>
                  <p:nvPr/>
                </p:nvGrpSpPr>
                <p:grpSpPr>
                  <a:xfrm>
                    <a:off x="6203753" y="1748133"/>
                    <a:ext cx="99173" cy="272835"/>
                    <a:chOff x="5430362" y="1772113"/>
                    <a:chExt cx="99173" cy="272835"/>
                  </a:xfrm>
                  <a:grpFill/>
                </p:grpSpPr>
                <p:sp>
                  <p:nvSpPr>
                    <p:cNvPr id="353" name="Rectangle 352">
                      <a:extLst>
                        <a:ext uri="{FF2B5EF4-FFF2-40B4-BE49-F238E27FC236}">
                          <a16:creationId xmlns:a16="http://schemas.microsoft.com/office/drawing/2014/main" id="{6E1801C7-7409-4751-866D-943BD7F99523}"/>
                        </a:ext>
                      </a:extLst>
                    </p:cNvPr>
                    <p:cNvSpPr/>
                    <p:nvPr/>
                  </p:nvSpPr>
                  <p:spPr bwMode="auto">
                    <a:xfrm rot="13260000" flipH="1">
                      <a:off x="5468027" y="1772113"/>
                      <a:ext cx="45719" cy="1371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4" name="Diagonal Stripe 353">
                      <a:extLst>
                        <a:ext uri="{FF2B5EF4-FFF2-40B4-BE49-F238E27FC236}">
                          <a16:creationId xmlns:a16="http://schemas.microsoft.com/office/drawing/2014/main" id="{4B4086CC-BA4E-45E2-A8DF-CA3A31EF9FE4}"/>
                        </a:ext>
                      </a:extLst>
                    </p:cNvPr>
                    <p:cNvSpPr/>
                    <p:nvPr/>
                  </p:nvSpPr>
                  <p:spPr bwMode="auto">
                    <a:xfrm rot="19432650">
                      <a:off x="5430362" y="1862068"/>
                      <a:ext cx="99173" cy="182880"/>
                    </a:xfrm>
                    <a:prstGeom prst="diagStrip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50" name="Group 349">
                    <a:extLst>
                      <a:ext uri="{FF2B5EF4-FFF2-40B4-BE49-F238E27FC236}">
                        <a16:creationId xmlns:a16="http://schemas.microsoft.com/office/drawing/2014/main" id="{F38FAF83-9912-4D1C-8DF1-0C37088BD9FB}"/>
                      </a:ext>
                    </a:extLst>
                  </p:cNvPr>
                  <p:cNvGrpSpPr/>
                  <p:nvPr/>
                </p:nvGrpSpPr>
                <p:grpSpPr>
                  <a:xfrm flipH="1">
                    <a:off x="6381385" y="1748134"/>
                    <a:ext cx="99173" cy="272833"/>
                    <a:chOff x="5422401" y="1772114"/>
                    <a:chExt cx="99173" cy="272833"/>
                  </a:xfrm>
                  <a:grpFill/>
                </p:grpSpPr>
                <p:sp>
                  <p:nvSpPr>
                    <p:cNvPr id="351" name="Rectangle 350">
                      <a:extLst>
                        <a:ext uri="{FF2B5EF4-FFF2-40B4-BE49-F238E27FC236}">
                          <a16:creationId xmlns:a16="http://schemas.microsoft.com/office/drawing/2014/main" id="{D926AFA6-5BB1-4105-B4C2-05EE39DFE830}"/>
                        </a:ext>
                      </a:extLst>
                    </p:cNvPr>
                    <p:cNvSpPr/>
                    <p:nvPr/>
                  </p:nvSpPr>
                  <p:spPr bwMode="auto">
                    <a:xfrm rot="13260000" flipH="1">
                      <a:off x="5460058" y="1772114"/>
                      <a:ext cx="45719" cy="1371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2" name="Diagonal Stripe 351">
                      <a:extLst>
                        <a:ext uri="{FF2B5EF4-FFF2-40B4-BE49-F238E27FC236}">
                          <a16:creationId xmlns:a16="http://schemas.microsoft.com/office/drawing/2014/main" id="{08E77373-1029-42B9-832B-D4736851F8AD}"/>
                        </a:ext>
                      </a:extLst>
                    </p:cNvPr>
                    <p:cNvSpPr/>
                    <p:nvPr/>
                  </p:nvSpPr>
                  <p:spPr bwMode="auto">
                    <a:xfrm rot="19432650">
                      <a:off x="5422401" y="1862067"/>
                      <a:ext cx="99173" cy="182880"/>
                    </a:xfrm>
                    <a:prstGeom prst="diagStrip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338" name="Group 337">
                  <a:extLst>
                    <a:ext uri="{FF2B5EF4-FFF2-40B4-BE49-F238E27FC236}">
                      <a16:creationId xmlns:a16="http://schemas.microsoft.com/office/drawing/2014/main" id="{E5C35247-8B20-4184-83B0-431450392CA2}"/>
                    </a:ext>
                  </a:extLst>
                </p:cNvPr>
                <p:cNvGrpSpPr/>
                <p:nvPr/>
              </p:nvGrpSpPr>
              <p:grpSpPr>
                <a:xfrm>
                  <a:off x="2732452" y="3244007"/>
                  <a:ext cx="281811" cy="281811"/>
                  <a:chOff x="4394973" y="1762558"/>
                  <a:chExt cx="352210" cy="352210"/>
                </a:xfrm>
                <a:grpFill/>
              </p:grpSpPr>
              <p:grpSp>
                <p:nvGrpSpPr>
                  <p:cNvPr id="341" name="Group 340">
                    <a:extLst>
                      <a:ext uri="{FF2B5EF4-FFF2-40B4-BE49-F238E27FC236}">
                        <a16:creationId xmlns:a16="http://schemas.microsoft.com/office/drawing/2014/main" id="{80D0525B-AA40-4EE9-9222-562CC69584D5}"/>
                      </a:ext>
                    </a:extLst>
                  </p:cNvPr>
                  <p:cNvGrpSpPr/>
                  <p:nvPr/>
                </p:nvGrpSpPr>
                <p:grpSpPr>
                  <a:xfrm flipH="1">
                    <a:off x="4394973" y="1762558"/>
                    <a:ext cx="352210" cy="352210"/>
                    <a:chOff x="5411363" y="1755522"/>
                    <a:chExt cx="316187" cy="316187"/>
                  </a:xfrm>
                  <a:grpFill/>
                </p:grpSpPr>
                <p:sp>
                  <p:nvSpPr>
                    <p:cNvPr id="344" name="Oval 343">
                      <a:extLst>
                        <a:ext uri="{FF2B5EF4-FFF2-40B4-BE49-F238E27FC236}">
                          <a16:creationId xmlns:a16="http://schemas.microsoft.com/office/drawing/2014/main" id="{1D72EC4A-378F-410B-84B3-6220E9A810EF}"/>
                        </a:ext>
                      </a:extLst>
                    </p:cNvPr>
                    <p:cNvSpPr/>
                    <p:nvPr/>
                  </p:nvSpPr>
                  <p:spPr bwMode="auto">
                    <a:xfrm>
                      <a:off x="5411363" y="1755522"/>
                      <a:ext cx="316187" cy="31618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5" name="Oval 344">
                      <a:extLst>
                        <a:ext uri="{FF2B5EF4-FFF2-40B4-BE49-F238E27FC236}">
                          <a16:creationId xmlns:a16="http://schemas.microsoft.com/office/drawing/2014/main" id="{34C29936-55F8-46EE-9046-033998D8B0E0}"/>
                        </a:ext>
                      </a:extLst>
                    </p:cNvPr>
                    <p:cNvSpPr/>
                    <p:nvPr/>
                  </p:nvSpPr>
                  <p:spPr bwMode="auto">
                    <a:xfrm>
                      <a:off x="5462797" y="1806956"/>
                      <a:ext cx="213318" cy="21331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6" name="Oval 345">
                      <a:extLst>
                        <a:ext uri="{FF2B5EF4-FFF2-40B4-BE49-F238E27FC236}">
                          <a16:creationId xmlns:a16="http://schemas.microsoft.com/office/drawing/2014/main" id="{8977FA6B-053C-46C5-A929-4D79B7D15312}"/>
                        </a:ext>
                      </a:extLst>
                    </p:cNvPr>
                    <p:cNvSpPr/>
                    <p:nvPr/>
                  </p:nvSpPr>
                  <p:spPr bwMode="auto">
                    <a:xfrm>
                      <a:off x="5506446" y="1850605"/>
                      <a:ext cx="126020" cy="1260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42" name="Rectangle 341">
                    <a:extLst>
                      <a:ext uri="{FF2B5EF4-FFF2-40B4-BE49-F238E27FC236}">
                        <a16:creationId xmlns:a16="http://schemas.microsoft.com/office/drawing/2014/main" id="{ACE9C0A3-06F8-4B60-BD4C-32AE6E1C77B3}"/>
                      </a:ext>
                    </a:extLst>
                  </p:cNvPr>
                  <p:cNvSpPr/>
                  <p:nvPr/>
                </p:nvSpPr>
                <p:spPr bwMode="auto">
                  <a:xfrm flipH="1">
                    <a:off x="4553229" y="1795031"/>
                    <a:ext cx="35696" cy="26441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3" name="Rectangle 342">
                    <a:extLst>
                      <a:ext uri="{FF2B5EF4-FFF2-40B4-BE49-F238E27FC236}">
                        <a16:creationId xmlns:a16="http://schemas.microsoft.com/office/drawing/2014/main" id="{170ADD7F-4929-4420-99FC-E1B19849B43D}"/>
                      </a:ext>
                    </a:extLst>
                  </p:cNvPr>
                  <p:cNvSpPr/>
                  <p:nvPr/>
                </p:nvSpPr>
                <p:spPr bwMode="auto">
                  <a:xfrm rot="5400000" flipH="1">
                    <a:off x="4559388" y="1806456"/>
                    <a:ext cx="35696" cy="26441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39" name="Rounded Rectangle 473">
                  <a:extLst>
                    <a:ext uri="{FF2B5EF4-FFF2-40B4-BE49-F238E27FC236}">
                      <a16:creationId xmlns:a16="http://schemas.microsoft.com/office/drawing/2014/main" id="{208AE4F1-4AEF-4E9D-BAA8-43BF07E568FC}"/>
                    </a:ext>
                  </a:extLst>
                </p:cNvPr>
                <p:cNvSpPr/>
                <p:nvPr/>
              </p:nvSpPr>
              <p:spPr bwMode="auto">
                <a:xfrm flipH="1">
                  <a:off x="1188631" y="4306131"/>
                  <a:ext cx="1241311" cy="391405"/>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0" name="Rounded Rectangle 474">
                  <a:extLst>
                    <a:ext uri="{FF2B5EF4-FFF2-40B4-BE49-F238E27FC236}">
                      <a16:creationId xmlns:a16="http://schemas.microsoft.com/office/drawing/2014/main" id="{15F2A108-6BCC-4337-AA42-DB30130F6681}"/>
                    </a:ext>
                  </a:extLst>
                </p:cNvPr>
                <p:cNvSpPr/>
                <p:nvPr/>
              </p:nvSpPr>
              <p:spPr bwMode="auto">
                <a:xfrm flipH="1">
                  <a:off x="1048844" y="4501833"/>
                  <a:ext cx="1520885" cy="219809"/>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325" name="Group 324">
                <a:extLst>
                  <a:ext uri="{FF2B5EF4-FFF2-40B4-BE49-F238E27FC236}">
                    <a16:creationId xmlns:a16="http://schemas.microsoft.com/office/drawing/2014/main" id="{DFF51B08-6DB4-42F5-B8E0-2BBD44B4C926}"/>
                  </a:ext>
                </a:extLst>
              </p:cNvPr>
              <p:cNvGrpSpPr/>
              <p:nvPr/>
            </p:nvGrpSpPr>
            <p:grpSpPr>
              <a:xfrm rot="12600000">
                <a:off x="4479531" y="3768380"/>
                <a:ext cx="71457" cy="119378"/>
                <a:chOff x="2687372" y="3149601"/>
                <a:chExt cx="81465" cy="132564"/>
              </a:xfrm>
              <a:grpFill/>
            </p:grpSpPr>
            <p:sp>
              <p:nvSpPr>
                <p:cNvPr id="326" name="Freeform 75">
                  <a:extLst>
                    <a:ext uri="{FF2B5EF4-FFF2-40B4-BE49-F238E27FC236}">
                      <a16:creationId xmlns:a16="http://schemas.microsoft.com/office/drawing/2014/main" id="{07A3A8CC-8F8F-411F-BF76-236DD4693D95}"/>
                    </a:ext>
                  </a:extLst>
                </p:cNvPr>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199" b="0" i="0" u="none" strike="noStrike" kern="1200" cap="none" spc="0" normalizeH="0" baseline="0" noProof="0">
                    <a:ln>
                      <a:noFill/>
                    </a:ln>
                    <a:solidFill>
                      <a:srgbClr val="000000"/>
                    </a:solidFill>
                    <a:effectLst/>
                    <a:uLnTx/>
                    <a:uFillTx/>
                    <a:latin typeface="Segoe UI"/>
                    <a:ea typeface="+mn-ea"/>
                    <a:cs typeface="+mn-cs"/>
                  </a:endParaRPr>
                </a:p>
              </p:txBody>
            </p:sp>
            <p:sp>
              <p:nvSpPr>
                <p:cNvPr id="327" name="Freeform 76">
                  <a:extLst>
                    <a:ext uri="{FF2B5EF4-FFF2-40B4-BE49-F238E27FC236}">
                      <a16:creationId xmlns:a16="http://schemas.microsoft.com/office/drawing/2014/main" id="{345803F6-A2F8-4DF4-AAF7-40E3A7711CC1}"/>
                    </a:ext>
                  </a:extLst>
                </p:cNvPr>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199" b="0" i="0" u="none" strike="noStrike" kern="1200" cap="none" spc="0" normalizeH="0" baseline="0" noProof="0">
                    <a:ln>
                      <a:noFill/>
                    </a:ln>
                    <a:solidFill>
                      <a:srgbClr val="000000"/>
                    </a:solidFill>
                    <a:effectLst/>
                    <a:uLnTx/>
                    <a:uFillTx/>
                    <a:latin typeface="Segoe UI"/>
                    <a:ea typeface="+mn-ea"/>
                    <a:cs typeface="+mn-cs"/>
                  </a:endParaRPr>
                </a:p>
              </p:txBody>
            </p:sp>
            <p:sp>
              <p:nvSpPr>
                <p:cNvPr id="328" name="Freeform 77">
                  <a:extLst>
                    <a:ext uri="{FF2B5EF4-FFF2-40B4-BE49-F238E27FC236}">
                      <a16:creationId xmlns:a16="http://schemas.microsoft.com/office/drawing/2014/main" id="{427A6FBB-B7B5-4D2B-BB22-EC14F55AA968}"/>
                    </a:ext>
                  </a:extLst>
                </p:cNvPr>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199" b="0" i="0" u="none" strike="noStrike" kern="1200" cap="none" spc="0" normalizeH="0" baseline="0" noProof="0">
                    <a:ln>
                      <a:noFill/>
                    </a:ln>
                    <a:solidFill>
                      <a:srgbClr val="000000"/>
                    </a:solidFill>
                    <a:effectLst/>
                    <a:uLnTx/>
                    <a:uFillTx/>
                    <a:latin typeface="Segoe UI"/>
                    <a:ea typeface="+mn-ea"/>
                    <a:cs typeface="+mn-cs"/>
                  </a:endParaRPr>
                </a:p>
              </p:txBody>
            </p:sp>
            <p:sp>
              <p:nvSpPr>
                <p:cNvPr id="329" name="Freeform 78">
                  <a:extLst>
                    <a:ext uri="{FF2B5EF4-FFF2-40B4-BE49-F238E27FC236}">
                      <a16:creationId xmlns:a16="http://schemas.microsoft.com/office/drawing/2014/main" id="{ECB71AFE-55F2-4D6F-9F73-75C00026C3B4}"/>
                    </a:ext>
                  </a:extLst>
                </p:cNvPr>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199" b="0" i="0" u="none" strike="noStrike" kern="1200" cap="none" spc="0" normalizeH="0" baseline="0" noProof="0">
                    <a:ln>
                      <a:noFill/>
                    </a:ln>
                    <a:solidFill>
                      <a:srgbClr val="000000"/>
                    </a:solidFill>
                    <a:effectLst/>
                    <a:uLnTx/>
                    <a:uFillTx/>
                    <a:latin typeface="Segoe UI"/>
                    <a:ea typeface="+mn-ea"/>
                    <a:cs typeface="+mn-cs"/>
                  </a:endParaRPr>
                </a:p>
              </p:txBody>
            </p:sp>
            <p:sp>
              <p:nvSpPr>
                <p:cNvPr id="330" name="Freeform 79">
                  <a:extLst>
                    <a:ext uri="{FF2B5EF4-FFF2-40B4-BE49-F238E27FC236}">
                      <a16:creationId xmlns:a16="http://schemas.microsoft.com/office/drawing/2014/main" id="{738E0F85-CADF-422F-B886-B59E4D0E8A11}"/>
                    </a:ext>
                  </a:extLst>
                </p:cNvPr>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199" b="0" i="0" u="none" strike="noStrike" kern="1200" cap="none" spc="0" normalizeH="0" baseline="0" noProof="0">
                    <a:ln>
                      <a:noFill/>
                    </a:ln>
                    <a:solidFill>
                      <a:srgbClr val="000000"/>
                    </a:solidFill>
                    <a:effectLst/>
                    <a:uLnTx/>
                    <a:uFillTx/>
                    <a:latin typeface="Segoe UI"/>
                    <a:ea typeface="+mn-ea"/>
                    <a:cs typeface="+mn-cs"/>
                  </a:endParaRPr>
                </a:p>
              </p:txBody>
            </p:sp>
            <p:sp>
              <p:nvSpPr>
                <p:cNvPr id="331" name="Freeform 80">
                  <a:extLst>
                    <a:ext uri="{FF2B5EF4-FFF2-40B4-BE49-F238E27FC236}">
                      <a16:creationId xmlns:a16="http://schemas.microsoft.com/office/drawing/2014/main" id="{5004240C-FCBB-472A-93E6-8A683D704577}"/>
                    </a:ext>
                  </a:extLst>
                </p:cNvPr>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199"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305" name="Group 304">
              <a:extLst>
                <a:ext uri="{FF2B5EF4-FFF2-40B4-BE49-F238E27FC236}">
                  <a16:creationId xmlns:a16="http://schemas.microsoft.com/office/drawing/2014/main" id="{2C44AF67-4CEB-4A54-9A4A-1FBAD9316FB9}"/>
                </a:ext>
              </a:extLst>
            </p:cNvPr>
            <p:cNvGrpSpPr/>
            <p:nvPr/>
          </p:nvGrpSpPr>
          <p:grpSpPr>
            <a:xfrm>
              <a:off x="1519619" y="2323968"/>
              <a:ext cx="201330" cy="383779"/>
              <a:chOff x="2105602" y="2032483"/>
              <a:chExt cx="245232" cy="467468"/>
            </a:xfrm>
          </p:grpSpPr>
          <p:sp>
            <p:nvSpPr>
              <p:cNvPr id="367" name="Freeform 120">
                <a:extLst>
                  <a:ext uri="{FF2B5EF4-FFF2-40B4-BE49-F238E27FC236}">
                    <a16:creationId xmlns:a16="http://schemas.microsoft.com/office/drawing/2014/main" id="{4847639F-460B-4F63-8EF7-D151C5B38ED4}"/>
                  </a:ext>
                </a:extLst>
              </p:cNvPr>
              <p:cNvSpPr>
                <a:spLocks/>
              </p:cNvSpPr>
              <p:nvPr/>
            </p:nvSpPr>
            <p:spPr bwMode="auto">
              <a:xfrm>
                <a:off x="2222526" y="2032483"/>
                <a:ext cx="75773" cy="74804"/>
              </a:xfrm>
              <a:custGeom>
                <a:avLst/>
                <a:gdLst>
                  <a:gd name="T0" fmla="*/ 194 w 626"/>
                  <a:gd name="T1" fmla="*/ 24 h 618"/>
                  <a:gd name="T2" fmla="*/ 232 w 626"/>
                  <a:gd name="T3" fmla="*/ 10 h 618"/>
                  <a:gd name="T4" fmla="*/ 270 w 626"/>
                  <a:gd name="T5" fmla="*/ 2 h 618"/>
                  <a:gd name="T6" fmla="*/ 310 w 626"/>
                  <a:gd name="T7" fmla="*/ 0 h 618"/>
                  <a:gd name="T8" fmla="*/ 348 w 626"/>
                  <a:gd name="T9" fmla="*/ 2 h 618"/>
                  <a:gd name="T10" fmla="*/ 386 w 626"/>
                  <a:gd name="T11" fmla="*/ 10 h 618"/>
                  <a:gd name="T12" fmla="*/ 458 w 626"/>
                  <a:gd name="T13" fmla="*/ 38 h 618"/>
                  <a:gd name="T14" fmla="*/ 522 w 626"/>
                  <a:gd name="T15" fmla="*/ 82 h 618"/>
                  <a:gd name="T16" fmla="*/ 574 w 626"/>
                  <a:gd name="T17" fmla="*/ 140 h 618"/>
                  <a:gd name="T18" fmla="*/ 594 w 626"/>
                  <a:gd name="T19" fmla="*/ 172 h 618"/>
                  <a:gd name="T20" fmla="*/ 610 w 626"/>
                  <a:gd name="T21" fmla="*/ 208 h 618"/>
                  <a:gd name="T22" fmla="*/ 622 w 626"/>
                  <a:gd name="T23" fmla="*/ 246 h 618"/>
                  <a:gd name="T24" fmla="*/ 626 w 626"/>
                  <a:gd name="T25" fmla="*/ 284 h 618"/>
                  <a:gd name="T26" fmla="*/ 626 w 626"/>
                  <a:gd name="T27" fmla="*/ 324 h 618"/>
                  <a:gd name="T28" fmla="*/ 626 w 626"/>
                  <a:gd name="T29" fmla="*/ 348 h 618"/>
                  <a:gd name="T30" fmla="*/ 620 w 626"/>
                  <a:gd name="T31" fmla="*/ 392 h 618"/>
                  <a:gd name="T32" fmla="*/ 608 w 626"/>
                  <a:gd name="T33" fmla="*/ 434 h 618"/>
                  <a:gd name="T34" fmla="*/ 588 w 626"/>
                  <a:gd name="T35" fmla="*/ 472 h 618"/>
                  <a:gd name="T36" fmla="*/ 562 w 626"/>
                  <a:gd name="T37" fmla="*/ 506 h 618"/>
                  <a:gd name="T38" fmla="*/ 532 w 626"/>
                  <a:gd name="T39" fmla="*/ 536 h 618"/>
                  <a:gd name="T40" fmla="*/ 498 w 626"/>
                  <a:gd name="T41" fmla="*/ 560 h 618"/>
                  <a:gd name="T42" fmla="*/ 460 w 626"/>
                  <a:gd name="T43" fmla="*/ 582 h 618"/>
                  <a:gd name="T44" fmla="*/ 420 w 626"/>
                  <a:gd name="T45" fmla="*/ 598 h 618"/>
                  <a:gd name="T46" fmla="*/ 378 w 626"/>
                  <a:gd name="T47" fmla="*/ 610 h 618"/>
                  <a:gd name="T48" fmla="*/ 336 w 626"/>
                  <a:gd name="T49" fmla="*/ 616 h 618"/>
                  <a:gd name="T50" fmla="*/ 292 w 626"/>
                  <a:gd name="T51" fmla="*/ 618 h 618"/>
                  <a:gd name="T52" fmla="*/ 248 w 626"/>
                  <a:gd name="T53" fmla="*/ 612 h 618"/>
                  <a:gd name="T54" fmla="*/ 206 w 626"/>
                  <a:gd name="T55" fmla="*/ 602 h 618"/>
                  <a:gd name="T56" fmla="*/ 166 w 626"/>
                  <a:gd name="T57" fmla="*/ 586 h 618"/>
                  <a:gd name="T58" fmla="*/ 130 w 626"/>
                  <a:gd name="T59" fmla="*/ 562 h 618"/>
                  <a:gd name="T60" fmla="*/ 112 w 626"/>
                  <a:gd name="T61" fmla="*/ 548 h 618"/>
                  <a:gd name="T62" fmla="*/ 80 w 626"/>
                  <a:gd name="T63" fmla="*/ 520 h 618"/>
                  <a:gd name="T64" fmla="*/ 56 w 626"/>
                  <a:gd name="T65" fmla="*/ 490 h 618"/>
                  <a:gd name="T66" fmla="*/ 34 w 626"/>
                  <a:gd name="T67" fmla="*/ 456 h 618"/>
                  <a:gd name="T68" fmla="*/ 18 w 626"/>
                  <a:gd name="T69" fmla="*/ 420 h 618"/>
                  <a:gd name="T70" fmla="*/ 8 w 626"/>
                  <a:gd name="T71" fmla="*/ 382 h 618"/>
                  <a:gd name="T72" fmla="*/ 2 w 626"/>
                  <a:gd name="T73" fmla="*/ 342 h 618"/>
                  <a:gd name="T74" fmla="*/ 4 w 626"/>
                  <a:gd name="T75" fmla="*/ 262 h 618"/>
                  <a:gd name="T76" fmla="*/ 18 w 626"/>
                  <a:gd name="T77" fmla="*/ 204 h 618"/>
                  <a:gd name="T78" fmla="*/ 34 w 626"/>
                  <a:gd name="T79" fmla="*/ 168 h 618"/>
                  <a:gd name="T80" fmla="*/ 54 w 626"/>
                  <a:gd name="T81" fmla="*/ 132 h 618"/>
                  <a:gd name="T82" fmla="*/ 78 w 626"/>
                  <a:gd name="T83" fmla="*/ 102 h 618"/>
                  <a:gd name="T84" fmla="*/ 106 w 626"/>
                  <a:gd name="T85" fmla="*/ 74 h 618"/>
                  <a:gd name="T86" fmla="*/ 138 w 626"/>
                  <a:gd name="T87" fmla="*/ 50 h 618"/>
                  <a:gd name="T88" fmla="*/ 174 w 626"/>
                  <a:gd name="T89" fmla="*/ 32 h 618"/>
                  <a:gd name="T90" fmla="*/ 194 w 626"/>
                  <a:gd name="T91" fmla="*/ 2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26" h="618">
                    <a:moveTo>
                      <a:pt x="194" y="24"/>
                    </a:moveTo>
                    <a:lnTo>
                      <a:pt x="194" y="24"/>
                    </a:lnTo>
                    <a:lnTo>
                      <a:pt x="212" y="16"/>
                    </a:lnTo>
                    <a:lnTo>
                      <a:pt x="232" y="10"/>
                    </a:lnTo>
                    <a:lnTo>
                      <a:pt x="250" y="6"/>
                    </a:lnTo>
                    <a:lnTo>
                      <a:pt x="270" y="2"/>
                    </a:lnTo>
                    <a:lnTo>
                      <a:pt x="290" y="0"/>
                    </a:lnTo>
                    <a:lnTo>
                      <a:pt x="310" y="0"/>
                    </a:lnTo>
                    <a:lnTo>
                      <a:pt x="328" y="0"/>
                    </a:lnTo>
                    <a:lnTo>
                      <a:pt x="348" y="2"/>
                    </a:lnTo>
                    <a:lnTo>
                      <a:pt x="366" y="4"/>
                    </a:lnTo>
                    <a:lnTo>
                      <a:pt x="386" y="10"/>
                    </a:lnTo>
                    <a:lnTo>
                      <a:pt x="422" y="22"/>
                    </a:lnTo>
                    <a:lnTo>
                      <a:pt x="458" y="38"/>
                    </a:lnTo>
                    <a:lnTo>
                      <a:pt x="492" y="58"/>
                    </a:lnTo>
                    <a:lnTo>
                      <a:pt x="522" y="82"/>
                    </a:lnTo>
                    <a:lnTo>
                      <a:pt x="550" y="110"/>
                    </a:lnTo>
                    <a:lnTo>
                      <a:pt x="574" y="140"/>
                    </a:lnTo>
                    <a:lnTo>
                      <a:pt x="586" y="156"/>
                    </a:lnTo>
                    <a:lnTo>
                      <a:pt x="594" y="172"/>
                    </a:lnTo>
                    <a:lnTo>
                      <a:pt x="604" y="190"/>
                    </a:lnTo>
                    <a:lnTo>
                      <a:pt x="610" y="208"/>
                    </a:lnTo>
                    <a:lnTo>
                      <a:pt x="616" y="226"/>
                    </a:lnTo>
                    <a:lnTo>
                      <a:pt x="622" y="246"/>
                    </a:lnTo>
                    <a:lnTo>
                      <a:pt x="624" y="264"/>
                    </a:lnTo>
                    <a:lnTo>
                      <a:pt x="626" y="284"/>
                    </a:lnTo>
                    <a:lnTo>
                      <a:pt x="626" y="304"/>
                    </a:lnTo>
                    <a:lnTo>
                      <a:pt x="626" y="324"/>
                    </a:lnTo>
                    <a:lnTo>
                      <a:pt x="626" y="324"/>
                    </a:lnTo>
                    <a:lnTo>
                      <a:pt x="626" y="348"/>
                    </a:lnTo>
                    <a:lnTo>
                      <a:pt x="624" y="370"/>
                    </a:lnTo>
                    <a:lnTo>
                      <a:pt x="620" y="392"/>
                    </a:lnTo>
                    <a:lnTo>
                      <a:pt x="614" y="414"/>
                    </a:lnTo>
                    <a:lnTo>
                      <a:pt x="608" y="434"/>
                    </a:lnTo>
                    <a:lnTo>
                      <a:pt x="598" y="452"/>
                    </a:lnTo>
                    <a:lnTo>
                      <a:pt x="588" y="472"/>
                    </a:lnTo>
                    <a:lnTo>
                      <a:pt x="576" y="488"/>
                    </a:lnTo>
                    <a:lnTo>
                      <a:pt x="562" y="506"/>
                    </a:lnTo>
                    <a:lnTo>
                      <a:pt x="548" y="520"/>
                    </a:lnTo>
                    <a:lnTo>
                      <a:pt x="532" y="536"/>
                    </a:lnTo>
                    <a:lnTo>
                      <a:pt x="516" y="548"/>
                    </a:lnTo>
                    <a:lnTo>
                      <a:pt x="498" y="560"/>
                    </a:lnTo>
                    <a:lnTo>
                      <a:pt x="480" y="572"/>
                    </a:lnTo>
                    <a:lnTo>
                      <a:pt x="460" y="582"/>
                    </a:lnTo>
                    <a:lnTo>
                      <a:pt x="442" y="590"/>
                    </a:lnTo>
                    <a:lnTo>
                      <a:pt x="420" y="598"/>
                    </a:lnTo>
                    <a:lnTo>
                      <a:pt x="400" y="604"/>
                    </a:lnTo>
                    <a:lnTo>
                      <a:pt x="378" y="610"/>
                    </a:lnTo>
                    <a:lnTo>
                      <a:pt x="358" y="614"/>
                    </a:lnTo>
                    <a:lnTo>
                      <a:pt x="336" y="616"/>
                    </a:lnTo>
                    <a:lnTo>
                      <a:pt x="314" y="618"/>
                    </a:lnTo>
                    <a:lnTo>
                      <a:pt x="292" y="618"/>
                    </a:lnTo>
                    <a:lnTo>
                      <a:pt x="270" y="616"/>
                    </a:lnTo>
                    <a:lnTo>
                      <a:pt x="248" y="612"/>
                    </a:lnTo>
                    <a:lnTo>
                      <a:pt x="228" y="608"/>
                    </a:lnTo>
                    <a:lnTo>
                      <a:pt x="206" y="602"/>
                    </a:lnTo>
                    <a:lnTo>
                      <a:pt x="186" y="594"/>
                    </a:lnTo>
                    <a:lnTo>
                      <a:pt x="166" y="586"/>
                    </a:lnTo>
                    <a:lnTo>
                      <a:pt x="148" y="574"/>
                    </a:lnTo>
                    <a:lnTo>
                      <a:pt x="130" y="562"/>
                    </a:lnTo>
                    <a:lnTo>
                      <a:pt x="112" y="548"/>
                    </a:lnTo>
                    <a:lnTo>
                      <a:pt x="112" y="548"/>
                    </a:lnTo>
                    <a:lnTo>
                      <a:pt x="96" y="536"/>
                    </a:lnTo>
                    <a:lnTo>
                      <a:pt x="80" y="520"/>
                    </a:lnTo>
                    <a:lnTo>
                      <a:pt x="68" y="506"/>
                    </a:lnTo>
                    <a:lnTo>
                      <a:pt x="56" y="490"/>
                    </a:lnTo>
                    <a:lnTo>
                      <a:pt x="44" y="474"/>
                    </a:lnTo>
                    <a:lnTo>
                      <a:pt x="34" y="456"/>
                    </a:lnTo>
                    <a:lnTo>
                      <a:pt x="26" y="438"/>
                    </a:lnTo>
                    <a:lnTo>
                      <a:pt x="18" y="420"/>
                    </a:lnTo>
                    <a:lnTo>
                      <a:pt x="12" y="400"/>
                    </a:lnTo>
                    <a:lnTo>
                      <a:pt x="8" y="382"/>
                    </a:lnTo>
                    <a:lnTo>
                      <a:pt x="4" y="362"/>
                    </a:lnTo>
                    <a:lnTo>
                      <a:pt x="2" y="342"/>
                    </a:lnTo>
                    <a:lnTo>
                      <a:pt x="0" y="302"/>
                    </a:lnTo>
                    <a:lnTo>
                      <a:pt x="4" y="262"/>
                    </a:lnTo>
                    <a:lnTo>
                      <a:pt x="12" y="222"/>
                    </a:lnTo>
                    <a:lnTo>
                      <a:pt x="18" y="204"/>
                    </a:lnTo>
                    <a:lnTo>
                      <a:pt x="26" y="186"/>
                    </a:lnTo>
                    <a:lnTo>
                      <a:pt x="34" y="168"/>
                    </a:lnTo>
                    <a:lnTo>
                      <a:pt x="42" y="150"/>
                    </a:lnTo>
                    <a:lnTo>
                      <a:pt x="54" y="132"/>
                    </a:lnTo>
                    <a:lnTo>
                      <a:pt x="64" y="116"/>
                    </a:lnTo>
                    <a:lnTo>
                      <a:pt x="78" y="102"/>
                    </a:lnTo>
                    <a:lnTo>
                      <a:pt x="90" y="88"/>
                    </a:lnTo>
                    <a:lnTo>
                      <a:pt x="106" y="74"/>
                    </a:lnTo>
                    <a:lnTo>
                      <a:pt x="120" y="62"/>
                    </a:lnTo>
                    <a:lnTo>
                      <a:pt x="138" y="50"/>
                    </a:lnTo>
                    <a:lnTo>
                      <a:pt x="156" y="40"/>
                    </a:lnTo>
                    <a:lnTo>
                      <a:pt x="174" y="32"/>
                    </a:lnTo>
                    <a:lnTo>
                      <a:pt x="194" y="24"/>
                    </a:lnTo>
                    <a:lnTo>
                      <a:pt x="194" y="24"/>
                    </a:lnTo>
                    <a:close/>
                  </a:path>
                </a:pathLst>
              </a:custGeom>
              <a:solidFill>
                <a:srgbClr val="5E83B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Segoe UI"/>
                  <a:ea typeface="+mn-ea"/>
                  <a:cs typeface="+mn-cs"/>
                </a:endParaRPr>
              </a:p>
            </p:txBody>
          </p:sp>
          <p:sp>
            <p:nvSpPr>
              <p:cNvPr id="368" name="Freeform 121">
                <a:extLst>
                  <a:ext uri="{FF2B5EF4-FFF2-40B4-BE49-F238E27FC236}">
                    <a16:creationId xmlns:a16="http://schemas.microsoft.com/office/drawing/2014/main" id="{E5D67F6E-1D86-41F6-924A-A7EA476C2A77}"/>
                  </a:ext>
                </a:extLst>
              </p:cNvPr>
              <p:cNvSpPr>
                <a:spLocks/>
              </p:cNvSpPr>
              <p:nvPr/>
            </p:nvSpPr>
            <p:spPr bwMode="auto">
              <a:xfrm>
                <a:off x="2105602" y="2119394"/>
                <a:ext cx="245232" cy="380557"/>
              </a:xfrm>
              <a:custGeom>
                <a:avLst/>
                <a:gdLst>
                  <a:gd name="T0" fmla="*/ 690 w 2026"/>
                  <a:gd name="T1" fmla="*/ 66 h 3144"/>
                  <a:gd name="T2" fmla="*/ 796 w 2026"/>
                  <a:gd name="T3" fmla="*/ 14 h 3144"/>
                  <a:gd name="T4" fmla="*/ 918 w 2026"/>
                  <a:gd name="T5" fmla="*/ 0 h 3144"/>
                  <a:gd name="T6" fmla="*/ 1102 w 2026"/>
                  <a:gd name="T7" fmla="*/ 0 h 3144"/>
                  <a:gd name="T8" fmla="*/ 1476 w 2026"/>
                  <a:gd name="T9" fmla="*/ 2 h 3144"/>
                  <a:gd name="T10" fmla="*/ 1660 w 2026"/>
                  <a:gd name="T11" fmla="*/ 18 h 3144"/>
                  <a:gd name="T12" fmla="*/ 1840 w 2026"/>
                  <a:gd name="T13" fmla="*/ 68 h 3144"/>
                  <a:gd name="T14" fmla="*/ 1910 w 2026"/>
                  <a:gd name="T15" fmla="*/ 114 h 3144"/>
                  <a:gd name="T16" fmla="*/ 1974 w 2026"/>
                  <a:gd name="T17" fmla="*/ 202 h 3144"/>
                  <a:gd name="T18" fmla="*/ 2010 w 2026"/>
                  <a:gd name="T19" fmla="*/ 310 h 3144"/>
                  <a:gd name="T20" fmla="*/ 2026 w 2026"/>
                  <a:gd name="T21" fmla="*/ 448 h 3144"/>
                  <a:gd name="T22" fmla="*/ 2024 w 2026"/>
                  <a:gd name="T23" fmla="*/ 1290 h 3144"/>
                  <a:gd name="T24" fmla="*/ 2020 w 2026"/>
                  <a:gd name="T25" fmla="*/ 1438 h 3144"/>
                  <a:gd name="T26" fmla="*/ 2004 w 2026"/>
                  <a:gd name="T27" fmla="*/ 1484 h 3144"/>
                  <a:gd name="T28" fmla="*/ 1948 w 2026"/>
                  <a:gd name="T29" fmla="*/ 1528 h 3144"/>
                  <a:gd name="T30" fmla="*/ 1854 w 2026"/>
                  <a:gd name="T31" fmla="*/ 1538 h 3144"/>
                  <a:gd name="T32" fmla="*/ 1794 w 2026"/>
                  <a:gd name="T33" fmla="*/ 1504 h 3144"/>
                  <a:gd name="T34" fmla="*/ 1770 w 2026"/>
                  <a:gd name="T35" fmla="*/ 1462 h 3144"/>
                  <a:gd name="T36" fmla="*/ 1762 w 2026"/>
                  <a:gd name="T37" fmla="*/ 1320 h 3144"/>
                  <a:gd name="T38" fmla="*/ 1762 w 2026"/>
                  <a:gd name="T39" fmla="*/ 630 h 3144"/>
                  <a:gd name="T40" fmla="*/ 1664 w 2026"/>
                  <a:gd name="T41" fmla="*/ 514 h 3144"/>
                  <a:gd name="T42" fmla="*/ 1664 w 2026"/>
                  <a:gd name="T43" fmla="*/ 2966 h 3144"/>
                  <a:gd name="T44" fmla="*/ 1634 w 2026"/>
                  <a:gd name="T45" fmla="*/ 3058 h 3144"/>
                  <a:gd name="T46" fmla="*/ 1564 w 2026"/>
                  <a:gd name="T47" fmla="*/ 3122 h 3144"/>
                  <a:gd name="T48" fmla="*/ 1472 w 2026"/>
                  <a:gd name="T49" fmla="*/ 3144 h 3144"/>
                  <a:gd name="T50" fmla="*/ 1400 w 2026"/>
                  <a:gd name="T51" fmla="*/ 3126 h 3144"/>
                  <a:gd name="T52" fmla="*/ 1358 w 2026"/>
                  <a:gd name="T53" fmla="*/ 3104 h 3144"/>
                  <a:gd name="T54" fmla="*/ 1330 w 2026"/>
                  <a:gd name="T55" fmla="*/ 3044 h 3144"/>
                  <a:gd name="T56" fmla="*/ 1318 w 2026"/>
                  <a:gd name="T57" fmla="*/ 2796 h 3144"/>
                  <a:gd name="T58" fmla="*/ 1320 w 2026"/>
                  <a:gd name="T59" fmla="*/ 1900 h 3144"/>
                  <a:gd name="T60" fmla="*/ 1226 w 2026"/>
                  <a:gd name="T61" fmla="*/ 1530 h 3144"/>
                  <a:gd name="T62" fmla="*/ 1222 w 2026"/>
                  <a:gd name="T63" fmla="*/ 2268 h 3144"/>
                  <a:gd name="T64" fmla="*/ 1220 w 2026"/>
                  <a:gd name="T65" fmla="*/ 3008 h 3144"/>
                  <a:gd name="T66" fmla="*/ 1194 w 2026"/>
                  <a:gd name="T67" fmla="*/ 3070 h 3144"/>
                  <a:gd name="T68" fmla="*/ 1148 w 2026"/>
                  <a:gd name="T69" fmla="*/ 3114 h 3144"/>
                  <a:gd name="T70" fmla="*/ 1090 w 2026"/>
                  <a:gd name="T71" fmla="*/ 3136 h 3144"/>
                  <a:gd name="T72" fmla="*/ 994 w 2026"/>
                  <a:gd name="T73" fmla="*/ 3136 h 3144"/>
                  <a:gd name="T74" fmla="*/ 936 w 2026"/>
                  <a:gd name="T75" fmla="*/ 3112 h 3144"/>
                  <a:gd name="T76" fmla="*/ 890 w 2026"/>
                  <a:gd name="T77" fmla="*/ 3070 h 3144"/>
                  <a:gd name="T78" fmla="*/ 866 w 2026"/>
                  <a:gd name="T79" fmla="*/ 3010 h 3144"/>
                  <a:gd name="T80" fmla="*/ 862 w 2026"/>
                  <a:gd name="T81" fmla="*/ 2320 h 3144"/>
                  <a:gd name="T82" fmla="*/ 860 w 2026"/>
                  <a:gd name="T83" fmla="*/ 356 h 3144"/>
                  <a:gd name="T84" fmla="*/ 552 w 2026"/>
                  <a:gd name="T85" fmla="*/ 718 h 3144"/>
                  <a:gd name="T86" fmla="*/ 282 w 2026"/>
                  <a:gd name="T87" fmla="*/ 1032 h 3144"/>
                  <a:gd name="T88" fmla="*/ 216 w 2026"/>
                  <a:gd name="T89" fmla="*/ 1090 h 3144"/>
                  <a:gd name="T90" fmla="*/ 164 w 2026"/>
                  <a:gd name="T91" fmla="*/ 1104 h 3144"/>
                  <a:gd name="T92" fmla="*/ 90 w 2026"/>
                  <a:gd name="T93" fmla="*/ 1088 h 3144"/>
                  <a:gd name="T94" fmla="*/ 18 w 2026"/>
                  <a:gd name="T95" fmla="*/ 1016 h 3144"/>
                  <a:gd name="T96" fmla="*/ 0 w 2026"/>
                  <a:gd name="T97" fmla="*/ 942 h 3144"/>
                  <a:gd name="T98" fmla="*/ 12 w 2026"/>
                  <a:gd name="T99" fmla="*/ 890 h 3144"/>
                  <a:gd name="T100" fmla="*/ 102 w 2026"/>
                  <a:gd name="T101" fmla="*/ 770 h 3144"/>
                  <a:gd name="T102" fmla="*/ 646 w 2026"/>
                  <a:gd name="T103" fmla="*/ 112 h 3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26" h="3144">
                    <a:moveTo>
                      <a:pt x="646" y="112"/>
                    </a:moveTo>
                    <a:lnTo>
                      <a:pt x="646" y="112"/>
                    </a:lnTo>
                    <a:lnTo>
                      <a:pt x="666" y="88"/>
                    </a:lnTo>
                    <a:lnTo>
                      <a:pt x="690" y="66"/>
                    </a:lnTo>
                    <a:lnTo>
                      <a:pt x="714" y="48"/>
                    </a:lnTo>
                    <a:lnTo>
                      <a:pt x="740" y="34"/>
                    </a:lnTo>
                    <a:lnTo>
                      <a:pt x="768" y="22"/>
                    </a:lnTo>
                    <a:lnTo>
                      <a:pt x="796" y="14"/>
                    </a:lnTo>
                    <a:lnTo>
                      <a:pt x="826" y="8"/>
                    </a:lnTo>
                    <a:lnTo>
                      <a:pt x="856" y="4"/>
                    </a:lnTo>
                    <a:lnTo>
                      <a:pt x="886" y="2"/>
                    </a:lnTo>
                    <a:lnTo>
                      <a:pt x="918" y="0"/>
                    </a:lnTo>
                    <a:lnTo>
                      <a:pt x="980" y="0"/>
                    </a:lnTo>
                    <a:lnTo>
                      <a:pt x="1042" y="2"/>
                    </a:lnTo>
                    <a:lnTo>
                      <a:pt x="1102" y="0"/>
                    </a:lnTo>
                    <a:lnTo>
                      <a:pt x="1102" y="0"/>
                    </a:lnTo>
                    <a:lnTo>
                      <a:pt x="1196" y="2"/>
                    </a:lnTo>
                    <a:lnTo>
                      <a:pt x="1288" y="2"/>
                    </a:lnTo>
                    <a:lnTo>
                      <a:pt x="1382" y="0"/>
                    </a:lnTo>
                    <a:lnTo>
                      <a:pt x="1476" y="2"/>
                    </a:lnTo>
                    <a:lnTo>
                      <a:pt x="1522" y="4"/>
                    </a:lnTo>
                    <a:lnTo>
                      <a:pt x="1568" y="6"/>
                    </a:lnTo>
                    <a:lnTo>
                      <a:pt x="1614" y="12"/>
                    </a:lnTo>
                    <a:lnTo>
                      <a:pt x="1660" y="18"/>
                    </a:lnTo>
                    <a:lnTo>
                      <a:pt x="1706" y="26"/>
                    </a:lnTo>
                    <a:lnTo>
                      <a:pt x="1750" y="38"/>
                    </a:lnTo>
                    <a:lnTo>
                      <a:pt x="1796" y="50"/>
                    </a:lnTo>
                    <a:lnTo>
                      <a:pt x="1840" y="68"/>
                    </a:lnTo>
                    <a:lnTo>
                      <a:pt x="1840" y="68"/>
                    </a:lnTo>
                    <a:lnTo>
                      <a:pt x="1866" y="80"/>
                    </a:lnTo>
                    <a:lnTo>
                      <a:pt x="1888" y="96"/>
                    </a:lnTo>
                    <a:lnTo>
                      <a:pt x="1910" y="114"/>
                    </a:lnTo>
                    <a:lnTo>
                      <a:pt x="1930" y="134"/>
                    </a:lnTo>
                    <a:lnTo>
                      <a:pt x="1946" y="154"/>
                    </a:lnTo>
                    <a:lnTo>
                      <a:pt x="1960" y="178"/>
                    </a:lnTo>
                    <a:lnTo>
                      <a:pt x="1974" y="202"/>
                    </a:lnTo>
                    <a:lnTo>
                      <a:pt x="1984" y="228"/>
                    </a:lnTo>
                    <a:lnTo>
                      <a:pt x="1994" y="254"/>
                    </a:lnTo>
                    <a:lnTo>
                      <a:pt x="2002" y="282"/>
                    </a:lnTo>
                    <a:lnTo>
                      <a:pt x="2010" y="310"/>
                    </a:lnTo>
                    <a:lnTo>
                      <a:pt x="2014" y="338"/>
                    </a:lnTo>
                    <a:lnTo>
                      <a:pt x="2022" y="394"/>
                    </a:lnTo>
                    <a:lnTo>
                      <a:pt x="2026" y="448"/>
                    </a:lnTo>
                    <a:lnTo>
                      <a:pt x="2026" y="448"/>
                    </a:lnTo>
                    <a:lnTo>
                      <a:pt x="2026" y="690"/>
                    </a:lnTo>
                    <a:lnTo>
                      <a:pt x="2026" y="930"/>
                    </a:lnTo>
                    <a:lnTo>
                      <a:pt x="2026" y="1170"/>
                    </a:lnTo>
                    <a:lnTo>
                      <a:pt x="2024" y="1290"/>
                    </a:lnTo>
                    <a:lnTo>
                      <a:pt x="2022" y="1410"/>
                    </a:lnTo>
                    <a:lnTo>
                      <a:pt x="2022" y="1410"/>
                    </a:lnTo>
                    <a:lnTo>
                      <a:pt x="2022" y="1426"/>
                    </a:lnTo>
                    <a:lnTo>
                      <a:pt x="2020" y="1438"/>
                    </a:lnTo>
                    <a:lnTo>
                      <a:pt x="2018" y="1452"/>
                    </a:lnTo>
                    <a:lnTo>
                      <a:pt x="2014" y="1462"/>
                    </a:lnTo>
                    <a:lnTo>
                      <a:pt x="2010" y="1474"/>
                    </a:lnTo>
                    <a:lnTo>
                      <a:pt x="2004" y="1484"/>
                    </a:lnTo>
                    <a:lnTo>
                      <a:pt x="1996" y="1494"/>
                    </a:lnTo>
                    <a:lnTo>
                      <a:pt x="1988" y="1502"/>
                    </a:lnTo>
                    <a:lnTo>
                      <a:pt x="1970" y="1516"/>
                    </a:lnTo>
                    <a:lnTo>
                      <a:pt x="1948" y="1528"/>
                    </a:lnTo>
                    <a:lnTo>
                      <a:pt x="1926" y="1536"/>
                    </a:lnTo>
                    <a:lnTo>
                      <a:pt x="1902" y="1540"/>
                    </a:lnTo>
                    <a:lnTo>
                      <a:pt x="1878" y="1540"/>
                    </a:lnTo>
                    <a:lnTo>
                      <a:pt x="1854" y="1538"/>
                    </a:lnTo>
                    <a:lnTo>
                      <a:pt x="1832" y="1530"/>
                    </a:lnTo>
                    <a:lnTo>
                      <a:pt x="1812" y="1520"/>
                    </a:lnTo>
                    <a:lnTo>
                      <a:pt x="1802" y="1512"/>
                    </a:lnTo>
                    <a:lnTo>
                      <a:pt x="1794" y="1504"/>
                    </a:lnTo>
                    <a:lnTo>
                      <a:pt x="1786" y="1496"/>
                    </a:lnTo>
                    <a:lnTo>
                      <a:pt x="1780" y="1486"/>
                    </a:lnTo>
                    <a:lnTo>
                      <a:pt x="1774" y="1474"/>
                    </a:lnTo>
                    <a:lnTo>
                      <a:pt x="1770" y="1462"/>
                    </a:lnTo>
                    <a:lnTo>
                      <a:pt x="1768" y="1450"/>
                    </a:lnTo>
                    <a:lnTo>
                      <a:pt x="1766" y="1434"/>
                    </a:lnTo>
                    <a:lnTo>
                      <a:pt x="1766" y="1434"/>
                    </a:lnTo>
                    <a:lnTo>
                      <a:pt x="1762" y="1320"/>
                    </a:lnTo>
                    <a:lnTo>
                      <a:pt x="1760" y="1206"/>
                    </a:lnTo>
                    <a:lnTo>
                      <a:pt x="1760" y="976"/>
                    </a:lnTo>
                    <a:lnTo>
                      <a:pt x="1762" y="746"/>
                    </a:lnTo>
                    <a:lnTo>
                      <a:pt x="1762" y="630"/>
                    </a:lnTo>
                    <a:lnTo>
                      <a:pt x="1760" y="516"/>
                    </a:lnTo>
                    <a:lnTo>
                      <a:pt x="1760" y="516"/>
                    </a:lnTo>
                    <a:lnTo>
                      <a:pt x="1664" y="514"/>
                    </a:lnTo>
                    <a:lnTo>
                      <a:pt x="1664" y="514"/>
                    </a:lnTo>
                    <a:lnTo>
                      <a:pt x="1664" y="1726"/>
                    </a:lnTo>
                    <a:lnTo>
                      <a:pt x="1664" y="2940"/>
                    </a:lnTo>
                    <a:lnTo>
                      <a:pt x="1664" y="2940"/>
                    </a:lnTo>
                    <a:lnTo>
                      <a:pt x="1664" y="2966"/>
                    </a:lnTo>
                    <a:lnTo>
                      <a:pt x="1662" y="2992"/>
                    </a:lnTo>
                    <a:lnTo>
                      <a:pt x="1654" y="3016"/>
                    </a:lnTo>
                    <a:lnTo>
                      <a:pt x="1646" y="3038"/>
                    </a:lnTo>
                    <a:lnTo>
                      <a:pt x="1634" y="3058"/>
                    </a:lnTo>
                    <a:lnTo>
                      <a:pt x="1620" y="3078"/>
                    </a:lnTo>
                    <a:lnTo>
                      <a:pt x="1602" y="3094"/>
                    </a:lnTo>
                    <a:lnTo>
                      <a:pt x="1584" y="3110"/>
                    </a:lnTo>
                    <a:lnTo>
                      <a:pt x="1564" y="3122"/>
                    </a:lnTo>
                    <a:lnTo>
                      <a:pt x="1542" y="3132"/>
                    </a:lnTo>
                    <a:lnTo>
                      <a:pt x="1520" y="3138"/>
                    </a:lnTo>
                    <a:lnTo>
                      <a:pt x="1496" y="3142"/>
                    </a:lnTo>
                    <a:lnTo>
                      <a:pt x="1472" y="3144"/>
                    </a:lnTo>
                    <a:lnTo>
                      <a:pt x="1448" y="3142"/>
                    </a:lnTo>
                    <a:lnTo>
                      <a:pt x="1424" y="3136"/>
                    </a:lnTo>
                    <a:lnTo>
                      <a:pt x="1400" y="3126"/>
                    </a:lnTo>
                    <a:lnTo>
                      <a:pt x="1400" y="3126"/>
                    </a:lnTo>
                    <a:lnTo>
                      <a:pt x="1386" y="3122"/>
                    </a:lnTo>
                    <a:lnTo>
                      <a:pt x="1376" y="3118"/>
                    </a:lnTo>
                    <a:lnTo>
                      <a:pt x="1366" y="3112"/>
                    </a:lnTo>
                    <a:lnTo>
                      <a:pt x="1358" y="3104"/>
                    </a:lnTo>
                    <a:lnTo>
                      <a:pt x="1350" y="3096"/>
                    </a:lnTo>
                    <a:lnTo>
                      <a:pt x="1344" y="3086"/>
                    </a:lnTo>
                    <a:lnTo>
                      <a:pt x="1336" y="3066"/>
                    </a:lnTo>
                    <a:lnTo>
                      <a:pt x="1330" y="3044"/>
                    </a:lnTo>
                    <a:lnTo>
                      <a:pt x="1326" y="3020"/>
                    </a:lnTo>
                    <a:lnTo>
                      <a:pt x="1322" y="2974"/>
                    </a:lnTo>
                    <a:lnTo>
                      <a:pt x="1322" y="2974"/>
                    </a:lnTo>
                    <a:lnTo>
                      <a:pt x="1318" y="2796"/>
                    </a:lnTo>
                    <a:lnTo>
                      <a:pt x="1318" y="2616"/>
                    </a:lnTo>
                    <a:lnTo>
                      <a:pt x="1320" y="2258"/>
                    </a:lnTo>
                    <a:lnTo>
                      <a:pt x="1320" y="2080"/>
                    </a:lnTo>
                    <a:lnTo>
                      <a:pt x="1320" y="1900"/>
                    </a:lnTo>
                    <a:lnTo>
                      <a:pt x="1318" y="1722"/>
                    </a:lnTo>
                    <a:lnTo>
                      <a:pt x="1314" y="1542"/>
                    </a:lnTo>
                    <a:lnTo>
                      <a:pt x="1314" y="1542"/>
                    </a:lnTo>
                    <a:lnTo>
                      <a:pt x="1226" y="1530"/>
                    </a:lnTo>
                    <a:lnTo>
                      <a:pt x="1226" y="1530"/>
                    </a:lnTo>
                    <a:lnTo>
                      <a:pt x="1224" y="1714"/>
                    </a:lnTo>
                    <a:lnTo>
                      <a:pt x="1222" y="1900"/>
                    </a:lnTo>
                    <a:lnTo>
                      <a:pt x="1222" y="2268"/>
                    </a:lnTo>
                    <a:lnTo>
                      <a:pt x="1224" y="2638"/>
                    </a:lnTo>
                    <a:lnTo>
                      <a:pt x="1222" y="2824"/>
                    </a:lnTo>
                    <a:lnTo>
                      <a:pt x="1220" y="3008"/>
                    </a:lnTo>
                    <a:lnTo>
                      <a:pt x="1220" y="3008"/>
                    </a:lnTo>
                    <a:lnTo>
                      <a:pt x="1216" y="3026"/>
                    </a:lnTo>
                    <a:lnTo>
                      <a:pt x="1210" y="3042"/>
                    </a:lnTo>
                    <a:lnTo>
                      <a:pt x="1202" y="3056"/>
                    </a:lnTo>
                    <a:lnTo>
                      <a:pt x="1194" y="3070"/>
                    </a:lnTo>
                    <a:lnTo>
                      <a:pt x="1184" y="3084"/>
                    </a:lnTo>
                    <a:lnTo>
                      <a:pt x="1174" y="3094"/>
                    </a:lnTo>
                    <a:lnTo>
                      <a:pt x="1162" y="3104"/>
                    </a:lnTo>
                    <a:lnTo>
                      <a:pt x="1148" y="3114"/>
                    </a:lnTo>
                    <a:lnTo>
                      <a:pt x="1136" y="3120"/>
                    </a:lnTo>
                    <a:lnTo>
                      <a:pt x="1120" y="3128"/>
                    </a:lnTo>
                    <a:lnTo>
                      <a:pt x="1106" y="3132"/>
                    </a:lnTo>
                    <a:lnTo>
                      <a:pt x="1090" y="3136"/>
                    </a:lnTo>
                    <a:lnTo>
                      <a:pt x="1074" y="3140"/>
                    </a:lnTo>
                    <a:lnTo>
                      <a:pt x="1058" y="3140"/>
                    </a:lnTo>
                    <a:lnTo>
                      <a:pt x="1026" y="3140"/>
                    </a:lnTo>
                    <a:lnTo>
                      <a:pt x="994" y="3136"/>
                    </a:lnTo>
                    <a:lnTo>
                      <a:pt x="978" y="3132"/>
                    </a:lnTo>
                    <a:lnTo>
                      <a:pt x="964" y="3126"/>
                    </a:lnTo>
                    <a:lnTo>
                      <a:pt x="948" y="3120"/>
                    </a:lnTo>
                    <a:lnTo>
                      <a:pt x="936" y="3112"/>
                    </a:lnTo>
                    <a:lnTo>
                      <a:pt x="922" y="3102"/>
                    </a:lnTo>
                    <a:lnTo>
                      <a:pt x="910" y="3092"/>
                    </a:lnTo>
                    <a:lnTo>
                      <a:pt x="900" y="3082"/>
                    </a:lnTo>
                    <a:lnTo>
                      <a:pt x="890" y="3070"/>
                    </a:lnTo>
                    <a:lnTo>
                      <a:pt x="882" y="3056"/>
                    </a:lnTo>
                    <a:lnTo>
                      <a:pt x="874" y="3042"/>
                    </a:lnTo>
                    <a:lnTo>
                      <a:pt x="870" y="3026"/>
                    </a:lnTo>
                    <a:lnTo>
                      <a:pt x="866" y="3010"/>
                    </a:lnTo>
                    <a:lnTo>
                      <a:pt x="864" y="2992"/>
                    </a:lnTo>
                    <a:lnTo>
                      <a:pt x="864" y="2974"/>
                    </a:lnTo>
                    <a:lnTo>
                      <a:pt x="864" y="2974"/>
                    </a:lnTo>
                    <a:lnTo>
                      <a:pt x="862" y="2320"/>
                    </a:lnTo>
                    <a:lnTo>
                      <a:pt x="862" y="1664"/>
                    </a:lnTo>
                    <a:lnTo>
                      <a:pt x="862" y="1010"/>
                    </a:lnTo>
                    <a:lnTo>
                      <a:pt x="860" y="356"/>
                    </a:lnTo>
                    <a:lnTo>
                      <a:pt x="860" y="356"/>
                    </a:lnTo>
                    <a:lnTo>
                      <a:pt x="780" y="444"/>
                    </a:lnTo>
                    <a:lnTo>
                      <a:pt x="702" y="534"/>
                    </a:lnTo>
                    <a:lnTo>
                      <a:pt x="628" y="626"/>
                    </a:lnTo>
                    <a:lnTo>
                      <a:pt x="552" y="718"/>
                    </a:lnTo>
                    <a:lnTo>
                      <a:pt x="478" y="810"/>
                    </a:lnTo>
                    <a:lnTo>
                      <a:pt x="400" y="900"/>
                    </a:lnTo>
                    <a:lnTo>
                      <a:pt x="322" y="988"/>
                    </a:lnTo>
                    <a:lnTo>
                      <a:pt x="282" y="1032"/>
                    </a:lnTo>
                    <a:lnTo>
                      <a:pt x="240" y="1074"/>
                    </a:lnTo>
                    <a:lnTo>
                      <a:pt x="240" y="1074"/>
                    </a:lnTo>
                    <a:lnTo>
                      <a:pt x="228" y="1082"/>
                    </a:lnTo>
                    <a:lnTo>
                      <a:pt x="216" y="1090"/>
                    </a:lnTo>
                    <a:lnTo>
                      <a:pt x="202" y="1096"/>
                    </a:lnTo>
                    <a:lnTo>
                      <a:pt x="190" y="1100"/>
                    </a:lnTo>
                    <a:lnTo>
                      <a:pt x="178" y="1104"/>
                    </a:lnTo>
                    <a:lnTo>
                      <a:pt x="164" y="1104"/>
                    </a:lnTo>
                    <a:lnTo>
                      <a:pt x="152" y="1104"/>
                    </a:lnTo>
                    <a:lnTo>
                      <a:pt x="140" y="1104"/>
                    </a:lnTo>
                    <a:lnTo>
                      <a:pt x="114" y="1098"/>
                    </a:lnTo>
                    <a:lnTo>
                      <a:pt x="90" y="1088"/>
                    </a:lnTo>
                    <a:lnTo>
                      <a:pt x="68" y="1074"/>
                    </a:lnTo>
                    <a:lnTo>
                      <a:pt x="50" y="1058"/>
                    </a:lnTo>
                    <a:lnTo>
                      <a:pt x="32" y="1038"/>
                    </a:lnTo>
                    <a:lnTo>
                      <a:pt x="18" y="1016"/>
                    </a:lnTo>
                    <a:lnTo>
                      <a:pt x="8" y="992"/>
                    </a:lnTo>
                    <a:lnTo>
                      <a:pt x="2" y="968"/>
                    </a:lnTo>
                    <a:lnTo>
                      <a:pt x="0" y="954"/>
                    </a:lnTo>
                    <a:lnTo>
                      <a:pt x="0" y="942"/>
                    </a:lnTo>
                    <a:lnTo>
                      <a:pt x="0" y="930"/>
                    </a:lnTo>
                    <a:lnTo>
                      <a:pt x="4" y="916"/>
                    </a:lnTo>
                    <a:lnTo>
                      <a:pt x="8" y="904"/>
                    </a:lnTo>
                    <a:lnTo>
                      <a:pt x="12" y="890"/>
                    </a:lnTo>
                    <a:lnTo>
                      <a:pt x="20" y="878"/>
                    </a:lnTo>
                    <a:lnTo>
                      <a:pt x="28" y="866"/>
                    </a:lnTo>
                    <a:lnTo>
                      <a:pt x="28" y="866"/>
                    </a:lnTo>
                    <a:lnTo>
                      <a:pt x="102" y="770"/>
                    </a:lnTo>
                    <a:lnTo>
                      <a:pt x="178" y="674"/>
                    </a:lnTo>
                    <a:lnTo>
                      <a:pt x="334" y="486"/>
                    </a:lnTo>
                    <a:lnTo>
                      <a:pt x="490" y="300"/>
                    </a:lnTo>
                    <a:lnTo>
                      <a:pt x="646" y="112"/>
                    </a:lnTo>
                    <a:lnTo>
                      <a:pt x="646" y="112"/>
                    </a:lnTo>
                    <a:close/>
                  </a:path>
                </a:pathLst>
              </a:custGeom>
              <a:solidFill>
                <a:srgbClr val="5E83B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Segoe UI"/>
                  <a:ea typeface="+mn-ea"/>
                  <a:cs typeface="+mn-cs"/>
                </a:endParaRPr>
              </a:p>
            </p:txBody>
          </p:sp>
        </p:grpSp>
      </p:grpSp>
      <p:sp>
        <p:nvSpPr>
          <p:cNvPr id="309" name="Oval 308">
            <a:extLst>
              <a:ext uri="{FF2B5EF4-FFF2-40B4-BE49-F238E27FC236}">
                <a16:creationId xmlns:a16="http://schemas.microsoft.com/office/drawing/2014/main" id="{15124A51-92E6-4E15-8088-704994C13CCC}"/>
              </a:ext>
            </a:extLst>
          </p:cNvPr>
          <p:cNvSpPr/>
          <p:nvPr/>
        </p:nvSpPr>
        <p:spPr>
          <a:xfrm>
            <a:off x="679539" y="3132549"/>
            <a:ext cx="2968625" cy="106760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err="1">
              <a:ln>
                <a:noFill/>
              </a:ln>
              <a:solidFill>
                <a:prstClr val="white"/>
              </a:solidFill>
              <a:effectLst/>
              <a:uLnTx/>
              <a:uFillTx/>
              <a:latin typeface="Segoe UI"/>
              <a:ea typeface="+mn-ea"/>
              <a:cs typeface="+mn-cs"/>
            </a:endParaRPr>
          </a:p>
        </p:txBody>
      </p:sp>
      <p:grpSp>
        <p:nvGrpSpPr>
          <p:cNvPr id="374" name="Group 373">
            <a:extLst>
              <a:ext uri="{FF2B5EF4-FFF2-40B4-BE49-F238E27FC236}">
                <a16:creationId xmlns:a16="http://schemas.microsoft.com/office/drawing/2014/main" id="{EED6F4DE-5266-4805-99E5-1FCFD016B18F}"/>
              </a:ext>
            </a:extLst>
          </p:cNvPr>
          <p:cNvGrpSpPr/>
          <p:nvPr/>
        </p:nvGrpSpPr>
        <p:grpSpPr>
          <a:xfrm>
            <a:off x="1051311" y="3357282"/>
            <a:ext cx="682879" cy="696170"/>
            <a:chOff x="620782" y="3431041"/>
            <a:chExt cx="682879" cy="696170"/>
          </a:xfrm>
        </p:grpSpPr>
        <p:sp>
          <p:nvSpPr>
            <p:cNvPr id="375" name="Rectangle 374">
              <a:extLst>
                <a:ext uri="{FF2B5EF4-FFF2-40B4-BE49-F238E27FC236}">
                  <a16:creationId xmlns:a16="http://schemas.microsoft.com/office/drawing/2014/main" id="{304A5D84-FAA2-4C6E-B7EC-BB1D1E97E5A0}"/>
                </a:ext>
              </a:extLst>
            </p:cNvPr>
            <p:cNvSpPr/>
            <p:nvPr/>
          </p:nvSpPr>
          <p:spPr bwMode="auto">
            <a:xfrm>
              <a:off x="620782" y="3711713"/>
              <a:ext cx="682879" cy="415498"/>
            </a:xfrm>
            <a:prstGeom prst="rect">
              <a:avLst/>
            </a:prstGeom>
            <a:noFill/>
            <a:ln w="9525" cap="flat" cmpd="sng" algn="ctr">
              <a:noFill/>
              <a:prstDash val="sysDot"/>
              <a:headEnd type="none" w="med" len="med"/>
              <a:tailEnd type="none" w="med" len="med"/>
            </a:ln>
            <a:effectLst/>
          </p:spPr>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marL="0" marR="0" lvl="0" indent="0" algn="ctr" defTabSz="60888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505050"/>
                  </a:solidFill>
                  <a:effectLst/>
                  <a:uLnTx/>
                  <a:uFillTx/>
                  <a:latin typeface="Segoe UI"/>
                  <a:ea typeface="+mn-ea"/>
                  <a:cs typeface="+mn-cs"/>
                </a:rPr>
                <a:t>High-</a:t>
              </a:r>
              <a:br>
                <a:rPr kumimoji="0" lang="en-US" sz="900" b="0" i="0" u="none" strike="noStrike" kern="0" cap="none" spc="0" normalizeH="0" baseline="0" noProof="0" dirty="0">
                  <a:ln>
                    <a:noFill/>
                  </a:ln>
                  <a:solidFill>
                    <a:srgbClr val="505050"/>
                  </a:solidFill>
                  <a:effectLst/>
                  <a:uLnTx/>
                  <a:uFillTx/>
                  <a:latin typeface="Segoe UI"/>
                  <a:ea typeface="+mn-ea"/>
                  <a:cs typeface="+mn-cs"/>
                </a:rPr>
              </a:br>
              <a:r>
                <a:rPr kumimoji="0" lang="en-US" sz="900" b="0" i="0" u="none" strike="noStrike" kern="0" cap="none" spc="0" normalizeH="0" baseline="0" noProof="0" dirty="0">
                  <a:ln>
                    <a:noFill/>
                  </a:ln>
                  <a:solidFill>
                    <a:srgbClr val="505050"/>
                  </a:solidFill>
                  <a:effectLst/>
                  <a:uLnTx/>
                  <a:uFillTx/>
                  <a:latin typeface="Segoe UI"/>
                  <a:ea typeface="+mn-ea"/>
                  <a:cs typeface="+mn-cs"/>
                </a:rPr>
                <a:t>performance </a:t>
              </a:r>
              <a:br>
                <a:rPr kumimoji="0" lang="en-US" sz="900" b="0" i="0" u="none" strike="noStrike" kern="0" cap="none" spc="0" normalizeH="0" baseline="0" noProof="0" dirty="0">
                  <a:ln>
                    <a:noFill/>
                  </a:ln>
                  <a:solidFill>
                    <a:srgbClr val="505050"/>
                  </a:solidFill>
                  <a:effectLst/>
                  <a:uLnTx/>
                  <a:uFillTx/>
                  <a:latin typeface="Segoe UI"/>
                  <a:ea typeface="+mn-ea"/>
                  <a:cs typeface="+mn-cs"/>
                </a:rPr>
              </a:br>
              <a:r>
                <a:rPr kumimoji="0" lang="en-US" sz="900" b="0" i="0" u="none" strike="noStrike" kern="0" cap="none" spc="0" normalizeH="0" baseline="0" noProof="0" dirty="0">
                  <a:ln>
                    <a:noFill/>
                  </a:ln>
                  <a:solidFill>
                    <a:srgbClr val="505050"/>
                  </a:solidFill>
                  <a:effectLst/>
                  <a:uLnTx/>
                  <a:uFillTx/>
                  <a:latin typeface="Segoe UI"/>
                  <a:ea typeface="+mn-ea"/>
                  <a:cs typeface="+mn-cs"/>
                </a:rPr>
                <a:t>sensors</a:t>
              </a:r>
            </a:p>
          </p:txBody>
        </p:sp>
        <p:pic>
          <p:nvPicPr>
            <p:cNvPr id="376" name="Picture 375">
              <a:extLst>
                <a:ext uri="{FF2B5EF4-FFF2-40B4-BE49-F238E27FC236}">
                  <a16:creationId xmlns:a16="http://schemas.microsoft.com/office/drawing/2014/main" id="{C31BDB17-4405-4370-88F0-AA2E4D5AD34A}"/>
                </a:ext>
              </a:extLst>
            </p:cNvPr>
            <p:cNvPicPr>
              <a:picLocks noChangeAspect="1"/>
            </p:cNvPicPr>
            <p:nvPr/>
          </p:nvPicPr>
          <p:blipFill>
            <a:blip r:embed="rId14"/>
            <a:stretch>
              <a:fillRect/>
            </a:stretch>
          </p:blipFill>
          <p:spPr>
            <a:xfrm>
              <a:off x="756991" y="3431041"/>
              <a:ext cx="378080" cy="278585"/>
            </a:xfrm>
            <a:prstGeom prst="rect">
              <a:avLst/>
            </a:prstGeom>
          </p:spPr>
        </p:pic>
      </p:grpSp>
      <p:sp>
        <p:nvSpPr>
          <p:cNvPr id="377" name="Freeform 84">
            <a:extLst>
              <a:ext uri="{FF2B5EF4-FFF2-40B4-BE49-F238E27FC236}">
                <a16:creationId xmlns:a16="http://schemas.microsoft.com/office/drawing/2014/main" id="{5F206AFE-BF84-4384-81D7-3948CF958088}"/>
              </a:ext>
            </a:extLst>
          </p:cNvPr>
          <p:cNvSpPr>
            <a:spLocks noChangeAspect="1" noEditPoints="1"/>
          </p:cNvSpPr>
          <p:nvPr/>
        </p:nvSpPr>
        <p:spPr bwMode="black">
          <a:xfrm>
            <a:off x="2050719" y="3369070"/>
            <a:ext cx="236701" cy="282955"/>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5E83BD"/>
          </a:solidFill>
          <a:ln>
            <a:noFill/>
          </a:ln>
        </p:spPr>
        <p:txBody>
          <a:bodyPr vert="horz" wrap="square" lIns="82305" tIns="41153" rIns="82305" bIns="41153"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78" name="Rectangle 377">
            <a:extLst>
              <a:ext uri="{FF2B5EF4-FFF2-40B4-BE49-F238E27FC236}">
                <a16:creationId xmlns:a16="http://schemas.microsoft.com/office/drawing/2014/main" id="{43261D82-F2AB-4466-B7C8-AE3FA7C42139}"/>
              </a:ext>
            </a:extLst>
          </p:cNvPr>
          <p:cNvSpPr/>
          <p:nvPr/>
        </p:nvSpPr>
        <p:spPr bwMode="auto">
          <a:xfrm>
            <a:off x="2645882" y="3672518"/>
            <a:ext cx="730969" cy="138499"/>
          </a:xfrm>
          <a:prstGeom prst="rect">
            <a:avLst/>
          </a:prstGeom>
          <a:noFill/>
          <a:ln w="9525" cap="flat" cmpd="sng" algn="ctr">
            <a:noFill/>
            <a:prstDash val="sysDot"/>
            <a:headEnd type="none" w="med" len="med"/>
            <a:tailEnd type="none" w="med" len="med"/>
          </a:ln>
          <a:effectLst/>
        </p:spPr>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marL="0" marR="0" lvl="0" indent="0" algn="ctr" defTabSz="60888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505050"/>
                </a:solidFill>
                <a:effectLst/>
                <a:uLnTx/>
                <a:uFillTx/>
                <a:latin typeface="Segoe UI"/>
                <a:ea typeface="+mn-ea"/>
                <a:cs typeface="+mn-cs"/>
              </a:rPr>
              <a:t>Customization</a:t>
            </a:r>
          </a:p>
        </p:txBody>
      </p:sp>
      <p:sp>
        <p:nvSpPr>
          <p:cNvPr id="379" name="Rectangle 378">
            <a:extLst>
              <a:ext uri="{FF2B5EF4-FFF2-40B4-BE49-F238E27FC236}">
                <a16:creationId xmlns:a16="http://schemas.microsoft.com/office/drawing/2014/main" id="{42EA42CA-9E54-4548-B9F0-CA11FD488A26}"/>
              </a:ext>
            </a:extLst>
          </p:cNvPr>
          <p:cNvSpPr/>
          <p:nvPr/>
        </p:nvSpPr>
        <p:spPr bwMode="auto">
          <a:xfrm>
            <a:off x="1967820" y="3644720"/>
            <a:ext cx="468077" cy="415498"/>
          </a:xfrm>
          <a:prstGeom prst="rect">
            <a:avLst/>
          </a:prstGeom>
          <a:noFill/>
          <a:ln w="9525" cap="flat" cmpd="sng" algn="ctr">
            <a:noFill/>
            <a:prstDash val="sysDot"/>
            <a:headEnd type="none" w="med" len="med"/>
            <a:tailEnd type="none" w="med" len="med"/>
          </a:ln>
          <a:effectLst/>
        </p:spPr>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marL="0" marR="0" lvl="0" indent="0" algn="ctr" defTabSz="60888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505050"/>
                </a:solidFill>
                <a:effectLst/>
                <a:uLnTx/>
                <a:uFillTx/>
                <a:latin typeface="Segoe UI"/>
                <a:ea typeface="+mn-ea"/>
                <a:cs typeface="+mn-cs"/>
              </a:rPr>
              <a:t>AI and </a:t>
            </a:r>
            <a:br>
              <a:rPr kumimoji="0" lang="en-US" sz="900" b="0" i="0" u="none" strike="noStrike" kern="0" cap="none" spc="0" normalizeH="0" baseline="0" noProof="0" dirty="0">
                <a:ln>
                  <a:noFill/>
                </a:ln>
                <a:solidFill>
                  <a:srgbClr val="505050"/>
                </a:solidFill>
                <a:effectLst/>
                <a:uLnTx/>
                <a:uFillTx/>
                <a:latin typeface="Segoe UI"/>
                <a:ea typeface="+mn-ea"/>
                <a:cs typeface="+mn-cs"/>
              </a:rPr>
            </a:br>
            <a:r>
              <a:rPr kumimoji="0" lang="en-US" sz="900" b="0" i="0" u="none" strike="noStrike" kern="0" cap="none" spc="0" normalizeH="0" baseline="0" noProof="0" dirty="0">
                <a:ln>
                  <a:noFill/>
                </a:ln>
                <a:solidFill>
                  <a:srgbClr val="505050"/>
                </a:solidFill>
                <a:effectLst/>
                <a:uLnTx/>
                <a:uFillTx/>
                <a:latin typeface="Segoe UI"/>
                <a:ea typeface="+mn-ea"/>
                <a:cs typeface="+mn-cs"/>
              </a:rPr>
              <a:t>Machine </a:t>
            </a:r>
            <a:br>
              <a:rPr kumimoji="0" lang="en-US" sz="900" b="0" i="0" u="none" strike="noStrike" kern="0" cap="none" spc="0" normalizeH="0" baseline="0" noProof="0" dirty="0">
                <a:ln>
                  <a:noFill/>
                </a:ln>
                <a:solidFill>
                  <a:srgbClr val="505050"/>
                </a:solidFill>
                <a:effectLst/>
                <a:uLnTx/>
                <a:uFillTx/>
                <a:latin typeface="Segoe UI"/>
                <a:ea typeface="+mn-ea"/>
                <a:cs typeface="+mn-cs"/>
              </a:rPr>
            </a:br>
            <a:r>
              <a:rPr kumimoji="0" lang="en-US" sz="900" b="0" i="0" u="none" strike="noStrike" kern="0" cap="none" spc="0" normalizeH="0" baseline="0" noProof="0" dirty="0">
                <a:ln>
                  <a:noFill/>
                </a:ln>
                <a:solidFill>
                  <a:srgbClr val="505050"/>
                </a:solidFill>
                <a:effectLst/>
                <a:uLnTx/>
                <a:uFillTx/>
                <a:latin typeface="Segoe UI"/>
                <a:ea typeface="+mn-ea"/>
                <a:cs typeface="+mn-cs"/>
              </a:rPr>
              <a:t>Learning</a:t>
            </a:r>
          </a:p>
        </p:txBody>
      </p:sp>
      <p:pic>
        <p:nvPicPr>
          <p:cNvPr id="380" name="Picture 8" descr="\\MAGNUM\Projects\Microsoft\Cloud Power FY12\Design\Icons\PNGs\Cross Platform.png">
            <a:extLst>
              <a:ext uri="{FF2B5EF4-FFF2-40B4-BE49-F238E27FC236}">
                <a16:creationId xmlns:a16="http://schemas.microsoft.com/office/drawing/2014/main" id="{6DF1007D-3E82-4BC8-88BE-14EBB70B21EF}"/>
              </a:ext>
            </a:extLst>
          </p:cNvPr>
          <p:cNvPicPr>
            <a:picLocks noChangeAspect="1" noChangeArrowheads="1"/>
          </p:cNvPicPr>
          <p:nvPr/>
        </p:nvPicPr>
        <p:blipFill>
          <a:blip r:embed="rId15" cstate="print">
            <a:duotone>
              <a:srgbClr val="0A5BBA">
                <a:shade val="45000"/>
                <a:satMod val="135000"/>
              </a:srgbClr>
              <a:prstClr val="white"/>
            </a:duotone>
            <a:extLst>
              <a:ext uri="{BEBA8EAE-BF5A-486C-A8C5-ECC9F3942E4B}">
                <a14:imgProps xmlns:a14="http://schemas.microsoft.com/office/drawing/2010/main">
                  <a14:imgLayer r:embed="rId16">
                    <a14:imgEffect>
                      <a14:brightnessContrast bright="-31000" contrast="-40000"/>
                    </a14:imgEffect>
                  </a14:imgLayer>
                </a14:imgProps>
              </a:ext>
              <a:ext uri="{28A0092B-C50C-407E-A947-70E740481C1C}">
                <a14:useLocalDpi xmlns:a14="http://schemas.microsoft.com/office/drawing/2010/main"/>
              </a:ext>
            </a:extLst>
          </a:blip>
          <a:srcRect/>
          <a:stretch>
            <a:fillRect/>
          </a:stretch>
        </p:blipFill>
        <p:spPr bwMode="auto">
          <a:xfrm>
            <a:off x="2739455" y="3275876"/>
            <a:ext cx="502611" cy="502611"/>
          </a:xfrm>
          <a:prstGeom prst="rect">
            <a:avLst/>
          </a:prstGeom>
          <a:noFill/>
        </p:spPr>
      </p:pic>
      <p:pic>
        <p:nvPicPr>
          <p:cNvPr id="381" name="Picture 4" descr="\\MAGNUM\Projects\Microsoft\Cloud Power FY12\Design\ICONS_PNG\Agility.png">
            <a:extLst>
              <a:ext uri="{FF2B5EF4-FFF2-40B4-BE49-F238E27FC236}">
                <a16:creationId xmlns:a16="http://schemas.microsoft.com/office/drawing/2014/main" id="{8F3C9533-6390-4F93-9468-0175368044E1}"/>
              </a:ext>
            </a:extLst>
          </p:cNvPr>
          <p:cNvPicPr>
            <a:picLocks noChangeAspect="1" noChangeArrowheads="1"/>
          </p:cNvPicPr>
          <p:nvPr/>
        </p:nvPicPr>
        <p:blipFill rotWithShape="1">
          <a:blip r:embed="rId17" cstate="print">
            <a:duotone>
              <a:srgbClr val="0A5BBA">
                <a:shade val="45000"/>
                <a:satMod val="135000"/>
              </a:srgbClr>
              <a:prstClr val="white"/>
            </a:duotone>
            <a:extLst>
              <a:ext uri="{BEBA8EAE-BF5A-486C-A8C5-ECC9F3942E4B}">
                <a14:imgProps xmlns:a14="http://schemas.microsoft.com/office/drawing/2010/main">
                  <a14:imgLayer r:embed="rId18">
                    <a14:imgEffect>
                      <a14:brightnessContrast bright="-31000" contrast="-24000"/>
                    </a14:imgEffect>
                  </a14:imgLayer>
                </a14:imgProps>
              </a:ext>
              <a:ext uri="{28A0092B-C50C-407E-A947-70E740481C1C}">
                <a14:useLocalDpi xmlns:a14="http://schemas.microsoft.com/office/drawing/2010/main"/>
              </a:ext>
            </a:extLst>
          </a:blip>
          <a:srcRect/>
          <a:stretch/>
        </p:blipFill>
        <p:spPr bwMode="auto">
          <a:xfrm>
            <a:off x="9425118" y="2396601"/>
            <a:ext cx="460320" cy="304622"/>
          </a:xfrm>
          <a:prstGeom prst="rect">
            <a:avLst/>
          </a:prstGeom>
          <a:noFill/>
        </p:spPr>
      </p:pic>
      <p:grpSp>
        <p:nvGrpSpPr>
          <p:cNvPr id="312" name="Group 311">
            <a:extLst>
              <a:ext uri="{FF2B5EF4-FFF2-40B4-BE49-F238E27FC236}">
                <a16:creationId xmlns:a16="http://schemas.microsoft.com/office/drawing/2014/main" id="{F122C095-62DC-4A62-95AD-9B89DF135556}"/>
              </a:ext>
            </a:extLst>
          </p:cNvPr>
          <p:cNvGrpSpPr/>
          <p:nvPr/>
        </p:nvGrpSpPr>
        <p:grpSpPr>
          <a:xfrm>
            <a:off x="10439567" y="2417214"/>
            <a:ext cx="243065" cy="258542"/>
            <a:chOff x="7007492" y="513553"/>
            <a:chExt cx="764908" cy="759355"/>
          </a:xfrm>
        </p:grpSpPr>
        <p:sp>
          <p:nvSpPr>
            <p:cNvPr id="311" name="Rectangle 310">
              <a:extLst>
                <a:ext uri="{FF2B5EF4-FFF2-40B4-BE49-F238E27FC236}">
                  <a16:creationId xmlns:a16="http://schemas.microsoft.com/office/drawing/2014/main" id="{BD46B6BC-D675-4455-A0B7-7C67191CB70D}"/>
                </a:ext>
              </a:extLst>
            </p:cNvPr>
            <p:cNvSpPr/>
            <p:nvPr/>
          </p:nvSpPr>
          <p:spPr>
            <a:xfrm>
              <a:off x="7444993" y="918283"/>
              <a:ext cx="107951" cy="35098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389" name="Rectangle 388">
              <a:extLst>
                <a:ext uri="{FF2B5EF4-FFF2-40B4-BE49-F238E27FC236}">
                  <a16:creationId xmlns:a16="http://schemas.microsoft.com/office/drawing/2014/main" id="{79B2B7C5-A250-4A9C-B53B-7857FAB3AD38}"/>
                </a:ext>
              </a:extLst>
            </p:cNvPr>
            <p:cNvSpPr/>
            <p:nvPr/>
          </p:nvSpPr>
          <p:spPr>
            <a:xfrm>
              <a:off x="7655305" y="1003175"/>
              <a:ext cx="117095" cy="26609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393" name="Rectangle 392">
              <a:extLst>
                <a:ext uri="{FF2B5EF4-FFF2-40B4-BE49-F238E27FC236}">
                  <a16:creationId xmlns:a16="http://schemas.microsoft.com/office/drawing/2014/main" id="{45907B5C-FAAA-4709-B22A-F7C70E89C593}"/>
                </a:ext>
              </a:extLst>
            </p:cNvPr>
            <p:cNvSpPr/>
            <p:nvPr/>
          </p:nvSpPr>
          <p:spPr>
            <a:xfrm>
              <a:off x="7007492" y="513553"/>
              <a:ext cx="117095" cy="75935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394" name="Rectangle 393">
              <a:extLst>
                <a:ext uri="{FF2B5EF4-FFF2-40B4-BE49-F238E27FC236}">
                  <a16:creationId xmlns:a16="http://schemas.microsoft.com/office/drawing/2014/main" id="{9076F6FE-0279-4B10-9C79-1D674B66D43D}"/>
                </a:ext>
              </a:extLst>
            </p:cNvPr>
            <p:cNvSpPr/>
            <p:nvPr/>
          </p:nvSpPr>
          <p:spPr>
            <a:xfrm>
              <a:off x="7226242" y="758923"/>
              <a:ext cx="108657" cy="5103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err="1">
                <a:ln>
                  <a:noFill/>
                </a:ln>
                <a:solidFill>
                  <a:prstClr val="white"/>
                </a:solidFill>
                <a:effectLst/>
                <a:uLnTx/>
                <a:uFillTx/>
                <a:latin typeface="Segoe UI"/>
                <a:ea typeface="+mn-ea"/>
                <a:cs typeface="+mn-cs"/>
              </a:endParaRPr>
            </a:p>
          </p:txBody>
        </p:sp>
      </p:grpSp>
      <p:grpSp>
        <p:nvGrpSpPr>
          <p:cNvPr id="316" name="Group 315">
            <a:extLst>
              <a:ext uri="{FF2B5EF4-FFF2-40B4-BE49-F238E27FC236}">
                <a16:creationId xmlns:a16="http://schemas.microsoft.com/office/drawing/2014/main" id="{8C792830-E4F1-420A-8D06-23BB872DA8E1}"/>
              </a:ext>
            </a:extLst>
          </p:cNvPr>
          <p:cNvGrpSpPr/>
          <p:nvPr/>
        </p:nvGrpSpPr>
        <p:grpSpPr>
          <a:xfrm>
            <a:off x="8439556" y="3256333"/>
            <a:ext cx="3361765" cy="923544"/>
            <a:chOff x="8389559" y="886968"/>
            <a:chExt cx="3361765" cy="923544"/>
          </a:xfrm>
        </p:grpSpPr>
        <p:sp>
          <p:nvSpPr>
            <p:cNvPr id="315" name="Oval 314">
              <a:extLst>
                <a:ext uri="{FF2B5EF4-FFF2-40B4-BE49-F238E27FC236}">
                  <a16:creationId xmlns:a16="http://schemas.microsoft.com/office/drawing/2014/main" id="{D34226BE-ECAD-44A2-9278-8FE4717810BC}"/>
                </a:ext>
              </a:extLst>
            </p:cNvPr>
            <p:cNvSpPr/>
            <p:nvPr/>
          </p:nvSpPr>
          <p:spPr>
            <a:xfrm>
              <a:off x="8389559" y="886968"/>
              <a:ext cx="3361765" cy="9235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399" name="Rectangle 398">
              <a:extLst>
                <a:ext uri="{FF2B5EF4-FFF2-40B4-BE49-F238E27FC236}">
                  <a16:creationId xmlns:a16="http://schemas.microsoft.com/office/drawing/2014/main" id="{2E060BAF-37DC-4AB0-BF5B-D1202227A980}"/>
                </a:ext>
              </a:extLst>
            </p:cNvPr>
            <p:cNvSpPr/>
            <p:nvPr/>
          </p:nvSpPr>
          <p:spPr bwMode="auto">
            <a:xfrm>
              <a:off x="9705596" y="1394150"/>
              <a:ext cx="907300" cy="276999"/>
            </a:xfrm>
            <a:prstGeom prst="rect">
              <a:avLst/>
            </a:prstGeom>
            <a:noFill/>
            <a:ln w="9525" cap="flat" cmpd="sng" algn="ctr">
              <a:noFill/>
              <a:prstDash val="sysDot"/>
              <a:headEnd type="none" w="med" len="med"/>
              <a:tailEnd type="none" w="med" len="med"/>
            </a:ln>
            <a:effectLst/>
          </p:spPr>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marL="0" marR="0" lvl="0" indent="0" algn="l" defTabSz="60888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505050"/>
                  </a:solidFill>
                  <a:effectLst/>
                  <a:uLnTx/>
                  <a:uFillTx/>
                  <a:latin typeface="Segoe UI"/>
                  <a:ea typeface="+mn-ea"/>
                  <a:cs typeface="+mn-cs"/>
                </a:rPr>
                <a:t>Increased human </a:t>
              </a:r>
              <a:br>
                <a:rPr kumimoji="0" lang="en-US" sz="900" b="0" i="0" u="none" strike="noStrike" kern="0" cap="none" spc="0" normalizeH="0" baseline="0" noProof="0" dirty="0">
                  <a:ln>
                    <a:noFill/>
                  </a:ln>
                  <a:solidFill>
                    <a:srgbClr val="505050"/>
                  </a:solidFill>
                  <a:effectLst/>
                  <a:uLnTx/>
                  <a:uFillTx/>
                  <a:latin typeface="Segoe UI"/>
                  <a:ea typeface="+mn-ea"/>
                  <a:cs typeface="+mn-cs"/>
                </a:rPr>
              </a:br>
              <a:r>
                <a:rPr kumimoji="0" lang="en-US" sz="900" b="0" i="0" u="none" strike="noStrike" kern="0" cap="none" spc="0" normalizeH="0" baseline="0" noProof="0" dirty="0">
                  <a:ln>
                    <a:noFill/>
                  </a:ln>
                  <a:solidFill>
                    <a:srgbClr val="505050"/>
                  </a:solidFill>
                  <a:effectLst/>
                  <a:uLnTx/>
                  <a:uFillTx/>
                  <a:latin typeface="Segoe UI"/>
                  <a:ea typeface="+mn-ea"/>
                  <a:cs typeface="+mn-cs"/>
                </a:rPr>
                <a:t>sense of purpose</a:t>
              </a:r>
            </a:p>
          </p:txBody>
        </p:sp>
        <p:grpSp>
          <p:nvGrpSpPr>
            <p:cNvPr id="400" name="Group 399">
              <a:extLst>
                <a:ext uri="{FF2B5EF4-FFF2-40B4-BE49-F238E27FC236}">
                  <a16:creationId xmlns:a16="http://schemas.microsoft.com/office/drawing/2014/main" id="{4096C37B-41D7-445B-A08A-BABDDC140805}"/>
                </a:ext>
              </a:extLst>
            </p:cNvPr>
            <p:cNvGrpSpPr/>
            <p:nvPr/>
          </p:nvGrpSpPr>
          <p:grpSpPr>
            <a:xfrm>
              <a:off x="8840873" y="1125473"/>
              <a:ext cx="599523" cy="537353"/>
              <a:chOff x="10759997" y="2720144"/>
              <a:chExt cx="599523" cy="537353"/>
            </a:xfrm>
          </p:grpSpPr>
          <p:sp>
            <p:nvSpPr>
              <p:cNvPr id="401" name="Rectangle 400">
                <a:extLst>
                  <a:ext uri="{FF2B5EF4-FFF2-40B4-BE49-F238E27FC236}">
                    <a16:creationId xmlns:a16="http://schemas.microsoft.com/office/drawing/2014/main" id="{453E4EC4-68DA-48F6-80FB-97B9A617C6C8}"/>
                  </a:ext>
                </a:extLst>
              </p:cNvPr>
              <p:cNvSpPr/>
              <p:nvPr/>
            </p:nvSpPr>
            <p:spPr bwMode="auto">
              <a:xfrm>
                <a:off x="10759997" y="2980498"/>
                <a:ext cx="599523" cy="276999"/>
              </a:xfrm>
              <a:prstGeom prst="rect">
                <a:avLst/>
              </a:prstGeom>
              <a:noFill/>
              <a:ln w="9525" cap="flat" cmpd="sng" algn="ctr">
                <a:noFill/>
                <a:prstDash val="sysDot"/>
                <a:headEnd type="none" w="med" len="med"/>
                <a:tailEnd type="none" w="med" len="med"/>
              </a:ln>
              <a:effectLst/>
            </p:spPr>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marL="0" marR="0" lvl="0" indent="0" algn="ctr" defTabSz="60888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505050"/>
                    </a:solidFill>
                    <a:effectLst/>
                    <a:uLnTx/>
                    <a:uFillTx/>
                    <a:latin typeface="Segoe UI"/>
                    <a:ea typeface="+mn-ea"/>
                    <a:cs typeface="+mn-cs"/>
                  </a:rPr>
                  <a:t>Increased </a:t>
                </a:r>
                <a:br>
                  <a:rPr kumimoji="0" lang="en-US" sz="900" b="0" i="0" u="none" strike="noStrike" kern="0" cap="none" spc="0" normalizeH="0" baseline="0" noProof="0" dirty="0">
                    <a:ln>
                      <a:noFill/>
                    </a:ln>
                    <a:solidFill>
                      <a:srgbClr val="505050"/>
                    </a:solidFill>
                    <a:effectLst/>
                    <a:uLnTx/>
                    <a:uFillTx/>
                    <a:latin typeface="Segoe UI"/>
                    <a:ea typeface="+mn-ea"/>
                    <a:cs typeface="+mn-cs"/>
                  </a:rPr>
                </a:br>
                <a:r>
                  <a:rPr kumimoji="0" lang="en-US" sz="900" b="0" i="0" u="none" strike="noStrike" kern="0" cap="none" spc="0" normalizeH="0" baseline="0" noProof="0" dirty="0">
                    <a:ln>
                      <a:noFill/>
                    </a:ln>
                    <a:solidFill>
                      <a:srgbClr val="505050"/>
                    </a:solidFill>
                    <a:effectLst/>
                    <a:uLnTx/>
                    <a:uFillTx/>
                    <a:latin typeface="Segoe UI"/>
                    <a:ea typeface="+mn-ea"/>
                    <a:cs typeface="+mn-cs"/>
                  </a:rPr>
                  <a:t>Productivity</a:t>
                </a:r>
              </a:p>
            </p:txBody>
          </p:sp>
          <p:sp>
            <p:nvSpPr>
              <p:cNvPr id="402" name="Freeform 15">
                <a:extLst>
                  <a:ext uri="{FF2B5EF4-FFF2-40B4-BE49-F238E27FC236}">
                    <a16:creationId xmlns:a16="http://schemas.microsoft.com/office/drawing/2014/main" id="{0B89EFB6-3F5D-4958-95F0-AD29395CC1BF}"/>
                  </a:ext>
                </a:extLst>
              </p:cNvPr>
              <p:cNvSpPr>
                <a:spLocks noEditPoints="1"/>
              </p:cNvSpPr>
              <p:nvPr/>
            </p:nvSpPr>
            <p:spPr bwMode="black">
              <a:xfrm>
                <a:off x="10918463" y="2720144"/>
                <a:ext cx="241953" cy="241953"/>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5E83BD"/>
              </a:solidFill>
              <a:ln>
                <a:noFill/>
              </a:ln>
            </p:spPr>
            <p:txBody>
              <a:bodyPr vert="horz" wrap="square" lIns="82305" tIns="41153" rIns="82305" bIns="41153"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403" name="Group 402">
              <a:extLst>
                <a:ext uri="{FF2B5EF4-FFF2-40B4-BE49-F238E27FC236}">
                  <a16:creationId xmlns:a16="http://schemas.microsoft.com/office/drawing/2014/main" id="{5EC32974-52FE-46CD-A81C-AFB0C5391661}"/>
                </a:ext>
              </a:extLst>
            </p:cNvPr>
            <p:cNvGrpSpPr/>
            <p:nvPr/>
          </p:nvGrpSpPr>
          <p:grpSpPr>
            <a:xfrm>
              <a:off x="10900260" y="1024933"/>
              <a:ext cx="519373" cy="646216"/>
              <a:chOff x="10314862" y="2360611"/>
              <a:chExt cx="519373" cy="646216"/>
            </a:xfrm>
          </p:grpSpPr>
          <p:sp>
            <p:nvSpPr>
              <p:cNvPr id="404" name="Rectangle 403">
                <a:extLst>
                  <a:ext uri="{FF2B5EF4-FFF2-40B4-BE49-F238E27FC236}">
                    <a16:creationId xmlns:a16="http://schemas.microsoft.com/office/drawing/2014/main" id="{C6F061A0-CB2C-4EB0-92A9-EBF76D59AC07}"/>
                  </a:ext>
                </a:extLst>
              </p:cNvPr>
              <p:cNvSpPr/>
              <p:nvPr/>
            </p:nvSpPr>
            <p:spPr bwMode="auto">
              <a:xfrm>
                <a:off x="10314862" y="2729828"/>
                <a:ext cx="519373" cy="276999"/>
              </a:xfrm>
              <a:prstGeom prst="rect">
                <a:avLst/>
              </a:prstGeom>
              <a:noFill/>
              <a:ln w="9525" cap="flat" cmpd="sng" algn="ctr">
                <a:noFill/>
                <a:prstDash val="sysDot"/>
                <a:headEnd type="none" w="med" len="med"/>
                <a:tailEnd type="none" w="med" len="med"/>
              </a:ln>
              <a:effectLst/>
            </p:spPr>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marL="0" marR="0" lvl="0" indent="0" algn="ctr" defTabSz="60888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505050"/>
                    </a:solidFill>
                    <a:effectLst/>
                    <a:uLnTx/>
                    <a:uFillTx/>
                    <a:latin typeface="Segoe UI"/>
                    <a:ea typeface="+mn-ea"/>
                    <a:cs typeface="+mn-cs"/>
                  </a:rPr>
                  <a:t>Improved </a:t>
                </a:r>
                <a:br>
                  <a:rPr kumimoji="0" lang="en-US" sz="900" b="0" i="0" u="none" strike="noStrike" kern="0" cap="none" spc="0" normalizeH="0" baseline="0" noProof="0" dirty="0">
                    <a:ln>
                      <a:noFill/>
                    </a:ln>
                    <a:solidFill>
                      <a:srgbClr val="505050"/>
                    </a:solidFill>
                    <a:effectLst/>
                    <a:uLnTx/>
                    <a:uFillTx/>
                    <a:latin typeface="Segoe UI"/>
                    <a:ea typeface="+mn-ea"/>
                    <a:cs typeface="+mn-cs"/>
                  </a:rPr>
                </a:br>
                <a:r>
                  <a:rPr kumimoji="0" lang="en-US" sz="900" b="0" i="0" u="none" strike="noStrike" kern="0" cap="none" spc="0" normalizeH="0" baseline="0" noProof="0" dirty="0">
                    <a:ln>
                      <a:noFill/>
                    </a:ln>
                    <a:solidFill>
                      <a:srgbClr val="505050"/>
                    </a:solidFill>
                    <a:effectLst/>
                    <a:uLnTx/>
                    <a:uFillTx/>
                    <a:latin typeface="Segoe UI"/>
                    <a:ea typeface="+mn-ea"/>
                    <a:cs typeface="+mn-cs"/>
                  </a:rPr>
                  <a:t>quality</a:t>
                </a:r>
              </a:p>
            </p:txBody>
          </p:sp>
          <p:pic>
            <p:nvPicPr>
              <p:cNvPr id="405" name="Picture 2" descr="\\MAGNUM\Projects\Microsoft\Cloud Power FY12\Design\ICONS_PNG\Devices.png">
                <a:extLst>
                  <a:ext uri="{FF2B5EF4-FFF2-40B4-BE49-F238E27FC236}">
                    <a16:creationId xmlns:a16="http://schemas.microsoft.com/office/drawing/2014/main" id="{B6343CE4-5884-45A0-A343-C60B3D3250C1}"/>
                  </a:ext>
                </a:extLst>
              </p:cNvPr>
              <p:cNvPicPr>
                <a:picLocks noChangeAspect="1" noChangeArrowheads="1"/>
              </p:cNvPicPr>
              <p:nvPr/>
            </p:nvPicPr>
            <p:blipFill>
              <a:blip r:embed="rId19" cstate="print">
                <a:duotone>
                  <a:srgbClr val="0A5BBA">
                    <a:shade val="45000"/>
                    <a:satMod val="135000"/>
                  </a:srgbClr>
                  <a:prstClr val="white"/>
                </a:duotone>
                <a:extLst>
                  <a:ext uri="{BEBA8EAE-BF5A-486C-A8C5-ECC9F3942E4B}">
                    <a14:imgProps xmlns:a14="http://schemas.microsoft.com/office/drawing/2010/main">
                      <a14:imgLayer r:embed="rId20">
                        <a14:imgEffect>
                          <a14:brightnessContrast bright="-31000" contrast="-40000"/>
                        </a14:imgEffect>
                      </a14:imgLayer>
                    </a14:imgProps>
                  </a:ext>
                  <a:ext uri="{28A0092B-C50C-407E-A947-70E740481C1C}">
                    <a14:useLocalDpi xmlns:a14="http://schemas.microsoft.com/office/drawing/2010/main"/>
                  </a:ext>
                </a:extLst>
              </a:blip>
              <a:stretch>
                <a:fillRect/>
              </a:stretch>
            </p:blipFill>
            <p:spPr bwMode="auto">
              <a:xfrm>
                <a:off x="10337314" y="2360611"/>
                <a:ext cx="411480" cy="411480"/>
              </a:xfrm>
              <a:prstGeom prst="rect">
                <a:avLst/>
              </a:prstGeom>
              <a:noFill/>
              <a:ln>
                <a:noFill/>
              </a:ln>
            </p:spPr>
          </p:pic>
        </p:grpSp>
        <p:pic>
          <p:nvPicPr>
            <p:cNvPr id="406" name="Picture 49" descr="C:\Users\sakuu\Documents\Ballmer MGX 2011\Tile Icons\Promote Add.png">
              <a:extLst>
                <a:ext uri="{FF2B5EF4-FFF2-40B4-BE49-F238E27FC236}">
                  <a16:creationId xmlns:a16="http://schemas.microsoft.com/office/drawing/2014/main" id="{587DEB7A-2C34-493D-B8E9-6D041AF26BB1}"/>
                </a:ext>
              </a:extLst>
            </p:cNvPr>
            <p:cNvPicPr>
              <a:picLocks noChangeAspect="1" noChangeArrowheads="1"/>
            </p:cNvPicPr>
            <p:nvPr/>
          </p:nvPicPr>
          <p:blipFill>
            <a:blip r:embed="rId21" cstate="print">
              <a:duotone>
                <a:srgbClr val="0A5BBA">
                  <a:shade val="45000"/>
                  <a:satMod val="135000"/>
                </a:srgbClr>
                <a:prstClr val="white"/>
              </a:duotone>
              <a:extLst>
                <a:ext uri="{BEBA8EAE-BF5A-486C-A8C5-ECC9F3942E4B}">
                  <a14:imgProps xmlns:a14="http://schemas.microsoft.com/office/drawing/2010/main">
                    <a14:imgLayer r:embed="rId22">
                      <a14:imgEffect>
                        <a14:brightnessContrast bright="-75000" contrast="-40000"/>
                      </a14:imgEffect>
                    </a14:imgLayer>
                  </a14:imgProps>
                </a:ext>
                <a:ext uri="{28A0092B-C50C-407E-A947-70E740481C1C}">
                  <a14:useLocalDpi xmlns:a14="http://schemas.microsoft.com/office/drawing/2010/main"/>
                </a:ext>
              </a:extLst>
            </a:blip>
            <a:srcRect/>
            <a:stretch>
              <a:fillRect/>
            </a:stretch>
          </p:blipFill>
          <p:spPr bwMode="black">
            <a:xfrm>
              <a:off x="9992960" y="942936"/>
              <a:ext cx="284655" cy="454487"/>
            </a:xfrm>
            <a:prstGeom prst="rect">
              <a:avLst/>
            </a:prstGeom>
            <a:noFill/>
            <a:extLst/>
          </p:spPr>
        </p:pic>
      </p:grpSp>
      <p:sp>
        <p:nvSpPr>
          <p:cNvPr id="206" name="Rectangle 205">
            <a:extLst>
              <a:ext uri="{FF2B5EF4-FFF2-40B4-BE49-F238E27FC236}">
                <a16:creationId xmlns:a16="http://schemas.microsoft.com/office/drawing/2014/main" id="{352D0FFE-FDD8-4C1D-BA66-15DB54922845}"/>
              </a:ext>
            </a:extLst>
          </p:cNvPr>
          <p:cNvSpPr/>
          <p:nvPr/>
        </p:nvSpPr>
        <p:spPr>
          <a:xfrm>
            <a:off x="303212" y="4315367"/>
            <a:ext cx="11582400" cy="3795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1088105" rtl="0" eaLnBrk="1" fontAlgn="auto" latinLnBrk="0" hangingPunct="1">
              <a:lnSpc>
                <a:spcPct val="100000"/>
              </a:lnSpc>
              <a:spcBef>
                <a:spcPts val="20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Top-line Impact</a:t>
            </a:r>
          </a:p>
          <a:p>
            <a:pPr marL="0" marR="0" lvl="0" indent="0" algn="l" defTabSz="1088105" rtl="0" eaLnBrk="1" fontAlgn="auto" latinLnBrk="0" hangingPunct="1">
              <a:lnSpc>
                <a:spcPct val="100000"/>
              </a:lnSpc>
              <a:spcBef>
                <a:spcPts val="20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Increased productivity, higher quality products, reduced injuries, and </a:t>
            </a:r>
            <a:r>
              <a:rPr lang="en-US" sz="1100" dirty="0">
                <a:solidFill>
                  <a:srgbClr val="505050"/>
                </a:solidFill>
                <a:latin typeface="Segoe UI"/>
                <a:cs typeface="Segoe UI Semibold" panose="020B0702040204020203" pitchFamily="34" charset="0"/>
              </a:rPr>
              <a:t>a </a:t>
            </a:r>
            <a:r>
              <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foundation to grow manufacturing capabilities.</a:t>
            </a:r>
          </a:p>
        </p:txBody>
      </p:sp>
    </p:spTree>
    <p:extLst>
      <p:ext uri="{BB962C8B-B14F-4D97-AF65-F5344CB8AC3E}">
        <p14:creationId xmlns:p14="http://schemas.microsoft.com/office/powerpoint/2010/main" val="10305697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uman-Robot Collaboration</a:t>
            </a:r>
            <a:endParaRPr lang="en-IN" dirty="0"/>
          </a:p>
        </p:txBody>
      </p:sp>
      <p:sp>
        <p:nvSpPr>
          <p:cNvPr id="4" name="Slide Number Placeholder 3"/>
          <p:cNvSpPr>
            <a:spLocks noGrp="1"/>
          </p:cNvSpPr>
          <p:nvPr>
            <p:ph type="sldNum" sz="quarter" idx="14"/>
          </p:nvPr>
        </p:nvSpPr>
        <p:spPr/>
        <p:txBody>
          <a:bodyPr/>
          <a:lstStyle/>
          <a:p>
            <a:pPr marL="0" marR="0" lvl="0" indent="0" algn="r" defTabSz="1088105"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1088105" rtl="0" eaLnBrk="1" fontAlgn="auto" latinLnBrk="0" hangingPunct="1">
                <a:lnSpc>
                  <a:spcPct val="100000"/>
                </a:lnSpc>
                <a:spcBef>
                  <a:spcPts val="0"/>
                </a:spcBef>
                <a:spcAft>
                  <a:spcPts val="0"/>
                </a:spcAft>
                <a:buClrTx/>
                <a:buSzTx/>
                <a:buFontTx/>
                <a:buNone/>
                <a:tabLst/>
                <a:defRPr/>
              </a:pPr>
              <a:t>29</a:t>
            </a:fld>
            <a:endParaRPr kumimoji="0" lang="en-US" sz="800" b="0" i="0" u="none" strike="noStrike" kern="1200" cap="none" spc="0" normalizeH="0" baseline="0" noProof="0">
              <a:ln>
                <a:noFill/>
              </a:ln>
              <a:solidFill>
                <a:srgbClr val="505050"/>
              </a:solidFill>
              <a:effectLst/>
              <a:uLnTx/>
              <a:uFillTx/>
              <a:latin typeface="Segoe UI" pitchFamily="34" charset="0"/>
              <a:cs typeface="Segoe UI" pitchFamily="34" charset="0"/>
            </a:endParaRPr>
          </a:p>
        </p:txBody>
      </p:sp>
      <p:sp>
        <p:nvSpPr>
          <p:cNvPr id="91" name="Rectangle 90"/>
          <p:cNvSpPr/>
          <p:nvPr>
            <p:custDataLst>
              <p:tags r:id="rId1"/>
            </p:custDataLst>
          </p:nvPr>
        </p:nvSpPr>
        <p:spPr>
          <a:xfrm>
            <a:off x="6329009" y="1917700"/>
            <a:ext cx="1545336" cy="4560174"/>
          </a:xfrm>
          <a:prstGeom prst="rect">
            <a:avLst/>
          </a:prstGeom>
          <a:solidFill>
            <a:schemeClr val="bg1">
              <a:lumMod val="95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1217693" rtl="0" eaLnBrk="1" fontAlgn="auto" latinLnBrk="0" hangingPunct="1">
              <a:lnSpc>
                <a:spcPct val="100000"/>
              </a:lnSpc>
              <a:spcBef>
                <a:spcPts val="0"/>
              </a:spcBef>
              <a:spcAft>
                <a:spcPts val="0"/>
              </a:spcAft>
              <a:buClrTx/>
              <a:buSzTx/>
              <a:buFontTx/>
              <a:buNone/>
              <a:tabLst/>
              <a:defRPr/>
            </a:pPr>
            <a:endParaRPr kumimoji="0" lang="en-US" sz="1899" b="0" i="0" u="none" strike="noStrike" kern="0" cap="none" spc="0" normalizeH="0" baseline="0" noProof="0" err="1">
              <a:ln>
                <a:noFill/>
              </a:ln>
              <a:solidFill>
                <a:srgbClr val="595959">
                  <a:lumMod val="75000"/>
                </a:srgbClr>
              </a:solidFill>
              <a:effectLst/>
              <a:uLnTx/>
              <a:uFillTx/>
              <a:latin typeface="Segoe UI"/>
              <a:ea typeface="+mn-ea"/>
              <a:cs typeface="+mn-cs"/>
            </a:endParaRPr>
          </a:p>
        </p:txBody>
      </p:sp>
      <p:sp>
        <p:nvSpPr>
          <p:cNvPr id="92" name="Rectangle 91"/>
          <p:cNvSpPr/>
          <p:nvPr>
            <p:custDataLst>
              <p:tags r:id="rId2"/>
            </p:custDataLst>
          </p:nvPr>
        </p:nvSpPr>
        <p:spPr>
          <a:xfrm>
            <a:off x="6329009" y="1295400"/>
            <a:ext cx="1545336" cy="622300"/>
          </a:xfrm>
          <a:prstGeom prst="rect">
            <a:avLst/>
          </a:prstGeom>
          <a:solidFill>
            <a:schemeClr val="accent3"/>
          </a:solidFill>
          <a:ln w="25400" cap="flat" cmpd="sng" algn="ctr">
            <a:noFill/>
            <a:prstDash val="solid"/>
          </a:ln>
          <a:effectLst/>
        </p:spPr>
        <p:txBody>
          <a:bodyPr lIns="91440" tIns="45720" rIns="91440" bIns="45720" rtlCol="0" anchor="ctr">
            <a:noAutofit/>
          </a:bodyPr>
          <a:lstStyle/>
          <a:p>
            <a:pPr marL="0" marR="0" lvl="0" indent="0" algn="ctr" defTabSz="78873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Benefits</a:t>
            </a:r>
          </a:p>
        </p:txBody>
      </p:sp>
      <p:sp>
        <p:nvSpPr>
          <p:cNvPr id="93" name="Rectangle 92"/>
          <p:cNvSpPr/>
          <p:nvPr>
            <p:custDataLst>
              <p:tags r:id="rId3"/>
            </p:custDataLst>
          </p:nvPr>
        </p:nvSpPr>
        <p:spPr>
          <a:xfrm>
            <a:off x="6329009" y="2039338"/>
            <a:ext cx="1545336" cy="1015663"/>
          </a:xfrm>
          <a:prstGeom prst="rect">
            <a:avLst/>
          </a:prstGeom>
          <a:solidFill>
            <a:schemeClr val="accent3"/>
          </a:solidFill>
          <a:ln w="25400" cap="flat" cmpd="sng" algn="ctr">
            <a:noFill/>
            <a:prstDash val="solid"/>
          </a:ln>
          <a:effectLst/>
        </p:spPr>
        <p:txBody>
          <a:bodyPr lIns="91440" tIns="45720" rIns="91440" bIns="45720" rtlCol="0" anchor="ctr">
            <a:noAutofit/>
          </a:bodyPr>
          <a:lstStyle/>
          <a:p>
            <a:pPr marL="171450" lvl="0" indent="-171450" defTabSz="788730">
              <a:buFont typeface="Arial" panose="020B0604020202020204" pitchFamily="34" charset="0"/>
              <a:buChar char="•"/>
              <a:defRPr/>
            </a:pPr>
            <a:r>
              <a:rPr lang="en-US" sz="1200" kern="0" dirty="0">
                <a:solidFill>
                  <a:prstClr val="white"/>
                </a:solidFill>
              </a:rPr>
              <a:t>Reduced operating costs </a:t>
            </a:r>
          </a:p>
        </p:txBody>
      </p:sp>
      <p:sp>
        <p:nvSpPr>
          <p:cNvPr id="94" name="Rectangle 93"/>
          <p:cNvSpPr/>
          <p:nvPr>
            <p:custDataLst>
              <p:tags r:id="rId4"/>
            </p:custDataLst>
          </p:nvPr>
        </p:nvSpPr>
        <p:spPr>
          <a:xfrm>
            <a:off x="6329009" y="4586714"/>
            <a:ext cx="1545336" cy="646331"/>
          </a:xfrm>
          <a:prstGeom prst="rect">
            <a:avLst/>
          </a:prstGeom>
          <a:solidFill>
            <a:schemeClr val="accent3"/>
          </a:solidFill>
          <a:ln w="25400" cap="flat" cmpd="sng" algn="ctr">
            <a:noFill/>
            <a:prstDash val="solid"/>
          </a:ln>
          <a:effectLst/>
        </p:spPr>
        <p:txBody>
          <a:bodyPr lIns="91440" tIns="45720" rIns="91440" bIns="45720" rtlCol="0" anchor="ctr">
            <a:noAutofit/>
          </a:bodyPr>
          <a:lstStyle/>
          <a:p>
            <a:pPr marL="171450" lvl="0" indent="-171450" defTabSz="914080">
              <a:spcBef>
                <a:spcPts val="267"/>
              </a:spcBef>
              <a:buFont typeface="Arial" panose="020B0604020202020204" pitchFamily="34" charset="0"/>
              <a:buChar char="•"/>
              <a:defRPr/>
            </a:pPr>
            <a:r>
              <a:rPr lang="en-US" sz="1200" kern="0" dirty="0">
                <a:solidFill>
                  <a:prstClr val="white"/>
                </a:solidFill>
              </a:rPr>
              <a:t>Increased production output </a:t>
            </a:r>
          </a:p>
        </p:txBody>
      </p:sp>
      <p:sp>
        <p:nvSpPr>
          <p:cNvPr id="95" name="Rectangle 94"/>
          <p:cNvSpPr/>
          <p:nvPr>
            <p:custDataLst>
              <p:tags r:id="rId5"/>
            </p:custDataLst>
          </p:nvPr>
        </p:nvSpPr>
        <p:spPr>
          <a:xfrm>
            <a:off x="6329009" y="3405359"/>
            <a:ext cx="1545336" cy="830997"/>
          </a:xfrm>
          <a:prstGeom prst="rect">
            <a:avLst/>
          </a:prstGeom>
          <a:solidFill>
            <a:schemeClr val="accent3"/>
          </a:solidFill>
          <a:ln w="25400" cap="flat" cmpd="sng" algn="ctr">
            <a:noFill/>
            <a:prstDash val="solid"/>
          </a:ln>
          <a:effectLst/>
        </p:spPr>
        <p:txBody>
          <a:bodyPr lIns="91440" tIns="45720" rIns="91440" bIns="45720" rtlCol="0" anchor="ctr">
            <a:noAutofit/>
          </a:bodyPr>
          <a:lstStyle/>
          <a:p>
            <a:pPr marL="171450" lvl="0" indent="-171450" defTabSz="788730">
              <a:buFont typeface="Arial" panose="020B0604020202020204" pitchFamily="34" charset="0"/>
              <a:buChar char="•"/>
              <a:defRPr/>
            </a:pPr>
            <a:r>
              <a:rPr lang="en-US" sz="1200" kern="0" dirty="0">
                <a:solidFill>
                  <a:prstClr val="white"/>
                </a:solidFill>
              </a:rPr>
              <a:t>Improved product quality </a:t>
            </a:r>
          </a:p>
        </p:txBody>
      </p:sp>
      <p:sp>
        <p:nvSpPr>
          <p:cNvPr id="122" name="Rectangle 121"/>
          <p:cNvSpPr/>
          <p:nvPr>
            <p:custDataLst>
              <p:tags r:id="rId6"/>
            </p:custDataLst>
          </p:nvPr>
        </p:nvSpPr>
        <p:spPr>
          <a:xfrm>
            <a:off x="6329009" y="5583402"/>
            <a:ext cx="1545336" cy="830997"/>
          </a:xfrm>
          <a:prstGeom prst="rect">
            <a:avLst/>
          </a:prstGeom>
          <a:solidFill>
            <a:schemeClr val="accent3"/>
          </a:solidFill>
          <a:ln w="25400" cap="flat" cmpd="sng" algn="ctr">
            <a:noFill/>
            <a:prstDash val="solid"/>
          </a:ln>
          <a:effectLst/>
        </p:spPr>
        <p:txBody>
          <a:bodyPr lIns="91440" tIns="45720" rIns="91440" bIns="45720" rtlCol="0" anchor="ctr">
            <a:noAutofit/>
          </a:bodyPr>
          <a:lstStyle/>
          <a:p>
            <a:pPr marL="171450" lvl="0" indent="-171450" defTabSz="913868">
              <a:buFont typeface="Arial" panose="020B0604020202020204" pitchFamily="34" charset="0"/>
              <a:buChar char="•"/>
              <a:defRPr/>
            </a:pPr>
            <a:r>
              <a:rPr lang="en-US" sz="1200" kern="0" dirty="0">
                <a:solidFill>
                  <a:prstClr val="white"/>
                </a:solidFill>
              </a:rPr>
              <a:t>Improved quality of work for employees </a:t>
            </a:r>
          </a:p>
        </p:txBody>
      </p:sp>
      <p:sp>
        <p:nvSpPr>
          <p:cNvPr id="136" name="Rectangle 135"/>
          <p:cNvSpPr/>
          <p:nvPr>
            <p:custDataLst>
              <p:tags r:id="rId7"/>
            </p:custDataLst>
          </p:nvPr>
        </p:nvSpPr>
        <p:spPr>
          <a:xfrm>
            <a:off x="303213" y="1917700"/>
            <a:ext cx="1545336" cy="4560174"/>
          </a:xfrm>
          <a:prstGeom prst="rect">
            <a:avLst/>
          </a:prstGeom>
          <a:solidFill>
            <a:schemeClr val="bg1">
              <a:lumMod val="95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1217693" rtl="0" eaLnBrk="1" fontAlgn="auto" latinLnBrk="0" hangingPunct="1">
              <a:lnSpc>
                <a:spcPct val="100000"/>
              </a:lnSpc>
              <a:spcBef>
                <a:spcPts val="0"/>
              </a:spcBef>
              <a:spcAft>
                <a:spcPts val="0"/>
              </a:spcAft>
              <a:buClrTx/>
              <a:buSzTx/>
              <a:buFontTx/>
              <a:buNone/>
              <a:tabLst/>
              <a:defRPr/>
            </a:pPr>
            <a:endParaRPr kumimoji="0" lang="en-US" sz="1899" b="0" i="0" u="none" strike="noStrike" kern="0" cap="none" spc="0" normalizeH="0" baseline="0" noProof="0" err="1">
              <a:ln>
                <a:solidFill>
                  <a:srgbClr val="FFFFFF">
                    <a:alpha val="0"/>
                  </a:srgbClr>
                </a:solidFill>
              </a:ln>
              <a:solidFill>
                <a:prstClr val="white"/>
              </a:solidFill>
              <a:effectLst/>
              <a:uLnTx/>
              <a:uFillTx/>
              <a:latin typeface="Segoe UI"/>
              <a:ea typeface="+mn-ea"/>
              <a:cs typeface="+mn-cs"/>
            </a:endParaRPr>
          </a:p>
        </p:txBody>
      </p:sp>
      <p:sp>
        <p:nvSpPr>
          <p:cNvPr id="137" name="Rectangle 136"/>
          <p:cNvSpPr/>
          <p:nvPr>
            <p:custDataLst>
              <p:tags r:id="rId8"/>
            </p:custDataLst>
          </p:nvPr>
        </p:nvSpPr>
        <p:spPr>
          <a:xfrm>
            <a:off x="303213" y="1295400"/>
            <a:ext cx="1545336" cy="622300"/>
          </a:xfrm>
          <a:prstGeom prst="rect">
            <a:avLst/>
          </a:prstGeom>
          <a:solidFill>
            <a:schemeClr val="tx2"/>
          </a:solidFill>
          <a:ln w="25400" cap="flat" cmpd="sng" algn="ctr">
            <a:noFill/>
            <a:prstDash val="solid"/>
          </a:ln>
          <a:effectLst/>
        </p:spPr>
        <p:txBody>
          <a:bodyPr lIns="91440" tIns="45720" rIns="91440" bIns="45720" rtlCol="0" anchor="ctr">
            <a:noAutofit/>
          </a:bodyPr>
          <a:lstStyle/>
          <a:p>
            <a:pPr marL="0" marR="0" lvl="0" indent="0" algn="ctr" defTabSz="78873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Enabling Technologies</a:t>
            </a:r>
            <a:endParaRPr kumimoji="0" lang="en-CA" sz="14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p:txBody>
      </p:sp>
      <p:sp>
        <p:nvSpPr>
          <p:cNvPr id="138" name="Rectangle 137"/>
          <p:cNvSpPr/>
          <p:nvPr>
            <p:custDataLst>
              <p:tags r:id="rId9"/>
            </p:custDataLst>
          </p:nvPr>
        </p:nvSpPr>
        <p:spPr>
          <a:xfrm>
            <a:off x="303213" y="2039338"/>
            <a:ext cx="1545336" cy="462919"/>
          </a:xfrm>
          <a:prstGeom prst="rect">
            <a:avLst/>
          </a:prstGeom>
          <a:solidFill>
            <a:schemeClr val="tx2"/>
          </a:solidFill>
          <a:ln w="25400" cap="flat" cmpd="sng" algn="ctr">
            <a:noFill/>
            <a:prstDash val="solid"/>
          </a:ln>
          <a:effectLst/>
        </p:spPr>
        <p:txBody>
          <a:bodyPr wrap="square" lIns="91440" tIns="45720" rIns="91440" bIns="45720" rtlCol="0" anchor="ctr" anchorCtr="0">
            <a:noAutofit/>
          </a:bodyPr>
          <a:lstStyle/>
          <a:p>
            <a:pPr marL="0" marR="0" lvl="0" indent="0" algn="ctr" defTabSz="788730" rtl="0" eaLnBrk="1" fontAlgn="auto" latinLnBrk="0" hangingPunct="1">
              <a:lnSpc>
                <a:spcPct val="100000"/>
              </a:lnSpc>
              <a:spcBef>
                <a:spcPts val="0"/>
              </a:spcBef>
              <a:spcAft>
                <a:spcPts val="0"/>
              </a:spcAft>
              <a:buClrTx/>
              <a:buSzTx/>
              <a:buFontTx/>
              <a:buNone/>
              <a:tabLst/>
              <a:defRPr/>
            </a:pPr>
            <a:r>
              <a:rPr kumimoji="0" lang="en-CA" sz="1200" b="0" i="0" u="none" strike="noStrike" kern="0" cap="none" spc="0" normalizeH="0" baseline="0" noProof="0" dirty="0">
                <a:ln>
                  <a:noFill/>
                </a:ln>
                <a:solidFill>
                  <a:prstClr val="white"/>
                </a:solidFill>
                <a:effectLst/>
                <a:uLnTx/>
                <a:uFillTx/>
                <a:latin typeface="Segoe UI"/>
                <a:ea typeface="+mn-ea"/>
                <a:cs typeface="+mn-cs"/>
              </a:rPr>
              <a:t>Internet of Things</a:t>
            </a:r>
          </a:p>
        </p:txBody>
      </p:sp>
      <p:sp>
        <p:nvSpPr>
          <p:cNvPr id="139" name="Rectangle 138"/>
          <p:cNvSpPr/>
          <p:nvPr>
            <p:custDataLst>
              <p:tags r:id="rId10"/>
            </p:custDataLst>
          </p:nvPr>
        </p:nvSpPr>
        <p:spPr>
          <a:xfrm>
            <a:off x="303213" y="3333225"/>
            <a:ext cx="1545336" cy="462919"/>
          </a:xfrm>
          <a:prstGeom prst="rect">
            <a:avLst/>
          </a:prstGeom>
          <a:solidFill>
            <a:schemeClr val="tx2"/>
          </a:solidFill>
          <a:ln w="25400" cap="flat" cmpd="sng" algn="ctr">
            <a:noFill/>
            <a:prstDash val="solid"/>
          </a:ln>
          <a:effectLst/>
        </p:spPr>
        <p:txBody>
          <a:bodyPr wrap="square" lIns="91440" tIns="45720" rIns="91440" bIns="45720" rtlCol="0" anchor="ctr" anchorCtr="0">
            <a:noAutofit/>
          </a:bodyPr>
          <a:lstStyle/>
          <a:p>
            <a:pPr marL="0" marR="0" lvl="0" indent="0" algn="ctr" defTabSz="788730" rtl="0" eaLnBrk="1" fontAlgn="auto" latinLnBrk="0" hangingPunct="1">
              <a:lnSpc>
                <a:spcPct val="100000"/>
              </a:lnSpc>
              <a:spcBef>
                <a:spcPts val="0"/>
              </a:spcBef>
              <a:spcAft>
                <a:spcPts val="0"/>
              </a:spcAft>
              <a:buClrTx/>
              <a:buSzTx/>
              <a:buFontTx/>
              <a:buNone/>
              <a:tabLst/>
              <a:defRPr/>
            </a:pPr>
            <a:r>
              <a:rPr kumimoji="0" lang="en-CA" sz="1200" b="0" i="0" u="none" strike="noStrike" kern="0" cap="none" spc="0" normalizeH="0" baseline="0" noProof="0" dirty="0">
                <a:ln>
                  <a:noFill/>
                </a:ln>
                <a:solidFill>
                  <a:prstClr val="white"/>
                </a:solidFill>
                <a:effectLst/>
                <a:uLnTx/>
                <a:uFillTx/>
                <a:latin typeface="Segoe UI"/>
                <a:ea typeface="+mn-ea"/>
                <a:cs typeface="+mn-cs"/>
              </a:rPr>
              <a:t>Artificial Intelligence – Cognitive Services</a:t>
            </a:r>
          </a:p>
        </p:txBody>
      </p:sp>
      <p:sp>
        <p:nvSpPr>
          <p:cNvPr id="141" name="Rectangle 140"/>
          <p:cNvSpPr/>
          <p:nvPr>
            <p:custDataLst>
              <p:tags r:id="rId11"/>
            </p:custDataLst>
          </p:nvPr>
        </p:nvSpPr>
        <p:spPr>
          <a:xfrm>
            <a:off x="303213" y="4627112"/>
            <a:ext cx="1545336" cy="462919"/>
          </a:xfrm>
          <a:prstGeom prst="rect">
            <a:avLst/>
          </a:prstGeom>
          <a:solidFill>
            <a:schemeClr val="tx2"/>
          </a:solidFill>
          <a:ln w="25400" cap="flat" cmpd="sng" algn="ctr">
            <a:noFill/>
            <a:prstDash val="solid"/>
          </a:ln>
          <a:effectLst/>
        </p:spPr>
        <p:txBody>
          <a:bodyPr wrap="square" lIns="91440" tIns="45720" rIns="91440" bIns="45720" rtlCol="0" anchor="ctr" anchorCtr="0">
            <a:noAutofit/>
          </a:bodyPr>
          <a:lstStyle/>
          <a:p>
            <a:pPr marL="0" marR="0" lvl="0" indent="0" algn="ctr" defTabSz="788730" rtl="0" eaLnBrk="1" fontAlgn="auto" latinLnBrk="0" hangingPunct="1">
              <a:lnSpc>
                <a:spcPct val="100000"/>
              </a:lnSpc>
              <a:spcBef>
                <a:spcPts val="0"/>
              </a:spcBef>
              <a:spcAft>
                <a:spcPts val="0"/>
              </a:spcAft>
              <a:buClrTx/>
              <a:buSzTx/>
              <a:buFontTx/>
              <a:buNone/>
              <a:tabLst/>
              <a:defRPr/>
            </a:pPr>
            <a:r>
              <a:rPr kumimoji="0" lang="en-CA" sz="1200" b="0" i="0" u="none" strike="noStrike" kern="0" cap="none" spc="0" normalizeH="0" baseline="0" noProof="0">
                <a:ln>
                  <a:noFill/>
                </a:ln>
                <a:solidFill>
                  <a:prstClr val="white"/>
                </a:solidFill>
                <a:effectLst/>
                <a:uLnTx/>
                <a:uFillTx/>
                <a:latin typeface="Segoe UI"/>
                <a:ea typeface="+mn-ea"/>
                <a:cs typeface="+mn-cs"/>
              </a:rPr>
              <a:t>Cloud and Mobile Services</a:t>
            </a:r>
          </a:p>
        </p:txBody>
      </p:sp>
      <p:sp>
        <p:nvSpPr>
          <p:cNvPr id="142" name="Rectangle 141"/>
          <p:cNvSpPr/>
          <p:nvPr>
            <p:custDataLst>
              <p:tags r:id="rId12"/>
            </p:custDataLst>
          </p:nvPr>
        </p:nvSpPr>
        <p:spPr>
          <a:xfrm>
            <a:off x="2363728" y="1917700"/>
            <a:ext cx="1545336" cy="4560174"/>
          </a:xfrm>
          <a:prstGeom prst="rect">
            <a:avLst/>
          </a:prstGeom>
          <a:solidFill>
            <a:schemeClr val="bg1">
              <a:lumMod val="95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1217693" rtl="0" eaLnBrk="1" fontAlgn="auto" latinLnBrk="0" hangingPunct="1">
              <a:lnSpc>
                <a:spcPct val="100000"/>
              </a:lnSpc>
              <a:spcBef>
                <a:spcPts val="0"/>
              </a:spcBef>
              <a:spcAft>
                <a:spcPts val="0"/>
              </a:spcAft>
              <a:buClrTx/>
              <a:buSzTx/>
              <a:buFontTx/>
              <a:buNone/>
              <a:tabLst/>
              <a:defRPr/>
            </a:pPr>
            <a:endParaRPr kumimoji="0" lang="en-US" sz="1899" b="0" i="0" u="none" strike="noStrike" kern="0" cap="none" spc="0" normalizeH="0" baseline="0" noProof="0" err="1">
              <a:ln>
                <a:noFill/>
              </a:ln>
              <a:solidFill>
                <a:srgbClr val="FFFFFF"/>
              </a:solidFill>
              <a:effectLst/>
              <a:uLnTx/>
              <a:uFillTx/>
              <a:latin typeface="Segoe UI"/>
              <a:ea typeface="+mn-ea"/>
              <a:cs typeface="+mn-cs"/>
            </a:endParaRPr>
          </a:p>
        </p:txBody>
      </p:sp>
      <p:sp>
        <p:nvSpPr>
          <p:cNvPr id="143" name="Rectangle 142"/>
          <p:cNvSpPr/>
          <p:nvPr>
            <p:custDataLst>
              <p:tags r:id="rId13"/>
            </p:custDataLst>
          </p:nvPr>
        </p:nvSpPr>
        <p:spPr>
          <a:xfrm>
            <a:off x="2363728" y="1295400"/>
            <a:ext cx="1545336" cy="622300"/>
          </a:xfrm>
          <a:prstGeom prst="rect">
            <a:avLst/>
          </a:prstGeom>
          <a:solidFill>
            <a:schemeClr val="accent1"/>
          </a:solidFill>
          <a:ln w="25400" cap="flat" cmpd="sng" algn="ctr">
            <a:noFill/>
            <a:prstDash val="solid"/>
          </a:ln>
          <a:effectLst/>
        </p:spPr>
        <p:txBody>
          <a:bodyPr lIns="91440" tIns="45720" rIns="91440" bIns="45720" rtlCol="0" anchor="ctr">
            <a:noAutofit/>
          </a:bodyPr>
          <a:lstStyle/>
          <a:p>
            <a:pPr marL="0" marR="0" lvl="0" indent="0" algn="ctr" defTabSz="78873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Enabling Changes</a:t>
            </a:r>
          </a:p>
        </p:txBody>
      </p:sp>
      <p:sp>
        <p:nvSpPr>
          <p:cNvPr id="144" name="Rectangle 143"/>
          <p:cNvSpPr/>
          <p:nvPr>
            <p:custDataLst>
              <p:tags r:id="rId14"/>
            </p:custDataLst>
          </p:nvPr>
        </p:nvSpPr>
        <p:spPr>
          <a:xfrm>
            <a:off x="2363728" y="2039338"/>
            <a:ext cx="1545336" cy="731520"/>
          </a:xfrm>
          <a:prstGeom prst="rect">
            <a:avLst/>
          </a:prstGeom>
          <a:solidFill>
            <a:schemeClr val="accent1"/>
          </a:solidFill>
          <a:ln w="25400" cap="flat" cmpd="sng" algn="ctr">
            <a:noFill/>
            <a:prstDash val="solid"/>
          </a:ln>
          <a:effectLst/>
        </p:spPr>
        <p:txBody>
          <a:bodyPr lIns="91440" tIns="45720" rIns="91440" bIns="45720" rtlCol="0" anchor="ctr">
            <a:noAutofit/>
          </a:bodyPr>
          <a:lstStyle/>
          <a:p>
            <a:pPr marL="0" marR="0" lvl="0" indent="0" algn="l" defTabSz="788730" rtl="0" eaLnBrk="1" fontAlgn="auto" latinLnBrk="0" hangingPunct="1">
              <a:lnSpc>
                <a:spcPct val="100000"/>
              </a:lnSpc>
              <a:spcBef>
                <a:spcPts val="0"/>
              </a:spcBef>
              <a:spcAft>
                <a:spcPts val="0"/>
              </a:spcAft>
              <a:buClrTx/>
              <a:buSzTx/>
              <a:buFontTx/>
              <a:buNone/>
              <a:tabLst/>
              <a:defRPr/>
            </a:pPr>
            <a:r>
              <a:rPr lang="en-GB" sz="1200" kern="0" dirty="0">
                <a:solidFill>
                  <a:prstClr val="white"/>
                </a:solidFill>
                <a:latin typeface="Segoe UI"/>
              </a:rPr>
              <a:t>Reimagine the workplace – Smart manufacturing</a:t>
            </a:r>
            <a:endParaRPr kumimoji="0" lang="en-GB" sz="1200" b="0" i="0" u="none" strike="noStrike" kern="0" cap="none" spc="0" normalizeH="0" baseline="0" noProof="0" dirty="0">
              <a:ln>
                <a:noFill/>
              </a:ln>
              <a:solidFill>
                <a:prstClr val="white"/>
              </a:solidFill>
              <a:effectLst/>
              <a:uLnTx/>
              <a:uFillTx/>
              <a:latin typeface="Segoe UI"/>
              <a:ea typeface="+mn-ea"/>
              <a:cs typeface="+mn-cs"/>
            </a:endParaRPr>
          </a:p>
        </p:txBody>
      </p:sp>
      <p:sp>
        <p:nvSpPr>
          <p:cNvPr id="145" name="Rectangle 144"/>
          <p:cNvSpPr/>
          <p:nvPr>
            <p:custDataLst>
              <p:tags r:id="rId15"/>
            </p:custDataLst>
          </p:nvPr>
        </p:nvSpPr>
        <p:spPr>
          <a:xfrm>
            <a:off x="2363728" y="3865546"/>
            <a:ext cx="1545336" cy="731520"/>
          </a:xfrm>
          <a:prstGeom prst="rect">
            <a:avLst/>
          </a:prstGeom>
          <a:solidFill>
            <a:schemeClr val="accent1"/>
          </a:solidFill>
          <a:ln w="25400" cap="flat" cmpd="sng" algn="ctr">
            <a:noFill/>
            <a:prstDash val="solid"/>
          </a:ln>
          <a:effectLst/>
        </p:spPr>
        <p:txBody>
          <a:bodyPr lIns="91440" tIns="45720" rIns="91440" bIns="45720" rtlCol="0" anchor="ctr">
            <a:noAutofit/>
          </a:bodyPr>
          <a:lstStyle/>
          <a:p>
            <a:pPr marL="0" marR="0" lvl="0" indent="0" algn="l" defTabSz="788730" rtl="0" eaLnBrk="1" fontAlgn="auto" latinLnBrk="0" hangingPunct="1">
              <a:lnSpc>
                <a:spcPct val="100000"/>
              </a:lnSpc>
              <a:spcBef>
                <a:spcPts val="0"/>
              </a:spcBef>
              <a:spcAft>
                <a:spcPts val="0"/>
              </a:spcAft>
              <a:buClrTx/>
              <a:buSzTx/>
              <a:buFontTx/>
              <a:buNone/>
              <a:tabLst/>
              <a:defRPr/>
            </a:pPr>
            <a:r>
              <a:rPr lang="en-GB" sz="1200" kern="0" dirty="0">
                <a:solidFill>
                  <a:prstClr val="white"/>
                </a:solidFill>
                <a:latin typeface="Segoe UI"/>
              </a:rPr>
              <a:t>Ease of use and affordability</a:t>
            </a:r>
            <a:endParaRPr kumimoji="0" lang="en-GB" sz="1200" b="0" i="0" u="none" strike="noStrike" kern="0" cap="none" spc="0" normalizeH="0" baseline="0" noProof="0" dirty="0">
              <a:ln>
                <a:noFill/>
              </a:ln>
              <a:solidFill>
                <a:prstClr val="white"/>
              </a:solidFill>
              <a:effectLst/>
              <a:uLnTx/>
              <a:uFillTx/>
              <a:latin typeface="Segoe UI"/>
              <a:ea typeface="+mn-ea"/>
              <a:cs typeface="+mn-cs"/>
            </a:endParaRPr>
          </a:p>
        </p:txBody>
      </p:sp>
      <p:sp>
        <p:nvSpPr>
          <p:cNvPr id="146" name="Rectangle 145"/>
          <p:cNvSpPr/>
          <p:nvPr>
            <p:custDataLst>
              <p:tags r:id="rId16"/>
            </p:custDataLst>
          </p:nvPr>
        </p:nvSpPr>
        <p:spPr>
          <a:xfrm>
            <a:off x="2363728" y="2946707"/>
            <a:ext cx="1545336" cy="731520"/>
          </a:xfrm>
          <a:prstGeom prst="rect">
            <a:avLst/>
          </a:prstGeom>
          <a:solidFill>
            <a:schemeClr val="accent1"/>
          </a:solidFill>
          <a:ln w="25400" cap="flat" cmpd="sng" algn="ctr">
            <a:noFill/>
            <a:prstDash val="solid"/>
          </a:ln>
          <a:effectLst/>
        </p:spPr>
        <p:txBody>
          <a:bodyPr lIns="91440" tIns="45720" rIns="91440" bIns="45720" rtlCol="0" anchor="ctr">
            <a:noAutofit/>
          </a:bodyPr>
          <a:lstStyle/>
          <a:p>
            <a:pPr marL="0" marR="0" lvl="0" indent="0" algn="l" defTabSz="788730" rtl="0" eaLnBrk="1" fontAlgn="auto" latinLnBrk="0" hangingPunct="1">
              <a:lnSpc>
                <a:spcPct val="100000"/>
              </a:lnSpc>
              <a:spcBef>
                <a:spcPts val="0"/>
              </a:spcBef>
              <a:spcAft>
                <a:spcPts val="0"/>
              </a:spcAft>
              <a:buClrTx/>
              <a:buSzTx/>
              <a:buFontTx/>
              <a:buNone/>
              <a:tabLst/>
              <a:defRPr/>
            </a:pPr>
            <a:r>
              <a:rPr lang="en-GB" sz="1200" kern="0" dirty="0">
                <a:solidFill>
                  <a:prstClr val="white"/>
                </a:solidFill>
                <a:latin typeface="Segoe UI"/>
              </a:rPr>
              <a:t>Increase assembly precision and employee productivity</a:t>
            </a:r>
            <a:endParaRPr kumimoji="0" lang="en-GB" sz="1200" b="0" i="0" u="none" strike="noStrike" kern="0" cap="none" spc="0" normalizeH="0" baseline="0" noProof="0" dirty="0">
              <a:ln>
                <a:noFill/>
              </a:ln>
              <a:solidFill>
                <a:prstClr val="white"/>
              </a:solidFill>
              <a:effectLst/>
              <a:uLnTx/>
              <a:uFillTx/>
              <a:latin typeface="Segoe UI"/>
              <a:ea typeface="+mn-ea"/>
              <a:cs typeface="+mn-cs"/>
            </a:endParaRPr>
          </a:p>
        </p:txBody>
      </p:sp>
      <p:sp>
        <p:nvSpPr>
          <p:cNvPr id="187" name="Rectangle 186"/>
          <p:cNvSpPr/>
          <p:nvPr>
            <p:custDataLst>
              <p:tags r:id="rId17"/>
            </p:custDataLst>
          </p:nvPr>
        </p:nvSpPr>
        <p:spPr>
          <a:xfrm>
            <a:off x="4317443" y="2150684"/>
            <a:ext cx="1545336" cy="4560174"/>
          </a:xfrm>
          <a:prstGeom prst="rect">
            <a:avLst/>
          </a:prstGeom>
          <a:solidFill>
            <a:schemeClr val="bg1">
              <a:lumMod val="95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1217693" rtl="0" eaLnBrk="1" fontAlgn="auto" latinLnBrk="0" hangingPunct="1">
              <a:lnSpc>
                <a:spcPct val="100000"/>
              </a:lnSpc>
              <a:spcBef>
                <a:spcPts val="0"/>
              </a:spcBef>
              <a:spcAft>
                <a:spcPts val="0"/>
              </a:spcAft>
              <a:buClrTx/>
              <a:buSzTx/>
              <a:buFontTx/>
              <a:buNone/>
              <a:tabLst/>
              <a:defRPr/>
            </a:pPr>
            <a:endParaRPr kumimoji="0" lang="en-US" sz="1899" b="0" i="0" u="none" strike="noStrike" kern="0" cap="none" spc="0" normalizeH="0" baseline="0" noProof="0" err="1">
              <a:ln>
                <a:noFill/>
              </a:ln>
              <a:solidFill>
                <a:srgbClr val="FFFFFF"/>
              </a:solidFill>
              <a:effectLst/>
              <a:uLnTx/>
              <a:uFillTx/>
              <a:latin typeface="Segoe UI"/>
              <a:ea typeface="+mn-ea"/>
              <a:cs typeface="+mn-cs"/>
            </a:endParaRPr>
          </a:p>
        </p:txBody>
      </p:sp>
      <p:sp>
        <p:nvSpPr>
          <p:cNvPr id="188" name="Rectangle 187"/>
          <p:cNvSpPr/>
          <p:nvPr>
            <p:custDataLst>
              <p:tags r:id="rId18"/>
            </p:custDataLst>
          </p:nvPr>
        </p:nvSpPr>
        <p:spPr>
          <a:xfrm>
            <a:off x="4317443" y="1295400"/>
            <a:ext cx="1545336" cy="622300"/>
          </a:xfrm>
          <a:prstGeom prst="rect">
            <a:avLst/>
          </a:prstGeom>
          <a:solidFill>
            <a:schemeClr val="accent2"/>
          </a:solidFill>
          <a:ln w="25400" cap="flat" cmpd="sng" algn="ctr">
            <a:noFill/>
            <a:prstDash val="solid"/>
          </a:ln>
          <a:effectLst/>
        </p:spPr>
        <p:txBody>
          <a:bodyPr lIns="91440" tIns="45720" rIns="91440" bIns="45720" rtlCol="0" anchor="ctr">
            <a:noAutofit/>
          </a:bodyPr>
          <a:lstStyle/>
          <a:p>
            <a:pPr marL="0" marR="0" lvl="0" indent="0" algn="ctr" defTabSz="78873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Business Changes</a:t>
            </a:r>
          </a:p>
        </p:txBody>
      </p:sp>
      <p:sp>
        <p:nvSpPr>
          <p:cNvPr id="189" name="Rectangle 188"/>
          <p:cNvSpPr/>
          <p:nvPr>
            <p:custDataLst>
              <p:tags r:id="rId19"/>
            </p:custDataLst>
          </p:nvPr>
        </p:nvSpPr>
        <p:spPr>
          <a:xfrm>
            <a:off x="4317443" y="3180522"/>
            <a:ext cx="1545336" cy="1042553"/>
          </a:xfrm>
          <a:prstGeom prst="rect">
            <a:avLst/>
          </a:prstGeom>
          <a:solidFill>
            <a:schemeClr val="accent2"/>
          </a:solidFill>
          <a:ln w="25400" cap="flat" cmpd="sng" algn="ctr">
            <a:noFill/>
            <a:prstDash val="solid"/>
          </a:ln>
          <a:effectLst/>
        </p:spPr>
        <p:txBody>
          <a:bodyPr lIns="91440" tIns="45720" rIns="91440" bIns="45720" rtlCol="0" anchor="ctr">
            <a:noAutofit/>
          </a:bodyPr>
          <a:lstStyle/>
          <a:p>
            <a:pPr marL="0" marR="0" lvl="0" indent="0" algn="l" defTabSz="914080" rtl="0" eaLnBrk="1" fontAlgn="auto" latinLnBrk="0" hangingPunct="1">
              <a:lnSpc>
                <a:spcPct val="100000"/>
              </a:lnSpc>
              <a:spcBef>
                <a:spcPts val="267"/>
              </a:spcBef>
              <a:spcAft>
                <a:spcPts val="0"/>
              </a:spcAft>
              <a:buClrTx/>
              <a:buSzTx/>
              <a:buFontTx/>
              <a:buNone/>
              <a:tabLst/>
              <a:defRPr/>
            </a:pPr>
            <a:r>
              <a:rPr lang="en-US" sz="1200" kern="0" dirty="0">
                <a:solidFill>
                  <a:srgbClr val="505050"/>
                </a:solidFill>
                <a:latin typeface="Segoe UI"/>
              </a:rPr>
              <a:t>F</a:t>
            </a:r>
            <a:r>
              <a:rPr kumimoji="0" lang="en-US" sz="1200" b="0" i="0" u="none" strike="noStrike" kern="0" cap="none" spc="0" normalizeH="0" baseline="0" noProof="0" dirty="0" err="1">
                <a:ln>
                  <a:noFill/>
                </a:ln>
                <a:solidFill>
                  <a:srgbClr val="505050"/>
                </a:solidFill>
                <a:effectLst/>
                <a:uLnTx/>
                <a:uFillTx/>
                <a:latin typeface="Segoe UI"/>
                <a:ea typeface="+mn-ea"/>
                <a:cs typeface="+mn-cs"/>
              </a:rPr>
              <a:t>ocus</a:t>
            </a:r>
            <a:r>
              <a:rPr kumimoji="0" lang="en-US" sz="1200" b="0" i="0" u="none" strike="noStrike" kern="0" cap="none" spc="0" normalizeH="0" baseline="0" noProof="0" dirty="0">
                <a:ln>
                  <a:noFill/>
                </a:ln>
                <a:solidFill>
                  <a:srgbClr val="505050"/>
                </a:solidFill>
                <a:effectLst/>
                <a:uLnTx/>
                <a:uFillTx/>
                <a:latin typeface="Segoe UI"/>
                <a:ea typeface="+mn-ea"/>
                <a:cs typeface="+mn-cs"/>
              </a:rPr>
              <a:t> on safety and regulation</a:t>
            </a:r>
          </a:p>
        </p:txBody>
      </p:sp>
      <p:sp>
        <p:nvSpPr>
          <p:cNvPr id="190" name="Rectangle 189"/>
          <p:cNvSpPr/>
          <p:nvPr>
            <p:custDataLst>
              <p:tags r:id="rId20"/>
            </p:custDataLst>
          </p:nvPr>
        </p:nvSpPr>
        <p:spPr>
          <a:xfrm>
            <a:off x="4317443" y="2039339"/>
            <a:ext cx="1545336" cy="894692"/>
          </a:xfrm>
          <a:prstGeom prst="rect">
            <a:avLst/>
          </a:prstGeom>
          <a:solidFill>
            <a:schemeClr val="accent2"/>
          </a:solidFill>
          <a:ln w="25400" cap="flat" cmpd="sng" algn="ctr">
            <a:noFill/>
            <a:prstDash val="solid"/>
          </a:ln>
          <a:effectLst/>
        </p:spPr>
        <p:txBody>
          <a:bodyPr lIns="91440" tIns="45720" rIns="91440" bIns="45720" rtlCol="0" anchor="ctr">
            <a:noAutofit/>
          </a:bodyPr>
          <a:lstStyle/>
          <a:p>
            <a:pPr marL="0" marR="0" lvl="0" indent="0" algn="l" defTabSz="914080" rtl="0" eaLnBrk="1" fontAlgn="auto" latinLnBrk="0" hangingPunct="1">
              <a:lnSpc>
                <a:spcPct val="100000"/>
              </a:lnSpc>
              <a:spcBef>
                <a:spcPts val="267"/>
              </a:spcBef>
              <a:spcAft>
                <a:spcPts val="0"/>
              </a:spcAft>
              <a:buClrTx/>
              <a:buSzTx/>
              <a:buFontTx/>
              <a:buNone/>
              <a:tabLst/>
              <a:defRPr/>
            </a:pPr>
            <a:r>
              <a:rPr lang="en-US" sz="1200" kern="0" dirty="0">
                <a:solidFill>
                  <a:srgbClr val="505050"/>
                </a:solidFill>
                <a:latin typeface="Segoe UI"/>
              </a:rPr>
              <a:t>Operational efficiencies through i</a:t>
            </a:r>
            <a:r>
              <a:rPr kumimoji="0" lang="en-US" sz="1200" b="0" i="0" u="none" strike="noStrike" kern="0" cap="none" spc="0" normalizeH="0" baseline="0" noProof="0" dirty="0" err="1">
                <a:ln>
                  <a:noFill/>
                </a:ln>
                <a:solidFill>
                  <a:srgbClr val="505050"/>
                </a:solidFill>
                <a:effectLst/>
                <a:uLnTx/>
                <a:uFillTx/>
                <a:latin typeface="Segoe UI"/>
                <a:ea typeface="+mn-ea"/>
                <a:cs typeface="+mn-cs"/>
              </a:rPr>
              <a:t>nnovation</a:t>
            </a:r>
            <a:endParaRPr kumimoji="0" lang="en-US" sz="1200" b="0" i="0" u="none" strike="noStrike" kern="0" cap="none" spc="0" normalizeH="0" baseline="0" noProof="0" dirty="0">
              <a:ln>
                <a:noFill/>
              </a:ln>
              <a:solidFill>
                <a:srgbClr val="505050"/>
              </a:solidFill>
              <a:effectLst/>
              <a:uLnTx/>
              <a:uFillTx/>
              <a:latin typeface="Segoe UI"/>
              <a:ea typeface="+mn-ea"/>
              <a:cs typeface="+mn-cs"/>
            </a:endParaRPr>
          </a:p>
        </p:txBody>
      </p:sp>
      <p:sp>
        <p:nvSpPr>
          <p:cNvPr id="193" name="Rectangle 192"/>
          <p:cNvSpPr/>
          <p:nvPr>
            <p:custDataLst>
              <p:tags r:id="rId21"/>
            </p:custDataLst>
          </p:nvPr>
        </p:nvSpPr>
        <p:spPr>
          <a:xfrm>
            <a:off x="8363205" y="1917700"/>
            <a:ext cx="1545336" cy="4560174"/>
          </a:xfrm>
          <a:prstGeom prst="rect">
            <a:avLst/>
          </a:prstGeom>
          <a:solidFill>
            <a:schemeClr val="bg1">
              <a:lumMod val="95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1217693" rtl="0" eaLnBrk="1" fontAlgn="auto" latinLnBrk="0" hangingPunct="1">
              <a:lnSpc>
                <a:spcPct val="100000"/>
              </a:lnSpc>
              <a:spcBef>
                <a:spcPts val="0"/>
              </a:spcBef>
              <a:spcAft>
                <a:spcPts val="0"/>
              </a:spcAft>
              <a:buClrTx/>
              <a:buSzTx/>
              <a:buFontTx/>
              <a:buNone/>
              <a:tabLst/>
              <a:defRPr/>
            </a:pPr>
            <a:endParaRPr kumimoji="0" lang="en-US" sz="1899" b="0" i="0" u="none" strike="noStrike" kern="0" cap="none" spc="0" normalizeH="0" baseline="0" noProof="0" err="1">
              <a:ln>
                <a:noFill/>
              </a:ln>
              <a:solidFill>
                <a:srgbClr val="FFFFFF"/>
              </a:solidFill>
              <a:effectLst/>
              <a:uLnTx/>
              <a:uFillTx/>
              <a:latin typeface="Segoe UI"/>
              <a:ea typeface="+mn-ea"/>
              <a:cs typeface="+mn-cs"/>
            </a:endParaRPr>
          </a:p>
        </p:txBody>
      </p:sp>
      <p:sp>
        <p:nvSpPr>
          <p:cNvPr id="194" name="Rectangle 193"/>
          <p:cNvSpPr/>
          <p:nvPr>
            <p:custDataLst>
              <p:tags r:id="rId22"/>
            </p:custDataLst>
          </p:nvPr>
        </p:nvSpPr>
        <p:spPr>
          <a:xfrm>
            <a:off x="8363205" y="1295400"/>
            <a:ext cx="1545336" cy="622300"/>
          </a:xfrm>
          <a:prstGeom prst="rect">
            <a:avLst/>
          </a:prstGeom>
          <a:solidFill>
            <a:schemeClr val="accent4"/>
          </a:solidFill>
          <a:ln w="25400" cap="flat" cmpd="sng" algn="ctr">
            <a:noFill/>
            <a:prstDash val="solid"/>
          </a:ln>
          <a:effectLst/>
        </p:spPr>
        <p:txBody>
          <a:bodyPr lIns="91440" tIns="45720" rIns="91440" bIns="45720" rtlCol="0" anchor="ctr">
            <a:noAutofit/>
          </a:bodyPr>
          <a:lstStyle/>
          <a:p>
            <a:pPr marL="0" marR="0" lvl="0" indent="0" algn="ctr" defTabSz="78873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Investment Objectives</a:t>
            </a:r>
            <a:endParaRPr kumimoji="0" lang="en-CA" sz="14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p:txBody>
      </p:sp>
      <p:sp>
        <p:nvSpPr>
          <p:cNvPr id="195" name="Rectangle 194"/>
          <p:cNvSpPr/>
          <p:nvPr>
            <p:custDataLst>
              <p:tags r:id="rId23"/>
            </p:custDataLst>
          </p:nvPr>
        </p:nvSpPr>
        <p:spPr>
          <a:xfrm>
            <a:off x="8363205" y="3405359"/>
            <a:ext cx="1545336" cy="830997"/>
          </a:xfrm>
          <a:prstGeom prst="rect">
            <a:avLst/>
          </a:prstGeom>
          <a:solidFill>
            <a:schemeClr val="accent4"/>
          </a:solidFill>
          <a:ln w="25400" cap="flat" cmpd="sng" algn="ctr">
            <a:noFill/>
            <a:prstDash val="solid"/>
          </a:ln>
          <a:effectLst/>
        </p:spPr>
        <p:txBody>
          <a:bodyPr lIns="91440" tIns="45720" rIns="91440" bIns="45720" rtlCol="0" anchor="ctr">
            <a:noAutofit/>
          </a:bodyPr>
          <a:lstStyle/>
          <a:p>
            <a:pPr lvl="0" defTabSz="788730">
              <a:defRPr/>
            </a:pPr>
            <a:r>
              <a:rPr lang="en-CA" sz="1200" kern="0" dirty="0">
                <a:solidFill>
                  <a:prstClr val="white"/>
                </a:solidFill>
              </a:rPr>
              <a:t>Smart manufacturing</a:t>
            </a:r>
            <a:endParaRPr kumimoji="0" lang="en-US" sz="1200" b="0" i="0" u="none" strike="noStrike" kern="0" cap="none" spc="0" normalizeH="0" baseline="0" noProof="0" dirty="0">
              <a:ln>
                <a:noFill/>
              </a:ln>
              <a:solidFill>
                <a:prstClr val="white"/>
              </a:solidFill>
              <a:effectLst/>
              <a:uLnTx/>
              <a:uFillTx/>
              <a:latin typeface="Segoe UI"/>
              <a:ea typeface="+mn-ea"/>
              <a:cs typeface="+mn-cs"/>
            </a:endParaRPr>
          </a:p>
        </p:txBody>
      </p:sp>
      <p:sp>
        <p:nvSpPr>
          <p:cNvPr id="196" name="Rectangle 195"/>
          <p:cNvSpPr/>
          <p:nvPr>
            <p:custDataLst>
              <p:tags r:id="rId24"/>
            </p:custDataLst>
          </p:nvPr>
        </p:nvSpPr>
        <p:spPr>
          <a:xfrm>
            <a:off x="8363205" y="2039338"/>
            <a:ext cx="1545336" cy="1015663"/>
          </a:xfrm>
          <a:prstGeom prst="rect">
            <a:avLst/>
          </a:prstGeom>
          <a:solidFill>
            <a:schemeClr val="accent4"/>
          </a:solidFill>
          <a:ln w="25400" cap="flat" cmpd="sng" algn="ctr">
            <a:noFill/>
            <a:prstDash val="solid"/>
          </a:ln>
          <a:effectLst/>
        </p:spPr>
        <p:txBody>
          <a:bodyPr lIns="91440" tIns="45720" rIns="91440" bIns="45720" rtlCol="0" anchor="ctr">
            <a:noAutofit/>
          </a:bodyPr>
          <a:lstStyle/>
          <a:p>
            <a:pPr lvl="0" algn="ctr" defTabSz="591836">
              <a:lnSpc>
                <a:spcPct val="110000"/>
              </a:lnSpc>
              <a:spcBef>
                <a:spcPts val="100"/>
              </a:spcBef>
              <a:defRPr/>
            </a:pPr>
            <a:r>
              <a:rPr lang="en-US" sz="1200" kern="0" dirty="0">
                <a:solidFill>
                  <a:prstClr val="white"/>
                </a:solidFill>
              </a:rPr>
              <a:t>Improve employee productivity, health and safety</a:t>
            </a:r>
            <a:endParaRPr lang="en-GB" sz="1200" kern="0" dirty="0">
              <a:solidFill>
                <a:prstClr val="white"/>
              </a:solidFill>
            </a:endParaRPr>
          </a:p>
        </p:txBody>
      </p:sp>
      <p:sp>
        <p:nvSpPr>
          <p:cNvPr id="197" name="Rectangle 196"/>
          <p:cNvSpPr/>
          <p:nvPr>
            <p:custDataLst>
              <p:tags r:id="rId25"/>
            </p:custDataLst>
          </p:nvPr>
        </p:nvSpPr>
        <p:spPr>
          <a:xfrm>
            <a:off x="8363205" y="4586714"/>
            <a:ext cx="1545336" cy="830997"/>
          </a:xfrm>
          <a:prstGeom prst="rect">
            <a:avLst/>
          </a:prstGeom>
          <a:solidFill>
            <a:schemeClr val="accent4"/>
          </a:solidFill>
          <a:ln w="25400" cap="flat" cmpd="sng" algn="ctr">
            <a:noFill/>
            <a:prstDash val="solid"/>
          </a:ln>
          <a:effectLst/>
        </p:spPr>
        <p:txBody>
          <a:bodyPr lIns="91440" tIns="45720" rIns="91440" bIns="45720" rtlCol="0" anchor="ctr">
            <a:noAutofit/>
          </a:bodyPr>
          <a:lstStyle/>
          <a:p>
            <a:pPr algn="ctr" defTabSz="1051946"/>
            <a:r>
              <a:rPr lang="en-IN" sz="1200" kern="0" dirty="0">
                <a:solidFill>
                  <a:prstClr val="white"/>
                </a:solidFill>
                <a:cs typeface="Segoe UI Semibold" panose="020B0702040204020203" pitchFamily="34" charset="0"/>
              </a:rPr>
              <a:t>Delivery of the digital mobile strategy</a:t>
            </a:r>
          </a:p>
        </p:txBody>
      </p:sp>
      <p:cxnSp>
        <p:nvCxnSpPr>
          <p:cNvPr id="199" name="Straight Connector 198"/>
          <p:cNvCxnSpPr>
            <a:stCxn id="138" idx="3"/>
            <a:endCxn id="144" idx="1"/>
          </p:cNvCxnSpPr>
          <p:nvPr/>
        </p:nvCxnSpPr>
        <p:spPr>
          <a:xfrm>
            <a:off x="1848549" y="2270798"/>
            <a:ext cx="515179" cy="134300"/>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00" name="Straight Connector 199"/>
          <p:cNvCxnSpPr>
            <a:cxnSpLocks/>
            <a:stCxn id="139" idx="3"/>
          </p:cNvCxnSpPr>
          <p:nvPr/>
        </p:nvCxnSpPr>
        <p:spPr>
          <a:xfrm flipV="1">
            <a:off x="1848549" y="3315983"/>
            <a:ext cx="515179" cy="248702"/>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01" name="Straight Connector 200"/>
          <p:cNvCxnSpPr>
            <a:cxnSpLocks/>
            <a:stCxn id="144" idx="3"/>
            <a:endCxn id="190" idx="1"/>
          </p:cNvCxnSpPr>
          <p:nvPr/>
        </p:nvCxnSpPr>
        <p:spPr>
          <a:xfrm>
            <a:off x="3909064" y="2405098"/>
            <a:ext cx="408379" cy="81587"/>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02" name="Straight Connector 201"/>
          <p:cNvCxnSpPr>
            <a:cxnSpLocks/>
            <a:stCxn id="144" idx="3"/>
            <a:endCxn id="189" idx="1"/>
          </p:cNvCxnSpPr>
          <p:nvPr/>
        </p:nvCxnSpPr>
        <p:spPr>
          <a:xfrm>
            <a:off x="3909064" y="2405098"/>
            <a:ext cx="408379" cy="1296701"/>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03" name="Straight Connector 202"/>
          <p:cNvCxnSpPr>
            <a:cxnSpLocks/>
            <a:endCxn id="189" idx="1"/>
          </p:cNvCxnSpPr>
          <p:nvPr/>
        </p:nvCxnSpPr>
        <p:spPr>
          <a:xfrm>
            <a:off x="3909064" y="3315983"/>
            <a:ext cx="408379" cy="385816"/>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04" name="Straight Connector 203"/>
          <p:cNvCxnSpPr>
            <a:cxnSpLocks/>
            <a:stCxn id="145" idx="3"/>
            <a:endCxn id="190" idx="1"/>
          </p:cNvCxnSpPr>
          <p:nvPr/>
        </p:nvCxnSpPr>
        <p:spPr>
          <a:xfrm flipV="1">
            <a:off x="3909064" y="2486685"/>
            <a:ext cx="408379" cy="1744621"/>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07" name="Straight Connector 206"/>
          <p:cNvCxnSpPr>
            <a:cxnSpLocks/>
            <a:stCxn id="190" idx="3"/>
            <a:endCxn id="93" idx="1"/>
          </p:cNvCxnSpPr>
          <p:nvPr/>
        </p:nvCxnSpPr>
        <p:spPr>
          <a:xfrm>
            <a:off x="5862779" y="2486685"/>
            <a:ext cx="466230" cy="60485"/>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08" name="Straight Connector 207"/>
          <p:cNvCxnSpPr>
            <a:cxnSpLocks/>
            <a:stCxn id="190" idx="3"/>
            <a:endCxn id="95" idx="1"/>
          </p:cNvCxnSpPr>
          <p:nvPr/>
        </p:nvCxnSpPr>
        <p:spPr>
          <a:xfrm>
            <a:off x="5862779" y="2486685"/>
            <a:ext cx="466230" cy="1334173"/>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09" name="Straight Connector 208"/>
          <p:cNvCxnSpPr>
            <a:cxnSpLocks/>
            <a:stCxn id="189" idx="3"/>
            <a:endCxn id="122" idx="1"/>
          </p:cNvCxnSpPr>
          <p:nvPr/>
        </p:nvCxnSpPr>
        <p:spPr>
          <a:xfrm>
            <a:off x="5862779" y="3701799"/>
            <a:ext cx="466230" cy="2297102"/>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10" name="Straight Connector 209"/>
          <p:cNvCxnSpPr>
            <a:cxnSpLocks/>
            <a:stCxn id="189" idx="3"/>
            <a:endCxn id="94" idx="1"/>
          </p:cNvCxnSpPr>
          <p:nvPr/>
        </p:nvCxnSpPr>
        <p:spPr>
          <a:xfrm>
            <a:off x="5862779" y="3701799"/>
            <a:ext cx="466230" cy="1208081"/>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14" name="Straight Connector 213"/>
          <p:cNvCxnSpPr>
            <a:cxnSpLocks/>
            <a:stCxn id="66" idx="3"/>
            <a:endCxn id="94" idx="1"/>
          </p:cNvCxnSpPr>
          <p:nvPr/>
        </p:nvCxnSpPr>
        <p:spPr>
          <a:xfrm flipV="1">
            <a:off x="5861270" y="4909880"/>
            <a:ext cx="467739" cy="130323"/>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16" name="Straight Connector 215"/>
          <p:cNvCxnSpPr>
            <a:stCxn id="196" idx="1"/>
            <a:endCxn id="93" idx="3"/>
          </p:cNvCxnSpPr>
          <p:nvPr/>
        </p:nvCxnSpPr>
        <p:spPr>
          <a:xfrm flipH="1">
            <a:off x="7874345" y="2547170"/>
            <a:ext cx="488860" cy="0"/>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17" name="Straight Connector 216"/>
          <p:cNvCxnSpPr>
            <a:stCxn id="196" idx="1"/>
            <a:endCxn id="94" idx="3"/>
          </p:cNvCxnSpPr>
          <p:nvPr/>
        </p:nvCxnSpPr>
        <p:spPr>
          <a:xfrm flipH="1">
            <a:off x="7874345" y="2547170"/>
            <a:ext cx="488860" cy="2362710"/>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18" name="Straight Connector 217"/>
          <p:cNvCxnSpPr>
            <a:stCxn id="196" idx="1"/>
            <a:endCxn id="122" idx="3"/>
          </p:cNvCxnSpPr>
          <p:nvPr/>
        </p:nvCxnSpPr>
        <p:spPr>
          <a:xfrm flipH="1">
            <a:off x="7874345" y="2547170"/>
            <a:ext cx="488860" cy="3451731"/>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20" name="Straight Connector 219"/>
          <p:cNvCxnSpPr>
            <a:cxnSpLocks/>
            <a:stCxn id="195" idx="1"/>
            <a:endCxn id="93" idx="3"/>
          </p:cNvCxnSpPr>
          <p:nvPr/>
        </p:nvCxnSpPr>
        <p:spPr>
          <a:xfrm flipH="1" flipV="1">
            <a:off x="7874345" y="2547170"/>
            <a:ext cx="488860" cy="1273688"/>
          </a:xfrm>
          <a:prstGeom prst="line">
            <a:avLst/>
          </a:prstGeom>
          <a:noFill/>
          <a:ln w="12700" cap="flat" cmpd="sng" algn="ctr">
            <a:solidFill>
              <a:srgbClr val="FFFFFF">
                <a:lumMod val="65000"/>
              </a:srgbClr>
            </a:solidFill>
            <a:prstDash val="solid"/>
            <a:headEnd type="none"/>
            <a:tailEnd type="triangle" w="med" len="med"/>
          </a:ln>
          <a:effectLst/>
        </p:spPr>
      </p:cxnSp>
      <p:sp>
        <p:nvSpPr>
          <p:cNvPr id="224" name="Rectangle 223"/>
          <p:cNvSpPr/>
          <p:nvPr>
            <p:custDataLst>
              <p:tags r:id="rId26"/>
            </p:custDataLst>
          </p:nvPr>
        </p:nvSpPr>
        <p:spPr>
          <a:xfrm>
            <a:off x="10340277" y="1917700"/>
            <a:ext cx="1545336" cy="4560174"/>
          </a:xfrm>
          <a:prstGeom prst="rect">
            <a:avLst/>
          </a:prstGeom>
          <a:solidFill>
            <a:schemeClr val="bg1">
              <a:lumMod val="95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1217693" rtl="0" eaLnBrk="1" fontAlgn="auto" latinLnBrk="0" hangingPunct="1">
              <a:lnSpc>
                <a:spcPct val="100000"/>
              </a:lnSpc>
              <a:spcBef>
                <a:spcPts val="0"/>
              </a:spcBef>
              <a:spcAft>
                <a:spcPts val="0"/>
              </a:spcAft>
              <a:buClrTx/>
              <a:buSzTx/>
              <a:buFontTx/>
              <a:buNone/>
              <a:tabLst/>
              <a:defRPr/>
            </a:pPr>
            <a:endParaRPr kumimoji="0" lang="en-US" sz="1899" b="0" i="0" u="none" strike="noStrike" kern="0" cap="none" spc="0" normalizeH="0" baseline="0" noProof="0" err="1">
              <a:ln>
                <a:noFill/>
              </a:ln>
              <a:solidFill>
                <a:prstClr val="white"/>
              </a:solidFill>
              <a:effectLst/>
              <a:uLnTx/>
              <a:uFillTx/>
              <a:latin typeface="Segoe UI"/>
              <a:ea typeface="+mn-ea"/>
              <a:cs typeface="+mn-cs"/>
            </a:endParaRPr>
          </a:p>
        </p:txBody>
      </p:sp>
      <p:sp>
        <p:nvSpPr>
          <p:cNvPr id="225" name="Rectangle 224"/>
          <p:cNvSpPr/>
          <p:nvPr>
            <p:custDataLst>
              <p:tags r:id="rId27"/>
            </p:custDataLst>
          </p:nvPr>
        </p:nvSpPr>
        <p:spPr>
          <a:xfrm>
            <a:off x="10340277" y="1295400"/>
            <a:ext cx="1545336" cy="622300"/>
          </a:xfrm>
          <a:prstGeom prst="rect">
            <a:avLst/>
          </a:prstGeom>
          <a:solidFill>
            <a:schemeClr val="accent5"/>
          </a:solidFill>
          <a:ln w="25400" cap="flat" cmpd="sng" algn="ctr">
            <a:noFill/>
            <a:prstDash val="solid"/>
          </a:ln>
          <a:effectLst/>
        </p:spPr>
        <p:txBody>
          <a:bodyPr lIns="91440" tIns="45720" rIns="91440" bIns="45720" rtlCol="0" anchor="ctr">
            <a:noAutofit/>
          </a:bodyPr>
          <a:lstStyle/>
          <a:p>
            <a:pPr marL="0" marR="0" lvl="0" indent="0" algn="ctr" defTabSz="78873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Business Drivers</a:t>
            </a:r>
          </a:p>
        </p:txBody>
      </p:sp>
      <p:sp>
        <p:nvSpPr>
          <p:cNvPr id="226" name="Rectangle 225"/>
          <p:cNvSpPr/>
          <p:nvPr>
            <p:custDataLst>
              <p:tags r:id="rId28"/>
            </p:custDataLst>
          </p:nvPr>
        </p:nvSpPr>
        <p:spPr>
          <a:xfrm>
            <a:off x="10340277" y="2047287"/>
            <a:ext cx="1545336" cy="822960"/>
          </a:xfrm>
          <a:prstGeom prst="rect">
            <a:avLst/>
          </a:prstGeom>
          <a:solidFill>
            <a:schemeClr val="accent5"/>
          </a:solidFill>
          <a:ln w="25400" cap="flat" cmpd="sng" algn="ctr">
            <a:noFill/>
            <a:prstDash val="solid"/>
          </a:ln>
          <a:effectLst/>
        </p:spPr>
        <p:txBody>
          <a:bodyPr lIns="91440" tIns="45720" rIns="91440" bIns="45720" rtlCol="0" anchor="ctr">
            <a:noAutofit/>
          </a:bodyPr>
          <a:lstStyle/>
          <a:p>
            <a:pPr lvl="0" defTabSz="591836">
              <a:lnSpc>
                <a:spcPct val="110000"/>
              </a:lnSpc>
              <a:spcBef>
                <a:spcPts val="100"/>
              </a:spcBef>
              <a:defRPr/>
            </a:pPr>
            <a:r>
              <a:rPr lang="en-US" sz="1200" kern="0" dirty="0">
                <a:solidFill>
                  <a:prstClr val="white"/>
                </a:solidFill>
              </a:rPr>
              <a:t>Increasing number of product variants</a:t>
            </a:r>
          </a:p>
        </p:txBody>
      </p:sp>
      <p:sp>
        <p:nvSpPr>
          <p:cNvPr id="227" name="Rectangle 226"/>
          <p:cNvSpPr/>
          <p:nvPr>
            <p:custDataLst>
              <p:tags r:id="rId29"/>
            </p:custDataLst>
          </p:nvPr>
        </p:nvSpPr>
        <p:spPr>
          <a:xfrm>
            <a:off x="10340277" y="4003610"/>
            <a:ext cx="1545336" cy="822960"/>
          </a:xfrm>
          <a:prstGeom prst="rect">
            <a:avLst/>
          </a:prstGeom>
          <a:solidFill>
            <a:schemeClr val="accent5"/>
          </a:solidFill>
          <a:ln w="25400" cap="flat" cmpd="sng" algn="ctr">
            <a:noFill/>
            <a:prstDash val="solid"/>
          </a:ln>
          <a:effectLst/>
        </p:spPr>
        <p:txBody>
          <a:bodyPr lIns="91440" tIns="45720" rIns="91440" bIns="45720" rtlCol="0" anchor="ctr">
            <a:noAutofit/>
          </a:bodyPr>
          <a:lstStyle/>
          <a:p>
            <a:pPr lvl="0" defTabSz="788730">
              <a:defRPr/>
            </a:pPr>
            <a:r>
              <a:rPr lang="en-US" sz="1200" kern="0" dirty="0">
                <a:solidFill>
                  <a:prstClr val="white"/>
                </a:solidFill>
              </a:rPr>
              <a:t>Shift from “mass production” towards “mass customization</a:t>
            </a:r>
            <a:endParaRPr kumimoji="0" lang="en-GB" sz="1200" b="0" i="0" u="none" strike="noStrike" kern="0" cap="none" spc="0" normalizeH="0" baseline="0" noProof="0" dirty="0">
              <a:ln>
                <a:noFill/>
              </a:ln>
              <a:solidFill>
                <a:prstClr val="white"/>
              </a:solidFill>
              <a:effectLst/>
              <a:uLnTx/>
              <a:uFillTx/>
              <a:latin typeface="Segoe UI"/>
              <a:ea typeface="+mn-ea"/>
              <a:cs typeface="+mn-cs"/>
            </a:endParaRPr>
          </a:p>
        </p:txBody>
      </p:sp>
      <p:sp>
        <p:nvSpPr>
          <p:cNvPr id="230" name="Rectangle 229"/>
          <p:cNvSpPr/>
          <p:nvPr>
            <p:custDataLst>
              <p:tags r:id="rId30"/>
            </p:custDataLst>
          </p:nvPr>
        </p:nvSpPr>
        <p:spPr>
          <a:xfrm>
            <a:off x="10340277" y="3025449"/>
            <a:ext cx="1545336" cy="822960"/>
          </a:xfrm>
          <a:prstGeom prst="rect">
            <a:avLst/>
          </a:prstGeom>
          <a:solidFill>
            <a:schemeClr val="accent5"/>
          </a:solidFill>
          <a:ln w="25400" cap="flat" cmpd="sng" algn="ctr">
            <a:noFill/>
            <a:prstDash val="solid"/>
          </a:ln>
          <a:effectLst/>
        </p:spPr>
        <p:txBody>
          <a:bodyPr lIns="91440" tIns="45720" rIns="91440" bIns="45720" rtlCol="0" anchor="ctr">
            <a:noAutofit/>
          </a:bodyPr>
          <a:lstStyle/>
          <a:p>
            <a:pPr lvl="0" defTabSz="591836">
              <a:lnSpc>
                <a:spcPct val="110000"/>
              </a:lnSpc>
              <a:spcBef>
                <a:spcPts val="100"/>
              </a:spcBef>
              <a:defRPr/>
            </a:pPr>
            <a:r>
              <a:rPr lang="en-US" sz="1200" kern="0" dirty="0">
                <a:solidFill>
                  <a:prstClr val="white"/>
                </a:solidFill>
              </a:rPr>
              <a:t>Decreasing product lifetime </a:t>
            </a:r>
            <a:endParaRPr lang="en-GB" sz="1200" kern="0" dirty="0">
              <a:solidFill>
                <a:prstClr val="white"/>
              </a:solidFill>
            </a:endParaRPr>
          </a:p>
        </p:txBody>
      </p:sp>
      <p:cxnSp>
        <p:nvCxnSpPr>
          <p:cNvPr id="234" name="Straight Connector 233"/>
          <p:cNvCxnSpPr>
            <a:cxnSpLocks/>
            <a:stCxn id="226" idx="1"/>
            <a:endCxn id="195" idx="3"/>
          </p:cNvCxnSpPr>
          <p:nvPr/>
        </p:nvCxnSpPr>
        <p:spPr>
          <a:xfrm flipH="1">
            <a:off x="9908541" y="2458767"/>
            <a:ext cx="431736" cy="1362091"/>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36" name="Straight Connector 235"/>
          <p:cNvCxnSpPr>
            <a:cxnSpLocks/>
            <a:stCxn id="230" idx="1"/>
            <a:endCxn id="195" idx="3"/>
          </p:cNvCxnSpPr>
          <p:nvPr/>
        </p:nvCxnSpPr>
        <p:spPr>
          <a:xfrm flipH="1">
            <a:off x="9908541" y="3436929"/>
            <a:ext cx="431736" cy="383929"/>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37" name="Straight Connector 236"/>
          <p:cNvCxnSpPr>
            <a:cxnSpLocks/>
            <a:stCxn id="230" idx="1"/>
            <a:endCxn id="197" idx="3"/>
          </p:cNvCxnSpPr>
          <p:nvPr/>
        </p:nvCxnSpPr>
        <p:spPr>
          <a:xfrm flipH="1">
            <a:off x="9908541" y="3436929"/>
            <a:ext cx="431736" cy="1565284"/>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38" name="Straight Connector 237"/>
          <p:cNvCxnSpPr>
            <a:cxnSpLocks/>
            <a:stCxn id="230" idx="1"/>
            <a:endCxn id="196" idx="3"/>
          </p:cNvCxnSpPr>
          <p:nvPr/>
        </p:nvCxnSpPr>
        <p:spPr>
          <a:xfrm flipH="1" flipV="1">
            <a:off x="9908541" y="2547170"/>
            <a:ext cx="431736" cy="889759"/>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44" name="Straight Connector 243"/>
          <p:cNvCxnSpPr>
            <a:cxnSpLocks/>
            <a:stCxn id="67" idx="3"/>
            <a:endCxn id="145" idx="1"/>
          </p:cNvCxnSpPr>
          <p:nvPr/>
        </p:nvCxnSpPr>
        <p:spPr>
          <a:xfrm flipV="1">
            <a:off x="1847040" y="4231306"/>
            <a:ext cx="516688" cy="1739333"/>
          </a:xfrm>
          <a:prstGeom prst="line">
            <a:avLst/>
          </a:prstGeom>
          <a:noFill/>
          <a:ln w="12700" cap="flat" cmpd="sng" algn="ctr">
            <a:solidFill>
              <a:srgbClr val="FFFFFF">
                <a:lumMod val="65000"/>
              </a:srgbClr>
            </a:solidFill>
            <a:prstDash val="solid"/>
            <a:headEnd type="none"/>
            <a:tailEnd type="triangle" w="med" len="med"/>
          </a:ln>
          <a:effectLst/>
        </p:spPr>
      </p:cxnSp>
      <p:pic>
        <p:nvPicPr>
          <p:cNvPr id="96" name="Picture 2" descr="https://www.eiseverywhere.com/file_uploads/9385c12ce72fb040cefcd7089e87571c_CranfieldUni_logo.jpg"/>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10433441" y="677100"/>
            <a:ext cx="1452172" cy="563443"/>
          </a:xfrm>
          <a:prstGeom prst="rect">
            <a:avLst/>
          </a:prstGeom>
          <a:noFill/>
          <a:extLst>
            <a:ext uri="{909E8E84-426E-40DD-AFC4-6F175D3DCCD1}">
              <a14:hiddenFill xmlns:a14="http://schemas.microsoft.com/office/drawing/2010/main">
                <a:solidFill>
                  <a:srgbClr val="FFFFFF"/>
                </a:solidFill>
              </a14:hiddenFill>
            </a:ext>
          </a:extLst>
        </p:spPr>
      </p:pic>
      <p:sp>
        <p:nvSpPr>
          <p:cNvPr id="97" name="Text Placeholder 6"/>
          <p:cNvSpPr txBox="1">
            <a:spLocks/>
          </p:cNvSpPr>
          <p:nvPr/>
        </p:nvSpPr>
        <p:spPr>
          <a:xfrm>
            <a:off x="6996545" y="142996"/>
            <a:ext cx="4889068" cy="456230"/>
          </a:xfrm>
          <a:prstGeom prst="rect">
            <a:avLst/>
          </a:prstGeom>
        </p:spPr>
        <p:txBody>
          <a:bodyPr vert="horz" lIns="320040" tIns="53325" rIns="53325" bIns="53325" rtlCol="0">
            <a:noAutofit/>
          </a:bodyPr>
          <a:lstStyle>
            <a:lvl1pPr marL="0" indent="0" algn="l" defTabSz="1088105" rtl="0" eaLnBrk="1" latinLnBrk="0" hangingPunct="1">
              <a:spcBef>
                <a:spcPts val="1800"/>
              </a:spcBef>
              <a:buClr>
                <a:srgbClr val="0072C6"/>
              </a:buClr>
              <a:buSzPct val="100000"/>
              <a:buFont typeface="Wingdings" pitchFamily="2" charset="2"/>
              <a:buNone/>
              <a:defRPr sz="2800" kern="1200">
                <a:solidFill>
                  <a:schemeClr val="tx1"/>
                </a:solidFill>
                <a:latin typeface="Segoe UI Light" pitchFamily="34" charset="0"/>
                <a:ea typeface="Segoe UI" pitchFamily="34" charset="0"/>
                <a:cs typeface="Segoe UI" pitchFamily="34" charset="0"/>
              </a:defRPr>
            </a:lvl1pPr>
            <a:lvl2pPr marL="281674" indent="0" algn="l" defTabSz="1088105" rtl="0" eaLnBrk="1" latinLnBrk="0" hangingPunct="1">
              <a:spcBef>
                <a:spcPct val="20000"/>
              </a:spcBef>
              <a:buFont typeface="Arial" pitchFamily="34" charset="0"/>
              <a:buNone/>
              <a:defRPr sz="1800" kern="1200">
                <a:solidFill>
                  <a:schemeClr val="tx1"/>
                </a:solidFill>
                <a:latin typeface="Segoe UI" pitchFamily="34" charset="0"/>
                <a:ea typeface="Segoe UI" pitchFamily="34" charset="0"/>
                <a:cs typeface="Segoe UI" pitchFamily="34" charset="0"/>
              </a:defRPr>
            </a:lvl2pPr>
            <a:lvl3pPr marL="588476" indent="0" algn="l" defTabSz="1088105" rtl="0" eaLnBrk="1" latinLnBrk="0" hangingPunct="1">
              <a:spcBef>
                <a:spcPct val="20000"/>
              </a:spcBef>
              <a:buFont typeface="Arial" pitchFamily="34" charset="0"/>
              <a:buNone/>
              <a:defRPr sz="1600" kern="1200">
                <a:solidFill>
                  <a:schemeClr val="tx1"/>
                </a:solidFill>
                <a:latin typeface="Segoe UI" pitchFamily="34" charset="0"/>
                <a:ea typeface="Segoe UI" pitchFamily="34" charset="0"/>
                <a:cs typeface="Segoe UI" pitchFamily="34" charset="0"/>
              </a:defRPr>
            </a:lvl3pPr>
            <a:lvl4pPr marL="87015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4pPr>
            <a:lvl5pPr marL="110554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marL="0" marR="0" lvl="0" indent="0" algn="l" defTabSz="1088105" rtl="0" eaLnBrk="1" fontAlgn="auto" latinLnBrk="0" hangingPunct="1">
              <a:lnSpc>
                <a:spcPct val="100000"/>
              </a:lnSpc>
              <a:spcBef>
                <a:spcPts val="1800"/>
              </a:spcBef>
              <a:spcAft>
                <a:spcPts val="0"/>
              </a:spcAft>
              <a:buClr>
                <a:srgbClr val="0072C6"/>
              </a:buClr>
              <a:buSzPct val="100000"/>
              <a:buFont typeface="Wingdings" pitchFamily="2" charset="2"/>
              <a:buNone/>
              <a:tabLst/>
              <a:defRPr/>
            </a:pPr>
            <a:r>
              <a:rPr kumimoji="0" lang="en-US" sz="2800" b="0" i="0" u="none" strike="noStrike" kern="1200" cap="none" spc="0" normalizeH="0" baseline="0" noProof="0">
                <a:ln>
                  <a:noFill/>
                </a:ln>
                <a:solidFill>
                  <a:srgbClr val="505050"/>
                </a:solidFill>
                <a:effectLst/>
                <a:uLnTx/>
                <a:uFillTx/>
                <a:latin typeface="Segoe UI Light" pitchFamily="34" charset="0"/>
                <a:ea typeface="Segoe UI" pitchFamily="34" charset="0"/>
                <a:cs typeface="Segoe UI" pitchFamily="34" charset="0"/>
              </a:rPr>
              <a:t>Benefits Dependency Network</a:t>
            </a:r>
          </a:p>
        </p:txBody>
      </p:sp>
      <p:cxnSp>
        <p:nvCxnSpPr>
          <p:cNvPr id="88" name="Straight Connector 87">
            <a:extLst>
              <a:ext uri="{FF2B5EF4-FFF2-40B4-BE49-F238E27FC236}">
                <a16:creationId xmlns:a16="http://schemas.microsoft.com/office/drawing/2014/main" id="{E5B20670-2607-4545-807D-33BC2A952ED1}"/>
              </a:ext>
            </a:extLst>
          </p:cNvPr>
          <p:cNvCxnSpPr>
            <a:cxnSpLocks/>
            <a:stCxn id="195" idx="1"/>
            <a:endCxn id="94" idx="3"/>
          </p:cNvCxnSpPr>
          <p:nvPr/>
        </p:nvCxnSpPr>
        <p:spPr>
          <a:xfrm flipH="1">
            <a:off x="7874345" y="3820858"/>
            <a:ext cx="488860" cy="1089022"/>
          </a:xfrm>
          <a:prstGeom prst="line">
            <a:avLst/>
          </a:prstGeom>
          <a:noFill/>
          <a:ln w="12700" cap="flat" cmpd="sng" algn="ctr">
            <a:solidFill>
              <a:srgbClr val="FFFFFF">
                <a:lumMod val="65000"/>
              </a:srgbClr>
            </a:solidFill>
            <a:prstDash val="solid"/>
            <a:headEnd type="none"/>
            <a:tailEnd type="triangle" w="med" len="med"/>
          </a:ln>
          <a:effectLst/>
        </p:spPr>
      </p:cxnSp>
      <p:cxnSp>
        <p:nvCxnSpPr>
          <p:cNvPr id="98" name="Straight Connector 97">
            <a:extLst>
              <a:ext uri="{FF2B5EF4-FFF2-40B4-BE49-F238E27FC236}">
                <a16:creationId xmlns:a16="http://schemas.microsoft.com/office/drawing/2014/main" id="{D3B017DC-3183-4746-ACD9-4E1F17A85773}"/>
              </a:ext>
            </a:extLst>
          </p:cNvPr>
          <p:cNvCxnSpPr>
            <a:cxnSpLocks/>
            <a:stCxn id="195" idx="1"/>
            <a:endCxn id="122" idx="3"/>
          </p:cNvCxnSpPr>
          <p:nvPr/>
        </p:nvCxnSpPr>
        <p:spPr>
          <a:xfrm flipH="1">
            <a:off x="7874345" y="3820858"/>
            <a:ext cx="488860" cy="2178043"/>
          </a:xfrm>
          <a:prstGeom prst="line">
            <a:avLst/>
          </a:prstGeom>
          <a:noFill/>
          <a:ln w="12700" cap="flat" cmpd="sng" algn="ctr">
            <a:solidFill>
              <a:srgbClr val="FFFFFF">
                <a:lumMod val="65000"/>
              </a:srgbClr>
            </a:solidFill>
            <a:prstDash val="solid"/>
            <a:headEnd type="none"/>
            <a:tailEnd type="triangle" w="med" len="med"/>
          </a:ln>
          <a:effectLst/>
        </p:spPr>
      </p:cxnSp>
      <p:cxnSp>
        <p:nvCxnSpPr>
          <p:cNvPr id="99" name="Straight Connector 98">
            <a:extLst>
              <a:ext uri="{FF2B5EF4-FFF2-40B4-BE49-F238E27FC236}">
                <a16:creationId xmlns:a16="http://schemas.microsoft.com/office/drawing/2014/main" id="{69A2D87B-FF09-45CA-84C7-F31765E22E8D}"/>
              </a:ext>
            </a:extLst>
          </p:cNvPr>
          <p:cNvCxnSpPr>
            <a:cxnSpLocks/>
            <a:stCxn id="197" idx="1"/>
            <a:endCxn id="95" idx="3"/>
          </p:cNvCxnSpPr>
          <p:nvPr/>
        </p:nvCxnSpPr>
        <p:spPr>
          <a:xfrm flipH="1" flipV="1">
            <a:off x="7874345" y="3820858"/>
            <a:ext cx="488860" cy="1181355"/>
          </a:xfrm>
          <a:prstGeom prst="line">
            <a:avLst/>
          </a:prstGeom>
          <a:noFill/>
          <a:ln w="12700" cap="flat" cmpd="sng" algn="ctr">
            <a:solidFill>
              <a:srgbClr val="FFFFFF">
                <a:lumMod val="65000"/>
              </a:srgbClr>
            </a:solidFill>
            <a:prstDash val="solid"/>
            <a:headEnd type="none"/>
            <a:tailEnd type="triangle" w="med" len="med"/>
          </a:ln>
          <a:effectLst/>
        </p:spPr>
      </p:cxnSp>
      <p:cxnSp>
        <p:nvCxnSpPr>
          <p:cNvPr id="100" name="Straight Connector 99">
            <a:extLst>
              <a:ext uri="{FF2B5EF4-FFF2-40B4-BE49-F238E27FC236}">
                <a16:creationId xmlns:a16="http://schemas.microsoft.com/office/drawing/2014/main" id="{F6D09148-2B54-40F5-A092-62ED3EA8D222}"/>
              </a:ext>
            </a:extLst>
          </p:cNvPr>
          <p:cNvCxnSpPr>
            <a:cxnSpLocks/>
            <a:stCxn id="197" idx="1"/>
            <a:endCxn id="122" idx="3"/>
          </p:cNvCxnSpPr>
          <p:nvPr/>
        </p:nvCxnSpPr>
        <p:spPr>
          <a:xfrm flipH="1">
            <a:off x="7874345" y="5002213"/>
            <a:ext cx="488860" cy="996688"/>
          </a:xfrm>
          <a:prstGeom prst="line">
            <a:avLst/>
          </a:prstGeom>
          <a:noFill/>
          <a:ln w="12700" cap="flat" cmpd="sng" algn="ctr">
            <a:solidFill>
              <a:srgbClr val="FFFFFF">
                <a:lumMod val="65000"/>
              </a:srgbClr>
            </a:solidFill>
            <a:prstDash val="solid"/>
            <a:headEnd type="none"/>
            <a:tailEnd type="triangle" w="med" len="med"/>
          </a:ln>
          <a:effectLst/>
        </p:spPr>
      </p:cxnSp>
      <p:sp>
        <p:nvSpPr>
          <p:cNvPr id="66" name="Rectangle 65">
            <a:extLst>
              <a:ext uri="{FF2B5EF4-FFF2-40B4-BE49-F238E27FC236}">
                <a16:creationId xmlns:a16="http://schemas.microsoft.com/office/drawing/2014/main" id="{F70E5F26-D4C8-4717-933D-1F4B51A66805}"/>
              </a:ext>
            </a:extLst>
          </p:cNvPr>
          <p:cNvSpPr/>
          <p:nvPr>
            <p:custDataLst>
              <p:tags r:id="rId31"/>
            </p:custDataLst>
          </p:nvPr>
        </p:nvSpPr>
        <p:spPr>
          <a:xfrm>
            <a:off x="4315934" y="4518926"/>
            <a:ext cx="1545336" cy="1042553"/>
          </a:xfrm>
          <a:prstGeom prst="rect">
            <a:avLst/>
          </a:prstGeom>
          <a:solidFill>
            <a:schemeClr val="accent2"/>
          </a:solidFill>
          <a:ln w="25400" cap="flat" cmpd="sng" algn="ctr">
            <a:noFill/>
            <a:prstDash val="solid"/>
          </a:ln>
          <a:effectLst/>
        </p:spPr>
        <p:txBody>
          <a:bodyPr lIns="91440" tIns="45720" rIns="91440" bIns="45720" rtlCol="0" anchor="ctr">
            <a:noAutofit/>
          </a:bodyPr>
          <a:lstStyle/>
          <a:p>
            <a:pPr marL="0" marR="0" lvl="0" indent="0" algn="l" defTabSz="914080" rtl="0" eaLnBrk="1" fontAlgn="auto" latinLnBrk="0" hangingPunct="1">
              <a:lnSpc>
                <a:spcPct val="100000"/>
              </a:lnSpc>
              <a:spcBef>
                <a:spcPts val="267"/>
              </a:spcBef>
              <a:spcAft>
                <a:spcPts val="0"/>
              </a:spcAft>
              <a:buClrTx/>
              <a:buSzTx/>
              <a:buFontTx/>
              <a:buNone/>
              <a:tabLst/>
              <a:defRPr/>
            </a:pPr>
            <a:r>
              <a:rPr kumimoji="0" lang="en-US" sz="1200" b="0" i="0" u="none" strike="noStrike" kern="0" cap="none" spc="0" normalizeH="0" baseline="0" noProof="0" dirty="0" err="1">
                <a:ln>
                  <a:noFill/>
                </a:ln>
                <a:solidFill>
                  <a:srgbClr val="505050"/>
                </a:solidFill>
                <a:effectLst/>
                <a:uLnTx/>
                <a:uFillTx/>
                <a:latin typeface="Segoe UI"/>
                <a:ea typeface="+mn-ea"/>
                <a:cs typeface="+mn-cs"/>
              </a:rPr>
              <a:t>Kee</a:t>
            </a:r>
            <a:r>
              <a:rPr lang="en-US" sz="1200" kern="0" dirty="0">
                <a:solidFill>
                  <a:srgbClr val="505050"/>
                </a:solidFill>
                <a:latin typeface="Segoe UI"/>
              </a:rPr>
              <a:t>p up with the digital transformation trend</a:t>
            </a:r>
            <a:endParaRPr kumimoji="0" lang="en-US" sz="1200" b="0" i="0" u="none" strike="noStrike" kern="0" cap="none" spc="0" normalizeH="0" baseline="0" noProof="0" dirty="0">
              <a:ln>
                <a:noFill/>
              </a:ln>
              <a:solidFill>
                <a:srgbClr val="505050"/>
              </a:solidFill>
              <a:effectLst/>
              <a:uLnTx/>
              <a:uFillTx/>
              <a:latin typeface="Segoe UI"/>
              <a:ea typeface="+mn-ea"/>
              <a:cs typeface="+mn-cs"/>
            </a:endParaRPr>
          </a:p>
        </p:txBody>
      </p:sp>
      <p:sp>
        <p:nvSpPr>
          <p:cNvPr id="67" name="Rectangle 66">
            <a:extLst>
              <a:ext uri="{FF2B5EF4-FFF2-40B4-BE49-F238E27FC236}">
                <a16:creationId xmlns:a16="http://schemas.microsoft.com/office/drawing/2014/main" id="{5FDA80C1-0D9F-462E-B560-3ACC8D88369F}"/>
              </a:ext>
            </a:extLst>
          </p:cNvPr>
          <p:cNvSpPr/>
          <p:nvPr>
            <p:custDataLst>
              <p:tags r:id="rId32"/>
            </p:custDataLst>
          </p:nvPr>
        </p:nvSpPr>
        <p:spPr>
          <a:xfrm>
            <a:off x="301704" y="5739179"/>
            <a:ext cx="1545336" cy="462919"/>
          </a:xfrm>
          <a:prstGeom prst="rect">
            <a:avLst/>
          </a:prstGeom>
          <a:solidFill>
            <a:schemeClr val="tx2"/>
          </a:solidFill>
          <a:ln w="25400" cap="flat" cmpd="sng" algn="ctr">
            <a:noFill/>
            <a:prstDash val="solid"/>
          </a:ln>
          <a:effectLst/>
        </p:spPr>
        <p:txBody>
          <a:bodyPr wrap="square" lIns="91440" tIns="45720" rIns="91440" bIns="45720" rtlCol="0" anchor="ctr" anchorCtr="0">
            <a:noAutofit/>
          </a:bodyPr>
          <a:lstStyle/>
          <a:p>
            <a:pPr marL="0" marR="0" lvl="0" indent="0" algn="ctr" defTabSz="788730" rtl="0" eaLnBrk="1" fontAlgn="auto" latinLnBrk="0" hangingPunct="1">
              <a:lnSpc>
                <a:spcPct val="100000"/>
              </a:lnSpc>
              <a:spcBef>
                <a:spcPts val="0"/>
              </a:spcBef>
              <a:spcAft>
                <a:spcPts val="0"/>
              </a:spcAft>
              <a:buClrTx/>
              <a:buSzTx/>
              <a:buFontTx/>
              <a:buNone/>
              <a:tabLst/>
              <a:defRPr/>
            </a:pPr>
            <a:r>
              <a:rPr lang="en-CA" sz="1200" kern="0" dirty="0">
                <a:solidFill>
                  <a:prstClr val="white"/>
                </a:solidFill>
                <a:latin typeface="Segoe UI"/>
              </a:rPr>
              <a:t>Smart Applications</a:t>
            </a:r>
            <a:endParaRPr kumimoji="0" lang="en-CA" sz="1200" b="0" i="0" u="none" strike="noStrike" kern="0" cap="none" spc="0" normalizeH="0" baseline="0" noProof="0" dirty="0">
              <a:ln>
                <a:noFill/>
              </a:ln>
              <a:solidFill>
                <a:prstClr val="white"/>
              </a:solidFill>
              <a:effectLst/>
              <a:uLnTx/>
              <a:uFillTx/>
              <a:latin typeface="Segoe UI"/>
              <a:ea typeface="+mn-ea"/>
              <a:cs typeface="+mn-cs"/>
            </a:endParaRPr>
          </a:p>
        </p:txBody>
      </p:sp>
      <p:cxnSp>
        <p:nvCxnSpPr>
          <p:cNvPr id="69" name="Straight Connector 68">
            <a:extLst>
              <a:ext uri="{FF2B5EF4-FFF2-40B4-BE49-F238E27FC236}">
                <a16:creationId xmlns:a16="http://schemas.microsoft.com/office/drawing/2014/main" id="{64949223-3464-4BE3-A7E2-D50F0930AE7F}"/>
              </a:ext>
            </a:extLst>
          </p:cNvPr>
          <p:cNvCxnSpPr>
            <a:cxnSpLocks/>
            <a:stCxn id="141" idx="3"/>
            <a:endCxn id="144" idx="1"/>
          </p:cNvCxnSpPr>
          <p:nvPr/>
        </p:nvCxnSpPr>
        <p:spPr>
          <a:xfrm flipV="1">
            <a:off x="1848549" y="2405098"/>
            <a:ext cx="515179" cy="2453474"/>
          </a:xfrm>
          <a:prstGeom prst="line">
            <a:avLst/>
          </a:prstGeom>
          <a:noFill/>
          <a:ln w="12700" cap="flat" cmpd="sng" algn="ctr">
            <a:solidFill>
              <a:srgbClr val="FFFFFF">
                <a:lumMod val="65000"/>
              </a:srgbClr>
            </a:solidFill>
            <a:prstDash val="solid"/>
            <a:headEnd type="none"/>
            <a:tailEnd type="triangle" w="med" len="med"/>
          </a:ln>
          <a:effectLst/>
        </p:spPr>
      </p:cxnSp>
      <p:cxnSp>
        <p:nvCxnSpPr>
          <p:cNvPr id="72" name="Straight Connector 71">
            <a:extLst>
              <a:ext uri="{FF2B5EF4-FFF2-40B4-BE49-F238E27FC236}">
                <a16:creationId xmlns:a16="http://schemas.microsoft.com/office/drawing/2014/main" id="{DBFA2C62-8641-4AFD-A348-8A6C86AEA1E5}"/>
              </a:ext>
            </a:extLst>
          </p:cNvPr>
          <p:cNvCxnSpPr>
            <a:cxnSpLocks/>
            <a:stCxn id="144" idx="3"/>
            <a:endCxn id="66" idx="1"/>
          </p:cNvCxnSpPr>
          <p:nvPr/>
        </p:nvCxnSpPr>
        <p:spPr>
          <a:xfrm>
            <a:off x="3909064" y="2405098"/>
            <a:ext cx="406870" cy="2635105"/>
          </a:xfrm>
          <a:prstGeom prst="line">
            <a:avLst/>
          </a:prstGeom>
          <a:noFill/>
          <a:ln w="12700" cap="flat" cmpd="sng" algn="ctr">
            <a:solidFill>
              <a:srgbClr val="FFFFFF">
                <a:lumMod val="65000"/>
              </a:srgbClr>
            </a:solidFill>
            <a:prstDash val="solid"/>
            <a:headEnd type="none"/>
            <a:tailEnd type="triangle" w="med" len="med"/>
          </a:ln>
          <a:effectLst/>
        </p:spPr>
      </p:cxnSp>
      <p:cxnSp>
        <p:nvCxnSpPr>
          <p:cNvPr id="77" name="Straight Connector 76">
            <a:extLst>
              <a:ext uri="{FF2B5EF4-FFF2-40B4-BE49-F238E27FC236}">
                <a16:creationId xmlns:a16="http://schemas.microsoft.com/office/drawing/2014/main" id="{AE6B318F-B44D-4FF7-BFAA-7A4EC720F9A7}"/>
              </a:ext>
            </a:extLst>
          </p:cNvPr>
          <p:cNvCxnSpPr>
            <a:cxnSpLocks/>
            <a:stCxn id="66" idx="3"/>
            <a:endCxn id="93" idx="1"/>
          </p:cNvCxnSpPr>
          <p:nvPr/>
        </p:nvCxnSpPr>
        <p:spPr>
          <a:xfrm flipV="1">
            <a:off x="5861270" y="2547170"/>
            <a:ext cx="467739" cy="2493033"/>
          </a:xfrm>
          <a:prstGeom prst="line">
            <a:avLst/>
          </a:prstGeom>
          <a:noFill/>
          <a:ln w="12700" cap="flat" cmpd="sng" algn="ctr">
            <a:solidFill>
              <a:srgbClr val="FFFFFF">
                <a:lumMod val="65000"/>
              </a:srgbClr>
            </a:solidFill>
            <a:prstDash val="solid"/>
            <a:headEnd type="none"/>
            <a:tailEnd type="triangle" w="med" len="med"/>
          </a:ln>
          <a:effectLst/>
        </p:spPr>
      </p:cxnSp>
      <p:cxnSp>
        <p:nvCxnSpPr>
          <p:cNvPr id="82" name="Straight Connector 81">
            <a:extLst>
              <a:ext uri="{FF2B5EF4-FFF2-40B4-BE49-F238E27FC236}">
                <a16:creationId xmlns:a16="http://schemas.microsoft.com/office/drawing/2014/main" id="{92B531B5-B38B-4303-BBCC-90DF1F54E0BF}"/>
              </a:ext>
            </a:extLst>
          </p:cNvPr>
          <p:cNvCxnSpPr>
            <a:cxnSpLocks/>
            <a:stCxn id="66" idx="3"/>
            <a:endCxn id="95" idx="1"/>
          </p:cNvCxnSpPr>
          <p:nvPr/>
        </p:nvCxnSpPr>
        <p:spPr>
          <a:xfrm flipV="1">
            <a:off x="5861270" y="3820858"/>
            <a:ext cx="467739" cy="1219345"/>
          </a:xfrm>
          <a:prstGeom prst="line">
            <a:avLst/>
          </a:prstGeom>
          <a:noFill/>
          <a:ln w="12700" cap="flat" cmpd="sng" algn="ctr">
            <a:solidFill>
              <a:srgbClr val="FFFFFF">
                <a:lumMod val="65000"/>
              </a:srgbClr>
            </a:solidFill>
            <a:prstDash val="solid"/>
            <a:headEnd type="none"/>
            <a:tailEnd type="triangle" w="med" len="med"/>
          </a:ln>
          <a:effectLst/>
        </p:spPr>
      </p:cxnSp>
      <p:cxnSp>
        <p:nvCxnSpPr>
          <p:cNvPr id="85" name="Straight Connector 84">
            <a:extLst>
              <a:ext uri="{FF2B5EF4-FFF2-40B4-BE49-F238E27FC236}">
                <a16:creationId xmlns:a16="http://schemas.microsoft.com/office/drawing/2014/main" id="{7B197446-D09A-4BB9-A091-F38967C2F689}"/>
              </a:ext>
            </a:extLst>
          </p:cNvPr>
          <p:cNvCxnSpPr>
            <a:cxnSpLocks/>
            <a:stCxn id="66" idx="3"/>
            <a:endCxn id="122" idx="1"/>
          </p:cNvCxnSpPr>
          <p:nvPr/>
        </p:nvCxnSpPr>
        <p:spPr>
          <a:xfrm>
            <a:off x="5861270" y="5040203"/>
            <a:ext cx="467739" cy="958698"/>
          </a:xfrm>
          <a:prstGeom prst="line">
            <a:avLst/>
          </a:prstGeom>
          <a:noFill/>
          <a:ln w="12700" cap="flat" cmpd="sng" algn="ctr">
            <a:solidFill>
              <a:srgbClr val="FFFFFF">
                <a:lumMod val="65000"/>
              </a:srgbClr>
            </a:solidFill>
            <a:prstDash val="solid"/>
            <a:headEnd type="none"/>
            <a:tailEnd type="triangle" w="med" len="med"/>
          </a:ln>
          <a:effectLst/>
        </p:spPr>
      </p:cxnSp>
      <p:cxnSp>
        <p:nvCxnSpPr>
          <p:cNvPr id="89" name="Straight Connector 88">
            <a:extLst>
              <a:ext uri="{FF2B5EF4-FFF2-40B4-BE49-F238E27FC236}">
                <a16:creationId xmlns:a16="http://schemas.microsoft.com/office/drawing/2014/main" id="{CF1B5265-74F3-41D1-81F4-A8456000F173}"/>
              </a:ext>
            </a:extLst>
          </p:cNvPr>
          <p:cNvCxnSpPr>
            <a:cxnSpLocks/>
            <a:stCxn id="195" idx="1"/>
            <a:endCxn id="95" idx="3"/>
          </p:cNvCxnSpPr>
          <p:nvPr/>
        </p:nvCxnSpPr>
        <p:spPr>
          <a:xfrm flipH="1">
            <a:off x="7874345" y="3820858"/>
            <a:ext cx="488860" cy="0"/>
          </a:xfrm>
          <a:prstGeom prst="line">
            <a:avLst/>
          </a:prstGeom>
          <a:noFill/>
          <a:ln w="12700" cap="flat" cmpd="sng" algn="ctr">
            <a:solidFill>
              <a:srgbClr val="FFFFFF">
                <a:lumMod val="65000"/>
              </a:srgbClr>
            </a:solidFill>
            <a:prstDash val="solid"/>
            <a:headEnd type="none"/>
            <a:tailEnd type="triangle" w="med" len="med"/>
          </a:ln>
          <a:effectLst/>
        </p:spPr>
      </p:cxnSp>
      <p:cxnSp>
        <p:nvCxnSpPr>
          <p:cNvPr id="101" name="Straight Connector 100">
            <a:extLst>
              <a:ext uri="{FF2B5EF4-FFF2-40B4-BE49-F238E27FC236}">
                <a16:creationId xmlns:a16="http://schemas.microsoft.com/office/drawing/2014/main" id="{DC97F538-342B-41A1-BC52-841C42E81093}"/>
              </a:ext>
            </a:extLst>
          </p:cNvPr>
          <p:cNvCxnSpPr>
            <a:cxnSpLocks/>
            <a:stCxn id="227" idx="1"/>
            <a:endCxn id="197" idx="3"/>
          </p:cNvCxnSpPr>
          <p:nvPr/>
        </p:nvCxnSpPr>
        <p:spPr>
          <a:xfrm flipH="1">
            <a:off x="9908541" y="4415090"/>
            <a:ext cx="431736" cy="587123"/>
          </a:xfrm>
          <a:prstGeom prst="line">
            <a:avLst/>
          </a:prstGeom>
          <a:noFill/>
          <a:ln w="12700" cap="flat" cmpd="sng" algn="ctr">
            <a:solidFill>
              <a:srgbClr val="FFFFFF">
                <a:lumMod val="65000"/>
              </a:srgbClr>
            </a:solidFill>
            <a:prstDash val="solid"/>
            <a:headEnd type="none"/>
            <a:tailEnd type="triangle" w="med" len="med"/>
          </a:ln>
          <a:effectLst/>
        </p:spPr>
      </p:cxnSp>
      <p:cxnSp>
        <p:nvCxnSpPr>
          <p:cNvPr id="102" name="Straight Connector 101">
            <a:extLst>
              <a:ext uri="{FF2B5EF4-FFF2-40B4-BE49-F238E27FC236}">
                <a16:creationId xmlns:a16="http://schemas.microsoft.com/office/drawing/2014/main" id="{5571F954-0076-4602-A9AF-1FBCD94B6B59}"/>
              </a:ext>
            </a:extLst>
          </p:cNvPr>
          <p:cNvCxnSpPr>
            <a:cxnSpLocks/>
            <a:stCxn id="227" idx="1"/>
            <a:endCxn id="195" idx="3"/>
          </p:cNvCxnSpPr>
          <p:nvPr/>
        </p:nvCxnSpPr>
        <p:spPr>
          <a:xfrm flipH="1" flipV="1">
            <a:off x="9908541" y="3820858"/>
            <a:ext cx="431736" cy="594232"/>
          </a:xfrm>
          <a:prstGeom prst="line">
            <a:avLst/>
          </a:prstGeom>
          <a:noFill/>
          <a:ln w="12700" cap="flat" cmpd="sng" algn="ctr">
            <a:solidFill>
              <a:srgbClr val="FFFFFF">
                <a:lumMod val="65000"/>
              </a:srgbClr>
            </a:solidFill>
            <a:prstDash val="solid"/>
            <a:headEnd type="none"/>
            <a:tailEnd type="triangle" w="med" len="med"/>
          </a:ln>
          <a:effectLst/>
        </p:spPr>
      </p:cxnSp>
    </p:spTree>
    <p:extLst>
      <p:ext uri="{BB962C8B-B14F-4D97-AF65-F5344CB8AC3E}">
        <p14:creationId xmlns:p14="http://schemas.microsoft.com/office/powerpoint/2010/main" val="29704759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2BDC185B-8EA7-4724-8681-94B5A62A7458}"/>
              </a:ext>
            </a:extLst>
          </p:cNvPr>
          <p:cNvGrpSpPr/>
          <p:nvPr/>
        </p:nvGrpSpPr>
        <p:grpSpPr>
          <a:xfrm>
            <a:off x="5698507" y="1760110"/>
            <a:ext cx="4479162" cy="4746865"/>
            <a:chOff x="5699991" y="480905"/>
            <a:chExt cx="5713317" cy="6054780"/>
          </a:xfrm>
        </p:grpSpPr>
        <p:sp>
          <p:nvSpPr>
            <p:cNvPr id="198" name="Freeform: Shape 197">
              <a:extLst>
                <a:ext uri="{FF2B5EF4-FFF2-40B4-BE49-F238E27FC236}">
                  <a16:creationId xmlns:a16="http://schemas.microsoft.com/office/drawing/2014/main" id="{1ADC9B0B-DF91-4851-BE58-762A0218DB02}"/>
                </a:ext>
              </a:extLst>
            </p:cNvPr>
            <p:cNvSpPr/>
            <p:nvPr/>
          </p:nvSpPr>
          <p:spPr bwMode="auto">
            <a:xfrm flipV="1">
              <a:off x="7697588" y="2322865"/>
              <a:ext cx="1817254" cy="1001764"/>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222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algn="ctr" defTabSz="878463">
                <a:defRPr/>
              </a:pPr>
              <a:endParaRPr lang="en-US" sz="1729" kern="0">
                <a:solidFill>
                  <a:srgbClr val="353535"/>
                </a:solidFill>
                <a:latin typeface="Segoe UI Semilight"/>
              </a:endParaRPr>
            </a:p>
          </p:txBody>
        </p:sp>
        <p:sp>
          <p:nvSpPr>
            <p:cNvPr id="199" name="TextBox 198">
              <a:extLst>
                <a:ext uri="{FF2B5EF4-FFF2-40B4-BE49-F238E27FC236}">
                  <a16:creationId xmlns:a16="http://schemas.microsoft.com/office/drawing/2014/main" id="{770D1C0C-CB93-4FED-8BF9-5B29D94F32B4}"/>
                </a:ext>
              </a:extLst>
            </p:cNvPr>
            <p:cNvSpPr txBox="1"/>
            <p:nvPr/>
          </p:nvSpPr>
          <p:spPr>
            <a:xfrm>
              <a:off x="7009632" y="3407341"/>
              <a:ext cx="3097196" cy="785986"/>
            </a:xfrm>
            <a:prstGeom prst="rect">
              <a:avLst/>
            </a:prstGeom>
            <a:noFill/>
          </p:spPr>
          <p:txBody>
            <a:bodyPr wrap="none" lIns="175715" tIns="140572" rIns="175715" bIns="140572" rtlCol="0">
              <a:spAutoFit/>
            </a:bodyPr>
            <a:lstStyle/>
            <a:p>
              <a:pPr algn="ctr" defTabSz="878463">
                <a:lnSpc>
                  <a:spcPct val="90000"/>
                </a:lnSpc>
                <a:spcAft>
                  <a:spcPts val="576"/>
                </a:spcAft>
                <a:defRPr/>
              </a:pPr>
              <a:r>
                <a:rPr lang="en-US" sz="2399" kern="0" spc="-48" dirty="0">
                  <a:gradFill>
                    <a:gsLst>
                      <a:gs pos="20000">
                        <a:srgbClr val="353535"/>
                      </a:gs>
                      <a:gs pos="68000">
                        <a:srgbClr val="353535"/>
                      </a:gs>
                    </a:gsLst>
                    <a:lin ang="5400000" scaled="0"/>
                  </a:gradFill>
                  <a:latin typeface="Segoe UI Semilight" panose="020B0402040204020203" pitchFamily="34" charset="0"/>
                  <a:cs typeface="Segoe UI Semilight" panose="020B0402040204020203" pitchFamily="34" charset="0"/>
                </a:rPr>
                <a:t>Intelligent Cloud</a:t>
              </a:r>
            </a:p>
          </p:txBody>
        </p:sp>
        <p:sp>
          <p:nvSpPr>
            <p:cNvPr id="202" name="Freeform 5">
              <a:extLst>
                <a:ext uri="{FF2B5EF4-FFF2-40B4-BE49-F238E27FC236}">
                  <a16:creationId xmlns:a16="http://schemas.microsoft.com/office/drawing/2014/main" id="{9AD84CD4-0192-4AB5-9EC0-BC5550F05450}"/>
                </a:ext>
              </a:extLst>
            </p:cNvPr>
            <p:cNvSpPr>
              <a:spLocks/>
            </p:cNvSpPr>
            <p:nvPr/>
          </p:nvSpPr>
          <p:spPr bwMode="auto">
            <a:xfrm>
              <a:off x="5951368" y="736580"/>
              <a:ext cx="5212094" cy="5220371"/>
            </a:xfrm>
            <a:custGeom>
              <a:avLst/>
              <a:gdLst>
                <a:gd name="T0" fmla="*/ 150 w 1259"/>
                <a:gd name="T1" fmla="*/ 428 h 1261"/>
                <a:gd name="T2" fmla="*/ 105 w 1259"/>
                <a:gd name="T3" fmla="*/ 262 h 1261"/>
                <a:gd name="T4" fmla="*/ 261 w 1259"/>
                <a:gd name="T5" fmla="*/ 263 h 1261"/>
                <a:gd name="T6" fmla="*/ 281 w 1259"/>
                <a:gd name="T7" fmla="*/ 94 h 1261"/>
                <a:gd name="T8" fmla="*/ 434 w 1259"/>
                <a:gd name="T9" fmla="*/ 148 h 1261"/>
                <a:gd name="T10" fmla="*/ 519 w 1259"/>
                <a:gd name="T11" fmla="*/ 0 h 1261"/>
                <a:gd name="T12" fmla="*/ 630 w 1259"/>
                <a:gd name="T13" fmla="*/ 111 h 1261"/>
                <a:gd name="T14" fmla="*/ 762 w 1259"/>
                <a:gd name="T15" fmla="*/ 2 h 1261"/>
                <a:gd name="T16" fmla="*/ 825 w 1259"/>
                <a:gd name="T17" fmla="*/ 149 h 1261"/>
                <a:gd name="T18" fmla="*/ 987 w 1259"/>
                <a:gd name="T19" fmla="*/ 99 h 1261"/>
                <a:gd name="T20" fmla="*/ 999 w 1259"/>
                <a:gd name="T21" fmla="*/ 262 h 1261"/>
                <a:gd name="T22" fmla="*/ 1167 w 1259"/>
                <a:gd name="T23" fmla="*/ 282 h 1261"/>
                <a:gd name="T24" fmla="*/ 1109 w 1259"/>
                <a:gd name="T25" fmla="*/ 428 h 1261"/>
                <a:gd name="T26" fmla="*/ 1259 w 1259"/>
                <a:gd name="T27" fmla="*/ 507 h 1261"/>
                <a:gd name="T28" fmla="*/ 1150 w 1259"/>
                <a:gd name="T29" fmla="*/ 630 h 1261"/>
                <a:gd name="T30" fmla="*/ 1256 w 1259"/>
                <a:gd name="T31" fmla="*/ 764 h 1261"/>
                <a:gd name="T32" fmla="*/ 1109 w 1259"/>
                <a:gd name="T33" fmla="*/ 834 h 1261"/>
                <a:gd name="T34" fmla="*/ 1155 w 1259"/>
                <a:gd name="T35" fmla="*/ 996 h 1261"/>
                <a:gd name="T36" fmla="*/ 997 w 1259"/>
                <a:gd name="T37" fmla="*/ 999 h 1261"/>
                <a:gd name="T38" fmla="*/ 979 w 1259"/>
                <a:gd name="T39" fmla="*/ 1168 h 1261"/>
                <a:gd name="T40" fmla="*/ 824 w 1259"/>
                <a:gd name="T41" fmla="*/ 1112 h 1261"/>
                <a:gd name="T42" fmla="*/ 742 w 1259"/>
                <a:gd name="T43" fmla="*/ 1261 h 1261"/>
                <a:gd name="T44" fmla="*/ 629 w 1259"/>
                <a:gd name="T45" fmla="*/ 1150 h 1261"/>
                <a:gd name="T46" fmla="*/ 495 w 1259"/>
                <a:gd name="T47" fmla="*/ 1257 h 1261"/>
                <a:gd name="T48" fmla="*/ 433 w 1259"/>
                <a:gd name="T49" fmla="*/ 1110 h 1261"/>
                <a:gd name="T50" fmla="*/ 272 w 1259"/>
                <a:gd name="T51" fmla="*/ 1162 h 1261"/>
                <a:gd name="T52" fmla="*/ 261 w 1259"/>
                <a:gd name="T53" fmla="*/ 996 h 1261"/>
                <a:gd name="T54" fmla="*/ 92 w 1259"/>
                <a:gd name="T55" fmla="*/ 978 h 1261"/>
                <a:gd name="T56" fmla="*/ 151 w 1259"/>
                <a:gd name="T57" fmla="*/ 833 h 1261"/>
                <a:gd name="T58" fmla="*/ 0 w 1259"/>
                <a:gd name="T59" fmla="*/ 753 h 1261"/>
                <a:gd name="T60" fmla="*/ 110 w 1259"/>
                <a:gd name="T61" fmla="*/ 629 h 1261"/>
                <a:gd name="T62" fmla="*/ 4 w 1259"/>
                <a:gd name="T63" fmla="*/ 497 h 1261"/>
                <a:gd name="T64" fmla="*/ 150 w 1259"/>
                <a:gd name="T65" fmla="*/ 428 h 1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59" h="1261">
                  <a:moveTo>
                    <a:pt x="150" y="428"/>
                  </a:moveTo>
                  <a:lnTo>
                    <a:pt x="105" y="262"/>
                  </a:lnTo>
                  <a:lnTo>
                    <a:pt x="261" y="263"/>
                  </a:lnTo>
                  <a:lnTo>
                    <a:pt x="281" y="94"/>
                  </a:lnTo>
                  <a:lnTo>
                    <a:pt x="434" y="148"/>
                  </a:lnTo>
                  <a:lnTo>
                    <a:pt x="519" y="0"/>
                  </a:lnTo>
                  <a:lnTo>
                    <a:pt x="630" y="111"/>
                  </a:lnTo>
                  <a:lnTo>
                    <a:pt x="762" y="2"/>
                  </a:lnTo>
                  <a:lnTo>
                    <a:pt x="825" y="149"/>
                  </a:lnTo>
                  <a:lnTo>
                    <a:pt x="987" y="99"/>
                  </a:lnTo>
                  <a:lnTo>
                    <a:pt x="999" y="262"/>
                  </a:lnTo>
                  <a:lnTo>
                    <a:pt x="1167" y="282"/>
                  </a:lnTo>
                  <a:lnTo>
                    <a:pt x="1109" y="428"/>
                  </a:lnTo>
                  <a:lnTo>
                    <a:pt x="1259" y="507"/>
                  </a:lnTo>
                  <a:lnTo>
                    <a:pt x="1150" y="630"/>
                  </a:lnTo>
                  <a:lnTo>
                    <a:pt x="1256" y="764"/>
                  </a:lnTo>
                  <a:lnTo>
                    <a:pt x="1109" y="834"/>
                  </a:lnTo>
                  <a:lnTo>
                    <a:pt x="1155" y="996"/>
                  </a:lnTo>
                  <a:lnTo>
                    <a:pt x="997" y="999"/>
                  </a:lnTo>
                  <a:lnTo>
                    <a:pt x="979" y="1168"/>
                  </a:lnTo>
                  <a:lnTo>
                    <a:pt x="824" y="1112"/>
                  </a:lnTo>
                  <a:lnTo>
                    <a:pt x="742" y="1261"/>
                  </a:lnTo>
                  <a:lnTo>
                    <a:pt x="629" y="1150"/>
                  </a:lnTo>
                  <a:lnTo>
                    <a:pt x="495" y="1257"/>
                  </a:lnTo>
                  <a:lnTo>
                    <a:pt x="433" y="1110"/>
                  </a:lnTo>
                  <a:lnTo>
                    <a:pt x="272" y="1162"/>
                  </a:lnTo>
                  <a:lnTo>
                    <a:pt x="261" y="996"/>
                  </a:lnTo>
                  <a:lnTo>
                    <a:pt x="92" y="978"/>
                  </a:lnTo>
                  <a:lnTo>
                    <a:pt x="151" y="833"/>
                  </a:lnTo>
                  <a:lnTo>
                    <a:pt x="0" y="753"/>
                  </a:lnTo>
                  <a:lnTo>
                    <a:pt x="110" y="629"/>
                  </a:lnTo>
                  <a:lnTo>
                    <a:pt x="4" y="497"/>
                  </a:lnTo>
                  <a:lnTo>
                    <a:pt x="150" y="428"/>
                  </a:lnTo>
                  <a:close/>
                </a:path>
              </a:pathLst>
            </a:custGeom>
            <a:noFill/>
            <a:ln w="12700">
              <a:solidFill>
                <a:schemeClr val="tx2"/>
              </a:solid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1921" kern="0">
                <a:gradFill>
                  <a:gsLst>
                    <a:gs pos="0">
                      <a:srgbClr val="FFFFFF"/>
                    </a:gs>
                    <a:gs pos="100000">
                      <a:srgbClr val="FFFFFF"/>
                    </a:gs>
                  </a:gsLst>
                  <a:lin ang="5400000" scaled="0"/>
                </a:gradFill>
                <a:latin typeface="Segoe UI Semilight"/>
                <a:cs typeface="Segoe UI" pitchFamily="34" charset="0"/>
              </a:endParaRPr>
            </a:p>
          </p:txBody>
        </p:sp>
        <p:sp>
          <p:nvSpPr>
            <p:cNvPr id="203" name="Oval 202">
              <a:extLst>
                <a:ext uri="{FF2B5EF4-FFF2-40B4-BE49-F238E27FC236}">
                  <a16:creationId xmlns:a16="http://schemas.microsoft.com/office/drawing/2014/main" id="{8635044A-918A-4AB9-B70C-5B19BDEBD0EA}"/>
                </a:ext>
              </a:extLst>
            </p:cNvPr>
            <p:cNvSpPr/>
            <p:nvPr/>
          </p:nvSpPr>
          <p:spPr bwMode="auto">
            <a:xfrm>
              <a:off x="6399186" y="1188541"/>
              <a:ext cx="4314923" cy="4314923"/>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1921"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4" name="Oval 203">
              <a:extLst>
                <a:ext uri="{FF2B5EF4-FFF2-40B4-BE49-F238E27FC236}">
                  <a16:creationId xmlns:a16="http://schemas.microsoft.com/office/drawing/2014/main" id="{EAC17D4C-BB5E-4B6A-BE20-23002FECAA56}"/>
                </a:ext>
              </a:extLst>
            </p:cNvPr>
            <p:cNvSpPr/>
            <p:nvPr/>
          </p:nvSpPr>
          <p:spPr bwMode="auto">
            <a:xfrm>
              <a:off x="5902663" y="692017"/>
              <a:ext cx="5307970" cy="5307970"/>
            </a:xfrm>
            <a:prstGeom prst="ellipse">
              <a:avLst/>
            </a:prstGeom>
            <a:noFill/>
            <a:ln w="127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1921"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05" name="Group 204">
              <a:extLst>
                <a:ext uri="{FF2B5EF4-FFF2-40B4-BE49-F238E27FC236}">
                  <a16:creationId xmlns:a16="http://schemas.microsoft.com/office/drawing/2014/main" id="{54EB2DEA-8A05-42E3-B117-7219843E1E69}"/>
                </a:ext>
              </a:extLst>
            </p:cNvPr>
            <p:cNvGrpSpPr/>
            <p:nvPr/>
          </p:nvGrpSpPr>
          <p:grpSpPr>
            <a:xfrm>
              <a:off x="10910030" y="2588000"/>
              <a:ext cx="503278" cy="503278"/>
              <a:chOff x="8666945" y="2708556"/>
              <a:chExt cx="523664" cy="523664"/>
            </a:xfrm>
          </p:grpSpPr>
          <p:sp useBgFill="1">
            <p:nvSpPr>
              <p:cNvPr id="206" name="Oval 205">
                <a:extLst>
                  <a:ext uri="{FF2B5EF4-FFF2-40B4-BE49-F238E27FC236}">
                    <a16:creationId xmlns:a16="http://schemas.microsoft.com/office/drawing/2014/main" id="{9B2C510E-E2FB-489D-B45D-BA662C54DFF8}"/>
                  </a:ext>
                </a:extLst>
              </p:cNvPr>
              <p:cNvSpPr/>
              <p:nvPr/>
            </p:nvSpPr>
            <p:spPr bwMode="auto">
              <a:xfrm rot="4740000">
                <a:off x="8666945" y="2708556"/>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7" name="plant_3">
                <a:extLst>
                  <a:ext uri="{FF2B5EF4-FFF2-40B4-BE49-F238E27FC236}">
                    <a16:creationId xmlns:a16="http://schemas.microsoft.com/office/drawing/2014/main" id="{749BEEB8-B5EB-401C-B5A5-3B76EC90077D}"/>
                  </a:ext>
                </a:extLst>
              </p:cNvPr>
              <p:cNvSpPr>
                <a:spLocks noChangeAspect="1" noEditPoints="1"/>
              </p:cNvSpPr>
              <p:nvPr/>
            </p:nvSpPr>
            <p:spPr bwMode="auto">
              <a:xfrm>
                <a:off x="8832866" y="2806701"/>
                <a:ext cx="191824" cy="327376"/>
              </a:xfrm>
              <a:custGeom>
                <a:avLst/>
                <a:gdLst>
                  <a:gd name="T0" fmla="*/ 130 w 205"/>
                  <a:gd name="T1" fmla="*/ 78 h 355"/>
                  <a:gd name="T2" fmla="*/ 102 w 205"/>
                  <a:gd name="T3" fmla="*/ 106 h 355"/>
                  <a:gd name="T4" fmla="*/ 73 w 205"/>
                  <a:gd name="T5" fmla="*/ 77 h 355"/>
                  <a:gd name="T6" fmla="*/ 73 w 205"/>
                  <a:gd name="T7" fmla="*/ 47 h 355"/>
                  <a:gd name="T8" fmla="*/ 102 w 205"/>
                  <a:gd name="T9" fmla="*/ 76 h 355"/>
                  <a:gd name="T10" fmla="*/ 130 w 205"/>
                  <a:gd name="T11" fmla="*/ 48 h 355"/>
                  <a:gd name="T12" fmla="*/ 73 w 205"/>
                  <a:gd name="T13" fmla="*/ 17 h 355"/>
                  <a:gd name="T14" fmla="*/ 102 w 205"/>
                  <a:gd name="T15" fmla="*/ 46 h 355"/>
                  <a:gd name="T16" fmla="*/ 130 w 205"/>
                  <a:gd name="T17" fmla="*/ 18 h 355"/>
                  <a:gd name="T18" fmla="*/ 102 w 205"/>
                  <a:gd name="T19" fmla="*/ 0 h 355"/>
                  <a:gd name="T20" fmla="*/ 102 w 205"/>
                  <a:gd name="T21" fmla="*/ 46 h 355"/>
                  <a:gd name="T22" fmla="*/ 146 w 205"/>
                  <a:gd name="T23" fmla="*/ 137 h 355"/>
                  <a:gd name="T24" fmla="*/ 174 w 205"/>
                  <a:gd name="T25" fmla="*/ 166 h 355"/>
                  <a:gd name="T26" fmla="*/ 202 w 205"/>
                  <a:gd name="T27" fmla="*/ 138 h 355"/>
                  <a:gd name="T28" fmla="*/ 146 w 205"/>
                  <a:gd name="T29" fmla="*/ 107 h 355"/>
                  <a:gd name="T30" fmla="*/ 174 w 205"/>
                  <a:gd name="T31" fmla="*/ 136 h 355"/>
                  <a:gd name="T32" fmla="*/ 202 w 205"/>
                  <a:gd name="T33" fmla="*/ 108 h 355"/>
                  <a:gd name="T34" fmla="*/ 146 w 205"/>
                  <a:gd name="T35" fmla="*/ 77 h 355"/>
                  <a:gd name="T36" fmla="*/ 174 w 205"/>
                  <a:gd name="T37" fmla="*/ 106 h 355"/>
                  <a:gd name="T38" fmla="*/ 202 w 205"/>
                  <a:gd name="T39" fmla="*/ 78 h 355"/>
                  <a:gd name="T40" fmla="*/ 174 w 205"/>
                  <a:gd name="T41" fmla="*/ 60 h 355"/>
                  <a:gd name="T42" fmla="*/ 174 w 205"/>
                  <a:gd name="T43" fmla="*/ 106 h 355"/>
                  <a:gd name="T44" fmla="*/ 5 w 205"/>
                  <a:gd name="T45" fmla="*/ 137 h 355"/>
                  <a:gd name="T46" fmla="*/ 34 w 205"/>
                  <a:gd name="T47" fmla="*/ 166 h 355"/>
                  <a:gd name="T48" fmla="*/ 62 w 205"/>
                  <a:gd name="T49" fmla="*/ 138 h 355"/>
                  <a:gd name="T50" fmla="*/ 5 w 205"/>
                  <a:gd name="T51" fmla="*/ 107 h 355"/>
                  <a:gd name="T52" fmla="*/ 34 w 205"/>
                  <a:gd name="T53" fmla="*/ 136 h 355"/>
                  <a:gd name="T54" fmla="*/ 62 w 205"/>
                  <a:gd name="T55" fmla="*/ 108 h 355"/>
                  <a:gd name="T56" fmla="*/ 5 w 205"/>
                  <a:gd name="T57" fmla="*/ 77 h 355"/>
                  <a:gd name="T58" fmla="*/ 34 w 205"/>
                  <a:gd name="T59" fmla="*/ 106 h 355"/>
                  <a:gd name="T60" fmla="*/ 62 w 205"/>
                  <a:gd name="T61" fmla="*/ 78 h 355"/>
                  <a:gd name="T62" fmla="*/ 34 w 205"/>
                  <a:gd name="T63" fmla="*/ 60 h 355"/>
                  <a:gd name="T64" fmla="*/ 34 w 205"/>
                  <a:gd name="T65" fmla="*/ 106 h 355"/>
                  <a:gd name="T66" fmla="*/ 34 w 205"/>
                  <a:gd name="T67" fmla="*/ 208 h 355"/>
                  <a:gd name="T68" fmla="*/ 34 w 205"/>
                  <a:gd name="T69" fmla="*/ 166 h 355"/>
                  <a:gd name="T70" fmla="*/ 102 w 205"/>
                  <a:gd name="T71" fmla="*/ 106 h 355"/>
                  <a:gd name="T72" fmla="*/ 102 w 205"/>
                  <a:gd name="T73" fmla="*/ 252 h 355"/>
                  <a:gd name="T74" fmla="*/ 174 w 205"/>
                  <a:gd name="T75" fmla="*/ 166 h 355"/>
                  <a:gd name="T76" fmla="*/ 174 w 205"/>
                  <a:gd name="T77" fmla="*/ 204 h 355"/>
                  <a:gd name="T78" fmla="*/ 31 w 205"/>
                  <a:gd name="T79" fmla="*/ 294 h 355"/>
                  <a:gd name="T80" fmla="*/ 88 w 205"/>
                  <a:gd name="T81" fmla="*/ 349 h 355"/>
                  <a:gd name="T82" fmla="*/ 78 w 205"/>
                  <a:gd name="T83" fmla="*/ 270 h 355"/>
                  <a:gd name="T84" fmla="*/ 2 w 205"/>
                  <a:gd name="T85" fmla="*/ 173 h 355"/>
                  <a:gd name="T86" fmla="*/ 31 w 205"/>
                  <a:gd name="T87" fmla="*/ 294 h 355"/>
                  <a:gd name="T88" fmla="*/ 174 w 205"/>
                  <a:gd name="T89" fmla="*/ 294 h 355"/>
                  <a:gd name="T90" fmla="*/ 203 w 205"/>
                  <a:gd name="T91" fmla="*/ 173 h 355"/>
                  <a:gd name="T92" fmla="*/ 127 w 205"/>
                  <a:gd name="T93" fmla="*/ 270 h 355"/>
                  <a:gd name="T94" fmla="*/ 117 w 205"/>
                  <a:gd name="T95" fmla="*/ 349 h 355"/>
                  <a:gd name="T96" fmla="*/ 174 w 205"/>
                  <a:gd name="T97" fmla="*/ 294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5" h="355">
                    <a:moveTo>
                      <a:pt x="130" y="78"/>
                    </a:moveTo>
                    <a:cubicBezTo>
                      <a:pt x="102" y="106"/>
                      <a:pt x="102" y="106"/>
                      <a:pt x="102" y="106"/>
                    </a:cubicBezTo>
                    <a:cubicBezTo>
                      <a:pt x="73" y="77"/>
                      <a:pt x="73" y="77"/>
                      <a:pt x="73" y="77"/>
                    </a:cubicBezTo>
                    <a:moveTo>
                      <a:pt x="73" y="47"/>
                    </a:moveTo>
                    <a:cubicBezTo>
                      <a:pt x="102" y="76"/>
                      <a:pt x="102" y="76"/>
                      <a:pt x="102" y="76"/>
                    </a:cubicBezTo>
                    <a:cubicBezTo>
                      <a:pt x="130" y="48"/>
                      <a:pt x="130" y="48"/>
                      <a:pt x="130" y="48"/>
                    </a:cubicBezTo>
                    <a:moveTo>
                      <a:pt x="73" y="17"/>
                    </a:moveTo>
                    <a:cubicBezTo>
                      <a:pt x="102" y="46"/>
                      <a:pt x="102" y="46"/>
                      <a:pt x="102" y="46"/>
                    </a:cubicBezTo>
                    <a:cubicBezTo>
                      <a:pt x="130" y="18"/>
                      <a:pt x="130" y="18"/>
                      <a:pt x="130" y="18"/>
                    </a:cubicBezTo>
                    <a:moveTo>
                      <a:pt x="102" y="0"/>
                    </a:moveTo>
                    <a:cubicBezTo>
                      <a:pt x="102" y="46"/>
                      <a:pt x="102" y="46"/>
                      <a:pt x="102" y="46"/>
                    </a:cubicBezTo>
                    <a:moveTo>
                      <a:pt x="146" y="137"/>
                    </a:moveTo>
                    <a:cubicBezTo>
                      <a:pt x="174" y="166"/>
                      <a:pt x="174" y="166"/>
                      <a:pt x="174" y="166"/>
                    </a:cubicBezTo>
                    <a:cubicBezTo>
                      <a:pt x="202" y="138"/>
                      <a:pt x="202" y="138"/>
                      <a:pt x="202" y="138"/>
                    </a:cubicBezTo>
                    <a:moveTo>
                      <a:pt x="146" y="107"/>
                    </a:moveTo>
                    <a:cubicBezTo>
                      <a:pt x="174" y="136"/>
                      <a:pt x="174" y="136"/>
                      <a:pt x="174" y="136"/>
                    </a:cubicBezTo>
                    <a:cubicBezTo>
                      <a:pt x="202" y="108"/>
                      <a:pt x="202" y="108"/>
                      <a:pt x="202" y="108"/>
                    </a:cubicBezTo>
                    <a:moveTo>
                      <a:pt x="146" y="77"/>
                    </a:moveTo>
                    <a:cubicBezTo>
                      <a:pt x="174" y="106"/>
                      <a:pt x="174" y="106"/>
                      <a:pt x="174" y="106"/>
                    </a:cubicBezTo>
                    <a:cubicBezTo>
                      <a:pt x="202" y="78"/>
                      <a:pt x="202" y="78"/>
                      <a:pt x="202" y="78"/>
                    </a:cubicBezTo>
                    <a:moveTo>
                      <a:pt x="174" y="60"/>
                    </a:moveTo>
                    <a:cubicBezTo>
                      <a:pt x="174" y="106"/>
                      <a:pt x="174" y="106"/>
                      <a:pt x="174" y="106"/>
                    </a:cubicBezTo>
                    <a:moveTo>
                      <a:pt x="5" y="137"/>
                    </a:moveTo>
                    <a:cubicBezTo>
                      <a:pt x="34" y="166"/>
                      <a:pt x="34" y="166"/>
                      <a:pt x="34" y="166"/>
                    </a:cubicBezTo>
                    <a:cubicBezTo>
                      <a:pt x="62" y="138"/>
                      <a:pt x="62" y="138"/>
                      <a:pt x="62" y="138"/>
                    </a:cubicBezTo>
                    <a:moveTo>
                      <a:pt x="5" y="107"/>
                    </a:moveTo>
                    <a:cubicBezTo>
                      <a:pt x="34" y="136"/>
                      <a:pt x="34" y="136"/>
                      <a:pt x="34" y="136"/>
                    </a:cubicBezTo>
                    <a:cubicBezTo>
                      <a:pt x="62" y="108"/>
                      <a:pt x="62" y="108"/>
                      <a:pt x="62" y="108"/>
                    </a:cubicBezTo>
                    <a:moveTo>
                      <a:pt x="5" y="77"/>
                    </a:moveTo>
                    <a:cubicBezTo>
                      <a:pt x="34" y="106"/>
                      <a:pt x="34" y="106"/>
                      <a:pt x="34" y="106"/>
                    </a:cubicBezTo>
                    <a:cubicBezTo>
                      <a:pt x="62" y="78"/>
                      <a:pt x="62" y="78"/>
                      <a:pt x="62" y="78"/>
                    </a:cubicBezTo>
                    <a:moveTo>
                      <a:pt x="34" y="60"/>
                    </a:moveTo>
                    <a:cubicBezTo>
                      <a:pt x="34" y="106"/>
                      <a:pt x="34" y="106"/>
                      <a:pt x="34" y="106"/>
                    </a:cubicBezTo>
                    <a:moveTo>
                      <a:pt x="34" y="208"/>
                    </a:moveTo>
                    <a:cubicBezTo>
                      <a:pt x="34" y="166"/>
                      <a:pt x="34" y="166"/>
                      <a:pt x="34" y="166"/>
                    </a:cubicBezTo>
                    <a:moveTo>
                      <a:pt x="102" y="106"/>
                    </a:moveTo>
                    <a:cubicBezTo>
                      <a:pt x="102" y="252"/>
                      <a:pt x="102" y="252"/>
                      <a:pt x="102" y="252"/>
                    </a:cubicBezTo>
                    <a:moveTo>
                      <a:pt x="174" y="166"/>
                    </a:moveTo>
                    <a:cubicBezTo>
                      <a:pt x="174" y="204"/>
                      <a:pt x="174" y="204"/>
                      <a:pt x="174" y="204"/>
                    </a:cubicBezTo>
                    <a:moveTo>
                      <a:pt x="31" y="294"/>
                    </a:moveTo>
                    <a:cubicBezTo>
                      <a:pt x="45" y="323"/>
                      <a:pt x="75" y="355"/>
                      <a:pt x="88" y="349"/>
                    </a:cubicBezTo>
                    <a:cubicBezTo>
                      <a:pt x="101" y="342"/>
                      <a:pt x="97" y="307"/>
                      <a:pt x="78" y="270"/>
                    </a:cubicBezTo>
                    <a:cubicBezTo>
                      <a:pt x="60" y="233"/>
                      <a:pt x="3" y="173"/>
                      <a:pt x="2" y="173"/>
                    </a:cubicBezTo>
                    <a:cubicBezTo>
                      <a:pt x="0" y="172"/>
                      <a:pt x="17" y="264"/>
                      <a:pt x="31" y="294"/>
                    </a:cubicBezTo>
                    <a:close/>
                    <a:moveTo>
                      <a:pt x="174" y="294"/>
                    </a:moveTo>
                    <a:cubicBezTo>
                      <a:pt x="189" y="264"/>
                      <a:pt x="205" y="172"/>
                      <a:pt x="203" y="173"/>
                    </a:cubicBezTo>
                    <a:cubicBezTo>
                      <a:pt x="202" y="173"/>
                      <a:pt x="145" y="233"/>
                      <a:pt x="127" y="270"/>
                    </a:cubicBezTo>
                    <a:cubicBezTo>
                      <a:pt x="109" y="307"/>
                      <a:pt x="104" y="342"/>
                      <a:pt x="117" y="349"/>
                    </a:cubicBezTo>
                    <a:cubicBezTo>
                      <a:pt x="130" y="355"/>
                      <a:pt x="160" y="323"/>
                      <a:pt x="174" y="294"/>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1729">
                  <a:gradFill>
                    <a:gsLst>
                      <a:gs pos="0">
                        <a:srgbClr val="505050"/>
                      </a:gs>
                      <a:gs pos="100000">
                        <a:srgbClr val="505050"/>
                      </a:gs>
                    </a:gsLst>
                  </a:gradFill>
                  <a:latin typeface="Segoe UI Semilight"/>
                </a:endParaRPr>
              </a:p>
            </p:txBody>
          </p:sp>
        </p:grpSp>
        <p:grpSp>
          <p:nvGrpSpPr>
            <p:cNvPr id="208" name="Group 207">
              <a:extLst>
                <a:ext uri="{FF2B5EF4-FFF2-40B4-BE49-F238E27FC236}">
                  <a16:creationId xmlns:a16="http://schemas.microsoft.com/office/drawing/2014/main" id="{0270D163-873A-4737-8D62-965D203C6FAB}"/>
                </a:ext>
              </a:extLst>
            </p:cNvPr>
            <p:cNvGrpSpPr/>
            <p:nvPr/>
          </p:nvGrpSpPr>
          <p:grpSpPr>
            <a:xfrm>
              <a:off x="8765833" y="5707824"/>
              <a:ext cx="503278" cy="503278"/>
              <a:chOff x="6435895" y="5954753"/>
              <a:chExt cx="523664" cy="523664"/>
            </a:xfrm>
          </p:grpSpPr>
          <p:sp useBgFill="1">
            <p:nvSpPr>
              <p:cNvPr id="209" name="Oval 208">
                <a:extLst>
                  <a:ext uri="{FF2B5EF4-FFF2-40B4-BE49-F238E27FC236}">
                    <a16:creationId xmlns:a16="http://schemas.microsoft.com/office/drawing/2014/main" id="{55DC6B45-6687-4677-85BA-358BE899AE79}"/>
                  </a:ext>
                </a:extLst>
              </p:cNvPr>
              <p:cNvSpPr/>
              <p:nvPr/>
            </p:nvSpPr>
            <p:spPr bwMode="auto">
              <a:xfrm rot="21000000" flipH="1">
                <a:off x="6435895" y="5954753"/>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0" name="Fingerprint_E928">
                <a:extLst>
                  <a:ext uri="{FF2B5EF4-FFF2-40B4-BE49-F238E27FC236}">
                    <a16:creationId xmlns:a16="http://schemas.microsoft.com/office/drawing/2014/main" id="{E9475C6A-4ED4-44BF-89C4-E87213A3B0F8}"/>
                  </a:ext>
                </a:extLst>
              </p:cNvPr>
              <p:cNvSpPr>
                <a:spLocks noChangeAspect="1" noEditPoints="1"/>
              </p:cNvSpPr>
              <p:nvPr/>
            </p:nvSpPr>
            <p:spPr bwMode="auto">
              <a:xfrm>
                <a:off x="6575554" y="6052285"/>
                <a:ext cx="244346" cy="328600"/>
              </a:xfrm>
              <a:custGeom>
                <a:avLst/>
                <a:gdLst>
                  <a:gd name="T0" fmla="*/ 1116 w 2414"/>
                  <a:gd name="T1" fmla="*/ 1998 h 3246"/>
                  <a:gd name="T2" fmla="*/ 117 w 2414"/>
                  <a:gd name="T3" fmla="*/ 2996 h 3246"/>
                  <a:gd name="T4" fmla="*/ 2115 w 2414"/>
                  <a:gd name="T5" fmla="*/ 250 h 3246"/>
                  <a:gd name="T6" fmla="*/ 1116 w 2414"/>
                  <a:gd name="T7" fmla="*/ 0 h 3246"/>
                  <a:gd name="T8" fmla="*/ 117 w 2414"/>
                  <a:gd name="T9" fmla="*/ 250 h 3246"/>
                  <a:gd name="T10" fmla="*/ 2414 w 2414"/>
                  <a:gd name="T11" fmla="*/ 1248 h 3246"/>
                  <a:gd name="T12" fmla="*/ 1116 w 2414"/>
                  <a:gd name="T13" fmla="*/ 499 h 3246"/>
                  <a:gd name="T14" fmla="*/ 0 w 2414"/>
                  <a:gd name="T15" fmla="*/ 999 h 3246"/>
                  <a:gd name="T16" fmla="*/ 1677 w 2414"/>
                  <a:gd name="T17" fmla="*/ 3246 h 3246"/>
                  <a:gd name="T18" fmla="*/ 2115 w 2414"/>
                  <a:gd name="T19" fmla="*/ 1998 h 3246"/>
                  <a:gd name="T20" fmla="*/ 1116 w 2414"/>
                  <a:gd name="T21" fmla="*/ 999 h 3246"/>
                  <a:gd name="T22" fmla="*/ 117 w 2414"/>
                  <a:gd name="T23" fmla="*/ 1998 h 3246"/>
                  <a:gd name="T24" fmla="*/ 946 w 2414"/>
                  <a:gd name="T25" fmla="*/ 3246 h 3246"/>
                  <a:gd name="T26" fmla="*/ 1616 w 2414"/>
                  <a:gd name="T27" fmla="*/ 1998 h 3246"/>
                  <a:gd name="T28" fmla="*/ 1116 w 2414"/>
                  <a:gd name="T29" fmla="*/ 1498 h 3246"/>
                  <a:gd name="T30" fmla="*/ 617 w 2414"/>
                  <a:gd name="T31" fmla="*/ 1998 h 3246"/>
                  <a:gd name="T32" fmla="*/ 117 w 2414"/>
                  <a:gd name="T33" fmla="*/ 2497 h 3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14" h="3246">
                    <a:moveTo>
                      <a:pt x="1116" y="1998"/>
                    </a:moveTo>
                    <a:cubicBezTo>
                      <a:pt x="1116" y="2550"/>
                      <a:pt x="669" y="2996"/>
                      <a:pt x="117" y="2996"/>
                    </a:cubicBezTo>
                    <a:moveTo>
                      <a:pt x="2115" y="250"/>
                    </a:moveTo>
                    <a:cubicBezTo>
                      <a:pt x="1819" y="91"/>
                      <a:pt x="1479" y="0"/>
                      <a:pt x="1116" y="0"/>
                    </a:cubicBezTo>
                    <a:cubicBezTo>
                      <a:pt x="754" y="0"/>
                      <a:pt x="413" y="91"/>
                      <a:pt x="117" y="250"/>
                    </a:cubicBezTo>
                    <a:moveTo>
                      <a:pt x="2414" y="1248"/>
                    </a:moveTo>
                    <a:cubicBezTo>
                      <a:pt x="2155" y="801"/>
                      <a:pt x="1671" y="499"/>
                      <a:pt x="1116" y="499"/>
                    </a:cubicBezTo>
                    <a:cubicBezTo>
                      <a:pt x="673" y="499"/>
                      <a:pt x="274" y="692"/>
                      <a:pt x="0" y="999"/>
                    </a:cubicBezTo>
                    <a:moveTo>
                      <a:pt x="1677" y="3246"/>
                    </a:moveTo>
                    <a:cubicBezTo>
                      <a:pt x="1951" y="2904"/>
                      <a:pt x="2115" y="2470"/>
                      <a:pt x="2115" y="1998"/>
                    </a:cubicBezTo>
                    <a:cubicBezTo>
                      <a:pt x="2115" y="1446"/>
                      <a:pt x="1668" y="999"/>
                      <a:pt x="1116" y="999"/>
                    </a:cubicBezTo>
                    <a:cubicBezTo>
                      <a:pt x="565" y="999"/>
                      <a:pt x="117" y="1446"/>
                      <a:pt x="117" y="1998"/>
                    </a:cubicBezTo>
                    <a:moveTo>
                      <a:pt x="946" y="3246"/>
                    </a:moveTo>
                    <a:cubicBezTo>
                      <a:pt x="1350" y="2978"/>
                      <a:pt x="1616" y="2519"/>
                      <a:pt x="1616" y="1998"/>
                    </a:cubicBezTo>
                    <a:cubicBezTo>
                      <a:pt x="1616" y="1722"/>
                      <a:pt x="1392" y="1498"/>
                      <a:pt x="1116" y="1498"/>
                    </a:cubicBezTo>
                    <a:cubicBezTo>
                      <a:pt x="840" y="1498"/>
                      <a:pt x="617" y="1722"/>
                      <a:pt x="617" y="1998"/>
                    </a:cubicBezTo>
                    <a:cubicBezTo>
                      <a:pt x="617" y="2274"/>
                      <a:pt x="393" y="2497"/>
                      <a:pt x="117" y="2497"/>
                    </a:cubicBezTo>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1729">
                  <a:gradFill>
                    <a:gsLst>
                      <a:gs pos="0">
                        <a:srgbClr val="505050"/>
                      </a:gs>
                      <a:gs pos="100000">
                        <a:srgbClr val="505050"/>
                      </a:gs>
                    </a:gsLst>
                  </a:gradFill>
                  <a:latin typeface="Segoe UI Semilight"/>
                </a:endParaRPr>
              </a:p>
            </p:txBody>
          </p:sp>
        </p:grpSp>
        <p:grpSp>
          <p:nvGrpSpPr>
            <p:cNvPr id="211" name="Group 210">
              <a:extLst>
                <a:ext uri="{FF2B5EF4-FFF2-40B4-BE49-F238E27FC236}">
                  <a16:creationId xmlns:a16="http://schemas.microsoft.com/office/drawing/2014/main" id="{89E409C6-D8FB-4C7D-973E-B97356E04EEF}"/>
                </a:ext>
              </a:extLst>
            </p:cNvPr>
            <p:cNvGrpSpPr/>
            <p:nvPr/>
          </p:nvGrpSpPr>
          <p:grpSpPr>
            <a:xfrm>
              <a:off x="7844185" y="480905"/>
              <a:ext cx="503278" cy="503278"/>
              <a:chOff x="5476915" y="516110"/>
              <a:chExt cx="523664" cy="523664"/>
            </a:xfrm>
          </p:grpSpPr>
          <p:sp useBgFill="1">
            <p:nvSpPr>
              <p:cNvPr id="212" name="Oval 211">
                <a:extLst>
                  <a:ext uri="{FF2B5EF4-FFF2-40B4-BE49-F238E27FC236}">
                    <a16:creationId xmlns:a16="http://schemas.microsoft.com/office/drawing/2014/main" id="{F34F9275-5E93-40E8-A0FD-58D7479701F1}"/>
                  </a:ext>
                </a:extLst>
              </p:cNvPr>
              <p:cNvSpPr/>
              <p:nvPr/>
            </p:nvSpPr>
            <p:spPr bwMode="auto">
              <a:xfrm rot="21000000" flipH="1">
                <a:off x="5476915" y="516110"/>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3" name="key">
                <a:extLst>
                  <a:ext uri="{FF2B5EF4-FFF2-40B4-BE49-F238E27FC236}">
                    <a16:creationId xmlns:a16="http://schemas.microsoft.com/office/drawing/2014/main" id="{68B35905-2263-44E4-8476-A464E15CBF1C}"/>
                  </a:ext>
                </a:extLst>
              </p:cNvPr>
              <p:cNvSpPr>
                <a:spLocks noChangeAspect="1" noEditPoints="1"/>
              </p:cNvSpPr>
              <p:nvPr/>
            </p:nvSpPr>
            <p:spPr bwMode="auto">
              <a:xfrm>
                <a:off x="5591044" y="630997"/>
                <a:ext cx="295406" cy="293890"/>
              </a:xfrm>
              <a:custGeom>
                <a:avLst/>
                <a:gdLst>
                  <a:gd name="T0" fmla="*/ 175 w 330"/>
                  <a:gd name="T1" fmla="*/ 198 h 328"/>
                  <a:gd name="T2" fmla="*/ 109 w 330"/>
                  <a:gd name="T3" fmla="*/ 220 h 328"/>
                  <a:gd name="T4" fmla="*/ 0 w 330"/>
                  <a:gd name="T5" fmla="*/ 110 h 328"/>
                  <a:gd name="T6" fmla="*/ 109 w 330"/>
                  <a:gd name="T7" fmla="*/ 0 h 328"/>
                  <a:gd name="T8" fmla="*/ 219 w 330"/>
                  <a:gd name="T9" fmla="*/ 110 h 328"/>
                  <a:gd name="T10" fmla="*/ 214 w 330"/>
                  <a:gd name="T11" fmla="*/ 143 h 328"/>
                  <a:gd name="T12" fmla="*/ 330 w 330"/>
                  <a:gd name="T13" fmla="*/ 258 h 328"/>
                  <a:gd name="T14" fmla="*/ 330 w 330"/>
                  <a:gd name="T15" fmla="*/ 328 h 328"/>
                  <a:gd name="T16" fmla="*/ 264 w 330"/>
                  <a:gd name="T17" fmla="*/ 328 h 328"/>
                  <a:gd name="T18" fmla="*/ 264 w 330"/>
                  <a:gd name="T19" fmla="*/ 283 h 328"/>
                  <a:gd name="T20" fmla="*/ 221 w 330"/>
                  <a:gd name="T21" fmla="*/ 283 h 328"/>
                  <a:gd name="T22" fmla="*/ 221 w 330"/>
                  <a:gd name="T23" fmla="*/ 239 h 328"/>
                  <a:gd name="T24" fmla="*/ 175 w 330"/>
                  <a:gd name="T25" fmla="*/ 239 h 328"/>
                  <a:gd name="T26" fmla="*/ 175 w 330"/>
                  <a:gd name="T27" fmla="*/ 198 h 328"/>
                  <a:gd name="T28" fmla="*/ 76 w 330"/>
                  <a:gd name="T29" fmla="*/ 91 h 328"/>
                  <a:gd name="T30" fmla="*/ 91 w 330"/>
                  <a:gd name="T31" fmla="*/ 76 h 328"/>
                  <a:gd name="T32" fmla="*/ 76 w 330"/>
                  <a:gd name="T33" fmla="*/ 60 h 328"/>
                  <a:gd name="T34" fmla="*/ 60 w 330"/>
                  <a:gd name="T35" fmla="*/ 76 h 328"/>
                  <a:gd name="T36" fmla="*/ 76 w 330"/>
                  <a:gd name="T37" fmla="*/ 91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328">
                    <a:moveTo>
                      <a:pt x="175" y="198"/>
                    </a:moveTo>
                    <a:cubicBezTo>
                      <a:pt x="157" y="212"/>
                      <a:pt x="134" y="220"/>
                      <a:pt x="109" y="220"/>
                    </a:cubicBezTo>
                    <a:cubicBezTo>
                      <a:pt x="49" y="220"/>
                      <a:pt x="0" y="171"/>
                      <a:pt x="0" y="110"/>
                    </a:cubicBezTo>
                    <a:cubicBezTo>
                      <a:pt x="0" y="49"/>
                      <a:pt x="49" y="0"/>
                      <a:pt x="109" y="0"/>
                    </a:cubicBezTo>
                    <a:cubicBezTo>
                      <a:pt x="170" y="0"/>
                      <a:pt x="219" y="49"/>
                      <a:pt x="219" y="110"/>
                    </a:cubicBezTo>
                    <a:cubicBezTo>
                      <a:pt x="219" y="122"/>
                      <a:pt x="217" y="133"/>
                      <a:pt x="214" y="143"/>
                    </a:cubicBezTo>
                    <a:cubicBezTo>
                      <a:pt x="330" y="258"/>
                      <a:pt x="330" y="258"/>
                      <a:pt x="330" y="258"/>
                    </a:cubicBezTo>
                    <a:cubicBezTo>
                      <a:pt x="330" y="328"/>
                      <a:pt x="330" y="328"/>
                      <a:pt x="330" y="328"/>
                    </a:cubicBezTo>
                    <a:cubicBezTo>
                      <a:pt x="264" y="328"/>
                      <a:pt x="264" y="328"/>
                      <a:pt x="264" y="328"/>
                    </a:cubicBezTo>
                    <a:cubicBezTo>
                      <a:pt x="264" y="283"/>
                      <a:pt x="264" y="283"/>
                      <a:pt x="264" y="283"/>
                    </a:cubicBezTo>
                    <a:cubicBezTo>
                      <a:pt x="221" y="283"/>
                      <a:pt x="221" y="283"/>
                      <a:pt x="221" y="283"/>
                    </a:cubicBezTo>
                    <a:cubicBezTo>
                      <a:pt x="221" y="239"/>
                      <a:pt x="221" y="239"/>
                      <a:pt x="221" y="239"/>
                    </a:cubicBezTo>
                    <a:cubicBezTo>
                      <a:pt x="175" y="239"/>
                      <a:pt x="175" y="239"/>
                      <a:pt x="175" y="239"/>
                    </a:cubicBezTo>
                    <a:lnTo>
                      <a:pt x="175" y="198"/>
                    </a:lnTo>
                    <a:close/>
                    <a:moveTo>
                      <a:pt x="76" y="91"/>
                    </a:moveTo>
                    <a:cubicBezTo>
                      <a:pt x="84" y="91"/>
                      <a:pt x="91" y="84"/>
                      <a:pt x="91" y="76"/>
                    </a:cubicBezTo>
                    <a:cubicBezTo>
                      <a:pt x="91" y="67"/>
                      <a:pt x="84" y="60"/>
                      <a:pt x="76" y="60"/>
                    </a:cubicBezTo>
                    <a:cubicBezTo>
                      <a:pt x="67" y="60"/>
                      <a:pt x="60" y="67"/>
                      <a:pt x="60" y="76"/>
                    </a:cubicBezTo>
                    <a:cubicBezTo>
                      <a:pt x="60" y="84"/>
                      <a:pt x="67" y="91"/>
                      <a:pt x="76" y="91"/>
                    </a:cubicBezTo>
                    <a:close/>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1729">
                  <a:solidFill>
                    <a:srgbClr val="505050"/>
                  </a:solidFill>
                  <a:latin typeface="Segoe UI Semilight"/>
                </a:endParaRPr>
              </a:p>
            </p:txBody>
          </p:sp>
        </p:grpSp>
        <p:grpSp>
          <p:nvGrpSpPr>
            <p:cNvPr id="214" name="Group 213">
              <a:extLst>
                <a:ext uri="{FF2B5EF4-FFF2-40B4-BE49-F238E27FC236}">
                  <a16:creationId xmlns:a16="http://schemas.microsoft.com/office/drawing/2014/main" id="{DA4A7EA5-26C5-4B79-B834-E277F3167736}"/>
                </a:ext>
              </a:extLst>
            </p:cNvPr>
            <p:cNvGrpSpPr/>
            <p:nvPr/>
          </p:nvGrpSpPr>
          <p:grpSpPr>
            <a:xfrm>
              <a:off x="6859659" y="868719"/>
              <a:ext cx="503278" cy="503278"/>
              <a:chOff x="4452509" y="919634"/>
              <a:chExt cx="523664" cy="523664"/>
            </a:xfrm>
          </p:grpSpPr>
          <p:sp useBgFill="1">
            <p:nvSpPr>
              <p:cNvPr id="215" name="Oval 214">
                <a:extLst>
                  <a:ext uri="{FF2B5EF4-FFF2-40B4-BE49-F238E27FC236}">
                    <a16:creationId xmlns:a16="http://schemas.microsoft.com/office/drawing/2014/main" id="{14A99B0F-368D-401B-9707-AD02B6D87D3A}"/>
                  </a:ext>
                </a:extLst>
              </p:cNvPr>
              <p:cNvSpPr/>
              <p:nvPr/>
            </p:nvSpPr>
            <p:spPr bwMode="auto">
              <a:xfrm rot="19620000" flipH="1">
                <a:off x="4452509" y="919634"/>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6" name="Temperature_med">
                <a:extLst>
                  <a:ext uri="{FF2B5EF4-FFF2-40B4-BE49-F238E27FC236}">
                    <a16:creationId xmlns:a16="http://schemas.microsoft.com/office/drawing/2014/main" id="{9219B32C-8715-46B2-8FFF-4C5CDCF8DF74}"/>
                  </a:ext>
                </a:extLst>
              </p:cNvPr>
              <p:cNvSpPr>
                <a:spLocks noChangeAspect="1" noEditPoints="1"/>
              </p:cNvSpPr>
              <p:nvPr/>
            </p:nvSpPr>
            <p:spPr bwMode="auto">
              <a:xfrm>
                <a:off x="4642457" y="1001713"/>
                <a:ext cx="143770" cy="359506"/>
              </a:xfrm>
              <a:custGeom>
                <a:avLst/>
                <a:gdLst>
                  <a:gd name="T0" fmla="*/ 748 w 1496"/>
                  <a:gd name="T1" fmla="*/ 3274 h 3743"/>
                  <a:gd name="T2" fmla="*/ 469 w 1496"/>
                  <a:gd name="T3" fmla="*/ 2995 h 3743"/>
                  <a:gd name="T4" fmla="*/ 748 w 1496"/>
                  <a:gd name="T5" fmla="*/ 2716 h 3743"/>
                  <a:gd name="T6" fmla="*/ 1027 w 1496"/>
                  <a:gd name="T7" fmla="*/ 2995 h 3743"/>
                  <a:gd name="T8" fmla="*/ 748 w 1496"/>
                  <a:gd name="T9" fmla="*/ 3274 h 3743"/>
                  <a:gd name="T10" fmla="*/ 1248 w 1496"/>
                  <a:gd name="T11" fmla="*/ 2439 h 3743"/>
                  <a:gd name="T12" fmla="*/ 1248 w 1496"/>
                  <a:gd name="T13" fmla="*/ 500 h 3743"/>
                  <a:gd name="T14" fmla="*/ 748 w 1496"/>
                  <a:gd name="T15" fmla="*/ 0 h 3743"/>
                  <a:gd name="T16" fmla="*/ 748 w 1496"/>
                  <a:gd name="T17" fmla="*/ 0 h 3743"/>
                  <a:gd name="T18" fmla="*/ 248 w 1496"/>
                  <a:gd name="T19" fmla="*/ 500 h 3743"/>
                  <a:gd name="T20" fmla="*/ 248 w 1496"/>
                  <a:gd name="T21" fmla="*/ 2439 h 3743"/>
                  <a:gd name="T22" fmla="*/ 0 w 1496"/>
                  <a:gd name="T23" fmla="*/ 2995 h 3743"/>
                  <a:gd name="T24" fmla="*/ 748 w 1496"/>
                  <a:gd name="T25" fmla="*/ 3743 h 3743"/>
                  <a:gd name="T26" fmla="*/ 1496 w 1496"/>
                  <a:gd name="T27" fmla="*/ 2995 h 3743"/>
                  <a:gd name="T28" fmla="*/ 1248 w 1496"/>
                  <a:gd name="T29" fmla="*/ 2439 h 3743"/>
                  <a:gd name="T30" fmla="*/ 748 w 1496"/>
                  <a:gd name="T31" fmla="*/ 1371 h 3743"/>
                  <a:gd name="T32" fmla="*/ 748 w 1496"/>
                  <a:gd name="T33" fmla="*/ 2716 h 3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96" h="3743">
                    <a:moveTo>
                      <a:pt x="748" y="3274"/>
                    </a:moveTo>
                    <a:cubicBezTo>
                      <a:pt x="594" y="3274"/>
                      <a:pt x="469" y="3149"/>
                      <a:pt x="469" y="2995"/>
                    </a:cubicBezTo>
                    <a:cubicBezTo>
                      <a:pt x="469" y="2841"/>
                      <a:pt x="594" y="2716"/>
                      <a:pt x="748" y="2716"/>
                    </a:cubicBezTo>
                    <a:cubicBezTo>
                      <a:pt x="902" y="2716"/>
                      <a:pt x="1027" y="2841"/>
                      <a:pt x="1027" y="2995"/>
                    </a:cubicBezTo>
                    <a:cubicBezTo>
                      <a:pt x="1027" y="3149"/>
                      <a:pt x="902" y="3274"/>
                      <a:pt x="748" y="3274"/>
                    </a:cubicBezTo>
                    <a:close/>
                    <a:moveTo>
                      <a:pt x="1248" y="2439"/>
                    </a:moveTo>
                    <a:cubicBezTo>
                      <a:pt x="1248" y="500"/>
                      <a:pt x="1248" y="500"/>
                      <a:pt x="1248" y="500"/>
                    </a:cubicBezTo>
                    <a:cubicBezTo>
                      <a:pt x="1248" y="224"/>
                      <a:pt x="1024" y="0"/>
                      <a:pt x="748" y="0"/>
                    </a:cubicBezTo>
                    <a:cubicBezTo>
                      <a:pt x="748" y="0"/>
                      <a:pt x="748" y="0"/>
                      <a:pt x="748" y="0"/>
                    </a:cubicBezTo>
                    <a:cubicBezTo>
                      <a:pt x="472" y="0"/>
                      <a:pt x="248" y="224"/>
                      <a:pt x="248" y="500"/>
                    </a:cubicBezTo>
                    <a:cubicBezTo>
                      <a:pt x="248" y="2439"/>
                      <a:pt x="248" y="2439"/>
                      <a:pt x="248" y="2439"/>
                    </a:cubicBezTo>
                    <a:cubicBezTo>
                      <a:pt x="96" y="2576"/>
                      <a:pt x="0" y="2774"/>
                      <a:pt x="0" y="2995"/>
                    </a:cubicBezTo>
                    <a:cubicBezTo>
                      <a:pt x="0" y="3408"/>
                      <a:pt x="335" y="3743"/>
                      <a:pt x="748" y="3743"/>
                    </a:cubicBezTo>
                    <a:cubicBezTo>
                      <a:pt x="1161" y="3743"/>
                      <a:pt x="1496" y="3408"/>
                      <a:pt x="1496" y="2995"/>
                    </a:cubicBezTo>
                    <a:cubicBezTo>
                      <a:pt x="1496" y="2774"/>
                      <a:pt x="1400" y="2576"/>
                      <a:pt x="1248" y="2439"/>
                    </a:cubicBezTo>
                    <a:close/>
                    <a:moveTo>
                      <a:pt x="748" y="1371"/>
                    </a:moveTo>
                    <a:cubicBezTo>
                      <a:pt x="748" y="2716"/>
                      <a:pt x="748" y="2716"/>
                      <a:pt x="748" y="2716"/>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865">
                  <a:gradFill>
                    <a:gsLst>
                      <a:gs pos="0">
                        <a:srgbClr val="505050"/>
                      </a:gs>
                      <a:gs pos="100000">
                        <a:srgbClr val="505050"/>
                      </a:gs>
                    </a:gsLst>
                    <a:lin ang="5400000" scaled="1"/>
                  </a:gradFill>
                  <a:latin typeface="Segoe UI Semilight"/>
                </a:endParaRPr>
              </a:p>
            </p:txBody>
          </p:sp>
        </p:grpSp>
        <p:grpSp>
          <p:nvGrpSpPr>
            <p:cNvPr id="217" name="Group 216">
              <a:extLst>
                <a:ext uri="{FF2B5EF4-FFF2-40B4-BE49-F238E27FC236}">
                  <a16:creationId xmlns:a16="http://schemas.microsoft.com/office/drawing/2014/main" id="{E53CC953-44D2-427B-9909-746DF50BAE29}"/>
                </a:ext>
              </a:extLst>
            </p:cNvPr>
            <p:cNvGrpSpPr/>
            <p:nvPr/>
          </p:nvGrpSpPr>
          <p:grpSpPr>
            <a:xfrm>
              <a:off x="6131163" y="1572220"/>
              <a:ext cx="503278" cy="503278"/>
              <a:chOff x="3694504" y="1651631"/>
              <a:chExt cx="523664" cy="523664"/>
            </a:xfrm>
          </p:grpSpPr>
          <p:sp useBgFill="1">
            <p:nvSpPr>
              <p:cNvPr id="218" name="Oval 217">
                <a:extLst>
                  <a:ext uri="{FF2B5EF4-FFF2-40B4-BE49-F238E27FC236}">
                    <a16:creationId xmlns:a16="http://schemas.microsoft.com/office/drawing/2014/main" id="{F5AF69D5-D609-4CCB-B7B8-41DEC5998034}"/>
                  </a:ext>
                </a:extLst>
              </p:cNvPr>
              <p:cNvSpPr/>
              <p:nvPr/>
            </p:nvSpPr>
            <p:spPr bwMode="auto">
              <a:xfrm rot="18300000" flipH="1">
                <a:off x="3694504" y="1651631"/>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19" name="News_E900">
                <a:extLst>
                  <a:ext uri="{FF2B5EF4-FFF2-40B4-BE49-F238E27FC236}">
                    <a16:creationId xmlns:a16="http://schemas.microsoft.com/office/drawing/2014/main" id="{449D905F-B35A-48FB-A5AA-51903E25FF94}"/>
                  </a:ext>
                </a:extLst>
              </p:cNvPr>
              <p:cNvSpPr>
                <a:spLocks noChangeAspect="1" noEditPoints="1"/>
              </p:cNvSpPr>
              <p:nvPr/>
            </p:nvSpPr>
            <p:spPr bwMode="auto">
              <a:xfrm>
                <a:off x="3791529" y="1803455"/>
                <a:ext cx="329615" cy="220017"/>
              </a:xfrm>
              <a:custGeom>
                <a:avLst/>
                <a:gdLst>
                  <a:gd name="T0" fmla="*/ 3240 w 3738"/>
                  <a:gd name="T1" fmla="*/ 0 h 2493"/>
                  <a:gd name="T2" fmla="*/ 3240 w 3738"/>
                  <a:gd name="T3" fmla="*/ 499 h 2493"/>
                  <a:gd name="T4" fmla="*/ 3738 w 3738"/>
                  <a:gd name="T5" fmla="*/ 499 h 2493"/>
                  <a:gd name="T6" fmla="*/ 3738 w 3738"/>
                  <a:gd name="T7" fmla="*/ 2119 h 2493"/>
                  <a:gd name="T8" fmla="*/ 3365 w 3738"/>
                  <a:gd name="T9" fmla="*/ 2493 h 2493"/>
                  <a:gd name="T10" fmla="*/ 361 w 3738"/>
                  <a:gd name="T11" fmla="*/ 2493 h 2493"/>
                  <a:gd name="T12" fmla="*/ 0 w 3738"/>
                  <a:gd name="T13" fmla="*/ 2132 h 2493"/>
                  <a:gd name="T14" fmla="*/ 0 w 3738"/>
                  <a:gd name="T15" fmla="*/ 0 h 2493"/>
                  <a:gd name="T16" fmla="*/ 3240 w 3738"/>
                  <a:gd name="T17" fmla="*/ 0 h 2493"/>
                  <a:gd name="T18" fmla="*/ 3240 w 3738"/>
                  <a:gd name="T19" fmla="*/ 499 h 2493"/>
                  <a:gd name="T20" fmla="*/ 3240 w 3738"/>
                  <a:gd name="T21" fmla="*/ 1994 h 2493"/>
                  <a:gd name="T22" fmla="*/ 2866 w 3738"/>
                  <a:gd name="T23" fmla="*/ 499 h 2493"/>
                  <a:gd name="T24" fmla="*/ 374 w 3738"/>
                  <a:gd name="T25" fmla="*/ 499 h 2493"/>
                  <a:gd name="T26" fmla="*/ 2866 w 3738"/>
                  <a:gd name="T27" fmla="*/ 1994 h 2493"/>
                  <a:gd name="T28" fmla="*/ 1869 w 3738"/>
                  <a:gd name="T29" fmla="*/ 1994 h 2493"/>
                  <a:gd name="T30" fmla="*/ 2866 w 3738"/>
                  <a:gd name="T31" fmla="*/ 1496 h 2493"/>
                  <a:gd name="T32" fmla="*/ 1869 w 3738"/>
                  <a:gd name="T33" fmla="*/ 1496 h 2493"/>
                  <a:gd name="T34" fmla="*/ 2866 w 3738"/>
                  <a:gd name="T35" fmla="*/ 997 h 2493"/>
                  <a:gd name="T36" fmla="*/ 1869 w 3738"/>
                  <a:gd name="T37" fmla="*/ 997 h 2493"/>
                  <a:gd name="T38" fmla="*/ 498 w 3738"/>
                  <a:gd name="T39" fmla="*/ 1994 h 2493"/>
                  <a:gd name="T40" fmla="*/ 1495 w 3738"/>
                  <a:gd name="T41" fmla="*/ 1994 h 2493"/>
                  <a:gd name="T42" fmla="*/ 1495 w 3738"/>
                  <a:gd name="T43" fmla="*/ 992 h 2493"/>
                  <a:gd name="T44" fmla="*/ 498 w 3738"/>
                  <a:gd name="T45" fmla="*/ 992 h 2493"/>
                  <a:gd name="T46" fmla="*/ 498 w 3738"/>
                  <a:gd name="T47" fmla="*/ 1994 h 2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738" h="2493">
                    <a:moveTo>
                      <a:pt x="3240" y="0"/>
                    </a:moveTo>
                    <a:cubicBezTo>
                      <a:pt x="3240" y="499"/>
                      <a:pt x="3240" y="499"/>
                      <a:pt x="3240" y="499"/>
                    </a:cubicBezTo>
                    <a:cubicBezTo>
                      <a:pt x="3738" y="499"/>
                      <a:pt x="3738" y="499"/>
                      <a:pt x="3738" y="499"/>
                    </a:cubicBezTo>
                    <a:cubicBezTo>
                      <a:pt x="3738" y="2119"/>
                      <a:pt x="3738" y="2119"/>
                      <a:pt x="3738" y="2119"/>
                    </a:cubicBezTo>
                    <a:cubicBezTo>
                      <a:pt x="3738" y="2325"/>
                      <a:pt x="3571" y="2493"/>
                      <a:pt x="3365" y="2493"/>
                    </a:cubicBezTo>
                    <a:cubicBezTo>
                      <a:pt x="361" y="2493"/>
                      <a:pt x="361" y="2493"/>
                      <a:pt x="361" y="2493"/>
                    </a:cubicBezTo>
                    <a:cubicBezTo>
                      <a:pt x="161" y="2493"/>
                      <a:pt x="0" y="2331"/>
                      <a:pt x="0" y="2132"/>
                    </a:cubicBezTo>
                    <a:cubicBezTo>
                      <a:pt x="0" y="0"/>
                      <a:pt x="0" y="0"/>
                      <a:pt x="0" y="0"/>
                    </a:cubicBezTo>
                    <a:lnTo>
                      <a:pt x="3240" y="0"/>
                    </a:lnTo>
                    <a:close/>
                    <a:moveTo>
                      <a:pt x="3240" y="499"/>
                    </a:moveTo>
                    <a:cubicBezTo>
                      <a:pt x="3240" y="1994"/>
                      <a:pt x="3240" y="1994"/>
                      <a:pt x="3240" y="1994"/>
                    </a:cubicBezTo>
                    <a:moveTo>
                      <a:pt x="2866" y="499"/>
                    </a:moveTo>
                    <a:cubicBezTo>
                      <a:pt x="374" y="499"/>
                      <a:pt x="374" y="499"/>
                      <a:pt x="374" y="499"/>
                    </a:cubicBezTo>
                    <a:moveTo>
                      <a:pt x="2866" y="1994"/>
                    </a:moveTo>
                    <a:cubicBezTo>
                      <a:pt x="1869" y="1994"/>
                      <a:pt x="1869" y="1994"/>
                      <a:pt x="1869" y="1994"/>
                    </a:cubicBezTo>
                    <a:moveTo>
                      <a:pt x="2866" y="1496"/>
                    </a:moveTo>
                    <a:cubicBezTo>
                      <a:pt x="1869" y="1496"/>
                      <a:pt x="1869" y="1496"/>
                      <a:pt x="1869" y="1496"/>
                    </a:cubicBezTo>
                    <a:moveTo>
                      <a:pt x="2866" y="997"/>
                    </a:moveTo>
                    <a:cubicBezTo>
                      <a:pt x="1869" y="997"/>
                      <a:pt x="1869" y="997"/>
                      <a:pt x="1869" y="997"/>
                    </a:cubicBezTo>
                    <a:moveTo>
                      <a:pt x="498" y="1994"/>
                    </a:moveTo>
                    <a:cubicBezTo>
                      <a:pt x="1495" y="1994"/>
                      <a:pt x="1495" y="1994"/>
                      <a:pt x="1495" y="1994"/>
                    </a:cubicBezTo>
                    <a:cubicBezTo>
                      <a:pt x="1495" y="992"/>
                      <a:pt x="1495" y="992"/>
                      <a:pt x="1495" y="992"/>
                    </a:cubicBezTo>
                    <a:cubicBezTo>
                      <a:pt x="498" y="992"/>
                      <a:pt x="498" y="992"/>
                      <a:pt x="498" y="992"/>
                    </a:cubicBezTo>
                    <a:lnTo>
                      <a:pt x="498" y="1994"/>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1729">
                  <a:solidFill>
                    <a:srgbClr val="505050"/>
                  </a:solidFill>
                  <a:latin typeface="Segoe UI Semilight"/>
                </a:endParaRPr>
              </a:p>
            </p:txBody>
          </p:sp>
        </p:grpSp>
        <p:grpSp>
          <p:nvGrpSpPr>
            <p:cNvPr id="220" name="Group 219">
              <a:extLst>
                <a:ext uri="{FF2B5EF4-FFF2-40B4-BE49-F238E27FC236}">
                  <a16:creationId xmlns:a16="http://schemas.microsoft.com/office/drawing/2014/main" id="{52CB4D56-C2B0-442D-BF0F-92E7F0FDD546}"/>
                </a:ext>
              </a:extLst>
            </p:cNvPr>
            <p:cNvGrpSpPr/>
            <p:nvPr/>
          </p:nvGrpSpPr>
          <p:grpSpPr>
            <a:xfrm>
              <a:off x="6079366" y="4539715"/>
              <a:ext cx="503278" cy="503278"/>
              <a:chOff x="3640609" y="4739328"/>
              <a:chExt cx="523664" cy="523664"/>
            </a:xfrm>
          </p:grpSpPr>
          <p:sp useBgFill="1">
            <p:nvSpPr>
              <p:cNvPr id="221" name="Oval 220">
                <a:extLst>
                  <a:ext uri="{FF2B5EF4-FFF2-40B4-BE49-F238E27FC236}">
                    <a16:creationId xmlns:a16="http://schemas.microsoft.com/office/drawing/2014/main" id="{8D49BA1B-11DB-47D4-8A05-305CAFE9669A}"/>
                  </a:ext>
                </a:extLst>
              </p:cNvPr>
              <p:cNvSpPr/>
              <p:nvPr/>
            </p:nvSpPr>
            <p:spPr bwMode="auto">
              <a:xfrm rot="3420000">
                <a:off x="3640609" y="4739328"/>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2" name="ShoppingCart_E7BF">
                <a:extLst>
                  <a:ext uri="{FF2B5EF4-FFF2-40B4-BE49-F238E27FC236}">
                    <a16:creationId xmlns:a16="http://schemas.microsoft.com/office/drawing/2014/main" id="{587E1E4D-0BCF-43E8-98F8-B44329060025}"/>
                  </a:ext>
                </a:extLst>
              </p:cNvPr>
              <p:cNvSpPr>
                <a:spLocks noChangeAspect="1" noEditPoints="1"/>
              </p:cNvSpPr>
              <p:nvPr/>
            </p:nvSpPr>
            <p:spPr bwMode="auto">
              <a:xfrm>
                <a:off x="3739395" y="4862513"/>
                <a:ext cx="326092" cy="277294"/>
              </a:xfrm>
              <a:custGeom>
                <a:avLst/>
                <a:gdLst>
                  <a:gd name="T0" fmla="*/ 3368 w 3817"/>
                  <a:gd name="T1" fmla="*/ 2994 h 3244"/>
                  <a:gd name="T2" fmla="*/ 3119 w 3817"/>
                  <a:gd name="T3" fmla="*/ 3244 h 3244"/>
                  <a:gd name="T4" fmla="*/ 2869 w 3817"/>
                  <a:gd name="T5" fmla="*/ 2994 h 3244"/>
                  <a:gd name="T6" fmla="*/ 3119 w 3817"/>
                  <a:gd name="T7" fmla="*/ 2745 h 3244"/>
                  <a:gd name="T8" fmla="*/ 3368 w 3817"/>
                  <a:gd name="T9" fmla="*/ 2994 h 3244"/>
                  <a:gd name="T10" fmla="*/ 1372 w 3817"/>
                  <a:gd name="T11" fmla="*/ 2745 h 3244"/>
                  <a:gd name="T12" fmla="*/ 1123 w 3817"/>
                  <a:gd name="T13" fmla="*/ 2994 h 3244"/>
                  <a:gd name="T14" fmla="*/ 1372 w 3817"/>
                  <a:gd name="T15" fmla="*/ 3244 h 3244"/>
                  <a:gd name="T16" fmla="*/ 1622 w 3817"/>
                  <a:gd name="T17" fmla="*/ 2994 h 3244"/>
                  <a:gd name="T18" fmla="*/ 1372 w 3817"/>
                  <a:gd name="T19" fmla="*/ 2745 h 3244"/>
                  <a:gd name="T20" fmla="*/ 0 w 3817"/>
                  <a:gd name="T21" fmla="*/ 0 h 3244"/>
                  <a:gd name="T22" fmla="*/ 457 w 3817"/>
                  <a:gd name="T23" fmla="*/ 0 h 3244"/>
                  <a:gd name="T24" fmla="*/ 1372 w 3817"/>
                  <a:gd name="T25" fmla="*/ 2745 h 3244"/>
                  <a:gd name="T26" fmla="*/ 3119 w 3817"/>
                  <a:gd name="T27" fmla="*/ 2745 h 3244"/>
                  <a:gd name="T28" fmla="*/ 1123 w 3817"/>
                  <a:gd name="T29" fmla="*/ 1996 h 3244"/>
                  <a:gd name="T30" fmla="*/ 3318 w 3817"/>
                  <a:gd name="T31" fmla="*/ 1996 h 3244"/>
                  <a:gd name="T32" fmla="*/ 3817 w 3817"/>
                  <a:gd name="T33" fmla="*/ 499 h 3244"/>
                  <a:gd name="T34" fmla="*/ 624 w 3817"/>
                  <a:gd name="T35" fmla="*/ 499 h 3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17" h="3244">
                    <a:moveTo>
                      <a:pt x="3368" y="2994"/>
                    </a:moveTo>
                    <a:cubicBezTo>
                      <a:pt x="3368" y="3132"/>
                      <a:pt x="3257" y="3244"/>
                      <a:pt x="3119" y="3244"/>
                    </a:cubicBezTo>
                    <a:cubicBezTo>
                      <a:pt x="2981" y="3244"/>
                      <a:pt x="2869" y="3132"/>
                      <a:pt x="2869" y="2994"/>
                    </a:cubicBezTo>
                    <a:cubicBezTo>
                      <a:pt x="2869" y="2856"/>
                      <a:pt x="2981" y="2745"/>
                      <a:pt x="3119" y="2745"/>
                    </a:cubicBezTo>
                    <a:cubicBezTo>
                      <a:pt x="3257" y="2745"/>
                      <a:pt x="3368" y="2856"/>
                      <a:pt x="3368" y="2994"/>
                    </a:cubicBezTo>
                    <a:close/>
                    <a:moveTo>
                      <a:pt x="1372" y="2745"/>
                    </a:moveTo>
                    <a:cubicBezTo>
                      <a:pt x="1234" y="2745"/>
                      <a:pt x="1123" y="2856"/>
                      <a:pt x="1123" y="2994"/>
                    </a:cubicBezTo>
                    <a:cubicBezTo>
                      <a:pt x="1123" y="3132"/>
                      <a:pt x="1234" y="3244"/>
                      <a:pt x="1372" y="3244"/>
                    </a:cubicBezTo>
                    <a:cubicBezTo>
                      <a:pt x="1510" y="3244"/>
                      <a:pt x="1622" y="3132"/>
                      <a:pt x="1622" y="2994"/>
                    </a:cubicBezTo>
                    <a:cubicBezTo>
                      <a:pt x="1622" y="2856"/>
                      <a:pt x="1510" y="2745"/>
                      <a:pt x="1372" y="2745"/>
                    </a:cubicBezTo>
                    <a:close/>
                    <a:moveTo>
                      <a:pt x="0" y="0"/>
                    </a:moveTo>
                    <a:cubicBezTo>
                      <a:pt x="457" y="0"/>
                      <a:pt x="457" y="0"/>
                      <a:pt x="457" y="0"/>
                    </a:cubicBezTo>
                    <a:cubicBezTo>
                      <a:pt x="1372" y="2745"/>
                      <a:pt x="1372" y="2745"/>
                      <a:pt x="1372" y="2745"/>
                    </a:cubicBezTo>
                    <a:cubicBezTo>
                      <a:pt x="3119" y="2745"/>
                      <a:pt x="3119" y="2745"/>
                      <a:pt x="3119" y="2745"/>
                    </a:cubicBezTo>
                    <a:moveTo>
                      <a:pt x="1123" y="1996"/>
                    </a:moveTo>
                    <a:cubicBezTo>
                      <a:pt x="3318" y="1996"/>
                      <a:pt x="3318" y="1996"/>
                      <a:pt x="3318" y="1996"/>
                    </a:cubicBezTo>
                    <a:cubicBezTo>
                      <a:pt x="3817" y="499"/>
                      <a:pt x="3817" y="499"/>
                      <a:pt x="3817" y="499"/>
                    </a:cubicBezTo>
                    <a:cubicBezTo>
                      <a:pt x="624" y="499"/>
                      <a:pt x="624" y="499"/>
                      <a:pt x="624" y="499"/>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865">
                  <a:gradFill>
                    <a:gsLst>
                      <a:gs pos="0">
                        <a:srgbClr val="505050"/>
                      </a:gs>
                      <a:gs pos="100000">
                        <a:srgbClr val="505050"/>
                      </a:gs>
                    </a:gsLst>
                    <a:lin ang="5400000" scaled="1"/>
                  </a:gradFill>
                  <a:latin typeface="Segoe UI Semilight"/>
                </a:endParaRPr>
              </a:p>
            </p:txBody>
          </p:sp>
        </p:grpSp>
        <p:grpSp>
          <p:nvGrpSpPr>
            <p:cNvPr id="223" name="Group 222">
              <a:extLst>
                <a:ext uri="{FF2B5EF4-FFF2-40B4-BE49-F238E27FC236}">
                  <a16:creationId xmlns:a16="http://schemas.microsoft.com/office/drawing/2014/main" id="{CE37FB96-2BE9-4C97-A0ED-18FF1B906673}"/>
                </a:ext>
              </a:extLst>
            </p:cNvPr>
            <p:cNvGrpSpPr/>
            <p:nvPr/>
          </p:nvGrpSpPr>
          <p:grpSpPr>
            <a:xfrm>
              <a:off x="9828187" y="4617541"/>
              <a:ext cx="507144" cy="507144"/>
              <a:chOff x="7541280" y="4820305"/>
              <a:chExt cx="527686" cy="527686"/>
            </a:xfrm>
          </p:grpSpPr>
          <p:sp useBgFill="1">
            <p:nvSpPr>
              <p:cNvPr id="224" name="Oval 223">
                <a:extLst>
                  <a:ext uri="{FF2B5EF4-FFF2-40B4-BE49-F238E27FC236}">
                    <a16:creationId xmlns:a16="http://schemas.microsoft.com/office/drawing/2014/main" id="{FE306451-EAF8-4513-985D-A9D186A7DED9}"/>
                  </a:ext>
                </a:extLst>
              </p:cNvPr>
              <p:cNvSpPr/>
              <p:nvPr/>
            </p:nvSpPr>
            <p:spPr bwMode="auto">
              <a:xfrm rot="18900000" flipH="1">
                <a:off x="7541280" y="4820305"/>
                <a:ext cx="527686" cy="527686"/>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5" name="building_11">
                <a:extLst>
                  <a:ext uri="{FF2B5EF4-FFF2-40B4-BE49-F238E27FC236}">
                    <a16:creationId xmlns:a16="http://schemas.microsoft.com/office/drawing/2014/main" id="{AAF5FAB2-2B11-4259-91C8-DF9F749F402F}"/>
                  </a:ext>
                </a:extLst>
              </p:cNvPr>
              <p:cNvSpPr>
                <a:spLocks noChangeAspect="1" noEditPoints="1"/>
              </p:cNvSpPr>
              <p:nvPr/>
            </p:nvSpPr>
            <p:spPr bwMode="auto">
              <a:xfrm>
                <a:off x="7599615" y="4973522"/>
                <a:ext cx="411016" cy="221252"/>
              </a:xfrm>
              <a:custGeom>
                <a:avLst/>
                <a:gdLst>
                  <a:gd name="T0" fmla="*/ 164 w 361"/>
                  <a:gd name="T1" fmla="*/ 94 h 193"/>
                  <a:gd name="T2" fmla="*/ 66 w 361"/>
                  <a:gd name="T3" fmla="*/ 193 h 193"/>
                  <a:gd name="T4" fmla="*/ 98 w 361"/>
                  <a:gd name="T5" fmla="*/ 124 h 193"/>
                  <a:gd name="T6" fmla="*/ 93 w 361"/>
                  <a:gd name="T7" fmla="*/ 129 h 193"/>
                  <a:gd name="T8" fmla="*/ 98 w 361"/>
                  <a:gd name="T9" fmla="*/ 124 h 193"/>
                  <a:gd name="T10" fmla="*/ 93 w 361"/>
                  <a:gd name="T11" fmla="*/ 160 h 193"/>
                  <a:gd name="T12" fmla="*/ 98 w 361"/>
                  <a:gd name="T13" fmla="*/ 165 h 193"/>
                  <a:gd name="T14" fmla="*/ 135 w 361"/>
                  <a:gd name="T15" fmla="*/ 124 h 193"/>
                  <a:gd name="T16" fmla="*/ 130 w 361"/>
                  <a:gd name="T17" fmla="*/ 129 h 193"/>
                  <a:gd name="T18" fmla="*/ 135 w 361"/>
                  <a:gd name="T19" fmla="*/ 124 h 193"/>
                  <a:gd name="T20" fmla="*/ 130 w 361"/>
                  <a:gd name="T21" fmla="*/ 160 h 193"/>
                  <a:gd name="T22" fmla="*/ 135 w 361"/>
                  <a:gd name="T23" fmla="*/ 165 h 193"/>
                  <a:gd name="T24" fmla="*/ 295 w 361"/>
                  <a:gd name="T25" fmla="*/ 124 h 193"/>
                  <a:gd name="T26" fmla="*/ 291 w 361"/>
                  <a:gd name="T27" fmla="*/ 129 h 193"/>
                  <a:gd name="T28" fmla="*/ 295 w 361"/>
                  <a:gd name="T29" fmla="*/ 124 h 193"/>
                  <a:gd name="T30" fmla="*/ 291 w 361"/>
                  <a:gd name="T31" fmla="*/ 160 h 193"/>
                  <a:gd name="T32" fmla="*/ 295 w 361"/>
                  <a:gd name="T33" fmla="*/ 165 h 193"/>
                  <a:gd name="T34" fmla="*/ 333 w 361"/>
                  <a:gd name="T35" fmla="*/ 124 h 193"/>
                  <a:gd name="T36" fmla="*/ 328 w 361"/>
                  <a:gd name="T37" fmla="*/ 129 h 193"/>
                  <a:gd name="T38" fmla="*/ 333 w 361"/>
                  <a:gd name="T39" fmla="*/ 124 h 193"/>
                  <a:gd name="T40" fmla="*/ 328 w 361"/>
                  <a:gd name="T41" fmla="*/ 160 h 193"/>
                  <a:gd name="T42" fmla="*/ 333 w 361"/>
                  <a:gd name="T43" fmla="*/ 165 h 193"/>
                  <a:gd name="T44" fmla="*/ 263 w 361"/>
                  <a:gd name="T45" fmla="*/ 193 h 193"/>
                  <a:gd name="T46" fmla="*/ 361 w 361"/>
                  <a:gd name="T47" fmla="*/ 94 h 193"/>
                  <a:gd name="T48" fmla="*/ 263 w 361"/>
                  <a:gd name="T49" fmla="*/ 193 h 193"/>
                  <a:gd name="T50" fmla="*/ 164 w 361"/>
                  <a:gd name="T51" fmla="*/ 45 h 193"/>
                  <a:gd name="T52" fmla="*/ 263 w 361"/>
                  <a:gd name="T53" fmla="*/ 193 h 193"/>
                  <a:gd name="T54" fmla="*/ 214 w 361"/>
                  <a:gd name="T55" fmla="*/ 0 h 193"/>
                  <a:gd name="T56" fmla="*/ 185 w 361"/>
                  <a:gd name="T57" fmla="*/ 58 h 193"/>
                  <a:gd name="T58" fmla="*/ 241 w 361"/>
                  <a:gd name="T59" fmla="*/ 84 h 193"/>
                  <a:gd name="T60" fmla="*/ 241 w 361"/>
                  <a:gd name="T61" fmla="*/ 193 h 193"/>
                  <a:gd name="T62" fmla="*/ 213 w 361"/>
                  <a:gd name="T63" fmla="*/ 144 h 193"/>
                  <a:gd name="T64" fmla="*/ 213 w 361"/>
                  <a:gd name="T65" fmla="*/ 144 h 193"/>
                  <a:gd name="T66" fmla="*/ 185 w 361"/>
                  <a:gd name="T67" fmla="*/ 193 h 193"/>
                  <a:gd name="T68" fmla="*/ 207 w 361"/>
                  <a:gd name="T69" fmla="*/ 115 h 193"/>
                  <a:gd name="T70" fmla="*/ 219 w 361"/>
                  <a:gd name="T71" fmla="*/ 115 h 193"/>
                  <a:gd name="T72" fmla="*/ 19 w 361"/>
                  <a:gd name="T73" fmla="*/ 75 h 193"/>
                  <a:gd name="T74" fmla="*/ 19 w 361"/>
                  <a:gd name="T75" fmla="*/ 45 h 193"/>
                  <a:gd name="T76" fmla="*/ 0 w 361"/>
                  <a:gd name="T77"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1" h="193">
                    <a:moveTo>
                      <a:pt x="66" y="94"/>
                    </a:moveTo>
                    <a:cubicBezTo>
                      <a:pt x="164" y="94"/>
                      <a:pt x="164" y="94"/>
                      <a:pt x="164" y="94"/>
                    </a:cubicBezTo>
                    <a:cubicBezTo>
                      <a:pt x="164" y="193"/>
                      <a:pt x="164" y="193"/>
                      <a:pt x="164" y="193"/>
                    </a:cubicBezTo>
                    <a:cubicBezTo>
                      <a:pt x="66" y="193"/>
                      <a:pt x="66" y="193"/>
                      <a:pt x="66" y="193"/>
                    </a:cubicBezTo>
                    <a:lnTo>
                      <a:pt x="66" y="94"/>
                    </a:lnTo>
                    <a:close/>
                    <a:moveTo>
                      <a:pt x="98" y="124"/>
                    </a:moveTo>
                    <a:cubicBezTo>
                      <a:pt x="93" y="124"/>
                      <a:pt x="93" y="124"/>
                      <a:pt x="93" y="124"/>
                    </a:cubicBezTo>
                    <a:cubicBezTo>
                      <a:pt x="93" y="129"/>
                      <a:pt x="93" y="129"/>
                      <a:pt x="93" y="129"/>
                    </a:cubicBezTo>
                    <a:cubicBezTo>
                      <a:pt x="98" y="129"/>
                      <a:pt x="98" y="129"/>
                      <a:pt x="98" y="129"/>
                    </a:cubicBezTo>
                    <a:lnTo>
                      <a:pt x="98" y="124"/>
                    </a:lnTo>
                    <a:close/>
                    <a:moveTo>
                      <a:pt x="98" y="160"/>
                    </a:moveTo>
                    <a:cubicBezTo>
                      <a:pt x="93" y="160"/>
                      <a:pt x="93" y="160"/>
                      <a:pt x="93" y="160"/>
                    </a:cubicBezTo>
                    <a:cubicBezTo>
                      <a:pt x="93" y="165"/>
                      <a:pt x="93" y="165"/>
                      <a:pt x="93" y="165"/>
                    </a:cubicBezTo>
                    <a:cubicBezTo>
                      <a:pt x="98" y="165"/>
                      <a:pt x="98" y="165"/>
                      <a:pt x="98" y="165"/>
                    </a:cubicBezTo>
                    <a:lnTo>
                      <a:pt x="98" y="160"/>
                    </a:lnTo>
                    <a:close/>
                    <a:moveTo>
                      <a:pt x="135" y="124"/>
                    </a:moveTo>
                    <a:cubicBezTo>
                      <a:pt x="130" y="124"/>
                      <a:pt x="130" y="124"/>
                      <a:pt x="130" y="124"/>
                    </a:cubicBezTo>
                    <a:cubicBezTo>
                      <a:pt x="130" y="129"/>
                      <a:pt x="130" y="129"/>
                      <a:pt x="130" y="129"/>
                    </a:cubicBezTo>
                    <a:cubicBezTo>
                      <a:pt x="135" y="129"/>
                      <a:pt x="135" y="129"/>
                      <a:pt x="135" y="129"/>
                    </a:cubicBezTo>
                    <a:lnTo>
                      <a:pt x="135" y="124"/>
                    </a:lnTo>
                    <a:close/>
                    <a:moveTo>
                      <a:pt x="135" y="160"/>
                    </a:moveTo>
                    <a:cubicBezTo>
                      <a:pt x="130" y="160"/>
                      <a:pt x="130" y="160"/>
                      <a:pt x="130" y="160"/>
                    </a:cubicBezTo>
                    <a:cubicBezTo>
                      <a:pt x="130" y="165"/>
                      <a:pt x="130" y="165"/>
                      <a:pt x="130" y="165"/>
                    </a:cubicBezTo>
                    <a:cubicBezTo>
                      <a:pt x="135" y="165"/>
                      <a:pt x="135" y="165"/>
                      <a:pt x="135" y="165"/>
                    </a:cubicBezTo>
                    <a:lnTo>
                      <a:pt x="135" y="160"/>
                    </a:lnTo>
                    <a:close/>
                    <a:moveTo>
                      <a:pt x="295" y="124"/>
                    </a:moveTo>
                    <a:cubicBezTo>
                      <a:pt x="291" y="124"/>
                      <a:pt x="291" y="124"/>
                      <a:pt x="291" y="124"/>
                    </a:cubicBezTo>
                    <a:cubicBezTo>
                      <a:pt x="291" y="129"/>
                      <a:pt x="291" y="129"/>
                      <a:pt x="291" y="129"/>
                    </a:cubicBezTo>
                    <a:cubicBezTo>
                      <a:pt x="295" y="129"/>
                      <a:pt x="295" y="129"/>
                      <a:pt x="295" y="129"/>
                    </a:cubicBezTo>
                    <a:lnTo>
                      <a:pt x="295" y="124"/>
                    </a:lnTo>
                    <a:close/>
                    <a:moveTo>
                      <a:pt x="295" y="160"/>
                    </a:moveTo>
                    <a:cubicBezTo>
                      <a:pt x="291" y="160"/>
                      <a:pt x="291" y="160"/>
                      <a:pt x="291" y="160"/>
                    </a:cubicBezTo>
                    <a:cubicBezTo>
                      <a:pt x="291" y="165"/>
                      <a:pt x="291" y="165"/>
                      <a:pt x="291" y="165"/>
                    </a:cubicBezTo>
                    <a:cubicBezTo>
                      <a:pt x="295" y="165"/>
                      <a:pt x="295" y="165"/>
                      <a:pt x="295" y="165"/>
                    </a:cubicBezTo>
                    <a:lnTo>
                      <a:pt x="295" y="160"/>
                    </a:lnTo>
                    <a:close/>
                    <a:moveTo>
                      <a:pt x="333" y="124"/>
                    </a:moveTo>
                    <a:cubicBezTo>
                      <a:pt x="328" y="124"/>
                      <a:pt x="328" y="124"/>
                      <a:pt x="328" y="124"/>
                    </a:cubicBezTo>
                    <a:cubicBezTo>
                      <a:pt x="328" y="129"/>
                      <a:pt x="328" y="129"/>
                      <a:pt x="328" y="129"/>
                    </a:cubicBezTo>
                    <a:cubicBezTo>
                      <a:pt x="333" y="129"/>
                      <a:pt x="333" y="129"/>
                      <a:pt x="333" y="129"/>
                    </a:cubicBezTo>
                    <a:lnTo>
                      <a:pt x="333" y="124"/>
                    </a:lnTo>
                    <a:close/>
                    <a:moveTo>
                      <a:pt x="333" y="160"/>
                    </a:moveTo>
                    <a:cubicBezTo>
                      <a:pt x="328" y="160"/>
                      <a:pt x="328" y="160"/>
                      <a:pt x="328" y="160"/>
                    </a:cubicBezTo>
                    <a:cubicBezTo>
                      <a:pt x="328" y="165"/>
                      <a:pt x="328" y="165"/>
                      <a:pt x="328" y="165"/>
                    </a:cubicBezTo>
                    <a:cubicBezTo>
                      <a:pt x="333" y="165"/>
                      <a:pt x="333" y="165"/>
                      <a:pt x="333" y="165"/>
                    </a:cubicBezTo>
                    <a:lnTo>
                      <a:pt x="333" y="160"/>
                    </a:lnTo>
                    <a:close/>
                    <a:moveTo>
                      <a:pt x="263" y="193"/>
                    </a:moveTo>
                    <a:cubicBezTo>
                      <a:pt x="361" y="193"/>
                      <a:pt x="361" y="193"/>
                      <a:pt x="361" y="193"/>
                    </a:cubicBezTo>
                    <a:cubicBezTo>
                      <a:pt x="361" y="94"/>
                      <a:pt x="361" y="94"/>
                      <a:pt x="361" y="94"/>
                    </a:cubicBezTo>
                    <a:cubicBezTo>
                      <a:pt x="263" y="94"/>
                      <a:pt x="263" y="94"/>
                      <a:pt x="263" y="94"/>
                    </a:cubicBezTo>
                    <a:lnTo>
                      <a:pt x="263" y="193"/>
                    </a:lnTo>
                    <a:close/>
                    <a:moveTo>
                      <a:pt x="214" y="0"/>
                    </a:moveTo>
                    <a:cubicBezTo>
                      <a:pt x="164" y="45"/>
                      <a:pt x="164" y="45"/>
                      <a:pt x="164" y="45"/>
                    </a:cubicBezTo>
                    <a:cubicBezTo>
                      <a:pt x="164" y="193"/>
                      <a:pt x="164" y="193"/>
                      <a:pt x="164" y="193"/>
                    </a:cubicBezTo>
                    <a:cubicBezTo>
                      <a:pt x="263" y="193"/>
                      <a:pt x="263" y="193"/>
                      <a:pt x="263" y="193"/>
                    </a:cubicBezTo>
                    <a:cubicBezTo>
                      <a:pt x="263" y="45"/>
                      <a:pt x="263" y="45"/>
                      <a:pt x="263" y="45"/>
                    </a:cubicBezTo>
                    <a:lnTo>
                      <a:pt x="214" y="0"/>
                    </a:lnTo>
                    <a:close/>
                    <a:moveTo>
                      <a:pt x="241" y="58"/>
                    </a:moveTo>
                    <a:cubicBezTo>
                      <a:pt x="185" y="58"/>
                      <a:pt x="185" y="58"/>
                      <a:pt x="185" y="58"/>
                    </a:cubicBezTo>
                    <a:cubicBezTo>
                      <a:pt x="185" y="84"/>
                      <a:pt x="185" y="84"/>
                      <a:pt x="185" y="84"/>
                    </a:cubicBezTo>
                    <a:cubicBezTo>
                      <a:pt x="241" y="84"/>
                      <a:pt x="241" y="84"/>
                      <a:pt x="241" y="84"/>
                    </a:cubicBezTo>
                    <a:lnTo>
                      <a:pt x="241" y="58"/>
                    </a:lnTo>
                    <a:close/>
                    <a:moveTo>
                      <a:pt x="241" y="193"/>
                    </a:moveTo>
                    <a:cubicBezTo>
                      <a:pt x="241" y="144"/>
                      <a:pt x="241" y="144"/>
                      <a:pt x="241" y="144"/>
                    </a:cubicBezTo>
                    <a:cubicBezTo>
                      <a:pt x="213" y="144"/>
                      <a:pt x="213" y="144"/>
                      <a:pt x="213" y="144"/>
                    </a:cubicBezTo>
                    <a:cubicBezTo>
                      <a:pt x="213" y="193"/>
                      <a:pt x="213" y="193"/>
                      <a:pt x="213" y="193"/>
                    </a:cubicBezTo>
                    <a:moveTo>
                      <a:pt x="213" y="144"/>
                    </a:moveTo>
                    <a:cubicBezTo>
                      <a:pt x="185" y="144"/>
                      <a:pt x="185" y="144"/>
                      <a:pt x="185" y="144"/>
                    </a:cubicBezTo>
                    <a:cubicBezTo>
                      <a:pt x="185" y="193"/>
                      <a:pt x="185" y="193"/>
                      <a:pt x="185" y="193"/>
                    </a:cubicBezTo>
                    <a:moveTo>
                      <a:pt x="213" y="109"/>
                    </a:moveTo>
                    <a:cubicBezTo>
                      <a:pt x="210" y="109"/>
                      <a:pt x="207" y="112"/>
                      <a:pt x="207" y="115"/>
                    </a:cubicBezTo>
                    <a:cubicBezTo>
                      <a:pt x="207" y="119"/>
                      <a:pt x="210" y="122"/>
                      <a:pt x="213" y="122"/>
                    </a:cubicBezTo>
                    <a:cubicBezTo>
                      <a:pt x="217" y="122"/>
                      <a:pt x="219" y="119"/>
                      <a:pt x="219" y="115"/>
                    </a:cubicBezTo>
                    <a:cubicBezTo>
                      <a:pt x="219" y="112"/>
                      <a:pt x="217" y="109"/>
                      <a:pt x="213" y="109"/>
                    </a:cubicBezTo>
                    <a:close/>
                    <a:moveTo>
                      <a:pt x="19" y="75"/>
                    </a:moveTo>
                    <a:cubicBezTo>
                      <a:pt x="50" y="62"/>
                      <a:pt x="50" y="62"/>
                      <a:pt x="50" y="62"/>
                    </a:cubicBezTo>
                    <a:cubicBezTo>
                      <a:pt x="19" y="45"/>
                      <a:pt x="19" y="45"/>
                      <a:pt x="19" y="45"/>
                    </a:cubicBezTo>
                    <a:cubicBezTo>
                      <a:pt x="19" y="193"/>
                      <a:pt x="19" y="193"/>
                      <a:pt x="19" y="193"/>
                    </a:cubicBezTo>
                    <a:moveTo>
                      <a:pt x="0" y="193"/>
                    </a:moveTo>
                    <a:cubicBezTo>
                      <a:pt x="38" y="193"/>
                      <a:pt x="38" y="193"/>
                      <a:pt x="38" y="193"/>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1729">
                  <a:solidFill>
                    <a:srgbClr val="505050"/>
                  </a:solidFill>
                  <a:latin typeface="Segoe UI Semilight"/>
                </a:endParaRPr>
              </a:p>
            </p:txBody>
          </p:sp>
        </p:grpSp>
        <p:grpSp>
          <p:nvGrpSpPr>
            <p:cNvPr id="226" name="Group 225">
              <a:extLst>
                <a:ext uri="{FF2B5EF4-FFF2-40B4-BE49-F238E27FC236}">
                  <a16:creationId xmlns:a16="http://schemas.microsoft.com/office/drawing/2014/main" id="{EA0792E6-C34A-4629-9A92-5CEC5AEF67B7}"/>
                </a:ext>
              </a:extLst>
            </p:cNvPr>
            <p:cNvGrpSpPr/>
            <p:nvPr/>
          </p:nvGrpSpPr>
          <p:grpSpPr>
            <a:xfrm>
              <a:off x="7753258" y="5690149"/>
              <a:ext cx="503278" cy="503278"/>
              <a:chOff x="5382304" y="5936362"/>
              <a:chExt cx="523664" cy="523664"/>
            </a:xfrm>
          </p:grpSpPr>
          <p:sp useBgFill="1">
            <p:nvSpPr>
              <p:cNvPr id="227" name="Oval 226">
                <a:extLst>
                  <a:ext uri="{FF2B5EF4-FFF2-40B4-BE49-F238E27FC236}">
                    <a16:creationId xmlns:a16="http://schemas.microsoft.com/office/drawing/2014/main" id="{40F624C7-A91A-4842-ADAA-942E3B8F649E}"/>
                  </a:ext>
                </a:extLst>
              </p:cNvPr>
              <p:cNvSpPr/>
              <p:nvPr/>
            </p:nvSpPr>
            <p:spPr bwMode="auto">
              <a:xfrm rot="720000" flipH="1">
                <a:off x="5382304" y="5936362"/>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8" name="TagLegacy_E1CB">
                <a:extLst>
                  <a:ext uri="{FF2B5EF4-FFF2-40B4-BE49-F238E27FC236}">
                    <a16:creationId xmlns:a16="http://schemas.microsoft.com/office/drawing/2014/main" id="{B9594140-3C57-4C06-AF7B-E1985AB0BAB6}"/>
                  </a:ext>
                </a:extLst>
              </p:cNvPr>
              <p:cNvSpPr>
                <a:spLocks noChangeAspect="1" noEditPoints="1"/>
              </p:cNvSpPr>
              <p:nvPr/>
            </p:nvSpPr>
            <p:spPr bwMode="auto">
              <a:xfrm>
                <a:off x="5480308" y="6067425"/>
                <a:ext cx="327656" cy="261538"/>
              </a:xfrm>
              <a:custGeom>
                <a:avLst/>
                <a:gdLst>
                  <a:gd name="T0" fmla="*/ 2950 w 3700"/>
                  <a:gd name="T1" fmla="*/ 1330 h 2952"/>
                  <a:gd name="T2" fmla="*/ 1328 w 3700"/>
                  <a:gd name="T3" fmla="*/ 2952 h 2952"/>
                  <a:gd name="T4" fmla="*/ 0 w 3700"/>
                  <a:gd name="T5" fmla="*/ 1620 h 2952"/>
                  <a:gd name="T6" fmla="*/ 1620 w 3700"/>
                  <a:gd name="T7" fmla="*/ 0 h 2952"/>
                  <a:gd name="T8" fmla="*/ 2951 w 3700"/>
                  <a:gd name="T9" fmla="*/ 1 h 2952"/>
                  <a:gd name="T10" fmla="*/ 2950 w 3700"/>
                  <a:gd name="T11" fmla="*/ 1330 h 2952"/>
                  <a:gd name="T12" fmla="*/ 1820 w 3700"/>
                  <a:gd name="T13" fmla="*/ 2460 h 2952"/>
                  <a:gd name="T14" fmla="*/ 2576 w 3700"/>
                  <a:gd name="T15" fmla="*/ 2753 h 2952"/>
                  <a:gd name="T16" fmla="*/ 3700 w 3700"/>
                  <a:gd name="T17" fmla="*/ 1629 h 2952"/>
                  <a:gd name="T18" fmla="*/ 2576 w 3700"/>
                  <a:gd name="T19" fmla="*/ 505 h 2952"/>
                  <a:gd name="T20" fmla="*/ 2421 w 3700"/>
                  <a:gd name="T21" fmla="*/ 505 h 2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00" h="2952">
                    <a:moveTo>
                      <a:pt x="2950" y="1330"/>
                    </a:moveTo>
                    <a:cubicBezTo>
                      <a:pt x="1328" y="2952"/>
                      <a:pt x="1328" y="2952"/>
                      <a:pt x="1328" y="2952"/>
                    </a:cubicBezTo>
                    <a:cubicBezTo>
                      <a:pt x="0" y="1620"/>
                      <a:pt x="0" y="1620"/>
                      <a:pt x="0" y="1620"/>
                    </a:cubicBezTo>
                    <a:cubicBezTo>
                      <a:pt x="1620" y="0"/>
                      <a:pt x="1620" y="0"/>
                      <a:pt x="1620" y="0"/>
                    </a:cubicBezTo>
                    <a:cubicBezTo>
                      <a:pt x="2951" y="1"/>
                      <a:pt x="2951" y="1"/>
                      <a:pt x="2951" y="1"/>
                    </a:cubicBezTo>
                    <a:lnTo>
                      <a:pt x="2950" y="1330"/>
                    </a:lnTo>
                    <a:close/>
                    <a:moveTo>
                      <a:pt x="1820" y="2460"/>
                    </a:moveTo>
                    <a:cubicBezTo>
                      <a:pt x="2020" y="2642"/>
                      <a:pt x="2285" y="2753"/>
                      <a:pt x="2576" y="2753"/>
                    </a:cubicBezTo>
                    <a:cubicBezTo>
                      <a:pt x="3197" y="2753"/>
                      <a:pt x="3700" y="2249"/>
                      <a:pt x="3700" y="1629"/>
                    </a:cubicBezTo>
                    <a:cubicBezTo>
                      <a:pt x="3700" y="1008"/>
                      <a:pt x="3198" y="505"/>
                      <a:pt x="2576" y="505"/>
                    </a:cubicBezTo>
                    <a:cubicBezTo>
                      <a:pt x="2421" y="505"/>
                      <a:pt x="2421" y="505"/>
                      <a:pt x="2421" y="50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1729">
                  <a:solidFill>
                    <a:srgbClr val="505050"/>
                  </a:solidFill>
                  <a:latin typeface="Segoe UI Semilight"/>
                </a:endParaRPr>
              </a:p>
            </p:txBody>
          </p:sp>
        </p:grpSp>
        <p:grpSp>
          <p:nvGrpSpPr>
            <p:cNvPr id="229" name="Group 228">
              <a:extLst>
                <a:ext uri="{FF2B5EF4-FFF2-40B4-BE49-F238E27FC236}">
                  <a16:creationId xmlns:a16="http://schemas.microsoft.com/office/drawing/2014/main" id="{9B5D98DE-A306-44DB-9D33-DDA3AE12D6FD}"/>
                </a:ext>
              </a:extLst>
            </p:cNvPr>
            <p:cNvGrpSpPr/>
            <p:nvPr/>
          </p:nvGrpSpPr>
          <p:grpSpPr>
            <a:xfrm>
              <a:off x="5709224" y="2542613"/>
              <a:ext cx="503278" cy="503278"/>
              <a:chOff x="3255474" y="2661331"/>
              <a:chExt cx="523664" cy="523664"/>
            </a:xfrm>
          </p:grpSpPr>
          <p:sp useBgFill="1">
            <p:nvSpPr>
              <p:cNvPr id="230" name="Oval 229">
                <a:extLst>
                  <a:ext uri="{FF2B5EF4-FFF2-40B4-BE49-F238E27FC236}">
                    <a16:creationId xmlns:a16="http://schemas.microsoft.com/office/drawing/2014/main" id="{95245A55-5B2C-413B-A152-217C0AF63E5F}"/>
                  </a:ext>
                </a:extLst>
              </p:cNvPr>
              <p:cNvSpPr/>
              <p:nvPr/>
            </p:nvSpPr>
            <p:spPr bwMode="auto">
              <a:xfrm rot="16920000" flipH="1">
                <a:off x="3255474" y="2661331"/>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1" name="Freeform 13">
                <a:extLst>
                  <a:ext uri="{FF2B5EF4-FFF2-40B4-BE49-F238E27FC236}">
                    <a16:creationId xmlns:a16="http://schemas.microsoft.com/office/drawing/2014/main" id="{6C1C3905-1F41-4201-82BF-F5FD26EC386F}"/>
                  </a:ext>
                </a:extLst>
              </p:cNvPr>
              <p:cNvSpPr>
                <a:spLocks noEditPoints="1"/>
              </p:cNvSpPr>
              <p:nvPr/>
            </p:nvSpPr>
            <p:spPr bwMode="auto">
              <a:xfrm>
                <a:off x="3357962" y="2775201"/>
                <a:ext cx="318688" cy="295924"/>
              </a:xfrm>
              <a:custGeom>
                <a:avLst/>
                <a:gdLst>
                  <a:gd name="T0" fmla="*/ 27 w 349"/>
                  <a:gd name="T1" fmla="*/ 296 h 323"/>
                  <a:gd name="T2" fmla="*/ 54 w 349"/>
                  <a:gd name="T3" fmla="*/ 268 h 323"/>
                  <a:gd name="T4" fmla="*/ 81 w 349"/>
                  <a:gd name="T5" fmla="*/ 296 h 323"/>
                  <a:gd name="T6" fmla="*/ 54 w 349"/>
                  <a:gd name="T7" fmla="*/ 323 h 323"/>
                  <a:gd name="T8" fmla="*/ 27 w 349"/>
                  <a:gd name="T9" fmla="*/ 296 h 323"/>
                  <a:gd name="T10" fmla="*/ 183 w 349"/>
                  <a:gd name="T11" fmla="*/ 323 h 323"/>
                  <a:gd name="T12" fmla="*/ 210 w 349"/>
                  <a:gd name="T13" fmla="*/ 296 h 323"/>
                  <a:gd name="T14" fmla="*/ 183 w 349"/>
                  <a:gd name="T15" fmla="*/ 268 h 323"/>
                  <a:gd name="T16" fmla="*/ 155 w 349"/>
                  <a:gd name="T17" fmla="*/ 296 h 323"/>
                  <a:gd name="T18" fmla="*/ 183 w 349"/>
                  <a:gd name="T19" fmla="*/ 323 h 323"/>
                  <a:gd name="T20" fmla="*/ 194 w 349"/>
                  <a:gd name="T21" fmla="*/ 192 h 323"/>
                  <a:gd name="T22" fmla="*/ 159 w 349"/>
                  <a:gd name="T23" fmla="*/ 85 h 323"/>
                  <a:gd name="T24" fmla="*/ 110 w 349"/>
                  <a:gd name="T25" fmla="*/ 39 h 323"/>
                  <a:gd name="T26" fmla="*/ 22 w 349"/>
                  <a:gd name="T27" fmla="*/ 39 h 323"/>
                  <a:gd name="T28" fmla="*/ 0 w 349"/>
                  <a:gd name="T29" fmla="*/ 61 h 323"/>
                  <a:gd name="T30" fmla="*/ 0 w 349"/>
                  <a:gd name="T31" fmla="*/ 296 h 323"/>
                  <a:gd name="T32" fmla="*/ 27 w 349"/>
                  <a:gd name="T33" fmla="*/ 296 h 323"/>
                  <a:gd name="T34" fmla="*/ 81 w 349"/>
                  <a:gd name="T35" fmla="*/ 296 h 323"/>
                  <a:gd name="T36" fmla="*/ 155 w 349"/>
                  <a:gd name="T37" fmla="*/ 296 h 323"/>
                  <a:gd name="T38" fmla="*/ 210 w 349"/>
                  <a:gd name="T39" fmla="*/ 296 h 323"/>
                  <a:gd name="T40" fmla="*/ 235 w 349"/>
                  <a:gd name="T41" fmla="*/ 296 h 323"/>
                  <a:gd name="T42" fmla="*/ 235 w 349"/>
                  <a:gd name="T43" fmla="*/ 0 h 323"/>
                  <a:gd name="T44" fmla="*/ 235 w 349"/>
                  <a:gd name="T45" fmla="*/ 272 h 323"/>
                  <a:gd name="T46" fmla="*/ 349 w 349"/>
                  <a:gd name="T47" fmla="*/ 272 h 323"/>
                  <a:gd name="T48" fmla="*/ 0 w 349"/>
                  <a:gd name="T49" fmla="*/ 139 h 323"/>
                  <a:gd name="T50" fmla="*/ 81 w 349"/>
                  <a:gd name="T51" fmla="*/ 139 h 323"/>
                  <a:gd name="T52" fmla="*/ 81 w 349"/>
                  <a:gd name="T53" fmla="*/ 192 h 323"/>
                  <a:gd name="T54" fmla="*/ 235 w 349"/>
                  <a:gd name="T55" fmla="*/ 192 h 323"/>
                  <a:gd name="T56" fmla="*/ 315 w 349"/>
                  <a:gd name="T57" fmla="*/ 35 h 323"/>
                  <a:gd name="T58" fmla="*/ 281 w 349"/>
                  <a:gd name="T59" fmla="*/ 35 h 323"/>
                  <a:gd name="T60" fmla="*/ 281 w 349"/>
                  <a:gd name="T61" fmla="*/ 68 h 323"/>
                  <a:gd name="T62" fmla="*/ 315 w 349"/>
                  <a:gd name="T63" fmla="*/ 68 h 323"/>
                  <a:gd name="T64" fmla="*/ 315 w 349"/>
                  <a:gd name="T65" fmla="*/ 35 h 323"/>
                  <a:gd name="T66" fmla="*/ 315 w 349"/>
                  <a:gd name="T67" fmla="*/ 112 h 323"/>
                  <a:gd name="T68" fmla="*/ 281 w 349"/>
                  <a:gd name="T69" fmla="*/ 112 h 323"/>
                  <a:gd name="T70" fmla="*/ 281 w 349"/>
                  <a:gd name="T71" fmla="*/ 145 h 323"/>
                  <a:gd name="T72" fmla="*/ 315 w 349"/>
                  <a:gd name="T73" fmla="*/ 145 h 323"/>
                  <a:gd name="T74" fmla="*/ 315 w 349"/>
                  <a:gd name="T75" fmla="*/ 112 h 323"/>
                  <a:gd name="T76" fmla="*/ 315 w 349"/>
                  <a:gd name="T77" fmla="*/ 189 h 323"/>
                  <a:gd name="T78" fmla="*/ 281 w 349"/>
                  <a:gd name="T79" fmla="*/ 189 h 323"/>
                  <a:gd name="T80" fmla="*/ 281 w 349"/>
                  <a:gd name="T81" fmla="*/ 222 h 323"/>
                  <a:gd name="T82" fmla="*/ 315 w 349"/>
                  <a:gd name="T83" fmla="*/ 222 h 323"/>
                  <a:gd name="T84" fmla="*/ 315 w 349"/>
                  <a:gd name="T85" fmla="*/ 189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9" h="323">
                    <a:moveTo>
                      <a:pt x="27" y="296"/>
                    </a:moveTo>
                    <a:cubicBezTo>
                      <a:pt x="27" y="281"/>
                      <a:pt x="39" y="268"/>
                      <a:pt x="54" y="268"/>
                    </a:cubicBezTo>
                    <a:cubicBezTo>
                      <a:pt x="69" y="268"/>
                      <a:pt x="81" y="281"/>
                      <a:pt x="81" y="296"/>
                    </a:cubicBezTo>
                    <a:cubicBezTo>
                      <a:pt x="81" y="311"/>
                      <a:pt x="69" y="323"/>
                      <a:pt x="54" y="323"/>
                    </a:cubicBezTo>
                    <a:cubicBezTo>
                      <a:pt x="39" y="323"/>
                      <a:pt x="27" y="311"/>
                      <a:pt x="27" y="296"/>
                    </a:cubicBezTo>
                    <a:close/>
                    <a:moveTo>
                      <a:pt x="183" y="323"/>
                    </a:moveTo>
                    <a:cubicBezTo>
                      <a:pt x="198" y="323"/>
                      <a:pt x="210" y="311"/>
                      <a:pt x="210" y="296"/>
                    </a:cubicBezTo>
                    <a:cubicBezTo>
                      <a:pt x="210" y="281"/>
                      <a:pt x="198" y="268"/>
                      <a:pt x="183" y="268"/>
                    </a:cubicBezTo>
                    <a:cubicBezTo>
                      <a:pt x="167" y="268"/>
                      <a:pt x="155" y="281"/>
                      <a:pt x="155" y="296"/>
                    </a:cubicBezTo>
                    <a:cubicBezTo>
                      <a:pt x="155" y="311"/>
                      <a:pt x="167" y="323"/>
                      <a:pt x="183" y="323"/>
                    </a:cubicBezTo>
                    <a:close/>
                    <a:moveTo>
                      <a:pt x="194" y="192"/>
                    </a:moveTo>
                    <a:cubicBezTo>
                      <a:pt x="159" y="85"/>
                      <a:pt x="159" y="85"/>
                      <a:pt x="159" y="85"/>
                    </a:cubicBezTo>
                    <a:cubicBezTo>
                      <a:pt x="150" y="62"/>
                      <a:pt x="135" y="39"/>
                      <a:pt x="110" y="39"/>
                    </a:cubicBezTo>
                    <a:cubicBezTo>
                      <a:pt x="22" y="39"/>
                      <a:pt x="22" y="39"/>
                      <a:pt x="22" y="39"/>
                    </a:cubicBezTo>
                    <a:cubicBezTo>
                      <a:pt x="10" y="39"/>
                      <a:pt x="0" y="49"/>
                      <a:pt x="0" y="61"/>
                    </a:cubicBezTo>
                    <a:cubicBezTo>
                      <a:pt x="0" y="296"/>
                      <a:pt x="0" y="296"/>
                      <a:pt x="0" y="296"/>
                    </a:cubicBezTo>
                    <a:cubicBezTo>
                      <a:pt x="27" y="296"/>
                      <a:pt x="27" y="296"/>
                      <a:pt x="27" y="296"/>
                    </a:cubicBezTo>
                    <a:moveTo>
                      <a:pt x="81" y="296"/>
                    </a:moveTo>
                    <a:cubicBezTo>
                      <a:pt x="155" y="296"/>
                      <a:pt x="155" y="296"/>
                      <a:pt x="155" y="296"/>
                    </a:cubicBezTo>
                    <a:moveTo>
                      <a:pt x="210" y="296"/>
                    </a:moveTo>
                    <a:cubicBezTo>
                      <a:pt x="235" y="296"/>
                      <a:pt x="235" y="296"/>
                      <a:pt x="235" y="296"/>
                    </a:cubicBezTo>
                    <a:cubicBezTo>
                      <a:pt x="235" y="0"/>
                      <a:pt x="235" y="0"/>
                      <a:pt x="235" y="0"/>
                    </a:cubicBezTo>
                    <a:moveTo>
                      <a:pt x="235" y="272"/>
                    </a:moveTo>
                    <a:cubicBezTo>
                      <a:pt x="349" y="272"/>
                      <a:pt x="349" y="272"/>
                      <a:pt x="349" y="272"/>
                    </a:cubicBezTo>
                    <a:moveTo>
                      <a:pt x="0" y="139"/>
                    </a:moveTo>
                    <a:cubicBezTo>
                      <a:pt x="81" y="139"/>
                      <a:pt x="81" y="139"/>
                      <a:pt x="81" y="139"/>
                    </a:cubicBezTo>
                    <a:cubicBezTo>
                      <a:pt x="81" y="192"/>
                      <a:pt x="81" y="192"/>
                      <a:pt x="81" y="192"/>
                    </a:cubicBezTo>
                    <a:cubicBezTo>
                      <a:pt x="235" y="192"/>
                      <a:pt x="235" y="192"/>
                      <a:pt x="235" y="192"/>
                    </a:cubicBezTo>
                    <a:moveTo>
                      <a:pt x="315" y="35"/>
                    </a:moveTo>
                    <a:cubicBezTo>
                      <a:pt x="281" y="35"/>
                      <a:pt x="281" y="35"/>
                      <a:pt x="281" y="35"/>
                    </a:cubicBezTo>
                    <a:cubicBezTo>
                      <a:pt x="281" y="68"/>
                      <a:pt x="281" y="68"/>
                      <a:pt x="281" y="68"/>
                    </a:cubicBezTo>
                    <a:cubicBezTo>
                      <a:pt x="315" y="68"/>
                      <a:pt x="315" y="68"/>
                      <a:pt x="315" y="68"/>
                    </a:cubicBezTo>
                    <a:lnTo>
                      <a:pt x="315" y="35"/>
                    </a:lnTo>
                    <a:close/>
                    <a:moveTo>
                      <a:pt x="315" y="112"/>
                    </a:moveTo>
                    <a:cubicBezTo>
                      <a:pt x="281" y="112"/>
                      <a:pt x="281" y="112"/>
                      <a:pt x="281" y="112"/>
                    </a:cubicBezTo>
                    <a:cubicBezTo>
                      <a:pt x="281" y="145"/>
                      <a:pt x="281" y="145"/>
                      <a:pt x="281" y="145"/>
                    </a:cubicBezTo>
                    <a:cubicBezTo>
                      <a:pt x="315" y="145"/>
                      <a:pt x="315" y="145"/>
                      <a:pt x="315" y="145"/>
                    </a:cubicBezTo>
                    <a:lnTo>
                      <a:pt x="315" y="112"/>
                    </a:lnTo>
                    <a:close/>
                    <a:moveTo>
                      <a:pt x="315" y="189"/>
                    </a:moveTo>
                    <a:cubicBezTo>
                      <a:pt x="281" y="189"/>
                      <a:pt x="281" y="189"/>
                      <a:pt x="281" y="189"/>
                    </a:cubicBezTo>
                    <a:cubicBezTo>
                      <a:pt x="281" y="222"/>
                      <a:pt x="281" y="222"/>
                      <a:pt x="281" y="222"/>
                    </a:cubicBezTo>
                    <a:cubicBezTo>
                      <a:pt x="315" y="222"/>
                      <a:pt x="315" y="222"/>
                      <a:pt x="315" y="222"/>
                    </a:cubicBezTo>
                    <a:lnTo>
                      <a:pt x="315" y="189"/>
                    </a:lnTo>
                    <a:close/>
                  </a:path>
                </a:pathLst>
              </a:custGeom>
              <a:noFill/>
              <a:ln w="15875">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7857" tIns="43929" rIns="87857" bIns="43929" numCol="1" anchor="t" anchorCtr="0" compatLnSpc="1">
                <a:prstTxWarp prst="textNoShape">
                  <a:avLst/>
                </a:prstTxWarp>
              </a:bodyPr>
              <a:lstStyle/>
              <a:p>
                <a:pPr defTabSz="878463">
                  <a:defRPr/>
                </a:pPr>
                <a:endParaRPr lang="en-US" sz="1729" kern="0">
                  <a:solidFill>
                    <a:sysClr val="windowText" lastClr="000000"/>
                  </a:solidFill>
                  <a:latin typeface="Segoe UI Semilight"/>
                </a:endParaRPr>
              </a:p>
            </p:txBody>
          </p:sp>
        </p:grpSp>
        <p:grpSp>
          <p:nvGrpSpPr>
            <p:cNvPr id="232" name="Group 231">
              <a:extLst>
                <a:ext uri="{FF2B5EF4-FFF2-40B4-BE49-F238E27FC236}">
                  <a16:creationId xmlns:a16="http://schemas.microsoft.com/office/drawing/2014/main" id="{1E7AE490-D6F0-476E-9285-D427DB47B60C}"/>
                </a:ext>
              </a:extLst>
            </p:cNvPr>
            <p:cNvGrpSpPr/>
            <p:nvPr/>
          </p:nvGrpSpPr>
          <p:grpSpPr>
            <a:xfrm>
              <a:off x="8856761" y="498578"/>
              <a:ext cx="503278" cy="503278"/>
              <a:chOff x="6530506" y="534500"/>
              <a:chExt cx="523664" cy="523664"/>
            </a:xfrm>
          </p:grpSpPr>
          <p:sp useBgFill="1">
            <p:nvSpPr>
              <p:cNvPr id="233" name="Oval 232">
                <a:extLst>
                  <a:ext uri="{FF2B5EF4-FFF2-40B4-BE49-F238E27FC236}">
                    <a16:creationId xmlns:a16="http://schemas.microsoft.com/office/drawing/2014/main" id="{CD1D05F9-05A5-431E-A5E0-7C02AD3ACD1F}"/>
                  </a:ext>
                </a:extLst>
              </p:cNvPr>
              <p:cNvSpPr/>
              <p:nvPr/>
            </p:nvSpPr>
            <p:spPr bwMode="auto">
              <a:xfrm rot="720000" flipH="1">
                <a:off x="6530506" y="534500"/>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4" name="Freeform 33">
                <a:extLst>
                  <a:ext uri="{FF2B5EF4-FFF2-40B4-BE49-F238E27FC236}">
                    <a16:creationId xmlns:a16="http://schemas.microsoft.com/office/drawing/2014/main" id="{0BFA28D2-DE64-4761-9684-B1DDE1C4BE13}"/>
                  </a:ext>
                </a:extLst>
              </p:cNvPr>
              <p:cNvSpPr>
                <a:spLocks/>
              </p:cNvSpPr>
              <p:nvPr/>
            </p:nvSpPr>
            <p:spPr bwMode="auto">
              <a:xfrm>
                <a:off x="6633706" y="661988"/>
                <a:ext cx="317264" cy="268688"/>
              </a:xfrm>
              <a:custGeom>
                <a:avLst/>
                <a:gdLst>
                  <a:gd name="T0" fmla="*/ 36 w 3778"/>
                  <a:gd name="T1" fmla="*/ 1130 h 3199"/>
                  <a:gd name="T2" fmla="*/ 19 w 3778"/>
                  <a:gd name="T3" fmla="*/ 1010 h 3199"/>
                  <a:gd name="T4" fmla="*/ 291 w 3778"/>
                  <a:gd name="T5" fmla="*/ 276 h 3199"/>
                  <a:gd name="T6" fmla="*/ 958 w 3778"/>
                  <a:gd name="T7" fmla="*/ 0 h 3199"/>
                  <a:gd name="T8" fmla="*/ 1624 w 3778"/>
                  <a:gd name="T9" fmla="*/ 276 h 3199"/>
                  <a:gd name="T10" fmla="*/ 1895 w 3778"/>
                  <a:gd name="T11" fmla="*/ 547 h 3199"/>
                  <a:gd name="T12" fmla="*/ 2166 w 3778"/>
                  <a:gd name="T13" fmla="*/ 276 h 3199"/>
                  <a:gd name="T14" fmla="*/ 2833 w 3778"/>
                  <a:gd name="T15" fmla="*/ 0 h 3199"/>
                  <a:gd name="T16" fmla="*/ 3499 w 3778"/>
                  <a:gd name="T17" fmla="*/ 276 h 3199"/>
                  <a:gd name="T18" fmla="*/ 3771 w 3778"/>
                  <a:gd name="T19" fmla="*/ 906 h 3199"/>
                  <a:gd name="T20" fmla="*/ 3579 w 3778"/>
                  <a:gd name="T21" fmla="*/ 1510 h 3199"/>
                  <a:gd name="T22" fmla="*/ 2768 w 3778"/>
                  <a:gd name="T23" fmla="*/ 1510 h 3199"/>
                  <a:gd name="T24" fmla="*/ 2520 w 3778"/>
                  <a:gd name="T25" fmla="*/ 1262 h 3199"/>
                  <a:gd name="T26" fmla="*/ 1895 w 3778"/>
                  <a:gd name="T27" fmla="*/ 1887 h 3199"/>
                  <a:gd name="T28" fmla="*/ 1020 w 3778"/>
                  <a:gd name="T29" fmla="*/ 1012 h 3199"/>
                  <a:gd name="T30" fmla="*/ 522 w 3778"/>
                  <a:gd name="T31" fmla="*/ 1510 h 3199"/>
                  <a:gd name="T32" fmla="*/ 207 w 3778"/>
                  <a:gd name="T33" fmla="*/ 1511 h 3199"/>
                  <a:gd name="T34" fmla="*/ 1895 w 3778"/>
                  <a:gd name="T35" fmla="*/ 3199 h 3199"/>
                  <a:gd name="T36" fmla="*/ 3214 w 3778"/>
                  <a:gd name="T37" fmla="*/ 1879 h 3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78" h="3199">
                    <a:moveTo>
                      <a:pt x="36" y="1130"/>
                    </a:moveTo>
                    <a:cubicBezTo>
                      <a:pt x="19" y="1010"/>
                      <a:pt x="19" y="1010"/>
                      <a:pt x="19" y="1010"/>
                    </a:cubicBezTo>
                    <a:cubicBezTo>
                      <a:pt x="0" y="738"/>
                      <a:pt x="98" y="469"/>
                      <a:pt x="291" y="276"/>
                    </a:cubicBezTo>
                    <a:cubicBezTo>
                      <a:pt x="469" y="98"/>
                      <a:pt x="706" y="0"/>
                      <a:pt x="958" y="0"/>
                    </a:cubicBezTo>
                    <a:cubicBezTo>
                      <a:pt x="1209" y="0"/>
                      <a:pt x="1446" y="98"/>
                      <a:pt x="1624" y="276"/>
                    </a:cubicBezTo>
                    <a:cubicBezTo>
                      <a:pt x="1895" y="547"/>
                      <a:pt x="1895" y="547"/>
                      <a:pt x="1895" y="547"/>
                    </a:cubicBezTo>
                    <a:cubicBezTo>
                      <a:pt x="2166" y="276"/>
                      <a:pt x="2166" y="276"/>
                      <a:pt x="2166" y="276"/>
                    </a:cubicBezTo>
                    <a:cubicBezTo>
                      <a:pt x="2344" y="98"/>
                      <a:pt x="2581" y="0"/>
                      <a:pt x="2833" y="0"/>
                    </a:cubicBezTo>
                    <a:cubicBezTo>
                      <a:pt x="3084" y="0"/>
                      <a:pt x="3321" y="98"/>
                      <a:pt x="3499" y="276"/>
                    </a:cubicBezTo>
                    <a:cubicBezTo>
                      <a:pt x="3667" y="444"/>
                      <a:pt x="3764" y="668"/>
                      <a:pt x="3771" y="906"/>
                    </a:cubicBezTo>
                    <a:cubicBezTo>
                      <a:pt x="3778" y="1125"/>
                      <a:pt x="3710" y="1337"/>
                      <a:pt x="3579" y="1510"/>
                    </a:cubicBezTo>
                    <a:cubicBezTo>
                      <a:pt x="2768" y="1510"/>
                      <a:pt x="2768" y="1510"/>
                      <a:pt x="2768" y="1510"/>
                    </a:cubicBezTo>
                    <a:cubicBezTo>
                      <a:pt x="2520" y="1262"/>
                      <a:pt x="2520" y="1262"/>
                      <a:pt x="2520" y="1262"/>
                    </a:cubicBezTo>
                    <a:cubicBezTo>
                      <a:pt x="1895" y="1887"/>
                      <a:pt x="1895" y="1887"/>
                      <a:pt x="1895" y="1887"/>
                    </a:cubicBezTo>
                    <a:cubicBezTo>
                      <a:pt x="1020" y="1012"/>
                      <a:pt x="1020" y="1012"/>
                      <a:pt x="1020" y="1012"/>
                    </a:cubicBezTo>
                    <a:cubicBezTo>
                      <a:pt x="522" y="1510"/>
                      <a:pt x="522" y="1510"/>
                      <a:pt x="522" y="1510"/>
                    </a:cubicBezTo>
                    <a:cubicBezTo>
                      <a:pt x="207" y="1511"/>
                      <a:pt x="207" y="1511"/>
                      <a:pt x="207" y="1511"/>
                    </a:cubicBezTo>
                    <a:cubicBezTo>
                      <a:pt x="1895" y="3199"/>
                      <a:pt x="1895" y="3199"/>
                      <a:pt x="1895" y="3199"/>
                    </a:cubicBezTo>
                    <a:cubicBezTo>
                      <a:pt x="3214" y="1879"/>
                      <a:pt x="3214" y="1879"/>
                      <a:pt x="3214" y="1879"/>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865">
                  <a:gradFill>
                    <a:gsLst>
                      <a:gs pos="0">
                        <a:srgbClr val="505050"/>
                      </a:gs>
                      <a:gs pos="100000">
                        <a:srgbClr val="505050"/>
                      </a:gs>
                    </a:gsLst>
                    <a:lin ang="5400000" scaled="1"/>
                  </a:gradFill>
                  <a:latin typeface="Segoe UI Semilight"/>
                </a:endParaRPr>
              </a:p>
            </p:txBody>
          </p:sp>
        </p:grpSp>
        <p:grpSp>
          <p:nvGrpSpPr>
            <p:cNvPr id="235" name="Group 234">
              <a:extLst>
                <a:ext uri="{FF2B5EF4-FFF2-40B4-BE49-F238E27FC236}">
                  <a16:creationId xmlns:a16="http://schemas.microsoft.com/office/drawing/2014/main" id="{C4A2E592-EBBA-4EEA-A254-11C93979F82C}"/>
                </a:ext>
              </a:extLst>
            </p:cNvPr>
            <p:cNvGrpSpPr/>
            <p:nvPr/>
          </p:nvGrpSpPr>
          <p:grpSpPr>
            <a:xfrm>
              <a:off x="5699991" y="3600729"/>
              <a:ext cx="503278" cy="503278"/>
              <a:chOff x="3245867" y="3762307"/>
              <a:chExt cx="523664" cy="523664"/>
            </a:xfrm>
          </p:grpSpPr>
          <p:sp useBgFill="1">
            <p:nvSpPr>
              <p:cNvPr id="236" name="Oval 235">
                <a:extLst>
                  <a:ext uri="{FF2B5EF4-FFF2-40B4-BE49-F238E27FC236}">
                    <a16:creationId xmlns:a16="http://schemas.microsoft.com/office/drawing/2014/main" id="{9C4A465D-6D47-4244-9898-F0C4088C8430}"/>
                  </a:ext>
                </a:extLst>
              </p:cNvPr>
              <p:cNvSpPr/>
              <p:nvPr/>
            </p:nvSpPr>
            <p:spPr bwMode="auto">
              <a:xfrm rot="4740000">
                <a:off x="3245867" y="3762307"/>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7" name="Freeform 17">
                <a:extLst>
                  <a:ext uri="{FF2B5EF4-FFF2-40B4-BE49-F238E27FC236}">
                    <a16:creationId xmlns:a16="http://schemas.microsoft.com/office/drawing/2014/main" id="{3A587C90-BC98-4920-B053-D0893804531D}"/>
                  </a:ext>
                </a:extLst>
              </p:cNvPr>
              <p:cNvSpPr>
                <a:spLocks noEditPoints="1"/>
              </p:cNvSpPr>
              <p:nvPr/>
            </p:nvSpPr>
            <p:spPr bwMode="auto">
              <a:xfrm>
                <a:off x="3335338" y="3865138"/>
                <a:ext cx="344722" cy="318002"/>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7857" tIns="43929" rIns="87857" bIns="43929" numCol="1" anchor="t" anchorCtr="0" compatLnSpc="1">
                <a:prstTxWarp prst="textNoShape">
                  <a:avLst/>
                </a:prstTxWarp>
              </a:bodyPr>
              <a:lstStyle/>
              <a:p>
                <a:pPr defTabSz="878463">
                  <a:defRPr/>
                </a:pPr>
                <a:endParaRPr lang="en-US" sz="1729" kern="0">
                  <a:solidFill>
                    <a:sysClr val="windowText" lastClr="000000"/>
                  </a:solidFill>
                  <a:latin typeface="Segoe UI Semilight"/>
                </a:endParaRPr>
              </a:p>
            </p:txBody>
          </p:sp>
        </p:grpSp>
        <p:grpSp>
          <p:nvGrpSpPr>
            <p:cNvPr id="238" name="Group 237">
              <a:extLst>
                <a:ext uri="{FF2B5EF4-FFF2-40B4-BE49-F238E27FC236}">
                  <a16:creationId xmlns:a16="http://schemas.microsoft.com/office/drawing/2014/main" id="{EDD8D4C7-AB49-4527-AE92-DF5FB8E16E5B}"/>
                </a:ext>
              </a:extLst>
            </p:cNvPr>
            <p:cNvGrpSpPr/>
            <p:nvPr/>
          </p:nvGrpSpPr>
          <p:grpSpPr>
            <a:xfrm>
              <a:off x="10530655" y="1649014"/>
              <a:ext cx="503278" cy="503278"/>
              <a:chOff x="8272203" y="1731535"/>
              <a:chExt cx="523664" cy="523664"/>
            </a:xfrm>
          </p:grpSpPr>
          <p:sp useBgFill="1">
            <p:nvSpPr>
              <p:cNvPr id="239" name="Oval 238">
                <a:extLst>
                  <a:ext uri="{FF2B5EF4-FFF2-40B4-BE49-F238E27FC236}">
                    <a16:creationId xmlns:a16="http://schemas.microsoft.com/office/drawing/2014/main" id="{CBDCD8EB-7F5B-4816-9679-352E1986526A}"/>
                  </a:ext>
                </a:extLst>
              </p:cNvPr>
              <p:cNvSpPr/>
              <p:nvPr/>
            </p:nvSpPr>
            <p:spPr bwMode="auto">
              <a:xfrm rot="3420000">
                <a:off x="8272203" y="1731535"/>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40" name="Freeform 5">
                <a:extLst>
                  <a:ext uri="{FF2B5EF4-FFF2-40B4-BE49-F238E27FC236}">
                    <a16:creationId xmlns:a16="http://schemas.microsoft.com/office/drawing/2014/main" id="{87A89F3C-2C76-4A19-93F5-692C43704640}"/>
                  </a:ext>
                </a:extLst>
              </p:cNvPr>
              <p:cNvSpPr>
                <a:spLocks noEditPoints="1"/>
              </p:cNvSpPr>
              <p:nvPr/>
            </p:nvSpPr>
            <p:spPr bwMode="auto">
              <a:xfrm>
                <a:off x="8434250" y="1881876"/>
                <a:ext cx="199570" cy="222982"/>
              </a:xfrm>
              <a:custGeom>
                <a:avLst/>
                <a:gdLst>
                  <a:gd name="T0" fmla="*/ 48 w 246"/>
                  <a:gd name="T1" fmla="*/ 76 h 275"/>
                  <a:gd name="T2" fmla="*/ 124 w 246"/>
                  <a:gd name="T3" fmla="*/ 0 h 275"/>
                  <a:gd name="T4" fmla="*/ 201 w 246"/>
                  <a:gd name="T5" fmla="*/ 76 h 275"/>
                  <a:gd name="T6" fmla="*/ 124 w 246"/>
                  <a:gd name="T7" fmla="*/ 152 h 275"/>
                  <a:gd name="T8" fmla="*/ 48 w 246"/>
                  <a:gd name="T9" fmla="*/ 76 h 275"/>
                  <a:gd name="T10" fmla="*/ 246 w 246"/>
                  <a:gd name="T11" fmla="*/ 275 h 275"/>
                  <a:gd name="T12" fmla="*/ 123 w 246"/>
                  <a:gd name="T13" fmla="*/ 152 h 275"/>
                  <a:gd name="T14" fmla="*/ 0 w 246"/>
                  <a:gd name="T15" fmla="*/ 275 h 2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275">
                    <a:moveTo>
                      <a:pt x="48" y="76"/>
                    </a:moveTo>
                    <a:cubicBezTo>
                      <a:pt x="48" y="34"/>
                      <a:pt x="82" y="0"/>
                      <a:pt x="124" y="0"/>
                    </a:cubicBezTo>
                    <a:cubicBezTo>
                      <a:pt x="166" y="0"/>
                      <a:pt x="201" y="34"/>
                      <a:pt x="201" y="76"/>
                    </a:cubicBezTo>
                    <a:cubicBezTo>
                      <a:pt x="201" y="118"/>
                      <a:pt x="166" y="152"/>
                      <a:pt x="124" y="152"/>
                    </a:cubicBezTo>
                    <a:cubicBezTo>
                      <a:pt x="82" y="152"/>
                      <a:pt x="48" y="118"/>
                      <a:pt x="48" y="76"/>
                    </a:cubicBezTo>
                    <a:close/>
                    <a:moveTo>
                      <a:pt x="246" y="275"/>
                    </a:moveTo>
                    <a:cubicBezTo>
                      <a:pt x="246" y="207"/>
                      <a:pt x="191" y="152"/>
                      <a:pt x="123" y="152"/>
                    </a:cubicBezTo>
                    <a:cubicBezTo>
                      <a:pt x="55" y="152"/>
                      <a:pt x="0" y="207"/>
                      <a:pt x="0" y="2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1729">
                  <a:solidFill>
                    <a:srgbClr val="505050"/>
                  </a:solidFill>
                  <a:latin typeface="Segoe UI Semilight"/>
                </a:endParaRPr>
              </a:p>
            </p:txBody>
          </p:sp>
        </p:grpSp>
        <p:grpSp>
          <p:nvGrpSpPr>
            <p:cNvPr id="241" name="Group 240">
              <a:extLst>
                <a:ext uri="{FF2B5EF4-FFF2-40B4-BE49-F238E27FC236}">
                  <a16:creationId xmlns:a16="http://schemas.microsoft.com/office/drawing/2014/main" id="{C752C4F8-361D-4237-BD91-D59CEF672881}"/>
                </a:ext>
              </a:extLst>
            </p:cNvPr>
            <p:cNvGrpSpPr/>
            <p:nvPr/>
          </p:nvGrpSpPr>
          <p:grpSpPr>
            <a:xfrm>
              <a:off x="9788983" y="894283"/>
              <a:ext cx="503278" cy="503278"/>
              <a:chOff x="7500489" y="946234"/>
              <a:chExt cx="523664" cy="523664"/>
            </a:xfrm>
          </p:grpSpPr>
          <p:sp useBgFill="1">
            <p:nvSpPr>
              <p:cNvPr id="242" name="Oval 241">
                <a:extLst>
                  <a:ext uri="{FF2B5EF4-FFF2-40B4-BE49-F238E27FC236}">
                    <a16:creationId xmlns:a16="http://schemas.microsoft.com/office/drawing/2014/main" id="{062E0030-C31F-4343-8D02-35795A3E0B85}"/>
                  </a:ext>
                </a:extLst>
              </p:cNvPr>
              <p:cNvSpPr/>
              <p:nvPr/>
            </p:nvSpPr>
            <p:spPr bwMode="auto">
              <a:xfrm rot="2040000">
                <a:off x="7500489" y="946234"/>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43" name="Freeform 5">
                <a:extLst>
                  <a:ext uri="{FF2B5EF4-FFF2-40B4-BE49-F238E27FC236}">
                    <a16:creationId xmlns:a16="http://schemas.microsoft.com/office/drawing/2014/main" id="{4B6788C3-C5E0-4DAE-84C3-F6C1DC233307}"/>
                  </a:ext>
                </a:extLst>
              </p:cNvPr>
              <p:cNvSpPr>
                <a:spLocks noEditPoints="1"/>
              </p:cNvSpPr>
              <p:nvPr/>
            </p:nvSpPr>
            <p:spPr bwMode="auto">
              <a:xfrm>
                <a:off x="7665070" y="1052514"/>
                <a:ext cx="194502" cy="311106"/>
              </a:xfrm>
              <a:custGeom>
                <a:avLst/>
                <a:gdLst>
                  <a:gd name="T0" fmla="*/ 2132 w 2244"/>
                  <a:gd name="T1" fmla="*/ 1570 h 3590"/>
                  <a:gd name="T2" fmla="*/ 1122 w 2244"/>
                  <a:gd name="T3" fmla="*/ 3590 h 3590"/>
                  <a:gd name="T4" fmla="*/ 112 w 2244"/>
                  <a:gd name="T5" fmla="*/ 1570 h 3590"/>
                  <a:gd name="T6" fmla="*/ 0 w 2244"/>
                  <a:gd name="T7" fmla="*/ 1122 h 3590"/>
                  <a:gd name="T8" fmla="*/ 1122 w 2244"/>
                  <a:gd name="T9" fmla="*/ 0 h 3590"/>
                  <a:gd name="T10" fmla="*/ 2244 w 2244"/>
                  <a:gd name="T11" fmla="*/ 1122 h 3590"/>
                  <a:gd name="T12" fmla="*/ 2132 w 2244"/>
                  <a:gd name="T13" fmla="*/ 1570 h 3590"/>
                  <a:gd name="T14" fmla="*/ 1122 w 2244"/>
                  <a:gd name="T15" fmla="*/ 504 h 3590"/>
                  <a:gd name="T16" fmla="*/ 501 w 2244"/>
                  <a:gd name="T17" fmla="*/ 1125 h 3590"/>
                  <a:gd name="T18" fmla="*/ 1122 w 2244"/>
                  <a:gd name="T19" fmla="*/ 1746 h 3590"/>
                  <a:gd name="T20" fmla="*/ 1743 w 2244"/>
                  <a:gd name="T21" fmla="*/ 1125 h 3590"/>
                  <a:gd name="T22" fmla="*/ 1122 w 2244"/>
                  <a:gd name="T23" fmla="*/ 504 h 3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4" h="3590">
                    <a:moveTo>
                      <a:pt x="2132" y="1570"/>
                    </a:moveTo>
                    <a:cubicBezTo>
                      <a:pt x="1122" y="3590"/>
                      <a:pt x="1122" y="3590"/>
                      <a:pt x="1122" y="3590"/>
                    </a:cubicBezTo>
                    <a:cubicBezTo>
                      <a:pt x="112" y="1570"/>
                      <a:pt x="112" y="1570"/>
                      <a:pt x="112" y="1570"/>
                    </a:cubicBezTo>
                    <a:cubicBezTo>
                      <a:pt x="41" y="1432"/>
                      <a:pt x="0" y="1281"/>
                      <a:pt x="0" y="1122"/>
                    </a:cubicBezTo>
                    <a:cubicBezTo>
                      <a:pt x="0" y="502"/>
                      <a:pt x="502" y="0"/>
                      <a:pt x="1122" y="0"/>
                    </a:cubicBezTo>
                    <a:cubicBezTo>
                      <a:pt x="1742" y="0"/>
                      <a:pt x="2244" y="502"/>
                      <a:pt x="2244" y="1122"/>
                    </a:cubicBezTo>
                    <a:cubicBezTo>
                      <a:pt x="2244" y="1281"/>
                      <a:pt x="2203" y="1432"/>
                      <a:pt x="2132" y="1570"/>
                    </a:cubicBezTo>
                    <a:close/>
                    <a:moveTo>
                      <a:pt x="1122" y="504"/>
                    </a:moveTo>
                    <a:cubicBezTo>
                      <a:pt x="779" y="504"/>
                      <a:pt x="501" y="782"/>
                      <a:pt x="501" y="1125"/>
                    </a:cubicBezTo>
                    <a:cubicBezTo>
                      <a:pt x="501" y="1468"/>
                      <a:pt x="779" y="1746"/>
                      <a:pt x="1122" y="1746"/>
                    </a:cubicBezTo>
                    <a:cubicBezTo>
                      <a:pt x="1465" y="1746"/>
                      <a:pt x="1743" y="1468"/>
                      <a:pt x="1743" y="1125"/>
                    </a:cubicBezTo>
                    <a:cubicBezTo>
                      <a:pt x="1743" y="782"/>
                      <a:pt x="1465" y="504"/>
                      <a:pt x="1122" y="504"/>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1729">
                  <a:solidFill>
                    <a:srgbClr val="505050"/>
                  </a:solidFill>
                  <a:latin typeface="Segoe UI Semilight"/>
                </a:endParaRPr>
              </a:p>
            </p:txBody>
          </p:sp>
        </p:grpSp>
        <p:grpSp>
          <p:nvGrpSpPr>
            <p:cNvPr id="244" name="Group 243">
              <a:extLst>
                <a:ext uri="{FF2B5EF4-FFF2-40B4-BE49-F238E27FC236}">
                  <a16:creationId xmlns:a16="http://schemas.microsoft.com/office/drawing/2014/main" id="{B6FB8411-F740-4C37-9D8D-FFCE9C318C42}"/>
                </a:ext>
              </a:extLst>
            </p:cNvPr>
            <p:cNvGrpSpPr/>
            <p:nvPr/>
          </p:nvGrpSpPr>
          <p:grpSpPr>
            <a:xfrm>
              <a:off x="6146249" y="3092432"/>
              <a:ext cx="507144" cy="507144"/>
              <a:chOff x="3710200" y="3233420"/>
              <a:chExt cx="527686" cy="527686"/>
            </a:xfrm>
          </p:grpSpPr>
          <p:sp useBgFill="1">
            <p:nvSpPr>
              <p:cNvPr id="245" name="Oval 244">
                <a:extLst>
                  <a:ext uri="{FF2B5EF4-FFF2-40B4-BE49-F238E27FC236}">
                    <a16:creationId xmlns:a16="http://schemas.microsoft.com/office/drawing/2014/main" id="{7B209AC3-7A86-4225-842C-94B48DEDAA3A}"/>
                  </a:ext>
                </a:extLst>
              </p:cNvPr>
              <p:cNvSpPr/>
              <p:nvPr/>
            </p:nvSpPr>
            <p:spPr bwMode="auto">
              <a:xfrm rot="5400000">
                <a:off x="3710200" y="3233420"/>
                <a:ext cx="527686" cy="527686"/>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46" name="DeveloperTools_EC7A">
                <a:extLst>
                  <a:ext uri="{FF2B5EF4-FFF2-40B4-BE49-F238E27FC236}">
                    <a16:creationId xmlns:a16="http://schemas.microsoft.com/office/drawing/2014/main" id="{D44D54EF-42BD-46B0-90D7-BD007F085DE6}"/>
                  </a:ext>
                </a:extLst>
              </p:cNvPr>
              <p:cNvSpPr>
                <a:spLocks noChangeAspect="1" noEditPoints="1"/>
              </p:cNvSpPr>
              <p:nvPr/>
            </p:nvSpPr>
            <p:spPr bwMode="auto">
              <a:xfrm>
                <a:off x="3872869" y="3337848"/>
                <a:ext cx="202348" cy="318830"/>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1729">
                  <a:solidFill>
                    <a:srgbClr val="505050"/>
                  </a:solidFill>
                  <a:latin typeface="Segoe UI Semilight"/>
                </a:endParaRPr>
              </a:p>
            </p:txBody>
          </p:sp>
        </p:grpSp>
        <p:grpSp>
          <p:nvGrpSpPr>
            <p:cNvPr id="247" name="Group 246">
              <a:extLst>
                <a:ext uri="{FF2B5EF4-FFF2-40B4-BE49-F238E27FC236}">
                  <a16:creationId xmlns:a16="http://schemas.microsoft.com/office/drawing/2014/main" id="{FCA56108-E0FE-4BCE-95E7-B99F0BD13DE7}"/>
                </a:ext>
              </a:extLst>
            </p:cNvPr>
            <p:cNvGrpSpPr/>
            <p:nvPr/>
          </p:nvGrpSpPr>
          <p:grpSpPr>
            <a:xfrm>
              <a:off x="8303079" y="5249262"/>
              <a:ext cx="507144" cy="507144"/>
              <a:chOff x="5954395" y="5477615"/>
              <a:chExt cx="527686" cy="527686"/>
            </a:xfrm>
          </p:grpSpPr>
          <p:sp useBgFill="1">
            <p:nvSpPr>
              <p:cNvPr id="248" name="Oval 247">
                <a:extLst>
                  <a:ext uri="{FF2B5EF4-FFF2-40B4-BE49-F238E27FC236}">
                    <a16:creationId xmlns:a16="http://schemas.microsoft.com/office/drawing/2014/main" id="{5D49E003-5DFC-4043-819B-27DAC866FE6B}"/>
                  </a:ext>
                </a:extLst>
              </p:cNvPr>
              <p:cNvSpPr/>
              <p:nvPr/>
            </p:nvSpPr>
            <p:spPr bwMode="auto">
              <a:xfrm>
                <a:off x="5954395" y="5477615"/>
                <a:ext cx="527686" cy="527686"/>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49" name="Group 196">
                <a:extLst>
                  <a:ext uri="{FF2B5EF4-FFF2-40B4-BE49-F238E27FC236}">
                    <a16:creationId xmlns:a16="http://schemas.microsoft.com/office/drawing/2014/main" id="{1619A89A-AFAE-41C3-9E84-9D2AF713EF2F}"/>
                  </a:ext>
                </a:extLst>
              </p:cNvPr>
              <p:cNvGrpSpPr>
                <a:grpSpLocks noChangeAspect="1"/>
              </p:cNvGrpSpPr>
              <p:nvPr/>
            </p:nvGrpSpPr>
            <p:grpSpPr bwMode="auto">
              <a:xfrm>
                <a:off x="6130084" y="5573481"/>
                <a:ext cx="176308" cy="335955"/>
                <a:chOff x="7261" y="805"/>
                <a:chExt cx="127" cy="242"/>
              </a:xfrm>
            </p:grpSpPr>
            <p:sp>
              <p:nvSpPr>
                <p:cNvPr id="250" name="Freeform 197">
                  <a:extLst>
                    <a:ext uri="{FF2B5EF4-FFF2-40B4-BE49-F238E27FC236}">
                      <a16:creationId xmlns:a16="http://schemas.microsoft.com/office/drawing/2014/main" id="{91BA491C-72BD-49C0-9D38-35EFEC259D5C}"/>
                    </a:ext>
                  </a:extLst>
                </p:cNvPr>
                <p:cNvSpPr>
                  <a:spLocks/>
                </p:cNvSpPr>
                <p:nvPr/>
              </p:nvSpPr>
              <p:spPr bwMode="auto">
                <a:xfrm>
                  <a:off x="7323" y="805"/>
                  <a:ext cx="65" cy="194"/>
                </a:xfrm>
                <a:custGeom>
                  <a:avLst/>
                  <a:gdLst>
                    <a:gd name="T0" fmla="*/ 90 w 90"/>
                    <a:gd name="T1" fmla="*/ 166 h 268"/>
                    <a:gd name="T2" fmla="*/ 90 w 90"/>
                    <a:gd name="T3" fmla="*/ 46 h 268"/>
                    <a:gd name="T4" fmla="*/ 45 w 90"/>
                    <a:gd name="T5" fmla="*/ 0 h 268"/>
                    <a:gd name="T6" fmla="*/ 0 w 90"/>
                    <a:gd name="T7" fmla="*/ 46 h 268"/>
                    <a:gd name="T8" fmla="*/ 0 w 90"/>
                    <a:gd name="T9" fmla="*/ 268 h 268"/>
                  </a:gdLst>
                  <a:ahLst/>
                  <a:cxnLst>
                    <a:cxn ang="0">
                      <a:pos x="T0" y="T1"/>
                    </a:cxn>
                    <a:cxn ang="0">
                      <a:pos x="T2" y="T3"/>
                    </a:cxn>
                    <a:cxn ang="0">
                      <a:pos x="T4" y="T5"/>
                    </a:cxn>
                    <a:cxn ang="0">
                      <a:pos x="T6" y="T7"/>
                    </a:cxn>
                    <a:cxn ang="0">
                      <a:pos x="T8" y="T9"/>
                    </a:cxn>
                  </a:cxnLst>
                  <a:rect l="0" t="0" r="r" b="b"/>
                  <a:pathLst>
                    <a:path w="90" h="268">
                      <a:moveTo>
                        <a:pt x="90" y="166"/>
                      </a:moveTo>
                      <a:cubicBezTo>
                        <a:pt x="90" y="46"/>
                        <a:pt x="90" y="46"/>
                        <a:pt x="90" y="46"/>
                      </a:cubicBezTo>
                      <a:cubicBezTo>
                        <a:pt x="90" y="20"/>
                        <a:pt x="70" y="0"/>
                        <a:pt x="45" y="0"/>
                      </a:cubicBezTo>
                      <a:cubicBezTo>
                        <a:pt x="20" y="0"/>
                        <a:pt x="0" y="20"/>
                        <a:pt x="0" y="46"/>
                      </a:cubicBezTo>
                      <a:cubicBezTo>
                        <a:pt x="0" y="268"/>
                        <a:pt x="0" y="268"/>
                        <a:pt x="0" y="268"/>
                      </a:cubicBezTo>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1729">
                    <a:gradFill>
                      <a:gsLst>
                        <a:gs pos="0">
                          <a:srgbClr val="505050"/>
                        </a:gs>
                        <a:gs pos="100000">
                          <a:srgbClr val="505050"/>
                        </a:gs>
                      </a:gsLst>
                    </a:gradFill>
                    <a:latin typeface="Segoe UI Semilight"/>
                  </a:endParaRPr>
                </a:p>
              </p:txBody>
            </p:sp>
            <p:sp>
              <p:nvSpPr>
                <p:cNvPr id="251" name="Freeform 198">
                  <a:extLst>
                    <a:ext uri="{FF2B5EF4-FFF2-40B4-BE49-F238E27FC236}">
                      <a16:creationId xmlns:a16="http://schemas.microsoft.com/office/drawing/2014/main" id="{43EF43D0-B380-4FF5-91EB-F9E1D9050535}"/>
                    </a:ext>
                  </a:extLst>
                </p:cNvPr>
                <p:cNvSpPr>
                  <a:spLocks/>
                </p:cNvSpPr>
                <p:nvPr/>
              </p:nvSpPr>
              <p:spPr bwMode="auto">
                <a:xfrm>
                  <a:off x="7261" y="805"/>
                  <a:ext cx="95" cy="194"/>
                </a:xfrm>
                <a:custGeom>
                  <a:avLst/>
                  <a:gdLst>
                    <a:gd name="T0" fmla="*/ 131 w 131"/>
                    <a:gd name="T1" fmla="*/ 0 h 268"/>
                    <a:gd name="T2" fmla="*/ 45 w 131"/>
                    <a:gd name="T3" fmla="*/ 0 h 268"/>
                    <a:gd name="T4" fmla="*/ 0 w 131"/>
                    <a:gd name="T5" fmla="*/ 46 h 268"/>
                    <a:gd name="T6" fmla="*/ 0 w 131"/>
                    <a:gd name="T7" fmla="*/ 268 h 268"/>
                  </a:gdLst>
                  <a:ahLst/>
                  <a:cxnLst>
                    <a:cxn ang="0">
                      <a:pos x="T0" y="T1"/>
                    </a:cxn>
                    <a:cxn ang="0">
                      <a:pos x="T2" y="T3"/>
                    </a:cxn>
                    <a:cxn ang="0">
                      <a:pos x="T4" y="T5"/>
                    </a:cxn>
                    <a:cxn ang="0">
                      <a:pos x="T6" y="T7"/>
                    </a:cxn>
                  </a:cxnLst>
                  <a:rect l="0" t="0" r="r" b="b"/>
                  <a:pathLst>
                    <a:path w="131" h="268">
                      <a:moveTo>
                        <a:pt x="131" y="0"/>
                      </a:moveTo>
                      <a:cubicBezTo>
                        <a:pt x="45" y="0"/>
                        <a:pt x="45" y="0"/>
                        <a:pt x="45" y="0"/>
                      </a:cubicBezTo>
                      <a:cubicBezTo>
                        <a:pt x="20" y="0"/>
                        <a:pt x="0" y="20"/>
                        <a:pt x="0" y="46"/>
                      </a:cubicBezTo>
                      <a:cubicBezTo>
                        <a:pt x="0" y="268"/>
                        <a:pt x="0" y="268"/>
                        <a:pt x="0" y="268"/>
                      </a:cubicBezTo>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1729">
                    <a:gradFill>
                      <a:gsLst>
                        <a:gs pos="0">
                          <a:srgbClr val="505050"/>
                        </a:gs>
                        <a:gs pos="100000">
                          <a:srgbClr val="505050"/>
                        </a:gs>
                      </a:gsLst>
                    </a:gradFill>
                    <a:latin typeface="Segoe UI Semilight"/>
                  </a:endParaRPr>
                </a:p>
              </p:txBody>
            </p:sp>
            <p:sp>
              <p:nvSpPr>
                <p:cNvPr id="252" name="Freeform 199">
                  <a:extLst>
                    <a:ext uri="{FF2B5EF4-FFF2-40B4-BE49-F238E27FC236}">
                      <a16:creationId xmlns:a16="http://schemas.microsoft.com/office/drawing/2014/main" id="{663A852A-7066-4A02-A7CF-BDE348042A4A}"/>
                    </a:ext>
                  </a:extLst>
                </p:cNvPr>
                <p:cNvSpPr>
                  <a:spLocks/>
                </p:cNvSpPr>
                <p:nvPr/>
              </p:nvSpPr>
              <p:spPr bwMode="auto">
                <a:xfrm>
                  <a:off x="7322" y="992"/>
                  <a:ext cx="66" cy="55"/>
                </a:xfrm>
                <a:custGeom>
                  <a:avLst/>
                  <a:gdLst>
                    <a:gd name="T0" fmla="*/ 91 w 91"/>
                    <a:gd name="T1" fmla="*/ 0 h 77"/>
                    <a:gd name="T2" fmla="*/ 91 w 91"/>
                    <a:gd name="T3" fmla="*/ 32 h 77"/>
                    <a:gd name="T4" fmla="*/ 46 w 91"/>
                    <a:gd name="T5" fmla="*/ 77 h 77"/>
                    <a:gd name="T6" fmla="*/ 0 w 91"/>
                    <a:gd name="T7" fmla="*/ 32 h 77"/>
                    <a:gd name="T8" fmla="*/ 0 w 91"/>
                    <a:gd name="T9" fmla="*/ 6 h 77"/>
                  </a:gdLst>
                  <a:ahLst/>
                  <a:cxnLst>
                    <a:cxn ang="0">
                      <a:pos x="T0" y="T1"/>
                    </a:cxn>
                    <a:cxn ang="0">
                      <a:pos x="T2" y="T3"/>
                    </a:cxn>
                    <a:cxn ang="0">
                      <a:pos x="T4" y="T5"/>
                    </a:cxn>
                    <a:cxn ang="0">
                      <a:pos x="T6" y="T7"/>
                    </a:cxn>
                    <a:cxn ang="0">
                      <a:pos x="T8" y="T9"/>
                    </a:cxn>
                  </a:cxnLst>
                  <a:rect l="0" t="0" r="r" b="b"/>
                  <a:pathLst>
                    <a:path w="91" h="77">
                      <a:moveTo>
                        <a:pt x="91" y="0"/>
                      </a:moveTo>
                      <a:cubicBezTo>
                        <a:pt x="91" y="32"/>
                        <a:pt x="91" y="32"/>
                        <a:pt x="91" y="32"/>
                      </a:cubicBezTo>
                      <a:cubicBezTo>
                        <a:pt x="91" y="57"/>
                        <a:pt x="71" y="77"/>
                        <a:pt x="46" y="77"/>
                      </a:cubicBezTo>
                      <a:cubicBezTo>
                        <a:pt x="21" y="77"/>
                        <a:pt x="0" y="57"/>
                        <a:pt x="0" y="32"/>
                      </a:cubicBezTo>
                      <a:cubicBezTo>
                        <a:pt x="0" y="6"/>
                        <a:pt x="0" y="6"/>
                        <a:pt x="0" y="6"/>
                      </a:cubicBezTo>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1729">
                    <a:gradFill>
                      <a:gsLst>
                        <a:gs pos="0">
                          <a:srgbClr val="505050"/>
                        </a:gs>
                        <a:gs pos="100000">
                          <a:srgbClr val="505050"/>
                        </a:gs>
                      </a:gsLst>
                    </a:gradFill>
                    <a:latin typeface="Segoe UI Semilight"/>
                  </a:endParaRPr>
                </a:p>
              </p:txBody>
            </p:sp>
            <p:sp>
              <p:nvSpPr>
                <p:cNvPr id="253" name="Freeform 200">
                  <a:extLst>
                    <a:ext uri="{FF2B5EF4-FFF2-40B4-BE49-F238E27FC236}">
                      <a16:creationId xmlns:a16="http://schemas.microsoft.com/office/drawing/2014/main" id="{5163E551-090A-46FD-A6FE-64606DDBCDDB}"/>
                    </a:ext>
                  </a:extLst>
                </p:cNvPr>
                <p:cNvSpPr>
                  <a:spLocks/>
                </p:cNvSpPr>
                <p:nvPr/>
              </p:nvSpPr>
              <p:spPr bwMode="auto">
                <a:xfrm>
                  <a:off x="7261" y="996"/>
                  <a:ext cx="95" cy="51"/>
                </a:xfrm>
                <a:custGeom>
                  <a:avLst/>
                  <a:gdLst>
                    <a:gd name="T0" fmla="*/ 131 w 131"/>
                    <a:gd name="T1" fmla="*/ 71 h 71"/>
                    <a:gd name="T2" fmla="*/ 45 w 131"/>
                    <a:gd name="T3" fmla="*/ 71 h 71"/>
                    <a:gd name="T4" fmla="*/ 0 w 131"/>
                    <a:gd name="T5" fmla="*/ 26 h 71"/>
                    <a:gd name="T6" fmla="*/ 0 w 131"/>
                    <a:gd name="T7" fmla="*/ 0 h 71"/>
                  </a:gdLst>
                  <a:ahLst/>
                  <a:cxnLst>
                    <a:cxn ang="0">
                      <a:pos x="T0" y="T1"/>
                    </a:cxn>
                    <a:cxn ang="0">
                      <a:pos x="T2" y="T3"/>
                    </a:cxn>
                    <a:cxn ang="0">
                      <a:pos x="T4" y="T5"/>
                    </a:cxn>
                    <a:cxn ang="0">
                      <a:pos x="T6" y="T7"/>
                    </a:cxn>
                  </a:cxnLst>
                  <a:rect l="0" t="0" r="r" b="b"/>
                  <a:pathLst>
                    <a:path w="131" h="71">
                      <a:moveTo>
                        <a:pt x="131" y="71"/>
                      </a:moveTo>
                      <a:cubicBezTo>
                        <a:pt x="45" y="71"/>
                        <a:pt x="45" y="71"/>
                        <a:pt x="45" y="71"/>
                      </a:cubicBezTo>
                      <a:cubicBezTo>
                        <a:pt x="20" y="71"/>
                        <a:pt x="0" y="51"/>
                        <a:pt x="0" y="26"/>
                      </a:cubicBezTo>
                      <a:cubicBezTo>
                        <a:pt x="0" y="0"/>
                        <a:pt x="0" y="0"/>
                        <a:pt x="0" y="0"/>
                      </a:cubicBezTo>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1729">
                    <a:gradFill>
                      <a:gsLst>
                        <a:gs pos="0">
                          <a:srgbClr val="505050"/>
                        </a:gs>
                        <a:gs pos="100000">
                          <a:srgbClr val="505050"/>
                        </a:gs>
                      </a:gsLst>
                    </a:gradFill>
                    <a:latin typeface="Segoe UI Semilight"/>
                  </a:endParaRPr>
                </a:p>
              </p:txBody>
            </p:sp>
            <p:sp>
              <p:nvSpPr>
                <p:cNvPr id="254" name="Oval 201">
                  <a:extLst>
                    <a:ext uri="{FF2B5EF4-FFF2-40B4-BE49-F238E27FC236}">
                      <a16:creationId xmlns:a16="http://schemas.microsoft.com/office/drawing/2014/main" id="{21C01F5D-A5DD-4E47-82B8-12CA3F7BC549}"/>
                    </a:ext>
                  </a:extLst>
                </p:cNvPr>
                <p:cNvSpPr>
                  <a:spLocks noChangeArrowheads="1"/>
                </p:cNvSpPr>
                <p:nvPr/>
              </p:nvSpPr>
              <p:spPr bwMode="auto">
                <a:xfrm>
                  <a:off x="7287" y="878"/>
                  <a:ext cx="9" cy="8"/>
                </a:xfrm>
                <a:prstGeom prst="ellipse">
                  <a:avLst/>
                </a:pr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1729">
                    <a:gradFill>
                      <a:gsLst>
                        <a:gs pos="0">
                          <a:srgbClr val="505050"/>
                        </a:gs>
                        <a:gs pos="100000">
                          <a:srgbClr val="505050"/>
                        </a:gs>
                      </a:gsLst>
                    </a:gradFill>
                    <a:latin typeface="Segoe UI Semilight"/>
                  </a:endParaRPr>
                </a:p>
              </p:txBody>
            </p:sp>
            <p:sp>
              <p:nvSpPr>
                <p:cNvPr id="255" name="Oval 202">
                  <a:extLst>
                    <a:ext uri="{FF2B5EF4-FFF2-40B4-BE49-F238E27FC236}">
                      <a16:creationId xmlns:a16="http://schemas.microsoft.com/office/drawing/2014/main" id="{7D338BFB-82A1-4FEE-A166-CC7FC358A1E6}"/>
                    </a:ext>
                  </a:extLst>
                </p:cNvPr>
                <p:cNvSpPr>
                  <a:spLocks noChangeArrowheads="1"/>
                </p:cNvSpPr>
                <p:nvPr/>
              </p:nvSpPr>
              <p:spPr bwMode="auto">
                <a:xfrm>
                  <a:off x="7287" y="923"/>
                  <a:ext cx="9" cy="8"/>
                </a:xfrm>
                <a:prstGeom prst="ellipse">
                  <a:avLst/>
                </a:pr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1729">
                    <a:gradFill>
                      <a:gsLst>
                        <a:gs pos="0">
                          <a:srgbClr val="505050"/>
                        </a:gs>
                        <a:gs pos="100000">
                          <a:srgbClr val="505050"/>
                        </a:gs>
                      </a:gsLst>
                    </a:gradFill>
                    <a:latin typeface="Segoe UI Semilight"/>
                  </a:endParaRPr>
                </a:p>
              </p:txBody>
            </p:sp>
            <p:sp>
              <p:nvSpPr>
                <p:cNvPr id="256" name="Oval 203">
                  <a:extLst>
                    <a:ext uri="{FF2B5EF4-FFF2-40B4-BE49-F238E27FC236}">
                      <a16:creationId xmlns:a16="http://schemas.microsoft.com/office/drawing/2014/main" id="{6B97D30E-9B84-4EA3-920C-0E95DE20FA52}"/>
                    </a:ext>
                  </a:extLst>
                </p:cNvPr>
                <p:cNvSpPr>
                  <a:spLocks noChangeArrowheads="1"/>
                </p:cNvSpPr>
                <p:nvPr/>
              </p:nvSpPr>
              <p:spPr bwMode="auto">
                <a:xfrm>
                  <a:off x="7287" y="967"/>
                  <a:ext cx="9" cy="8"/>
                </a:xfrm>
                <a:prstGeom prst="ellipse">
                  <a:avLst/>
                </a:pr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1729">
                    <a:gradFill>
                      <a:gsLst>
                        <a:gs pos="0">
                          <a:srgbClr val="505050"/>
                        </a:gs>
                        <a:gs pos="100000">
                          <a:srgbClr val="505050"/>
                        </a:gs>
                      </a:gsLst>
                    </a:gradFill>
                    <a:latin typeface="Segoe UI Semilight"/>
                  </a:endParaRPr>
                </a:p>
              </p:txBody>
            </p:sp>
          </p:grpSp>
        </p:grpSp>
        <p:grpSp>
          <p:nvGrpSpPr>
            <p:cNvPr id="257" name="Group 256">
              <a:extLst>
                <a:ext uri="{FF2B5EF4-FFF2-40B4-BE49-F238E27FC236}">
                  <a16:creationId xmlns:a16="http://schemas.microsoft.com/office/drawing/2014/main" id="{AE9515C2-E86B-42CF-BD4A-2E0FA1BC8E08}"/>
                </a:ext>
              </a:extLst>
            </p:cNvPr>
            <p:cNvGrpSpPr/>
            <p:nvPr/>
          </p:nvGrpSpPr>
          <p:grpSpPr>
            <a:xfrm>
              <a:off x="7495116" y="5092210"/>
              <a:ext cx="507144" cy="507144"/>
              <a:chOff x="5113705" y="5314201"/>
              <a:chExt cx="527686" cy="527686"/>
            </a:xfrm>
          </p:grpSpPr>
          <p:sp useBgFill="1">
            <p:nvSpPr>
              <p:cNvPr id="258" name="Oval 257">
                <a:extLst>
                  <a:ext uri="{FF2B5EF4-FFF2-40B4-BE49-F238E27FC236}">
                    <a16:creationId xmlns:a16="http://schemas.microsoft.com/office/drawing/2014/main" id="{9B9A1ABD-99E4-46AA-8AE1-DF3555F6B339}"/>
                  </a:ext>
                </a:extLst>
              </p:cNvPr>
              <p:cNvSpPr/>
              <p:nvPr/>
            </p:nvSpPr>
            <p:spPr bwMode="auto">
              <a:xfrm rot="1320000">
                <a:off x="5113705" y="5314201"/>
                <a:ext cx="527686" cy="527686"/>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59" name="Group 4">
                <a:extLst>
                  <a:ext uri="{FF2B5EF4-FFF2-40B4-BE49-F238E27FC236}">
                    <a16:creationId xmlns:a16="http://schemas.microsoft.com/office/drawing/2014/main" id="{A2821604-8AAC-468A-99C2-C77B43E3A3FF}"/>
                  </a:ext>
                </a:extLst>
              </p:cNvPr>
              <p:cNvGrpSpPr>
                <a:grpSpLocks noChangeAspect="1"/>
              </p:cNvGrpSpPr>
              <p:nvPr/>
            </p:nvGrpSpPr>
            <p:grpSpPr bwMode="auto">
              <a:xfrm>
                <a:off x="5199802" y="5476962"/>
                <a:ext cx="355492" cy="202164"/>
                <a:chOff x="4568" y="3459"/>
                <a:chExt cx="313" cy="178"/>
              </a:xfrm>
            </p:grpSpPr>
            <p:sp>
              <p:nvSpPr>
                <p:cNvPr id="260" name="Freeform 5">
                  <a:extLst>
                    <a:ext uri="{FF2B5EF4-FFF2-40B4-BE49-F238E27FC236}">
                      <a16:creationId xmlns:a16="http://schemas.microsoft.com/office/drawing/2014/main" id="{82F99AC7-79A5-4CD2-A228-00E2F6DAD0A1}"/>
                    </a:ext>
                  </a:extLst>
                </p:cNvPr>
                <p:cNvSpPr>
                  <a:spLocks/>
                </p:cNvSpPr>
                <p:nvPr/>
              </p:nvSpPr>
              <p:spPr bwMode="auto">
                <a:xfrm>
                  <a:off x="4645" y="3512"/>
                  <a:ext cx="159" cy="63"/>
                </a:xfrm>
                <a:custGeom>
                  <a:avLst/>
                  <a:gdLst>
                    <a:gd name="T0" fmla="*/ 220 w 220"/>
                    <a:gd name="T1" fmla="*/ 67 h 87"/>
                    <a:gd name="T2" fmla="*/ 199 w 220"/>
                    <a:gd name="T3" fmla="*/ 87 h 87"/>
                    <a:gd name="T4" fmla="*/ 21 w 220"/>
                    <a:gd name="T5" fmla="*/ 87 h 87"/>
                    <a:gd name="T6" fmla="*/ 0 w 220"/>
                    <a:gd name="T7" fmla="*/ 67 h 87"/>
                    <a:gd name="T8" fmla="*/ 0 w 220"/>
                    <a:gd name="T9" fmla="*/ 21 h 87"/>
                    <a:gd name="T10" fmla="*/ 21 w 220"/>
                    <a:gd name="T11" fmla="*/ 0 h 87"/>
                    <a:gd name="T12" fmla="*/ 199 w 220"/>
                    <a:gd name="T13" fmla="*/ 0 h 87"/>
                    <a:gd name="T14" fmla="*/ 220 w 220"/>
                    <a:gd name="T15" fmla="*/ 21 h 87"/>
                    <a:gd name="T16" fmla="*/ 220 w 220"/>
                    <a:gd name="T17" fmla="*/ 6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0" h="87">
                      <a:moveTo>
                        <a:pt x="220" y="67"/>
                      </a:moveTo>
                      <a:cubicBezTo>
                        <a:pt x="220" y="78"/>
                        <a:pt x="210" y="87"/>
                        <a:pt x="199" y="87"/>
                      </a:cubicBezTo>
                      <a:cubicBezTo>
                        <a:pt x="21" y="87"/>
                        <a:pt x="21" y="87"/>
                        <a:pt x="21" y="87"/>
                      </a:cubicBezTo>
                      <a:cubicBezTo>
                        <a:pt x="10" y="87"/>
                        <a:pt x="0" y="78"/>
                        <a:pt x="0" y="67"/>
                      </a:cubicBezTo>
                      <a:cubicBezTo>
                        <a:pt x="0" y="21"/>
                        <a:pt x="0" y="21"/>
                        <a:pt x="0" y="21"/>
                      </a:cubicBezTo>
                      <a:cubicBezTo>
                        <a:pt x="0" y="10"/>
                        <a:pt x="10" y="0"/>
                        <a:pt x="21" y="0"/>
                      </a:cubicBezTo>
                      <a:cubicBezTo>
                        <a:pt x="199" y="0"/>
                        <a:pt x="199" y="0"/>
                        <a:pt x="199" y="0"/>
                      </a:cubicBezTo>
                      <a:cubicBezTo>
                        <a:pt x="210" y="0"/>
                        <a:pt x="220" y="10"/>
                        <a:pt x="220" y="21"/>
                      </a:cubicBezTo>
                      <a:lnTo>
                        <a:pt x="220" y="67"/>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1729">
                    <a:solidFill>
                      <a:srgbClr val="505050"/>
                    </a:solidFill>
                    <a:latin typeface="Segoe UI Semilight"/>
                  </a:endParaRPr>
                </a:p>
              </p:txBody>
            </p:sp>
            <p:sp>
              <p:nvSpPr>
                <p:cNvPr id="261" name="Freeform 6">
                  <a:extLst>
                    <a:ext uri="{FF2B5EF4-FFF2-40B4-BE49-F238E27FC236}">
                      <a16:creationId xmlns:a16="http://schemas.microsoft.com/office/drawing/2014/main" id="{C59BE817-6CB6-4DE9-B80A-1FA76FDACBA2}"/>
                    </a:ext>
                  </a:extLst>
                </p:cNvPr>
                <p:cNvSpPr>
                  <a:spLocks/>
                </p:cNvSpPr>
                <p:nvPr/>
              </p:nvSpPr>
              <p:spPr bwMode="auto">
                <a:xfrm>
                  <a:off x="4603" y="3511"/>
                  <a:ext cx="24" cy="65"/>
                </a:xfrm>
                <a:custGeom>
                  <a:avLst/>
                  <a:gdLst>
                    <a:gd name="T0" fmla="*/ 33 w 33"/>
                    <a:gd name="T1" fmla="*/ 72 h 89"/>
                    <a:gd name="T2" fmla="*/ 17 w 33"/>
                    <a:gd name="T3" fmla="*/ 89 h 89"/>
                    <a:gd name="T4" fmla="*/ 0 w 33"/>
                    <a:gd name="T5" fmla="*/ 72 h 89"/>
                    <a:gd name="T6" fmla="*/ 0 w 33"/>
                    <a:gd name="T7" fmla="*/ 17 h 89"/>
                    <a:gd name="T8" fmla="*/ 17 w 33"/>
                    <a:gd name="T9" fmla="*/ 0 h 89"/>
                    <a:gd name="T10" fmla="*/ 33 w 33"/>
                    <a:gd name="T11" fmla="*/ 17 h 89"/>
                    <a:gd name="T12" fmla="*/ 33 w 33"/>
                    <a:gd name="T13" fmla="*/ 72 h 89"/>
                  </a:gdLst>
                  <a:ahLst/>
                  <a:cxnLst>
                    <a:cxn ang="0">
                      <a:pos x="T0" y="T1"/>
                    </a:cxn>
                    <a:cxn ang="0">
                      <a:pos x="T2" y="T3"/>
                    </a:cxn>
                    <a:cxn ang="0">
                      <a:pos x="T4" y="T5"/>
                    </a:cxn>
                    <a:cxn ang="0">
                      <a:pos x="T6" y="T7"/>
                    </a:cxn>
                    <a:cxn ang="0">
                      <a:pos x="T8" y="T9"/>
                    </a:cxn>
                    <a:cxn ang="0">
                      <a:pos x="T10" y="T11"/>
                    </a:cxn>
                    <a:cxn ang="0">
                      <a:pos x="T12" y="T13"/>
                    </a:cxn>
                  </a:cxnLst>
                  <a:rect l="0" t="0" r="r" b="b"/>
                  <a:pathLst>
                    <a:path w="33" h="89">
                      <a:moveTo>
                        <a:pt x="33" y="72"/>
                      </a:moveTo>
                      <a:cubicBezTo>
                        <a:pt x="33" y="82"/>
                        <a:pt x="26" y="89"/>
                        <a:pt x="17" y="89"/>
                      </a:cubicBezTo>
                      <a:cubicBezTo>
                        <a:pt x="7" y="89"/>
                        <a:pt x="0" y="82"/>
                        <a:pt x="0" y="72"/>
                      </a:cubicBezTo>
                      <a:cubicBezTo>
                        <a:pt x="0" y="17"/>
                        <a:pt x="0" y="17"/>
                        <a:pt x="0" y="17"/>
                      </a:cubicBezTo>
                      <a:cubicBezTo>
                        <a:pt x="0" y="7"/>
                        <a:pt x="7" y="0"/>
                        <a:pt x="17" y="0"/>
                      </a:cubicBezTo>
                      <a:cubicBezTo>
                        <a:pt x="26" y="0"/>
                        <a:pt x="33" y="7"/>
                        <a:pt x="33" y="17"/>
                      </a:cubicBezTo>
                      <a:lnTo>
                        <a:pt x="33" y="72"/>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1729">
                    <a:solidFill>
                      <a:srgbClr val="505050"/>
                    </a:solidFill>
                    <a:latin typeface="Segoe UI Semilight"/>
                  </a:endParaRPr>
                </a:p>
              </p:txBody>
            </p:sp>
            <p:sp>
              <p:nvSpPr>
                <p:cNvPr id="262" name="Line 7">
                  <a:extLst>
                    <a:ext uri="{FF2B5EF4-FFF2-40B4-BE49-F238E27FC236}">
                      <a16:creationId xmlns:a16="http://schemas.microsoft.com/office/drawing/2014/main" id="{3E3F9607-8E65-45EB-BF8F-6D021206218E}"/>
                    </a:ext>
                  </a:extLst>
                </p:cNvPr>
                <p:cNvSpPr>
                  <a:spLocks noChangeShapeType="1"/>
                </p:cNvSpPr>
                <p:nvPr/>
              </p:nvSpPr>
              <p:spPr bwMode="auto">
                <a:xfrm>
                  <a:off x="4568" y="3479"/>
                  <a:ext cx="92"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1729">
                    <a:solidFill>
                      <a:srgbClr val="505050"/>
                    </a:solidFill>
                    <a:latin typeface="Segoe UI Semilight"/>
                  </a:endParaRPr>
                </a:p>
              </p:txBody>
            </p:sp>
            <p:sp>
              <p:nvSpPr>
                <p:cNvPr id="263" name="Line 8">
                  <a:extLst>
                    <a:ext uri="{FF2B5EF4-FFF2-40B4-BE49-F238E27FC236}">
                      <a16:creationId xmlns:a16="http://schemas.microsoft.com/office/drawing/2014/main" id="{72D0E268-1E85-4D24-A599-F46D29BFAA89}"/>
                    </a:ext>
                  </a:extLst>
                </p:cNvPr>
                <p:cNvSpPr>
                  <a:spLocks noChangeShapeType="1"/>
                </p:cNvSpPr>
                <p:nvPr/>
              </p:nvSpPr>
              <p:spPr bwMode="auto">
                <a:xfrm>
                  <a:off x="4614" y="3479"/>
                  <a:ext cx="0" cy="32"/>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1729">
                    <a:solidFill>
                      <a:srgbClr val="505050"/>
                    </a:solidFill>
                    <a:latin typeface="Segoe UI Semilight"/>
                  </a:endParaRPr>
                </a:p>
              </p:txBody>
            </p:sp>
            <p:sp>
              <p:nvSpPr>
                <p:cNvPr id="264" name="Freeform 9">
                  <a:extLst>
                    <a:ext uri="{FF2B5EF4-FFF2-40B4-BE49-F238E27FC236}">
                      <a16:creationId xmlns:a16="http://schemas.microsoft.com/office/drawing/2014/main" id="{94BE31E3-8194-4DA4-9E89-2ACE32650E46}"/>
                    </a:ext>
                  </a:extLst>
                </p:cNvPr>
                <p:cNvSpPr>
                  <a:spLocks/>
                </p:cNvSpPr>
                <p:nvPr/>
              </p:nvSpPr>
              <p:spPr bwMode="auto">
                <a:xfrm>
                  <a:off x="4605" y="3459"/>
                  <a:ext cx="19" cy="20"/>
                </a:xfrm>
                <a:custGeom>
                  <a:avLst/>
                  <a:gdLst>
                    <a:gd name="T0" fmla="*/ 26 w 26"/>
                    <a:gd name="T1" fmla="*/ 27 h 28"/>
                    <a:gd name="T2" fmla="*/ 26 w 26"/>
                    <a:gd name="T3" fmla="*/ 8 h 28"/>
                    <a:gd name="T4" fmla="*/ 18 w 26"/>
                    <a:gd name="T5" fmla="*/ 0 h 28"/>
                    <a:gd name="T6" fmla="*/ 8 w 26"/>
                    <a:gd name="T7" fmla="*/ 0 h 28"/>
                    <a:gd name="T8" fmla="*/ 0 w 26"/>
                    <a:gd name="T9" fmla="*/ 8 h 28"/>
                    <a:gd name="T10" fmla="*/ 0 w 26"/>
                    <a:gd name="T11" fmla="*/ 28 h 28"/>
                  </a:gdLst>
                  <a:ahLst/>
                  <a:cxnLst>
                    <a:cxn ang="0">
                      <a:pos x="T0" y="T1"/>
                    </a:cxn>
                    <a:cxn ang="0">
                      <a:pos x="T2" y="T3"/>
                    </a:cxn>
                    <a:cxn ang="0">
                      <a:pos x="T4" y="T5"/>
                    </a:cxn>
                    <a:cxn ang="0">
                      <a:pos x="T6" y="T7"/>
                    </a:cxn>
                    <a:cxn ang="0">
                      <a:pos x="T8" y="T9"/>
                    </a:cxn>
                    <a:cxn ang="0">
                      <a:pos x="T10" y="T11"/>
                    </a:cxn>
                  </a:cxnLst>
                  <a:rect l="0" t="0" r="r" b="b"/>
                  <a:pathLst>
                    <a:path w="26" h="28">
                      <a:moveTo>
                        <a:pt x="26" y="27"/>
                      </a:moveTo>
                      <a:cubicBezTo>
                        <a:pt x="26" y="8"/>
                        <a:pt x="26" y="8"/>
                        <a:pt x="26" y="8"/>
                      </a:cubicBezTo>
                      <a:cubicBezTo>
                        <a:pt x="26" y="4"/>
                        <a:pt x="23" y="0"/>
                        <a:pt x="18" y="0"/>
                      </a:cubicBezTo>
                      <a:cubicBezTo>
                        <a:pt x="8" y="0"/>
                        <a:pt x="8" y="0"/>
                        <a:pt x="8" y="0"/>
                      </a:cubicBezTo>
                      <a:cubicBezTo>
                        <a:pt x="3" y="0"/>
                        <a:pt x="0" y="4"/>
                        <a:pt x="0" y="8"/>
                      </a:cubicBezTo>
                      <a:cubicBezTo>
                        <a:pt x="0" y="28"/>
                        <a:pt x="0" y="28"/>
                        <a:pt x="0" y="28"/>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1729">
                    <a:solidFill>
                      <a:srgbClr val="505050"/>
                    </a:solidFill>
                    <a:latin typeface="Segoe UI Semilight"/>
                  </a:endParaRPr>
                </a:p>
              </p:txBody>
            </p:sp>
            <p:sp>
              <p:nvSpPr>
                <p:cNvPr id="265" name="Line 10">
                  <a:extLst>
                    <a:ext uri="{FF2B5EF4-FFF2-40B4-BE49-F238E27FC236}">
                      <a16:creationId xmlns:a16="http://schemas.microsoft.com/office/drawing/2014/main" id="{2CFB42BE-7231-4649-B325-2E1E24F05AE7}"/>
                    </a:ext>
                  </a:extLst>
                </p:cNvPr>
                <p:cNvSpPr>
                  <a:spLocks noChangeShapeType="1"/>
                </p:cNvSpPr>
                <p:nvPr/>
              </p:nvSpPr>
              <p:spPr bwMode="auto">
                <a:xfrm>
                  <a:off x="4627" y="3526"/>
                  <a:ext cx="18"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1729">
                    <a:solidFill>
                      <a:srgbClr val="505050"/>
                    </a:solidFill>
                    <a:latin typeface="Segoe UI Semilight"/>
                  </a:endParaRPr>
                </a:p>
              </p:txBody>
            </p:sp>
            <p:sp>
              <p:nvSpPr>
                <p:cNvPr id="266" name="Line 11">
                  <a:extLst>
                    <a:ext uri="{FF2B5EF4-FFF2-40B4-BE49-F238E27FC236}">
                      <a16:creationId xmlns:a16="http://schemas.microsoft.com/office/drawing/2014/main" id="{827C8A94-75B7-4432-93EF-A616B0527C93}"/>
                    </a:ext>
                  </a:extLst>
                </p:cNvPr>
                <p:cNvSpPr>
                  <a:spLocks noChangeShapeType="1"/>
                </p:cNvSpPr>
                <p:nvPr/>
              </p:nvSpPr>
              <p:spPr bwMode="auto">
                <a:xfrm>
                  <a:off x="4627" y="3558"/>
                  <a:ext cx="18"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1729">
                    <a:solidFill>
                      <a:srgbClr val="505050"/>
                    </a:solidFill>
                    <a:latin typeface="Segoe UI Semilight"/>
                  </a:endParaRPr>
                </a:p>
              </p:txBody>
            </p:sp>
            <p:sp>
              <p:nvSpPr>
                <p:cNvPr id="267" name="Freeform 12">
                  <a:extLst>
                    <a:ext uri="{FF2B5EF4-FFF2-40B4-BE49-F238E27FC236}">
                      <a16:creationId xmlns:a16="http://schemas.microsoft.com/office/drawing/2014/main" id="{F494ABC9-0A19-4572-86AE-D06DD046430B}"/>
                    </a:ext>
                  </a:extLst>
                </p:cNvPr>
                <p:cNvSpPr>
                  <a:spLocks/>
                </p:cNvSpPr>
                <p:nvPr/>
              </p:nvSpPr>
              <p:spPr bwMode="auto">
                <a:xfrm>
                  <a:off x="4822" y="3511"/>
                  <a:ext cx="24" cy="65"/>
                </a:xfrm>
                <a:custGeom>
                  <a:avLst/>
                  <a:gdLst>
                    <a:gd name="T0" fmla="*/ 0 w 33"/>
                    <a:gd name="T1" fmla="*/ 72 h 89"/>
                    <a:gd name="T2" fmla="*/ 17 w 33"/>
                    <a:gd name="T3" fmla="*/ 89 h 89"/>
                    <a:gd name="T4" fmla="*/ 33 w 33"/>
                    <a:gd name="T5" fmla="*/ 72 h 89"/>
                    <a:gd name="T6" fmla="*/ 33 w 33"/>
                    <a:gd name="T7" fmla="*/ 17 h 89"/>
                    <a:gd name="T8" fmla="*/ 17 w 33"/>
                    <a:gd name="T9" fmla="*/ 0 h 89"/>
                    <a:gd name="T10" fmla="*/ 0 w 33"/>
                    <a:gd name="T11" fmla="*/ 17 h 89"/>
                    <a:gd name="T12" fmla="*/ 0 w 33"/>
                    <a:gd name="T13" fmla="*/ 72 h 89"/>
                  </a:gdLst>
                  <a:ahLst/>
                  <a:cxnLst>
                    <a:cxn ang="0">
                      <a:pos x="T0" y="T1"/>
                    </a:cxn>
                    <a:cxn ang="0">
                      <a:pos x="T2" y="T3"/>
                    </a:cxn>
                    <a:cxn ang="0">
                      <a:pos x="T4" y="T5"/>
                    </a:cxn>
                    <a:cxn ang="0">
                      <a:pos x="T6" y="T7"/>
                    </a:cxn>
                    <a:cxn ang="0">
                      <a:pos x="T8" y="T9"/>
                    </a:cxn>
                    <a:cxn ang="0">
                      <a:pos x="T10" y="T11"/>
                    </a:cxn>
                    <a:cxn ang="0">
                      <a:pos x="T12" y="T13"/>
                    </a:cxn>
                  </a:cxnLst>
                  <a:rect l="0" t="0" r="r" b="b"/>
                  <a:pathLst>
                    <a:path w="33" h="89">
                      <a:moveTo>
                        <a:pt x="0" y="72"/>
                      </a:moveTo>
                      <a:cubicBezTo>
                        <a:pt x="0" y="82"/>
                        <a:pt x="8" y="89"/>
                        <a:pt x="17" y="89"/>
                      </a:cubicBezTo>
                      <a:cubicBezTo>
                        <a:pt x="26" y="89"/>
                        <a:pt x="33" y="82"/>
                        <a:pt x="33" y="72"/>
                      </a:cubicBezTo>
                      <a:cubicBezTo>
                        <a:pt x="33" y="17"/>
                        <a:pt x="33" y="17"/>
                        <a:pt x="33" y="17"/>
                      </a:cubicBezTo>
                      <a:cubicBezTo>
                        <a:pt x="33" y="7"/>
                        <a:pt x="26" y="0"/>
                        <a:pt x="17" y="0"/>
                      </a:cubicBezTo>
                      <a:cubicBezTo>
                        <a:pt x="8" y="0"/>
                        <a:pt x="0" y="7"/>
                        <a:pt x="0" y="17"/>
                      </a:cubicBezTo>
                      <a:lnTo>
                        <a:pt x="0" y="72"/>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1729">
                    <a:solidFill>
                      <a:srgbClr val="505050"/>
                    </a:solidFill>
                    <a:latin typeface="Segoe UI Semilight"/>
                  </a:endParaRPr>
                </a:p>
              </p:txBody>
            </p:sp>
            <p:sp>
              <p:nvSpPr>
                <p:cNvPr id="268" name="Line 13">
                  <a:extLst>
                    <a:ext uri="{FF2B5EF4-FFF2-40B4-BE49-F238E27FC236}">
                      <a16:creationId xmlns:a16="http://schemas.microsoft.com/office/drawing/2014/main" id="{915F8EA4-5421-4522-95B6-A33B2AE27F64}"/>
                    </a:ext>
                  </a:extLst>
                </p:cNvPr>
                <p:cNvSpPr>
                  <a:spLocks noChangeShapeType="1"/>
                </p:cNvSpPr>
                <p:nvPr/>
              </p:nvSpPr>
              <p:spPr bwMode="auto">
                <a:xfrm flipH="1">
                  <a:off x="4789" y="3479"/>
                  <a:ext cx="92"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1729">
                    <a:solidFill>
                      <a:srgbClr val="505050"/>
                    </a:solidFill>
                    <a:latin typeface="Segoe UI Semilight"/>
                  </a:endParaRPr>
                </a:p>
              </p:txBody>
            </p:sp>
            <p:sp>
              <p:nvSpPr>
                <p:cNvPr id="269" name="Line 14">
                  <a:extLst>
                    <a:ext uri="{FF2B5EF4-FFF2-40B4-BE49-F238E27FC236}">
                      <a16:creationId xmlns:a16="http://schemas.microsoft.com/office/drawing/2014/main" id="{871312C3-9307-4175-B835-55946347F4B9}"/>
                    </a:ext>
                  </a:extLst>
                </p:cNvPr>
                <p:cNvSpPr>
                  <a:spLocks noChangeShapeType="1"/>
                </p:cNvSpPr>
                <p:nvPr/>
              </p:nvSpPr>
              <p:spPr bwMode="auto">
                <a:xfrm>
                  <a:off x="4835" y="3479"/>
                  <a:ext cx="0" cy="32"/>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1729">
                    <a:solidFill>
                      <a:srgbClr val="505050"/>
                    </a:solidFill>
                    <a:latin typeface="Segoe UI Semilight"/>
                  </a:endParaRPr>
                </a:p>
              </p:txBody>
            </p:sp>
            <p:sp>
              <p:nvSpPr>
                <p:cNvPr id="270" name="Freeform 15">
                  <a:extLst>
                    <a:ext uri="{FF2B5EF4-FFF2-40B4-BE49-F238E27FC236}">
                      <a16:creationId xmlns:a16="http://schemas.microsoft.com/office/drawing/2014/main" id="{0C5CEB5A-5C5F-44AD-B8E5-FEBF07B94AFF}"/>
                    </a:ext>
                  </a:extLst>
                </p:cNvPr>
                <p:cNvSpPr>
                  <a:spLocks/>
                </p:cNvSpPr>
                <p:nvPr/>
              </p:nvSpPr>
              <p:spPr bwMode="auto">
                <a:xfrm>
                  <a:off x="4825" y="3459"/>
                  <a:ext cx="19" cy="20"/>
                </a:xfrm>
                <a:custGeom>
                  <a:avLst/>
                  <a:gdLst>
                    <a:gd name="T0" fmla="*/ 0 w 27"/>
                    <a:gd name="T1" fmla="*/ 27 h 28"/>
                    <a:gd name="T2" fmla="*/ 0 w 27"/>
                    <a:gd name="T3" fmla="*/ 8 h 28"/>
                    <a:gd name="T4" fmla="*/ 8 w 27"/>
                    <a:gd name="T5" fmla="*/ 0 h 28"/>
                    <a:gd name="T6" fmla="*/ 19 w 27"/>
                    <a:gd name="T7" fmla="*/ 0 h 28"/>
                    <a:gd name="T8" fmla="*/ 27 w 27"/>
                    <a:gd name="T9" fmla="*/ 8 h 28"/>
                    <a:gd name="T10" fmla="*/ 27 w 27"/>
                    <a:gd name="T11" fmla="*/ 28 h 28"/>
                  </a:gdLst>
                  <a:ahLst/>
                  <a:cxnLst>
                    <a:cxn ang="0">
                      <a:pos x="T0" y="T1"/>
                    </a:cxn>
                    <a:cxn ang="0">
                      <a:pos x="T2" y="T3"/>
                    </a:cxn>
                    <a:cxn ang="0">
                      <a:pos x="T4" y="T5"/>
                    </a:cxn>
                    <a:cxn ang="0">
                      <a:pos x="T6" y="T7"/>
                    </a:cxn>
                    <a:cxn ang="0">
                      <a:pos x="T8" y="T9"/>
                    </a:cxn>
                    <a:cxn ang="0">
                      <a:pos x="T10" y="T11"/>
                    </a:cxn>
                  </a:cxnLst>
                  <a:rect l="0" t="0" r="r" b="b"/>
                  <a:pathLst>
                    <a:path w="27" h="28">
                      <a:moveTo>
                        <a:pt x="0" y="27"/>
                      </a:moveTo>
                      <a:cubicBezTo>
                        <a:pt x="0" y="8"/>
                        <a:pt x="0" y="8"/>
                        <a:pt x="0" y="8"/>
                      </a:cubicBezTo>
                      <a:cubicBezTo>
                        <a:pt x="0" y="4"/>
                        <a:pt x="4" y="0"/>
                        <a:pt x="8" y="0"/>
                      </a:cubicBezTo>
                      <a:cubicBezTo>
                        <a:pt x="19" y="0"/>
                        <a:pt x="19" y="0"/>
                        <a:pt x="19" y="0"/>
                      </a:cubicBezTo>
                      <a:cubicBezTo>
                        <a:pt x="23" y="0"/>
                        <a:pt x="27" y="4"/>
                        <a:pt x="27" y="8"/>
                      </a:cubicBezTo>
                      <a:cubicBezTo>
                        <a:pt x="27" y="28"/>
                        <a:pt x="27" y="28"/>
                        <a:pt x="27" y="28"/>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1729">
                    <a:solidFill>
                      <a:srgbClr val="505050"/>
                    </a:solidFill>
                    <a:latin typeface="Segoe UI Semilight"/>
                  </a:endParaRPr>
                </a:p>
              </p:txBody>
            </p:sp>
            <p:sp>
              <p:nvSpPr>
                <p:cNvPr id="271" name="Line 16">
                  <a:extLst>
                    <a:ext uri="{FF2B5EF4-FFF2-40B4-BE49-F238E27FC236}">
                      <a16:creationId xmlns:a16="http://schemas.microsoft.com/office/drawing/2014/main" id="{367EFDE8-6C05-4012-8EAC-82E07B08FD87}"/>
                    </a:ext>
                  </a:extLst>
                </p:cNvPr>
                <p:cNvSpPr>
                  <a:spLocks noChangeShapeType="1"/>
                </p:cNvSpPr>
                <p:nvPr/>
              </p:nvSpPr>
              <p:spPr bwMode="auto">
                <a:xfrm flipH="1">
                  <a:off x="4804" y="3526"/>
                  <a:ext cx="18"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1729">
                    <a:solidFill>
                      <a:srgbClr val="505050"/>
                    </a:solidFill>
                    <a:latin typeface="Segoe UI Semilight"/>
                  </a:endParaRPr>
                </a:p>
              </p:txBody>
            </p:sp>
            <p:sp>
              <p:nvSpPr>
                <p:cNvPr id="272" name="Line 17">
                  <a:extLst>
                    <a:ext uri="{FF2B5EF4-FFF2-40B4-BE49-F238E27FC236}">
                      <a16:creationId xmlns:a16="http://schemas.microsoft.com/office/drawing/2014/main" id="{B6F87D8A-CD40-4327-9CE9-16EB87150F78}"/>
                    </a:ext>
                  </a:extLst>
                </p:cNvPr>
                <p:cNvSpPr>
                  <a:spLocks noChangeShapeType="1"/>
                </p:cNvSpPr>
                <p:nvPr/>
              </p:nvSpPr>
              <p:spPr bwMode="auto">
                <a:xfrm flipH="1">
                  <a:off x="4804" y="3558"/>
                  <a:ext cx="18"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1729">
                    <a:solidFill>
                      <a:srgbClr val="505050"/>
                    </a:solidFill>
                    <a:latin typeface="Segoe UI Semilight"/>
                  </a:endParaRPr>
                </a:p>
              </p:txBody>
            </p:sp>
            <p:sp>
              <p:nvSpPr>
                <p:cNvPr id="273" name="Line 18">
                  <a:extLst>
                    <a:ext uri="{FF2B5EF4-FFF2-40B4-BE49-F238E27FC236}">
                      <a16:creationId xmlns:a16="http://schemas.microsoft.com/office/drawing/2014/main" id="{410D948C-AEED-4F52-8826-7B60E8176316}"/>
                    </a:ext>
                  </a:extLst>
                </p:cNvPr>
                <p:cNvSpPr>
                  <a:spLocks noChangeShapeType="1"/>
                </p:cNvSpPr>
                <p:nvPr/>
              </p:nvSpPr>
              <p:spPr bwMode="auto">
                <a:xfrm flipH="1">
                  <a:off x="4638" y="3573"/>
                  <a:ext cx="33" cy="64"/>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1729">
                    <a:solidFill>
                      <a:srgbClr val="505050"/>
                    </a:solidFill>
                    <a:latin typeface="Segoe UI Semilight"/>
                  </a:endParaRPr>
                </a:p>
              </p:txBody>
            </p:sp>
            <p:sp>
              <p:nvSpPr>
                <p:cNvPr id="274" name="Line 19">
                  <a:extLst>
                    <a:ext uri="{FF2B5EF4-FFF2-40B4-BE49-F238E27FC236}">
                      <a16:creationId xmlns:a16="http://schemas.microsoft.com/office/drawing/2014/main" id="{C6425819-9C0B-4996-9413-2C69C8DD1467}"/>
                    </a:ext>
                  </a:extLst>
                </p:cNvPr>
                <p:cNvSpPr>
                  <a:spLocks noChangeShapeType="1"/>
                </p:cNvSpPr>
                <p:nvPr/>
              </p:nvSpPr>
              <p:spPr bwMode="auto">
                <a:xfrm>
                  <a:off x="4777" y="3573"/>
                  <a:ext cx="33" cy="64"/>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1729">
                    <a:solidFill>
                      <a:srgbClr val="505050"/>
                    </a:solidFill>
                    <a:latin typeface="Segoe UI Semilight"/>
                  </a:endParaRPr>
                </a:p>
              </p:txBody>
            </p:sp>
            <p:sp>
              <p:nvSpPr>
                <p:cNvPr id="275" name="Line 20">
                  <a:extLst>
                    <a:ext uri="{FF2B5EF4-FFF2-40B4-BE49-F238E27FC236}">
                      <a16:creationId xmlns:a16="http://schemas.microsoft.com/office/drawing/2014/main" id="{1BE1AABF-A1D4-4364-90BF-F8D71B5FA27C}"/>
                    </a:ext>
                  </a:extLst>
                </p:cNvPr>
                <p:cNvSpPr>
                  <a:spLocks noChangeShapeType="1"/>
                </p:cNvSpPr>
                <p:nvPr/>
              </p:nvSpPr>
              <p:spPr bwMode="auto">
                <a:xfrm>
                  <a:off x="4683" y="3552"/>
                  <a:ext cx="83"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1729">
                    <a:solidFill>
                      <a:srgbClr val="505050"/>
                    </a:solidFill>
                    <a:latin typeface="Segoe UI Semilight"/>
                  </a:endParaRPr>
                </a:p>
              </p:txBody>
            </p:sp>
            <p:sp>
              <p:nvSpPr>
                <p:cNvPr id="276" name="Freeform 21">
                  <a:extLst>
                    <a:ext uri="{FF2B5EF4-FFF2-40B4-BE49-F238E27FC236}">
                      <a16:creationId xmlns:a16="http://schemas.microsoft.com/office/drawing/2014/main" id="{8665AAE9-1C7E-4590-B21D-75ACEE075797}"/>
                    </a:ext>
                  </a:extLst>
                </p:cNvPr>
                <p:cNvSpPr>
                  <a:spLocks/>
                </p:cNvSpPr>
                <p:nvPr/>
              </p:nvSpPr>
              <p:spPr bwMode="auto">
                <a:xfrm>
                  <a:off x="4686" y="3512"/>
                  <a:ext cx="76" cy="20"/>
                </a:xfrm>
                <a:custGeom>
                  <a:avLst/>
                  <a:gdLst>
                    <a:gd name="T0" fmla="*/ 0 w 76"/>
                    <a:gd name="T1" fmla="*/ 0 h 20"/>
                    <a:gd name="T2" fmla="*/ 12 w 76"/>
                    <a:gd name="T3" fmla="*/ 20 h 20"/>
                    <a:gd name="T4" fmla="*/ 64 w 76"/>
                    <a:gd name="T5" fmla="*/ 20 h 20"/>
                    <a:gd name="T6" fmla="*/ 76 w 76"/>
                    <a:gd name="T7" fmla="*/ 0 h 20"/>
                  </a:gdLst>
                  <a:ahLst/>
                  <a:cxnLst>
                    <a:cxn ang="0">
                      <a:pos x="T0" y="T1"/>
                    </a:cxn>
                    <a:cxn ang="0">
                      <a:pos x="T2" y="T3"/>
                    </a:cxn>
                    <a:cxn ang="0">
                      <a:pos x="T4" y="T5"/>
                    </a:cxn>
                    <a:cxn ang="0">
                      <a:pos x="T6" y="T7"/>
                    </a:cxn>
                  </a:cxnLst>
                  <a:rect l="0" t="0" r="r" b="b"/>
                  <a:pathLst>
                    <a:path w="76" h="20">
                      <a:moveTo>
                        <a:pt x="0" y="0"/>
                      </a:moveTo>
                      <a:lnTo>
                        <a:pt x="12" y="20"/>
                      </a:lnTo>
                      <a:lnTo>
                        <a:pt x="64" y="20"/>
                      </a:lnTo>
                      <a:lnTo>
                        <a:pt x="76" y="0"/>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1729">
                    <a:solidFill>
                      <a:srgbClr val="505050"/>
                    </a:solidFill>
                    <a:latin typeface="Segoe UI Semilight"/>
                  </a:endParaRPr>
                </a:p>
              </p:txBody>
            </p:sp>
          </p:grpSp>
        </p:grpSp>
        <p:grpSp>
          <p:nvGrpSpPr>
            <p:cNvPr id="277" name="Group 276">
              <a:extLst>
                <a:ext uri="{FF2B5EF4-FFF2-40B4-BE49-F238E27FC236}">
                  <a16:creationId xmlns:a16="http://schemas.microsoft.com/office/drawing/2014/main" id="{5C87D26A-94CD-44DB-A03C-AA614AB693C9}"/>
                </a:ext>
              </a:extLst>
            </p:cNvPr>
            <p:cNvGrpSpPr/>
            <p:nvPr/>
          </p:nvGrpSpPr>
          <p:grpSpPr>
            <a:xfrm>
              <a:off x="6777968" y="1567323"/>
              <a:ext cx="507144" cy="507144"/>
              <a:chOff x="4367508" y="1646534"/>
              <a:chExt cx="527686" cy="527686"/>
            </a:xfrm>
          </p:grpSpPr>
          <p:sp useBgFill="1">
            <p:nvSpPr>
              <p:cNvPr id="278" name="Oval 277">
                <a:extLst>
                  <a:ext uri="{FF2B5EF4-FFF2-40B4-BE49-F238E27FC236}">
                    <a16:creationId xmlns:a16="http://schemas.microsoft.com/office/drawing/2014/main" id="{0281C2CD-B13E-4F73-A4A2-472DD85FFB82}"/>
                  </a:ext>
                </a:extLst>
              </p:cNvPr>
              <p:cNvSpPr/>
              <p:nvPr/>
            </p:nvSpPr>
            <p:spPr bwMode="auto">
              <a:xfrm rot="18900000" flipH="1">
                <a:off x="4367508" y="1646534"/>
                <a:ext cx="527686" cy="527686"/>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9" name="Freeform 5">
                <a:extLst>
                  <a:ext uri="{FF2B5EF4-FFF2-40B4-BE49-F238E27FC236}">
                    <a16:creationId xmlns:a16="http://schemas.microsoft.com/office/drawing/2014/main" id="{5F75F446-D082-4DF3-9BB8-EABC99262382}"/>
                  </a:ext>
                </a:extLst>
              </p:cNvPr>
              <p:cNvSpPr>
                <a:spLocks noEditPoints="1"/>
              </p:cNvSpPr>
              <p:nvPr/>
            </p:nvSpPr>
            <p:spPr bwMode="auto">
              <a:xfrm>
                <a:off x="4474153" y="1815803"/>
                <a:ext cx="314396" cy="189148"/>
              </a:xfrm>
              <a:custGeom>
                <a:avLst/>
                <a:gdLst>
                  <a:gd name="T0" fmla="*/ 27 w 339"/>
                  <a:gd name="T1" fmla="*/ 70 h 204"/>
                  <a:gd name="T2" fmla="*/ 287 w 339"/>
                  <a:gd name="T3" fmla="*/ 70 h 204"/>
                  <a:gd name="T4" fmla="*/ 339 w 339"/>
                  <a:gd name="T5" fmla="*/ 122 h 204"/>
                  <a:gd name="T6" fmla="*/ 339 w 339"/>
                  <a:gd name="T7" fmla="*/ 160 h 204"/>
                  <a:gd name="T8" fmla="*/ 318 w 339"/>
                  <a:gd name="T9" fmla="*/ 182 h 204"/>
                  <a:gd name="T10" fmla="*/ 294 w 339"/>
                  <a:gd name="T11" fmla="*/ 182 h 204"/>
                  <a:gd name="T12" fmla="*/ 297 w 339"/>
                  <a:gd name="T13" fmla="*/ 168 h 204"/>
                  <a:gd name="T14" fmla="*/ 261 w 339"/>
                  <a:gd name="T15" fmla="*/ 131 h 204"/>
                  <a:gd name="T16" fmla="*/ 224 w 339"/>
                  <a:gd name="T17" fmla="*/ 168 h 204"/>
                  <a:gd name="T18" fmla="*/ 261 w 339"/>
                  <a:gd name="T19" fmla="*/ 204 h 204"/>
                  <a:gd name="T20" fmla="*/ 297 w 339"/>
                  <a:gd name="T21" fmla="*/ 168 h 204"/>
                  <a:gd name="T22" fmla="*/ 95 w 339"/>
                  <a:gd name="T23" fmla="*/ 168 h 204"/>
                  <a:gd name="T24" fmla="*/ 59 w 339"/>
                  <a:gd name="T25" fmla="*/ 131 h 204"/>
                  <a:gd name="T26" fmla="*/ 22 w 339"/>
                  <a:gd name="T27" fmla="*/ 168 h 204"/>
                  <a:gd name="T28" fmla="*/ 59 w 339"/>
                  <a:gd name="T29" fmla="*/ 204 h 204"/>
                  <a:gd name="T30" fmla="*/ 95 w 339"/>
                  <a:gd name="T31" fmla="*/ 168 h 204"/>
                  <a:gd name="T32" fmla="*/ 63 w 339"/>
                  <a:gd name="T33" fmla="*/ 0 h 204"/>
                  <a:gd name="T34" fmla="*/ 10 w 339"/>
                  <a:gd name="T35" fmla="*/ 105 h 204"/>
                  <a:gd name="T36" fmla="*/ 0 w 339"/>
                  <a:gd name="T37" fmla="*/ 139 h 204"/>
                  <a:gd name="T38" fmla="*/ 24 w 339"/>
                  <a:gd name="T39" fmla="*/ 178 h 204"/>
                  <a:gd name="T40" fmla="*/ 271 w 339"/>
                  <a:gd name="T41" fmla="*/ 70 h 204"/>
                  <a:gd name="T42" fmla="*/ 222 w 339"/>
                  <a:gd name="T43" fmla="*/ 15 h 204"/>
                  <a:gd name="T44" fmla="*/ 194 w 339"/>
                  <a:gd name="T45" fmla="*/ 0 h 204"/>
                  <a:gd name="T46" fmla="*/ 37 w 339"/>
                  <a:gd name="T47" fmla="*/ 0 h 204"/>
                  <a:gd name="T48" fmla="*/ 227 w 339"/>
                  <a:gd name="T49" fmla="*/ 182 h 204"/>
                  <a:gd name="T50" fmla="*/ 92 w 339"/>
                  <a:gd name="T51" fmla="*/ 182 h 204"/>
                  <a:gd name="T52" fmla="*/ 134 w 339"/>
                  <a:gd name="T53" fmla="*/ 182 h 204"/>
                  <a:gd name="T54" fmla="*/ 134 w 339"/>
                  <a:gd name="T5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9" h="204">
                    <a:moveTo>
                      <a:pt x="27" y="70"/>
                    </a:moveTo>
                    <a:cubicBezTo>
                      <a:pt x="287" y="70"/>
                      <a:pt x="287" y="70"/>
                      <a:pt x="287" y="70"/>
                    </a:cubicBezTo>
                    <a:cubicBezTo>
                      <a:pt x="316" y="70"/>
                      <a:pt x="339" y="94"/>
                      <a:pt x="339" y="122"/>
                    </a:cubicBezTo>
                    <a:cubicBezTo>
                      <a:pt x="339" y="160"/>
                      <a:pt x="339" y="160"/>
                      <a:pt x="339" y="160"/>
                    </a:cubicBezTo>
                    <a:cubicBezTo>
                      <a:pt x="339" y="172"/>
                      <a:pt x="330" y="182"/>
                      <a:pt x="318" y="182"/>
                    </a:cubicBezTo>
                    <a:cubicBezTo>
                      <a:pt x="294" y="182"/>
                      <a:pt x="294" y="182"/>
                      <a:pt x="294" y="182"/>
                    </a:cubicBezTo>
                    <a:moveTo>
                      <a:pt x="297" y="168"/>
                    </a:moveTo>
                    <a:cubicBezTo>
                      <a:pt x="297" y="148"/>
                      <a:pt x="281" y="131"/>
                      <a:pt x="261" y="131"/>
                    </a:cubicBezTo>
                    <a:cubicBezTo>
                      <a:pt x="241" y="131"/>
                      <a:pt x="224" y="148"/>
                      <a:pt x="224" y="168"/>
                    </a:cubicBezTo>
                    <a:cubicBezTo>
                      <a:pt x="224" y="188"/>
                      <a:pt x="241" y="204"/>
                      <a:pt x="261" y="204"/>
                    </a:cubicBezTo>
                    <a:cubicBezTo>
                      <a:pt x="281" y="204"/>
                      <a:pt x="297" y="188"/>
                      <a:pt x="297" y="168"/>
                    </a:cubicBezTo>
                    <a:close/>
                    <a:moveTo>
                      <a:pt x="95" y="168"/>
                    </a:moveTo>
                    <a:cubicBezTo>
                      <a:pt x="95" y="148"/>
                      <a:pt x="79" y="131"/>
                      <a:pt x="59" y="131"/>
                    </a:cubicBezTo>
                    <a:cubicBezTo>
                      <a:pt x="39" y="131"/>
                      <a:pt x="22" y="148"/>
                      <a:pt x="22" y="168"/>
                    </a:cubicBezTo>
                    <a:cubicBezTo>
                      <a:pt x="22" y="188"/>
                      <a:pt x="39" y="204"/>
                      <a:pt x="59" y="204"/>
                    </a:cubicBezTo>
                    <a:cubicBezTo>
                      <a:pt x="79" y="204"/>
                      <a:pt x="95" y="188"/>
                      <a:pt x="95" y="168"/>
                    </a:cubicBezTo>
                    <a:close/>
                    <a:moveTo>
                      <a:pt x="63" y="0"/>
                    </a:moveTo>
                    <a:cubicBezTo>
                      <a:pt x="63" y="0"/>
                      <a:pt x="20" y="84"/>
                      <a:pt x="10" y="105"/>
                    </a:cubicBezTo>
                    <a:cubicBezTo>
                      <a:pt x="0" y="127"/>
                      <a:pt x="0" y="139"/>
                      <a:pt x="0" y="139"/>
                    </a:cubicBezTo>
                    <a:cubicBezTo>
                      <a:pt x="0" y="154"/>
                      <a:pt x="9" y="173"/>
                      <a:pt x="24" y="178"/>
                    </a:cubicBezTo>
                    <a:moveTo>
                      <a:pt x="271" y="70"/>
                    </a:moveTo>
                    <a:cubicBezTo>
                      <a:pt x="222" y="15"/>
                      <a:pt x="222" y="15"/>
                      <a:pt x="222" y="15"/>
                    </a:cubicBezTo>
                    <a:cubicBezTo>
                      <a:pt x="214" y="5"/>
                      <a:pt x="206" y="0"/>
                      <a:pt x="194" y="0"/>
                    </a:cubicBezTo>
                    <a:cubicBezTo>
                      <a:pt x="37" y="0"/>
                      <a:pt x="37" y="0"/>
                      <a:pt x="37" y="0"/>
                    </a:cubicBezTo>
                    <a:moveTo>
                      <a:pt x="227" y="182"/>
                    </a:moveTo>
                    <a:cubicBezTo>
                      <a:pt x="92" y="182"/>
                      <a:pt x="92" y="182"/>
                      <a:pt x="92" y="182"/>
                    </a:cubicBezTo>
                    <a:moveTo>
                      <a:pt x="134" y="182"/>
                    </a:moveTo>
                    <a:cubicBezTo>
                      <a:pt x="134" y="0"/>
                      <a:pt x="134" y="0"/>
                      <a:pt x="134" y="0"/>
                    </a:cubicBezTo>
                  </a:path>
                </a:pathLst>
              </a:custGeom>
              <a:noFill/>
              <a:ln w="15875">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7857" tIns="43929" rIns="87857" bIns="43929" numCol="1" anchor="t" anchorCtr="0" compatLnSpc="1">
                <a:prstTxWarp prst="textNoShape">
                  <a:avLst/>
                </a:prstTxWarp>
              </a:bodyPr>
              <a:lstStyle/>
              <a:p>
                <a:pPr defTabSz="878463">
                  <a:defRPr/>
                </a:pPr>
                <a:endParaRPr lang="en-US" sz="1729" kern="0">
                  <a:solidFill>
                    <a:sysClr val="windowText" lastClr="000000"/>
                  </a:solidFill>
                  <a:latin typeface="Segoe UI Semilight"/>
                </a:endParaRPr>
              </a:p>
            </p:txBody>
          </p:sp>
        </p:grpSp>
        <p:grpSp>
          <p:nvGrpSpPr>
            <p:cNvPr id="280" name="Group 279">
              <a:extLst>
                <a:ext uri="{FF2B5EF4-FFF2-40B4-BE49-F238E27FC236}">
                  <a16:creationId xmlns:a16="http://schemas.microsoft.com/office/drawing/2014/main" id="{252AA8A7-EF2E-4B98-BD5D-AD04F8086B6D}"/>
                </a:ext>
              </a:extLst>
            </p:cNvPr>
            <p:cNvGrpSpPr/>
            <p:nvPr/>
          </p:nvGrpSpPr>
          <p:grpSpPr>
            <a:xfrm>
              <a:off x="6317706" y="2249692"/>
              <a:ext cx="507142" cy="507142"/>
              <a:chOff x="3888602" y="2356543"/>
              <a:chExt cx="527684" cy="527684"/>
            </a:xfrm>
          </p:grpSpPr>
          <p:sp useBgFill="1">
            <p:nvSpPr>
              <p:cNvPr id="281" name="Oval 280">
                <a:extLst>
                  <a:ext uri="{FF2B5EF4-FFF2-40B4-BE49-F238E27FC236}">
                    <a16:creationId xmlns:a16="http://schemas.microsoft.com/office/drawing/2014/main" id="{AD0E01AA-4CF0-4477-B870-6A85233C69C5}"/>
                  </a:ext>
                </a:extLst>
              </p:cNvPr>
              <p:cNvSpPr/>
              <p:nvPr/>
            </p:nvSpPr>
            <p:spPr bwMode="auto">
              <a:xfrm rot="17580000" flipH="1">
                <a:off x="3888602" y="2356543"/>
                <a:ext cx="527684" cy="52768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82" name="Freeform 5">
                <a:extLst>
                  <a:ext uri="{FF2B5EF4-FFF2-40B4-BE49-F238E27FC236}">
                    <a16:creationId xmlns:a16="http://schemas.microsoft.com/office/drawing/2014/main" id="{403B74AE-DBB4-4918-B144-D8E4E7C7306D}"/>
                  </a:ext>
                </a:extLst>
              </p:cNvPr>
              <p:cNvSpPr>
                <a:spLocks noEditPoints="1"/>
              </p:cNvSpPr>
              <p:nvPr/>
            </p:nvSpPr>
            <p:spPr bwMode="auto">
              <a:xfrm>
                <a:off x="3976885" y="2528888"/>
                <a:ext cx="351120" cy="182994"/>
              </a:xfrm>
              <a:custGeom>
                <a:avLst/>
                <a:gdLst>
                  <a:gd name="T0" fmla="*/ 1751 w 3752"/>
                  <a:gd name="T1" fmla="*/ 500 h 2002"/>
                  <a:gd name="T2" fmla="*/ 2001 w 3752"/>
                  <a:gd name="T3" fmla="*/ 500 h 2002"/>
                  <a:gd name="T4" fmla="*/ 0 w 3752"/>
                  <a:gd name="T5" fmla="*/ 885 h 2002"/>
                  <a:gd name="T6" fmla="*/ 170 w 3752"/>
                  <a:gd name="T7" fmla="*/ 940 h 2002"/>
                  <a:gd name="T8" fmla="*/ 1336 w 3752"/>
                  <a:gd name="T9" fmla="*/ 1124 h 2002"/>
                  <a:gd name="T10" fmla="*/ 2493 w 3752"/>
                  <a:gd name="T11" fmla="*/ 943 h 2002"/>
                  <a:gd name="T12" fmla="*/ 3554 w 3752"/>
                  <a:gd name="T13" fmla="*/ 409 h 2002"/>
                  <a:gd name="T14" fmla="*/ 3699 w 3752"/>
                  <a:gd name="T15" fmla="*/ 305 h 2002"/>
                  <a:gd name="T16" fmla="*/ 1 w 3752"/>
                  <a:gd name="T17" fmla="*/ 1003 h 2002"/>
                  <a:gd name="T18" fmla="*/ 305 w 3752"/>
                  <a:gd name="T19" fmla="*/ 1697 h 2002"/>
                  <a:gd name="T20" fmla="*/ 1042 w 3752"/>
                  <a:gd name="T21" fmla="*/ 2002 h 2002"/>
                  <a:gd name="T22" fmla="*/ 1200 w 3752"/>
                  <a:gd name="T23" fmla="*/ 2002 h 2002"/>
                  <a:gd name="T24" fmla="*/ 1356 w 3752"/>
                  <a:gd name="T25" fmla="*/ 1948 h 2002"/>
                  <a:gd name="T26" fmla="*/ 1612 w 3752"/>
                  <a:gd name="T27" fmla="*/ 1745 h 2002"/>
                  <a:gd name="T28" fmla="*/ 1876 w 3752"/>
                  <a:gd name="T29" fmla="*/ 1638 h 2002"/>
                  <a:gd name="T30" fmla="*/ 2140 w 3752"/>
                  <a:gd name="T31" fmla="*/ 1745 h 2002"/>
                  <a:gd name="T32" fmla="*/ 2396 w 3752"/>
                  <a:gd name="T33" fmla="*/ 1948 h 2002"/>
                  <a:gd name="T34" fmla="*/ 2552 w 3752"/>
                  <a:gd name="T35" fmla="*/ 2002 h 2002"/>
                  <a:gd name="T36" fmla="*/ 2710 w 3752"/>
                  <a:gd name="T37" fmla="*/ 2002 h 2002"/>
                  <a:gd name="T38" fmla="*/ 3447 w 3752"/>
                  <a:gd name="T39" fmla="*/ 1697 h 2002"/>
                  <a:gd name="T40" fmla="*/ 3752 w 3752"/>
                  <a:gd name="T41" fmla="*/ 960 h 2002"/>
                  <a:gd name="T42" fmla="*/ 3752 w 3752"/>
                  <a:gd name="T43" fmla="*/ 885 h 2002"/>
                  <a:gd name="T44" fmla="*/ 3752 w 3752"/>
                  <a:gd name="T45" fmla="*/ 459 h 2002"/>
                  <a:gd name="T46" fmla="*/ 3682 w 3752"/>
                  <a:gd name="T47" fmla="*/ 286 h 2002"/>
                  <a:gd name="T48" fmla="*/ 3681 w 3752"/>
                  <a:gd name="T49" fmla="*/ 285 h 2002"/>
                  <a:gd name="T50" fmla="*/ 3564 w 3752"/>
                  <a:gd name="T51" fmla="*/ 206 h 2002"/>
                  <a:gd name="T52" fmla="*/ 3559 w 3752"/>
                  <a:gd name="T53" fmla="*/ 204 h 2002"/>
                  <a:gd name="T54" fmla="*/ 1876 w 3752"/>
                  <a:gd name="T55" fmla="*/ 0 h 2002"/>
                  <a:gd name="T56" fmla="*/ 188 w 3752"/>
                  <a:gd name="T57" fmla="*/ 206 h 2002"/>
                  <a:gd name="T58" fmla="*/ 71 w 3752"/>
                  <a:gd name="T59" fmla="*/ 285 h 2002"/>
                  <a:gd name="T60" fmla="*/ 70 w 3752"/>
                  <a:gd name="T61" fmla="*/ 286 h 2002"/>
                  <a:gd name="T62" fmla="*/ 0 w 3752"/>
                  <a:gd name="T63" fmla="*/ 459 h 2002"/>
                  <a:gd name="T64" fmla="*/ 0 w 3752"/>
                  <a:gd name="T65" fmla="*/ 885 h 2002"/>
                  <a:gd name="T66" fmla="*/ 1 w 3752"/>
                  <a:gd name="T67" fmla="*/ 1003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52" h="2002">
                    <a:moveTo>
                      <a:pt x="1751" y="500"/>
                    </a:moveTo>
                    <a:cubicBezTo>
                      <a:pt x="2001" y="500"/>
                      <a:pt x="2001" y="500"/>
                      <a:pt x="2001" y="500"/>
                    </a:cubicBezTo>
                    <a:moveTo>
                      <a:pt x="0" y="885"/>
                    </a:moveTo>
                    <a:cubicBezTo>
                      <a:pt x="170" y="940"/>
                      <a:pt x="170" y="940"/>
                      <a:pt x="170" y="940"/>
                    </a:cubicBezTo>
                    <a:cubicBezTo>
                      <a:pt x="549" y="1062"/>
                      <a:pt x="942" y="1124"/>
                      <a:pt x="1336" y="1124"/>
                    </a:cubicBezTo>
                    <a:cubicBezTo>
                      <a:pt x="1729" y="1124"/>
                      <a:pt x="2118" y="1063"/>
                      <a:pt x="2493" y="943"/>
                    </a:cubicBezTo>
                    <a:cubicBezTo>
                      <a:pt x="2872" y="822"/>
                      <a:pt x="3229" y="642"/>
                      <a:pt x="3554" y="409"/>
                    </a:cubicBezTo>
                    <a:cubicBezTo>
                      <a:pt x="3699" y="305"/>
                      <a:pt x="3699" y="305"/>
                      <a:pt x="3699" y="305"/>
                    </a:cubicBezTo>
                    <a:moveTo>
                      <a:pt x="1" y="1003"/>
                    </a:moveTo>
                    <a:cubicBezTo>
                      <a:pt x="12" y="1265"/>
                      <a:pt x="119" y="1510"/>
                      <a:pt x="305" y="1697"/>
                    </a:cubicBezTo>
                    <a:cubicBezTo>
                      <a:pt x="502" y="1894"/>
                      <a:pt x="764" y="2002"/>
                      <a:pt x="1042" y="2002"/>
                    </a:cubicBezTo>
                    <a:cubicBezTo>
                      <a:pt x="1200" y="2002"/>
                      <a:pt x="1200" y="2002"/>
                      <a:pt x="1200" y="2002"/>
                    </a:cubicBezTo>
                    <a:cubicBezTo>
                      <a:pt x="1256" y="2002"/>
                      <a:pt x="1312" y="1983"/>
                      <a:pt x="1356" y="1948"/>
                    </a:cubicBezTo>
                    <a:cubicBezTo>
                      <a:pt x="1612" y="1745"/>
                      <a:pt x="1612" y="1745"/>
                      <a:pt x="1612" y="1745"/>
                    </a:cubicBezTo>
                    <a:cubicBezTo>
                      <a:pt x="1683" y="1676"/>
                      <a:pt x="1777" y="1638"/>
                      <a:pt x="1876" y="1638"/>
                    </a:cubicBezTo>
                    <a:cubicBezTo>
                      <a:pt x="1975" y="1638"/>
                      <a:pt x="2069" y="1676"/>
                      <a:pt x="2140" y="1745"/>
                    </a:cubicBezTo>
                    <a:cubicBezTo>
                      <a:pt x="2396" y="1948"/>
                      <a:pt x="2396" y="1948"/>
                      <a:pt x="2396" y="1948"/>
                    </a:cubicBezTo>
                    <a:cubicBezTo>
                      <a:pt x="2440" y="1983"/>
                      <a:pt x="2496" y="2002"/>
                      <a:pt x="2552" y="2002"/>
                    </a:cubicBezTo>
                    <a:cubicBezTo>
                      <a:pt x="2710" y="2002"/>
                      <a:pt x="2710" y="2002"/>
                      <a:pt x="2710" y="2002"/>
                    </a:cubicBezTo>
                    <a:cubicBezTo>
                      <a:pt x="2988" y="2002"/>
                      <a:pt x="3250" y="1894"/>
                      <a:pt x="3447" y="1697"/>
                    </a:cubicBezTo>
                    <a:cubicBezTo>
                      <a:pt x="3644" y="1500"/>
                      <a:pt x="3752" y="1238"/>
                      <a:pt x="3752" y="960"/>
                    </a:cubicBezTo>
                    <a:cubicBezTo>
                      <a:pt x="3752" y="885"/>
                      <a:pt x="3752" y="885"/>
                      <a:pt x="3752" y="885"/>
                    </a:cubicBezTo>
                    <a:cubicBezTo>
                      <a:pt x="3752" y="459"/>
                      <a:pt x="3752" y="459"/>
                      <a:pt x="3752" y="459"/>
                    </a:cubicBezTo>
                    <a:cubicBezTo>
                      <a:pt x="3752" y="394"/>
                      <a:pt x="3727" y="331"/>
                      <a:pt x="3682" y="286"/>
                    </a:cubicBezTo>
                    <a:cubicBezTo>
                      <a:pt x="3681" y="285"/>
                      <a:pt x="3681" y="285"/>
                      <a:pt x="3681" y="285"/>
                    </a:cubicBezTo>
                    <a:cubicBezTo>
                      <a:pt x="3647" y="251"/>
                      <a:pt x="3608" y="225"/>
                      <a:pt x="3564" y="206"/>
                    </a:cubicBezTo>
                    <a:cubicBezTo>
                      <a:pt x="3564" y="206"/>
                      <a:pt x="3560" y="204"/>
                      <a:pt x="3559" y="204"/>
                    </a:cubicBezTo>
                    <a:cubicBezTo>
                      <a:pt x="3224" y="70"/>
                      <a:pt x="2643" y="0"/>
                      <a:pt x="1876" y="0"/>
                    </a:cubicBezTo>
                    <a:cubicBezTo>
                      <a:pt x="1105" y="0"/>
                      <a:pt x="521" y="71"/>
                      <a:pt x="188" y="206"/>
                    </a:cubicBezTo>
                    <a:cubicBezTo>
                      <a:pt x="144" y="225"/>
                      <a:pt x="105" y="251"/>
                      <a:pt x="71" y="285"/>
                    </a:cubicBezTo>
                    <a:cubicBezTo>
                      <a:pt x="70" y="286"/>
                      <a:pt x="70" y="286"/>
                      <a:pt x="70" y="286"/>
                    </a:cubicBezTo>
                    <a:cubicBezTo>
                      <a:pt x="25" y="331"/>
                      <a:pt x="0" y="394"/>
                      <a:pt x="0" y="459"/>
                    </a:cubicBezTo>
                    <a:cubicBezTo>
                      <a:pt x="0" y="885"/>
                      <a:pt x="0" y="885"/>
                      <a:pt x="0" y="885"/>
                    </a:cubicBezTo>
                    <a:lnTo>
                      <a:pt x="1" y="1003"/>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1729">
                  <a:solidFill>
                    <a:srgbClr val="505050"/>
                  </a:solidFill>
                  <a:latin typeface="Segoe UI Semilight"/>
                </a:endParaRPr>
              </a:p>
            </p:txBody>
          </p:sp>
        </p:grpSp>
        <p:grpSp>
          <p:nvGrpSpPr>
            <p:cNvPr id="283" name="Group 282">
              <a:extLst>
                <a:ext uri="{FF2B5EF4-FFF2-40B4-BE49-F238E27FC236}">
                  <a16:creationId xmlns:a16="http://schemas.microsoft.com/office/drawing/2014/main" id="{033BCF91-5D39-44AB-B4FF-299B5080BEE2}"/>
                </a:ext>
              </a:extLst>
            </p:cNvPr>
            <p:cNvGrpSpPr/>
            <p:nvPr/>
          </p:nvGrpSpPr>
          <p:grpSpPr>
            <a:xfrm>
              <a:off x="9828188" y="1567323"/>
              <a:ext cx="507144" cy="507144"/>
              <a:chOff x="7541281" y="1646534"/>
              <a:chExt cx="527686" cy="527686"/>
            </a:xfrm>
          </p:grpSpPr>
          <p:sp useBgFill="1">
            <p:nvSpPr>
              <p:cNvPr id="284" name="Oval 283">
                <a:extLst>
                  <a:ext uri="{FF2B5EF4-FFF2-40B4-BE49-F238E27FC236}">
                    <a16:creationId xmlns:a16="http://schemas.microsoft.com/office/drawing/2014/main" id="{4B14ECE6-3B6A-4E61-8F5F-A46B259868C9}"/>
                  </a:ext>
                </a:extLst>
              </p:cNvPr>
              <p:cNvSpPr/>
              <p:nvPr/>
            </p:nvSpPr>
            <p:spPr bwMode="auto">
              <a:xfrm rot="2700000">
                <a:off x="7541281" y="1646534"/>
                <a:ext cx="527686" cy="527686"/>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85" name="Group 284">
                <a:extLst>
                  <a:ext uri="{FF2B5EF4-FFF2-40B4-BE49-F238E27FC236}">
                    <a16:creationId xmlns:a16="http://schemas.microsoft.com/office/drawing/2014/main" id="{026A3388-6EE0-42EA-AEA8-D91F8DC65BD1}"/>
                  </a:ext>
                </a:extLst>
              </p:cNvPr>
              <p:cNvGrpSpPr/>
              <p:nvPr/>
            </p:nvGrpSpPr>
            <p:grpSpPr>
              <a:xfrm>
                <a:off x="7633632" y="1841500"/>
                <a:ext cx="342986" cy="137754"/>
                <a:chOff x="11103157" y="4417749"/>
                <a:chExt cx="347337" cy="139502"/>
              </a:xfrm>
            </p:grpSpPr>
            <p:sp>
              <p:nvSpPr>
                <p:cNvPr id="286" name="Rectangle 285">
                  <a:extLst>
                    <a:ext uri="{FF2B5EF4-FFF2-40B4-BE49-F238E27FC236}">
                      <a16:creationId xmlns:a16="http://schemas.microsoft.com/office/drawing/2014/main" id="{56F5BF5B-FE07-4B8F-9C8C-1CE74158268F}"/>
                    </a:ext>
                  </a:extLst>
                </p:cNvPr>
                <p:cNvSpPr>
                  <a:spLocks noChangeArrowheads="1"/>
                </p:cNvSpPr>
                <p:nvPr/>
              </p:nvSpPr>
              <p:spPr bwMode="auto">
                <a:xfrm>
                  <a:off x="11103157" y="4417749"/>
                  <a:ext cx="347337" cy="139502"/>
                </a:xfrm>
                <a:prstGeom prst="rect">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865">
                    <a:gradFill>
                      <a:gsLst>
                        <a:gs pos="0">
                          <a:srgbClr val="505050"/>
                        </a:gs>
                        <a:gs pos="100000">
                          <a:srgbClr val="505050"/>
                        </a:gs>
                      </a:gsLst>
                    </a:gradFill>
                    <a:latin typeface="Segoe UI Semilight"/>
                  </a:endParaRPr>
                </a:p>
              </p:txBody>
            </p:sp>
            <p:sp>
              <p:nvSpPr>
                <p:cNvPr id="287" name="Line 277">
                  <a:extLst>
                    <a:ext uri="{FF2B5EF4-FFF2-40B4-BE49-F238E27FC236}">
                      <a16:creationId xmlns:a16="http://schemas.microsoft.com/office/drawing/2014/main" id="{0715D0B9-3DA3-4EB5-AFCE-F5B1EE190F42}"/>
                    </a:ext>
                  </a:extLst>
                </p:cNvPr>
                <p:cNvSpPr>
                  <a:spLocks noChangeShapeType="1"/>
                </p:cNvSpPr>
                <p:nvPr/>
              </p:nvSpPr>
              <p:spPr bwMode="auto">
                <a:xfrm flipH="1">
                  <a:off x="11103157" y="4488923"/>
                  <a:ext cx="149469" cy="0"/>
                </a:xfrm>
                <a:prstGeom prst="lin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865">
                    <a:gradFill>
                      <a:gsLst>
                        <a:gs pos="0">
                          <a:srgbClr val="505050"/>
                        </a:gs>
                        <a:gs pos="100000">
                          <a:srgbClr val="505050"/>
                        </a:gs>
                      </a:gsLst>
                    </a:gradFill>
                    <a:latin typeface="Segoe UI Semilight"/>
                  </a:endParaRPr>
                </a:p>
              </p:txBody>
            </p:sp>
            <p:sp>
              <p:nvSpPr>
                <p:cNvPr id="288" name="Oval 287">
                  <a:extLst>
                    <a:ext uri="{FF2B5EF4-FFF2-40B4-BE49-F238E27FC236}">
                      <a16:creationId xmlns:a16="http://schemas.microsoft.com/office/drawing/2014/main" id="{3F383D5A-5286-4D78-8066-5E3315C04752}"/>
                    </a:ext>
                  </a:extLst>
                </p:cNvPr>
                <p:cNvSpPr>
                  <a:spLocks noChangeArrowheads="1"/>
                </p:cNvSpPr>
                <p:nvPr/>
              </p:nvSpPr>
              <p:spPr bwMode="auto">
                <a:xfrm>
                  <a:off x="11373624" y="4480383"/>
                  <a:ext cx="12812" cy="14235"/>
                </a:xfrm>
                <a:prstGeom prst="ellipse">
                  <a:avLst/>
                </a:pr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865">
                    <a:gradFill>
                      <a:gsLst>
                        <a:gs pos="0">
                          <a:srgbClr val="505050"/>
                        </a:gs>
                        <a:gs pos="100000">
                          <a:srgbClr val="505050"/>
                        </a:gs>
                      </a:gsLst>
                    </a:gradFill>
                    <a:latin typeface="Segoe UI Semilight"/>
                  </a:endParaRPr>
                </a:p>
              </p:txBody>
            </p:sp>
          </p:grpSp>
        </p:grpSp>
        <p:grpSp>
          <p:nvGrpSpPr>
            <p:cNvPr id="289" name="Group 288">
              <a:extLst>
                <a:ext uri="{FF2B5EF4-FFF2-40B4-BE49-F238E27FC236}">
                  <a16:creationId xmlns:a16="http://schemas.microsoft.com/office/drawing/2014/main" id="{6EB5B7BD-E74E-4203-A64B-84677A21CC01}"/>
                </a:ext>
              </a:extLst>
            </p:cNvPr>
            <p:cNvGrpSpPr/>
            <p:nvPr/>
          </p:nvGrpSpPr>
          <p:grpSpPr>
            <a:xfrm>
              <a:off x="6317706" y="3935174"/>
              <a:ext cx="507144" cy="507144"/>
              <a:chOff x="3888602" y="4110297"/>
              <a:chExt cx="527686" cy="527686"/>
            </a:xfrm>
          </p:grpSpPr>
          <p:sp useBgFill="1">
            <p:nvSpPr>
              <p:cNvPr id="290" name="Oval 289">
                <a:extLst>
                  <a:ext uri="{FF2B5EF4-FFF2-40B4-BE49-F238E27FC236}">
                    <a16:creationId xmlns:a16="http://schemas.microsoft.com/office/drawing/2014/main" id="{F4A1815C-E84D-48B7-A9FC-F1D9F95136AB}"/>
                  </a:ext>
                </a:extLst>
              </p:cNvPr>
              <p:cNvSpPr/>
              <p:nvPr/>
            </p:nvSpPr>
            <p:spPr bwMode="auto">
              <a:xfrm rot="4020000">
                <a:off x="3888602" y="4110297"/>
                <a:ext cx="527686" cy="527686"/>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91" name="Freeform 41">
                <a:extLst>
                  <a:ext uri="{FF2B5EF4-FFF2-40B4-BE49-F238E27FC236}">
                    <a16:creationId xmlns:a16="http://schemas.microsoft.com/office/drawing/2014/main" id="{051C4993-C56C-40AE-BAF8-F5225C792113}"/>
                  </a:ext>
                </a:extLst>
              </p:cNvPr>
              <p:cNvSpPr>
                <a:spLocks noEditPoints="1"/>
              </p:cNvSpPr>
              <p:nvPr/>
            </p:nvSpPr>
            <p:spPr bwMode="auto">
              <a:xfrm>
                <a:off x="3962698" y="4255548"/>
                <a:ext cx="379494" cy="237184"/>
              </a:xfrm>
              <a:custGeom>
                <a:avLst/>
                <a:gdLst>
                  <a:gd name="T0" fmla="*/ 208 w 208"/>
                  <a:gd name="T1" fmla="*/ 54 h 130"/>
                  <a:gd name="T2" fmla="*/ 208 w 208"/>
                  <a:gd name="T3" fmla="*/ 130 h 130"/>
                  <a:gd name="T4" fmla="*/ 0 w 208"/>
                  <a:gd name="T5" fmla="*/ 130 h 130"/>
                  <a:gd name="T6" fmla="*/ 0 w 208"/>
                  <a:gd name="T7" fmla="*/ 54 h 130"/>
                  <a:gd name="T8" fmla="*/ 40 w 208"/>
                  <a:gd name="T9" fmla="*/ 24 h 130"/>
                  <a:gd name="T10" fmla="*/ 40 w 208"/>
                  <a:gd name="T11" fmla="*/ 54 h 130"/>
                  <a:gd name="T12" fmla="*/ 85 w 208"/>
                  <a:gd name="T13" fmla="*/ 24 h 130"/>
                  <a:gd name="T14" fmla="*/ 85 w 208"/>
                  <a:gd name="T15" fmla="*/ 54 h 130"/>
                  <a:gd name="T16" fmla="*/ 208 w 208"/>
                  <a:gd name="T17" fmla="*/ 54 h 130"/>
                  <a:gd name="T18" fmla="*/ 163 w 208"/>
                  <a:gd name="T19" fmla="*/ 54 h 130"/>
                  <a:gd name="T20" fmla="*/ 153 w 208"/>
                  <a:gd name="T21" fmla="*/ 0 h 130"/>
                  <a:gd name="T22" fmla="*/ 144 w 208"/>
                  <a:gd name="T23" fmla="*/ 0 h 130"/>
                  <a:gd name="T24" fmla="*/ 136 w 208"/>
                  <a:gd name="T25" fmla="*/ 54 h 130"/>
                  <a:gd name="T26" fmla="*/ 200 w 208"/>
                  <a:gd name="T27" fmla="*/ 54 h 130"/>
                  <a:gd name="T28" fmla="*/ 189 w 208"/>
                  <a:gd name="T29" fmla="*/ 0 h 130"/>
                  <a:gd name="T30" fmla="*/ 180 w 208"/>
                  <a:gd name="T31" fmla="*/ 0 h 130"/>
                  <a:gd name="T32" fmla="*/ 171 w 208"/>
                  <a:gd name="T33" fmla="*/ 54 h 130"/>
                  <a:gd name="T34" fmla="*/ 30 w 208"/>
                  <a:gd name="T35" fmla="*/ 77 h 130"/>
                  <a:gd name="T36" fmla="*/ 19 w 208"/>
                  <a:gd name="T37" fmla="*/ 77 h 130"/>
                  <a:gd name="T38" fmla="*/ 19 w 208"/>
                  <a:gd name="T39" fmla="*/ 88 h 130"/>
                  <a:gd name="T40" fmla="*/ 30 w 208"/>
                  <a:gd name="T41" fmla="*/ 88 h 130"/>
                  <a:gd name="T42" fmla="*/ 30 w 208"/>
                  <a:gd name="T43" fmla="*/ 77 h 130"/>
                  <a:gd name="T44" fmla="*/ 69 w 208"/>
                  <a:gd name="T45" fmla="*/ 77 h 130"/>
                  <a:gd name="T46" fmla="*/ 59 w 208"/>
                  <a:gd name="T47" fmla="*/ 77 h 130"/>
                  <a:gd name="T48" fmla="*/ 59 w 208"/>
                  <a:gd name="T49" fmla="*/ 88 h 130"/>
                  <a:gd name="T50" fmla="*/ 69 w 208"/>
                  <a:gd name="T51" fmla="*/ 88 h 130"/>
                  <a:gd name="T52" fmla="*/ 69 w 208"/>
                  <a:gd name="T53" fmla="*/ 77 h 130"/>
                  <a:gd name="T54" fmla="*/ 109 w 208"/>
                  <a:gd name="T55" fmla="*/ 77 h 130"/>
                  <a:gd name="T56" fmla="*/ 99 w 208"/>
                  <a:gd name="T57" fmla="*/ 77 h 130"/>
                  <a:gd name="T58" fmla="*/ 99 w 208"/>
                  <a:gd name="T59" fmla="*/ 88 h 130"/>
                  <a:gd name="T60" fmla="*/ 109 w 208"/>
                  <a:gd name="T61" fmla="*/ 88 h 130"/>
                  <a:gd name="T62" fmla="*/ 109 w 208"/>
                  <a:gd name="T63" fmla="*/ 77 h 130"/>
                  <a:gd name="T64" fmla="*/ 149 w 208"/>
                  <a:gd name="T65" fmla="*/ 77 h 130"/>
                  <a:gd name="T66" fmla="*/ 139 w 208"/>
                  <a:gd name="T67" fmla="*/ 77 h 130"/>
                  <a:gd name="T68" fmla="*/ 139 w 208"/>
                  <a:gd name="T69" fmla="*/ 88 h 130"/>
                  <a:gd name="T70" fmla="*/ 149 w 208"/>
                  <a:gd name="T71" fmla="*/ 88 h 130"/>
                  <a:gd name="T72" fmla="*/ 149 w 208"/>
                  <a:gd name="T73" fmla="*/ 77 h 130"/>
                  <a:gd name="T74" fmla="*/ 189 w 208"/>
                  <a:gd name="T75" fmla="*/ 77 h 130"/>
                  <a:gd name="T76" fmla="*/ 179 w 208"/>
                  <a:gd name="T77" fmla="*/ 77 h 130"/>
                  <a:gd name="T78" fmla="*/ 179 w 208"/>
                  <a:gd name="T79" fmla="*/ 88 h 130"/>
                  <a:gd name="T80" fmla="*/ 189 w 208"/>
                  <a:gd name="T81" fmla="*/ 88 h 130"/>
                  <a:gd name="T82" fmla="*/ 189 w 208"/>
                  <a:gd name="T83" fmla="*/ 7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8" h="130">
                    <a:moveTo>
                      <a:pt x="208" y="54"/>
                    </a:moveTo>
                    <a:lnTo>
                      <a:pt x="208" y="130"/>
                    </a:lnTo>
                    <a:lnTo>
                      <a:pt x="0" y="130"/>
                    </a:lnTo>
                    <a:lnTo>
                      <a:pt x="0" y="54"/>
                    </a:lnTo>
                    <a:lnTo>
                      <a:pt x="40" y="24"/>
                    </a:lnTo>
                    <a:lnTo>
                      <a:pt x="40" y="54"/>
                    </a:lnTo>
                    <a:lnTo>
                      <a:pt x="85" y="24"/>
                    </a:lnTo>
                    <a:lnTo>
                      <a:pt x="85" y="54"/>
                    </a:lnTo>
                    <a:lnTo>
                      <a:pt x="208" y="54"/>
                    </a:lnTo>
                    <a:moveTo>
                      <a:pt x="163" y="54"/>
                    </a:moveTo>
                    <a:lnTo>
                      <a:pt x="153" y="0"/>
                    </a:lnTo>
                    <a:lnTo>
                      <a:pt x="144" y="0"/>
                    </a:lnTo>
                    <a:lnTo>
                      <a:pt x="136" y="54"/>
                    </a:lnTo>
                    <a:moveTo>
                      <a:pt x="200" y="54"/>
                    </a:moveTo>
                    <a:lnTo>
                      <a:pt x="189" y="0"/>
                    </a:lnTo>
                    <a:lnTo>
                      <a:pt x="180" y="0"/>
                    </a:lnTo>
                    <a:lnTo>
                      <a:pt x="171" y="54"/>
                    </a:lnTo>
                    <a:moveTo>
                      <a:pt x="30" y="77"/>
                    </a:moveTo>
                    <a:lnTo>
                      <a:pt x="19" y="77"/>
                    </a:lnTo>
                    <a:lnTo>
                      <a:pt x="19" y="88"/>
                    </a:lnTo>
                    <a:lnTo>
                      <a:pt x="30" y="88"/>
                    </a:lnTo>
                    <a:lnTo>
                      <a:pt x="30" y="77"/>
                    </a:lnTo>
                    <a:moveTo>
                      <a:pt x="69" y="77"/>
                    </a:moveTo>
                    <a:lnTo>
                      <a:pt x="59" y="77"/>
                    </a:lnTo>
                    <a:lnTo>
                      <a:pt x="59" y="88"/>
                    </a:lnTo>
                    <a:lnTo>
                      <a:pt x="69" y="88"/>
                    </a:lnTo>
                    <a:lnTo>
                      <a:pt x="69" y="77"/>
                    </a:lnTo>
                    <a:moveTo>
                      <a:pt x="109" y="77"/>
                    </a:moveTo>
                    <a:lnTo>
                      <a:pt x="99" y="77"/>
                    </a:lnTo>
                    <a:lnTo>
                      <a:pt x="99" y="88"/>
                    </a:lnTo>
                    <a:lnTo>
                      <a:pt x="109" y="88"/>
                    </a:lnTo>
                    <a:lnTo>
                      <a:pt x="109" y="77"/>
                    </a:lnTo>
                    <a:moveTo>
                      <a:pt x="149" y="77"/>
                    </a:moveTo>
                    <a:lnTo>
                      <a:pt x="139" y="77"/>
                    </a:lnTo>
                    <a:lnTo>
                      <a:pt x="139" y="88"/>
                    </a:lnTo>
                    <a:lnTo>
                      <a:pt x="149" y="88"/>
                    </a:lnTo>
                    <a:lnTo>
                      <a:pt x="149" y="77"/>
                    </a:lnTo>
                    <a:moveTo>
                      <a:pt x="189" y="77"/>
                    </a:moveTo>
                    <a:lnTo>
                      <a:pt x="179" y="77"/>
                    </a:lnTo>
                    <a:lnTo>
                      <a:pt x="179" y="88"/>
                    </a:lnTo>
                    <a:lnTo>
                      <a:pt x="189" y="88"/>
                    </a:lnTo>
                    <a:lnTo>
                      <a:pt x="189" y="77"/>
                    </a:ln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865">
                  <a:gradFill>
                    <a:gsLst>
                      <a:gs pos="0">
                        <a:srgbClr val="505050"/>
                      </a:gs>
                      <a:gs pos="100000">
                        <a:srgbClr val="505050"/>
                      </a:gs>
                    </a:gsLst>
                    <a:lin ang="5400000" scaled="1"/>
                  </a:gradFill>
                  <a:latin typeface="Segoe UI Semilight"/>
                </a:endParaRPr>
              </a:p>
            </p:txBody>
          </p:sp>
        </p:grpSp>
        <p:grpSp>
          <p:nvGrpSpPr>
            <p:cNvPr id="292" name="Group 291">
              <a:extLst>
                <a:ext uri="{FF2B5EF4-FFF2-40B4-BE49-F238E27FC236}">
                  <a16:creationId xmlns:a16="http://schemas.microsoft.com/office/drawing/2014/main" id="{184AA1CE-145D-41BF-9062-D1CFB4D453CE}"/>
                </a:ext>
              </a:extLst>
            </p:cNvPr>
            <p:cNvGrpSpPr/>
            <p:nvPr/>
          </p:nvGrpSpPr>
          <p:grpSpPr>
            <a:xfrm>
              <a:off x="10288452" y="3935175"/>
              <a:ext cx="507142" cy="507142"/>
              <a:chOff x="8020188" y="4110298"/>
              <a:chExt cx="527684" cy="527684"/>
            </a:xfrm>
          </p:grpSpPr>
          <p:sp useBgFill="1">
            <p:nvSpPr>
              <p:cNvPr id="293" name="Oval 292">
                <a:extLst>
                  <a:ext uri="{FF2B5EF4-FFF2-40B4-BE49-F238E27FC236}">
                    <a16:creationId xmlns:a16="http://schemas.microsoft.com/office/drawing/2014/main" id="{83064E22-DC34-4557-AFA3-9B69C32FF648}"/>
                  </a:ext>
                </a:extLst>
              </p:cNvPr>
              <p:cNvSpPr/>
              <p:nvPr/>
            </p:nvSpPr>
            <p:spPr bwMode="auto">
              <a:xfrm rot="17580000" flipH="1">
                <a:off x="8020188" y="4110298"/>
                <a:ext cx="527684" cy="52768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94" name="bus">
                <a:extLst>
                  <a:ext uri="{FF2B5EF4-FFF2-40B4-BE49-F238E27FC236}">
                    <a16:creationId xmlns:a16="http://schemas.microsoft.com/office/drawing/2014/main" id="{7D768BA0-2CD6-4989-8CC8-D26B219C2E94}"/>
                  </a:ext>
                </a:extLst>
              </p:cNvPr>
              <p:cNvSpPr>
                <a:spLocks noChangeAspect="1" noEditPoints="1"/>
              </p:cNvSpPr>
              <p:nvPr/>
            </p:nvSpPr>
            <p:spPr bwMode="auto">
              <a:xfrm>
                <a:off x="8162803" y="4252914"/>
                <a:ext cx="242456" cy="242454"/>
              </a:xfrm>
              <a:custGeom>
                <a:avLst/>
                <a:gdLst>
                  <a:gd name="T0" fmla="*/ 290 w 344"/>
                  <a:gd name="T1" fmla="*/ 0 h 343"/>
                  <a:gd name="T2" fmla="*/ 318 w 344"/>
                  <a:gd name="T3" fmla="*/ 28 h 343"/>
                  <a:gd name="T4" fmla="*/ 318 w 344"/>
                  <a:gd name="T5" fmla="*/ 314 h 343"/>
                  <a:gd name="T6" fmla="*/ 25 w 344"/>
                  <a:gd name="T7" fmla="*/ 314 h 343"/>
                  <a:gd name="T8" fmla="*/ 25 w 344"/>
                  <a:gd name="T9" fmla="*/ 28 h 343"/>
                  <a:gd name="T10" fmla="*/ 54 w 344"/>
                  <a:gd name="T11" fmla="*/ 0 h 343"/>
                  <a:gd name="T12" fmla="*/ 290 w 344"/>
                  <a:gd name="T13" fmla="*/ 0 h 343"/>
                  <a:gd name="T14" fmla="*/ 104 w 344"/>
                  <a:gd name="T15" fmla="*/ 46 h 343"/>
                  <a:gd name="T16" fmla="*/ 237 w 344"/>
                  <a:gd name="T17" fmla="*/ 46 h 343"/>
                  <a:gd name="T18" fmla="*/ 60 w 344"/>
                  <a:gd name="T19" fmla="*/ 224 h 343"/>
                  <a:gd name="T20" fmla="*/ 104 w 344"/>
                  <a:gd name="T21" fmla="*/ 224 h 343"/>
                  <a:gd name="T22" fmla="*/ 237 w 344"/>
                  <a:gd name="T23" fmla="*/ 224 h 343"/>
                  <a:gd name="T24" fmla="*/ 281 w 344"/>
                  <a:gd name="T25" fmla="*/ 224 h 343"/>
                  <a:gd name="T26" fmla="*/ 25 w 344"/>
                  <a:gd name="T27" fmla="*/ 92 h 343"/>
                  <a:gd name="T28" fmla="*/ 318 w 344"/>
                  <a:gd name="T29" fmla="*/ 92 h 343"/>
                  <a:gd name="T30" fmla="*/ 25 w 344"/>
                  <a:gd name="T31" fmla="*/ 179 h 343"/>
                  <a:gd name="T32" fmla="*/ 318 w 344"/>
                  <a:gd name="T33" fmla="*/ 179 h 343"/>
                  <a:gd name="T34" fmla="*/ 25 w 344"/>
                  <a:gd name="T35" fmla="*/ 268 h 343"/>
                  <a:gd name="T36" fmla="*/ 318 w 344"/>
                  <a:gd name="T37" fmla="*/ 268 h 343"/>
                  <a:gd name="T38" fmla="*/ 172 w 344"/>
                  <a:gd name="T39" fmla="*/ 92 h 343"/>
                  <a:gd name="T40" fmla="*/ 172 w 344"/>
                  <a:gd name="T41" fmla="*/ 179 h 343"/>
                  <a:gd name="T42" fmla="*/ 318 w 344"/>
                  <a:gd name="T43" fmla="*/ 124 h 343"/>
                  <a:gd name="T44" fmla="*/ 344 w 344"/>
                  <a:gd name="T45" fmla="*/ 124 h 343"/>
                  <a:gd name="T46" fmla="*/ 344 w 344"/>
                  <a:gd name="T47" fmla="*/ 83 h 343"/>
                  <a:gd name="T48" fmla="*/ 318 w 344"/>
                  <a:gd name="T49" fmla="*/ 83 h 343"/>
                  <a:gd name="T50" fmla="*/ 240 w 344"/>
                  <a:gd name="T51" fmla="*/ 314 h 343"/>
                  <a:gd name="T52" fmla="*/ 240 w 344"/>
                  <a:gd name="T53" fmla="*/ 343 h 343"/>
                  <a:gd name="T54" fmla="*/ 301 w 344"/>
                  <a:gd name="T55" fmla="*/ 343 h 343"/>
                  <a:gd name="T56" fmla="*/ 301 w 344"/>
                  <a:gd name="T57" fmla="*/ 314 h 343"/>
                  <a:gd name="T58" fmla="*/ 38 w 344"/>
                  <a:gd name="T59" fmla="*/ 314 h 343"/>
                  <a:gd name="T60" fmla="*/ 38 w 344"/>
                  <a:gd name="T61" fmla="*/ 343 h 343"/>
                  <a:gd name="T62" fmla="*/ 98 w 344"/>
                  <a:gd name="T63" fmla="*/ 343 h 343"/>
                  <a:gd name="T64" fmla="*/ 98 w 344"/>
                  <a:gd name="T65" fmla="*/ 314 h 343"/>
                  <a:gd name="T66" fmla="*/ 25 w 344"/>
                  <a:gd name="T67" fmla="*/ 83 h 343"/>
                  <a:gd name="T68" fmla="*/ 0 w 344"/>
                  <a:gd name="T69" fmla="*/ 83 h 343"/>
                  <a:gd name="T70" fmla="*/ 0 w 344"/>
                  <a:gd name="T71" fmla="*/ 124 h 343"/>
                  <a:gd name="T72" fmla="*/ 25 w 344"/>
                  <a:gd name="T73" fmla="*/ 124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44" h="343">
                    <a:moveTo>
                      <a:pt x="290" y="0"/>
                    </a:moveTo>
                    <a:cubicBezTo>
                      <a:pt x="305" y="0"/>
                      <a:pt x="318" y="12"/>
                      <a:pt x="318" y="28"/>
                    </a:cubicBezTo>
                    <a:cubicBezTo>
                      <a:pt x="318" y="314"/>
                      <a:pt x="318" y="314"/>
                      <a:pt x="318" y="314"/>
                    </a:cubicBezTo>
                    <a:cubicBezTo>
                      <a:pt x="25" y="314"/>
                      <a:pt x="25" y="314"/>
                      <a:pt x="25" y="314"/>
                    </a:cubicBezTo>
                    <a:cubicBezTo>
                      <a:pt x="25" y="28"/>
                      <a:pt x="25" y="28"/>
                      <a:pt x="25" y="28"/>
                    </a:cubicBezTo>
                    <a:cubicBezTo>
                      <a:pt x="25" y="12"/>
                      <a:pt x="38" y="0"/>
                      <a:pt x="54" y="0"/>
                    </a:cubicBezTo>
                    <a:lnTo>
                      <a:pt x="290" y="0"/>
                    </a:lnTo>
                    <a:close/>
                    <a:moveTo>
                      <a:pt x="104" y="46"/>
                    </a:moveTo>
                    <a:cubicBezTo>
                      <a:pt x="237" y="46"/>
                      <a:pt x="237" y="46"/>
                      <a:pt x="237" y="46"/>
                    </a:cubicBezTo>
                    <a:moveTo>
                      <a:pt x="60" y="224"/>
                    </a:moveTo>
                    <a:cubicBezTo>
                      <a:pt x="104" y="224"/>
                      <a:pt x="104" y="224"/>
                      <a:pt x="104" y="224"/>
                    </a:cubicBezTo>
                    <a:moveTo>
                      <a:pt x="237" y="224"/>
                    </a:moveTo>
                    <a:cubicBezTo>
                      <a:pt x="281" y="224"/>
                      <a:pt x="281" y="224"/>
                      <a:pt x="281" y="224"/>
                    </a:cubicBezTo>
                    <a:moveTo>
                      <a:pt x="25" y="92"/>
                    </a:moveTo>
                    <a:cubicBezTo>
                      <a:pt x="318" y="92"/>
                      <a:pt x="318" y="92"/>
                      <a:pt x="318" y="92"/>
                    </a:cubicBezTo>
                    <a:moveTo>
                      <a:pt x="25" y="179"/>
                    </a:moveTo>
                    <a:cubicBezTo>
                      <a:pt x="318" y="179"/>
                      <a:pt x="318" y="179"/>
                      <a:pt x="318" y="179"/>
                    </a:cubicBezTo>
                    <a:moveTo>
                      <a:pt x="25" y="268"/>
                    </a:moveTo>
                    <a:cubicBezTo>
                      <a:pt x="318" y="268"/>
                      <a:pt x="318" y="268"/>
                      <a:pt x="318" y="268"/>
                    </a:cubicBezTo>
                    <a:moveTo>
                      <a:pt x="172" y="92"/>
                    </a:moveTo>
                    <a:cubicBezTo>
                      <a:pt x="172" y="179"/>
                      <a:pt x="172" y="179"/>
                      <a:pt x="172" y="179"/>
                    </a:cubicBezTo>
                    <a:moveTo>
                      <a:pt x="318" y="124"/>
                    </a:moveTo>
                    <a:cubicBezTo>
                      <a:pt x="344" y="124"/>
                      <a:pt x="344" y="124"/>
                      <a:pt x="344" y="124"/>
                    </a:cubicBezTo>
                    <a:cubicBezTo>
                      <a:pt x="344" y="83"/>
                      <a:pt x="344" y="83"/>
                      <a:pt x="344" y="83"/>
                    </a:cubicBezTo>
                    <a:cubicBezTo>
                      <a:pt x="318" y="83"/>
                      <a:pt x="318" y="83"/>
                      <a:pt x="318" y="83"/>
                    </a:cubicBezTo>
                    <a:moveTo>
                      <a:pt x="240" y="314"/>
                    </a:moveTo>
                    <a:cubicBezTo>
                      <a:pt x="240" y="343"/>
                      <a:pt x="240" y="343"/>
                      <a:pt x="240" y="343"/>
                    </a:cubicBezTo>
                    <a:cubicBezTo>
                      <a:pt x="301" y="343"/>
                      <a:pt x="301" y="343"/>
                      <a:pt x="301" y="343"/>
                    </a:cubicBezTo>
                    <a:cubicBezTo>
                      <a:pt x="301" y="314"/>
                      <a:pt x="301" y="314"/>
                      <a:pt x="301" y="314"/>
                    </a:cubicBezTo>
                    <a:moveTo>
                      <a:pt x="38" y="314"/>
                    </a:moveTo>
                    <a:cubicBezTo>
                      <a:pt x="38" y="343"/>
                      <a:pt x="38" y="343"/>
                      <a:pt x="38" y="343"/>
                    </a:cubicBezTo>
                    <a:cubicBezTo>
                      <a:pt x="98" y="343"/>
                      <a:pt x="98" y="343"/>
                      <a:pt x="98" y="343"/>
                    </a:cubicBezTo>
                    <a:cubicBezTo>
                      <a:pt x="98" y="314"/>
                      <a:pt x="98" y="314"/>
                      <a:pt x="98" y="314"/>
                    </a:cubicBezTo>
                    <a:moveTo>
                      <a:pt x="25" y="83"/>
                    </a:moveTo>
                    <a:cubicBezTo>
                      <a:pt x="0" y="83"/>
                      <a:pt x="0" y="83"/>
                      <a:pt x="0" y="83"/>
                    </a:cubicBezTo>
                    <a:cubicBezTo>
                      <a:pt x="0" y="124"/>
                      <a:pt x="0" y="124"/>
                      <a:pt x="0" y="124"/>
                    </a:cubicBezTo>
                    <a:cubicBezTo>
                      <a:pt x="25" y="124"/>
                      <a:pt x="25" y="124"/>
                      <a:pt x="25" y="124"/>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865">
                  <a:gradFill>
                    <a:gsLst>
                      <a:gs pos="0">
                        <a:srgbClr val="505050"/>
                      </a:gs>
                      <a:gs pos="100000">
                        <a:srgbClr val="505050"/>
                      </a:gs>
                    </a:gsLst>
                  </a:gradFill>
                  <a:latin typeface="Segoe UI Semilight"/>
                </a:endParaRPr>
              </a:p>
            </p:txBody>
          </p:sp>
        </p:grpSp>
        <p:grpSp>
          <p:nvGrpSpPr>
            <p:cNvPr id="295" name="Group 294">
              <a:extLst>
                <a:ext uri="{FF2B5EF4-FFF2-40B4-BE49-F238E27FC236}">
                  <a16:creationId xmlns:a16="http://schemas.microsoft.com/office/drawing/2014/main" id="{5CC2DFAB-D9D3-4484-9D50-B920EB338887}"/>
                </a:ext>
              </a:extLst>
            </p:cNvPr>
            <p:cNvGrpSpPr/>
            <p:nvPr/>
          </p:nvGrpSpPr>
          <p:grpSpPr>
            <a:xfrm>
              <a:off x="10459910" y="3092432"/>
              <a:ext cx="507144" cy="507144"/>
              <a:chOff x="8198591" y="3233420"/>
              <a:chExt cx="527686" cy="527686"/>
            </a:xfrm>
          </p:grpSpPr>
          <p:sp useBgFill="1">
            <p:nvSpPr>
              <p:cNvPr id="296" name="Oval 295">
                <a:extLst>
                  <a:ext uri="{FF2B5EF4-FFF2-40B4-BE49-F238E27FC236}">
                    <a16:creationId xmlns:a16="http://schemas.microsoft.com/office/drawing/2014/main" id="{70931727-3716-4BCB-9C8B-F24920988673}"/>
                  </a:ext>
                </a:extLst>
              </p:cNvPr>
              <p:cNvSpPr/>
              <p:nvPr/>
            </p:nvSpPr>
            <p:spPr bwMode="auto">
              <a:xfrm rot="5400000">
                <a:off x="8198591" y="3233420"/>
                <a:ext cx="527686" cy="527686"/>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97" name="Airplane_E709">
                <a:extLst>
                  <a:ext uri="{FF2B5EF4-FFF2-40B4-BE49-F238E27FC236}">
                    <a16:creationId xmlns:a16="http://schemas.microsoft.com/office/drawing/2014/main" id="{EA204DA2-8A11-4968-B253-59F298A05DFF}"/>
                  </a:ext>
                </a:extLst>
              </p:cNvPr>
              <p:cNvSpPr>
                <a:spLocks noChangeAspect="1"/>
              </p:cNvSpPr>
              <p:nvPr/>
            </p:nvSpPr>
            <p:spPr bwMode="auto">
              <a:xfrm>
                <a:off x="8319857" y="3352801"/>
                <a:ext cx="285156" cy="288926"/>
              </a:xfrm>
              <a:custGeom>
                <a:avLst/>
                <a:gdLst>
                  <a:gd name="T0" fmla="*/ 1002 w 3707"/>
                  <a:gd name="T1" fmla="*/ 3755 h 3755"/>
                  <a:gd name="T2" fmla="*/ 1502 w 3707"/>
                  <a:gd name="T3" fmla="*/ 2253 h 3755"/>
                  <a:gd name="T4" fmla="*/ 751 w 3707"/>
                  <a:gd name="T5" fmla="*/ 2253 h 3755"/>
                  <a:gd name="T6" fmla="*/ 625 w 3707"/>
                  <a:gd name="T7" fmla="*/ 2503 h 3755"/>
                  <a:gd name="T8" fmla="*/ 0 w 3707"/>
                  <a:gd name="T9" fmla="*/ 2503 h 3755"/>
                  <a:gd name="T10" fmla="*/ 209 w 3707"/>
                  <a:gd name="T11" fmla="*/ 1877 h 3755"/>
                  <a:gd name="T12" fmla="*/ 0 w 3707"/>
                  <a:gd name="T13" fmla="*/ 1251 h 3755"/>
                  <a:gd name="T14" fmla="*/ 625 w 3707"/>
                  <a:gd name="T15" fmla="*/ 1251 h 3755"/>
                  <a:gd name="T16" fmla="*/ 751 w 3707"/>
                  <a:gd name="T17" fmla="*/ 1502 h 3755"/>
                  <a:gd name="T18" fmla="*/ 1502 w 3707"/>
                  <a:gd name="T19" fmla="*/ 1502 h 3755"/>
                  <a:gd name="T20" fmla="*/ 1002 w 3707"/>
                  <a:gd name="T21" fmla="*/ 0 h 3755"/>
                  <a:gd name="T22" fmla="*/ 1627 w 3707"/>
                  <a:gd name="T23" fmla="*/ 0 h 3755"/>
                  <a:gd name="T24" fmla="*/ 2378 w 3707"/>
                  <a:gd name="T25" fmla="*/ 1502 h 3755"/>
                  <a:gd name="T26" fmla="*/ 3331 w 3707"/>
                  <a:gd name="T27" fmla="*/ 1502 h 3755"/>
                  <a:gd name="T28" fmla="*/ 3707 w 3707"/>
                  <a:gd name="T29" fmla="*/ 1877 h 3755"/>
                  <a:gd name="T30" fmla="*/ 3331 w 3707"/>
                  <a:gd name="T31" fmla="*/ 2253 h 3755"/>
                  <a:gd name="T32" fmla="*/ 2378 w 3707"/>
                  <a:gd name="T33" fmla="*/ 2253 h 3755"/>
                  <a:gd name="T34" fmla="*/ 1627 w 3707"/>
                  <a:gd name="T35" fmla="*/ 3755 h 3755"/>
                  <a:gd name="T36" fmla="*/ 1002 w 3707"/>
                  <a:gd name="T37" fmla="*/ 3755 h 3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07" h="3755">
                    <a:moveTo>
                      <a:pt x="1002" y="3755"/>
                    </a:moveTo>
                    <a:cubicBezTo>
                      <a:pt x="1502" y="2253"/>
                      <a:pt x="1502" y="2253"/>
                      <a:pt x="1502" y="2253"/>
                    </a:cubicBezTo>
                    <a:cubicBezTo>
                      <a:pt x="751" y="2253"/>
                      <a:pt x="751" y="2253"/>
                      <a:pt x="751" y="2253"/>
                    </a:cubicBezTo>
                    <a:cubicBezTo>
                      <a:pt x="625" y="2503"/>
                      <a:pt x="625" y="2503"/>
                      <a:pt x="625" y="2503"/>
                    </a:cubicBezTo>
                    <a:cubicBezTo>
                      <a:pt x="0" y="2503"/>
                      <a:pt x="0" y="2503"/>
                      <a:pt x="0" y="2503"/>
                    </a:cubicBezTo>
                    <a:cubicBezTo>
                      <a:pt x="209" y="1877"/>
                      <a:pt x="209" y="1877"/>
                      <a:pt x="209" y="1877"/>
                    </a:cubicBezTo>
                    <a:cubicBezTo>
                      <a:pt x="0" y="1251"/>
                      <a:pt x="0" y="1251"/>
                      <a:pt x="0" y="1251"/>
                    </a:cubicBezTo>
                    <a:cubicBezTo>
                      <a:pt x="625" y="1251"/>
                      <a:pt x="625" y="1251"/>
                      <a:pt x="625" y="1251"/>
                    </a:cubicBezTo>
                    <a:cubicBezTo>
                      <a:pt x="751" y="1502"/>
                      <a:pt x="751" y="1502"/>
                      <a:pt x="751" y="1502"/>
                    </a:cubicBezTo>
                    <a:cubicBezTo>
                      <a:pt x="1502" y="1502"/>
                      <a:pt x="1502" y="1502"/>
                      <a:pt x="1502" y="1502"/>
                    </a:cubicBezTo>
                    <a:cubicBezTo>
                      <a:pt x="1002" y="0"/>
                      <a:pt x="1002" y="0"/>
                      <a:pt x="1002" y="0"/>
                    </a:cubicBezTo>
                    <a:cubicBezTo>
                      <a:pt x="1627" y="0"/>
                      <a:pt x="1627" y="0"/>
                      <a:pt x="1627" y="0"/>
                    </a:cubicBezTo>
                    <a:cubicBezTo>
                      <a:pt x="2378" y="1502"/>
                      <a:pt x="2378" y="1502"/>
                      <a:pt x="2378" y="1502"/>
                    </a:cubicBezTo>
                    <a:cubicBezTo>
                      <a:pt x="3331" y="1502"/>
                      <a:pt x="3331" y="1502"/>
                      <a:pt x="3331" y="1502"/>
                    </a:cubicBezTo>
                    <a:cubicBezTo>
                      <a:pt x="3538" y="1502"/>
                      <a:pt x="3707" y="1670"/>
                      <a:pt x="3707" y="1877"/>
                    </a:cubicBezTo>
                    <a:cubicBezTo>
                      <a:pt x="3707" y="2084"/>
                      <a:pt x="3538" y="2253"/>
                      <a:pt x="3331" y="2253"/>
                    </a:cubicBezTo>
                    <a:cubicBezTo>
                      <a:pt x="2378" y="2253"/>
                      <a:pt x="2378" y="2253"/>
                      <a:pt x="2378" y="2253"/>
                    </a:cubicBezTo>
                    <a:cubicBezTo>
                      <a:pt x="1627" y="3755"/>
                      <a:pt x="1627" y="3755"/>
                      <a:pt x="1627" y="3755"/>
                    </a:cubicBezTo>
                    <a:lnTo>
                      <a:pt x="1002" y="3755"/>
                    </a:ln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865">
                  <a:gradFill>
                    <a:gsLst>
                      <a:gs pos="0">
                        <a:srgbClr val="505050"/>
                      </a:gs>
                      <a:gs pos="100000">
                        <a:srgbClr val="505050"/>
                      </a:gs>
                    </a:gsLst>
                    <a:lin ang="5400000" scaled="1"/>
                  </a:gradFill>
                  <a:latin typeface="Segoe UI Semilight"/>
                </a:endParaRPr>
              </a:p>
            </p:txBody>
          </p:sp>
        </p:grpSp>
        <p:grpSp>
          <p:nvGrpSpPr>
            <p:cNvPr id="298" name="Group 297">
              <a:extLst>
                <a:ext uri="{FF2B5EF4-FFF2-40B4-BE49-F238E27FC236}">
                  <a16:creationId xmlns:a16="http://schemas.microsoft.com/office/drawing/2014/main" id="{85245B84-9FA3-491B-ADE3-04D10CEE65B7}"/>
                </a:ext>
              </a:extLst>
            </p:cNvPr>
            <p:cNvGrpSpPr/>
            <p:nvPr/>
          </p:nvGrpSpPr>
          <p:grpSpPr>
            <a:xfrm>
              <a:off x="6777969" y="4617541"/>
              <a:ext cx="507144" cy="507144"/>
              <a:chOff x="4367509" y="4820305"/>
              <a:chExt cx="527686" cy="527686"/>
            </a:xfrm>
          </p:grpSpPr>
          <p:sp useBgFill="1">
            <p:nvSpPr>
              <p:cNvPr id="299" name="Oval 298">
                <a:extLst>
                  <a:ext uri="{FF2B5EF4-FFF2-40B4-BE49-F238E27FC236}">
                    <a16:creationId xmlns:a16="http://schemas.microsoft.com/office/drawing/2014/main" id="{15B37736-5099-4DE2-B1F6-D999F6C2042C}"/>
                  </a:ext>
                </a:extLst>
              </p:cNvPr>
              <p:cNvSpPr/>
              <p:nvPr/>
            </p:nvSpPr>
            <p:spPr bwMode="auto">
              <a:xfrm rot="2700000">
                <a:off x="4367509" y="4820305"/>
                <a:ext cx="527686" cy="527686"/>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00" name="Group 4">
                <a:extLst>
                  <a:ext uri="{FF2B5EF4-FFF2-40B4-BE49-F238E27FC236}">
                    <a16:creationId xmlns:a16="http://schemas.microsoft.com/office/drawing/2014/main" id="{CF220C0D-785B-49F2-A32F-51EB8575A40E}"/>
                  </a:ext>
                </a:extLst>
              </p:cNvPr>
              <p:cNvGrpSpPr>
                <a:grpSpLocks noChangeAspect="1"/>
              </p:cNvGrpSpPr>
              <p:nvPr/>
            </p:nvGrpSpPr>
            <p:grpSpPr bwMode="auto">
              <a:xfrm>
                <a:off x="4493886" y="4948927"/>
                <a:ext cx="274932" cy="270442"/>
                <a:chOff x="3794" y="2083"/>
                <a:chExt cx="245" cy="241"/>
              </a:xfrm>
            </p:grpSpPr>
            <p:sp>
              <p:nvSpPr>
                <p:cNvPr id="301" name="Rectangle 300">
                  <a:extLst>
                    <a:ext uri="{FF2B5EF4-FFF2-40B4-BE49-F238E27FC236}">
                      <a16:creationId xmlns:a16="http://schemas.microsoft.com/office/drawing/2014/main" id="{2E2EE3D4-F5D5-4982-AE52-BB8A674A0AD6}"/>
                    </a:ext>
                  </a:extLst>
                </p:cNvPr>
                <p:cNvSpPr>
                  <a:spLocks noChangeArrowheads="1"/>
                </p:cNvSpPr>
                <p:nvPr/>
              </p:nvSpPr>
              <p:spPr bwMode="auto">
                <a:xfrm>
                  <a:off x="3794" y="2083"/>
                  <a:ext cx="245" cy="138"/>
                </a:xfrm>
                <a:prstGeom prst="rect">
                  <a:avLst/>
                </a:pr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1729">
                    <a:solidFill>
                      <a:srgbClr val="505050"/>
                    </a:solidFill>
                    <a:latin typeface="Segoe UI Semilight"/>
                  </a:endParaRPr>
                </a:p>
              </p:txBody>
            </p:sp>
            <p:sp>
              <p:nvSpPr>
                <p:cNvPr id="302" name="Freeform 6">
                  <a:extLst>
                    <a:ext uri="{FF2B5EF4-FFF2-40B4-BE49-F238E27FC236}">
                      <a16:creationId xmlns:a16="http://schemas.microsoft.com/office/drawing/2014/main" id="{11641495-F1A4-4466-9EC2-EF48463DB45F}"/>
                    </a:ext>
                  </a:extLst>
                </p:cNvPr>
                <p:cNvSpPr>
                  <a:spLocks/>
                </p:cNvSpPr>
                <p:nvPr/>
              </p:nvSpPr>
              <p:spPr bwMode="auto">
                <a:xfrm>
                  <a:off x="3801" y="2287"/>
                  <a:ext cx="231" cy="37"/>
                </a:xfrm>
                <a:custGeom>
                  <a:avLst/>
                  <a:gdLst>
                    <a:gd name="T0" fmla="*/ 26 w 231"/>
                    <a:gd name="T1" fmla="*/ 0 h 37"/>
                    <a:gd name="T2" fmla="*/ 205 w 231"/>
                    <a:gd name="T3" fmla="*/ 0 h 37"/>
                    <a:gd name="T4" fmla="*/ 231 w 231"/>
                    <a:gd name="T5" fmla="*/ 37 h 37"/>
                    <a:gd name="T6" fmla="*/ 0 w 231"/>
                    <a:gd name="T7" fmla="*/ 37 h 37"/>
                    <a:gd name="T8" fmla="*/ 26 w 231"/>
                    <a:gd name="T9" fmla="*/ 0 h 37"/>
                  </a:gdLst>
                  <a:ahLst/>
                  <a:cxnLst>
                    <a:cxn ang="0">
                      <a:pos x="T0" y="T1"/>
                    </a:cxn>
                    <a:cxn ang="0">
                      <a:pos x="T2" y="T3"/>
                    </a:cxn>
                    <a:cxn ang="0">
                      <a:pos x="T4" y="T5"/>
                    </a:cxn>
                    <a:cxn ang="0">
                      <a:pos x="T6" y="T7"/>
                    </a:cxn>
                    <a:cxn ang="0">
                      <a:pos x="T8" y="T9"/>
                    </a:cxn>
                  </a:cxnLst>
                  <a:rect l="0" t="0" r="r" b="b"/>
                  <a:pathLst>
                    <a:path w="231" h="37">
                      <a:moveTo>
                        <a:pt x="26" y="0"/>
                      </a:moveTo>
                      <a:lnTo>
                        <a:pt x="205" y="0"/>
                      </a:lnTo>
                      <a:lnTo>
                        <a:pt x="231" y="37"/>
                      </a:lnTo>
                      <a:lnTo>
                        <a:pt x="0" y="37"/>
                      </a:lnTo>
                      <a:lnTo>
                        <a:pt x="26" y="0"/>
                      </a:lnTo>
                      <a:close/>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1729">
                    <a:solidFill>
                      <a:srgbClr val="505050"/>
                    </a:solidFill>
                    <a:latin typeface="Segoe UI Semilight"/>
                  </a:endParaRPr>
                </a:p>
              </p:txBody>
            </p:sp>
            <p:sp>
              <p:nvSpPr>
                <p:cNvPr id="303" name="Line 7">
                  <a:extLst>
                    <a:ext uri="{FF2B5EF4-FFF2-40B4-BE49-F238E27FC236}">
                      <a16:creationId xmlns:a16="http://schemas.microsoft.com/office/drawing/2014/main" id="{3D72546C-8467-4752-9DC0-0F9BAA7A573B}"/>
                    </a:ext>
                  </a:extLst>
                </p:cNvPr>
                <p:cNvSpPr>
                  <a:spLocks noChangeShapeType="1"/>
                </p:cNvSpPr>
                <p:nvPr/>
              </p:nvSpPr>
              <p:spPr bwMode="auto">
                <a:xfrm>
                  <a:off x="3917" y="2221"/>
                  <a:ext cx="0" cy="36"/>
                </a:xfrm>
                <a:prstGeom prst="line">
                  <a:avLst/>
                </a:pr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1729">
                    <a:solidFill>
                      <a:srgbClr val="505050"/>
                    </a:solidFill>
                    <a:latin typeface="Segoe UI Semilight"/>
                  </a:endParaRPr>
                </a:p>
              </p:txBody>
            </p:sp>
            <p:sp>
              <p:nvSpPr>
                <p:cNvPr id="304" name="Line 8">
                  <a:extLst>
                    <a:ext uri="{FF2B5EF4-FFF2-40B4-BE49-F238E27FC236}">
                      <a16:creationId xmlns:a16="http://schemas.microsoft.com/office/drawing/2014/main" id="{E02BBD49-B4A7-47A0-BBF4-818BDF5701BC}"/>
                    </a:ext>
                  </a:extLst>
                </p:cNvPr>
                <p:cNvSpPr>
                  <a:spLocks noChangeShapeType="1"/>
                </p:cNvSpPr>
                <p:nvPr/>
              </p:nvSpPr>
              <p:spPr bwMode="auto">
                <a:xfrm>
                  <a:off x="3873" y="2255"/>
                  <a:ext cx="86" cy="0"/>
                </a:xfrm>
                <a:prstGeom prst="line">
                  <a:avLst/>
                </a:pr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1729">
                    <a:solidFill>
                      <a:srgbClr val="505050"/>
                    </a:solidFill>
                    <a:latin typeface="Segoe UI Semilight"/>
                  </a:endParaRPr>
                </a:p>
              </p:txBody>
            </p:sp>
          </p:grpSp>
        </p:grpSp>
        <p:grpSp>
          <p:nvGrpSpPr>
            <p:cNvPr id="305" name="Group 304">
              <a:extLst>
                <a:ext uri="{FF2B5EF4-FFF2-40B4-BE49-F238E27FC236}">
                  <a16:creationId xmlns:a16="http://schemas.microsoft.com/office/drawing/2014/main" id="{60DDB346-F13D-494D-B7BC-5C387FF765A6}"/>
                </a:ext>
              </a:extLst>
            </p:cNvPr>
            <p:cNvGrpSpPr/>
            <p:nvPr/>
          </p:nvGrpSpPr>
          <p:grpSpPr>
            <a:xfrm>
              <a:off x="10288452" y="2249691"/>
              <a:ext cx="507144" cy="507144"/>
              <a:chOff x="8020188" y="2356542"/>
              <a:chExt cx="527686" cy="527686"/>
            </a:xfrm>
          </p:grpSpPr>
          <p:sp useBgFill="1">
            <p:nvSpPr>
              <p:cNvPr id="306" name="Oval 305">
                <a:extLst>
                  <a:ext uri="{FF2B5EF4-FFF2-40B4-BE49-F238E27FC236}">
                    <a16:creationId xmlns:a16="http://schemas.microsoft.com/office/drawing/2014/main" id="{08FFACF2-A9CB-4057-9605-4EF0EAB3EE5F}"/>
                  </a:ext>
                </a:extLst>
              </p:cNvPr>
              <p:cNvSpPr/>
              <p:nvPr/>
            </p:nvSpPr>
            <p:spPr bwMode="auto">
              <a:xfrm rot="4020000">
                <a:off x="8020188" y="2356542"/>
                <a:ext cx="527686" cy="527686"/>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07" name="Freeform 5">
                <a:extLst>
                  <a:ext uri="{FF2B5EF4-FFF2-40B4-BE49-F238E27FC236}">
                    <a16:creationId xmlns:a16="http://schemas.microsoft.com/office/drawing/2014/main" id="{F3726604-DE9D-48F2-BB5C-F8234C3A5D01}"/>
                  </a:ext>
                </a:extLst>
              </p:cNvPr>
              <p:cNvSpPr>
                <a:spLocks noEditPoints="1"/>
              </p:cNvSpPr>
              <p:nvPr/>
            </p:nvSpPr>
            <p:spPr bwMode="auto">
              <a:xfrm>
                <a:off x="8162249" y="2463220"/>
                <a:ext cx="243564" cy="314330"/>
              </a:xfrm>
              <a:custGeom>
                <a:avLst/>
                <a:gdLst>
                  <a:gd name="T0" fmla="*/ 1750 w 3000"/>
                  <a:gd name="T1" fmla="*/ 250 h 3875"/>
                  <a:gd name="T2" fmla="*/ 1500 w 3000"/>
                  <a:gd name="T3" fmla="*/ 500 h 3875"/>
                  <a:gd name="T4" fmla="*/ 1250 w 3000"/>
                  <a:gd name="T5" fmla="*/ 250 h 3875"/>
                  <a:gd name="T6" fmla="*/ 1500 w 3000"/>
                  <a:gd name="T7" fmla="*/ 0 h 3875"/>
                  <a:gd name="T8" fmla="*/ 1750 w 3000"/>
                  <a:gd name="T9" fmla="*/ 250 h 3875"/>
                  <a:gd name="T10" fmla="*/ 2500 w 3000"/>
                  <a:gd name="T11" fmla="*/ 2074 h 3875"/>
                  <a:gd name="T12" fmla="*/ 2500 w 3000"/>
                  <a:gd name="T13" fmla="*/ 1176 h 3875"/>
                  <a:gd name="T14" fmla="*/ 2324 w 3000"/>
                  <a:gd name="T15" fmla="*/ 1000 h 3875"/>
                  <a:gd name="T16" fmla="*/ 676 w 3000"/>
                  <a:gd name="T17" fmla="*/ 1000 h 3875"/>
                  <a:gd name="T18" fmla="*/ 500 w 3000"/>
                  <a:gd name="T19" fmla="*/ 1176 h 3875"/>
                  <a:gd name="T20" fmla="*/ 500 w 3000"/>
                  <a:gd name="T21" fmla="*/ 2074 h 3875"/>
                  <a:gd name="T22" fmla="*/ 676 w 3000"/>
                  <a:gd name="T23" fmla="*/ 2250 h 3875"/>
                  <a:gd name="T24" fmla="*/ 2324 w 3000"/>
                  <a:gd name="T25" fmla="*/ 2250 h 3875"/>
                  <a:gd name="T26" fmla="*/ 2500 w 3000"/>
                  <a:gd name="T27" fmla="*/ 2074 h 3875"/>
                  <a:gd name="T28" fmla="*/ 3000 w 3000"/>
                  <a:gd name="T29" fmla="*/ 3875 h 3875"/>
                  <a:gd name="T30" fmla="*/ 3000 w 3000"/>
                  <a:gd name="T31" fmla="*/ 2958 h 3875"/>
                  <a:gd name="T32" fmla="*/ 2792 w 3000"/>
                  <a:gd name="T33" fmla="*/ 2750 h 3875"/>
                  <a:gd name="T34" fmla="*/ 208 w 3000"/>
                  <a:gd name="T35" fmla="*/ 2750 h 3875"/>
                  <a:gd name="T36" fmla="*/ 0 w 3000"/>
                  <a:gd name="T37" fmla="*/ 2958 h 3875"/>
                  <a:gd name="T38" fmla="*/ 0 w 3000"/>
                  <a:gd name="T39" fmla="*/ 3875 h 3875"/>
                  <a:gd name="T40" fmla="*/ 1000 w 3000"/>
                  <a:gd name="T41" fmla="*/ 2250 h 3875"/>
                  <a:gd name="T42" fmla="*/ 1000 w 3000"/>
                  <a:gd name="T43" fmla="*/ 2750 h 3875"/>
                  <a:gd name="T44" fmla="*/ 1500 w 3000"/>
                  <a:gd name="T45" fmla="*/ 500 h 3875"/>
                  <a:gd name="T46" fmla="*/ 1500 w 3000"/>
                  <a:gd name="T47" fmla="*/ 1000 h 3875"/>
                  <a:gd name="T48" fmla="*/ 2000 w 3000"/>
                  <a:gd name="T49" fmla="*/ 2250 h 3875"/>
                  <a:gd name="T50" fmla="*/ 2000 w 3000"/>
                  <a:gd name="T51" fmla="*/ 2750 h 3875"/>
                  <a:gd name="T52" fmla="*/ 875 w 3000"/>
                  <a:gd name="T53" fmla="*/ 1500 h 3875"/>
                  <a:gd name="T54" fmla="*/ 1125 w 3000"/>
                  <a:gd name="T55" fmla="*/ 1500 h 3875"/>
                  <a:gd name="T56" fmla="*/ 1875 w 3000"/>
                  <a:gd name="T57" fmla="*/ 1500 h 3875"/>
                  <a:gd name="T58" fmla="*/ 2125 w 3000"/>
                  <a:gd name="T59" fmla="*/ 1500 h 3875"/>
                  <a:gd name="T60" fmla="*/ 381 w 3000"/>
                  <a:gd name="T61" fmla="*/ 1375 h 3875"/>
                  <a:gd name="T62" fmla="*/ 381 w 3000"/>
                  <a:gd name="T63" fmla="*/ 1875 h 3875"/>
                  <a:gd name="T64" fmla="*/ 2624 w 3000"/>
                  <a:gd name="T65" fmla="*/ 1375 h 3875"/>
                  <a:gd name="T66" fmla="*/ 2624 w 3000"/>
                  <a:gd name="T67" fmla="*/ 1875 h 3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0" h="3875">
                    <a:moveTo>
                      <a:pt x="1750" y="250"/>
                    </a:moveTo>
                    <a:cubicBezTo>
                      <a:pt x="1750" y="388"/>
                      <a:pt x="1638" y="500"/>
                      <a:pt x="1500" y="500"/>
                    </a:cubicBezTo>
                    <a:cubicBezTo>
                      <a:pt x="1362" y="500"/>
                      <a:pt x="1250" y="388"/>
                      <a:pt x="1250" y="250"/>
                    </a:cubicBezTo>
                    <a:cubicBezTo>
                      <a:pt x="1250" y="112"/>
                      <a:pt x="1362" y="0"/>
                      <a:pt x="1500" y="0"/>
                    </a:cubicBezTo>
                    <a:cubicBezTo>
                      <a:pt x="1638" y="0"/>
                      <a:pt x="1750" y="112"/>
                      <a:pt x="1750" y="250"/>
                    </a:cubicBezTo>
                    <a:close/>
                    <a:moveTo>
                      <a:pt x="2500" y="2074"/>
                    </a:moveTo>
                    <a:cubicBezTo>
                      <a:pt x="2500" y="1176"/>
                      <a:pt x="2500" y="1176"/>
                      <a:pt x="2500" y="1176"/>
                    </a:cubicBezTo>
                    <a:cubicBezTo>
                      <a:pt x="2500" y="1079"/>
                      <a:pt x="2421" y="1000"/>
                      <a:pt x="2324" y="1000"/>
                    </a:cubicBezTo>
                    <a:cubicBezTo>
                      <a:pt x="676" y="1000"/>
                      <a:pt x="676" y="1000"/>
                      <a:pt x="676" y="1000"/>
                    </a:cubicBezTo>
                    <a:cubicBezTo>
                      <a:pt x="579" y="1000"/>
                      <a:pt x="500" y="1079"/>
                      <a:pt x="500" y="1176"/>
                    </a:cubicBezTo>
                    <a:cubicBezTo>
                      <a:pt x="500" y="2074"/>
                      <a:pt x="500" y="2074"/>
                      <a:pt x="500" y="2074"/>
                    </a:cubicBezTo>
                    <a:cubicBezTo>
                      <a:pt x="500" y="2171"/>
                      <a:pt x="579" y="2250"/>
                      <a:pt x="676" y="2250"/>
                    </a:cubicBezTo>
                    <a:cubicBezTo>
                      <a:pt x="2324" y="2250"/>
                      <a:pt x="2324" y="2250"/>
                      <a:pt x="2324" y="2250"/>
                    </a:cubicBezTo>
                    <a:cubicBezTo>
                      <a:pt x="2421" y="2250"/>
                      <a:pt x="2500" y="2171"/>
                      <a:pt x="2500" y="2074"/>
                    </a:cubicBezTo>
                    <a:close/>
                    <a:moveTo>
                      <a:pt x="3000" y="3875"/>
                    </a:moveTo>
                    <a:cubicBezTo>
                      <a:pt x="3000" y="2958"/>
                      <a:pt x="3000" y="2958"/>
                      <a:pt x="3000" y="2958"/>
                    </a:cubicBezTo>
                    <a:cubicBezTo>
                      <a:pt x="3000" y="2843"/>
                      <a:pt x="2907" y="2750"/>
                      <a:pt x="2792" y="2750"/>
                    </a:cubicBezTo>
                    <a:cubicBezTo>
                      <a:pt x="208" y="2750"/>
                      <a:pt x="208" y="2750"/>
                      <a:pt x="208" y="2750"/>
                    </a:cubicBezTo>
                    <a:cubicBezTo>
                      <a:pt x="93" y="2750"/>
                      <a:pt x="0" y="2843"/>
                      <a:pt x="0" y="2958"/>
                    </a:cubicBezTo>
                    <a:cubicBezTo>
                      <a:pt x="0" y="3875"/>
                      <a:pt x="0" y="3875"/>
                      <a:pt x="0" y="3875"/>
                    </a:cubicBezTo>
                    <a:moveTo>
                      <a:pt x="1000" y="2250"/>
                    </a:moveTo>
                    <a:cubicBezTo>
                      <a:pt x="1000" y="2750"/>
                      <a:pt x="1000" y="2750"/>
                      <a:pt x="1000" y="2750"/>
                    </a:cubicBezTo>
                    <a:moveTo>
                      <a:pt x="1500" y="500"/>
                    </a:moveTo>
                    <a:cubicBezTo>
                      <a:pt x="1500" y="1000"/>
                      <a:pt x="1500" y="1000"/>
                      <a:pt x="1500" y="1000"/>
                    </a:cubicBezTo>
                    <a:moveTo>
                      <a:pt x="2000" y="2250"/>
                    </a:moveTo>
                    <a:cubicBezTo>
                      <a:pt x="2000" y="2750"/>
                      <a:pt x="2000" y="2750"/>
                      <a:pt x="2000" y="2750"/>
                    </a:cubicBezTo>
                    <a:moveTo>
                      <a:pt x="875" y="1500"/>
                    </a:moveTo>
                    <a:cubicBezTo>
                      <a:pt x="1125" y="1500"/>
                      <a:pt x="1125" y="1500"/>
                      <a:pt x="1125" y="1500"/>
                    </a:cubicBezTo>
                    <a:moveTo>
                      <a:pt x="1875" y="1500"/>
                    </a:moveTo>
                    <a:cubicBezTo>
                      <a:pt x="2125" y="1500"/>
                      <a:pt x="2125" y="1500"/>
                      <a:pt x="2125" y="1500"/>
                    </a:cubicBezTo>
                    <a:moveTo>
                      <a:pt x="381" y="1375"/>
                    </a:moveTo>
                    <a:cubicBezTo>
                      <a:pt x="381" y="1875"/>
                      <a:pt x="381" y="1875"/>
                      <a:pt x="381" y="1875"/>
                    </a:cubicBezTo>
                    <a:moveTo>
                      <a:pt x="2624" y="1375"/>
                    </a:moveTo>
                    <a:cubicBezTo>
                      <a:pt x="2624" y="1875"/>
                      <a:pt x="2624" y="1875"/>
                      <a:pt x="2624" y="187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865">
                  <a:gradFill>
                    <a:gsLst>
                      <a:gs pos="0">
                        <a:srgbClr val="505050"/>
                      </a:gs>
                      <a:gs pos="100000">
                        <a:srgbClr val="505050"/>
                      </a:gs>
                    </a:gsLst>
                    <a:lin ang="5400000" scaled="1"/>
                  </a:gradFill>
                  <a:latin typeface="Segoe UI Semilight"/>
                </a:endParaRPr>
              </a:p>
            </p:txBody>
          </p:sp>
        </p:grpSp>
        <p:grpSp>
          <p:nvGrpSpPr>
            <p:cNvPr id="308" name="Group 307">
              <a:extLst>
                <a:ext uri="{FF2B5EF4-FFF2-40B4-BE49-F238E27FC236}">
                  <a16:creationId xmlns:a16="http://schemas.microsoft.com/office/drawing/2014/main" id="{B526BC2E-5D53-4558-896A-4266EC06BCAF}"/>
                </a:ext>
              </a:extLst>
            </p:cNvPr>
            <p:cNvGrpSpPr/>
            <p:nvPr/>
          </p:nvGrpSpPr>
          <p:grpSpPr>
            <a:xfrm>
              <a:off x="9111041" y="5092210"/>
              <a:ext cx="507144" cy="507144"/>
              <a:chOff x="6795084" y="5314201"/>
              <a:chExt cx="527686" cy="527686"/>
            </a:xfrm>
          </p:grpSpPr>
          <p:sp useBgFill="1">
            <p:nvSpPr>
              <p:cNvPr id="309" name="Oval 308">
                <a:extLst>
                  <a:ext uri="{FF2B5EF4-FFF2-40B4-BE49-F238E27FC236}">
                    <a16:creationId xmlns:a16="http://schemas.microsoft.com/office/drawing/2014/main" id="{97EAC8A3-F559-4790-94CE-6EDE7812FD3F}"/>
                  </a:ext>
                </a:extLst>
              </p:cNvPr>
              <p:cNvSpPr/>
              <p:nvPr/>
            </p:nvSpPr>
            <p:spPr bwMode="auto">
              <a:xfrm rot="20280000" flipH="1">
                <a:off x="6795084" y="5314201"/>
                <a:ext cx="527686" cy="527686"/>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10" name="Group 8">
                <a:extLst>
                  <a:ext uri="{FF2B5EF4-FFF2-40B4-BE49-F238E27FC236}">
                    <a16:creationId xmlns:a16="http://schemas.microsoft.com/office/drawing/2014/main" id="{664CBD42-2CFC-4542-8D12-7E24AA51DAA7}"/>
                  </a:ext>
                </a:extLst>
              </p:cNvPr>
              <p:cNvGrpSpPr>
                <a:grpSpLocks noChangeAspect="1"/>
              </p:cNvGrpSpPr>
              <p:nvPr/>
            </p:nvGrpSpPr>
            <p:grpSpPr bwMode="auto">
              <a:xfrm>
                <a:off x="6879509" y="5432267"/>
                <a:ext cx="358836" cy="291554"/>
                <a:chOff x="5458" y="3157"/>
                <a:chExt cx="304" cy="247"/>
              </a:xfrm>
            </p:grpSpPr>
            <p:sp>
              <p:nvSpPr>
                <p:cNvPr id="311" name="Freeform 9">
                  <a:extLst>
                    <a:ext uri="{FF2B5EF4-FFF2-40B4-BE49-F238E27FC236}">
                      <a16:creationId xmlns:a16="http://schemas.microsoft.com/office/drawing/2014/main" id="{006CCD31-AAE6-420A-8E6E-844A0800DB2D}"/>
                    </a:ext>
                  </a:extLst>
                </p:cNvPr>
                <p:cNvSpPr>
                  <a:spLocks noEditPoints="1"/>
                </p:cNvSpPr>
                <p:nvPr/>
              </p:nvSpPr>
              <p:spPr bwMode="auto">
                <a:xfrm>
                  <a:off x="5521" y="3157"/>
                  <a:ext cx="241" cy="247"/>
                </a:xfrm>
                <a:custGeom>
                  <a:avLst/>
                  <a:gdLst>
                    <a:gd name="T0" fmla="*/ 35 w 334"/>
                    <a:gd name="T1" fmla="*/ 160 h 341"/>
                    <a:gd name="T2" fmla="*/ 35 w 334"/>
                    <a:gd name="T3" fmla="*/ 61 h 341"/>
                    <a:gd name="T4" fmla="*/ 60 w 334"/>
                    <a:gd name="T5" fmla="*/ 36 h 341"/>
                    <a:gd name="T6" fmla="*/ 266 w 334"/>
                    <a:gd name="T7" fmla="*/ 36 h 341"/>
                    <a:gd name="T8" fmla="*/ 291 w 334"/>
                    <a:gd name="T9" fmla="*/ 61 h 341"/>
                    <a:gd name="T10" fmla="*/ 291 w 334"/>
                    <a:gd name="T11" fmla="*/ 273 h 341"/>
                    <a:gd name="T12" fmla="*/ 266 w 334"/>
                    <a:gd name="T13" fmla="*/ 298 h 341"/>
                    <a:gd name="T14" fmla="*/ 266 w 334"/>
                    <a:gd name="T15" fmla="*/ 298 h 341"/>
                    <a:gd name="T16" fmla="*/ 84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5 w 334"/>
                    <a:gd name="T35" fmla="*/ 0 h 341"/>
                    <a:gd name="T36" fmla="*/ 255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5 w 334"/>
                    <a:gd name="T59" fmla="*/ 78 h 341"/>
                    <a:gd name="T60" fmla="*/ 0 w 334"/>
                    <a:gd name="T61" fmla="*/ 78 h 341"/>
                    <a:gd name="T62" fmla="*/ 35 w 334"/>
                    <a:gd name="T63" fmla="*/ 121 h 341"/>
                    <a:gd name="T64" fmla="*/ 0 w 334"/>
                    <a:gd name="T65" fmla="*/ 121 h 341"/>
                    <a:gd name="T66" fmla="*/ 35 w 334"/>
                    <a:gd name="T67" fmla="*/ 163 h 341"/>
                    <a:gd name="T68" fmla="*/ 0 w 334"/>
                    <a:gd name="T69" fmla="*/ 163 h 341"/>
                    <a:gd name="T70" fmla="*/ 121 w 334"/>
                    <a:gd name="T71" fmla="*/ 298 h 341"/>
                    <a:gd name="T72" fmla="*/ 121 w 334"/>
                    <a:gd name="T73" fmla="*/ 341 h 341"/>
                    <a:gd name="T74" fmla="*/ 163 w 334"/>
                    <a:gd name="T75" fmla="*/ 341 h 341"/>
                    <a:gd name="T76" fmla="*/ 163 w 334"/>
                    <a:gd name="T77" fmla="*/ 298 h 341"/>
                    <a:gd name="T78" fmla="*/ 206 w 334"/>
                    <a:gd name="T79" fmla="*/ 298 h 341"/>
                    <a:gd name="T80" fmla="*/ 206 w 334"/>
                    <a:gd name="T81" fmla="*/ 341 h 341"/>
                    <a:gd name="T82" fmla="*/ 255 w 334"/>
                    <a:gd name="T83" fmla="*/ 298 h 341"/>
                    <a:gd name="T84" fmla="*/ 255 w 334"/>
                    <a:gd name="T85"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4" h="341">
                      <a:moveTo>
                        <a:pt x="35" y="160"/>
                      </a:moveTo>
                      <a:cubicBezTo>
                        <a:pt x="35" y="65"/>
                        <a:pt x="35" y="61"/>
                        <a:pt x="35" y="61"/>
                      </a:cubicBezTo>
                      <a:cubicBezTo>
                        <a:pt x="35" y="45"/>
                        <a:pt x="48" y="36"/>
                        <a:pt x="60" y="36"/>
                      </a:cubicBezTo>
                      <a:cubicBezTo>
                        <a:pt x="266" y="36"/>
                        <a:pt x="266" y="36"/>
                        <a:pt x="266" y="36"/>
                      </a:cubicBezTo>
                      <a:cubicBezTo>
                        <a:pt x="282" y="36"/>
                        <a:pt x="291" y="45"/>
                        <a:pt x="291" y="61"/>
                      </a:cubicBezTo>
                      <a:cubicBezTo>
                        <a:pt x="291" y="273"/>
                        <a:pt x="291" y="273"/>
                        <a:pt x="291" y="273"/>
                      </a:cubicBezTo>
                      <a:cubicBezTo>
                        <a:pt x="291" y="286"/>
                        <a:pt x="282" y="298"/>
                        <a:pt x="266" y="298"/>
                      </a:cubicBezTo>
                      <a:cubicBezTo>
                        <a:pt x="266" y="298"/>
                        <a:pt x="266" y="298"/>
                        <a:pt x="266" y="298"/>
                      </a:cubicBezTo>
                      <a:cubicBezTo>
                        <a:pt x="161" y="298"/>
                        <a:pt x="110" y="298"/>
                        <a:pt x="84" y="298"/>
                      </a:cubicBezTo>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5" y="0"/>
                      </a:moveTo>
                      <a:cubicBezTo>
                        <a:pt x="255" y="36"/>
                        <a:pt x="255" y="36"/>
                        <a:pt x="255"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5" y="78"/>
                      </a:moveTo>
                      <a:cubicBezTo>
                        <a:pt x="0" y="78"/>
                        <a:pt x="0" y="78"/>
                        <a:pt x="0" y="78"/>
                      </a:cubicBezTo>
                      <a:moveTo>
                        <a:pt x="35" y="121"/>
                      </a:moveTo>
                      <a:cubicBezTo>
                        <a:pt x="0" y="121"/>
                        <a:pt x="0" y="121"/>
                        <a:pt x="0" y="121"/>
                      </a:cubicBezTo>
                      <a:moveTo>
                        <a:pt x="35" y="163"/>
                      </a:moveTo>
                      <a:cubicBezTo>
                        <a:pt x="0" y="163"/>
                        <a:pt x="0" y="163"/>
                        <a:pt x="0" y="163"/>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5" y="298"/>
                      </a:moveTo>
                      <a:cubicBezTo>
                        <a:pt x="255" y="341"/>
                        <a:pt x="255" y="341"/>
                        <a:pt x="255" y="341"/>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865">
                    <a:gradFill>
                      <a:gsLst>
                        <a:gs pos="0">
                          <a:srgbClr val="505050"/>
                        </a:gs>
                        <a:gs pos="100000">
                          <a:srgbClr val="505050"/>
                        </a:gs>
                      </a:gsLst>
                      <a:lin ang="5400000" scaled="1"/>
                    </a:gradFill>
                    <a:latin typeface="Segoe UI Semilight"/>
                  </a:endParaRPr>
                </a:p>
              </p:txBody>
            </p:sp>
            <p:sp>
              <p:nvSpPr>
                <p:cNvPr id="312" name="Freeform 10">
                  <a:extLst>
                    <a:ext uri="{FF2B5EF4-FFF2-40B4-BE49-F238E27FC236}">
                      <a16:creationId xmlns:a16="http://schemas.microsoft.com/office/drawing/2014/main" id="{A2358446-BCEF-4CAC-B429-486B076C2B1D}"/>
                    </a:ext>
                  </a:extLst>
                </p:cNvPr>
                <p:cNvSpPr>
                  <a:spLocks noEditPoints="1"/>
                </p:cNvSpPr>
                <p:nvPr/>
              </p:nvSpPr>
              <p:spPr bwMode="auto">
                <a:xfrm>
                  <a:off x="5458" y="3262"/>
                  <a:ext cx="138" cy="141"/>
                </a:xfrm>
                <a:custGeom>
                  <a:avLst/>
                  <a:gdLst>
                    <a:gd name="T0" fmla="*/ 153 w 191"/>
                    <a:gd name="T1" fmla="*/ 171 h 195"/>
                    <a:gd name="T2" fmla="*/ 35 w 191"/>
                    <a:gd name="T3" fmla="*/ 171 h 195"/>
                    <a:gd name="T4" fmla="*/ 21 w 191"/>
                    <a:gd name="T5" fmla="*/ 156 h 195"/>
                    <a:gd name="T6" fmla="*/ 21 w 191"/>
                    <a:gd name="T7" fmla="*/ 35 h 195"/>
                    <a:gd name="T8" fmla="*/ 35 w 191"/>
                    <a:gd name="T9" fmla="*/ 20 h 195"/>
                    <a:gd name="T10" fmla="*/ 153 w 191"/>
                    <a:gd name="T11" fmla="*/ 20 h 195"/>
                    <a:gd name="T12" fmla="*/ 167 w 191"/>
                    <a:gd name="T13" fmla="*/ 35 h 195"/>
                    <a:gd name="T14" fmla="*/ 167 w 191"/>
                    <a:gd name="T15" fmla="*/ 156 h 195"/>
                    <a:gd name="T16" fmla="*/ 153 w 191"/>
                    <a:gd name="T17" fmla="*/ 171 h 195"/>
                    <a:gd name="T18" fmla="*/ 45 w 191"/>
                    <a:gd name="T19" fmla="*/ 20 h 195"/>
                    <a:gd name="T20" fmla="*/ 45 w 191"/>
                    <a:gd name="T21" fmla="*/ 0 h 195"/>
                    <a:gd name="T22" fmla="*/ 69 w 191"/>
                    <a:gd name="T23" fmla="*/ 20 h 195"/>
                    <a:gd name="T24" fmla="*/ 69 w 191"/>
                    <a:gd name="T25" fmla="*/ 0 h 195"/>
                    <a:gd name="T26" fmla="*/ 94 w 191"/>
                    <a:gd name="T27" fmla="*/ 0 h 195"/>
                    <a:gd name="T28" fmla="*/ 94 w 191"/>
                    <a:gd name="T29" fmla="*/ 20 h 195"/>
                    <a:gd name="T30" fmla="*/ 118 w 191"/>
                    <a:gd name="T31" fmla="*/ 0 h 195"/>
                    <a:gd name="T32" fmla="*/ 118 w 191"/>
                    <a:gd name="T33" fmla="*/ 20 h 195"/>
                    <a:gd name="T34" fmla="*/ 146 w 191"/>
                    <a:gd name="T35" fmla="*/ 0 h 195"/>
                    <a:gd name="T36" fmla="*/ 146 w 191"/>
                    <a:gd name="T37" fmla="*/ 20 h 195"/>
                    <a:gd name="T38" fmla="*/ 191 w 191"/>
                    <a:gd name="T39" fmla="*/ 45 h 195"/>
                    <a:gd name="T40" fmla="*/ 167 w 191"/>
                    <a:gd name="T41" fmla="*/ 45 h 195"/>
                    <a:gd name="T42" fmla="*/ 191 w 191"/>
                    <a:gd name="T43" fmla="*/ 69 h 195"/>
                    <a:gd name="T44" fmla="*/ 167 w 191"/>
                    <a:gd name="T45" fmla="*/ 69 h 195"/>
                    <a:gd name="T46" fmla="*/ 191 w 191"/>
                    <a:gd name="T47" fmla="*/ 93 h 195"/>
                    <a:gd name="T48" fmla="*/ 167 w 191"/>
                    <a:gd name="T49" fmla="*/ 93 h 195"/>
                    <a:gd name="T50" fmla="*/ 191 w 191"/>
                    <a:gd name="T51" fmla="*/ 122 h 195"/>
                    <a:gd name="T52" fmla="*/ 167 w 191"/>
                    <a:gd name="T53" fmla="*/ 122 h 195"/>
                    <a:gd name="T54" fmla="*/ 191 w 191"/>
                    <a:gd name="T55" fmla="*/ 146 h 195"/>
                    <a:gd name="T56" fmla="*/ 167 w 191"/>
                    <a:gd name="T57" fmla="*/ 146 h 195"/>
                    <a:gd name="T58" fmla="*/ 21 w 191"/>
                    <a:gd name="T59" fmla="*/ 45 h 195"/>
                    <a:gd name="T60" fmla="*/ 0 w 191"/>
                    <a:gd name="T61" fmla="*/ 45 h 195"/>
                    <a:gd name="T62" fmla="*/ 21 w 191"/>
                    <a:gd name="T63" fmla="*/ 69 h 195"/>
                    <a:gd name="T64" fmla="*/ 0 w 191"/>
                    <a:gd name="T65" fmla="*/ 69 h 195"/>
                    <a:gd name="T66" fmla="*/ 21 w 191"/>
                    <a:gd name="T67" fmla="*/ 93 h 195"/>
                    <a:gd name="T68" fmla="*/ 0 w 191"/>
                    <a:gd name="T69" fmla="*/ 93 h 195"/>
                    <a:gd name="T70" fmla="*/ 21 w 191"/>
                    <a:gd name="T71" fmla="*/ 122 h 195"/>
                    <a:gd name="T72" fmla="*/ 0 w 191"/>
                    <a:gd name="T73" fmla="*/ 122 h 195"/>
                    <a:gd name="T74" fmla="*/ 21 w 191"/>
                    <a:gd name="T75" fmla="*/ 146 h 195"/>
                    <a:gd name="T76" fmla="*/ 0 w 191"/>
                    <a:gd name="T77" fmla="*/ 146 h 195"/>
                    <a:gd name="T78" fmla="*/ 45 w 191"/>
                    <a:gd name="T79" fmla="*/ 171 h 195"/>
                    <a:gd name="T80" fmla="*/ 45 w 191"/>
                    <a:gd name="T81" fmla="*/ 195 h 195"/>
                    <a:gd name="T82" fmla="*/ 69 w 191"/>
                    <a:gd name="T83" fmla="*/ 171 h 195"/>
                    <a:gd name="T84" fmla="*/ 69 w 191"/>
                    <a:gd name="T85" fmla="*/ 195 h 195"/>
                    <a:gd name="T86" fmla="*/ 94 w 191"/>
                    <a:gd name="T87" fmla="*/ 195 h 195"/>
                    <a:gd name="T88" fmla="*/ 94 w 191"/>
                    <a:gd name="T89" fmla="*/ 171 h 195"/>
                    <a:gd name="T90" fmla="*/ 118 w 191"/>
                    <a:gd name="T91" fmla="*/ 171 h 195"/>
                    <a:gd name="T92" fmla="*/ 118 w 191"/>
                    <a:gd name="T93" fmla="*/ 195 h 195"/>
                    <a:gd name="T94" fmla="*/ 146 w 191"/>
                    <a:gd name="T95" fmla="*/ 171 h 195"/>
                    <a:gd name="T96" fmla="*/ 146 w 191"/>
                    <a:gd name="T97" fmla="*/ 19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1" h="195">
                      <a:moveTo>
                        <a:pt x="153" y="171"/>
                      </a:moveTo>
                      <a:cubicBezTo>
                        <a:pt x="35" y="171"/>
                        <a:pt x="35" y="171"/>
                        <a:pt x="35" y="171"/>
                      </a:cubicBezTo>
                      <a:cubicBezTo>
                        <a:pt x="28" y="171"/>
                        <a:pt x="21" y="163"/>
                        <a:pt x="21" y="156"/>
                      </a:cubicBezTo>
                      <a:cubicBezTo>
                        <a:pt x="21" y="35"/>
                        <a:pt x="21" y="35"/>
                        <a:pt x="21" y="35"/>
                      </a:cubicBezTo>
                      <a:cubicBezTo>
                        <a:pt x="21" y="26"/>
                        <a:pt x="28" y="20"/>
                        <a:pt x="35" y="20"/>
                      </a:cubicBezTo>
                      <a:cubicBezTo>
                        <a:pt x="153" y="20"/>
                        <a:pt x="153" y="20"/>
                        <a:pt x="153" y="20"/>
                      </a:cubicBezTo>
                      <a:cubicBezTo>
                        <a:pt x="162" y="20"/>
                        <a:pt x="167" y="26"/>
                        <a:pt x="167" y="35"/>
                      </a:cubicBezTo>
                      <a:cubicBezTo>
                        <a:pt x="167" y="156"/>
                        <a:pt x="167" y="156"/>
                        <a:pt x="167" y="156"/>
                      </a:cubicBezTo>
                      <a:cubicBezTo>
                        <a:pt x="167" y="163"/>
                        <a:pt x="162" y="171"/>
                        <a:pt x="153" y="171"/>
                      </a:cubicBezTo>
                      <a:close/>
                      <a:moveTo>
                        <a:pt x="45" y="20"/>
                      </a:moveTo>
                      <a:cubicBezTo>
                        <a:pt x="45" y="0"/>
                        <a:pt x="45" y="0"/>
                        <a:pt x="45" y="0"/>
                      </a:cubicBezTo>
                      <a:moveTo>
                        <a:pt x="69" y="20"/>
                      </a:moveTo>
                      <a:cubicBezTo>
                        <a:pt x="69" y="0"/>
                        <a:pt x="69" y="0"/>
                        <a:pt x="69" y="0"/>
                      </a:cubicBezTo>
                      <a:moveTo>
                        <a:pt x="94" y="0"/>
                      </a:moveTo>
                      <a:cubicBezTo>
                        <a:pt x="94" y="20"/>
                        <a:pt x="94" y="20"/>
                        <a:pt x="94" y="20"/>
                      </a:cubicBezTo>
                      <a:moveTo>
                        <a:pt x="118" y="0"/>
                      </a:moveTo>
                      <a:cubicBezTo>
                        <a:pt x="118" y="20"/>
                        <a:pt x="118" y="20"/>
                        <a:pt x="118" y="20"/>
                      </a:cubicBezTo>
                      <a:moveTo>
                        <a:pt x="146" y="0"/>
                      </a:moveTo>
                      <a:cubicBezTo>
                        <a:pt x="146" y="20"/>
                        <a:pt x="146" y="20"/>
                        <a:pt x="146" y="20"/>
                      </a:cubicBezTo>
                      <a:moveTo>
                        <a:pt x="191" y="45"/>
                      </a:moveTo>
                      <a:cubicBezTo>
                        <a:pt x="167" y="45"/>
                        <a:pt x="167" y="45"/>
                        <a:pt x="167" y="45"/>
                      </a:cubicBezTo>
                      <a:moveTo>
                        <a:pt x="191" y="69"/>
                      </a:moveTo>
                      <a:cubicBezTo>
                        <a:pt x="167" y="69"/>
                        <a:pt x="167" y="69"/>
                        <a:pt x="167" y="69"/>
                      </a:cubicBezTo>
                      <a:moveTo>
                        <a:pt x="191" y="93"/>
                      </a:moveTo>
                      <a:cubicBezTo>
                        <a:pt x="167" y="93"/>
                        <a:pt x="167" y="93"/>
                        <a:pt x="167" y="93"/>
                      </a:cubicBezTo>
                      <a:moveTo>
                        <a:pt x="191" y="122"/>
                      </a:moveTo>
                      <a:cubicBezTo>
                        <a:pt x="167" y="122"/>
                        <a:pt x="167" y="122"/>
                        <a:pt x="167" y="122"/>
                      </a:cubicBezTo>
                      <a:moveTo>
                        <a:pt x="191" y="146"/>
                      </a:moveTo>
                      <a:cubicBezTo>
                        <a:pt x="167" y="146"/>
                        <a:pt x="167" y="146"/>
                        <a:pt x="167" y="146"/>
                      </a:cubicBezTo>
                      <a:moveTo>
                        <a:pt x="21" y="45"/>
                      </a:moveTo>
                      <a:cubicBezTo>
                        <a:pt x="0" y="45"/>
                        <a:pt x="0" y="45"/>
                        <a:pt x="0" y="45"/>
                      </a:cubicBezTo>
                      <a:moveTo>
                        <a:pt x="21" y="69"/>
                      </a:moveTo>
                      <a:cubicBezTo>
                        <a:pt x="0" y="69"/>
                        <a:pt x="0" y="69"/>
                        <a:pt x="0" y="69"/>
                      </a:cubicBezTo>
                      <a:moveTo>
                        <a:pt x="21" y="93"/>
                      </a:moveTo>
                      <a:cubicBezTo>
                        <a:pt x="0" y="93"/>
                        <a:pt x="0" y="93"/>
                        <a:pt x="0" y="93"/>
                      </a:cubicBezTo>
                      <a:moveTo>
                        <a:pt x="21" y="122"/>
                      </a:moveTo>
                      <a:cubicBezTo>
                        <a:pt x="0" y="122"/>
                        <a:pt x="0" y="122"/>
                        <a:pt x="0" y="122"/>
                      </a:cubicBezTo>
                      <a:moveTo>
                        <a:pt x="21" y="146"/>
                      </a:moveTo>
                      <a:cubicBezTo>
                        <a:pt x="0" y="146"/>
                        <a:pt x="0" y="146"/>
                        <a:pt x="0" y="146"/>
                      </a:cubicBezTo>
                      <a:moveTo>
                        <a:pt x="45" y="171"/>
                      </a:moveTo>
                      <a:cubicBezTo>
                        <a:pt x="45" y="195"/>
                        <a:pt x="45" y="195"/>
                        <a:pt x="45" y="195"/>
                      </a:cubicBezTo>
                      <a:moveTo>
                        <a:pt x="69" y="171"/>
                      </a:moveTo>
                      <a:cubicBezTo>
                        <a:pt x="69" y="195"/>
                        <a:pt x="69" y="195"/>
                        <a:pt x="69" y="195"/>
                      </a:cubicBezTo>
                      <a:moveTo>
                        <a:pt x="94" y="195"/>
                      </a:moveTo>
                      <a:cubicBezTo>
                        <a:pt x="94" y="171"/>
                        <a:pt x="94" y="171"/>
                        <a:pt x="94" y="171"/>
                      </a:cubicBezTo>
                      <a:moveTo>
                        <a:pt x="118" y="171"/>
                      </a:moveTo>
                      <a:cubicBezTo>
                        <a:pt x="118" y="195"/>
                        <a:pt x="118" y="195"/>
                        <a:pt x="118" y="195"/>
                      </a:cubicBezTo>
                      <a:moveTo>
                        <a:pt x="146" y="171"/>
                      </a:moveTo>
                      <a:cubicBezTo>
                        <a:pt x="146" y="195"/>
                        <a:pt x="146" y="195"/>
                        <a:pt x="146" y="195"/>
                      </a:cubicBezTo>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865">
                    <a:gradFill>
                      <a:gsLst>
                        <a:gs pos="0">
                          <a:srgbClr val="505050"/>
                        </a:gs>
                        <a:gs pos="100000">
                          <a:srgbClr val="505050"/>
                        </a:gs>
                      </a:gsLst>
                      <a:lin ang="5400000" scaled="1"/>
                    </a:gradFill>
                    <a:latin typeface="Segoe UI Semilight"/>
                  </a:endParaRPr>
                </a:p>
              </p:txBody>
            </p:sp>
          </p:grpSp>
        </p:grpSp>
        <p:grpSp>
          <p:nvGrpSpPr>
            <p:cNvPr id="313" name="Group 312">
              <a:extLst>
                <a:ext uri="{FF2B5EF4-FFF2-40B4-BE49-F238E27FC236}">
                  <a16:creationId xmlns:a16="http://schemas.microsoft.com/office/drawing/2014/main" id="{B371DF1E-961E-4E3C-8F33-67361BBA0F9A}"/>
                </a:ext>
              </a:extLst>
            </p:cNvPr>
            <p:cNvGrpSpPr/>
            <p:nvPr/>
          </p:nvGrpSpPr>
          <p:grpSpPr>
            <a:xfrm>
              <a:off x="6821038" y="5294445"/>
              <a:ext cx="503278" cy="503278"/>
              <a:chOff x="4412323" y="5524629"/>
              <a:chExt cx="523664" cy="523664"/>
            </a:xfrm>
          </p:grpSpPr>
          <p:sp useBgFill="1">
            <p:nvSpPr>
              <p:cNvPr id="314" name="Oval 313">
                <a:extLst>
                  <a:ext uri="{FF2B5EF4-FFF2-40B4-BE49-F238E27FC236}">
                    <a16:creationId xmlns:a16="http://schemas.microsoft.com/office/drawing/2014/main" id="{4F7BA010-4A9F-47F5-ABA4-2119156FA80C}"/>
                  </a:ext>
                </a:extLst>
              </p:cNvPr>
              <p:cNvSpPr/>
              <p:nvPr/>
            </p:nvSpPr>
            <p:spPr bwMode="auto">
              <a:xfrm rot="2040000">
                <a:off x="4412323" y="5524629"/>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15" name="Freeform 25">
                <a:extLst>
                  <a:ext uri="{FF2B5EF4-FFF2-40B4-BE49-F238E27FC236}">
                    <a16:creationId xmlns:a16="http://schemas.microsoft.com/office/drawing/2014/main" id="{576A9861-B202-4565-AEF4-9192089F4110}"/>
                  </a:ext>
                </a:extLst>
              </p:cNvPr>
              <p:cNvSpPr>
                <a:spLocks noEditPoints="1"/>
              </p:cNvSpPr>
              <p:nvPr/>
            </p:nvSpPr>
            <p:spPr bwMode="auto">
              <a:xfrm>
                <a:off x="4522311" y="5638101"/>
                <a:ext cx="303690" cy="296722"/>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5875">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7857" tIns="43929" rIns="87857" bIns="43929" numCol="1" anchor="t" anchorCtr="0" compatLnSpc="1">
                <a:prstTxWarp prst="textNoShape">
                  <a:avLst/>
                </a:prstTxWarp>
              </a:bodyPr>
              <a:lstStyle/>
              <a:p>
                <a:pPr defTabSz="878463">
                  <a:defRPr/>
                </a:pPr>
                <a:endParaRPr lang="en-US" sz="1729" kern="0">
                  <a:solidFill>
                    <a:sysClr val="windowText" lastClr="000000"/>
                  </a:solidFill>
                  <a:latin typeface="Segoe UI Semilight"/>
                </a:endParaRPr>
              </a:p>
            </p:txBody>
          </p:sp>
        </p:grpSp>
        <p:grpSp>
          <p:nvGrpSpPr>
            <p:cNvPr id="316" name="Group 315">
              <a:extLst>
                <a:ext uri="{FF2B5EF4-FFF2-40B4-BE49-F238E27FC236}">
                  <a16:creationId xmlns:a16="http://schemas.microsoft.com/office/drawing/2014/main" id="{CF3EF85C-6029-4A82-B71E-6EF4728F5BD5}"/>
                </a:ext>
              </a:extLst>
            </p:cNvPr>
            <p:cNvGrpSpPr/>
            <p:nvPr/>
          </p:nvGrpSpPr>
          <p:grpSpPr>
            <a:xfrm>
              <a:off x="10478856" y="4616508"/>
              <a:ext cx="503278" cy="503278"/>
              <a:chOff x="8218306" y="4819232"/>
              <a:chExt cx="523664" cy="523664"/>
            </a:xfrm>
          </p:grpSpPr>
          <p:sp useBgFill="1">
            <p:nvSpPr>
              <p:cNvPr id="317" name="Oval 316">
                <a:extLst>
                  <a:ext uri="{FF2B5EF4-FFF2-40B4-BE49-F238E27FC236}">
                    <a16:creationId xmlns:a16="http://schemas.microsoft.com/office/drawing/2014/main" id="{5A448470-2860-4DC2-9FC3-C01D86C8DF5B}"/>
                  </a:ext>
                </a:extLst>
              </p:cNvPr>
              <p:cNvSpPr/>
              <p:nvPr/>
            </p:nvSpPr>
            <p:spPr bwMode="auto">
              <a:xfrm rot="18300000" flipH="1">
                <a:off x="8218306" y="4819232"/>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18" name="speedometer_2">
                <a:extLst>
                  <a:ext uri="{FF2B5EF4-FFF2-40B4-BE49-F238E27FC236}">
                    <a16:creationId xmlns:a16="http://schemas.microsoft.com/office/drawing/2014/main" id="{37780E10-2DAA-4E4F-8EFE-E63D2D2A775D}"/>
                  </a:ext>
                </a:extLst>
              </p:cNvPr>
              <p:cNvSpPr>
                <a:spLocks noChangeAspect="1" noEditPoints="1"/>
              </p:cNvSpPr>
              <p:nvPr/>
            </p:nvSpPr>
            <p:spPr bwMode="auto">
              <a:xfrm>
                <a:off x="8333024" y="4933950"/>
                <a:ext cx="294228" cy="294228"/>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1729">
                  <a:solidFill>
                    <a:srgbClr val="505050"/>
                  </a:solidFill>
                  <a:latin typeface="Segoe UI Semilight"/>
                </a:endParaRPr>
              </a:p>
            </p:txBody>
          </p:sp>
        </p:grpSp>
        <p:grpSp>
          <p:nvGrpSpPr>
            <p:cNvPr id="319" name="Group 318">
              <a:extLst>
                <a:ext uri="{FF2B5EF4-FFF2-40B4-BE49-F238E27FC236}">
                  <a16:creationId xmlns:a16="http://schemas.microsoft.com/office/drawing/2014/main" id="{D4C293DA-E8C9-42C7-8AE4-0CF237F0BC33}"/>
                </a:ext>
              </a:extLst>
            </p:cNvPr>
            <p:cNvGrpSpPr/>
            <p:nvPr/>
          </p:nvGrpSpPr>
          <p:grpSpPr>
            <a:xfrm>
              <a:off x="9750360" y="5320009"/>
              <a:ext cx="503278" cy="503278"/>
              <a:chOff x="7460301" y="5551229"/>
              <a:chExt cx="523664" cy="523664"/>
            </a:xfrm>
          </p:grpSpPr>
          <p:sp useBgFill="1">
            <p:nvSpPr>
              <p:cNvPr id="320" name="Oval 319">
                <a:extLst>
                  <a:ext uri="{FF2B5EF4-FFF2-40B4-BE49-F238E27FC236}">
                    <a16:creationId xmlns:a16="http://schemas.microsoft.com/office/drawing/2014/main" id="{88E73A91-D60D-43F2-8C34-7109C748B7A7}"/>
                  </a:ext>
                </a:extLst>
              </p:cNvPr>
              <p:cNvSpPr/>
              <p:nvPr/>
            </p:nvSpPr>
            <p:spPr bwMode="auto">
              <a:xfrm rot="19620000" flipH="1">
                <a:off x="7460301" y="5551229"/>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21" name="document_6">
                <a:extLst>
                  <a:ext uri="{FF2B5EF4-FFF2-40B4-BE49-F238E27FC236}">
                    <a16:creationId xmlns:a16="http://schemas.microsoft.com/office/drawing/2014/main" id="{A961200A-24E8-4615-B6A3-8E3E7814D285}"/>
                  </a:ext>
                </a:extLst>
              </p:cNvPr>
              <p:cNvSpPr>
                <a:spLocks noChangeAspect="1" noEditPoints="1"/>
              </p:cNvSpPr>
              <p:nvPr/>
            </p:nvSpPr>
            <p:spPr bwMode="auto">
              <a:xfrm>
                <a:off x="7609395" y="5672138"/>
                <a:ext cx="225476" cy="281846"/>
              </a:xfrm>
              <a:custGeom>
                <a:avLst/>
                <a:gdLst>
                  <a:gd name="T0" fmla="*/ 99 w 265"/>
                  <a:gd name="T1" fmla="*/ 332 h 332"/>
                  <a:gd name="T2" fmla="*/ 0 w 265"/>
                  <a:gd name="T3" fmla="*/ 332 h 332"/>
                  <a:gd name="T4" fmla="*/ 0 w 265"/>
                  <a:gd name="T5" fmla="*/ 49 h 332"/>
                  <a:gd name="T6" fmla="*/ 49 w 265"/>
                  <a:gd name="T7" fmla="*/ 0 h 332"/>
                  <a:gd name="T8" fmla="*/ 241 w 265"/>
                  <a:gd name="T9" fmla="*/ 0 h 332"/>
                  <a:gd name="T10" fmla="*/ 241 w 265"/>
                  <a:gd name="T11" fmla="*/ 127 h 332"/>
                  <a:gd name="T12" fmla="*/ 265 w 265"/>
                  <a:gd name="T13" fmla="*/ 219 h 332"/>
                  <a:gd name="T14" fmla="*/ 132 w 265"/>
                  <a:gd name="T15" fmla="*/ 219 h 332"/>
                  <a:gd name="T16" fmla="*/ 132 w 265"/>
                  <a:gd name="T17" fmla="*/ 332 h 332"/>
                  <a:gd name="T18" fmla="*/ 265 w 265"/>
                  <a:gd name="T19" fmla="*/ 332 h 332"/>
                  <a:gd name="T20" fmla="*/ 265 w 265"/>
                  <a:gd name="T21" fmla="*/ 219 h 332"/>
                  <a:gd name="T22" fmla="*/ 245 w 265"/>
                  <a:gd name="T23" fmla="*/ 219 h 332"/>
                  <a:gd name="T24" fmla="*/ 245 w 265"/>
                  <a:gd name="T25" fmla="*/ 198 h 332"/>
                  <a:gd name="T26" fmla="*/ 201 w 265"/>
                  <a:gd name="T27" fmla="*/ 153 h 332"/>
                  <a:gd name="T28" fmla="*/ 157 w 265"/>
                  <a:gd name="T29" fmla="*/ 198 h 332"/>
                  <a:gd name="T30" fmla="*/ 157 w 265"/>
                  <a:gd name="T31"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5" h="332">
                    <a:moveTo>
                      <a:pt x="99" y="332"/>
                    </a:moveTo>
                    <a:cubicBezTo>
                      <a:pt x="0" y="332"/>
                      <a:pt x="0" y="332"/>
                      <a:pt x="0" y="332"/>
                    </a:cubicBezTo>
                    <a:cubicBezTo>
                      <a:pt x="0" y="49"/>
                      <a:pt x="0" y="49"/>
                      <a:pt x="0" y="49"/>
                    </a:cubicBezTo>
                    <a:cubicBezTo>
                      <a:pt x="49" y="0"/>
                      <a:pt x="49" y="0"/>
                      <a:pt x="49" y="0"/>
                    </a:cubicBezTo>
                    <a:cubicBezTo>
                      <a:pt x="241" y="0"/>
                      <a:pt x="241" y="0"/>
                      <a:pt x="241" y="0"/>
                    </a:cubicBezTo>
                    <a:cubicBezTo>
                      <a:pt x="241" y="127"/>
                      <a:pt x="241" y="127"/>
                      <a:pt x="241" y="127"/>
                    </a:cubicBezTo>
                    <a:moveTo>
                      <a:pt x="265" y="219"/>
                    </a:moveTo>
                    <a:cubicBezTo>
                      <a:pt x="132" y="219"/>
                      <a:pt x="132" y="219"/>
                      <a:pt x="132" y="219"/>
                    </a:cubicBezTo>
                    <a:cubicBezTo>
                      <a:pt x="132" y="332"/>
                      <a:pt x="132" y="332"/>
                      <a:pt x="132" y="332"/>
                    </a:cubicBezTo>
                    <a:cubicBezTo>
                      <a:pt x="265" y="332"/>
                      <a:pt x="265" y="332"/>
                      <a:pt x="265" y="332"/>
                    </a:cubicBezTo>
                    <a:lnTo>
                      <a:pt x="265" y="219"/>
                    </a:lnTo>
                    <a:close/>
                    <a:moveTo>
                      <a:pt x="245" y="219"/>
                    </a:moveTo>
                    <a:cubicBezTo>
                      <a:pt x="245" y="198"/>
                      <a:pt x="245" y="198"/>
                      <a:pt x="245" y="198"/>
                    </a:cubicBezTo>
                    <a:cubicBezTo>
                      <a:pt x="245" y="173"/>
                      <a:pt x="226" y="153"/>
                      <a:pt x="201" y="153"/>
                    </a:cubicBezTo>
                    <a:cubicBezTo>
                      <a:pt x="177" y="153"/>
                      <a:pt x="157" y="173"/>
                      <a:pt x="157" y="198"/>
                    </a:cubicBezTo>
                    <a:cubicBezTo>
                      <a:pt x="157" y="219"/>
                      <a:pt x="157" y="219"/>
                      <a:pt x="157" y="219"/>
                    </a:cubicBezTo>
                  </a:path>
                </a:pathLst>
              </a:custGeom>
              <a:noFill/>
              <a:ln w="15875"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1729">
                  <a:solidFill>
                    <a:srgbClr val="505050"/>
                  </a:solidFill>
                  <a:latin typeface="Segoe UI Semilight"/>
                </a:endParaRPr>
              </a:p>
            </p:txBody>
          </p:sp>
        </p:grpSp>
        <p:grpSp>
          <p:nvGrpSpPr>
            <p:cNvPr id="322" name="Group 321">
              <a:extLst>
                <a:ext uri="{FF2B5EF4-FFF2-40B4-BE49-F238E27FC236}">
                  <a16:creationId xmlns:a16="http://schemas.microsoft.com/office/drawing/2014/main" id="{8E20FA44-5243-4B8D-84C5-482715C426F4}"/>
                </a:ext>
              </a:extLst>
            </p:cNvPr>
            <p:cNvGrpSpPr/>
            <p:nvPr/>
          </p:nvGrpSpPr>
          <p:grpSpPr>
            <a:xfrm>
              <a:off x="10900795" y="3646115"/>
              <a:ext cx="503278" cy="503278"/>
              <a:chOff x="8657336" y="3809532"/>
              <a:chExt cx="523664" cy="523664"/>
            </a:xfrm>
          </p:grpSpPr>
          <p:sp useBgFill="1">
            <p:nvSpPr>
              <p:cNvPr id="323" name="Oval 322">
                <a:extLst>
                  <a:ext uri="{FF2B5EF4-FFF2-40B4-BE49-F238E27FC236}">
                    <a16:creationId xmlns:a16="http://schemas.microsoft.com/office/drawing/2014/main" id="{725558F1-D133-4D39-A960-5545121ADDF8}"/>
                  </a:ext>
                </a:extLst>
              </p:cNvPr>
              <p:cNvSpPr/>
              <p:nvPr/>
            </p:nvSpPr>
            <p:spPr bwMode="auto">
              <a:xfrm rot="16920000" flipH="1">
                <a:off x="8657336" y="3809532"/>
                <a:ext cx="523664" cy="52366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24" name="Group 323">
                <a:extLst>
                  <a:ext uri="{FF2B5EF4-FFF2-40B4-BE49-F238E27FC236}">
                    <a16:creationId xmlns:a16="http://schemas.microsoft.com/office/drawing/2014/main" id="{544987DA-42F6-4C10-8D53-6501F10B4EA8}"/>
                  </a:ext>
                </a:extLst>
              </p:cNvPr>
              <p:cNvGrpSpPr/>
              <p:nvPr/>
            </p:nvGrpSpPr>
            <p:grpSpPr>
              <a:xfrm>
                <a:off x="8746154" y="3970338"/>
                <a:ext cx="346030" cy="202052"/>
                <a:chOff x="11030366" y="2382953"/>
                <a:chExt cx="397040" cy="231838"/>
              </a:xfrm>
            </p:grpSpPr>
            <p:sp>
              <p:nvSpPr>
                <p:cNvPr id="325" name="Freeform 77">
                  <a:extLst>
                    <a:ext uri="{FF2B5EF4-FFF2-40B4-BE49-F238E27FC236}">
                      <a16:creationId xmlns:a16="http://schemas.microsoft.com/office/drawing/2014/main" id="{5C679A87-1947-46D3-859B-75DD95DD7225}"/>
                    </a:ext>
                  </a:extLst>
                </p:cNvPr>
                <p:cNvSpPr>
                  <a:spLocks/>
                </p:cNvSpPr>
                <p:nvPr/>
              </p:nvSpPr>
              <p:spPr bwMode="auto">
                <a:xfrm>
                  <a:off x="11030366" y="2382953"/>
                  <a:ext cx="397040" cy="231838"/>
                </a:xfrm>
                <a:custGeom>
                  <a:avLst/>
                  <a:gdLst>
                    <a:gd name="T0" fmla="*/ 308 w 395"/>
                    <a:gd name="T1" fmla="*/ 36 h 230"/>
                    <a:gd name="T2" fmla="*/ 270 w 395"/>
                    <a:gd name="T3" fmla="*/ 5 h 230"/>
                    <a:gd name="T4" fmla="*/ 234 w 395"/>
                    <a:gd name="T5" fmla="*/ 20 h 230"/>
                    <a:gd name="T6" fmla="*/ 200 w 395"/>
                    <a:gd name="T7" fmla="*/ 20 h 230"/>
                    <a:gd name="T8" fmla="*/ 196 w 395"/>
                    <a:gd name="T9" fmla="*/ 20 h 230"/>
                    <a:gd name="T10" fmla="*/ 161 w 395"/>
                    <a:gd name="T11" fmla="*/ 20 h 230"/>
                    <a:gd name="T12" fmla="*/ 126 w 395"/>
                    <a:gd name="T13" fmla="*/ 5 h 230"/>
                    <a:gd name="T14" fmla="*/ 87 w 395"/>
                    <a:gd name="T15" fmla="*/ 36 h 230"/>
                    <a:gd name="T16" fmla="*/ 48 w 395"/>
                    <a:gd name="T17" fmla="*/ 216 h 230"/>
                    <a:gd name="T18" fmla="*/ 75 w 395"/>
                    <a:gd name="T19" fmla="*/ 230 h 230"/>
                    <a:gd name="T20" fmla="*/ 113 w 395"/>
                    <a:gd name="T21" fmla="*/ 189 h 230"/>
                    <a:gd name="T22" fmla="*/ 162 w 395"/>
                    <a:gd name="T23" fmla="*/ 169 h 230"/>
                    <a:gd name="T24" fmla="*/ 233 w 395"/>
                    <a:gd name="T25" fmla="*/ 169 h 230"/>
                    <a:gd name="T26" fmla="*/ 283 w 395"/>
                    <a:gd name="T27" fmla="*/ 189 h 230"/>
                    <a:gd name="T28" fmla="*/ 320 w 395"/>
                    <a:gd name="T29" fmla="*/ 230 h 230"/>
                    <a:gd name="T30" fmla="*/ 347 w 395"/>
                    <a:gd name="T31" fmla="*/ 216 h 230"/>
                    <a:gd name="T32" fmla="*/ 308 w 395"/>
                    <a:gd name="T33" fmla="*/ 36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5" h="230">
                      <a:moveTo>
                        <a:pt x="308" y="36"/>
                      </a:moveTo>
                      <a:cubicBezTo>
                        <a:pt x="312" y="17"/>
                        <a:pt x="299" y="11"/>
                        <a:pt x="270" y="5"/>
                      </a:cubicBezTo>
                      <a:cubicBezTo>
                        <a:pt x="240" y="0"/>
                        <a:pt x="234" y="20"/>
                        <a:pt x="234" y="20"/>
                      </a:cubicBezTo>
                      <a:cubicBezTo>
                        <a:pt x="200" y="20"/>
                        <a:pt x="200" y="20"/>
                        <a:pt x="200" y="20"/>
                      </a:cubicBezTo>
                      <a:cubicBezTo>
                        <a:pt x="196" y="20"/>
                        <a:pt x="196" y="20"/>
                        <a:pt x="196" y="20"/>
                      </a:cubicBezTo>
                      <a:cubicBezTo>
                        <a:pt x="161" y="20"/>
                        <a:pt x="161" y="20"/>
                        <a:pt x="161" y="20"/>
                      </a:cubicBezTo>
                      <a:cubicBezTo>
                        <a:pt x="161" y="20"/>
                        <a:pt x="156" y="0"/>
                        <a:pt x="126" y="5"/>
                      </a:cubicBezTo>
                      <a:cubicBezTo>
                        <a:pt x="96" y="11"/>
                        <a:pt x="84" y="17"/>
                        <a:pt x="87" y="36"/>
                      </a:cubicBezTo>
                      <a:cubicBezTo>
                        <a:pt x="87" y="36"/>
                        <a:pt x="0" y="165"/>
                        <a:pt x="48" y="216"/>
                      </a:cubicBezTo>
                      <a:cubicBezTo>
                        <a:pt x="64" y="230"/>
                        <a:pt x="68" y="230"/>
                        <a:pt x="75" y="230"/>
                      </a:cubicBezTo>
                      <a:cubicBezTo>
                        <a:pt x="82" y="230"/>
                        <a:pt x="95" y="203"/>
                        <a:pt x="113" y="189"/>
                      </a:cubicBezTo>
                      <a:cubicBezTo>
                        <a:pt x="131" y="174"/>
                        <a:pt x="148" y="170"/>
                        <a:pt x="162" y="169"/>
                      </a:cubicBezTo>
                      <a:cubicBezTo>
                        <a:pt x="173" y="169"/>
                        <a:pt x="223" y="169"/>
                        <a:pt x="233" y="169"/>
                      </a:cubicBezTo>
                      <a:cubicBezTo>
                        <a:pt x="248" y="170"/>
                        <a:pt x="265" y="174"/>
                        <a:pt x="283" y="189"/>
                      </a:cubicBezTo>
                      <a:cubicBezTo>
                        <a:pt x="301" y="203"/>
                        <a:pt x="313" y="230"/>
                        <a:pt x="320" y="230"/>
                      </a:cubicBezTo>
                      <a:cubicBezTo>
                        <a:pt x="327" y="230"/>
                        <a:pt x="332" y="230"/>
                        <a:pt x="347" y="216"/>
                      </a:cubicBezTo>
                      <a:cubicBezTo>
                        <a:pt x="395" y="165"/>
                        <a:pt x="308" y="36"/>
                        <a:pt x="308" y="36"/>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1729">
                    <a:solidFill>
                      <a:srgbClr val="505050"/>
                    </a:solidFill>
                    <a:latin typeface="Segoe UI Semilight"/>
                  </a:endParaRPr>
                </a:p>
              </p:txBody>
            </p:sp>
            <p:sp>
              <p:nvSpPr>
                <p:cNvPr id="326" name="Freeform 78">
                  <a:extLst>
                    <a:ext uri="{FF2B5EF4-FFF2-40B4-BE49-F238E27FC236}">
                      <a16:creationId xmlns:a16="http://schemas.microsoft.com/office/drawing/2014/main" id="{3EE56CC2-C8B2-4BA2-9688-690FBDC47189}"/>
                    </a:ext>
                  </a:extLst>
                </p:cNvPr>
                <p:cNvSpPr>
                  <a:spLocks/>
                </p:cNvSpPr>
                <p:nvPr/>
              </p:nvSpPr>
              <p:spPr bwMode="auto">
                <a:xfrm>
                  <a:off x="11219168" y="2439871"/>
                  <a:ext cx="19436" cy="20824"/>
                </a:xfrm>
                <a:custGeom>
                  <a:avLst/>
                  <a:gdLst>
                    <a:gd name="T0" fmla="*/ 9 w 20"/>
                    <a:gd name="T1" fmla="*/ 20 h 20"/>
                    <a:gd name="T2" fmla="*/ 0 w 20"/>
                    <a:gd name="T3" fmla="*/ 10 h 20"/>
                    <a:gd name="T4" fmla="*/ 10 w 20"/>
                    <a:gd name="T5" fmla="*/ 0 h 20"/>
                    <a:gd name="T6" fmla="*/ 20 w 20"/>
                    <a:gd name="T7" fmla="*/ 11 h 20"/>
                    <a:gd name="T8" fmla="*/ 9 w 20"/>
                    <a:gd name="T9" fmla="*/ 20 h 20"/>
                  </a:gdLst>
                  <a:ahLst/>
                  <a:cxnLst>
                    <a:cxn ang="0">
                      <a:pos x="T0" y="T1"/>
                    </a:cxn>
                    <a:cxn ang="0">
                      <a:pos x="T2" y="T3"/>
                    </a:cxn>
                    <a:cxn ang="0">
                      <a:pos x="T4" y="T5"/>
                    </a:cxn>
                    <a:cxn ang="0">
                      <a:pos x="T6" y="T7"/>
                    </a:cxn>
                    <a:cxn ang="0">
                      <a:pos x="T8" y="T9"/>
                    </a:cxn>
                  </a:cxnLst>
                  <a:rect l="0" t="0" r="r" b="b"/>
                  <a:pathLst>
                    <a:path w="20" h="20">
                      <a:moveTo>
                        <a:pt x="9" y="20"/>
                      </a:moveTo>
                      <a:cubicBezTo>
                        <a:pt x="4" y="20"/>
                        <a:pt x="0" y="15"/>
                        <a:pt x="0" y="10"/>
                      </a:cubicBezTo>
                      <a:cubicBezTo>
                        <a:pt x="0" y="4"/>
                        <a:pt x="5" y="0"/>
                        <a:pt x="10" y="0"/>
                      </a:cubicBezTo>
                      <a:cubicBezTo>
                        <a:pt x="16" y="0"/>
                        <a:pt x="20" y="5"/>
                        <a:pt x="20" y="11"/>
                      </a:cubicBezTo>
                      <a:cubicBezTo>
                        <a:pt x="19" y="16"/>
                        <a:pt x="15" y="20"/>
                        <a:pt x="9" y="20"/>
                      </a:cubicBezTo>
                      <a:close/>
                    </a:path>
                  </a:pathLst>
                </a:custGeom>
                <a:noFill/>
                <a:ln w="158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96085">
                    <a:defRPr/>
                  </a:pPr>
                  <a:endParaRPr lang="en-US" sz="1729">
                    <a:solidFill>
                      <a:srgbClr val="505050"/>
                    </a:solidFill>
                    <a:latin typeface="Segoe UI Semilight"/>
                  </a:endParaRPr>
                </a:p>
              </p:txBody>
            </p:sp>
          </p:grpSp>
        </p:grpSp>
        <p:sp useBgFill="1">
          <p:nvSpPr>
            <p:cNvPr id="327" name="Oval 326">
              <a:extLst>
                <a:ext uri="{FF2B5EF4-FFF2-40B4-BE49-F238E27FC236}">
                  <a16:creationId xmlns:a16="http://schemas.microsoft.com/office/drawing/2014/main" id="{8E0B29F6-2632-417A-85F2-538D602A8F14}"/>
                </a:ext>
              </a:extLst>
            </p:cNvPr>
            <p:cNvSpPr/>
            <p:nvPr/>
          </p:nvSpPr>
          <p:spPr bwMode="auto">
            <a:xfrm flipH="1">
              <a:off x="8303078" y="935601"/>
              <a:ext cx="507144" cy="50714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useBgFill="1">
          <p:nvSpPr>
            <p:cNvPr id="328" name="Oval 327">
              <a:extLst>
                <a:ext uri="{FF2B5EF4-FFF2-40B4-BE49-F238E27FC236}">
                  <a16:creationId xmlns:a16="http://schemas.microsoft.com/office/drawing/2014/main" id="{AB63B0D3-E53E-4700-9216-6BA8FF7E7426}"/>
                </a:ext>
              </a:extLst>
            </p:cNvPr>
            <p:cNvSpPr/>
            <p:nvPr/>
          </p:nvSpPr>
          <p:spPr bwMode="auto">
            <a:xfrm rot="1320000">
              <a:off x="9111041" y="1092654"/>
              <a:ext cx="507144" cy="50714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useBgFill="1">
          <p:nvSpPr>
            <p:cNvPr id="329" name="Oval 328">
              <a:extLst>
                <a:ext uri="{FF2B5EF4-FFF2-40B4-BE49-F238E27FC236}">
                  <a16:creationId xmlns:a16="http://schemas.microsoft.com/office/drawing/2014/main" id="{D9A27D95-697F-479C-AE92-3ADF748E32CA}"/>
                </a:ext>
              </a:extLst>
            </p:cNvPr>
            <p:cNvSpPr/>
            <p:nvPr/>
          </p:nvSpPr>
          <p:spPr bwMode="auto">
            <a:xfrm rot="20280000" flipH="1">
              <a:off x="7495115" y="1092654"/>
              <a:ext cx="507144" cy="507144"/>
            </a:xfrm>
            <a:prstGeom prst="ellipse">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30" name="Group 329">
              <a:extLst>
                <a:ext uri="{FF2B5EF4-FFF2-40B4-BE49-F238E27FC236}">
                  <a16:creationId xmlns:a16="http://schemas.microsoft.com/office/drawing/2014/main" id="{0CF36B43-DE2A-43F8-B6F2-C8688A2F29B5}"/>
                </a:ext>
              </a:extLst>
            </p:cNvPr>
            <p:cNvGrpSpPr/>
            <p:nvPr/>
          </p:nvGrpSpPr>
          <p:grpSpPr>
            <a:xfrm>
              <a:off x="7607454" y="1242635"/>
              <a:ext cx="282464" cy="207180"/>
              <a:chOff x="4036202" y="3031654"/>
              <a:chExt cx="514225" cy="377173"/>
            </a:xfrm>
          </p:grpSpPr>
          <p:sp>
            <p:nvSpPr>
              <p:cNvPr id="331" name="Freeform 9">
                <a:extLst>
                  <a:ext uri="{FF2B5EF4-FFF2-40B4-BE49-F238E27FC236}">
                    <a16:creationId xmlns:a16="http://schemas.microsoft.com/office/drawing/2014/main" id="{1C315359-B1FD-4F6E-99A1-026314339942}"/>
                  </a:ext>
                </a:extLst>
              </p:cNvPr>
              <p:cNvSpPr>
                <a:spLocks noEditPoints="1"/>
              </p:cNvSpPr>
              <p:nvPr/>
            </p:nvSpPr>
            <p:spPr bwMode="auto">
              <a:xfrm>
                <a:off x="4036202" y="3031654"/>
                <a:ext cx="514225" cy="377173"/>
              </a:xfrm>
              <a:custGeom>
                <a:avLst/>
                <a:gdLst>
                  <a:gd name="T0" fmla="*/ 3748 w 3748"/>
                  <a:gd name="T1" fmla="*/ 2562 h 2749"/>
                  <a:gd name="T2" fmla="*/ 3561 w 3748"/>
                  <a:gd name="T3" fmla="*/ 2749 h 2749"/>
                  <a:gd name="T4" fmla="*/ 187 w 3748"/>
                  <a:gd name="T5" fmla="*/ 2749 h 2749"/>
                  <a:gd name="T6" fmla="*/ 0 w 3748"/>
                  <a:gd name="T7" fmla="*/ 2562 h 2749"/>
                  <a:gd name="T8" fmla="*/ 0 w 3748"/>
                  <a:gd name="T9" fmla="*/ 187 h 2749"/>
                  <a:gd name="T10" fmla="*/ 187 w 3748"/>
                  <a:gd name="T11" fmla="*/ 0 h 2749"/>
                  <a:gd name="T12" fmla="*/ 3561 w 3748"/>
                  <a:gd name="T13" fmla="*/ 0 h 2749"/>
                  <a:gd name="T14" fmla="*/ 3748 w 3748"/>
                  <a:gd name="T15" fmla="*/ 187 h 2749"/>
                  <a:gd name="T16" fmla="*/ 3748 w 3748"/>
                  <a:gd name="T17" fmla="*/ 2562 h 2749"/>
                  <a:gd name="T18" fmla="*/ 2124 w 3748"/>
                  <a:gd name="T19" fmla="*/ 2249 h 2749"/>
                  <a:gd name="T20" fmla="*/ 1624 w 3748"/>
                  <a:gd name="T21" fmla="*/ 2249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48" h="2749">
                    <a:moveTo>
                      <a:pt x="3748" y="2562"/>
                    </a:moveTo>
                    <a:cubicBezTo>
                      <a:pt x="3748" y="2665"/>
                      <a:pt x="3665" y="2749"/>
                      <a:pt x="3561" y="2749"/>
                    </a:cubicBezTo>
                    <a:cubicBezTo>
                      <a:pt x="187" y="2749"/>
                      <a:pt x="187" y="2749"/>
                      <a:pt x="187" y="2749"/>
                    </a:cubicBezTo>
                    <a:cubicBezTo>
                      <a:pt x="83" y="2749"/>
                      <a:pt x="0" y="2665"/>
                      <a:pt x="0" y="2562"/>
                    </a:cubicBezTo>
                    <a:cubicBezTo>
                      <a:pt x="0" y="187"/>
                      <a:pt x="0" y="187"/>
                      <a:pt x="0" y="187"/>
                    </a:cubicBezTo>
                    <a:cubicBezTo>
                      <a:pt x="0" y="84"/>
                      <a:pt x="83" y="0"/>
                      <a:pt x="187" y="0"/>
                    </a:cubicBezTo>
                    <a:cubicBezTo>
                      <a:pt x="3561" y="0"/>
                      <a:pt x="3561" y="0"/>
                      <a:pt x="3561" y="0"/>
                    </a:cubicBezTo>
                    <a:cubicBezTo>
                      <a:pt x="3665" y="0"/>
                      <a:pt x="3748" y="84"/>
                      <a:pt x="3748" y="187"/>
                    </a:cubicBezTo>
                    <a:lnTo>
                      <a:pt x="3748" y="2562"/>
                    </a:lnTo>
                    <a:close/>
                    <a:moveTo>
                      <a:pt x="2124" y="2249"/>
                    </a:moveTo>
                    <a:cubicBezTo>
                      <a:pt x="1624" y="2249"/>
                      <a:pt x="1624" y="2249"/>
                      <a:pt x="1624" y="2249"/>
                    </a:cubicBezTo>
                  </a:path>
                </a:pathLst>
              </a:custGeom>
              <a:noFill/>
              <a:ln w="15875">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7857" tIns="43929" rIns="87857" bIns="43929" numCol="1" anchor="t" anchorCtr="0" compatLnSpc="1">
                <a:prstTxWarp prst="textNoShape">
                  <a:avLst/>
                </a:prstTxWarp>
              </a:bodyPr>
              <a:lstStyle/>
              <a:p>
                <a:pPr defTabSz="878463">
                  <a:defRPr/>
                </a:pPr>
                <a:endParaRPr lang="en-US" sz="1729" kern="0">
                  <a:solidFill>
                    <a:sysClr val="windowText" lastClr="000000"/>
                  </a:solidFill>
                  <a:latin typeface="Segoe UI Semilight"/>
                </a:endParaRPr>
              </a:p>
            </p:txBody>
          </p:sp>
          <p:sp>
            <p:nvSpPr>
              <p:cNvPr id="332" name="Rectangle 331">
                <a:extLst>
                  <a:ext uri="{FF2B5EF4-FFF2-40B4-BE49-F238E27FC236}">
                    <a16:creationId xmlns:a16="http://schemas.microsoft.com/office/drawing/2014/main" id="{7B1F70FE-3E41-4910-AE7C-8BD8308A33C9}"/>
                  </a:ext>
                </a:extLst>
              </p:cNvPr>
              <p:cNvSpPr/>
              <p:nvPr/>
            </p:nvSpPr>
            <p:spPr bwMode="auto">
              <a:xfrm>
                <a:off x="4203700" y="3117850"/>
                <a:ext cx="95250" cy="95250"/>
              </a:xfrm>
              <a:prstGeom prst="rect">
                <a:avLst/>
              </a:prstGeom>
              <a:noFill/>
              <a:ln>
                <a:no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333" name="Group 332">
              <a:extLst>
                <a:ext uri="{FF2B5EF4-FFF2-40B4-BE49-F238E27FC236}">
                  <a16:creationId xmlns:a16="http://schemas.microsoft.com/office/drawing/2014/main" id="{5275352D-9FD5-4F81-9D1B-3F54CC0F5C61}"/>
                </a:ext>
              </a:extLst>
            </p:cNvPr>
            <p:cNvGrpSpPr/>
            <p:nvPr/>
          </p:nvGrpSpPr>
          <p:grpSpPr>
            <a:xfrm>
              <a:off x="8391367" y="1078963"/>
              <a:ext cx="330568" cy="220418"/>
              <a:chOff x="4658896" y="2838920"/>
              <a:chExt cx="854707" cy="569907"/>
            </a:xfrm>
          </p:grpSpPr>
          <p:sp>
            <p:nvSpPr>
              <p:cNvPr id="334" name="Freeform 5">
                <a:extLst>
                  <a:ext uri="{FF2B5EF4-FFF2-40B4-BE49-F238E27FC236}">
                    <a16:creationId xmlns:a16="http://schemas.microsoft.com/office/drawing/2014/main" id="{9CAD89CD-4469-4847-983D-64C2E6D9EFBC}"/>
                  </a:ext>
                </a:extLst>
              </p:cNvPr>
              <p:cNvSpPr>
                <a:spLocks noEditPoints="1"/>
              </p:cNvSpPr>
              <p:nvPr/>
            </p:nvSpPr>
            <p:spPr bwMode="auto">
              <a:xfrm>
                <a:off x="4658896" y="2838920"/>
                <a:ext cx="854707" cy="569907"/>
              </a:xfrm>
              <a:custGeom>
                <a:avLst/>
                <a:gdLst>
                  <a:gd name="T0" fmla="*/ 3250 w 3750"/>
                  <a:gd name="T1" fmla="*/ 1750 h 2500"/>
                  <a:gd name="T2" fmla="*/ 500 w 3750"/>
                  <a:gd name="T3" fmla="*/ 1750 h 2500"/>
                  <a:gd name="T4" fmla="*/ 500 w 3750"/>
                  <a:gd name="T5" fmla="*/ 0 h 2500"/>
                  <a:gd name="T6" fmla="*/ 3250 w 3750"/>
                  <a:gd name="T7" fmla="*/ 0 h 2500"/>
                  <a:gd name="T8" fmla="*/ 3250 w 3750"/>
                  <a:gd name="T9" fmla="*/ 1750 h 2500"/>
                  <a:gd name="T10" fmla="*/ 0 w 3750"/>
                  <a:gd name="T11" fmla="*/ 2375 h 2500"/>
                  <a:gd name="T12" fmla="*/ 125 w 3750"/>
                  <a:gd name="T13" fmla="*/ 2500 h 2500"/>
                  <a:gd name="T14" fmla="*/ 3625 w 3750"/>
                  <a:gd name="T15" fmla="*/ 2500 h 2500"/>
                  <a:gd name="T16" fmla="*/ 3750 w 3750"/>
                  <a:gd name="T17" fmla="*/ 2375 h 2500"/>
                  <a:gd name="T18" fmla="*/ 3688 w 3750"/>
                  <a:gd name="T19" fmla="*/ 2187 h 2500"/>
                  <a:gd name="T20" fmla="*/ 3250 w 3750"/>
                  <a:gd name="T21" fmla="*/ 1750 h 2500"/>
                  <a:gd name="T22" fmla="*/ 500 w 3750"/>
                  <a:gd name="T23" fmla="*/ 1750 h 2500"/>
                  <a:gd name="T24" fmla="*/ 63 w 3750"/>
                  <a:gd name="T25" fmla="*/ 2187 h 2500"/>
                  <a:gd name="T26" fmla="*/ 0 w 3750"/>
                  <a:gd name="T27" fmla="*/ 2375 h 2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50" h="2500">
                    <a:moveTo>
                      <a:pt x="3250" y="1750"/>
                    </a:moveTo>
                    <a:cubicBezTo>
                      <a:pt x="500" y="1750"/>
                      <a:pt x="500" y="1750"/>
                      <a:pt x="500" y="1750"/>
                    </a:cubicBezTo>
                    <a:cubicBezTo>
                      <a:pt x="500" y="0"/>
                      <a:pt x="500" y="0"/>
                      <a:pt x="500" y="0"/>
                    </a:cubicBezTo>
                    <a:cubicBezTo>
                      <a:pt x="3250" y="0"/>
                      <a:pt x="3250" y="0"/>
                      <a:pt x="3250" y="0"/>
                    </a:cubicBezTo>
                    <a:lnTo>
                      <a:pt x="3250" y="1750"/>
                    </a:lnTo>
                    <a:close/>
                    <a:moveTo>
                      <a:pt x="0" y="2375"/>
                    </a:moveTo>
                    <a:cubicBezTo>
                      <a:pt x="0" y="2444"/>
                      <a:pt x="56" y="2500"/>
                      <a:pt x="125" y="2500"/>
                    </a:cubicBezTo>
                    <a:cubicBezTo>
                      <a:pt x="3625" y="2500"/>
                      <a:pt x="3625" y="2500"/>
                      <a:pt x="3625" y="2500"/>
                    </a:cubicBezTo>
                    <a:cubicBezTo>
                      <a:pt x="3694" y="2500"/>
                      <a:pt x="3750" y="2444"/>
                      <a:pt x="3750" y="2375"/>
                    </a:cubicBezTo>
                    <a:cubicBezTo>
                      <a:pt x="3750" y="2302"/>
                      <a:pt x="3726" y="2235"/>
                      <a:pt x="3688" y="2187"/>
                    </a:cubicBezTo>
                    <a:cubicBezTo>
                      <a:pt x="3250" y="1750"/>
                      <a:pt x="3250" y="1750"/>
                      <a:pt x="3250" y="1750"/>
                    </a:cubicBezTo>
                    <a:cubicBezTo>
                      <a:pt x="500" y="1750"/>
                      <a:pt x="500" y="1750"/>
                      <a:pt x="500" y="1750"/>
                    </a:cubicBezTo>
                    <a:cubicBezTo>
                      <a:pt x="63" y="2187"/>
                      <a:pt x="63" y="2187"/>
                      <a:pt x="63" y="2187"/>
                    </a:cubicBezTo>
                    <a:cubicBezTo>
                      <a:pt x="24" y="2235"/>
                      <a:pt x="0" y="2302"/>
                      <a:pt x="0" y="2375"/>
                    </a:cubicBezTo>
                    <a:close/>
                  </a:path>
                </a:pathLst>
              </a:custGeom>
              <a:noFill/>
              <a:ln w="15875">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7857" tIns="43929" rIns="87857" bIns="43929" numCol="1" anchor="t" anchorCtr="0" compatLnSpc="1">
                <a:prstTxWarp prst="textNoShape">
                  <a:avLst/>
                </a:prstTxWarp>
              </a:bodyPr>
              <a:lstStyle/>
              <a:p>
                <a:pPr defTabSz="878463">
                  <a:defRPr/>
                </a:pPr>
                <a:endParaRPr lang="en-US" sz="1729" kern="0">
                  <a:solidFill>
                    <a:sysClr val="windowText" lastClr="000000"/>
                  </a:solidFill>
                  <a:latin typeface="Segoe UI Semilight"/>
                </a:endParaRPr>
              </a:p>
            </p:txBody>
          </p:sp>
          <p:sp>
            <p:nvSpPr>
              <p:cNvPr id="335" name="Isosceles Triangle 334">
                <a:extLst>
                  <a:ext uri="{FF2B5EF4-FFF2-40B4-BE49-F238E27FC236}">
                    <a16:creationId xmlns:a16="http://schemas.microsoft.com/office/drawing/2014/main" id="{69D7975D-D263-472C-AED0-0B15E17600DF}"/>
                  </a:ext>
                </a:extLst>
              </p:cNvPr>
              <p:cNvSpPr/>
              <p:nvPr/>
            </p:nvSpPr>
            <p:spPr bwMode="auto">
              <a:xfrm>
                <a:off x="4921250" y="2965450"/>
                <a:ext cx="169418" cy="146050"/>
              </a:xfrm>
              <a:prstGeom prst="triangl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grpSp>
          <p:nvGrpSpPr>
            <p:cNvPr id="336" name="Group 335">
              <a:extLst>
                <a:ext uri="{FF2B5EF4-FFF2-40B4-BE49-F238E27FC236}">
                  <a16:creationId xmlns:a16="http://schemas.microsoft.com/office/drawing/2014/main" id="{B7C25549-19FE-42C1-BFBF-CFFC35EEEF45}"/>
                </a:ext>
              </a:extLst>
            </p:cNvPr>
            <p:cNvGrpSpPr/>
            <p:nvPr/>
          </p:nvGrpSpPr>
          <p:grpSpPr>
            <a:xfrm>
              <a:off x="9281057" y="1207262"/>
              <a:ext cx="167109" cy="277928"/>
              <a:chOff x="5622072" y="3034107"/>
              <a:chExt cx="225306" cy="374720"/>
            </a:xfrm>
          </p:grpSpPr>
          <p:sp>
            <p:nvSpPr>
              <p:cNvPr id="337" name="Freeform 5">
                <a:extLst>
                  <a:ext uri="{FF2B5EF4-FFF2-40B4-BE49-F238E27FC236}">
                    <a16:creationId xmlns:a16="http://schemas.microsoft.com/office/drawing/2014/main" id="{22C4EDB9-25DF-4419-A171-653841ECB3B3}"/>
                  </a:ext>
                </a:extLst>
              </p:cNvPr>
              <p:cNvSpPr>
                <a:spLocks noEditPoints="1"/>
              </p:cNvSpPr>
              <p:nvPr/>
            </p:nvSpPr>
            <p:spPr bwMode="auto">
              <a:xfrm>
                <a:off x="5622072" y="3034107"/>
                <a:ext cx="225306" cy="374720"/>
              </a:xfrm>
              <a:custGeom>
                <a:avLst/>
                <a:gdLst>
                  <a:gd name="T0" fmla="*/ 2125 w 2250"/>
                  <a:gd name="T1" fmla="*/ 3750 h 3750"/>
                  <a:gd name="T2" fmla="*/ 125 w 2250"/>
                  <a:gd name="T3" fmla="*/ 3750 h 3750"/>
                  <a:gd name="T4" fmla="*/ 0 w 2250"/>
                  <a:gd name="T5" fmla="*/ 3625 h 3750"/>
                  <a:gd name="T6" fmla="*/ 0 w 2250"/>
                  <a:gd name="T7" fmla="*/ 125 h 3750"/>
                  <a:gd name="T8" fmla="*/ 125 w 2250"/>
                  <a:gd name="T9" fmla="*/ 0 h 3750"/>
                  <a:gd name="T10" fmla="*/ 2125 w 2250"/>
                  <a:gd name="T11" fmla="*/ 0 h 3750"/>
                  <a:gd name="T12" fmla="*/ 2250 w 2250"/>
                  <a:gd name="T13" fmla="*/ 125 h 3750"/>
                  <a:gd name="T14" fmla="*/ 2250 w 2250"/>
                  <a:gd name="T15" fmla="*/ 3625 h 3750"/>
                  <a:gd name="T16" fmla="*/ 2125 w 2250"/>
                  <a:gd name="T17" fmla="*/ 3750 h 3750"/>
                  <a:gd name="T18" fmla="*/ 875 w 2250"/>
                  <a:gd name="T19" fmla="*/ 3250 h 3750"/>
                  <a:gd name="T20" fmla="*/ 1375 w 2250"/>
                  <a:gd name="T21" fmla="*/ 3250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50" h="3750">
                    <a:moveTo>
                      <a:pt x="2125" y="3750"/>
                    </a:moveTo>
                    <a:cubicBezTo>
                      <a:pt x="125" y="3750"/>
                      <a:pt x="125" y="3750"/>
                      <a:pt x="125" y="3750"/>
                    </a:cubicBezTo>
                    <a:cubicBezTo>
                      <a:pt x="56" y="3750"/>
                      <a:pt x="0" y="3694"/>
                      <a:pt x="0" y="3625"/>
                    </a:cubicBezTo>
                    <a:cubicBezTo>
                      <a:pt x="0" y="125"/>
                      <a:pt x="0" y="125"/>
                      <a:pt x="0" y="125"/>
                    </a:cubicBezTo>
                    <a:cubicBezTo>
                      <a:pt x="0" y="56"/>
                      <a:pt x="56" y="0"/>
                      <a:pt x="125" y="0"/>
                    </a:cubicBezTo>
                    <a:cubicBezTo>
                      <a:pt x="2125" y="0"/>
                      <a:pt x="2125" y="0"/>
                      <a:pt x="2125" y="0"/>
                    </a:cubicBezTo>
                    <a:cubicBezTo>
                      <a:pt x="2194" y="0"/>
                      <a:pt x="2250" y="56"/>
                      <a:pt x="2250" y="125"/>
                    </a:cubicBezTo>
                    <a:cubicBezTo>
                      <a:pt x="2250" y="3625"/>
                      <a:pt x="2250" y="3625"/>
                      <a:pt x="2250" y="3625"/>
                    </a:cubicBezTo>
                    <a:cubicBezTo>
                      <a:pt x="2250" y="3694"/>
                      <a:pt x="2194" y="3750"/>
                      <a:pt x="2125" y="3750"/>
                    </a:cubicBezTo>
                    <a:close/>
                    <a:moveTo>
                      <a:pt x="875" y="3250"/>
                    </a:moveTo>
                    <a:cubicBezTo>
                      <a:pt x="1375" y="3250"/>
                      <a:pt x="1375" y="3250"/>
                      <a:pt x="1375" y="3250"/>
                    </a:cubicBezTo>
                  </a:path>
                </a:pathLst>
              </a:custGeom>
              <a:noFill/>
              <a:ln w="15875">
                <a:solidFill>
                  <a:schemeClr val="tx1"/>
                </a:solidFill>
                <a:headEnd type="none"/>
                <a:tailEnd type="none"/>
              </a:ln>
              <a:extLst>
                <a:ext uri="{909E8E84-426E-40DD-AFC4-6F175D3DCCD1}">
                  <a14:hiddenFill xmlns:a14="http://schemas.microsoft.com/office/drawing/2010/main">
                    <a:solidFill>
                      <a:srgbClr val="FFFFFF"/>
                    </a:solidFill>
                  </a14:hiddenFill>
                </a:ext>
              </a:extLst>
            </p:spPr>
            <p:style>
              <a:lnRef idx="1">
                <a:schemeClr val="accent1"/>
              </a:lnRef>
              <a:fillRef idx="0">
                <a:schemeClr val="accent1"/>
              </a:fillRef>
              <a:effectRef idx="0">
                <a:schemeClr val="accent1"/>
              </a:effectRef>
              <a:fontRef idx="minor">
                <a:schemeClr val="tx1"/>
              </a:fontRef>
            </p:style>
            <p:txBody>
              <a:bodyPr vert="horz" wrap="square" lIns="87857" tIns="43929" rIns="87857" bIns="43929" numCol="1" anchor="t" anchorCtr="0" compatLnSpc="1">
                <a:prstTxWarp prst="textNoShape">
                  <a:avLst/>
                </a:prstTxWarp>
              </a:bodyPr>
              <a:lstStyle/>
              <a:p>
                <a:pPr defTabSz="878463">
                  <a:defRPr/>
                </a:pPr>
                <a:endParaRPr lang="en-US" sz="1729" kern="0">
                  <a:solidFill>
                    <a:sysClr val="windowText" lastClr="000000"/>
                  </a:solidFill>
                  <a:latin typeface="Segoe UI Semilight"/>
                </a:endParaRPr>
              </a:p>
            </p:txBody>
          </p:sp>
          <p:sp>
            <p:nvSpPr>
              <p:cNvPr id="338" name="Oval 337">
                <a:extLst>
                  <a:ext uri="{FF2B5EF4-FFF2-40B4-BE49-F238E27FC236}">
                    <a16:creationId xmlns:a16="http://schemas.microsoft.com/office/drawing/2014/main" id="{49E0CDD8-EBB5-4401-984F-C16F4FDFF1F7}"/>
                  </a:ext>
                </a:extLst>
              </p:cNvPr>
              <p:cNvSpPr/>
              <p:nvPr/>
            </p:nvSpPr>
            <p:spPr bwMode="auto">
              <a:xfrm>
                <a:off x="5670550" y="3124200"/>
                <a:ext cx="107950" cy="107950"/>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sp>
          <p:nvSpPr>
            <p:cNvPr id="339" name="Intelligent Cloud">
              <a:extLst>
                <a:ext uri="{FF2B5EF4-FFF2-40B4-BE49-F238E27FC236}">
                  <a16:creationId xmlns:a16="http://schemas.microsoft.com/office/drawing/2014/main" id="{9C57B8D7-ECC4-44BE-8D0B-35A52D01FA8D}"/>
                </a:ext>
              </a:extLst>
            </p:cNvPr>
            <p:cNvSpPr txBox="1"/>
            <p:nvPr/>
          </p:nvSpPr>
          <p:spPr>
            <a:xfrm>
              <a:off x="7079292" y="5749699"/>
              <a:ext cx="2957868" cy="785986"/>
            </a:xfrm>
            <a:prstGeom prst="rect">
              <a:avLst/>
            </a:prstGeom>
            <a:solidFill>
              <a:srgbClr val="E6E6E6"/>
            </a:solidFill>
          </p:spPr>
          <p:txBody>
            <a:bodyPr wrap="none" lIns="175715" tIns="140572" rIns="175715" bIns="140572" rtlCol="0">
              <a:spAutoFit/>
            </a:bodyPr>
            <a:lstStyle/>
            <a:p>
              <a:pPr algn="ctr" defTabSz="878463">
                <a:lnSpc>
                  <a:spcPct val="90000"/>
                </a:lnSpc>
                <a:spcAft>
                  <a:spcPts val="576"/>
                </a:spcAft>
                <a:defRPr/>
              </a:pPr>
              <a:r>
                <a:rPr lang="en-US" sz="2399" kern="0" spc="-48" dirty="0">
                  <a:gradFill>
                    <a:gsLst>
                      <a:gs pos="20000">
                        <a:srgbClr val="353535"/>
                      </a:gs>
                      <a:gs pos="68000">
                        <a:srgbClr val="353535"/>
                      </a:gs>
                    </a:gsLst>
                    <a:lin ang="5400000" scaled="0"/>
                  </a:gradFill>
                  <a:latin typeface="Segoe UI Semilight" panose="020B0402040204020203" pitchFamily="34" charset="0"/>
                  <a:cs typeface="Segoe UI Semilight" panose="020B0402040204020203" pitchFamily="34" charset="0"/>
                </a:rPr>
                <a:t>Intelligent Edge</a:t>
              </a:r>
            </a:p>
          </p:txBody>
        </p:sp>
      </p:grpSp>
      <p:grpSp>
        <p:nvGrpSpPr>
          <p:cNvPr id="22" name="Group 21">
            <a:extLst>
              <a:ext uri="{FF2B5EF4-FFF2-40B4-BE49-F238E27FC236}">
                <a16:creationId xmlns:a16="http://schemas.microsoft.com/office/drawing/2014/main" id="{A2537A98-8BD8-4712-9F4B-EDFD3C7FE7ED}"/>
              </a:ext>
            </a:extLst>
          </p:cNvPr>
          <p:cNvGrpSpPr/>
          <p:nvPr/>
        </p:nvGrpSpPr>
        <p:grpSpPr>
          <a:xfrm>
            <a:off x="2195985" y="4604025"/>
            <a:ext cx="5090928" cy="1120487"/>
            <a:chOff x="7570374" y="4108732"/>
            <a:chExt cx="5298522" cy="1166178"/>
          </a:xfrm>
        </p:grpSpPr>
        <p:sp>
          <p:nvSpPr>
            <p:cNvPr id="2" name="Rectangle 1">
              <a:extLst>
                <a:ext uri="{FF2B5EF4-FFF2-40B4-BE49-F238E27FC236}">
                  <a16:creationId xmlns:a16="http://schemas.microsoft.com/office/drawing/2014/main" id="{EAA796DB-E04D-44CC-B9A5-57704B0BF26E}"/>
                </a:ext>
              </a:extLst>
            </p:cNvPr>
            <p:cNvSpPr/>
            <p:nvPr/>
          </p:nvSpPr>
          <p:spPr bwMode="auto">
            <a:xfrm>
              <a:off x="8460893" y="4108732"/>
              <a:ext cx="4408003" cy="1166178"/>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ctr" anchorCtr="0" forceAA="0" compatLnSpc="1">
              <a:prstTxWarp prst="textNoShape">
                <a:avLst/>
              </a:prstTxWarp>
              <a:noAutofit/>
            </a:bodyPr>
            <a:lstStyle/>
            <a:p>
              <a:pPr defTabSz="895825" fontAlgn="base">
                <a:lnSpc>
                  <a:spcPct val="90000"/>
                </a:lnSpc>
                <a:spcBef>
                  <a:spcPct val="0"/>
                </a:spcBef>
                <a:spcAft>
                  <a:spcPct val="0"/>
                </a:spcAft>
                <a:defRPr/>
              </a:pPr>
              <a:r>
                <a:rPr lang="en-US" sz="2306" kern="0">
                  <a:gradFill>
                    <a:gsLst>
                      <a:gs pos="20000">
                        <a:srgbClr val="353535"/>
                      </a:gs>
                      <a:gs pos="68000">
                        <a:srgbClr val="353535"/>
                      </a:gs>
                    </a:gsLst>
                    <a:lin ang="5400000" scaled="0"/>
                  </a:gradFill>
                  <a:latin typeface="Segoe UI Semilight" panose="020B0402040204020203" pitchFamily="34" charset="0"/>
                  <a:cs typeface="Segoe UI Semilight" panose="020B0402040204020203" pitchFamily="34" charset="0"/>
                </a:rPr>
                <a:t>Serverless</a:t>
              </a:r>
            </a:p>
          </p:txBody>
        </p:sp>
        <p:grpSp>
          <p:nvGrpSpPr>
            <p:cNvPr id="3" name="Group 2">
              <a:extLst>
                <a:ext uri="{FF2B5EF4-FFF2-40B4-BE49-F238E27FC236}">
                  <a16:creationId xmlns:a16="http://schemas.microsoft.com/office/drawing/2014/main" id="{3175D359-B53A-4B0C-B11D-A6B4CEECA5D3}"/>
                </a:ext>
              </a:extLst>
            </p:cNvPr>
            <p:cNvGrpSpPr/>
            <p:nvPr/>
          </p:nvGrpSpPr>
          <p:grpSpPr>
            <a:xfrm>
              <a:off x="7570374" y="4364825"/>
              <a:ext cx="649622" cy="653992"/>
              <a:chOff x="7527828" y="1603651"/>
              <a:chExt cx="943158" cy="949502"/>
            </a:xfrm>
          </p:grpSpPr>
          <p:sp>
            <p:nvSpPr>
              <p:cNvPr id="4" name="Freeform 22">
                <a:extLst>
                  <a:ext uri="{FF2B5EF4-FFF2-40B4-BE49-F238E27FC236}">
                    <a16:creationId xmlns:a16="http://schemas.microsoft.com/office/drawing/2014/main" id="{796CCD65-E631-438C-99FE-BCFC1FD70DE3}"/>
                  </a:ext>
                </a:extLst>
              </p:cNvPr>
              <p:cNvSpPr>
                <a:spLocks/>
              </p:cNvSpPr>
              <p:nvPr/>
            </p:nvSpPr>
            <p:spPr bwMode="auto">
              <a:xfrm>
                <a:off x="7994247" y="1860287"/>
                <a:ext cx="166410" cy="318003"/>
              </a:xfrm>
              <a:custGeom>
                <a:avLst/>
                <a:gdLst>
                  <a:gd name="T0" fmla="*/ 0 w 146"/>
                  <a:gd name="T1" fmla="*/ 0 h 279"/>
                  <a:gd name="T2" fmla="*/ 0 w 146"/>
                  <a:gd name="T3" fmla="*/ 196 h 279"/>
                  <a:gd name="T4" fmla="*/ 146 w 146"/>
                  <a:gd name="T5" fmla="*/ 279 h 279"/>
                </a:gdLst>
                <a:ahLst/>
                <a:cxnLst>
                  <a:cxn ang="0">
                    <a:pos x="T0" y="T1"/>
                  </a:cxn>
                  <a:cxn ang="0">
                    <a:pos x="T2" y="T3"/>
                  </a:cxn>
                  <a:cxn ang="0">
                    <a:pos x="T4" y="T5"/>
                  </a:cxn>
                </a:cxnLst>
                <a:rect l="0" t="0" r="r" b="b"/>
                <a:pathLst>
                  <a:path w="146" h="279">
                    <a:moveTo>
                      <a:pt x="0" y="0"/>
                    </a:moveTo>
                    <a:lnTo>
                      <a:pt x="0" y="196"/>
                    </a:lnTo>
                    <a:lnTo>
                      <a:pt x="146" y="279"/>
                    </a:lnTo>
                  </a:path>
                </a:pathLst>
              </a:cu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78463">
                  <a:defRPr/>
                </a:pPr>
                <a:endParaRPr lang="en-US" sz="1729" kern="0">
                  <a:solidFill>
                    <a:sysClr val="windowText" lastClr="000000"/>
                  </a:solidFill>
                  <a:latin typeface="Segoe UI Semilight"/>
                </a:endParaRPr>
              </a:p>
            </p:txBody>
          </p:sp>
          <p:sp>
            <p:nvSpPr>
              <p:cNvPr id="5" name="Oval 4">
                <a:extLst>
                  <a:ext uri="{FF2B5EF4-FFF2-40B4-BE49-F238E27FC236}">
                    <a16:creationId xmlns:a16="http://schemas.microsoft.com/office/drawing/2014/main" id="{68BFE69E-D6B9-40E1-A29C-5036D10CB0FD}"/>
                  </a:ext>
                </a:extLst>
              </p:cNvPr>
              <p:cNvSpPr/>
              <p:nvPr/>
            </p:nvSpPr>
            <p:spPr bwMode="auto">
              <a:xfrm>
                <a:off x="7579902" y="1667336"/>
                <a:ext cx="833061" cy="833060"/>
              </a:xfrm>
              <a:prstGeom prst="ellips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78463">
                  <a:defRPr/>
                </a:pPr>
                <a:endParaRPr lang="en-US" sz="1729" kern="0" err="1">
                  <a:solidFill>
                    <a:sysClr val="windowText" lastClr="000000"/>
                  </a:solidFill>
                  <a:latin typeface="Segoe UI Semilight"/>
                </a:endParaRPr>
              </a:p>
            </p:txBody>
          </p:sp>
          <p:sp useBgFill="1">
            <p:nvSpPr>
              <p:cNvPr id="6" name="Rectangle 5">
                <a:extLst>
                  <a:ext uri="{FF2B5EF4-FFF2-40B4-BE49-F238E27FC236}">
                    <a16:creationId xmlns:a16="http://schemas.microsoft.com/office/drawing/2014/main" id="{B3992772-BCF6-48D4-8631-8494FB6FFC8B}"/>
                  </a:ext>
                </a:extLst>
              </p:cNvPr>
              <p:cNvSpPr/>
              <p:nvPr/>
            </p:nvSpPr>
            <p:spPr bwMode="auto">
              <a:xfrm rot="20637905">
                <a:off x="8350247" y="1930610"/>
                <a:ext cx="115754" cy="99639"/>
              </a:xfrm>
              <a:prstGeom prst="rect">
                <a:avLst/>
              </a:prstGeom>
              <a:ln w="15875">
                <a:noFill/>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t" anchorCtr="0" forceAA="0" compatLnSpc="1">
                <a:prstTxWarp prst="textNoShape">
                  <a:avLst/>
                </a:prstTxWarp>
                <a:noAutofit/>
              </a:bodyPr>
              <a:lstStyle/>
              <a:p>
                <a:pPr algn="ctr" defTabSz="895825" fontAlgn="base">
                  <a:lnSpc>
                    <a:spcPct val="90000"/>
                  </a:lnSpc>
                  <a:spcBef>
                    <a:spcPct val="0"/>
                  </a:spcBef>
                  <a:spcAft>
                    <a:spcPct val="0"/>
                  </a:spcAft>
                  <a:defRPr/>
                </a:pPr>
                <a:endParaRPr lang="en-US" sz="2306" kern="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 name="Freeform 36">
                <a:extLst>
                  <a:ext uri="{FF2B5EF4-FFF2-40B4-BE49-F238E27FC236}">
                    <a16:creationId xmlns:a16="http://schemas.microsoft.com/office/drawing/2014/main" id="{C822E1C1-A405-4DD9-87E5-6FDBA0FB3B43}"/>
                  </a:ext>
                </a:extLst>
              </p:cNvPr>
              <p:cNvSpPr>
                <a:spLocks/>
              </p:cNvSpPr>
              <p:nvPr/>
            </p:nvSpPr>
            <p:spPr bwMode="auto">
              <a:xfrm rot="12755080">
                <a:off x="8369481" y="2041285"/>
                <a:ext cx="101505" cy="103183"/>
              </a:xfrm>
              <a:custGeom>
                <a:avLst/>
                <a:gdLst>
                  <a:gd name="T0" fmla="*/ 121 w 121"/>
                  <a:gd name="T1" fmla="*/ 0 h 123"/>
                  <a:gd name="T2" fmla="*/ 119 w 121"/>
                  <a:gd name="T3" fmla="*/ 123 h 123"/>
                  <a:gd name="T4" fmla="*/ 0 w 121"/>
                  <a:gd name="T5" fmla="*/ 121 h 123"/>
                </a:gdLst>
                <a:ahLst/>
                <a:cxnLst>
                  <a:cxn ang="0">
                    <a:pos x="T0" y="T1"/>
                  </a:cxn>
                  <a:cxn ang="0">
                    <a:pos x="T2" y="T3"/>
                  </a:cxn>
                  <a:cxn ang="0">
                    <a:pos x="T4" y="T5"/>
                  </a:cxn>
                </a:cxnLst>
                <a:rect l="0" t="0" r="r" b="b"/>
                <a:pathLst>
                  <a:path w="121" h="123">
                    <a:moveTo>
                      <a:pt x="121" y="0"/>
                    </a:moveTo>
                    <a:lnTo>
                      <a:pt x="119" y="123"/>
                    </a:lnTo>
                    <a:lnTo>
                      <a:pt x="0" y="121"/>
                    </a:lnTo>
                  </a:path>
                </a:pathLst>
              </a:cu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78463">
                  <a:defRPr/>
                </a:pPr>
                <a:endParaRPr lang="en-US" sz="1729" kern="0">
                  <a:solidFill>
                    <a:sysClr val="windowText" lastClr="000000"/>
                  </a:solidFill>
                  <a:latin typeface="Segoe UI Semilight"/>
                </a:endParaRPr>
              </a:p>
            </p:txBody>
          </p:sp>
          <p:sp useBgFill="1">
            <p:nvSpPr>
              <p:cNvPr id="8" name="Oval 19">
                <a:extLst>
                  <a:ext uri="{FF2B5EF4-FFF2-40B4-BE49-F238E27FC236}">
                    <a16:creationId xmlns:a16="http://schemas.microsoft.com/office/drawing/2014/main" id="{FBE3718E-0C24-481C-A1B8-E7AEBE4BD7AC}"/>
                  </a:ext>
                </a:extLst>
              </p:cNvPr>
              <p:cNvSpPr>
                <a:spLocks noChangeArrowheads="1"/>
              </p:cNvSpPr>
              <p:nvPr/>
            </p:nvSpPr>
            <p:spPr bwMode="auto">
              <a:xfrm>
                <a:off x="7939779" y="1603651"/>
                <a:ext cx="113307" cy="113307"/>
              </a:xfrm>
              <a:prstGeom prst="ellipse">
                <a:avLst/>
              </a:prstGeom>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78463">
                  <a:defRPr/>
                </a:pPr>
                <a:endParaRPr lang="en-US" sz="1729" kern="0">
                  <a:solidFill>
                    <a:sysClr val="windowText" lastClr="000000"/>
                  </a:solidFill>
                  <a:latin typeface="Segoe UI Semilight"/>
                </a:endParaRPr>
              </a:p>
            </p:txBody>
          </p:sp>
          <p:sp useBgFill="1">
            <p:nvSpPr>
              <p:cNvPr id="9" name="Oval 20">
                <a:extLst>
                  <a:ext uri="{FF2B5EF4-FFF2-40B4-BE49-F238E27FC236}">
                    <a16:creationId xmlns:a16="http://schemas.microsoft.com/office/drawing/2014/main" id="{B40C1227-6C82-4D14-87D3-37F4B4E9C180}"/>
                  </a:ext>
                </a:extLst>
              </p:cNvPr>
              <p:cNvSpPr>
                <a:spLocks noChangeArrowheads="1"/>
              </p:cNvSpPr>
              <p:nvPr/>
            </p:nvSpPr>
            <p:spPr bwMode="auto">
              <a:xfrm>
                <a:off x="7527828" y="2015601"/>
                <a:ext cx="113307" cy="113307"/>
              </a:xfrm>
              <a:prstGeom prst="ellipse">
                <a:avLst/>
              </a:prstGeom>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78463">
                  <a:defRPr/>
                </a:pPr>
                <a:endParaRPr lang="en-US" sz="1729" kern="0">
                  <a:solidFill>
                    <a:sysClr val="windowText" lastClr="000000"/>
                  </a:solidFill>
                  <a:latin typeface="Segoe UI Semilight"/>
                </a:endParaRPr>
              </a:p>
            </p:txBody>
          </p:sp>
          <p:sp useBgFill="1">
            <p:nvSpPr>
              <p:cNvPr id="10" name="Oval 21">
                <a:extLst>
                  <a:ext uri="{FF2B5EF4-FFF2-40B4-BE49-F238E27FC236}">
                    <a16:creationId xmlns:a16="http://schemas.microsoft.com/office/drawing/2014/main" id="{E108485B-7C07-44CE-8C88-942F9DF58C0C}"/>
                  </a:ext>
                </a:extLst>
              </p:cNvPr>
              <p:cNvSpPr>
                <a:spLocks noChangeArrowheads="1"/>
              </p:cNvSpPr>
              <p:nvPr/>
            </p:nvSpPr>
            <p:spPr bwMode="auto">
              <a:xfrm>
                <a:off x="7939779" y="2439846"/>
                <a:ext cx="113307" cy="113307"/>
              </a:xfrm>
              <a:prstGeom prst="ellipse">
                <a:avLst/>
              </a:prstGeom>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78463">
                  <a:defRPr/>
                </a:pPr>
                <a:endParaRPr lang="en-US" sz="1729" kern="0">
                  <a:solidFill>
                    <a:sysClr val="windowText" lastClr="000000"/>
                  </a:solidFill>
                  <a:latin typeface="Segoe UI Semilight"/>
                </a:endParaRPr>
              </a:p>
            </p:txBody>
          </p:sp>
        </p:grpSp>
      </p:grpSp>
      <p:grpSp>
        <p:nvGrpSpPr>
          <p:cNvPr id="20" name="Group 19">
            <a:extLst>
              <a:ext uri="{FF2B5EF4-FFF2-40B4-BE49-F238E27FC236}">
                <a16:creationId xmlns:a16="http://schemas.microsoft.com/office/drawing/2014/main" id="{1616D94F-E801-455E-BA0C-6E5A0D44F186}"/>
              </a:ext>
            </a:extLst>
          </p:cNvPr>
          <p:cNvGrpSpPr/>
          <p:nvPr/>
        </p:nvGrpSpPr>
        <p:grpSpPr>
          <a:xfrm>
            <a:off x="2193420" y="2308513"/>
            <a:ext cx="5093493" cy="1120487"/>
            <a:chOff x="7567704" y="1719615"/>
            <a:chExt cx="5301192" cy="1166178"/>
          </a:xfrm>
        </p:grpSpPr>
        <p:sp>
          <p:nvSpPr>
            <p:cNvPr id="13" name="Rectangle 12">
              <a:extLst>
                <a:ext uri="{FF2B5EF4-FFF2-40B4-BE49-F238E27FC236}">
                  <a16:creationId xmlns:a16="http://schemas.microsoft.com/office/drawing/2014/main" id="{6E3D3CAE-DA34-4725-9165-131057B3C41B}"/>
                </a:ext>
              </a:extLst>
            </p:cNvPr>
            <p:cNvSpPr/>
            <p:nvPr/>
          </p:nvSpPr>
          <p:spPr bwMode="auto">
            <a:xfrm>
              <a:off x="8460893" y="1719615"/>
              <a:ext cx="4408003" cy="1166178"/>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ctr" anchorCtr="0" forceAA="0" compatLnSpc="1">
              <a:prstTxWarp prst="textNoShape">
                <a:avLst/>
              </a:prstTxWarp>
              <a:noAutofit/>
            </a:bodyPr>
            <a:lstStyle/>
            <a:p>
              <a:pPr defTabSz="895825" fontAlgn="base">
                <a:lnSpc>
                  <a:spcPct val="90000"/>
                </a:lnSpc>
                <a:spcBef>
                  <a:spcPct val="0"/>
                </a:spcBef>
                <a:spcAft>
                  <a:spcPct val="0"/>
                </a:spcAft>
                <a:defRPr/>
              </a:pPr>
              <a:r>
                <a:rPr lang="en-US" sz="2306" kern="0">
                  <a:gradFill>
                    <a:gsLst>
                      <a:gs pos="20000">
                        <a:srgbClr val="353535"/>
                      </a:gs>
                      <a:gs pos="68000">
                        <a:srgbClr val="353535"/>
                      </a:gs>
                    </a:gsLst>
                    <a:lin ang="5400000" scaled="0"/>
                  </a:gradFill>
                  <a:latin typeface="Segoe UI Semilight" panose="020B0402040204020203" pitchFamily="34" charset="0"/>
                  <a:cs typeface="Segoe UI Semilight" panose="020B0402040204020203" pitchFamily="34" charset="0"/>
                </a:rPr>
                <a:t>Multi-device,</a:t>
              </a:r>
              <a:br>
                <a:rPr lang="en-US" sz="2306" kern="0">
                  <a:gradFill>
                    <a:gsLst>
                      <a:gs pos="20000">
                        <a:srgbClr val="353535"/>
                      </a:gs>
                      <a:gs pos="68000">
                        <a:srgbClr val="353535"/>
                      </a:gs>
                    </a:gsLst>
                    <a:lin ang="5400000" scaled="0"/>
                  </a:gradFill>
                  <a:latin typeface="Segoe UI Semilight" panose="020B0402040204020203" pitchFamily="34" charset="0"/>
                  <a:cs typeface="Segoe UI Semilight" panose="020B0402040204020203" pitchFamily="34" charset="0"/>
                </a:rPr>
              </a:br>
              <a:r>
                <a:rPr lang="en-US" sz="2306" kern="0">
                  <a:gradFill>
                    <a:gsLst>
                      <a:gs pos="20000">
                        <a:srgbClr val="353535"/>
                      </a:gs>
                      <a:gs pos="68000">
                        <a:srgbClr val="353535"/>
                      </a:gs>
                    </a:gsLst>
                    <a:lin ang="5400000" scaled="0"/>
                  </a:gradFill>
                  <a:latin typeface="Segoe UI Semilight" panose="020B0402040204020203" pitchFamily="34" charset="0"/>
                  <a:cs typeface="Segoe UI Semilight" panose="020B0402040204020203" pitchFamily="34" charset="0"/>
                </a:rPr>
                <a:t>Multi-sense</a:t>
              </a:r>
            </a:p>
          </p:txBody>
        </p:sp>
        <p:grpSp>
          <p:nvGrpSpPr>
            <p:cNvPr id="23" name="Group 22">
              <a:extLst>
                <a:ext uri="{FF2B5EF4-FFF2-40B4-BE49-F238E27FC236}">
                  <a16:creationId xmlns:a16="http://schemas.microsoft.com/office/drawing/2014/main" id="{E4BAE1BE-77AA-4CE2-88E8-6B9653A9B48D}"/>
                </a:ext>
              </a:extLst>
            </p:cNvPr>
            <p:cNvGrpSpPr/>
            <p:nvPr/>
          </p:nvGrpSpPr>
          <p:grpSpPr>
            <a:xfrm>
              <a:off x="7567704" y="2051763"/>
              <a:ext cx="654962" cy="501882"/>
              <a:chOff x="3435452" y="1174750"/>
              <a:chExt cx="950912" cy="728663"/>
            </a:xfrm>
          </p:grpSpPr>
          <p:sp>
            <p:nvSpPr>
              <p:cNvPr id="24" name="Line 5">
                <a:extLst>
                  <a:ext uri="{FF2B5EF4-FFF2-40B4-BE49-F238E27FC236}">
                    <a16:creationId xmlns:a16="http://schemas.microsoft.com/office/drawing/2014/main" id="{871BF623-C3EF-4E26-9F76-40CDBA5290E2}"/>
                  </a:ext>
                </a:extLst>
              </p:cNvPr>
              <p:cNvSpPr>
                <a:spLocks noChangeShapeType="1"/>
              </p:cNvSpPr>
              <p:nvPr/>
            </p:nvSpPr>
            <p:spPr bwMode="auto">
              <a:xfrm>
                <a:off x="4084740" y="1903413"/>
                <a:ext cx="192087" cy="0"/>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78463">
                  <a:defRPr/>
                </a:pPr>
                <a:endParaRPr lang="en-US" sz="1729" kern="0">
                  <a:solidFill>
                    <a:sysClr val="windowText" lastClr="000000"/>
                  </a:solidFill>
                  <a:latin typeface="Segoe UI Semilight"/>
                </a:endParaRPr>
              </a:p>
            </p:txBody>
          </p:sp>
          <p:sp>
            <p:nvSpPr>
              <p:cNvPr id="25" name="Freeform 6">
                <a:extLst>
                  <a:ext uri="{FF2B5EF4-FFF2-40B4-BE49-F238E27FC236}">
                    <a16:creationId xmlns:a16="http://schemas.microsoft.com/office/drawing/2014/main" id="{DEA7641F-DFA7-4BBA-9738-81604E62BE39}"/>
                  </a:ext>
                </a:extLst>
              </p:cNvPr>
              <p:cNvSpPr>
                <a:spLocks/>
              </p:cNvSpPr>
              <p:nvPr/>
            </p:nvSpPr>
            <p:spPr bwMode="auto">
              <a:xfrm>
                <a:off x="3508477" y="1581150"/>
                <a:ext cx="190500" cy="322263"/>
              </a:xfrm>
              <a:custGeom>
                <a:avLst/>
                <a:gdLst>
                  <a:gd name="T0" fmla="*/ 65 w 68"/>
                  <a:gd name="T1" fmla="*/ 114 h 114"/>
                  <a:gd name="T2" fmla="*/ 4 w 68"/>
                  <a:gd name="T3" fmla="*/ 114 h 114"/>
                  <a:gd name="T4" fmla="*/ 0 w 68"/>
                  <a:gd name="T5" fmla="*/ 110 h 114"/>
                  <a:gd name="T6" fmla="*/ 0 w 68"/>
                  <a:gd name="T7" fmla="*/ 4 h 114"/>
                  <a:gd name="T8" fmla="*/ 4 w 68"/>
                  <a:gd name="T9" fmla="*/ 0 h 114"/>
                  <a:gd name="T10" fmla="*/ 65 w 68"/>
                  <a:gd name="T11" fmla="*/ 0 h 114"/>
                  <a:gd name="T12" fmla="*/ 68 w 68"/>
                  <a:gd name="T13" fmla="*/ 4 h 114"/>
                  <a:gd name="T14" fmla="*/ 68 w 68"/>
                  <a:gd name="T15" fmla="*/ 110 h 114"/>
                  <a:gd name="T16" fmla="*/ 65 w 68"/>
                  <a:gd name="T17"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114">
                    <a:moveTo>
                      <a:pt x="65" y="114"/>
                    </a:moveTo>
                    <a:cubicBezTo>
                      <a:pt x="4" y="114"/>
                      <a:pt x="4" y="114"/>
                      <a:pt x="4" y="114"/>
                    </a:cubicBezTo>
                    <a:cubicBezTo>
                      <a:pt x="2" y="114"/>
                      <a:pt x="0" y="112"/>
                      <a:pt x="0" y="110"/>
                    </a:cubicBezTo>
                    <a:cubicBezTo>
                      <a:pt x="0" y="4"/>
                      <a:pt x="0" y="4"/>
                      <a:pt x="0" y="4"/>
                    </a:cubicBezTo>
                    <a:cubicBezTo>
                      <a:pt x="0" y="2"/>
                      <a:pt x="2" y="0"/>
                      <a:pt x="4" y="0"/>
                    </a:cubicBezTo>
                    <a:cubicBezTo>
                      <a:pt x="65" y="0"/>
                      <a:pt x="65" y="0"/>
                      <a:pt x="65" y="0"/>
                    </a:cubicBezTo>
                    <a:cubicBezTo>
                      <a:pt x="67" y="0"/>
                      <a:pt x="68" y="2"/>
                      <a:pt x="68" y="4"/>
                    </a:cubicBezTo>
                    <a:cubicBezTo>
                      <a:pt x="68" y="110"/>
                      <a:pt x="68" y="110"/>
                      <a:pt x="68" y="110"/>
                    </a:cubicBezTo>
                    <a:cubicBezTo>
                      <a:pt x="68" y="112"/>
                      <a:pt x="67" y="114"/>
                      <a:pt x="65" y="114"/>
                    </a:cubicBezTo>
                    <a:close/>
                  </a:path>
                </a:pathLst>
              </a:cu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78463">
                  <a:defRPr/>
                </a:pPr>
                <a:endParaRPr lang="en-US" sz="1729" kern="0">
                  <a:solidFill>
                    <a:sysClr val="windowText" lastClr="000000"/>
                  </a:solidFill>
                  <a:latin typeface="Segoe UI Semilight"/>
                </a:endParaRPr>
              </a:p>
            </p:txBody>
          </p:sp>
          <p:sp>
            <p:nvSpPr>
              <p:cNvPr id="26" name="Freeform 7">
                <a:extLst>
                  <a:ext uri="{FF2B5EF4-FFF2-40B4-BE49-F238E27FC236}">
                    <a16:creationId xmlns:a16="http://schemas.microsoft.com/office/drawing/2014/main" id="{A19DD276-28C7-43DA-B695-875F37C06470}"/>
                  </a:ext>
                </a:extLst>
              </p:cNvPr>
              <p:cNvSpPr>
                <a:spLocks/>
              </p:cNvSpPr>
              <p:nvPr/>
            </p:nvSpPr>
            <p:spPr bwMode="auto">
              <a:xfrm>
                <a:off x="3435452" y="1403350"/>
                <a:ext cx="681037" cy="500063"/>
              </a:xfrm>
              <a:custGeom>
                <a:avLst/>
                <a:gdLst>
                  <a:gd name="T0" fmla="*/ 242 w 242"/>
                  <a:gd name="T1" fmla="*/ 165 h 177"/>
                  <a:gd name="T2" fmla="*/ 229 w 242"/>
                  <a:gd name="T3" fmla="*/ 177 h 177"/>
                  <a:gd name="T4" fmla="*/ 12 w 242"/>
                  <a:gd name="T5" fmla="*/ 177 h 177"/>
                  <a:gd name="T6" fmla="*/ 0 w 242"/>
                  <a:gd name="T7" fmla="*/ 165 h 177"/>
                  <a:gd name="T8" fmla="*/ 0 w 242"/>
                  <a:gd name="T9" fmla="*/ 12 h 177"/>
                  <a:gd name="T10" fmla="*/ 12 w 242"/>
                  <a:gd name="T11" fmla="*/ 0 h 177"/>
                  <a:gd name="T12" fmla="*/ 229 w 242"/>
                  <a:gd name="T13" fmla="*/ 0 h 177"/>
                  <a:gd name="T14" fmla="*/ 242 w 242"/>
                  <a:gd name="T15" fmla="*/ 12 h 177"/>
                  <a:gd name="T16" fmla="*/ 242 w 242"/>
                  <a:gd name="T17" fmla="*/ 165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2" h="177">
                    <a:moveTo>
                      <a:pt x="242" y="165"/>
                    </a:moveTo>
                    <a:cubicBezTo>
                      <a:pt x="242" y="172"/>
                      <a:pt x="236" y="177"/>
                      <a:pt x="229" y="177"/>
                    </a:cubicBezTo>
                    <a:cubicBezTo>
                      <a:pt x="12" y="177"/>
                      <a:pt x="12" y="177"/>
                      <a:pt x="12" y="177"/>
                    </a:cubicBezTo>
                    <a:cubicBezTo>
                      <a:pt x="6" y="177"/>
                      <a:pt x="0" y="172"/>
                      <a:pt x="0" y="165"/>
                    </a:cubicBezTo>
                    <a:cubicBezTo>
                      <a:pt x="0" y="12"/>
                      <a:pt x="0" y="12"/>
                      <a:pt x="0" y="12"/>
                    </a:cubicBezTo>
                    <a:cubicBezTo>
                      <a:pt x="0" y="5"/>
                      <a:pt x="6" y="0"/>
                      <a:pt x="12" y="0"/>
                    </a:cubicBezTo>
                    <a:cubicBezTo>
                      <a:pt x="229" y="0"/>
                      <a:pt x="229" y="0"/>
                      <a:pt x="229" y="0"/>
                    </a:cubicBezTo>
                    <a:cubicBezTo>
                      <a:pt x="236" y="0"/>
                      <a:pt x="242" y="5"/>
                      <a:pt x="242" y="12"/>
                    </a:cubicBezTo>
                    <a:lnTo>
                      <a:pt x="242" y="165"/>
                    </a:lnTo>
                    <a:close/>
                  </a:path>
                </a:pathLst>
              </a:cu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78463">
                  <a:defRPr/>
                </a:pPr>
                <a:endParaRPr lang="en-US" sz="1729" kern="0">
                  <a:solidFill>
                    <a:sysClr val="windowText" lastClr="000000"/>
                  </a:solidFill>
                  <a:latin typeface="Segoe UI Semilight"/>
                </a:endParaRPr>
              </a:p>
            </p:txBody>
          </p:sp>
          <p:sp>
            <p:nvSpPr>
              <p:cNvPr id="27" name="Line 9">
                <a:extLst>
                  <a:ext uri="{FF2B5EF4-FFF2-40B4-BE49-F238E27FC236}">
                    <a16:creationId xmlns:a16="http://schemas.microsoft.com/office/drawing/2014/main" id="{8A45A980-CCEF-4011-9E29-52C8AD7CE0B2}"/>
                  </a:ext>
                </a:extLst>
              </p:cNvPr>
              <p:cNvSpPr>
                <a:spLocks noChangeShapeType="1"/>
              </p:cNvSpPr>
              <p:nvPr/>
            </p:nvSpPr>
            <p:spPr bwMode="auto">
              <a:xfrm flipH="1">
                <a:off x="3583090" y="1835150"/>
                <a:ext cx="44450" cy="0"/>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78463">
                  <a:defRPr/>
                </a:pPr>
                <a:endParaRPr lang="en-US" sz="1729" kern="0">
                  <a:solidFill>
                    <a:sysClr val="windowText" lastClr="000000"/>
                  </a:solidFill>
                  <a:latin typeface="Segoe UI Semilight"/>
                </a:endParaRPr>
              </a:p>
            </p:txBody>
          </p:sp>
          <p:sp>
            <p:nvSpPr>
              <p:cNvPr id="28" name="Freeform 10">
                <a:extLst>
                  <a:ext uri="{FF2B5EF4-FFF2-40B4-BE49-F238E27FC236}">
                    <a16:creationId xmlns:a16="http://schemas.microsoft.com/office/drawing/2014/main" id="{B5B10D07-CD73-479F-931F-AD9491E577AD}"/>
                  </a:ext>
                </a:extLst>
              </p:cNvPr>
              <p:cNvSpPr>
                <a:spLocks/>
              </p:cNvSpPr>
              <p:nvPr/>
            </p:nvSpPr>
            <p:spPr bwMode="auto">
              <a:xfrm>
                <a:off x="3435452" y="1174750"/>
                <a:ext cx="950912" cy="587375"/>
              </a:xfrm>
              <a:custGeom>
                <a:avLst/>
                <a:gdLst>
                  <a:gd name="T0" fmla="*/ 0 w 338"/>
                  <a:gd name="T1" fmla="*/ 93 h 208"/>
                  <a:gd name="T2" fmla="*/ 0 w 338"/>
                  <a:gd name="T3" fmla="*/ 10 h 208"/>
                  <a:gd name="T4" fmla="*/ 10 w 338"/>
                  <a:gd name="T5" fmla="*/ 0 h 208"/>
                  <a:gd name="T6" fmla="*/ 328 w 338"/>
                  <a:gd name="T7" fmla="*/ 0 h 208"/>
                  <a:gd name="T8" fmla="*/ 338 w 338"/>
                  <a:gd name="T9" fmla="*/ 10 h 208"/>
                  <a:gd name="T10" fmla="*/ 338 w 338"/>
                  <a:gd name="T11" fmla="*/ 198 h 208"/>
                  <a:gd name="T12" fmla="*/ 328 w 338"/>
                  <a:gd name="T13" fmla="*/ 208 h 208"/>
                  <a:gd name="T14" fmla="*/ 242 w 338"/>
                  <a:gd name="T15" fmla="*/ 208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8" h="208">
                    <a:moveTo>
                      <a:pt x="0" y="93"/>
                    </a:moveTo>
                    <a:cubicBezTo>
                      <a:pt x="0" y="10"/>
                      <a:pt x="0" y="10"/>
                      <a:pt x="0" y="10"/>
                    </a:cubicBezTo>
                    <a:cubicBezTo>
                      <a:pt x="0" y="5"/>
                      <a:pt x="5" y="0"/>
                      <a:pt x="10" y="0"/>
                    </a:cubicBezTo>
                    <a:cubicBezTo>
                      <a:pt x="328" y="0"/>
                      <a:pt x="328" y="0"/>
                      <a:pt x="328" y="0"/>
                    </a:cubicBezTo>
                    <a:cubicBezTo>
                      <a:pt x="334" y="0"/>
                      <a:pt x="338" y="5"/>
                      <a:pt x="338" y="10"/>
                    </a:cubicBezTo>
                    <a:cubicBezTo>
                      <a:pt x="338" y="198"/>
                      <a:pt x="338" y="198"/>
                      <a:pt x="338" y="198"/>
                    </a:cubicBezTo>
                    <a:cubicBezTo>
                      <a:pt x="338" y="203"/>
                      <a:pt x="334" y="208"/>
                      <a:pt x="328" y="208"/>
                    </a:cubicBezTo>
                    <a:cubicBezTo>
                      <a:pt x="242" y="208"/>
                      <a:pt x="242" y="208"/>
                      <a:pt x="242" y="208"/>
                    </a:cubicBezTo>
                  </a:path>
                </a:pathLst>
              </a:cu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78463">
                  <a:defRPr/>
                </a:pPr>
                <a:endParaRPr lang="en-US" sz="1729" kern="0">
                  <a:solidFill>
                    <a:sysClr val="windowText" lastClr="000000"/>
                  </a:solidFill>
                  <a:latin typeface="Segoe UI Semilight"/>
                </a:endParaRPr>
              </a:p>
            </p:txBody>
          </p:sp>
          <p:sp>
            <p:nvSpPr>
              <p:cNvPr id="29" name="Line 9">
                <a:extLst>
                  <a:ext uri="{FF2B5EF4-FFF2-40B4-BE49-F238E27FC236}">
                    <a16:creationId xmlns:a16="http://schemas.microsoft.com/office/drawing/2014/main" id="{67C644F0-9B29-4765-B914-8F46855539D7}"/>
                  </a:ext>
                </a:extLst>
              </p:cNvPr>
              <p:cNvSpPr>
                <a:spLocks noChangeShapeType="1"/>
              </p:cNvSpPr>
              <p:nvPr/>
            </p:nvSpPr>
            <p:spPr bwMode="auto">
              <a:xfrm flipH="1">
                <a:off x="3753745" y="1835150"/>
                <a:ext cx="44450" cy="0"/>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78463">
                  <a:defRPr/>
                </a:pPr>
                <a:endParaRPr lang="en-US" sz="1729" kern="0">
                  <a:solidFill>
                    <a:sysClr val="windowText" lastClr="000000"/>
                  </a:solidFill>
                  <a:latin typeface="Segoe UI Semilight"/>
                </a:endParaRPr>
              </a:p>
            </p:txBody>
          </p:sp>
          <p:sp>
            <p:nvSpPr>
              <p:cNvPr id="30" name="Freeform 11">
                <a:extLst>
                  <a:ext uri="{FF2B5EF4-FFF2-40B4-BE49-F238E27FC236}">
                    <a16:creationId xmlns:a16="http://schemas.microsoft.com/office/drawing/2014/main" id="{14CAB05E-8027-45FF-9A82-896523F24592}"/>
                  </a:ext>
                </a:extLst>
              </p:cNvPr>
              <p:cNvSpPr>
                <a:spLocks/>
              </p:cNvSpPr>
              <p:nvPr/>
            </p:nvSpPr>
            <p:spPr bwMode="auto">
              <a:xfrm rot="10800000">
                <a:off x="3602829" y="1335881"/>
                <a:ext cx="640657" cy="359570"/>
              </a:xfrm>
              <a:custGeom>
                <a:avLst/>
                <a:gdLst>
                  <a:gd name="T0" fmla="*/ 0 w 197"/>
                  <a:gd name="T1" fmla="*/ 145 h 145"/>
                  <a:gd name="T2" fmla="*/ 197 w 197"/>
                  <a:gd name="T3" fmla="*/ 0 h 145"/>
                </a:gdLst>
                <a:ahLst/>
                <a:cxnLst>
                  <a:cxn ang="0">
                    <a:pos x="T0" y="T1"/>
                  </a:cxn>
                  <a:cxn ang="0">
                    <a:pos x="T2" y="T3"/>
                  </a:cxn>
                </a:cxnLst>
                <a:rect l="0" t="0" r="r" b="b"/>
                <a:pathLst>
                  <a:path w="197" h="145">
                    <a:moveTo>
                      <a:pt x="0" y="145"/>
                    </a:moveTo>
                    <a:cubicBezTo>
                      <a:pt x="0" y="145"/>
                      <a:pt x="32" y="0"/>
                      <a:pt x="197" y="0"/>
                    </a:cubicBezTo>
                  </a:path>
                </a:pathLst>
              </a:custGeom>
              <a:noFill/>
              <a:ln w="19050" cap="rnd">
                <a:solidFill>
                  <a:schemeClr val="tx2"/>
                </a:solidFill>
                <a:prstDash val="solid"/>
                <a:miter lim="800000"/>
                <a:headEnd/>
                <a:tailEnd/>
              </a:ln>
            </p:spPr>
            <p:txBody>
              <a:bodyPr vert="horz" wrap="square" lIns="87857" tIns="43929" rIns="87857" bIns="43929" numCol="1" anchor="t" anchorCtr="0" compatLnSpc="1">
                <a:prstTxWarp prst="textNoShape">
                  <a:avLst/>
                </a:prstTxWarp>
              </a:bodyPr>
              <a:lstStyle/>
              <a:p>
                <a:pPr defTabSz="878463">
                  <a:defRPr/>
                </a:pPr>
                <a:endParaRPr lang="en-US" sz="1729" kern="0">
                  <a:solidFill>
                    <a:sysClr val="windowText" lastClr="000000"/>
                  </a:solidFill>
                  <a:latin typeface="Segoe UI Semilight"/>
                </a:endParaRPr>
              </a:p>
            </p:txBody>
          </p:sp>
          <p:sp>
            <p:nvSpPr>
              <p:cNvPr id="31" name="Oval 6">
                <a:extLst>
                  <a:ext uri="{FF2B5EF4-FFF2-40B4-BE49-F238E27FC236}">
                    <a16:creationId xmlns:a16="http://schemas.microsoft.com/office/drawing/2014/main" id="{913891D7-A4FF-4B51-8360-030D91FF0186}"/>
                  </a:ext>
                </a:extLst>
              </p:cNvPr>
              <p:cNvSpPr>
                <a:spLocks noChangeArrowheads="1"/>
              </p:cNvSpPr>
              <p:nvPr/>
            </p:nvSpPr>
            <p:spPr bwMode="auto">
              <a:xfrm>
                <a:off x="3548863" y="1638548"/>
                <a:ext cx="109728" cy="109728"/>
              </a:xfrm>
              <a:prstGeom prst="ellipse">
                <a:avLst/>
              </a:prstGeom>
              <a:solidFill>
                <a:schemeClr val="bg2"/>
              </a:solidFill>
              <a:ln w="19050" cap="rnd">
                <a:solidFill>
                  <a:schemeClr val="tx2"/>
                </a:solidFill>
                <a:prstDash val="solid"/>
                <a:miter lim="800000"/>
                <a:headEnd/>
                <a:tailEnd/>
              </a:ln>
              <a:extLst/>
            </p:spPr>
            <p:txBody>
              <a:bodyPr vert="horz" wrap="square" lIns="87857" tIns="43929" rIns="87857" bIns="43929" numCol="1" anchor="t" anchorCtr="0" compatLnSpc="1">
                <a:prstTxWarp prst="textNoShape">
                  <a:avLst/>
                </a:prstTxWarp>
              </a:bodyPr>
              <a:lstStyle/>
              <a:p>
                <a:pPr defTabSz="878463">
                  <a:defRPr/>
                </a:pPr>
                <a:endParaRPr lang="en-US" sz="1729" kern="0">
                  <a:solidFill>
                    <a:sysClr val="windowText" lastClr="000000"/>
                  </a:solidFill>
                  <a:latin typeface="Segoe UI Semilight"/>
                </a:endParaRPr>
              </a:p>
            </p:txBody>
          </p:sp>
          <p:sp>
            <p:nvSpPr>
              <p:cNvPr id="32" name="Oval 6">
                <a:extLst>
                  <a:ext uri="{FF2B5EF4-FFF2-40B4-BE49-F238E27FC236}">
                    <a16:creationId xmlns:a16="http://schemas.microsoft.com/office/drawing/2014/main" id="{D6DCA1C1-9D41-49FA-9816-A1DBB02A8246}"/>
                  </a:ext>
                </a:extLst>
              </p:cNvPr>
              <p:cNvSpPr>
                <a:spLocks noChangeArrowheads="1"/>
              </p:cNvSpPr>
              <p:nvPr/>
            </p:nvSpPr>
            <p:spPr bwMode="auto">
              <a:xfrm>
                <a:off x="3871917" y="1587008"/>
                <a:ext cx="109728" cy="109728"/>
              </a:xfrm>
              <a:prstGeom prst="ellipse">
                <a:avLst/>
              </a:prstGeom>
              <a:solidFill>
                <a:schemeClr val="bg2"/>
              </a:solidFill>
              <a:ln w="19050" cap="rnd">
                <a:solidFill>
                  <a:schemeClr val="tx2"/>
                </a:solidFill>
                <a:prstDash val="solid"/>
                <a:miter lim="800000"/>
                <a:headEnd/>
                <a:tailEnd/>
              </a:ln>
              <a:extLst/>
            </p:spPr>
            <p:txBody>
              <a:bodyPr vert="horz" wrap="square" lIns="87857" tIns="43929" rIns="87857" bIns="43929" numCol="1" anchor="t" anchorCtr="0" compatLnSpc="1">
                <a:prstTxWarp prst="textNoShape">
                  <a:avLst/>
                </a:prstTxWarp>
              </a:bodyPr>
              <a:lstStyle/>
              <a:p>
                <a:pPr defTabSz="878463">
                  <a:defRPr/>
                </a:pPr>
                <a:endParaRPr lang="en-US" sz="1729" kern="0">
                  <a:solidFill>
                    <a:sysClr val="windowText" lastClr="000000"/>
                  </a:solidFill>
                  <a:latin typeface="Segoe UI Semilight"/>
                </a:endParaRPr>
              </a:p>
            </p:txBody>
          </p:sp>
          <p:sp>
            <p:nvSpPr>
              <p:cNvPr id="33" name="Oval 6">
                <a:extLst>
                  <a:ext uri="{FF2B5EF4-FFF2-40B4-BE49-F238E27FC236}">
                    <a16:creationId xmlns:a16="http://schemas.microsoft.com/office/drawing/2014/main" id="{15254B7C-7C16-4C40-A4D0-D04BC15E256E}"/>
                  </a:ext>
                </a:extLst>
              </p:cNvPr>
              <p:cNvSpPr>
                <a:spLocks noChangeArrowheads="1"/>
              </p:cNvSpPr>
              <p:nvPr/>
            </p:nvSpPr>
            <p:spPr bwMode="auto">
              <a:xfrm>
                <a:off x="4184061" y="1256863"/>
                <a:ext cx="109728" cy="109728"/>
              </a:xfrm>
              <a:prstGeom prst="ellipse">
                <a:avLst/>
              </a:prstGeom>
              <a:solidFill>
                <a:schemeClr val="bg2"/>
              </a:solidFill>
              <a:ln w="19050" cap="rnd">
                <a:solidFill>
                  <a:schemeClr val="tx2"/>
                </a:solidFill>
                <a:prstDash val="solid"/>
                <a:miter lim="800000"/>
                <a:headEnd/>
                <a:tailEnd/>
              </a:ln>
              <a:extLst/>
            </p:spPr>
            <p:txBody>
              <a:bodyPr vert="horz" wrap="square" lIns="87857" tIns="43929" rIns="87857" bIns="43929" numCol="1" anchor="t" anchorCtr="0" compatLnSpc="1">
                <a:prstTxWarp prst="textNoShape">
                  <a:avLst/>
                </a:prstTxWarp>
              </a:bodyPr>
              <a:lstStyle/>
              <a:p>
                <a:pPr defTabSz="878463">
                  <a:defRPr/>
                </a:pPr>
                <a:endParaRPr lang="en-US" sz="1729" kern="0">
                  <a:solidFill>
                    <a:sysClr val="windowText" lastClr="000000"/>
                  </a:solidFill>
                  <a:latin typeface="Segoe UI Semilight"/>
                </a:endParaRPr>
              </a:p>
            </p:txBody>
          </p:sp>
        </p:grpSp>
      </p:grpSp>
      <p:grpSp>
        <p:nvGrpSpPr>
          <p:cNvPr id="21" name="Group 20">
            <a:extLst>
              <a:ext uri="{FF2B5EF4-FFF2-40B4-BE49-F238E27FC236}">
                <a16:creationId xmlns:a16="http://schemas.microsoft.com/office/drawing/2014/main" id="{9CD45D77-C9B3-4F9D-A33D-B91306973C51}"/>
              </a:ext>
            </a:extLst>
          </p:cNvPr>
          <p:cNvGrpSpPr/>
          <p:nvPr/>
        </p:nvGrpSpPr>
        <p:grpSpPr>
          <a:xfrm>
            <a:off x="2119614" y="3456269"/>
            <a:ext cx="5167303" cy="1120487"/>
            <a:chOff x="7490885" y="2914173"/>
            <a:chExt cx="5378011" cy="1166178"/>
          </a:xfrm>
        </p:grpSpPr>
        <p:sp>
          <p:nvSpPr>
            <p:cNvPr id="11" name="Rectangle 10">
              <a:extLst>
                <a:ext uri="{FF2B5EF4-FFF2-40B4-BE49-F238E27FC236}">
                  <a16:creationId xmlns:a16="http://schemas.microsoft.com/office/drawing/2014/main" id="{12EB2D3B-0F29-438F-BFE3-4969FD8EF9A6}"/>
                </a:ext>
              </a:extLst>
            </p:cNvPr>
            <p:cNvSpPr/>
            <p:nvPr/>
          </p:nvSpPr>
          <p:spPr bwMode="auto">
            <a:xfrm>
              <a:off x="8460893" y="2914173"/>
              <a:ext cx="4408003" cy="1166178"/>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5" tIns="140572" rIns="175715" bIns="140572" numCol="1" spcCol="0" rtlCol="0" fromWordArt="0" anchor="ctr" anchorCtr="0" forceAA="0" compatLnSpc="1">
              <a:prstTxWarp prst="textNoShape">
                <a:avLst/>
              </a:prstTxWarp>
              <a:noAutofit/>
            </a:bodyPr>
            <a:lstStyle/>
            <a:p>
              <a:pPr defTabSz="895825" fontAlgn="base">
                <a:lnSpc>
                  <a:spcPct val="90000"/>
                </a:lnSpc>
                <a:spcBef>
                  <a:spcPct val="0"/>
                </a:spcBef>
                <a:spcAft>
                  <a:spcPct val="0"/>
                </a:spcAft>
                <a:defRPr/>
              </a:pPr>
              <a:r>
                <a:rPr lang="en-US" sz="2306" kern="0">
                  <a:gradFill>
                    <a:gsLst>
                      <a:gs pos="20000">
                        <a:srgbClr val="353535"/>
                      </a:gs>
                      <a:gs pos="68000">
                        <a:srgbClr val="353535"/>
                      </a:gs>
                    </a:gsLst>
                    <a:lin ang="5400000" scaled="0"/>
                  </a:gradFill>
                  <a:latin typeface="Segoe UI Semilight" panose="020B0402040204020203" pitchFamily="34" charset="0"/>
                  <a:cs typeface="Segoe UI Semilight" panose="020B0402040204020203" pitchFamily="34" charset="0"/>
                </a:rPr>
                <a:t>Artificial </a:t>
              </a:r>
              <a:br>
                <a:rPr lang="en-US" sz="2306" kern="0">
                  <a:gradFill>
                    <a:gsLst>
                      <a:gs pos="20000">
                        <a:srgbClr val="353535"/>
                      </a:gs>
                      <a:gs pos="68000">
                        <a:srgbClr val="353535"/>
                      </a:gs>
                    </a:gsLst>
                    <a:lin ang="5400000" scaled="0"/>
                  </a:gradFill>
                  <a:latin typeface="Segoe UI Semilight" panose="020B0402040204020203" pitchFamily="34" charset="0"/>
                  <a:cs typeface="Segoe UI Semilight" panose="020B0402040204020203" pitchFamily="34" charset="0"/>
                </a:rPr>
              </a:br>
              <a:r>
                <a:rPr lang="en-US" sz="2306" kern="0">
                  <a:gradFill>
                    <a:gsLst>
                      <a:gs pos="20000">
                        <a:srgbClr val="353535"/>
                      </a:gs>
                      <a:gs pos="68000">
                        <a:srgbClr val="353535"/>
                      </a:gs>
                    </a:gsLst>
                    <a:lin ang="5400000" scaled="0"/>
                  </a:gradFill>
                  <a:latin typeface="Segoe UI Semilight" panose="020B0402040204020203" pitchFamily="34" charset="0"/>
                  <a:cs typeface="Segoe UI Semilight" panose="020B0402040204020203" pitchFamily="34" charset="0"/>
                </a:rPr>
                <a:t>Intelligence</a:t>
              </a:r>
            </a:p>
          </p:txBody>
        </p:sp>
        <p:grpSp>
          <p:nvGrpSpPr>
            <p:cNvPr id="34" name="Group 33">
              <a:extLst>
                <a:ext uri="{FF2B5EF4-FFF2-40B4-BE49-F238E27FC236}">
                  <a16:creationId xmlns:a16="http://schemas.microsoft.com/office/drawing/2014/main" id="{2AC990A6-3E61-47FA-B916-F300A647043F}"/>
                </a:ext>
              </a:extLst>
            </p:cNvPr>
            <p:cNvGrpSpPr/>
            <p:nvPr/>
          </p:nvGrpSpPr>
          <p:grpSpPr>
            <a:xfrm>
              <a:off x="7490885" y="3176346"/>
              <a:ext cx="808600" cy="641832"/>
              <a:chOff x="4223626" y="2353385"/>
              <a:chExt cx="1173971" cy="931848"/>
            </a:xfrm>
          </p:grpSpPr>
          <p:grpSp>
            <p:nvGrpSpPr>
              <p:cNvPr id="35" name="Group 34">
                <a:extLst>
                  <a:ext uri="{FF2B5EF4-FFF2-40B4-BE49-F238E27FC236}">
                    <a16:creationId xmlns:a16="http://schemas.microsoft.com/office/drawing/2014/main" id="{9539028D-C523-4C23-BCAA-4F128A4F77D9}"/>
                  </a:ext>
                </a:extLst>
              </p:cNvPr>
              <p:cNvGrpSpPr/>
              <p:nvPr/>
            </p:nvGrpSpPr>
            <p:grpSpPr>
              <a:xfrm>
                <a:off x="4273550" y="2402418"/>
                <a:ext cx="1079500" cy="840315"/>
                <a:chOff x="4273550" y="2402418"/>
                <a:chExt cx="1079500" cy="840315"/>
              </a:xfrm>
            </p:grpSpPr>
            <p:cxnSp>
              <p:nvCxnSpPr>
                <p:cNvPr id="44" name="Straight Connector 43">
                  <a:extLst>
                    <a:ext uri="{FF2B5EF4-FFF2-40B4-BE49-F238E27FC236}">
                      <a16:creationId xmlns:a16="http://schemas.microsoft.com/office/drawing/2014/main" id="{93C26409-80BA-4F41-9D6C-54FEC1D5A5B2}"/>
                    </a:ext>
                  </a:extLst>
                </p:cNvPr>
                <p:cNvCxnSpPr>
                  <a:cxnSpLocks/>
                </p:cNvCxnSpPr>
                <p:nvPr/>
              </p:nvCxnSpPr>
              <p:spPr>
                <a:xfrm>
                  <a:off x="4997450" y="2413000"/>
                  <a:ext cx="355600" cy="232833"/>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5" name="Straight Connector 44">
                  <a:extLst>
                    <a:ext uri="{FF2B5EF4-FFF2-40B4-BE49-F238E27FC236}">
                      <a16:creationId xmlns:a16="http://schemas.microsoft.com/office/drawing/2014/main" id="{FD2C5E1A-F4C4-44DE-96D8-5198B7D5F9E5}"/>
                    </a:ext>
                  </a:extLst>
                </p:cNvPr>
                <p:cNvCxnSpPr>
                  <a:cxnSpLocks/>
                </p:cNvCxnSpPr>
                <p:nvPr/>
              </p:nvCxnSpPr>
              <p:spPr>
                <a:xfrm>
                  <a:off x="4997450" y="2413000"/>
                  <a:ext cx="296333" cy="721783"/>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6" name="Straight Connector 45">
                  <a:extLst>
                    <a:ext uri="{FF2B5EF4-FFF2-40B4-BE49-F238E27FC236}">
                      <a16:creationId xmlns:a16="http://schemas.microsoft.com/office/drawing/2014/main" id="{91862860-FF71-4F83-B77A-4DB30A114C12}"/>
                    </a:ext>
                  </a:extLst>
                </p:cNvPr>
                <p:cNvCxnSpPr>
                  <a:cxnSpLocks/>
                </p:cNvCxnSpPr>
                <p:nvPr/>
              </p:nvCxnSpPr>
              <p:spPr>
                <a:xfrm flipV="1">
                  <a:off x="4762500" y="3143250"/>
                  <a:ext cx="520700" cy="86783"/>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7" name="Straight Connector 46">
                  <a:extLst>
                    <a:ext uri="{FF2B5EF4-FFF2-40B4-BE49-F238E27FC236}">
                      <a16:creationId xmlns:a16="http://schemas.microsoft.com/office/drawing/2014/main" id="{88718169-942D-40F5-8F28-990BFDF42527}"/>
                    </a:ext>
                  </a:extLst>
                </p:cNvPr>
                <p:cNvCxnSpPr>
                  <a:cxnSpLocks/>
                </p:cNvCxnSpPr>
                <p:nvPr/>
              </p:nvCxnSpPr>
              <p:spPr>
                <a:xfrm flipV="1">
                  <a:off x="5039783" y="2641600"/>
                  <a:ext cx="300567" cy="241300"/>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8" name="Straight Connector 47">
                  <a:extLst>
                    <a:ext uri="{FF2B5EF4-FFF2-40B4-BE49-F238E27FC236}">
                      <a16:creationId xmlns:a16="http://schemas.microsoft.com/office/drawing/2014/main" id="{BDE6163A-0E06-4452-A147-B7351B29C1BB}"/>
                    </a:ext>
                  </a:extLst>
                </p:cNvPr>
                <p:cNvCxnSpPr>
                  <a:cxnSpLocks/>
                </p:cNvCxnSpPr>
                <p:nvPr/>
              </p:nvCxnSpPr>
              <p:spPr>
                <a:xfrm flipV="1">
                  <a:off x="4413250" y="2413001"/>
                  <a:ext cx="571500" cy="126999"/>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9" name="Straight Connector 48">
                  <a:extLst>
                    <a:ext uri="{FF2B5EF4-FFF2-40B4-BE49-F238E27FC236}">
                      <a16:creationId xmlns:a16="http://schemas.microsoft.com/office/drawing/2014/main" id="{1CBB9EF2-FE6F-4D07-AD59-99199968FCD9}"/>
                    </a:ext>
                  </a:extLst>
                </p:cNvPr>
                <p:cNvCxnSpPr>
                  <a:cxnSpLocks/>
                  <a:endCxn id="36" idx="3"/>
                </p:cNvCxnSpPr>
                <p:nvPr/>
              </p:nvCxnSpPr>
              <p:spPr>
                <a:xfrm flipV="1">
                  <a:off x="4703233" y="2450099"/>
                  <a:ext cx="251425" cy="248651"/>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0" name="Straight Connector 49">
                  <a:extLst>
                    <a:ext uri="{FF2B5EF4-FFF2-40B4-BE49-F238E27FC236}">
                      <a16:creationId xmlns:a16="http://schemas.microsoft.com/office/drawing/2014/main" id="{20E4967E-2E58-4060-B77B-1BAA0D68791C}"/>
                    </a:ext>
                  </a:extLst>
                </p:cNvPr>
                <p:cNvCxnSpPr>
                  <a:cxnSpLocks/>
                </p:cNvCxnSpPr>
                <p:nvPr/>
              </p:nvCxnSpPr>
              <p:spPr>
                <a:xfrm flipV="1">
                  <a:off x="4762500" y="2402418"/>
                  <a:ext cx="232833" cy="821265"/>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1" name="Straight Connector 50">
                  <a:extLst>
                    <a:ext uri="{FF2B5EF4-FFF2-40B4-BE49-F238E27FC236}">
                      <a16:creationId xmlns:a16="http://schemas.microsoft.com/office/drawing/2014/main" id="{5D2E9044-1C7E-4ADC-92C7-8B8A7EFBA24C}"/>
                    </a:ext>
                  </a:extLst>
                </p:cNvPr>
                <p:cNvCxnSpPr>
                  <a:cxnSpLocks/>
                </p:cNvCxnSpPr>
                <p:nvPr/>
              </p:nvCxnSpPr>
              <p:spPr>
                <a:xfrm flipH="1" flipV="1">
                  <a:off x="4273550" y="2984500"/>
                  <a:ext cx="495300" cy="251883"/>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2" name="Straight Connector 51">
                  <a:extLst>
                    <a:ext uri="{FF2B5EF4-FFF2-40B4-BE49-F238E27FC236}">
                      <a16:creationId xmlns:a16="http://schemas.microsoft.com/office/drawing/2014/main" id="{1FA4B781-9485-4BC9-8E7C-57E422D8377A}"/>
                    </a:ext>
                  </a:extLst>
                </p:cNvPr>
                <p:cNvCxnSpPr>
                  <a:cxnSpLocks/>
                </p:cNvCxnSpPr>
                <p:nvPr/>
              </p:nvCxnSpPr>
              <p:spPr>
                <a:xfrm flipH="1" flipV="1">
                  <a:off x="4417483" y="2537884"/>
                  <a:ext cx="647700" cy="338666"/>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3" name="Straight Connector 52">
                  <a:extLst>
                    <a:ext uri="{FF2B5EF4-FFF2-40B4-BE49-F238E27FC236}">
                      <a16:creationId xmlns:a16="http://schemas.microsoft.com/office/drawing/2014/main" id="{25FD060D-2AEB-4C03-A96F-F9F9D2E5A20C}"/>
                    </a:ext>
                  </a:extLst>
                </p:cNvPr>
                <p:cNvCxnSpPr>
                  <a:cxnSpLocks/>
                </p:cNvCxnSpPr>
                <p:nvPr/>
              </p:nvCxnSpPr>
              <p:spPr>
                <a:xfrm flipV="1">
                  <a:off x="4277783" y="2874433"/>
                  <a:ext cx="770467" cy="107950"/>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4" name="Straight Connector 53">
                  <a:extLst>
                    <a:ext uri="{FF2B5EF4-FFF2-40B4-BE49-F238E27FC236}">
                      <a16:creationId xmlns:a16="http://schemas.microsoft.com/office/drawing/2014/main" id="{9C87E7AB-4072-4BCA-9D8C-EF47714D27F6}"/>
                    </a:ext>
                  </a:extLst>
                </p:cNvPr>
                <p:cNvCxnSpPr>
                  <a:cxnSpLocks/>
                </p:cNvCxnSpPr>
                <p:nvPr/>
              </p:nvCxnSpPr>
              <p:spPr>
                <a:xfrm flipH="1" flipV="1">
                  <a:off x="4413250" y="2531533"/>
                  <a:ext cx="353483" cy="698500"/>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5" name="Straight Connector 54">
                  <a:extLst>
                    <a:ext uri="{FF2B5EF4-FFF2-40B4-BE49-F238E27FC236}">
                      <a16:creationId xmlns:a16="http://schemas.microsoft.com/office/drawing/2014/main" id="{52712BD1-019D-429C-89CD-3F688D002D57}"/>
                    </a:ext>
                  </a:extLst>
                </p:cNvPr>
                <p:cNvCxnSpPr>
                  <a:cxnSpLocks/>
                </p:cNvCxnSpPr>
                <p:nvPr/>
              </p:nvCxnSpPr>
              <p:spPr>
                <a:xfrm flipH="1" flipV="1">
                  <a:off x="4715933" y="2698750"/>
                  <a:ext cx="50800" cy="543983"/>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6" name="Straight Connector 55">
                  <a:extLst>
                    <a:ext uri="{FF2B5EF4-FFF2-40B4-BE49-F238E27FC236}">
                      <a16:creationId xmlns:a16="http://schemas.microsoft.com/office/drawing/2014/main" id="{A5F80202-F61C-4B60-8004-3BDB9C879D23}"/>
                    </a:ext>
                  </a:extLst>
                </p:cNvPr>
                <p:cNvCxnSpPr>
                  <a:cxnSpLocks/>
                </p:cNvCxnSpPr>
                <p:nvPr/>
              </p:nvCxnSpPr>
              <p:spPr>
                <a:xfrm flipH="1" flipV="1">
                  <a:off x="5052483" y="2899834"/>
                  <a:ext cx="234950" cy="218016"/>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7" name="Straight Connector 56">
                  <a:extLst>
                    <a:ext uri="{FF2B5EF4-FFF2-40B4-BE49-F238E27FC236}">
                      <a16:creationId xmlns:a16="http://schemas.microsoft.com/office/drawing/2014/main" id="{75025530-B02A-4532-80D0-27385114DB8A}"/>
                    </a:ext>
                  </a:extLst>
                </p:cNvPr>
                <p:cNvCxnSpPr>
                  <a:cxnSpLocks/>
                </p:cNvCxnSpPr>
                <p:nvPr/>
              </p:nvCxnSpPr>
              <p:spPr>
                <a:xfrm flipV="1">
                  <a:off x="4762500" y="2876550"/>
                  <a:ext cx="292101" cy="340783"/>
                </a:xfrm>
                <a:prstGeom prst="line">
                  <a:avLst/>
                </a:prstGeom>
                <a:noFill/>
                <a:ln w="190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useBgFill="1">
            <p:nvSpPr>
              <p:cNvPr id="36" name="Oval 19">
                <a:extLst>
                  <a:ext uri="{FF2B5EF4-FFF2-40B4-BE49-F238E27FC236}">
                    <a16:creationId xmlns:a16="http://schemas.microsoft.com/office/drawing/2014/main" id="{582CB2A0-E0DC-4B86-AA38-9E2E22329FD3}"/>
                  </a:ext>
                </a:extLst>
              </p:cNvPr>
              <p:cNvSpPr>
                <a:spLocks noChangeArrowheads="1"/>
              </p:cNvSpPr>
              <p:nvPr/>
            </p:nvSpPr>
            <p:spPr bwMode="auto">
              <a:xfrm>
                <a:off x="4938065" y="2353385"/>
                <a:ext cx="113307" cy="113307"/>
              </a:xfrm>
              <a:prstGeom prst="ellipse">
                <a:avLst/>
              </a:prstGeom>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78463">
                  <a:defRPr/>
                </a:pPr>
                <a:endParaRPr lang="en-US" sz="1729" kern="0">
                  <a:solidFill>
                    <a:sysClr val="windowText" lastClr="000000"/>
                  </a:solidFill>
                  <a:latin typeface="Segoe UI Semilight"/>
                </a:endParaRPr>
              </a:p>
            </p:txBody>
          </p:sp>
          <p:sp useBgFill="1">
            <p:nvSpPr>
              <p:cNvPr id="37" name="Oval 19">
                <a:extLst>
                  <a:ext uri="{FF2B5EF4-FFF2-40B4-BE49-F238E27FC236}">
                    <a16:creationId xmlns:a16="http://schemas.microsoft.com/office/drawing/2014/main" id="{5A0C2904-D0DF-4AFC-9B26-03B3DF8D9D11}"/>
                  </a:ext>
                </a:extLst>
              </p:cNvPr>
              <p:cNvSpPr>
                <a:spLocks noChangeArrowheads="1"/>
              </p:cNvSpPr>
              <p:nvPr/>
            </p:nvSpPr>
            <p:spPr bwMode="auto">
              <a:xfrm>
                <a:off x="5284290" y="2582712"/>
                <a:ext cx="113307" cy="113307"/>
              </a:xfrm>
              <a:prstGeom prst="ellipse">
                <a:avLst/>
              </a:prstGeom>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78463">
                  <a:defRPr/>
                </a:pPr>
                <a:endParaRPr lang="en-US" sz="1729" kern="0">
                  <a:solidFill>
                    <a:sysClr val="windowText" lastClr="000000"/>
                  </a:solidFill>
                  <a:latin typeface="Segoe UI Semilight"/>
                </a:endParaRPr>
              </a:p>
            </p:txBody>
          </p:sp>
          <p:sp useBgFill="1">
            <p:nvSpPr>
              <p:cNvPr id="38" name="Oval 19">
                <a:extLst>
                  <a:ext uri="{FF2B5EF4-FFF2-40B4-BE49-F238E27FC236}">
                    <a16:creationId xmlns:a16="http://schemas.microsoft.com/office/drawing/2014/main" id="{E3882B7A-18E6-42C6-9E84-6AFA64F17CCF}"/>
                  </a:ext>
                </a:extLst>
              </p:cNvPr>
              <p:cNvSpPr>
                <a:spLocks noChangeArrowheads="1"/>
              </p:cNvSpPr>
              <p:nvPr/>
            </p:nvSpPr>
            <p:spPr bwMode="auto">
              <a:xfrm>
                <a:off x="4992571" y="2824202"/>
                <a:ext cx="113307" cy="113307"/>
              </a:xfrm>
              <a:prstGeom prst="ellipse">
                <a:avLst/>
              </a:prstGeom>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78463">
                  <a:defRPr/>
                </a:pPr>
                <a:endParaRPr lang="en-US" sz="1729" kern="0">
                  <a:solidFill>
                    <a:sysClr val="windowText" lastClr="000000"/>
                  </a:solidFill>
                  <a:latin typeface="Segoe UI Semilight"/>
                </a:endParaRPr>
              </a:p>
            </p:txBody>
          </p:sp>
          <p:sp useBgFill="1">
            <p:nvSpPr>
              <p:cNvPr id="39" name="Oval 19">
                <a:extLst>
                  <a:ext uri="{FF2B5EF4-FFF2-40B4-BE49-F238E27FC236}">
                    <a16:creationId xmlns:a16="http://schemas.microsoft.com/office/drawing/2014/main" id="{03333D58-2E43-412D-A6A5-6C5D9F8CCC5B}"/>
                  </a:ext>
                </a:extLst>
              </p:cNvPr>
              <p:cNvSpPr>
                <a:spLocks noChangeArrowheads="1"/>
              </p:cNvSpPr>
              <p:nvPr/>
            </p:nvSpPr>
            <p:spPr bwMode="auto">
              <a:xfrm>
                <a:off x="5227637" y="3071688"/>
                <a:ext cx="113307" cy="113307"/>
              </a:xfrm>
              <a:prstGeom prst="ellipse">
                <a:avLst/>
              </a:prstGeom>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78463">
                  <a:defRPr/>
                </a:pPr>
                <a:endParaRPr lang="en-US" sz="1729" kern="0">
                  <a:solidFill>
                    <a:sysClr val="windowText" lastClr="000000"/>
                  </a:solidFill>
                  <a:latin typeface="Segoe UI Semilight"/>
                </a:endParaRPr>
              </a:p>
            </p:txBody>
          </p:sp>
          <p:sp useBgFill="1">
            <p:nvSpPr>
              <p:cNvPr id="40" name="Oval 19">
                <a:extLst>
                  <a:ext uri="{FF2B5EF4-FFF2-40B4-BE49-F238E27FC236}">
                    <a16:creationId xmlns:a16="http://schemas.microsoft.com/office/drawing/2014/main" id="{374BFD16-B747-4D5C-BD4C-9A8C0BE87B69}"/>
                  </a:ext>
                </a:extLst>
              </p:cNvPr>
              <p:cNvSpPr>
                <a:spLocks noChangeArrowheads="1"/>
              </p:cNvSpPr>
              <p:nvPr/>
            </p:nvSpPr>
            <p:spPr bwMode="auto">
              <a:xfrm>
                <a:off x="4703544" y="3171926"/>
                <a:ext cx="113307" cy="113307"/>
              </a:xfrm>
              <a:prstGeom prst="ellipse">
                <a:avLst/>
              </a:prstGeom>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78463">
                  <a:defRPr/>
                </a:pPr>
                <a:endParaRPr lang="en-US" sz="1729" kern="0">
                  <a:solidFill>
                    <a:sysClr val="windowText" lastClr="000000"/>
                  </a:solidFill>
                  <a:latin typeface="Segoe UI Semilight"/>
                </a:endParaRPr>
              </a:p>
            </p:txBody>
          </p:sp>
          <p:sp useBgFill="1">
            <p:nvSpPr>
              <p:cNvPr id="41" name="Oval 19">
                <a:extLst>
                  <a:ext uri="{FF2B5EF4-FFF2-40B4-BE49-F238E27FC236}">
                    <a16:creationId xmlns:a16="http://schemas.microsoft.com/office/drawing/2014/main" id="{0C4BAF31-E558-4DE0-AD35-158CA56C323F}"/>
                  </a:ext>
                </a:extLst>
              </p:cNvPr>
              <p:cNvSpPr>
                <a:spLocks noChangeArrowheads="1"/>
              </p:cNvSpPr>
              <p:nvPr/>
            </p:nvSpPr>
            <p:spPr bwMode="auto">
              <a:xfrm>
                <a:off x="4223626" y="2924064"/>
                <a:ext cx="113307" cy="113307"/>
              </a:xfrm>
              <a:prstGeom prst="ellipse">
                <a:avLst/>
              </a:prstGeom>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78463">
                  <a:defRPr/>
                </a:pPr>
                <a:endParaRPr lang="en-US" sz="1729" kern="0">
                  <a:solidFill>
                    <a:sysClr val="windowText" lastClr="000000"/>
                  </a:solidFill>
                  <a:latin typeface="Segoe UI Semilight"/>
                </a:endParaRPr>
              </a:p>
            </p:txBody>
          </p:sp>
          <p:sp useBgFill="1">
            <p:nvSpPr>
              <p:cNvPr id="42" name="Oval 19">
                <a:extLst>
                  <a:ext uri="{FF2B5EF4-FFF2-40B4-BE49-F238E27FC236}">
                    <a16:creationId xmlns:a16="http://schemas.microsoft.com/office/drawing/2014/main" id="{409E4F55-752A-4296-A873-C306E3C7696A}"/>
                  </a:ext>
                </a:extLst>
              </p:cNvPr>
              <p:cNvSpPr>
                <a:spLocks noChangeArrowheads="1"/>
              </p:cNvSpPr>
              <p:nvPr/>
            </p:nvSpPr>
            <p:spPr bwMode="auto">
              <a:xfrm>
                <a:off x="4655543" y="2638231"/>
                <a:ext cx="113307" cy="113307"/>
              </a:xfrm>
              <a:prstGeom prst="ellipse">
                <a:avLst/>
              </a:prstGeom>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78463">
                  <a:defRPr/>
                </a:pPr>
                <a:endParaRPr lang="en-US" sz="1729" kern="0">
                  <a:solidFill>
                    <a:sysClr val="windowText" lastClr="000000"/>
                  </a:solidFill>
                  <a:latin typeface="Segoe UI Semilight"/>
                </a:endParaRPr>
              </a:p>
            </p:txBody>
          </p:sp>
          <p:sp useBgFill="1">
            <p:nvSpPr>
              <p:cNvPr id="43" name="Oval 19">
                <a:extLst>
                  <a:ext uri="{FF2B5EF4-FFF2-40B4-BE49-F238E27FC236}">
                    <a16:creationId xmlns:a16="http://schemas.microsoft.com/office/drawing/2014/main" id="{CB54FAAC-3A7E-4B33-A760-CF1F9BE69E5A}"/>
                  </a:ext>
                </a:extLst>
              </p:cNvPr>
              <p:cNvSpPr>
                <a:spLocks noChangeArrowheads="1"/>
              </p:cNvSpPr>
              <p:nvPr/>
            </p:nvSpPr>
            <p:spPr bwMode="auto">
              <a:xfrm>
                <a:off x="4363387" y="2482918"/>
                <a:ext cx="113307" cy="113307"/>
              </a:xfrm>
              <a:prstGeom prst="ellipse">
                <a:avLst/>
              </a:prstGeom>
              <a:ln w="1905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57" tIns="43929" rIns="87857" bIns="43929" numCol="1" anchor="t" anchorCtr="0" compatLnSpc="1">
                <a:prstTxWarp prst="textNoShape">
                  <a:avLst/>
                </a:prstTxWarp>
              </a:bodyPr>
              <a:lstStyle/>
              <a:p>
                <a:pPr defTabSz="878463">
                  <a:defRPr/>
                </a:pPr>
                <a:endParaRPr lang="en-US" sz="1729" kern="0">
                  <a:solidFill>
                    <a:sysClr val="windowText" lastClr="000000"/>
                  </a:solidFill>
                  <a:latin typeface="Segoe UI Semilight"/>
                </a:endParaRPr>
              </a:p>
            </p:txBody>
          </p:sp>
        </p:grpSp>
      </p:grpSp>
      <p:sp>
        <p:nvSpPr>
          <p:cNvPr id="191" name="Title 1">
            <a:extLst>
              <a:ext uri="{FF2B5EF4-FFF2-40B4-BE49-F238E27FC236}">
                <a16:creationId xmlns:a16="http://schemas.microsoft.com/office/drawing/2014/main" id="{3C6D9D7C-60FD-4A43-98A0-EBFF4F95F926}"/>
              </a:ext>
            </a:extLst>
          </p:cNvPr>
          <p:cNvSpPr txBox="1">
            <a:spLocks/>
          </p:cNvSpPr>
          <p:nvPr/>
        </p:nvSpPr>
        <p:spPr>
          <a:xfrm>
            <a:off x="120145" y="285065"/>
            <a:ext cx="6323751" cy="899303"/>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4093">
              <a:defRPr/>
            </a:pPr>
            <a:r>
              <a:rPr lang="en-US" sz="3599" spc="-100" dirty="0">
                <a:gradFill>
                  <a:gsLst>
                    <a:gs pos="1250">
                      <a:srgbClr val="353535"/>
                    </a:gs>
                    <a:gs pos="100000">
                      <a:srgbClr val="353535"/>
                    </a:gs>
                  </a:gsLst>
                  <a:lin ang="5400000" scaled="0"/>
                </a:gradFill>
                <a:latin typeface="Segoe UI Light"/>
              </a:rPr>
              <a:t>Microsoft’s Vision for a Digital Era</a:t>
            </a:r>
          </a:p>
        </p:txBody>
      </p:sp>
      <p:sp>
        <p:nvSpPr>
          <p:cNvPr id="196" name="Rectangle 195">
            <a:extLst>
              <a:ext uri="{FF2B5EF4-FFF2-40B4-BE49-F238E27FC236}">
                <a16:creationId xmlns:a16="http://schemas.microsoft.com/office/drawing/2014/main" id="{24674213-F0C7-428B-865B-948C1CF7435A}"/>
              </a:ext>
            </a:extLst>
          </p:cNvPr>
          <p:cNvSpPr/>
          <p:nvPr/>
        </p:nvSpPr>
        <p:spPr>
          <a:xfrm>
            <a:off x="258025" y="925892"/>
            <a:ext cx="11810654" cy="400006"/>
          </a:xfrm>
          <a:prstGeom prst="rect">
            <a:avLst/>
          </a:prstGeom>
        </p:spPr>
        <p:txBody>
          <a:bodyPr wrap="square">
            <a:spAutoFit/>
          </a:bodyPr>
          <a:lstStyle/>
          <a:p>
            <a:pPr defTabSz="913967"/>
            <a:r>
              <a:rPr lang="en-US" sz="1999" dirty="0">
                <a:solidFill>
                  <a:srgbClr val="000000"/>
                </a:solidFill>
                <a:latin typeface="Segoe Pro Light" panose="020B0302040504020203" pitchFamily="34" charset="0"/>
              </a:rPr>
              <a:t>Digital Transformation is an imperative that requires organizations like yours to offer higher-value experiences.</a:t>
            </a:r>
            <a:endParaRPr lang="en-US" sz="1999" dirty="0">
              <a:solidFill>
                <a:srgbClr val="505050"/>
              </a:solidFill>
              <a:latin typeface="Segoe UI"/>
            </a:endParaRPr>
          </a:p>
        </p:txBody>
      </p:sp>
    </p:spTree>
    <p:extLst>
      <p:ext uri="{BB962C8B-B14F-4D97-AF65-F5344CB8AC3E}">
        <p14:creationId xmlns:p14="http://schemas.microsoft.com/office/powerpoint/2010/main" val="13400389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700">
        <p159:morph option="byObject"/>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100000" fill="hold" nodeType="withEffect">
                                  <p:stCondLst>
                                    <p:cond delay="0"/>
                                  </p:stCondLst>
                                  <p:childTnLst>
                                    <p:animMotion origin="layout" path="M -2.08333E-6 2.96296E-6 L -2.08333E-6 0.02569 " pathEditMode="relative" rAng="0" ptsTypes="AA">
                                      <p:cBhvr>
                                        <p:cTn id="9" dur="500" spd="-100000" fill="hold"/>
                                        <p:tgtEl>
                                          <p:spTgt spid="20"/>
                                        </p:tgtEl>
                                        <p:attrNameLst>
                                          <p:attrName>ppt_x</p:attrName>
                                          <p:attrName>ppt_y</p:attrName>
                                        </p:attrNameLst>
                                      </p:cBhvr>
                                      <p:rCtr x="0" y="1273"/>
                                    </p:animMotion>
                                  </p:childTnLst>
                                </p:cTn>
                              </p:par>
                              <p:par>
                                <p:cTn id="10" presetID="10" presetClass="entr" presetSubtype="0" fill="hold" nodeType="withEffect">
                                  <p:stCondLst>
                                    <p:cond delay="10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par>
                                <p:cTn id="13" presetID="42" presetClass="path" presetSubtype="0" decel="100000" fill="hold" nodeType="withEffect">
                                  <p:stCondLst>
                                    <p:cond delay="100"/>
                                  </p:stCondLst>
                                  <p:childTnLst>
                                    <p:animMotion origin="layout" path="M 2.70833E-6 1.85185E-6 L 2.70833E-6 0.02569 " pathEditMode="relative" rAng="0" ptsTypes="AA">
                                      <p:cBhvr>
                                        <p:cTn id="14" dur="500" spd="-100000" fill="hold"/>
                                        <p:tgtEl>
                                          <p:spTgt spid="21"/>
                                        </p:tgtEl>
                                        <p:attrNameLst>
                                          <p:attrName>ppt_x</p:attrName>
                                          <p:attrName>ppt_y</p:attrName>
                                        </p:attrNameLst>
                                      </p:cBhvr>
                                      <p:rCtr x="0" y="1273"/>
                                    </p:animMotion>
                                  </p:childTnLst>
                                </p:cTn>
                              </p:par>
                              <p:par>
                                <p:cTn id="15" presetID="10" presetClass="entr" presetSubtype="0" fill="hold" nodeType="withEffect">
                                  <p:stCondLst>
                                    <p:cond delay="20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500"/>
                                        <p:tgtEl>
                                          <p:spTgt spid="22"/>
                                        </p:tgtEl>
                                      </p:cBhvr>
                                    </p:animEffect>
                                  </p:childTnLst>
                                </p:cTn>
                              </p:par>
                              <p:par>
                                <p:cTn id="18" presetID="42" presetClass="path" presetSubtype="0" decel="100000" fill="hold" nodeType="withEffect">
                                  <p:stCondLst>
                                    <p:cond delay="200"/>
                                  </p:stCondLst>
                                  <p:childTnLst>
                                    <p:animMotion origin="layout" path="M -2.29167E-6 7.40741E-7 L -2.29167E-6 0.02569 " pathEditMode="relative" rAng="0" ptsTypes="AA">
                                      <p:cBhvr>
                                        <p:cTn id="19" dur="500" spd="-100000" fill="hold"/>
                                        <p:tgtEl>
                                          <p:spTgt spid="22"/>
                                        </p:tgtEl>
                                        <p:attrNameLst>
                                          <p:attrName>ppt_x</p:attrName>
                                          <p:attrName>ppt_y</p:attrName>
                                        </p:attrNameLst>
                                      </p:cBhvr>
                                      <p:rCtr x="0" y="127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895"/>
            <a:ext cx="12188825" cy="645874"/>
          </a:xfrm>
        </p:spPr>
        <p:txBody>
          <a:bodyPr/>
          <a:lstStyle/>
          <a:p>
            <a:r>
              <a:rPr lang="en-US" dirty="0"/>
              <a:t>Human-Robot Collaboration</a:t>
            </a:r>
            <a:endParaRPr lang="en-IN" dirty="0"/>
          </a:p>
        </p:txBody>
      </p:sp>
      <p:sp>
        <p:nvSpPr>
          <p:cNvPr id="6" name="Text Placeholder 5"/>
          <p:cNvSpPr>
            <a:spLocks noGrp="1"/>
          </p:cNvSpPr>
          <p:nvPr>
            <p:ph type="body" sz="quarter" idx="13"/>
          </p:nvPr>
        </p:nvSpPr>
        <p:spPr>
          <a:xfrm>
            <a:off x="0" y="574210"/>
            <a:ext cx="12188825" cy="372966"/>
          </a:xfrm>
        </p:spPr>
        <p:txBody>
          <a:bodyPr/>
          <a:lstStyle/>
          <a:p>
            <a:r>
              <a:rPr lang="en-US" dirty="0"/>
              <a:t>Technology Storyboard</a:t>
            </a:r>
          </a:p>
        </p:txBody>
      </p:sp>
      <p:sp>
        <p:nvSpPr>
          <p:cNvPr id="5" name="Slide Number Placeholder 4"/>
          <p:cNvSpPr>
            <a:spLocks noGrp="1"/>
          </p:cNvSpPr>
          <p:nvPr>
            <p:ph type="sldNum" sz="quarter" idx="12"/>
          </p:nvPr>
        </p:nvSpPr>
        <p:spPr/>
        <p:txBody>
          <a:bodyPr/>
          <a:lstStyle/>
          <a:p>
            <a:pPr defTabSz="914126">
              <a:defRPr/>
            </a:pPr>
            <a:r>
              <a:rPr lang="en-US" sz="1799" kern="0" dirty="0">
                <a:solidFill>
                  <a:srgbClr val="505050"/>
                </a:solidFill>
                <a:latin typeface="Segoe UI"/>
              </a:rPr>
              <a:t> </a:t>
            </a:r>
          </a:p>
        </p:txBody>
      </p:sp>
      <p:grpSp>
        <p:nvGrpSpPr>
          <p:cNvPr id="162" name="Group 161"/>
          <p:cNvGrpSpPr/>
          <p:nvPr/>
        </p:nvGrpSpPr>
        <p:grpSpPr>
          <a:xfrm>
            <a:off x="1287993" y="11742581"/>
            <a:ext cx="697124" cy="626865"/>
            <a:chOff x="5915648" y="4649267"/>
            <a:chExt cx="697306" cy="627028"/>
          </a:xfrm>
        </p:grpSpPr>
        <p:sp>
          <p:nvSpPr>
            <p:cNvPr id="163" name="TextBox 162"/>
            <p:cNvSpPr txBox="1"/>
            <p:nvPr/>
          </p:nvSpPr>
          <p:spPr>
            <a:xfrm>
              <a:off x="5915648" y="4968518"/>
              <a:ext cx="697306" cy="307777"/>
            </a:xfrm>
            <a:prstGeom prst="rect">
              <a:avLst/>
            </a:prstGeom>
          </p:spPr>
          <p:txBody>
            <a:bodyPr vert="horz" wrap="none" lIns="0" tIns="0" rIns="0" bIns="0" rtlCol="0" anchor="ctr">
              <a:spAutoFit/>
            </a:bodyPr>
            <a:lstStyle/>
            <a:p>
              <a:pPr algn="ctr" defTabSz="1087779">
                <a:defRPr/>
              </a:pPr>
              <a:r>
                <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rPr>
                <a:t>Dynamics</a:t>
              </a:r>
              <a:br>
                <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rPr>
              </a:br>
              <a:r>
                <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rPr>
                <a:t>CRM Online</a:t>
              </a:r>
            </a:p>
          </p:txBody>
        </p:sp>
        <p:pic>
          <p:nvPicPr>
            <p:cNvPr id="184" name="Picture 183"/>
            <p:cNvPicPr>
              <a:picLocks noChangeAspect="1"/>
            </p:cNvPicPr>
            <p:nvPr/>
          </p:nvPicPr>
          <p:blipFill rotWithShape="1">
            <a:blip r:embed="rId3" cstate="print">
              <a:extLst>
                <a:ext uri="{28A0092B-C50C-407E-A947-70E740481C1C}">
                  <a14:useLocalDpi xmlns:a14="http://schemas.microsoft.com/office/drawing/2010/main" val="0"/>
                </a:ext>
              </a:extLst>
            </a:blip>
            <a:srcRect l="-16556" r="-17824" b="-6828"/>
            <a:stretch/>
          </p:blipFill>
          <p:spPr>
            <a:xfrm>
              <a:off x="6077527" y="4649267"/>
              <a:ext cx="332509" cy="268877"/>
            </a:xfrm>
            <a:prstGeom prst="rect">
              <a:avLst/>
            </a:prstGeom>
          </p:spPr>
        </p:pic>
      </p:grpSp>
      <p:sp>
        <p:nvSpPr>
          <p:cNvPr id="239" name="TextBox 238"/>
          <p:cNvSpPr txBox="1"/>
          <p:nvPr/>
        </p:nvSpPr>
        <p:spPr>
          <a:xfrm rot="3368437">
            <a:off x="6739322" y="3917473"/>
            <a:ext cx="1722589" cy="323619"/>
          </a:xfrm>
          <a:prstGeom prst="rect">
            <a:avLst/>
          </a:prstGeom>
        </p:spPr>
        <p:txBody>
          <a:bodyPr vert="horz" wrap="square" lIns="45708" tIns="45708" rIns="45708" bIns="45708" rtlCol="0" anchor="ctr">
            <a:noAutofit/>
          </a:bodyPr>
          <a:lstStyle/>
          <a:p>
            <a:pPr algn="ctr" defTabSz="1087779">
              <a:defRPr/>
            </a:pPr>
            <a:endPar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endParaRPr>
          </a:p>
        </p:txBody>
      </p:sp>
      <p:grpSp>
        <p:nvGrpSpPr>
          <p:cNvPr id="186" name="Group 185"/>
          <p:cNvGrpSpPr/>
          <p:nvPr/>
        </p:nvGrpSpPr>
        <p:grpSpPr>
          <a:xfrm>
            <a:off x="4737778" y="879924"/>
            <a:ext cx="4564584" cy="2961482"/>
            <a:chOff x="4646849" y="1000592"/>
            <a:chExt cx="4267442" cy="2962253"/>
          </a:xfrm>
        </p:grpSpPr>
        <p:sp>
          <p:nvSpPr>
            <p:cNvPr id="322" name="Oval 209"/>
            <p:cNvSpPr/>
            <p:nvPr/>
          </p:nvSpPr>
          <p:spPr bwMode="auto">
            <a:xfrm>
              <a:off x="4646849" y="1000592"/>
              <a:ext cx="4267442" cy="2696898"/>
            </a:xfrm>
            <a:custGeom>
              <a:avLst/>
              <a:gdLst/>
              <a:ahLst/>
              <a:cxnLst/>
              <a:rect l="l" t="t" r="r" b="b"/>
              <a:pathLst>
                <a:path w="8803468" h="5170759">
                  <a:moveTo>
                    <a:pt x="4909183" y="0"/>
                  </a:moveTo>
                  <a:cubicBezTo>
                    <a:pt x="6195616" y="0"/>
                    <a:pt x="7238475" y="1021136"/>
                    <a:pt x="7238475" y="2280772"/>
                  </a:cubicBezTo>
                  <a:cubicBezTo>
                    <a:pt x="7238475" y="2369141"/>
                    <a:pt x="7233343" y="2456337"/>
                    <a:pt x="7222091" y="2541933"/>
                  </a:cubicBezTo>
                  <a:cubicBezTo>
                    <a:pt x="7294788" y="2525239"/>
                    <a:pt x="7370149" y="2518684"/>
                    <a:pt x="7447004" y="2518684"/>
                  </a:cubicBezTo>
                  <a:cubicBezTo>
                    <a:pt x="8196160" y="2518684"/>
                    <a:pt x="8803468" y="3141396"/>
                    <a:pt x="8803468" y="3909552"/>
                  </a:cubicBezTo>
                  <a:cubicBezTo>
                    <a:pt x="8803468" y="4469014"/>
                    <a:pt x="8481324" y="4951325"/>
                    <a:pt x="8016221" y="5170759"/>
                  </a:cubicBezTo>
                  <a:lnTo>
                    <a:pt x="895411" y="5170759"/>
                  </a:lnTo>
                  <a:cubicBezTo>
                    <a:pt x="372663" y="4963354"/>
                    <a:pt x="0" y="4399621"/>
                    <a:pt x="0" y="3737717"/>
                  </a:cubicBezTo>
                  <a:cubicBezTo>
                    <a:pt x="0" y="2972099"/>
                    <a:pt x="498598" y="2337829"/>
                    <a:pt x="1150481" y="2231184"/>
                  </a:cubicBezTo>
                  <a:cubicBezTo>
                    <a:pt x="1172083" y="1693806"/>
                    <a:pt x="1604866" y="1266237"/>
                    <a:pt x="2135045" y="1266237"/>
                  </a:cubicBezTo>
                  <a:cubicBezTo>
                    <a:pt x="2360210" y="1266237"/>
                    <a:pt x="2567805" y="1343357"/>
                    <a:pt x="2731785" y="1476336"/>
                  </a:cubicBezTo>
                  <a:cubicBezTo>
                    <a:pt x="3061724" y="613163"/>
                    <a:pt x="3912322" y="0"/>
                    <a:pt x="4909183" y="0"/>
                  </a:cubicBezTo>
                  <a:close/>
                </a:path>
              </a:pathLst>
            </a:cu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850609">
                <a:defRPr/>
              </a:pPr>
              <a:endParaRPr lang="en-US" sz="1200" kern="0" dirty="0">
                <a:solidFill>
                  <a:srgbClr val="FFFFFF"/>
                </a:solidFill>
                <a:latin typeface="Segoe UI Semibold" panose="020B0702040204020203" pitchFamily="34" charset="0"/>
                <a:cs typeface="Segoe UI Semibold" panose="020B0702040204020203" pitchFamily="34" charset="0"/>
              </a:endParaRPr>
            </a:p>
          </p:txBody>
        </p:sp>
        <p:sp>
          <p:nvSpPr>
            <p:cNvPr id="323" name="TextBox 322"/>
            <p:cNvSpPr txBox="1"/>
            <p:nvPr/>
          </p:nvSpPr>
          <p:spPr>
            <a:xfrm>
              <a:off x="5084724" y="3697491"/>
              <a:ext cx="3464098" cy="265354"/>
            </a:xfrm>
            <a:prstGeom prst="rect">
              <a:avLst/>
            </a:prstGeom>
          </p:spPr>
          <p:txBody>
            <a:bodyPr vert="horz" wrap="square" lIns="45708" tIns="45708" rIns="45708" bIns="45708" rtlCol="0" anchor="ctr">
              <a:noAutofit/>
            </a:bodyPr>
            <a:lstStyle/>
            <a:p>
              <a:pPr algn="ctr" defTabSz="1087779">
                <a:defRPr/>
              </a:pPr>
              <a:r>
                <a:rPr lang="en-US" sz="1600" kern="0" dirty="0">
                  <a:solidFill>
                    <a:srgbClr val="505050"/>
                  </a:solidFill>
                  <a:latin typeface="Segoe UI Semibold" panose="020B0702040204020203" pitchFamily="34" charset="0"/>
                  <a:ea typeface="Segoe UI" pitchFamily="34" charset="0"/>
                  <a:cs typeface="Segoe UI Semibold" panose="020B0702040204020203" pitchFamily="34" charset="0"/>
                </a:rPr>
                <a:t>Productivity Cloud</a:t>
              </a:r>
            </a:p>
          </p:txBody>
        </p:sp>
      </p:grpSp>
      <p:sp>
        <p:nvSpPr>
          <p:cNvPr id="191" name="TextBox 190"/>
          <p:cNvSpPr txBox="1"/>
          <p:nvPr/>
        </p:nvSpPr>
        <p:spPr>
          <a:xfrm>
            <a:off x="8008427" y="2684330"/>
            <a:ext cx="787210" cy="321150"/>
          </a:xfrm>
          <a:prstGeom prst="rect">
            <a:avLst/>
          </a:prstGeom>
        </p:spPr>
        <p:txBody>
          <a:bodyPr vert="horz" wrap="square" lIns="45708" tIns="45708" rIns="45708" bIns="45708" rtlCol="0" anchor="ctr">
            <a:noAutofit/>
          </a:bodyPr>
          <a:lstStyle/>
          <a:p>
            <a:pPr algn="ctr" defTabSz="1087779">
              <a:defRPr/>
            </a:pPr>
            <a:endPar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endParaRPr>
          </a:p>
        </p:txBody>
      </p:sp>
      <p:sp>
        <p:nvSpPr>
          <p:cNvPr id="192" name="TextBox 191"/>
          <p:cNvSpPr txBox="1"/>
          <p:nvPr/>
        </p:nvSpPr>
        <p:spPr>
          <a:xfrm>
            <a:off x="5491254" y="1705495"/>
            <a:ext cx="577715" cy="321498"/>
          </a:xfrm>
          <a:prstGeom prst="rect">
            <a:avLst/>
          </a:prstGeom>
        </p:spPr>
        <p:txBody>
          <a:bodyPr vert="horz" wrap="square" lIns="45708" tIns="45708" rIns="45708" bIns="45708"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kern="0" dirty="0">
                <a:solidFill>
                  <a:prstClr val="white"/>
                </a:solidFill>
              </a:rPr>
              <a:t>Smart Agents</a:t>
            </a:r>
          </a:p>
        </p:txBody>
      </p:sp>
      <p:grpSp>
        <p:nvGrpSpPr>
          <p:cNvPr id="199" name="Group 198"/>
          <p:cNvGrpSpPr/>
          <p:nvPr/>
        </p:nvGrpSpPr>
        <p:grpSpPr>
          <a:xfrm>
            <a:off x="7677409" y="1772697"/>
            <a:ext cx="602572" cy="688781"/>
            <a:chOff x="6786468" y="4155554"/>
            <a:chExt cx="602729" cy="688960"/>
          </a:xfrm>
        </p:grpSpPr>
        <p:pic>
          <p:nvPicPr>
            <p:cNvPr id="283" name="Picture 2" descr="Deploy Microsoft Dynamics AX on Azur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901478" y="4155554"/>
              <a:ext cx="372712" cy="368378"/>
            </a:xfrm>
            <a:prstGeom prst="rect">
              <a:avLst/>
            </a:prstGeom>
            <a:noFill/>
            <a:extLst>
              <a:ext uri="{909E8E84-426E-40DD-AFC4-6F175D3DCCD1}">
                <a14:hiddenFill xmlns:a14="http://schemas.microsoft.com/office/drawing/2010/main">
                  <a:solidFill>
                    <a:srgbClr val="FFFFFF"/>
                  </a:solidFill>
                </a14:hiddenFill>
              </a:ext>
            </a:extLst>
          </p:spPr>
        </p:pic>
        <p:sp>
          <p:nvSpPr>
            <p:cNvPr id="286" name="TextBox 285"/>
            <p:cNvSpPr txBox="1"/>
            <p:nvPr/>
          </p:nvSpPr>
          <p:spPr>
            <a:xfrm>
              <a:off x="6786468" y="4536737"/>
              <a:ext cx="602729" cy="307777"/>
            </a:xfrm>
            <a:prstGeom prst="rect">
              <a:avLst/>
            </a:prstGeom>
          </p:spPr>
          <p:txBody>
            <a:bodyPr vert="horz" wrap="none" lIns="0" tIns="0" rIns="0" bIns="0" rtlCol="0" anchor="ctr">
              <a:noAutofit/>
            </a:bodyPr>
            <a:lstStyle/>
            <a:p>
              <a:pPr algn="ctr" defTabSz="1087779">
                <a:defRPr/>
              </a:pPr>
              <a:r>
                <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rPr>
                <a:t>Dynamics </a:t>
              </a:r>
              <a:br>
                <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rPr>
              </a:br>
              <a:r>
                <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rPr>
                <a:t>Marketing/AX</a:t>
              </a:r>
            </a:p>
          </p:txBody>
        </p:sp>
      </p:grpSp>
      <p:grpSp>
        <p:nvGrpSpPr>
          <p:cNvPr id="201" name="Group 200"/>
          <p:cNvGrpSpPr/>
          <p:nvPr/>
        </p:nvGrpSpPr>
        <p:grpSpPr>
          <a:xfrm>
            <a:off x="6444592" y="1233937"/>
            <a:ext cx="694320" cy="587979"/>
            <a:chOff x="6778590" y="4958763"/>
            <a:chExt cx="694501" cy="588132"/>
          </a:xfrm>
        </p:grpSpPr>
        <p:sp>
          <p:nvSpPr>
            <p:cNvPr id="280" name="TextBox 279"/>
            <p:cNvSpPr txBox="1"/>
            <p:nvPr/>
          </p:nvSpPr>
          <p:spPr>
            <a:xfrm>
              <a:off x="6778590" y="5393007"/>
              <a:ext cx="694501" cy="153888"/>
            </a:xfrm>
            <a:prstGeom prst="rect">
              <a:avLst/>
            </a:prstGeom>
          </p:spPr>
          <p:txBody>
            <a:bodyPr vert="horz" wrap="square" lIns="0" tIns="0" rIns="0" bIns="0"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kern="0" dirty="0">
                  <a:solidFill>
                    <a:prstClr val="white"/>
                  </a:solidFill>
                </a:rPr>
                <a:t>CRM Online</a:t>
              </a:r>
            </a:p>
          </p:txBody>
        </p:sp>
        <p:pic>
          <p:nvPicPr>
            <p:cNvPr id="282" name="Picture 281"/>
            <p:cNvPicPr>
              <a:picLocks noChangeAspect="1"/>
            </p:cNvPicPr>
            <p:nvPr/>
          </p:nvPicPr>
          <p:blipFill>
            <a:blip r:embed="rId5"/>
            <a:stretch>
              <a:fillRect/>
            </a:stretch>
          </p:blipFill>
          <p:spPr>
            <a:xfrm>
              <a:off x="6933148" y="4958763"/>
              <a:ext cx="327217" cy="387206"/>
            </a:xfrm>
            <a:prstGeom prst="rect">
              <a:avLst/>
            </a:prstGeom>
          </p:spPr>
        </p:pic>
      </p:grpSp>
      <p:grpSp>
        <p:nvGrpSpPr>
          <p:cNvPr id="205" name="Group 204"/>
          <p:cNvGrpSpPr/>
          <p:nvPr/>
        </p:nvGrpSpPr>
        <p:grpSpPr>
          <a:xfrm>
            <a:off x="8290317" y="2694203"/>
            <a:ext cx="661869" cy="566201"/>
            <a:chOff x="6721210" y="2977753"/>
            <a:chExt cx="662041" cy="566348"/>
          </a:xfrm>
        </p:grpSpPr>
        <p:sp>
          <p:nvSpPr>
            <p:cNvPr id="245" name="Rectangle 244"/>
            <p:cNvSpPr/>
            <p:nvPr/>
          </p:nvSpPr>
          <p:spPr>
            <a:xfrm>
              <a:off x="6914124" y="3008521"/>
              <a:ext cx="332963" cy="3488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914126">
                <a:defRPr/>
              </a:pPr>
              <a:endParaRPr lang="en-US" sz="1200" kern="0" dirty="0" err="1">
                <a:solidFill>
                  <a:sysClr val="windowText" lastClr="000000"/>
                </a:solidFill>
                <a:latin typeface="Segoe UI"/>
              </a:endParaRPr>
            </a:p>
          </p:txBody>
        </p:sp>
        <p:grpSp>
          <p:nvGrpSpPr>
            <p:cNvPr id="246" name="Group 245"/>
            <p:cNvGrpSpPr/>
            <p:nvPr/>
          </p:nvGrpSpPr>
          <p:grpSpPr>
            <a:xfrm>
              <a:off x="6721210" y="2977753"/>
              <a:ext cx="662041" cy="566348"/>
              <a:chOff x="6332079" y="3918572"/>
              <a:chExt cx="662041" cy="566348"/>
            </a:xfrm>
          </p:grpSpPr>
          <p:pic>
            <p:nvPicPr>
              <p:cNvPr id="261" name="Picture 260"/>
              <p:cNvPicPr>
                <a:picLocks noChangeAspect="1"/>
              </p:cNvPicPr>
              <p:nvPr/>
            </p:nvPicPr>
            <p:blipFill>
              <a:blip r:embed="rId6">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6452395" y="3918572"/>
                <a:ext cx="414076" cy="414076"/>
              </a:xfrm>
              <a:prstGeom prst="rect">
                <a:avLst/>
              </a:prstGeom>
            </p:spPr>
          </p:pic>
          <p:sp>
            <p:nvSpPr>
              <p:cNvPr id="271" name="TextBox 270"/>
              <p:cNvSpPr txBox="1"/>
              <p:nvPr/>
            </p:nvSpPr>
            <p:spPr>
              <a:xfrm>
                <a:off x="6332079" y="4331032"/>
                <a:ext cx="662041" cy="153888"/>
              </a:xfrm>
              <a:prstGeom prst="rect">
                <a:avLst/>
              </a:prstGeom>
            </p:spPr>
            <p:txBody>
              <a:bodyPr vert="horz" wrap="none" lIns="0" tIns="0" rIns="0" bIns="0" rtlCol="0" anchor="ctr">
                <a:spAutoFit/>
              </a:bodyPr>
              <a:lstStyle/>
              <a:p>
                <a:pPr algn="ctr" defTabSz="1087779">
                  <a:defRPr/>
                </a:pPr>
                <a:r>
                  <a:rPr lang="en-US" sz="1000" kern="0" dirty="0" err="1">
                    <a:solidFill>
                      <a:prstClr val="white"/>
                    </a:solidFill>
                    <a:latin typeface="Segoe UI Semibold" panose="020B0702040204020203" pitchFamily="34" charset="0"/>
                    <a:ea typeface="Segoe UI" pitchFamily="34" charset="0"/>
                    <a:cs typeface="Segoe UI Semibold" panose="020B0702040204020203" pitchFamily="34" charset="0"/>
                  </a:rPr>
                  <a:t>PowerApps</a:t>
                </a:r>
                <a:endPar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endParaRPr>
              </a:p>
            </p:txBody>
          </p:sp>
        </p:grpSp>
      </p:grpSp>
      <p:grpSp>
        <p:nvGrpSpPr>
          <p:cNvPr id="206" name="Group 205"/>
          <p:cNvGrpSpPr/>
          <p:nvPr/>
        </p:nvGrpSpPr>
        <p:grpSpPr>
          <a:xfrm>
            <a:off x="5039416" y="2352617"/>
            <a:ext cx="613011" cy="875113"/>
            <a:chOff x="4928969" y="2462281"/>
            <a:chExt cx="613171" cy="875341"/>
          </a:xfrm>
        </p:grpSpPr>
        <p:pic>
          <p:nvPicPr>
            <p:cNvPr id="243" name="Picture 242"/>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4928969" y="2462281"/>
              <a:ext cx="603471" cy="603471"/>
            </a:xfrm>
            <a:prstGeom prst="rect">
              <a:avLst/>
            </a:prstGeom>
          </p:spPr>
        </p:pic>
        <p:sp>
          <p:nvSpPr>
            <p:cNvPr id="244" name="TextBox 243"/>
            <p:cNvSpPr txBox="1"/>
            <p:nvPr/>
          </p:nvSpPr>
          <p:spPr>
            <a:xfrm>
              <a:off x="4949029" y="3029845"/>
              <a:ext cx="593111" cy="307777"/>
            </a:xfrm>
            <a:prstGeom prst="rect">
              <a:avLst/>
            </a:prstGeom>
          </p:spPr>
          <p:txBody>
            <a:bodyPr vert="horz" wrap="none" lIns="0" tIns="0" rIns="0" bIns="0" rtlCol="0" anchor="ctr">
              <a:spAutoFit/>
            </a:bodyPr>
            <a:lstStyle/>
            <a:p>
              <a:pPr algn="ctr" defTabSz="1087779">
                <a:defRPr/>
              </a:pPr>
              <a:r>
                <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rPr>
                <a:t>Cognitive </a:t>
              </a:r>
            </a:p>
            <a:p>
              <a:pPr algn="ctr" defTabSz="1087779">
                <a:defRPr/>
              </a:pPr>
              <a:r>
                <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rPr>
                <a:t>Services</a:t>
              </a:r>
            </a:p>
          </p:txBody>
        </p:sp>
      </p:grpSp>
      <p:sp>
        <p:nvSpPr>
          <p:cNvPr id="207" name="TextBox 206"/>
          <p:cNvSpPr txBox="1"/>
          <p:nvPr/>
        </p:nvSpPr>
        <p:spPr>
          <a:xfrm>
            <a:off x="6219085" y="2020186"/>
            <a:ext cx="1073312" cy="180706"/>
          </a:xfrm>
          <a:prstGeom prst="rect">
            <a:avLst/>
          </a:prstGeom>
        </p:spPr>
        <p:txBody>
          <a:bodyPr vert="horz" wrap="square" lIns="45708" tIns="45708" rIns="45708" bIns="45708"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kern="0" dirty="0">
                <a:solidFill>
                  <a:prstClr val="white"/>
                </a:solidFill>
              </a:rPr>
              <a:t>Personal Graph</a:t>
            </a:r>
          </a:p>
        </p:txBody>
      </p:sp>
      <p:sp>
        <p:nvSpPr>
          <p:cNvPr id="208" name="TextBox 207"/>
          <p:cNvSpPr txBox="1"/>
          <p:nvPr/>
        </p:nvSpPr>
        <p:spPr>
          <a:xfrm>
            <a:off x="6198493" y="2191134"/>
            <a:ext cx="1073312" cy="180706"/>
          </a:xfrm>
          <a:prstGeom prst="rect">
            <a:avLst/>
          </a:prstGeom>
        </p:spPr>
        <p:txBody>
          <a:bodyPr vert="horz" wrap="square" lIns="45708" tIns="45708" rIns="45708" bIns="45708"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kern="0" dirty="0">
                <a:solidFill>
                  <a:prstClr val="white"/>
                </a:solidFill>
              </a:rPr>
              <a:t>Office Graph</a:t>
            </a:r>
          </a:p>
        </p:txBody>
      </p:sp>
      <p:grpSp>
        <p:nvGrpSpPr>
          <p:cNvPr id="209" name="Group 208"/>
          <p:cNvGrpSpPr/>
          <p:nvPr/>
        </p:nvGrpSpPr>
        <p:grpSpPr>
          <a:xfrm>
            <a:off x="7444745" y="2573833"/>
            <a:ext cx="521621" cy="622357"/>
            <a:chOff x="5545272" y="2267453"/>
            <a:chExt cx="521757" cy="622519"/>
          </a:xfrm>
        </p:grpSpPr>
        <p:sp>
          <p:nvSpPr>
            <p:cNvPr id="231" name="TextBox 230"/>
            <p:cNvSpPr txBox="1"/>
            <p:nvPr/>
          </p:nvSpPr>
          <p:spPr>
            <a:xfrm>
              <a:off x="5545272" y="2691064"/>
              <a:ext cx="521757" cy="198908"/>
            </a:xfrm>
            <a:prstGeom prst="rect">
              <a:avLst/>
            </a:prstGeom>
          </p:spPr>
          <p:txBody>
            <a:bodyPr vert="horz" wrap="square" lIns="45708" tIns="45708" rIns="45708" bIns="45708"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kern="0" dirty="0">
                  <a:solidFill>
                    <a:prstClr val="white"/>
                  </a:solidFill>
                </a:rPr>
                <a:t>Bing</a:t>
              </a:r>
            </a:p>
          </p:txBody>
        </p:sp>
        <p:pic>
          <p:nvPicPr>
            <p:cNvPr id="242" name="Picture 241"/>
            <p:cNvPicPr>
              <a:picLocks noChangeAspect="1"/>
            </p:cNvPicPr>
            <p:nvPr/>
          </p:nvPicPr>
          <p:blipFill>
            <a:blip r:embed="rId8"/>
            <a:stretch>
              <a:fillRect/>
            </a:stretch>
          </p:blipFill>
          <p:spPr>
            <a:xfrm>
              <a:off x="5608585" y="2267453"/>
              <a:ext cx="382985" cy="391892"/>
            </a:xfrm>
            <a:prstGeom prst="rect">
              <a:avLst/>
            </a:prstGeom>
          </p:spPr>
        </p:pic>
      </p:grpSp>
      <p:grpSp>
        <p:nvGrpSpPr>
          <p:cNvPr id="210" name="Group 209"/>
          <p:cNvGrpSpPr/>
          <p:nvPr/>
        </p:nvGrpSpPr>
        <p:grpSpPr>
          <a:xfrm>
            <a:off x="7170362" y="1093944"/>
            <a:ext cx="683008" cy="538652"/>
            <a:chOff x="5313364" y="3758616"/>
            <a:chExt cx="715691" cy="538792"/>
          </a:xfrm>
        </p:grpSpPr>
        <p:sp>
          <p:nvSpPr>
            <p:cNvPr id="229" name="TextBox 228"/>
            <p:cNvSpPr txBox="1"/>
            <p:nvPr/>
          </p:nvSpPr>
          <p:spPr>
            <a:xfrm>
              <a:off x="5313364" y="4107912"/>
              <a:ext cx="715691" cy="189496"/>
            </a:xfrm>
            <a:prstGeom prst="rect">
              <a:avLst/>
            </a:prstGeom>
          </p:spPr>
          <p:txBody>
            <a:bodyPr vert="horz" wrap="square" lIns="91416" tIns="91416" rIns="91416" bIns="91416" rtlCol="0" anchor="ctr">
              <a:noAutofit/>
            </a:bodyPr>
            <a:lstStyle/>
            <a:p>
              <a:pPr algn="ctr" defTabSz="914126">
                <a:defRPr/>
              </a:pPr>
              <a:r>
                <a:rPr lang="en-US" sz="1000" kern="0" dirty="0" err="1">
                  <a:solidFill>
                    <a:prstClr val="white"/>
                  </a:solidFill>
                  <a:latin typeface="Segoe UI Semibold" panose="020B0702040204020203" pitchFamily="34" charset="0"/>
                  <a:cs typeface="Segoe UI Semibold" panose="020B0702040204020203" pitchFamily="34" charset="0"/>
                </a:rPr>
                <a:t>PowerBI</a:t>
              </a:r>
              <a:endParaRPr lang="en-US" sz="1000" kern="0" dirty="0">
                <a:solidFill>
                  <a:prstClr val="white"/>
                </a:solidFill>
                <a:latin typeface="Segoe UI Semibold" panose="020B0702040204020203" pitchFamily="34" charset="0"/>
                <a:cs typeface="Segoe UI Semibold" panose="020B0702040204020203" pitchFamily="34" charset="0"/>
              </a:endParaRPr>
            </a:p>
          </p:txBody>
        </p:sp>
        <p:pic>
          <p:nvPicPr>
            <p:cNvPr id="230" name="Picture 229"/>
            <p:cNvPicPr>
              <a:picLocks noChangeAspect="1"/>
            </p:cNvPicPr>
            <p:nvPr/>
          </p:nvPicPr>
          <p:blipFill>
            <a:blip r:embed="rId9">
              <a:lum bright="70000" contrast="-70000"/>
            </a:blip>
            <a:stretch>
              <a:fillRect/>
            </a:stretch>
          </p:blipFill>
          <p:spPr>
            <a:xfrm>
              <a:off x="5441238" y="3758616"/>
              <a:ext cx="459943" cy="353647"/>
            </a:xfrm>
            <a:prstGeom prst="rect">
              <a:avLst/>
            </a:prstGeom>
          </p:spPr>
        </p:pic>
      </p:grpSp>
      <p:grpSp>
        <p:nvGrpSpPr>
          <p:cNvPr id="211" name="Group 210"/>
          <p:cNvGrpSpPr/>
          <p:nvPr/>
        </p:nvGrpSpPr>
        <p:grpSpPr>
          <a:xfrm>
            <a:off x="5815218" y="2543889"/>
            <a:ext cx="694320" cy="587979"/>
            <a:chOff x="6864062" y="4991160"/>
            <a:chExt cx="694501" cy="588132"/>
          </a:xfrm>
        </p:grpSpPr>
        <p:sp>
          <p:nvSpPr>
            <p:cNvPr id="217" name="TextBox 216"/>
            <p:cNvSpPr txBox="1"/>
            <p:nvPr/>
          </p:nvSpPr>
          <p:spPr>
            <a:xfrm>
              <a:off x="6864062" y="5425404"/>
              <a:ext cx="694501" cy="153888"/>
            </a:xfrm>
            <a:prstGeom prst="rect">
              <a:avLst/>
            </a:prstGeom>
          </p:spPr>
          <p:txBody>
            <a:bodyPr vert="horz" wrap="square" lIns="0" tIns="0" rIns="0" bIns="0"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kern="0" dirty="0">
                  <a:solidFill>
                    <a:prstClr val="white"/>
                  </a:solidFill>
                </a:rPr>
                <a:t>Office 365</a:t>
              </a:r>
            </a:p>
          </p:txBody>
        </p:sp>
        <p:pic>
          <p:nvPicPr>
            <p:cNvPr id="218" name="Picture 217"/>
            <p:cNvPicPr>
              <a:picLocks noChangeAspect="1"/>
            </p:cNvPicPr>
            <p:nvPr/>
          </p:nvPicPr>
          <p:blipFill>
            <a:blip r:embed="rId5"/>
            <a:stretch>
              <a:fillRect/>
            </a:stretch>
          </p:blipFill>
          <p:spPr>
            <a:xfrm>
              <a:off x="7018620" y="4991160"/>
              <a:ext cx="327217" cy="387206"/>
            </a:xfrm>
            <a:prstGeom prst="rect">
              <a:avLst/>
            </a:prstGeom>
          </p:spPr>
        </p:pic>
      </p:grpSp>
      <p:grpSp>
        <p:nvGrpSpPr>
          <p:cNvPr id="212" name="Group 211"/>
          <p:cNvGrpSpPr/>
          <p:nvPr/>
        </p:nvGrpSpPr>
        <p:grpSpPr>
          <a:xfrm>
            <a:off x="6618252" y="2572562"/>
            <a:ext cx="639432" cy="665959"/>
            <a:chOff x="3526638" y="3914961"/>
            <a:chExt cx="639599" cy="666132"/>
          </a:xfrm>
        </p:grpSpPr>
        <p:pic>
          <p:nvPicPr>
            <p:cNvPr id="213" name="Picture 212"/>
            <p:cNvPicPr>
              <a:picLocks noChangeAspect="1"/>
            </p:cNvPicPr>
            <p:nvPr/>
          </p:nvPicPr>
          <p:blipFill>
            <a:blip r:embed="rId10">
              <a:biLevel thresh="25000"/>
              <a:extLst>
                <a:ext uri="{28A0092B-C50C-407E-A947-70E740481C1C}">
                  <a14:useLocalDpi xmlns:a14="http://schemas.microsoft.com/office/drawing/2010/main" val="0"/>
                </a:ext>
              </a:extLst>
            </a:blip>
            <a:stretch>
              <a:fillRect/>
            </a:stretch>
          </p:blipFill>
          <p:spPr>
            <a:xfrm>
              <a:off x="3631257" y="3914961"/>
              <a:ext cx="454977" cy="454977"/>
            </a:xfrm>
            <a:prstGeom prst="rect">
              <a:avLst/>
            </a:prstGeom>
          </p:spPr>
        </p:pic>
        <p:sp>
          <p:nvSpPr>
            <p:cNvPr id="216" name="TextBox 215"/>
            <p:cNvSpPr txBox="1"/>
            <p:nvPr/>
          </p:nvSpPr>
          <p:spPr>
            <a:xfrm>
              <a:off x="3526638" y="4427205"/>
              <a:ext cx="639599" cy="153888"/>
            </a:xfrm>
            <a:prstGeom prst="rect">
              <a:avLst/>
            </a:prstGeom>
          </p:spPr>
          <p:txBody>
            <a:bodyPr vert="horz" wrap="none" lIns="0" tIns="0" rIns="0" bIns="0" rtlCol="0" anchor="ctr">
              <a:spAutoFit/>
            </a:bodyPr>
            <a:lstStyle/>
            <a:p>
              <a:pPr algn="ctr" defTabSz="1087779">
                <a:defRPr/>
              </a:pPr>
              <a:r>
                <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rPr>
                <a:t>Sharepoint</a:t>
              </a:r>
            </a:p>
          </p:txBody>
        </p:sp>
      </p:grpSp>
      <p:grpSp>
        <p:nvGrpSpPr>
          <p:cNvPr id="379" name="Group 378"/>
          <p:cNvGrpSpPr/>
          <p:nvPr/>
        </p:nvGrpSpPr>
        <p:grpSpPr>
          <a:xfrm>
            <a:off x="3347437" y="4019738"/>
            <a:ext cx="4595666" cy="2663592"/>
            <a:chOff x="2173294" y="2508387"/>
            <a:chExt cx="4596863" cy="2664286"/>
          </a:xfrm>
        </p:grpSpPr>
        <p:sp>
          <p:nvSpPr>
            <p:cNvPr id="380" name="Oval 209"/>
            <p:cNvSpPr/>
            <p:nvPr/>
          </p:nvSpPr>
          <p:spPr bwMode="auto">
            <a:xfrm>
              <a:off x="2173294" y="2508387"/>
              <a:ext cx="4596863" cy="2440080"/>
            </a:xfrm>
            <a:custGeom>
              <a:avLst/>
              <a:gdLst/>
              <a:ahLst/>
              <a:cxnLst/>
              <a:rect l="l" t="t" r="r" b="b"/>
              <a:pathLst>
                <a:path w="8803468" h="5170759">
                  <a:moveTo>
                    <a:pt x="4909183" y="0"/>
                  </a:moveTo>
                  <a:cubicBezTo>
                    <a:pt x="6195616" y="0"/>
                    <a:pt x="7238475" y="1021136"/>
                    <a:pt x="7238475" y="2280772"/>
                  </a:cubicBezTo>
                  <a:cubicBezTo>
                    <a:pt x="7238475" y="2369141"/>
                    <a:pt x="7233343" y="2456337"/>
                    <a:pt x="7222091" y="2541933"/>
                  </a:cubicBezTo>
                  <a:cubicBezTo>
                    <a:pt x="7294788" y="2525239"/>
                    <a:pt x="7370149" y="2518684"/>
                    <a:pt x="7447004" y="2518684"/>
                  </a:cubicBezTo>
                  <a:cubicBezTo>
                    <a:pt x="8196160" y="2518684"/>
                    <a:pt x="8803468" y="3141396"/>
                    <a:pt x="8803468" y="3909552"/>
                  </a:cubicBezTo>
                  <a:cubicBezTo>
                    <a:pt x="8803468" y="4469014"/>
                    <a:pt x="8481324" y="4951325"/>
                    <a:pt x="8016221" y="5170759"/>
                  </a:cubicBezTo>
                  <a:lnTo>
                    <a:pt x="895411" y="5170759"/>
                  </a:lnTo>
                  <a:cubicBezTo>
                    <a:pt x="372663" y="4963354"/>
                    <a:pt x="0" y="4399621"/>
                    <a:pt x="0" y="3737717"/>
                  </a:cubicBezTo>
                  <a:cubicBezTo>
                    <a:pt x="0" y="2972099"/>
                    <a:pt x="498598" y="2337829"/>
                    <a:pt x="1150481" y="2231184"/>
                  </a:cubicBezTo>
                  <a:cubicBezTo>
                    <a:pt x="1172083" y="1693806"/>
                    <a:pt x="1604866" y="1266237"/>
                    <a:pt x="2135045" y="1266237"/>
                  </a:cubicBezTo>
                  <a:cubicBezTo>
                    <a:pt x="2360210" y="1266237"/>
                    <a:pt x="2567805" y="1343357"/>
                    <a:pt x="2731785" y="1476336"/>
                  </a:cubicBezTo>
                  <a:cubicBezTo>
                    <a:pt x="3061724" y="613163"/>
                    <a:pt x="3912322" y="0"/>
                    <a:pt x="4909183" y="0"/>
                  </a:cubicBezTo>
                  <a:close/>
                </a:path>
              </a:pathLst>
            </a:cu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850609">
                <a:defRPr/>
              </a:pPr>
              <a:endParaRPr lang="en-US" sz="1200" kern="0" dirty="0">
                <a:solidFill>
                  <a:srgbClr val="FFFFFF"/>
                </a:solidFill>
                <a:latin typeface="Segoe UI Semibold" panose="020B0702040204020203" pitchFamily="34" charset="0"/>
                <a:cs typeface="Segoe UI Semibold" panose="020B0702040204020203" pitchFamily="34" charset="0"/>
              </a:endParaRPr>
            </a:p>
          </p:txBody>
        </p:sp>
        <p:sp>
          <p:nvSpPr>
            <p:cNvPr id="381" name="TextBox 380"/>
            <p:cNvSpPr txBox="1"/>
            <p:nvPr/>
          </p:nvSpPr>
          <p:spPr>
            <a:xfrm>
              <a:off x="2701252" y="4948467"/>
              <a:ext cx="3721526" cy="224206"/>
            </a:xfrm>
            <a:prstGeom prst="rect">
              <a:avLst/>
            </a:prstGeom>
          </p:spPr>
          <p:txBody>
            <a:bodyPr vert="horz" wrap="square" lIns="45708" tIns="45708" rIns="45708" bIns="45708" rtlCol="0" anchor="ctr">
              <a:noAutofit/>
            </a:bodyPr>
            <a:lstStyle/>
            <a:p>
              <a:pPr algn="ctr" defTabSz="1087779">
                <a:defRPr/>
              </a:pPr>
              <a:r>
                <a:rPr lang="en-US" sz="1600" kern="0" dirty="0">
                  <a:solidFill>
                    <a:srgbClr val="505050"/>
                  </a:solidFill>
                  <a:latin typeface="Segoe UI Semibold" panose="020B0702040204020203" pitchFamily="34" charset="0"/>
                  <a:ea typeface="Segoe UI" pitchFamily="34" charset="0"/>
                  <a:cs typeface="Segoe UI Semibold" panose="020B0702040204020203" pitchFamily="34" charset="0"/>
                </a:rPr>
                <a:t>Intelligent Cloud</a:t>
              </a:r>
            </a:p>
          </p:txBody>
        </p:sp>
        <p:pic>
          <p:nvPicPr>
            <p:cNvPr id="382" name="Picture 381"/>
            <p:cNvPicPr>
              <a:picLocks noChangeAspect="1"/>
            </p:cNvPicPr>
            <p:nvPr/>
          </p:nvPicPr>
          <p:blipFill>
            <a:blip r:embed="rId11">
              <a:biLevel thresh="25000"/>
            </a:blip>
            <a:stretch>
              <a:fillRect/>
            </a:stretch>
          </p:blipFill>
          <p:spPr>
            <a:xfrm>
              <a:off x="3007745" y="3210013"/>
              <a:ext cx="483065" cy="483065"/>
            </a:xfrm>
            <a:prstGeom prst="rect">
              <a:avLst/>
            </a:prstGeom>
          </p:spPr>
        </p:pic>
        <p:sp>
          <p:nvSpPr>
            <p:cNvPr id="383" name="TextBox 382"/>
            <p:cNvSpPr txBox="1"/>
            <p:nvPr/>
          </p:nvSpPr>
          <p:spPr>
            <a:xfrm>
              <a:off x="2884593" y="3722624"/>
              <a:ext cx="729367" cy="153888"/>
            </a:xfrm>
            <a:prstGeom prst="rect">
              <a:avLst/>
            </a:prstGeom>
          </p:spPr>
          <p:txBody>
            <a:bodyPr vert="horz" wrap="none" lIns="0" tIns="0" rIns="0" bIns="0" rtlCol="0" anchor="ctr">
              <a:spAutoFit/>
            </a:bodyPr>
            <a:lstStyle/>
            <a:p>
              <a:pPr algn="ctr" defTabSz="1087779">
                <a:defRPr/>
              </a:pPr>
              <a:r>
                <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rPr>
                <a:t>App Insights</a:t>
              </a:r>
            </a:p>
          </p:txBody>
        </p:sp>
        <p:pic>
          <p:nvPicPr>
            <p:cNvPr id="384" name="Picture 383"/>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4589087" y="3501752"/>
              <a:ext cx="413553" cy="413553"/>
            </a:xfrm>
            <a:prstGeom prst="rect">
              <a:avLst/>
            </a:prstGeom>
          </p:spPr>
        </p:pic>
        <p:sp>
          <p:nvSpPr>
            <p:cNvPr id="385" name="TextBox 384"/>
            <p:cNvSpPr txBox="1"/>
            <p:nvPr/>
          </p:nvSpPr>
          <p:spPr>
            <a:xfrm>
              <a:off x="4455333" y="3868742"/>
              <a:ext cx="681060" cy="246221"/>
            </a:xfrm>
            <a:prstGeom prst="rect">
              <a:avLst/>
            </a:prstGeom>
          </p:spPr>
          <p:txBody>
            <a:bodyPr vert="horz" wrap="square" lIns="45708" tIns="45708" rIns="45708" bIns="45708" rtlCol="0" anchor="ctr">
              <a:noAutofit/>
            </a:bodyPr>
            <a:lstStyle>
              <a:defPPr>
                <a:defRPr lang="en-US"/>
              </a:defPPr>
              <a:lvl1pPr algn="ctr" defTabSz="1088105">
                <a:defRPr sz="12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sz="1000" kern="0" dirty="0" err="1">
                  <a:solidFill>
                    <a:prstClr val="white"/>
                  </a:solidFill>
                </a:rPr>
                <a:t>HDInsight</a:t>
              </a:r>
              <a:endParaRPr lang="en-US" sz="1000" kern="0" dirty="0">
                <a:solidFill>
                  <a:prstClr val="white"/>
                </a:solidFill>
              </a:endParaRPr>
            </a:p>
          </p:txBody>
        </p:sp>
        <p:pic>
          <p:nvPicPr>
            <p:cNvPr id="386" name="Picture 385"/>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4291811" y="2676250"/>
              <a:ext cx="359016" cy="359016"/>
            </a:xfrm>
            <a:prstGeom prst="rect">
              <a:avLst/>
            </a:prstGeom>
          </p:spPr>
        </p:pic>
        <p:sp>
          <p:nvSpPr>
            <p:cNvPr id="387" name="TextBox 386"/>
            <p:cNvSpPr txBox="1"/>
            <p:nvPr/>
          </p:nvSpPr>
          <p:spPr>
            <a:xfrm>
              <a:off x="3970701" y="3041546"/>
              <a:ext cx="1001236" cy="400110"/>
            </a:xfrm>
            <a:prstGeom prst="rect">
              <a:avLst/>
            </a:prstGeom>
          </p:spPr>
          <p:txBody>
            <a:bodyPr vert="horz" wrap="none" lIns="45708" tIns="45708" rIns="45708" bIns="45708" rtlCol="0" anchor="ctr">
              <a:spAutoFit/>
            </a:bodyPr>
            <a:lstStyle>
              <a:defPPr>
                <a:defRPr lang="en-US"/>
              </a:defPPr>
              <a:lvl1pPr algn="ctr" defTabSz="1088105">
                <a:defRPr sz="12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sz="1000" kern="0" dirty="0">
                  <a:solidFill>
                    <a:prstClr val="white"/>
                  </a:solidFill>
                </a:rPr>
                <a:t>Azure Machine </a:t>
              </a:r>
              <a:br>
                <a:rPr lang="en-US" sz="1000" kern="0" dirty="0">
                  <a:solidFill>
                    <a:prstClr val="white"/>
                  </a:solidFill>
                </a:rPr>
              </a:br>
              <a:r>
                <a:rPr lang="en-US" sz="1000" kern="0" dirty="0">
                  <a:solidFill>
                    <a:prstClr val="white"/>
                  </a:solidFill>
                </a:rPr>
                <a:t>Learning</a:t>
              </a:r>
            </a:p>
          </p:txBody>
        </p:sp>
        <p:pic>
          <p:nvPicPr>
            <p:cNvPr id="388" name="Picture 387"/>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5136626" y="2894953"/>
              <a:ext cx="401119" cy="401119"/>
            </a:xfrm>
            <a:prstGeom prst="rect">
              <a:avLst/>
            </a:prstGeom>
          </p:spPr>
        </p:pic>
        <p:sp>
          <p:nvSpPr>
            <p:cNvPr id="389" name="TextBox 388"/>
            <p:cNvSpPr txBox="1"/>
            <p:nvPr/>
          </p:nvSpPr>
          <p:spPr>
            <a:xfrm>
              <a:off x="4975514" y="3314726"/>
              <a:ext cx="737381" cy="153888"/>
            </a:xfrm>
            <a:prstGeom prst="rect">
              <a:avLst/>
            </a:prstGeom>
          </p:spPr>
          <p:txBody>
            <a:bodyPr vert="horz" wrap="none" lIns="0" tIns="0" rIns="0" bIns="0" rtlCol="0" anchor="ctr">
              <a:spAutoFit/>
            </a:bodyPr>
            <a:lstStyle/>
            <a:p>
              <a:pPr algn="ctr" defTabSz="1087779">
                <a:defRPr/>
              </a:pPr>
              <a:r>
                <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rPr>
                <a:t>Data Factory</a:t>
              </a:r>
            </a:p>
          </p:txBody>
        </p:sp>
        <p:pic>
          <p:nvPicPr>
            <p:cNvPr id="390" name="Picture 389"/>
            <p:cNvPicPr>
              <a:picLocks noChangeAspect="1"/>
            </p:cNvPicPr>
            <p:nvPr/>
          </p:nvPicPr>
          <p:blipFill>
            <a:blip r:embed="rId15">
              <a:biLevel thresh="25000"/>
            </a:blip>
            <a:stretch>
              <a:fillRect/>
            </a:stretch>
          </p:blipFill>
          <p:spPr>
            <a:xfrm>
              <a:off x="3736073" y="3451546"/>
              <a:ext cx="412587" cy="412587"/>
            </a:xfrm>
            <a:prstGeom prst="rect">
              <a:avLst/>
            </a:prstGeom>
          </p:spPr>
        </p:pic>
        <p:sp>
          <p:nvSpPr>
            <p:cNvPr id="391" name="TextBox 390"/>
            <p:cNvSpPr txBox="1"/>
            <p:nvPr/>
          </p:nvSpPr>
          <p:spPr>
            <a:xfrm>
              <a:off x="3655429" y="3936667"/>
              <a:ext cx="573875" cy="153888"/>
            </a:xfrm>
            <a:prstGeom prst="rect">
              <a:avLst/>
            </a:prstGeom>
          </p:spPr>
          <p:txBody>
            <a:bodyPr vert="horz" wrap="none" lIns="0" tIns="0" rIns="0" bIns="0" rtlCol="0" anchor="ctr">
              <a:spAutoFit/>
            </a:bodyPr>
            <a:lstStyle/>
            <a:p>
              <a:pPr algn="ctr" defTabSz="1087779">
                <a:defRPr/>
              </a:pPr>
              <a:r>
                <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rPr>
                <a:t>Data Lake</a:t>
              </a:r>
            </a:p>
          </p:txBody>
        </p:sp>
        <p:sp>
          <p:nvSpPr>
            <p:cNvPr id="392" name="TextBox 391"/>
            <p:cNvSpPr txBox="1"/>
            <p:nvPr/>
          </p:nvSpPr>
          <p:spPr>
            <a:xfrm>
              <a:off x="4852401" y="4454629"/>
              <a:ext cx="760737" cy="400110"/>
            </a:xfrm>
            <a:prstGeom prst="rect">
              <a:avLst/>
            </a:prstGeom>
          </p:spPr>
          <p:txBody>
            <a:bodyPr vert="horz" wrap="square" lIns="45708" tIns="45708" rIns="45708" bIns="45708" rtlCol="0" anchor="ctr">
              <a:noAutofit/>
            </a:bodyPr>
            <a:lstStyle>
              <a:defPPr>
                <a:defRPr lang="en-US"/>
              </a:defPPr>
              <a:lvl1pPr algn="ctr" defTabSz="1088105">
                <a:defRPr sz="12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sz="1000" kern="0" dirty="0">
                  <a:solidFill>
                    <a:prstClr val="white"/>
                  </a:solidFill>
                </a:rPr>
                <a:t>Stream</a:t>
              </a:r>
              <a:br>
                <a:rPr lang="en-US" sz="1000" kern="0" dirty="0">
                  <a:solidFill>
                    <a:prstClr val="white"/>
                  </a:solidFill>
                </a:rPr>
              </a:br>
              <a:r>
                <a:rPr lang="en-US" sz="1000" kern="0" dirty="0">
                  <a:solidFill>
                    <a:prstClr val="white"/>
                  </a:solidFill>
                </a:rPr>
                <a:t>Analytics</a:t>
              </a:r>
            </a:p>
          </p:txBody>
        </p:sp>
        <p:pic>
          <p:nvPicPr>
            <p:cNvPr id="393" name="Picture 392"/>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4979261" y="4090555"/>
              <a:ext cx="507016" cy="507016"/>
            </a:xfrm>
            <a:prstGeom prst="rect">
              <a:avLst/>
            </a:prstGeom>
          </p:spPr>
        </p:pic>
        <p:pic>
          <p:nvPicPr>
            <p:cNvPr id="394" name="Picture 393"/>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5857152" y="4295133"/>
              <a:ext cx="389797" cy="389797"/>
            </a:xfrm>
            <a:prstGeom prst="rect">
              <a:avLst/>
            </a:prstGeom>
          </p:spPr>
        </p:pic>
        <p:sp>
          <p:nvSpPr>
            <p:cNvPr id="395" name="TextBox 394"/>
            <p:cNvSpPr txBox="1"/>
            <p:nvPr/>
          </p:nvSpPr>
          <p:spPr>
            <a:xfrm>
              <a:off x="5647365" y="4718309"/>
              <a:ext cx="809369" cy="183356"/>
            </a:xfrm>
            <a:prstGeom prst="rect">
              <a:avLst/>
            </a:prstGeom>
          </p:spPr>
          <p:txBody>
            <a:bodyPr vert="horz" wrap="square" lIns="45708" tIns="45708" rIns="45708" bIns="45708" rtlCol="0" anchor="ctr">
              <a:noAutofit/>
            </a:bodyPr>
            <a:lstStyle>
              <a:defPPr>
                <a:defRPr lang="en-US"/>
              </a:defPPr>
              <a:lvl1pPr algn="ctr" defTabSz="1088105">
                <a:defRPr sz="12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sz="1000" kern="0" dirty="0">
                  <a:solidFill>
                    <a:prstClr val="white"/>
                  </a:solidFill>
                </a:rPr>
                <a:t>Event Hubs</a:t>
              </a:r>
            </a:p>
          </p:txBody>
        </p:sp>
        <p:pic>
          <p:nvPicPr>
            <p:cNvPr id="396" name="Picture 395"/>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4221389" y="4200388"/>
              <a:ext cx="413553" cy="413553"/>
            </a:xfrm>
            <a:prstGeom prst="rect">
              <a:avLst/>
            </a:prstGeom>
          </p:spPr>
        </p:pic>
        <p:sp>
          <p:nvSpPr>
            <p:cNvPr id="397" name="TextBox 396"/>
            <p:cNvSpPr txBox="1"/>
            <p:nvPr/>
          </p:nvSpPr>
          <p:spPr>
            <a:xfrm>
              <a:off x="4087635" y="4567378"/>
              <a:ext cx="681060" cy="246221"/>
            </a:xfrm>
            <a:prstGeom prst="rect">
              <a:avLst/>
            </a:prstGeom>
          </p:spPr>
          <p:txBody>
            <a:bodyPr vert="horz" wrap="square" lIns="45708" tIns="45708" rIns="45708" bIns="45708" rtlCol="0" anchor="ctr">
              <a:noAutofit/>
            </a:bodyPr>
            <a:lstStyle>
              <a:defPPr>
                <a:defRPr lang="en-US"/>
              </a:defPPr>
              <a:lvl1pPr algn="ctr" defTabSz="1088105">
                <a:defRPr sz="12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sz="1000" kern="0" dirty="0" err="1">
                  <a:solidFill>
                    <a:prstClr val="white"/>
                  </a:solidFill>
                </a:rPr>
                <a:t>HDStorm</a:t>
              </a:r>
              <a:endParaRPr lang="en-US" sz="1000" kern="0" dirty="0">
                <a:solidFill>
                  <a:prstClr val="white"/>
                </a:solidFill>
              </a:endParaRPr>
            </a:p>
          </p:txBody>
        </p:sp>
        <p:sp>
          <p:nvSpPr>
            <p:cNvPr id="398" name="TextBox 397"/>
            <p:cNvSpPr txBox="1"/>
            <p:nvPr/>
          </p:nvSpPr>
          <p:spPr>
            <a:xfrm>
              <a:off x="2951311" y="4619878"/>
              <a:ext cx="1020867" cy="246221"/>
            </a:xfrm>
            <a:prstGeom prst="rect">
              <a:avLst/>
            </a:prstGeom>
          </p:spPr>
          <p:txBody>
            <a:bodyPr vert="horz" wrap="square" lIns="45708" tIns="45708" rIns="45708" bIns="45708"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kern="0" dirty="0">
                  <a:solidFill>
                    <a:prstClr val="white"/>
                  </a:solidFill>
                </a:rPr>
                <a:t>Azure SQL DB</a:t>
              </a:r>
            </a:p>
          </p:txBody>
        </p:sp>
        <p:pic>
          <p:nvPicPr>
            <p:cNvPr id="399" name="Picture 398"/>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3271411" y="4205989"/>
              <a:ext cx="380667" cy="380667"/>
            </a:xfrm>
            <a:prstGeom prst="rect">
              <a:avLst/>
            </a:prstGeom>
          </p:spPr>
        </p:pic>
        <p:pic>
          <p:nvPicPr>
            <p:cNvPr id="400" name="Picture 399"/>
            <p:cNvPicPr>
              <a:picLocks noChangeAspect="1"/>
            </p:cNvPicPr>
            <p:nvPr/>
          </p:nvPicPr>
          <p:blipFill>
            <a:blip r:embed="rId19">
              <a:biLevel thresh="25000"/>
            </a:blip>
            <a:stretch>
              <a:fillRect/>
            </a:stretch>
          </p:blipFill>
          <p:spPr>
            <a:xfrm>
              <a:off x="2495493" y="3942526"/>
              <a:ext cx="414299" cy="414299"/>
            </a:xfrm>
            <a:prstGeom prst="rect">
              <a:avLst/>
            </a:prstGeom>
          </p:spPr>
        </p:pic>
        <p:sp>
          <p:nvSpPr>
            <p:cNvPr id="401" name="TextBox 400"/>
            <p:cNvSpPr txBox="1"/>
            <p:nvPr/>
          </p:nvSpPr>
          <p:spPr>
            <a:xfrm>
              <a:off x="2188372" y="4282318"/>
              <a:ext cx="1004732" cy="385143"/>
            </a:xfrm>
            <a:prstGeom prst="rect">
              <a:avLst/>
            </a:prstGeom>
          </p:spPr>
          <p:txBody>
            <a:bodyPr vert="horz" wrap="square" lIns="91416" tIns="91416" rIns="91416" bIns="91416" rtlCol="0" anchor="t">
              <a:noAutofit/>
            </a:bodyPr>
            <a:lstStyle/>
            <a:p>
              <a:pPr algn="ctr" defTabSz="914126">
                <a:defRPr/>
              </a:pPr>
              <a:r>
                <a:rPr lang="en-US" sz="1000" kern="0" dirty="0">
                  <a:solidFill>
                    <a:prstClr val="white"/>
                  </a:solidFill>
                  <a:latin typeface="Segoe UI" pitchFamily="34" charset="0"/>
                  <a:ea typeface="Segoe UI" pitchFamily="34" charset="0"/>
                  <a:cs typeface="Segoe UI" pitchFamily="34" charset="0"/>
                </a:rPr>
                <a:t>Notification </a:t>
              </a:r>
            </a:p>
            <a:p>
              <a:pPr algn="ctr" defTabSz="914126">
                <a:defRPr/>
              </a:pPr>
              <a:r>
                <a:rPr lang="en-US" sz="1000" kern="0" dirty="0">
                  <a:solidFill>
                    <a:prstClr val="white"/>
                  </a:solidFill>
                  <a:latin typeface="Segoe UI" pitchFamily="34" charset="0"/>
                  <a:ea typeface="Segoe UI" pitchFamily="34" charset="0"/>
                  <a:cs typeface="Segoe UI" pitchFamily="34" charset="0"/>
                </a:rPr>
                <a:t>Hubs</a:t>
              </a:r>
            </a:p>
          </p:txBody>
        </p:sp>
      </p:grpSp>
      <p:grpSp>
        <p:nvGrpSpPr>
          <p:cNvPr id="264" name="Group 263"/>
          <p:cNvGrpSpPr/>
          <p:nvPr/>
        </p:nvGrpSpPr>
        <p:grpSpPr>
          <a:xfrm>
            <a:off x="8105694" y="215506"/>
            <a:ext cx="1242700" cy="1050508"/>
            <a:chOff x="10584240" y="1529037"/>
            <a:chExt cx="1243024" cy="1050782"/>
          </a:xfrm>
        </p:grpSpPr>
        <p:sp>
          <p:nvSpPr>
            <p:cNvPr id="265" name="Rectangle 264"/>
            <p:cNvSpPr/>
            <p:nvPr/>
          </p:nvSpPr>
          <p:spPr>
            <a:xfrm>
              <a:off x="10584240" y="1529037"/>
              <a:ext cx="1242328" cy="246221"/>
            </a:xfrm>
            <a:prstGeom prst="rect">
              <a:avLst/>
            </a:prstGeom>
            <a:noFill/>
            <a:ln w="6350" cap="flat" cmpd="sng" algn="ctr">
              <a:noFill/>
              <a:prstDash val="solid"/>
            </a:ln>
            <a:effectLst/>
          </p:spPr>
          <p:txBody>
            <a:bodyPr wrap="none" lIns="0" tIns="0" rIns="0" bIns="0" rtlCol="0" anchor="ctr">
              <a:spAutoFit/>
            </a:bodyPr>
            <a:lstStyle/>
            <a:p>
              <a:pPr marL="0" lvl="1" algn="ctr" defTabSz="1217741" fontAlgn="base">
                <a:spcBef>
                  <a:spcPts val="200"/>
                </a:spcBef>
                <a:buClr>
                  <a:srgbClr val="FFFF99"/>
                </a:buClr>
                <a:buSzPct val="90000"/>
                <a:defRPr/>
              </a:pPr>
              <a:r>
                <a:rPr lang="en-US" sz="1600" kern="0" dirty="0">
                  <a:solidFill>
                    <a:srgbClr val="0072C6"/>
                  </a:solidFill>
                  <a:latin typeface="Segoe UI Semibold" panose="020B0702040204020203" pitchFamily="34" charset="0"/>
                  <a:ea typeface="Segoe UI" pitchFamily="34" charset="0"/>
                  <a:cs typeface="Segoe UI" pitchFamily="34" charset="0"/>
                </a:rPr>
                <a:t>Service Techs</a:t>
              </a:r>
            </a:p>
          </p:txBody>
        </p:sp>
        <p:grpSp>
          <p:nvGrpSpPr>
            <p:cNvPr id="266" name="Group 265"/>
            <p:cNvGrpSpPr/>
            <p:nvPr/>
          </p:nvGrpSpPr>
          <p:grpSpPr>
            <a:xfrm>
              <a:off x="10638485" y="1766250"/>
              <a:ext cx="1188779" cy="813569"/>
              <a:chOff x="8650901" y="2563132"/>
              <a:chExt cx="1188779" cy="813569"/>
            </a:xfrm>
          </p:grpSpPr>
          <p:sp>
            <p:nvSpPr>
              <p:cNvPr id="267" name="Oval 266"/>
              <p:cNvSpPr/>
              <p:nvPr/>
            </p:nvSpPr>
            <p:spPr>
              <a:xfrm>
                <a:off x="8650901" y="2615346"/>
                <a:ext cx="1188779" cy="7613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914126">
                  <a:defRPr/>
                </a:pPr>
                <a:endParaRPr lang="en-US" sz="1200" kern="0" dirty="0">
                  <a:solidFill>
                    <a:prstClr val="white"/>
                  </a:solidFill>
                  <a:latin typeface="Segoe UI"/>
                </a:endParaRPr>
              </a:p>
            </p:txBody>
          </p:sp>
          <p:pic>
            <p:nvPicPr>
              <p:cNvPr id="269" name="Picture 268"/>
              <p:cNvPicPr>
                <a:picLocks noChangeAspect="1"/>
              </p:cNvPicPr>
              <p:nvPr/>
            </p:nvPicPr>
            <p:blipFill>
              <a:blip r:embed="rId20" cstate="screen">
                <a:duotone>
                  <a:prstClr val="black"/>
                  <a:schemeClr val="accent5">
                    <a:tint val="45000"/>
                    <a:satMod val="400000"/>
                  </a:schemeClr>
                </a:duotone>
                <a:extLst>
                  <a:ext uri="{BEBA8EAE-BF5A-486C-A8C5-ECC9F3942E4B}">
                    <a14:imgProps xmlns:a14="http://schemas.microsoft.com/office/drawing/2010/main">
                      <a14:imgLayer r:embed="rId21">
                        <a14:imgEffect>
                          <a14:brightnessContrast bright="-20000" contrast="-20000"/>
                        </a14:imgEffect>
                      </a14:imgLayer>
                    </a14:imgProps>
                  </a:ext>
                  <a:ext uri="{28A0092B-C50C-407E-A947-70E740481C1C}">
                    <a14:useLocalDpi xmlns:a14="http://schemas.microsoft.com/office/drawing/2010/main"/>
                  </a:ext>
                </a:extLst>
              </a:blip>
              <a:stretch>
                <a:fillRect/>
              </a:stretch>
            </p:blipFill>
            <p:spPr>
              <a:xfrm>
                <a:off x="8837372" y="2563132"/>
                <a:ext cx="797830" cy="797829"/>
              </a:xfrm>
              <a:prstGeom prst="rect">
                <a:avLst/>
              </a:prstGeom>
            </p:spPr>
          </p:pic>
        </p:grpSp>
      </p:grpSp>
      <p:grpSp>
        <p:nvGrpSpPr>
          <p:cNvPr id="225" name="Group 224"/>
          <p:cNvGrpSpPr/>
          <p:nvPr/>
        </p:nvGrpSpPr>
        <p:grpSpPr>
          <a:xfrm>
            <a:off x="10395761" y="711578"/>
            <a:ext cx="1472776" cy="1033414"/>
            <a:chOff x="10468819" y="1529037"/>
            <a:chExt cx="1473160" cy="1033683"/>
          </a:xfrm>
        </p:grpSpPr>
        <p:sp>
          <p:nvSpPr>
            <p:cNvPr id="226" name="Rectangle 225"/>
            <p:cNvSpPr/>
            <p:nvPr/>
          </p:nvSpPr>
          <p:spPr>
            <a:xfrm>
              <a:off x="10468819" y="1529037"/>
              <a:ext cx="1473160" cy="246221"/>
            </a:xfrm>
            <a:prstGeom prst="rect">
              <a:avLst/>
            </a:prstGeom>
            <a:noFill/>
            <a:ln w="6350" cap="flat" cmpd="sng" algn="ctr">
              <a:noFill/>
              <a:prstDash val="solid"/>
            </a:ln>
            <a:effectLst/>
          </p:spPr>
          <p:txBody>
            <a:bodyPr wrap="none" lIns="0" tIns="0" rIns="0" bIns="0" rtlCol="0" anchor="ctr">
              <a:spAutoFit/>
            </a:bodyPr>
            <a:lstStyle/>
            <a:p>
              <a:pPr marL="0" lvl="1" algn="ctr" defTabSz="1217741" fontAlgn="base">
                <a:spcBef>
                  <a:spcPts val="200"/>
                </a:spcBef>
                <a:buClr>
                  <a:srgbClr val="FFFF99"/>
                </a:buClr>
                <a:buSzPct val="90000"/>
                <a:defRPr/>
              </a:pPr>
              <a:r>
                <a:rPr lang="en-US" sz="1600" kern="0" dirty="0">
                  <a:solidFill>
                    <a:srgbClr val="0072C6"/>
                  </a:solidFill>
                  <a:latin typeface="Segoe UI Semibold" panose="020B0702040204020203" pitchFamily="34" charset="0"/>
                  <a:ea typeface="Segoe UI" pitchFamily="34" charset="0"/>
                  <a:cs typeface="Segoe UI" pitchFamily="34" charset="0"/>
                </a:rPr>
                <a:t>Field Workforce</a:t>
              </a:r>
            </a:p>
          </p:txBody>
        </p:sp>
        <p:grpSp>
          <p:nvGrpSpPr>
            <p:cNvPr id="228" name="Group 227"/>
            <p:cNvGrpSpPr/>
            <p:nvPr/>
          </p:nvGrpSpPr>
          <p:grpSpPr>
            <a:xfrm>
              <a:off x="10564016" y="1749151"/>
              <a:ext cx="1188779" cy="813569"/>
              <a:chOff x="8576432" y="2546033"/>
              <a:chExt cx="1188779" cy="813569"/>
            </a:xfrm>
          </p:grpSpPr>
          <p:sp>
            <p:nvSpPr>
              <p:cNvPr id="234" name="Oval 233"/>
              <p:cNvSpPr/>
              <p:nvPr/>
            </p:nvSpPr>
            <p:spPr>
              <a:xfrm>
                <a:off x="8576432" y="2598247"/>
                <a:ext cx="1188779" cy="7613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914126">
                  <a:defRPr/>
                </a:pPr>
                <a:endParaRPr lang="en-US" sz="1200" kern="0" dirty="0">
                  <a:solidFill>
                    <a:prstClr val="white"/>
                  </a:solidFill>
                  <a:latin typeface="Segoe UI"/>
                </a:endParaRPr>
              </a:p>
            </p:txBody>
          </p:sp>
          <p:pic>
            <p:nvPicPr>
              <p:cNvPr id="235" name="Picture 234"/>
              <p:cNvPicPr>
                <a:picLocks noChangeAspect="1"/>
              </p:cNvPicPr>
              <p:nvPr/>
            </p:nvPicPr>
            <p:blipFill>
              <a:blip r:embed="rId20" cstate="screen">
                <a:duotone>
                  <a:prstClr val="black"/>
                  <a:schemeClr val="accent5">
                    <a:tint val="45000"/>
                    <a:satMod val="400000"/>
                  </a:schemeClr>
                </a:duotone>
                <a:extLst>
                  <a:ext uri="{BEBA8EAE-BF5A-486C-A8C5-ECC9F3942E4B}">
                    <a14:imgProps xmlns:a14="http://schemas.microsoft.com/office/drawing/2010/main">
                      <a14:imgLayer r:embed="rId21">
                        <a14:imgEffect>
                          <a14:brightnessContrast bright="-20000" contrast="-20000"/>
                        </a14:imgEffect>
                      </a14:imgLayer>
                    </a14:imgProps>
                  </a:ext>
                  <a:ext uri="{28A0092B-C50C-407E-A947-70E740481C1C}">
                    <a14:useLocalDpi xmlns:a14="http://schemas.microsoft.com/office/drawing/2010/main"/>
                  </a:ext>
                </a:extLst>
              </a:blip>
              <a:stretch>
                <a:fillRect/>
              </a:stretch>
            </p:blipFill>
            <p:spPr>
              <a:xfrm>
                <a:off x="8762903" y="2546033"/>
                <a:ext cx="797830" cy="797829"/>
              </a:xfrm>
              <a:prstGeom prst="rect">
                <a:avLst/>
              </a:prstGeom>
            </p:spPr>
          </p:pic>
        </p:grpSp>
      </p:grpSp>
      <p:sp>
        <p:nvSpPr>
          <p:cNvPr id="48" name="Quad Arrow 47"/>
          <p:cNvSpPr/>
          <p:nvPr/>
        </p:nvSpPr>
        <p:spPr>
          <a:xfrm rot="20676370">
            <a:off x="8507680" y="1336297"/>
            <a:ext cx="2003973" cy="899819"/>
          </a:xfrm>
          <a:prstGeom prst="quad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914126">
              <a:defRPr/>
            </a:pPr>
            <a:endParaRPr lang="en-US" sz="1200" kern="0" dirty="0" err="1">
              <a:solidFill>
                <a:sysClr val="windowText" lastClr="000000"/>
              </a:solidFill>
              <a:latin typeface="Segoe UI"/>
            </a:endParaRPr>
          </a:p>
        </p:txBody>
      </p:sp>
      <p:sp>
        <p:nvSpPr>
          <p:cNvPr id="339" name="TextBox 338"/>
          <p:cNvSpPr txBox="1"/>
          <p:nvPr/>
        </p:nvSpPr>
        <p:spPr>
          <a:xfrm rot="20650088">
            <a:off x="8677148" y="1639851"/>
            <a:ext cx="1967314" cy="199256"/>
          </a:xfrm>
          <a:prstGeom prst="rect">
            <a:avLst/>
          </a:prstGeom>
        </p:spPr>
        <p:txBody>
          <a:bodyPr vert="horz" wrap="none" lIns="0" tIns="0" rIns="0" bIns="0" rtlCol="0" anchor="ctr">
            <a:noAutofit/>
          </a:bodyPr>
          <a:lstStyle>
            <a:defPPr>
              <a:defRPr lang="en-US"/>
            </a:defPPr>
            <a:lvl1pPr algn="ctr" defTabSz="1088105">
              <a:defRPr sz="1200">
                <a:solidFill>
                  <a:srgbClr val="505050"/>
                </a:solidFill>
                <a:latin typeface="Segoe UI Semibold" panose="020B0702040204020203" pitchFamily="34" charset="0"/>
                <a:ea typeface="Segoe UI" pitchFamily="34" charset="0"/>
                <a:cs typeface="Segoe UI Semibold" panose="020B0702040204020203" pitchFamily="34" charset="0"/>
              </a:defRPr>
            </a:lvl1pPr>
          </a:lstStyle>
          <a:p>
            <a:pPr algn="l" defTabSz="1087779">
              <a:defRPr/>
            </a:pPr>
            <a:r>
              <a:rPr lang="en-US" kern="0" dirty="0">
                <a:solidFill>
                  <a:prstClr val="white"/>
                </a:solidFill>
              </a:rPr>
              <a:t>Improved Collaboration</a:t>
            </a:r>
          </a:p>
        </p:txBody>
      </p:sp>
      <p:grpSp>
        <p:nvGrpSpPr>
          <p:cNvPr id="222" name="Group 221"/>
          <p:cNvGrpSpPr/>
          <p:nvPr/>
        </p:nvGrpSpPr>
        <p:grpSpPr>
          <a:xfrm>
            <a:off x="7991133" y="4645315"/>
            <a:ext cx="1093105" cy="965323"/>
            <a:chOff x="3781915" y="3807774"/>
            <a:chExt cx="1093390" cy="965574"/>
          </a:xfrm>
        </p:grpSpPr>
        <p:sp>
          <p:nvSpPr>
            <p:cNvPr id="223" name="Rectangle 222"/>
            <p:cNvSpPr/>
            <p:nvPr/>
          </p:nvSpPr>
          <p:spPr>
            <a:xfrm>
              <a:off x="3814117" y="4557904"/>
              <a:ext cx="1061188" cy="215444"/>
            </a:xfrm>
            <a:prstGeom prst="rect">
              <a:avLst/>
            </a:prstGeom>
            <a:noFill/>
            <a:ln w="6350" cap="flat" cmpd="sng" algn="ctr">
              <a:noFill/>
              <a:prstDash val="solid"/>
            </a:ln>
            <a:effectLst/>
          </p:spPr>
          <p:txBody>
            <a:bodyPr wrap="none" lIns="0" tIns="0" rIns="0" bIns="0" rtlCol="0" anchor="ctr">
              <a:spAutoFit/>
            </a:bodyPr>
            <a:lstStyle/>
            <a:p>
              <a:pPr marL="0" lvl="1" algn="ctr" defTabSz="1217741" fontAlgn="base">
                <a:spcBef>
                  <a:spcPts val="200"/>
                </a:spcBef>
                <a:buClr>
                  <a:srgbClr val="FFFF99"/>
                </a:buClr>
                <a:buSzPct val="90000"/>
                <a:defRPr/>
              </a:pPr>
              <a:r>
                <a:rPr lang="en-US" sz="1400" kern="0" dirty="0">
                  <a:solidFill>
                    <a:srgbClr val="0072C6"/>
                  </a:solidFill>
                  <a:latin typeface="Segoe UI Semibold" panose="020B0702040204020203" pitchFamily="34" charset="0"/>
                  <a:ea typeface="Segoe UI" pitchFamily="34" charset="0"/>
                  <a:cs typeface="Segoe UI" pitchFamily="34" charset="0"/>
                </a:rPr>
                <a:t>Data Insights</a:t>
              </a:r>
            </a:p>
          </p:txBody>
        </p:sp>
        <p:sp>
          <p:nvSpPr>
            <p:cNvPr id="224" name="Freeform 223"/>
            <p:cNvSpPr>
              <a:spLocks noChangeAspect="1"/>
            </p:cNvSpPr>
            <p:nvPr/>
          </p:nvSpPr>
          <p:spPr bwMode="auto">
            <a:xfrm>
              <a:off x="3997999" y="3891288"/>
              <a:ext cx="581904" cy="567941"/>
            </a:xfrm>
            <a:custGeom>
              <a:avLst/>
              <a:gdLst/>
              <a:ahLst/>
              <a:cxnLst/>
              <a:rect l="l" t="t" r="r" b="b"/>
              <a:pathLst>
                <a:path w="4302474" h="4244921">
                  <a:moveTo>
                    <a:pt x="662474" y="3031306"/>
                  </a:moveTo>
                  <a:lnTo>
                    <a:pt x="1339698" y="3086511"/>
                  </a:lnTo>
                  <a:lnTo>
                    <a:pt x="1189316" y="3212867"/>
                  </a:lnTo>
                  <a:cubicBezTo>
                    <a:pt x="1361738" y="3339494"/>
                    <a:pt x="1899676" y="3610086"/>
                    <a:pt x="2421111" y="3521876"/>
                  </a:cubicBezTo>
                  <a:lnTo>
                    <a:pt x="2206882" y="3794685"/>
                  </a:lnTo>
                  <a:lnTo>
                    <a:pt x="2512604" y="4104137"/>
                  </a:lnTo>
                  <a:cubicBezTo>
                    <a:pt x="1778146" y="4225364"/>
                    <a:pt x="1188060" y="3987486"/>
                    <a:pt x="709988" y="3532493"/>
                  </a:cubicBezTo>
                  <a:lnTo>
                    <a:pt x="551662" y="3684753"/>
                  </a:lnTo>
                  <a:close/>
                  <a:moveTo>
                    <a:pt x="3525512" y="2472932"/>
                  </a:moveTo>
                  <a:lnTo>
                    <a:pt x="3736350" y="2855417"/>
                  </a:lnTo>
                  <a:lnTo>
                    <a:pt x="4067130" y="2735505"/>
                  </a:lnTo>
                  <a:cubicBezTo>
                    <a:pt x="3910343" y="3276383"/>
                    <a:pt x="3434822" y="3814468"/>
                    <a:pt x="2761327" y="4046261"/>
                  </a:cubicBezTo>
                  <a:lnTo>
                    <a:pt x="2775115" y="4244921"/>
                  </a:lnTo>
                  <a:lnTo>
                    <a:pt x="2336714" y="3800527"/>
                  </a:lnTo>
                  <a:lnTo>
                    <a:pt x="2699735" y="3292318"/>
                  </a:lnTo>
                  <a:lnTo>
                    <a:pt x="2716265" y="3448052"/>
                  </a:lnTo>
                  <a:cubicBezTo>
                    <a:pt x="2913217" y="3364543"/>
                    <a:pt x="3450254" y="3000009"/>
                    <a:pt x="3525512" y="2472932"/>
                  </a:cubicBezTo>
                  <a:close/>
                  <a:moveTo>
                    <a:pt x="647776" y="1318635"/>
                  </a:moveTo>
                  <a:lnTo>
                    <a:pt x="912024" y="1889568"/>
                  </a:lnTo>
                  <a:lnTo>
                    <a:pt x="724354" y="1824308"/>
                  </a:lnTo>
                  <a:cubicBezTo>
                    <a:pt x="680520" y="2033694"/>
                    <a:pt x="670035" y="2536527"/>
                    <a:pt x="988263" y="2969836"/>
                  </a:cubicBezTo>
                  <a:lnTo>
                    <a:pt x="578667" y="2940790"/>
                  </a:lnTo>
                  <a:lnTo>
                    <a:pt x="519757" y="3323386"/>
                  </a:lnTo>
                  <a:cubicBezTo>
                    <a:pt x="142529" y="2837302"/>
                    <a:pt x="74113" y="2104852"/>
                    <a:pt x="196686" y="1642899"/>
                  </a:cubicBezTo>
                  <a:lnTo>
                    <a:pt x="0" y="1594841"/>
                  </a:lnTo>
                  <a:close/>
                  <a:moveTo>
                    <a:pt x="3620260" y="730478"/>
                  </a:moveTo>
                  <a:cubicBezTo>
                    <a:pt x="4033733" y="1098029"/>
                    <a:pt x="4275138" y="1844086"/>
                    <a:pt x="4120540" y="2491437"/>
                  </a:cubicBezTo>
                  <a:lnTo>
                    <a:pt x="4302474" y="2563960"/>
                  </a:lnTo>
                  <a:lnTo>
                    <a:pt x="3798677" y="2749109"/>
                  </a:lnTo>
                  <a:lnTo>
                    <a:pt x="3472387" y="2208919"/>
                  </a:lnTo>
                  <a:lnTo>
                    <a:pt x="3585155" y="2254985"/>
                  </a:lnTo>
                  <a:cubicBezTo>
                    <a:pt x="3611001" y="1852129"/>
                    <a:pt x="3432844" y="1328610"/>
                    <a:pt x="3114005" y="1104075"/>
                  </a:cubicBezTo>
                  <a:lnTo>
                    <a:pt x="3585698" y="1050994"/>
                  </a:lnTo>
                  <a:close/>
                  <a:moveTo>
                    <a:pt x="1892533" y="133349"/>
                  </a:moveTo>
                  <a:cubicBezTo>
                    <a:pt x="2384988" y="60439"/>
                    <a:pt x="2955319" y="178992"/>
                    <a:pt x="3438386" y="560947"/>
                  </a:cubicBezTo>
                  <a:lnTo>
                    <a:pt x="3550393" y="467694"/>
                  </a:lnTo>
                  <a:lnTo>
                    <a:pt x="3502246" y="970368"/>
                  </a:lnTo>
                  <a:cubicBezTo>
                    <a:pt x="3271583" y="1000546"/>
                    <a:pt x="3040920" y="1015483"/>
                    <a:pt x="2810256" y="1038041"/>
                  </a:cubicBezTo>
                  <a:lnTo>
                    <a:pt x="2933313" y="934789"/>
                  </a:lnTo>
                  <a:cubicBezTo>
                    <a:pt x="2656424" y="758977"/>
                    <a:pt x="2363689" y="669355"/>
                    <a:pt x="1969181" y="705095"/>
                  </a:cubicBezTo>
                  <a:lnTo>
                    <a:pt x="2154737" y="335131"/>
                  </a:lnTo>
                  <a:close/>
                  <a:moveTo>
                    <a:pt x="1460851" y="0"/>
                  </a:moveTo>
                  <a:cubicBezTo>
                    <a:pt x="1609533" y="83809"/>
                    <a:pt x="1867446" y="214583"/>
                    <a:pt x="2054478" y="354019"/>
                  </a:cubicBezTo>
                  <a:lnTo>
                    <a:pt x="1741070" y="954311"/>
                  </a:lnTo>
                  <a:lnTo>
                    <a:pt x="1656922" y="757789"/>
                  </a:lnTo>
                  <a:cubicBezTo>
                    <a:pt x="1340856" y="892862"/>
                    <a:pt x="931601" y="1317770"/>
                    <a:pt x="856671" y="1587702"/>
                  </a:cubicBezTo>
                  <a:lnTo>
                    <a:pt x="694928" y="1212887"/>
                  </a:lnTo>
                  <a:lnTo>
                    <a:pt x="269556" y="1396576"/>
                  </a:lnTo>
                  <a:cubicBezTo>
                    <a:pt x="520909" y="684763"/>
                    <a:pt x="1206237" y="294700"/>
                    <a:pt x="1528653" y="200296"/>
                  </a:cubicBezTo>
                  <a:close/>
                </a:path>
              </a:pathLst>
            </a:custGeom>
            <a:solidFill>
              <a:schemeClr val="bg1">
                <a:lumMod val="50000"/>
              </a:schemeClr>
            </a:solidFill>
            <a:ln w="12700" cap="flat" cmpd="sng" algn="ctr">
              <a:noFill/>
              <a:prstDash val="solid"/>
              <a:round/>
              <a:headEnd type="none" w="med" len="med"/>
              <a:tailEnd type="none" w="med" len="med"/>
            </a:ln>
            <a:effectLst/>
          </p:spPr>
          <p:txBody>
            <a:bodyPr vert="horz" wrap="square" lIns="91416" tIns="45708" rIns="91416" bIns="45708" numCol="1" rtlCol="0" anchor="t" anchorCtr="0" compatLnSpc="1">
              <a:prstTxWarp prst="textNoShape">
                <a:avLst/>
              </a:prstTxWarp>
            </a:bodyPr>
            <a:lstStyle/>
            <a:p>
              <a:pPr defTabSz="914126" eaLnBrk="0" fontAlgn="base" hangingPunct="0">
                <a:spcBef>
                  <a:spcPct val="0"/>
                </a:spcBef>
                <a:spcAft>
                  <a:spcPct val="0"/>
                </a:spcAft>
                <a:defRPr/>
              </a:pPr>
              <a:endParaRPr lang="en-US" sz="1799" kern="0">
                <a:solidFill>
                  <a:srgbClr val="505050"/>
                </a:solidFill>
                <a:latin typeface="Arial" charset="0"/>
              </a:endParaRPr>
            </a:p>
          </p:txBody>
        </p:sp>
        <p:sp>
          <p:nvSpPr>
            <p:cNvPr id="227" name="Rectangle 6"/>
            <p:cNvSpPr>
              <a:spLocks noChangeAspect="1"/>
            </p:cNvSpPr>
            <p:nvPr/>
          </p:nvSpPr>
          <p:spPr>
            <a:xfrm>
              <a:off x="4126743" y="4046493"/>
              <a:ext cx="309385" cy="174406"/>
            </a:xfrm>
            <a:custGeom>
              <a:avLst/>
              <a:gdLst/>
              <a:ahLst/>
              <a:cxnLst/>
              <a:rect l="l" t="t" r="r" b="b"/>
              <a:pathLst>
                <a:path w="1625202" h="916157">
                  <a:moveTo>
                    <a:pt x="821597" y="911038"/>
                  </a:moveTo>
                  <a:lnTo>
                    <a:pt x="818570" y="916157"/>
                  </a:lnTo>
                  <a:lnTo>
                    <a:pt x="809922" y="911044"/>
                  </a:lnTo>
                  <a:lnTo>
                    <a:pt x="815746" y="912261"/>
                  </a:lnTo>
                  <a:close/>
                  <a:moveTo>
                    <a:pt x="720180" y="855444"/>
                  </a:moveTo>
                  <a:lnTo>
                    <a:pt x="719065" y="857329"/>
                  </a:lnTo>
                  <a:lnTo>
                    <a:pt x="722873" y="859580"/>
                  </a:lnTo>
                  <a:close/>
                  <a:moveTo>
                    <a:pt x="48843" y="793270"/>
                  </a:moveTo>
                  <a:cubicBezTo>
                    <a:pt x="75818" y="793271"/>
                    <a:pt x="97685" y="815912"/>
                    <a:pt x="97685" y="843840"/>
                  </a:cubicBezTo>
                  <a:cubicBezTo>
                    <a:pt x="97685" y="871769"/>
                    <a:pt x="75818" y="894410"/>
                    <a:pt x="48842" y="894410"/>
                  </a:cubicBezTo>
                  <a:cubicBezTo>
                    <a:pt x="21868" y="894411"/>
                    <a:pt x="1" y="871769"/>
                    <a:pt x="0" y="843840"/>
                  </a:cubicBezTo>
                  <a:cubicBezTo>
                    <a:pt x="1" y="815911"/>
                    <a:pt x="21868" y="793270"/>
                    <a:pt x="48843" y="793270"/>
                  </a:cubicBezTo>
                  <a:close/>
                  <a:moveTo>
                    <a:pt x="1576360" y="793270"/>
                  </a:moveTo>
                  <a:cubicBezTo>
                    <a:pt x="1603335" y="793270"/>
                    <a:pt x="1625202" y="815911"/>
                    <a:pt x="1625202" y="843840"/>
                  </a:cubicBezTo>
                  <a:cubicBezTo>
                    <a:pt x="1625202" y="871770"/>
                    <a:pt x="1603335" y="894410"/>
                    <a:pt x="1576360" y="894410"/>
                  </a:cubicBezTo>
                  <a:cubicBezTo>
                    <a:pt x="1549385" y="894410"/>
                    <a:pt x="1527518" y="871769"/>
                    <a:pt x="1527519" y="843840"/>
                  </a:cubicBezTo>
                  <a:cubicBezTo>
                    <a:pt x="1527518" y="815912"/>
                    <a:pt x="1549385" y="793270"/>
                    <a:pt x="1576360" y="793270"/>
                  </a:cubicBezTo>
                  <a:close/>
                  <a:moveTo>
                    <a:pt x="149401" y="396635"/>
                  </a:moveTo>
                  <a:cubicBezTo>
                    <a:pt x="176376" y="396635"/>
                    <a:pt x="198243" y="419276"/>
                    <a:pt x="198243" y="447206"/>
                  </a:cubicBezTo>
                  <a:cubicBezTo>
                    <a:pt x="198243" y="475134"/>
                    <a:pt x="176376" y="497774"/>
                    <a:pt x="149401" y="497775"/>
                  </a:cubicBezTo>
                  <a:cubicBezTo>
                    <a:pt x="122425" y="497775"/>
                    <a:pt x="100558" y="475134"/>
                    <a:pt x="100559" y="447205"/>
                  </a:cubicBezTo>
                  <a:cubicBezTo>
                    <a:pt x="100559" y="419276"/>
                    <a:pt x="122426" y="396635"/>
                    <a:pt x="149401" y="396635"/>
                  </a:cubicBezTo>
                  <a:close/>
                  <a:moveTo>
                    <a:pt x="1475802" y="396635"/>
                  </a:moveTo>
                  <a:cubicBezTo>
                    <a:pt x="1502777" y="396635"/>
                    <a:pt x="1524645" y="419276"/>
                    <a:pt x="1524644" y="447205"/>
                  </a:cubicBezTo>
                  <a:cubicBezTo>
                    <a:pt x="1524644" y="475134"/>
                    <a:pt x="1502777" y="497775"/>
                    <a:pt x="1475802" y="497775"/>
                  </a:cubicBezTo>
                  <a:cubicBezTo>
                    <a:pt x="1448827" y="497775"/>
                    <a:pt x="1426960" y="475134"/>
                    <a:pt x="1426960" y="447205"/>
                  </a:cubicBezTo>
                  <a:cubicBezTo>
                    <a:pt x="1426960" y="419276"/>
                    <a:pt x="1448827" y="396635"/>
                    <a:pt x="1475802" y="396635"/>
                  </a:cubicBezTo>
                  <a:close/>
                  <a:moveTo>
                    <a:pt x="1113808" y="303208"/>
                  </a:moveTo>
                  <a:lnTo>
                    <a:pt x="1116298" y="312902"/>
                  </a:lnTo>
                  <a:lnTo>
                    <a:pt x="1103680" y="305810"/>
                  </a:lnTo>
                  <a:close/>
                  <a:moveTo>
                    <a:pt x="815746" y="228408"/>
                  </a:moveTo>
                  <a:cubicBezTo>
                    <a:pt x="900583" y="228409"/>
                    <a:pt x="981403" y="246211"/>
                    <a:pt x="1054914" y="278404"/>
                  </a:cubicBezTo>
                  <a:lnTo>
                    <a:pt x="1103680" y="305810"/>
                  </a:lnTo>
                  <a:lnTo>
                    <a:pt x="955475" y="343885"/>
                  </a:lnTo>
                  <a:lnTo>
                    <a:pt x="1005228" y="373299"/>
                  </a:lnTo>
                  <a:lnTo>
                    <a:pt x="826016" y="676426"/>
                  </a:lnTo>
                  <a:lnTo>
                    <a:pt x="860479" y="683630"/>
                  </a:lnTo>
                  <a:cubicBezTo>
                    <a:pt x="874229" y="689651"/>
                    <a:pt x="886611" y="698364"/>
                    <a:pt x="897009" y="709131"/>
                  </a:cubicBezTo>
                  <a:lnTo>
                    <a:pt x="920048" y="744512"/>
                  </a:lnTo>
                  <a:lnTo>
                    <a:pt x="1104732" y="432127"/>
                  </a:lnTo>
                  <a:lnTo>
                    <a:pt x="1154485" y="461541"/>
                  </a:lnTo>
                  <a:lnTo>
                    <a:pt x="1116298" y="312902"/>
                  </a:lnTo>
                  <a:lnTo>
                    <a:pt x="1159285" y="337059"/>
                  </a:lnTo>
                  <a:cubicBezTo>
                    <a:pt x="1322728" y="451387"/>
                    <a:pt x="1430186" y="644999"/>
                    <a:pt x="1430186" y="864596"/>
                  </a:cubicBezTo>
                  <a:lnTo>
                    <a:pt x="875467" y="864596"/>
                  </a:lnTo>
                  <a:lnTo>
                    <a:pt x="883991" y="858645"/>
                  </a:lnTo>
                  <a:cubicBezTo>
                    <a:pt x="900150" y="841914"/>
                    <a:pt x="910145" y="818800"/>
                    <a:pt x="910145" y="793270"/>
                  </a:cubicBezTo>
                  <a:cubicBezTo>
                    <a:pt x="910145" y="742209"/>
                    <a:pt x="870165" y="700815"/>
                    <a:pt x="820850" y="700816"/>
                  </a:cubicBezTo>
                  <a:cubicBezTo>
                    <a:pt x="771535" y="700815"/>
                    <a:pt x="731555" y="742209"/>
                    <a:pt x="731555" y="793270"/>
                  </a:cubicBezTo>
                  <a:cubicBezTo>
                    <a:pt x="731555" y="818800"/>
                    <a:pt x="741550" y="841914"/>
                    <a:pt x="757709" y="858646"/>
                  </a:cubicBezTo>
                  <a:lnTo>
                    <a:pt x="766233" y="864596"/>
                  </a:lnTo>
                  <a:lnTo>
                    <a:pt x="201306" y="864596"/>
                  </a:lnTo>
                  <a:cubicBezTo>
                    <a:pt x="201306" y="513240"/>
                    <a:pt x="476400" y="228408"/>
                    <a:pt x="815746" y="228408"/>
                  </a:cubicBezTo>
                  <a:close/>
                  <a:moveTo>
                    <a:pt x="1231592" y="118991"/>
                  </a:moveTo>
                  <a:cubicBezTo>
                    <a:pt x="1258567" y="118991"/>
                    <a:pt x="1280434" y="141632"/>
                    <a:pt x="1280434" y="169560"/>
                  </a:cubicBezTo>
                  <a:cubicBezTo>
                    <a:pt x="1280434" y="197490"/>
                    <a:pt x="1258567" y="220131"/>
                    <a:pt x="1231592" y="220130"/>
                  </a:cubicBezTo>
                  <a:cubicBezTo>
                    <a:pt x="1204617" y="220130"/>
                    <a:pt x="1182750" y="197490"/>
                    <a:pt x="1182750" y="169561"/>
                  </a:cubicBezTo>
                  <a:cubicBezTo>
                    <a:pt x="1182750" y="141632"/>
                    <a:pt x="1204617" y="118991"/>
                    <a:pt x="1231592" y="118991"/>
                  </a:cubicBezTo>
                  <a:close/>
                  <a:moveTo>
                    <a:pt x="436708" y="118991"/>
                  </a:moveTo>
                  <a:cubicBezTo>
                    <a:pt x="463682" y="118991"/>
                    <a:pt x="485550" y="141632"/>
                    <a:pt x="485550" y="169561"/>
                  </a:cubicBezTo>
                  <a:cubicBezTo>
                    <a:pt x="485550" y="197490"/>
                    <a:pt x="463683" y="220131"/>
                    <a:pt x="436708" y="220131"/>
                  </a:cubicBezTo>
                  <a:cubicBezTo>
                    <a:pt x="409733" y="220131"/>
                    <a:pt x="387866" y="197490"/>
                    <a:pt x="387866" y="169561"/>
                  </a:cubicBezTo>
                  <a:cubicBezTo>
                    <a:pt x="387866" y="141632"/>
                    <a:pt x="409733" y="118991"/>
                    <a:pt x="436708" y="118991"/>
                  </a:cubicBezTo>
                  <a:close/>
                  <a:moveTo>
                    <a:pt x="824572" y="0"/>
                  </a:moveTo>
                  <a:cubicBezTo>
                    <a:pt x="851547" y="0"/>
                    <a:pt x="873414" y="22641"/>
                    <a:pt x="873414" y="50570"/>
                  </a:cubicBezTo>
                  <a:cubicBezTo>
                    <a:pt x="873414" y="78498"/>
                    <a:pt x="851547" y="101140"/>
                    <a:pt x="824572" y="101140"/>
                  </a:cubicBezTo>
                  <a:cubicBezTo>
                    <a:pt x="797597" y="101140"/>
                    <a:pt x="775730" y="78499"/>
                    <a:pt x="775730" y="50570"/>
                  </a:cubicBezTo>
                  <a:cubicBezTo>
                    <a:pt x="775730" y="22640"/>
                    <a:pt x="797597" y="0"/>
                    <a:pt x="824572" y="0"/>
                  </a:cubicBezTo>
                  <a:close/>
                </a:path>
              </a:pathLst>
            </a:custGeom>
            <a:solidFill>
              <a:schemeClr val="bg1">
                <a:lumMod val="50000"/>
              </a:schemeClr>
            </a:solidFill>
          </p:spPr>
          <p:txBody>
            <a:bodyPr vert="horz" lIns="137124" tIns="91416" rIns="91416" bIns="91416" rtlCol="0" anchor="t" anchorCtr="0">
              <a:normAutofit fontScale="25000" lnSpcReduction="20000"/>
            </a:bodyPr>
            <a:lstStyle/>
            <a:p>
              <a:pPr algn="ctr" defTabSz="914126">
                <a:defRPr/>
              </a:pPr>
              <a:endParaRPr lang="en-US" sz="2665" kern="800">
                <a:solidFill>
                  <a:srgbClr val="FFFFFF"/>
                </a:solidFill>
                <a:latin typeface="Segoe UI"/>
                <a:cs typeface="Segoe UI Light"/>
              </a:endParaRPr>
            </a:p>
          </p:txBody>
        </p:sp>
        <p:grpSp>
          <p:nvGrpSpPr>
            <p:cNvPr id="232" name="Group 231"/>
            <p:cNvGrpSpPr>
              <a:grpSpLocks noChangeAspect="1"/>
            </p:cNvGrpSpPr>
            <p:nvPr/>
          </p:nvGrpSpPr>
          <p:grpSpPr>
            <a:xfrm>
              <a:off x="3781915" y="4081316"/>
              <a:ext cx="143023" cy="219898"/>
              <a:chOff x="2868251" y="1951011"/>
              <a:chExt cx="1221836" cy="1878573"/>
            </a:xfrm>
            <a:solidFill>
              <a:schemeClr val="bg2">
                <a:lumMod val="75000"/>
                <a:lumOff val="25000"/>
              </a:schemeClr>
            </a:solidFill>
          </p:grpSpPr>
          <p:sp>
            <p:nvSpPr>
              <p:cNvPr id="370" name="Freeform 38"/>
              <p:cNvSpPr>
                <a:spLocks noEditPoints="1"/>
              </p:cNvSpPr>
              <p:nvPr/>
            </p:nvSpPr>
            <p:spPr bwMode="black">
              <a:xfrm rot="378314" flipH="1">
                <a:off x="2868251" y="3251394"/>
                <a:ext cx="368236" cy="578190"/>
              </a:xfrm>
              <a:custGeom>
                <a:avLst/>
                <a:gdLst>
                  <a:gd name="T0" fmla="*/ 87 w 210"/>
                  <a:gd name="T1" fmla="*/ 63 h 330"/>
                  <a:gd name="T2" fmla="*/ 172 w 210"/>
                  <a:gd name="T3" fmla="*/ 88 h 330"/>
                  <a:gd name="T4" fmla="*/ 191 w 210"/>
                  <a:gd name="T5" fmla="*/ 240 h 330"/>
                  <a:gd name="T6" fmla="*/ 167 w 210"/>
                  <a:gd name="T7" fmla="*/ 324 h 330"/>
                  <a:gd name="T8" fmla="*/ 117 w 210"/>
                  <a:gd name="T9" fmla="*/ 267 h 330"/>
                  <a:gd name="T10" fmla="*/ 79 w 210"/>
                  <a:gd name="T11" fmla="*/ 152 h 330"/>
                  <a:gd name="T12" fmla="*/ 87 w 210"/>
                  <a:gd name="T13" fmla="*/ 63 h 330"/>
                  <a:gd name="T14" fmla="*/ 9 w 210"/>
                  <a:gd name="T15" fmla="*/ 24 h 330"/>
                  <a:gd name="T16" fmla="*/ 9 w 210"/>
                  <a:gd name="T17" fmla="*/ 60 h 330"/>
                  <a:gd name="T18" fmla="*/ 41 w 210"/>
                  <a:gd name="T19" fmla="*/ 77 h 330"/>
                  <a:gd name="T20" fmla="*/ 42 w 210"/>
                  <a:gd name="T21" fmla="*/ 40 h 330"/>
                  <a:gd name="T22" fmla="*/ 9 w 210"/>
                  <a:gd name="T23" fmla="*/ 24 h 330"/>
                  <a:gd name="T24" fmla="*/ 54 w 210"/>
                  <a:gd name="T25" fmla="*/ 5 h 330"/>
                  <a:gd name="T26" fmla="*/ 48 w 210"/>
                  <a:gd name="T27" fmla="*/ 34 h 330"/>
                  <a:gd name="T28" fmla="*/ 71 w 210"/>
                  <a:gd name="T29" fmla="*/ 52 h 330"/>
                  <a:gd name="T30" fmla="*/ 77 w 210"/>
                  <a:gd name="T31" fmla="*/ 24 h 330"/>
                  <a:gd name="T32" fmla="*/ 54 w 210"/>
                  <a:gd name="T33" fmla="*/ 5 h 330"/>
                  <a:gd name="T34" fmla="*/ 95 w 210"/>
                  <a:gd name="T35" fmla="*/ 2 h 330"/>
                  <a:gd name="T36" fmla="*/ 86 w 210"/>
                  <a:gd name="T37" fmla="*/ 26 h 330"/>
                  <a:gd name="T38" fmla="*/ 104 w 210"/>
                  <a:gd name="T39" fmla="*/ 46 h 330"/>
                  <a:gd name="T40" fmla="*/ 113 w 210"/>
                  <a:gd name="T41" fmla="*/ 21 h 330"/>
                  <a:gd name="T42" fmla="*/ 95 w 210"/>
                  <a:gd name="T43" fmla="*/ 2 h 330"/>
                  <a:gd name="T44" fmla="*/ 133 w 210"/>
                  <a:gd name="T45" fmla="*/ 7 h 330"/>
                  <a:gd name="T46" fmla="*/ 120 w 210"/>
                  <a:gd name="T47" fmla="*/ 28 h 330"/>
                  <a:gd name="T48" fmla="*/ 133 w 210"/>
                  <a:gd name="T49" fmla="*/ 48 h 330"/>
                  <a:gd name="T50" fmla="*/ 145 w 210"/>
                  <a:gd name="T51" fmla="*/ 28 h 330"/>
                  <a:gd name="T52" fmla="*/ 133 w 210"/>
                  <a:gd name="T53" fmla="*/ 7 h 330"/>
                  <a:gd name="T54" fmla="*/ 163 w 210"/>
                  <a:gd name="T55" fmla="*/ 23 h 330"/>
                  <a:gd name="T56" fmla="*/ 150 w 210"/>
                  <a:gd name="T57" fmla="*/ 40 h 330"/>
                  <a:gd name="T58" fmla="*/ 160 w 210"/>
                  <a:gd name="T59" fmla="*/ 59 h 330"/>
                  <a:gd name="T60" fmla="*/ 173 w 210"/>
                  <a:gd name="T61" fmla="*/ 42 h 330"/>
                  <a:gd name="T62" fmla="*/ 163 w 210"/>
                  <a:gd name="T63" fmla="*/ 23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0" h="330">
                    <a:moveTo>
                      <a:pt x="87" y="63"/>
                    </a:moveTo>
                    <a:cubicBezTo>
                      <a:pt x="119" y="54"/>
                      <a:pt x="160" y="61"/>
                      <a:pt x="172" y="88"/>
                    </a:cubicBezTo>
                    <a:cubicBezTo>
                      <a:pt x="195" y="141"/>
                      <a:pt x="169" y="168"/>
                      <a:pt x="191" y="240"/>
                    </a:cubicBezTo>
                    <a:cubicBezTo>
                      <a:pt x="210" y="299"/>
                      <a:pt x="188" y="318"/>
                      <a:pt x="167" y="324"/>
                    </a:cubicBezTo>
                    <a:cubicBezTo>
                      <a:pt x="145" y="330"/>
                      <a:pt x="116" y="306"/>
                      <a:pt x="117" y="267"/>
                    </a:cubicBezTo>
                    <a:cubicBezTo>
                      <a:pt x="118" y="216"/>
                      <a:pt x="111" y="178"/>
                      <a:pt x="79" y="152"/>
                    </a:cubicBezTo>
                    <a:cubicBezTo>
                      <a:pt x="41" y="122"/>
                      <a:pt x="32" y="77"/>
                      <a:pt x="87" y="63"/>
                    </a:cubicBezTo>
                    <a:close/>
                    <a:moveTo>
                      <a:pt x="9" y="24"/>
                    </a:moveTo>
                    <a:cubicBezTo>
                      <a:pt x="0" y="29"/>
                      <a:pt x="0" y="46"/>
                      <a:pt x="9" y="60"/>
                    </a:cubicBezTo>
                    <a:cubicBezTo>
                      <a:pt x="17" y="75"/>
                      <a:pt x="32" y="82"/>
                      <a:pt x="41" y="77"/>
                    </a:cubicBezTo>
                    <a:cubicBezTo>
                      <a:pt x="50" y="71"/>
                      <a:pt x="50" y="55"/>
                      <a:pt x="42" y="40"/>
                    </a:cubicBezTo>
                    <a:cubicBezTo>
                      <a:pt x="33" y="26"/>
                      <a:pt x="18" y="18"/>
                      <a:pt x="9" y="24"/>
                    </a:cubicBezTo>
                    <a:close/>
                    <a:moveTo>
                      <a:pt x="54" y="5"/>
                    </a:moveTo>
                    <a:cubicBezTo>
                      <a:pt x="46" y="8"/>
                      <a:pt x="43" y="21"/>
                      <a:pt x="48" y="34"/>
                    </a:cubicBezTo>
                    <a:cubicBezTo>
                      <a:pt x="53" y="47"/>
                      <a:pt x="63" y="55"/>
                      <a:pt x="71" y="52"/>
                    </a:cubicBezTo>
                    <a:cubicBezTo>
                      <a:pt x="79" y="50"/>
                      <a:pt x="82" y="37"/>
                      <a:pt x="77" y="24"/>
                    </a:cubicBezTo>
                    <a:cubicBezTo>
                      <a:pt x="72" y="11"/>
                      <a:pt x="62" y="3"/>
                      <a:pt x="54" y="5"/>
                    </a:cubicBezTo>
                    <a:close/>
                    <a:moveTo>
                      <a:pt x="95" y="2"/>
                    </a:moveTo>
                    <a:cubicBezTo>
                      <a:pt x="88" y="3"/>
                      <a:pt x="84" y="14"/>
                      <a:pt x="86" y="26"/>
                    </a:cubicBezTo>
                    <a:cubicBezTo>
                      <a:pt x="88" y="38"/>
                      <a:pt x="96" y="47"/>
                      <a:pt x="104" y="46"/>
                    </a:cubicBezTo>
                    <a:cubicBezTo>
                      <a:pt x="111" y="44"/>
                      <a:pt x="115" y="33"/>
                      <a:pt x="113" y="21"/>
                    </a:cubicBezTo>
                    <a:cubicBezTo>
                      <a:pt x="111" y="9"/>
                      <a:pt x="103" y="0"/>
                      <a:pt x="95" y="2"/>
                    </a:cubicBezTo>
                    <a:close/>
                    <a:moveTo>
                      <a:pt x="133" y="7"/>
                    </a:moveTo>
                    <a:cubicBezTo>
                      <a:pt x="126" y="8"/>
                      <a:pt x="120" y="17"/>
                      <a:pt x="120" y="28"/>
                    </a:cubicBezTo>
                    <a:cubicBezTo>
                      <a:pt x="120" y="39"/>
                      <a:pt x="126" y="48"/>
                      <a:pt x="133" y="48"/>
                    </a:cubicBezTo>
                    <a:cubicBezTo>
                      <a:pt x="140" y="48"/>
                      <a:pt x="145" y="39"/>
                      <a:pt x="145" y="28"/>
                    </a:cubicBezTo>
                    <a:cubicBezTo>
                      <a:pt x="145" y="16"/>
                      <a:pt x="139" y="7"/>
                      <a:pt x="133" y="7"/>
                    </a:cubicBezTo>
                    <a:close/>
                    <a:moveTo>
                      <a:pt x="163" y="23"/>
                    </a:moveTo>
                    <a:cubicBezTo>
                      <a:pt x="157" y="22"/>
                      <a:pt x="151" y="30"/>
                      <a:pt x="150" y="40"/>
                    </a:cubicBezTo>
                    <a:cubicBezTo>
                      <a:pt x="149" y="50"/>
                      <a:pt x="154" y="59"/>
                      <a:pt x="160" y="59"/>
                    </a:cubicBezTo>
                    <a:cubicBezTo>
                      <a:pt x="166" y="60"/>
                      <a:pt x="172" y="52"/>
                      <a:pt x="173" y="42"/>
                    </a:cubicBezTo>
                    <a:cubicBezTo>
                      <a:pt x="173" y="32"/>
                      <a:pt x="169" y="23"/>
                      <a:pt x="163" y="23"/>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defTabSz="914126">
                  <a:defRPr/>
                </a:pPr>
                <a:endParaRPr lang="en-US" sz="1600" kern="0">
                  <a:solidFill>
                    <a:srgbClr val="FFFFFF"/>
                  </a:solidFill>
                  <a:latin typeface="Segoe UI"/>
                </a:endParaRPr>
              </a:p>
            </p:txBody>
          </p:sp>
          <p:sp>
            <p:nvSpPr>
              <p:cNvPr id="371" name="Freeform 38"/>
              <p:cNvSpPr>
                <a:spLocks noEditPoints="1"/>
              </p:cNvSpPr>
              <p:nvPr/>
            </p:nvSpPr>
            <p:spPr bwMode="black">
              <a:xfrm rot="2155644">
                <a:off x="3387235" y="2917764"/>
                <a:ext cx="368236" cy="578190"/>
              </a:xfrm>
              <a:custGeom>
                <a:avLst/>
                <a:gdLst>
                  <a:gd name="T0" fmla="*/ 87 w 210"/>
                  <a:gd name="T1" fmla="*/ 63 h 330"/>
                  <a:gd name="T2" fmla="*/ 172 w 210"/>
                  <a:gd name="T3" fmla="*/ 88 h 330"/>
                  <a:gd name="T4" fmla="*/ 191 w 210"/>
                  <a:gd name="T5" fmla="*/ 240 h 330"/>
                  <a:gd name="T6" fmla="*/ 167 w 210"/>
                  <a:gd name="T7" fmla="*/ 324 h 330"/>
                  <a:gd name="T8" fmla="*/ 117 w 210"/>
                  <a:gd name="T9" fmla="*/ 267 h 330"/>
                  <a:gd name="T10" fmla="*/ 79 w 210"/>
                  <a:gd name="T11" fmla="*/ 152 h 330"/>
                  <a:gd name="T12" fmla="*/ 87 w 210"/>
                  <a:gd name="T13" fmla="*/ 63 h 330"/>
                  <a:gd name="T14" fmla="*/ 9 w 210"/>
                  <a:gd name="T15" fmla="*/ 24 h 330"/>
                  <a:gd name="T16" fmla="*/ 9 w 210"/>
                  <a:gd name="T17" fmla="*/ 60 h 330"/>
                  <a:gd name="T18" fmla="*/ 41 w 210"/>
                  <a:gd name="T19" fmla="*/ 77 h 330"/>
                  <a:gd name="T20" fmla="*/ 42 w 210"/>
                  <a:gd name="T21" fmla="*/ 40 h 330"/>
                  <a:gd name="T22" fmla="*/ 9 w 210"/>
                  <a:gd name="T23" fmla="*/ 24 h 330"/>
                  <a:gd name="T24" fmla="*/ 54 w 210"/>
                  <a:gd name="T25" fmla="*/ 5 h 330"/>
                  <a:gd name="T26" fmla="*/ 48 w 210"/>
                  <a:gd name="T27" fmla="*/ 34 h 330"/>
                  <a:gd name="T28" fmla="*/ 71 w 210"/>
                  <a:gd name="T29" fmla="*/ 52 h 330"/>
                  <a:gd name="T30" fmla="*/ 77 w 210"/>
                  <a:gd name="T31" fmla="*/ 24 h 330"/>
                  <a:gd name="T32" fmla="*/ 54 w 210"/>
                  <a:gd name="T33" fmla="*/ 5 h 330"/>
                  <a:gd name="T34" fmla="*/ 95 w 210"/>
                  <a:gd name="T35" fmla="*/ 2 h 330"/>
                  <a:gd name="T36" fmla="*/ 86 w 210"/>
                  <a:gd name="T37" fmla="*/ 26 h 330"/>
                  <a:gd name="T38" fmla="*/ 104 w 210"/>
                  <a:gd name="T39" fmla="*/ 46 h 330"/>
                  <a:gd name="T40" fmla="*/ 113 w 210"/>
                  <a:gd name="T41" fmla="*/ 21 h 330"/>
                  <a:gd name="T42" fmla="*/ 95 w 210"/>
                  <a:gd name="T43" fmla="*/ 2 h 330"/>
                  <a:gd name="T44" fmla="*/ 133 w 210"/>
                  <a:gd name="T45" fmla="*/ 7 h 330"/>
                  <a:gd name="T46" fmla="*/ 120 w 210"/>
                  <a:gd name="T47" fmla="*/ 28 h 330"/>
                  <a:gd name="T48" fmla="*/ 133 w 210"/>
                  <a:gd name="T49" fmla="*/ 48 h 330"/>
                  <a:gd name="T50" fmla="*/ 145 w 210"/>
                  <a:gd name="T51" fmla="*/ 28 h 330"/>
                  <a:gd name="T52" fmla="*/ 133 w 210"/>
                  <a:gd name="T53" fmla="*/ 7 h 330"/>
                  <a:gd name="T54" fmla="*/ 163 w 210"/>
                  <a:gd name="T55" fmla="*/ 23 h 330"/>
                  <a:gd name="T56" fmla="*/ 150 w 210"/>
                  <a:gd name="T57" fmla="*/ 40 h 330"/>
                  <a:gd name="T58" fmla="*/ 160 w 210"/>
                  <a:gd name="T59" fmla="*/ 59 h 330"/>
                  <a:gd name="T60" fmla="*/ 173 w 210"/>
                  <a:gd name="T61" fmla="*/ 42 h 330"/>
                  <a:gd name="T62" fmla="*/ 163 w 210"/>
                  <a:gd name="T63" fmla="*/ 23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0" h="330">
                    <a:moveTo>
                      <a:pt x="87" y="63"/>
                    </a:moveTo>
                    <a:cubicBezTo>
                      <a:pt x="119" y="54"/>
                      <a:pt x="160" y="61"/>
                      <a:pt x="172" y="88"/>
                    </a:cubicBezTo>
                    <a:cubicBezTo>
                      <a:pt x="195" y="141"/>
                      <a:pt x="169" y="168"/>
                      <a:pt x="191" y="240"/>
                    </a:cubicBezTo>
                    <a:cubicBezTo>
                      <a:pt x="210" y="299"/>
                      <a:pt x="188" y="318"/>
                      <a:pt x="167" y="324"/>
                    </a:cubicBezTo>
                    <a:cubicBezTo>
                      <a:pt x="145" y="330"/>
                      <a:pt x="116" y="306"/>
                      <a:pt x="117" y="267"/>
                    </a:cubicBezTo>
                    <a:cubicBezTo>
                      <a:pt x="118" y="216"/>
                      <a:pt x="111" y="178"/>
                      <a:pt x="79" y="152"/>
                    </a:cubicBezTo>
                    <a:cubicBezTo>
                      <a:pt x="41" y="122"/>
                      <a:pt x="32" y="77"/>
                      <a:pt x="87" y="63"/>
                    </a:cubicBezTo>
                    <a:close/>
                    <a:moveTo>
                      <a:pt x="9" y="24"/>
                    </a:moveTo>
                    <a:cubicBezTo>
                      <a:pt x="0" y="29"/>
                      <a:pt x="0" y="46"/>
                      <a:pt x="9" y="60"/>
                    </a:cubicBezTo>
                    <a:cubicBezTo>
                      <a:pt x="17" y="75"/>
                      <a:pt x="32" y="82"/>
                      <a:pt x="41" y="77"/>
                    </a:cubicBezTo>
                    <a:cubicBezTo>
                      <a:pt x="50" y="71"/>
                      <a:pt x="50" y="55"/>
                      <a:pt x="42" y="40"/>
                    </a:cubicBezTo>
                    <a:cubicBezTo>
                      <a:pt x="33" y="26"/>
                      <a:pt x="18" y="18"/>
                      <a:pt x="9" y="24"/>
                    </a:cubicBezTo>
                    <a:close/>
                    <a:moveTo>
                      <a:pt x="54" y="5"/>
                    </a:moveTo>
                    <a:cubicBezTo>
                      <a:pt x="46" y="8"/>
                      <a:pt x="43" y="21"/>
                      <a:pt x="48" y="34"/>
                    </a:cubicBezTo>
                    <a:cubicBezTo>
                      <a:pt x="53" y="47"/>
                      <a:pt x="63" y="55"/>
                      <a:pt x="71" y="52"/>
                    </a:cubicBezTo>
                    <a:cubicBezTo>
                      <a:pt x="79" y="50"/>
                      <a:pt x="82" y="37"/>
                      <a:pt x="77" y="24"/>
                    </a:cubicBezTo>
                    <a:cubicBezTo>
                      <a:pt x="72" y="11"/>
                      <a:pt x="62" y="3"/>
                      <a:pt x="54" y="5"/>
                    </a:cubicBezTo>
                    <a:close/>
                    <a:moveTo>
                      <a:pt x="95" y="2"/>
                    </a:moveTo>
                    <a:cubicBezTo>
                      <a:pt x="88" y="3"/>
                      <a:pt x="84" y="14"/>
                      <a:pt x="86" y="26"/>
                    </a:cubicBezTo>
                    <a:cubicBezTo>
                      <a:pt x="88" y="38"/>
                      <a:pt x="96" y="47"/>
                      <a:pt x="104" y="46"/>
                    </a:cubicBezTo>
                    <a:cubicBezTo>
                      <a:pt x="111" y="44"/>
                      <a:pt x="115" y="33"/>
                      <a:pt x="113" y="21"/>
                    </a:cubicBezTo>
                    <a:cubicBezTo>
                      <a:pt x="111" y="9"/>
                      <a:pt x="103" y="0"/>
                      <a:pt x="95" y="2"/>
                    </a:cubicBezTo>
                    <a:close/>
                    <a:moveTo>
                      <a:pt x="133" y="7"/>
                    </a:moveTo>
                    <a:cubicBezTo>
                      <a:pt x="126" y="8"/>
                      <a:pt x="120" y="17"/>
                      <a:pt x="120" y="28"/>
                    </a:cubicBezTo>
                    <a:cubicBezTo>
                      <a:pt x="120" y="39"/>
                      <a:pt x="126" y="48"/>
                      <a:pt x="133" y="48"/>
                    </a:cubicBezTo>
                    <a:cubicBezTo>
                      <a:pt x="140" y="48"/>
                      <a:pt x="145" y="39"/>
                      <a:pt x="145" y="28"/>
                    </a:cubicBezTo>
                    <a:cubicBezTo>
                      <a:pt x="145" y="16"/>
                      <a:pt x="139" y="7"/>
                      <a:pt x="133" y="7"/>
                    </a:cubicBezTo>
                    <a:close/>
                    <a:moveTo>
                      <a:pt x="163" y="23"/>
                    </a:moveTo>
                    <a:cubicBezTo>
                      <a:pt x="157" y="22"/>
                      <a:pt x="151" y="30"/>
                      <a:pt x="150" y="40"/>
                    </a:cubicBezTo>
                    <a:cubicBezTo>
                      <a:pt x="149" y="50"/>
                      <a:pt x="154" y="59"/>
                      <a:pt x="160" y="59"/>
                    </a:cubicBezTo>
                    <a:cubicBezTo>
                      <a:pt x="166" y="60"/>
                      <a:pt x="172" y="52"/>
                      <a:pt x="173" y="42"/>
                    </a:cubicBezTo>
                    <a:cubicBezTo>
                      <a:pt x="173" y="32"/>
                      <a:pt x="169" y="23"/>
                      <a:pt x="163" y="23"/>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defTabSz="914126">
                  <a:defRPr/>
                </a:pPr>
                <a:endParaRPr lang="en-US" sz="1600" kern="0">
                  <a:solidFill>
                    <a:srgbClr val="FFFFFF"/>
                  </a:solidFill>
                  <a:latin typeface="Segoe UI"/>
                </a:endParaRPr>
              </a:p>
            </p:txBody>
          </p:sp>
          <p:grpSp>
            <p:nvGrpSpPr>
              <p:cNvPr id="372" name="Group 371"/>
              <p:cNvGrpSpPr/>
              <p:nvPr/>
            </p:nvGrpSpPr>
            <p:grpSpPr>
              <a:xfrm>
                <a:off x="3251311" y="1951011"/>
                <a:ext cx="838776" cy="939459"/>
                <a:chOff x="3226597" y="2005294"/>
                <a:chExt cx="966831" cy="1082885"/>
              </a:xfrm>
              <a:grpFill/>
            </p:grpSpPr>
            <p:sp>
              <p:nvSpPr>
                <p:cNvPr id="373" name="Freeform 38"/>
                <p:cNvSpPr>
                  <a:spLocks noEditPoints="1"/>
                </p:cNvSpPr>
                <p:nvPr/>
              </p:nvSpPr>
              <p:spPr bwMode="black">
                <a:xfrm rot="378314" flipH="1">
                  <a:off x="3226597" y="2509989"/>
                  <a:ext cx="368236" cy="578190"/>
                </a:xfrm>
                <a:custGeom>
                  <a:avLst/>
                  <a:gdLst>
                    <a:gd name="T0" fmla="*/ 87 w 210"/>
                    <a:gd name="T1" fmla="*/ 63 h 330"/>
                    <a:gd name="T2" fmla="*/ 172 w 210"/>
                    <a:gd name="T3" fmla="*/ 88 h 330"/>
                    <a:gd name="T4" fmla="*/ 191 w 210"/>
                    <a:gd name="T5" fmla="*/ 240 h 330"/>
                    <a:gd name="T6" fmla="*/ 167 w 210"/>
                    <a:gd name="T7" fmla="*/ 324 h 330"/>
                    <a:gd name="T8" fmla="*/ 117 w 210"/>
                    <a:gd name="T9" fmla="*/ 267 h 330"/>
                    <a:gd name="T10" fmla="*/ 79 w 210"/>
                    <a:gd name="T11" fmla="*/ 152 h 330"/>
                    <a:gd name="T12" fmla="*/ 87 w 210"/>
                    <a:gd name="T13" fmla="*/ 63 h 330"/>
                    <a:gd name="T14" fmla="*/ 9 w 210"/>
                    <a:gd name="T15" fmla="*/ 24 h 330"/>
                    <a:gd name="T16" fmla="*/ 9 w 210"/>
                    <a:gd name="T17" fmla="*/ 60 h 330"/>
                    <a:gd name="T18" fmla="*/ 41 w 210"/>
                    <a:gd name="T19" fmla="*/ 77 h 330"/>
                    <a:gd name="T20" fmla="*/ 42 w 210"/>
                    <a:gd name="T21" fmla="*/ 40 h 330"/>
                    <a:gd name="T22" fmla="*/ 9 w 210"/>
                    <a:gd name="T23" fmla="*/ 24 h 330"/>
                    <a:gd name="T24" fmla="*/ 54 w 210"/>
                    <a:gd name="T25" fmla="*/ 5 h 330"/>
                    <a:gd name="T26" fmla="*/ 48 w 210"/>
                    <a:gd name="T27" fmla="*/ 34 h 330"/>
                    <a:gd name="T28" fmla="*/ 71 w 210"/>
                    <a:gd name="T29" fmla="*/ 52 h 330"/>
                    <a:gd name="T30" fmla="*/ 77 w 210"/>
                    <a:gd name="T31" fmla="*/ 24 h 330"/>
                    <a:gd name="T32" fmla="*/ 54 w 210"/>
                    <a:gd name="T33" fmla="*/ 5 h 330"/>
                    <a:gd name="T34" fmla="*/ 95 w 210"/>
                    <a:gd name="T35" fmla="*/ 2 h 330"/>
                    <a:gd name="T36" fmla="*/ 86 w 210"/>
                    <a:gd name="T37" fmla="*/ 26 h 330"/>
                    <a:gd name="T38" fmla="*/ 104 w 210"/>
                    <a:gd name="T39" fmla="*/ 46 h 330"/>
                    <a:gd name="T40" fmla="*/ 113 w 210"/>
                    <a:gd name="T41" fmla="*/ 21 h 330"/>
                    <a:gd name="T42" fmla="*/ 95 w 210"/>
                    <a:gd name="T43" fmla="*/ 2 h 330"/>
                    <a:gd name="T44" fmla="*/ 133 w 210"/>
                    <a:gd name="T45" fmla="*/ 7 h 330"/>
                    <a:gd name="T46" fmla="*/ 120 w 210"/>
                    <a:gd name="T47" fmla="*/ 28 h 330"/>
                    <a:gd name="T48" fmla="*/ 133 w 210"/>
                    <a:gd name="T49" fmla="*/ 48 h 330"/>
                    <a:gd name="T50" fmla="*/ 145 w 210"/>
                    <a:gd name="T51" fmla="*/ 28 h 330"/>
                    <a:gd name="T52" fmla="*/ 133 w 210"/>
                    <a:gd name="T53" fmla="*/ 7 h 330"/>
                    <a:gd name="T54" fmla="*/ 163 w 210"/>
                    <a:gd name="T55" fmla="*/ 23 h 330"/>
                    <a:gd name="T56" fmla="*/ 150 w 210"/>
                    <a:gd name="T57" fmla="*/ 40 h 330"/>
                    <a:gd name="T58" fmla="*/ 160 w 210"/>
                    <a:gd name="T59" fmla="*/ 59 h 330"/>
                    <a:gd name="T60" fmla="*/ 173 w 210"/>
                    <a:gd name="T61" fmla="*/ 42 h 330"/>
                    <a:gd name="T62" fmla="*/ 163 w 210"/>
                    <a:gd name="T63" fmla="*/ 23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0" h="330">
                      <a:moveTo>
                        <a:pt x="87" y="63"/>
                      </a:moveTo>
                      <a:cubicBezTo>
                        <a:pt x="119" y="54"/>
                        <a:pt x="160" y="61"/>
                        <a:pt x="172" y="88"/>
                      </a:cubicBezTo>
                      <a:cubicBezTo>
                        <a:pt x="195" y="141"/>
                        <a:pt x="169" y="168"/>
                        <a:pt x="191" y="240"/>
                      </a:cubicBezTo>
                      <a:cubicBezTo>
                        <a:pt x="210" y="299"/>
                        <a:pt x="188" y="318"/>
                        <a:pt x="167" y="324"/>
                      </a:cubicBezTo>
                      <a:cubicBezTo>
                        <a:pt x="145" y="330"/>
                        <a:pt x="116" y="306"/>
                        <a:pt x="117" y="267"/>
                      </a:cubicBezTo>
                      <a:cubicBezTo>
                        <a:pt x="118" y="216"/>
                        <a:pt x="111" y="178"/>
                        <a:pt x="79" y="152"/>
                      </a:cubicBezTo>
                      <a:cubicBezTo>
                        <a:pt x="41" y="122"/>
                        <a:pt x="32" y="77"/>
                        <a:pt x="87" y="63"/>
                      </a:cubicBezTo>
                      <a:close/>
                      <a:moveTo>
                        <a:pt x="9" y="24"/>
                      </a:moveTo>
                      <a:cubicBezTo>
                        <a:pt x="0" y="29"/>
                        <a:pt x="0" y="46"/>
                        <a:pt x="9" y="60"/>
                      </a:cubicBezTo>
                      <a:cubicBezTo>
                        <a:pt x="17" y="75"/>
                        <a:pt x="32" y="82"/>
                        <a:pt x="41" y="77"/>
                      </a:cubicBezTo>
                      <a:cubicBezTo>
                        <a:pt x="50" y="71"/>
                        <a:pt x="50" y="55"/>
                        <a:pt x="42" y="40"/>
                      </a:cubicBezTo>
                      <a:cubicBezTo>
                        <a:pt x="33" y="26"/>
                        <a:pt x="18" y="18"/>
                        <a:pt x="9" y="24"/>
                      </a:cubicBezTo>
                      <a:close/>
                      <a:moveTo>
                        <a:pt x="54" y="5"/>
                      </a:moveTo>
                      <a:cubicBezTo>
                        <a:pt x="46" y="8"/>
                        <a:pt x="43" y="21"/>
                        <a:pt x="48" y="34"/>
                      </a:cubicBezTo>
                      <a:cubicBezTo>
                        <a:pt x="53" y="47"/>
                        <a:pt x="63" y="55"/>
                        <a:pt x="71" y="52"/>
                      </a:cubicBezTo>
                      <a:cubicBezTo>
                        <a:pt x="79" y="50"/>
                        <a:pt x="82" y="37"/>
                        <a:pt x="77" y="24"/>
                      </a:cubicBezTo>
                      <a:cubicBezTo>
                        <a:pt x="72" y="11"/>
                        <a:pt x="62" y="3"/>
                        <a:pt x="54" y="5"/>
                      </a:cubicBezTo>
                      <a:close/>
                      <a:moveTo>
                        <a:pt x="95" y="2"/>
                      </a:moveTo>
                      <a:cubicBezTo>
                        <a:pt x="88" y="3"/>
                        <a:pt x="84" y="14"/>
                        <a:pt x="86" y="26"/>
                      </a:cubicBezTo>
                      <a:cubicBezTo>
                        <a:pt x="88" y="38"/>
                        <a:pt x="96" y="47"/>
                        <a:pt x="104" y="46"/>
                      </a:cubicBezTo>
                      <a:cubicBezTo>
                        <a:pt x="111" y="44"/>
                        <a:pt x="115" y="33"/>
                        <a:pt x="113" y="21"/>
                      </a:cubicBezTo>
                      <a:cubicBezTo>
                        <a:pt x="111" y="9"/>
                        <a:pt x="103" y="0"/>
                        <a:pt x="95" y="2"/>
                      </a:cubicBezTo>
                      <a:close/>
                      <a:moveTo>
                        <a:pt x="133" y="7"/>
                      </a:moveTo>
                      <a:cubicBezTo>
                        <a:pt x="126" y="8"/>
                        <a:pt x="120" y="17"/>
                        <a:pt x="120" y="28"/>
                      </a:cubicBezTo>
                      <a:cubicBezTo>
                        <a:pt x="120" y="39"/>
                        <a:pt x="126" y="48"/>
                        <a:pt x="133" y="48"/>
                      </a:cubicBezTo>
                      <a:cubicBezTo>
                        <a:pt x="140" y="48"/>
                        <a:pt x="145" y="39"/>
                        <a:pt x="145" y="28"/>
                      </a:cubicBezTo>
                      <a:cubicBezTo>
                        <a:pt x="145" y="16"/>
                        <a:pt x="139" y="7"/>
                        <a:pt x="133" y="7"/>
                      </a:cubicBezTo>
                      <a:close/>
                      <a:moveTo>
                        <a:pt x="163" y="23"/>
                      </a:moveTo>
                      <a:cubicBezTo>
                        <a:pt x="157" y="22"/>
                        <a:pt x="151" y="30"/>
                        <a:pt x="150" y="40"/>
                      </a:cubicBezTo>
                      <a:cubicBezTo>
                        <a:pt x="149" y="50"/>
                        <a:pt x="154" y="59"/>
                        <a:pt x="160" y="59"/>
                      </a:cubicBezTo>
                      <a:cubicBezTo>
                        <a:pt x="166" y="60"/>
                        <a:pt x="172" y="52"/>
                        <a:pt x="173" y="42"/>
                      </a:cubicBezTo>
                      <a:cubicBezTo>
                        <a:pt x="173" y="32"/>
                        <a:pt x="169" y="23"/>
                        <a:pt x="163" y="23"/>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defTabSz="914126">
                    <a:defRPr/>
                  </a:pPr>
                  <a:endParaRPr lang="en-US" sz="1600" kern="0">
                    <a:solidFill>
                      <a:srgbClr val="FFFFFF"/>
                    </a:solidFill>
                    <a:latin typeface="Segoe UI"/>
                  </a:endParaRPr>
                </a:p>
              </p:txBody>
            </p:sp>
            <p:sp>
              <p:nvSpPr>
                <p:cNvPr id="374" name="Freeform 38"/>
                <p:cNvSpPr>
                  <a:spLocks noEditPoints="1"/>
                </p:cNvSpPr>
                <p:nvPr/>
              </p:nvSpPr>
              <p:spPr bwMode="black">
                <a:xfrm rot="2155644">
                  <a:off x="3825192" y="2005294"/>
                  <a:ext cx="368236" cy="578190"/>
                </a:xfrm>
                <a:custGeom>
                  <a:avLst/>
                  <a:gdLst>
                    <a:gd name="T0" fmla="*/ 87 w 210"/>
                    <a:gd name="T1" fmla="*/ 63 h 330"/>
                    <a:gd name="T2" fmla="*/ 172 w 210"/>
                    <a:gd name="T3" fmla="*/ 88 h 330"/>
                    <a:gd name="T4" fmla="*/ 191 w 210"/>
                    <a:gd name="T5" fmla="*/ 240 h 330"/>
                    <a:gd name="T6" fmla="*/ 167 w 210"/>
                    <a:gd name="T7" fmla="*/ 324 h 330"/>
                    <a:gd name="T8" fmla="*/ 117 w 210"/>
                    <a:gd name="T9" fmla="*/ 267 h 330"/>
                    <a:gd name="T10" fmla="*/ 79 w 210"/>
                    <a:gd name="T11" fmla="*/ 152 h 330"/>
                    <a:gd name="T12" fmla="*/ 87 w 210"/>
                    <a:gd name="T13" fmla="*/ 63 h 330"/>
                    <a:gd name="T14" fmla="*/ 9 w 210"/>
                    <a:gd name="T15" fmla="*/ 24 h 330"/>
                    <a:gd name="T16" fmla="*/ 9 w 210"/>
                    <a:gd name="T17" fmla="*/ 60 h 330"/>
                    <a:gd name="T18" fmla="*/ 41 w 210"/>
                    <a:gd name="T19" fmla="*/ 77 h 330"/>
                    <a:gd name="T20" fmla="*/ 42 w 210"/>
                    <a:gd name="T21" fmla="*/ 40 h 330"/>
                    <a:gd name="T22" fmla="*/ 9 w 210"/>
                    <a:gd name="T23" fmla="*/ 24 h 330"/>
                    <a:gd name="T24" fmla="*/ 54 w 210"/>
                    <a:gd name="T25" fmla="*/ 5 h 330"/>
                    <a:gd name="T26" fmla="*/ 48 w 210"/>
                    <a:gd name="T27" fmla="*/ 34 h 330"/>
                    <a:gd name="T28" fmla="*/ 71 w 210"/>
                    <a:gd name="T29" fmla="*/ 52 h 330"/>
                    <a:gd name="T30" fmla="*/ 77 w 210"/>
                    <a:gd name="T31" fmla="*/ 24 h 330"/>
                    <a:gd name="T32" fmla="*/ 54 w 210"/>
                    <a:gd name="T33" fmla="*/ 5 h 330"/>
                    <a:gd name="T34" fmla="*/ 95 w 210"/>
                    <a:gd name="T35" fmla="*/ 2 h 330"/>
                    <a:gd name="T36" fmla="*/ 86 w 210"/>
                    <a:gd name="T37" fmla="*/ 26 h 330"/>
                    <a:gd name="T38" fmla="*/ 104 w 210"/>
                    <a:gd name="T39" fmla="*/ 46 h 330"/>
                    <a:gd name="T40" fmla="*/ 113 w 210"/>
                    <a:gd name="T41" fmla="*/ 21 h 330"/>
                    <a:gd name="T42" fmla="*/ 95 w 210"/>
                    <a:gd name="T43" fmla="*/ 2 h 330"/>
                    <a:gd name="T44" fmla="*/ 133 w 210"/>
                    <a:gd name="T45" fmla="*/ 7 h 330"/>
                    <a:gd name="T46" fmla="*/ 120 w 210"/>
                    <a:gd name="T47" fmla="*/ 28 h 330"/>
                    <a:gd name="T48" fmla="*/ 133 w 210"/>
                    <a:gd name="T49" fmla="*/ 48 h 330"/>
                    <a:gd name="T50" fmla="*/ 145 w 210"/>
                    <a:gd name="T51" fmla="*/ 28 h 330"/>
                    <a:gd name="T52" fmla="*/ 133 w 210"/>
                    <a:gd name="T53" fmla="*/ 7 h 330"/>
                    <a:gd name="T54" fmla="*/ 163 w 210"/>
                    <a:gd name="T55" fmla="*/ 23 h 330"/>
                    <a:gd name="T56" fmla="*/ 150 w 210"/>
                    <a:gd name="T57" fmla="*/ 40 h 330"/>
                    <a:gd name="T58" fmla="*/ 160 w 210"/>
                    <a:gd name="T59" fmla="*/ 59 h 330"/>
                    <a:gd name="T60" fmla="*/ 173 w 210"/>
                    <a:gd name="T61" fmla="*/ 42 h 330"/>
                    <a:gd name="T62" fmla="*/ 163 w 210"/>
                    <a:gd name="T63" fmla="*/ 23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0" h="330">
                      <a:moveTo>
                        <a:pt x="87" y="63"/>
                      </a:moveTo>
                      <a:cubicBezTo>
                        <a:pt x="119" y="54"/>
                        <a:pt x="160" y="61"/>
                        <a:pt x="172" y="88"/>
                      </a:cubicBezTo>
                      <a:cubicBezTo>
                        <a:pt x="195" y="141"/>
                        <a:pt x="169" y="168"/>
                        <a:pt x="191" y="240"/>
                      </a:cubicBezTo>
                      <a:cubicBezTo>
                        <a:pt x="210" y="299"/>
                        <a:pt x="188" y="318"/>
                        <a:pt x="167" y="324"/>
                      </a:cubicBezTo>
                      <a:cubicBezTo>
                        <a:pt x="145" y="330"/>
                        <a:pt x="116" y="306"/>
                        <a:pt x="117" y="267"/>
                      </a:cubicBezTo>
                      <a:cubicBezTo>
                        <a:pt x="118" y="216"/>
                        <a:pt x="111" y="178"/>
                        <a:pt x="79" y="152"/>
                      </a:cubicBezTo>
                      <a:cubicBezTo>
                        <a:pt x="41" y="122"/>
                        <a:pt x="32" y="77"/>
                        <a:pt x="87" y="63"/>
                      </a:cubicBezTo>
                      <a:close/>
                      <a:moveTo>
                        <a:pt x="9" y="24"/>
                      </a:moveTo>
                      <a:cubicBezTo>
                        <a:pt x="0" y="29"/>
                        <a:pt x="0" y="46"/>
                        <a:pt x="9" y="60"/>
                      </a:cubicBezTo>
                      <a:cubicBezTo>
                        <a:pt x="17" y="75"/>
                        <a:pt x="32" y="82"/>
                        <a:pt x="41" y="77"/>
                      </a:cubicBezTo>
                      <a:cubicBezTo>
                        <a:pt x="50" y="71"/>
                        <a:pt x="50" y="55"/>
                        <a:pt x="42" y="40"/>
                      </a:cubicBezTo>
                      <a:cubicBezTo>
                        <a:pt x="33" y="26"/>
                        <a:pt x="18" y="18"/>
                        <a:pt x="9" y="24"/>
                      </a:cubicBezTo>
                      <a:close/>
                      <a:moveTo>
                        <a:pt x="54" y="5"/>
                      </a:moveTo>
                      <a:cubicBezTo>
                        <a:pt x="46" y="8"/>
                        <a:pt x="43" y="21"/>
                        <a:pt x="48" y="34"/>
                      </a:cubicBezTo>
                      <a:cubicBezTo>
                        <a:pt x="53" y="47"/>
                        <a:pt x="63" y="55"/>
                        <a:pt x="71" y="52"/>
                      </a:cubicBezTo>
                      <a:cubicBezTo>
                        <a:pt x="79" y="50"/>
                        <a:pt x="82" y="37"/>
                        <a:pt x="77" y="24"/>
                      </a:cubicBezTo>
                      <a:cubicBezTo>
                        <a:pt x="72" y="11"/>
                        <a:pt x="62" y="3"/>
                        <a:pt x="54" y="5"/>
                      </a:cubicBezTo>
                      <a:close/>
                      <a:moveTo>
                        <a:pt x="95" y="2"/>
                      </a:moveTo>
                      <a:cubicBezTo>
                        <a:pt x="88" y="3"/>
                        <a:pt x="84" y="14"/>
                        <a:pt x="86" y="26"/>
                      </a:cubicBezTo>
                      <a:cubicBezTo>
                        <a:pt x="88" y="38"/>
                        <a:pt x="96" y="47"/>
                        <a:pt x="104" y="46"/>
                      </a:cubicBezTo>
                      <a:cubicBezTo>
                        <a:pt x="111" y="44"/>
                        <a:pt x="115" y="33"/>
                        <a:pt x="113" y="21"/>
                      </a:cubicBezTo>
                      <a:cubicBezTo>
                        <a:pt x="111" y="9"/>
                        <a:pt x="103" y="0"/>
                        <a:pt x="95" y="2"/>
                      </a:cubicBezTo>
                      <a:close/>
                      <a:moveTo>
                        <a:pt x="133" y="7"/>
                      </a:moveTo>
                      <a:cubicBezTo>
                        <a:pt x="126" y="8"/>
                        <a:pt x="120" y="17"/>
                        <a:pt x="120" y="28"/>
                      </a:cubicBezTo>
                      <a:cubicBezTo>
                        <a:pt x="120" y="39"/>
                        <a:pt x="126" y="48"/>
                        <a:pt x="133" y="48"/>
                      </a:cubicBezTo>
                      <a:cubicBezTo>
                        <a:pt x="140" y="48"/>
                        <a:pt x="145" y="39"/>
                        <a:pt x="145" y="28"/>
                      </a:cubicBezTo>
                      <a:cubicBezTo>
                        <a:pt x="145" y="16"/>
                        <a:pt x="139" y="7"/>
                        <a:pt x="133" y="7"/>
                      </a:cubicBezTo>
                      <a:close/>
                      <a:moveTo>
                        <a:pt x="163" y="23"/>
                      </a:moveTo>
                      <a:cubicBezTo>
                        <a:pt x="157" y="22"/>
                        <a:pt x="151" y="30"/>
                        <a:pt x="150" y="40"/>
                      </a:cubicBezTo>
                      <a:cubicBezTo>
                        <a:pt x="149" y="50"/>
                        <a:pt x="154" y="59"/>
                        <a:pt x="160" y="59"/>
                      </a:cubicBezTo>
                      <a:cubicBezTo>
                        <a:pt x="166" y="60"/>
                        <a:pt x="172" y="52"/>
                        <a:pt x="173" y="42"/>
                      </a:cubicBezTo>
                      <a:cubicBezTo>
                        <a:pt x="173" y="32"/>
                        <a:pt x="169" y="23"/>
                        <a:pt x="163" y="23"/>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84" tIns="41142" rIns="82284" bIns="41142" numCol="1" anchor="t" anchorCtr="0" compatLnSpc="1">
                  <a:prstTxWarp prst="textNoShape">
                    <a:avLst/>
                  </a:prstTxWarp>
                </a:bodyPr>
                <a:lstStyle/>
                <a:p>
                  <a:pPr defTabSz="914126">
                    <a:defRPr/>
                  </a:pPr>
                  <a:endParaRPr lang="en-US" sz="1600" kern="0">
                    <a:solidFill>
                      <a:srgbClr val="FFFFFF"/>
                    </a:solidFill>
                    <a:latin typeface="Segoe UI"/>
                  </a:endParaRPr>
                </a:p>
              </p:txBody>
            </p:sp>
          </p:grpSp>
        </p:grpSp>
        <p:pic>
          <p:nvPicPr>
            <p:cNvPr id="233" name="Picture 7" descr="\\MAGNUM\Projects\Microsoft\Cloud Power FY12\Design\ICONS_PNG\Availability.png"/>
            <p:cNvPicPr>
              <a:picLocks noChangeAspect="1" noChangeArrowheads="1"/>
            </p:cNvPicPr>
            <p:nvPr/>
          </p:nvPicPr>
          <p:blipFill>
            <a:blip r:embed="rId22" cstate="print">
              <a:duotone>
                <a:prstClr val="black"/>
                <a:schemeClr val="accent5">
                  <a:tint val="45000"/>
                  <a:satMod val="400000"/>
                </a:schemeClr>
              </a:duotone>
              <a:extLst>
                <a:ext uri="{BEBA8EAE-BF5A-486C-A8C5-ECC9F3942E4B}">
                  <a14:imgProps xmlns:a14="http://schemas.microsoft.com/office/drawing/2010/main">
                    <a14:imgLayer r:embed="rId23">
                      <a14:imgEffect>
                        <a14:brightnessContrast bright="-31000" contrast="-40000"/>
                      </a14:imgEffect>
                    </a14:imgLayer>
                  </a14:imgProps>
                </a:ext>
                <a:ext uri="{28A0092B-C50C-407E-A947-70E740481C1C}">
                  <a14:useLocalDpi xmlns:a14="http://schemas.microsoft.com/office/drawing/2010/main"/>
                </a:ext>
              </a:extLst>
            </a:blip>
            <a:srcRect/>
            <a:stretch>
              <a:fillRect/>
            </a:stretch>
          </p:blipFill>
          <p:spPr bwMode="auto">
            <a:xfrm>
              <a:off x="3805391" y="4322978"/>
              <a:ext cx="269218" cy="269218"/>
            </a:xfrm>
            <a:prstGeom prst="rect">
              <a:avLst/>
            </a:prstGeom>
            <a:noFill/>
          </p:spPr>
        </p:pic>
        <p:sp>
          <p:nvSpPr>
            <p:cNvPr id="251" name="Rounded Rectangle 40"/>
            <p:cNvSpPr>
              <a:spLocks noChangeAspect="1"/>
            </p:cNvSpPr>
            <p:nvPr/>
          </p:nvSpPr>
          <p:spPr bwMode="auto">
            <a:xfrm flipH="1">
              <a:off x="4528058" y="4300656"/>
              <a:ext cx="166514" cy="224982"/>
            </a:xfrm>
            <a:custGeom>
              <a:avLst/>
              <a:gdLst/>
              <a:ahLst/>
              <a:cxnLst/>
              <a:rect l="l" t="t" r="r" b="b"/>
              <a:pathLst>
                <a:path w="4131411" h="5582054">
                  <a:moveTo>
                    <a:pt x="2066013" y="2133770"/>
                  </a:moveTo>
                  <a:cubicBezTo>
                    <a:pt x="1811471" y="2135626"/>
                    <a:pt x="1564825" y="2222353"/>
                    <a:pt x="1365141" y="2380213"/>
                  </a:cubicBezTo>
                  <a:lnTo>
                    <a:pt x="2074355" y="3277327"/>
                  </a:lnTo>
                  <a:cubicBezTo>
                    <a:pt x="2071575" y="2896141"/>
                    <a:pt x="2068793" y="2514955"/>
                    <a:pt x="2066013" y="2133770"/>
                  </a:cubicBezTo>
                  <a:close/>
                  <a:moveTo>
                    <a:pt x="359955" y="1939409"/>
                  </a:moveTo>
                  <a:cubicBezTo>
                    <a:pt x="332829" y="1941717"/>
                    <a:pt x="303073" y="1951472"/>
                    <a:pt x="268703" y="1971346"/>
                  </a:cubicBezTo>
                  <a:lnTo>
                    <a:pt x="42397" y="2287019"/>
                  </a:lnTo>
                  <a:cubicBezTo>
                    <a:pt x="34151" y="2343388"/>
                    <a:pt x="-86071" y="2362146"/>
                    <a:pt x="119491" y="2570715"/>
                  </a:cubicBezTo>
                  <a:cubicBezTo>
                    <a:pt x="898361" y="3164480"/>
                    <a:pt x="1529075" y="4096386"/>
                    <a:pt x="1823051" y="4514516"/>
                  </a:cubicBezTo>
                  <a:cubicBezTo>
                    <a:pt x="2083689" y="4689761"/>
                    <a:pt x="2170245" y="4571337"/>
                    <a:pt x="2226247" y="4508004"/>
                  </a:cubicBezTo>
                  <a:cubicBezTo>
                    <a:pt x="2544961" y="4137839"/>
                    <a:pt x="2852359" y="3812770"/>
                    <a:pt x="3199361" y="3482066"/>
                  </a:cubicBezTo>
                  <a:cubicBezTo>
                    <a:pt x="3280456" y="3350534"/>
                    <a:pt x="3293654" y="3297924"/>
                    <a:pt x="3120156" y="3087476"/>
                  </a:cubicBezTo>
                  <a:lnTo>
                    <a:pt x="2916480" y="2884544"/>
                  </a:lnTo>
                  <a:cubicBezTo>
                    <a:pt x="2816529" y="2799988"/>
                    <a:pt x="2637369" y="2777440"/>
                    <a:pt x="2531761" y="2952188"/>
                  </a:cubicBezTo>
                  <a:lnTo>
                    <a:pt x="2067833" y="3414422"/>
                  </a:lnTo>
                  <a:cubicBezTo>
                    <a:pt x="1683627" y="3032238"/>
                    <a:pt x="1279189" y="2562785"/>
                    <a:pt x="586749" y="2047545"/>
                  </a:cubicBezTo>
                  <a:cubicBezTo>
                    <a:pt x="499057" y="1992585"/>
                    <a:pt x="441335" y="1932486"/>
                    <a:pt x="359955" y="1939409"/>
                  </a:cubicBezTo>
                  <a:close/>
                  <a:moveTo>
                    <a:pt x="2074353" y="230374"/>
                  </a:moveTo>
                  <a:cubicBezTo>
                    <a:pt x="2313891" y="230374"/>
                    <a:pt x="2508075" y="424556"/>
                    <a:pt x="2508075" y="664094"/>
                  </a:cubicBezTo>
                  <a:cubicBezTo>
                    <a:pt x="2508075" y="796672"/>
                    <a:pt x="2448591" y="915353"/>
                    <a:pt x="2351361" y="990792"/>
                  </a:cubicBezTo>
                  <a:lnTo>
                    <a:pt x="2351361" y="771127"/>
                  </a:lnTo>
                  <a:cubicBezTo>
                    <a:pt x="2351361" y="668716"/>
                    <a:pt x="2268339" y="585694"/>
                    <a:pt x="2165927" y="585694"/>
                  </a:cubicBezTo>
                  <a:lnTo>
                    <a:pt x="1982781" y="585694"/>
                  </a:lnTo>
                  <a:cubicBezTo>
                    <a:pt x="1880369" y="585694"/>
                    <a:pt x="1797347" y="668716"/>
                    <a:pt x="1797347" y="771127"/>
                  </a:cubicBezTo>
                  <a:lnTo>
                    <a:pt x="1797347" y="990794"/>
                  </a:lnTo>
                  <a:cubicBezTo>
                    <a:pt x="1700113" y="915357"/>
                    <a:pt x="1640629" y="796674"/>
                    <a:pt x="1640629" y="664094"/>
                  </a:cubicBezTo>
                  <a:cubicBezTo>
                    <a:pt x="1640629" y="424556"/>
                    <a:pt x="1834813" y="230374"/>
                    <a:pt x="2074353" y="230374"/>
                  </a:cubicBezTo>
                  <a:close/>
                  <a:moveTo>
                    <a:pt x="2074353" y="0"/>
                  </a:moveTo>
                  <a:cubicBezTo>
                    <a:pt x="1707583" y="0"/>
                    <a:pt x="1410255" y="297325"/>
                    <a:pt x="1410255" y="664094"/>
                  </a:cubicBezTo>
                  <a:cubicBezTo>
                    <a:pt x="1410255" y="931716"/>
                    <a:pt x="1568559" y="1162363"/>
                    <a:pt x="1797347" y="1265956"/>
                  </a:cubicBezTo>
                  <a:lnTo>
                    <a:pt x="1797347" y="1488746"/>
                  </a:lnTo>
                  <a:cubicBezTo>
                    <a:pt x="1356023" y="1547204"/>
                    <a:pt x="1035313" y="1682460"/>
                    <a:pt x="729009" y="1975369"/>
                  </a:cubicBezTo>
                  <a:cubicBezTo>
                    <a:pt x="892771" y="2082139"/>
                    <a:pt x="1022807" y="2192734"/>
                    <a:pt x="1149257" y="2304668"/>
                  </a:cubicBezTo>
                  <a:cubicBezTo>
                    <a:pt x="1413091" y="2073726"/>
                    <a:pt x="1798947" y="2018225"/>
                    <a:pt x="2074353" y="1999408"/>
                  </a:cubicBezTo>
                  <a:cubicBezTo>
                    <a:pt x="2349759" y="1980591"/>
                    <a:pt x="2588113" y="2066849"/>
                    <a:pt x="2801693" y="2191764"/>
                  </a:cubicBezTo>
                  <a:lnTo>
                    <a:pt x="2656029" y="2380977"/>
                  </a:lnTo>
                  <a:lnTo>
                    <a:pt x="2805121" y="2495755"/>
                  </a:lnTo>
                  <a:lnTo>
                    <a:pt x="2963605" y="2289887"/>
                  </a:lnTo>
                  <a:cubicBezTo>
                    <a:pt x="3102562" y="2385452"/>
                    <a:pt x="3222313" y="2506173"/>
                    <a:pt x="3317467" y="2645442"/>
                  </a:cubicBezTo>
                  <a:lnTo>
                    <a:pt x="3089082" y="2827431"/>
                  </a:lnTo>
                  <a:lnTo>
                    <a:pt x="3206339" y="2974582"/>
                  </a:lnTo>
                  <a:lnTo>
                    <a:pt x="3413866" y="2809214"/>
                  </a:lnTo>
                  <a:cubicBezTo>
                    <a:pt x="3516584" y="2985924"/>
                    <a:pt x="3577926" y="3187607"/>
                    <a:pt x="3593733" y="3401865"/>
                  </a:cubicBezTo>
                  <a:lnTo>
                    <a:pt x="3315515" y="3401865"/>
                  </a:lnTo>
                  <a:lnTo>
                    <a:pt x="3315515" y="3590020"/>
                  </a:lnTo>
                  <a:lnTo>
                    <a:pt x="3596670" y="3590020"/>
                  </a:lnTo>
                  <a:cubicBezTo>
                    <a:pt x="3589618" y="3803768"/>
                    <a:pt x="3536702" y="4006072"/>
                    <a:pt x="3443701" y="4185822"/>
                  </a:cubicBezTo>
                  <a:lnTo>
                    <a:pt x="3193257" y="4061714"/>
                  </a:lnTo>
                  <a:lnTo>
                    <a:pt x="3109712" y="4230305"/>
                  </a:lnTo>
                  <a:lnTo>
                    <a:pt x="3353882" y="4351304"/>
                  </a:lnTo>
                  <a:cubicBezTo>
                    <a:pt x="3238178" y="4534950"/>
                    <a:pt x="3082464" y="4690424"/>
                    <a:pt x="2898521" y="4805686"/>
                  </a:cubicBezTo>
                  <a:lnTo>
                    <a:pt x="2797075" y="4583078"/>
                  </a:lnTo>
                  <a:lnTo>
                    <a:pt x="2625859" y="4661106"/>
                  </a:lnTo>
                  <a:lnTo>
                    <a:pt x="2732753" y="4895660"/>
                  </a:lnTo>
                  <a:cubicBezTo>
                    <a:pt x="2558775" y="4985326"/>
                    <a:pt x="2363655" y="5037271"/>
                    <a:pt x="2157573" y="5046392"/>
                  </a:cubicBezTo>
                  <a:lnTo>
                    <a:pt x="2157573" y="4766542"/>
                  </a:lnTo>
                  <a:lnTo>
                    <a:pt x="1969417" y="4766542"/>
                  </a:lnTo>
                  <a:lnTo>
                    <a:pt x="1969417" y="5045296"/>
                  </a:lnTo>
                  <a:cubicBezTo>
                    <a:pt x="1773509" y="5033720"/>
                    <a:pt x="1587857" y="4983464"/>
                    <a:pt x="1421429" y="4898634"/>
                  </a:cubicBezTo>
                  <a:lnTo>
                    <a:pt x="1570617" y="4680676"/>
                  </a:lnTo>
                  <a:lnTo>
                    <a:pt x="1415349" y="4574401"/>
                  </a:lnTo>
                  <a:lnTo>
                    <a:pt x="1255181" y="4808398"/>
                  </a:lnTo>
                  <a:cubicBezTo>
                    <a:pt x="1094951" y="4709758"/>
                    <a:pt x="956445" y="4579899"/>
                    <a:pt x="848917" y="4425992"/>
                  </a:cubicBezTo>
                  <a:lnTo>
                    <a:pt x="1058297" y="4276376"/>
                  </a:lnTo>
                  <a:lnTo>
                    <a:pt x="948907" y="4123288"/>
                  </a:lnTo>
                  <a:lnTo>
                    <a:pt x="748707" y="4266344"/>
                  </a:lnTo>
                  <a:cubicBezTo>
                    <a:pt x="629091" y="4067262"/>
                    <a:pt x="560449" y="3836220"/>
                    <a:pt x="552035" y="3590020"/>
                  </a:cubicBezTo>
                  <a:lnTo>
                    <a:pt x="799165" y="3590020"/>
                  </a:lnTo>
                  <a:lnTo>
                    <a:pt x="799165" y="3401865"/>
                  </a:lnTo>
                  <a:lnTo>
                    <a:pt x="554971" y="3401865"/>
                  </a:lnTo>
                  <a:cubicBezTo>
                    <a:pt x="560633" y="3324228"/>
                    <a:pt x="572323" y="3248246"/>
                    <a:pt x="591339" y="3174852"/>
                  </a:cubicBezTo>
                  <a:cubicBezTo>
                    <a:pt x="455953" y="3046341"/>
                    <a:pt x="310183" y="2919785"/>
                    <a:pt x="150861" y="2795544"/>
                  </a:cubicBezTo>
                  <a:cubicBezTo>
                    <a:pt x="64401" y="3022125"/>
                    <a:pt x="17293" y="3268062"/>
                    <a:pt x="17293" y="3525001"/>
                  </a:cubicBezTo>
                  <a:cubicBezTo>
                    <a:pt x="17293" y="4661079"/>
                    <a:pt x="938269" y="5582054"/>
                    <a:pt x="2074353" y="5582054"/>
                  </a:cubicBezTo>
                  <a:cubicBezTo>
                    <a:pt x="3210434" y="5582054"/>
                    <a:pt x="4131411" y="4661079"/>
                    <a:pt x="4131411" y="3525001"/>
                  </a:cubicBezTo>
                  <a:cubicBezTo>
                    <a:pt x="4131411" y="2832729"/>
                    <a:pt x="3789443" y="2220326"/>
                    <a:pt x="3262807" y="1850890"/>
                  </a:cubicBezTo>
                  <a:lnTo>
                    <a:pt x="3436211" y="1789427"/>
                  </a:lnTo>
                  <a:lnTo>
                    <a:pt x="3609724" y="1570554"/>
                  </a:lnTo>
                  <a:lnTo>
                    <a:pt x="3298804" y="1351864"/>
                  </a:lnTo>
                  <a:lnTo>
                    <a:pt x="3136289" y="1555584"/>
                  </a:lnTo>
                  <a:lnTo>
                    <a:pt x="3115877" y="1753288"/>
                  </a:lnTo>
                  <a:cubicBezTo>
                    <a:pt x="2886825" y="1615786"/>
                    <a:pt x="2627941" y="1523711"/>
                    <a:pt x="2351361" y="1488748"/>
                  </a:cubicBezTo>
                  <a:lnTo>
                    <a:pt x="2351361" y="1265953"/>
                  </a:lnTo>
                  <a:cubicBezTo>
                    <a:pt x="2580149" y="1162359"/>
                    <a:pt x="2738449" y="931714"/>
                    <a:pt x="2738449" y="664094"/>
                  </a:cubicBezTo>
                  <a:cubicBezTo>
                    <a:pt x="2738449" y="297325"/>
                    <a:pt x="2441121" y="0"/>
                    <a:pt x="2074353" y="0"/>
                  </a:cubicBez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algn="ctr" defTabSz="913825" fontAlgn="base">
                <a:spcBef>
                  <a:spcPct val="0"/>
                </a:spcBef>
                <a:spcAft>
                  <a:spcPct val="0"/>
                </a:spcAft>
                <a:defRPr/>
              </a:pPr>
              <a:endParaRPr lang="en-US" sz="1799" kern="0" spc="-5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8" name="Rectangle 135"/>
            <p:cNvSpPr>
              <a:spLocks noChangeAspect="1"/>
            </p:cNvSpPr>
            <p:nvPr/>
          </p:nvSpPr>
          <p:spPr bwMode="auto">
            <a:xfrm>
              <a:off x="4642509" y="4105241"/>
              <a:ext cx="157794" cy="157794"/>
            </a:xfrm>
            <a:custGeom>
              <a:avLst/>
              <a:gdLst/>
              <a:ahLst/>
              <a:cxnLst/>
              <a:rect l="l" t="t" r="r" b="b"/>
              <a:pathLst>
                <a:path w="4486492" h="4486492">
                  <a:moveTo>
                    <a:pt x="3115020" y="3115652"/>
                  </a:moveTo>
                  <a:lnTo>
                    <a:pt x="3115020" y="4358307"/>
                  </a:lnTo>
                  <a:lnTo>
                    <a:pt x="4358306" y="4358307"/>
                  </a:lnTo>
                  <a:lnTo>
                    <a:pt x="4358306" y="3115652"/>
                  </a:lnTo>
                  <a:close/>
                  <a:moveTo>
                    <a:pt x="1473659" y="3115652"/>
                  </a:moveTo>
                  <a:lnTo>
                    <a:pt x="1473659" y="4358307"/>
                  </a:lnTo>
                  <a:lnTo>
                    <a:pt x="3012833" y="4358307"/>
                  </a:lnTo>
                  <a:lnTo>
                    <a:pt x="3012833" y="3115652"/>
                  </a:lnTo>
                  <a:close/>
                  <a:moveTo>
                    <a:pt x="128186" y="3115652"/>
                  </a:moveTo>
                  <a:lnTo>
                    <a:pt x="128186" y="4358307"/>
                  </a:lnTo>
                  <a:lnTo>
                    <a:pt x="1371472" y="4358307"/>
                  </a:lnTo>
                  <a:lnTo>
                    <a:pt x="1371472" y="3115652"/>
                  </a:lnTo>
                  <a:close/>
                  <a:moveTo>
                    <a:pt x="1473659" y="2755431"/>
                  </a:moveTo>
                  <a:lnTo>
                    <a:pt x="1473659" y="3013467"/>
                  </a:lnTo>
                  <a:lnTo>
                    <a:pt x="1793547" y="3013467"/>
                  </a:lnTo>
                  <a:close/>
                  <a:moveTo>
                    <a:pt x="963448" y="2343871"/>
                  </a:moveTo>
                  <a:lnTo>
                    <a:pt x="330177" y="3013467"/>
                  </a:lnTo>
                  <a:lnTo>
                    <a:pt x="1371472" y="3013467"/>
                  </a:lnTo>
                  <a:lnTo>
                    <a:pt x="1371472" y="2673002"/>
                  </a:lnTo>
                  <a:close/>
                  <a:moveTo>
                    <a:pt x="3012833" y="1906434"/>
                  </a:moveTo>
                  <a:lnTo>
                    <a:pt x="2010377" y="3013467"/>
                  </a:lnTo>
                  <a:lnTo>
                    <a:pt x="3012833" y="3013467"/>
                  </a:lnTo>
                  <a:close/>
                  <a:moveTo>
                    <a:pt x="3386427" y="1493866"/>
                  </a:moveTo>
                  <a:lnTo>
                    <a:pt x="3115020" y="1793586"/>
                  </a:lnTo>
                  <a:lnTo>
                    <a:pt x="3115020" y="3013467"/>
                  </a:lnTo>
                  <a:lnTo>
                    <a:pt x="4358306" y="3013467"/>
                  </a:lnTo>
                  <a:lnTo>
                    <a:pt x="4358306" y="2522701"/>
                  </a:lnTo>
                  <a:close/>
                  <a:moveTo>
                    <a:pt x="3801600" y="1473023"/>
                  </a:moveTo>
                  <a:lnTo>
                    <a:pt x="4358306" y="2069204"/>
                  </a:lnTo>
                  <a:lnTo>
                    <a:pt x="4358306" y="1473023"/>
                  </a:lnTo>
                  <a:close/>
                  <a:moveTo>
                    <a:pt x="1473659" y="1473023"/>
                  </a:moveTo>
                  <a:lnTo>
                    <a:pt x="1473659" y="2383401"/>
                  </a:lnTo>
                  <a:lnTo>
                    <a:pt x="1820355" y="2695206"/>
                  </a:lnTo>
                  <a:lnTo>
                    <a:pt x="2954285" y="1473023"/>
                  </a:lnTo>
                  <a:close/>
                  <a:moveTo>
                    <a:pt x="128186" y="1473023"/>
                  </a:moveTo>
                  <a:lnTo>
                    <a:pt x="128186" y="2789526"/>
                  </a:lnTo>
                  <a:lnTo>
                    <a:pt x="963448" y="1924535"/>
                  </a:lnTo>
                  <a:lnTo>
                    <a:pt x="1371472" y="2291497"/>
                  </a:lnTo>
                  <a:lnTo>
                    <a:pt x="1371472" y="1473023"/>
                  </a:lnTo>
                  <a:close/>
                  <a:moveTo>
                    <a:pt x="3115020" y="128186"/>
                  </a:moveTo>
                  <a:lnTo>
                    <a:pt x="3115020" y="1299778"/>
                  </a:lnTo>
                  <a:lnTo>
                    <a:pt x="3376578" y="1017863"/>
                  </a:lnTo>
                  <a:lnTo>
                    <a:pt x="3706181" y="1370838"/>
                  </a:lnTo>
                  <a:lnTo>
                    <a:pt x="4358306" y="1370838"/>
                  </a:lnTo>
                  <a:lnTo>
                    <a:pt x="4358306" y="128186"/>
                  </a:lnTo>
                  <a:close/>
                  <a:moveTo>
                    <a:pt x="1473659" y="128186"/>
                  </a:moveTo>
                  <a:lnTo>
                    <a:pt x="1473659" y="1370838"/>
                  </a:lnTo>
                  <a:lnTo>
                    <a:pt x="3012833" y="1370838"/>
                  </a:lnTo>
                  <a:lnTo>
                    <a:pt x="3012833" y="128186"/>
                  </a:lnTo>
                  <a:close/>
                  <a:moveTo>
                    <a:pt x="128186" y="128186"/>
                  </a:moveTo>
                  <a:lnTo>
                    <a:pt x="128186" y="1370838"/>
                  </a:lnTo>
                  <a:lnTo>
                    <a:pt x="1371472" y="1370838"/>
                  </a:lnTo>
                  <a:lnTo>
                    <a:pt x="1371472" y="128186"/>
                  </a:lnTo>
                  <a:close/>
                  <a:moveTo>
                    <a:pt x="0" y="0"/>
                  </a:moveTo>
                  <a:lnTo>
                    <a:pt x="4486492" y="0"/>
                  </a:lnTo>
                  <a:lnTo>
                    <a:pt x="4486492" y="4486492"/>
                  </a:lnTo>
                  <a:lnTo>
                    <a:pt x="0" y="4486492"/>
                  </a:lnTo>
                  <a:close/>
                </a:path>
              </a:pathLst>
            </a:custGeom>
            <a:solidFill>
              <a:schemeClr val="bg1">
                <a:lumMod val="50000"/>
              </a:schemeClr>
            </a:solidFill>
            <a:ln>
              <a:noFill/>
            </a:ln>
            <a:ex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algn="ctr" defTabSz="914126">
                <a:defRPr/>
              </a:pPr>
              <a:endParaRPr lang="en-US" sz="1799" kern="0">
                <a:solidFill>
                  <a:srgbClr val="000000"/>
                </a:solidFill>
                <a:latin typeface="Segoe UI"/>
              </a:endParaRPr>
            </a:p>
          </p:txBody>
        </p:sp>
        <p:grpSp>
          <p:nvGrpSpPr>
            <p:cNvPr id="272" name="Group 271"/>
            <p:cNvGrpSpPr>
              <a:grpSpLocks noChangeAspect="1"/>
            </p:cNvGrpSpPr>
            <p:nvPr/>
          </p:nvGrpSpPr>
          <p:grpSpPr>
            <a:xfrm>
              <a:off x="4526485" y="3807774"/>
              <a:ext cx="264642" cy="282324"/>
              <a:chOff x="5189537" y="2049462"/>
              <a:chExt cx="2280987" cy="2433387"/>
            </a:xfrm>
            <a:noFill/>
          </p:grpSpPr>
          <p:grpSp>
            <p:nvGrpSpPr>
              <p:cNvPr id="276" name="Group 275"/>
              <p:cNvGrpSpPr/>
              <p:nvPr/>
            </p:nvGrpSpPr>
            <p:grpSpPr>
              <a:xfrm rot="20928238">
                <a:off x="5580216" y="2468155"/>
                <a:ext cx="1580053" cy="1632472"/>
                <a:chOff x="2419350" y="1390650"/>
                <a:chExt cx="4019550" cy="4152900"/>
              </a:xfrm>
              <a:grpFill/>
            </p:grpSpPr>
            <p:cxnSp>
              <p:nvCxnSpPr>
                <p:cNvPr id="366" name="Straight Connector 365"/>
                <p:cNvCxnSpPr/>
                <p:nvPr/>
              </p:nvCxnSpPr>
              <p:spPr>
                <a:xfrm rot="671762" flipV="1">
                  <a:off x="3487989" y="1881693"/>
                  <a:ext cx="1742543" cy="3329308"/>
                </a:xfrm>
                <a:prstGeom prst="line">
                  <a:avLst/>
                </a:prstGeom>
                <a:grpFill/>
                <a:ln w="6350">
                  <a:solidFill>
                    <a:srgbClr val="5E83BD"/>
                  </a:solidFill>
                </a:ln>
              </p:spPr>
              <p:style>
                <a:lnRef idx="1">
                  <a:schemeClr val="accent1"/>
                </a:lnRef>
                <a:fillRef idx="0">
                  <a:schemeClr val="accent1"/>
                </a:fillRef>
                <a:effectRef idx="0">
                  <a:schemeClr val="accent1"/>
                </a:effectRef>
                <a:fontRef idx="minor">
                  <a:schemeClr val="tx1"/>
                </a:fontRef>
              </p:style>
            </p:cxnSp>
            <p:cxnSp>
              <p:nvCxnSpPr>
                <p:cNvPr id="367" name="Straight Connector 366"/>
                <p:cNvCxnSpPr/>
                <p:nvPr/>
              </p:nvCxnSpPr>
              <p:spPr>
                <a:xfrm>
                  <a:off x="3009900" y="1809750"/>
                  <a:ext cx="2914650" cy="3314700"/>
                </a:xfrm>
                <a:prstGeom prst="line">
                  <a:avLst/>
                </a:prstGeom>
                <a:grpFill/>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68" name="Straight Connector 367"/>
                <p:cNvCxnSpPr/>
                <p:nvPr/>
              </p:nvCxnSpPr>
              <p:spPr>
                <a:xfrm flipV="1">
                  <a:off x="2419350" y="3238500"/>
                  <a:ext cx="4019550" cy="228600"/>
                </a:xfrm>
                <a:prstGeom prst="line">
                  <a:avLst/>
                </a:prstGeom>
                <a:grpFill/>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69" name="Straight Connector 368"/>
                <p:cNvCxnSpPr/>
                <p:nvPr/>
              </p:nvCxnSpPr>
              <p:spPr>
                <a:xfrm flipV="1">
                  <a:off x="4438650" y="1390650"/>
                  <a:ext cx="38100" cy="4152900"/>
                </a:xfrm>
                <a:prstGeom prst="line">
                  <a:avLst/>
                </a:prstGeom>
                <a:grpFill/>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277" name="Oval 276"/>
              <p:cNvSpPr/>
              <p:nvPr/>
            </p:nvSpPr>
            <p:spPr bwMode="auto">
              <a:xfrm>
                <a:off x="6093424" y="2989603"/>
                <a:ext cx="545079" cy="54190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algn="ctr" defTabSz="913825" fontAlgn="base">
                  <a:spcBef>
                    <a:spcPct val="0"/>
                  </a:spcBef>
                  <a:spcAft>
                    <a:spcPct val="0"/>
                  </a:spcAft>
                  <a:defRPr/>
                </a:pPr>
                <a:endParaRPr lang="en-US" sz="1799" kern="0" spc="-5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78" name="Group 277"/>
              <p:cNvGrpSpPr/>
              <p:nvPr/>
            </p:nvGrpSpPr>
            <p:grpSpPr>
              <a:xfrm>
                <a:off x="6164838" y="3074715"/>
                <a:ext cx="422709" cy="329710"/>
                <a:chOff x="3868489" y="2175446"/>
                <a:chExt cx="1461312" cy="1139815"/>
              </a:xfrm>
              <a:grpFill/>
            </p:grpSpPr>
            <p:sp>
              <p:nvSpPr>
                <p:cNvPr id="333" name="Freeform 332"/>
                <p:cNvSpPr>
                  <a:spLocks/>
                </p:cNvSpPr>
                <p:nvPr/>
              </p:nvSpPr>
              <p:spPr bwMode="black">
                <a:xfrm>
                  <a:off x="3868489" y="2618684"/>
                  <a:ext cx="570161" cy="570012"/>
                </a:xfrm>
                <a:custGeom>
                  <a:avLst/>
                  <a:gdLst>
                    <a:gd name="connsiteX0" fmla="*/ 1158284 w 1648391"/>
                    <a:gd name="connsiteY0" fmla="*/ 202957 h 1647959"/>
                    <a:gd name="connsiteX1" fmla="*/ 894611 w 1648391"/>
                    <a:gd name="connsiteY1" fmla="*/ 466592 h 1647959"/>
                    <a:gd name="connsiteX2" fmla="*/ 894611 w 1648391"/>
                    <a:gd name="connsiteY2" fmla="*/ 600535 h 1647959"/>
                    <a:gd name="connsiteX3" fmla="*/ 705361 w 1648391"/>
                    <a:gd name="connsiteY3" fmla="*/ 600535 h 1647959"/>
                    <a:gd name="connsiteX4" fmla="*/ 705361 w 1648391"/>
                    <a:gd name="connsiteY4" fmla="*/ 824838 h 1647959"/>
                    <a:gd name="connsiteX5" fmla="*/ 894611 w 1648391"/>
                    <a:gd name="connsiteY5" fmla="*/ 824838 h 1647959"/>
                    <a:gd name="connsiteX6" fmla="*/ 894611 w 1648391"/>
                    <a:gd name="connsiteY6" fmla="*/ 1514753 h 1647959"/>
                    <a:gd name="connsiteX7" fmla="*/ 1189117 w 1648391"/>
                    <a:gd name="connsiteY7" fmla="*/ 1514753 h 1647959"/>
                    <a:gd name="connsiteX8" fmla="*/ 1189117 w 1648391"/>
                    <a:gd name="connsiteY8" fmla="*/ 824838 h 1647959"/>
                    <a:gd name="connsiteX9" fmla="*/ 1398567 w 1648391"/>
                    <a:gd name="connsiteY9" fmla="*/ 824838 h 1647959"/>
                    <a:gd name="connsiteX10" fmla="*/ 1398567 w 1648391"/>
                    <a:gd name="connsiteY10" fmla="*/ 600535 h 1647959"/>
                    <a:gd name="connsiteX11" fmla="*/ 1189117 w 1648391"/>
                    <a:gd name="connsiteY11" fmla="*/ 600535 h 1647959"/>
                    <a:gd name="connsiteX12" fmla="*/ 1189117 w 1648391"/>
                    <a:gd name="connsiteY12" fmla="*/ 526122 h 1647959"/>
                    <a:gd name="connsiteX13" fmla="*/ 1287994 w 1648391"/>
                    <a:gd name="connsiteY13" fmla="*/ 427259 h 1647959"/>
                    <a:gd name="connsiteX14" fmla="*/ 1398567 w 1648391"/>
                    <a:gd name="connsiteY14" fmla="*/ 427259 h 1647959"/>
                    <a:gd name="connsiteX15" fmla="*/ 1398567 w 1648391"/>
                    <a:gd name="connsiteY15" fmla="*/ 202957 h 1647959"/>
                    <a:gd name="connsiteX16" fmla="*/ 1158284 w 1648391"/>
                    <a:gd name="connsiteY16" fmla="*/ 202957 h 1647959"/>
                    <a:gd name="connsiteX17" fmla="*/ 295647 w 1648391"/>
                    <a:gd name="connsiteY17" fmla="*/ 0 h 1647959"/>
                    <a:gd name="connsiteX18" fmla="*/ 1352744 w 1648391"/>
                    <a:gd name="connsiteY18" fmla="*/ 0 h 1647959"/>
                    <a:gd name="connsiteX19" fmla="*/ 1648391 w 1648391"/>
                    <a:gd name="connsiteY19" fmla="*/ 295569 h 1647959"/>
                    <a:gd name="connsiteX20" fmla="*/ 1648391 w 1648391"/>
                    <a:gd name="connsiteY20" fmla="*/ 1352390 h 1647959"/>
                    <a:gd name="connsiteX21" fmla="*/ 1352744 w 1648391"/>
                    <a:gd name="connsiteY21" fmla="*/ 1647959 h 1647959"/>
                    <a:gd name="connsiteX22" fmla="*/ 295647 w 1648391"/>
                    <a:gd name="connsiteY22" fmla="*/ 1647959 h 1647959"/>
                    <a:gd name="connsiteX23" fmla="*/ 0 w 1648391"/>
                    <a:gd name="connsiteY23" fmla="*/ 1352390 h 1647959"/>
                    <a:gd name="connsiteX24" fmla="*/ 0 w 1648391"/>
                    <a:gd name="connsiteY24" fmla="*/ 295569 h 1647959"/>
                    <a:gd name="connsiteX25" fmla="*/ 295647 w 1648391"/>
                    <a:gd name="connsiteY25" fmla="*/ 0 h 1647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648391" h="1647959">
                      <a:moveTo>
                        <a:pt x="1158284" y="202957"/>
                      </a:moveTo>
                      <a:cubicBezTo>
                        <a:pt x="1012626" y="202957"/>
                        <a:pt x="894611" y="320955"/>
                        <a:pt x="894611" y="466592"/>
                      </a:cubicBezTo>
                      <a:cubicBezTo>
                        <a:pt x="894611" y="600535"/>
                        <a:pt x="894611" y="600535"/>
                        <a:pt x="894611" y="600535"/>
                      </a:cubicBezTo>
                      <a:cubicBezTo>
                        <a:pt x="705361" y="600535"/>
                        <a:pt x="705361" y="600535"/>
                        <a:pt x="705361" y="600535"/>
                      </a:cubicBezTo>
                      <a:cubicBezTo>
                        <a:pt x="705361" y="824838"/>
                        <a:pt x="705361" y="824838"/>
                        <a:pt x="705361" y="824838"/>
                      </a:cubicBezTo>
                      <a:cubicBezTo>
                        <a:pt x="894611" y="824838"/>
                        <a:pt x="894611" y="824838"/>
                        <a:pt x="894611" y="824838"/>
                      </a:cubicBezTo>
                      <a:cubicBezTo>
                        <a:pt x="894611" y="1514753"/>
                        <a:pt x="894611" y="1514753"/>
                        <a:pt x="894611" y="1514753"/>
                      </a:cubicBezTo>
                      <a:cubicBezTo>
                        <a:pt x="1189117" y="1514753"/>
                        <a:pt x="1189117" y="1514753"/>
                        <a:pt x="1189117" y="1514753"/>
                      </a:cubicBezTo>
                      <a:cubicBezTo>
                        <a:pt x="1189117" y="824838"/>
                        <a:pt x="1189117" y="824838"/>
                        <a:pt x="1189117" y="824838"/>
                      </a:cubicBezTo>
                      <a:cubicBezTo>
                        <a:pt x="1398567" y="824838"/>
                        <a:pt x="1398567" y="824838"/>
                        <a:pt x="1398567" y="824838"/>
                      </a:cubicBezTo>
                      <a:cubicBezTo>
                        <a:pt x="1398567" y="600535"/>
                        <a:pt x="1398567" y="600535"/>
                        <a:pt x="1398567" y="600535"/>
                      </a:cubicBezTo>
                      <a:cubicBezTo>
                        <a:pt x="1189117" y="600535"/>
                        <a:pt x="1189117" y="600535"/>
                        <a:pt x="1189117" y="600535"/>
                      </a:cubicBezTo>
                      <a:cubicBezTo>
                        <a:pt x="1189117" y="526122"/>
                        <a:pt x="1189117" y="526122"/>
                        <a:pt x="1189117" y="526122"/>
                      </a:cubicBezTo>
                      <a:cubicBezTo>
                        <a:pt x="1189117" y="470844"/>
                        <a:pt x="1232708" y="427259"/>
                        <a:pt x="1287994" y="427259"/>
                      </a:cubicBezTo>
                      <a:cubicBezTo>
                        <a:pt x="1398567" y="427259"/>
                        <a:pt x="1398567" y="427259"/>
                        <a:pt x="1398567" y="427259"/>
                      </a:cubicBezTo>
                      <a:cubicBezTo>
                        <a:pt x="1398567" y="202957"/>
                        <a:pt x="1398567" y="202957"/>
                        <a:pt x="1398567" y="202957"/>
                      </a:cubicBezTo>
                      <a:cubicBezTo>
                        <a:pt x="1158284" y="202957"/>
                        <a:pt x="1158284" y="202957"/>
                        <a:pt x="1158284" y="202957"/>
                      </a:cubicBezTo>
                      <a:close/>
                      <a:moveTo>
                        <a:pt x="295647" y="0"/>
                      </a:moveTo>
                      <a:cubicBezTo>
                        <a:pt x="295647" y="0"/>
                        <a:pt x="295647" y="0"/>
                        <a:pt x="1352744" y="0"/>
                      </a:cubicBezTo>
                      <a:cubicBezTo>
                        <a:pt x="1515456" y="0"/>
                        <a:pt x="1648391" y="132900"/>
                        <a:pt x="1648391" y="295569"/>
                      </a:cubicBezTo>
                      <a:cubicBezTo>
                        <a:pt x="1648391" y="295569"/>
                        <a:pt x="1648391" y="295569"/>
                        <a:pt x="1648391" y="1352390"/>
                      </a:cubicBezTo>
                      <a:cubicBezTo>
                        <a:pt x="1648391" y="1515059"/>
                        <a:pt x="1515456" y="1647959"/>
                        <a:pt x="1352744" y="1647959"/>
                      </a:cubicBezTo>
                      <a:cubicBezTo>
                        <a:pt x="1352744" y="1647959"/>
                        <a:pt x="1352744" y="1647959"/>
                        <a:pt x="295647" y="1647959"/>
                      </a:cubicBezTo>
                      <a:cubicBezTo>
                        <a:pt x="132935" y="1647959"/>
                        <a:pt x="0" y="1515059"/>
                        <a:pt x="0" y="1352390"/>
                      </a:cubicBezTo>
                      <a:cubicBezTo>
                        <a:pt x="0" y="1352390"/>
                        <a:pt x="0" y="1352390"/>
                        <a:pt x="0" y="295569"/>
                      </a:cubicBezTo>
                      <a:cubicBezTo>
                        <a:pt x="0" y="132900"/>
                        <a:pt x="132935" y="0"/>
                        <a:pt x="295647" y="0"/>
                      </a:cubicBezTo>
                      <a:close/>
                    </a:path>
                  </a:pathLst>
                </a:custGeom>
                <a:grpFill/>
                <a:ln>
                  <a:noFill/>
                  <a:headEnd type="none" w="med" len="med"/>
                  <a:tailEnd type="none" w="med" len="med"/>
                </a:ln>
                <a:extLst/>
              </p:spPr>
              <p:style>
                <a:lnRef idx="2">
                  <a:schemeClr val="accent2">
                    <a:shade val="50000"/>
                  </a:schemeClr>
                </a:lnRef>
                <a:fillRef idx="1">
                  <a:schemeClr val="accent2"/>
                </a:fillRef>
                <a:effectRef idx="0">
                  <a:schemeClr val="accent2"/>
                </a:effectRef>
                <a:fontRef idx="minor">
                  <a:schemeClr val="lt1"/>
                </a:fontRef>
              </p:style>
              <p:txBody>
                <a:bodyPr vert="horz" wrap="square" lIns="91412" tIns="45706" rIns="91412" bIns="45706" numCol="1" rtlCol="0" anchor="ctr" anchorCtr="0" compatLnSpc="1">
                  <a:prstTxWarp prst="textNoShape">
                    <a:avLst/>
                  </a:prstTxWarp>
                  <a:noAutofit/>
                </a:bodyPr>
                <a:lstStyle/>
                <a:p>
                  <a:pPr algn="ctr" defTabSz="822534" fontAlgn="base">
                    <a:spcBef>
                      <a:spcPct val="0"/>
                    </a:spcBef>
                    <a:spcAft>
                      <a:spcPct val="0"/>
                    </a:spcAft>
                    <a:defRPr/>
                  </a:pPr>
                  <a:endParaRPr lang="en-US" sz="1200" kern="0">
                    <a:gradFill>
                      <a:gsLst>
                        <a:gs pos="0">
                          <a:srgbClr val="FFFFFF"/>
                        </a:gs>
                        <a:gs pos="100000">
                          <a:srgbClr val="FFFFFF"/>
                        </a:gs>
                      </a:gsLst>
                      <a:lin ang="5400000" scaled="0"/>
                    </a:gradFill>
                    <a:latin typeface="Segoe UI"/>
                  </a:endParaRPr>
                </a:p>
              </p:txBody>
            </p:sp>
            <p:sp>
              <p:nvSpPr>
                <p:cNvPr id="334" name="Freeform 13"/>
                <p:cNvSpPr>
                  <a:spLocks noEditPoints="1"/>
                </p:cNvSpPr>
                <p:nvPr/>
              </p:nvSpPr>
              <p:spPr bwMode="black">
                <a:xfrm>
                  <a:off x="4353818" y="2175446"/>
                  <a:ext cx="573511" cy="488304"/>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281" tIns="41140" rIns="82281" bIns="41140" numCol="1" rtlCol="0" anchor="ctr" anchorCtr="0" compatLnSpc="1">
                  <a:prstTxWarp prst="textNoShape">
                    <a:avLst/>
                  </a:prstTxWarp>
                </a:bodyPr>
                <a:lstStyle/>
                <a:p>
                  <a:pPr defTabSz="740518">
                    <a:defRPr/>
                  </a:pPr>
                  <a:endParaRPr lang="en-US" sz="1799" kern="0" spc="-122">
                    <a:solidFill>
                      <a:srgbClr val="FFFFFF">
                        <a:lumMod val="50000"/>
                      </a:srgbClr>
                    </a:solidFill>
                    <a:latin typeface="Segoe Light" pitchFamily="34" charset="0"/>
                  </a:endParaRPr>
                </a:p>
              </p:txBody>
            </p:sp>
            <p:grpSp>
              <p:nvGrpSpPr>
                <p:cNvPr id="335" name="Group 334"/>
                <p:cNvGrpSpPr>
                  <a:grpSpLocks noChangeAspect="1"/>
                </p:cNvGrpSpPr>
                <p:nvPr/>
              </p:nvGrpSpPr>
              <p:grpSpPr bwMode="black">
                <a:xfrm>
                  <a:off x="4600348" y="2763865"/>
                  <a:ext cx="729453" cy="551396"/>
                  <a:chOff x="5152725" y="4450437"/>
                  <a:chExt cx="311284" cy="235362"/>
                </a:xfrm>
                <a:grpFill/>
              </p:grpSpPr>
              <p:sp>
                <p:nvSpPr>
                  <p:cNvPr id="364" name="Freeform 168"/>
                  <p:cNvSpPr>
                    <a:spLocks noEditPoints="1"/>
                  </p:cNvSpPr>
                  <p:nvPr/>
                </p:nvSpPr>
                <p:spPr bwMode="black">
                  <a:xfrm>
                    <a:off x="5152725" y="4450437"/>
                    <a:ext cx="212585" cy="199299"/>
                  </a:xfrm>
                  <a:custGeom>
                    <a:avLst/>
                    <a:gdLst/>
                    <a:ahLst/>
                    <a:cxnLst>
                      <a:cxn ang="0">
                        <a:pos x="215" y="24"/>
                      </a:cxn>
                      <a:cxn ang="0">
                        <a:pos x="127" y="0"/>
                      </a:cxn>
                      <a:cxn ang="0">
                        <a:pos x="39" y="24"/>
                      </a:cxn>
                      <a:cxn ang="0">
                        <a:pos x="0" y="89"/>
                      </a:cxn>
                      <a:cxn ang="0">
                        <a:pos x="42" y="155"/>
                      </a:cxn>
                      <a:cxn ang="0">
                        <a:pos x="34" y="197"/>
                      </a:cxn>
                      <a:cxn ang="0">
                        <a:pos x="27" y="231"/>
                      </a:cxn>
                      <a:cxn ang="0">
                        <a:pos x="25" y="240"/>
                      </a:cxn>
                      <a:cxn ang="0">
                        <a:pos x="31" y="233"/>
                      </a:cxn>
                      <a:cxn ang="0">
                        <a:pos x="55" y="207"/>
                      </a:cxn>
                      <a:cxn ang="0">
                        <a:pos x="87" y="173"/>
                      </a:cxn>
                      <a:cxn ang="0">
                        <a:pos x="127" y="178"/>
                      </a:cxn>
                      <a:cxn ang="0">
                        <a:pos x="215" y="153"/>
                      </a:cxn>
                      <a:cxn ang="0">
                        <a:pos x="255" y="89"/>
                      </a:cxn>
                      <a:cxn ang="0">
                        <a:pos x="215" y="24"/>
                      </a:cxn>
                      <a:cxn ang="0">
                        <a:pos x="59" y="149"/>
                      </a:cxn>
                      <a:cxn ang="0">
                        <a:pos x="59" y="147"/>
                      </a:cxn>
                      <a:cxn ang="0">
                        <a:pos x="57" y="147"/>
                      </a:cxn>
                      <a:cxn ang="0">
                        <a:pos x="15" y="89"/>
                      </a:cxn>
                      <a:cxn ang="0">
                        <a:pos x="127" y="15"/>
                      </a:cxn>
                      <a:cxn ang="0">
                        <a:pos x="240" y="89"/>
                      </a:cxn>
                      <a:cxn ang="0">
                        <a:pos x="127" y="163"/>
                      </a:cxn>
                      <a:cxn ang="0">
                        <a:pos x="83" y="157"/>
                      </a:cxn>
                      <a:cxn ang="0">
                        <a:pos x="82" y="156"/>
                      </a:cxn>
                      <a:cxn ang="0">
                        <a:pos x="81" y="158"/>
                      </a:cxn>
                      <a:cxn ang="0">
                        <a:pos x="50" y="191"/>
                      </a:cxn>
                      <a:cxn ang="0">
                        <a:pos x="59" y="149"/>
                      </a:cxn>
                    </a:cxnLst>
                    <a:rect l="0" t="0" r="r" b="b"/>
                    <a:pathLst>
                      <a:path w="255" h="240">
                        <a:moveTo>
                          <a:pt x="215" y="24"/>
                        </a:moveTo>
                        <a:cubicBezTo>
                          <a:pt x="192" y="8"/>
                          <a:pt x="160" y="0"/>
                          <a:pt x="127" y="0"/>
                        </a:cubicBezTo>
                        <a:cubicBezTo>
                          <a:pt x="94" y="0"/>
                          <a:pt x="63" y="8"/>
                          <a:pt x="39" y="24"/>
                        </a:cubicBezTo>
                        <a:cubicBezTo>
                          <a:pt x="14" y="41"/>
                          <a:pt x="0" y="64"/>
                          <a:pt x="0" y="89"/>
                        </a:cubicBezTo>
                        <a:cubicBezTo>
                          <a:pt x="0" y="114"/>
                          <a:pt x="15" y="138"/>
                          <a:pt x="42" y="155"/>
                        </a:cubicBezTo>
                        <a:cubicBezTo>
                          <a:pt x="34" y="197"/>
                          <a:pt x="34" y="197"/>
                          <a:pt x="34" y="197"/>
                        </a:cubicBezTo>
                        <a:cubicBezTo>
                          <a:pt x="27" y="231"/>
                          <a:pt x="27" y="231"/>
                          <a:pt x="27" y="231"/>
                        </a:cubicBezTo>
                        <a:cubicBezTo>
                          <a:pt x="25" y="240"/>
                          <a:pt x="25" y="240"/>
                          <a:pt x="25" y="240"/>
                        </a:cubicBezTo>
                        <a:cubicBezTo>
                          <a:pt x="31" y="233"/>
                          <a:pt x="31" y="233"/>
                          <a:pt x="31" y="233"/>
                        </a:cubicBezTo>
                        <a:cubicBezTo>
                          <a:pt x="55" y="207"/>
                          <a:pt x="55" y="207"/>
                          <a:pt x="55" y="207"/>
                        </a:cubicBezTo>
                        <a:cubicBezTo>
                          <a:pt x="87" y="173"/>
                          <a:pt x="87" y="173"/>
                          <a:pt x="87" y="173"/>
                        </a:cubicBezTo>
                        <a:cubicBezTo>
                          <a:pt x="100" y="176"/>
                          <a:pt x="113" y="178"/>
                          <a:pt x="127" y="178"/>
                        </a:cubicBezTo>
                        <a:cubicBezTo>
                          <a:pt x="160" y="178"/>
                          <a:pt x="192" y="169"/>
                          <a:pt x="215" y="153"/>
                        </a:cubicBezTo>
                        <a:cubicBezTo>
                          <a:pt x="241" y="136"/>
                          <a:pt x="255" y="113"/>
                          <a:pt x="255" y="89"/>
                        </a:cubicBezTo>
                        <a:cubicBezTo>
                          <a:pt x="255" y="64"/>
                          <a:pt x="241" y="41"/>
                          <a:pt x="215" y="24"/>
                        </a:cubicBezTo>
                        <a:close/>
                        <a:moveTo>
                          <a:pt x="59" y="149"/>
                        </a:moveTo>
                        <a:cubicBezTo>
                          <a:pt x="59" y="147"/>
                          <a:pt x="59" y="147"/>
                          <a:pt x="59" y="147"/>
                        </a:cubicBezTo>
                        <a:cubicBezTo>
                          <a:pt x="57" y="147"/>
                          <a:pt x="57" y="147"/>
                          <a:pt x="57" y="147"/>
                        </a:cubicBezTo>
                        <a:cubicBezTo>
                          <a:pt x="30" y="132"/>
                          <a:pt x="15" y="111"/>
                          <a:pt x="15" y="89"/>
                        </a:cubicBezTo>
                        <a:cubicBezTo>
                          <a:pt x="15" y="48"/>
                          <a:pt x="65" y="15"/>
                          <a:pt x="127" y="15"/>
                        </a:cubicBezTo>
                        <a:cubicBezTo>
                          <a:pt x="189" y="15"/>
                          <a:pt x="240" y="48"/>
                          <a:pt x="240" y="89"/>
                        </a:cubicBezTo>
                        <a:cubicBezTo>
                          <a:pt x="240" y="129"/>
                          <a:pt x="189" y="163"/>
                          <a:pt x="127" y="163"/>
                        </a:cubicBezTo>
                        <a:cubicBezTo>
                          <a:pt x="112" y="163"/>
                          <a:pt x="97" y="161"/>
                          <a:pt x="83" y="157"/>
                        </a:cubicBezTo>
                        <a:cubicBezTo>
                          <a:pt x="82" y="156"/>
                          <a:pt x="82" y="156"/>
                          <a:pt x="82" y="156"/>
                        </a:cubicBezTo>
                        <a:cubicBezTo>
                          <a:pt x="81" y="158"/>
                          <a:pt x="81" y="158"/>
                          <a:pt x="81" y="158"/>
                        </a:cubicBezTo>
                        <a:cubicBezTo>
                          <a:pt x="50" y="191"/>
                          <a:pt x="50" y="191"/>
                          <a:pt x="50" y="191"/>
                        </a:cubicBezTo>
                        <a:lnTo>
                          <a:pt x="59" y="149"/>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defRPr/>
                    </a:pPr>
                    <a:endParaRPr lang="en-US" sz="1799" kern="0" spc="-122">
                      <a:solidFill>
                        <a:srgbClr val="FFFFFF">
                          <a:lumMod val="50000"/>
                        </a:srgbClr>
                      </a:solidFill>
                      <a:latin typeface="Segoe Light" pitchFamily="34" charset="0"/>
                    </a:endParaRPr>
                  </a:p>
                </p:txBody>
              </p:sp>
              <p:sp>
                <p:nvSpPr>
                  <p:cNvPr id="365" name="Freeform 169"/>
                  <p:cNvSpPr>
                    <a:spLocks/>
                  </p:cNvSpPr>
                  <p:nvPr/>
                </p:nvSpPr>
                <p:spPr bwMode="black">
                  <a:xfrm>
                    <a:off x="5295080" y="4518768"/>
                    <a:ext cx="168929" cy="167031"/>
                  </a:xfrm>
                  <a:custGeom>
                    <a:avLst/>
                    <a:gdLst/>
                    <a:ahLst/>
                    <a:cxnLst>
                      <a:cxn ang="0">
                        <a:pos x="203" y="74"/>
                      </a:cxn>
                      <a:cxn ang="0">
                        <a:pos x="170" y="20"/>
                      </a:cxn>
                      <a:cxn ang="0">
                        <a:pos x="98" y="0"/>
                      </a:cxn>
                      <a:cxn ang="0">
                        <a:pos x="95" y="0"/>
                      </a:cxn>
                      <a:cxn ang="0">
                        <a:pos x="95" y="3"/>
                      </a:cxn>
                      <a:cxn ang="0">
                        <a:pos x="96" y="11"/>
                      </a:cxn>
                      <a:cxn ang="0">
                        <a:pos x="96" y="13"/>
                      </a:cxn>
                      <a:cxn ang="0">
                        <a:pos x="99" y="13"/>
                      </a:cxn>
                      <a:cxn ang="0">
                        <a:pos x="190" y="74"/>
                      </a:cxn>
                      <a:cxn ang="0">
                        <a:pos x="155" y="121"/>
                      </a:cxn>
                      <a:cxn ang="0">
                        <a:pos x="153" y="122"/>
                      </a:cxn>
                      <a:cxn ang="0">
                        <a:pos x="153" y="124"/>
                      </a:cxn>
                      <a:cxn ang="0">
                        <a:pos x="160" y="157"/>
                      </a:cxn>
                      <a:cxn ang="0">
                        <a:pos x="136" y="130"/>
                      </a:cxn>
                      <a:cxn ang="0">
                        <a:pos x="134" y="129"/>
                      </a:cxn>
                      <a:cxn ang="0">
                        <a:pos x="133" y="130"/>
                      </a:cxn>
                      <a:cxn ang="0">
                        <a:pos x="97" y="134"/>
                      </a:cxn>
                      <a:cxn ang="0">
                        <a:pos x="15" y="102"/>
                      </a:cxn>
                      <a:cxn ang="0">
                        <a:pos x="14" y="100"/>
                      </a:cxn>
                      <a:cxn ang="0">
                        <a:pos x="12" y="101"/>
                      </a:cxn>
                      <a:cxn ang="0">
                        <a:pos x="4" y="103"/>
                      </a:cxn>
                      <a:cxn ang="0">
                        <a:pos x="0" y="104"/>
                      </a:cxn>
                      <a:cxn ang="0">
                        <a:pos x="2" y="107"/>
                      </a:cxn>
                      <a:cxn ang="0">
                        <a:pos x="24" y="127"/>
                      </a:cxn>
                      <a:cxn ang="0">
                        <a:pos x="97" y="148"/>
                      </a:cxn>
                      <a:cxn ang="0">
                        <a:pos x="130" y="144"/>
                      </a:cxn>
                      <a:cxn ang="0">
                        <a:pos x="156" y="172"/>
                      </a:cxn>
                      <a:cxn ang="0">
                        <a:pos x="176" y="194"/>
                      </a:cxn>
                      <a:cxn ang="0">
                        <a:pos x="182" y="200"/>
                      </a:cxn>
                      <a:cxn ang="0">
                        <a:pos x="180" y="192"/>
                      </a:cxn>
                      <a:cxn ang="0">
                        <a:pos x="175" y="163"/>
                      </a:cxn>
                      <a:cxn ang="0">
                        <a:pos x="168" y="129"/>
                      </a:cxn>
                      <a:cxn ang="0">
                        <a:pos x="203" y="74"/>
                      </a:cxn>
                    </a:cxnLst>
                    <a:rect l="0" t="0" r="r" b="b"/>
                    <a:pathLst>
                      <a:path w="203" h="200">
                        <a:moveTo>
                          <a:pt x="203" y="74"/>
                        </a:moveTo>
                        <a:cubicBezTo>
                          <a:pt x="203" y="53"/>
                          <a:pt x="191" y="34"/>
                          <a:pt x="170" y="20"/>
                        </a:cubicBezTo>
                        <a:cubicBezTo>
                          <a:pt x="151" y="7"/>
                          <a:pt x="125" y="0"/>
                          <a:pt x="98" y="0"/>
                        </a:cubicBezTo>
                        <a:cubicBezTo>
                          <a:pt x="95" y="0"/>
                          <a:pt x="95" y="0"/>
                          <a:pt x="95" y="0"/>
                        </a:cubicBezTo>
                        <a:cubicBezTo>
                          <a:pt x="95" y="3"/>
                          <a:pt x="95" y="3"/>
                          <a:pt x="95" y="3"/>
                        </a:cubicBezTo>
                        <a:cubicBezTo>
                          <a:pt x="96" y="5"/>
                          <a:pt x="96" y="8"/>
                          <a:pt x="96" y="11"/>
                        </a:cubicBezTo>
                        <a:cubicBezTo>
                          <a:pt x="96" y="13"/>
                          <a:pt x="96" y="13"/>
                          <a:pt x="96" y="13"/>
                        </a:cubicBezTo>
                        <a:cubicBezTo>
                          <a:pt x="99" y="13"/>
                          <a:pt x="99" y="13"/>
                          <a:pt x="99" y="13"/>
                        </a:cubicBezTo>
                        <a:cubicBezTo>
                          <a:pt x="149" y="14"/>
                          <a:pt x="190" y="41"/>
                          <a:pt x="190" y="74"/>
                        </a:cubicBezTo>
                        <a:cubicBezTo>
                          <a:pt x="190" y="92"/>
                          <a:pt x="177" y="110"/>
                          <a:pt x="155" y="121"/>
                        </a:cubicBezTo>
                        <a:cubicBezTo>
                          <a:pt x="153" y="122"/>
                          <a:pt x="153" y="122"/>
                          <a:pt x="153" y="122"/>
                        </a:cubicBezTo>
                        <a:cubicBezTo>
                          <a:pt x="153" y="124"/>
                          <a:pt x="153" y="124"/>
                          <a:pt x="153" y="124"/>
                        </a:cubicBezTo>
                        <a:cubicBezTo>
                          <a:pt x="160" y="157"/>
                          <a:pt x="160" y="157"/>
                          <a:pt x="160" y="157"/>
                        </a:cubicBezTo>
                        <a:cubicBezTo>
                          <a:pt x="136" y="130"/>
                          <a:pt x="136" y="130"/>
                          <a:pt x="136" y="130"/>
                        </a:cubicBezTo>
                        <a:cubicBezTo>
                          <a:pt x="134" y="129"/>
                          <a:pt x="134" y="129"/>
                          <a:pt x="134" y="129"/>
                        </a:cubicBezTo>
                        <a:cubicBezTo>
                          <a:pt x="133" y="130"/>
                          <a:pt x="133" y="130"/>
                          <a:pt x="133" y="130"/>
                        </a:cubicBezTo>
                        <a:cubicBezTo>
                          <a:pt x="122" y="133"/>
                          <a:pt x="109" y="134"/>
                          <a:pt x="97" y="134"/>
                        </a:cubicBezTo>
                        <a:cubicBezTo>
                          <a:pt x="62" y="134"/>
                          <a:pt x="31" y="122"/>
                          <a:pt x="15" y="102"/>
                        </a:cubicBezTo>
                        <a:cubicBezTo>
                          <a:pt x="14" y="100"/>
                          <a:pt x="14" y="100"/>
                          <a:pt x="14" y="100"/>
                        </a:cubicBezTo>
                        <a:cubicBezTo>
                          <a:pt x="12" y="101"/>
                          <a:pt x="12" y="101"/>
                          <a:pt x="12" y="101"/>
                        </a:cubicBezTo>
                        <a:cubicBezTo>
                          <a:pt x="10" y="102"/>
                          <a:pt x="7" y="102"/>
                          <a:pt x="4" y="103"/>
                        </a:cubicBezTo>
                        <a:cubicBezTo>
                          <a:pt x="0" y="104"/>
                          <a:pt x="0" y="104"/>
                          <a:pt x="0" y="104"/>
                        </a:cubicBezTo>
                        <a:cubicBezTo>
                          <a:pt x="2" y="107"/>
                          <a:pt x="2" y="107"/>
                          <a:pt x="2" y="107"/>
                        </a:cubicBezTo>
                        <a:cubicBezTo>
                          <a:pt x="8" y="115"/>
                          <a:pt x="15" y="121"/>
                          <a:pt x="24" y="127"/>
                        </a:cubicBezTo>
                        <a:cubicBezTo>
                          <a:pt x="44" y="141"/>
                          <a:pt x="70" y="148"/>
                          <a:pt x="97" y="148"/>
                        </a:cubicBezTo>
                        <a:cubicBezTo>
                          <a:pt x="108" y="148"/>
                          <a:pt x="119" y="147"/>
                          <a:pt x="130" y="144"/>
                        </a:cubicBezTo>
                        <a:cubicBezTo>
                          <a:pt x="156" y="172"/>
                          <a:pt x="156" y="172"/>
                          <a:pt x="156" y="172"/>
                        </a:cubicBezTo>
                        <a:cubicBezTo>
                          <a:pt x="176" y="194"/>
                          <a:pt x="176" y="194"/>
                          <a:pt x="176" y="194"/>
                        </a:cubicBezTo>
                        <a:cubicBezTo>
                          <a:pt x="182" y="200"/>
                          <a:pt x="182" y="200"/>
                          <a:pt x="182" y="200"/>
                        </a:cubicBezTo>
                        <a:cubicBezTo>
                          <a:pt x="180" y="192"/>
                          <a:pt x="180" y="192"/>
                          <a:pt x="180" y="192"/>
                        </a:cubicBezTo>
                        <a:cubicBezTo>
                          <a:pt x="175" y="163"/>
                          <a:pt x="175" y="163"/>
                          <a:pt x="175" y="163"/>
                        </a:cubicBezTo>
                        <a:cubicBezTo>
                          <a:pt x="168" y="129"/>
                          <a:pt x="168" y="129"/>
                          <a:pt x="168" y="129"/>
                        </a:cubicBezTo>
                        <a:cubicBezTo>
                          <a:pt x="190" y="115"/>
                          <a:pt x="203" y="95"/>
                          <a:pt x="203" y="74"/>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defRPr/>
                    </a:pPr>
                    <a:endParaRPr lang="en-US" sz="1799" kern="0" spc="-122">
                      <a:solidFill>
                        <a:srgbClr val="FFFFFF">
                          <a:lumMod val="50000"/>
                        </a:srgbClr>
                      </a:solidFill>
                      <a:latin typeface="Segoe Light" pitchFamily="34" charset="0"/>
                    </a:endParaRPr>
                  </a:p>
                </p:txBody>
              </p:sp>
            </p:grpSp>
          </p:grpSp>
          <p:pic>
            <p:nvPicPr>
              <p:cNvPr id="279" name="Picture 4" descr="\\MAGNUM\Projects\Microsoft\Cloud Power FY12\Design\Icons\PNGs\IT_guy.png"/>
              <p:cNvPicPr>
                <a:picLocks noChangeAspect="1" noChangeArrowheads="1"/>
              </p:cNvPicPr>
              <p:nvPr/>
            </p:nvPicPr>
            <p:blipFill>
              <a:blip r:embed="rId24" cstate="print">
                <a:duotone>
                  <a:prstClr val="black"/>
                  <a:schemeClr val="accent5">
                    <a:tint val="45000"/>
                    <a:satMod val="400000"/>
                  </a:schemeClr>
                </a:duotone>
                <a:extLst>
                  <a:ext uri="{BEBA8EAE-BF5A-486C-A8C5-ECC9F3942E4B}">
                    <a14:imgProps xmlns:a14="http://schemas.microsoft.com/office/drawing/2010/main">
                      <a14:imgLayer r:embed="rId25">
                        <a14:imgEffect>
                          <a14:brightnessContrast bright="-31000" contrast="-40000"/>
                        </a14:imgEffect>
                      </a14:imgLayer>
                    </a14:imgProps>
                  </a:ext>
                  <a:ext uri="{28A0092B-C50C-407E-A947-70E740481C1C}">
                    <a14:useLocalDpi xmlns:a14="http://schemas.microsoft.com/office/drawing/2010/main"/>
                  </a:ext>
                </a:extLst>
              </a:blip>
              <a:srcRect/>
              <a:stretch>
                <a:fillRect/>
              </a:stretch>
            </p:blipFill>
            <p:spPr bwMode="auto">
              <a:xfrm>
                <a:off x="5189537" y="3078162"/>
                <a:ext cx="718887" cy="718887"/>
              </a:xfrm>
              <a:prstGeom prst="rect">
                <a:avLst/>
              </a:prstGeom>
              <a:grpFill/>
            </p:spPr>
          </p:pic>
          <p:pic>
            <p:nvPicPr>
              <p:cNvPr id="281" name="Picture 4" descr="\\MAGNUM\Projects\Microsoft\Cloud Power FY12\Design\Icons\PNGs\IT_guy.png"/>
              <p:cNvPicPr>
                <a:picLocks noChangeAspect="1" noChangeArrowheads="1"/>
              </p:cNvPicPr>
              <p:nvPr/>
            </p:nvPicPr>
            <p:blipFill>
              <a:blip r:embed="rId24" cstate="print">
                <a:duotone>
                  <a:prstClr val="black"/>
                  <a:schemeClr val="accent5">
                    <a:tint val="45000"/>
                    <a:satMod val="400000"/>
                  </a:schemeClr>
                </a:duotone>
                <a:extLst>
                  <a:ext uri="{BEBA8EAE-BF5A-486C-A8C5-ECC9F3942E4B}">
                    <a14:imgProps xmlns:a14="http://schemas.microsoft.com/office/drawing/2010/main">
                      <a14:imgLayer r:embed="rId25">
                        <a14:imgEffect>
                          <a14:brightnessContrast bright="-31000" contrast="-40000"/>
                        </a14:imgEffect>
                      </a14:imgLayer>
                    </a14:imgProps>
                  </a:ext>
                  <a:ext uri="{28A0092B-C50C-407E-A947-70E740481C1C}">
                    <a14:useLocalDpi xmlns:a14="http://schemas.microsoft.com/office/drawing/2010/main"/>
                  </a:ext>
                </a:extLst>
              </a:blip>
              <a:srcRect/>
              <a:stretch>
                <a:fillRect/>
              </a:stretch>
            </p:blipFill>
            <p:spPr bwMode="auto">
              <a:xfrm>
                <a:off x="6751637" y="2697162"/>
                <a:ext cx="718887" cy="718887"/>
              </a:xfrm>
              <a:prstGeom prst="rect">
                <a:avLst/>
              </a:prstGeom>
              <a:grpFill/>
            </p:spPr>
          </p:pic>
          <p:pic>
            <p:nvPicPr>
              <p:cNvPr id="324" name="Picture 4" descr="\\MAGNUM\Projects\Microsoft\Cloud Power FY12\Design\Icons\PNGs\IT_guy.png"/>
              <p:cNvPicPr>
                <a:picLocks noChangeAspect="1" noChangeArrowheads="1"/>
              </p:cNvPicPr>
              <p:nvPr/>
            </p:nvPicPr>
            <p:blipFill>
              <a:blip r:embed="rId24" cstate="print">
                <a:duotone>
                  <a:prstClr val="black"/>
                  <a:schemeClr val="accent5">
                    <a:tint val="45000"/>
                    <a:satMod val="400000"/>
                  </a:schemeClr>
                </a:duotone>
                <a:extLst>
                  <a:ext uri="{BEBA8EAE-BF5A-486C-A8C5-ECC9F3942E4B}">
                    <a14:imgProps xmlns:a14="http://schemas.microsoft.com/office/drawing/2010/main">
                      <a14:imgLayer r:embed="rId25">
                        <a14:imgEffect>
                          <a14:brightnessContrast bright="-31000" contrast="-40000"/>
                        </a14:imgEffect>
                      </a14:imgLayer>
                    </a14:imgProps>
                  </a:ext>
                  <a:ext uri="{28A0092B-C50C-407E-A947-70E740481C1C}">
                    <a14:useLocalDpi xmlns:a14="http://schemas.microsoft.com/office/drawing/2010/main"/>
                  </a:ext>
                </a:extLst>
              </a:blip>
              <a:srcRect/>
              <a:stretch>
                <a:fillRect/>
              </a:stretch>
            </p:blipFill>
            <p:spPr bwMode="auto">
              <a:xfrm>
                <a:off x="5837237" y="2049462"/>
                <a:ext cx="718887" cy="718887"/>
              </a:xfrm>
              <a:prstGeom prst="rect">
                <a:avLst/>
              </a:prstGeom>
              <a:grpFill/>
            </p:spPr>
          </p:pic>
          <p:pic>
            <p:nvPicPr>
              <p:cNvPr id="325" name="Picture 4" descr="\\MAGNUM\Projects\Microsoft\Cloud Power FY12\Design\Icons\PNGs\IT_guy.png"/>
              <p:cNvPicPr>
                <a:picLocks noChangeAspect="1" noChangeArrowheads="1"/>
              </p:cNvPicPr>
              <p:nvPr/>
            </p:nvPicPr>
            <p:blipFill>
              <a:blip r:embed="rId24" cstate="print">
                <a:duotone>
                  <a:prstClr val="black"/>
                  <a:schemeClr val="accent5">
                    <a:tint val="45000"/>
                    <a:satMod val="400000"/>
                  </a:schemeClr>
                </a:duotone>
                <a:extLst>
                  <a:ext uri="{BEBA8EAE-BF5A-486C-A8C5-ECC9F3942E4B}">
                    <a14:imgProps xmlns:a14="http://schemas.microsoft.com/office/drawing/2010/main">
                      <a14:imgLayer r:embed="rId25">
                        <a14:imgEffect>
                          <a14:brightnessContrast bright="-31000" contrast="-40000"/>
                        </a14:imgEffect>
                      </a14:imgLayer>
                    </a14:imgProps>
                  </a:ext>
                  <a:ext uri="{28A0092B-C50C-407E-A947-70E740481C1C}">
                    <a14:useLocalDpi xmlns:a14="http://schemas.microsoft.com/office/drawing/2010/main"/>
                  </a:ext>
                </a:extLst>
              </a:blip>
              <a:srcRect/>
              <a:stretch>
                <a:fillRect/>
              </a:stretch>
            </p:blipFill>
            <p:spPr bwMode="auto">
              <a:xfrm>
                <a:off x="6256337" y="3763962"/>
                <a:ext cx="718887" cy="718887"/>
              </a:xfrm>
              <a:prstGeom prst="rect">
                <a:avLst/>
              </a:prstGeom>
              <a:grpFill/>
            </p:spPr>
          </p:pic>
          <p:pic>
            <p:nvPicPr>
              <p:cNvPr id="327" name="Picture 4" descr="\\MAGNUM\Projects\Microsoft\Cloud Power FY12\Design\Icons\PNGs\IT_guy.png"/>
              <p:cNvPicPr>
                <a:picLocks noChangeAspect="1" noChangeArrowheads="1"/>
              </p:cNvPicPr>
              <p:nvPr/>
            </p:nvPicPr>
            <p:blipFill>
              <a:blip r:embed="rId26" cstate="print">
                <a:duotone>
                  <a:prstClr val="black"/>
                  <a:schemeClr val="accent5">
                    <a:tint val="45000"/>
                    <a:satMod val="400000"/>
                  </a:schemeClr>
                </a:duotone>
                <a:extLst>
                  <a:ext uri="{28A0092B-C50C-407E-A947-70E740481C1C}">
                    <a14:useLocalDpi xmlns:a14="http://schemas.microsoft.com/office/drawing/2010/main"/>
                  </a:ext>
                </a:extLst>
              </a:blip>
              <a:srcRect/>
              <a:stretch>
                <a:fillRect/>
              </a:stretch>
            </p:blipFill>
            <p:spPr bwMode="auto">
              <a:xfrm>
                <a:off x="5380037" y="2430462"/>
                <a:ext cx="592208" cy="592208"/>
              </a:xfrm>
              <a:prstGeom prst="rect">
                <a:avLst/>
              </a:prstGeom>
              <a:grpFill/>
            </p:spPr>
          </p:pic>
          <p:pic>
            <p:nvPicPr>
              <p:cNvPr id="328" name="Picture 4"/>
              <p:cNvPicPr>
                <a:picLocks noChangeAspect="1" noChangeArrowheads="1"/>
              </p:cNvPicPr>
              <p:nvPr/>
            </p:nvPicPr>
            <p:blipFill>
              <a:blip r:embed="rId27" cstate="print">
                <a:duotone>
                  <a:prstClr val="black"/>
                  <a:schemeClr val="accent5">
                    <a:tint val="45000"/>
                    <a:satMod val="400000"/>
                  </a:schemeClr>
                </a:duotone>
                <a:extLst>
                  <a:ext uri="{BEBA8EAE-BF5A-486C-A8C5-ECC9F3942E4B}">
                    <a14:imgProps xmlns:a14="http://schemas.microsoft.com/office/drawing/2010/main">
                      <a14:imgLayer r:embed="rId28">
                        <a14:imgEffect>
                          <a14:brightnessContrast bright="-90000" contrast="-40000"/>
                        </a14:imgEffect>
                      </a14:imgLayer>
                    </a14:imgProps>
                  </a:ext>
                  <a:ext uri="{28A0092B-C50C-407E-A947-70E740481C1C}">
                    <a14:useLocalDpi xmlns:a14="http://schemas.microsoft.com/office/drawing/2010/main"/>
                  </a:ext>
                </a:extLst>
              </a:blip>
              <a:stretch>
                <a:fillRect/>
              </a:stretch>
            </p:blipFill>
            <p:spPr bwMode="auto">
              <a:xfrm>
                <a:off x="6586394" y="2298884"/>
                <a:ext cx="352447" cy="592208"/>
              </a:xfrm>
              <a:prstGeom prst="rect">
                <a:avLst/>
              </a:prstGeom>
              <a:grpFill/>
            </p:spPr>
          </p:pic>
          <p:pic>
            <p:nvPicPr>
              <p:cNvPr id="330" name="Picture 4" descr="\\MAGNUM\Projects\Microsoft\Cloud Power FY12\Design\Icons\PNGs\IT_guy.png"/>
              <p:cNvPicPr>
                <a:picLocks noChangeAspect="1" noChangeArrowheads="1"/>
              </p:cNvPicPr>
              <p:nvPr/>
            </p:nvPicPr>
            <p:blipFill>
              <a:blip r:embed="rId26" cstate="print">
                <a:duotone>
                  <a:prstClr val="black"/>
                  <a:schemeClr val="accent5">
                    <a:tint val="45000"/>
                    <a:satMod val="400000"/>
                  </a:schemeClr>
                </a:duotone>
                <a:extLst>
                  <a:ext uri="{28A0092B-C50C-407E-A947-70E740481C1C}">
                    <a14:useLocalDpi xmlns:a14="http://schemas.microsoft.com/office/drawing/2010/main"/>
                  </a:ext>
                </a:extLst>
              </a:blip>
              <a:srcRect/>
              <a:stretch>
                <a:fillRect/>
              </a:stretch>
            </p:blipFill>
            <p:spPr bwMode="auto">
              <a:xfrm>
                <a:off x="6789737" y="3535362"/>
                <a:ext cx="592208" cy="592208"/>
              </a:xfrm>
              <a:prstGeom prst="rect">
                <a:avLst/>
              </a:prstGeom>
              <a:grpFill/>
            </p:spPr>
          </p:pic>
          <p:pic>
            <p:nvPicPr>
              <p:cNvPr id="331" name="Picture 4"/>
              <p:cNvPicPr>
                <a:picLocks noChangeAspect="1" noChangeArrowheads="1"/>
              </p:cNvPicPr>
              <p:nvPr/>
            </p:nvPicPr>
            <p:blipFill>
              <a:blip r:embed="rId29" cstate="print">
                <a:duotone>
                  <a:prstClr val="black"/>
                  <a:schemeClr val="accent5">
                    <a:tint val="45000"/>
                    <a:satMod val="400000"/>
                  </a:schemeClr>
                </a:duotone>
                <a:extLst>
                  <a:ext uri="{BEBA8EAE-BF5A-486C-A8C5-ECC9F3942E4B}">
                    <a14:imgProps xmlns:a14="http://schemas.microsoft.com/office/drawing/2010/main">
                      <a14:imgLayer r:embed="rId30">
                        <a14:imgEffect>
                          <a14:brightnessContrast bright="-90000" contrast="-40000"/>
                        </a14:imgEffect>
                      </a14:imgLayer>
                    </a14:imgProps>
                  </a:ext>
                  <a:ext uri="{28A0092B-C50C-407E-A947-70E740481C1C}">
                    <a14:useLocalDpi xmlns:a14="http://schemas.microsoft.com/office/drawing/2010/main"/>
                  </a:ext>
                </a:extLst>
              </a:blip>
              <a:stretch>
                <a:fillRect/>
              </a:stretch>
            </p:blipFill>
            <p:spPr bwMode="auto">
              <a:xfrm>
                <a:off x="5750930" y="3736610"/>
                <a:ext cx="421787" cy="708717"/>
              </a:xfrm>
              <a:prstGeom prst="rect">
                <a:avLst/>
              </a:prstGeom>
              <a:grpFill/>
            </p:spPr>
          </p:pic>
        </p:grpSp>
        <p:sp>
          <p:nvSpPr>
            <p:cNvPr id="275" name="Freeform 274"/>
            <p:cNvSpPr>
              <a:spLocks noChangeAspect="1"/>
            </p:cNvSpPr>
            <p:nvPr/>
          </p:nvSpPr>
          <p:spPr>
            <a:xfrm>
              <a:off x="3836921" y="3865818"/>
              <a:ext cx="183339" cy="178618"/>
            </a:xfrm>
            <a:custGeom>
              <a:avLst/>
              <a:gdLst/>
              <a:ahLst/>
              <a:cxnLst/>
              <a:rect l="l" t="t" r="r" b="b"/>
              <a:pathLst>
                <a:path w="3519626" h="3429003">
                  <a:moveTo>
                    <a:pt x="329758" y="805793"/>
                  </a:moveTo>
                  <a:lnTo>
                    <a:pt x="925306" y="805793"/>
                  </a:lnTo>
                  <a:cubicBezTo>
                    <a:pt x="1064768" y="805793"/>
                    <a:pt x="1187092" y="887740"/>
                    <a:pt x="1234646" y="1010334"/>
                  </a:cubicBezTo>
                  <a:cubicBezTo>
                    <a:pt x="1243786" y="1026258"/>
                    <a:pt x="1245316" y="1041875"/>
                    <a:pt x="1248990" y="1056123"/>
                  </a:cubicBezTo>
                  <a:lnTo>
                    <a:pt x="1255065" y="1116387"/>
                  </a:lnTo>
                  <a:lnTo>
                    <a:pt x="1255065" y="1135551"/>
                  </a:lnTo>
                  <a:lnTo>
                    <a:pt x="1255065" y="1226048"/>
                  </a:lnTo>
                  <a:lnTo>
                    <a:pt x="1255065" y="1971211"/>
                  </a:lnTo>
                  <a:cubicBezTo>
                    <a:pt x="1255065" y="2036615"/>
                    <a:pt x="1202045" y="2089635"/>
                    <a:pt x="1136642" y="2089635"/>
                  </a:cubicBezTo>
                  <a:cubicBezTo>
                    <a:pt x="1071239" y="2089635"/>
                    <a:pt x="1018219" y="2036615"/>
                    <a:pt x="1018219" y="1971211"/>
                  </a:cubicBezTo>
                  <a:lnTo>
                    <a:pt x="1018219" y="1540896"/>
                  </a:lnTo>
                  <a:lnTo>
                    <a:pt x="1016964" y="1541209"/>
                  </a:lnTo>
                  <a:lnTo>
                    <a:pt x="1016964" y="1222819"/>
                  </a:lnTo>
                  <a:cubicBezTo>
                    <a:pt x="1016964" y="1220051"/>
                    <a:pt x="1014721" y="1217807"/>
                    <a:pt x="1011953" y="1217807"/>
                  </a:cubicBezTo>
                  <a:lnTo>
                    <a:pt x="961839" y="1217807"/>
                  </a:lnTo>
                  <a:cubicBezTo>
                    <a:pt x="959071" y="1217807"/>
                    <a:pt x="956828" y="1220051"/>
                    <a:pt x="956828" y="1222819"/>
                  </a:cubicBezTo>
                  <a:cubicBezTo>
                    <a:pt x="957155" y="1321303"/>
                    <a:pt x="957481" y="1419787"/>
                    <a:pt x="957808" y="1518271"/>
                  </a:cubicBezTo>
                  <a:lnTo>
                    <a:pt x="957808" y="3280974"/>
                  </a:lnTo>
                  <a:cubicBezTo>
                    <a:pt x="957808" y="3362728"/>
                    <a:pt x="891533" y="3429003"/>
                    <a:pt x="809779" y="3429003"/>
                  </a:cubicBezTo>
                  <a:cubicBezTo>
                    <a:pt x="728025" y="3429003"/>
                    <a:pt x="661750" y="3362728"/>
                    <a:pt x="661750" y="3280974"/>
                  </a:cubicBezTo>
                  <a:lnTo>
                    <a:pt x="661750" y="2167108"/>
                  </a:lnTo>
                  <a:cubicBezTo>
                    <a:pt x="661423" y="2138763"/>
                    <a:pt x="661097" y="2110418"/>
                    <a:pt x="660770" y="2082072"/>
                  </a:cubicBezTo>
                  <a:cubicBezTo>
                    <a:pt x="660770" y="2079643"/>
                    <a:pt x="658801" y="2077674"/>
                    <a:pt x="656372" y="2077674"/>
                  </a:cubicBezTo>
                  <a:lnTo>
                    <a:pt x="601776" y="2077674"/>
                  </a:lnTo>
                  <a:cubicBezTo>
                    <a:pt x="599347" y="2077674"/>
                    <a:pt x="597379" y="2079643"/>
                    <a:pt x="597379" y="2082072"/>
                  </a:cubicBezTo>
                  <a:lnTo>
                    <a:pt x="597379" y="2167108"/>
                  </a:lnTo>
                  <a:cubicBezTo>
                    <a:pt x="597256" y="2538397"/>
                    <a:pt x="597133" y="2909685"/>
                    <a:pt x="597011" y="3280974"/>
                  </a:cubicBezTo>
                  <a:cubicBezTo>
                    <a:pt x="597011" y="3362728"/>
                    <a:pt x="530736" y="3429003"/>
                    <a:pt x="448982" y="3429003"/>
                  </a:cubicBezTo>
                  <a:cubicBezTo>
                    <a:pt x="367228" y="3429003"/>
                    <a:pt x="300953" y="3362728"/>
                    <a:pt x="300953" y="3280974"/>
                  </a:cubicBezTo>
                  <a:lnTo>
                    <a:pt x="300953" y="1553621"/>
                  </a:lnTo>
                  <a:cubicBezTo>
                    <a:pt x="299413" y="1443328"/>
                    <a:pt x="297875" y="1333034"/>
                    <a:pt x="296336" y="1222742"/>
                  </a:cubicBezTo>
                  <a:cubicBezTo>
                    <a:pt x="296336" y="1220017"/>
                    <a:pt x="294126" y="1217807"/>
                    <a:pt x="291401" y="1217807"/>
                  </a:cubicBezTo>
                  <a:lnTo>
                    <a:pt x="242058" y="1217807"/>
                  </a:lnTo>
                  <a:cubicBezTo>
                    <a:pt x="239333" y="1217807"/>
                    <a:pt x="237124" y="1220017"/>
                    <a:pt x="237124" y="1222742"/>
                  </a:cubicBezTo>
                  <a:lnTo>
                    <a:pt x="237124" y="1540965"/>
                  </a:lnTo>
                  <a:cubicBezTo>
                    <a:pt x="237026" y="1540958"/>
                    <a:pt x="236936" y="1540927"/>
                    <a:pt x="236846" y="1540896"/>
                  </a:cubicBezTo>
                  <a:lnTo>
                    <a:pt x="236846" y="1971211"/>
                  </a:lnTo>
                  <a:cubicBezTo>
                    <a:pt x="236846" y="2036615"/>
                    <a:pt x="183826" y="2089635"/>
                    <a:pt x="118423" y="2089635"/>
                  </a:cubicBezTo>
                  <a:cubicBezTo>
                    <a:pt x="53020" y="2089635"/>
                    <a:pt x="0" y="2036615"/>
                    <a:pt x="0" y="1971211"/>
                  </a:cubicBezTo>
                  <a:lnTo>
                    <a:pt x="0" y="1226048"/>
                  </a:lnTo>
                  <a:lnTo>
                    <a:pt x="0" y="1135551"/>
                  </a:lnTo>
                  <a:lnTo>
                    <a:pt x="0" y="1116387"/>
                  </a:lnTo>
                  <a:cubicBezTo>
                    <a:pt x="0" y="1088374"/>
                    <a:pt x="3644" y="1061212"/>
                    <a:pt x="11703" y="1035671"/>
                  </a:cubicBezTo>
                  <a:cubicBezTo>
                    <a:pt x="13902" y="1027807"/>
                    <a:pt x="13653" y="1017983"/>
                    <a:pt x="18877" y="1011876"/>
                  </a:cubicBezTo>
                  <a:cubicBezTo>
                    <a:pt x="66432" y="889282"/>
                    <a:pt x="190298" y="805793"/>
                    <a:pt x="329758" y="805793"/>
                  </a:cubicBezTo>
                  <a:close/>
                  <a:moveTo>
                    <a:pt x="2948126" y="559595"/>
                  </a:moveTo>
                  <a:lnTo>
                    <a:pt x="2948126" y="742475"/>
                  </a:lnTo>
                  <a:lnTo>
                    <a:pt x="3014313" y="744580"/>
                  </a:lnTo>
                  <a:cubicBezTo>
                    <a:pt x="3057069" y="761075"/>
                    <a:pt x="3018593" y="839512"/>
                    <a:pt x="2948126" y="860104"/>
                  </a:cubicBezTo>
                  <a:lnTo>
                    <a:pt x="2989604" y="942501"/>
                  </a:lnTo>
                  <a:cubicBezTo>
                    <a:pt x="3072550" y="941153"/>
                    <a:pt x="3141521" y="820581"/>
                    <a:pt x="3145769" y="752000"/>
                  </a:cubicBezTo>
                  <a:cubicBezTo>
                    <a:pt x="3145397" y="702528"/>
                    <a:pt x="3145277" y="637303"/>
                    <a:pt x="3143689" y="559595"/>
                  </a:cubicBezTo>
                  <a:close/>
                  <a:moveTo>
                    <a:pt x="2719526" y="559595"/>
                  </a:moveTo>
                  <a:lnTo>
                    <a:pt x="2719526" y="742475"/>
                  </a:lnTo>
                  <a:lnTo>
                    <a:pt x="2785713" y="744580"/>
                  </a:lnTo>
                  <a:cubicBezTo>
                    <a:pt x="2828469" y="761075"/>
                    <a:pt x="2789993" y="839512"/>
                    <a:pt x="2719526" y="860104"/>
                  </a:cubicBezTo>
                  <a:lnTo>
                    <a:pt x="2761004" y="942501"/>
                  </a:lnTo>
                  <a:cubicBezTo>
                    <a:pt x="2843950" y="941153"/>
                    <a:pt x="2912921" y="820581"/>
                    <a:pt x="2917169" y="752000"/>
                  </a:cubicBezTo>
                  <a:cubicBezTo>
                    <a:pt x="2916797" y="702528"/>
                    <a:pt x="2916677" y="637303"/>
                    <a:pt x="2915089" y="559595"/>
                  </a:cubicBezTo>
                  <a:close/>
                  <a:moveTo>
                    <a:pt x="2335147" y="559595"/>
                  </a:moveTo>
                  <a:cubicBezTo>
                    <a:pt x="2252202" y="560943"/>
                    <a:pt x="2183230" y="681515"/>
                    <a:pt x="2178982" y="750096"/>
                  </a:cubicBezTo>
                  <a:cubicBezTo>
                    <a:pt x="2179354" y="799568"/>
                    <a:pt x="2179474" y="864793"/>
                    <a:pt x="2181062" y="942501"/>
                  </a:cubicBezTo>
                  <a:lnTo>
                    <a:pt x="2376625" y="942501"/>
                  </a:lnTo>
                  <a:lnTo>
                    <a:pt x="2376625" y="759621"/>
                  </a:lnTo>
                  <a:lnTo>
                    <a:pt x="2310439" y="757516"/>
                  </a:lnTo>
                  <a:cubicBezTo>
                    <a:pt x="2267683" y="741021"/>
                    <a:pt x="2306159" y="662584"/>
                    <a:pt x="2376625" y="641992"/>
                  </a:cubicBezTo>
                  <a:close/>
                  <a:moveTo>
                    <a:pt x="2106547" y="559595"/>
                  </a:moveTo>
                  <a:cubicBezTo>
                    <a:pt x="2023602" y="560943"/>
                    <a:pt x="1954630" y="681515"/>
                    <a:pt x="1950382" y="750096"/>
                  </a:cubicBezTo>
                  <a:cubicBezTo>
                    <a:pt x="1950754" y="799568"/>
                    <a:pt x="1950874" y="864793"/>
                    <a:pt x="1952462" y="942501"/>
                  </a:cubicBezTo>
                  <a:lnTo>
                    <a:pt x="2148025" y="942501"/>
                  </a:lnTo>
                  <a:lnTo>
                    <a:pt x="2148025" y="759621"/>
                  </a:lnTo>
                  <a:lnTo>
                    <a:pt x="2081839" y="757516"/>
                  </a:lnTo>
                  <a:cubicBezTo>
                    <a:pt x="2039083" y="741021"/>
                    <a:pt x="2077559" y="662584"/>
                    <a:pt x="2148025" y="641992"/>
                  </a:cubicBezTo>
                  <a:close/>
                  <a:moveTo>
                    <a:pt x="627532" y="213403"/>
                  </a:moveTo>
                  <a:cubicBezTo>
                    <a:pt x="771759" y="213403"/>
                    <a:pt x="888677" y="330322"/>
                    <a:pt x="888677" y="474548"/>
                  </a:cubicBezTo>
                  <a:cubicBezTo>
                    <a:pt x="888677" y="618775"/>
                    <a:pt x="771759" y="735694"/>
                    <a:pt x="627532" y="735694"/>
                  </a:cubicBezTo>
                  <a:cubicBezTo>
                    <a:pt x="483306" y="735694"/>
                    <a:pt x="366387" y="618775"/>
                    <a:pt x="366387" y="474548"/>
                  </a:cubicBezTo>
                  <a:cubicBezTo>
                    <a:pt x="366387" y="330322"/>
                    <a:pt x="483306" y="213403"/>
                    <a:pt x="627532" y="213403"/>
                  </a:cubicBezTo>
                  <a:close/>
                  <a:moveTo>
                    <a:pt x="1628913" y="0"/>
                  </a:moveTo>
                  <a:lnTo>
                    <a:pt x="3519626" y="0"/>
                  </a:lnTo>
                  <a:lnTo>
                    <a:pt x="3519626" y="1462090"/>
                  </a:lnTo>
                  <a:lnTo>
                    <a:pt x="1628913" y="1462090"/>
                  </a:lnTo>
                  <a:lnTo>
                    <a:pt x="1628913" y="953692"/>
                  </a:lnTo>
                  <a:lnTo>
                    <a:pt x="985977" y="466728"/>
                  </a:lnTo>
                  <a:lnTo>
                    <a:pt x="1628913" y="356995"/>
                  </a:lnTo>
                  <a:close/>
                </a:path>
              </a:pathLst>
            </a:custGeom>
            <a:solidFill>
              <a:schemeClr val="bg1">
                <a:lumMod val="5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914126">
                <a:defRPr/>
              </a:pPr>
              <a:endParaRPr lang="en-US" sz="1200" kern="0" dirty="0" err="1">
                <a:solidFill>
                  <a:srgbClr val="FFFFFF"/>
                </a:solidFill>
                <a:latin typeface="Segoe UI"/>
              </a:endParaRPr>
            </a:p>
          </p:txBody>
        </p:sp>
      </p:grpSp>
      <p:grpSp>
        <p:nvGrpSpPr>
          <p:cNvPr id="8" name="Group 7">
            <a:extLst>
              <a:ext uri="{FF2B5EF4-FFF2-40B4-BE49-F238E27FC236}">
                <a16:creationId xmlns:a16="http://schemas.microsoft.com/office/drawing/2014/main" id="{C521946B-7838-471E-B7CD-19B0B61AAE11}"/>
              </a:ext>
            </a:extLst>
          </p:cNvPr>
          <p:cNvGrpSpPr/>
          <p:nvPr/>
        </p:nvGrpSpPr>
        <p:grpSpPr>
          <a:xfrm>
            <a:off x="1689320" y="1583201"/>
            <a:ext cx="3546137" cy="552227"/>
            <a:chOff x="1724621" y="2433167"/>
            <a:chExt cx="2771891" cy="552371"/>
          </a:xfrm>
        </p:grpSpPr>
        <p:sp>
          <p:nvSpPr>
            <p:cNvPr id="2" name="Arrow: Left-Right 1">
              <a:extLst>
                <a:ext uri="{FF2B5EF4-FFF2-40B4-BE49-F238E27FC236}">
                  <a16:creationId xmlns:a16="http://schemas.microsoft.com/office/drawing/2014/main" id="{AED963BF-EB9E-4ED8-8A03-28711320383D}"/>
                </a:ext>
              </a:extLst>
            </p:cNvPr>
            <p:cNvSpPr/>
            <p:nvPr/>
          </p:nvSpPr>
          <p:spPr>
            <a:xfrm>
              <a:off x="1724621" y="2433167"/>
              <a:ext cx="2771891" cy="552371"/>
            </a:xfrm>
            <a:prstGeom prst="lef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914126">
                <a:defRPr/>
              </a:pPr>
              <a:endParaRPr lang="en-US" sz="1200" dirty="0" err="1">
                <a:solidFill>
                  <a:prstClr val="white"/>
                </a:solidFill>
                <a:latin typeface="Segoe UI"/>
              </a:endParaRPr>
            </a:p>
          </p:txBody>
        </p:sp>
        <p:sp>
          <p:nvSpPr>
            <p:cNvPr id="238" name="TextBox 237">
              <a:extLst>
                <a:ext uri="{FF2B5EF4-FFF2-40B4-BE49-F238E27FC236}">
                  <a16:creationId xmlns:a16="http://schemas.microsoft.com/office/drawing/2014/main" id="{06141CAA-6E6C-4D9D-9418-3290FC2630DD}"/>
                </a:ext>
              </a:extLst>
            </p:cNvPr>
            <p:cNvSpPr txBox="1"/>
            <p:nvPr/>
          </p:nvSpPr>
          <p:spPr>
            <a:xfrm>
              <a:off x="2011582" y="2603199"/>
              <a:ext cx="1967826" cy="199308"/>
            </a:xfrm>
            <a:prstGeom prst="rect">
              <a:avLst/>
            </a:prstGeom>
          </p:spPr>
          <p:txBody>
            <a:bodyPr vert="horz" wrap="none" lIns="0" tIns="0" rIns="0" bIns="0" rtlCol="0" anchor="ctr">
              <a:noAutofit/>
            </a:bodyPr>
            <a:lstStyle>
              <a:defPPr>
                <a:defRPr lang="en-US"/>
              </a:defPPr>
              <a:lvl1pPr algn="ctr" defTabSz="1088105">
                <a:defRPr sz="1200">
                  <a:solidFill>
                    <a:srgbClr val="505050"/>
                  </a:solidFill>
                  <a:latin typeface="Segoe UI Semibold" panose="020B0702040204020203" pitchFamily="34" charset="0"/>
                  <a:ea typeface="Segoe UI" pitchFamily="34" charset="0"/>
                  <a:cs typeface="Segoe UI Semibold" panose="020B0702040204020203" pitchFamily="34" charset="0"/>
                </a:defRPr>
              </a:lvl1pPr>
            </a:lstStyle>
            <a:p>
              <a:pPr algn="l" defTabSz="1087779">
                <a:defRPr/>
              </a:pPr>
              <a:r>
                <a:rPr lang="en-US" kern="0" dirty="0">
                  <a:solidFill>
                    <a:prstClr val="white"/>
                  </a:solidFill>
                </a:rPr>
                <a:t>Personalized Mobility Experiences</a:t>
              </a:r>
            </a:p>
          </p:txBody>
        </p:sp>
      </p:grpSp>
      <p:grpSp>
        <p:nvGrpSpPr>
          <p:cNvPr id="256" name="Group 255">
            <a:extLst>
              <a:ext uri="{FF2B5EF4-FFF2-40B4-BE49-F238E27FC236}">
                <a16:creationId xmlns:a16="http://schemas.microsoft.com/office/drawing/2014/main" id="{2C0A1DFC-0C63-490C-8BBD-E03FE76864B7}"/>
              </a:ext>
            </a:extLst>
          </p:cNvPr>
          <p:cNvGrpSpPr/>
          <p:nvPr/>
        </p:nvGrpSpPr>
        <p:grpSpPr>
          <a:xfrm>
            <a:off x="9377096" y="2278828"/>
            <a:ext cx="2038490" cy="1301149"/>
            <a:chOff x="10185888" y="1405926"/>
            <a:chExt cx="2039021" cy="1301488"/>
          </a:xfrm>
        </p:grpSpPr>
        <p:sp>
          <p:nvSpPr>
            <p:cNvPr id="257" name="Rectangle 256">
              <a:extLst>
                <a:ext uri="{FF2B5EF4-FFF2-40B4-BE49-F238E27FC236}">
                  <a16:creationId xmlns:a16="http://schemas.microsoft.com/office/drawing/2014/main" id="{FD7770FA-C8B0-4AB7-8138-E345E3C34586}"/>
                </a:ext>
              </a:extLst>
            </p:cNvPr>
            <p:cNvSpPr/>
            <p:nvPr/>
          </p:nvSpPr>
          <p:spPr>
            <a:xfrm>
              <a:off x="10185888" y="1405926"/>
              <a:ext cx="2039021" cy="492443"/>
            </a:xfrm>
            <a:prstGeom prst="rect">
              <a:avLst/>
            </a:prstGeom>
            <a:noFill/>
            <a:ln w="6350" cap="flat" cmpd="sng" algn="ctr">
              <a:noFill/>
              <a:prstDash val="solid"/>
            </a:ln>
            <a:effectLst/>
          </p:spPr>
          <p:txBody>
            <a:bodyPr wrap="none" lIns="0" tIns="0" rIns="0" bIns="0" rtlCol="0" anchor="ctr">
              <a:spAutoFit/>
            </a:bodyPr>
            <a:lstStyle/>
            <a:p>
              <a:pPr marL="0" lvl="1" algn="ctr" defTabSz="1217741" fontAlgn="base">
                <a:spcBef>
                  <a:spcPts val="200"/>
                </a:spcBef>
                <a:buClr>
                  <a:srgbClr val="FFFF99"/>
                </a:buClr>
                <a:buSzPct val="90000"/>
                <a:defRPr/>
              </a:pPr>
              <a:r>
                <a:rPr lang="en-US" sz="1600" kern="0" dirty="0">
                  <a:solidFill>
                    <a:srgbClr val="0072C6"/>
                  </a:solidFill>
                  <a:latin typeface="Segoe UI Semibold" panose="020B0702040204020203" pitchFamily="34" charset="0"/>
                  <a:ea typeface="Segoe UI" pitchFamily="34" charset="0"/>
                  <a:cs typeface="Segoe UI" pitchFamily="34" charset="0"/>
                </a:rPr>
                <a:t>Marketing &amp; </a:t>
              </a:r>
              <a:br>
                <a:rPr lang="en-US" sz="1600" kern="0" dirty="0">
                  <a:solidFill>
                    <a:srgbClr val="0072C6"/>
                  </a:solidFill>
                  <a:latin typeface="Segoe UI Semibold" panose="020B0702040204020203" pitchFamily="34" charset="0"/>
                  <a:ea typeface="Segoe UI" pitchFamily="34" charset="0"/>
                  <a:cs typeface="Segoe UI" pitchFamily="34" charset="0"/>
                </a:rPr>
              </a:br>
              <a:r>
                <a:rPr lang="en-US" sz="1600" kern="0" dirty="0">
                  <a:solidFill>
                    <a:srgbClr val="0072C6"/>
                  </a:solidFill>
                  <a:latin typeface="Segoe UI Semibold" panose="020B0702040204020203" pitchFamily="34" charset="0"/>
                  <a:ea typeface="Segoe UI" pitchFamily="34" charset="0"/>
                  <a:cs typeface="Segoe UI" pitchFamily="34" charset="0"/>
                </a:rPr>
                <a:t>Product Development</a:t>
              </a:r>
            </a:p>
          </p:txBody>
        </p:sp>
        <p:grpSp>
          <p:nvGrpSpPr>
            <p:cNvPr id="258" name="Group 257">
              <a:extLst>
                <a:ext uri="{FF2B5EF4-FFF2-40B4-BE49-F238E27FC236}">
                  <a16:creationId xmlns:a16="http://schemas.microsoft.com/office/drawing/2014/main" id="{E0F71C15-A098-4DE7-A400-A4CD6689DFEE}"/>
                </a:ext>
              </a:extLst>
            </p:cNvPr>
            <p:cNvGrpSpPr/>
            <p:nvPr/>
          </p:nvGrpSpPr>
          <p:grpSpPr>
            <a:xfrm>
              <a:off x="10590380" y="1893845"/>
              <a:ext cx="1188779" cy="813569"/>
              <a:chOff x="8602796" y="2690727"/>
              <a:chExt cx="1188779" cy="813569"/>
            </a:xfrm>
          </p:grpSpPr>
          <p:sp>
            <p:nvSpPr>
              <p:cNvPr id="259" name="Oval 258">
                <a:extLst>
                  <a:ext uri="{FF2B5EF4-FFF2-40B4-BE49-F238E27FC236}">
                    <a16:creationId xmlns:a16="http://schemas.microsoft.com/office/drawing/2014/main" id="{B983A7C7-CB24-4EDA-9ADF-DF7462E2CA24}"/>
                  </a:ext>
                </a:extLst>
              </p:cNvPr>
              <p:cNvSpPr/>
              <p:nvPr/>
            </p:nvSpPr>
            <p:spPr>
              <a:xfrm>
                <a:off x="8602796" y="2742941"/>
                <a:ext cx="1188779" cy="76135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914126">
                  <a:defRPr/>
                </a:pPr>
                <a:endParaRPr lang="en-US" sz="1200" kern="0" dirty="0">
                  <a:solidFill>
                    <a:prstClr val="white"/>
                  </a:solidFill>
                  <a:latin typeface="Segoe UI"/>
                </a:endParaRPr>
              </a:p>
            </p:txBody>
          </p:sp>
          <p:pic>
            <p:nvPicPr>
              <p:cNvPr id="260" name="Picture 259">
                <a:extLst>
                  <a:ext uri="{FF2B5EF4-FFF2-40B4-BE49-F238E27FC236}">
                    <a16:creationId xmlns:a16="http://schemas.microsoft.com/office/drawing/2014/main" id="{1C6229A4-5FBF-40E4-B956-49FCC5D90FB0}"/>
                  </a:ext>
                </a:extLst>
              </p:cNvPr>
              <p:cNvPicPr>
                <a:picLocks noChangeAspect="1"/>
              </p:cNvPicPr>
              <p:nvPr/>
            </p:nvPicPr>
            <p:blipFill>
              <a:blip r:embed="rId20" cstate="screen">
                <a:duotone>
                  <a:prstClr val="black"/>
                  <a:schemeClr val="accent5">
                    <a:tint val="45000"/>
                    <a:satMod val="400000"/>
                  </a:schemeClr>
                </a:duotone>
                <a:extLst>
                  <a:ext uri="{BEBA8EAE-BF5A-486C-A8C5-ECC9F3942E4B}">
                    <a14:imgProps xmlns:a14="http://schemas.microsoft.com/office/drawing/2010/main">
                      <a14:imgLayer r:embed="rId21">
                        <a14:imgEffect>
                          <a14:brightnessContrast bright="-20000" contrast="-20000"/>
                        </a14:imgEffect>
                      </a14:imgLayer>
                    </a14:imgProps>
                  </a:ext>
                  <a:ext uri="{28A0092B-C50C-407E-A947-70E740481C1C}">
                    <a14:useLocalDpi xmlns:a14="http://schemas.microsoft.com/office/drawing/2010/main"/>
                  </a:ext>
                </a:extLst>
              </a:blip>
              <a:stretch>
                <a:fillRect/>
              </a:stretch>
            </p:blipFill>
            <p:spPr>
              <a:xfrm>
                <a:off x="8789267" y="2690727"/>
                <a:ext cx="797830" cy="797829"/>
              </a:xfrm>
              <a:prstGeom prst="rect">
                <a:avLst/>
              </a:prstGeom>
            </p:spPr>
          </p:pic>
        </p:grpSp>
      </p:grpSp>
      <p:grpSp>
        <p:nvGrpSpPr>
          <p:cNvPr id="284" name="Group 283">
            <a:extLst>
              <a:ext uri="{FF2B5EF4-FFF2-40B4-BE49-F238E27FC236}">
                <a16:creationId xmlns:a16="http://schemas.microsoft.com/office/drawing/2014/main" id="{1BC30AE0-48DD-438E-B163-33A9C1644A7C}"/>
              </a:ext>
            </a:extLst>
          </p:cNvPr>
          <p:cNvGrpSpPr/>
          <p:nvPr/>
        </p:nvGrpSpPr>
        <p:grpSpPr>
          <a:xfrm rot="2241612">
            <a:off x="1515119" y="4075521"/>
            <a:ext cx="2890274" cy="552227"/>
            <a:chOff x="2907652" y="2004498"/>
            <a:chExt cx="2293689" cy="552371"/>
          </a:xfrm>
        </p:grpSpPr>
        <p:sp>
          <p:nvSpPr>
            <p:cNvPr id="285" name="Arrow: Left-Right 284">
              <a:extLst>
                <a:ext uri="{FF2B5EF4-FFF2-40B4-BE49-F238E27FC236}">
                  <a16:creationId xmlns:a16="http://schemas.microsoft.com/office/drawing/2014/main" id="{01636D2D-8CF5-4D60-9F09-D1F366ACF461}"/>
                </a:ext>
              </a:extLst>
            </p:cNvPr>
            <p:cNvSpPr/>
            <p:nvPr/>
          </p:nvSpPr>
          <p:spPr>
            <a:xfrm>
              <a:off x="2907652" y="2004498"/>
              <a:ext cx="2031967" cy="552371"/>
            </a:xfrm>
            <a:prstGeom prst="lef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914126">
                <a:defRPr/>
              </a:pPr>
              <a:endParaRPr lang="en-US" sz="1200" dirty="0" err="1">
                <a:solidFill>
                  <a:prstClr val="white"/>
                </a:solidFill>
                <a:latin typeface="Segoe UI"/>
              </a:endParaRPr>
            </a:p>
          </p:txBody>
        </p:sp>
        <p:sp>
          <p:nvSpPr>
            <p:cNvPr id="288" name="TextBox 287">
              <a:extLst>
                <a:ext uri="{FF2B5EF4-FFF2-40B4-BE49-F238E27FC236}">
                  <a16:creationId xmlns:a16="http://schemas.microsoft.com/office/drawing/2014/main" id="{75BA4358-9E8A-43D3-82C8-A84EAFFAB3B8}"/>
                </a:ext>
              </a:extLst>
            </p:cNvPr>
            <p:cNvSpPr txBox="1"/>
            <p:nvPr/>
          </p:nvSpPr>
          <p:spPr>
            <a:xfrm>
              <a:off x="3233515" y="2172213"/>
              <a:ext cx="1967826" cy="199308"/>
            </a:xfrm>
            <a:prstGeom prst="rect">
              <a:avLst/>
            </a:prstGeom>
          </p:spPr>
          <p:txBody>
            <a:bodyPr vert="horz" wrap="none" lIns="0" tIns="0" rIns="0" bIns="0" rtlCol="0" anchor="ctr">
              <a:noAutofit/>
            </a:bodyPr>
            <a:lstStyle>
              <a:defPPr>
                <a:defRPr lang="en-US"/>
              </a:defPPr>
              <a:lvl1pPr algn="ctr" defTabSz="1088105">
                <a:defRPr sz="1200">
                  <a:solidFill>
                    <a:srgbClr val="505050"/>
                  </a:solidFill>
                  <a:latin typeface="Segoe UI Semibold" panose="020B0702040204020203" pitchFamily="34" charset="0"/>
                  <a:ea typeface="Segoe UI" pitchFamily="34" charset="0"/>
                  <a:cs typeface="Segoe UI Semibold" panose="020B0702040204020203" pitchFamily="34" charset="0"/>
                </a:defRPr>
              </a:lvl1pPr>
            </a:lstStyle>
            <a:p>
              <a:pPr algn="l" defTabSz="1087779">
                <a:defRPr/>
              </a:pPr>
              <a:r>
                <a:rPr lang="en-US" kern="0" dirty="0">
                  <a:solidFill>
                    <a:prstClr val="white"/>
                  </a:solidFill>
                </a:rPr>
                <a:t>Spatial &amp; Movement Data</a:t>
              </a:r>
            </a:p>
          </p:txBody>
        </p:sp>
      </p:grpSp>
      <p:grpSp>
        <p:nvGrpSpPr>
          <p:cNvPr id="375" name="Group 374">
            <a:extLst>
              <a:ext uri="{FF2B5EF4-FFF2-40B4-BE49-F238E27FC236}">
                <a16:creationId xmlns:a16="http://schemas.microsoft.com/office/drawing/2014/main" id="{AE4D0DC3-849D-4763-9D4F-BA7DA1C78EAC}"/>
              </a:ext>
            </a:extLst>
          </p:cNvPr>
          <p:cNvGrpSpPr/>
          <p:nvPr/>
        </p:nvGrpSpPr>
        <p:grpSpPr>
          <a:xfrm>
            <a:off x="2133815" y="2012428"/>
            <a:ext cx="2694525" cy="552227"/>
            <a:chOff x="2139906" y="2338432"/>
            <a:chExt cx="2423151" cy="552371"/>
          </a:xfrm>
        </p:grpSpPr>
        <p:sp>
          <p:nvSpPr>
            <p:cNvPr id="376" name="Arrow: Left-Right 375">
              <a:extLst>
                <a:ext uri="{FF2B5EF4-FFF2-40B4-BE49-F238E27FC236}">
                  <a16:creationId xmlns:a16="http://schemas.microsoft.com/office/drawing/2014/main" id="{42A1E59D-A567-4961-A9FF-650A92EF277F}"/>
                </a:ext>
              </a:extLst>
            </p:cNvPr>
            <p:cNvSpPr/>
            <p:nvPr/>
          </p:nvSpPr>
          <p:spPr>
            <a:xfrm>
              <a:off x="2139906" y="2338432"/>
              <a:ext cx="2423151" cy="552371"/>
            </a:xfrm>
            <a:prstGeom prst="lef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914126">
                <a:defRPr/>
              </a:pPr>
              <a:endParaRPr lang="en-US" sz="1200" dirty="0" err="1">
                <a:solidFill>
                  <a:prstClr val="white"/>
                </a:solidFill>
                <a:latin typeface="Segoe UI"/>
              </a:endParaRPr>
            </a:p>
          </p:txBody>
        </p:sp>
        <p:sp>
          <p:nvSpPr>
            <p:cNvPr id="377" name="TextBox 376">
              <a:extLst>
                <a:ext uri="{FF2B5EF4-FFF2-40B4-BE49-F238E27FC236}">
                  <a16:creationId xmlns:a16="http://schemas.microsoft.com/office/drawing/2014/main" id="{35E98A9D-4AC3-4BE5-947C-9343E074E509}"/>
                </a:ext>
              </a:extLst>
            </p:cNvPr>
            <p:cNvSpPr txBox="1"/>
            <p:nvPr/>
          </p:nvSpPr>
          <p:spPr>
            <a:xfrm>
              <a:off x="2404206" y="2495821"/>
              <a:ext cx="1967826" cy="199308"/>
            </a:xfrm>
            <a:prstGeom prst="rect">
              <a:avLst/>
            </a:prstGeom>
          </p:spPr>
          <p:txBody>
            <a:bodyPr vert="horz" wrap="none" lIns="0" tIns="0" rIns="0" bIns="0" rtlCol="0" anchor="ctr">
              <a:noAutofit/>
            </a:bodyPr>
            <a:lstStyle>
              <a:defPPr>
                <a:defRPr lang="en-US"/>
              </a:defPPr>
              <a:lvl1pPr algn="ctr" defTabSz="1088105">
                <a:defRPr sz="1200">
                  <a:solidFill>
                    <a:srgbClr val="505050"/>
                  </a:solidFill>
                  <a:latin typeface="Segoe UI Semibold" panose="020B0702040204020203" pitchFamily="34" charset="0"/>
                  <a:ea typeface="Segoe UI" pitchFamily="34" charset="0"/>
                  <a:cs typeface="Segoe UI Semibold" panose="020B0702040204020203" pitchFamily="34" charset="0"/>
                </a:defRPr>
              </a:lvl1pPr>
            </a:lstStyle>
            <a:p>
              <a:pPr algn="l" defTabSz="1087779">
                <a:defRPr/>
              </a:pPr>
              <a:r>
                <a:rPr lang="en-US" kern="0" dirty="0">
                  <a:solidFill>
                    <a:prstClr val="white"/>
                  </a:solidFill>
                </a:rPr>
                <a:t>Proactive Alerts &amp; Information</a:t>
              </a:r>
            </a:p>
          </p:txBody>
        </p:sp>
      </p:grpSp>
      <p:pic>
        <p:nvPicPr>
          <p:cNvPr id="248" name="Picture 247">
            <a:extLst>
              <a:ext uri="{FF2B5EF4-FFF2-40B4-BE49-F238E27FC236}">
                <a16:creationId xmlns:a16="http://schemas.microsoft.com/office/drawing/2014/main" id="{E7A5361E-F367-43E6-B07A-C2829C684D0C}"/>
              </a:ext>
            </a:extLst>
          </p:cNvPr>
          <p:cNvPicPr>
            <a:picLocks noChangeAspect="1"/>
          </p:cNvPicPr>
          <p:nvPr/>
        </p:nvPicPr>
        <p:blipFill>
          <a:blip r:embed="rId31"/>
          <a:stretch>
            <a:fillRect/>
          </a:stretch>
        </p:blipFill>
        <p:spPr>
          <a:xfrm>
            <a:off x="-24972" y="2954818"/>
            <a:ext cx="1590228" cy="877275"/>
          </a:xfrm>
          <a:prstGeom prst="rect">
            <a:avLst/>
          </a:prstGeom>
        </p:spPr>
      </p:pic>
      <p:sp>
        <p:nvSpPr>
          <p:cNvPr id="252" name="Rectangle 251">
            <a:extLst>
              <a:ext uri="{FF2B5EF4-FFF2-40B4-BE49-F238E27FC236}">
                <a16:creationId xmlns:a16="http://schemas.microsoft.com/office/drawing/2014/main" id="{C96DA4A0-63E0-484D-812F-3184500089E2}"/>
              </a:ext>
            </a:extLst>
          </p:cNvPr>
          <p:cNvSpPr/>
          <p:nvPr/>
        </p:nvSpPr>
        <p:spPr>
          <a:xfrm>
            <a:off x="292081" y="3829992"/>
            <a:ext cx="732813" cy="267144"/>
          </a:xfrm>
          <a:prstGeom prst="rect">
            <a:avLst/>
          </a:prstGeom>
          <a:noFill/>
          <a:effectLst/>
        </p:spPr>
        <p:txBody>
          <a:bodyPr wrap="square" lIns="0" tIns="0" rIns="0" bIns="0" anchor="ctr" anchorCtr="0">
            <a:noAutofit/>
          </a:bodyPr>
          <a:lstStyle/>
          <a:p>
            <a:pPr algn="ctr" defTabSz="913852">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Product</a:t>
            </a:r>
          </a:p>
        </p:txBody>
      </p:sp>
      <p:grpSp>
        <p:nvGrpSpPr>
          <p:cNvPr id="204" name="Group 203">
            <a:extLst>
              <a:ext uri="{FF2B5EF4-FFF2-40B4-BE49-F238E27FC236}">
                <a16:creationId xmlns:a16="http://schemas.microsoft.com/office/drawing/2014/main" id="{3408D3E1-0855-4702-AC15-1BC2FF7C291D}"/>
              </a:ext>
            </a:extLst>
          </p:cNvPr>
          <p:cNvGrpSpPr/>
          <p:nvPr/>
        </p:nvGrpSpPr>
        <p:grpSpPr>
          <a:xfrm rot="18691193">
            <a:off x="7099089" y="4153816"/>
            <a:ext cx="1561472" cy="552227"/>
            <a:chOff x="2243235" y="2113009"/>
            <a:chExt cx="2423151" cy="552371"/>
          </a:xfrm>
        </p:grpSpPr>
        <p:sp>
          <p:nvSpPr>
            <p:cNvPr id="287" name="Arrow: Left-Right 286">
              <a:extLst>
                <a:ext uri="{FF2B5EF4-FFF2-40B4-BE49-F238E27FC236}">
                  <a16:creationId xmlns:a16="http://schemas.microsoft.com/office/drawing/2014/main" id="{964FF4DD-D145-46A1-AB6C-BC212AF69AB4}"/>
                </a:ext>
              </a:extLst>
            </p:cNvPr>
            <p:cNvSpPr/>
            <p:nvPr/>
          </p:nvSpPr>
          <p:spPr>
            <a:xfrm>
              <a:off x="2243235" y="2113009"/>
              <a:ext cx="2423151" cy="552371"/>
            </a:xfrm>
            <a:prstGeom prst="lef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914126">
                <a:defRPr/>
              </a:pPr>
              <a:endParaRPr lang="en-US" sz="1200" dirty="0" err="1">
                <a:solidFill>
                  <a:prstClr val="white"/>
                </a:solidFill>
                <a:latin typeface="Segoe UI"/>
              </a:endParaRPr>
            </a:p>
          </p:txBody>
        </p:sp>
        <p:sp>
          <p:nvSpPr>
            <p:cNvPr id="289" name="TextBox 288">
              <a:extLst>
                <a:ext uri="{FF2B5EF4-FFF2-40B4-BE49-F238E27FC236}">
                  <a16:creationId xmlns:a16="http://schemas.microsoft.com/office/drawing/2014/main" id="{1B3B0747-9FDF-455D-892B-608A7274F486}"/>
                </a:ext>
              </a:extLst>
            </p:cNvPr>
            <p:cNvSpPr txBox="1"/>
            <p:nvPr/>
          </p:nvSpPr>
          <p:spPr>
            <a:xfrm>
              <a:off x="2877492" y="2275489"/>
              <a:ext cx="1552948" cy="197109"/>
            </a:xfrm>
            <a:prstGeom prst="rect">
              <a:avLst/>
            </a:prstGeom>
          </p:spPr>
          <p:txBody>
            <a:bodyPr vert="horz" wrap="none" lIns="0" tIns="0" rIns="0" bIns="0" rtlCol="0" anchor="ctr">
              <a:noAutofit/>
            </a:bodyPr>
            <a:lstStyle>
              <a:defPPr>
                <a:defRPr lang="en-US"/>
              </a:defPPr>
              <a:lvl1pPr algn="ctr" defTabSz="1088105">
                <a:defRPr sz="1200">
                  <a:solidFill>
                    <a:srgbClr val="505050"/>
                  </a:solidFill>
                  <a:latin typeface="Segoe UI Semibold" panose="020B0702040204020203" pitchFamily="34" charset="0"/>
                  <a:ea typeface="Segoe UI" pitchFamily="34" charset="0"/>
                  <a:cs typeface="Segoe UI Semibold" panose="020B0702040204020203" pitchFamily="34" charset="0"/>
                </a:defRPr>
              </a:lvl1pPr>
            </a:lstStyle>
            <a:p>
              <a:pPr algn="l" defTabSz="1087779">
                <a:defRPr/>
              </a:pPr>
              <a:r>
                <a:rPr lang="en-US" kern="0" dirty="0">
                  <a:solidFill>
                    <a:prstClr val="white"/>
                  </a:solidFill>
                </a:rPr>
                <a:t>Insights</a:t>
              </a:r>
            </a:p>
          </p:txBody>
        </p:sp>
      </p:grpSp>
      <p:grpSp>
        <p:nvGrpSpPr>
          <p:cNvPr id="182" name="Group 181">
            <a:extLst>
              <a:ext uri="{FF2B5EF4-FFF2-40B4-BE49-F238E27FC236}">
                <a16:creationId xmlns:a16="http://schemas.microsoft.com/office/drawing/2014/main" id="{11C72370-52C1-4DE2-B969-E7EAA3DD9E4F}"/>
              </a:ext>
            </a:extLst>
          </p:cNvPr>
          <p:cNvGrpSpPr/>
          <p:nvPr/>
        </p:nvGrpSpPr>
        <p:grpSpPr>
          <a:xfrm flipH="1">
            <a:off x="1414359" y="2854815"/>
            <a:ext cx="446952" cy="448542"/>
            <a:chOff x="4479602" y="3625549"/>
            <a:chExt cx="490304" cy="448659"/>
          </a:xfrm>
          <a:solidFill>
            <a:srgbClr val="5E83BD"/>
          </a:solidFill>
        </p:grpSpPr>
        <p:grpSp>
          <p:nvGrpSpPr>
            <p:cNvPr id="185" name="Group 184">
              <a:extLst>
                <a:ext uri="{FF2B5EF4-FFF2-40B4-BE49-F238E27FC236}">
                  <a16:creationId xmlns:a16="http://schemas.microsoft.com/office/drawing/2014/main" id="{1E164C0B-140A-4918-8700-B8420DC60DD9}"/>
                </a:ext>
              </a:extLst>
            </p:cNvPr>
            <p:cNvGrpSpPr/>
            <p:nvPr/>
          </p:nvGrpSpPr>
          <p:grpSpPr>
            <a:xfrm>
              <a:off x="4494021" y="3625549"/>
              <a:ext cx="475885" cy="448659"/>
              <a:chOff x="1048844" y="2929382"/>
              <a:chExt cx="2146849" cy="1792260"/>
            </a:xfrm>
            <a:grpFill/>
          </p:grpSpPr>
          <p:sp>
            <p:nvSpPr>
              <p:cNvPr id="196" name="Rectangle 195">
                <a:extLst>
                  <a:ext uri="{FF2B5EF4-FFF2-40B4-BE49-F238E27FC236}">
                    <a16:creationId xmlns:a16="http://schemas.microsoft.com/office/drawing/2014/main" id="{D1AD87DC-D583-47D3-B253-50809F2BEE8D}"/>
                  </a:ext>
                </a:extLst>
              </p:cNvPr>
              <p:cNvSpPr/>
              <p:nvPr/>
            </p:nvSpPr>
            <p:spPr bwMode="auto">
              <a:xfrm rot="19233811" flipH="1">
                <a:off x="1672997" y="4111453"/>
                <a:ext cx="265596" cy="33623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392" tIns="45696" rIns="45696" bIns="91392"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algn="ctr" defTabSz="913551" fontAlgn="base">
                  <a:spcBef>
                    <a:spcPct val="0"/>
                  </a:spcBef>
                  <a:spcAft>
                    <a:spcPct val="0"/>
                  </a:spcAft>
                  <a:defRPr/>
                </a:pPr>
                <a:endParaRPr lang="en-US" sz="1600" spc="-5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7" name="Rectangle 21">
                <a:extLst>
                  <a:ext uri="{FF2B5EF4-FFF2-40B4-BE49-F238E27FC236}">
                    <a16:creationId xmlns:a16="http://schemas.microsoft.com/office/drawing/2014/main" id="{E6E1340D-FE51-4E09-977B-D8CCB42B0240}"/>
                  </a:ext>
                </a:extLst>
              </p:cNvPr>
              <p:cNvSpPr/>
              <p:nvPr/>
            </p:nvSpPr>
            <p:spPr bwMode="auto">
              <a:xfrm rot="1663182" flipH="1">
                <a:off x="1661723" y="3093970"/>
                <a:ext cx="283331" cy="751494"/>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392" tIns="45696" rIns="45696" bIns="91392"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algn="ctr" defTabSz="913551" fontAlgn="base">
                  <a:spcBef>
                    <a:spcPct val="0"/>
                  </a:spcBef>
                  <a:spcAft>
                    <a:spcPct val="0"/>
                  </a:spcAft>
                  <a:defRPr/>
                </a:pPr>
                <a:endParaRPr lang="en-US" sz="1600" spc="-5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8" name="Rectangle 29">
                <a:extLst>
                  <a:ext uri="{FF2B5EF4-FFF2-40B4-BE49-F238E27FC236}">
                    <a16:creationId xmlns:a16="http://schemas.microsoft.com/office/drawing/2014/main" id="{C4252208-BAF0-46C1-9DFA-10BF89E4B4D4}"/>
                  </a:ext>
                </a:extLst>
              </p:cNvPr>
              <p:cNvSpPr/>
              <p:nvPr/>
            </p:nvSpPr>
            <p:spPr bwMode="auto">
              <a:xfrm rot="6300000" flipH="1">
                <a:off x="2375889" y="2873020"/>
                <a:ext cx="215107" cy="735159"/>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392" tIns="45696" rIns="45696" bIns="91392"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algn="ctr" defTabSz="913551" fontAlgn="base">
                  <a:spcBef>
                    <a:spcPct val="0"/>
                  </a:spcBef>
                  <a:spcAft>
                    <a:spcPct val="0"/>
                  </a:spcAft>
                  <a:defRPr/>
                </a:pPr>
                <a:endParaRPr lang="en-US" sz="1600" spc="-5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62" name="Group 261">
                <a:extLst>
                  <a:ext uri="{FF2B5EF4-FFF2-40B4-BE49-F238E27FC236}">
                    <a16:creationId xmlns:a16="http://schemas.microsoft.com/office/drawing/2014/main" id="{A37B08D2-3BF3-4B3A-B7B3-99D5C255B378}"/>
                  </a:ext>
                </a:extLst>
              </p:cNvPr>
              <p:cNvGrpSpPr/>
              <p:nvPr/>
            </p:nvGrpSpPr>
            <p:grpSpPr>
              <a:xfrm>
                <a:off x="1297664" y="3722455"/>
                <a:ext cx="516897" cy="516898"/>
                <a:chOff x="4394973" y="1762558"/>
                <a:chExt cx="352210" cy="352210"/>
              </a:xfrm>
              <a:grpFill/>
            </p:grpSpPr>
            <p:grpSp>
              <p:nvGrpSpPr>
                <p:cNvPr id="351" name="Group 350">
                  <a:extLst>
                    <a:ext uri="{FF2B5EF4-FFF2-40B4-BE49-F238E27FC236}">
                      <a16:creationId xmlns:a16="http://schemas.microsoft.com/office/drawing/2014/main" id="{DA67BFA8-B0E4-46F8-B89B-7ADB37DC17C9}"/>
                    </a:ext>
                  </a:extLst>
                </p:cNvPr>
                <p:cNvGrpSpPr/>
                <p:nvPr/>
              </p:nvGrpSpPr>
              <p:grpSpPr>
                <a:xfrm flipH="1">
                  <a:off x="4394973" y="1762558"/>
                  <a:ext cx="352210" cy="352210"/>
                  <a:chOff x="5411363" y="1755522"/>
                  <a:chExt cx="316187" cy="316187"/>
                </a:xfrm>
                <a:grpFill/>
              </p:grpSpPr>
              <p:sp>
                <p:nvSpPr>
                  <p:cNvPr id="354" name="Oval 353">
                    <a:extLst>
                      <a:ext uri="{FF2B5EF4-FFF2-40B4-BE49-F238E27FC236}">
                        <a16:creationId xmlns:a16="http://schemas.microsoft.com/office/drawing/2014/main" id="{6E6196CF-1499-4242-A298-AAE46418CC53}"/>
                      </a:ext>
                    </a:extLst>
                  </p:cNvPr>
                  <p:cNvSpPr/>
                  <p:nvPr/>
                </p:nvSpPr>
                <p:spPr bwMode="auto">
                  <a:xfrm>
                    <a:off x="5411363" y="1755522"/>
                    <a:ext cx="316187" cy="31618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392" tIns="45696" rIns="45696" bIns="91392"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algn="ctr" defTabSz="913551" fontAlgn="base">
                      <a:spcBef>
                        <a:spcPct val="0"/>
                      </a:spcBef>
                      <a:spcAft>
                        <a:spcPct val="0"/>
                      </a:spcAft>
                      <a:defRPr/>
                    </a:pPr>
                    <a:endParaRPr lang="en-US" sz="1600" spc="-5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5" name="Oval 354">
                    <a:extLst>
                      <a:ext uri="{FF2B5EF4-FFF2-40B4-BE49-F238E27FC236}">
                        <a16:creationId xmlns:a16="http://schemas.microsoft.com/office/drawing/2014/main" id="{7F2E2D99-2479-4DEB-B77A-6B3A02AF242C}"/>
                      </a:ext>
                    </a:extLst>
                  </p:cNvPr>
                  <p:cNvSpPr/>
                  <p:nvPr/>
                </p:nvSpPr>
                <p:spPr bwMode="auto">
                  <a:xfrm>
                    <a:off x="5462797" y="1806956"/>
                    <a:ext cx="213318" cy="21331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392" tIns="45696" rIns="45696" bIns="91392"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algn="ctr" defTabSz="913551" fontAlgn="base">
                      <a:spcBef>
                        <a:spcPct val="0"/>
                      </a:spcBef>
                      <a:spcAft>
                        <a:spcPct val="0"/>
                      </a:spcAft>
                      <a:defRPr/>
                    </a:pPr>
                    <a:endParaRPr lang="en-US" sz="1600" spc="-5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6" name="Oval 355">
                    <a:extLst>
                      <a:ext uri="{FF2B5EF4-FFF2-40B4-BE49-F238E27FC236}">
                        <a16:creationId xmlns:a16="http://schemas.microsoft.com/office/drawing/2014/main" id="{3C7B8ADA-2E29-4D60-ABDB-FF8F8899AA7D}"/>
                      </a:ext>
                    </a:extLst>
                  </p:cNvPr>
                  <p:cNvSpPr/>
                  <p:nvPr/>
                </p:nvSpPr>
                <p:spPr bwMode="auto">
                  <a:xfrm>
                    <a:off x="5506446" y="1850605"/>
                    <a:ext cx="126020" cy="1260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392" tIns="45696" rIns="45696" bIns="91392"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algn="ctr" defTabSz="913551" fontAlgn="base">
                      <a:spcBef>
                        <a:spcPct val="0"/>
                      </a:spcBef>
                      <a:spcAft>
                        <a:spcPct val="0"/>
                      </a:spcAft>
                      <a:defRPr/>
                    </a:pPr>
                    <a:endParaRPr lang="en-US" sz="1600" spc="-5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52" name="Rectangle 351">
                  <a:extLst>
                    <a:ext uri="{FF2B5EF4-FFF2-40B4-BE49-F238E27FC236}">
                      <a16:creationId xmlns:a16="http://schemas.microsoft.com/office/drawing/2014/main" id="{21E27894-D553-48DC-B918-97810AF487F9}"/>
                    </a:ext>
                  </a:extLst>
                </p:cNvPr>
                <p:cNvSpPr/>
                <p:nvPr/>
              </p:nvSpPr>
              <p:spPr bwMode="auto">
                <a:xfrm flipH="1">
                  <a:off x="4553230" y="1780423"/>
                  <a:ext cx="35696" cy="30433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392" tIns="45696" rIns="45696" bIns="91392"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algn="ctr" defTabSz="913551" fontAlgn="base">
                    <a:spcBef>
                      <a:spcPct val="0"/>
                    </a:spcBef>
                    <a:spcAft>
                      <a:spcPct val="0"/>
                    </a:spcAft>
                    <a:defRPr/>
                  </a:pPr>
                  <a:endParaRPr lang="en-US" sz="1600" spc="-5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3" name="Rectangle 352">
                  <a:extLst>
                    <a:ext uri="{FF2B5EF4-FFF2-40B4-BE49-F238E27FC236}">
                      <a16:creationId xmlns:a16="http://schemas.microsoft.com/office/drawing/2014/main" id="{CAD81B56-928D-4EB5-A6F6-1CDEE9EF5059}"/>
                    </a:ext>
                  </a:extLst>
                </p:cNvPr>
                <p:cNvSpPr/>
                <p:nvPr/>
              </p:nvSpPr>
              <p:spPr bwMode="auto">
                <a:xfrm rot="5400000" flipH="1">
                  <a:off x="4561685" y="1786498"/>
                  <a:ext cx="35696" cy="30433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392" tIns="45696" rIns="45696" bIns="91392"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algn="ctr" defTabSz="913551" fontAlgn="base">
                    <a:spcBef>
                      <a:spcPct val="0"/>
                    </a:spcBef>
                    <a:spcAft>
                      <a:spcPct val="0"/>
                    </a:spcAft>
                    <a:defRPr/>
                  </a:pPr>
                  <a:endParaRPr lang="en-US" sz="1600" spc="-5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63" name="Group 262">
                <a:extLst>
                  <a:ext uri="{FF2B5EF4-FFF2-40B4-BE49-F238E27FC236}">
                    <a16:creationId xmlns:a16="http://schemas.microsoft.com/office/drawing/2014/main" id="{B817771B-5091-4D8F-B224-2001C82BF24F}"/>
                  </a:ext>
                </a:extLst>
              </p:cNvPr>
              <p:cNvGrpSpPr/>
              <p:nvPr/>
            </p:nvGrpSpPr>
            <p:grpSpPr>
              <a:xfrm>
                <a:off x="1830772" y="2929382"/>
                <a:ext cx="375748" cy="375748"/>
                <a:chOff x="4394973" y="1762558"/>
                <a:chExt cx="352210" cy="352210"/>
              </a:xfrm>
              <a:grpFill/>
            </p:grpSpPr>
            <p:grpSp>
              <p:nvGrpSpPr>
                <p:cNvPr id="345" name="Group 344">
                  <a:extLst>
                    <a:ext uri="{FF2B5EF4-FFF2-40B4-BE49-F238E27FC236}">
                      <a16:creationId xmlns:a16="http://schemas.microsoft.com/office/drawing/2014/main" id="{D414B258-983F-4DBE-AFA4-3175D4956E58}"/>
                    </a:ext>
                  </a:extLst>
                </p:cNvPr>
                <p:cNvGrpSpPr/>
                <p:nvPr/>
              </p:nvGrpSpPr>
              <p:grpSpPr>
                <a:xfrm flipH="1">
                  <a:off x="4394973" y="1762558"/>
                  <a:ext cx="352210" cy="352210"/>
                  <a:chOff x="5411363" y="1755522"/>
                  <a:chExt cx="316187" cy="316187"/>
                </a:xfrm>
                <a:grpFill/>
              </p:grpSpPr>
              <p:sp>
                <p:nvSpPr>
                  <p:cNvPr id="348" name="Oval 347">
                    <a:extLst>
                      <a:ext uri="{FF2B5EF4-FFF2-40B4-BE49-F238E27FC236}">
                        <a16:creationId xmlns:a16="http://schemas.microsoft.com/office/drawing/2014/main" id="{0CC381F8-F52C-4ACF-8AF6-704872E7C162}"/>
                      </a:ext>
                    </a:extLst>
                  </p:cNvPr>
                  <p:cNvSpPr/>
                  <p:nvPr/>
                </p:nvSpPr>
                <p:spPr bwMode="auto">
                  <a:xfrm>
                    <a:off x="5411363" y="1755522"/>
                    <a:ext cx="316187" cy="31618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392" tIns="45696" rIns="45696" bIns="91392"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algn="ctr" defTabSz="913551" fontAlgn="base">
                      <a:spcBef>
                        <a:spcPct val="0"/>
                      </a:spcBef>
                      <a:spcAft>
                        <a:spcPct val="0"/>
                      </a:spcAft>
                      <a:defRPr/>
                    </a:pPr>
                    <a:endParaRPr lang="en-US" sz="1600" spc="-5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9" name="Oval 348">
                    <a:extLst>
                      <a:ext uri="{FF2B5EF4-FFF2-40B4-BE49-F238E27FC236}">
                        <a16:creationId xmlns:a16="http://schemas.microsoft.com/office/drawing/2014/main" id="{91FCC0AC-4D54-4647-BD1B-5C25A9E04589}"/>
                      </a:ext>
                    </a:extLst>
                  </p:cNvPr>
                  <p:cNvSpPr/>
                  <p:nvPr/>
                </p:nvSpPr>
                <p:spPr bwMode="auto">
                  <a:xfrm>
                    <a:off x="5462797" y="1806956"/>
                    <a:ext cx="213318" cy="21331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392" tIns="45696" rIns="45696" bIns="91392"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algn="ctr" defTabSz="913551" fontAlgn="base">
                      <a:spcBef>
                        <a:spcPct val="0"/>
                      </a:spcBef>
                      <a:spcAft>
                        <a:spcPct val="0"/>
                      </a:spcAft>
                      <a:defRPr/>
                    </a:pPr>
                    <a:endParaRPr lang="en-US" sz="1600" spc="-5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50" name="Oval 349">
                    <a:extLst>
                      <a:ext uri="{FF2B5EF4-FFF2-40B4-BE49-F238E27FC236}">
                        <a16:creationId xmlns:a16="http://schemas.microsoft.com/office/drawing/2014/main" id="{CE690E82-5E9B-4161-9BA7-82177289E3DD}"/>
                      </a:ext>
                    </a:extLst>
                  </p:cNvPr>
                  <p:cNvSpPr/>
                  <p:nvPr/>
                </p:nvSpPr>
                <p:spPr bwMode="auto">
                  <a:xfrm>
                    <a:off x="5506446" y="1850605"/>
                    <a:ext cx="126020" cy="1260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392" tIns="45696" rIns="45696" bIns="91392"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algn="ctr" defTabSz="913551" fontAlgn="base">
                      <a:spcBef>
                        <a:spcPct val="0"/>
                      </a:spcBef>
                      <a:spcAft>
                        <a:spcPct val="0"/>
                      </a:spcAft>
                      <a:defRPr/>
                    </a:pPr>
                    <a:endParaRPr lang="en-US" sz="1600" spc="-5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46" name="Rectangle 345">
                  <a:extLst>
                    <a:ext uri="{FF2B5EF4-FFF2-40B4-BE49-F238E27FC236}">
                      <a16:creationId xmlns:a16="http://schemas.microsoft.com/office/drawing/2014/main" id="{ECAC1235-B4B7-4B10-9582-1A95EC28EF42}"/>
                    </a:ext>
                  </a:extLst>
                </p:cNvPr>
                <p:cNvSpPr/>
                <p:nvPr/>
              </p:nvSpPr>
              <p:spPr bwMode="auto">
                <a:xfrm flipH="1">
                  <a:off x="4553231" y="1789294"/>
                  <a:ext cx="35695" cy="28644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392" tIns="45696" rIns="45696" bIns="91392"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algn="ctr" defTabSz="913551" fontAlgn="base">
                    <a:spcBef>
                      <a:spcPct val="0"/>
                    </a:spcBef>
                    <a:spcAft>
                      <a:spcPct val="0"/>
                    </a:spcAft>
                    <a:defRPr/>
                  </a:pPr>
                  <a:endParaRPr lang="en-US" sz="1600" spc="-5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7" name="Rectangle 346">
                  <a:extLst>
                    <a:ext uri="{FF2B5EF4-FFF2-40B4-BE49-F238E27FC236}">
                      <a16:creationId xmlns:a16="http://schemas.microsoft.com/office/drawing/2014/main" id="{A7ADF5EB-41E4-4039-ABD7-25BE8F80F458}"/>
                    </a:ext>
                  </a:extLst>
                </p:cNvPr>
                <p:cNvSpPr/>
                <p:nvPr/>
              </p:nvSpPr>
              <p:spPr bwMode="auto">
                <a:xfrm rot="5400000" flipH="1">
                  <a:off x="4556016" y="1795437"/>
                  <a:ext cx="35695" cy="2864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392" tIns="45696" rIns="45696" bIns="91392"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algn="ctr" defTabSz="913551" fontAlgn="base">
                    <a:spcBef>
                      <a:spcPct val="0"/>
                    </a:spcBef>
                    <a:spcAft>
                      <a:spcPct val="0"/>
                    </a:spcAft>
                    <a:defRPr/>
                  </a:pPr>
                  <a:endParaRPr lang="en-US" sz="1600" spc="-5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70" name="Group 269">
                <a:extLst>
                  <a:ext uri="{FF2B5EF4-FFF2-40B4-BE49-F238E27FC236}">
                    <a16:creationId xmlns:a16="http://schemas.microsoft.com/office/drawing/2014/main" id="{B726A13C-051C-4E11-9DFD-2E4B401E1AF5}"/>
                  </a:ext>
                </a:extLst>
              </p:cNvPr>
              <p:cNvGrpSpPr/>
              <p:nvPr/>
            </p:nvGrpSpPr>
            <p:grpSpPr>
              <a:xfrm rot="20781386">
                <a:off x="2789458" y="3462421"/>
                <a:ext cx="406235" cy="662069"/>
                <a:chOff x="6203753" y="1569838"/>
                <a:chExt cx="276805" cy="451130"/>
              </a:xfrm>
              <a:grpFill/>
            </p:grpSpPr>
            <p:sp>
              <p:nvSpPr>
                <p:cNvPr id="336" name="Rectangle 335">
                  <a:extLst>
                    <a:ext uri="{FF2B5EF4-FFF2-40B4-BE49-F238E27FC236}">
                      <a16:creationId xmlns:a16="http://schemas.microsoft.com/office/drawing/2014/main" id="{745B2854-BA6E-4B4F-91A3-368249FB53C9}"/>
                    </a:ext>
                  </a:extLst>
                </p:cNvPr>
                <p:cNvSpPr/>
                <p:nvPr/>
              </p:nvSpPr>
              <p:spPr bwMode="auto">
                <a:xfrm rot="10800000" flipH="1">
                  <a:off x="6289818" y="1569838"/>
                  <a:ext cx="96717" cy="17378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392" tIns="45696" rIns="45696" bIns="91392"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algn="ctr" defTabSz="913551" fontAlgn="base">
                    <a:spcBef>
                      <a:spcPct val="0"/>
                    </a:spcBef>
                    <a:spcAft>
                      <a:spcPct val="0"/>
                    </a:spcAft>
                    <a:defRPr/>
                  </a:pPr>
                  <a:endParaRPr lang="en-US" sz="1600" spc="-5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7" name="Oval 336">
                  <a:extLst>
                    <a:ext uri="{FF2B5EF4-FFF2-40B4-BE49-F238E27FC236}">
                      <a16:creationId xmlns:a16="http://schemas.microsoft.com/office/drawing/2014/main" id="{7EA819DB-DCD7-4C76-A8D7-160B4E45A2DF}"/>
                    </a:ext>
                  </a:extLst>
                </p:cNvPr>
                <p:cNvSpPr/>
                <p:nvPr/>
              </p:nvSpPr>
              <p:spPr bwMode="auto">
                <a:xfrm rot="10737439" flipH="1">
                  <a:off x="6286686" y="1707639"/>
                  <a:ext cx="110946" cy="11094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392" tIns="45696" rIns="45696" bIns="91392"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algn="ctr" defTabSz="913551" fontAlgn="base">
                    <a:spcBef>
                      <a:spcPct val="0"/>
                    </a:spcBef>
                    <a:spcAft>
                      <a:spcPct val="0"/>
                    </a:spcAft>
                    <a:defRPr/>
                  </a:pPr>
                  <a:endParaRPr lang="en-US" sz="1600" spc="-5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38" name="Group 337">
                  <a:extLst>
                    <a:ext uri="{FF2B5EF4-FFF2-40B4-BE49-F238E27FC236}">
                      <a16:creationId xmlns:a16="http://schemas.microsoft.com/office/drawing/2014/main" id="{DC248706-CEB0-44E4-A9B2-D1D7186D0FA1}"/>
                    </a:ext>
                  </a:extLst>
                </p:cNvPr>
                <p:cNvGrpSpPr/>
                <p:nvPr/>
              </p:nvGrpSpPr>
              <p:grpSpPr>
                <a:xfrm>
                  <a:off x="6203753" y="1748133"/>
                  <a:ext cx="99173" cy="272835"/>
                  <a:chOff x="5430362" y="1772113"/>
                  <a:chExt cx="99173" cy="272835"/>
                </a:xfrm>
                <a:grpFill/>
              </p:grpSpPr>
              <p:sp>
                <p:nvSpPr>
                  <p:cNvPr id="343" name="Rectangle 342">
                    <a:extLst>
                      <a:ext uri="{FF2B5EF4-FFF2-40B4-BE49-F238E27FC236}">
                        <a16:creationId xmlns:a16="http://schemas.microsoft.com/office/drawing/2014/main" id="{C2985064-54D2-48E6-9FDF-A1FB923D5241}"/>
                      </a:ext>
                    </a:extLst>
                  </p:cNvPr>
                  <p:cNvSpPr/>
                  <p:nvPr/>
                </p:nvSpPr>
                <p:spPr bwMode="auto">
                  <a:xfrm rot="13260000" flipH="1">
                    <a:off x="5468027" y="1772113"/>
                    <a:ext cx="45719" cy="1371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392" tIns="45696" rIns="45696" bIns="91392"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algn="ctr" defTabSz="913551" fontAlgn="base">
                      <a:spcBef>
                        <a:spcPct val="0"/>
                      </a:spcBef>
                      <a:spcAft>
                        <a:spcPct val="0"/>
                      </a:spcAft>
                      <a:defRPr/>
                    </a:pPr>
                    <a:endParaRPr lang="en-US" sz="1600" spc="-5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4" name="Diagonal Stripe 343">
                    <a:extLst>
                      <a:ext uri="{FF2B5EF4-FFF2-40B4-BE49-F238E27FC236}">
                        <a16:creationId xmlns:a16="http://schemas.microsoft.com/office/drawing/2014/main" id="{7DD79DB6-A351-4899-9B9C-DD86E4B23D49}"/>
                      </a:ext>
                    </a:extLst>
                  </p:cNvPr>
                  <p:cNvSpPr/>
                  <p:nvPr/>
                </p:nvSpPr>
                <p:spPr bwMode="auto">
                  <a:xfrm rot="19432650">
                    <a:off x="5430362" y="1862068"/>
                    <a:ext cx="99173" cy="182880"/>
                  </a:xfrm>
                  <a:prstGeom prst="diagStrip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392" tIns="45696" rIns="45696" bIns="91392"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algn="ctr" defTabSz="913551" fontAlgn="base">
                      <a:spcBef>
                        <a:spcPct val="0"/>
                      </a:spcBef>
                      <a:spcAft>
                        <a:spcPct val="0"/>
                      </a:spcAft>
                      <a:defRPr/>
                    </a:pPr>
                    <a:endParaRPr lang="en-US" sz="1600" spc="-5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340" name="Group 339">
                  <a:extLst>
                    <a:ext uri="{FF2B5EF4-FFF2-40B4-BE49-F238E27FC236}">
                      <a16:creationId xmlns:a16="http://schemas.microsoft.com/office/drawing/2014/main" id="{D0A1C3E5-3197-4B1A-A608-B1A24FD65562}"/>
                    </a:ext>
                  </a:extLst>
                </p:cNvPr>
                <p:cNvGrpSpPr/>
                <p:nvPr/>
              </p:nvGrpSpPr>
              <p:grpSpPr>
                <a:xfrm flipH="1">
                  <a:off x="6381385" y="1748134"/>
                  <a:ext cx="99173" cy="272833"/>
                  <a:chOff x="5422401" y="1772114"/>
                  <a:chExt cx="99173" cy="272833"/>
                </a:xfrm>
                <a:grpFill/>
              </p:grpSpPr>
              <p:sp>
                <p:nvSpPr>
                  <p:cNvPr id="341" name="Rectangle 340">
                    <a:extLst>
                      <a:ext uri="{FF2B5EF4-FFF2-40B4-BE49-F238E27FC236}">
                        <a16:creationId xmlns:a16="http://schemas.microsoft.com/office/drawing/2014/main" id="{FFCD4515-02A4-4626-96AA-418B72FA4357}"/>
                      </a:ext>
                    </a:extLst>
                  </p:cNvPr>
                  <p:cNvSpPr/>
                  <p:nvPr/>
                </p:nvSpPr>
                <p:spPr bwMode="auto">
                  <a:xfrm rot="13260000" flipH="1">
                    <a:off x="5460058" y="1772114"/>
                    <a:ext cx="45719" cy="1371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392" tIns="45696" rIns="45696" bIns="91392"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algn="ctr" defTabSz="913551" fontAlgn="base">
                      <a:spcBef>
                        <a:spcPct val="0"/>
                      </a:spcBef>
                      <a:spcAft>
                        <a:spcPct val="0"/>
                      </a:spcAft>
                      <a:defRPr/>
                    </a:pPr>
                    <a:endParaRPr lang="en-US" sz="1600" spc="-5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42" name="Diagonal Stripe 341">
                    <a:extLst>
                      <a:ext uri="{FF2B5EF4-FFF2-40B4-BE49-F238E27FC236}">
                        <a16:creationId xmlns:a16="http://schemas.microsoft.com/office/drawing/2014/main" id="{740F3282-C169-4644-BD05-861E096CA520}"/>
                      </a:ext>
                    </a:extLst>
                  </p:cNvPr>
                  <p:cNvSpPr/>
                  <p:nvPr/>
                </p:nvSpPr>
                <p:spPr bwMode="auto">
                  <a:xfrm rot="19432650">
                    <a:off x="5422401" y="1862067"/>
                    <a:ext cx="99173" cy="182880"/>
                  </a:xfrm>
                  <a:prstGeom prst="diagStrip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392" tIns="45696" rIns="45696" bIns="91392"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algn="ctr" defTabSz="913551" fontAlgn="base">
                      <a:spcBef>
                        <a:spcPct val="0"/>
                      </a:spcBef>
                      <a:spcAft>
                        <a:spcPct val="0"/>
                      </a:spcAft>
                      <a:defRPr/>
                    </a:pPr>
                    <a:endParaRPr lang="en-US" sz="1600" spc="-5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273" name="Group 272">
                <a:extLst>
                  <a:ext uri="{FF2B5EF4-FFF2-40B4-BE49-F238E27FC236}">
                    <a16:creationId xmlns:a16="http://schemas.microsoft.com/office/drawing/2014/main" id="{F398767C-B786-4FE1-8FBB-3C366258CD46}"/>
                  </a:ext>
                </a:extLst>
              </p:cNvPr>
              <p:cNvGrpSpPr/>
              <p:nvPr/>
            </p:nvGrpSpPr>
            <p:grpSpPr>
              <a:xfrm>
                <a:off x="2732452" y="3244007"/>
                <a:ext cx="281811" cy="281811"/>
                <a:chOff x="4394973" y="1762558"/>
                <a:chExt cx="352210" cy="352210"/>
              </a:xfrm>
              <a:grpFill/>
            </p:grpSpPr>
            <p:grpSp>
              <p:nvGrpSpPr>
                <p:cNvPr id="294" name="Group 293">
                  <a:extLst>
                    <a:ext uri="{FF2B5EF4-FFF2-40B4-BE49-F238E27FC236}">
                      <a16:creationId xmlns:a16="http://schemas.microsoft.com/office/drawing/2014/main" id="{82280260-5190-4354-8582-F6514BCF9F55}"/>
                    </a:ext>
                  </a:extLst>
                </p:cNvPr>
                <p:cNvGrpSpPr/>
                <p:nvPr/>
              </p:nvGrpSpPr>
              <p:grpSpPr>
                <a:xfrm flipH="1">
                  <a:off x="4394973" y="1762558"/>
                  <a:ext cx="352210" cy="352210"/>
                  <a:chOff x="5411363" y="1755522"/>
                  <a:chExt cx="316187" cy="316187"/>
                </a:xfrm>
                <a:grpFill/>
              </p:grpSpPr>
              <p:sp>
                <p:nvSpPr>
                  <p:cNvPr id="326" name="Oval 325">
                    <a:extLst>
                      <a:ext uri="{FF2B5EF4-FFF2-40B4-BE49-F238E27FC236}">
                        <a16:creationId xmlns:a16="http://schemas.microsoft.com/office/drawing/2014/main" id="{0323AB0C-0033-462A-8298-73CDEFA1B379}"/>
                      </a:ext>
                    </a:extLst>
                  </p:cNvPr>
                  <p:cNvSpPr/>
                  <p:nvPr/>
                </p:nvSpPr>
                <p:spPr bwMode="auto">
                  <a:xfrm>
                    <a:off x="5411363" y="1755522"/>
                    <a:ext cx="316187" cy="31618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392" tIns="45696" rIns="45696" bIns="91392"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algn="ctr" defTabSz="913551" fontAlgn="base">
                      <a:spcBef>
                        <a:spcPct val="0"/>
                      </a:spcBef>
                      <a:spcAft>
                        <a:spcPct val="0"/>
                      </a:spcAft>
                      <a:defRPr/>
                    </a:pPr>
                    <a:endParaRPr lang="en-US" sz="1600" spc="-5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9" name="Oval 328">
                    <a:extLst>
                      <a:ext uri="{FF2B5EF4-FFF2-40B4-BE49-F238E27FC236}">
                        <a16:creationId xmlns:a16="http://schemas.microsoft.com/office/drawing/2014/main" id="{8EEE6A3B-E8CA-4543-A04B-5090FEA893E0}"/>
                      </a:ext>
                    </a:extLst>
                  </p:cNvPr>
                  <p:cNvSpPr/>
                  <p:nvPr/>
                </p:nvSpPr>
                <p:spPr bwMode="auto">
                  <a:xfrm>
                    <a:off x="5462797" y="1806956"/>
                    <a:ext cx="213318" cy="21331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392" tIns="45696" rIns="45696" bIns="91392"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algn="ctr" defTabSz="913551" fontAlgn="base">
                      <a:spcBef>
                        <a:spcPct val="0"/>
                      </a:spcBef>
                      <a:spcAft>
                        <a:spcPct val="0"/>
                      </a:spcAft>
                      <a:defRPr/>
                    </a:pPr>
                    <a:endParaRPr lang="en-US" sz="1600" spc="-5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2" name="Oval 331">
                    <a:extLst>
                      <a:ext uri="{FF2B5EF4-FFF2-40B4-BE49-F238E27FC236}">
                        <a16:creationId xmlns:a16="http://schemas.microsoft.com/office/drawing/2014/main" id="{B79F0743-84A0-410B-AED1-CB6B7E015550}"/>
                      </a:ext>
                    </a:extLst>
                  </p:cNvPr>
                  <p:cNvSpPr/>
                  <p:nvPr/>
                </p:nvSpPr>
                <p:spPr bwMode="auto">
                  <a:xfrm>
                    <a:off x="5506446" y="1850605"/>
                    <a:ext cx="126020" cy="1260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392" tIns="45696" rIns="45696" bIns="91392"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algn="ctr" defTabSz="913551" fontAlgn="base">
                      <a:spcBef>
                        <a:spcPct val="0"/>
                      </a:spcBef>
                      <a:spcAft>
                        <a:spcPct val="0"/>
                      </a:spcAft>
                      <a:defRPr/>
                    </a:pPr>
                    <a:endParaRPr lang="en-US" sz="1600" spc="-5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20" name="Rectangle 319">
                  <a:extLst>
                    <a:ext uri="{FF2B5EF4-FFF2-40B4-BE49-F238E27FC236}">
                      <a16:creationId xmlns:a16="http://schemas.microsoft.com/office/drawing/2014/main" id="{63E1C910-3410-47D1-8716-B147181DBB12}"/>
                    </a:ext>
                  </a:extLst>
                </p:cNvPr>
                <p:cNvSpPr/>
                <p:nvPr/>
              </p:nvSpPr>
              <p:spPr bwMode="auto">
                <a:xfrm flipH="1">
                  <a:off x="4553229" y="1795031"/>
                  <a:ext cx="35696" cy="26441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392" tIns="45696" rIns="45696" bIns="91392"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algn="ctr" defTabSz="913551" fontAlgn="base">
                    <a:spcBef>
                      <a:spcPct val="0"/>
                    </a:spcBef>
                    <a:spcAft>
                      <a:spcPct val="0"/>
                    </a:spcAft>
                    <a:defRPr/>
                  </a:pPr>
                  <a:endParaRPr lang="en-US" sz="1600" spc="-5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1" name="Rectangle 320">
                  <a:extLst>
                    <a:ext uri="{FF2B5EF4-FFF2-40B4-BE49-F238E27FC236}">
                      <a16:creationId xmlns:a16="http://schemas.microsoft.com/office/drawing/2014/main" id="{E309DDC8-0929-4C51-933E-199C65C896CA}"/>
                    </a:ext>
                  </a:extLst>
                </p:cNvPr>
                <p:cNvSpPr/>
                <p:nvPr/>
              </p:nvSpPr>
              <p:spPr bwMode="auto">
                <a:xfrm rot="5400000" flipH="1">
                  <a:off x="4559388" y="1806456"/>
                  <a:ext cx="35696" cy="26441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392" tIns="45696" rIns="45696" bIns="91392"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algn="ctr" defTabSz="913551" fontAlgn="base">
                    <a:spcBef>
                      <a:spcPct val="0"/>
                    </a:spcBef>
                    <a:spcAft>
                      <a:spcPct val="0"/>
                    </a:spcAft>
                    <a:defRPr/>
                  </a:pPr>
                  <a:endParaRPr lang="en-US" sz="1600" spc="-5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74" name="Rounded Rectangle 473">
                <a:extLst>
                  <a:ext uri="{FF2B5EF4-FFF2-40B4-BE49-F238E27FC236}">
                    <a16:creationId xmlns:a16="http://schemas.microsoft.com/office/drawing/2014/main" id="{63B05264-E557-47AF-9202-CCC375A7F2C4}"/>
                  </a:ext>
                </a:extLst>
              </p:cNvPr>
              <p:cNvSpPr/>
              <p:nvPr/>
            </p:nvSpPr>
            <p:spPr bwMode="auto">
              <a:xfrm flipH="1">
                <a:off x="1188631" y="4306131"/>
                <a:ext cx="1241311" cy="391405"/>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392" tIns="45696" rIns="45696" bIns="91392"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algn="ctr" defTabSz="913551" fontAlgn="base">
                  <a:spcBef>
                    <a:spcPct val="0"/>
                  </a:spcBef>
                  <a:spcAft>
                    <a:spcPct val="0"/>
                  </a:spcAft>
                  <a:defRPr/>
                </a:pPr>
                <a:endParaRPr lang="en-US" sz="1600" spc="-5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3" name="Rounded Rectangle 474">
                <a:extLst>
                  <a:ext uri="{FF2B5EF4-FFF2-40B4-BE49-F238E27FC236}">
                    <a16:creationId xmlns:a16="http://schemas.microsoft.com/office/drawing/2014/main" id="{800EEBD2-B0D3-4EFC-AE0A-882359DEEE77}"/>
                  </a:ext>
                </a:extLst>
              </p:cNvPr>
              <p:cNvSpPr/>
              <p:nvPr/>
            </p:nvSpPr>
            <p:spPr bwMode="auto">
              <a:xfrm flipH="1">
                <a:off x="1048844" y="4501833"/>
                <a:ext cx="1520885" cy="219809"/>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392" tIns="45696" rIns="45696" bIns="91392"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algn="ctr" defTabSz="913551" fontAlgn="base">
                  <a:spcBef>
                    <a:spcPct val="0"/>
                  </a:spcBef>
                  <a:spcAft>
                    <a:spcPct val="0"/>
                  </a:spcAft>
                  <a:defRPr/>
                </a:pPr>
                <a:endParaRPr lang="en-US" sz="1600" spc="-5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87" name="Group 186">
              <a:extLst>
                <a:ext uri="{FF2B5EF4-FFF2-40B4-BE49-F238E27FC236}">
                  <a16:creationId xmlns:a16="http://schemas.microsoft.com/office/drawing/2014/main" id="{060EE8B6-1A20-46D5-911A-C76AF2138F85}"/>
                </a:ext>
              </a:extLst>
            </p:cNvPr>
            <p:cNvGrpSpPr/>
            <p:nvPr/>
          </p:nvGrpSpPr>
          <p:grpSpPr>
            <a:xfrm rot="12600000">
              <a:off x="4479602" y="3768392"/>
              <a:ext cx="71455" cy="119379"/>
              <a:chOff x="2687372" y="3149601"/>
              <a:chExt cx="81465" cy="132564"/>
            </a:xfrm>
            <a:grpFill/>
          </p:grpSpPr>
          <p:sp>
            <p:nvSpPr>
              <p:cNvPr id="188" name="Freeform 75">
                <a:extLst>
                  <a:ext uri="{FF2B5EF4-FFF2-40B4-BE49-F238E27FC236}">
                    <a16:creationId xmlns:a16="http://schemas.microsoft.com/office/drawing/2014/main" id="{1510C9A8-91E9-4C63-8C20-CA0693B782FF}"/>
                  </a:ext>
                </a:extLst>
              </p:cNvPr>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defTabSz="1087779">
                  <a:defRPr/>
                </a:pPr>
                <a:endParaRPr lang="en-US" sz="2198">
                  <a:solidFill>
                    <a:srgbClr val="000000"/>
                  </a:solidFill>
                  <a:latin typeface="Segoe UI"/>
                </a:endParaRPr>
              </a:p>
            </p:txBody>
          </p:sp>
          <p:sp>
            <p:nvSpPr>
              <p:cNvPr id="189" name="Freeform 76">
                <a:extLst>
                  <a:ext uri="{FF2B5EF4-FFF2-40B4-BE49-F238E27FC236}">
                    <a16:creationId xmlns:a16="http://schemas.microsoft.com/office/drawing/2014/main" id="{0CB161F1-CA60-4BF5-A414-6B4E266B4D68}"/>
                  </a:ext>
                </a:extLst>
              </p:cNvPr>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defTabSz="1087779">
                  <a:defRPr/>
                </a:pPr>
                <a:endParaRPr lang="en-US" sz="2198">
                  <a:solidFill>
                    <a:srgbClr val="000000"/>
                  </a:solidFill>
                  <a:latin typeface="Segoe UI"/>
                </a:endParaRPr>
              </a:p>
            </p:txBody>
          </p:sp>
          <p:sp>
            <p:nvSpPr>
              <p:cNvPr id="190" name="Freeform 77">
                <a:extLst>
                  <a:ext uri="{FF2B5EF4-FFF2-40B4-BE49-F238E27FC236}">
                    <a16:creationId xmlns:a16="http://schemas.microsoft.com/office/drawing/2014/main" id="{5BE5916C-96DA-407B-BC0D-18F56A9966A5}"/>
                  </a:ext>
                </a:extLst>
              </p:cNvPr>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defTabSz="1087779">
                  <a:defRPr/>
                </a:pPr>
                <a:endParaRPr lang="en-US" sz="2198">
                  <a:solidFill>
                    <a:srgbClr val="000000"/>
                  </a:solidFill>
                  <a:latin typeface="Segoe UI"/>
                </a:endParaRPr>
              </a:p>
            </p:txBody>
          </p:sp>
          <p:sp>
            <p:nvSpPr>
              <p:cNvPr id="193" name="Freeform 78">
                <a:extLst>
                  <a:ext uri="{FF2B5EF4-FFF2-40B4-BE49-F238E27FC236}">
                    <a16:creationId xmlns:a16="http://schemas.microsoft.com/office/drawing/2014/main" id="{38E99AA8-2942-48A0-A824-C66F83D73D76}"/>
                  </a:ext>
                </a:extLst>
              </p:cNvPr>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defTabSz="1087779">
                  <a:defRPr/>
                </a:pPr>
                <a:endParaRPr lang="en-US" sz="2198">
                  <a:solidFill>
                    <a:srgbClr val="000000"/>
                  </a:solidFill>
                  <a:latin typeface="Segoe UI"/>
                </a:endParaRPr>
              </a:p>
            </p:txBody>
          </p:sp>
          <p:sp>
            <p:nvSpPr>
              <p:cNvPr id="194" name="Freeform 79">
                <a:extLst>
                  <a:ext uri="{FF2B5EF4-FFF2-40B4-BE49-F238E27FC236}">
                    <a16:creationId xmlns:a16="http://schemas.microsoft.com/office/drawing/2014/main" id="{B08E5C6C-4F61-4A46-A0BB-0344BA907D1E}"/>
                  </a:ext>
                </a:extLst>
              </p:cNvPr>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defTabSz="1087779">
                  <a:defRPr/>
                </a:pPr>
                <a:endParaRPr lang="en-US" sz="2198">
                  <a:solidFill>
                    <a:srgbClr val="000000"/>
                  </a:solidFill>
                  <a:latin typeface="Segoe UI"/>
                </a:endParaRPr>
              </a:p>
            </p:txBody>
          </p:sp>
          <p:sp>
            <p:nvSpPr>
              <p:cNvPr id="195" name="Freeform 80">
                <a:extLst>
                  <a:ext uri="{FF2B5EF4-FFF2-40B4-BE49-F238E27FC236}">
                    <a16:creationId xmlns:a16="http://schemas.microsoft.com/office/drawing/2014/main" id="{06072006-A3D0-4354-A0E1-11A2BA53AC0F}"/>
                  </a:ext>
                </a:extLst>
              </p:cNvPr>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defTabSz="1087779">
                  <a:defRPr/>
                </a:pPr>
                <a:endParaRPr lang="en-US" sz="2198">
                  <a:solidFill>
                    <a:srgbClr val="000000"/>
                  </a:solidFill>
                  <a:latin typeface="Segoe UI"/>
                </a:endParaRPr>
              </a:p>
            </p:txBody>
          </p:sp>
        </p:grpSp>
      </p:grpSp>
      <p:sp>
        <p:nvSpPr>
          <p:cNvPr id="183" name="Oval 2">
            <a:extLst>
              <a:ext uri="{FF2B5EF4-FFF2-40B4-BE49-F238E27FC236}">
                <a16:creationId xmlns:a16="http://schemas.microsoft.com/office/drawing/2014/main" id="{73827AAE-AD99-4E85-9DEA-EFF23DAE5016}"/>
              </a:ext>
            </a:extLst>
          </p:cNvPr>
          <p:cNvSpPr/>
          <p:nvPr/>
        </p:nvSpPr>
        <p:spPr>
          <a:xfrm flipH="1">
            <a:off x="1240141" y="2473841"/>
            <a:ext cx="249592" cy="308483"/>
          </a:xfrm>
          <a:custGeom>
            <a:avLst/>
            <a:gdLst/>
            <a:ahLst/>
            <a:cxnLst/>
            <a:rect l="l" t="t" r="r" b="b"/>
            <a:pathLst>
              <a:path w="3374788" h="4171059">
                <a:moveTo>
                  <a:pt x="771909" y="3040028"/>
                </a:moveTo>
                <a:cubicBezTo>
                  <a:pt x="764688" y="3037652"/>
                  <a:pt x="751516" y="3047287"/>
                  <a:pt x="727721" y="3063632"/>
                </a:cubicBezTo>
                <a:cubicBezTo>
                  <a:pt x="345134" y="3307774"/>
                  <a:pt x="107997" y="3758257"/>
                  <a:pt x="0" y="4171059"/>
                </a:cubicBezTo>
                <a:lnTo>
                  <a:pt x="774469" y="4171059"/>
                </a:lnTo>
                <a:lnTo>
                  <a:pt x="780403" y="3088486"/>
                </a:lnTo>
                <a:cubicBezTo>
                  <a:pt x="780403" y="3056790"/>
                  <a:pt x="779131" y="3042403"/>
                  <a:pt x="771909" y="3040028"/>
                </a:cubicBezTo>
                <a:close/>
                <a:moveTo>
                  <a:pt x="2602878" y="3040028"/>
                </a:moveTo>
                <a:cubicBezTo>
                  <a:pt x="2595656" y="3042403"/>
                  <a:pt x="2594383" y="3056790"/>
                  <a:pt x="2594383" y="3088486"/>
                </a:cubicBezTo>
                <a:cubicBezTo>
                  <a:pt x="2587742" y="3209432"/>
                  <a:pt x="2593325" y="3665865"/>
                  <a:pt x="2591726" y="3776029"/>
                </a:cubicBezTo>
                <a:lnTo>
                  <a:pt x="2596919" y="4171059"/>
                </a:lnTo>
                <a:lnTo>
                  <a:pt x="3374788" y="4171059"/>
                </a:lnTo>
                <a:cubicBezTo>
                  <a:pt x="3266790" y="3758257"/>
                  <a:pt x="3029653" y="3307774"/>
                  <a:pt x="2647066" y="3063632"/>
                </a:cubicBezTo>
                <a:cubicBezTo>
                  <a:pt x="2623270" y="3047287"/>
                  <a:pt x="2610099" y="3037652"/>
                  <a:pt x="2602878" y="3040028"/>
                </a:cubicBezTo>
                <a:close/>
                <a:moveTo>
                  <a:pt x="2228309" y="2878197"/>
                </a:moveTo>
                <a:lnTo>
                  <a:pt x="2195779" y="2878197"/>
                </a:lnTo>
                <a:cubicBezTo>
                  <a:pt x="2056467" y="2937187"/>
                  <a:pt x="1879621" y="2971167"/>
                  <a:pt x="1687394" y="2971167"/>
                </a:cubicBezTo>
                <a:cubicBezTo>
                  <a:pt x="1495167" y="2971167"/>
                  <a:pt x="1318321" y="2937187"/>
                  <a:pt x="1179010" y="2878197"/>
                </a:cubicBezTo>
                <a:lnTo>
                  <a:pt x="1131217" y="2878197"/>
                </a:lnTo>
                <a:cubicBezTo>
                  <a:pt x="1048694" y="2878197"/>
                  <a:pt x="981796" y="2945095"/>
                  <a:pt x="981796" y="3027617"/>
                </a:cubicBezTo>
                <a:lnTo>
                  <a:pt x="981796" y="3774700"/>
                </a:lnTo>
                <a:lnTo>
                  <a:pt x="2377729" y="3774700"/>
                </a:lnTo>
                <a:lnTo>
                  <a:pt x="2377729" y="3027617"/>
                </a:lnTo>
                <a:cubicBezTo>
                  <a:pt x="2377729" y="2945095"/>
                  <a:pt x="2310831" y="2878197"/>
                  <a:pt x="2228309" y="2878197"/>
                </a:cubicBezTo>
                <a:close/>
                <a:moveTo>
                  <a:pt x="2694954" y="1709424"/>
                </a:moveTo>
                <a:lnTo>
                  <a:pt x="617243" y="1709424"/>
                </a:lnTo>
                <a:cubicBezTo>
                  <a:pt x="640929" y="2282712"/>
                  <a:pt x="1097068" y="2739488"/>
                  <a:pt x="1656099" y="2739488"/>
                </a:cubicBezTo>
                <a:cubicBezTo>
                  <a:pt x="2215130" y="2739488"/>
                  <a:pt x="2671267" y="2282712"/>
                  <a:pt x="2694954" y="1709424"/>
                </a:cubicBezTo>
                <a:close/>
                <a:moveTo>
                  <a:pt x="2966814" y="1365251"/>
                </a:moveTo>
                <a:lnTo>
                  <a:pt x="351307" y="1365251"/>
                </a:lnTo>
                <a:cubicBezTo>
                  <a:pt x="292893" y="1367234"/>
                  <a:pt x="246489" y="1415501"/>
                  <a:pt x="246489" y="1474606"/>
                </a:cubicBezTo>
                <a:cubicBezTo>
                  <a:pt x="246489" y="1535634"/>
                  <a:pt x="295963" y="1585108"/>
                  <a:pt x="356991" y="1585108"/>
                </a:cubicBezTo>
                <a:lnTo>
                  <a:pt x="2961130" y="1585108"/>
                </a:lnTo>
                <a:cubicBezTo>
                  <a:pt x="3022158" y="1585108"/>
                  <a:pt x="3071632" y="1535634"/>
                  <a:pt x="3071632" y="1474606"/>
                </a:cubicBezTo>
                <a:cubicBezTo>
                  <a:pt x="3071632" y="1415501"/>
                  <a:pt x="3025228" y="1367234"/>
                  <a:pt x="2966814" y="1365251"/>
                </a:cubicBezTo>
                <a:close/>
                <a:moveTo>
                  <a:pt x="1113569" y="221137"/>
                </a:moveTo>
                <a:cubicBezTo>
                  <a:pt x="751890" y="417042"/>
                  <a:pt x="506294" y="799902"/>
                  <a:pt x="506294" y="1240124"/>
                </a:cubicBezTo>
                <a:cubicBezTo>
                  <a:pt x="506294" y="1271585"/>
                  <a:pt x="507549" y="1302752"/>
                  <a:pt x="511009" y="1333500"/>
                </a:cubicBezTo>
                <a:lnTo>
                  <a:pt x="1113569" y="1333500"/>
                </a:lnTo>
                <a:close/>
                <a:moveTo>
                  <a:pt x="2215498" y="221137"/>
                </a:moveTo>
                <a:lnTo>
                  <a:pt x="2215498" y="1333500"/>
                </a:lnTo>
                <a:lnTo>
                  <a:pt x="2818058" y="1333500"/>
                </a:lnTo>
                <a:cubicBezTo>
                  <a:pt x="2821518" y="1302752"/>
                  <a:pt x="2822773" y="1271585"/>
                  <a:pt x="2822773" y="1240124"/>
                </a:cubicBezTo>
                <a:cubicBezTo>
                  <a:pt x="2822773" y="799902"/>
                  <a:pt x="2577177" y="417042"/>
                  <a:pt x="2215498" y="221137"/>
                </a:cubicBezTo>
                <a:close/>
                <a:moveTo>
                  <a:pt x="1664534" y="0"/>
                </a:moveTo>
                <a:cubicBezTo>
                  <a:pt x="1489015" y="0"/>
                  <a:pt x="1321560" y="34524"/>
                  <a:pt x="1168837" y="97757"/>
                </a:cubicBezTo>
                <a:lnTo>
                  <a:pt x="1168837" y="1333501"/>
                </a:lnTo>
                <a:lnTo>
                  <a:pt x="2160230" y="1333501"/>
                </a:lnTo>
                <a:lnTo>
                  <a:pt x="2160230" y="97757"/>
                </a:lnTo>
                <a:cubicBezTo>
                  <a:pt x="2007507" y="34524"/>
                  <a:pt x="1840052" y="0"/>
                  <a:pt x="1664534" y="0"/>
                </a:cubicBezTo>
                <a:close/>
              </a:path>
            </a:pathLst>
          </a:custGeom>
          <a:solidFill>
            <a:srgbClr val="5E83BD"/>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16" tIns="91416" rIns="91416" bIns="91416"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algn="r" defTabSz="1087779">
              <a:defRPr/>
            </a:pPr>
            <a:endParaRPr lang="en-US" sz="1200">
              <a:solidFill>
                <a:prstClr val="white"/>
              </a:solidFill>
              <a:latin typeface="Segoe UI"/>
            </a:endParaRPr>
          </a:p>
        </p:txBody>
      </p:sp>
      <p:sp>
        <p:nvSpPr>
          <p:cNvPr id="362" name="TextBox 361">
            <a:extLst>
              <a:ext uri="{FF2B5EF4-FFF2-40B4-BE49-F238E27FC236}">
                <a16:creationId xmlns:a16="http://schemas.microsoft.com/office/drawing/2014/main" id="{A68A151F-6E01-44F0-B37D-033FACD74687}"/>
              </a:ext>
            </a:extLst>
          </p:cNvPr>
          <p:cNvSpPr txBox="1"/>
          <p:nvPr/>
        </p:nvSpPr>
        <p:spPr>
          <a:xfrm>
            <a:off x="2103992" y="2529571"/>
            <a:ext cx="2070872" cy="926355"/>
          </a:xfrm>
          <a:prstGeom prst="rect">
            <a:avLst/>
          </a:prstGeom>
        </p:spPr>
        <p:txBody>
          <a:bodyPr vert="horz" wrap="square" lIns="45708" tIns="45708" rIns="45708" bIns="45708" rtlCol="0" anchor="ctr">
            <a:noAutofit/>
          </a:bodyPr>
          <a:lstStyle/>
          <a:p>
            <a:pPr defTabSz="1087779">
              <a:defRPr/>
            </a:pPr>
            <a:r>
              <a:rPr lang="en-US" sz="1600" kern="0" dirty="0">
                <a:solidFill>
                  <a:srgbClr val="505050"/>
                </a:solidFill>
                <a:latin typeface="Segoe UI Semibold" panose="020B0702040204020203" pitchFamily="34" charset="0"/>
                <a:ea typeface="Segoe UI" pitchFamily="34" charset="0"/>
                <a:cs typeface="Segoe UI Semibold" panose="020B0702040204020203" pitchFamily="34" charset="0"/>
              </a:rPr>
              <a:t>Safe Empowered</a:t>
            </a:r>
            <a:br>
              <a:rPr lang="en-US" sz="1600" kern="0" dirty="0">
                <a:solidFill>
                  <a:srgbClr val="505050"/>
                </a:solidFill>
                <a:latin typeface="Segoe UI Semibold" panose="020B0702040204020203" pitchFamily="34" charset="0"/>
                <a:ea typeface="Segoe UI" pitchFamily="34" charset="0"/>
                <a:cs typeface="Segoe UI Semibold" panose="020B0702040204020203" pitchFamily="34" charset="0"/>
              </a:rPr>
            </a:br>
            <a:r>
              <a:rPr lang="en-US" sz="1600" kern="0" dirty="0">
                <a:solidFill>
                  <a:srgbClr val="505050"/>
                </a:solidFill>
                <a:latin typeface="Segoe UI Semibold" panose="020B0702040204020203" pitchFamily="34" charset="0"/>
                <a:ea typeface="Segoe UI" pitchFamily="34" charset="0"/>
                <a:cs typeface="Segoe UI Semibold" panose="020B0702040204020203" pitchFamily="34" charset="0"/>
              </a:rPr>
              <a:t>Human-Machine</a:t>
            </a:r>
            <a:br>
              <a:rPr lang="en-US" sz="1600" kern="0" dirty="0">
                <a:solidFill>
                  <a:srgbClr val="505050"/>
                </a:solidFill>
                <a:latin typeface="Segoe UI Semibold" panose="020B0702040204020203" pitchFamily="34" charset="0"/>
                <a:ea typeface="Segoe UI" pitchFamily="34" charset="0"/>
                <a:cs typeface="Segoe UI Semibold" panose="020B0702040204020203" pitchFamily="34" charset="0"/>
              </a:rPr>
            </a:br>
            <a:r>
              <a:rPr lang="en-US" sz="1600" kern="0" dirty="0">
                <a:solidFill>
                  <a:srgbClr val="505050"/>
                </a:solidFill>
                <a:latin typeface="Segoe UI Semibold" panose="020B0702040204020203" pitchFamily="34" charset="0"/>
                <a:ea typeface="Segoe UI" pitchFamily="34" charset="0"/>
                <a:cs typeface="Segoe UI Semibold" panose="020B0702040204020203" pitchFamily="34" charset="0"/>
              </a:rPr>
              <a:t>Collaboration</a:t>
            </a:r>
          </a:p>
        </p:txBody>
      </p:sp>
      <p:sp>
        <p:nvSpPr>
          <p:cNvPr id="363" name="Oval 2">
            <a:extLst>
              <a:ext uri="{FF2B5EF4-FFF2-40B4-BE49-F238E27FC236}">
                <a16:creationId xmlns:a16="http://schemas.microsoft.com/office/drawing/2014/main" id="{8DC0C182-AF59-4183-A890-C097F06687EE}"/>
              </a:ext>
            </a:extLst>
          </p:cNvPr>
          <p:cNvSpPr/>
          <p:nvPr/>
        </p:nvSpPr>
        <p:spPr>
          <a:xfrm flipH="1">
            <a:off x="1371134" y="3467152"/>
            <a:ext cx="249592" cy="308483"/>
          </a:xfrm>
          <a:custGeom>
            <a:avLst/>
            <a:gdLst/>
            <a:ahLst/>
            <a:cxnLst/>
            <a:rect l="l" t="t" r="r" b="b"/>
            <a:pathLst>
              <a:path w="3374788" h="4171059">
                <a:moveTo>
                  <a:pt x="771909" y="3040028"/>
                </a:moveTo>
                <a:cubicBezTo>
                  <a:pt x="764688" y="3037652"/>
                  <a:pt x="751516" y="3047287"/>
                  <a:pt x="727721" y="3063632"/>
                </a:cubicBezTo>
                <a:cubicBezTo>
                  <a:pt x="345134" y="3307774"/>
                  <a:pt x="107997" y="3758257"/>
                  <a:pt x="0" y="4171059"/>
                </a:cubicBezTo>
                <a:lnTo>
                  <a:pt x="774469" y="4171059"/>
                </a:lnTo>
                <a:lnTo>
                  <a:pt x="780403" y="3088486"/>
                </a:lnTo>
                <a:cubicBezTo>
                  <a:pt x="780403" y="3056790"/>
                  <a:pt x="779131" y="3042403"/>
                  <a:pt x="771909" y="3040028"/>
                </a:cubicBezTo>
                <a:close/>
                <a:moveTo>
                  <a:pt x="2602878" y="3040028"/>
                </a:moveTo>
                <a:cubicBezTo>
                  <a:pt x="2595656" y="3042403"/>
                  <a:pt x="2594383" y="3056790"/>
                  <a:pt x="2594383" y="3088486"/>
                </a:cubicBezTo>
                <a:cubicBezTo>
                  <a:pt x="2587742" y="3209432"/>
                  <a:pt x="2593325" y="3665865"/>
                  <a:pt x="2591726" y="3776029"/>
                </a:cubicBezTo>
                <a:lnTo>
                  <a:pt x="2596919" y="4171059"/>
                </a:lnTo>
                <a:lnTo>
                  <a:pt x="3374788" y="4171059"/>
                </a:lnTo>
                <a:cubicBezTo>
                  <a:pt x="3266790" y="3758257"/>
                  <a:pt x="3029653" y="3307774"/>
                  <a:pt x="2647066" y="3063632"/>
                </a:cubicBezTo>
                <a:cubicBezTo>
                  <a:pt x="2623270" y="3047287"/>
                  <a:pt x="2610099" y="3037652"/>
                  <a:pt x="2602878" y="3040028"/>
                </a:cubicBezTo>
                <a:close/>
                <a:moveTo>
                  <a:pt x="2228309" y="2878197"/>
                </a:moveTo>
                <a:lnTo>
                  <a:pt x="2195779" y="2878197"/>
                </a:lnTo>
                <a:cubicBezTo>
                  <a:pt x="2056467" y="2937187"/>
                  <a:pt x="1879621" y="2971167"/>
                  <a:pt x="1687394" y="2971167"/>
                </a:cubicBezTo>
                <a:cubicBezTo>
                  <a:pt x="1495167" y="2971167"/>
                  <a:pt x="1318321" y="2937187"/>
                  <a:pt x="1179010" y="2878197"/>
                </a:cubicBezTo>
                <a:lnTo>
                  <a:pt x="1131217" y="2878197"/>
                </a:lnTo>
                <a:cubicBezTo>
                  <a:pt x="1048694" y="2878197"/>
                  <a:pt x="981796" y="2945095"/>
                  <a:pt x="981796" y="3027617"/>
                </a:cubicBezTo>
                <a:lnTo>
                  <a:pt x="981796" y="3774700"/>
                </a:lnTo>
                <a:lnTo>
                  <a:pt x="2377729" y="3774700"/>
                </a:lnTo>
                <a:lnTo>
                  <a:pt x="2377729" y="3027617"/>
                </a:lnTo>
                <a:cubicBezTo>
                  <a:pt x="2377729" y="2945095"/>
                  <a:pt x="2310831" y="2878197"/>
                  <a:pt x="2228309" y="2878197"/>
                </a:cubicBezTo>
                <a:close/>
                <a:moveTo>
                  <a:pt x="2694954" y="1709424"/>
                </a:moveTo>
                <a:lnTo>
                  <a:pt x="617243" y="1709424"/>
                </a:lnTo>
                <a:cubicBezTo>
                  <a:pt x="640929" y="2282712"/>
                  <a:pt x="1097068" y="2739488"/>
                  <a:pt x="1656099" y="2739488"/>
                </a:cubicBezTo>
                <a:cubicBezTo>
                  <a:pt x="2215130" y="2739488"/>
                  <a:pt x="2671267" y="2282712"/>
                  <a:pt x="2694954" y="1709424"/>
                </a:cubicBezTo>
                <a:close/>
                <a:moveTo>
                  <a:pt x="2966814" y="1365251"/>
                </a:moveTo>
                <a:lnTo>
                  <a:pt x="351307" y="1365251"/>
                </a:lnTo>
                <a:cubicBezTo>
                  <a:pt x="292893" y="1367234"/>
                  <a:pt x="246489" y="1415501"/>
                  <a:pt x="246489" y="1474606"/>
                </a:cubicBezTo>
                <a:cubicBezTo>
                  <a:pt x="246489" y="1535634"/>
                  <a:pt x="295963" y="1585108"/>
                  <a:pt x="356991" y="1585108"/>
                </a:cubicBezTo>
                <a:lnTo>
                  <a:pt x="2961130" y="1585108"/>
                </a:lnTo>
                <a:cubicBezTo>
                  <a:pt x="3022158" y="1585108"/>
                  <a:pt x="3071632" y="1535634"/>
                  <a:pt x="3071632" y="1474606"/>
                </a:cubicBezTo>
                <a:cubicBezTo>
                  <a:pt x="3071632" y="1415501"/>
                  <a:pt x="3025228" y="1367234"/>
                  <a:pt x="2966814" y="1365251"/>
                </a:cubicBezTo>
                <a:close/>
                <a:moveTo>
                  <a:pt x="1113569" y="221137"/>
                </a:moveTo>
                <a:cubicBezTo>
                  <a:pt x="751890" y="417042"/>
                  <a:pt x="506294" y="799902"/>
                  <a:pt x="506294" y="1240124"/>
                </a:cubicBezTo>
                <a:cubicBezTo>
                  <a:pt x="506294" y="1271585"/>
                  <a:pt x="507549" y="1302752"/>
                  <a:pt x="511009" y="1333500"/>
                </a:cubicBezTo>
                <a:lnTo>
                  <a:pt x="1113569" y="1333500"/>
                </a:lnTo>
                <a:close/>
                <a:moveTo>
                  <a:pt x="2215498" y="221137"/>
                </a:moveTo>
                <a:lnTo>
                  <a:pt x="2215498" y="1333500"/>
                </a:lnTo>
                <a:lnTo>
                  <a:pt x="2818058" y="1333500"/>
                </a:lnTo>
                <a:cubicBezTo>
                  <a:pt x="2821518" y="1302752"/>
                  <a:pt x="2822773" y="1271585"/>
                  <a:pt x="2822773" y="1240124"/>
                </a:cubicBezTo>
                <a:cubicBezTo>
                  <a:pt x="2822773" y="799902"/>
                  <a:pt x="2577177" y="417042"/>
                  <a:pt x="2215498" y="221137"/>
                </a:cubicBezTo>
                <a:close/>
                <a:moveTo>
                  <a:pt x="1664534" y="0"/>
                </a:moveTo>
                <a:cubicBezTo>
                  <a:pt x="1489015" y="0"/>
                  <a:pt x="1321560" y="34524"/>
                  <a:pt x="1168837" y="97757"/>
                </a:cubicBezTo>
                <a:lnTo>
                  <a:pt x="1168837" y="1333501"/>
                </a:lnTo>
                <a:lnTo>
                  <a:pt x="2160230" y="1333501"/>
                </a:lnTo>
                <a:lnTo>
                  <a:pt x="2160230" y="97757"/>
                </a:lnTo>
                <a:cubicBezTo>
                  <a:pt x="2007507" y="34524"/>
                  <a:pt x="1840052" y="0"/>
                  <a:pt x="1664534" y="0"/>
                </a:cubicBezTo>
                <a:close/>
              </a:path>
            </a:pathLst>
          </a:custGeom>
          <a:solidFill>
            <a:srgbClr val="5E83BD"/>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16" tIns="91416" rIns="91416" bIns="91416" numCol="1" spcCol="0" rtlCol="0" fromWordArt="0" anchor="b" anchorCtr="0" forceAA="0" compatLnSpc="1">
            <a:prstTxWarp prst="textNoShape">
              <a:avLst/>
            </a:prstTxWarp>
            <a:noAutofit/>
          </a:bodyPr>
          <a:lstStyle>
            <a:defPPr>
              <a:defRPr lang="en-US"/>
            </a:defPPr>
            <a:lvl1pPr marL="0" algn="l" defTabSz="1088105" rtl="0" eaLnBrk="1" latinLnBrk="0" hangingPunct="1">
              <a:defRPr sz="2200" kern="1200">
                <a:solidFill>
                  <a:schemeClr val="lt1"/>
                </a:solidFill>
                <a:latin typeface="+mn-lt"/>
                <a:ea typeface="+mn-ea"/>
                <a:cs typeface="+mn-cs"/>
              </a:defRPr>
            </a:lvl1pPr>
            <a:lvl2pPr marL="544053" algn="l" defTabSz="1088105" rtl="0" eaLnBrk="1" latinLnBrk="0" hangingPunct="1">
              <a:defRPr sz="2200" kern="1200">
                <a:solidFill>
                  <a:schemeClr val="lt1"/>
                </a:solidFill>
                <a:latin typeface="+mn-lt"/>
                <a:ea typeface="+mn-ea"/>
                <a:cs typeface="+mn-cs"/>
              </a:defRPr>
            </a:lvl2pPr>
            <a:lvl3pPr marL="1088105" algn="l" defTabSz="1088105" rtl="0" eaLnBrk="1" latinLnBrk="0" hangingPunct="1">
              <a:defRPr sz="2200" kern="1200">
                <a:solidFill>
                  <a:schemeClr val="lt1"/>
                </a:solidFill>
                <a:latin typeface="+mn-lt"/>
                <a:ea typeface="+mn-ea"/>
                <a:cs typeface="+mn-cs"/>
              </a:defRPr>
            </a:lvl3pPr>
            <a:lvl4pPr marL="1632159" algn="l" defTabSz="1088105" rtl="0" eaLnBrk="1" latinLnBrk="0" hangingPunct="1">
              <a:defRPr sz="2200" kern="1200">
                <a:solidFill>
                  <a:schemeClr val="lt1"/>
                </a:solidFill>
                <a:latin typeface="+mn-lt"/>
                <a:ea typeface="+mn-ea"/>
                <a:cs typeface="+mn-cs"/>
              </a:defRPr>
            </a:lvl4pPr>
            <a:lvl5pPr marL="2176211" algn="l" defTabSz="1088105" rtl="0" eaLnBrk="1" latinLnBrk="0" hangingPunct="1">
              <a:defRPr sz="2200" kern="1200">
                <a:solidFill>
                  <a:schemeClr val="lt1"/>
                </a:solidFill>
                <a:latin typeface="+mn-lt"/>
                <a:ea typeface="+mn-ea"/>
                <a:cs typeface="+mn-cs"/>
              </a:defRPr>
            </a:lvl5pPr>
            <a:lvl6pPr marL="2720264" algn="l" defTabSz="1088105" rtl="0" eaLnBrk="1" latinLnBrk="0" hangingPunct="1">
              <a:defRPr sz="2200" kern="1200">
                <a:solidFill>
                  <a:schemeClr val="lt1"/>
                </a:solidFill>
                <a:latin typeface="+mn-lt"/>
                <a:ea typeface="+mn-ea"/>
                <a:cs typeface="+mn-cs"/>
              </a:defRPr>
            </a:lvl6pPr>
            <a:lvl7pPr marL="3264316" algn="l" defTabSz="1088105" rtl="0" eaLnBrk="1" latinLnBrk="0" hangingPunct="1">
              <a:defRPr sz="2200" kern="1200">
                <a:solidFill>
                  <a:schemeClr val="lt1"/>
                </a:solidFill>
                <a:latin typeface="+mn-lt"/>
                <a:ea typeface="+mn-ea"/>
                <a:cs typeface="+mn-cs"/>
              </a:defRPr>
            </a:lvl7pPr>
            <a:lvl8pPr marL="3808369" algn="l" defTabSz="1088105" rtl="0" eaLnBrk="1" latinLnBrk="0" hangingPunct="1">
              <a:defRPr sz="2200" kern="1200">
                <a:solidFill>
                  <a:schemeClr val="lt1"/>
                </a:solidFill>
                <a:latin typeface="+mn-lt"/>
                <a:ea typeface="+mn-ea"/>
                <a:cs typeface="+mn-cs"/>
              </a:defRPr>
            </a:lvl8pPr>
            <a:lvl9pPr marL="4352422" algn="l" defTabSz="1088105" rtl="0" eaLnBrk="1" latinLnBrk="0" hangingPunct="1">
              <a:defRPr sz="2200" kern="1200">
                <a:solidFill>
                  <a:schemeClr val="lt1"/>
                </a:solidFill>
                <a:latin typeface="+mn-lt"/>
                <a:ea typeface="+mn-ea"/>
                <a:cs typeface="+mn-cs"/>
              </a:defRPr>
            </a:lvl9pPr>
          </a:lstStyle>
          <a:p>
            <a:pPr algn="r" defTabSz="1087779">
              <a:defRPr/>
            </a:pPr>
            <a:endParaRPr lang="en-US" sz="1200">
              <a:solidFill>
                <a:prstClr val="white"/>
              </a:solidFill>
              <a:latin typeface="Segoe UI"/>
            </a:endParaRPr>
          </a:p>
        </p:txBody>
      </p:sp>
      <p:grpSp>
        <p:nvGrpSpPr>
          <p:cNvPr id="378" name="Group 377">
            <a:extLst>
              <a:ext uri="{FF2B5EF4-FFF2-40B4-BE49-F238E27FC236}">
                <a16:creationId xmlns:a16="http://schemas.microsoft.com/office/drawing/2014/main" id="{8DD651BB-653A-4C04-AE4F-8D2646459F23}"/>
              </a:ext>
            </a:extLst>
          </p:cNvPr>
          <p:cNvGrpSpPr/>
          <p:nvPr/>
        </p:nvGrpSpPr>
        <p:grpSpPr>
          <a:xfrm rot="2241612">
            <a:off x="1350766" y="4454026"/>
            <a:ext cx="2536243" cy="552227"/>
            <a:chOff x="2907652" y="2004498"/>
            <a:chExt cx="2293689" cy="552371"/>
          </a:xfrm>
        </p:grpSpPr>
        <p:sp>
          <p:nvSpPr>
            <p:cNvPr id="402" name="Arrow: Left-Right 401">
              <a:extLst>
                <a:ext uri="{FF2B5EF4-FFF2-40B4-BE49-F238E27FC236}">
                  <a16:creationId xmlns:a16="http://schemas.microsoft.com/office/drawing/2014/main" id="{66D6272D-B337-487D-873B-21CA96891A1A}"/>
                </a:ext>
              </a:extLst>
            </p:cNvPr>
            <p:cNvSpPr/>
            <p:nvPr/>
          </p:nvSpPr>
          <p:spPr>
            <a:xfrm>
              <a:off x="2907652" y="2004498"/>
              <a:ext cx="2031967" cy="552371"/>
            </a:xfrm>
            <a:prstGeom prst="lef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914126">
                <a:defRPr/>
              </a:pPr>
              <a:endParaRPr lang="en-US" sz="1200" dirty="0" err="1">
                <a:solidFill>
                  <a:prstClr val="white"/>
                </a:solidFill>
                <a:latin typeface="Segoe UI"/>
              </a:endParaRPr>
            </a:p>
          </p:txBody>
        </p:sp>
        <p:sp>
          <p:nvSpPr>
            <p:cNvPr id="403" name="TextBox 402">
              <a:extLst>
                <a:ext uri="{FF2B5EF4-FFF2-40B4-BE49-F238E27FC236}">
                  <a16:creationId xmlns:a16="http://schemas.microsoft.com/office/drawing/2014/main" id="{4031A97C-85F3-4847-AA3C-34497A717639}"/>
                </a:ext>
              </a:extLst>
            </p:cNvPr>
            <p:cNvSpPr txBox="1"/>
            <p:nvPr/>
          </p:nvSpPr>
          <p:spPr>
            <a:xfrm>
              <a:off x="3233515" y="2172213"/>
              <a:ext cx="1967826" cy="199308"/>
            </a:xfrm>
            <a:prstGeom prst="rect">
              <a:avLst/>
            </a:prstGeom>
          </p:spPr>
          <p:txBody>
            <a:bodyPr vert="horz" wrap="none" lIns="0" tIns="0" rIns="0" bIns="0" rtlCol="0" anchor="ctr">
              <a:noAutofit/>
            </a:bodyPr>
            <a:lstStyle>
              <a:defPPr>
                <a:defRPr lang="en-US"/>
              </a:defPPr>
              <a:lvl1pPr algn="ctr" defTabSz="1088105">
                <a:defRPr sz="1200">
                  <a:solidFill>
                    <a:srgbClr val="505050"/>
                  </a:solidFill>
                  <a:latin typeface="Segoe UI Semibold" panose="020B0702040204020203" pitchFamily="34" charset="0"/>
                  <a:ea typeface="Segoe UI" pitchFamily="34" charset="0"/>
                  <a:cs typeface="Segoe UI Semibold" panose="020B0702040204020203" pitchFamily="34" charset="0"/>
                </a:defRPr>
              </a:lvl1pPr>
            </a:lstStyle>
            <a:p>
              <a:pPr algn="l" defTabSz="1087779">
                <a:defRPr/>
              </a:pPr>
              <a:r>
                <a:rPr lang="en-US" kern="0" dirty="0">
                  <a:solidFill>
                    <a:prstClr val="white"/>
                  </a:solidFill>
                </a:rPr>
                <a:t>Video Streams</a:t>
              </a:r>
            </a:p>
          </p:txBody>
        </p:sp>
      </p:grpSp>
      <p:sp>
        <p:nvSpPr>
          <p:cNvPr id="7" name="TextBox 6">
            <a:extLst>
              <a:ext uri="{FF2B5EF4-FFF2-40B4-BE49-F238E27FC236}">
                <a16:creationId xmlns:a16="http://schemas.microsoft.com/office/drawing/2014/main" id="{01376C32-A5C2-409E-9C45-7A2FA869465E}"/>
              </a:ext>
            </a:extLst>
          </p:cNvPr>
          <p:cNvSpPr txBox="1"/>
          <p:nvPr/>
        </p:nvSpPr>
        <p:spPr>
          <a:xfrm>
            <a:off x="1797889" y="5571848"/>
            <a:ext cx="1386418" cy="420953"/>
          </a:xfrm>
          <a:prstGeom prst="rect">
            <a:avLst/>
          </a:prstGeom>
        </p:spPr>
        <p:txBody>
          <a:bodyPr vert="horz" wrap="square" lIns="91416" tIns="91416" rIns="91416" bIns="91416" rtlCol="0" anchor="t">
            <a:noAutofit/>
          </a:bodyPr>
          <a:lstStyle/>
          <a:p>
            <a:pPr defTabSz="914126">
              <a:defRPr/>
            </a:pPr>
            <a:r>
              <a:rPr lang="en-US" sz="1050" dirty="0">
                <a:solidFill>
                  <a:srgbClr val="505050"/>
                </a:solidFill>
                <a:latin typeface="Segoe UI" pitchFamily="34" charset="0"/>
                <a:ea typeface="Segoe UI" pitchFamily="34" charset="0"/>
                <a:cs typeface="Segoe UI" pitchFamily="34" charset="0"/>
              </a:rPr>
              <a:t>Q: does this use edge compute?</a:t>
            </a:r>
          </a:p>
          <a:p>
            <a:pPr defTabSz="914126">
              <a:defRPr/>
            </a:pPr>
            <a:r>
              <a:rPr lang="en-US" sz="1050" dirty="0">
                <a:solidFill>
                  <a:srgbClr val="505050"/>
                </a:solidFill>
                <a:latin typeface="Segoe UI" pitchFamily="34" charset="0"/>
                <a:ea typeface="Segoe UI" pitchFamily="34" charset="0"/>
                <a:cs typeface="Segoe UI" pitchFamily="34" charset="0"/>
              </a:rPr>
              <a:t>Q: How do we best represent?</a:t>
            </a:r>
          </a:p>
        </p:txBody>
      </p:sp>
    </p:spTree>
    <p:extLst>
      <p:ext uri="{BB962C8B-B14F-4D97-AF65-F5344CB8AC3E}">
        <p14:creationId xmlns:p14="http://schemas.microsoft.com/office/powerpoint/2010/main" val="38540436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lgn="r" defTabSz="914126">
              <a:defRPr/>
            </a:pPr>
            <a:fld id="{FAADACFB-7C71-4E89-89D2-7BBA40B7BFA9}" type="slidenum">
              <a:rPr lang="en-US" sz="800">
                <a:solidFill>
                  <a:srgbClr val="505050"/>
                </a:solidFill>
                <a:latin typeface="Segoe UI" pitchFamily="34" charset="0"/>
                <a:cs typeface="Segoe UI" pitchFamily="34" charset="0"/>
              </a:rPr>
              <a:pPr algn="r" defTabSz="914126">
                <a:defRPr/>
              </a:pPr>
              <a:t>31</a:t>
            </a:fld>
            <a:endParaRPr lang="en-US" sz="800">
              <a:solidFill>
                <a:srgbClr val="505050"/>
              </a:solidFill>
              <a:latin typeface="Segoe UI" pitchFamily="34" charset="0"/>
              <a:cs typeface="Segoe UI" pitchFamily="34" charset="0"/>
            </a:endParaRPr>
          </a:p>
        </p:txBody>
      </p:sp>
      <p:graphicFrame>
        <p:nvGraphicFramePr>
          <p:cNvPr id="5" name="Table 4"/>
          <p:cNvGraphicFramePr>
            <a:graphicFrameLocks noGrp="1"/>
          </p:cNvGraphicFramePr>
          <p:nvPr>
            <p:extLst/>
          </p:nvPr>
        </p:nvGraphicFramePr>
        <p:xfrm>
          <a:off x="304721" y="1039413"/>
          <a:ext cx="11579383" cy="3621896"/>
        </p:xfrm>
        <a:graphic>
          <a:graphicData uri="http://schemas.openxmlformats.org/drawingml/2006/table">
            <a:tbl>
              <a:tblPr firstRow="1" firstCol="1" bandRow="1">
                <a:tableStyleId>{5C22544A-7EE6-4342-B048-85BDC9FD1C3A}</a:tableStyleId>
              </a:tblPr>
              <a:tblGrid>
                <a:gridCol w="1364458">
                  <a:extLst>
                    <a:ext uri="{9D8B030D-6E8A-4147-A177-3AD203B41FA5}">
                      <a16:colId xmlns:a16="http://schemas.microsoft.com/office/drawing/2014/main" val="20000"/>
                    </a:ext>
                  </a:extLst>
                </a:gridCol>
                <a:gridCol w="3048653">
                  <a:extLst>
                    <a:ext uri="{9D8B030D-6E8A-4147-A177-3AD203B41FA5}">
                      <a16:colId xmlns:a16="http://schemas.microsoft.com/office/drawing/2014/main" val="20001"/>
                    </a:ext>
                  </a:extLst>
                </a:gridCol>
                <a:gridCol w="3500824">
                  <a:extLst>
                    <a:ext uri="{9D8B030D-6E8A-4147-A177-3AD203B41FA5}">
                      <a16:colId xmlns:a16="http://schemas.microsoft.com/office/drawing/2014/main" val="20002"/>
                    </a:ext>
                  </a:extLst>
                </a:gridCol>
                <a:gridCol w="3665448">
                  <a:extLst>
                    <a:ext uri="{9D8B030D-6E8A-4147-A177-3AD203B41FA5}">
                      <a16:colId xmlns:a16="http://schemas.microsoft.com/office/drawing/2014/main" val="20003"/>
                    </a:ext>
                  </a:extLst>
                </a:gridCol>
              </a:tblGrid>
              <a:tr h="274249">
                <a:tc>
                  <a:txBody>
                    <a:bodyPr/>
                    <a:lstStyle/>
                    <a:p>
                      <a:pPr>
                        <a:lnSpc>
                          <a:spcPct val="100000"/>
                        </a:lnSpc>
                      </a:pPr>
                      <a:endParaRPr lang="en-US" sz="1000"/>
                    </a:p>
                  </a:txBody>
                  <a:tcPr marL="91416" marR="91416" marT="45708" marB="4570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a:latin typeface="Segoe UI Semibold" panose="020B0702040204020203" pitchFamily="34" charset="0"/>
                          <a:cs typeface="Segoe UI Semibold" panose="020B0702040204020203" pitchFamily="34" charset="0"/>
                        </a:rPr>
                        <a:t>Value for Customers</a:t>
                      </a:r>
                    </a:p>
                  </a:txBody>
                  <a:tcPr marL="91416" marR="91416" marT="45708" marB="4570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lnSpc>
                          <a:spcPct val="100000"/>
                        </a:lnSpc>
                      </a:pPr>
                      <a:r>
                        <a:rPr lang="en-US" sz="1200" b="0">
                          <a:latin typeface="Segoe UI Semibold" panose="020B0702040204020203" pitchFamily="34" charset="0"/>
                          <a:cs typeface="Segoe UI Semibold" panose="020B0702040204020203" pitchFamily="34" charset="0"/>
                        </a:rPr>
                        <a:t>Value for Business Leaders</a:t>
                      </a:r>
                    </a:p>
                  </a:txBody>
                  <a:tcPr marL="91416" marR="91416" marT="45708" marB="4570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lnSpc>
                          <a:spcPct val="100000"/>
                        </a:lnSpc>
                      </a:pPr>
                      <a:r>
                        <a:rPr lang="en-US" sz="1200" b="0" dirty="0">
                          <a:latin typeface="Segoe UI Semibold" panose="020B0702040204020203" pitchFamily="34" charset="0"/>
                          <a:cs typeface="Segoe UI Semibold" panose="020B0702040204020203" pitchFamily="34" charset="0"/>
                        </a:rPr>
                        <a:t>Value for IT Leaders</a:t>
                      </a:r>
                    </a:p>
                  </a:txBody>
                  <a:tcPr marL="91416" marR="91416" marT="45708" marB="4570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837982">
                <a:tc>
                  <a:txBody>
                    <a:bodyPr/>
                    <a:lstStyle/>
                    <a:p>
                      <a:pPr marL="0" algn="l" defTabSz="1088105" rtl="0" eaLnBrk="1" latinLnBrk="0" hangingPunct="1">
                        <a:lnSpc>
                          <a:spcPct val="100000"/>
                        </a:lnSpc>
                      </a:pPr>
                      <a:r>
                        <a:rPr lang="en-US" sz="1200" b="0" kern="1200">
                          <a:solidFill>
                            <a:schemeClr val="tx1"/>
                          </a:solidFill>
                          <a:latin typeface="Segoe UI Semibold" panose="020B0702040204020203" pitchFamily="34" charset="0"/>
                          <a:ea typeface="+mn-ea"/>
                          <a:cs typeface="Segoe UI Semibold" panose="020B0702040204020203" pitchFamily="34" charset="0"/>
                        </a:rPr>
                        <a:t>Strategic</a:t>
                      </a:r>
                    </a:p>
                  </a:txBody>
                  <a:tcPr marL="91416" marR="91416" marT="45708" marB="4570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lvl="0" indent="-171450" algn="l" defTabSz="1088105"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100" kern="1200" baseline="0" dirty="0">
                          <a:solidFill>
                            <a:schemeClr val="tx1"/>
                          </a:solidFill>
                          <a:latin typeface="+mn-lt"/>
                          <a:ea typeface="+mn-ea"/>
                          <a:cs typeface="+mn-cs"/>
                        </a:rPr>
                        <a:t>Higher quality product</a:t>
                      </a:r>
                    </a:p>
                    <a:p>
                      <a:pPr marL="171450" marR="0" lvl="0" indent="-171450" algn="l" defTabSz="1088105" rtl="0" eaLnBrk="1" fontAlgn="auto" latinLnBrk="0" hangingPunct="1">
                        <a:lnSpc>
                          <a:spcPct val="100000"/>
                        </a:lnSpc>
                        <a:spcBef>
                          <a:spcPts val="200"/>
                        </a:spcBef>
                        <a:spcAft>
                          <a:spcPts val="0"/>
                        </a:spcAft>
                        <a:buClrTx/>
                        <a:buSzTx/>
                        <a:buFont typeface="Arial" panose="020B0604020202020204" pitchFamily="34" charset="0"/>
                        <a:buChar char="•"/>
                        <a:tabLst/>
                        <a:defRPr/>
                      </a:pPr>
                      <a:endParaRPr lang="en-US" sz="1100" kern="1200" baseline="0" dirty="0">
                        <a:solidFill>
                          <a:schemeClr val="tx1"/>
                        </a:solidFill>
                        <a:latin typeface="+mn-lt"/>
                        <a:ea typeface="+mn-ea"/>
                        <a:cs typeface="+mn-cs"/>
                      </a:endParaRPr>
                    </a:p>
                    <a:p>
                      <a:pPr marL="171450" marR="0" lvl="0" indent="-171450" algn="l" defTabSz="1088105" rtl="0" eaLnBrk="1" fontAlgn="auto" latinLnBrk="0" hangingPunct="1">
                        <a:lnSpc>
                          <a:spcPct val="100000"/>
                        </a:lnSpc>
                        <a:spcBef>
                          <a:spcPts val="200"/>
                        </a:spcBef>
                        <a:spcAft>
                          <a:spcPts val="0"/>
                        </a:spcAft>
                        <a:buClrTx/>
                        <a:buSzTx/>
                        <a:buFont typeface="Arial" panose="020B0604020202020204" pitchFamily="34" charset="0"/>
                        <a:buChar char="•"/>
                        <a:tabLst/>
                        <a:defRPr/>
                      </a:pPr>
                      <a:endParaRPr lang="en-US" sz="1100" kern="1200" baseline="0" dirty="0">
                        <a:solidFill>
                          <a:schemeClr val="tx1"/>
                        </a:solidFill>
                        <a:latin typeface="+mn-lt"/>
                        <a:ea typeface="+mn-ea"/>
                        <a:cs typeface="+mn-cs"/>
                      </a:endParaRPr>
                    </a:p>
                    <a:p>
                      <a:pPr marL="171450" indent="-171450" algn="l" defTabSz="1088105" rtl="0" eaLnBrk="1" latinLnBrk="0" hangingPunct="1">
                        <a:lnSpc>
                          <a:spcPct val="100000"/>
                        </a:lnSpc>
                        <a:spcBef>
                          <a:spcPts val="200"/>
                        </a:spcBef>
                        <a:buFont typeface="Arial" panose="020B0604020202020204" pitchFamily="34" charset="0"/>
                        <a:buChar char="•"/>
                      </a:pPr>
                      <a:endParaRPr lang="en-US" sz="1100" kern="1200" dirty="0">
                        <a:solidFill>
                          <a:schemeClr val="tx1"/>
                        </a:solidFill>
                        <a:latin typeface="+mn-lt"/>
                        <a:ea typeface="+mn-ea"/>
                        <a:cs typeface="+mn-cs"/>
                      </a:endParaRPr>
                    </a:p>
                  </a:txBody>
                  <a:tcPr marL="91416" marR="91416" marT="45708" marB="4570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gn="l" defTabSz="1088105" rtl="0" eaLnBrk="1" latinLnBrk="0" hangingPunct="1">
                        <a:lnSpc>
                          <a:spcPct val="100000"/>
                        </a:lnSpc>
                        <a:spcBef>
                          <a:spcPts val="200"/>
                        </a:spcBef>
                        <a:buFont typeface="Arial" panose="020B0604020202020204" pitchFamily="34" charset="0"/>
                        <a:buChar char="•"/>
                      </a:pPr>
                      <a:r>
                        <a:rPr lang="en-US" sz="1100" kern="1200" baseline="0" dirty="0">
                          <a:solidFill>
                            <a:schemeClr val="tx1"/>
                          </a:solidFill>
                          <a:latin typeface="+mn-lt"/>
                          <a:ea typeface="+mn-ea"/>
                          <a:cs typeface="+mn-cs"/>
                        </a:rPr>
                        <a:t>Better brand perception through care for worker’s issues</a:t>
                      </a:r>
                    </a:p>
                    <a:p>
                      <a:pPr marL="171450" indent="-171450" algn="l" defTabSz="1088105" rtl="0" eaLnBrk="1" latinLnBrk="0" hangingPunct="1">
                        <a:lnSpc>
                          <a:spcPct val="100000"/>
                        </a:lnSpc>
                        <a:spcBef>
                          <a:spcPts val="200"/>
                        </a:spcBef>
                        <a:buFont typeface="Arial" panose="020B0604020202020204" pitchFamily="34" charset="0"/>
                        <a:buChar char="•"/>
                      </a:pPr>
                      <a:r>
                        <a:rPr lang="en-US" sz="1100" kern="1200" baseline="0" dirty="0">
                          <a:solidFill>
                            <a:schemeClr val="tx1"/>
                          </a:solidFill>
                          <a:latin typeface="+mn-lt"/>
                          <a:ea typeface="+mn-ea"/>
                          <a:cs typeface="+mn-cs"/>
                        </a:rPr>
                        <a:t>Workers are able to do higher value tasks</a:t>
                      </a:r>
                    </a:p>
                    <a:p>
                      <a:pPr marL="171450" indent="-171450" algn="l" defTabSz="1088105" rtl="0" eaLnBrk="1" latinLnBrk="0" hangingPunct="1">
                        <a:lnSpc>
                          <a:spcPct val="100000"/>
                        </a:lnSpc>
                        <a:spcBef>
                          <a:spcPts val="200"/>
                        </a:spcBef>
                        <a:buFont typeface="Arial" panose="020B0604020202020204" pitchFamily="34" charset="0"/>
                        <a:buChar char="•"/>
                      </a:pPr>
                      <a:endParaRPr lang="en-US" sz="1100" kern="1200" baseline="0" dirty="0">
                        <a:solidFill>
                          <a:schemeClr val="tx1"/>
                        </a:solidFill>
                        <a:latin typeface="+mn-lt"/>
                        <a:ea typeface="+mn-ea"/>
                        <a:cs typeface="+mn-cs"/>
                      </a:endParaRPr>
                    </a:p>
                  </a:txBody>
                  <a:tcPr marL="91416" marR="91416" marT="45708" marB="4570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lvl="0" indent="-171450" algn="l" defTabSz="1088105" rtl="0" eaLnBrk="1" fontAlgn="auto" latinLnBrk="0" hangingPunct="1">
                        <a:lnSpc>
                          <a:spcPct val="100000"/>
                        </a:lnSpc>
                        <a:spcBef>
                          <a:spcPts val="200"/>
                        </a:spcBef>
                        <a:spcAft>
                          <a:spcPts val="0"/>
                        </a:spcAft>
                        <a:buClrTx/>
                        <a:buSzTx/>
                        <a:buFont typeface="Arial" panose="020B0604020202020204" pitchFamily="34" charset="0"/>
                        <a:buChar char="•"/>
                        <a:tabLst/>
                        <a:defRPr/>
                      </a:pPr>
                      <a:endParaRPr lang="en-US" sz="1100" kern="1200" dirty="0">
                        <a:solidFill>
                          <a:schemeClr val="tx1"/>
                        </a:solidFill>
                        <a:latin typeface="+mn-lt"/>
                        <a:ea typeface="+mn-ea"/>
                        <a:cs typeface="+mn-cs"/>
                      </a:endParaRPr>
                    </a:p>
                  </a:txBody>
                  <a:tcPr marL="91416" marR="91416" marT="45708" marB="4570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619599">
                <a:tc>
                  <a:txBody>
                    <a:bodyPr/>
                    <a:lstStyle/>
                    <a:p>
                      <a:pPr marL="0" algn="l" defTabSz="1088105" rtl="0" eaLnBrk="1" latinLnBrk="0" hangingPunct="1">
                        <a:lnSpc>
                          <a:spcPct val="100000"/>
                        </a:lnSpc>
                      </a:pPr>
                      <a:r>
                        <a:rPr lang="en-US" sz="1200" b="0" kern="1200">
                          <a:solidFill>
                            <a:schemeClr val="tx1"/>
                          </a:solidFill>
                          <a:latin typeface="Segoe UI Semibold" panose="020B0702040204020203" pitchFamily="34" charset="0"/>
                          <a:ea typeface="+mn-ea"/>
                          <a:cs typeface="Segoe UI Semibold" panose="020B0702040204020203" pitchFamily="34" charset="0"/>
                        </a:rPr>
                        <a:t>Time to Value</a:t>
                      </a:r>
                    </a:p>
                  </a:txBody>
                  <a:tcPr marL="91416" marR="91416" marT="45708" marB="4570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indent="-171450" algn="l" defTabSz="1088105" rtl="0" eaLnBrk="1" fontAlgn="auto" latinLnBrk="0" hangingPunct="1">
                        <a:lnSpc>
                          <a:spcPct val="100000"/>
                        </a:lnSpc>
                        <a:spcBef>
                          <a:spcPts val="200"/>
                        </a:spcBef>
                        <a:spcAft>
                          <a:spcPts val="0"/>
                        </a:spcAft>
                        <a:buClrTx/>
                        <a:buSzTx/>
                        <a:buFont typeface="Arial" panose="020B0604020202020204" pitchFamily="34" charset="0"/>
                        <a:buChar char="•"/>
                        <a:tabLst/>
                        <a:defRPr/>
                      </a:pPr>
                      <a:endParaRPr lang="en-US" sz="1100" kern="1200" dirty="0">
                        <a:solidFill>
                          <a:schemeClr val="tx1"/>
                        </a:solidFill>
                        <a:latin typeface="+mn-lt"/>
                        <a:ea typeface="+mn-ea"/>
                        <a:cs typeface="+mn-cs"/>
                      </a:endParaRPr>
                    </a:p>
                  </a:txBody>
                  <a:tcPr marL="91416" marR="91416" marT="45708" marB="4570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27000" marR="0" indent="-127000" algn="l" defTabSz="1088105"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kern="1200" baseline="0" dirty="0">
                          <a:solidFill>
                            <a:schemeClr val="tx1"/>
                          </a:solidFill>
                          <a:latin typeface="+mn-lt"/>
                          <a:ea typeface="+mn-ea"/>
                          <a:cs typeface="+mn-cs"/>
                        </a:rPr>
                        <a:t>Faster and more consistent completion of complex work by robots collaborating with humans</a:t>
                      </a:r>
                    </a:p>
                  </a:txBody>
                  <a:tcPr marL="91416" marR="91416" marT="45708" marB="4570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lvl="0" indent="-171450" algn="l" defTabSz="1088105"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100" kern="1200" baseline="0" dirty="0">
                          <a:solidFill>
                            <a:schemeClr val="tx1"/>
                          </a:solidFill>
                          <a:latin typeface="+mn-lt"/>
                          <a:ea typeface="+mn-ea"/>
                          <a:cs typeface="+mn-cs"/>
                        </a:rPr>
                        <a:t>Agility to keep up with the ever changing regulatory landscape</a:t>
                      </a:r>
                    </a:p>
                    <a:p>
                      <a:pPr marL="0" marR="0" indent="0" algn="l" defTabSz="1088105" rtl="0" eaLnBrk="1" fontAlgn="auto" latinLnBrk="0" hangingPunct="1">
                        <a:lnSpc>
                          <a:spcPct val="100000"/>
                        </a:lnSpc>
                        <a:spcBef>
                          <a:spcPts val="200"/>
                        </a:spcBef>
                        <a:spcAft>
                          <a:spcPts val="0"/>
                        </a:spcAft>
                        <a:buClrTx/>
                        <a:buSzTx/>
                        <a:buFont typeface="Arial" panose="020B0604020202020204" pitchFamily="34" charset="0"/>
                        <a:buNone/>
                        <a:tabLst/>
                        <a:defRPr/>
                      </a:pPr>
                      <a:endParaRPr lang="en-US" sz="1100" dirty="0">
                        <a:solidFill>
                          <a:schemeClr val="tx1"/>
                        </a:solidFill>
                        <a:latin typeface="+mn-lt"/>
                      </a:endParaRPr>
                    </a:p>
                  </a:txBody>
                  <a:tcPr marL="91416" marR="91416" marT="45708" marB="4570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457081">
                <a:tc>
                  <a:txBody>
                    <a:bodyPr/>
                    <a:lstStyle/>
                    <a:p>
                      <a:pPr marL="0" algn="l" defTabSz="1088105" rtl="0" eaLnBrk="1" latinLnBrk="0" hangingPunct="1">
                        <a:lnSpc>
                          <a:spcPct val="100000"/>
                        </a:lnSpc>
                      </a:pPr>
                      <a:r>
                        <a:rPr lang="en-US" sz="1200" b="0" kern="1200">
                          <a:solidFill>
                            <a:schemeClr val="tx1"/>
                          </a:solidFill>
                          <a:latin typeface="Segoe UI Semibold" panose="020B0702040204020203" pitchFamily="34" charset="0"/>
                          <a:ea typeface="+mn-ea"/>
                          <a:cs typeface="Segoe UI Semibold" panose="020B0702040204020203" pitchFamily="34" charset="0"/>
                        </a:rPr>
                        <a:t>Increase Revenue</a:t>
                      </a:r>
                    </a:p>
                  </a:txBody>
                  <a:tcPr marL="91416" marR="91416" marT="45708" marB="4570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indent="-171450" algn="l" defTabSz="1088105" rtl="0" eaLnBrk="1" fontAlgn="auto" latinLnBrk="0" hangingPunct="1">
                        <a:lnSpc>
                          <a:spcPct val="100000"/>
                        </a:lnSpc>
                        <a:spcBef>
                          <a:spcPts val="200"/>
                        </a:spcBef>
                        <a:spcAft>
                          <a:spcPts val="0"/>
                        </a:spcAft>
                        <a:buClrTx/>
                        <a:buSzTx/>
                        <a:buFont typeface="Arial" panose="020B0604020202020204" pitchFamily="34" charset="0"/>
                        <a:buChar char="•"/>
                        <a:tabLst/>
                        <a:defRPr/>
                      </a:pPr>
                      <a:endParaRPr lang="en-US" sz="1100" kern="1200" dirty="0">
                        <a:solidFill>
                          <a:schemeClr val="tx1"/>
                        </a:solidFill>
                        <a:latin typeface="+mn-lt"/>
                        <a:ea typeface="+mn-ea"/>
                        <a:cs typeface="+mn-cs"/>
                      </a:endParaRPr>
                    </a:p>
                  </a:txBody>
                  <a:tcPr marL="91416" marR="91416" marT="45708" marB="4570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gn="l" defTabSz="1088105" rtl="0" eaLnBrk="1" latinLnBrk="0" hangingPunct="1">
                        <a:lnSpc>
                          <a:spcPct val="100000"/>
                        </a:lnSpc>
                        <a:spcBef>
                          <a:spcPts val="200"/>
                        </a:spcBef>
                        <a:buFont typeface="Arial" panose="020B0604020202020204" pitchFamily="34" charset="0"/>
                        <a:buChar char="•"/>
                      </a:pPr>
                      <a:r>
                        <a:rPr lang="en-US" sz="1100" kern="1200" dirty="0">
                          <a:solidFill>
                            <a:schemeClr val="tx1"/>
                          </a:solidFill>
                          <a:latin typeface="+mn-lt"/>
                          <a:ea typeface="+mn-ea"/>
                          <a:cs typeface="+mn-cs"/>
                        </a:rPr>
                        <a:t>Ability to increase production with fewer workers</a:t>
                      </a:r>
                    </a:p>
                  </a:txBody>
                  <a:tcPr marL="91416" marR="91416" marT="45708" marB="4570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lvl="0" indent="-171450" algn="l" defTabSz="1088105" rtl="0" eaLnBrk="1" fontAlgn="auto" latinLnBrk="0" hangingPunct="1">
                        <a:lnSpc>
                          <a:spcPct val="100000"/>
                        </a:lnSpc>
                        <a:spcBef>
                          <a:spcPts val="200"/>
                        </a:spcBef>
                        <a:spcAft>
                          <a:spcPts val="0"/>
                        </a:spcAft>
                        <a:buClrTx/>
                        <a:buSzTx/>
                        <a:buFont typeface="Arial" panose="020B0604020202020204" pitchFamily="34" charset="0"/>
                        <a:buChar char="•"/>
                        <a:tabLst/>
                        <a:defRPr/>
                      </a:pPr>
                      <a:endParaRPr lang="en-US" sz="1100" kern="1200" dirty="0">
                        <a:solidFill>
                          <a:schemeClr val="tx1"/>
                        </a:solidFill>
                        <a:latin typeface="+mn-lt"/>
                        <a:ea typeface="+mn-ea"/>
                        <a:cs typeface="+mn-cs"/>
                      </a:endParaRPr>
                    </a:p>
                  </a:txBody>
                  <a:tcPr marL="91416" marR="91416" marT="45708" marB="4570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787195">
                <a:tc>
                  <a:txBody>
                    <a:bodyPr/>
                    <a:lstStyle/>
                    <a:p>
                      <a:pPr marL="0" algn="l" defTabSz="1088105" rtl="0" eaLnBrk="1" latinLnBrk="0" hangingPunct="1">
                        <a:lnSpc>
                          <a:spcPct val="100000"/>
                        </a:lnSpc>
                      </a:pPr>
                      <a:r>
                        <a:rPr lang="en-US" sz="1200" b="0" kern="1200">
                          <a:solidFill>
                            <a:schemeClr val="tx1"/>
                          </a:solidFill>
                          <a:latin typeface="Segoe UI Semibold" panose="020B0702040204020203" pitchFamily="34" charset="0"/>
                          <a:ea typeface="+mn-ea"/>
                          <a:cs typeface="Segoe UI Semibold" panose="020B0702040204020203" pitchFamily="34" charset="0"/>
                        </a:rPr>
                        <a:t>Decrease Cost</a:t>
                      </a:r>
                    </a:p>
                  </a:txBody>
                  <a:tcPr marL="91416" marR="91416" marT="45708" marB="4570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marR="0" indent="-171450" algn="l" defTabSz="1088105"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100" kern="1200" dirty="0">
                          <a:solidFill>
                            <a:schemeClr val="tx1"/>
                          </a:solidFill>
                          <a:latin typeface="+mn-lt"/>
                          <a:ea typeface="+mn-ea"/>
                          <a:cs typeface="+mn-cs"/>
                        </a:rPr>
                        <a:t>Robotic automation should enable producers to lower product costs</a:t>
                      </a:r>
                    </a:p>
                    <a:p>
                      <a:pPr marL="171450" marR="0" indent="-171450" algn="l" defTabSz="1088105"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100" kern="1200" dirty="0">
                          <a:solidFill>
                            <a:schemeClr val="tx1"/>
                          </a:solidFill>
                          <a:latin typeface="+mn-lt"/>
                          <a:ea typeface="+mn-ea"/>
                          <a:cs typeface="+mn-cs"/>
                        </a:rPr>
                        <a:t>Less maintenance required due to higher quality in robotically assembled units</a:t>
                      </a:r>
                    </a:p>
                  </a:txBody>
                  <a:tcPr marL="91416" marR="91416" marT="45708" marB="4570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gn="l" defTabSz="1088105" rtl="0" eaLnBrk="1" fontAlgn="t" latinLnBrk="0" hangingPunct="1">
                        <a:lnSpc>
                          <a:spcPct val="100000"/>
                        </a:lnSpc>
                        <a:spcBef>
                          <a:spcPts val="200"/>
                        </a:spcBef>
                        <a:buFont typeface="Arial" panose="020B0604020202020204" pitchFamily="34" charset="0"/>
                        <a:buChar char="•"/>
                      </a:pPr>
                      <a:r>
                        <a:rPr lang="en-US" sz="1100" kern="1200" baseline="0" dirty="0">
                          <a:solidFill>
                            <a:schemeClr val="tx1"/>
                          </a:solidFill>
                          <a:latin typeface="+mn-lt"/>
                          <a:ea typeface="+mn-ea"/>
                          <a:cs typeface="+mn-cs"/>
                        </a:rPr>
                        <a:t>Reduced health care and insurance costs due to less repetitive motion injuries</a:t>
                      </a:r>
                    </a:p>
                  </a:txBody>
                  <a:tcPr marL="91416" marR="91416" marT="45708" marB="4570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gn="l" defTabSz="1088105" rtl="0" eaLnBrk="1" latinLnBrk="0" hangingPunct="1">
                        <a:lnSpc>
                          <a:spcPct val="100000"/>
                        </a:lnSpc>
                        <a:spcBef>
                          <a:spcPts val="200"/>
                        </a:spcBef>
                        <a:buFont typeface="Arial" panose="020B0604020202020204" pitchFamily="34" charset="0"/>
                        <a:buChar char="•"/>
                      </a:pPr>
                      <a:r>
                        <a:rPr lang="en-US" sz="1100" kern="1200" baseline="0" dirty="0">
                          <a:solidFill>
                            <a:schemeClr val="tx1"/>
                          </a:solidFill>
                          <a:latin typeface="+mn-lt"/>
                          <a:ea typeface="+mn-ea"/>
                          <a:cs typeface="+mn-cs"/>
                        </a:rPr>
                        <a:t>Lower cost of compliance reporting</a:t>
                      </a:r>
                    </a:p>
                    <a:p>
                      <a:pPr marL="171450" indent="-171450" algn="l" defTabSz="1088105" rtl="0" eaLnBrk="1" latinLnBrk="0" hangingPunct="1">
                        <a:lnSpc>
                          <a:spcPct val="100000"/>
                        </a:lnSpc>
                        <a:spcBef>
                          <a:spcPts val="200"/>
                        </a:spcBef>
                        <a:buFont typeface="Arial" panose="020B0604020202020204" pitchFamily="34" charset="0"/>
                        <a:buChar char="•"/>
                      </a:pPr>
                      <a:r>
                        <a:rPr lang="en-US" sz="1100" kern="1200" baseline="0" dirty="0">
                          <a:solidFill>
                            <a:schemeClr val="tx1"/>
                          </a:solidFill>
                          <a:latin typeface="+mn-lt"/>
                          <a:ea typeface="+mn-ea"/>
                          <a:cs typeface="+mn-cs"/>
                        </a:rPr>
                        <a:t>Eliminate siloed data storage</a:t>
                      </a:r>
                    </a:p>
                    <a:p>
                      <a:pPr marL="171450" indent="-171450" algn="l" defTabSz="1088105" rtl="0" eaLnBrk="1" latinLnBrk="0" hangingPunct="1">
                        <a:lnSpc>
                          <a:spcPct val="100000"/>
                        </a:lnSpc>
                        <a:spcBef>
                          <a:spcPts val="200"/>
                        </a:spcBef>
                        <a:buFont typeface="Arial" panose="020B0604020202020204" pitchFamily="34" charset="0"/>
                        <a:buChar char="•"/>
                      </a:pPr>
                      <a:r>
                        <a:rPr lang="en-US" sz="1100" kern="1200" baseline="0" dirty="0">
                          <a:solidFill>
                            <a:schemeClr val="tx1"/>
                          </a:solidFill>
                          <a:latin typeface="+mn-lt"/>
                          <a:ea typeface="+mn-ea"/>
                          <a:cs typeface="+mn-cs"/>
                        </a:rPr>
                        <a:t>Eliminate data duplication</a:t>
                      </a:r>
                    </a:p>
                  </a:txBody>
                  <a:tcPr marL="91416" marR="91416" marT="45708" marB="4570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644992">
                <a:tc>
                  <a:txBody>
                    <a:bodyPr/>
                    <a:lstStyle/>
                    <a:p>
                      <a:pPr marL="0" algn="l" defTabSz="1088105" rtl="0" eaLnBrk="1" latinLnBrk="0" hangingPunct="1">
                        <a:lnSpc>
                          <a:spcPct val="100000"/>
                        </a:lnSpc>
                      </a:pPr>
                      <a:r>
                        <a:rPr lang="en-US" sz="1200" b="0" kern="1200">
                          <a:solidFill>
                            <a:schemeClr val="tx1"/>
                          </a:solidFill>
                          <a:latin typeface="Segoe UI Semibold" panose="020B0702040204020203" pitchFamily="34" charset="0"/>
                          <a:ea typeface="+mn-ea"/>
                          <a:cs typeface="Segoe UI Semibold" panose="020B0702040204020203" pitchFamily="34" charset="0"/>
                        </a:rPr>
                        <a:t>Decrease Risk</a:t>
                      </a:r>
                    </a:p>
                  </a:txBody>
                  <a:tcPr marL="91416" marR="91416" marT="45708" marB="4570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lgn="l" defTabSz="1088105" rtl="0" eaLnBrk="1" latinLnBrk="0" hangingPunct="1">
                        <a:lnSpc>
                          <a:spcPct val="100000"/>
                        </a:lnSpc>
                        <a:spcBef>
                          <a:spcPts val="200"/>
                        </a:spcBef>
                        <a:buFont typeface="Arial" panose="020B0604020202020204" pitchFamily="34" charset="0"/>
                        <a:buChar char="•"/>
                      </a:pPr>
                      <a:endParaRPr lang="en-US" sz="1100" kern="1200" dirty="0">
                        <a:solidFill>
                          <a:schemeClr val="tx1"/>
                        </a:solidFill>
                        <a:latin typeface="+mn-lt"/>
                        <a:ea typeface="+mn-ea"/>
                        <a:cs typeface="+mn-cs"/>
                      </a:endParaRPr>
                    </a:p>
                  </a:txBody>
                  <a:tcPr marL="91416" marR="91416" marT="45708" marB="4570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27000" marR="0" indent="-127000" algn="l" defTabSz="1088105"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100" kern="1200" baseline="0" dirty="0">
                          <a:solidFill>
                            <a:schemeClr val="tx1"/>
                          </a:solidFill>
                          <a:latin typeface="+mn-lt"/>
                          <a:ea typeface="+mn-ea"/>
                          <a:cs typeface="+mn-cs"/>
                        </a:rPr>
                        <a:t>Reduced risk of claims from repetitive motion injuries</a:t>
                      </a:r>
                    </a:p>
                    <a:p>
                      <a:pPr marL="127000" marR="0" indent="-127000" algn="l" defTabSz="1088105" rtl="0" eaLnBrk="1" fontAlgn="auto" latinLnBrk="0" hangingPunct="1">
                        <a:lnSpc>
                          <a:spcPct val="100000"/>
                        </a:lnSpc>
                        <a:spcBef>
                          <a:spcPts val="200"/>
                        </a:spcBef>
                        <a:spcAft>
                          <a:spcPts val="200"/>
                        </a:spcAft>
                        <a:buClrTx/>
                        <a:buSzTx/>
                        <a:buFont typeface="Arial" panose="020B0604020202020204" pitchFamily="34" charset="0"/>
                        <a:buChar char="•"/>
                        <a:tabLst/>
                        <a:defRPr/>
                      </a:pPr>
                      <a:endParaRPr lang="en-US" sz="1100" kern="1200" baseline="0" dirty="0">
                        <a:solidFill>
                          <a:schemeClr val="tx1"/>
                        </a:solidFill>
                        <a:latin typeface="+mn-lt"/>
                        <a:ea typeface="+mn-ea"/>
                        <a:cs typeface="+mn-cs"/>
                      </a:endParaRPr>
                    </a:p>
                  </a:txBody>
                  <a:tcPr marL="91416" marR="91416" marT="45708" marB="4570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lvl="0" indent="-171450" algn="l" defTabSz="1088105"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100" kern="1200" baseline="0" dirty="0">
                          <a:solidFill>
                            <a:schemeClr val="tx1"/>
                          </a:solidFill>
                          <a:latin typeface="+mn-lt"/>
                          <a:ea typeface="+mn-ea"/>
                          <a:cs typeface="+mn-cs"/>
                        </a:rPr>
                        <a:t>Lower risk of cyber security threats</a:t>
                      </a:r>
                    </a:p>
                    <a:p>
                      <a:pPr marL="171450" indent="-171450" algn="l" defTabSz="1088105" rtl="0" eaLnBrk="1" latinLnBrk="0" hangingPunct="1">
                        <a:lnSpc>
                          <a:spcPct val="100000"/>
                        </a:lnSpc>
                        <a:spcBef>
                          <a:spcPts val="200"/>
                        </a:spcBef>
                        <a:buFont typeface="Arial" panose="020B0604020202020204" pitchFamily="34" charset="0"/>
                        <a:buChar char="•"/>
                      </a:pPr>
                      <a:endParaRPr lang="en-US" sz="1100" kern="1200" dirty="0">
                        <a:solidFill>
                          <a:schemeClr val="tx1"/>
                        </a:solidFill>
                        <a:latin typeface="+mn-lt"/>
                        <a:ea typeface="+mn-ea"/>
                        <a:cs typeface="+mn-cs"/>
                      </a:endParaRPr>
                    </a:p>
                  </a:txBody>
                  <a:tcPr marL="91416" marR="91416" marT="45708" marB="4570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bl>
          </a:graphicData>
        </a:graphic>
      </p:graphicFrame>
      <p:sp>
        <p:nvSpPr>
          <p:cNvPr id="7" name="Text Placeholder 6"/>
          <p:cNvSpPr txBox="1">
            <a:spLocks/>
          </p:cNvSpPr>
          <p:nvPr/>
        </p:nvSpPr>
        <p:spPr>
          <a:xfrm>
            <a:off x="8663311" y="143853"/>
            <a:ext cx="3219206" cy="357243"/>
          </a:xfrm>
          <a:prstGeom prst="rect">
            <a:avLst/>
          </a:prstGeom>
        </p:spPr>
        <p:txBody>
          <a:bodyPr vert="horz" lIns="319957" tIns="53311" rIns="53311" bIns="53311" rtlCol="0">
            <a:noAutofit/>
          </a:bodyPr>
          <a:lstStyle>
            <a:lvl1pPr marL="0" indent="0" algn="l" defTabSz="1088105" rtl="0" eaLnBrk="1" latinLnBrk="0" hangingPunct="1">
              <a:spcBef>
                <a:spcPts val="1800"/>
              </a:spcBef>
              <a:buClr>
                <a:srgbClr val="0072C6"/>
              </a:buClr>
              <a:buSzPct val="100000"/>
              <a:buFont typeface="Wingdings" pitchFamily="2" charset="2"/>
              <a:buNone/>
              <a:defRPr sz="2800" kern="1200">
                <a:solidFill>
                  <a:schemeClr val="tx1"/>
                </a:solidFill>
                <a:latin typeface="Segoe UI Light" pitchFamily="34" charset="0"/>
                <a:ea typeface="Segoe UI" pitchFamily="34" charset="0"/>
                <a:cs typeface="Segoe UI" pitchFamily="34" charset="0"/>
              </a:defRPr>
            </a:lvl1pPr>
            <a:lvl2pPr marL="281674" indent="0" algn="l" defTabSz="1088105" rtl="0" eaLnBrk="1" latinLnBrk="0" hangingPunct="1">
              <a:spcBef>
                <a:spcPct val="20000"/>
              </a:spcBef>
              <a:buFont typeface="Arial" pitchFamily="34" charset="0"/>
              <a:buNone/>
              <a:defRPr sz="1800" kern="1200">
                <a:solidFill>
                  <a:schemeClr val="tx1"/>
                </a:solidFill>
                <a:latin typeface="Segoe UI" pitchFamily="34" charset="0"/>
                <a:ea typeface="Segoe UI" pitchFamily="34" charset="0"/>
                <a:cs typeface="Segoe UI" pitchFamily="34" charset="0"/>
              </a:defRPr>
            </a:lvl2pPr>
            <a:lvl3pPr marL="588476" indent="0" algn="l" defTabSz="1088105" rtl="0" eaLnBrk="1" latinLnBrk="0" hangingPunct="1">
              <a:spcBef>
                <a:spcPct val="20000"/>
              </a:spcBef>
              <a:buFont typeface="Arial" pitchFamily="34" charset="0"/>
              <a:buNone/>
              <a:defRPr sz="1600" kern="1200">
                <a:solidFill>
                  <a:schemeClr val="tx1"/>
                </a:solidFill>
                <a:latin typeface="Segoe UI" pitchFamily="34" charset="0"/>
                <a:ea typeface="Segoe UI" pitchFamily="34" charset="0"/>
                <a:cs typeface="Segoe UI" pitchFamily="34" charset="0"/>
              </a:defRPr>
            </a:lvl3pPr>
            <a:lvl4pPr marL="87015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4pPr>
            <a:lvl5pPr marL="110554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defTabSz="1087779">
              <a:spcBef>
                <a:spcPts val="1799"/>
              </a:spcBef>
              <a:defRPr/>
            </a:pPr>
            <a:r>
              <a:rPr lang="en-US" sz="2799">
                <a:solidFill>
                  <a:srgbClr val="505050"/>
                </a:solidFill>
              </a:rPr>
              <a:t>Value Touch Points</a:t>
            </a:r>
          </a:p>
        </p:txBody>
      </p:sp>
      <p:sp>
        <p:nvSpPr>
          <p:cNvPr id="9" name="Title 1">
            <a:extLst>
              <a:ext uri="{FF2B5EF4-FFF2-40B4-BE49-F238E27FC236}">
                <a16:creationId xmlns:a16="http://schemas.microsoft.com/office/drawing/2014/main" id="{9FD45AF9-DEDD-420C-BBA2-A7B2BCBE7F7F}"/>
              </a:ext>
            </a:extLst>
          </p:cNvPr>
          <p:cNvSpPr>
            <a:spLocks noGrp="1"/>
          </p:cNvSpPr>
          <p:nvPr>
            <p:ph type="title"/>
          </p:nvPr>
        </p:nvSpPr>
        <p:spPr>
          <a:xfrm>
            <a:off x="0" y="2"/>
            <a:ext cx="12188825" cy="646042"/>
          </a:xfrm>
        </p:spPr>
        <p:txBody>
          <a:bodyPr/>
          <a:lstStyle/>
          <a:p>
            <a:r>
              <a:rPr lang="en-US" dirty="0"/>
              <a:t>Human-Robot Collaboration</a:t>
            </a:r>
            <a:endParaRPr lang="en-IN" dirty="0"/>
          </a:p>
        </p:txBody>
      </p:sp>
    </p:spTree>
    <p:extLst>
      <p:ext uri="{BB962C8B-B14F-4D97-AF65-F5344CB8AC3E}">
        <p14:creationId xmlns:p14="http://schemas.microsoft.com/office/powerpoint/2010/main" val="22994621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lgn="r" defTabSz="914126">
              <a:defRPr/>
            </a:pPr>
            <a:fld id="{FAADACFB-7C71-4E89-89D2-7BBA40B7BFA9}" type="slidenum">
              <a:rPr lang="en-US" sz="800">
                <a:solidFill>
                  <a:srgbClr val="505050"/>
                </a:solidFill>
                <a:latin typeface="Segoe UI" pitchFamily="34" charset="0"/>
                <a:cs typeface="Segoe UI" pitchFamily="34" charset="0"/>
              </a:rPr>
              <a:pPr algn="r" defTabSz="914126">
                <a:defRPr/>
              </a:pPr>
              <a:t>32</a:t>
            </a:fld>
            <a:endParaRPr lang="en-US" sz="800">
              <a:solidFill>
                <a:srgbClr val="505050"/>
              </a:solidFill>
              <a:latin typeface="Segoe UI" pitchFamily="34" charset="0"/>
              <a:cs typeface="Segoe UI" pitchFamily="34" charset="0"/>
            </a:endParaRPr>
          </a:p>
        </p:txBody>
      </p:sp>
      <p:sp>
        <p:nvSpPr>
          <p:cNvPr id="3" name="Text Placeholder 2"/>
          <p:cNvSpPr>
            <a:spLocks noGrp="1"/>
          </p:cNvSpPr>
          <p:nvPr>
            <p:ph type="body" sz="quarter" idx="13"/>
          </p:nvPr>
        </p:nvSpPr>
        <p:spPr>
          <a:xfrm>
            <a:off x="0" y="1150820"/>
            <a:ext cx="12188825" cy="372966"/>
          </a:xfrm>
        </p:spPr>
        <p:txBody>
          <a:bodyPr/>
          <a:lstStyle/>
          <a:p>
            <a:r>
              <a:rPr lang="en-IN" sz="1999"/>
              <a:t>Continuously managing &amp; measuring clear value levers, success factors, and performance measures</a:t>
            </a:r>
          </a:p>
        </p:txBody>
      </p:sp>
      <p:sp>
        <p:nvSpPr>
          <p:cNvPr id="45" name="Rectangle 44"/>
          <p:cNvSpPr/>
          <p:nvPr>
            <p:custDataLst>
              <p:tags r:id="rId1"/>
            </p:custDataLst>
          </p:nvPr>
        </p:nvSpPr>
        <p:spPr>
          <a:xfrm flipH="1">
            <a:off x="303133" y="1613898"/>
            <a:ext cx="6763483" cy="553854"/>
          </a:xfrm>
          <a:prstGeom prst="rect">
            <a:avLst/>
          </a:prstGeom>
          <a:solidFill>
            <a:schemeClr val="tx2"/>
          </a:solidFill>
          <a:ln w="6350">
            <a:noFill/>
          </a:ln>
          <a:effectLst/>
        </p:spPr>
        <p:txBody>
          <a:bodyPr vert="horz" wrap="square" lIns="91416" tIns="91416" rIns="91416" bIns="91416" numCol="1" rtlCol="0" anchor="ctr" anchorCtr="0" compatLnSpc="1">
            <a:prstTxWarp prst="textNoShape">
              <a:avLst/>
            </a:prstTxWarp>
            <a:spAutoFit/>
          </a:bodyPr>
          <a:lstStyle/>
          <a:p>
            <a:pPr marL="0" lvl="1" algn="ctr" defTabSz="1623532" fontAlgn="base">
              <a:buClr>
                <a:srgbClr val="FFFF99"/>
              </a:buClr>
              <a:buSzPct val="90000"/>
              <a:defRPr/>
            </a:pPr>
            <a:r>
              <a:rPr lang="en-IN" altLang="zh-CN" sz="2399" kern="0" dirty="0">
                <a:solidFill>
                  <a:srgbClr val="FFFFFF"/>
                </a:solidFill>
                <a:latin typeface="Segoe UI Light"/>
                <a:ea typeface="Segoe UI" pitchFamily="34" charset="0"/>
                <a:cs typeface="Segoe UI Semibold" panose="020B0702040204020203" pitchFamily="34" charset="0"/>
              </a:rPr>
              <a:t>Human-Robot Collaboration</a:t>
            </a:r>
          </a:p>
        </p:txBody>
      </p:sp>
      <p:sp>
        <p:nvSpPr>
          <p:cNvPr id="46" name="Rectangle 45"/>
          <p:cNvSpPr/>
          <p:nvPr>
            <p:custDataLst>
              <p:tags r:id="rId2"/>
            </p:custDataLst>
          </p:nvPr>
        </p:nvSpPr>
        <p:spPr bwMode="auto">
          <a:xfrm>
            <a:off x="303133" y="2167751"/>
            <a:ext cx="3344166" cy="2428242"/>
          </a:xfrm>
          <a:prstGeom prst="rect">
            <a:avLst/>
          </a:prstGeom>
          <a:solidFill>
            <a:schemeClr val="bg1">
              <a:lumMod val="95000"/>
            </a:schemeClr>
          </a:solidFill>
          <a:ln w="3175" cap="flat" cmpd="sng" algn="ctr">
            <a:noFill/>
            <a:prstDash val="solid"/>
            <a:round/>
            <a:headEnd type="none" w="med" len="med"/>
            <a:tailEnd type="none" w="med" len="med"/>
          </a:ln>
          <a:effectLst/>
        </p:spPr>
        <p:txBody>
          <a:bodyPr lIns="91416" tIns="45708" rIns="91416" bIns="45708" rtlCol="0" anchor="t" anchorCtr="0">
            <a:noAutofit/>
          </a:bodyPr>
          <a:lstStyle/>
          <a:p>
            <a:pPr marL="0" lvl="1" defTabSz="1623532">
              <a:spcBef>
                <a:spcPts val="600"/>
              </a:spcBef>
              <a:buClr>
                <a:srgbClr val="595959">
                  <a:lumMod val="75000"/>
                </a:srgbClr>
              </a:buClr>
              <a:defRPr/>
            </a:pPr>
            <a:r>
              <a:rPr lang="en-IN" altLang="zh-CN" sz="1600" kern="0" dirty="0">
                <a:solidFill>
                  <a:srgbClr val="0072C6"/>
                </a:solidFill>
                <a:latin typeface="Segoe UI Semibold" panose="020B0702040204020203" pitchFamily="34" charset="0"/>
                <a:ea typeface="Segoe UI" pitchFamily="34" charset="0"/>
                <a:cs typeface="Segoe UI Semibold" panose="020B0702040204020203" pitchFamily="34" charset="0"/>
              </a:rPr>
              <a:t>Factory</a:t>
            </a:r>
          </a:p>
          <a:p>
            <a:pPr marL="274238" lvl="1" indent="-182825" defTabSz="1623532">
              <a:spcBef>
                <a:spcPts val="200"/>
              </a:spcBef>
              <a:spcAft>
                <a:spcPts val="400"/>
              </a:spcAft>
              <a:buClr>
                <a:srgbClr val="595959">
                  <a:lumMod val="75000"/>
                </a:srgbClr>
              </a:buClr>
              <a:buFont typeface="Arial" pitchFamily="34" charset="0"/>
              <a:buChar char="•"/>
              <a:defRPr/>
            </a:pPr>
            <a:r>
              <a:rPr lang="en-IN" altLang="zh-CN" sz="1400" kern="0" dirty="0">
                <a:solidFill>
                  <a:srgbClr val="505050"/>
                </a:solidFill>
                <a:latin typeface="Segoe UI"/>
                <a:ea typeface="Segoe UI" pitchFamily="34" charset="0"/>
                <a:cs typeface="Segoe UI" pitchFamily="34" charset="0"/>
              </a:rPr>
              <a:t>Better manufacturing throughput</a:t>
            </a:r>
          </a:p>
          <a:p>
            <a:pPr marL="274238" lvl="1" indent="-182825" defTabSz="1623532">
              <a:spcBef>
                <a:spcPts val="200"/>
              </a:spcBef>
              <a:spcAft>
                <a:spcPts val="400"/>
              </a:spcAft>
              <a:buClr>
                <a:srgbClr val="595959">
                  <a:lumMod val="75000"/>
                </a:srgbClr>
              </a:buClr>
              <a:buFont typeface="Arial" pitchFamily="34" charset="0"/>
              <a:buChar char="•"/>
              <a:defRPr/>
            </a:pPr>
            <a:r>
              <a:rPr lang="en-IN" altLang="zh-CN" sz="1400" kern="0" dirty="0">
                <a:solidFill>
                  <a:srgbClr val="505050"/>
                </a:solidFill>
                <a:latin typeface="Segoe UI"/>
                <a:ea typeface="Segoe UI" pitchFamily="34" charset="0"/>
                <a:cs typeface="Segoe UI" pitchFamily="34" charset="0"/>
              </a:rPr>
              <a:t>Less line stoppage</a:t>
            </a:r>
          </a:p>
          <a:p>
            <a:pPr marL="274238" lvl="1" indent="-182825" defTabSz="1623532">
              <a:spcBef>
                <a:spcPts val="200"/>
              </a:spcBef>
              <a:spcAft>
                <a:spcPts val="400"/>
              </a:spcAft>
              <a:buClr>
                <a:srgbClr val="595959">
                  <a:lumMod val="75000"/>
                </a:srgbClr>
              </a:buClr>
              <a:buFont typeface="Arial" pitchFamily="34" charset="0"/>
              <a:buChar char="•"/>
              <a:defRPr/>
            </a:pPr>
            <a:r>
              <a:rPr lang="en-IN" altLang="zh-CN" sz="1400" kern="0" dirty="0">
                <a:solidFill>
                  <a:srgbClr val="505050"/>
                </a:solidFill>
                <a:latin typeface="Segoe UI"/>
                <a:ea typeface="Segoe UI" pitchFamily="34" charset="0"/>
                <a:cs typeface="Segoe UI" pitchFamily="34" charset="0"/>
              </a:rPr>
              <a:t>Enables scientific method for introducing work changes</a:t>
            </a:r>
          </a:p>
          <a:p>
            <a:pPr marL="274238" lvl="1" indent="-182825" defTabSz="1623532">
              <a:spcBef>
                <a:spcPts val="200"/>
              </a:spcBef>
              <a:spcAft>
                <a:spcPts val="400"/>
              </a:spcAft>
              <a:buClr>
                <a:srgbClr val="595959">
                  <a:lumMod val="75000"/>
                </a:srgbClr>
              </a:buClr>
              <a:buFont typeface="Arial" pitchFamily="34" charset="0"/>
              <a:buChar char="•"/>
              <a:defRPr/>
            </a:pPr>
            <a:endParaRPr lang="en-IN" altLang="zh-CN" sz="1400" kern="0" dirty="0">
              <a:solidFill>
                <a:srgbClr val="505050"/>
              </a:solidFill>
              <a:latin typeface="Segoe UI"/>
              <a:ea typeface="Segoe UI" pitchFamily="34" charset="0"/>
              <a:cs typeface="Segoe UI" pitchFamily="34" charset="0"/>
            </a:endParaRPr>
          </a:p>
          <a:p>
            <a:pPr marL="274238" lvl="1" indent="-182825" defTabSz="1623532">
              <a:spcBef>
                <a:spcPts val="200"/>
              </a:spcBef>
              <a:spcAft>
                <a:spcPts val="400"/>
              </a:spcAft>
              <a:buClr>
                <a:srgbClr val="595959">
                  <a:lumMod val="75000"/>
                </a:srgbClr>
              </a:buClr>
              <a:buFont typeface="Arial" pitchFamily="34" charset="0"/>
              <a:buChar char="•"/>
              <a:defRPr/>
            </a:pPr>
            <a:endParaRPr lang="en-IN" altLang="zh-CN" sz="1400" kern="0" dirty="0">
              <a:solidFill>
                <a:srgbClr val="505050"/>
              </a:solidFill>
              <a:latin typeface="Segoe UI"/>
              <a:ea typeface="Segoe UI" pitchFamily="34" charset="0"/>
              <a:cs typeface="Segoe UI" pitchFamily="34" charset="0"/>
            </a:endParaRPr>
          </a:p>
          <a:p>
            <a:pPr marL="274238" lvl="1" indent="-182825" defTabSz="1623532">
              <a:spcBef>
                <a:spcPts val="200"/>
              </a:spcBef>
              <a:spcAft>
                <a:spcPts val="400"/>
              </a:spcAft>
              <a:buClr>
                <a:srgbClr val="595959">
                  <a:lumMod val="75000"/>
                </a:srgbClr>
              </a:buClr>
              <a:buFont typeface="Arial" pitchFamily="34" charset="0"/>
              <a:buChar char="•"/>
              <a:defRPr/>
            </a:pPr>
            <a:endParaRPr lang="en-IN" altLang="zh-CN" sz="1400" kern="0" dirty="0">
              <a:solidFill>
                <a:srgbClr val="505050"/>
              </a:solidFill>
              <a:latin typeface="Segoe UI"/>
              <a:ea typeface="Segoe UI" pitchFamily="34" charset="0"/>
              <a:cs typeface="Segoe UI" pitchFamily="34" charset="0"/>
            </a:endParaRPr>
          </a:p>
          <a:p>
            <a:pPr marL="274238" lvl="1" indent="-182825" defTabSz="1623532">
              <a:spcBef>
                <a:spcPts val="200"/>
              </a:spcBef>
              <a:spcAft>
                <a:spcPts val="400"/>
              </a:spcAft>
              <a:buClr>
                <a:srgbClr val="595959">
                  <a:lumMod val="75000"/>
                </a:srgbClr>
              </a:buClr>
              <a:buFont typeface="Arial" pitchFamily="34" charset="0"/>
              <a:buChar char="•"/>
              <a:defRPr/>
            </a:pPr>
            <a:endParaRPr lang="en-IN" altLang="zh-CN" sz="1400" kern="0" dirty="0">
              <a:solidFill>
                <a:srgbClr val="505050"/>
              </a:solidFill>
              <a:latin typeface="Segoe UI"/>
              <a:ea typeface="Segoe UI" pitchFamily="34" charset="0"/>
              <a:cs typeface="Segoe UI" pitchFamily="34" charset="0"/>
            </a:endParaRPr>
          </a:p>
        </p:txBody>
      </p:sp>
      <p:sp>
        <p:nvSpPr>
          <p:cNvPr id="47" name="Rectangle 46"/>
          <p:cNvSpPr/>
          <p:nvPr>
            <p:custDataLst>
              <p:tags r:id="rId3"/>
            </p:custDataLst>
          </p:nvPr>
        </p:nvSpPr>
        <p:spPr bwMode="auto">
          <a:xfrm>
            <a:off x="303133" y="4653129"/>
            <a:ext cx="6763483" cy="1823078"/>
          </a:xfrm>
          <a:prstGeom prst="rect">
            <a:avLst/>
          </a:prstGeom>
          <a:solidFill>
            <a:schemeClr val="bg1">
              <a:lumMod val="95000"/>
            </a:schemeClr>
          </a:solidFill>
          <a:ln w="3175" cap="flat" cmpd="sng" algn="ctr">
            <a:noFill/>
            <a:prstDash val="solid"/>
            <a:round/>
            <a:headEnd type="none" w="med" len="med"/>
            <a:tailEnd type="none" w="med" len="med"/>
          </a:ln>
          <a:effectLst/>
        </p:spPr>
        <p:txBody>
          <a:bodyPr lIns="91416" tIns="45708" rIns="91416" bIns="45708" rtlCol="0" anchor="t" anchorCtr="0">
            <a:noAutofit/>
          </a:bodyPr>
          <a:lstStyle/>
          <a:p>
            <a:pPr marL="0" lvl="1" defTabSz="1623532">
              <a:spcBef>
                <a:spcPts val="600"/>
              </a:spcBef>
              <a:buClr>
                <a:srgbClr val="595959">
                  <a:lumMod val="75000"/>
                </a:srgbClr>
              </a:buClr>
              <a:defRPr/>
            </a:pPr>
            <a:r>
              <a:rPr lang="en-IN" altLang="zh-CN" sz="1600" kern="0" dirty="0">
                <a:solidFill>
                  <a:srgbClr val="0072C6"/>
                </a:solidFill>
                <a:latin typeface="Segoe UI Semibold" panose="020B0702040204020203" pitchFamily="34" charset="0"/>
                <a:ea typeface="Segoe UI" pitchFamily="34" charset="0"/>
                <a:cs typeface="Segoe UI Semibold" panose="020B0702040204020203" pitchFamily="34" charset="0"/>
              </a:rPr>
              <a:t>Operations</a:t>
            </a:r>
          </a:p>
          <a:p>
            <a:pPr marL="274238" lvl="1" indent="-182825" defTabSz="1623532">
              <a:spcBef>
                <a:spcPts val="200"/>
              </a:spcBef>
              <a:spcAft>
                <a:spcPts val="400"/>
              </a:spcAft>
              <a:buClr>
                <a:srgbClr val="595959">
                  <a:lumMod val="75000"/>
                </a:srgbClr>
              </a:buClr>
              <a:buFont typeface="Arial" pitchFamily="34" charset="0"/>
              <a:buChar char="•"/>
              <a:defRPr/>
            </a:pPr>
            <a:r>
              <a:rPr lang="en-IN" altLang="zh-CN" sz="1400" kern="0" dirty="0">
                <a:solidFill>
                  <a:srgbClr val="505050"/>
                </a:solidFill>
                <a:latin typeface="Segoe UI"/>
                <a:ea typeface="Segoe UI" pitchFamily="34" charset="0"/>
                <a:cs typeface="Segoe UI" pitchFamily="34" charset="0"/>
              </a:rPr>
              <a:t>Improved regulatory compliance</a:t>
            </a:r>
          </a:p>
          <a:p>
            <a:pPr marL="274238" lvl="1" indent="-182825" defTabSz="1623532">
              <a:spcBef>
                <a:spcPts val="200"/>
              </a:spcBef>
              <a:spcAft>
                <a:spcPts val="400"/>
              </a:spcAft>
              <a:buClr>
                <a:srgbClr val="595959">
                  <a:lumMod val="75000"/>
                </a:srgbClr>
              </a:buClr>
              <a:buFont typeface="Arial" pitchFamily="34" charset="0"/>
              <a:buChar char="•"/>
              <a:defRPr/>
            </a:pPr>
            <a:r>
              <a:rPr lang="en-US" altLang="zh-CN" sz="1400" kern="0" dirty="0">
                <a:solidFill>
                  <a:srgbClr val="505050"/>
                </a:solidFill>
                <a:latin typeface="Segoe UI"/>
                <a:ea typeface="Segoe UI" pitchFamily="34" charset="0"/>
                <a:cs typeface="Segoe UI" pitchFamily="34" charset="0"/>
              </a:rPr>
              <a:t>Faster and more accurate reporting</a:t>
            </a:r>
          </a:p>
          <a:p>
            <a:pPr marL="274238" lvl="1" indent="-182825" defTabSz="1623532">
              <a:spcBef>
                <a:spcPts val="200"/>
              </a:spcBef>
              <a:spcAft>
                <a:spcPts val="400"/>
              </a:spcAft>
              <a:buClr>
                <a:srgbClr val="595959">
                  <a:lumMod val="75000"/>
                </a:srgbClr>
              </a:buClr>
              <a:buFont typeface="Arial" pitchFamily="34" charset="0"/>
              <a:buChar char="•"/>
              <a:defRPr/>
            </a:pPr>
            <a:r>
              <a:rPr lang="en-US" sz="1400" kern="0" dirty="0">
                <a:solidFill>
                  <a:srgbClr val="505050"/>
                </a:solidFill>
                <a:latin typeface="Segoe UI"/>
              </a:rPr>
              <a:t>Shortened process cycles</a:t>
            </a:r>
          </a:p>
          <a:p>
            <a:pPr marL="274238" lvl="1" indent="-182825" defTabSz="1623532">
              <a:spcBef>
                <a:spcPts val="200"/>
              </a:spcBef>
              <a:spcAft>
                <a:spcPts val="400"/>
              </a:spcAft>
              <a:buClr>
                <a:srgbClr val="595959">
                  <a:lumMod val="75000"/>
                </a:srgbClr>
              </a:buClr>
              <a:buFont typeface="Arial" pitchFamily="34" charset="0"/>
              <a:buChar char="•"/>
              <a:defRPr/>
            </a:pPr>
            <a:r>
              <a:rPr lang="en-US" sz="1400" kern="0" dirty="0">
                <a:solidFill>
                  <a:srgbClr val="505050"/>
                </a:solidFill>
                <a:latin typeface="Segoe UI"/>
              </a:rPr>
              <a:t>Fewer error prone, manual processes</a:t>
            </a:r>
            <a:endParaRPr lang="en-US" altLang="zh-CN" sz="1400" kern="0" dirty="0">
              <a:solidFill>
                <a:srgbClr val="505050"/>
              </a:solidFill>
              <a:latin typeface="Segoe UI"/>
              <a:ea typeface="Segoe UI" pitchFamily="34" charset="0"/>
              <a:cs typeface="Segoe UI" pitchFamily="34" charset="0"/>
            </a:endParaRPr>
          </a:p>
          <a:p>
            <a:pPr marL="274238" lvl="1" indent="-182825" defTabSz="1623532">
              <a:spcBef>
                <a:spcPts val="200"/>
              </a:spcBef>
              <a:spcAft>
                <a:spcPts val="400"/>
              </a:spcAft>
              <a:buClr>
                <a:srgbClr val="595959">
                  <a:lumMod val="75000"/>
                </a:srgbClr>
              </a:buClr>
              <a:buFont typeface="Arial" pitchFamily="34" charset="0"/>
              <a:buChar char="•"/>
              <a:defRPr/>
            </a:pPr>
            <a:endParaRPr lang="en-IN" altLang="zh-CN" sz="1400" kern="0" dirty="0">
              <a:solidFill>
                <a:srgbClr val="505050"/>
              </a:solidFill>
              <a:latin typeface="Segoe UI"/>
              <a:ea typeface="Segoe UI" pitchFamily="34" charset="0"/>
              <a:cs typeface="Segoe UI" pitchFamily="34" charset="0"/>
            </a:endParaRPr>
          </a:p>
          <a:p>
            <a:pPr marL="274238" lvl="1" indent="-182825" defTabSz="1623532">
              <a:spcBef>
                <a:spcPts val="200"/>
              </a:spcBef>
              <a:spcAft>
                <a:spcPts val="400"/>
              </a:spcAft>
              <a:buClr>
                <a:srgbClr val="595959">
                  <a:lumMod val="75000"/>
                </a:srgbClr>
              </a:buClr>
              <a:buFont typeface="Arial" pitchFamily="34" charset="0"/>
              <a:buChar char="•"/>
              <a:defRPr/>
            </a:pPr>
            <a:endParaRPr lang="en-IN" altLang="zh-CN" sz="1400" kern="0" dirty="0">
              <a:solidFill>
                <a:srgbClr val="505050"/>
              </a:solidFill>
              <a:latin typeface="Segoe UI"/>
              <a:ea typeface="Segoe UI" pitchFamily="34" charset="0"/>
              <a:cs typeface="Segoe UI" pitchFamily="34" charset="0"/>
            </a:endParaRPr>
          </a:p>
          <a:p>
            <a:pPr marL="274238" lvl="1" indent="-182825" defTabSz="1623532">
              <a:spcBef>
                <a:spcPts val="200"/>
              </a:spcBef>
              <a:spcAft>
                <a:spcPts val="400"/>
              </a:spcAft>
              <a:buClr>
                <a:srgbClr val="595959">
                  <a:lumMod val="75000"/>
                </a:srgbClr>
              </a:buClr>
              <a:buFont typeface="Arial" pitchFamily="34" charset="0"/>
              <a:buChar char="•"/>
              <a:defRPr/>
            </a:pPr>
            <a:endParaRPr lang="en-IN" altLang="zh-CN" sz="1400" kern="0" dirty="0">
              <a:solidFill>
                <a:srgbClr val="505050"/>
              </a:solidFill>
              <a:latin typeface="Segoe UI"/>
              <a:ea typeface="Segoe UI" pitchFamily="34" charset="0"/>
              <a:cs typeface="Segoe UI" pitchFamily="34" charset="0"/>
            </a:endParaRPr>
          </a:p>
        </p:txBody>
      </p:sp>
      <p:sp>
        <p:nvSpPr>
          <p:cNvPr id="48" name="Rectangle 47"/>
          <p:cNvSpPr/>
          <p:nvPr>
            <p:custDataLst>
              <p:tags r:id="rId4"/>
            </p:custDataLst>
          </p:nvPr>
        </p:nvSpPr>
        <p:spPr bwMode="auto">
          <a:xfrm>
            <a:off x="3712062" y="2167751"/>
            <a:ext cx="3344166" cy="2428242"/>
          </a:xfrm>
          <a:prstGeom prst="rect">
            <a:avLst/>
          </a:prstGeom>
          <a:solidFill>
            <a:schemeClr val="bg1">
              <a:lumMod val="95000"/>
            </a:schemeClr>
          </a:solidFill>
          <a:ln w="3175" cap="flat" cmpd="sng" algn="ctr">
            <a:noFill/>
            <a:prstDash val="solid"/>
            <a:round/>
            <a:headEnd type="none" w="med" len="med"/>
            <a:tailEnd type="none" w="med" len="med"/>
          </a:ln>
          <a:effectLst/>
        </p:spPr>
        <p:txBody>
          <a:bodyPr lIns="91416" tIns="45708" rIns="91416" bIns="45708" rtlCol="0" anchor="t" anchorCtr="0">
            <a:noAutofit/>
          </a:bodyPr>
          <a:lstStyle/>
          <a:p>
            <a:pPr marL="0" lvl="1" defTabSz="1623532">
              <a:spcBef>
                <a:spcPts val="600"/>
              </a:spcBef>
              <a:buClr>
                <a:srgbClr val="595959">
                  <a:lumMod val="75000"/>
                </a:srgbClr>
              </a:buClr>
              <a:defRPr/>
            </a:pPr>
            <a:r>
              <a:rPr lang="en-IN" altLang="zh-CN" sz="1600" kern="0" dirty="0">
                <a:solidFill>
                  <a:srgbClr val="0072C6"/>
                </a:solidFill>
                <a:latin typeface="Segoe UI Semibold" panose="020B0702040204020203" pitchFamily="34" charset="0"/>
                <a:ea typeface="Segoe UI" pitchFamily="34" charset="0"/>
                <a:cs typeface="Segoe UI Semibold" panose="020B0702040204020203" pitchFamily="34" charset="0"/>
              </a:rPr>
              <a:t>Employees</a:t>
            </a:r>
          </a:p>
          <a:p>
            <a:pPr marL="274238" lvl="1" indent="-182825" defTabSz="1623532">
              <a:spcBef>
                <a:spcPts val="200"/>
              </a:spcBef>
              <a:spcAft>
                <a:spcPts val="400"/>
              </a:spcAft>
              <a:buClr>
                <a:srgbClr val="595959">
                  <a:lumMod val="75000"/>
                </a:srgbClr>
              </a:buClr>
              <a:buFont typeface="Arial" pitchFamily="34" charset="0"/>
              <a:buChar char="•"/>
              <a:defRPr/>
            </a:pPr>
            <a:r>
              <a:rPr lang="en-IN" altLang="zh-CN" sz="1400" kern="0" dirty="0">
                <a:solidFill>
                  <a:srgbClr val="505050"/>
                </a:solidFill>
                <a:latin typeface="Segoe UI"/>
                <a:ea typeface="Segoe UI" pitchFamily="34" charset="0"/>
                <a:cs typeface="Segoe UI" pitchFamily="34" charset="0"/>
              </a:rPr>
              <a:t>Minimize stress and injury</a:t>
            </a:r>
          </a:p>
          <a:p>
            <a:pPr marL="274238" lvl="1" indent="-182825" defTabSz="1623532">
              <a:spcBef>
                <a:spcPts val="200"/>
              </a:spcBef>
              <a:spcAft>
                <a:spcPts val="400"/>
              </a:spcAft>
              <a:buClr>
                <a:srgbClr val="595959">
                  <a:lumMod val="75000"/>
                </a:srgbClr>
              </a:buClr>
              <a:buFont typeface="Arial" pitchFamily="34" charset="0"/>
              <a:buChar char="•"/>
              <a:defRPr/>
            </a:pPr>
            <a:r>
              <a:rPr lang="en-IN" altLang="zh-CN" sz="1400" kern="0" dirty="0">
                <a:solidFill>
                  <a:srgbClr val="505050"/>
                </a:solidFill>
                <a:latin typeface="Segoe UI"/>
                <a:ea typeface="Segoe UI" pitchFamily="34" charset="0"/>
                <a:cs typeface="Segoe UI" pitchFamily="34" charset="0"/>
              </a:rPr>
              <a:t>Increased job satisfaction</a:t>
            </a:r>
          </a:p>
          <a:p>
            <a:pPr marL="274238" lvl="1" indent="-182825" defTabSz="1623532">
              <a:spcBef>
                <a:spcPts val="200"/>
              </a:spcBef>
              <a:spcAft>
                <a:spcPts val="400"/>
              </a:spcAft>
              <a:buClr>
                <a:srgbClr val="595959">
                  <a:lumMod val="75000"/>
                </a:srgbClr>
              </a:buClr>
              <a:buFont typeface="Arial" pitchFamily="34" charset="0"/>
              <a:buChar char="•"/>
              <a:defRPr/>
            </a:pPr>
            <a:r>
              <a:rPr lang="en-IN" altLang="zh-CN" sz="1400" kern="0" dirty="0">
                <a:solidFill>
                  <a:srgbClr val="505050"/>
                </a:solidFill>
                <a:latin typeface="Segoe UI"/>
                <a:ea typeface="Segoe UI" pitchFamily="34" charset="0"/>
                <a:cs typeface="Segoe UI" pitchFamily="34" charset="0"/>
              </a:rPr>
              <a:t>Increased productivity</a:t>
            </a:r>
          </a:p>
          <a:p>
            <a:pPr marL="274238" lvl="1" indent="-182825" defTabSz="1623532">
              <a:spcBef>
                <a:spcPts val="200"/>
              </a:spcBef>
              <a:spcAft>
                <a:spcPts val="400"/>
              </a:spcAft>
              <a:buClr>
                <a:srgbClr val="595959">
                  <a:lumMod val="75000"/>
                </a:srgbClr>
              </a:buClr>
              <a:buFont typeface="Arial" pitchFamily="34" charset="0"/>
              <a:buChar char="•"/>
              <a:defRPr/>
            </a:pPr>
            <a:endParaRPr lang="en-IN" altLang="zh-CN" sz="1400" kern="0" dirty="0">
              <a:solidFill>
                <a:srgbClr val="505050"/>
              </a:solidFill>
              <a:latin typeface="Segoe UI"/>
              <a:ea typeface="Segoe UI" pitchFamily="34" charset="0"/>
              <a:cs typeface="Segoe UI" pitchFamily="34" charset="0"/>
            </a:endParaRPr>
          </a:p>
        </p:txBody>
      </p:sp>
      <p:sp>
        <p:nvSpPr>
          <p:cNvPr id="50" name="Rectangle 49"/>
          <p:cNvSpPr/>
          <p:nvPr>
            <p:custDataLst>
              <p:tags r:id="rId5"/>
            </p:custDataLst>
          </p:nvPr>
        </p:nvSpPr>
        <p:spPr bwMode="auto">
          <a:xfrm>
            <a:off x="7776618" y="2180255"/>
            <a:ext cx="3968103" cy="4289907"/>
          </a:xfrm>
          <a:prstGeom prst="rect">
            <a:avLst/>
          </a:prstGeom>
          <a:solidFill>
            <a:schemeClr val="bg1">
              <a:lumMod val="95000"/>
            </a:schemeClr>
          </a:solidFill>
          <a:ln w="3175" cap="flat" cmpd="sng" algn="ctr">
            <a:noFill/>
            <a:prstDash val="solid"/>
            <a:round/>
            <a:headEnd type="none" w="med" len="med"/>
            <a:tailEnd type="none" w="med" len="med"/>
          </a:ln>
          <a:effectLst/>
        </p:spPr>
        <p:txBody>
          <a:bodyPr lIns="91416" tIns="45708" rIns="91416" bIns="45708" rtlCol="0" anchor="t" anchorCtr="0"/>
          <a:lstStyle/>
          <a:p>
            <a:pPr marL="201553" lvl="1" indent="-201553" defTabSz="1623532">
              <a:spcBef>
                <a:spcPts val="200"/>
              </a:spcBef>
              <a:buClr>
                <a:srgbClr val="595959">
                  <a:lumMod val="75000"/>
                </a:srgbClr>
              </a:buClr>
              <a:buFont typeface="Arial" pitchFamily="34" charset="0"/>
              <a:buChar char="•"/>
              <a:defRPr/>
            </a:pPr>
            <a:r>
              <a:rPr lang="en-IN" altLang="zh-CN" sz="1400" kern="0" dirty="0">
                <a:solidFill>
                  <a:srgbClr val="505050"/>
                </a:solidFill>
                <a:ea typeface="Segoe UI" pitchFamily="34" charset="0"/>
                <a:cs typeface="Segoe UI" pitchFamily="34" charset="0"/>
              </a:rPr>
              <a:t>Increased production rate</a:t>
            </a:r>
          </a:p>
          <a:p>
            <a:pPr marL="201553" lvl="1" indent="-201553" defTabSz="1623532">
              <a:spcBef>
                <a:spcPts val="200"/>
              </a:spcBef>
              <a:buClr>
                <a:srgbClr val="595959">
                  <a:lumMod val="75000"/>
                </a:srgbClr>
              </a:buClr>
              <a:buFont typeface="Arial" pitchFamily="34" charset="0"/>
              <a:buChar char="•"/>
              <a:defRPr/>
            </a:pPr>
            <a:r>
              <a:rPr lang="en-IN" altLang="zh-CN" sz="1400" kern="0" dirty="0">
                <a:solidFill>
                  <a:srgbClr val="505050"/>
                </a:solidFill>
                <a:latin typeface="Segoe UI"/>
                <a:ea typeface="Segoe UI" pitchFamily="34" charset="0"/>
                <a:cs typeface="Segoe UI" pitchFamily="34" charset="0"/>
              </a:rPr>
              <a:t>Reduced worker injury and work loss</a:t>
            </a:r>
          </a:p>
          <a:p>
            <a:pPr marL="201553" lvl="1" indent="-201553" defTabSz="1623532">
              <a:spcBef>
                <a:spcPts val="200"/>
              </a:spcBef>
              <a:buClr>
                <a:srgbClr val="595959">
                  <a:lumMod val="75000"/>
                </a:srgbClr>
              </a:buClr>
              <a:buFont typeface="Arial" pitchFamily="34" charset="0"/>
              <a:buChar char="•"/>
              <a:defRPr/>
            </a:pPr>
            <a:r>
              <a:rPr lang="en-IN" altLang="zh-CN" sz="1400" kern="0" dirty="0">
                <a:solidFill>
                  <a:srgbClr val="505050"/>
                </a:solidFill>
                <a:latin typeface="Segoe UI"/>
                <a:ea typeface="Segoe UI" pitchFamily="34" charset="0"/>
                <a:cs typeface="Segoe UI" pitchFamily="34" charset="0"/>
              </a:rPr>
              <a:t>Reduced healthcare and insurance costs</a:t>
            </a:r>
          </a:p>
          <a:p>
            <a:pPr marL="201553" lvl="1" indent="-201553" defTabSz="1623532">
              <a:spcBef>
                <a:spcPts val="200"/>
              </a:spcBef>
              <a:buClr>
                <a:srgbClr val="595959">
                  <a:lumMod val="75000"/>
                </a:srgbClr>
              </a:buClr>
              <a:buFont typeface="Arial" pitchFamily="34" charset="0"/>
              <a:buChar char="•"/>
              <a:defRPr/>
            </a:pPr>
            <a:r>
              <a:rPr lang="en-IN" altLang="zh-CN" sz="1400" kern="0" dirty="0">
                <a:solidFill>
                  <a:srgbClr val="505050"/>
                </a:solidFill>
                <a:latin typeface="Segoe UI"/>
                <a:ea typeface="Segoe UI" pitchFamily="34" charset="0"/>
                <a:cs typeface="Segoe UI" pitchFamily="34" charset="0"/>
              </a:rPr>
              <a:t>Reduced regulatory intervention (OSHA, etc)</a:t>
            </a:r>
          </a:p>
        </p:txBody>
      </p:sp>
      <p:sp>
        <p:nvSpPr>
          <p:cNvPr id="51" name="Rectangle 50"/>
          <p:cNvSpPr/>
          <p:nvPr>
            <p:custDataLst>
              <p:tags r:id="rId6"/>
            </p:custDataLst>
          </p:nvPr>
        </p:nvSpPr>
        <p:spPr>
          <a:xfrm flipH="1">
            <a:off x="7776617" y="1613898"/>
            <a:ext cx="3968103" cy="566356"/>
          </a:xfrm>
          <a:prstGeom prst="rect">
            <a:avLst/>
          </a:prstGeom>
          <a:solidFill>
            <a:schemeClr val="accent1"/>
          </a:solidFill>
          <a:ln w="6350">
            <a:noFill/>
          </a:ln>
          <a:effectLst/>
        </p:spPr>
        <p:txBody>
          <a:bodyPr vert="horz" wrap="square" lIns="91416" tIns="91416" rIns="91416" bIns="91416" numCol="1" rtlCol="0" anchor="ctr" anchorCtr="0" compatLnSpc="1">
            <a:prstTxWarp prst="textNoShape">
              <a:avLst/>
            </a:prstTxWarp>
            <a:spAutoFit/>
          </a:bodyPr>
          <a:lstStyle/>
          <a:p>
            <a:pPr marL="0" lvl="1" algn="ctr" defTabSz="1623532" fontAlgn="base">
              <a:buClr>
                <a:srgbClr val="FFFF99"/>
              </a:buClr>
              <a:buSzPct val="90000"/>
              <a:defRPr/>
            </a:pPr>
            <a:r>
              <a:rPr lang="en-IN" altLang="zh-CN" sz="2399" kern="0">
                <a:solidFill>
                  <a:srgbClr val="FFFFFF"/>
                </a:solidFill>
                <a:latin typeface="Segoe UI Light"/>
                <a:ea typeface="Segoe UI" pitchFamily="34" charset="0"/>
                <a:cs typeface="Segoe UI Semibold" panose="020B0702040204020203" pitchFamily="34" charset="0"/>
              </a:rPr>
              <a:t>Business Outcomes/Results</a:t>
            </a:r>
          </a:p>
        </p:txBody>
      </p:sp>
      <p:sp>
        <p:nvSpPr>
          <p:cNvPr id="7" name="Right Arrow 6"/>
          <p:cNvSpPr/>
          <p:nvPr/>
        </p:nvSpPr>
        <p:spPr>
          <a:xfrm>
            <a:off x="7258099" y="3747815"/>
            <a:ext cx="518519" cy="595347"/>
          </a:xfrm>
          <a:prstGeom prst="rightArrow">
            <a:avLst>
              <a:gd name="adj1" fmla="val 50000"/>
              <a:gd name="adj2" fmla="val 47551"/>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914126">
              <a:defRPr/>
            </a:pPr>
            <a:endParaRPr lang="en-IN" sz="1200" err="1">
              <a:solidFill>
                <a:prstClr val="white"/>
              </a:solidFill>
              <a:latin typeface="Segoe UI"/>
            </a:endParaRPr>
          </a:p>
        </p:txBody>
      </p:sp>
      <p:sp>
        <p:nvSpPr>
          <p:cNvPr id="12" name="Text Placeholder 6"/>
          <p:cNvSpPr txBox="1">
            <a:spLocks/>
          </p:cNvSpPr>
          <p:nvPr/>
        </p:nvSpPr>
        <p:spPr>
          <a:xfrm>
            <a:off x="7349097" y="143852"/>
            <a:ext cx="4531913" cy="502917"/>
          </a:xfrm>
          <a:prstGeom prst="rect">
            <a:avLst/>
          </a:prstGeom>
        </p:spPr>
        <p:txBody>
          <a:bodyPr vert="horz" lIns="319957" tIns="53311" rIns="53311" bIns="53311" rtlCol="0">
            <a:noAutofit/>
          </a:bodyPr>
          <a:lstStyle>
            <a:lvl1pPr marL="0" indent="0" algn="l" defTabSz="1088105" rtl="0" eaLnBrk="1" latinLnBrk="0" hangingPunct="1">
              <a:spcBef>
                <a:spcPts val="1800"/>
              </a:spcBef>
              <a:buClr>
                <a:srgbClr val="0072C6"/>
              </a:buClr>
              <a:buSzPct val="100000"/>
              <a:buFont typeface="Wingdings" pitchFamily="2" charset="2"/>
              <a:buNone/>
              <a:defRPr sz="2800" kern="1200">
                <a:solidFill>
                  <a:schemeClr val="tx1"/>
                </a:solidFill>
                <a:latin typeface="Segoe UI Light" pitchFamily="34" charset="0"/>
                <a:ea typeface="Segoe UI" pitchFamily="34" charset="0"/>
                <a:cs typeface="Segoe UI" pitchFamily="34" charset="0"/>
              </a:defRPr>
            </a:lvl1pPr>
            <a:lvl2pPr marL="281674" indent="0" algn="l" defTabSz="1088105" rtl="0" eaLnBrk="1" latinLnBrk="0" hangingPunct="1">
              <a:spcBef>
                <a:spcPct val="20000"/>
              </a:spcBef>
              <a:buFont typeface="Arial" pitchFamily="34" charset="0"/>
              <a:buNone/>
              <a:defRPr sz="1800" kern="1200">
                <a:solidFill>
                  <a:schemeClr val="tx1"/>
                </a:solidFill>
                <a:latin typeface="Segoe UI" pitchFamily="34" charset="0"/>
                <a:ea typeface="Segoe UI" pitchFamily="34" charset="0"/>
                <a:cs typeface="Segoe UI" pitchFamily="34" charset="0"/>
              </a:defRPr>
            </a:lvl2pPr>
            <a:lvl3pPr marL="588476" indent="0" algn="l" defTabSz="1088105" rtl="0" eaLnBrk="1" latinLnBrk="0" hangingPunct="1">
              <a:spcBef>
                <a:spcPct val="20000"/>
              </a:spcBef>
              <a:buFont typeface="Arial" pitchFamily="34" charset="0"/>
              <a:buNone/>
              <a:defRPr sz="1600" kern="1200">
                <a:solidFill>
                  <a:schemeClr val="tx1"/>
                </a:solidFill>
                <a:latin typeface="Segoe UI" pitchFamily="34" charset="0"/>
                <a:ea typeface="Segoe UI" pitchFamily="34" charset="0"/>
                <a:cs typeface="Segoe UI" pitchFamily="34" charset="0"/>
              </a:defRPr>
            </a:lvl3pPr>
            <a:lvl4pPr marL="87015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4pPr>
            <a:lvl5pPr marL="110554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defTabSz="1087779">
              <a:spcBef>
                <a:spcPts val="1799"/>
              </a:spcBef>
              <a:defRPr/>
            </a:pPr>
            <a:r>
              <a:rPr lang="en-US" sz="2799">
                <a:solidFill>
                  <a:srgbClr val="505050"/>
                </a:solidFill>
              </a:rPr>
              <a:t>Value Realization Scorecard</a:t>
            </a:r>
          </a:p>
        </p:txBody>
      </p:sp>
      <p:sp>
        <p:nvSpPr>
          <p:cNvPr id="15" name="Title 1">
            <a:extLst>
              <a:ext uri="{FF2B5EF4-FFF2-40B4-BE49-F238E27FC236}">
                <a16:creationId xmlns:a16="http://schemas.microsoft.com/office/drawing/2014/main" id="{6762B041-1339-44CA-B543-F3D5781E9D2B}"/>
              </a:ext>
            </a:extLst>
          </p:cNvPr>
          <p:cNvSpPr>
            <a:spLocks noGrp="1"/>
          </p:cNvSpPr>
          <p:nvPr>
            <p:ph type="title"/>
          </p:nvPr>
        </p:nvSpPr>
        <p:spPr>
          <a:xfrm>
            <a:off x="0" y="2"/>
            <a:ext cx="12188825" cy="646042"/>
          </a:xfrm>
        </p:spPr>
        <p:txBody>
          <a:bodyPr/>
          <a:lstStyle/>
          <a:p>
            <a:r>
              <a:rPr lang="en-US" dirty="0"/>
              <a:t>Human-Robot Collaboration</a:t>
            </a:r>
            <a:endParaRPr lang="en-IN" dirty="0"/>
          </a:p>
        </p:txBody>
      </p:sp>
    </p:spTree>
    <p:extLst>
      <p:ext uri="{BB962C8B-B14F-4D97-AF65-F5344CB8AC3E}">
        <p14:creationId xmlns:p14="http://schemas.microsoft.com/office/powerpoint/2010/main" val="13753159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69014"/>
            <a:ext cx="12188825" cy="645874"/>
          </a:xfrm>
        </p:spPr>
        <p:txBody>
          <a:bodyPr/>
          <a:lstStyle/>
          <a:p>
            <a:r>
              <a:rPr lang="en-IN" sz="3199" dirty="0"/>
              <a:t>Human Robot Collaboration</a:t>
            </a:r>
          </a:p>
        </p:txBody>
      </p:sp>
      <p:sp>
        <p:nvSpPr>
          <p:cNvPr id="5" name="Rectangle 43"/>
          <p:cNvSpPr/>
          <p:nvPr>
            <p:custDataLst>
              <p:tags r:id="rId1"/>
            </p:custDataLst>
          </p:nvPr>
        </p:nvSpPr>
        <p:spPr>
          <a:xfrm>
            <a:off x="6778325" y="206155"/>
            <a:ext cx="2564174" cy="253850"/>
          </a:xfrm>
          <a:prstGeom prst="rect">
            <a:avLst/>
          </a:prstGeom>
        </p:spPr>
        <p:txBody>
          <a:bodyPr wrap="square">
            <a:spAutoFit/>
          </a:bodyPr>
          <a:lstStyle/>
          <a:p>
            <a:pPr marL="174922" lvl="1" indent="-128512" defTabSz="685405">
              <a:buClr>
                <a:srgbClr val="595959">
                  <a:lumMod val="75000"/>
                </a:srgbClr>
              </a:buClr>
              <a:buFont typeface="Arial" pitchFamily="34" charset="0"/>
              <a:buChar char="•"/>
              <a:defRPr/>
            </a:pPr>
            <a:endParaRPr lang="en-US" sz="1050" i="1" kern="0" dirty="0">
              <a:ln>
                <a:solidFill>
                  <a:srgbClr val="FFFFFF">
                    <a:alpha val="0"/>
                  </a:srgbClr>
                </a:solidFill>
              </a:ln>
              <a:solidFill>
                <a:srgbClr val="595959">
                  <a:lumMod val="75000"/>
                </a:srgbClr>
              </a:solidFill>
              <a:latin typeface="Segoe UI"/>
              <a:ea typeface="Segoe UI" pitchFamily="34" charset="0"/>
              <a:cs typeface="Segoe UI" pitchFamily="34" charset="0"/>
            </a:endParaRPr>
          </a:p>
        </p:txBody>
      </p:sp>
      <p:sp>
        <p:nvSpPr>
          <p:cNvPr id="21" name="Rectangle 20"/>
          <p:cNvSpPr>
            <a:spLocks noChangeArrowheads="1"/>
          </p:cNvSpPr>
          <p:nvPr>
            <p:custDataLst>
              <p:tags r:id="rId2"/>
            </p:custDataLst>
          </p:nvPr>
        </p:nvSpPr>
        <p:spPr bwMode="auto">
          <a:xfrm>
            <a:off x="3610547" y="5806084"/>
            <a:ext cx="4857474" cy="299554"/>
          </a:xfrm>
          <a:prstGeom prst="rect">
            <a:avLst/>
          </a:prstGeom>
          <a:noFill/>
          <a:ln w="9525">
            <a:noFill/>
            <a:miter lim="800000"/>
            <a:headEnd/>
            <a:tailEnd/>
          </a:ln>
        </p:spPr>
        <p:txBody>
          <a:bodyPr lIns="0" tIns="0" rIns="0" bIns="0" anchor="ctr">
            <a:noAutofit/>
          </a:bodyPr>
          <a:lstStyle/>
          <a:p>
            <a:pPr algn="ctr" defTabSz="685378">
              <a:defRPr/>
            </a:pPr>
            <a:r>
              <a:rPr lang="en-US" sz="2398" b="1" kern="0" dirty="0">
                <a:ln>
                  <a:solidFill>
                    <a:srgbClr val="FFFFFF">
                      <a:alpha val="0"/>
                    </a:srgbClr>
                  </a:solidFill>
                </a:ln>
                <a:solidFill>
                  <a:srgbClr val="FFFFFF"/>
                </a:solidFill>
                <a:latin typeface="Segoe UI"/>
                <a:sym typeface="Segoe UI"/>
              </a:rPr>
              <a:t>Time to value</a:t>
            </a:r>
          </a:p>
        </p:txBody>
      </p:sp>
      <p:sp>
        <p:nvSpPr>
          <p:cNvPr id="22" name="Rectangle 43"/>
          <p:cNvSpPr/>
          <p:nvPr>
            <p:custDataLst>
              <p:tags r:id="rId3"/>
            </p:custDataLst>
          </p:nvPr>
        </p:nvSpPr>
        <p:spPr>
          <a:xfrm>
            <a:off x="8501032" y="1902419"/>
            <a:ext cx="2564174" cy="253850"/>
          </a:xfrm>
          <a:prstGeom prst="rect">
            <a:avLst/>
          </a:prstGeom>
        </p:spPr>
        <p:txBody>
          <a:bodyPr wrap="square">
            <a:spAutoFit/>
          </a:bodyPr>
          <a:lstStyle/>
          <a:p>
            <a:pPr marL="174922" lvl="1" indent="-128512" defTabSz="685405">
              <a:buClr>
                <a:srgbClr val="595959">
                  <a:lumMod val="75000"/>
                </a:srgbClr>
              </a:buClr>
              <a:buFont typeface="Arial" pitchFamily="34" charset="0"/>
              <a:buChar char="•"/>
              <a:defRPr/>
            </a:pPr>
            <a:endParaRPr lang="en-US" sz="1050" i="1" kern="0" dirty="0">
              <a:ln>
                <a:solidFill>
                  <a:srgbClr val="FFFFFF">
                    <a:alpha val="0"/>
                  </a:srgbClr>
                </a:solidFill>
              </a:ln>
              <a:solidFill>
                <a:srgbClr val="595959">
                  <a:lumMod val="75000"/>
                </a:srgbClr>
              </a:solidFill>
              <a:latin typeface="Segoe UI"/>
              <a:ea typeface="Segoe UI" pitchFamily="34" charset="0"/>
              <a:cs typeface="Segoe UI" pitchFamily="34" charset="0"/>
            </a:endParaRPr>
          </a:p>
        </p:txBody>
      </p:sp>
      <p:sp>
        <p:nvSpPr>
          <p:cNvPr id="27" name="Rectangle 48"/>
          <p:cNvSpPr/>
          <p:nvPr>
            <p:custDataLst>
              <p:tags r:id="rId4"/>
            </p:custDataLst>
          </p:nvPr>
        </p:nvSpPr>
        <p:spPr>
          <a:xfrm>
            <a:off x="239316" y="4425116"/>
            <a:ext cx="1913335" cy="807913"/>
          </a:xfrm>
          <a:prstGeom prst="rect">
            <a:avLst/>
          </a:prstGeom>
        </p:spPr>
        <p:txBody>
          <a:bodyPr wrap="square" lIns="0" rIns="0">
            <a:spAutoFit/>
          </a:bodyPr>
          <a:lstStyle/>
          <a:p>
            <a:pPr marL="171399" indent="-171399" defTabSz="456835">
              <a:spcBef>
                <a:spcPts val="100"/>
              </a:spcBef>
              <a:spcAft>
                <a:spcPts val="200"/>
              </a:spcAft>
              <a:buFont typeface="Arial" panose="020B0604020202020204" pitchFamily="34" charset="0"/>
              <a:buChar char="•"/>
              <a:defRPr/>
            </a:pPr>
            <a:r>
              <a:rPr lang="en-IN" sz="1100" kern="0" dirty="0">
                <a:solidFill>
                  <a:sysClr val="windowText" lastClr="000000"/>
                </a:solidFill>
                <a:latin typeface="Segoe UI"/>
                <a:ea typeface="Segoe UI" pitchFamily="34" charset="0"/>
                <a:cs typeface="Segoe UI Semibold" panose="020B0702040204020203" pitchFamily="34" charset="0"/>
              </a:rPr>
              <a:t>Trained IT staff</a:t>
            </a:r>
          </a:p>
          <a:p>
            <a:pPr marL="171399" indent="-171399" defTabSz="456835">
              <a:spcBef>
                <a:spcPts val="100"/>
              </a:spcBef>
              <a:spcAft>
                <a:spcPts val="200"/>
              </a:spcAft>
              <a:buFont typeface="Arial" panose="020B0604020202020204" pitchFamily="34" charset="0"/>
              <a:buChar char="•"/>
              <a:defRPr/>
            </a:pPr>
            <a:r>
              <a:rPr lang="en-IN" sz="1100" kern="0" dirty="0">
                <a:solidFill>
                  <a:sysClr val="windowText" lastClr="000000"/>
                </a:solidFill>
                <a:latin typeface="Segoe UI"/>
                <a:ea typeface="Segoe UI" pitchFamily="34" charset="0"/>
                <a:cs typeface="Segoe UI Semibold" panose="020B0702040204020203" pitchFamily="34" charset="0"/>
              </a:rPr>
              <a:t>Environment for initial experimentation and innovation</a:t>
            </a:r>
          </a:p>
        </p:txBody>
      </p:sp>
      <p:sp>
        <p:nvSpPr>
          <p:cNvPr id="30" name="Right Arrow 29"/>
          <p:cNvSpPr/>
          <p:nvPr/>
        </p:nvSpPr>
        <p:spPr>
          <a:xfrm rot="5400000" flipH="1">
            <a:off x="8960466" y="3317846"/>
            <a:ext cx="5114349" cy="487374"/>
          </a:xfrm>
          <a:prstGeom prst="rightArrow">
            <a:avLst/>
          </a:prstGeom>
          <a:solidFill>
            <a:schemeClr val="bg1">
              <a:lumMod val="75000"/>
            </a:schemeClr>
          </a:solidFill>
          <a:ln w="9525" cap="flat" cmpd="sng" algn="ctr">
            <a:noFill/>
            <a:prstDash val="solid"/>
          </a:ln>
          <a:effectLst/>
        </p:spPr>
        <p:txBody>
          <a:bodyPr rot="0" spcFirstLastPara="0" vertOverflow="overflow" horzOverflow="overflow" vert="horz" wrap="square" lIns="91416" tIns="45696" rIns="91416" bIns="45696" numCol="1" spcCol="0" rtlCol="0" fromWordArt="0" anchor="ctr" anchorCtr="0" forceAA="0" compatLnSpc="1">
            <a:prstTxWarp prst="textNoShape">
              <a:avLst/>
            </a:prstTxWarp>
            <a:noAutofit/>
          </a:bodyPr>
          <a:lstStyle/>
          <a:p>
            <a:pPr algn="ctr" defTabSz="609113">
              <a:defRPr/>
            </a:pPr>
            <a:r>
              <a:rPr lang="en-US" sz="1400" kern="0" dirty="0">
                <a:solidFill>
                  <a:sysClr val="windowText" lastClr="000000"/>
                </a:solidFill>
                <a:latin typeface="Segoe UI Semibold" panose="020B0702040204020203" pitchFamily="34" charset="0"/>
                <a:cs typeface="Segoe UI Semibold" panose="020B0702040204020203" pitchFamily="34" charset="0"/>
              </a:rPr>
              <a:t>Value</a:t>
            </a:r>
          </a:p>
        </p:txBody>
      </p:sp>
      <p:sp>
        <p:nvSpPr>
          <p:cNvPr id="36" name="Rectangle 50"/>
          <p:cNvSpPr/>
          <p:nvPr>
            <p:custDataLst>
              <p:tags r:id="rId5"/>
            </p:custDataLst>
          </p:nvPr>
        </p:nvSpPr>
        <p:spPr>
          <a:xfrm>
            <a:off x="239317" y="2995727"/>
            <a:ext cx="2688271" cy="846386"/>
          </a:xfrm>
          <a:prstGeom prst="rect">
            <a:avLst/>
          </a:prstGeom>
        </p:spPr>
        <p:txBody>
          <a:bodyPr wrap="square" lIns="0" rIns="0">
            <a:spAutoFit/>
          </a:bodyPr>
          <a:lstStyle/>
          <a:p>
            <a:pPr marL="171399" indent="-171399" defTabSz="456835">
              <a:spcBef>
                <a:spcPts val="100"/>
              </a:spcBef>
              <a:spcAft>
                <a:spcPts val="200"/>
              </a:spcAft>
              <a:buFont typeface="Arial" panose="020B0604020202020204" pitchFamily="34" charset="0"/>
              <a:buChar char="•"/>
              <a:defRPr/>
            </a:pPr>
            <a:r>
              <a:rPr lang="en-IN" sz="1100" kern="0" dirty="0">
                <a:solidFill>
                  <a:sysClr val="windowText" lastClr="000000"/>
                </a:solidFill>
                <a:latin typeface="Segoe UI"/>
                <a:ea typeface="Segoe UI" pitchFamily="34" charset="0"/>
                <a:cs typeface="Segoe UI" pitchFamily="34" charset="0"/>
              </a:rPr>
              <a:t>Proof of business value assumptions</a:t>
            </a:r>
          </a:p>
          <a:p>
            <a:pPr marL="171399" indent="-171399" defTabSz="456835">
              <a:spcBef>
                <a:spcPts val="100"/>
              </a:spcBef>
              <a:spcAft>
                <a:spcPts val="200"/>
              </a:spcAft>
              <a:buFont typeface="Arial" panose="020B0604020202020204" pitchFamily="34" charset="0"/>
              <a:buChar char="•"/>
              <a:defRPr/>
            </a:pPr>
            <a:r>
              <a:rPr lang="en-IN" sz="1100" kern="0" dirty="0">
                <a:solidFill>
                  <a:sysClr val="windowText" lastClr="000000"/>
                </a:solidFill>
                <a:latin typeface="Segoe UI"/>
                <a:ea typeface="Segoe UI" pitchFamily="34" charset="0"/>
                <a:cs typeface="Segoe UI Semibold" panose="020B0702040204020203" pitchFamily="34" charset="0"/>
              </a:rPr>
              <a:t>Connectivity with other participants established</a:t>
            </a:r>
          </a:p>
          <a:p>
            <a:pPr marL="171399" indent="-171399" defTabSz="456835">
              <a:spcBef>
                <a:spcPts val="100"/>
              </a:spcBef>
              <a:spcAft>
                <a:spcPts val="200"/>
              </a:spcAft>
              <a:buFont typeface="Arial" panose="020B0604020202020204" pitchFamily="34" charset="0"/>
              <a:buChar char="•"/>
              <a:defRPr/>
            </a:pPr>
            <a:endParaRPr lang="en-IN" sz="1100" kern="0" dirty="0">
              <a:solidFill>
                <a:sysClr val="windowText" lastClr="000000"/>
              </a:solidFill>
              <a:latin typeface="Segoe UI"/>
              <a:ea typeface="Segoe UI" pitchFamily="34" charset="0"/>
              <a:cs typeface="Segoe UI" pitchFamily="34" charset="0"/>
            </a:endParaRPr>
          </a:p>
        </p:txBody>
      </p:sp>
      <p:sp>
        <p:nvSpPr>
          <p:cNvPr id="37" name="TextBox 36"/>
          <p:cNvSpPr txBox="1"/>
          <p:nvPr/>
        </p:nvSpPr>
        <p:spPr>
          <a:xfrm>
            <a:off x="1030157" y="1185730"/>
            <a:ext cx="2564175" cy="399902"/>
          </a:xfrm>
          <a:prstGeom prst="rect">
            <a:avLst/>
          </a:prstGeom>
          <a:noFill/>
        </p:spPr>
        <p:txBody>
          <a:bodyPr wrap="square" lIns="0" rIns="0" rtlCol="0" anchor="ctr">
            <a:spAutoFit/>
          </a:bodyPr>
          <a:lstStyle/>
          <a:p>
            <a:pPr algn="ctr" defTabSz="609113">
              <a:defRPr/>
            </a:pPr>
            <a:r>
              <a:rPr lang="en-US" sz="1998" kern="0" dirty="0">
                <a:solidFill>
                  <a:sysClr val="windowText" lastClr="000000"/>
                </a:solidFill>
                <a:latin typeface="Segoe UI Semibold" panose="020B0702040204020203" pitchFamily="34" charset="0"/>
                <a:cs typeface="Segoe UI Semibold" panose="020B0702040204020203" pitchFamily="34" charset="0"/>
              </a:rPr>
              <a:t>Business Benefits</a:t>
            </a:r>
          </a:p>
        </p:txBody>
      </p:sp>
      <p:sp>
        <p:nvSpPr>
          <p:cNvPr id="38" name="Rectangle 50"/>
          <p:cNvSpPr/>
          <p:nvPr>
            <p:custDataLst>
              <p:tags r:id="rId6"/>
            </p:custDataLst>
          </p:nvPr>
        </p:nvSpPr>
        <p:spPr>
          <a:xfrm>
            <a:off x="336931" y="1590456"/>
            <a:ext cx="3257400" cy="676932"/>
          </a:xfrm>
          <a:prstGeom prst="rect">
            <a:avLst/>
          </a:prstGeom>
        </p:spPr>
        <p:txBody>
          <a:bodyPr wrap="square" lIns="0" rIns="0">
            <a:spAutoFit/>
          </a:bodyPr>
          <a:lstStyle/>
          <a:p>
            <a:pPr marL="171399" indent="-171399" defTabSz="456835">
              <a:spcBef>
                <a:spcPts val="100"/>
              </a:spcBef>
              <a:spcAft>
                <a:spcPts val="200"/>
              </a:spcAft>
              <a:buFont typeface="Arial" panose="020B0604020202020204" pitchFamily="34" charset="0"/>
              <a:buChar char="•"/>
              <a:defRPr/>
            </a:pPr>
            <a:r>
              <a:rPr lang="en-IN" sz="1100" kern="0" dirty="0">
                <a:solidFill>
                  <a:sysClr val="windowText" lastClr="000000"/>
                </a:solidFill>
                <a:latin typeface="Segoe UI"/>
                <a:ea typeface="Segoe UI" pitchFamily="34" charset="0"/>
                <a:cs typeface="Segoe UI Semibold" panose="020B0702040204020203" pitchFamily="34" charset="0"/>
              </a:rPr>
              <a:t>Reduced injuries</a:t>
            </a:r>
          </a:p>
          <a:p>
            <a:pPr marL="171399" indent="-171399" defTabSz="456835">
              <a:spcBef>
                <a:spcPts val="100"/>
              </a:spcBef>
              <a:spcAft>
                <a:spcPts val="200"/>
              </a:spcAft>
              <a:buFont typeface="Arial" panose="020B0604020202020204" pitchFamily="34" charset="0"/>
              <a:buChar char="•"/>
              <a:defRPr/>
            </a:pPr>
            <a:r>
              <a:rPr lang="en-IN" sz="1100" kern="0" dirty="0">
                <a:solidFill>
                  <a:sysClr val="windowText" lastClr="000000"/>
                </a:solidFill>
                <a:latin typeface="Segoe UI"/>
                <a:ea typeface="Segoe UI" pitchFamily="34" charset="0"/>
                <a:cs typeface="Segoe UI Semibold" panose="020B0702040204020203" pitchFamily="34" charset="0"/>
              </a:rPr>
              <a:t>Reduced insurance cost</a:t>
            </a:r>
          </a:p>
          <a:p>
            <a:pPr marL="171399" indent="-171399" defTabSz="456835">
              <a:spcBef>
                <a:spcPts val="100"/>
              </a:spcBef>
              <a:spcAft>
                <a:spcPts val="200"/>
              </a:spcAft>
              <a:buFont typeface="Arial" panose="020B0604020202020204" pitchFamily="34" charset="0"/>
              <a:buChar char="•"/>
              <a:defRPr/>
            </a:pPr>
            <a:r>
              <a:rPr lang="en-IN" sz="1100" kern="0" dirty="0">
                <a:solidFill>
                  <a:sysClr val="windowText" lastClr="000000"/>
                </a:solidFill>
                <a:latin typeface="Segoe UI"/>
                <a:ea typeface="Segoe UI" pitchFamily="34" charset="0"/>
                <a:cs typeface="Segoe UI Semibold" panose="020B0702040204020203" pitchFamily="34" charset="0"/>
              </a:rPr>
              <a:t>Increased throughput and uptime </a:t>
            </a:r>
          </a:p>
        </p:txBody>
      </p:sp>
      <p:sp>
        <p:nvSpPr>
          <p:cNvPr id="39" name="Rectangle 45"/>
          <p:cNvSpPr/>
          <p:nvPr>
            <p:custDataLst>
              <p:tags r:id="rId7"/>
            </p:custDataLst>
          </p:nvPr>
        </p:nvSpPr>
        <p:spPr>
          <a:xfrm>
            <a:off x="8661468" y="2995726"/>
            <a:ext cx="3363733" cy="1508105"/>
          </a:xfrm>
          <a:prstGeom prst="rect">
            <a:avLst/>
          </a:prstGeom>
        </p:spPr>
        <p:txBody>
          <a:bodyPr wrap="square" lIns="0" rIns="0">
            <a:spAutoFit/>
          </a:bodyPr>
          <a:lstStyle/>
          <a:p>
            <a:pPr marL="174922" lvl="1" indent="-128512" defTabSz="685405">
              <a:spcBef>
                <a:spcPts val="100"/>
              </a:spcBef>
              <a:spcAft>
                <a:spcPts val="200"/>
              </a:spcAft>
              <a:buClr>
                <a:srgbClr val="595959">
                  <a:lumMod val="75000"/>
                </a:srgbClr>
              </a:buClr>
              <a:buFont typeface="Arial" pitchFamily="34" charset="0"/>
              <a:buChar char="•"/>
              <a:defRPr/>
            </a:pPr>
            <a:r>
              <a:rPr lang="en-IN" sz="1100" i="1" kern="0" dirty="0">
                <a:solidFill>
                  <a:sysClr val="windowText" lastClr="000000"/>
                </a:solidFill>
                <a:ea typeface="Segoe UI" pitchFamily="34" charset="0"/>
                <a:cs typeface="Segoe UI" pitchFamily="34" charset="0"/>
              </a:rPr>
              <a:t>Edge Computing</a:t>
            </a:r>
          </a:p>
          <a:p>
            <a:pPr marL="174922" lvl="1" indent="-128512" defTabSz="685405">
              <a:spcBef>
                <a:spcPts val="100"/>
              </a:spcBef>
              <a:spcAft>
                <a:spcPts val="200"/>
              </a:spcAft>
              <a:buClr>
                <a:srgbClr val="595959">
                  <a:lumMod val="75000"/>
                </a:srgbClr>
              </a:buClr>
              <a:buFont typeface="Arial" pitchFamily="34" charset="0"/>
              <a:buChar char="•"/>
              <a:defRPr/>
            </a:pPr>
            <a:r>
              <a:rPr lang="en-IN" sz="1100" i="1" kern="0" dirty="0">
                <a:solidFill>
                  <a:sysClr val="windowText" lastClr="000000"/>
                </a:solidFill>
                <a:ea typeface="Segoe UI" pitchFamily="34" charset="0"/>
                <a:cs typeface="Segoe UI" pitchFamily="34" charset="0"/>
              </a:rPr>
              <a:t>IoT</a:t>
            </a:r>
          </a:p>
          <a:p>
            <a:pPr marL="174922" lvl="1" indent="-128512" defTabSz="685405">
              <a:spcBef>
                <a:spcPts val="100"/>
              </a:spcBef>
              <a:spcAft>
                <a:spcPts val="200"/>
              </a:spcAft>
              <a:buClr>
                <a:srgbClr val="595959">
                  <a:lumMod val="75000"/>
                </a:srgbClr>
              </a:buClr>
              <a:buFont typeface="Arial" pitchFamily="34" charset="0"/>
              <a:buChar char="•"/>
              <a:defRPr/>
            </a:pPr>
            <a:r>
              <a:rPr lang="en-IN" sz="1100" i="1" kern="0" dirty="0">
                <a:solidFill>
                  <a:sysClr val="windowText" lastClr="000000"/>
                </a:solidFill>
                <a:ea typeface="Segoe UI" pitchFamily="34" charset="0"/>
                <a:cs typeface="Segoe UI" pitchFamily="34" charset="0"/>
              </a:rPr>
              <a:t>Media Services</a:t>
            </a:r>
          </a:p>
          <a:p>
            <a:pPr marL="174922" lvl="1" indent="-128512" defTabSz="685405">
              <a:spcBef>
                <a:spcPts val="100"/>
              </a:spcBef>
              <a:spcAft>
                <a:spcPts val="200"/>
              </a:spcAft>
              <a:buClr>
                <a:srgbClr val="595959">
                  <a:lumMod val="75000"/>
                </a:srgbClr>
              </a:buClr>
              <a:buFont typeface="Arial" pitchFamily="34" charset="0"/>
              <a:buChar char="•"/>
              <a:defRPr/>
            </a:pPr>
            <a:r>
              <a:rPr lang="en-IN" sz="1100" i="1" kern="0" dirty="0">
                <a:solidFill>
                  <a:sysClr val="windowText" lastClr="000000"/>
                </a:solidFill>
                <a:latin typeface="Segoe UI"/>
                <a:ea typeface="Segoe UI" pitchFamily="34" charset="0"/>
                <a:cs typeface="Segoe UI" pitchFamily="34" charset="0"/>
              </a:rPr>
              <a:t>Event Hub</a:t>
            </a:r>
          </a:p>
          <a:p>
            <a:pPr marL="174922" lvl="1" indent="-128512" defTabSz="685405">
              <a:spcBef>
                <a:spcPts val="100"/>
              </a:spcBef>
              <a:spcAft>
                <a:spcPts val="200"/>
              </a:spcAft>
              <a:buClr>
                <a:srgbClr val="595959">
                  <a:lumMod val="75000"/>
                </a:srgbClr>
              </a:buClr>
              <a:buFont typeface="Arial" pitchFamily="34" charset="0"/>
              <a:buChar char="•"/>
              <a:defRPr/>
            </a:pPr>
            <a:r>
              <a:rPr lang="en-IN" sz="1100" i="1" kern="0" dirty="0">
                <a:solidFill>
                  <a:sysClr val="windowText" lastClr="000000"/>
                </a:solidFill>
                <a:latin typeface="Segoe UI"/>
                <a:ea typeface="Segoe UI" pitchFamily="34" charset="0"/>
                <a:cs typeface="Segoe UI" pitchFamily="34" charset="0"/>
              </a:rPr>
              <a:t>Streaming Analytics</a:t>
            </a:r>
          </a:p>
          <a:p>
            <a:pPr marL="174922" lvl="1" indent="-128512" defTabSz="685405">
              <a:spcBef>
                <a:spcPts val="100"/>
              </a:spcBef>
              <a:spcAft>
                <a:spcPts val="200"/>
              </a:spcAft>
              <a:buClr>
                <a:srgbClr val="595959">
                  <a:lumMod val="75000"/>
                </a:srgbClr>
              </a:buClr>
              <a:buFont typeface="Arial" pitchFamily="34" charset="0"/>
              <a:buChar char="•"/>
              <a:defRPr/>
            </a:pPr>
            <a:r>
              <a:rPr lang="en-IN" sz="1100" i="1" kern="0" dirty="0">
                <a:solidFill>
                  <a:sysClr val="windowText" lastClr="000000"/>
                </a:solidFill>
                <a:latin typeface="Segoe UI"/>
                <a:ea typeface="Segoe UI" pitchFamily="34" charset="0"/>
                <a:cs typeface="Segoe UI" pitchFamily="34" charset="0"/>
              </a:rPr>
              <a:t>Data Platform</a:t>
            </a:r>
          </a:p>
          <a:p>
            <a:pPr marL="174922" lvl="1" indent="-128512" defTabSz="685405">
              <a:spcBef>
                <a:spcPts val="100"/>
              </a:spcBef>
              <a:spcAft>
                <a:spcPts val="200"/>
              </a:spcAft>
              <a:buClr>
                <a:srgbClr val="595959">
                  <a:lumMod val="75000"/>
                </a:srgbClr>
              </a:buClr>
              <a:buFont typeface="Arial" pitchFamily="34" charset="0"/>
              <a:buChar char="•"/>
              <a:defRPr/>
            </a:pPr>
            <a:endParaRPr lang="en-IN" sz="1100" i="1" kern="0" dirty="0">
              <a:solidFill>
                <a:sysClr val="windowText" lastClr="000000"/>
              </a:solidFill>
              <a:latin typeface="Segoe UI"/>
              <a:ea typeface="Segoe UI" pitchFamily="34" charset="0"/>
              <a:cs typeface="Segoe UI" pitchFamily="34" charset="0"/>
            </a:endParaRPr>
          </a:p>
        </p:txBody>
      </p:sp>
      <p:sp>
        <p:nvSpPr>
          <p:cNvPr id="40" name="Rectangle 47"/>
          <p:cNvSpPr/>
          <p:nvPr>
            <p:custDataLst>
              <p:tags r:id="rId8"/>
            </p:custDataLst>
          </p:nvPr>
        </p:nvSpPr>
        <p:spPr>
          <a:xfrm>
            <a:off x="8664503" y="4582311"/>
            <a:ext cx="2682883" cy="1092607"/>
          </a:xfrm>
          <a:prstGeom prst="rect">
            <a:avLst/>
          </a:prstGeom>
        </p:spPr>
        <p:txBody>
          <a:bodyPr wrap="square" lIns="0" rIns="0">
            <a:spAutoFit/>
          </a:bodyPr>
          <a:lstStyle/>
          <a:p>
            <a:pPr marL="174922" lvl="1" indent="-128512" defTabSz="685405">
              <a:spcBef>
                <a:spcPts val="100"/>
              </a:spcBef>
              <a:spcAft>
                <a:spcPts val="200"/>
              </a:spcAft>
              <a:buClr>
                <a:srgbClr val="595959">
                  <a:lumMod val="75000"/>
                </a:srgbClr>
              </a:buClr>
              <a:buFont typeface="Arial" pitchFamily="34" charset="0"/>
              <a:buChar char="•"/>
              <a:defRPr/>
            </a:pPr>
            <a:r>
              <a:rPr lang="en-IN" sz="1100" i="1" kern="0" dirty="0">
                <a:solidFill>
                  <a:sysClr val="windowText" lastClr="000000"/>
                </a:solidFill>
                <a:ea typeface="Segoe UI" pitchFamily="34" charset="0"/>
                <a:cs typeface="Segoe UI" pitchFamily="34" charset="0"/>
              </a:rPr>
              <a:t>Edge Computing</a:t>
            </a:r>
          </a:p>
          <a:p>
            <a:pPr marL="174922" lvl="1" indent="-128512" defTabSz="685405">
              <a:spcBef>
                <a:spcPts val="100"/>
              </a:spcBef>
              <a:spcAft>
                <a:spcPts val="200"/>
              </a:spcAft>
              <a:buClr>
                <a:srgbClr val="595959">
                  <a:lumMod val="75000"/>
                </a:srgbClr>
              </a:buClr>
              <a:buFont typeface="Arial" pitchFamily="34" charset="0"/>
              <a:buChar char="•"/>
              <a:defRPr/>
            </a:pPr>
            <a:r>
              <a:rPr lang="en-IN" sz="1100" i="1" kern="0" dirty="0">
                <a:solidFill>
                  <a:sysClr val="windowText" lastClr="000000"/>
                </a:solidFill>
                <a:ea typeface="Segoe UI" pitchFamily="34" charset="0"/>
                <a:cs typeface="Segoe UI" pitchFamily="34" charset="0"/>
              </a:rPr>
              <a:t>IoT</a:t>
            </a:r>
          </a:p>
          <a:p>
            <a:pPr marL="174922" lvl="1" indent="-128512" defTabSz="685405">
              <a:spcBef>
                <a:spcPts val="100"/>
              </a:spcBef>
              <a:spcAft>
                <a:spcPts val="200"/>
              </a:spcAft>
              <a:buClr>
                <a:srgbClr val="595959">
                  <a:lumMod val="75000"/>
                </a:srgbClr>
              </a:buClr>
              <a:buFont typeface="Arial" pitchFamily="34" charset="0"/>
              <a:buChar char="•"/>
              <a:defRPr/>
            </a:pPr>
            <a:r>
              <a:rPr lang="en-IN" sz="1100" i="1" kern="0" dirty="0">
                <a:solidFill>
                  <a:sysClr val="windowText" lastClr="000000"/>
                </a:solidFill>
                <a:ea typeface="Segoe UI" pitchFamily="34" charset="0"/>
                <a:cs typeface="Segoe UI" pitchFamily="34" charset="0"/>
              </a:rPr>
              <a:t>Media Services</a:t>
            </a:r>
          </a:p>
          <a:p>
            <a:pPr marL="174922" lvl="1" indent="-128512" defTabSz="685405">
              <a:spcBef>
                <a:spcPts val="100"/>
              </a:spcBef>
              <a:spcAft>
                <a:spcPts val="200"/>
              </a:spcAft>
              <a:buClr>
                <a:srgbClr val="595959">
                  <a:lumMod val="75000"/>
                </a:srgbClr>
              </a:buClr>
              <a:buFont typeface="Arial" pitchFamily="34" charset="0"/>
              <a:buChar char="•"/>
              <a:defRPr/>
            </a:pPr>
            <a:r>
              <a:rPr lang="en-IN" sz="1100" i="1" kern="0" dirty="0">
                <a:solidFill>
                  <a:sysClr val="windowText" lastClr="000000"/>
                </a:solidFill>
                <a:latin typeface="Segoe UI"/>
                <a:ea typeface="Segoe UI" pitchFamily="34" charset="0"/>
                <a:cs typeface="Segoe UI" pitchFamily="34" charset="0"/>
              </a:rPr>
              <a:t>Identity Management</a:t>
            </a:r>
          </a:p>
          <a:p>
            <a:pPr marL="174922" lvl="1" indent="-128512" defTabSz="685405">
              <a:spcBef>
                <a:spcPts val="100"/>
              </a:spcBef>
              <a:spcAft>
                <a:spcPts val="200"/>
              </a:spcAft>
              <a:buClr>
                <a:srgbClr val="595959">
                  <a:lumMod val="75000"/>
                </a:srgbClr>
              </a:buClr>
              <a:buFont typeface="Arial" pitchFamily="34" charset="0"/>
              <a:buChar char="•"/>
              <a:defRPr/>
            </a:pPr>
            <a:r>
              <a:rPr lang="en-IN" sz="1100" i="1" kern="0" dirty="0">
                <a:solidFill>
                  <a:sysClr val="windowText" lastClr="000000"/>
                </a:solidFill>
                <a:latin typeface="Segoe UI"/>
                <a:ea typeface="Segoe UI" pitchFamily="34" charset="0"/>
                <a:cs typeface="Segoe UI" pitchFamily="34" charset="0"/>
              </a:rPr>
              <a:t>Cognitive Services</a:t>
            </a:r>
          </a:p>
        </p:txBody>
      </p:sp>
      <p:sp>
        <p:nvSpPr>
          <p:cNvPr id="41" name="TextBox 40"/>
          <p:cNvSpPr txBox="1"/>
          <p:nvPr/>
        </p:nvSpPr>
        <p:spPr>
          <a:xfrm>
            <a:off x="8813789" y="1185730"/>
            <a:ext cx="2332211" cy="399902"/>
          </a:xfrm>
          <a:prstGeom prst="rect">
            <a:avLst/>
          </a:prstGeom>
          <a:noFill/>
        </p:spPr>
        <p:txBody>
          <a:bodyPr wrap="square" lIns="0" rIns="0" rtlCol="0" anchor="ctr">
            <a:spAutoFit/>
          </a:bodyPr>
          <a:lstStyle/>
          <a:p>
            <a:pPr algn="ctr" defTabSz="609113">
              <a:defRPr/>
            </a:pPr>
            <a:r>
              <a:rPr lang="en-US" sz="1998" kern="0" dirty="0">
                <a:solidFill>
                  <a:sysClr val="windowText" lastClr="000000"/>
                </a:solidFill>
                <a:latin typeface="Segoe UI Semibold" panose="020B0702040204020203" pitchFamily="34" charset="0"/>
                <a:cs typeface="Segoe UI Semibold" panose="020B0702040204020203" pitchFamily="34" charset="0"/>
              </a:rPr>
              <a:t>IT Projects</a:t>
            </a:r>
          </a:p>
        </p:txBody>
      </p:sp>
      <p:sp>
        <p:nvSpPr>
          <p:cNvPr id="42" name="Rectangle 45"/>
          <p:cNvSpPr/>
          <p:nvPr>
            <p:custDataLst>
              <p:tags r:id="rId9"/>
            </p:custDataLst>
          </p:nvPr>
        </p:nvSpPr>
        <p:spPr>
          <a:xfrm>
            <a:off x="8628985" y="1617863"/>
            <a:ext cx="2649553" cy="1300356"/>
          </a:xfrm>
          <a:prstGeom prst="rect">
            <a:avLst/>
          </a:prstGeom>
        </p:spPr>
        <p:txBody>
          <a:bodyPr wrap="square" lIns="0" rIns="0">
            <a:spAutoFit/>
          </a:bodyPr>
          <a:lstStyle/>
          <a:p>
            <a:pPr marL="174922" lvl="1" indent="-128512" defTabSz="685405">
              <a:spcBef>
                <a:spcPts val="100"/>
              </a:spcBef>
              <a:spcAft>
                <a:spcPts val="200"/>
              </a:spcAft>
              <a:buClr>
                <a:srgbClr val="595959">
                  <a:lumMod val="75000"/>
                </a:srgbClr>
              </a:buClr>
              <a:buFont typeface="Arial" pitchFamily="34" charset="0"/>
              <a:buChar char="•"/>
              <a:defRPr/>
            </a:pPr>
            <a:r>
              <a:rPr lang="en-IN" sz="1100" i="1" kern="0" dirty="0">
                <a:solidFill>
                  <a:sysClr val="windowText" lastClr="000000"/>
                </a:solidFill>
                <a:ea typeface="Segoe UI" pitchFamily="34" charset="0"/>
                <a:cs typeface="Segoe UI" pitchFamily="34" charset="0"/>
              </a:rPr>
              <a:t>Edge Computing</a:t>
            </a:r>
          </a:p>
          <a:p>
            <a:pPr marL="174922" lvl="1" indent="-128512" defTabSz="685405">
              <a:spcBef>
                <a:spcPts val="100"/>
              </a:spcBef>
              <a:spcAft>
                <a:spcPts val="200"/>
              </a:spcAft>
              <a:buClr>
                <a:srgbClr val="595959">
                  <a:lumMod val="75000"/>
                </a:srgbClr>
              </a:buClr>
              <a:buFont typeface="Arial" pitchFamily="34" charset="0"/>
              <a:buChar char="•"/>
              <a:defRPr/>
            </a:pPr>
            <a:r>
              <a:rPr lang="en-IN" sz="1100" i="1" kern="0" dirty="0">
                <a:solidFill>
                  <a:sysClr val="windowText" lastClr="000000"/>
                </a:solidFill>
                <a:ea typeface="Segoe UI" pitchFamily="34" charset="0"/>
                <a:cs typeface="Segoe UI" pitchFamily="34" charset="0"/>
              </a:rPr>
              <a:t>IoT</a:t>
            </a:r>
          </a:p>
          <a:p>
            <a:pPr marL="174922" lvl="1" indent="-128512" defTabSz="685405">
              <a:spcBef>
                <a:spcPts val="100"/>
              </a:spcBef>
              <a:spcAft>
                <a:spcPts val="200"/>
              </a:spcAft>
              <a:buClr>
                <a:srgbClr val="595959">
                  <a:lumMod val="75000"/>
                </a:srgbClr>
              </a:buClr>
              <a:buFont typeface="Arial" pitchFamily="34" charset="0"/>
              <a:buChar char="•"/>
              <a:defRPr/>
            </a:pPr>
            <a:r>
              <a:rPr lang="en-IN" sz="1100" i="1" kern="0" dirty="0">
                <a:solidFill>
                  <a:sysClr val="windowText" lastClr="000000"/>
                </a:solidFill>
                <a:ea typeface="Segoe UI" pitchFamily="34" charset="0"/>
                <a:cs typeface="Segoe UI" pitchFamily="34" charset="0"/>
              </a:rPr>
              <a:t>Media Services</a:t>
            </a:r>
          </a:p>
          <a:p>
            <a:pPr marL="174922" lvl="1" indent="-128512" defTabSz="685405">
              <a:spcBef>
                <a:spcPts val="100"/>
              </a:spcBef>
              <a:spcAft>
                <a:spcPts val="200"/>
              </a:spcAft>
              <a:buClr>
                <a:srgbClr val="595959">
                  <a:lumMod val="75000"/>
                </a:srgbClr>
              </a:buClr>
              <a:buFont typeface="Arial" pitchFamily="34" charset="0"/>
              <a:buChar char="•"/>
              <a:defRPr/>
            </a:pPr>
            <a:r>
              <a:rPr lang="en-IN" sz="1100" i="1" kern="0" dirty="0">
                <a:solidFill>
                  <a:sysClr val="windowText" lastClr="000000"/>
                </a:solidFill>
                <a:latin typeface="Segoe UI"/>
                <a:ea typeface="Segoe UI" pitchFamily="34" charset="0"/>
                <a:cs typeface="Segoe UI" pitchFamily="34" charset="0"/>
              </a:rPr>
              <a:t>Business Intelligence</a:t>
            </a:r>
          </a:p>
          <a:p>
            <a:pPr marL="174922" lvl="1" indent="-128512" defTabSz="685405">
              <a:spcBef>
                <a:spcPts val="100"/>
              </a:spcBef>
              <a:spcAft>
                <a:spcPts val="200"/>
              </a:spcAft>
              <a:buClr>
                <a:srgbClr val="595959">
                  <a:lumMod val="75000"/>
                </a:srgbClr>
              </a:buClr>
              <a:buFont typeface="Arial" pitchFamily="34" charset="0"/>
              <a:buChar char="•"/>
              <a:defRPr/>
            </a:pPr>
            <a:r>
              <a:rPr lang="en-IN" sz="1100" i="1" kern="0" dirty="0">
                <a:solidFill>
                  <a:sysClr val="windowText" lastClr="000000"/>
                </a:solidFill>
                <a:latin typeface="Segoe UI"/>
                <a:ea typeface="Segoe UI" pitchFamily="34" charset="0"/>
                <a:cs typeface="Segoe UI" pitchFamily="34" charset="0"/>
              </a:rPr>
              <a:t>Big Data</a:t>
            </a:r>
          </a:p>
          <a:p>
            <a:pPr marL="174922" lvl="1" indent="-128512" defTabSz="685405">
              <a:spcBef>
                <a:spcPts val="100"/>
              </a:spcBef>
              <a:spcAft>
                <a:spcPts val="200"/>
              </a:spcAft>
              <a:buClr>
                <a:srgbClr val="595959">
                  <a:lumMod val="75000"/>
                </a:srgbClr>
              </a:buClr>
              <a:buFont typeface="Arial" pitchFamily="34" charset="0"/>
              <a:buChar char="•"/>
              <a:defRPr/>
            </a:pPr>
            <a:r>
              <a:rPr lang="en-IN" sz="1100" i="1" kern="0" dirty="0">
                <a:solidFill>
                  <a:sysClr val="windowText" lastClr="000000"/>
                </a:solidFill>
                <a:latin typeface="Segoe UI"/>
                <a:ea typeface="Segoe UI" pitchFamily="34" charset="0"/>
                <a:cs typeface="Segoe UI" pitchFamily="34" charset="0"/>
              </a:rPr>
              <a:t>Advanced Analytics</a:t>
            </a:r>
          </a:p>
        </p:txBody>
      </p:sp>
      <p:sp>
        <p:nvSpPr>
          <p:cNvPr id="43" name="Right Arrow 42"/>
          <p:cNvSpPr/>
          <p:nvPr/>
        </p:nvSpPr>
        <p:spPr>
          <a:xfrm>
            <a:off x="303685" y="5865057"/>
            <a:ext cx="11008184" cy="489769"/>
          </a:xfrm>
          <a:prstGeom prst="rightArrow">
            <a:avLst/>
          </a:prstGeom>
          <a:solidFill>
            <a:schemeClr val="bg1">
              <a:lumMod val="75000"/>
            </a:schemeClr>
          </a:solidFill>
          <a:ln w="9525" cap="flat" cmpd="sng" algn="ctr">
            <a:noFill/>
            <a:prstDash val="solid"/>
          </a:ln>
          <a:effectLst/>
        </p:spPr>
        <p:txBody>
          <a:bodyPr rot="0" spcFirstLastPara="0" vertOverflow="overflow" horzOverflow="overflow" vert="horz" wrap="square" lIns="91416" tIns="45696" rIns="91416" bIns="45696" numCol="1" spcCol="0" rtlCol="0" fromWordArt="0" anchor="ctr" anchorCtr="0" forceAA="0" compatLnSpc="1">
            <a:prstTxWarp prst="textNoShape">
              <a:avLst/>
            </a:prstTxWarp>
            <a:noAutofit/>
          </a:bodyPr>
          <a:lstStyle/>
          <a:p>
            <a:pPr algn="ctr" defTabSz="609113">
              <a:defRPr/>
            </a:pPr>
            <a:r>
              <a:rPr lang="en-US" sz="1400" kern="0" dirty="0">
                <a:solidFill>
                  <a:sysClr val="windowText" lastClr="000000"/>
                </a:solidFill>
                <a:latin typeface="Segoe UI Semibold" panose="020B0702040204020203" pitchFamily="34" charset="0"/>
                <a:cs typeface="Segoe UI Semibold" panose="020B0702040204020203" pitchFamily="34" charset="0"/>
              </a:rPr>
              <a:t>Time</a:t>
            </a:r>
          </a:p>
        </p:txBody>
      </p:sp>
      <p:sp>
        <p:nvSpPr>
          <p:cNvPr id="24" name="Pentagon 44"/>
          <p:cNvSpPr/>
          <p:nvPr>
            <p:custDataLst>
              <p:tags r:id="rId10"/>
            </p:custDataLst>
          </p:nvPr>
        </p:nvSpPr>
        <p:spPr>
          <a:xfrm>
            <a:off x="2988484" y="3102267"/>
            <a:ext cx="4987778" cy="1298110"/>
          </a:xfrm>
          <a:prstGeom prst="homePlate">
            <a:avLst>
              <a:gd name="adj" fmla="val 27053"/>
            </a:avLst>
          </a:prstGeom>
          <a:solidFill>
            <a:schemeClr val="tx2"/>
          </a:solidFill>
          <a:ln w="25400" cap="flat" cmpd="sng" algn="ctr">
            <a:noFill/>
            <a:prstDash val="solid"/>
          </a:ln>
          <a:effectLst/>
        </p:spPr>
        <p:txBody>
          <a:bodyPr rtlCol="0" anchor="t">
            <a:noAutofit/>
          </a:bodyPr>
          <a:lstStyle/>
          <a:p>
            <a:pPr marL="0" lvl="1" defTabSz="685405">
              <a:spcBef>
                <a:spcPts val="225"/>
              </a:spcBef>
              <a:buClr>
                <a:srgbClr val="595959">
                  <a:lumMod val="75000"/>
                </a:srgbClr>
              </a:buClr>
              <a:defRPr/>
            </a:pPr>
            <a:r>
              <a:rPr lang="en-IN" sz="1200" kern="0" dirty="0">
                <a:solidFill>
                  <a:prstClr val="white"/>
                </a:solidFill>
                <a:latin typeface="Segoe UI Semibold" panose="020B0702040204020203" pitchFamily="34" charset="0"/>
                <a:ea typeface="Segoe UI" pitchFamily="34" charset="0"/>
                <a:cs typeface="Segoe UI Semibold" panose="020B0702040204020203" pitchFamily="34" charset="0"/>
              </a:rPr>
              <a:t>Phase 2: Build a Minimal Viable Product</a:t>
            </a:r>
          </a:p>
          <a:p>
            <a:pPr marL="174573" lvl="1" indent="-115853" defTabSz="685405">
              <a:spcBef>
                <a:spcPts val="225"/>
              </a:spcBef>
              <a:spcAft>
                <a:spcPts val="200"/>
              </a:spcAft>
              <a:buFont typeface="Arial" pitchFamily="34" charset="0"/>
              <a:buChar char="•"/>
              <a:defRPr/>
            </a:pPr>
            <a:r>
              <a:rPr lang="en-US" sz="1100" i="1" kern="0" dirty="0">
                <a:solidFill>
                  <a:prstClr val="white"/>
                </a:solidFill>
                <a:ea typeface="Segoe UI" pitchFamily="34" charset="0"/>
                <a:cs typeface="Segoe UI" pitchFamily="34" charset="0"/>
              </a:rPr>
              <a:t>Target a portion of a prioritized assembly process</a:t>
            </a:r>
            <a:endParaRPr lang="en-IN" sz="1100" i="1" kern="0" dirty="0">
              <a:solidFill>
                <a:prstClr val="white"/>
              </a:solidFill>
              <a:latin typeface="Segoe UI"/>
              <a:ea typeface="Segoe UI" pitchFamily="34" charset="0"/>
              <a:cs typeface="Segoe UI" pitchFamily="34" charset="0"/>
            </a:endParaRPr>
          </a:p>
          <a:p>
            <a:pPr marL="174573" lvl="1" indent="-115853" defTabSz="685405">
              <a:spcBef>
                <a:spcPts val="225"/>
              </a:spcBef>
              <a:spcAft>
                <a:spcPts val="200"/>
              </a:spcAft>
              <a:buFont typeface="Arial" pitchFamily="34" charset="0"/>
              <a:buChar char="•"/>
              <a:defRPr/>
            </a:pPr>
            <a:r>
              <a:rPr lang="en-IN" sz="1100" i="1" kern="0" dirty="0">
                <a:solidFill>
                  <a:prstClr val="white"/>
                </a:solidFill>
                <a:latin typeface="Segoe UI"/>
                <a:ea typeface="Segoe UI" pitchFamily="34" charset="0"/>
                <a:cs typeface="Segoe UI" pitchFamily="34" charset="0"/>
              </a:rPr>
              <a:t>Validate integration assumptions for systems, data, and identity</a:t>
            </a:r>
          </a:p>
          <a:p>
            <a:pPr marL="174573" lvl="1" indent="-115853" defTabSz="685405">
              <a:spcBef>
                <a:spcPts val="225"/>
              </a:spcBef>
              <a:spcAft>
                <a:spcPts val="200"/>
              </a:spcAft>
              <a:buFont typeface="Arial" pitchFamily="34" charset="0"/>
              <a:buChar char="•"/>
              <a:defRPr/>
            </a:pPr>
            <a:r>
              <a:rPr lang="en-IN" sz="1100" i="1" kern="0" dirty="0">
                <a:solidFill>
                  <a:prstClr val="white"/>
                </a:solidFill>
                <a:latin typeface="Segoe UI"/>
                <a:ea typeface="Segoe UI" pitchFamily="34" charset="0"/>
                <a:cs typeface="Segoe UI" pitchFamily="34" charset="0"/>
              </a:rPr>
              <a:t>Connectivity with other participant(s) established</a:t>
            </a:r>
          </a:p>
        </p:txBody>
      </p:sp>
      <p:sp>
        <p:nvSpPr>
          <p:cNvPr id="25" name="Pentagon 46"/>
          <p:cNvSpPr/>
          <p:nvPr>
            <p:custDataLst>
              <p:tags r:id="rId11"/>
            </p:custDataLst>
          </p:nvPr>
        </p:nvSpPr>
        <p:spPr>
          <a:xfrm>
            <a:off x="2312244" y="4506918"/>
            <a:ext cx="4961691" cy="1385368"/>
          </a:xfrm>
          <a:prstGeom prst="homePlate">
            <a:avLst>
              <a:gd name="adj" fmla="val 27016"/>
            </a:avLst>
          </a:prstGeom>
          <a:solidFill>
            <a:schemeClr val="tx2"/>
          </a:solidFill>
          <a:ln w="25400" cap="flat" cmpd="sng" algn="ctr">
            <a:noFill/>
            <a:prstDash val="solid"/>
          </a:ln>
          <a:effectLst/>
        </p:spPr>
        <p:txBody>
          <a:bodyPr rtlCol="0" anchor="t"/>
          <a:lstStyle/>
          <a:p>
            <a:pPr marL="0" lvl="1" defTabSz="685405">
              <a:spcBef>
                <a:spcPts val="225"/>
              </a:spcBef>
              <a:buClr>
                <a:srgbClr val="595959">
                  <a:lumMod val="75000"/>
                </a:srgbClr>
              </a:buClr>
              <a:defRPr/>
            </a:pPr>
            <a:r>
              <a:rPr lang="en-IN" sz="1200" kern="0" dirty="0">
                <a:solidFill>
                  <a:prstClr val="white"/>
                </a:solidFill>
                <a:latin typeface="Segoe UI Semibold" panose="020B0702040204020203" pitchFamily="34" charset="0"/>
                <a:ea typeface="Segoe UI" pitchFamily="34" charset="0"/>
                <a:cs typeface="Segoe UI Semibold" panose="020B0702040204020203" pitchFamily="34" charset="0"/>
              </a:rPr>
              <a:t>Phase 1: Establish a lab environment</a:t>
            </a:r>
          </a:p>
          <a:p>
            <a:pPr marL="174573" lvl="1" indent="-115853" defTabSz="685405">
              <a:spcBef>
                <a:spcPts val="225"/>
              </a:spcBef>
              <a:spcAft>
                <a:spcPts val="200"/>
              </a:spcAft>
              <a:buFont typeface="Arial" pitchFamily="34" charset="0"/>
              <a:buChar char="•"/>
              <a:defRPr/>
            </a:pPr>
            <a:r>
              <a:rPr lang="en-IN" sz="1100" i="1" kern="0" dirty="0">
                <a:solidFill>
                  <a:prstClr val="white"/>
                </a:solidFill>
                <a:latin typeface="Segoe UI"/>
                <a:ea typeface="Segoe UI" pitchFamily="34" charset="0"/>
                <a:cs typeface="Segoe UI" pitchFamily="34" charset="0"/>
              </a:rPr>
              <a:t>Help provide secure infrastructure</a:t>
            </a:r>
          </a:p>
          <a:p>
            <a:pPr marL="174573" lvl="1" indent="-115853" defTabSz="685405">
              <a:spcBef>
                <a:spcPts val="225"/>
              </a:spcBef>
              <a:spcAft>
                <a:spcPts val="200"/>
              </a:spcAft>
              <a:buFont typeface="Arial" pitchFamily="34" charset="0"/>
              <a:buChar char="•"/>
              <a:defRPr/>
            </a:pPr>
            <a:r>
              <a:rPr lang="en-IN" sz="1100" i="1" kern="0" dirty="0">
                <a:solidFill>
                  <a:prstClr val="white"/>
                </a:solidFill>
                <a:latin typeface="Segoe UI"/>
                <a:ea typeface="Segoe UI" pitchFamily="34" charset="0"/>
                <a:cs typeface="Segoe UI" pitchFamily="34" charset="0"/>
              </a:rPr>
              <a:t>Enable experimentation and initial innovation</a:t>
            </a:r>
          </a:p>
        </p:txBody>
      </p:sp>
      <p:sp>
        <p:nvSpPr>
          <p:cNvPr id="26" name="Pentagon 42"/>
          <p:cNvSpPr/>
          <p:nvPr>
            <p:custDataLst>
              <p:tags r:id="rId12"/>
            </p:custDataLst>
          </p:nvPr>
        </p:nvSpPr>
        <p:spPr>
          <a:xfrm>
            <a:off x="4045376" y="1617863"/>
            <a:ext cx="4455656" cy="1377863"/>
          </a:xfrm>
          <a:prstGeom prst="homePlate">
            <a:avLst>
              <a:gd name="adj" fmla="val 27528"/>
            </a:avLst>
          </a:prstGeom>
          <a:solidFill>
            <a:schemeClr val="tx2"/>
          </a:solidFill>
          <a:ln w="25400" cap="flat" cmpd="sng" algn="ctr">
            <a:noFill/>
            <a:prstDash val="solid"/>
          </a:ln>
          <a:effectLst/>
        </p:spPr>
        <p:txBody>
          <a:bodyPr rtlCol="0" anchor="t">
            <a:noAutofit/>
          </a:bodyPr>
          <a:lstStyle/>
          <a:p>
            <a:pPr marL="0" lvl="1" defTabSz="685405">
              <a:spcBef>
                <a:spcPts val="225"/>
              </a:spcBef>
              <a:buClr>
                <a:srgbClr val="595959">
                  <a:lumMod val="75000"/>
                </a:srgbClr>
              </a:buClr>
              <a:defRPr/>
            </a:pPr>
            <a:r>
              <a:rPr lang="en-IN" sz="1200" kern="0" dirty="0">
                <a:solidFill>
                  <a:prstClr val="white"/>
                </a:solidFill>
                <a:latin typeface="Segoe UI Semibold" panose="020B0702040204020203" pitchFamily="34" charset="0"/>
                <a:ea typeface="Segoe UI" pitchFamily="34" charset="0"/>
                <a:cs typeface="Segoe UI Semibold" panose="020B0702040204020203" pitchFamily="34" charset="0"/>
              </a:rPr>
              <a:t>Phase 3: Build a production pilot</a:t>
            </a:r>
          </a:p>
          <a:p>
            <a:pPr marL="174573" lvl="1" indent="-115853" defTabSz="685405">
              <a:spcBef>
                <a:spcPts val="225"/>
              </a:spcBef>
              <a:spcAft>
                <a:spcPts val="200"/>
              </a:spcAft>
              <a:buFont typeface="Arial" pitchFamily="34" charset="0"/>
              <a:buChar char="•"/>
              <a:defRPr/>
            </a:pPr>
            <a:r>
              <a:rPr lang="en-IN" sz="1100" i="1" kern="0" dirty="0">
                <a:solidFill>
                  <a:prstClr val="white"/>
                </a:solidFill>
                <a:latin typeface="Segoe UI"/>
                <a:ea typeface="Segoe UI" pitchFamily="34" charset="0"/>
                <a:cs typeface="Segoe UI" pitchFamily="34" charset="0"/>
              </a:rPr>
              <a:t>Additional capability from analytics, BI, machine learning </a:t>
            </a:r>
          </a:p>
          <a:p>
            <a:pPr marL="174573" lvl="1" indent="-115853" defTabSz="685405">
              <a:spcBef>
                <a:spcPts val="225"/>
              </a:spcBef>
              <a:spcAft>
                <a:spcPts val="200"/>
              </a:spcAft>
              <a:buFont typeface="Arial" pitchFamily="34" charset="0"/>
              <a:buChar char="•"/>
              <a:defRPr/>
            </a:pPr>
            <a:r>
              <a:rPr lang="en-IN" sz="1100" i="1" kern="0" dirty="0">
                <a:solidFill>
                  <a:prstClr val="white"/>
                </a:solidFill>
                <a:latin typeface="Segoe UI"/>
                <a:ea typeface="Segoe UI" pitchFamily="34" charset="0"/>
                <a:cs typeface="Segoe UI" pitchFamily="34" charset="0"/>
              </a:rPr>
              <a:t>Security and resiliency for the solution realized</a:t>
            </a:r>
          </a:p>
          <a:p>
            <a:pPr marL="174573" lvl="1" indent="-115853" defTabSz="685405">
              <a:spcBef>
                <a:spcPts val="225"/>
              </a:spcBef>
              <a:spcAft>
                <a:spcPts val="200"/>
              </a:spcAft>
              <a:buFont typeface="Arial" pitchFamily="34" charset="0"/>
              <a:buChar char="•"/>
              <a:defRPr/>
            </a:pPr>
            <a:r>
              <a:rPr lang="en-IN" sz="1100" i="1" kern="0" dirty="0">
                <a:solidFill>
                  <a:prstClr val="white"/>
                </a:solidFill>
                <a:latin typeface="Segoe UI"/>
                <a:ea typeface="Segoe UI" pitchFamily="34" charset="0"/>
                <a:cs typeface="Segoe UI" pitchFamily="34" charset="0"/>
              </a:rPr>
              <a:t>Operation and support processes implemented</a:t>
            </a:r>
          </a:p>
          <a:p>
            <a:pPr marL="174573" lvl="1" indent="-115853" defTabSz="685405">
              <a:spcBef>
                <a:spcPts val="225"/>
              </a:spcBef>
              <a:spcAft>
                <a:spcPts val="200"/>
              </a:spcAft>
              <a:buFont typeface="Arial" pitchFamily="34" charset="0"/>
              <a:buChar char="•"/>
              <a:defRPr/>
            </a:pPr>
            <a:r>
              <a:rPr lang="en-IN" sz="1100" i="1" kern="0" dirty="0">
                <a:solidFill>
                  <a:prstClr val="white"/>
                </a:solidFill>
                <a:latin typeface="Segoe UI"/>
                <a:ea typeface="Segoe UI" pitchFamily="34" charset="0"/>
                <a:cs typeface="Segoe UI" pitchFamily="34" charset="0"/>
              </a:rPr>
              <a:t>Recognizing value with initial partners</a:t>
            </a:r>
          </a:p>
          <a:p>
            <a:pPr marL="174573" lvl="1" indent="-115853" defTabSz="685405">
              <a:spcBef>
                <a:spcPts val="225"/>
              </a:spcBef>
              <a:spcAft>
                <a:spcPts val="200"/>
              </a:spcAft>
              <a:buFont typeface="Arial" pitchFamily="34" charset="0"/>
              <a:buChar char="•"/>
              <a:defRPr/>
            </a:pPr>
            <a:r>
              <a:rPr lang="en-IN" sz="1100" i="1" kern="0" dirty="0">
                <a:solidFill>
                  <a:prstClr val="white"/>
                </a:solidFill>
                <a:latin typeface="Segoe UI"/>
                <a:ea typeface="Segoe UI" pitchFamily="34" charset="0"/>
                <a:cs typeface="Segoe UI" pitchFamily="34" charset="0"/>
              </a:rPr>
              <a:t>Chat bots can provide details on process status</a:t>
            </a:r>
          </a:p>
        </p:txBody>
      </p:sp>
      <p:sp>
        <p:nvSpPr>
          <p:cNvPr id="20" name="Text Placeholder 6"/>
          <p:cNvSpPr txBox="1">
            <a:spLocks/>
          </p:cNvSpPr>
          <p:nvPr/>
        </p:nvSpPr>
        <p:spPr>
          <a:xfrm>
            <a:off x="8501032" y="301000"/>
            <a:ext cx="2496567" cy="502917"/>
          </a:xfrm>
          <a:prstGeom prst="rect">
            <a:avLst/>
          </a:prstGeom>
        </p:spPr>
        <p:txBody>
          <a:bodyPr vert="horz" lIns="319957" tIns="53311" rIns="53311" bIns="53311" rtlCol="0">
            <a:noAutofit/>
          </a:bodyPr>
          <a:lstStyle>
            <a:lvl1pPr marL="0" indent="0" algn="l" defTabSz="1088105" rtl="0" eaLnBrk="1" latinLnBrk="0" hangingPunct="1">
              <a:spcBef>
                <a:spcPts val="1800"/>
              </a:spcBef>
              <a:buClr>
                <a:srgbClr val="0072C6"/>
              </a:buClr>
              <a:buSzPct val="100000"/>
              <a:buFont typeface="Wingdings" pitchFamily="2" charset="2"/>
              <a:buNone/>
              <a:defRPr sz="2800" kern="1200">
                <a:solidFill>
                  <a:schemeClr val="tx1"/>
                </a:solidFill>
                <a:latin typeface="Segoe UI Light" pitchFamily="34" charset="0"/>
                <a:ea typeface="Segoe UI" pitchFamily="34" charset="0"/>
                <a:cs typeface="Segoe UI" pitchFamily="34" charset="0"/>
              </a:defRPr>
            </a:lvl1pPr>
            <a:lvl2pPr marL="281674" indent="0" algn="l" defTabSz="1088105" rtl="0" eaLnBrk="1" latinLnBrk="0" hangingPunct="1">
              <a:spcBef>
                <a:spcPct val="20000"/>
              </a:spcBef>
              <a:buFont typeface="Arial" pitchFamily="34" charset="0"/>
              <a:buNone/>
              <a:defRPr sz="1800" kern="1200">
                <a:solidFill>
                  <a:schemeClr val="tx1"/>
                </a:solidFill>
                <a:latin typeface="Segoe UI" pitchFamily="34" charset="0"/>
                <a:ea typeface="Segoe UI" pitchFamily="34" charset="0"/>
                <a:cs typeface="Segoe UI" pitchFamily="34" charset="0"/>
              </a:defRPr>
            </a:lvl2pPr>
            <a:lvl3pPr marL="588476" indent="0" algn="l" defTabSz="1088105" rtl="0" eaLnBrk="1" latinLnBrk="0" hangingPunct="1">
              <a:spcBef>
                <a:spcPct val="20000"/>
              </a:spcBef>
              <a:buFont typeface="Arial" pitchFamily="34" charset="0"/>
              <a:buNone/>
              <a:defRPr sz="1600" kern="1200">
                <a:solidFill>
                  <a:schemeClr val="tx1"/>
                </a:solidFill>
                <a:latin typeface="Segoe UI" pitchFamily="34" charset="0"/>
                <a:ea typeface="Segoe UI" pitchFamily="34" charset="0"/>
                <a:cs typeface="Segoe UI" pitchFamily="34" charset="0"/>
              </a:defRPr>
            </a:lvl3pPr>
            <a:lvl4pPr marL="87015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4pPr>
            <a:lvl5pPr marL="110554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defTabSz="1087779">
              <a:spcBef>
                <a:spcPts val="1799"/>
              </a:spcBef>
              <a:defRPr/>
            </a:pPr>
            <a:r>
              <a:rPr lang="en-US" sz="2799" dirty="0">
                <a:solidFill>
                  <a:srgbClr val="505050"/>
                </a:solidFill>
              </a:rPr>
              <a:t>Roadmap</a:t>
            </a:r>
          </a:p>
        </p:txBody>
      </p:sp>
    </p:spTree>
    <p:extLst>
      <p:ext uri="{BB962C8B-B14F-4D97-AF65-F5344CB8AC3E}">
        <p14:creationId xmlns:p14="http://schemas.microsoft.com/office/powerpoint/2010/main" val="8099349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p:cNvSpPr/>
          <p:nvPr>
            <p:custDataLst>
              <p:tags r:id="rId1"/>
            </p:custDataLst>
          </p:nvPr>
        </p:nvSpPr>
        <p:spPr bwMode="auto">
          <a:xfrm>
            <a:off x="3140844" y="1287490"/>
            <a:ext cx="2897440" cy="3951048"/>
          </a:xfrm>
          <a:prstGeom prst="rect">
            <a:avLst/>
          </a:prstGeom>
          <a:solidFill>
            <a:schemeClr val="tx2"/>
          </a:solidFill>
          <a:ln w="3175" cap="flat" cmpd="sng" algn="ctr">
            <a:noFill/>
            <a:prstDash val="solid"/>
            <a:round/>
            <a:headEnd type="none" w="med" len="med"/>
            <a:tailEnd type="none" w="med" len="med"/>
          </a:ln>
          <a:effectLst/>
        </p:spPr>
        <p:txBody>
          <a:bodyPr lIns="91416" tIns="91416" rIns="91416" bIns="91416" rtlCol="0" anchor="t" anchorCtr="0"/>
          <a:lstStyle/>
          <a:p>
            <a:pPr marL="0" marR="0" lvl="0" indent="0" algn="l" defTabSz="932192" rtl="0" eaLnBrk="1" fontAlgn="base" latinLnBrk="0" hangingPunct="1">
              <a:lnSpc>
                <a:spcPct val="100000"/>
              </a:lnSpc>
              <a:spcBef>
                <a:spcPts val="600"/>
              </a:spcBef>
              <a:spcAft>
                <a:spcPts val="1200"/>
              </a:spcAft>
              <a:buClrTx/>
              <a:buSzTx/>
              <a:buFontTx/>
              <a:buNone/>
              <a:tabLst/>
              <a:defRPr/>
            </a:pPr>
            <a:r>
              <a:rPr kumimoji="0" lang="en-US" sz="2399" b="0" i="0" u="none" strike="noStrike" kern="0" cap="none" spc="0" normalizeH="0" baseline="0" noProof="0" dirty="0">
                <a:ln>
                  <a:noFill/>
                </a:ln>
                <a:solidFill>
                  <a:prstClr val="white"/>
                </a:solidFill>
                <a:effectLst/>
                <a:uLnTx/>
                <a:uFillTx/>
                <a:latin typeface="Segoe UI Light"/>
                <a:ea typeface="+mn-ea"/>
                <a:cs typeface="+mn-cs"/>
              </a:rPr>
              <a:t>Challenge</a:t>
            </a:r>
          </a:p>
          <a:p>
            <a:pPr lvl="0" defTabSz="914126">
              <a:defRPr/>
            </a:pPr>
            <a:r>
              <a:rPr lang="en-US" sz="1600" kern="0" dirty="0">
                <a:solidFill>
                  <a:prstClr val="white"/>
                </a:solidFill>
              </a:rPr>
              <a:t>The company needed to optimize processing by both machines and humans in a way that could enable managers, engineers and scientists to improve product quality, streamline systems, and enhance functionality while reducing costs.</a:t>
            </a:r>
          </a:p>
        </p:txBody>
      </p:sp>
      <p:sp>
        <p:nvSpPr>
          <p:cNvPr id="31" name="Rectangle 30"/>
          <p:cNvSpPr/>
          <p:nvPr>
            <p:custDataLst>
              <p:tags r:id="rId2"/>
            </p:custDataLst>
          </p:nvPr>
        </p:nvSpPr>
        <p:spPr bwMode="auto">
          <a:xfrm>
            <a:off x="6062961" y="1295955"/>
            <a:ext cx="2897440" cy="3951048"/>
          </a:xfrm>
          <a:prstGeom prst="rect">
            <a:avLst/>
          </a:prstGeom>
          <a:solidFill>
            <a:schemeClr val="accent1"/>
          </a:solidFill>
          <a:ln w="3175" cap="flat" cmpd="sng" algn="ctr">
            <a:noFill/>
            <a:prstDash val="solid"/>
            <a:round/>
            <a:headEnd type="none" w="med" len="med"/>
            <a:tailEnd type="none" w="med" len="med"/>
          </a:ln>
          <a:effectLst/>
        </p:spPr>
        <p:txBody>
          <a:bodyPr lIns="137124" tIns="91416" rIns="137124" bIns="91416" rtlCol="0" anchor="t" anchorCtr="0"/>
          <a:lstStyle/>
          <a:p>
            <a:pPr marL="0" marR="0" lvl="0" indent="0" algn="l" defTabSz="914126" rtl="0" eaLnBrk="1" fontAlgn="auto" latinLnBrk="0" hangingPunct="1">
              <a:lnSpc>
                <a:spcPct val="100000"/>
              </a:lnSpc>
              <a:spcBef>
                <a:spcPts val="600"/>
              </a:spcBef>
              <a:spcAft>
                <a:spcPts val="1200"/>
              </a:spcAft>
              <a:buClrTx/>
              <a:buSzTx/>
              <a:buFontTx/>
              <a:buNone/>
              <a:tabLst/>
              <a:defRPr/>
            </a:pPr>
            <a:r>
              <a:rPr kumimoji="0" lang="en-US" sz="2399" b="0" i="0" u="none" strike="noStrike" kern="0" cap="none" spc="0" normalizeH="0" baseline="0" noProof="0" dirty="0">
                <a:ln>
                  <a:noFill/>
                </a:ln>
                <a:solidFill>
                  <a:prstClr val="white"/>
                </a:solidFill>
                <a:effectLst/>
                <a:uLnTx/>
                <a:uFillTx/>
                <a:latin typeface="Segoe UI Light"/>
                <a:ea typeface="+mn-ea"/>
                <a:cs typeface="+mn-cs"/>
              </a:rPr>
              <a:t>Strategy</a:t>
            </a:r>
          </a:p>
          <a:p>
            <a:pPr lvl="0" defTabSz="914126">
              <a:defRPr/>
            </a:pPr>
            <a:r>
              <a:rPr lang="en-US" sz="1600" kern="0" dirty="0">
                <a:solidFill>
                  <a:prstClr val="white"/>
                </a:solidFill>
              </a:rPr>
              <a:t>The solution brought together the company’s proprietary dashboard and IoT platform with cloud services and devices to enable managers, engineers, and workers to optimize equipment performance and product quality.</a:t>
            </a:r>
          </a:p>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Segoe UI"/>
              <a:ea typeface="+mn-ea"/>
              <a:cs typeface="+mn-cs"/>
            </a:endParaRPr>
          </a:p>
        </p:txBody>
      </p:sp>
      <p:sp>
        <p:nvSpPr>
          <p:cNvPr id="32" name="Rectangle 31"/>
          <p:cNvSpPr/>
          <p:nvPr>
            <p:custDataLst>
              <p:tags r:id="rId3"/>
            </p:custDataLst>
          </p:nvPr>
        </p:nvSpPr>
        <p:spPr bwMode="auto">
          <a:xfrm>
            <a:off x="9027401" y="1287490"/>
            <a:ext cx="2897440" cy="3951048"/>
          </a:xfrm>
          <a:prstGeom prst="rect">
            <a:avLst/>
          </a:prstGeom>
          <a:solidFill>
            <a:schemeClr val="accent2"/>
          </a:solidFill>
          <a:ln w="3175" cap="flat" cmpd="sng" algn="ctr">
            <a:noFill/>
            <a:prstDash val="solid"/>
            <a:round/>
            <a:headEnd type="none" w="med" len="med"/>
            <a:tailEnd type="none" w="med" len="med"/>
          </a:ln>
          <a:effectLst/>
        </p:spPr>
        <p:txBody>
          <a:bodyPr lIns="137124" tIns="91416" rIns="137124" bIns="91416" rtlCol="0" anchor="t" anchorCtr="0"/>
          <a:lstStyle/>
          <a:p>
            <a:pPr marL="0" marR="0" lvl="0" indent="0" algn="l" defTabSz="932192" rtl="0" eaLnBrk="1" fontAlgn="base" latinLnBrk="0" hangingPunct="1">
              <a:lnSpc>
                <a:spcPct val="100000"/>
              </a:lnSpc>
              <a:spcBef>
                <a:spcPts val="600"/>
              </a:spcBef>
              <a:spcAft>
                <a:spcPts val="1200"/>
              </a:spcAft>
              <a:buClrTx/>
              <a:buSzTx/>
              <a:buFontTx/>
              <a:buNone/>
              <a:tabLst/>
              <a:defRPr/>
            </a:pPr>
            <a:r>
              <a:rPr kumimoji="0" lang="en-US" sz="2399" b="0" i="0" u="none" strike="noStrike" kern="0" cap="none" spc="0" normalizeH="0" baseline="0" noProof="0" dirty="0">
                <a:ln>
                  <a:noFill/>
                </a:ln>
                <a:solidFill>
                  <a:srgbClr val="000000"/>
                </a:solidFill>
                <a:effectLst/>
                <a:uLnTx/>
                <a:uFillTx/>
                <a:latin typeface="Segoe UI Light"/>
                <a:ea typeface="Segoe UI" pitchFamily="34" charset="0"/>
                <a:cs typeface="Segoe UI" pitchFamily="34" charset="0"/>
              </a:rPr>
              <a:t>Results</a:t>
            </a:r>
          </a:p>
          <a:p>
            <a:pPr marL="285664" lvl="0" indent="-285664" defTabSz="914126">
              <a:spcBef>
                <a:spcPts val="600"/>
              </a:spcBef>
              <a:buFont typeface="Arial" panose="020B0604020202020204" pitchFamily="34" charset="0"/>
              <a:buChar char="•"/>
              <a:defRPr/>
            </a:pPr>
            <a:r>
              <a:rPr lang="en-US" sz="1600" kern="0" dirty="0">
                <a:solidFill>
                  <a:srgbClr val="000000"/>
                </a:solidFill>
              </a:rPr>
              <a:t>Operational excellence</a:t>
            </a:r>
          </a:p>
          <a:p>
            <a:pPr marL="285664" lvl="0" indent="-285664" defTabSz="914126">
              <a:spcBef>
                <a:spcPts val="600"/>
              </a:spcBef>
              <a:buFont typeface="Arial" panose="020B0604020202020204" pitchFamily="34" charset="0"/>
              <a:buChar char="•"/>
              <a:defRPr/>
            </a:pPr>
            <a:r>
              <a:rPr lang="en-US" sz="1600" kern="0" dirty="0">
                <a:solidFill>
                  <a:srgbClr val="000000"/>
                </a:solidFill>
              </a:rPr>
              <a:t>Reduced costs</a:t>
            </a:r>
          </a:p>
          <a:p>
            <a:pPr marL="285664" lvl="0" indent="-285664" defTabSz="914126">
              <a:spcBef>
                <a:spcPts val="600"/>
              </a:spcBef>
              <a:buFont typeface="Arial" panose="020B0604020202020204" pitchFamily="34" charset="0"/>
              <a:buChar char="•"/>
              <a:defRPr/>
            </a:pPr>
            <a:r>
              <a:rPr lang="en-US" sz="1600" kern="0" dirty="0">
                <a:solidFill>
                  <a:srgbClr val="000000"/>
                </a:solidFill>
              </a:rPr>
              <a:t>Higher quality products</a:t>
            </a:r>
          </a:p>
          <a:p>
            <a:pPr marL="285664" lvl="0" indent="-285664" defTabSz="914126">
              <a:spcBef>
                <a:spcPts val="600"/>
              </a:spcBef>
              <a:buFont typeface="Arial" panose="020B0604020202020204" pitchFamily="34" charset="0"/>
              <a:buChar char="•"/>
              <a:defRPr/>
            </a:pPr>
            <a:r>
              <a:rPr lang="en-US" sz="1600" kern="0" dirty="0">
                <a:solidFill>
                  <a:srgbClr val="000000"/>
                </a:solidFill>
              </a:rPr>
              <a:t>Enhanced functionality</a:t>
            </a:r>
          </a:p>
          <a:p>
            <a:pPr marL="285664" lvl="0" indent="-285664" defTabSz="914126">
              <a:spcBef>
                <a:spcPts val="600"/>
              </a:spcBef>
              <a:buFont typeface="Arial" panose="020B0604020202020204" pitchFamily="34" charset="0"/>
              <a:buChar char="•"/>
              <a:defRPr/>
            </a:pPr>
            <a:r>
              <a:rPr lang="en-US" sz="1600" kern="0" dirty="0">
                <a:solidFill>
                  <a:srgbClr val="000000"/>
                </a:solidFill>
              </a:rPr>
              <a:t>Greater productivity</a:t>
            </a:r>
          </a:p>
          <a:p>
            <a:pPr marL="285664" marR="0" lvl="0" indent="-285664" algn="l" defTabSz="914126"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600" b="0" i="0" u="none" strike="noStrike" kern="0" cap="none" spc="0" normalizeH="0" baseline="0" noProof="0" dirty="0">
              <a:ln>
                <a:noFill/>
              </a:ln>
              <a:solidFill>
                <a:srgbClr val="000000"/>
              </a:solidFill>
              <a:effectLst/>
              <a:uLnTx/>
              <a:uFillTx/>
              <a:latin typeface="Segoe UI"/>
              <a:ea typeface="+mn-ea"/>
              <a:cs typeface="+mn-cs"/>
            </a:endParaRPr>
          </a:p>
        </p:txBody>
      </p:sp>
      <p:sp>
        <p:nvSpPr>
          <p:cNvPr id="33" name="Rectangle 32"/>
          <p:cNvSpPr/>
          <p:nvPr/>
        </p:nvSpPr>
        <p:spPr>
          <a:xfrm>
            <a:off x="303133" y="5247003"/>
            <a:ext cx="11579385" cy="12234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t" anchorCtr="0" forceAA="0" compatLnSpc="1">
            <a:prstTxWarp prst="textNoShape">
              <a:avLst/>
            </a:prstTxWarp>
            <a:no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sp>
        <p:nvSpPr>
          <p:cNvPr id="34" name="Subtitle 2"/>
          <p:cNvSpPr txBox="1">
            <a:spLocks/>
          </p:cNvSpPr>
          <p:nvPr/>
        </p:nvSpPr>
        <p:spPr>
          <a:xfrm>
            <a:off x="303139" y="1295955"/>
            <a:ext cx="2742485" cy="3942583"/>
          </a:xfrm>
          <a:prstGeom prst="rect">
            <a:avLst/>
          </a:prstGeom>
          <a:solidFill>
            <a:schemeClr val="bg2"/>
          </a:solidFill>
        </p:spPr>
        <p:txBody>
          <a:bodyPr lIns="91416" tIns="45708" rIns="91416" bIns="45708">
            <a:noAutofit/>
          </a:bodyPr>
          <a:lstStyle>
            <a:lvl1pPr marL="0" indent="0" algn="l" defTabSz="1088105" rtl="0" eaLnBrk="1" latinLnBrk="0" hangingPunct="1">
              <a:lnSpc>
                <a:spcPct val="80000"/>
              </a:lnSpc>
              <a:spcBef>
                <a:spcPct val="20000"/>
              </a:spcBef>
              <a:buClr>
                <a:schemeClr val="tx1"/>
              </a:buClr>
              <a:buSzPct val="100000"/>
              <a:buFont typeface="Wingdings" pitchFamily="2" charset="2"/>
              <a:buNone/>
              <a:defRPr sz="1600" kern="1200">
                <a:solidFill>
                  <a:srgbClr val="FFFFFF"/>
                </a:solidFill>
                <a:latin typeface="Segoe UI" pitchFamily="34" charset="0"/>
                <a:ea typeface="Segoe UI" pitchFamily="34" charset="0"/>
                <a:cs typeface="Segoe UI" pitchFamily="34" charset="0"/>
              </a:defRPr>
            </a:lvl1pPr>
            <a:lvl2pPr marL="544053" indent="0" algn="ctr" defTabSz="1088105" rtl="0" eaLnBrk="1" latinLnBrk="0" hangingPunct="1">
              <a:spcBef>
                <a:spcPct val="20000"/>
              </a:spcBef>
              <a:buFont typeface="Arial" pitchFamily="34" charset="0"/>
              <a:buNone/>
              <a:defRPr sz="1400" kern="1200">
                <a:solidFill>
                  <a:schemeClr val="tx1">
                    <a:tint val="75000"/>
                  </a:schemeClr>
                </a:solidFill>
                <a:latin typeface="Segoe UI" pitchFamily="34" charset="0"/>
                <a:ea typeface="Segoe UI" pitchFamily="34" charset="0"/>
                <a:cs typeface="Segoe UI" pitchFamily="34" charset="0"/>
              </a:defRPr>
            </a:lvl2pPr>
            <a:lvl3pPr marL="1088105" indent="0" algn="ctr" defTabSz="1088105" rtl="0" eaLnBrk="1" latinLnBrk="0" hangingPunct="1">
              <a:spcBef>
                <a:spcPct val="20000"/>
              </a:spcBef>
              <a:buFont typeface="Arial" pitchFamily="34" charset="0"/>
              <a:buNone/>
              <a:defRPr sz="1200" kern="1200">
                <a:solidFill>
                  <a:schemeClr val="tx1">
                    <a:tint val="75000"/>
                  </a:schemeClr>
                </a:solidFill>
                <a:latin typeface="Segoe UI" pitchFamily="34" charset="0"/>
                <a:ea typeface="Segoe UI" pitchFamily="34" charset="0"/>
                <a:cs typeface="Segoe UI" pitchFamily="34" charset="0"/>
              </a:defRPr>
            </a:lvl3pPr>
            <a:lvl4pPr marL="1632159" indent="0" algn="ctr" defTabSz="1088105" rtl="0" eaLnBrk="1" latinLnBrk="0" hangingPunct="1">
              <a:spcBef>
                <a:spcPct val="20000"/>
              </a:spcBef>
              <a:buFont typeface="Arial" pitchFamily="34" charset="0"/>
              <a:buNone/>
              <a:defRPr sz="1100" kern="1200">
                <a:solidFill>
                  <a:schemeClr val="tx1">
                    <a:tint val="75000"/>
                  </a:schemeClr>
                </a:solidFill>
                <a:latin typeface="Segoe UI" pitchFamily="34" charset="0"/>
                <a:ea typeface="Segoe UI" pitchFamily="34" charset="0"/>
                <a:cs typeface="Segoe UI" pitchFamily="34" charset="0"/>
              </a:defRPr>
            </a:lvl4pPr>
            <a:lvl5pPr marL="2176211" indent="0" algn="ctr" defTabSz="1088105" rtl="0" eaLnBrk="1" latinLnBrk="0" hangingPunct="1">
              <a:spcBef>
                <a:spcPct val="20000"/>
              </a:spcBef>
              <a:buFont typeface="Arial" pitchFamily="34" charset="0"/>
              <a:buNone/>
              <a:defRPr sz="1100" kern="1200">
                <a:solidFill>
                  <a:schemeClr val="tx1">
                    <a:tint val="75000"/>
                  </a:schemeClr>
                </a:solidFill>
                <a:latin typeface="Segoe UI" pitchFamily="34" charset="0"/>
                <a:ea typeface="Segoe UI" pitchFamily="34" charset="0"/>
                <a:cs typeface="Segoe UI" pitchFamily="34" charset="0"/>
              </a:defRPr>
            </a:lvl5pPr>
            <a:lvl6pPr marL="2720264" indent="0" algn="ctr" defTabSz="1088105" rtl="0" eaLnBrk="1" latinLnBrk="0" hangingPunct="1">
              <a:spcBef>
                <a:spcPct val="20000"/>
              </a:spcBef>
              <a:buFont typeface="Arial" pitchFamily="34" charset="0"/>
              <a:buNone/>
              <a:defRPr sz="2500" kern="1200">
                <a:solidFill>
                  <a:schemeClr val="tx1">
                    <a:tint val="75000"/>
                  </a:schemeClr>
                </a:solidFill>
                <a:latin typeface="+mn-lt"/>
                <a:ea typeface="+mn-ea"/>
                <a:cs typeface="+mn-cs"/>
              </a:defRPr>
            </a:lvl6pPr>
            <a:lvl7pPr marL="3264316" indent="0" algn="ctr" defTabSz="1088105" rtl="0" eaLnBrk="1" latinLnBrk="0" hangingPunct="1">
              <a:spcBef>
                <a:spcPct val="20000"/>
              </a:spcBef>
              <a:buFont typeface="Arial" pitchFamily="34" charset="0"/>
              <a:buNone/>
              <a:defRPr sz="2500" kern="1200">
                <a:solidFill>
                  <a:schemeClr val="tx1">
                    <a:tint val="75000"/>
                  </a:schemeClr>
                </a:solidFill>
                <a:latin typeface="+mn-lt"/>
                <a:ea typeface="+mn-ea"/>
                <a:cs typeface="+mn-cs"/>
              </a:defRPr>
            </a:lvl7pPr>
            <a:lvl8pPr marL="3808369" indent="0" algn="ctr" defTabSz="1088105" rtl="0" eaLnBrk="1" latinLnBrk="0" hangingPunct="1">
              <a:spcBef>
                <a:spcPct val="20000"/>
              </a:spcBef>
              <a:buFont typeface="Arial" pitchFamily="34" charset="0"/>
              <a:buNone/>
              <a:defRPr sz="2500" kern="1200">
                <a:solidFill>
                  <a:schemeClr val="tx1">
                    <a:tint val="75000"/>
                  </a:schemeClr>
                </a:solidFill>
                <a:latin typeface="+mn-lt"/>
                <a:ea typeface="+mn-ea"/>
                <a:cs typeface="+mn-cs"/>
              </a:defRPr>
            </a:lvl8pPr>
            <a:lvl9pPr marL="4352422" indent="0" algn="ctr" defTabSz="1088105" rtl="0" eaLnBrk="1" latinLnBrk="0" hangingPunct="1">
              <a:spcBef>
                <a:spcPct val="20000"/>
              </a:spcBef>
              <a:buFont typeface="Arial" pitchFamily="34" charset="0"/>
              <a:buNone/>
              <a:defRPr sz="2500" kern="1200">
                <a:solidFill>
                  <a:schemeClr val="tx1">
                    <a:tint val="75000"/>
                  </a:schemeClr>
                </a:solidFill>
                <a:latin typeface="+mn-lt"/>
                <a:ea typeface="+mn-ea"/>
                <a:cs typeface="+mn-cs"/>
              </a:defRPr>
            </a:lvl9pPr>
          </a:lstStyle>
          <a:p>
            <a:pPr marL="0" marR="0" lvl="0" indent="0" algn="l" defTabSz="1087779" rtl="0" eaLnBrk="1" fontAlgn="auto" latinLnBrk="0" hangingPunct="1">
              <a:lnSpc>
                <a:spcPct val="100000"/>
              </a:lnSpc>
              <a:spcBef>
                <a:spcPts val="600"/>
              </a:spcBef>
              <a:spcAft>
                <a:spcPts val="0"/>
              </a:spcAft>
              <a:buClr>
                <a:srgbClr val="505050"/>
              </a:buClr>
              <a:buSzPct val="100000"/>
              <a:buFont typeface="Wingdings" pitchFamily="2" charset="2"/>
              <a:buNone/>
              <a:tabLst/>
              <a:defRPr/>
            </a:pPr>
            <a:r>
              <a:rPr lang="en-US" sz="2399" dirty="0">
                <a:latin typeface="Segoe UI Light" pitchFamily="34" charset="0"/>
              </a:rPr>
              <a:t>Optimizing Manufacturing Processes</a:t>
            </a:r>
            <a:endParaRPr kumimoji="0" lang="en-US" sz="2399" b="0" i="0" u="none" strike="noStrike" kern="1200" cap="none" spc="0" normalizeH="0" baseline="0" noProof="0" dirty="0">
              <a:ln>
                <a:noFill/>
              </a:ln>
              <a:solidFill>
                <a:srgbClr val="FFFFFF"/>
              </a:solidFill>
              <a:effectLst/>
              <a:uLnTx/>
              <a:uFillTx/>
              <a:latin typeface="Segoe UI Light" pitchFamily="34" charset="0"/>
              <a:cs typeface="Segoe UI" pitchFamily="34" charset="0"/>
            </a:endParaRPr>
          </a:p>
        </p:txBody>
      </p:sp>
      <p:sp>
        <p:nvSpPr>
          <p:cNvPr id="20" name="Title 1"/>
          <p:cNvSpPr>
            <a:spLocks noGrp="1"/>
          </p:cNvSpPr>
          <p:nvPr>
            <p:ph type="title"/>
          </p:nvPr>
        </p:nvSpPr>
        <p:spPr>
          <a:xfrm>
            <a:off x="0" y="895"/>
            <a:ext cx="12188825" cy="645874"/>
          </a:xfrm>
        </p:spPr>
        <p:txBody>
          <a:bodyPr/>
          <a:lstStyle/>
          <a:p>
            <a:r>
              <a:rPr lang="en-US" dirty="0"/>
              <a:t>A Communications Technology Company</a:t>
            </a:r>
          </a:p>
        </p:txBody>
      </p:sp>
      <p:sp>
        <p:nvSpPr>
          <p:cNvPr id="21" name="Text Placeholder 2"/>
          <p:cNvSpPr>
            <a:spLocks noGrp="1"/>
          </p:cNvSpPr>
          <p:nvPr>
            <p:ph type="body" sz="quarter" idx="13"/>
          </p:nvPr>
        </p:nvSpPr>
        <p:spPr>
          <a:xfrm>
            <a:off x="0" y="574349"/>
            <a:ext cx="12188825" cy="372966"/>
          </a:xfrm>
        </p:spPr>
        <p:txBody>
          <a:bodyPr/>
          <a:lstStyle/>
          <a:p>
            <a:r>
              <a:rPr lang="en-US" sz="2399" i="1" dirty="0"/>
              <a:t>Bringing innovative operational excellence to manufacturing</a:t>
            </a:r>
          </a:p>
        </p:txBody>
      </p:sp>
      <p:sp>
        <p:nvSpPr>
          <p:cNvPr id="24" name="Text Placeholder 6"/>
          <p:cNvSpPr txBox="1">
            <a:spLocks/>
          </p:cNvSpPr>
          <p:nvPr/>
        </p:nvSpPr>
        <p:spPr>
          <a:xfrm>
            <a:off x="9141618" y="143852"/>
            <a:ext cx="2832312" cy="372966"/>
          </a:xfrm>
          <a:prstGeom prst="rect">
            <a:avLst/>
          </a:prstGeom>
        </p:spPr>
        <p:txBody>
          <a:bodyPr vert="horz" lIns="319957" tIns="53311" rIns="53311" bIns="53311" rtlCol="0">
            <a:noAutofit/>
          </a:bodyPr>
          <a:lstStyle>
            <a:lvl1pPr marL="0" indent="0" algn="l" defTabSz="1088105" rtl="0" eaLnBrk="1" latinLnBrk="0" hangingPunct="1">
              <a:spcBef>
                <a:spcPts val="1800"/>
              </a:spcBef>
              <a:buClr>
                <a:srgbClr val="0072C6"/>
              </a:buClr>
              <a:buSzPct val="100000"/>
              <a:buFont typeface="Wingdings" pitchFamily="2" charset="2"/>
              <a:buNone/>
              <a:defRPr sz="2800" kern="1200">
                <a:solidFill>
                  <a:schemeClr val="tx1"/>
                </a:solidFill>
                <a:latin typeface="Segoe UI Light" pitchFamily="34" charset="0"/>
                <a:ea typeface="Segoe UI" pitchFamily="34" charset="0"/>
                <a:cs typeface="Segoe UI" pitchFamily="34" charset="0"/>
              </a:defRPr>
            </a:lvl1pPr>
            <a:lvl2pPr marL="281674" indent="0" algn="l" defTabSz="1088105" rtl="0" eaLnBrk="1" latinLnBrk="0" hangingPunct="1">
              <a:spcBef>
                <a:spcPct val="20000"/>
              </a:spcBef>
              <a:buFont typeface="Arial" pitchFamily="34" charset="0"/>
              <a:buNone/>
              <a:defRPr sz="1800" kern="1200">
                <a:solidFill>
                  <a:schemeClr val="tx1"/>
                </a:solidFill>
                <a:latin typeface="Segoe UI" pitchFamily="34" charset="0"/>
                <a:ea typeface="Segoe UI" pitchFamily="34" charset="0"/>
                <a:cs typeface="Segoe UI" pitchFamily="34" charset="0"/>
              </a:defRPr>
            </a:lvl2pPr>
            <a:lvl3pPr marL="588476" indent="0" algn="l" defTabSz="1088105" rtl="0" eaLnBrk="1" latinLnBrk="0" hangingPunct="1">
              <a:spcBef>
                <a:spcPct val="20000"/>
              </a:spcBef>
              <a:buFont typeface="Arial" pitchFamily="34" charset="0"/>
              <a:buNone/>
              <a:defRPr sz="1600" kern="1200">
                <a:solidFill>
                  <a:schemeClr val="tx1"/>
                </a:solidFill>
                <a:latin typeface="Segoe UI" pitchFamily="34" charset="0"/>
                <a:ea typeface="Segoe UI" pitchFamily="34" charset="0"/>
                <a:cs typeface="Segoe UI" pitchFamily="34" charset="0"/>
              </a:defRPr>
            </a:lvl3pPr>
            <a:lvl4pPr marL="87015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4pPr>
            <a:lvl5pPr marL="110554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marL="0" marR="0" lvl="0" indent="0" algn="l" defTabSz="1087779" rtl="0" eaLnBrk="1" fontAlgn="auto" latinLnBrk="0" hangingPunct="1">
              <a:lnSpc>
                <a:spcPct val="100000"/>
              </a:lnSpc>
              <a:spcBef>
                <a:spcPts val="1799"/>
              </a:spcBef>
              <a:spcAft>
                <a:spcPts val="0"/>
              </a:spcAft>
              <a:buClr>
                <a:srgbClr val="0072C6"/>
              </a:buClr>
              <a:buSzPct val="100000"/>
              <a:buFont typeface="Wingdings" pitchFamily="2" charset="2"/>
              <a:buNone/>
              <a:tabLst/>
              <a:defRPr/>
            </a:pPr>
            <a:r>
              <a:rPr kumimoji="0" lang="en-US" sz="2799" b="0" i="0" u="none" strike="noStrike" kern="1200" cap="none" spc="0" normalizeH="0" baseline="0" noProof="0" dirty="0">
                <a:ln>
                  <a:noFill/>
                </a:ln>
                <a:solidFill>
                  <a:srgbClr val="505050"/>
                </a:solidFill>
                <a:effectLst/>
                <a:uLnTx/>
                <a:uFillTx/>
                <a:latin typeface="Segoe UI Light" pitchFamily="34" charset="0"/>
                <a:cs typeface="Segoe UI" pitchFamily="34" charset="0"/>
              </a:rPr>
              <a:t>Customer Story</a:t>
            </a:r>
          </a:p>
        </p:txBody>
      </p:sp>
    </p:spTree>
    <p:extLst>
      <p:ext uri="{BB962C8B-B14F-4D97-AF65-F5344CB8AC3E}">
        <p14:creationId xmlns:p14="http://schemas.microsoft.com/office/powerpoint/2010/main" val="14206990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50813" y="1406237"/>
            <a:ext cx="11887200" cy="1822988"/>
          </a:xfrm>
        </p:spPr>
        <p:txBody>
          <a:bodyPr>
            <a:normAutofit/>
          </a:bodyPr>
          <a:lstStyle/>
          <a:p>
            <a:r>
              <a:rPr lang="en-US" sz="7200">
                <a:cs typeface="Segoe UI Light" panose="020B0502040204020203" pitchFamily="34" charset="0"/>
              </a:rPr>
              <a:t>Optimize Your Operations</a:t>
            </a:r>
          </a:p>
        </p:txBody>
      </p:sp>
      <p:sp>
        <p:nvSpPr>
          <p:cNvPr id="7" name="Freeform 73"/>
          <p:cNvSpPr>
            <a:spLocks noChangeAspect="1" noEditPoints="1"/>
          </p:cNvSpPr>
          <p:nvPr/>
        </p:nvSpPr>
        <p:spPr bwMode="black">
          <a:xfrm>
            <a:off x="10348022" y="5100991"/>
            <a:ext cx="1386777" cy="133874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tx1"/>
          </a:solidFill>
          <a:ln>
            <a:noFill/>
          </a:ln>
        </p:spPr>
        <p:txBody>
          <a:bodyPr vert="horz" wrap="square" lIns="82305" tIns="41153" rIns="82305" bIns="41153" numCol="1" anchor="t" anchorCtr="0" compatLnSpc="1">
            <a:prstTxWarp prst="textNoShape">
              <a:avLst/>
            </a:prstTxWarp>
          </a:bodyPr>
          <a:lstStyle/>
          <a:p>
            <a:pPr marL="0" marR="0" lvl="0" indent="0" defTabSz="914241"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endParaRPr>
          </a:p>
        </p:txBody>
      </p:sp>
      <p:sp>
        <p:nvSpPr>
          <p:cNvPr id="5" name="Title 3"/>
          <p:cNvSpPr txBox="1">
            <a:spLocks/>
          </p:cNvSpPr>
          <p:nvPr/>
        </p:nvSpPr>
        <p:spPr>
          <a:xfrm>
            <a:off x="150853" y="215287"/>
            <a:ext cx="11890296" cy="1822988"/>
          </a:xfrm>
          <a:prstGeom prst="rect">
            <a:avLst/>
          </a:prstGeom>
          <a:noFill/>
        </p:spPr>
        <p:txBody>
          <a:bodyPr vert="horz" lIns="137160" tIns="137160" rIns="137160" bIns="137160" rtlCol="0" anchor="t" anchorCtr="0">
            <a:noAutofit/>
          </a:bodyPr>
          <a:lstStyle>
            <a:lvl1pPr marL="0" algn="l" defTabSz="1088105" rtl="0" eaLnBrk="1" latinLnBrk="0" hangingPunct="1">
              <a:lnSpc>
                <a:spcPct val="90000"/>
              </a:lnSpc>
              <a:spcBef>
                <a:spcPct val="0"/>
              </a:spcBef>
              <a:buNone/>
              <a:defRPr lang="en-US" sz="8600" kern="1200" spc="-98" baseline="0">
                <a:solidFill>
                  <a:schemeClr val="tx1"/>
                </a:solidFill>
                <a:latin typeface="Segoe UI Light" pitchFamily="34" charset="0"/>
                <a:ea typeface="Segoe UI" pitchFamily="34" charset="0"/>
                <a:cs typeface="Segoe UI" pitchFamily="34" charset="0"/>
              </a:defRPr>
            </a:lvl1pPr>
          </a:lstStyle>
          <a:p>
            <a:r>
              <a:rPr lang="en-US" sz="3600"/>
              <a:t>Automotive Book of Dreams</a:t>
            </a:r>
          </a:p>
        </p:txBody>
      </p:sp>
    </p:spTree>
    <p:extLst>
      <p:ext uri="{BB962C8B-B14F-4D97-AF65-F5344CB8AC3E}">
        <p14:creationId xmlns:p14="http://schemas.microsoft.com/office/powerpoint/2010/main" val="37946553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b="697"/>
          <a:stretch/>
        </p:blipFill>
        <p:spPr>
          <a:xfrm>
            <a:off x="1588" y="893"/>
            <a:ext cx="12185651" cy="6856214"/>
          </a:xfrm>
          <a:prstGeom prst="rect">
            <a:avLst/>
          </a:prstGeom>
          <a:noFill/>
          <a:ln>
            <a:noFill/>
          </a:ln>
        </p:spPr>
      </p:pic>
      <p:sp>
        <p:nvSpPr>
          <p:cNvPr id="2" name="Title 1"/>
          <p:cNvSpPr>
            <a:spLocks noGrp="1"/>
          </p:cNvSpPr>
          <p:nvPr>
            <p:ph type="title"/>
          </p:nvPr>
        </p:nvSpPr>
        <p:spPr/>
        <p:txBody>
          <a:bodyPr/>
          <a:lstStyle/>
          <a:p>
            <a:r>
              <a:rPr lang="en-US" dirty="0"/>
              <a:t>Imagine if…</a:t>
            </a:r>
          </a:p>
        </p:txBody>
      </p:sp>
      <p:sp>
        <p:nvSpPr>
          <p:cNvPr id="8" name="Rectangle 7"/>
          <p:cNvSpPr/>
          <p:nvPr/>
        </p:nvSpPr>
        <p:spPr>
          <a:xfrm>
            <a:off x="304722" y="1307984"/>
            <a:ext cx="5331023" cy="5180251"/>
          </a:xfrm>
          <a:prstGeom prst="rect">
            <a:avLst/>
          </a:prstGeom>
          <a:solidFill>
            <a:schemeClr val="tx2">
              <a:alpha val="89000"/>
            </a:schemeClr>
          </a:solidFill>
        </p:spPr>
        <p:txBody>
          <a:bodyPr wrap="square" lIns="137124" tIns="91416" rIns="137124" bIns="91416">
            <a:noAutofit/>
          </a:bodyPr>
          <a:lstStyle/>
          <a:p>
            <a:pPr lvl="0" defTabSz="1087779">
              <a:spcBef>
                <a:spcPts val="600"/>
              </a:spcBef>
              <a:defRPr/>
            </a:pPr>
            <a:r>
              <a:rPr lang="en-US" sz="2800" dirty="0">
                <a:solidFill>
                  <a:prstClr val="white"/>
                </a:solidFill>
              </a:rPr>
              <a:t>Imagine if you could digitize and optimize your supply chain, improving efficiency, awareness, decision making, and agility.</a:t>
            </a:r>
          </a:p>
        </p:txBody>
      </p:sp>
      <p:sp>
        <p:nvSpPr>
          <p:cNvPr id="3" name="Slide Number Placeholder 2"/>
          <p:cNvSpPr>
            <a:spLocks noGrp="1"/>
          </p:cNvSpPr>
          <p:nvPr>
            <p:ph type="sldNum" sz="quarter" idx="15"/>
          </p:nvPr>
        </p:nvSpPr>
        <p:spPr/>
        <p:txBody>
          <a:bodyPr/>
          <a:lstStyle/>
          <a:p>
            <a:pPr marL="0" marR="0" lvl="0" indent="0" algn="l" defTabSz="1087779" rtl="0" eaLnBrk="1" fontAlgn="auto" latinLnBrk="0" hangingPunct="1">
              <a:lnSpc>
                <a:spcPct val="100000"/>
              </a:lnSpc>
              <a:spcBef>
                <a:spcPts val="0"/>
              </a:spcBef>
              <a:spcAft>
                <a:spcPts val="0"/>
              </a:spcAft>
              <a:buClrTx/>
              <a:buSzTx/>
              <a:buFontTx/>
              <a:buNone/>
              <a:tabLst/>
              <a:defRPr/>
            </a:pPr>
            <a:r>
              <a:rPr kumimoji="0" lang="en-US" sz="1799" b="0" i="0" u="none" strike="noStrike" kern="1200" cap="none" spc="0" normalizeH="0" baseline="0" noProof="0" dirty="0">
                <a:ln>
                  <a:noFill/>
                </a:ln>
                <a:solidFill>
                  <a:prstClr val="white"/>
                </a:solidFill>
                <a:effectLst/>
                <a:uLnTx/>
                <a:uFillTx/>
                <a:latin typeface="Segoe UI"/>
                <a:ea typeface="+mn-ea"/>
                <a:cs typeface="+mn-cs"/>
              </a:rPr>
              <a:t> </a:t>
            </a:r>
          </a:p>
        </p:txBody>
      </p:sp>
    </p:spTree>
    <p:extLst>
      <p:ext uri="{BB962C8B-B14F-4D97-AF65-F5344CB8AC3E}">
        <p14:creationId xmlns:p14="http://schemas.microsoft.com/office/powerpoint/2010/main" val="288709430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Integrated supply chain</a:t>
            </a:r>
          </a:p>
        </p:txBody>
      </p:sp>
      <p:sp>
        <p:nvSpPr>
          <p:cNvPr id="4" name="Text Placeholder 3"/>
          <p:cNvSpPr>
            <a:spLocks noGrp="1"/>
          </p:cNvSpPr>
          <p:nvPr>
            <p:ph type="body" sz="quarter" idx="13"/>
          </p:nvPr>
        </p:nvSpPr>
        <p:spPr/>
        <p:txBody>
          <a:bodyPr/>
          <a:lstStyle/>
          <a:p>
            <a:r>
              <a:rPr lang="en-IN" dirty="0"/>
              <a:t>Scenarios Mapped to Benefits</a:t>
            </a:r>
          </a:p>
        </p:txBody>
      </p:sp>
      <p:sp>
        <p:nvSpPr>
          <p:cNvPr id="3" name="Slide Number Placeholder 2"/>
          <p:cNvSpPr>
            <a:spLocks noGrp="1"/>
          </p:cNvSpPr>
          <p:nvPr>
            <p:ph type="sldNum" sz="quarter" idx="14"/>
          </p:nvPr>
        </p:nvSpPr>
        <p:spPr/>
        <p:txBody>
          <a:bodyPr/>
          <a:lstStyle/>
          <a:p>
            <a:pPr marL="0" marR="0" lvl="0" indent="0" algn="r" defTabSz="1088105"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1088105" rtl="0" eaLnBrk="1" fontAlgn="auto" latinLnBrk="0" hangingPunct="1">
                <a:lnSpc>
                  <a:spcPct val="100000"/>
                </a:lnSpc>
                <a:spcBef>
                  <a:spcPts val="0"/>
                </a:spcBef>
                <a:spcAft>
                  <a:spcPts val="0"/>
                </a:spcAft>
                <a:buClrTx/>
                <a:buSzTx/>
                <a:buFontTx/>
                <a:buNone/>
                <a:tabLst/>
                <a:defRPr/>
              </a:pPr>
              <a:t>37</a:t>
            </a:fld>
            <a:endParaRPr kumimoji="0" lang="en-US" sz="800" b="0" i="0" u="none" strike="noStrike" kern="1200" cap="none" spc="0" normalizeH="0" baseline="0" noProof="0">
              <a:ln>
                <a:noFill/>
              </a:ln>
              <a:solidFill>
                <a:srgbClr val="505050"/>
              </a:solidFill>
              <a:effectLst/>
              <a:uLnTx/>
              <a:uFillTx/>
              <a:latin typeface="Segoe UI" pitchFamily="34" charset="0"/>
              <a:cs typeface="Segoe UI" pitchFamily="34" charset="0"/>
            </a:endParaRPr>
          </a:p>
        </p:txBody>
      </p:sp>
      <p:sp>
        <p:nvSpPr>
          <p:cNvPr id="5" name="Rectangle 4"/>
          <p:cNvSpPr/>
          <p:nvPr/>
        </p:nvSpPr>
        <p:spPr bwMode="auto">
          <a:xfrm>
            <a:off x="303216" y="2024295"/>
            <a:ext cx="2148840" cy="444754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6" name="Rectangle 5"/>
          <p:cNvSpPr/>
          <p:nvPr/>
        </p:nvSpPr>
        <p:spPr bwMode="auto">
          <a:xfrm>
            <a:off x="3441713" y="2024295"/>
            <a:ext cx="2148840" cy="444754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7" name="Rectangle 6"/>
          <p:cNvSpPr/>
          <p:nvPr/>
        </p:nvSpPr>
        <p:spPr bwMode="auto">
          <a:xfrm>
            <a:off x="9732090" y="1475655"/>
            <a:ext cx="2148840" cy="548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52024"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Key Benefits</a:t>
            </a:r>
          </a:p>
        </p:txBody>
      </p:sp>
      <p:sp>
        <p:nvSpPr>
          <p:cNvPr id="8" name="Rectangle 7"/>
          <p:cNvSpPr/>
          <p:nvPr/>
        </p:nvSpPr>
        <p:spPr bwMode="auto">
          <a:xfrm>
            <a:off x="9732090" y="2030327"/>
            <a:ext cx="2148840" cy="444754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11" name="Rectangle 223"/>
          <p:cNvSpPr/>
          <p:nvPr/>
        </p:nvSpPr>
        <p:spPr>
          <a:xfrm>
            <a:off x="9732090" y="3754732"/>
            <a:ext cx="2148840" cy="548640"/>
          </a:xfrm>
          <a:prstGeom prst="rect">
            <a:avLst/>
          </a:prstGeom>
          <a:solidFill>
            <a:schemeClr val="accent2"/>
          </a:solidFill>
          <a:ln w="25400" cap="flat" cmpd="sng" algn="ctr">
            <a:noFill/>
            <a:prstDash val="solid"/>
          </a:ln>
          <a:effectLst/>
        </p:spPr>
        <p:txBody>
          <a:bodyPr wrap="square" lIns="91440" tIns="45720" rIns="91440" bIns="45720" rtlCol="0" anchor="ctr">
            <a:noAutofit/>
          </a:bodyPr>
          <a:lstStyle/>
          <a:p>
            <a:pPr marL="0" marR="0" lvl="0" indent="0" algn="l" defTabSz="914241" rtl="0" eaLnBrk="1" fontAlgn="auto" latinLnBrk="0" hangingPunct="1">
              <a:lnSpc>
                <a:spcPct val="110000"/>
              </a:lnSpc>
              <a:spcBef>
                <a:spcPts val="267"/>
              </a:spcBef>
              <a:spcAft>
                <a:spcPts val="0"/>
              </a:spcAft>
              <a:buClrTx/>
              <a:buSzTx/>
              <a:buFontTx/>
              <a:buNone/>
              <a:tabLst/>
              <a:defRPr/>
            </a:pPr>
            <a:r>
              <a:rPr lang="en-US" sz="1100" kern="0" dirty="0">
                <a:solidFill>
                  <a:srgbClr val="505050"/>
                </a:solidFill>
                <a:latin typeface="Segoe UI"/>
              </a:rPr>
              <a:t>Reduced wastage (returns, replacements and repair costs)</a:t>
            </a:r>
            <a:endParaRPr kumimoji="0" lang="en-US" sz="1100" b="0" i="0" u="none" strike="noStrike" kern="0" cap="none" spc="0" normalizeH="0" baseline="0" noProof="0" dirty="0">
              <a:ln>
                <a:noFill/>
              </a:ln>
              <a:solidFill>
                <a:srgbClr val="505050"/>
              </a:solidFill>
              <a:effectLst/>
              <a:uLnTx/>
              <a:uFillTx/>
              <a:latin typeface="Segoe UI"/>
              <a:ea typeface="+mn-ea"/>
              <a:cs typeface="+mn-cs"/>
            </a:endParaRPr>
          </a:p>
        </p:txBody>
      </p:sp>
      <p:sp>
        <p:nvSpPr>
          <p:cNvPr id="13" name="Rectangle 12"/>
          <p:cNvSpPr/>
          <p:nvPr>
            <p:custDataLst>
              <p:tags r:id="rId1"/>
            </p:custDataLst>
          </p:nvPr>
        </p:nvSpPr>
        <p:spPr>
          <a:xfrm>
            <a:off x="9732090" y="2296882"/>
            <a:ext cx="2148840" cy="548640"/>
          </a:xfrm>
          <a:prstGeom prst="rect">
            <a:avLst/>
          </a:prstGeom>
          <a:solidFill>
            <a:schemeClr val="accent2"/>
          </a:solidFill>
          <a:ln w="25400" cap="flat" cmpd="sng" algn="ctr">
            <a:noFill/>
            <a:prstDash val="solid"/>
          </a:ln>
          <a:effectLst/>
        </p:spPr>
        <p:txBody>
          <a:bodyPr lIns="91440" tIns="45720" rIns="91440" bIns="45720" rtlCol="0" anchor="ctr">
            <a:noAutofit/>
          </a:bodyPr>
          <a:lstStyle/>
          <a:p>
            <a:pPr marL="0" marR="0" lvl="0" indent="0" algn="l" defTabSz="914241" rtl="0" eaLnBrk="1" fontAlgn="auto" latinLnBrk="0" hangingPunct="1">
              <a:lnSpc>
                <a:spcPct val="110000"/>
              </a:lnSpc>
              <a:spcBef>
                <a:spcPts val="267"/>
              </a:spcBef>
              <a:spcAft>
                <a:spcPts val="0"/>
              </a:spcAft>
              <a:buClrTx/>
              <a:buSzTx/>
              <a:buFontTx/>
              <a:buNone/>
              <a:tabLst/>
              <a:defRPr/>
            </a:pPr>
            <a:r>
              <a:rPr lang="en-US" sz="1100" kern="0" dirty="0">
                <a:solidFill>
                  <a:srgbClr val="505050"/>
                </a:solidFill>
                <a:latin typeface="Segoe UI"/>
              </a:rPr>
              <a:t>Improved flexibility</a:t>
            </a:r>
            <a:endParaRPr kumimoji="0" lang="en-US" sz="1100" b="0" i="0" u="none" strike="noStrike" kern="0" cap="none" spc="0" normalizeH="0" baseline="0" noProof="0" dirty="0">
              <a:ln>
                <a:noFill/>
              </a:ln>
              <a:solidFill>
                <a:srgbClr val="505050"/>
              </a:solidFill>
              <a:effectLst/>
              <a:uLnTx/>
              <a:uFillTx/>
              <a:latin typeface="Segoe UI"/>
              <a:ea typeface="+mn-ea"/>
              <a:cs typeface="+mn-cs"/>
            </a:endParaRPr>
          </a:p>
        </p:txBody>
      </p:sp>
      <p:sp>
        <p:nvSpPr>
          <p:cNvPr id="14" name="Rectangle 13"/>
          <p:cNvSpPr/>
          <p:nvPr>
            <p:custDataLst>
              <p:tags r:id="rId2"/>
            </p:custDataLst>
          </p:nvPr>
        </p:nvSpPr>
        <p:spPr>
          <a:xfrm>
            <a:off x="9732090" y="3025807"/>
            <a:ext cx="2148840" cy="548640"/>
          </a:xfrm>
          <a:prstGeom prst="rect">
            <a:avLst/>
          </a:prstGeom>
          <a:solidFill>
            <a:schemeClr val="accent2"/>
          </a:solidFill>
          <a:ln w="25400" cap="flat" cmpd="sng" algn="ctr">
            <a:noFill/>
            <a:prstDash val="solid"/>
          </a:ln>
          <a:effectLst/>
        </p:spPr>
        <p:txBody>
          <a:bodyPr lIns="91440" tIns="45720" rIns="91440" bIns="45720" rtlCol="0" anchor="ctr">
            <a:noAutofit/>
          </a:bodyPr>
          <a:lstStyle/>
          <a:p>
            <a:pPr marL="0" marR="0" lvl="0" indent="0" algn="l" defTabSz="914241" rtl="0" eaLnBrk="1" fontAlgn="auto" latinLnBrk="0" hangingPunct="1">
              <a:lnSpc>
                <a:spcPct val="110000"/>
              </a:lnSpc>
              <a:spcBef>
                <a:spcPts val="267"/>
              </a:spcBef>
              <a:spcAft>
                <a:spcPts val="0"/>
              </a:spcAft>
              <a:buClrTx/>
              <a:buSzTx/>
              <a:buFontTx/>
              <a:buNone/>
              <a:tabLst/>
              <a:defRPr/>
            </a:pPr>
            <a:r>
              <a:rPr kumimoji="0" lang="en-US" sz="1100" b="0" i="0" u="none" strike="noStrike" kern="0" cap="none" spc="0" normalizeH="0" baseline="0" noProof="0" dirty="0">
                <a:ln>
                  <a:noFill/>
                </a:ln>
                <a:solidFill>
                  <a:srgbClr val="505050"/>
                </a:solidFill>
                <a:effectLst/>
                <a:uLnTx/>
                <a:uFillTx/>
                <a:latin typeface="Segoe UI"/>
                <a:ea typeface="+mn-ea"/>
                <a:cs typeface="+mn-cs"/>
              </a:rPr>
              <a:t>Faster time to market</a:t>
            </a:r>
          </a:p>
        </p:txBody>
      </p:sp>
      <p:sp>
        <p:nvSpPr>
          <p:cNvPr id="15" name="Rectangle 25"/>
          <p:cNvSpPr/>
          <p:nvPr/>
        </p:nvSpPr>
        <p:spPr>
          <a:xfrm>
            <a:off x="9732090" y="4483657"/>
            <a:ext cx="2148840" cy="548640"/>
          </a:xfrm>
          <a:prstGeom prst="rect">
            <a:avLst/>
          </a:prstGeom>
          <a:solidFill>
            <a:schemeClr val="accent2"/>
          </a:solidFill>
          <a:ln w="25400" cap="flat" cmpd="sng" algn="ctr">
            <a:noFill/>
            <a:prstDash val="solid"/>
          </a:ln>
          <a:effectLst/>
        </p:spPr>
        <p:txBody>
          <a:bodyPr lIns="91440" tIns="45720" rIns="91440" bIns="45720" rtlCol="0" anchor="ctr">
            <a:noAutofit/>
          </a:bodyPr>
          <a:lstStyle/>
          <a:p>
            <a:pPr marL="0" marR="0" lvl="0" indent="0" algn="l" defTabSz="914241" rtl="0" eaLnBrk="1" fontAlgn="auto" latinLnBrk="0" hangingPunct="1">
              <a:lnSpc>
                <a:spcPct val="110000"/>
              </a:lnSpc>
              <a:spcBef>
                <a:spcPts val="267"/>
              </a:spcBef>
              <a:spcAft>
                <a:spcPts val="0"/>
              </a:spcAft>
              <a:buClrTx/>
              <a:buSzTx/>
              <a:buFontTx/>
              <a:buNone/>
              <a:tabLst/>
              <a:defRPr/>
            </a:pPr>
            <a:r>
              <a:rPr lang="en-GB" sz="1100" kern="0" dirty="0">
                <a:solidFill>
                  <a:srgbClr val="505050"/>
                </a:solidFill>
                <a:latin typeface="Segoe UI"/>
              </a:rPr>
              <a:t>Higher profit margins</a:t>
            </a:r>
            <a:endParaRPr kumimoji="0" lang="en-GB" sz="1100" b="0" i="0" u="none" strike="noStrike" kern="0" cap="none" spc="0" normalizeH="0" baseline="0" noProof="0" dirty="0">
              <a:ln>
                <a:noFill/>
              </a:ln>
              <a:solidFill>
                <a:srgbClr val="505050"/>
              </a:solidFill>
              <a:effectLst/>
              <a:uLnTx/>
              <a:uFillTx/>
              <a:latin typeface="Segoe UI"/>
              <a:ea typeface="+mn-ea"/>
              <a:cs typeface="+mn-cs"/>
            </a:endParaRPr>
          </a:p>
        </p:txBody>
      </p:sp>
      <p:sp>
        <p:nvSpPr>
          <p:cNvPr id="19" name="Rectangle 18"/>
          <p:cNvSpPr/>
          <p:nvPr/>
        </p:nvSpPr>
        <p:spPr bwMode="auto">
          <a:xfrm>
            <a:off x="303216" y="1475655"/>
            <a:ext cx="2148840" cy="54864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panose="020B0702040204020203" pitchFamily="34" charset="0"/>
                <a:ea typeface="Segoe UI" pitchFamily="34" charset="0"/>
                <a:cs typeface="Segoe UI Semibold" panose="020B0702040204020203" pitchFamily="34" charset="0"/>
              </a:rPr>
              <a:t>Business Drivers</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panose="020B0702040204020203" pitchFamily="34" charset="0"/>
                <a:ea typeface="Segoe UI" pitchFamily="34" charset="0"/>
                <a:cs typeface="Segoe UI Semibold" panose="020B0702040204020203" pitchFamily="34" charset="0"/>
              </a:rPr>
              <a:t>[Business environment]</a:t>
            </a:r>
          </a:p>
        </p:txBody>
      </p:sp>
      <p:sp>
        <p:nvSpPr>
          <p:cNvPr id="20" name="Rectangle 19"/>
          <p:cNvSpPr/>
          <p:nvPr/>
        </p:nvSpPr>
        <p:spPr bwMode="auto">
          <a:xfrm>
            <a:off x="3441713" y="1475655"/>
            <a:ext cx="2148840" cy="5486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51946"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Investment Objectives</a:t>
            </a:r>
          </a:p>
          <a:p>
            <a:pPr marL="0" marR="0" lvl="0" indent="0" algn="ctr" defTabSz="1051946"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white"/>
                </a:solidFill>
                <a:effectLst/>
                <a:uLnTx/>
                <a:uFillTx/>
                <a:latin typeface="Segoe UI"/>
                <a:ea typeface="+mn-ea"/>
                <a:cs typeface="+mn-cs"/>
              </a:rPr>
              <a:t>[Strategic Options]</a:t>
            </a:r>
          </a:p>
        </p:txBody>
      </p:sp>
      <p:sp>
        <p:nvSpPr>
          <p:cNvPr id="21" name="Rectangle 20"/>
          <p:cNvSpPr/>
          <p:nvPr/>
        </p:nvSpPr>
        <p:spPr bwMode="auto">
          <a:xfrm>
            <a:off x="6580209" y="1475655"/>
            <a:ext cx="2148840" cy="54864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52024"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Scenarios</a:t>
            </a:r>
          </a:p>
          <a:p>
            <a:pPr marL="0" marR="0" lvl="0" indent="0" algn="ctr" defTabSz="1052024"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white"/>
                </a:solidFill>
                <a:effectLst/>
                <a:uLnTx/>
                <a:uFillTx/>
                <a:latin typeface="Segoe UI"/>
                <a:ea typeface="+mn-ea"/>
                <a:cs typeface="+mn-cs"/>
              </a:rPr>
              <a:t>[Tactical Business Changes]</a:t>
            </a:r>
          </a:p>
        </p:txBody>
      </p:sp>
      <p:sp>
        <p:nvSpPr>
          <p:cNvPr id="24" name="Rectangle 23"/>
          <p:cNvSpPr/>
          <p:nvPr/>
        </p:nvSpPr>
        <p:spPr>
          <a:xfrm>
            <a:off x="303216" y="2985044"/>
            <a:ext cx="2148840" cy="820683"/>
          </a:xfrm>
          <a:prstGeom prst="rect">
            <a:avLst/>
          </a:prstGeom>
          <a:solidFill>
            <a:schemeClr val="tx2"/>
          </a:solidFill>
          <a:ln w="25400" cap="flat" cmpd="sng" algn="ctr">
            <a:noFill/>
            <a:prstDash val="solid"/>
          </a:ln>
          <a:effectLst/>
        </p:spPr>
        <p:txBody>
          <a:bodyPr wrap="square" lIns="91440" tIns="45720" rIns="91440" bIns="45720" rtlCol="0" anchor="ctr">
            <a:noAutofit/>
          </a:bodyPr>
          <a:lstStyle/>
          <a:p>
            <a:pPr marL="0" marR="0" lvl="0" indent="0" algn="l" defTabSz="591836" rtl="0" eaLnBrk="1" fontAlgn="auto" latinLnBrk="0" hangingPunct="1">
              <a:lnSpc>
                <a:spcPct val="110000"/>
              </a:lnSpc>
              <a:spcBef>
                <a:spcPts val="100"/>
              </a:spcBef>
              <a:spcAft>
                <a:spcPts val="0"/>
              </a:spcAft>
              <a:buClrTx/>
              <a:buSzTx/>
              <a:buFontTx/>
              <a:buNone/>
              <a:tabLst/>
              <a:defRPr/>
            </a:pPr>
            <a:r>
              <a:rPr lang="en-US" sz="1100" kern="0" dirty="0">
                <a:solidFill>
                  <a:prstClr val="white"/>
                </a:solidFill>
                <a:latin typeface="Segoe UI"/>
              </a:rPr>
              <a:t>Globalization</a:t>
            </a:r>
            <a:endParaRPr kumimoji="0" lang="en-GB" sz="1100" b="0" i="0" u="none" strike="noStrike" kern="0" cap="none" spc="0" normalizeH="0" baseline="0" noProof="0" dirty="0">
              <a:ln>
                <a:noFill/>
              </a:ln>
              <a:solidFill>
                <a:prstClr val="white"/>
              </a:solidFill>
              <a:effectLst/>
              <a:uLnTx/>
              <a:uFillTx/>
              <a:latin typeface="Segoe UI"/>
              <a:ea typeface="+mn-ea"/>
              <a:cs typeface="+mn-cs"/>
            </a:endParaRPr>
          </a:p>
        </p:txBody>
      </p:sp>
      <p:sp>
        <p:nvSpPr>
          <p:cNvPr id="25" name="Rectangle 24"/>
          <p:cNvSpPr/>
          <p:nvPr/>
        </p:nvSpPr>
        <p:spPr>
          <a:xfrm>
            <a:off x="303216" y="3875760"/>
            <a:ext cx="2148840" cy="820683"/>
          </a:xfrm>
          <a:prstGeom prst="rect">
            <a:avLst/>
          </a:prstGeom>
          <a:solidFill>
            <a:schemeClr val="tx2"/>
          </a:solidFill>
          <a:ln w="25400" cap="flat" cmpd="sng" algn="ctr">
            <a:noFill/>
            <a:prstDash val="solid"/>
          </a:ln>
          <a:effectLst/>
        </p:spPr>
        <p:txBody>
          <a:bodyPr wrap="square" lIns="91440" tIns="45720" rIns="91440" bIns="45720" rtlCol="0" anchor="ctr">
            <a:noAutofit/>
          </a:bodyPr>
          <a:lstStyle/>
          <a:p>
            <a:pPr marL="0" marR="0" lvl="0" indent="0" algn="l" defTabSz="591836" rtl="0" eaLnBrk="1" fontAlgn="auto" latinLnBrk="0" hangingPunct="1">
              <a:lnSpc>
                <a:spcPct val="110000"/>
              </a:lnSpc>
              <a:spcBef>
                <a:spcPts val="100"/>
              </a:spcBef>
              <a:spcAft>
                <a:spcPts val="0"/>
              </a:spcAft>
              <a:buClrTx/>
              <a:buSzTx/>
              <a:buFontTx/>
              <a:buNone/>
              <a:tabLst/>
              <a:defRPr/>
            </a:pPr>
            <a:r>
              <a:rPr lang="en-US" sz="1100" kern="0" dirty="0">
                <a:solidFill>
                  <a:prstClr val="white"/>
                </a:solidFill>
                <a:latin typeface="Segoe UI"/>
              </a:rPr>
              <a:t>Information and communication</a:t>
            </a:r>
            <a:endParaRPr kumimoji="0" lang="en-GB" sz="1100" b="0" i="0" u="none" strike="noStrike" kern="0" cap="none" spc="0" normalizeH="0" baseline="0" noProof="0" dirty="0">
              <a:ln>
                <a:noFill/>
              </a:ln>
              <a:solidFill>
                <a:prstClr val="white"/>
              </a:solidFill>
              <a:effectLst/>
              <a:uLnTx/>
              <a:uFillTx/>
              <a:latin typeface="Segoe UI"/>
              <a:ea typeface="+mn-ea"/>
              <a:cs typeface="+mn-cs"/>
            </a:endParaRPr>
          </a:p>
        </p:txBody>
      </p:sp>
      <p:sp>
        <p:nvSpPr>
          <p:cNvPr id="26" name="Rectangle 25"/>
          <p:cNvSpPr/>
          <p:nvPr/>
        </p:nvSpPr>
        <p:spPr>
          <a:xfrm>
            <a:off x="303216" y="2094328"/>
            <a:ext cx="2148840" cy="820683"/>
          </a:xfrm>
          <a:prstGeom prst="rect">
            <a:avLst/>
          </a:prstGeom>
          <a:solidFill>
            <a:schemeClr val="tx2"/>
          </a:solidFill>
          <a:ln w="25400" cap="flat" cmpd="sng" algn="ctr">
            <a:noFill/>
            <a:prstDash val="solid"/>
          </a:ln>
          <a:effectLst/>
        </p:spPr>
        <p:txBody>
          <a:bodyPr wrap="square" lIns="91440" tIns="45720" rIns="91440" bIns="45720" rtlCol="0" anchor="ctr">
            <a:noAutofit/>
          </a:bodyPr>
          <a:lstStyle/>
          <a:p>
            <a:pPr marL="0" marR="0" lvl="0" indent="0" algn="l" defTabSz="591836" rtl="0" eaLnBrk="1" fontAlgn="auto" latinLnBrk="0" hangingPunct="1">
              <a:lnSpc>
                <a:spcPct val="110000"/>
              </a:lnSpc>
              <a:spcBef>
                <a:spcPts val="10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Segoe UI"/>
                <a:ea typeface="+mn-ea"/>
                <a:cs typeface="+mn-cs"/>
              </a:rPr>
              <a:t>Consumer demand</a:t>
            </a:r>
          </a:p>
        </p:txBody>
      </p:sp>
      <p:sp>
        <p:nvSpPr>
          <p:cNvPr id="28" name="Rectangle 27"/>
          <p:cNvSpPr/>
          <p:nvPr/>
        </p:nvSpPr>
        <p:spPr>
          <a:xfrm>
            <a:off x="3441713" y="2111998"/>
            <a:ext cx="2148840" cy="803217"/>
          </a:xfrm>
          <a:prstGeom prst="rect">
            <a:avLst/>
          </a:prstGeom>
          <a:solidFill>
            <a:schemeClr val="accent1"/>
          </a:solidFill>
          <a:ln w="25400" cap="flat" cmpd="sng" algn="ctr">
            <a:noFill/>
            <a:prstDash val="solid"/>
          </a:ln>
          <a:effectLst/>
        </p:spPr>
        <p:txBody>
          <a:bodyPr wrap="square" lIns="91440" tIns="45720" rIns="91440" bIns="45720" rtlCol="0" anchor="ctr">
            <a:noAutofit/>
          </a:bodyPr>
          <a:lstStyle/>
          <a:p>
            <a:pPr lvl="0" defTabSz="591836">
              <a:lnSpc>
                <a:spcPct val="110000"/>
              </a:lnSpc>
              <a:spcBef>
                <a:spcPts val="100"/>
              </a:spcBef>
              <a:defRPr/>
            </a:pPr>
            <a:r>
              <a:rPr kumimoji="0" lang="en-GB" sz="1100" b="0" i="0" u="none" strike="noStrike" kern="0" cap="none" spc="0" normalizeH="0" baseline="0" noProof="0" dirty="0">
                <a:ln>
                  <a:noFill/>
                </a:ln>
                <a:solidFill>
                  <a:prstClr val="white"/>
                </a:solidFill>
                <a:effectLst/>
                <a:uLnTx/>
                <a:uFillTx/>
                <a:latin typeface="Segoe UI"/>
                <a:ea typeface="+mn-ea"/>
                <a:cs typeface="+mn-cs"/>
              </a:rPr>
              <a:t>Build a centralised </a:t>
            </a:r>
            <a:r>
              <a:rPr lang="en-GB" sz="1100" kern="0" dirty="0">
                <a:solidFill>
                  <a:prstClr val="white"/>
                </a:solidFill>
              </a:rPr>
              <a:t>distribution strategy to better predict consumer demand</a:t>
            </a:r>
            <a:endParaRPr kumimoji="0" lang="en-GB" sz="1100" b="0" i="0" u="none" strike="noStrike" kern="0" cap="none" spc="0" normalizeH="0" baseline="0" noProof="0" dirty="0">
              <a:ln>
                <a:noFill/>
              </a:ln>
              <a:solidFill>
                <a:prstClr val="white"/>
              </a:solidFill>
              <a:effectLst/>
              <a:uLnTx/>
              <a:uFillTx/>
              <a:latin typeface="Segoe UI"/>
              <a:ea typeface="+mn-ea"/>
              <a:cs typeface="+mn-cs"/>
            </a:endParaRPr>
          </a:p>
        </p:txBody>
      </p:sp>
      <p:sp>
        <p:nvSpPr>
          <p:cNvPr id="29" name="Rectangle 1"/>
          <p:cNvSpPr/>
          <p:nvPr/>
        </p:nvSpPr>
        <p:spPr>
          <a:xfrm>
            <a:off x="3441713" y="3158451"/>
            <a:ext cx="2148840" cy="727253"/>
          </a:xfrm>
          <a:prstGeom prst="rect">
            <a:avLst/>
          </a:prstGeom>
          <a:solidFill>
            <a:schemeClr val="accent1"/>
          </a:solidFill>
          <a:ln w="25400" cap="flat" cmpd="sng" algn="ctr">
            <a:noFill/>
            <a:prstDash val="solid"/>
          </a:ln>
          <a:effectLst/>
        </p:spPr>
        <p:txBody>
          <a:bodyPr wrap="square" lIns="91440" tIns="45720" rIns="91440" bIns="45720" rtlCol="0" anchor="ctr">
            <a:noAutofit/>
          </a:bodyPr>
          <a:lstStyle/>
          <a:p>
            <a:pPr marL="0" marR="0" lvl="0" indent="0" algn="l" defTabSz="591836" rtl="0" eaLnBrk="1" fontAlgn="auto" latinLnBrk="0" hangingPunct="1">
              <a:lnSpc>
                <a:spcPct val="110000"/>
              </a:lnSpc>
              <a:spcBef>
                <a:spcPts val="100"/>
              </a:spcBef>
              <a:spcAft>
                <a:spcPts val="0"/>
              </a:spcAft>
              <a:buClrTx/>
              <a:buSzTx/>
              <a:buFontTx/>
              <a:buNone/>
              <a:tabLst/>
              <a:defRPr/>
            </a:pPr>
            <a:r>
              <a:rPr lang="en-US" sz="1100" kern="0" dirty="0">
                <a:solidFill>
                  <a:prstClr val="white"/>
                </a:solidFill>
                <a:latin typeface="Segoe UI"/>
              </a:rPr>
              <a:t>Product design strategy</a:t>
            </a:r>
            <a:endParaRPr kumimoji="0" lang="en-GB" sz="1100" b="0" i="0" u="none" strike="noStrike" kern="0" cap="none" spc="0" normalizeH="0" baseline="0" noProof="0" dirty="0">
              <a:ln>
                <a:noFill/>
              </a:ln>
              <a:solidFill>
                <a:prstClr val="white"/>
              </a:solidFill>
              <a:effectLst/>
              <a:uLnTx/>
              <a:uFillTx/>
              <a:latin typeface="Segoe UI"/>
              <a:ea typeface="+mn-ea"/>
              <a:cs typeface="+mn-cs"/>
            </a:endParaRPr>
          </a:p>
        </p:txBody>
      </p:sp>
      <p:sp>
        <p:nvSpPr>
          <p:cNvPr id="32" name="Rectangle 3"/>
          <p:cNvSpPr/>
          <p:nvPr/>
        </p:nvSpPr>
        <p:spPr>
          <a:xfrm>
            <a:off x="3441713" y="4128940"/>
            <a:ext cx="2148840" cy="950054"/>
          </a:xfrm>
          <a:prstGeom prst="rect">
            <a:avLst/>
          </a:prstGeom>
          <a:solidFill>
            <a:schemeClr val="accent1"/>
          </a:solidFill>
          <a:ln w="25400" cap="flat" cmpd="sng" algn="ctr">
            <a:noFill/>
            <a:prstDash val="solid"/>
          </a:ln>
          <a:effectLst/>
        </p:spPr>
        <p:txBody>
          <a:bodyPr wrap="square" lIns="91440" tIns="45720" rIns="91440" bIns="45720" rtlCol="0" anchor="ctr">
            <a:noAutofit/>
          </a:bodyPr>
          <a:lstStyle/>
          <a:p>
            <a:pPr marL="0" marR="0" lvl="0" indent="0" defTabSz="591836" rtl="0" eaLnBrk="1" fontAlgn="auto" latinLnBrk="0" hangingPunct="1">
              <a:lnSpc>
                <a:spcPct val="110000"/>
              </a:lnSpc>
              <a:spcBef>
                <a:spcPts val="100"/>
              </a:spcBef>
              <a:spcAft>
                <a:spcPts val="0"/>
              </a:spcAft>
              <a:buClrTx/>
              <a:buSzTx/>
              <a:buFontTx/>
              <a:buNone/>
              <a:tabLst/>
              <a:defRPr/>
            </a:pPr>
            <a:r>
              <a:rPr lang="en-US" sz="1100" kern="0" dirty="0">
                <a:solidFill>
                  <a:prstClr val="white"/>
                </a:solidFill>
                <a:latin typeface="Segoe UI"/>
              </a:rPr>
              <a:t>Integrate systems and processes through the supply chain to share valuable information.</a:t>
            </a:r>
            <a:endParaRPr kumimoji="0" lang="en-GB" sz="1100" b="0" i="0" u="none" strike="noStrike" kern="0" cap="none" spc="0" normalizeH="0" baseline="0" noProof="0" dirty="0">
              <a:ln>
                <a:noFill/>
              </a:ln>
              <a:solidFill>
                <a:prstClr val="white"/>
              </a:solidFill>
              <a:effectLst/>
              <a:uLnTx/>
              <a:uFillTx/>
              <a:latin typeface="Segoe UI"/>
              <a:ea typeface="+mn-ea"/>
              <a:cs typeface="+mn-cs"/>
            </a:endParaRPr>
          </a:p>
        </p:txBody>
      </p:sp>
      <p:cxnSp>
        <p:nvCxnSpPr>
          <p:cNvPr id="54" name="Straight Connector 30"/>
          <p:cNvCxnSpPr>
            <a:cxnSpLocks/>
            <a:stCxn id="26" idx="3"/>
            <a:endCxn id="28" idx="1"/>
          </p:cNvCxnSpPr>
          <p:nvPr/>
        </p:nvCxnSpPr>
        <p:spPr>
          <a:xfrm>
            <a:off x="2452056" y="2504670"/>
            <a:ext cx="989657" cy="8937"/>
          </a:xfrm>
          <a:prstGeom prst="line">
            <a:avLst/>
          </a:prstGeom>
          <a:noFill/>
          <a:ln w="9525" cap="flat" cmpd="sng" algn="ctr">
            <a:solidFill>
              <a:schemeClr val="bg1">
                <a:lumMod val="65000"/>
              </a:schemeClr>
            </a:solidFill>
            <a:prstDash val="solid"/>
            <a:headEnd type="oval" w="sm" len="sm"/>
            <a:tailEnd type="oval" w="sm" len="sm"/>
          </a:ln>
          <a:effectLst/>
        </p:spPr>
      </p:cxnSp>
      <p:cxnSp>
        <p:nvCxnSpPr>
          <p:cNvPr id="57" name="Straight Connector 30"/>
          <p:cNvCxnSpPr>
            <a:cxnSpLocks/>
            <a:stCxn id="24" idx="3"/>
            <a:endCxn id="32" idx="1"/>
          </p:cNvCxnSpPr>
          <p:nvPr/>
        </p:nvCxnSpPr>
        <p:spPr>
          <a:xfrm>
            <a:off x="2452056" y="3395386"/>
            <a:ext cx="989657" cy="1208581"/>
          </a:xfrm>
          <a:prstGeom prst="line">
            <a:avLst/>
          </a:prstGeom>
          <a:noFill/>
          <a:ln w="9525" cap="flat" cmpd="sng" algn="ctr">
            <a:solidFill>
              <a:schemeClr val="bg1">
                <a:lumMod val="65000"/>
              </a:schemeClr>
            </a:solidFill>
            <a:prstDash val="solid"/>
            <a:headEnd type="oval" w="sm" len="sm"/>
            <a:tailEnd type="oval" w="sm" len="sm"/>
          </a:ln>
          <a:effectLst/>
        </p:spPr>
      </p:cxnSp>
      <p:sp>
        <p:nvSpPr>
          <p:cNvPr id="68" name="Text Placeholder 6"/>
          <p:cNvSpPr txBox="1">
            <a:spLocks/>
          </p:cNvSpPr>
          <p:nvPr/>
        </p:nvSpPr>
        <p:spPr>
          <a:xfrm>
            <a:off x="9230569" y="142996"/>
            <a:ext cx="2746481" cy="456230"/>
          </a:xfrm>
          <a:prstGeom prst="rect">
            <a:avLst/>
          </a:prstGeom>
        </p:spPr>
        <p:txBody>
          <a:bodyPr vert="horz" lIns="320040" tIns="53325" rIns="53325" bIns="53325" rtlCol="0">
            <a:noAutofit/>
          </a:bodyPr>
          <a:lstStyle>
            <a:lvl1pPr marL="0" indent="0" algn="l" defTabSz="1088105" rtl="0" eaLnBrk="1" latinLnBrk="0" hangingPunct="1">
              <a:spcBef>
                <a:spcPts val="1800"/>
              </a:spcBef>
              <a:buClr>
                <a:srgbClr val="0072C6"/>
              </a:buClr>
              <a:buSzPct val="100000"/>
              <a:buFont typeface="Wingdings" pitchFamily="2" charset="2"/>
              <a:buNone/>
              <a:defRPr sz="2800" kern="1200">
                <a:solidFill>
                  <a:schemeClr val="tx1"/>
                </a:solidFill>
                <a:latin typeface="Segoe UI Light" pitchFamily="34" charset="0"/>
                <a:ea typeface="Segoe UI" pitchFamily="34" charset="0"/>
                <a:cs typeface="Segoe UI" pitchFamily="34" charset="0"/>
              </a:defRPr>
            </a:lvl1pPr>
            <a:lvl2pPr marL="281674" indent="0" algn="l" defTabSz="1088105" rtl="0" eaLnBrk="1" latinLnBrk="0" hangingPunct="1">
              <a:spcBef>
                <a:spcPct val="20000"/>
              </a:spcBef>
              <a:buFont typeface="Arial" pitchFamily="34" charset="0"/>
              <a:buNone/>
              <a:defRPr sz="1800" kern="1200">
                <a:solidFill>
                  <a:schemeClr val="tx1"/>
                </a:solidFill>
                <a:latin typeface="Segoe UI" pitchFamily="34" charset="0"/>
                <a:ea typeface="Segoe UI" pitchFamily="34" charset="0"/>
                <a:cs typeface="Segoe UI" pitchFamily="34" charset="0"/>
              </a:defRPr>
            </a:lvl2pPr>
            <a:lvl3pPr marL="588476" indent="0" algn="l" defTabSz="1088105" rtl="0" eaLnBrk="1" latinLnBrk="0" hangingPunct="1">
              <a:spcBef>
                <a:spcPct val="20000"/>
              </a:spcBef>
              <a:buFont typeface="Arial" pitchFamily="34" charset="0"/>
              <a:buNone/>
              <a:defRPr sz="1600" kern="1200">
                <a:solidFill>
                  <a:schemeClr val="tx1"/>
                </a:solidFill>
                <a:latin typeface="Segoe UI" pitchFamily="34" charset="0"/>
                <a:ea typeface="Segoe UI" pitchFamily="34" charset="0"/>
                <a:cs typeface="Segoe UI" pitchFamily="34" charset="0"/>
              </a:defRPr>
            </a:lvl3pPr>
            <a:lvl4pPr marL="87015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4pPr>
            <a:lvl5pPr marL="110554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marL="0" marR="0" lvl="0" indent="0" algn="l" defTabSz="1088105" rtl="0" eaLnBrk="1" fontAlgn="auto" latinLnBrk="0" hangingPunct="1">
              <a:lnSpc>
                <a:spcPct val="100000"/>
              </a:lnSpc>
              <a:spcBef>
                <a:spcPts val="1800"/>
              </a:spcBef>
              <a:spcAft>
                <a:spcPts val="0"/>
              </a:spcAft>
              <a:buClr>
                <a:srgbClr val="0072C6"/>
              </a:buClr>
              <a:buSzPct val="100000"/>
              <a:buFont typeface="Wingdings" pitchFamily="2" charset="2"/>
              <a:buNone/>
              <a:tabLst/>
              <a:defRPr/>
            </a:pPr>
            <a:r>
              <a:rPr kumimoji="0" lang="en-US" sz="2800" b="0" i="0" u="none" strike="noStrike" kern="1200" cap="none" spc="0" normalizeH="0" baseline="0" noProof="0">
                <a:ln>
                  <a:noFill/>
                </a:ln>
                <a:solidFill>
                  <a:srgbClr val="505050"/>
                </a:solidFill>
                <a:effectLst/>
                <a:uLnTx/>
                <a:uFillTx/>
                <a:latin typeface="Segoe UI Light" pitchFamily="34" charset="0"/>
                <a:cs typeface="Segoe UI" pitchFamily="34" charset="0"/>
              </a:rPr>
              <a:t>Scenario Chain</a:t>
            </a:r>
          </a:p>
        </p:txBody>
      </p:sp>
      <p:sp>
        <p:nvSpPr>
          <p:cNvPr id="73" name="Rectangle 11"/>
          <p:cNvSpPr/>
          <p:nvPr/>
        </p:nvSpPr>
        <p:spPr>
          <a:xfrm>
            <a:off x="6579988" y="2354978"/>
            <a:ext cx="2149061" cy="571555"/>
          </a:xfrm>
          <a:prstGeom prst="rect">
            <a:avLst/>
          </a:prstGeom>
          <a:solidFill>
            <a:schemeClr val="accent3"/>
          </a:solidFill>
          <a:ln w="25400" cap="flat" cmpd="sng" algn="ctr">
            <a:noFill/>
            <a:prstDash val="solid"/>
          </a:ln>
          <a:effectLst/>
        </p:spPr>
        <p:txBody>
          <a:bodyPr wrap="square" lIns="91440" tIns="45720" rIns="91440" bIns="45720" rtlCol="0" anchor="ctr"/>
          <a:lstStyle/>
          <a:p>
            <a:pPr marL="0" marR="0" lvl="0" indent="0" algn="l" defTabSz="591836" rtl="0" eaLnBrk="1" fontAlgn="auto" latinLnBrk="0" hangingPunct="1">
              <a:lnSpc>
                <a:spcPct val="110000"/>
              </a:lnSpc>
              <a:spcBef>
                <a:spcPts val="100"/>
              </a:spcBef>
              <a:spcAft>
                <a:spcPts val="0"/>
              </a:spcAft>
              <a:buClrTx/>
              <a:buSzTx/>
              <a:buFontTx/>
              <a:buNone/>
              <a:tabLst/>
              <a:defRPr/>
            </a:pPr>
            <a:r>
              <a:rPr lang="en-US" sz="1100" kern="0" dirty="0">
                <a:solidFill>
                  <a:prstClr val="white"/>
                </a:solidFill>
                <a:latin typeface="Segoe UI"/>
              </a:rPr>
              <a:t>Integrated supply chain</a:t>
            </a:r>
            <a:endParaRPr kumimoji="0" lang="en-US" sz="1100" b="0" i="1" u="none" strike="noStrike" kern="0" cap="none" spc="0" normalizeH="0" baseline="0" noProof="0" dirty="0">
              <a:ln>
                <a:noFill/>
              </a:ln>
              <a:solidFill>
                <a:prstClr val="white"/>
              </a:solidFill>
              <a:effectLst/>
              <a:uLnTx/>
              <a:uFillTx/>
              <a:latin typeface="Segoe UI"/>
              <a:ea typeface="+mn-ea"/>
              <a:cs typeface="+mn-cs"/>
            </a:endParaRPr>
          </a:p>
        </p:txBody>
      </p:sp>
      <p:cxnSp>
        <p:nvCxnSpPr>
          <p:cNvPr id="30" name="Straight Connector 30">
            <a:extLst>
              <a:ext uri="{FF2B5EF4-FFF2-40B4-BE49-F238E27FC236}">
                <a16:creationId xmlns:a16="http://schemas.microsoft.com/office/drawing/2014/main" id="{F51E888A-6CE5-4F14-9B8C-8F0A90874A21}"/>
              </a:ext>
            </a:extLst>
          </p:cNvPr>
          <p:cNvCxnSpPr>
            <a:cxnSpLocks/>
            <a:stCxn id="25" idx="3"/>
            <a:endCxn id="32" idx="1"/>
          </p:cNvCxnSpPr>
          <p:nvPr/>
        </p:nvCxnSpPr>
        <p:spPr>
          <a:xfrm>
            <a:off x="2452056" y="4286102"/>
            <a:ext cx="989657" cy="317865"/>
          </a:xfrm>
          <a:prstGeom prst="line">
            <a:avLst/>
          </a:prstGeom>
          <a:noFill/>
          <a:ln w="9525" cap="flat" cmpd="sng" algn="ctr">
            <a:solidFill>
              <a:schemeClr val="bg1">
                <a:lumMod val="65000"/>
              </a:schemeClr>
            </a:solidFill>
            <a:prstDash val="solid"/>
            <a:headEnd type="oval" w="sm" len="sm"/>
            <a:tailEnd type="oval" w="sm" len="sm"/>
          </a:ln>
          <a:effectLst/>
        </p:spPr>
      </p:cxnSp>
      <p:cxnSp>
        <p:nvCxnSpPr>
          <p:cNvPr id="33" name="Straight Connector 30">
            <a:extLst>
              <a:ext uri="{FF2B5EF4-FFF2-40B4-BE49-F238E27FC236}">
                <a16:creationId xmlns:a16="http://schemas.microsoft.com/office/drawing/2014/main" id="{EAD3D2CE-312D-46C7-9752-4A7646E8CDA1}"/>
              </a:ext>
            </a:extLst>
          </p:cNvPr>
          <p:cNvCxnSpPr>
            <a:cxnSpLocks/>
            <a:stCxn id="24" idx="3"/>
            <a:endCxn id="29" idx="1"/>
          </p:cNvCxnSpPr>
          <p:nvPr/>
        </p:nvCxnSpPr>
        <p:spPr>
          <a:xfrm>
            <a:off x="2452056" y="3395386"/>
            <a:ext cx="989657" cy="126692"/>
          </a:xfrm>
          <a:prstGeom prst="line">
            <a:avLst/>
          </a:prstGeom>
          <a:noFill/>
          <a:ln w="9525" cap="flat" cmpd="sng" algn="ctr">
            <a:solidFill>
              <a:schemeClr val="bg1">
                <a:lumMod val="65000"/>
              </a:schemeClr>
            </a:solidFill>
            <a:prstDash val="solid"/>
            <a:headEnd type="oval" w="sm" len="sm"/>
            <a:tailEnd type="oval" w="sm" len="sm"/>
          </a:ln>
          <a:effectLst/>
        </p:spPr>
      </p:cxnSp>
      <p:cxnSp>
        <p:nvCxnSpPr>
          <p:cNvPr id="35" name="Straight Connector 30">
            <a:extLst>
              <a:ext uri="{FF2B5EF4-FFF2-40B4-BE49-F238E27FC236}">
                <a16:creationId xmlns:a16="http://schemas.microsoft.com/office/drawing/2014/main" id="{04AE4ACA-0E1F-45EC-85E6-39933A48C119}"/>
              </a:ext>
            </a:extLst>
          </p:cNvPr>
          <p:cNvCxnSpPr>
            <a:cxnSpLocks/>
            <a:stCxn id="25" idx="3"/>
            <a:endCxn id="29" idx="1"/>
          </p:cNvCxnSpPr>
          <p:nvPr/>
        </p:nvCxnSpPr>
        <p:spPr>
          <a:xfrm flipV="1">
            <a:off x="2452056" y="3522078"/>
            <a:ext cx="989657" cy="764024"/>
          </a:xfrm>
          <a:prstGeom prst="line">
            <a:avLst/>
          </a:prstGeom>
          <a:noFill/>
          <a:ln w="9525" cap="flat" cmpd="sng" algn="ctr">
            <a:solidFill>
              <a:schemeClr val="bg1">
                <a:lumMod val="65000"/>
              </a:schemeClr>
            </a:solidFill>
            <a:prstDash val="solid"/>
            <a:headEnd type="oval" w="sm" len="sm"/>
            <a:tailEnd type="oval" w="sm" len="sm"/>
          </a:ln>
          <a:effectLst/>
        </p:spPr>
      </p:cxnSp>
      <p:cxnSp>
        <p:nvCxnSpPr>
          <p:cNvPr id="38" name="Straight Connector 30">
            <a:extLst>
              <a:ext uri="{FF2B5EF4-FFF2-40B4-BE49-F238E27FC236}">
                <a16:creationId xmlns:a16="http://schemas.microsoft.com/office/drawing/2014/main" id="{5FBA4BFF-FD89-4D8F-967E-91BAE34D7143}"/>
              </a:ext>
            </a:extLst>
          </p:cNvPr>
          <p:cNvCxnSpPr>
            <a:cxnSpLocks/>
            <a:stCxn id="28" idx="3"/>
            <a:endCxn id="73" idx="1"/>
          </p:cNvCxnSpPr>
          <p:nvPr/>
        </p:nvCxnSpPr>
        <p:spPr>
          <a:xfrm>
            <a:off x="5590553" y="2513607"/>
            <a:ext cx="989435" cy="127149"/>
          </a:xfrm>
          <a:prstGeom prst="line">
            <a:avLst/>
          </a:prstGeom>
          <a:noFill/>
          <a:ln w="9525" cap="flat" cmpd="sng" algn="ctr">
            <a:solidFill>
              <a:schemeClr val="bg1">
                <a:lumMod val="65000"/>
              </a:schemeClr>
            </a:solidFill>
            <a:prstDash val="solid"/>
            <a:headEnd type="oval" w="sm" len="sm"/>
            <a:tailEnd type="oval" w="sm" len="sm"/>
          </a:ln>
          <a:effectLst/>
        </p:spPr>
      </p:cxnSp>
      <p:cxnSp>
        <p:nvCxnSpPr>
          <p:cNvPr id="41" name="Straight Connector 30">
            <a:extLst>
              <a:ext uri="{FF2B5EF4-FFF2-40B4-BE49-F238E27FC236}">
                <a16:creationId xmlns:a16="http://schemas.microsoft.com/office/drawing/2014/main" id="{FD972E35-46B4-404D-B4D9-D7169FFE3C81}"/>
              </a:ext>
            </a:extLst>
          </p:cNvPr>
          <p:cNvCxnSpPr>
            <a:cxnSpLocks/>
            <a:stCxn id="29" idx="3"/>
            <a:endCxn id="73" idx="1"/>
          </p:cNvCxnSpPr>
          <p:nvPr/>
        </p:nvCxnSpPr>
        <p:spPr>
          <a:xfrm flipV="1">
            <a:off x="5590553" y="2640756"/>
            <a:ext cx="989435" cy="881322"/>
          </a:xfrm>
          <a:prstGeom prst="line">
            <a:avLst/>
          </a:prstGeom>
          <a:noFill/>
          <a:ln w="9525" cap="flat" cmpd="sng" algn="ctr">
            <a:solidFill>
              <a:schemeClr val="bg1">
                <a:lumMod val="65000"/>
              </a:schemeClr>
            </a:solidFill>
            <a:prstDash val="solid"/>
            <a:headEnd type="oval" w="sm" len="sm"/>
            <a:tailEnd type="oval" w="sm" len="sm"/>
          </a:ln>
          <a:effectLst/>
        </p:spPr>
      </p:cxnSp>
      <p:cxnSp>
        <p:nvCxnSpPr>
          <p:cNvPr id="44" name="Straight Connector 30">
            <a:extLst>
              <a:ext uri="{FF2B5EF4-FFF2-40B4-BE49-F238E27FC236}">
                <a16:creationId xmlns:a16="http://schemas.microsoft.com/office/drawing/2014/main" id="{EB018D69-8279-4BD7-AFD1-8CE470E55409}"/>
              </a:ext>
            </a:extLst>
          </p:cNvPr>
          <p:cNvCxnSpPr>
            <a:cxnSpLocks/>
            <a:stCxn id="32" idx="3"/>
            <a:endCxn id="73" idx="1"/>
          </p:cNvCxnSpPr>
          <p:nvPr/>
        </p:nvCxnSpPr>
        <p:spPr>
          <a:xfrm flipV="1">
            <a:off x="5590553" y="2640756"/>
            <a:ext cx="989435" cy="1963211"/>
          </a:xfrm>
          <a:prstGeom prst="line">
            <a:avLst/>
          </a:prstGeom>
          <a:noFill/>
          <a:ln w="9525" cap="flat" cmpd="sng" algn="ctr">
            <a:solidFill>
              <a:schemeClr val="bg1">
                <a:lumMod val="65000"/>
              </a:schemeClr>
            </a:solidFill>
            <a:prstDash val="solid"/>
            <a:headEnd type="oval" w="sm" len="sm"/>
            <a:tailEnd type="oval" w="sm" len="sm"/>
          </a:ln>
          <a:effectLst/>
        </p:spPr>
      </p:cxnSp>
      <p:cxnSp>
        <p:nvCxnSpPr>
          <p:cNvPr id="47" name="Straight Connector 30">
            <a:extLst>
              <a:ext uri="{FF2B5EF4-FFF2-40B4-BE49-F238E27FC236}">
                <a16:creationId xmlns:a16="http://schemas.microsoft.com/office/drawing/2014/main" id="{BB458167-B1EB-467B-B0E1-31F80B20114A}"/>
              </a:ext>
            </a:extLst>
          </p:cNvPr>
          <p:cNvCxnSpPr>
            <a:cxnSpLocks/>
            <a:stCxn id="73" idx="3"/>
            <a:endCxn id="13" idx="1"/>
          </p:cNvCxnSpPr>
          <p:nvPr/>
        </p:nvCxnSpPr>
        <p:spPr>
          <a:xfrm flipV="1">
            <a:off x="8729049" y="2571202"/>
            <a:ext cx="1003041" cy="69554"/>
          </a:xfrm>
          <a:prstGeom prst="line">
            <a:avLst/>
          </a:prstGeom>
          <a:noFill/>
          <a:ln w="9525" cap="flat" cmpd="sng" algn="ctr">
            <a:solidFill>
              <a:schemeClr val="bg1">
                <a:lumMod val="65000"/>
              </a:schemeClr>
            </a:solidFill>
            <a:prstDash val="solid"/>
            <a:headEnd type="oval" w="sm" len="sm"/>
            <a:tailEnd type="oval" w="sm" len="sm"/>
          </a:ln>
          <a:effectLst/>
        </p:spPr>
      </p:cxnSp>
      <p:cxnSp>
        <p:nvCxnSpPr>
          <p:cNvPr id="50" name="Straight Connector 30">
            <a:extLst>
              <a:ext uri="{FF2B5EF4-FFF2-40B4-BE49-F238E27FC236}">
                <a16:creationId xmlns:a16="http://schemas.microsoft.com/office/drawing/2014/main" id="{630752A7-24CA-4F99-9E01-CA7E602A4E29}"/>
              </a:ext>
            </a:extLst>
          </p:cNvPr>
          <p:cNvCxnSpPr>
            <a:cxnSpLocks/>
            <a:stCxn id="73" idx="3"/>
            <a:endCxn id="14" idx="1"/>
          </p:cNvCxnSpPr>
          <p:nvPr/>
        </p:nvCxnSpPr>
        <p:spPr>
          <a:xfrm>
            <a:off x="8729049" y="2640756"/>
            <a:ext cx="1003041" cy="659371"/>
          </a:xfrm>
          <a:prstGeom prst="line">
            <a:avLst/>
          </a:prstGeom>
          <a:noFill/>
          <a:ln w="9525" cap="flat" cmpd="sng" algn="ctr">
            <a:solidFill>
              <a:schemeClr val="bg1">
                <a:lumMod val="65000"/>
              </a:schemeClr>
            </a:solidFill>
            <a:prstDash val="solid"/>
            <a:headEnd type="oval" w="sm" len="sm"/>
            <a:tailEnd type="oval" w="sm" len="sm"/>
          </a:ln>
          <a:effectLst/>
        </p:spPr>
      </p:cxnSp>
      <p:cxnSp>
        <p:nvCxnSpPr>
          <p:cNvPr id="55" name="Straight Connector 30">
            <a:extLst>
              <a:ext uri="{FF2B5EF4-FFF2-40B4-BE49-F238E27FC236}">
                <a16:creationId xmlns:a16="http://schemas.microsoft.com/office/drawing/2014/main" id="{F9367A63-0425-481D-B70F-58F2886F127C}"/>
              </a:ext>
            </a:extLst>
          </p:cNvPr>
          <p:cNvCxnSpPr>
            <a:cxnSpLocks/>
            <a:stCxn id="73" idx="3"/>
            <a:endCxn id="15" idx="1"/>
          </p:cNvCxnSpPr>
          <p:nvPr/>
        </p:nvCxnSpPr>
        <p:spPr>
          <a:xfrm>
            <a:off x="8729049" y="2640756"/>
            <a:ext cx="1003041" cy="2117221"/>
          </a:xfrm>
          <a:prstGeom prst="line">
            <a:avLst/>
          </a:prstGeom>
          <a:noFill/>
          <a:ln w="9525" cap="flat" cmpd="sng" algn="ctr">
            <a:solidFill>
              <a:schemeClr val="bg1">
                <a:lumMod val="65000"/>
              </a:schemeClr>
            </a:solidFill>
            <a:prstDash val="solid"/>
            <a:headEnd type="oval" w="sm" len="sm"/>
            <a:tailEnd type="oval" w="sm" len="sm"/>
          </a:ln>
          <a:effectLst/>
        </p:spPr>
      </p:cxnSp>
      <p:cxnSp>
        <p:nvCxnSpPr>
          <p:cNvPr id="59" name="Straight Connector 30">
            <a:extLst>
              <a:ext uri="{FF2B5EF4-FFF2-40B4-BE49-F238E27FC236}">
                <a16:creationId xmlns:a16="http://schemas.microsoft.com/office/drawing/2014/main" id="{182140E7-80F8-4910-98B3-5C264B3F28AF}"/>
              </a:ext>
            </a:extLst>
          </p:cNvPr>
          <p:cNvCxnSpPr>
            <a:cxnSpLocks/>
            <a:stCxn id="73" idx="3"/>
            <a:endCxn id="11" idx="1"/>
          </p:cNvCxnSpPr>
          <p:nvPr/>
        </p:nvCxnSpPr>
        <p:spPr>
          <a:xfrm>
            <a:off x="8729049" y="2640756"/>
            <a:ext cx="1003041" cy="1388296"/>
          </a:xfrm>
          <a:prstGeom prst="line">
            <a:avLst/>
          </a:prstGeom>
          <a:noFill/>
          <a:ln w="9525" cap="flat" cmpd="sng" algn="ctr">
            <a:solidFill>
              <a:schemeClr val="bg1">
                <a:lumMod val="65000"/>
              </a:schemeClr>
            </a:solidFill>
            <a:prstDash val="solid"/>
            <a:headEnd type="oval" w="sm" len="sm"/>
            <a:tailEnd type="oval" w="sm" len="sm"/>
          </a:ln>
          <a:effectLst/>
        </p:spPr>
      </p:cxnSp>
    </p:spTree>
    <p:extLst>
      <p:ext uri="{BB962C8B-B14F-4D97-AF65-F5344CB8AC3E}">
        <p14:creationId xmlns:p14="http://schemas.microsoft.com/office/powerpoint/2010/main" val="30976591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Integrated Supply chain</a:t>
            </a:r>
          </a:p>
        </p:txBody>
      </p:sp>
      <p:grpSp>
        <p:nvGrpSpPr>
          <p:cNvPr id="55" name="Group 54"/>
          <p:cNvGrpSpPr/>
          <p:nvPr/>
        </p:nvGrpSpPr>
        <p:grpSpPr>
          <a:xfrm>
            <a:off x="6208630" y="312999"/>
            <a:ext cx="367510" cy="477248"/>
            <a:chOff x="4929633" y="5106124"/>
            <a:chExt cx="493807" cy="641257"/>
          </a:xfrm>
          <a:solidFill>
            <a:schemeClr val="bg1"/>
          </a:solidFill>
        </p:grpSpPr>
        <p:sp>
          <p:nvSpPr>
            <p:cNvPr id="56" name="Oval 122"/>
            <p:cNvSpPr>
              <a:spLocks noChangeArrowheads="1"/>
            </p:cNvSpPr>
            <p:nvPr/>
          </p:nvSpPr>
          <p:spPr bwMode="auto">
            <a:xfrm>
              <a:off x="4938084" y="5106124"/>
              <a:ext cx="476911" cy="906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1800" kern="0">
                <a:solidFill>
                  <a:srgbClr val="FFFFFF"/>
                </a:solidFill>
              </a:endParaRPr>
            </a:p>
          </p:txBody>
        </p:sp>
        <p:sp>
          <p:nvSpPr>
            <p:cNvPr id="57" name="Freeform 123"/>
            <p:cNvSpPr>
              <a:spLocks noEditPoints="1"/>
            </p:cNvSpPr>
            <p:nvPr/>
          </p:nvSpPr>
          <p:spPr bwMode="auto">
            <a:xfrm>
              <a:off x="4929633" y="5169098"/>
              <a:ext cx="493807" cy="57828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1800" kern="0">
                <a:solidFill>
                  <a:srgbClr val="FFFFFF"/>
                </a:solidFill>
              </a:endParaRPr>
            </a:p>
          </p:txBody>
        </p:sp>
      </p:grpSp>
      <p:sp>
        <p:nvSpPr>
          <p:cNvPr id="181" name="Rectangle 180"/>
          <p:cNvSpPr/>
          <p:nvPr>
            <p:custDataLst>
              <p:tags r:id="rId1"/>
            </p:custDataLst>
          </p:nvPr>
        </p:nvSpPr>
        <p:spPr>
          <a:xfrm>
            <a:off x="5724525" y="4090988"/>
            <a:ext cx="6161088" cy="2386887"/>
          </a:xfrm>
          <a:prstGeom prst="rect">
            <a:avLst/>
          </a:prstGeom>
          <a:solidFill>
            <a:schemeClr val="bg1">
              <a:lumMod val="95000"/>
            </a:schemeClr>
          </a:solidFill>
          <a:ln w="6350">
            <a:solidFill>
              <a:schemeClr val="bg1">
                <a:lumMod val="95000"/>
              </a:schemeClr>
            </a:solidFill>
            <a:prstDash val="solid"/>
          </a:ln>
        </p:spPr>
        <p:txBody>
          <a:bodyPr wrap="square" lIns="72000" tIns="36000" rIns="72000" bIns="36000">
            <a:noAutofit/>
          </a:bodyPr>
          <a:lstStyle/>
          <a:p>
            <a:pPr defTabSz="1096730">
              <a:defRPr/>
            </a:pPr>
            <a:r>
              <a:rPr lang="en-IN" sz="1600" kern="0" dirty="0">
                <a:ln>
                  <a:solidFill>
                    <a:srgbClr val="FFFFFF">
                      <a:alpha val="0"/>
                    </a:srgbClr>
                  </a:solidFill>
                </a:ln>
              </a:rPr>
              <a:t>We are always looking to…</a:t>
            </a:r>
          </a:p>
          <a:p>
            <a:pPr marL="342900" indent="-214313" defTabSz="1096730">
              <a:spcAft>
                <a:spcPts val="300"/>
              </a:spcAft>
              <a:buFont typeface="Arial" panose="020B0604020202020204" pitchFamily="34" charset="0"/>
              <a:buChar char="•"/>
              <a:defRPr/>
            </a:pPr>
            <a:r>
              <a:rPr lang="en-IN" sz="1400" kern="0" dirty="0"/>
              <a:t>Empower our manufacturers and suppliers to plan better, adapt to changes, and make cost-effective decisions</a:t>
            </a:r>
          </a:p>
          <a:p>
            <a:pPr marL="342900" indent="-214313" defTabSz="1096730">
              <a:spcAft>
                <a:spcPts val="300"/>
              </a:spcAft>
              <a:buFont typeface="Arial" panose="020B0604020202020204" pitchFamily="34" charset="0"/>
              <a:buChar char="•"/>
              <a:defRPr/>
            </a:pPr>
            <a:r>
              <a:rPr lang="en-IN" sz="1400" kern="0" dirty="0"/>
              <a:t>Reduce quality defects and waste</a:t>
            </a:r>
          </a:p>
          <a:p>
            <a:pPr marL="342900" indent="-214313" defTabSz="1096730">
              <a:spcAft>
                <a:spcPts val="300"/>
              </a:spcAft>
              <a:buFont typeface="Arial" panose="020B0604020202020204" pitchFamily="34" charset="0"/>
              <a:buChar char="•"/>
              <a:defRPr/>
            </a:pPr>
            <a:r>
              <a:rPr lang="en-IN" sz="1400" kern="0" dirty="0"/>
              <a:t>Avoid emergency shipments and overtime work cost</a:t>
            </a:r>
          </a:p>
          <a:p>
            <a:pPr marL="342900" indent="-214313" defTabSz="1096730">
              <a:spcAft>
                <a:spcPts val="300"/>
              </a:spcAft>
              <a:buFont typeface="Arial" panose="020B0604020202020204" pitchFamily="34" charset="0"/>
              <a:buChar char="•"/>
              <a:defRPr/>
            </a:pPr>
            <a:r>
              <a:rPr lang="en-IN" sz="1400" kern="0" dirty="0"/>
              <a:t>Continuously streamline and improve operations and efficiency</a:t>
            </a:r>
          </a:p>
        </p:txBody>
      </p:sp>
      <p:pic>
        <p:nvPicPr>
          <p:cNvPr id="182" name="Picture 181"/>
          <p:cNvPicPr>
            <a:picLocks noChangeAspect="1"/>
          </p:cNvPicPr>
          <p:nvPr/>
        </p:nvPicPr>
        <p:blipFill rotWithShape="1">
          <a:blip r:embed="rId4">
            <a:extLst/>
          </a:blip>
          <a:srcRect l="-205" r="5981"/>
          <a:stretch/>
        </p:blipFill>
        <p:spPr>
          <a:xfrm>
            <a:off x="7645400" y="2114938"/>
            <a:ext cx="1587499" cy="946551"/>
          </a:xfrm>
          <a:prstGeom prst="rect">
            <a:avLst/>
          </a:prstGeom>
        </p:spPr>
      </p:pic>
      <p:sp>
        <p:nvSpPr>
          <p:cNvPr id="183" name="Rectangle 182"/>
          <p:cNvSpPr/>
          <p:nvPr/>
        </p:nvSpPr>
        <p:spPr>
          <a:xfrm>
            <a:off x="303213" y="1173098"/>
            <a:ext cx="11582400" cy="33855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IN" dirty="0">
                <a:solidFill>
                  <a:schemeClr val="tx1"/>
                </a:solidFill>
                <a:latin typeface="+mj-lt"/>
                <a:cs typeface="Segoe UI Semibold" panose="020B0702040204020203" pitchFamily="34" charset="0"/>
              </a:rPr>
              <a:t>Enable supply chain visibility, intelligent manufacturing, and cost-effective production support</a:t>
            </a:r>
          </a:p>
        </p:txBody>
      </p:sp>
      <p:sp>
        <p:nvSpPr>
          <p:cNvPr id="184" name="Rectangle 183"/>
          <p:cNvSpPr/>
          <p:nvPr/>
        </p:nvSpPr>
        <p:spPr>
          <a:xfrm>
            <a:off x="5724525" y="1600200"/>
            <a:ext cx="6161088" cy="514738"/>
          </a:xfrm>
          <a:prstGeom prst="rect">
            <a:avLst/>
          </a:prstGeom>
          <a:solidFill>
            <a:schemeClr val="bg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spAutoFit/>
          </a:bodyPr>
          <a:lstStyle/>
          <a:p>
            <a:pPr algn="ctr">
              <a:spcBef>
                <a:spcPts val="1800"/>
              </a:spcBef>
            </a:pPr>
            <a:r>
              <a:rPr lang="en-US" sz="2400" dirty="0">
                <a:solidFill>
                  <a:schemeClr val="bg1"/>
                </a:solidFill>
                <a:latin typeface="+mj-lt"/>
                <a:cs typeface="Segoe UI Semibold" panose="020B0702040204020203" pitchFamily="34" charset="0"/>
              </a:rPr>
              <a:t>Global Chief Supply Chain Officer</a:t>
            </a:r>
          </a:p>
        </p:txBody>
      </p:sp>
      <p:sp>
        <p:nvSpPr>
          <p:cNvPr id="185" name="Rectangle 184"/>
          <p:cNvSpPr/>
          <p:nvPr/>
        </p:nvSpPr>
        <p:spPr>
          <a:xfrm>
            <a:off x="303213" y="1600200"/>
            <a:ext cx="5334000" cy="2290665"/>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1800"/>
              </a:spcBef>
            </a:pPr>
            <a:r>
              <a:rPr lang="en-US" sz="2400" dirty="0">
                <a:solidFill>
                  <a:schemeClr val="bg2"/>
                </a:solidFill>
                <a:latin typeface="+mj-lt"/>
                <a:cs typeface="Segoe UI Semibold" panose="020B0702040204020203" pitchFamily="34" charset="0"/>
              </a:rPr>
              <a:t>Current State</a:t>
            </a:r>
            <a:endParaRPr lang="en-US" sz="2400" dirty="0">
              <a:solidFill>
                <a:schemeClr val="bg2"/>
              </a:solidFill>
              <a:latin typeface="+mj-lt"/>
            </a:endParaRPr>
          </a:p>
          <a:p>
            <a:pPr>
              <a:spcBef>
                <a:spcPts val="600"/>
              </a:spcBef>
            </a:pPr>
            <a:r>
              <a:rPr lang="en-US" sz="1400" dirty="0">
                <a:solidFill>
                  <a:schemeClr val="tx1"/>
                </a:solidFill>
              </a:rPr>
              <a:t>We struggle with lack of visibility into our pipeline of components from global sources, supplier costs, and distribution.</a:t>
            </a:r>
          </a:p>
          <a:p>
            <a:pPr>
              <a:spcBef>
                <a:spcPts val="600"/>
              </a:spcBef>
            </a:pPr>
            <a:r>
              <a:rPr lang="en-US" sz="1400" dirty="0">
                <a:solidFill>
                  <a:schemeClr val="tx1"/>
                </a:solidFill>
              </a:rPr>
              <a:t>We face challenges collaborating with our extended ecosystem. </a:t>
            </a:r>
          </a:p>
          <a:p>
            <a:pPr>
              <a:spcBef>
                <a:spcPts val="600"/>
              </a:spcBef>
            </a:pPr>
            <a:r>
              <a:rPr lang="en-US" sz="1400" dirty="0">
                <a:solidFill>
                  <a:schemeClr val="tx1"/>
                </a:solidFill>
              </a:rPr>
              <a:t>We need closer integration and collaboration in order to assess and plan for actual and predicted customer demand. </a:t>
            </a:r>
          </a:p>
          <a:p>
            <a:pPr>
              <a:spcBef>
                <a:spcPts val="600"/>
              </a:spcBef>
            </a:pPr>
            <a:r>
              <a:rPr lang="en-US" sz="1400" dirty="0">
                <a:solidFill>
                  <a:schemeClr val="tx1"/>
                </a:solidFill>
              </a:rPr>
              <a:t>Our current level of resources cannot fully support global operational efficiency.</a:t>
            </a:r>
          </a:p>
          <a:p>
            <a:pPr>
              <a:spcBef>
                <a:spcPts val="600"/>
              </a:spcBef>
            </a:pPr>
            <a:endParaRPr lang="en-IN" sz="1400" dirty="0">
              <a:solidFill>
                <a:schemeClr val="tx1"/>
              </a:solidFill>
            </a:endParaRPr>
          </a:p>
        </p:txBody>
      </p:sp>
      <p:sp>
        <p:nvSpPr>
          <p:cNvPr id="186" name="Rectangle 185"/>
          <p:cNvSpPr/>
          <p:nvPr/>
        </p:nvSpPr>
        <p:spPr>
          <a:xfrm>
            <a:off x="303213" y="3975716"/>
            <a:ext cx="5334000" cy="2502159"/>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spcBef>
                <a:spcPts val="1200"/>
              </a:spcBef>
            </a:pPr>
            <a:r>
              <a:rPr lang="en-US" sz="2400" dirty="0">
                <a:solidFill>
                  <a:schemeClr val="bg2"/>
                </a:solidFill>
                <a:latin typeface="+mj-lt"/>
                <a:cs typeface="Segoe UI Semibold" panose="020B0702040204020203" pitchFamily="34" charset="0"/>
              </a:rPr>
              <a:t>Desired Future State</a:t>
            </a:r>
          </a:p>
          <a:p>
            <a:pPr lvl="0">
              <a:spcBef>
                <a:spcPts val="600"/>
              </a:spcBef>
            </a:pPr>
            <a:r>
              <a:rPr lang="en-US" sz="1400" dirty="0">
                <a:solidFill>
                  <a:schemeClr val="tx1"/>
                </a:solidFill>
              </a:rPr>
              <a:t>We have greater visibility across our network, and we are able to mitigate risk and reduce costs.</a:t>
            </a:r>
          </a:p>
          <a:p>
            <a:pPr lvl="0">
              <a:spcBef>
                <a:spcPts val="600"/>
              </a:spcBef>
            </a:pPr>
            <a:r>
              <a:rPr lang="en-US" sz="1400" dirty="0">
                <a:solidFill>
                  <a:schemeClr val="tx1"/>
                </a:solidFill>
              </a:rPr>
              <a:t>Our integrated supply chain helps us share information, make decisions collaboratively and manage in real time. </a:t>
            </a:r>
          </a:p>
          <a:p>
            <a:pPr lvl="0">
              <a:spcBef>
                <a:spcPts val="600"/>
              </a:spcBef>
            </a:pPr>
            <a:r>
              <a:rPr lang="en-US" sz="1400" dirty="0">
                <a:solidFill>
                  <a:schemeClr val="tx1"/>
                </a:solidFill>
              </a:rPr>
              <a:t>We use advanced analytics, data insights, and simulation and modeling tools to evaluate our increasingly complex and dynamic supply chain, and to act on insights.</a:t>
            </a:r>
          </a:p>
        </p:txBody>
      </p:sp>
      <p:pic>
        <p:nvPicPr>
          <p:cNvPr id="187" name="Picture 186"/>
          <p:cNvPicPr>
            <a:picLocks noChangeAspect="1"/>
          </p:cNvPicPr>
          <p:nvPr/>
        </p:nvPicPr>
        <p:blipFill rotWithShape="1">
          <a:blip r:embed="rId5" cstate="email">
            <a:extLst>
              <a:ext uri="{28A0092B-C50C-407E-A947-70E740481C1C}">
                <a14:useLocalDpi xmlns:a14="http://schemas.microsoft.com/office/drawing/2010/main" val="0"/>
              </a:ext>
            </a:extLst>
          </a:blip>
          <a:srcRect l="10825" r="34512"/>
          <a:stretch/>
        </p:blipFill>
        <p:spPr>
          <a:xfrm>
            <a:off x="5724525" y="2114938"/>
            <a:ext cx="1924051" cy="1976049"/>
          </a:xfrm>
          <a:prstGeom prst="rect">
            <a:avLst/>
          </a:prstGeom>
          <a:noFill/>
          <a:ln>
            <a:noFill/>
          </a:ln>
        </p:spPr>
      </p:pic>
      <p:grpSp>
        <p:nvGrpSpPr>
          <p:cNvPr id="188" name="Group 187"/>
          <p:cNvGrpSpPr/>
          <p:nvPr/>
        </p:nvGrpSpPr>
        <p:grpSpPr>
          <a:xfrm>
            <a:off x="7645399" y="3035300"/>
            <a:ext cx="1590077" cy="1055687"/>
            <a:chOff x="8093075" y="2943515"/>
            <a:chExt cx="1762595" cy="1170225"/>
          </a:xfrm>
        </p:grpSpPr>
        <p:pic>
          <p:nvPicPr>
            <p:cNvPr id="189" name="Picture 18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201390" y="3065704"/>
              <a:ext cx="1545965" cy="925846"/>
            </a:xfrm>
            <a:prstGeom prst="rect">
              <a:avLst/>
            </a:prstGeom>
            <a:noFill/>
            <a:ln>
              <a:noFill/>
            </a:ln>
          </p:spPr>
        </p:pic>
        <p:pic>
          <p:nvPicPr>
            <p:cNvPr id="190" name="tablet" descr="\\sfp\Work\White_Whale\1-30017_CorinnaCalhoun\art\tablet cutout.png"/>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8093075" y="2943515"/>
              <a:ext cx="1762595" cy="1170225"/>
            </a:xfrm>
            <a:prstGeom prst="rect">
              <a:avLst/>
            </a:prstGeom>
            <a:noFill/>
            <a:ln>
              <a:noFill/>
            </a:ln>
            <a:extLst>
              <a:ext uri="{909E8E84-426E-40DD-AFC4-6F175D3DCCD1}">
                <a14:hiddenFill xmlns:a14="http://schemas.microsoft.com/office/drawing/2010/main">
                  <a:solidFill>
                    <a:srgbClr val="FFFFFF"/>
                  </a:solidFill>
                </a14:hiddenFill>
              </a:ext>
            </a:extLst>
          </p:spPr>
        </p:pic>
      </p:grpSp>
      <p:pic>
        <p:nvPicPr>
          <p:cNvPr id="191" name="Picture 190"/>
          <p:cNvPicPr>
            <a:picLocks noChangeAspect="1"/>
          </p:cNvPicPr>
          <p:nvPr/>
        </p:nvPicPr>
        <p:blipFill rotWithShape="1">
          <a:blip r:embed="rId8" cstate="email">
            <a:extLst>
              <a:ext uri="{28A0092B-C50C-407E-A947-70E740481C1C}">
                <a14:useLocalDpi xmlns:a14="http://schemas.microsoft.com/office/drawing/2010/main" val="0"/>
              </a:ext>
            </a:extLst>
          </a:blip>
          <a:srcRect l="20026" r="4301"/>
          <a:stretch/>
        </p:blipFill>
        <p:spPr>
          <a:xfrm>
            <a:off x="9232900" y="2114939"/>
            <a:ext cx="2652713" cy="1976048"/>
          </a:xfrm>
          <a:prstGeom prst="rect">
            <a:avLst/>
          </a:prstGeom>
          <a:noFill/>
          <a:ln>
            <a:noFill/>
          </a:ln>
        </p:spPr>
      </p:pic>
      <p:sp>
        <p:nvSpPr>
          <p:cNvPr id="4" name="Slide Number Placeholder 3"/>
          <p:cNvSpPr>
            <a:spLocks noGrp="1"/>
          </p:cNvSpPr>
          <p:nvPr>
            <p:ph type="sldNum" sz="quarter" idx="14"/>
          </p:nvPr>
        </p:nvSpPr>
        <p:spPr/>
        <p:txBody>
          <a:bodyPr/>
          <a:lstStyle/>
          <a:p>
            <a:fld id="{FAADACFB-7C71-4E89-89D2-7BBA40B7BFA9}" type="slidenum">
              <a:rPr lang="en-US" smtClean="0"/>
              <a:pPr/>
              <a:t>38</a:t>
            </a:fld>
            <a:endParaRPr lang="en-US"/>
          </a:p>
        </p:txBody>
      </p:sp>
      <p:sp>
        <p:nvSpPr>
          <p:cNvPr id="19" name="Text Placeholder 6"/>
          <p:cNvSpPr txBox="1">
            <a:spLocks/>
          </p:cNvSpPr>
          <p:nvPr/>
        </p:nvSpPr>
        <p:spPr>
          <a:xfrm>
            <a:off x="8389559" y="142996"/>
            <a:ext cx="3361765" cy="373063"/>
          </a:xfrm>
          <a:prstGeom prst="rect">
            <a:avLst/>
          </a:prstGeom>
        </p:spPr>
        <p:txBody>
          <a:bodyPr vert="horz" lIns="320040" tIns="53325" rIns="53325" bIns="53325" rtlCol="0">
            <a:noAutofit/>
          </a:bodyPr>
          <a:lstStyle>
            <a:lvl1pPr marL="0" indent="0" algn="l" defTabSz="1088105" rtl="0" eaLnBrk="1" latinLnBrk="0" hangingPunct="1">
              <a:spcBef>
                <a:spcPts val="1800"/>
              </a:spcBef>
              <a:buClr>
                <a:srgbClr val="0072C6"/>
              </a:buClr>
              <a:buSzPct val="100000"/>
              <a:buFont typeface="Wingdings" pitchFamily="2" charset="2"/>
              <a:buNone/>
              <a:defRPr sz="2800" kern="1200">
                <a:solidFill>
                  <a:schemeClr val="tx1"/>
                </a:solidFill>
                <a:latin typeface="Segoe UI Light" pitchFamily="34" charset="0"/>
                <a:ea typeface="Segoe UI" pitchFamily="34" charset="0"/>
                <a:cs typeface="Segoe UI" pitchFamily="34" charset="0"/>
              </a:defRPr>
            </a:lvl1pPr>
            <a:lvl2pPr marL="281674" indent="0" algn="l" defTabSz="1088105" rtl="0" eaLnBrk="1" latinLnBrk="0" hangingPunct="1">
              <a:spcBef>
                <a:spcPct val="20000"/>
              </a:spcBef>
              <a:buFont typeface="Arial" pitchFamily="34" charset="0"/>
              <a:buNone/>
              <a:defRPr sz="1800" kern="1200">
                <a:solidFill>
                  <a:schemeClr val="tx1"/>
                </a:solidFill>
                <a:latin typeface="Segoe UI" pitchFamily="34" charset="0"/>
                <a:ea typeface="Segoe UI" pitchFamily="34" charset="0"/>
                <a:cs typeface="Segoe UI" pitchFamily="34" charset="0"/>
              </a:defRPr>
            </a:lvl2pPr>
            <a:lvl3pPr marL="588476" indent="0" algn="l" defTabSz="1088105" rtl="0" eaLnBrk="1" latinLnBrk="0" hangingPunct="1">
              <a:spcBef>
                <a:spcPct val="20000"/>
              </a:spcBef>
              <a:buFont typeface="Arial" pitchFamily="34" charset="0"/>
              <a:buNone/>
              <a:defRPr sz="1600" kern="1200">
                <a:solidFill>
                  <a:schemeClr val="tx1"/>
                </a:solidFill>
                <a:latin typeface="Segoe UI" pitchFamily="34" charset="0"/>
                <a:ea typeface="Segoe UI" pitchFamily="34" charset="0"/>
                <a:cs typeface="Segoe UI" pitchFamily="34" charset="0"/>
              </a:defRPr>
            </a:lvl3pPr>
            <a:lvl4pPr marL="87015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4pPr>
            <a:lvl5pPr marL="110554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r>
              <a:rPr lang="en-US"/>
              <a:t>Scenario Narrative</a:t>
            </a:r>
          </a:p>
        </p:txBody>
      </p:sp>
    </p:spTree>
    <p:extLst>
      <p:ext uri="{BB962C8B-B14F-4D97-AF65-F5344CB8AC3E}">
        <p14:creationId xmlns:p14="http://schemas.microsoft.com/office/powerpoint/2010/main" val="20413124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Integrated Supply Chain</a:t>
            </a:r>
          </a:p>
        </p:txBody>
      </p:sp>
      <p:sp>
        <p:nvSpPr>
          <p:cNvPr id="3" name="Slide Number Placeholder 2"/>
          <p:cNvSpPr>
            <a:spLocks noGrp="1"/>
          </p:cNvSpPr>
          <p:nvPr>
            <p:ph type="sldNum" sz="quarter" idx="14"/>
          </p:nvPr>
        </p:nvSpPr>
        <p:spPr/>
        <p:txBody>
          <a:bodyPr/>
          <a:lstStyle/>
          <a:p>
            <a:pPr marL="0" marR="0" lvl="0" indent="0" algn="r" defTabSz="1088105"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1088105" rtl="0" eaLnBrk="1" fontAlgn="auto" latinLnBrk="0" hangingPunct="1">
                <a:lnSpc>
                  <a:spcPct val="100000"/>
                </a:lnSpc>
                <a:spcBef>
                  <a:spcPts val="0"/>
                </a:spcBef>
                <a:spcAft>
                  <a:spcPts val="0"/>
                </a:spcAft>
                <a:buClrTx/>
                <a:buSzTx/>
                <a:buFontTx/>
                <a:buNone/>
                <a:tabLst/>
                <a:defRPr/>
              </a:pPr>
              <a:t>39</a:t>
            </a:fld>
            <a:endParaRPr kumimoji="0" lang="en-US" sz="800" b="0" i="0" u="none" strike="noStrike" kern="1200" cap="none" spc="0" normalizeH="0" baseline="0" noProof="0">
              <a:ln>
                <a:noFill/>
              </a:ln>
              <a:solidFill>
                <a:srgbClr val="505050"/>
              </a:solidFill>
              <a:effectLst/>
              <a:uLnTx/>
              <a:uFillTx/>
              <a:latin typeface="Segoe UI" pitchFamily="34" charset="0"/>
              <a:cs typeface="Segoe UI" pitchFamily="34" charset="0"/>
            </a:endParaRPr>
          </a:p>
        </p:txBody>
      </p:sp>
      <p:sp>
        <p:nvSpPr>
          <p:cNvPr id="5" name="Text Box 4"/>
          <p:cNvSpPr txBox="1">
            <a:spLocks noChangeArrowheads="1"/>
          </p:cNvSpPr>
          <p:nvPr/>
        </p:nvSpPr>
        <p:spPr bwMode="gray">
          <a:xfrm>
            <a:off x="3392421" y="1380055"/>
            <a:ext cx="5397016" cy="2994140"/>
          </a:xfrm>
          <a:prstGeom prst="rect">
            <a:avLst/>
          </a:prstGeom>
          <a:solidFill>
            <a:schemeClr val="bg1">
              <a:lumMod val="95000"/>
            </a:schemeClr>
          </a:solidFill>
          <a:ln w="3175" cap="flat" cmpd="sng" algn="ctr">
            <a:solidFill>
              <a:schemeClr val="bg1">
                <a:lumMod val="75000"/>
              </a:schemeClr>
            </a:solid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685645" rtl="0" eaLnBrk="1" fontAlgn="auto" latinLnBrk="0" hangingPunct="1">
              <a:lnSpc>
                <a:spcPct val="100000"/>
              </a:lnSpc>
              <a:spcBef>
                <a:spcPts val="0"/>
              </a:spcBef>
              <a:spcAft>
                <a:spcPts val="0"/>
              </a:spcAft>
              <a:buClrTx/>
              <a:buSzTx/>
              <a:buFontTx/>
              <a:buNone/>
              <a:tabLst/>
              <a:defRPr/>
            </a:pPr>
            <a:r>
              <a:rPr lang="en-IN" sz="1400" kern="0" dirty="0">
                <a:ln>
                  <a:noFill/>
                </a:ln>
                <a:solidFill>
                  <a:srgbClr val="505050"/>
                </a:solidFill>
                <a:latin typeface="Segoe UI Semibold" panose="020B0702040204020203" pitchFamily="34" charset="0"/>
                <a:cs typeface="Segoe UI Semibold" panose="020B0702040204020203" pitchFamily="34" charset="0"/>
              </a:rPr>
              <a:t>Collaboration across the value chain</a:t>
            </a:r>
            <a:endParaRPr kumimoji="0" lang="en-IN" sz="140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p:txBody>
      </p:sp>
      <p:sp>
        <p:nvSpPr>
          <p:cNvPr id="6" name="Text Box 4"/>
          <p:cNvSpPr txBox="1">
            <a:spLocks noChangeArrowheads="1"/>
          </p:cNvSpPr>
          <p:nvPr/>
        </p:nvSpPr>
        <p:spPr bwMode="gray">
          <a:xfrm>
            <a:off x="303212" y="1417793"/>
            <a:ext cx="2858806" cy="2994140"/>
          </a:xfrm>
          <a:prstGeom prst="rect">
            <a:avLst/>
          </a:prstGeom>
          <a:solidFill>
            <a:schemeClr val="bg1"/>
          </a:solidFill>
          <a:ln w="3175" cap="flat" cmpd="sng" algn="ctr">
            <a:solidFill>
              <a:schemeClr val="bg1">
                <a:lumMod val="75000"/>
              </a:schemeClr>
            </a:solid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685645" rtl="0" eaLnBrk="1" fontAlgn="auto" latinLnBrk="0" hangingPunct="1">
              <a:lnSpc>
                <a:spcPct val="100000"/>
              </a:lnSpc>
              <a:spcBef>
                <a:spcPts val="0"/>
              </a:spcBef>
              <a:spcAft>
                <a:spcPts val="0"/>
              </a:spcAft>
              <a:buClrTx/>
              <a:buSzTx/>
              <a:buFontTx/>
              <a:buNone/>
              <a:tabLst/>
              <a:defRPr/>
            </a:pPr>
            <a:r>
              <a:rPr kumimoji="0" lang="en-IN" sz="140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Manufacturing in the value chain</a:t>
            </a:r>
          </a:p>
        </p:txBody>
      </p:sp>
      <p:sp>
        <p:nvSpPr>
          <p:cNvPr id="7" name="Text Box 4"/>
          <p:cNvSpPr txBox="1">
            <a:spLocks noChangeArrowheads="1"/>
          </p:cNvSpPr>
          <p:nvPr/>
        </p:nvSpPr>
        <p:spPr bwMode="gray">
          <a:xfrm>
            <a:off x="9023540" y="1417793"/>
            <a:ext cx="2862072" cy="2994140"/>
          </a:xfrm>
          <a:prstGeom prst="rect">
            <a:avLst/>
          </a:prstGeom>
          <a:solidFill>
            <a:schemeClr val="bg1"/>
          </a:solidFill>
          <a:ln w="3175" cap="flat" cmpd="sng" algn="ctr">
            <a:solidFill>
              <a:schemeClr val="bg1">
                <a:lumMod val="75000"/>
              </a:schemeClr>
            </a:solid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685645" rtl="0" eaLnBrk="1" fontAlgn="auto" latinLnBrk="0" hangingPunct="1">
              <a:lnSpc>
                <a:spcPct val="100000"/>
              </a:lnSpc>
              <a:spcBef>
                <a:spcPts val="0"/>
              </a:spcBef>
              <a:spcAft>
                <a:spcPts val="0"/>
              </a:spcAft>
              <a:buClrTx/>
              <a:buSzTx/>
              <a:buFontTx/>
              <a:buNone/>
              <a:tabLst/>
              <a:defRPr/>
            </a:pPr>
            <a:r>
              <a:rPr kumimoji="0" lang="en-IN" sz="140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Reduce costs, risk and waste; improve quality</a:t>
            </a:r>
          </a:p>
        </p:txBody>
      </p:sp>
      <p:sp>
        <p:nvSpPr>
          <p:cNvPr id="8" name="Rectangle 7"/>
          <p:cNvSpPr/>
          <p:nvPr/>
        </p:nvSpPr>
        <p:spPr>
          <a:xfrm>
            <a:off x="303212" y="996285"/>
            <a:ext cx="11582400" cy="276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lvl="0" algn="ctr">
              <a:defRPr/>
            </a:pPr>
            <a:r>
              <a:rPr lang="en-US" sz="1200" dirty="0">
                <a:solidFill>
                  <a:prstClr val="white"/>
                </a:solidFill>
                <a:cs typeface="Segoe UI Semibold" panose="020B0702040204020203" pitchFamily="34" charset="0"/>
              </a:rPr>
              <a:t> Integrated supply chain helps companies collaborate internally and externally to foster value-driven networks</a:t>
            </a:r>
            <a:endParaRPr kumimoji="0" lang="en-IN" sz="1200" b="0" i="0" u="none" strike="noStrike" kern="1200" cap="none" spc="0" normalizeH="0" baseline="0" noProof="0" dirty="0">
              <a:ln>
                <a:noFill/>
              </a:ln>
              <a:solidFill>
                <a:prstClr val="white"/>
              </a:solidFill>
              <a:effectLst/>
              <a:uLnTx/>
              <a:uFillTx/>
              <a:latin typeface="Segoe UI"/>
              <a:ea typeface="+mn-ea"/>
              <a:cs typeface="Segoe UI Semibold" panose="020B0702040204020203" pitchFamily="34" charset="0"/>
            </a:endParaRPr>
          </a:p>
        </p:txBody>
      </p:sp>
      <p:sp>
        <p:nvSpPr>
          <p:cNvPr id="9" name="Isosceles Triangle 8"/>
          <p:cNvSpPr/>
          <p:nvPr/>
        </p:nvSpPr>
        <p:spPr>
          <a:xfrm rot="5400000">
            <a:off x="3078217" y="2820081"/>
            <a:ext cx="396749" cy="156227"/>
          </a:xfrm>
          <a:prstGeom prst="triangle">
            <a:avLst/>
          </a:prstGeom>
          <a:solidFill>
            <a:srgbClr val="5E83BD"/>
          </a:solidFill>
        </p:spPr>
        <p:txBody>
          <a:bodyPr vert="horz" lIns="137160" tIns="91440" rIns="91440" bIns="91440" rtlCol="0" anchor="t" anchorCtr="0">
            <a:noAutofit/>
          </a:bodyPr>
          <a:lstStyle/>
          <a:p>
            <a:pPr marL="0" marR="0" lvl="0" indent="0" algn="ctr" defTabSz="914241" rtl="0" eaLnBrk="1" fontAlgn="auto" latinLnBrk="0" hangingPunct="1">
              <a:lnSpc>
                <a:spcPct val="100000"/>
              </a:lnSpc>
              <a:spcBef>
                <a:spcPts val="0"/>
              </a:spcBef>
              <a:spcAft>
                <a:spcPts val="0"/>
              </a:spcAft>
              <a:buClrTx/>
              <a:buSzTx/>
              <a:buFontTx/>
              <a:buNone/>
              <a:tabLst/>
              <a:defRPr/>
            </a:pPr>
            <a:endParaRPr kumimoji="0" lang="en-US" sz="900" b="0" i="0" u="none" strike="noStrike" kern="800" cap="none" spc="0" normalizeH="0" baseline="0" noProof="0">
              <a:ln>
                <a:noFill/>
              </a:ln>
              <a:solidFill>
                <a:srgbClr val="FFFFFF"/>
              </a:solidFill>
              <a:effectLst/>
              <a:uLnTx/>
              <a:uFillTx/>
              <a:latin typeface="Segoe UI"/>
              <a:ea typeface="+mn-ea"/>
              <a:cs typeface="Segoe UI Light"/>
            </a:endParaRPr>
          </a:p>
        </p:txBody>
      </p:sp>
      <p:sp>
        <p:nvSpPr>
          <p:cNvPr id="11" name="Isosceles Triangle 10"/>
          <p:cNvSpPr/>
          <p:nvPr/>
        </p:nvSpPr>
        <p:spPr>
          <a:xfrm rot="5400000">
            <a:off x="8707486" y="2820081"/>
            <a:ext cx="396749" cy="156227"/>
          </a:xfrm>
          <a:prstGeom prst="triangle">
            <a:avLst/>
          </a:prstGeom>
          <a:solidFill>
            <a:srgbClr val="5E83BD"/>
          </a:solidFill>
        </p:spPr>
        <p:txBody>
          <a:bodyPr vert="horz" lIns="137160" tIns="91440" rIns="91440" bIns="91440" rtlCol="0" anchor="t" anchorCtr="0">
            <a:noAutofit/>
          </a:bodyPr>
          <a:lstStyle/>
          <a:p>
            <a:pPr marL="0" marR="0" lvl="0" indent="0" algn="ctr" defTabSz="914241" rtl="0" eaLnBrk="1" fontAlgn="auto" latinLnBrk="0" hangingPunct="1">
              <a:lnSpc>
                <a:spcPct val="100000"/>
              </a:lnSpc>
              <a:spcBef>
                <a:spcPts val="0"/>
              </a:spcBef>
              <a:spcAft>
                <a:spcPts val="0"/>
              </a:spcAft>
              <a:buClrTx/>
              <a:buSzTx/>
              <a:buFontTx/>
              <a:buNone/>
              <a:tabLst/>
              <a:defRPr/>
            </a:pPr>
            <a:endParaRPr kumimoji="0" lang="en-US" sz="900" b="0" i="0" u="none" strike="noStrike" kern="800" cap="none" spc="0" normalizeH="0" baseline="0" noProof="0">
              <a:ln>
                <a:noFill/>
              </a:ln>
              <a:solidFill>
                <a:srgbClr val="505050"/>
              </a:solidFill>
              <a:effectLst/>
              <a:uLnTx/>
              <a:uFillTx/>
              <a:latin typeface="Segoe UI"/>
              <a:ea typeface="+mn-ea"/>
              <a:cs typeface="Segoe UI Light"/>
            </a:endParaRPr>
          </a:p>
        </p:txBody>
      </p:sp>
      <p:grpSp>
        <p:nvGrpSpPr>
          <p:cNvPr id="12" name="Group 11"/>
          <p:cNvGrpSpPr/>
          <p:nvPr/>
        </p:nvGrpSpPr>
        <p:grpSpPr>
          <a:xfrm>
            <a:off x="303212" y="4762175"/>
            <a:ext cx="11582400" cy="1717539"/>
            <a:chOff x="303212" y="4677426"/>
            <a:chExt cx="11243879" cy="1843336"/>
          </a:xfrm>
        </p:grpSpPr>
        <p:grpSp>
          <p:nvGrpSpPr>
            <p:cNvPr id="13" name="Group 12"/>
            <p:cNvGrpSpPr/>
            <p:nvPr/>
          </p:nvGrpSpPr>
          <p:grpSpPr>
            <a:xfrm>
              <a:off x="303212" y="4677426"/>
              <a:ext cx="2858806" cy="1840423"/>
              <a:chOff x="303212" y="4677426"/>
              <a:chExt cx="2858806" cy="1840423"/>
            </a:xfrm>
          </p:grpSpPr>
          <p:sp>
            <p:nvSpPr>
              <p:cNvPr id="23" name="Text Box 4"/>
              <p:cNvSpPr txBox="1">
                <a:spLocks noChangeArrowheads="1"/>
              </p:cNvSpPr>
              <p:nvPr/>
            </p:nvSpPr>
            <p:spPr bwMode="gray">
              <a:xfrm>
                <a:off x="303212" y="4951747"/>
                <a:ext cx="2858806" cy="1566102"/>
              </a:xfrm>
              <a:prstGeom prst="rect">
                <a:avLst/>
              </a:prstGeom>
              <a:solidFill>
                <a:schemeClr val="bg1">
                  <a:lumMod val="95000"/>
                </a:schemeClr>
              </a:solidFill>
              <a:ln w="3175" cap="flat" cmpd="sng" algn="ctr">
                <a:no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37160" lvl="0" indent="-137160">
                  <a:spcBef>
                    <a:spcPts val="100"/>
                  </a:spcBef>
                  <a:spcAft>
                    <a:spcPts val="100"/>
                  </a:spcAft>
                  <a:buFont typeface="Arial" panose="020B0604020202020204" pitchFamily="34" charset="0"/>
                  <a:buChar char="•"/>
                  <a:defRPr/>
                </a:pPr>
                <a:r>
                  <a:rPr kumimoji="0" lang="en-IN" sz="1050" b="0" i="0" u="none" strike="noStrike" kern="0" cap="none" spc="0" normalizeH="0" baseline="0" noProof="0" dirty="0">
                    <a:ln>
                      <a:noFill/>
                    </a:ln>
                    <a:solidFill>
                      <a:srgbClr val="505050"/>
                    </a:solidFill>
                    <a:effectLst/>
                    <a:uLnTx/>
                    <a:uFillTx/>
                    <a:latin typeface="Segoe UI"/>
                    <a:ea typeface="+mn-ea"/>
                    <a:cs typeface="+mn-cs"/>
                  </a:rPr>
                  <a:t>Reduce waste</a:t>
                </a:r>
                <a:endParaRPr lang="en-US" sz="1050" kern="0" dirty="0">
                  <a:solidFill>
                    <a:srgbClr val="505050"/>
                  </a:solidFill>
                </a:endParaRPr>
              </a:p>
              <a:p>
                <a:pPr marL="137160" lvl="0" indent="-137160">
                  <a:spcBef>
                    <a:spcPts val="100"/>
                  </a:spcBef>
                  <a:spcAft>
                    <a:spcPts val="100"/>
                  </a:spcAft>
                  <a:buFont typeface="Arial" panose="020B0604020202020204" pitchFamily="34" charset="0"/>
                  <a:buChar char="•"/>
                  <a:defRPr/>
                </a:pPr>
                <a:r>
                  <a:rPr kumimoji="0" lang="en-IN" sz="1050" b="0" i="0" u="none" strike="noStrike" kern="0" cap="none" spc="0" normalizeH="0" baseline="0" noProof="0" dirty="0">
                    <a:ln>
                      <a:noFill/>
                    </a:ln>
                    <a:solidFill>
                      <a:srgbClr val="505050"/>
                    </a:solidFill>
                    <a:effectLst/>
                    <a:uLnTx/>
                    <a:uFillTx/>
                    <a:latin typeface="Segoe UI"/>
                    <a:ea typeface="+mn-ea"/>
                    <a:cs typeface="+mn-cs"/>
                  </a:rPr>
                  <a:t>Reduce maintenance costs</a:t>
                </a:r>
              </a:p>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IN" sz="1050" b="0" i="0" u="none" strike="noStrike" kern="0" cap="none" spc="0" normalizeH="0" baseline="0" noProof="0" dirty="0">
                    <a:ln>
                      <a:noFill/>
                    </a:ln>
                    <a:solidFill>
                      <a:srgbClr val="505050"/>
                    </a:solidFill>
                    <a:effectLst/>
                    <a:uLnTx/>
                    <a:uFillTx/>
                    <a:latin typeface="Segoe UI"/>
                    <a:ea typeface="+mn-ea"/>
                    <a:cs typeface="+mn-cs"/>
                  </a:rPr>
                  <a:t>Improve flow of information</a:t>
                </a:r>
              </a:p>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IN" sz="1050" b="0" i="0" u="none" strike="noStrike" kern="0" cap="none" spc="0" normalizeH="0" baseline="0" noProof="0" dirty="0">
                    <a:ln>
                      <a:noFill/>
                    </a:ln>
                    <a:solidFill>
                      <a:srgbClr val="505050"/>
                    </a:solidFill>
                    <a:effectLst/>
                    <a:uLnTx/>
                    <a:uFillTx/>
                    <a:latin typeface="Segoe UI"/>
                    <a:ea typeface="+mn-ea"/>
                    <a:cs typeface="+mn-cs"/>
                  </a:rPr>
                  <a:t>Improve employee satisfaction</a:t>
                </a:r>
              </a:p>
              <a:p>
                <a:pPr marL="137160" lvl="0" indent="-137160">
                  <a:spcBef>
                    <a:spcPts val="100"/>
                  </a:spcBef>
                  <a:spcAft>
                    <a:spcPts val="100"/>
                  </a:spcAft>
                  <a:buFont typeface="Arial" panose="020B0604020202020204" pitchFamily="34" charset="0"/>
                  <a:buChar char="•"/>
                  <a:defRPr/>
                </a:pPr>
                <a:r>
                  <a:rPr lang="en-US" sz="1050" kern="0" dirty="0">
                    <a:ln>
                      <a:noFill/>
                    </a:ln>
                    <a:solidFill>
                      <a:srgbClr val="505050"/>
                    </a:solidFill>
                  </a:rPr>
                  <a:t>Reduce market risks</a:t>
                </a:r>
              </a:p>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endParaRPr kumimoji="0" lang="en-IN" sz="1050" b="0" i="0" u="none" strike="noStrike" kern="0" cap="none" spc="0" normalizeH="0" baseline="0" noProof="0" dirty="0">
                  <a:ln>
                    <a:noFill/>
                  </a:ln>
                  <a:solidFill>
                    <a:srgbClr val="505050"/>
                  </a:solidFill>
                  <a:effectLst/>
                  <a:uLnTx/>
                  <a:uFillTx/>
                  <a:latin typeface="Segoe UI"/>
                  <a:ea typeface="+mn-ea"/>
                  <a:cs typeface="+mn-cs"/>
                </a:endParaRPr>
              </a:p>
            </p:txBody>
          </p:sp>
          <p:sp>
            <p:nvSpPr>
              <p:cNvPr id="24" name="Rectangle 23"/>
              <p:cNvSpPr/>
              <p:nvPr/>
            </p:nvSpPr>
            <p:spPr>
              <a:xfrm>
                <a:off x="303212" y="4677426"/>
                <a:ext cx="2858806" cy="274320"/>
              </a:xfrm>
              <a:prstGeom prst="rect">
                <a:avLst/>
              </a:prstGeom>
              <a:solidFill>
                <a:schemeClr val="bg2"/>
              </a:solidFill>
              <a:ln w="3175" cap="flat" cmpd="sng" algn="ctr">
                <a:noFill/>
                <a:prstDash val="solid"/>
              </a:ln>
              <a:effectLst/>
            </p:spPr>
            <p:txBody>
              <a:bodyPr wrap="square" lIns="91440" tIns="45720" rIns="91440" bIns="45720" rtlCol="0" anchor="ctr">
                <a:noAutofit/>
              </a:bodyPr>
              <a:lstStyle/>
              <a:p>
                <a:pPr marL="0" marR="0" lvl="1" indent="0" algn="ctr" defTabSz="1218106" rtl="0" eaLnBrk="1" fontAlgn="base" latinLnBrk="0" hangingPunct="1">
                  <a:lnSpc>
                    <a:spcPct val="100000"/>
                  </a:lnSpc>
                  <a:spcBef>
                    <a:spcPts val="0"/>
                  </a:spcBef>
                  <a:spcAft>
                    <a:spcPts val="0"/>
                  </a:spcAft>
                  <a:buClr>
                    <a:srgbClr val="FFFF99"/>
                  </a:buClr>
                  <a:buSzPct val="90000"/>
                  <a:buFontTx/>
                  <a:buNone/>
                  <a:tabLst/>
                  <a:defRPr/>
                </a:pPr>
                <a:r>
                  <a:rPr kumimoji="0" lang="en-US" sz="1200" b="0" i="0" u="none" strike="noStrike" kern="0" cap="none" spc="0" normalizeH="0" baseline="0" noProof="0">
                    <a:ln>
                      <a:noFill/>
                    </a:ln>
                    <a:solidFill>
                      <a:srgbClr val="FFFFFF"/>
                    </a:solidFill>
                    <a:effectLst/>
                    <a:uLnTx/>
                    <a:uFillTx/>
                    <a:latin typeface="Segoe UI Semibold" panose="020B0702040204020203" pitchFamily="34" charset="0"/>
                    <a:ea typeface="Segoe UI" pitchFamily="34" charset="0"/>
                    <a:cs typeface="Segoe UI" pitchFamily="34" charset="0"/>
                  </a:rPr>
                  <a:t>Benefits</a:t>
                </a:r>
              </a:p>
            </p:txBody>
          </p:sp>
        </p:grpSp>
        <p:grpSp>
          <p:nvGrpSpPr>
            <p:cNvPr id="14" name="Group 13"/>
            <p:cNvGrpSpPr/>
            <p:nvPr/>
          </p:nvGrpSpPr>
          <p:grpSpPr>
            <a:xfrm>
              <a:off x="3221455" y="4677426"/>
              <a:ext cx="2678716" cy="1843336"/>
              <a:chOff x="3391166" y="4677426"/>
              <a:chExt cx="2678716" cy="1843336"/>
            </a:xfrm>
          </p:grpSpPr>
          <p:sp>
            <p:nvSpPr>
              <p:cNvPr id="21" name="Text Box 4"/>
              <p:cNvSpPr txBox="1">
                <a:spLocks noChangeArrowheads="1"/>
              </p:cNvSpPr>
              <p:nvPr/>
            </p:nvSpPr>
            <p:spPr bwMode="gray">
              <a:xfrm>
                <a:off x="3391166" y="4951747"/>
                <a:ext cx="2678716" cy="1569015"/>
              </a:xfrm>
              <a:prstGeom prst="rect">
                <a:avLst/>
              </a:prstGeom>
              <a:solidFill>
                <a:schemeClr val="bg1">
                  <a:lumMod val="95000"/>
                </a:schemeClr>
              </a:solidFill>
              <a:ln w="3175" cap="flat" cmpd="sng" algn="ctr">
                <a:no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37160" lvl="0" indent="-137160">
                  <a:spcBef>
                    <a:spcPts val="100"/>
                  </a:spcBef>
                  <a:spcAft>
                    <a:spcPts val="100"/>
                  </a:spcAft>
                  <a:buFont typeface="Arial" panose="020B0604020202020204" pitchFamily="34" charset="0"/>
                  <a:buChar char="•"/>
                  <a:defRPr/>
                </a:pPr>
                <a:r>
                  <a:rPr lang="en-US" sz="1050" kern="0" dirty="0">
                    <a:ln>
                      <a:noFill/>
                    </a:ln>
                    <a:solidFill>
                      <a:srgbClr val="505050"/>
                    </a:solidFill>
                  </a:rPr>
                  <a:t>Collaborating internally and externally to foster value driven networks</a:t>
                </a:r>
              </a:p>
              <a:p>
                <a:pPr marL="137160" lvl="0" indent="-137160">
                  <a:spcBef>
                    <a:spcPts val="100"/>
                  </a:spcBef>
                  <a:spcAft>
                    <a:spcPts val="100"/>
                  </a:spcAft>
                  <a:buFont typeface="Arial" panose="020B0604020202020204" pitchFamily="34" charset="0"/>
                  <a:buChar char="•"/>
                  <a:defRPr/>
                </a:pPr>
                <a:r>
                  <a:rPr lang="en-US" sz="1050" kern="0" dirty="0">
                    <a:ln>
                      <a:noFill/>
                    </a:ln>
                    <a:solidFill>
                      <a:srgbClr val="505050"/>
                    </a:solidFill>
                  </a:rPr>
                  <a:t>Quickly responding to changing customer and market demands</a:t>
                </a:r>
              </a:p>
              <a:p>
                <a:pPr marL="137160" lvl="0" indent="-137160">
                  <a:spcBef>
                    <a:spcPts val="100"/>
                  </a:spcBef>
                  <a:spcAft>
                    <a:spcPts val="100"/>
                  </a:spcAft>
                  <a:buFont typeface="Arial" panose="020B0604020202020204" pitchFamily="34" charset="0"/>
                  <a:buChar char="•"/>
                  <a:defRPr/>
                </a:pPr>
                <a:r>
                  <a:rPr lang="en-US" sz="1050" kern="0" dirty="0">
                    <a:ln>
                      <a:noFill/>
                    </a:ln>
                    <a:solidFill>
                      <a:srgbClr val="505050"/>
                    </a:solidFill>
                  </a:rPr>
                  <a:t>Efficiently developing and manufacturing products</a:t>
                </a:r>
                <a:endParaRPr kumimoji="0" lang="en-US" sz="1050" b="0" i="0" u="none" strike="noStrike" kern="0" cap="none" spc="0" normalizeH="0" baseline="0" noProof="0" dirty="0">
                  <a:ln>
                    <a:noFill/>
                  </a:ln>
                  <a:solidFill>
                    <a:srgbClr val="505050"/>
                  </a:solidFill>
                  <a:effectLst/>
                  <a:uLnTx/>
                  <a:uFillTx/>
                  <a:latin typeface="Segoe UI"/>
                  <a:ea typeface="+mn-ea"/>
                  <a:cs typeface="+mn-cs"/>
                </a:endParaRPr>
              </a:p>
            </p:txBody>
          </p:sp>
          <p:sp>
            <p:nvSpPr>
              <p:cNvPr id="22" name="Rectangle 21"/>
              <p:cNvSpPr/>
              <p:nvPr/>
            </p:nvSpPr>
            <p:spPr>
              <a:xfrm>
                <a:off x="3391166" y="4677426"/>
                <a:ext cx="2678716" cy="274320"/>
              </a:xfrm>
              <a:prstGeom prst="rect">
                <a:avLst/>
              </a:prstGeom>
              <a:solidFill>
                <a:schemeClr val="tx2"/>
              </a:solidFill>
              <a:ln w="3175" cap="flat" cmpd="sng" algn="ctr">
                <a:noFill/>
                <a:prstDash val="solid"/>
              </a:ln>
              <a:effectLst/>
            </p:spPr>
            <p:txBody>
              <a:bodyPr wrap="square" lIns="91440" tIns="45720" rIns="91440" bIns="45720" rtlCol="0" anchor="ctr">
                <a:noAutofit/>
              </a:bodyPr>
              <a:lstStyle/>
              <a:p>
                <a:pPr marL="0" marR="0" lvl="1" indent="0" algn="ctr" defTabSz="1218106" rtl="0" eaLnBrk="1" fontAlgn="base" latinLnBrk="0" hangingPunct="1">
                  <a:lnSpc>
                    <a:spcPct val="100000"/>
                  </a:lnSpc>
                  <a:spcBef>
                    <a:spcPts val="200"/>
                  </a:spcBef>
                  <a:spcAft>
                    <a:spcPts val="0"/>
                  </a:spcAft>
                  <a:buClr>
                    <a:srgbClr val="FFFF99"/>
                  </a:buClr>
                  <a:buSzPct val="90000"/>
                  <a:buFontTx/>
                  <a:buNone/>
                  <a:tabLst/>
                  <a:defRPr/>
                </a:pPr>
                <a:r>
                  <a:rPr kumimoji="0" lang="en-US" sz="1200" b="0" i="0" u="none" strike="noStrike" kern="0" cap="none" spc="0" normalizeH="0" baseline="0" noProof="0">
                    <a:ln>
                      <a:noFill/>
                    </a:ln>
                    <a:solidFill>
                      <a:srgbClr val="FFFFFF"/>
                    </a:solidFill>
                    <a:effectLst/>
                    <a:uLnTx/>
                    <a:uFillTx/>
                    <a:latin typeface="Segoe UI Semibold" panose="020B0702040204020203" pitchFamily="34" charset="0"/>
                    <a:ea typeface="Segoe UI" pitchFamily="34" charset="0"/>
                    <a:cs typeface="Segoe UI" pitchFamily="34" charset="0"/>
                  </a:rPr>
                  <a:t>Start </a:t>
                </a:r>
              </a:p>
            </p:txBody>
          </p:sp>
        </p:grpSp>
        <p:grpSp>
          <p:nvGrpSpPr>
            <p:cNvPr id="15" name="Group 14"/>
            <p:cNvGrpSpPr/>
            <p:nvPr/>
          </p:nvGrpSpPr>
          <p:grpSpPr>
            <a:xfrm>
              <a:off x="5959608" y="4677426"/>
              <a:ext cx="2669241" cy="1843336"/>
              <a:chOff x="6118941" y="4677426"/>
              <a:chExt cx="2669241" cy="1843336"/>
            </a:xfrm>
          </p:grpSpPr>
          <p:sp>
            <p:nvSpPr>
              <p:cNvPr id="19" name="Text Box 4"/>
              <p:cNvSpPr txBox="1">
                <a:spLocks noChangeArrowheads="1"/>
              </p:cNvSpPr>
              <p:nvPr/>
            </p:nvSpPr>
            <p:spPr bwMode="gray">
              <a:xfrm>
                <a:off x="6118941" y="4951747"/>
                <a:ext cx="2669241" cy="1569015"/>
              </a:xfrm>
              <a:prstGeom prst="rect">
                <a:avLst/>
              </a:prstGeom>
              <a:solidFill>
                <a:schemeClr val="bg1">
                  <a:lumMod val="95000"/>
                </a:schemeClr>
              </a:solidFill>
              <a:ln w="3175" cap="flat" cmpd="sng" algn="ctr">
                <a:no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IN" sz="1050" b="0" i="0" u="none" strike="noStrike" kern="0" cap="none" spc="0" normalizeH="0" baseline="0" noProof="0" dirty="0">
                    <a:ln>
                      <a:noFill/>
                    </a:ln>
                    <a:solidFill>
                      <a:srgbClr val="505050"/>
                    </a:solidFill>
                    <a:effectLst/>
                    <a:uLnTx/>
                    <a:uFillTx/>
                    <a:latin typeface="Segoe UI"/>
                    <a:ea typeface="+mn-ea"/>
                    <a:cs typeface="+mn-cs"/>
                  </a:rPr>
                  <a:t>Planning and operating in silos</a:t>
                </a:r>
              </a:p>
              <a:p>
                <a:pPr marL="137160" lvl="0" indent="-137160">
                  <a:spcBef>
                    <a:spcPts val="100"/>
                  </a:spcBef>
                  <a:spcAft>
                    <a:spcPts val="100"/>
                  </a:spcAft>
                  <a:buFont typeface="Arial" panose="020B0604020202020204" pitchFamily="34" charset="0"/>
                  <a:buChar char="•"/>
                  <a:defRPr/>
                </a:pPr>
                <a:r>
                  <a:rPr lang="en-US" sz="1050" kern="0" dirty="0">
                    <a:ln>
                      <a:noFill/>
                    </a:ln>
                    <a:solidFill>
                      <a:srgbClr val="505050"/>
                    </a:solidFill>
                  </a:rPr>
                  <a:t>Using only latent metrics</a:t>
                </a:r>
              </a:p>
              <a:p>
                <a:pPr marL="137160" lvl="0" indent="-137160">
                  <a:spcBef>
                    <a:spcPts val="100"/>
                  </a:spcBef>
                  <a:spcAft>
                    <a:spcPts val="100"/>
                  </a:spcAft>
                  <a:buFont typeface="Arial" panose="020B0604020202020204" pitchFamily="34" charset="0"/>
                  <a:buChar char="•"/>
                  <a:defRPr/>
                </a:pPr>
                <a:r>
                  <a:rPr lang="en-US" sz="1050" kern="0" dirty="0">
                    <a:ln>
                      <a:noFill/>
                    </a:ln>
                    <a:solidFill>
                      <a:srgbClr val="505050"/>
                    </a:solidFill>
                  </a:rPr>
                  <a:t>Reacting slowly to sudden changes</a:t>
                </a:r>
              </a:p>
            </p:txBody>
          </p:sp>
          <p:sp>
            <p:nvSpPr>
              <p:cNvPr id="20" name="Rectangle 19"/>
              <p:cNvSpPr/>
              <p:nvPr/>
            </p:nvSpPr>
            <p:spPr>
              <a:xfrm>
                <a:off x="6118941" y="4677426"/>
                <a:ext cx="2669241" cy="274320"/>
              </a:xfrm>
              <a:prstGeom prst="rect">
                <a:avLst/>
              </a:prstGeom>
              <a:solidFill>
                <a:schemeClr val="accent1"/>
              </a:solidFill>
              <a:ln w="3175" cap="flat" cmpd="sng" algn="ctr">
                <a:noFill/>
                <a:prstDash val="solid"/>
              </a:ln>
              <a:effectLst/>
            </p:spPr>
            <p:txBody>
              <a:bodyPr wrap="square" lIns="91440" tIns="45720" rIns="91440" bIns="45720" rtlCol="0" anchor="ctr">
                <a:noAutofit/>
              </a:bodyPr>
              <a:lstStyle/>
              <a:p>
                <a:pPr marL="0" marR="0" lvl="1" indent="0" algn="ctr" defTabSz="1218106" rtl="0" eaLnBrk="1" fontAlgn="base" latinLnBrk="0" hangingPunct="1">
                  <a:lnSpc>
                    <a:spcPct val="100000"/>
                  </a:lnSpc>
                  <a:spcBef>
                    <a:spcPts val="200"/>
                  </a:spcBef>
                  <a:spcAft>
                    <a:spcPts val="0"/>
                  </a:spcAft>
                  <a:buClr>
                    <a:srgbClr val="FFFF99"/>
                  </a:buClr>
                  <a:buSzPct val="90000"/>
                  <a:buFontTx/>
                  <a:buNone/>
                  <a:tabLst/>
                  <a:defRPr/>
                </a:pPr>
                <a:r>
                  <a:rPr kumimoji="0" lang="en-US" sz="1200" b="0" i="0" u="none" strike="noStrike" kern="0" cap="none" spc="0" normalizeH="0" baseline="0" noProof="0">
                    <a:ln>
                      <a:noFill/>
                    </a:ln>
                    <a:solidFill>
                      <a:srgbClr val="FFFFFF"/>
                    </a:solidFill>
                    <a:effectLst/>
                    <a:uLnTx/>
                    <a:uFillTx/>
                    <a:latin typeface="Segoe UI Semibold" panose="020B0702040204020203" pitchFamily="34" charset="0"/>
                    <a:ea typeface="Segoe UI" pitchFamily="34" charset="0"/>
                    <a:cs typeface="Segoe UI" pitchFamily="34" charset="0"/>
                  </a:rPr>
                  <a:t>Stop</a:t>
                </a:r>
              </a:p>
            </p:txBody>
          </p:sp>
        </p:grpSp>
        <p:grpSp>
          <p:nvGrpSpPr>
            <p:cNvPr id="16" name="Group 15"/>
            <p:cNvGrpSpPr/>
            <p:nvPr/>
          </p:nvGrpSpPr>
          <p:grpSpPr>
            <a:xfrm>
              <a:off x="8688285" y="4677426"/>
              <a:ext cx="2858806" cy="1843336"/>
              <a:chOff x="9026806" y="4677426"/>
              <a:chExt cx="2858806" cy="1843336"/>
            </a:xfrm>
          </p:grpSpPr>
          <p:sp>
            <p:nvSpPr>
              <p:cNvPr id="17" name="Text Box 4"/>
              <p:cNvSpPr txBox="1">
                <a:spLocks noChangeArrowheads="1"/>
              </p:cNvSpPr>
              <p:nvPr/>
            </p:nvSpPr>
            <p:spPr bwMode="gray">
              <a:xfrm>
                <a:off x="9026806" y="4951747"/>
                <a:ext cx="2858806" cy="1569015"/>
              </a:xfrm>
              <a:prstGeom prst="rect">
                <a:avLst/>
              </a:prstGeom>
              <a:solidFill>
                <a:schemeClr val="bg1">
                  <a:lumMod val="95000"/>
                </a:schemeClr>
              </a:solidFill>
              <a:ln w="3175" cap="flat" cmpd="sng" algn="ctr">
                <a:no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37160" lvl="0" indent="-137160">
                  <a:spcBef>
                    <a:spcPts val="100"/>
                  </a:spcBef>
                  <a:spcAft>
                    <a:spcPts val="100"/>
                  </a:spcAft>
                  <a:buFont typeface="Arial" panose="020B0604020202020204" pitchFamily="34" charset="0"/>
                  <a:buChar char="•"/>
                  <a:defRPr/>
                </a:pPr>
                <a:r>
                  <a:rPr lang="en-US" sz="1050" kern="0" dirty="0">
                    <a:ln>
                      <a:noFill/>
                    </a:ln>
                    <a:solidFill>
                      <a:srgbClr val="505050"/>
                    </a:solidFill>
                  </a:rPr>
                  <a:t>Connecting people with each other and real-time information</a:t>
                </a:r>
              </a:p>
              <a:p>
                <a:pPr marL="137160" lvl="0" indent="-137160">
                  <a:spcBef>
                    <a:spcPts val="100"/>
                  </a:spcBef>
                  <a:spcAft>
                    <a:spcPts val="100"/>
                  </a:spcAft>
                  <a:buFont typeface="Arial" panose="020B0604020202020204" pitchFamily="34" charset="0"/>
                  <a:buChar char="•"/>
                  <a:defRPr/>
                </a:pPr>
                <a:r>
                  <a:rPr kumimoji="0" lang="en-IN" sz="1050" b="0" i="0" u="none" strike="noStrike" kern="0" cap="none" spc="0" normalizeH="0" baseline="0" noProof="0" dirty="0">
                    <a:ln>
                      <a:noFill/>
                    </a:ln>
                    <a:solidFill>
                      <a:srgbClr val="505050"/>
                    </a:solidFill>
                    <a:effectLst/>
                    <a:uLnTx/>
                    <a:uFillTx/>
                    <a:latin typeface="Segoe UI"/>
                    <a:ea typeface="+mn-ea"/>
                    <a:cs typeface="+mn-cs"/>
                  </a:rPr>
                  <a:t>Improving management and coordination of internal and external resources</a:t>
                </a:r>
              </a:p>
              <a:p>
                <a:pPr marL="137160" lvl="0" indent="-137160">
                  <a:spcBef>
                    <a:spcPts val="100"/>
                  </a:spcBef>
                  <a:spcAft>
                    <a:spcPts val="100"/>
                  </a:spcAft>
                  <a:buFont typeface="Arial" panose="020B0604020202020204" pitchFamily="34" charset="0"/>
                  <a:buChar char="•"/>
                  <a:defRPr/>
                </a:pPr>
                <a:r>
                  <a:rPr lang="en-IN" sz="1050" kern="0" dirty="0">
                    <a:ln>
                      <a:noFill/>
                    </a:ln>
                    <a:solidFill>
                      <a:srgbClr val="505050"/>
                    </a:solidFill>
                    <a:latin typeface="Segoe UI"/>
                  </a:rPr>
                  <a:t>Driving innovation end-to-end</a:t>
                </a:r>
                <a:endParaRPr kumimoji="0" lang="en-IN" sz="1050" b="0" i="0" u="none" strike="noStrike" kern="0" cap="none" spc="0" normalizeH="0" baseline="0" noProof="0" dirty="0">
                  <a:ln>
                    <a:noFill/>
                  </a:ln>
                  <a:solidFill>
                    <a:srgbClr val="505050"/>
                  </a:solidFill>
                  <a:effectLst/>
                  <a:uLnTx/>
                  <a:uFillTx/>
                  <a:latin typeface="Segoe UI"/>
                  <a:ea typeface="+mn-ea"/>
                  <a:cs typeface="+mn-cs"/>
                </a:endParaRPr>
              </a:p>
            </p:txBody>
          </p:sp>
          <p:sp>
            <p:nvSpPr>
              <p:cNvPr id="18" name="Rectangle 17"/>
              <p:cNvSpPr/>
              <p:nvPr/>
            </p:nvSpPr>
            <p:spPr>
              <a:xfrm>
                <a:off x="9026806" y="4677426"/>
                <a:ext cx="2858806" cy="274320"/>
              </a:xfrm>
              <a:prstGeom prst="rect">
                <a:avLst/>
              </a:prstGeom>
              <a:solidFill>
                <a:schemeClr val="accent2"/>
              </a:solidFill>
              <a:ln w="3175" cap="flat" cmpd="sng" algn="ctr">
                <a:noFill/>
                <a:prstDash val="solid"/>
              </a:ln>
              <a:effectLst/>
            </p:spPr>
            <p:txBody>
              <a:bodyPr wrap="square" lIns="91440" tIns="45720" rIns="91440" bIns="45720" rtlCol="0" anchor="ctr">
                <a:noAutofit/>
              </a:bodyPr>
              <a:lstStyle/>
              <a:p>
                <a:pPr marL="0" marR="0" lvl="1" indent="0" algn="ctr" defTabSz="1218106" rtl="0" eaLnBrk="1" fontAlgn="base" latinLnBrk="0" hangingPunct="1">
                  <a:lnSpc>
                    <a:spcPct val="100000"/>
                  </a:lnSpc>
                  <a:spcBef>
                    <a:spcPts val="200"/>
                  </a:spcBef>
                  <a:spcAft>
                    <a:spcPts val="0"/>
                  </a:spcAft>
                  <a:buClr>
                    <a:srgbClr val="FFFF99"/>
                  </a:buClr>
                  <a:buSzPct val="90000"/>
                  <a:buFontTx/>
                  <a:buNone/>
                  <a:tabLst/>
                  <a:defRPr/>
                </a:pPr>
                <a:r>
                  <a:rPr kumimoji="0" lang="en-US" sz="1200" b="0" i="0" u="none" strike="noStrike" kern="0" cap="none" spc="0" normalizeH="0" baseline="0" noProof="0">
                    <a:ln>
                      <a:noFill/>
                    </a:ln>
                    <a:solidFill>
                      <a:srgbClr val="505050"/>
                    </a:solidFill>
                    <a:effectLst/>
                    <a:uLnTx/>
                    <a:uFillTx/>
                    <a:latin typeface="Segoe UI Semibold" panose="020B0702040204020203" pitchFamily="34" charset="0"/>
                    <a:ea typeface="Segoe UI" pitchFamily="34" charset="0"/>
                    <a:cs typeface="Segoe UI" pitchFamily="34" charset="0"/>
                  </a:rPr>
                  <a:t>Continue</a:t>
                </a:r>
              </a:p>
            </p:txBody>
          </p:sp>
        </p:grpSp>
      </p:grpSp>
      <p:sp>
        <p:nvSpPr>
          <p:cNvPr id="100" name="Rectangle 99"/>
          <p:cNvSpPr/>
          <p:nvPr/>
        </p:nvSpPr>
        <p:spPr bwMode="auto">
          <a:xfrm>
            <a:off x="337785" y="2695544"/>
            <a:ext cx="766238" cy="415498"/>
          </a:xfrm>
          <a:prstGeom prst="rect">
            <a:avLst/>
          </a:prstGeom>
          <a:noFill/>
          <a:ln w="9525" cap="flat" cmpd="sng" algn="ctr">
            <a:noFill/>
            <a:prstDash val="sysDot"/>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ctr" defTabSz="60888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505050"/>
                </a:solidFill>
                <a:effectLst/>
                <a:uLnTx/>
                <a:uFillTx/>
                <a:latin typeface="Segoe UI"/>
                <a:ea typeface="+mn-ea"/>
                <a:cs typeface="+mn-cs"/>
              </a:rPr>
              <a:t>Manufacturing Management</a:t>
            </a:r>
            <a:br>
              <a:rPr kumimoji="0" lang="en-US" sz="900" b="0" i="0" u="none" strike="noStrike" kern="0" cap="none" spc="0" normalizeH="0" baseline="0" noProof="0">
                <a:ln>
                  <a:noFill/>
                </a:ln>
                <a:solidFill>
                  <a:srgbClr val="505050"/>
                </a:solidFill>
                <a:effectLst/>
                <a:uLnTx/>
                <a:uFillTx/>
                <a:latin typeface="Segoe UI"/>
                <a:ea typeface="+mn-ea"/>
                <a:cs typeface="+mn-cs"/>
              </a:rPr>
            </a:br>
            <a:r>
              <a:rPr kumimoji="0" lang="en-US" sz="900" b="0" i="0" u="none" strike="noStrike" kern="0" cap="none" spc="0" normalizeH="0" baseline="0" noProof="0">
                <a:ln>
                  <a:noFill/>
                </a:ln>
                <a:solidFill>
                  <a:srgbClr val="505050"/>
                </a:solidFill>
                <a:effectLst/>
                <a:uLnTx/>
                <a:uFillTx/>
                <a:latin typeface="Segoe UI"/>
                <a:ea typeface="+mn-ea"/>
                <a:cs typeface="+mn-cs"/>
              </a:rPr>
              <a:t>and Suppliers</a:t>
            </a:r>
          </a:p>
        </p:txBody>
      </p:sp>
      <p:sp>
        <p:nvSpPr>
          <p:cNvPr id="101" name="Rectangle 100"/>
          <p:cNvSpPr/>
          <p:nvPr/>
        </p:nvSpPr>
        <p:spPr bwMode="auto">
          <a:xfrm>
            <a:off x="2445716" y="2827367"/>
            <a:ext cx="498534" cy="138499"/>
          </a:xfrm>
          <a:prstGeom prst="rect">
            <a:avLst/>
          </a:prstGeom>
          <a:noFill/>
          <a:ln w="9525" cap="flat" cmpd="sng" algn="ctr">
            <a:noFill/>
            <a:prstDash val="sysDot"/>
            <a:headEnd type="none" w="med" len="med"/>
            <a:tailEnd type="none" w="med" len="med"/>
          </a:ln>
          <a:effectLst/>
        </p:spPr>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marL="0" marR="0" lvl="0" indent="0" algn="l" defTabSz="60888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505050"/>
                </a:solidFill>
                <a:effectLst/>
                <a:uLnTx/>
                <a:uFillTx/>
                <a:latin typeface="Segoe UI"/>
                <a:ea typeface="+mn-ea"/>
                <a:cs typeface="+mn-cs"/>
              </a:rPr>
              <a:t>Suppliers </a:t>
            </a:r>
          </a:p>
        </p:txBody>
      </p:sp>
      <p:sp>
        <p:nvSpPr>
          <p:cNvPr id="102" name="Rectangle 101"/>
          <p:cNvSpPr/>
          <p:nvPr/>
        </p:nvSpPr>
        <p:spPr bwMode="auto">
          <a:xfrm>
            <a:off x="1944665" y="3674413"/>
            <a:ext cx="1049967" cy="138499"/>
          </a:xfrm>
          <a:prstGeom prst="rect">
            <a:avLst/>
          </a:prstGeom>
          <a:noFill/>
          <a:ln w="9525" cap="flat" cmpd="sng" algn="ctr">
            <a:noFill/>
            <a:prstDash val="sysDot"/>
            <a:headEnd type="none" w="med" len="med"/>
            <a:tailEnd type="none" w="med" len="med"/>
          </a:ln>
          <a:effectLst/>
        </p:spPr>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marL="0" marR="0" lvl="0" indent="0" algn="l" defTabSz="60888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505050"/>
                </a:solidFill>
                <a:effectLst/>
                <a:uLnTx/>
                <a:uFillTx/>
                <a:latin typeface="Segoe UI"/>
                <a:ea typeface="+mn-ea"/>
                <a:cs typeface="+mn-cs"/>
              </a:rPr>
              <a:t>Production Schedule</a:t>
            </a:r>
          </a:p>
        </p:txBody>
      </p:sp>
      <p:sp>
        <p:nvSpPr>
          <p:cNvPr id="103" name="Rectangle 102"/>
          <p:cNvSpPr/>
          <p:nvPr/>
        </p:nvSpPr>
        <p:spPr bwMode="auto">
          <a:xfrm>
            <a:off x="449402" y="3828322"/>
            <a:ext cx="1154162" cy="138499"/>
          </a:xfrm>
          <a:prstGeom prst="rect">
            <a:avLst/>
          </a:prstGeom>
          <a:noFill/>
          <a:ln w="9525" cap="flat" cmpd="sng" algn="ctr">
            <a:noFill/>
            <a:prstDash val="sysDot"/>
            <a:headEnd type="none" w="med" len="med"/>
            <a:tailEnd type="none" w="med" len="med"/>
          </a:ln>
          <a:effectLst/>
        </p:spPr>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marL="0" marR="0" lvl="0" indent="0" algn="l" defTabSz="60888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505050"/>
                </a:solidFill>
                <a:effectLst/>
                <a:uLnTx/>
                <a:uFillTx/>
                <a:latin typeface="Segoe UI"/>
                <a:ea typeface="+mn-ea"/>
                <a:cs typeface="+mn-cs"/>
              </a:rPr>
              <a:t>Maintenance Schedule</a:t>
            </a:r>
          </a:p>
        </p:txBody>
      </p:sp>
      <p:sp>
        <p:nvSpPr>
          <p:cNvPr id="105" name="Rectangle 104"/>
          <p:cNvSpPr/>
          <p:nvPr/>
        </p:nvSpPr>
        <p:spPr bwMode="auto">
          <a:xfrm>
            <a:off x="11018050" y="3447526"/>
            <a:ext cx="705321" cy="415498"/>
          </a:xfrm>
          <a:prstGeom prst="rect">
            <a:avLst/>
          </a:prstGeom>
          <a:noFill/>
          <a:ln w="9525" cap="flat" cmpd="sng" algn="ctr">
            <a:noFill/>
            <a:prstDash val="sysDot"/>
            <a:headEnd type="none" w="med" len="med"/>
            <a:tailEnd type="none" w="med" len="med"/>
          </a:ln>
          <a:effectLst/>
        </p:spPr>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marL="0" marR="0" lvl="0" indent="0" algn="ctr" defTabSz="60888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505050"/>
                </a:solidFill>
                <a:effectLst/>
                <a:uLnTx/>
                <a:uFillTx/>
                <a:latin typeface="Segoe UI"/>
                <a:ea typeface="+mn-ea"/>
                <a:cs typeface="+mn-cs"/>
              </a:rPr>
              <a:t>Increased </a:t>
            </a:r>
            <a:br>
              <a:rPr kumimoji="0" lang="en-US" sz="900" b="0" i="0" u="none" strike="noStrike" kern="0" cap="none" spc="0" normalizeH="0" baseline="0" noProof="0" dirty="0">
                <a:ln>
                  <a:noFill/>
                </a:ln>
                <a:solidFill>
                  <a:srgbClr val="505050"/>
                </a:solidFill>
                <a:effectLst/>
                <a:uLnTx/>
                <a:uFillTx/>
                <a:latin typeface="Segoe UI"/>
                <a:ea typeface="+mn-ea"/>
                <a:cs typeface="+mn-cs"/>
              </a:rPr>
            </a:br>
            <a:r>
              <a:rPr kumimoji="0" lang="en-US" sz="900" b="0" i="0" u="none" strike="noStrike" kern="0" cap="none" spc="0" normalizeH="0" baseline="0" noProof="0" dirty="0">
                <a:ln>
                  <a:noFill/>
                </a:ln>
                <a:solidFill>
                  <a:srgbClr val="505050"/>
                </a:solidFill>
                <a:effectLst/>
                <a:uLnTx/>
                <a:uFillTx/>
                <a:latin typeface="Segoe UI"/>
                <a:ea typeface="+mn-ea"/>
                <a:cs typeface="+mn-cs"/>
              </a:rPr>
              <a:t>flexibility and </a:t>
            </a:r>
            <a:br>
              <a:rPr kumimoji="0" lang="en-US" sz="900" b="0" i="0" u="none" strike="noStrike" kern="0" cap="none" spc="0" normalizeH="0" baseline="0" noProof="0" dirty="0">
                <a:ln>
                  <a:noFill/>
                </a:ln>
                <a:solidFill>
                  <a:srgbClr val="505050"/>
                </a:solidFill>
                <a:effectLst/>
                <a:uLnTx/>
                <a:uFillTx/>
                <a:latin typeface="Segoe UI"/>
                <a:ea typeface="+mn-ea"/>
                <a:cs typeface="+mn-cs"/>
              </a:rPr>
            </a:br>
            <a:r>
              <a:rPr kumimoji="0" lang="en-US" sz="900" b="0" i="0" u="none" strike="noStrike" kern="0" cap="none" spc="0" normalizeH="0" baseline="0" noProof="0" dirty="0">
                <a:ln>
                  <a:noFill/>
                </a:ln>
                <a:solidFill>
                  <a:srgbClr val="505050"/>
                </a:solidFill>
                <a:effectLst/>
                <a:uLnTx/>
                <a:uFillTx/>
                <a:latin typeface="Segoe UI"/>
                <a:ea typeface="+mn-ea"/>
                <a:cs typeface="+mn-cs"/>
              </a:rPr>
              <a:t>productivity</a:t>
            </a:r>
          </a:p>
        </p:txBody>
      </p:sp>
      <p:sp>
        <p:nvSpPr>
          <p:cNvPr id="106" name="Rectangle 105"/>
          <p:cNvSpPr/>
          <p:nvPr/>
        </p:nvSpPr>
        <p:spPr bwMode="auto">
          <a:xfrm>
            <a:off x="7493465" y="3911907"/>
            <a:ext cx="1284161" cy="138499"/>
          </a:xfrm>
          <a:prstGeom prst="rect">
            <a:avLst/>
          </a:prstGeom>
          <a:noFill/>
          <a:ln w="9525" cap="flat" cmpd="sng" algn="ctr">
            <a:noFill/>
            <a:prstDash val="sysDot"/>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ctr" defTabSz="60888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505050"/>
                </a:solidFill>
                <a:effectLst/>
                <a:uLnTx/>
                <a:uFillTx/>
                <a:latin typeface="Segoe UI"/>
                <a:ea typeface="+mn-ea"/>
                <a:cs typeface="+mn-cs"/>
              </a:rPr>
              <a:t>Modern Automation</a:t>
            </a:r>
          </a:p>
        </p:txBody>
      </p:sp>
      <p:sp>
        <p:nvSpPr>
          <p:cNvPr id="109" name="Rectangle 108"/>
          <p:cNvSpPr/>
          <p:nvPr/>
        </p:nvSpPr>
        <p:spPr bwMode="auto">
          <a:xfrm>
            <a:off x="5435615" y="3081900"/>
            <a:ext cx="1284161" cy="276999"/>
          </a:xfrm>
          <a:prstGeom prst="rect">
            <a:avLst/>
          </a:prstGeom>
          <a:noFill/>
          <a:ln w="9525" cap="flat" cmpd="sng" algn="ctr">
            <a:noFill/>
            <a:prstDash val="sysDot"/>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ctr" defTabSz="608884" rtl="0" eaLnBrk="1" fontAlgn="auto" latinLnBrk="0" hangingPunct="1">
              <a:lnSpc>
                <a:spcPct val="100000"/>
              </a:lnSpc>
              <a:spcBef>
                <a:spcPts val="0"/>
              </a:spcBef>
              <a:spcAft>
                <a:spcPts val="0"/>
              </a:spcAft>
              <a:buClrTx/>
              <a:buSzTx/>
              <a:buFontTx/>
              <a:buNone/>
              <a:tabLst/>
              <a:defRPr/>
            </a:pPr>
            <a:r>
              <a:rPr lang="en-US" sz="900" kern="0" dirty="0">
                <a:solidFill>
                  <a:srgbClr val="505050"/>
                </a:solidFill>
                <a:latin typeface="Segoe UI"/>
              </a:rPr>
              <a:t>Employees, </a:t>
            </a:r>
            <a:br>
              <a:rPr lang="en-US" sz="900" kern="0" dirty="0">
                <a:solidFill>
                  <a:srgbClr val="505050"/>
                </a:solidFill>
                <a:latin typeface="Segoe UI"/>
              </a:rPr>
            </a:br>
            <a:r>
              <a:rPr lang="en-US" sz="900" kern="0" dirty="0">
                <a:solidFill>
                  <a:srgbClr val="505050"/>
                </a:solidFill>
                <a:latin typeface="Segoe UI"/>
              </a:rPr>
              <a:t>Partners, Suppliers</a:t>
            </a:r>
            <a:endParaRPr kumimoji="0" lang="en-US" sz="900" b="0" i="0" u="none" strike="noStrike" kern="0" cap="none" spc="0" normalizeH="0" baseline="0" noProof="0" dirty="0">
              <a:ln>
                <a:noFill/>
              </a:ln>
              <a:solidFill>
                <a:srgbClr val="505050"/>
              </a:solidFill>
              <a:effectLst/>
              <a:uLnTx/>
              <a:uFillTx/>
              <a:latin typeface="Segoe UI"/>
              <a:ea typeface="+mn-ea"/>
              <a:cs typeface="+mn-cs"/>
            </a:endParaRPr>
          </a:p>
        </p:txBody>
      </p:sp>
      <p:sp>
        <p:nvSpPr>
          <p:cNvPr id="110" name="Rectangle 109"/>
          <p:cNvSpPr/>
          <p:nvPr/>
        </p:nvSpPr>
        <p:spPr bwMode="auto">
          <a:xfrm>
            <a:off x="5481074" y="3911907"/>
            <a:ext cx="1284161" cy="138499"/>
          </a:xfrm>
          <a:prstGeom prst="rect">
            <a:avLst/>
          </a:prstGeom>
          <a:noFill/>
          <a:ln w="9525" cap="flat" cmpd="sng" algn="ctr">
            <a:noFill/>
            <a:prstDash val="sysDot"/>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ctr" defTabSz="60888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505050"/>
                </a:solidFill>
                <a:effectLst/>
                <a:uLnTx/>
                <a:uFillTx/>
                <a:latin typeface="Segoe UI"/>
                <a:ea typeface="+mn-ea"/>
                <a:cs typeface="+mn-cs"/>
              </a:rPr>
              <a:t>Production Planning</a:t>
            </a:r>
          </a:p>
        </p:txBody>
      </p:sp>
      <p:sp>
        <p:nvSpPr>
          <p:cNvPr id="112" name="Rectangle 111"/>
          <p:cNvSpPr/>
          <p:nvPr/>
        </p:nvSpPr>
        <p:spPr bwMode="auto">
          <a:xfrm>
            <a:off x="3355523" y="2628561"/>
            <a:ext cx="1637575" cy="276999"/>
          </a:xfrm>
          <a:prstGeom prst="rect">
            <a:avLst/>
          </a:prstGeom>
          <a:noFill/>
          <a:ln w="9525" cap="flat" cmpd="sng" algn="ctr">
            <a:noFill/>
            <a:prstDash val="sysDot"/>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ctr" defTabSz="60888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505050"/>
                </a:solidFill>
                <a:effectLst/>
                <a:uLnTx/>
                <a:uFillTx/>
                <a:latin typeface="Segoe UI"/>
                <a:ea typeface="+mn-ea"/>
                <a:cs typeface="+mn-cs"/>
              </a:rPr>
              <a:t>Value chain </a:t>
            </a:r>
            <a:br>
              <a:rPr kumimoji="0" lang="en-US" sz="900" b="0" i="0" u="none" strike="noStrike" kern="0" cap="none" spc="0" normalizeH="0" baseline="0" noProof="0" dirty="0">
                <a:ln>
                  <a:noFill/>
                </a:ln>
                <a:solidFill>
                  <a:srgbClr val="505050"/>
                </a:solidFill>
                <a:effectLst/>
                <a:uLnTx/>
                <a:uFillTx/>
                <a:latin typeface="Segoe UI"/>
                <a:ea typeface="+mn-ea"/>
                <a:cs typeface="+mn-cs"/>
              </a:rPr>
            </a:br>
            <a:r>
              <a:rPr kumimoji="0" lang="en-US" sz="900" b="0" i="0" u="none" strike="noStrike" kern="0" cap="none" spc="0" normalizeH="0" baseline="0" noProof="0" dirty="0">
                <a:ln>
                  <a:noFill/>
                </a:ln>
                <a:solidFill>
                  <a:srgbClr val="505050"/>
                </a:solidFill>
                <a:effectLst/>
                <a:uLnTx/>
                <a:uFillTx/>
                <a:latin typeface="Segoe UI"/>
                <a:ea typeface="+mn-ea"/>
                <a:cs typeface="+mn-cs"/>
              </a:rPr>
              <a:t>participants</a:t>
            </a:r>
          </a:p>
        </p:txBody>
      </p:sp>
      <p:sp>
        <p:nvSpPr>
          <p:cNvPr id="113" name="Rectangle 112"/>
          <p:cNvSpPr/>
          <p:nvPr/>
        </p:nvSpPr>
        <p:spPr bwMode="auto">
          <a:xfrm>
            <a:off x="5283655" y="1820156"/>
            <a:ext cx="2008373" cy="138499"/>
          </a:xfrm>
          <a:prstGeom prst="rect">
            <a:avLst/>
          </a:prstGeom>
          <a:noFill/>
          <a:ln w="9525" cap="flat" cmpd="sng" algn="ctr">
            <a:noFill/>
            <a:prstDash val="sysDot"/>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ctr" defTabSz="60888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505050"/>
                </a:solidFill>
                <a:effectLst/>
                <a:uLnTx/>
                <a:uFillTx/>
                <a:latin typeface="Segoe UI"/>
                <a:ea typeface="+mn-ea"/>
                <a:cs typeface="+mn-cs"/>
              </a:rPr>
              <a:t>Shared View Across Value Chain</a:t>
            </a:r>
          </a:p>
        </p:txBody>
      </p:sp>
      <p:sp>
        <p:nvSpPr>
          <p:cNvPr id="114" name="Rectangle 113"/>
          <p:cNvSpPr/>
          <p:nvPr/>
        </p:nvSpPr>
        <p:spPr bwMode="auto">
          <a:xfrm>
            <a:off x="10198474" y="4059194"/>
            <a:ext cx="444032" cy="276999"/>
          </a:xfrm>
          <a:prstGeom prst="rect">
            <a:avLst/>
          </a:prstGeom>
          <a:noFill/>
          <a:ln w="9525" cap="flat" cmpd="sng" algn="ctr">
            <a:noFill/>
            <a:prstDash val="sysDot"/>
            <a:headEnd type="none" w="med" len="med"/>
            <a:tailEnd type="none" w="med" len="med"/>
          </a:ln>
          <a:effectLst/>
        </p:spPr>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marL="0" marR="0" lvl="0" indent="0" algn="ctr" defTabSz="60888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505050"/>
                </a:solidFill>
                <a:effectLst/>
                <a:uLnTx/>
                <a:uFillTx/>
                <a:latin typeface="Segoe UI"/>
                <a:ea typeface="+mn-ea"/>
                <a:cs typeface="+mn-cs"/>
              </a:rPr>
              <a:t>Reduced</a:t>
            </a:r>
            <a:br>
              <a:rPr kumimoji="0" lang="en-US" sz="900" b="0" i="0" u="none" strike="noStrike" kern="0" cap="none" spc="0" normalizeH="0" baseline="0" noProof="0" dirty="0">
                <a:ln>
                  <a:noFill/>
                </a:ln>
                <a:solidFill>
                  <a:srgbClr val="505050"/>
                </a:solidFill>
                <a:effectLst/>
                <a:uLnTx/>
                <a:uFillTx/>
                <a:latin typeface="Segoe UI"/>
                <a:ea typeface="+mn-ea"/>
                <a:cs typeface="+mn-cs"/>
              </a:rPr>
            </a:br>
            <a:r>
              <a:rPr kumimoji="0" lang="en-US" sz="900" b="0" i="0" u="none" strike="noStrike" kern="0" cap="none" spc="0" normalizeH="0" baseline="0" noProof="0" dirty="0">
                <a:ln>
                  <a:noFill/>
                </a:ln>
                <a:solidFill>
                  <a:srgbClr val="505050"/>
                </a:solidFill>
                <a:effectLst/>
                <a:uLnTx/>
                <a:uFillTx/>
                <a:latin typeface="Segoe UI"/>
                <a:ea typeface="+mn-ea"/>
                <a:cs typeface="+mn-cs"/>
              </a:rPr>
              <a:t>costs</a:t>
            </a:r>
          </a:p>
        </p:txBody>
      </p:sp>
      <p:sp>
        <p:nvSpPr>
          <p:cNvPr id="116" name="Rectangle 115"/>
          <p:cNvSpPr/>
          <p:nvPr/>
        </p:nvSpPr>
        <p:spPr bwMode="auto">
          <a:xfrm>
            <a:off x="9134892" y="3502410"/>
            <a:ext cx="670055" cy="415498"/>
          </a:xfrm>
          <a:prstGeom prst="rect">
            <a:avLst/>
          </a:prstGeom>
          <a:noFill/>
          <a:ln w="9525" cap="flat" cmpd="sng" algn="ctr">
            <a:noFill/>
            <a:prstDash val="sysDot"/>
            <a:headEnd type="none" w="med" len="med"/>
            <a:tailEnd type="none" w="med" len="med"/>
          </a:ln>
          <a:effectLst/>
        </p:spPr>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marL="0" marR="0" lvl="0" indent="0" algn="l" defTabSz="60888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505050"/>
                </a:solidFill>
                <a:effectLst/>
                <a:uLnTx/>
                <a:uFillTx/>
                <a:latin typeface="Segoe UI"/>
                <a:ea typeface="+mn-ea"/>
                <a:cs typeface="+mn-cs"/>
              </a:rPr>
              <a:t>Coordinated </a:t>
            </a:r>
            <a:br>
              <a:rPr kumimoji="0" lang="en-US" sz="900" b="0" i="0" u="none" strike="noStrike" kern="0" cap="none" spc="0" normalizeH="0" baseline="0" noProof="0" dirty="0">
                <a:ln>
                  <a:noFill/>
                </a:ln>
                <a:solidFill>
                  <a:srgbClr val="505050"/>
                </a:solidFill>
                <a:effectLst/>
                <a:uLnTx/>
                <a:uFillTx/>
                <a:latin typeface="Segoe UI"/>
                <a:ea typeface="+mn-ea"/>
                <a:cs typeface="+mn-cs"/>
              </a:rPr>
            </a:br>
            <a:r>
              <a:rPr kumimoji="0" lang="en-US" sz="900" b="0" i="0" u="none" strike="noStrike" kern="0" cap="none" spc="0" normalizeH="0" baseline="0" noProof="0" dirty="0">
                <a:ln>
                  <a:noFill/>
                </a:ln>
                <a:solidFill>
                  <a:srgbClr val="505050"/>
                </a:solidFill>
                <a:effectLst/>
                <a:uLnTx/>
                <a:uFillTx/>
                <a:latin typeface="Segoe UI"/>
                <a:ea typeface="+mn-ea"/>
                <a:cs typeface="+mn-cs"/>
              </a:rPr>
              <a:t>scheduling </a:t>
            </a:r>
            <a:br>
              <a:rPr kumimoji="0" lang="en-US" sz="900" b="0" i="0" u="none" strike="noStrike" kern="0" cap="none" spc="0" normalizeH="0" baseline="0" noProof="0" dirty="0">
                <a:ln>
                  <a:noFill/>
                </a:ln>
                <a:solidFill>
                  <a:srgbClr val="505050"/>
                </a:solidFill>
                <a:effectLst/>
                <a:uLnTx/>
                <a:uFillTx/>
                <a:latin typeface="Segoe UI"/>
                <a:ea typeface="+mn-ea"/>
                <a:cs typeface="+mn-cs"/>
              </a:rPr>
            </a:br>
            <a:r>
              <a:rPr kumimoji="0" lang="en-US" sz="900" b="0" i="0" u="none" strike="noStrike" kern="0" cap="none" spc="0" normalizeH="0" baseline="0" noProof="0" dirty="0">
                <a:ln>
                  <a:noFill/>
                </a:ln>
                <a:solidFill>
                  <a:srgbClr val="505050"/>
                </a:solidFill>
                <a:effectLst/>
                <a:uLnTx/>
                <a:uFillTx/>
                <a:latin typeface="Segoe UI"/>
                <a:ea typeface="+mn-ea"/>
                <a:cs typeface="+mn-cs"/>
              </a:rPr>
              <a:t>and planning</a:t>
            </a:r>
          </a:p>
        </p:txBody>
      </p:sp>
      <p:sp>
        <p:nvSpPr>
          <p:cNvPr id="134" name="Rectangle 133"/>
          <p:cNvSpPr/>
          <p:nvPr/>
        </p:nvSpPr>
        <p:spPr bwMode="auto">
          <a:xfrm>
            <a:off x="1349002" y="2182875"/>
            <a:ext cx="929742" cy="138499"/>
          </a:xfrm>
          <a:prstGeom prst="rect">
            <a:avLst/>
          </a:prstGeom>
          <a:noFill/>
          <a:ln w="9525" cap="flat" cmpd="sng" algn="ctr">
            <a:noFill/>
            <a:prstDash val="sysDot"/>
            <a:headEnd type="none" w="med" len="med"/>
            <a:tailEnd type="none" w="med" len="med"/>
          </a:ln>
          <a:effectLst/>
        </p:spPr>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marL="0" marR="0" lvl="0" indent="0" algn="ctr" defTabSz="608884" rtl="0" eaLnBrk="1" fontAlgn="auto" latinLnBrk="0" hangingPunct="1">
              <a:lnSpc>
                <a:spcPct val="100000"/>
              </a:lnSpc>
              <a:spcBef>
                <a:spcPts val="0"/>
              </a:spcBef>
              <a:spcAft>
                <a:spcPts val="0"/>
              </a:spcAft>
              <a:buClrTx/>
              <a:buSzTx/>
              <a:buFontTx/>
              <a:buNone/>
              <a:tabLst/>
              <a:defRPr/>
            </a:pPr>
            <a:r>
              <a:rPr lang="en-US" sz="900" kern="0" dirty="0">
                <a:solidFill>
                  <a:srgbClr val="505050"/>
                </a:solidFill>
                <a:latin typeface="Segoe UI"/>
              </a:rPr>
              <a:t>Maintenance crew</a:t>
            </a:r>
            <a:endParaRPr kumimoji="0" lang="en-US" sz="900" b="0" i="0" u="none" strike="noStrike" kern="0" cap="none" spc="0" normalizeH="0" baseline="0" noProof="0" dirty="0">
              <a:ln>
                <a:noFill/>
              </a:ln>
              <a:solidFill>
                <a:srgbClr val="505050"/>
              </a:solidFill>
              <a:effectLst/>
              <a:uLnTx/>
              <a:uFillTx/>
              <a:latin typeface="Segoe UI"/>
              <a:ea typeface="+mn-ea"/>
              <a:cs typeface="+mn-cs"/>
            </a:endParaRPr>
          </a:p>
        </p:txBody>
      </p:sp>
      <p:grpSp>
        <p:nvGrpSpPr>
          <p:cNvPr id="154" name="Group 153"/>
          <p:cNvGrpSpPr/>
          <p:nvPr/>
        </p:nvGrpSpPr>
        <p:grpSpPr>
          <a:xfrm>
            <a:off x="1489208" y="2669127"/>
            <a:ext cx="570412" cy="542227"/>
            <a:chOff x="1775460" y="599350"/>
            <a:chExt cx="6295391" cy="5984329"/>
          </a:xfrm>
          <a:solidFill>
            <a:srgbClr val="5E83BD"/>
          </a:solidFill>
        </p:grpSpPr>
        <p:sp>
          <p:nvSpPr>
            <p:cNvPr id="155" name="Freeform 154"/>
            <p:cNvSpPr/>
            <p:nvPr/>
          </p:nvSpPr>
          <p:spPr>
            <a:xfrm>
              <a:off x="1775460" y="1069630"/>
              <a:ext cx="6141720" cy="5514049"/>
            </a:xfrm>
            <a:custGeom>
              <a:avLst/>
              <a:gdLst/>
              <a:ahLst/>
              <a:cxnLst/>
              <a:rect l="l" t="t" r="r" b="b"/>
              <a:pathLst>
                <a:path w="6141720" h="5514049">
                  <a:moveTo>
                    <a:pt x="2437765" y="4651720"/>
                  </a:moveTo>
                  <a:lnTo>
                    <a:pt x="1748790" y="4880320"/>
                  </a:lnTo>
                  <a:lnTo>
                    <a:pt x="3021965" y="5321645"/>
                  </a:lnTo>
                  <a:lnTo>
                    <a:pt x="4457065" y="4893020"/>
                  </a:lnTo>
                  <a:lnTo>
                    <a:pt x="3041015" y="4800945"/>
                  </a:lnTo>
                  <a:close/>
                  <a:moveTo>
                    <a:pt x="1005840" y="4480270"/>
                  </a:moveTo>
                  <a:lnTo>
                    <a:pt x="878840" y="4524720"/>
                  </a:lnTo>
                  <a:lnTo>
                    <a:pt x="1551940" y="4731095"/>
                  </a:lnTo>
                  <a:lnTo>
                    <a:pt x="1678940" y="4686645"/>
                  </a:lnTo>
                  <a:close/>
                  <a:moveTo>
                    <a:pt x="586740" y="4207220"/>
                  </a:moveTo>
                  <a:lnTo>
                    <a:pt x="97790" y="4311995"/>
                  </a:lnTo>
                  <a:lnTo>
                    <a:pt x="789940" y="4556470"/>
                  </a:lnTo>
                  <a:lnTo>
                    <a:pt x="789940" y="4508845"/>
                  </a:lnTo>
                  <a:lnTo>
                    <a:pt x="945515" y="4461220"/>
                  </a:lnTo>
                  <a:lnTo>
                    <a:pt x="945515" y="4365970"/>
                  </a:lnTo>
                  <a:lnTo>
                    <a:pt x="1069340" y="4331045"/>
                  </a:lnTo>
                  <a:close/>
                  <a:moveTo>
                    <a:pt x="3918109" y="3795264"/>
                  </a:moveTo>
                  <a:lnTo>
                    <a:pt x="3587115" y="3809551"/>
                  </a:lnTo>
                  <a:lnTo>
                    <a:pt x="3587115" y="3864320"/>
                  </a:lnTo>
                  <a:lnTo>
                    <a:pt x="3872865" y="3847651"/>
                  </a:lnTo>
                  <a:lnTo>
                    <a:pt x="3872865" y="4278658"/>
                  </a:lnTo>
                  <a:lnTo>
                    <a:pt x="3920490" y="4269133"/>
                  </a:lnTo>
                  <a:cubicBezTo>
                    <a:pt x="3919696" y="4111177"/>
                    <a:pt x="3918903" y="3953220"/>
                    <a:pt x="3918109" y="3795264"/>
                  </a:cubicBezTo>
                  <a:close/>
                  <a:moveTo>
                    <a:pt x="4713446" y="3754783"/>
                  </a:moveTo>
                  <a:lnTo>
                    <a:pt x="4434840" y="3769070"/>
                  </a:lnTo>
                  <a:lnTo>
                    <a:pt x="4434840" y="3819076"/>
                  </a:lnTo>
                  <a:lnTo>
                    <a:pt x="4672965" y="3797645"/>
                  </a:lnTo>
                  <a:lnTo>
                    <a:pt x="4672965" y="4161976"/>
                  </a:lnTo>
                  <a:lnTo>
                    <a:pt x="4713446" y="4157214"/>
                  </a:lnTo>
                  <a:close/>
                  <a:moveTo>
                    <a:pt x="5356384" y="3719064"/>
                  </a:moveTo>
                  <a:lnTo>
                    <a:pt x="5120640" y="3730970"/>
                  </a:lnTo>
                  <a:lnTo>
                    <a:pt x="5120640" y="3766689"/>
                  </a:lnTo>
                  <a:lnTo>
                    <a:pt x="5327809" y="3761926"/>
                  </a:lnTo>
                  <a:lnTo>
                    <a:pt x="5342096" y="4064345"/>
                  </a:lnTo>
                  <a:lnTo>
                    <a:pt x="5370671" y="4059583"/>
                  </a:lnTo>
                  <a:close/>
                  <a:moveTo>
                    <a:pt x="5127784" y="3018976"/>
                  </a:moveTo>
                  <a:lnTo>
                    <a:pt x="5127784" y="3057076"/>
                  </a:lnTo>
                  <a:lnTo>
                    <a:pt x="5323046" y="3076126"/>
                  </a:lnTo>
                  <a:lnTo>
                    <a:pt x="5339715" y="3378545"/>
                  </a:lnTo>
                  <a:lnTo>
                    <a:pt x="5368290" y="3383307"/>
                  </a:lnTo>
                  <a:lnTo>
                    <a:pt x="5356384" y="3049933"/>
                  </a:lnTo>
                  <a:close/>
                  <a:moveTo>
                    <a:pt x="4434840" y="2952301"/>
                  </a:moveTo>
                  <a:lnTo>
                    <a:pt x="4437222" y="2995165"/>
                  </a:lnTo>
                  <a:cubicBezTo>
                    <a:pt x="4671378" y="3011833"/>
                    <a:pt x="4555490" y="3004690"/>
                    <a:pt x="4680109" y="3016595"/>
                  </a:cubicBezTo>
                  <a:lnTo>
                    <a:pt x="4680109" y="3376164"/>
                  </a:lnTo>
                  <a:lnTo>
                    <a:pt x="4718209" y="3380926"/>
                  </a:lnTo>
                  <a:cubicBezTo>
                    <a:pt x="4716621" y="3246782"/>
                    <a:pt x="4715034" y="3112639"/>
                    <a:pt x="4713446" y="2978495"/>
                  </a:cubicBezTo>
                  <a:close/>
                  <a:moveTo>
                    <a:pt x="1129665" y="2921345"/>
                  </a:moveTo>
                  <a:lnTo>
                    <a:pt x="656590" y="2994370"/>
                  </a:lnTo>
                  <a:lnTo>
                    <a:pt x="621665" y="4153245"/>
                  </a:lnTo>
                  <a:lnTo>
                    <a:pt x="1097915" y="4273895"/>
                  </a:lnTo>
                  <a:close/>
                  <a:moveTo>
                    <a:pt x="3589496" y="2868958"/>
                  </a:moveTo>
                  <a:lnTo>
                    <a:pt x="3589496" y="2918964"/>
                  </a:lnTo>
                  <a:lnTo>
                    <a:pt x="3875246" y="2949920"/>
                  </a:lnTo>
                  <a:lnTo>
                    <a:pt x="3875246" y="3380926"/>
                  </a:lnTo>
                  <a:lnTo>
                    <a:pt x="3920490" y="3380926"/>
                  </a:lnTo>
                  <a:lnTo>
                    <a:pt x="3920490" y="2902295"/>
                  </a:lnTo>
                  <a:close/>
                  <a:moveTo>
                    <a:pt x="1139190" y="2728464"/>
                  </a:moveTo>
                  <a:lnTo>
                    <a:pt x="605790" y="2838001"/>
                  </a:lnTo>
                  <a:lnTo>
                    <a:pt x="605790" y="2888008"/>
                  </a:lnTo>
                  <a:lnTo>
                    <a:pt x="1139190" y="2778470"/>
                  </a:lnTo>
                  <a:close/>
                  <a:moveTo>
                    <a:pt x="3048953" y="2621308"/>
                  </a:moveTo>
                  <a:lnTo>
                    <a:pt x="2220278" y="2749895"/>
                  </a:lnTo>
                  <a:lnTo>
                    <a:pt x="2205990" y="4531070"/>
                  </a:lnTo>
                  <a:lnTo>
                    <a:pt x="3029903" y="4731095"/>
                  </a:lnTo>
                  <a:close/>
                  <a:moveTo>
                    <a:pt x="1859915" y="2378420"/>
                  </a:moveTo>
                  <a:lnTo>
                    <a:pt x="1199515" y="2546695"/>
                  </a:lnTo>
                  <a:lnTo>
                    <a:pt x="1161415" y="4340570"/>
                  </a:lnTo>
                  <a:lnTo>
                    <a:pt x="1028065" y="4381845"/>
                  </a:lnTo>
                  <a:lnTo>
                    <a:pt x="1678940" y="4569170"/>
                  </a:lnTo>
                  <a:lnTo>
                    <a:pt x="1824990" y="4515195"/>
                  </a:lnTo>
                  <a:close/>
                  <a:moveTo>
                    <a:pt x="3082290" y="2321270"/>
                  </a:moveTo>
                  <a:lnTo>
                    <a:pt x="2225040" y="2499864"/>
                  </a:lnTo>
                  <a:lnTo>
                    <a:pt x="2225040" y="2571301"/>
                  </a:lnTo>
                  <a:lnTo>
                    <a:pt x="3082290" y="2395089"/>
                  </a:lnTo>
                  <a:close/>
                  <a:moveTo>
                    <a:pt x="3034665" y="1897408"/>
                  </a:moveTo>
                  <a:lnTo>
                    <a:pt x="853440" y="2540345"/>
                  </a:lnTo>
                  <a:lnTo>
                    <a:pt x="853440" y="2716558"/>
                  </a:lnTo>
                  <a:lnTo>
                    <a:pt x="1141571" y="2657026"/>
                  </a:lnTo>
                  <a:lnTo>
                    <a:pt x="1141571" y="2509389"/>
                  </a:lnTo>
                  <a:lnTo>
                    <a:pt x="1860709" y="2306983"/>
                  </a:lnTo>
                  <a:lnTo>
                    <a:pt x="2196465" y="2418901"/>
                  </a:lnTo>
                  <a:lnTo>
                    <a:pt x="3034665" y="2230783"/>
                  </a:lnTo>
                  <a:close/>
                  <a:moveTo>
                    <a:pt x="2139315" y="1759295"/>
                  </a:moveTo>
                  <a:lnTo>
                    <a:pt x="1482090" y="2016470"/>
                  </a:lnTo>
                  <a:lnTo>
                    <a:pt x="1482090" y="2290314"/>
                  </a:lnTo>
                  <a:lnTo>
                    <a:pt x="2139315" y="2095051"/>
                  </a:lnTo>
                  <a:close/>
                  <a:moveTo>
                    <a:pt x="3960971" y="1437826"/>
                  </a:moveTo>
                  <a:lnTo>
                    <a:pt x="2675096" y="1864070"/>
                  </a:lnTo>
                  <a:lnTo>
                    <a:pt x="2675096" y="1937889"/>
                  </a:lnTo>
                  <a:lnTo>
                    <a:pt x="3034665" y="1833114"/>
                  </a:lnTo>
                  <a:lnTo>
                    <a:pt x="3253740" y="1890264"/>
                  </a:lnTo>
                  <a:lnTo>
                    <a:pt x="3844290" y="1721195"/>
                  </a:lnTo>
                  <a:lnTo>
                    <a:pt x="3844290" y="1809301"/>
                  </a:lnTo>
                  <a:lnTo>
                    <a:pt x="3429953" y="1930745"/>
                  </a:lnTo>
                  <a:lnTo>
                    <a:pt x="3960971" y="2080764"/>
                  </a:lnTo>
                  <a:close/>
                  <a:moveTo>
                    <a:pt x="4450467" y="798721"/>
                  </a:moveTo>
                  <a:cubicBezTo>
                    <a:pt x="4330363" y="791764"/>
                    <a:pt x="4200883" y="824655"/>
                    <a:pt x="4170521" y="840133"/>
                  </a:cubicBezTo>
                  <a:lnTo>
                    <a:pt x="4156234" y="1447351"/>
                  </a:lnTo>
                  <a:lnTo>
                    <a:pt x="4603909" y="1623564"/>
                  </a:lnTo>
                  <a:lnTo>
                    <a:pt x="4563428" y="821083"/>
                  </a:lnTo>
                  <a:cubicBezTo>
                    <a:pt x="4529495" y="807788"/>
                    <a:pt x="4490502" y="801041"/>
                    <a:pt x="4450467" y="798721"/>
                  </a:cubicBezTo>
                  <a:close/>
                  <a:moveTo>
                    <a:pt x="2501265" y="767802"/>
                  </a:moveTo>
                  <a:cubicBezTo>
                    <a:pt x="2490351" y="763138"/>
                    <a:pt x="2477056" y="767107"/>
                    <a:pt x="2463165" y="794888"/>
                  </a:cubicBezTo>
                  <a:lnTo>
                    <a:pt x="2434590" y="1761675"/>
                  </a:lnTo>
                  <a:lnTo>
                    <a:pt x="2536984" y="1787869"/>
                  </a:lnTo>
                  <a:lnTo>
                    <a:pt x="2525078" y="792507"/>
                  </a:lnTo>
                  <a:cubicBezTo>
                    <a:pt x="2520712" y="785761"/>
                    <a:pt x="2512179" y="772465"/>
                    <a:pt x="2501265" y="767802"/>
                  </a:cubicBezTo>
                  <a:close/>
                  <a:moveTo>
                    <a:pt x="4302793" y="558846"/>
                  </a:moveTo>
                  <a:cubicBezTo>
                    <a:pt x="4256396" y="562269"/>
                    <a:pt x="4216361" y="576408"/>
                    <a:pt x="4177665" y="597243"/>
                  </a:cubicBezTo>
                  <a:lnTo>
                    <a:pt x="4170521" y="780600"/>
                  </a:lnTo>
                  <a:cubicBezTo>
                    <a:pt x="4199096" y="769488"/>
                    <a:pt x="4272915" y="739325"/>
                    <a:pt x="4349115" y="747262"/>
                  </a:cubicBezTo>
                  <a:lnTo>
                    <a:pt x="4351497" y="559144"/>
                  </a:lnTo>
                  <a:cubicBezTo>
                    <a:pt x="4334431" y="557755"/>
                    <a:pt x="4318259" y="557705"/>
                    <a:pt x="4302793" y="558846"/>
                  </a:cubicBezTo>
                  <a:close/>
                  <a:moveTo>
                    <a:pt x="3202810" y="335363"/>
                  </a:moveTo>
                  <a:cubicBezTo>
                    <a:pt x="3126836" y="339232"/>
                    <a:pt x="3059668" y="355250"/>
                    <a:pt x="3020378" y="375788"/>
                  </a:cubicBezTo>
                  <a:lnTo>
                    <a:pt x="2987040" y="1687857"/>
                  </a:lnTo>
                  <a:lnTo>
                    <a:pt x="3449003" y="1528313"/>
                  </a:lnTo>
                  <a:lnTo>
                    <a:pt x="3387090" y="351975"/>
                  </a:lnTo>
                  <a:cubicBezTo>
                    <a:pt x="3352364" y="343244"/>
                    <a:pt x="3316447" y="338084"/>
                    <a:pt x="3281013" y="335827"/>
                  </a:cubicBezTo>
                  <a:cubicBezTo>
                    <a:pt x="3254438" y="334134"/>
                    <a:pt x="3228135" y="334074"/>
                    <a:pt x="3202810" y="335363"/>
                  </a:cubicBezTo>
                  <a:close/>
                  <a:moveTo>
                    <a:pt x="3210878" y="80513"/>
                  </a:moveTo>
                  <a:cubicBezTo>
                    <a:pt x="3142615" y="74956"/>
                    <a:pt x="3086259" y="86070"/>
                    <a:pt x="3034665" y="113850"/>
                  </a:cubicBezTo>
                  <a:lnTo>
                    <a:pt x="3027521" y="297207"/>
                  </a:lnTo>
                  <a:cubicBezTo>
                    <a:pt x="3056096" y="286095"/>
                    <a:pt x="3129915" y="263076"/>
                    <a:pt x="3206115" y="271013"/>
                  </a:cubicBezTo>
                  <a:close/>
                  <a:moveTo>
                    <a:pt x="3339623" y="1383"/>
                  </a:moveTo>
                  <a:cubicBezTo>
                    <a:pt x="3446502" y="8108"/>
                    <a:pt x="3543419" y="40032"/>
                    <a:pt x="3581400" y="111469"/>
                  </a:cubicBezTo>
                  <a:lnTo>
                    <a:pt x="3672840" y="1460209"/>
                  </a:lnTo>
                  <a:lnTo>
                    <a:pt x="3947160" y="1368769"/>
                  </a:lnTo>
                  <a:lnTo>
                    <a:pt x="4091940" y="1429729"/>
                  </a:lnTo>
                  <a:lnTo>
                    <a:pt x="4130040" y="561049"/>
                  </a:lnTo>
                  <a:cubicBezTo>
                    <a:pt x="4317048" y="361024"/>
                    <a:pt x="4746943" y="489611"/>
                    <a:pt x="4762500" y="561049"/>
                  </a:cubicBezTo>
                  <a:lnTo>
                    <a:pt x="4892040" y="2328889"/>
                  </a:lnTo>
                  <a:lnTo>
                    <a:pt x="5433060" y="2466049"/>
                  </a:lnTo>
                  <a:lnTo>
                    <a:pt x="5448300" y="2793709"/>
                  </a:lnTo>
                  <a:lnTo>
                    <a:pt x="5692140" y="2862289"/>
                  </a:lnTo>
                  <a:lnTo>
                    <a:pt x="5692140" y="3113749"/>
                  </a:lnTo>
                  <a:lnTo>
                    <a:pt x="5631180" y="3128989"/>
                  </a:lnTo>
                  <a:lnTo>
                    <a:pt x="5646420" y="4142449"/>
                  </a:lnTo>
                  <a:lnTo>
                    <a:pt x="6103620" y="4256749"/>
                  </a:lnTo>
                  <a:lnTo>
                    <a:pt x="6141720" y="4462489"/>
                  </a:lnTo>
                  <a:lnTo>
                    <a:pt x="3048000" y="5514049"/>
                  </a:lnTo>
                  <a:lnTo>
                    <a:pt x="0" y="4401529"/>
                  </a:lnTo>
                  <a:lnTo>
                    <a:pt x="0" y="4271989"/>
                  </a:lnTo>
                  <a:lnTo>
                    <a:pt x="556260" y="4165309"/>
                  </a:lnTo>
                  <a:lnTo>
                    <a:pt x="601980" y="3022309"/>
                  </a:lnTo>
                  <a:lnTo>
                    <a:pt x="556260" y="3007069"/>
                  </a:lnTo>
                  <a:lnTo>
                    <a:pt x="556260" y="2786089"/>
                  </a:lnTo>
                  <a:lnTo>
                    <a:pt x="792480" y="2732749"/>
                  </a:lnTo>
                  <a:lnTo>
                    <a:pt x="792480" y="2481289"/>
                  </a:lnTo>
                  <a:lnTo>
                    <a:pt x="1424940" y="2298409"/>
                  </a:lnTo>
                  <a:lnTo>
                    <a:pt x="1424940" y="1970749"/>
                  </a:lnTo>
                  <a:lnTo>
                    <a:pt x="2141220" y="1681189"/>
                  </a:lnTo>
                  <a:lnTo>
                    <a:pt x="2392680" y="1757389"/>
                  </a:lnTo>
                  <a:lnTo>
                    <a:pt x="2423637" y="751549"/>
                  </a:lnTo>
                  <a:cubicBezTo>
                    <a:pt x="2433321" y="709957"/>
                    <a:pt x="2595403" y="687414"/>
                    <a:pt x="2631281" y="748215"/>
                  </a:cubicBezTo>
                  <a:lnTo>
                    <a:pt x="2682240" y="1795489"/>
                  </a:lnTo>
                  <a:lnTo>
                    <a:pt x="2872740" y="1726909"/>
                  </a:lnTo>
                  <a:lnTo>
                    <a:pt x="2948940" y="111469"/>
                  </a:lnTo>
                  <a:cubicBezTo>
                    <a:pt x="2955687" y="48961"/>
                    <a:pt x="3161491" y="-9826"/>
                    <a:pt x="3339623" y="138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156" name="Freeform 155"/>
            <p:cNvSpPr/>
            <p:nvPr/>
          </p:nvSpPr>
          <p:spPr>
            <a:xfrm>
              <a:off x="4167188" y="3940969"/>
              <a:ext cx="435768" cy="557212"/>
            </a:xfrm>
            <a:custGeom>
              <a:avLst/>
              <a:gdLst>
                <a:gd name="connsiteX0" fmla="*/ 435768 w 435768"/>
                <a:gd name="connsiteY0" fmla="*/ 76200 h 557212"/>
                <a:gd name="connsiteX1" fmla="*/ 435768 w 435768"/>
                <a:gd name="connsiteY1" fmla="*/ 0 h 557212"/>
                <a:gd name="connsiteX2" fmla="*/ 4762 w 435768"/>
                <a:gd name="connsiteY2" fmla="*/ 45244 h 557212"/>
                <a:gd name="connsiteX3" fmla="*/ 0 w 435768"/>
                <a:gd name="connsiteY3" fmla="*/ 557212 h 557212"/>
                <a:gd name="connsiteX4" fmla="*/ 64293 w 435768"/>
                <a:gd name="connsiteY4" fmla="*/ 557212 h 557212"/>
                <a:gd name="connsiteX5" fmla="*/ 66675 w 435768"/>
                <a:gd name="connsiteY5" fmla="*/ 104775 h 557212"/>
                <a:gd name="connsiteX6" fmla="*/ 435768 w 435768"/>
                <a:gd name="connsiteY6" fmla="*/ 76200 h 557212"/>
                <a:gd name="connsiteX0" fmla="*/ 435768 w 435768"/>
                <a:gd name="connsiteY0" fmla="*/ 76200 h 557212"/>
                <a:gd name="connsiteX1" fmla="*/ 435768 w 435768"/>
                <a:gd name="connsiteY1" fmla="*/ 0 h 557212"/>
                <a:gd name="connsiteX2" fmla="*/ 4762 w 435768"/>
                <a:gd name="connsiteY2" fmla="*/ 45244 h 557212"/>
                <a:gd name="connsiteX3" fmla="*/ 0 w 435768"/>
                <a:gd name="connsiteY3" fmla="*/ 557212 h 557212"/>
                <a:gd name="connsiteX4" fmla="*/ 64293 w 435768"/>
                <a:gd name="connsiteY4" fmla="*/ 557212 h 557212"/>
                <a:gd name="connsiteX5" fmla="*/ 66675 w 435768"/>
                <a:gd name="connsiteY5" fmla="*/ 109537 h 557212"/>
                <a:gd name="connsiteX6" fmla="*/ 435768 w 435768"/>
                <a:gd name="connsiteY6" fmla="*/ 76200 h 557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768" h="557212">
                  <a:moveTo>
                    <a:pt x="435768" y="76200"/>
                  </a:moveTo>
                  <a:lnTo>
                    <a:pt x="435768" y="0"/>
                  </a:lnTo>
                  <a:lnTo>
                    <a:pt x="4762" y="45244"/>
                  </a:lnTo>
                  <a:cubicBezTo>
                    <a:pt x="3175" y="215900"/>
                    <a:pt x="1587" y="386556"/>
                    <a:pt x="0" y="557212"/>
                  </a:cubicBezTo>
                  <a:lnTo>
                    <a:pt x="64293" y="557212"/>
                  </a:lnTo>
                  <a:lnTo>
                    <a:pt x="66675" y="109537"/>
                  </a:lnTo>
                  <a:lnTo>
                    <a:pt x="435768" y="762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157" name="Freeform 156"/>
            <p:cNvSpPr/>
            <p:nvPr/>
          </p:nvSpPr>
          <p:spPr>
            <a:xfrm>
              <a:off x="4167188" y="4798220"/>
              <a:ext cx="438149" cy="550068"/>
            </a:xfrm>
            <a:custGeom>
              <a:avLst/>
              <a:gdLst>
                <a:gd name="connsiteX0" fmla="*/ 435768 w 435768"/>
                <a:gd name="connsiteY0" fmla="*/ 76200 h 557212"/>
                <a:gd name="connsiteX1" fmla="*/ 435768 w 435768"/>
                <a:gd name="connsiteY1" fmla="*/ 0 h 557212"/>
                <a:gd name="connsiteX2" fmla="*/ 4762 w 435768"/>
                <a:gd name="connsiteY2" fmla="*/ 45244 h 557212"/>
                <a:gd name="connsiteX3" fmla="*/ 0 w 435768"/>
                <a:gd name="connsiteY3" fmla="*/ 557212 h 557212"/>
                <a:gd name="connsiteX4" fmla="*/ 64293 w 435768"/>
                <a:gd name="connsiteY4" fmla="*/ 557212 h 557212"/>
                <a:gd name="connsiteX5" fmla="*/ 66675 w 435768"/>
                <a:gd name="connsiteY5" fmla="*/ 104775 h 557212"/>
                <a:gd name="connsiteX6" fmla="*/ 435768 w 435768"/>
                <a:gd name="connsiteY6" fmla="*/ 76200 h 557212"/>
                <a:gd name="connsiteX0" fmla="*/ 435768 w 435768"/>
                <a:gd name="connsiteY0" fmla="*/ 76200 h 557212"/>
                <a:gd name="connsiteX1" fmla="*/ 435768 w 435768"/>
                <a:gd name="connsiteY1" fmla="*/ 0 h 557212"/>
                <a:gd name="connsiteX2" fmla="*/ 4762 w 435768"/>
                <a:gd name="connsiteY2" fmla="*/ 45244 h 557212"/>
                <a:gd name="connsiteX3" fmla="*/ 0 w 435768"/>
                <a:gd name="connsiteY3" fmla="*/ 557212 h 557212"/>
                <a:gd name="connsiteX4" fmla="*/ 64293 w 435768"/>
                <a:gd name="connsiteY4" fmla="*/ 557212 h 557212"/>
                <a:gd name="connsiteX5" fmla="*/ 66675 w 435768"/>
                <a:gd name="connsiteY5" fmla="*/ 109537 h 557212"/>
                <a:gd name="connsiteX6" fmla="*/ 435768 w 435768"/>
                <a:gd name="connsiteY6" fmla="*/ 76200 h 557212"/>
                <a:gd name="connsiteX0" fmla="*/ 435768 w 435768"/>
                <a:gd name="connsiteY0" fmla="*/ 76200 h 585787"/>
                <a:gd name="connsiteX1" fmla="*/ 435768 w 435768"/>
                <a:gd name="connsiteY1" fmla="*/ 0 h 585787"/>
                <a:gd name="connsiteX2" fmla="*/ 4762 w 435768"/>
                <a:gd name="connsiteY2" fmla="*/ 45244 h 585787"/>
                <a:gd name="connsiteX3" fmla="*/ 0 w 435768"/>
                <a:gd name="connsiteY3" fmla="*/ 585787 h 585787"/>
                <a:gd name="connsiteX4" fmla="*/ 64293 w 435768"/>
                <a:gd name="connsiteY4" fmla="*/ 557212 h 585787"/>
                <a:gd name="connsiteX5" fmla="*/ 66675 w 435768"/>
                <a:gd name="connsiteY5" fmla="*/ 109537 h 585787"/>
                <a:gd name="connsiteX6" fmla="*/ 435768 w 435768"/>
                <a:gd name="connsiteY6" fmla="*/ 76200 h 585787"/>
                <a:gd name="connsiteX0" fmla="*/ 435768 w 435768"/>
                <a:gd name="connsiteY0" fmla="*/ 76200 h 595312"/>
                <a:gd name="connsiteX1" fmla="*/ 435768 w 435768"/>
                <a:gd name="connsiteY1" fmla="*/ 0 h 595312"/>
                <a:gd name="connsiteX2" fmla="*/ 4762 w 435768"/>
                <a:gd name="connsiteY2" fmla="*/ 45244 h 595312"/>
                <a:gd name="connsiteX3" fmla="*/ 0 w 435768"/>
                <a:gd name="connsiteY3" fmla="*/ 585787 h 595312"/>
                <a:gd name="connsiteX4" fmla="*/ 54768 w 435768"/>
                <a:gd name="connsiteY4" fmla="*/ 595312 h 595312"/>
                <a:gd name="connsiteX5" fmla="*/ 66675 w 435768"/>
                <a:gd name="connsiteY5" fmla="*/ 109537 h 595312"/>
                <a:gd name="connsiteX6" fmla="*/ 435768 w 435768"/>
                <a:gd name="connsiteY6" fmla="*/ 76200 h 595312"/>
                <a:gd name="connsiteX0" fmla="*/ 433387 w 435768"/>
                <a:gd name="connsiteY0" fmla="*/ 128588 h 595312"/>
                <a:gd name="connsiteX1" fmla="*/ 435768 w 435768"/>
                <a:gd name="connsiteY1" fmla="*/ 0 h 595312"/>
                <a:gd name="connsiteX2" fmla="*/ 4762 w 435768"/>
                <a:gd name="connsiteY2" fmla="*/ 45244 h 595312"/>
                <a:gd name="connsiteX3" fmla="*/ 0 w 435768"/>
                <a:gd name="connsiteY3" fmla="*/ 585787 h 595312"/>
                <a:gd name="connsiteX4" fmla="*/ 54768 w 435768"/>
                <a:gd name="connsiteY4" fmla="*/ 595312 h 595312"/>
                <a:gd name="connsiteX5" fmla="*/ 66675 w 435768"/>
                <a:gd name="connsiteY5" fmla="*/ 109537 h 595312"/>
                <a:gd name="connsiteX6" fmla="*/ 433387 w 435768"/>
                <a:gd name="connsiteY6" fmla="*/ 128588 h 595312"/>
                <a:gd name="connsiteX0" fmla="*/ 433387 w 438149"/>
                <a:gd name="connsiteY0" fmla="*/ 83344 h 550068"/>
                <a:gd name="connsiteX1" fmla="*/ 438149 w 438149"/>
                <a:gd name="connsiteY1" fmla="*/ 21431 h 550068"/>
                <a:gd name="connsiteX2" fmla="*/ 4762 w 438149"/>
                <a:gd name="connsiteY2" fmla="*/ 0 h 550068"/>
                <a:gd name="connsiteX3" fmla="*/ 0 w 438149"/>
                <a:gd name="connsiteY3" fmla="*/ 540543 h 550068"/>
                <a:gd name="connsiteX4" fmla="*/ 54768 w 438149"/>
                <a:gd name="connsiteY4" fmla="*/ 550068 h 550068"/>
                <a:gd name="connsiteX5" fmla="*/ 66675 w 438149"/>
                <a:gd name="connsiteY5" fmla="*/ 64293 h 550068"/>
                <a:gd name="connsiteX6" fmla="*/ 433387 w 438149"/>
                <a:gd name="connsiteY6" fmla="*/ 83344 h 550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149" h="550068">
                  <a:moveTo>
                    <a:pt x="433387" y="83344"/>
                  </a:moveTo>
                  <a:cubicBezTo>
                    <a:pt x="434181" y="40481"/>
                    <a:pt x="437355" y="64294"/>
                    <a:pt x="438149" y="21431"/>
                  </a:cubicBezTo>
                  <a:lnTo>
                    <a:pt x="4762" y="0"/>
                  </a:lnTo>
                  <a:cubicBezTo>
                    <a:pt x="3175" y="170656"/>
                    <a:pt x="1587" y="369887"/>
                    <a:pt x="0" y="540543"/>
                  </a:cubicBezTo>
                  <a:lnTo>
                    <a:pt x="54768" y="550068"/>
                  </a:lnTo>
                  <a:lnTo>
                    <a:pt x="66675" y="64293"/>
                  </a:lnTo>
                  <a:lnTo>
                    <a:pt x="433387" y="8334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158" name="Freeform 157"/>
            <p:cNvSpPr/>
            <p:nvPr/>
          </p:nvSpPr>
          <p:spPr>
            <a:xfrm>
              <a:off x="4160044" y="3938588"/>
              <a:ext cx="450056" cy="561975"/>
            </a:xfrm>
            <a:custGeom>
              <a:avLst/>
              <a:gdLst>
                <a:gd name="connsiteX0" fmla="*/ 0 w 450056"/>
                <a:gd name="connsiteY0" fmla="*/ 561975 h 561975"/>
                <a:gd name="connsiteX1" fmla="*/ 73819 w 450056"/>
                <a:gd name="connsiteY1" fmla="*/ 561975 h 561975"/>
                <a:gd name="connsiteX2" fmla="*/ 73819 w 450056"/>
                <a:gd name="connsiteY2" fmla="*/ 116681 h 561975"/>
                <a:gd name="connsiteX3" fmla="*/ 450056 w 450056"/>
                <a:gd name="connsiteY3" fmla="*/ 73818 h 561975"/>
                <a:gd name="connsiteX4" fmla="*/ 450056 w 450056"/>
                <a:gd name="connsiteY4" fmla="*/ 0 h 561975"/>
                <a:gd name="connsiteX5" fmla="*/ 7144 w 450056"/>
                <a:gd name="connsiteY5" fmla="*/ 47625 h 561975"/>
                <a:gd name="connsiteX6" fmla="*/ 0 w 450056"/>
                <a:gd name="connsiteY6" fmla="*/ 561975 h 561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056" h="561975">
                  <a:moveTo>
                    <a:pt x="0" y="561975"/>
                  </a:moveTo>
                  <a:lnTo>
                    <a:pt x="73819" y="561975"/>
                  </a:lnTo>
                  <a:lnTo>
                    <a:pt x="73819" y="116681"/>
                  </a:lnTo>
                  <a:lnTo>
                    <a:pt x="450056" y="73818"/>
                  </a:lnTo>
                  <a:lnTo>
                    <a:pt x="450056" y="0"/>
                  </a:lnTo>
                  <a:lnTo>
                    <a:pt x="7144" y="47625"/>
                  </a:lnTo>
                  <a:cubicBezTo>
                    <a:pt x="4763" y="219075"/>
                    <a:pt x="2381" y="390525"/>
                    <a:pt x="0" y="56197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159" name="Freeform 158"/>
            <p:cNvSpPr/>
            <p:nvPr/>
          </p:nvSpPr>
          <p:spPr>
            <a:xfrm>
              <a:off x="4160044" y="4795838"/>
              <a:ext cx="450056" cy="559594"/>
            </a:xfrm>
            <a:custGeom>
              <a:avLst/>
              <a:gdLst>
                <a:gd name="connsiteX0" fmla="*/ 0 w 450056"/>
                <a:gd name="connsiteY0" fmla="*/ 561975 h 561975"/>
                <a:gd name="connsiteX1" fmla="*/ 73819 w 450056"/>
                <a:gd name="connsiteY1" fmla="*/ 561975 h 561975"/>
                <a:gd name="connsiteX2" fmla="*/ 73819 w 450056"/>
                <a:gd name="connsiteY2" fmla="*/ 116681 h 561975"/>
                <a:gd name="connsiteX3" fmla="*/ 450056 w 450056"/>
                <a:gd name="connsiteY3" fmla="*/ 73818 h 561975"/>
                <a:gd name="connsiteX4" fmla="*/ 450056 w 450056"/>
                <a:gd name="connsiteY4" fmla="*/ 0 h 561975"/>
                <a:gd name="connsiteX5" fmla="*/ 7144 w 450056"/>
                <a:gd name="connsiteY5" fmla="*/ 47625 h 561975"/>
                <a:gd name="connsiteX6" fmla="*/ 0 w 450056"/>
                <a:gd name="connsiteY6" fmla="*/ 561975 h 561975"/>
                <a:gd name="connsiteX0" fmla="*/ 0 w 450056"/>
                <a:gd name="connsiteY0" fmla="*/ 561975 h 576262"/>
                <a:gd name="connsiteX1" fmla="*/ 71438 w 450056"/>
                <a:gd name="connsiteY1" fmla="*/ 576262 h 576262"/>
                <a:gd name="connsiteX2" fmla="*/ 73819 w 450056"/>
                <a:gd name="connsiteY2" fmla="*/ 116681 h 576262"/>
                <a:gd name="connsiteX3" fmla="*/ 450056 w 450056"/>
                <a:gd name="connsiteY3" fmla="*/ 73818 h 576262"/>
                <a:gd name="connsiteX4" fmla="*/ 450056 w 450056"/>
                <a:gd name="connsiteY4" fmla="*/ 0 h 576262"/>
                <a:gd name="connsiteX5" fmla="*/ 7144 w 450056"/>
                <a:gd name="connsiteY5" fmla="*/ 47625 h 576262"/>
                <a:gd name="connsiteX6" fmla="*/ 0 w 450056"/>
                <a:gd name="connsiteY6" fmla="*/ 561975 h 576262"/>
                <a:gd name="connsiteX0" fmla="*/ 0 w 450056"/>
                <a:gd name="connsiteY0" fmla="*/ 561975 h 576262"/>
                <a:gd name="connsiteX1" fmla="*/ 71438 w 450056"/>
                <a:gd name="connsiteY1" fmla="*/ 576262 h 576262"/>
                <a:gd name="connsiteX2" fmla="*/ 73819 w 450056"/>
                <a:gd name="connsiteY2" fmla="*/ 116681 h 576262"/>
                <a:gd name="connsiteX3" fmla="*/ 450056 w 450056"/>
                <a:gd name="connsiteY3" fmla="*/ 73818 h 576262"/>
                <a:gd name="connsiteX4" fmla="*/ 450056 w 450056"/>
                <a:gd name="connsiteY4" fmla="*/ 0 h 576262"/>
                <a:gd name="connsiteX5" fmla="*/ 7144 w 450056"/>
                <a:gd name="connsiteY5" fmla="*/ 16668 h 576262"/>
                <a:gd name="connsiteX6" fmla="*/ 0 w 450056"/>
                <a:gd name="connsiteY6" fmla="*/ 561975 h 576262"/>
                <a:gd name="connsiteX0" fmla="*/ 0 w 450056"/>
                <a:gd name="connsiteY0" fmla="*/ 561975 h 576262"/>
                <a:gd name="connsiteX1" fmla="*/ 71438 w 450056"/>
                <a:gd name="connsiteY1" fmla="*/ 576262 h 576262"/>
                <a:gd name="connsiteX2" fmla="*/ 73819 w 450056"/>
                <a:gd name="connsiteY2" fmla="*/ 116681 h 576262"/>
                <a:gd name="connsiteX3" fmla="*/ 450056 w 450056"/>
                <a:gd name="connsiteY3" fmla="*/ 104775 h 576262"/>
                <a:gd name="connsiteX4" fmla="*/ 450056 w 450056"/>
                <a:gd name="connsiteY4" fmla="*/ 0 h 576262"/>
                <a:gd name="connsiteX5" fmla="*/ 7144 w 450056"/>
                <a:gd name="connsiteY5" fmla="*/ 16668 h 576262"/>
                <a:gd name="connsiteX6" fmla="*/ 0 w 450056"/>
                <a:gd name="connsiteY6" fmla="*/ 561975 h 576262"/>
                <a:gd name="connsiteX0" fmla="*/ 0 w 450056"/>
                <a:gd name="connsiteY0" fmla="*/ 545307 h 559594"/>
                <a:gd name="connsiteX1" fmla="*/ 71438 w 450056"/>
                <a:gd name="connsiteY1" fmla="*/ 559594 h 559594"/>
                <a:gd name="connsiteX2" fmla="*/ 73819 w 450056"/>
                <a:gd name="connsiteY2" fmla="*/ 100013 h 559594"/>
                <a:gd name="connsiteX3" fmla="*/ 450056 w 450056"/>
                <a:gd name="connsiteY3" fmla="*/ 88107 h 559594"/>
                <a:gd name="connsiteX4" fmla="*/ 450056 w 450056"/>
                <a:gd name="connsiteY4" fmla="*/ 21432 h 559594"/>
                <a:gd name="connsiteX5" fmla="*/ 7144 w 450056"/>
                <a:gd name="connsiteY5" fmla="*/ 0 h 559594"/>
                <a:gd name="connsiteX6" fmla="*/ 0 w 450056"/>
                <a:gd name="connsiteY6" fmla="*/ 545307 h 559594"/>
                <a:gd name="connsiteX0" fmla="*/ 0 w 450056"/>
                <a:gd name="connsiteY0" fmla="*/ 545307 h 559594"/>
                <a:gd name="connsiteX1" fmla="*/ 71438 w 450056"/>
                <a:gd name="connsiteY1" fmla="*/ 559594 h 559594"/>
                <a:gd name="connsiteX2" fmla="*/ 76200 w 450056"/>
                <a:gd name="connsiteY2" fmla="*/ 71438 h 559594"/>
                <a:gd name="connsiteX3" fmla="*/ 450056 w 450056"/>
                <a:gd name="connsiteY3" fmla="*/ 88107 h 559594"/>
                <a:gd name="connsiteX4" fmla="*/ 450056 w 450056"/>
                <a:gd name="connsiteY4" fmla="*/ 21432 h 559594"/>
                <a:gd name="connsiteX5" fmla="*/ 7144 w 450056"/>
                <a:gd name="connsiteY5" fmla="*/ 0 h 559594"/>
                <a:gd name="connsiteX6" fmla="*/ 0 w 450056"/>
                <a:gd name="connsiteY6" fmla="*/ 545307 h 559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056" h="559594">
                  <a:moveTo>
                    <a:pt x="0" y="545307"/>
                  </a:moveTo>
                  <a:lnTo>
                    <a:pt x="71438" y="559594"/>
                  </a:lnTo>
                  <a:cubicBezTo>
                    <a:pt x="72232" y="406400"/>
                    <a:pt x="75406" y="224632"/>
                    <a:pt x="76200" y="71438"/>
                  </a:cubicBezTo>
                  <a:lnTo>
                    <a:pt x="450056" y="88107"/>
                  </a:lnTo>
                  <a:lnTo>
                    <a:pt x="450056" y="21432"/>
                  </a:lnTo>
                  <a:lnTo>
                    <a:pt x="7144" y="0"/>
                  </a:lnTo>
                  <a:cubicBezTo>
                    <a:pt x="4763" y="171450"/>
                    <a:pt x="2381" y="373857"/>
                    <a:pt x="0" y="54530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160" name="Freeform 159"/>
            <p:cNvSpPr/>
            <p:nvPr/>
          </p:nvSpPr>
          <p:spPr>
            <a:xfrm>
              <a:off x="3088481" y="3907631"/>
              <a:ext cx="321469" cy="490538"/>
            </a:xfrm>
            <a:custGeom>
              <a:avLst/>
              <a:gdLst>
                <a:gd name="connsiteX0" fmla="*/ 0 w 321469"/>
                <a:gd name="connsiteY0" fmla="*/ 490538 h 490538"/>
                <a:gd name="connsiteX1" fmla="*/ 11907 w 321469"/>
                <a:gd name="connsiteY1" fmla="*/ 47625 h 490538"/>
                <a:gd name="connsiteX2" fmla="*/ 321469 w 321469"/>
                <a:gd name="connsiteY2" fmla="*/ 0 h 490538"/>
                <a:gd name="connsiteX3" fmla="*/ 316707 w 321469"/>
                <a:gd name="connsiteY3" fmla="*/ 80963 h 490538"/>
                <a:gd name="connsiteX4" fmla="*/ 80963 w 321469"/>
                <a:gd name="connsiteY4" fmla="*/ 109538 h 490538"/>
                <a:gd name="connsiteX5" fmla="*/ 66675 w 321469"/>
                <a:gd name="connsiteY5" fmla="*/ 490538 h 490538"/>
                <a:gd name="connsiteX6" fmla="*/ 0 w 321469"/>
                <a:gd name="connsiteY6" fmla="*/ 490538 h 490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1469" h="490538">
                  <a:moveTo>
                    <a:pt x="0" y="490538"/>
                  </a:moveTo>
                  <a:lnTo>
                    <a:pt x="11907" y="47625"/>
                  </a:lnTo>
                  <a:lnTo>
                    <a:pt x="321469" y="0"/>
                  </a:lnTo>
                  <a:lnTo>
                    <a:pt x="316707" y="80963"/>
                  </a:lnTo>
                  <a:lnTo>
                    <a:pt x="80963" y="109538"/>
                  </a:lnTo>
                  <a:lnTo>
                    <a:pt x="66675" y="490538"/>
                  </a:lnTo>
                  <a:lnTo>
                    <a:pt x="0" y="49053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161" name="Freeform 160"/>
            <p:cNvSpPr/>
            <p:nvPr/>
          </p:nvSpPr>
          <p:spPr>
            <a:xfrm>
              <a:off x="2528888" y="4133850"/>
              <a:ext cx="278606" cy="364331"/>
            </a:xfrm>
            <a:custGeom>
              <a:avLst/>
              <a:gdLst>
                <a:gd name="connsiteX0" fmla="*/ 11906 w 278606"/>
                <a:gd name="connsiteY0" fmla="*/ 26194 h 364331"/>
                <a:gd name="connsiteX1" fmla="*/ 0 w 278606"/>
                <a:gd name="connsiteY1" fmla="*/ 361950 h 364331"/>
                <a:gd name="connsiteX2" fmla="*/ 64293 w 278606"/>
                <a:gd name="connsiteY2" fmla="*/ 364331 h 364331"/>
                <a:gd name="connsiteX3" fmla="*/ 71437 w 278606"/>
                <a:gd name="connsiteY3" fmla="*/ 95250 h 364331"/>
                <a:gd name="connsiteX4" fmla="*/ 276225 w 278606"/>
                <a:gd name="connsiteY4" fmla="*/ 73819 h 364331"/>
                <a:gd name="connsiteX5" fmla="*/ 278606 w 278606"/>
                <a:gd name="connsiteY5" fmla="*/ 0 h 364331"/>
                <a:gd name="connsiteX6" fmla="*/ 11906 w 278606"/>
                <a:gd name="connsiteY6" fmla="*/ 26194 h 364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8606" h="364331">
                  <a:moveTo>
                    <a:pt x="11906" y="26194"/>
                  </a:moveTo>
                  <a:lnTo>
                    <a:pt x="0" y="361950"/>
                  </a:lnTo>
                  <a:lnTo>
                    <a:pt x="64293" y="364331"/>
                  </a:lnTo>
                  <a:lnTo>
                    <a:pt x="71437" y="95250"/>
                  </a:lnTo>
                  <a:lnTo>
                    <a:pt x="276225" y="73819"/>
                  </a:lnTo>
                  <a:cubicBezTo>
                    <a:pt x="277019" y="49213"/>
                    <a:pt x="277812" y="24606"/>
                    <a:pt x="278606" y="0"/>
                  </a:cubicBezTo>
                  <a:lnTo>
                    <a:pt x="11906" y="2619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162" name="Freeform 161"/>
            <p:cNvSpPr/>
            <p:nvPr/>
          </p:nvSpPr>
          <p:spPr>
            <a:xfrm>
              <a:off x="2509838" y="4695825"/>
              <a:ext cx="285750" cy="366713"/>
            </a:xfrm>
            <a:custGeom>
              <a:avLst/>
              <a:gdLst>
                <a:gd name="connsiteX0" fmla="*/ 0 w 285750"/>
                <a:gd name="connsiteY0" fmla="*/ 354806 h 366713"/>
                <a:gd name="connsiteX1" fmla="*/ 19050 w 285750"/>
                <a:gd name="connsiteY1" fmla="*/ 0 h 366713"/>
                <a:gd name="connsiteX2" fmla="*/ 285750 w 285750"/>
                <a:gd name="connsiteY2" fmla="*/ 16669 h 366713"/>
                <a:gd name="connsiteX3" fmla="*/ 280987 w 285750"/>
                <a:gd name="connsiteY3" fmla="*/ 80963 h 366713"/>
                <a:gd name="connsiteX4" fmla="*/ 80962 w 285750"/>
                <a:gd name="connsiteY4" fmla="*/ 71438 h 366713"/>
                <a:gd name="connsiteX5" fmla="*/ 66675 w 285750"/>
                <a:gd name="connsiteY5" fmla="*/ 366713 h 366713"/>
                <a:gd name="connsiteX6" fmla="*/ 0 w 285750"/>
                <a:gd name="connsiteY6" fmla="*/ 354806 h 366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50" h="366713">
                  <a:moveTo>
                    <a:pt x="0" y="354806"/>
                  </a:moveTo>
                  <a:lnTo>
                    <a:pt x="19050" y="0"/>
                  </a:lnTo>
                  <a:lnTo>
                    <a:pt x="285750" y="16669"/>
                  </a:lnTo>
                  <a:lnTo>
                    <a:pt x="280987" y="80963"/>
                  </a:lnTo>
                  <a:lnTo>
                    <a:pt x="80962" y="71438"/>
                  </a:lnTo>
                  <a:lnTo>
                    <a:pt x="66675" y="366713"/>
                  </a:lnTo>
                  <a:lnTo>
                    <a:pt x="0" y="35480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163" name="Freeform 162"/>
            <p:cNvSpPr/>
            <p:nvPr/>
          </p:nvSpPr>
          <p:spPr>
            <a:xfrm>
              <a:off x="3048000" y="4738688"/>
              <a:ext cx="392906" cy="804862"/>
            </a:xfrm>
            <a:custGeom>
              <a:avLst/>
              <a:gdLst>
                <a:gd name="connsiteX0" fmla="*/ 85725 w 392906"/>
                <a:gd name="connsiteY0" fmla="*/ 685800 h 804862"/>
                <a:gd name="connsiteX1" fmla="*/ 0 w 392906"/>
                <a:gd name="connsiteY1" fmla="*/ 707231 h 804862"/>
                <a:gd name="connsiteX2" fmla="*/ 23813 w 392906"/>
                <a:gd name="connsiteY2" fmla="*/ 0 h 804862"/>
                <a:gd name="connsiteX3" fmla="*/ 392906 w 392906"/>
                <a:gd name="connsiteY3" fmla="*/ 19050 h 804862"/>
                <a:gd name="connsiteX4" fmla="*/ 376238 w 392906"/>
                <a:gd name="connsiteY4" fmla="*/ 804862 h 804862"/>
                <a:gd name="connsiteX5" fmla="*/ 347663 w 392906"/>
                <a:gd name="connsiteY5" fmla="*/ 792956 h 804862"/>
                <a:gd name="connsiteX6" fmla="*/ 364331 w 392906"/>
                <a:gd name="connsiteY6" fmla="*/ 76200 h 804862"/>
                <a:gd name="connsiteX7" fmla="*/ 252413 w 392906"/>
                <a:gd name="connsiteY7" fmla="*/ 71437 h 804862"/>
                <a:gd name="connsiteX8" fmla="*/ 235744 w 392906"/>
                <a:gd name="connsiteY8" fmla="*/ 700087 h 804862"/>
                <a:gd name="connsiteX9" fmla="*/ 197644 w 392906"/>
                <a:gd name="connsiteY9" fmla="*/ 690562 h 804862"/>
                <a:gd name="connsiteX10" fmla="*/ 211931 w 392906"/>
                <a:gd name="connsiteY10" fmla="*/ 69056 h 804862"/>
                <a:gd name="connsiteX11" fmla="*/ 100013 w 392906"/>
                <a:gd name="connsiteY11" fmla="*/ 59531 h 804862"/>
                <a:gd name="connsiteX12" fmla="*/ 85725 w 392906"/>
                <a:gd name="connsiteY12" fmla="*/ 685800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2906" h="804862">
                  <a:moveTo>
                    <a:pt x="85725" y="685800"/>
                  </a:moveTo>
                  <a:lnTo>
                    <a:pt x="0" y="707231"/>
                  </a:lnTo>
                  <a:lnTo>
                    <a:pt x="23813" y="0"/>
                  </a:lnTo>
                  <a:lnTo>
                    <a:pt x="392906" y="19050"/>
                  </a:lnTo>
                  <a:lnTo>
                    <a:pt x="376238" y="804862"/>
                  </a:lnTo>
                  <a:lnTo>
                    <a:pt x="347663" y="792956"/>
                  </a:lnTo>
                  <a:lnTo>
                    <a:pt x="364331" y="76200"/>
                  </a:lnTo>
                  <a:lnTo>
                    <a:pt x="252413" y="71437"/>
                  </a:lnTo>
                  <a:lnTo>
                    <a:pt x="235744" y="700087"/>
                  </a:lnTo>
                  <a:lnTo>
                    <a:pt x="197644" y="690562"/>
                  </a:lnTo>
                  <a:lnTo>
                    <a:pt x="211931" y="69056"/>
                  </a:lnTo>
                  <a:lnTo>
                    <a:pt x="100013" y="59531"/>
                  </a:lnTo>
                  <a:lnTo>
                    <a:pt x="85725" y="6858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164" name="Freeform 163"/>
            <p:cNvSpPr/>
            <p:nvPr/>
          </p:nvSpPr>
          <p:spPr>
            <a:xfrm>
              <a:off x="4262201" y="1501448"/>
              <a:ext cx="1662350" cy="311416"/>
            </a:xfrm>
            <a:custGeom>
              <a:avLst/>
              <a:gdLst>
                <a:gd name="connsiteX0" fmla="*/ 0 w 1654175"/>
                <a:gd name="connsiteY0" fmla="*/ 158750 h 276225"/>
                <a:gd name="connsiteX1" fmla="*/ 311150 w 1654175"/>
                <a:gd name="connsiteY1" fmla="*/ 76200 h 276225"/>
                <a:gd name="connsiteX2" fmla="*/ 1136650 w 1654175"/>
                <a:gd name="connsiteY2" fmla="*/ 238125 h 276225"/>
                <a:gd name="connsiteX3" fmla="*/ 1654175 w 1654175"/>
                <a:gd name="connsiteY3" fmla="*/ 276225 h 276225"/>
                <a:gd name="connsiteX4" fmla="*/ 1177925 w 1654175"/>
                <a:gd name="connsiteY4" fmla="*/ 165100 h 276225"/>
                <a:gd name="connsiteX5" fmla="*/ 238125 w 1654175"/>
                <a:gd name="connsiteY5" fmla="*/ 0 h 276225"/>
                <a:gd name="connsiteX6" fmla="*/ 0 w 1654175"/>
                <a:gd name="connsiteY6" fmla="*/ 158750 h 276225"/>
                <a:gd name="connsiteX0" fmla="*/ 8663 w 1662838"/>
                <a:gd name="connsiteY0" fmla="*/ 158750 h 276225"/>
                <a:gd name="connsiteX1" fmla="*/ 319813 w 1662838"/>
                <a:gd name="connsiteY1" fmla="*/ 76200 h 276225"/>
                <a:gd name="connsiteX2" fmla="*/ 1145313 w 1662838"/>
                <a:gd name="connsiteY2" fmla="*/ 238125 h 276225"/>
                <a:gd name="connsiteX3" fmla="*/ 1662838 w 1662838"/>
                <a:gd name="connsiteY3" fmla="*/ 276225 h 276225"/>
                <a:gd name="connsiteX4" fmla="*/ 1186588 w 1662838"/>
                <a:gd name="connsiteY4" fmla="*/ 165100 h 276225"/>
                <a:gd name="connsiteX5" fmla="*/ 246788 w 1662838"/>
                <a:gd name="connsiteY5" fmla="*/ 0 h 276225"/>
                <a:gd name="connsiteX6" fmla="*/ 8663 w 1662838"/>
                <a:gd name="connsiteY6" fmla="*/ 158750 h 276225"/>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528"/>
                <a:gd name="connsiteX1" fmla="*/ 319612 w 1662637"/>
                <a:gd name="connsiteY1" fmla="*/ 104203 h 304528"/>
                <a:gd name="connsiteX2" fmla="*/ 1145112 w 1662637"/>
                <a:gd name="connsiteY2" fmla="*/ 266128 h 304528"/>
                <a:gd name="connsiteX3" fmla="*/ 1662637 w 1662637"/>
                <a:gd name="connsiteY3" fmla="*/ 304228 h 304528"/>
                <a:gd name="connsiteX4" fmla="*/ 1186387 w 1662637"/>
                <a:gd name="connsiteY4" fmla="*/ 193103 h 304528"/>
                <a:gd name="connsiteX5" fmla="*/ 246587 w 1662637"/>
                <a:gd name="connsiteY5" fmla="*/ 28003 h 304528"/>
                <a:gd name="connsiteX6" fmla="*/ 8462 w 1662637"/>
                <a:gd name="connsiteY6" fmla="*/ 186753 h 304528"/>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2350" h="311416">
                  <a:moveTo>
                    <a:pt x="8175" y="190827"/>
                  </a:moveTo>
                  <a:cubicBezTo>
                    <a:pt x="26167" y="172835"/>
                    <a:pt x="-51092" y="-64231"/>
                    <a:pt x="319325" y="108277"/>
                  </a:cubicBezTo>
                  <a:cubicBezTo>
                    <a:pt x="470667" y="187652"/>
                    <a:pt x="733133" y="400377"/>
                    <a:pt x="1144825" y="270202"/>
                  </a:cubicBezTo>
                  <a:cubicBezTo>
                    <a:pt x="1307808" y="200352"/>
                    <a:pt x="1461267" y="200352"/>
                    <a:pt x="1662350" y="308302"/>
                  </a:cubicBezTo>
                  <a:cubicBezTo>
                    <a:pt x="1592500" y="258560"/>
                    <a:pt x="1405175" y="151669"/>
                    <a:pt x="1186100" y="197177"/>
                  </a:cubicBezTo>
                  <a:cubicBezTo>
                    <a:pt x="720433" y="345344"/>
                    <a:pt x="623067" y="188710"/>
                    <a:pt x="246300" y="32077"/>
                  </a:cubicBezTo>
                  <a:cubicBezTo>
                    <a:pt x="182800" y="-731"/>
                    <a:pt x="-45800" y="-65290"/>
                    <a:pt x="8175" y="19082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165" name="Freeform 164"/>
            <p:cNvSpPr/>
            <p:nvPr/>
          </p:nvSpPr>
          <p:spPr>
            <a:xfrm>
              <a:off x="5030337" y="599350"/>
              <a:ext cx="2926214" cy="590347"/>
            </a:xfrm>
            <a:custGeom>
              <a:avLst/>
              <a:gdLst>
                <a:gd name="connsiteX0" fmla="*/ 0 w 1654175"/>
                <a:gd name="connsiteY0" fmla="*/ 158750 h 276225"/>
                <a:gd name="connsiteX1" fmla="*/ 311150 w 1654175"/>
                <a:gd name="connsiteY1" fmla="*/ 76200 h 276225"/>
                <a:gd name="connsiteX2" fmla="*/ 1136650 w 1654175"/>
                <a:gd name="connsiteY2" fmla="*/ 238125 h 276225"/>
                <a:gd name="connsiteX3" fmla="*/ 1654175 w 1654175"/>
                <a:gd name="connsiteY3" fmla="*/ 276225 h 276225"/>
                <a:gd name="connsiteX4" fmla="*/ 1177925 w 1654175"/>
                <a:gd name="connsiteY4" fmla="*/ 165100 h 276225"/>
                <a:gd name="connsiteX5" fmla="*/ 238125 w 1654175"/>
                <a:gd name="connsiteY5" fmla="*/ 0 h 276225"/>
                <a:gd name="connsiteX6" fmla="*/ 0 w 1654175"/>
                <a:gd name="connsiteY6" fmla="*/ 158750 h 276225"/>
                <a:gd name="connsiteX0" fmla="*/ 8663 w 1662838"/>
                <a:gd name="connsiteY0" fmla="*/ 158750 h 276225"/>
                <a:gd name="connsiteX1" fmla="*/ 319813 w 1662838"/>
                <a:gd name="connsiteY1" fmla="*/ 76200 h 276225"/>
                <a:gd name="connsiteX2" fmla="*/ 1145313 w 1662838"/>
                <a:gd name="connsiteY2" fmla="*/ 238125 h 276225"/>
                <a:gd name="connsiteX3" fmla="*/ 1662838 w 1662838"/>
                <a:gd name="connsiteY3" fmla="*/ 276225 h 276225"/>
                <a:gd name="connsiteX4" fmla="*/ 1186588 w 1662838"/>
                <a:gd name="connsiteY4" fmla="*/ 165100 h 276225"/>
                <a:gd name="connsiteX5" fmla="*/ 246788 w 1662838"/>
                <a:gd name="connsiteY5" fmla="*/ 0 h 276225"/>
                <a:gd name="connsiteX6" fmla="*/ 8663 w 1662838"/>
                <a:gd name="connsiteY6" fmla="*/ 158750 h 276225"/>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528"/>
                <a:gd name="connsiteX1" fmla="*/ 319612 w 1662637"/>
                <a:gd name="connsiteY1" fmla="*/ 104203 h 304528"/>
                <a:gd name="connsiteX2" fmla="*/ 1145112 w 1662637"/>
                <a:gd name="connsiteY2" fmla="*/ 266128 h 304528"/>
                <a:gd name="connsiteX3" fmla="*/ 1662637 w 1662637"/>
                <a:gd name="connsiteY3" fmla="*/ 304228 h 304528"/>
                <a:gd name="connsiteX4" fmla="*/ 1186387 w 1662637"/>
                <a:gd name="connsiteY4" fmla="*/ 193103 h 304528"/>
                <a:gd name="connsiteX5" fmla="*/ 246587 w 1662637"/>
                <a:gd name="connsiteY5" fmla="*/ 28003 h 304528"/>
                <a:gd name="connsiteX6" fmla="*/ 8462 w 1662637"/>
                <a:gd name="connsiteY6" fmla="*/ 186753 h 304528"/>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 name="connsiteX0" fmla="*/ 8175 w 1646273"/>
                <a:gd name="connsiteY0" fmla="*/ 190827 h 445287"/>
                <a:gd name="connsiteX1" fmla="*/ 319325 w 1646273"/>
                <a:gd name="connsiteY1" fmla="*/ 108277 h 445287"/>
                <a:gd name="connsiteX2" fmla="*/ 1144825 w 1646273"/>
                <a:gd name="connsiteY2" fmla="*/ 2702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9325 w 1646273"/>
                <a:gd name="connsiteY1" fmla="*/ 108277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9325 w 1646273"/>
                <a:gd name="connsiteY1" fmla="*/ 108277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2180 w 1646273"/>
                <a:gd name="connsiteY1" fmla="*/ 125400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2180 w 1646273"/>
                <a:gd name="connsiteY1" fmla="*/ 125400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2180 w 1646273"/>
                <a:gd name="connsiteY1" fmla="*/ 125400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7914 w 1646012"/>
                <a:gd name="connsiteY0" fmla="*/ 189281 h 443741"/>
                <a:gd name="connsiteX1" fmla="*/ 311919 w 1646012"/>
                <a:gd name="connsiteY1" fmla="*/ 123854 h 443741"/>
                <a:gd name="connsiteX2" fmla="*/ 1144564 w 1646012"/>
                <a:gd name="connsiteY2" fmla="*/ 300456 h 443741"/>
                <a:gd name="connsiteX3" fmla="*/ 1646012 w 1646012"/>
                <a:gd name="connsiteY3" fmla="*/ 443741 h 443741"/>
                <a:gd name="connsiteX4" fmla="*/ 1185839 w 1646012"/>
                <a:gd name="connsiteY4" fmla="*/ 195631 h 443741"/>
                <a:gd name="connsiteX5" fmla="*/ 254971 w 1646012"/>
                <a:gd name="connsiteY5" fmla="*/ 32977 h 443741"/>
                <a:gd name="connsiteX6" fmla="*/ 7914 w 1646012"/>
                <a:gd name="connsiteY6" fmla="*/ 189281 h 443741"/>
                <a:gd name="connsiteX0" fmla="*/ 8487 w 1646585"/>
                <a:gd name="connsiteY0" fmla="*/ 212527 h 466987"/>
                <a:gd name="connsiteX1" fmla="*/ 312492 w 1646585"/>
                <a:gd name="connsiteY1" fmla="*/ 147100 h 466987"/>
                <a:gd name="connsiteX2" fmla="*/ 1145137 w 1646585"/>
                <a:gd name="connsiteY2" fmla="*/ 323702 h 466987"/>
                <a:gd name="connsiteX3" fmla="*/ 1646585 w 1646585"/>
                <a:gd name="connsiteY3" fmla="*/ 466987 h 466987"/>
                <a:gd name="connsiteX4" fmla="*/ 1186412 w 1646585"/>
                <a:gd name="connsiteY4" fmla="*/ 218877 h 466987"/>
                <a:gd name="connsiteX5" fmla="*/ 255544 w 1646585"/>
                <a:gd name="connsiteY5" fmla="*/ 56223 h 466987"/>
                <a:gd name="connsiteX6" fmla="*/ 8487 w 1646585"/>
                <a:gd name="connsiteY6" fmla="*/ 212527 h 466987"/>
                <a:gd name="connsiteX0" fmla="*/ 8487 w 1646585"/>
                <a:gd name="connsiteY0" fmla="*/ 212527 h 466987"/>
                <a:gd name="connsiteX1" fmla="*/ 312492 w 1646585"/>
                <a:gd name="connsiteY1" fmla="*/ 147100 h 466987"/>
                <a:gd name="connsiteX2" fmla="*/ 1145137 w 1646585"/>
                <a:gd name="connsiteY2" fmla="*/ 323702 h 466987"/>
                <a:gd name="connsiteX3" fmla="*/ 1646585 w 1646585"/>
                <a:gd name="connsiteY3" fmla="*/ 466987 h 466987"/>
                <a:gd name="connsiteX4" fmla="*/ 1186412 w 1646585"/>
                <a:gd name="connsiteY4" fmla="*/ 218877 h 466987"/>
                <a:gd name="connsiteX5" fmla="*/ 255544 w 1646585"/>
                <a:gd name="connsiteY5" fmla="*/ 56223 h 466987"/>
                <a:gd name="connsiteX6" fmla="*/ 8487 w 1646585"/>
                <a:gd name="connsiteY6" fmla="*/ 212527 h 466987"/>
                <a:gd name="connsiteX0" fmla="*/ 8487 w 1646585"/>
                <a:gd name="connsiteY0" fmla="*/ 212527 h 466987"/>
                <a:gd name="connsiteX1" fmla="*/ 312492 w 1646585"/>
                <a:gd name="connsiteY1" fmla="*/ 147100 h 466987"/>
                <a:gd name="connsiteX2" fmla="*/ 1145137 w 1646585"/>
                <a:gd name="connsiteY2" fmla="*/ 323702 h 466987"/>
                <a:gd name="connsiteX3" fmla="*/ 1646585 w 1646585"/>
                <a:gd name="connsiteY3" fmla="*/ 466987 h 466987"/>
                <a:gd name="connsiteX4" fmla="*/ 1186412 w 1646585"/>
                <a:gd name="connsiteY4" fmla="*/ 218877 h 466987"/>
                <a:gd name="connsiteX5" fmla="*/ 255544 w 1646585"/>
                <a:gd name="connsiteY5" fmla="*/ 56223 h 466987"/>
                <a:gd name="connsiteX6" fmla="*/ 8487 w 1646585"/>
                <a:gd name="connsiteY6" fmla="*/ 212527 h 466987"/>
                <a:gd name="connsiteX0" fmla="*/ 7122 w 1645220"/>
                <a:gd name="connsiteY0" fmla="*/ 195482 h 449942"/>
                <a:gd name="connsiteX1" fmla="*/ 311127 w 1645220"/>
                <a:gd name="connsiteY1" fmla="*/ 130055 h 449942"/>
                <a:gd name="connsiteX2" fmla="*/ 1143772 w 1645220"/>
                <a:gd name="connsiteY2" fmla="*/ 306657 h 449942"/>
                <a:gd name="connsiteX3" fmla="*/ 1645220 w 1645220"/>
                <a:gd name="connsiteY3" fmla="*/ 449942 h 449942"/>
                <a:gd name="connsiteX4" fmla="*/ 1185047 w 1645220"/>
                <a:gd name="connsiteY4" fmla="*/ 201832 h 449942"/>
                <a:gd name="connsiteX5" fmla="*/ 304198 w 1645220"/>
                <a:gd name="connsiteY5" fmla="*/ 66086 h 449942"/>
                <a:gd name="connsiteX6" fmla="*/ 7122 w 1645220"/>
                <a:gd name="connsiteY6" fmla="*/ 195482 h 449942"/>
                <a:gd name="connsiteX0" fmla="*/ 8480 w 1646578"/>
                <a:gd name="connsiteY0" fmla="*/ 207867 h 462327"/>
                <a:gd name="connsiteX1" fmla="*/ 312485 w 1646578"/>
                <a:gd name="connsiteY1" fmla="*/ 142440 h 462327"/>
                <a:gd name="connsiteX2" fmla="*/ 1145130 w 1646578"/>
                <a:gd name="connsiteY2" fmla="*/ 319042 h 462327"/>
                <a:gd name="connsiteX3" fmla="*/ 1646578 w 1646578"/>
                <a:gd name="connsiteY3" fmla="*/ 462327 h 462327"/>
                <a:gd name="connsiteX4" fmla="*/ 1186405 w 1646578"/>
                <a:gd name="connsiteY4" fmla="*/ 214217 h 462327"/>
                <a:gd name="connsiteX5" fmla="*/ 305556 w 1646578"/>
                <a:gd name="connsiteY5" fmla="*/ 78471 h 462327"/>
                <a:gd name="connsiteX6" fmla="*/ 8480 w 1646578"/>
                <a:gd name="connsiteY6" fmla="*/ 207867 h 462327"/>
                <a:gd name="connsiteX0" fmla="*/ 8480 w 1646578"/>
                <a:gd name="connsiteY0" fmla="*/ 207867 h 462327"/>
                <a:gd name="connsiteX1" fmla="*/ 312485 w 1646578"/>
                <a:gd name="connsiteY1" fmla="*/ 142440 h 462327"/>
                <a:gd name="connsiteX2" fmla="*/ 1145130 w 1646578"/>
                <a:gd name="connsiteY2" fmla="*/ 319042 h 462327"/>
                <a:gd name="connsiteX3" fmla="*/ 1646578 w 1646578"/>
                <a:gd name="connsiteY3" fmla="*/ 462327 h 462327"/>
                <a:gd name="connsiteX4" fmla="*/ 1198909 w 1646578"/>
                <a:gd name="connsiteY4" fmla="*/ 238679 h 462327"/>
                <a:gd name="connsiteX5" fmla="*/ 305556 w 1646578"/>
                <a:gd name="connsiteY5" fmla="*/ 78471 h 462327"/>
                <a:gd name="connsiteX6" fmla="*/ 8480 w 1646578"/>
                <a:gd name="connsiteY6" fmla="*/ 207867 h 462327"/>
                <a:gd name="connsiteX0" fmla="*/ 7917 w 1646015"/>
                <a:gd name="connsiteY0" fmla="*/ 201136 h 455596"/>
                <a:gd name="connsiteX1" fmla="*/ 311922 w 1646015"/>
                <a:gd name="connsiteY1" fmla="*/ 135709 h 455596"/>
                <a:gd name="connsiteX2" fmla="*/ 1144567 w 1646015"/>
                <a:gd name="connsiteY2" fmla="*/ 312311 h 455596"/>
                <a:gd name="connsiteX3" fmla="*/ 1646015 w 1646015"/>
                <a:gd name="connsiteY3" fmla="*/ 455596 h 455596"/>
                <a:gd name="connsiteX4" fmla="*/ 1198346 w 1646015"/>
                <a:gd name="connsiteY4" fmla="*/ 231948 h 455596"/>
                <a:gd name="connsiteX5" fmla="*/ 323750 w 1646015"/>
                <a:gd name="connsiteY5" fmla="*/ 82748 h 455596"/>
                <a:gd name="connsiteX6" fmla="*/ 7917 w 1646015"/>
                <a:gd name="connsiteY6" fmla="*/ 201136 h 455596"/>
                <a:gd name="connsiteX0" fmla="*/ 8295 w 1646393"/>
                <a:gd name="connsiteY0" fmla="*/ 200370 h 454830"/>
                <a:gd name="connsiteX1" fmla="*/ 312300 w 1646393"/>
                <a:gd name="connsiteY1" fmla="*/ 134943 h 454830"/>
                <a:gd name="connsiteX2" fmla="*/ 1144945 w 1646393"/>
                <a:gd name="connsiteY2" fmla="*/ 311545 h 454830"/>
                <a:gd name="connsiteX3" fmla="*/ 1646393 w 1646393"/>
                <a:gd name="connsiteY3" fmla="*/ 454830 h 454830"/>
                <a:gd name="connsiteX4" fmla="*/ 1198724 w 1646393"/>
                <a:gd name="connsiteY4" fmla="*/ 231182 h 454830"/>
                <a:gd name="connsiteX5" fmla="*/ 324128 w 1646393"/>
                <a:gd name="connsiteY5" fmla="*/ 81982 h 454830"/>
                <a:gd name="connsiteX6" fmla="*/ 8295 w 1646393"/>
                <a:gd name="connsiteY6" fmla="*/ 200370 h 454830"/>
                <a:gd name="connsiteX0" fmla="*/ 8295 w 1646393"/>
                <a:gd name="connsiteY0" fmla="*/ 200370 h 454830"/>
                <a:gd name="connsiteX1" fmla="*/ 312300 w 1646393"/>
                <a:gd name="connsiteY1" fmla="*/ 134943 h 454830"/>
                <a:gd name="connsiteX2" fmla="*/ 1144945 w 1646393"/>
                <a:gd name="connsiteY2" fmla="*/ 311545 h 454830"/>
                <a:gd name="connsiteX3" fmla="*/ 1646393 w 1646393"/>
                <a:gd name="connsiteY3" fmla="*/ 454830 h 454830"/>
                <a:gd name="connsiteX4" fmla="*/ 1198724 w 1646393"/>
                <a:gd name="connsiteY4" fmla="*/ 231182 h 454830"/>
                <a:gd name="connsiteX5" fmla="*/ 324128 w 1646393"/>
                <a:gd name="connsiteY5" fmla="*/ 81982 h 454830"/>
                <a:gd name="connsiteX6" fmla="*/ 8295 w 1646393"/>
                <a:gd name="connsiteY6" fmla="*/ 200370 h 454830"/>
                <a:gd name="connsiteX0" fmla="*/ 8295 w 1646393"/>
                <a:gd name="connsiteY0" fmla="*/ 200370 h 454830"/>
                <a:gd name="connsiteX1" fmla="*/ 312300 w 1646393"/>
                <a:gd name="connsiteY1" fmla="*/ 134943 h 454830"/>
                <a:gd name="connsiteX2" fmla="*/ 1144945 w 1646393"/>
                <a:gd name="connsiteY2" fmla="*/ 311545 h 454830"/>
                <a:gd name="connsiteX3" fmla="*/ 1646393 w 1646393"/>
                <a:gd name="connsiteY3" fmla="*/ 454830 h 454830"/>
                <a:gd name="connsiteX4" fmla="*/ 1198724 w 1646393"/>
                <a:gd name="connsiteY4" fmla="*/ 231182 h 454830"/>
                <a:gd name="connsiteX5" fmla="*/ 324128 w 1646393"/>
                <a:gd name="connsiteY5" fmla="*/ 81982 h 454830"/>
                <a:gd name="connsiteX6" fmla="*/ 8295 w 1646393"/>
                <a:gd name="connsiteY6" fmla="*/ 200370 h 454830"/>
                <a:gd name="connsiteX0" fmla="*/ 8295 w 1646393"/>
                <a:gd name="connsiteY0" fmla="*/ 200370 h 454830"/>
                <a:gd name="connsiteX1" fmla="*/ 312300 w 1646393"/>
                <a:gd name="connsiteY1" fmla="*/ 134943 h 454830"/>
                <a:gd name="connsiteX2" fmla="*/ 1144945 w 1646393"/>
                <a:gd name="connsiteY2" fmla="*/ 311545 h 454830"/>
                <a:gd name="connsiteX3" fmla="*/ 1646393 w 1646393"/>
                <a:gd name="connsiteY3" fmla="*/ 454830 h 454830"/>
                <a:gd name="connsiteX4" fmla="*/ 1198724 w 1646393"/>
                <a:gd name="connsiteY4" fmla="*/ 231182 h 454830"/>
                <a:gd name="connsiteX5" fmla="*/ 324128 w 1646393"/>
                <a:gd name="connsiteY5" fmla="*/ 81982 h 454830"/>
                <a:gd name="connsiteX6" fmla="*/ 8295 w 1646393"/>
                <a:gd name="connsiteY6" fmla="*/ 200370 h 454830"/>
                <a:gd name="connsiteX0" fmla="*/ 8295 w 1646393"/>
                <a:gd name="connsiteY0" fmla="*/ 200370 h 454830"/>
                <a:gd name="connsiteX1" fmla="*/ 312300 w 1646393"/>
                <a:gd name="connsiteY1" fmla="*/ 134943 h 454830"/>
                <a:gd name="connsiteX2" fmla="*/ 547329 w 1646393"/>
                <a:gd name="connsiteY2" fmla="*/ 306941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47329 w 1646393"/>
                <a:gd name="connsiteY2" fmla="*/ 306941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47329 w 1646393"/>
                <a:gd name="connsiteY2" fmla="*/ 306941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47329 w 1646393"/>
                <a:gd name="connsiteY2" fmla="*/ 306941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83503 w 1646393"/>
                <a:gd name="connsiteY2" fmla="*/ 316114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83503 w 1646393"/>
                <a:gd name="connsiteY2" fmla="*/ 316114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83503 w 1646393"/>
                <a:gd name="connsiteY2" fmla="*/ 316114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83503 w 1646393"/>
                <a:gd name="connsiteY2" fmla="*/ 316114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46393" h="454830">
                  <a:moveTo>
                    <a:pt x="8295" y="200370"/>
                  </a:moveTo>
                  <a:cubicBezTo>
                    <a:pt x="26287" y="182378"/>
                    <a:pt x="-22389" y="-76704"/>
                    <a:pt x="312300" y="134943"/>
                  </a:cubicBezTo>
                  <a:cubicBezTo>
                    <a:pt x="413304" y="203768"/>
                    <a:pt x="460807" y="246318"/>
                    <a:pt x="583503" y="316114"/>
                  </a:cubicBezTo>
                  <a:cubicBezTo>
                    <a:pt x="840177" y="475806"/>
                    <a:pt x="1022504" y="350802"/>
                    <a:pt x="1144945" y="311545"/>
                  </a:cubicBezTo>
                  <a:cubicBezTo>
                    <a:pt x="1307928" y="241695"/>
                    <a:pt x="1469426" y="330368"/>
                    <a:pt x="1646393" y="454830"/>
                  </a:cubicBezTo>
                  <a:cubicBezTo>
                    <a:pt x="1576543" y="405088"/>
                    <a:pt x="1417799" y="185674"/>
                    <a:pt x="1198724" y="231182"/>
                  </a:cubicBezTo>
                  <a:cubicBezTo>
                    <a:pt x="733057" y="379349"/>
                    <a:pt x="817456" y="395171"/>
                    <a:pt x="324128" y="81982"/>
                  </a:cubicBezTo>
                  <a:cubicBezTo>
                    <a:pt x="175775" y="-32162"/>
                    <a:pt x="-45680" y="-55747"/>
                    <a:pt x="8295" y="20037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166" name="Freeform 165"/>
            <p:cNvSpPr/>
            <p:nvPr/>
          </p:nvSpPr>
          <p:spPr>
            <a:xfrm>
              <a:off x="6408501" y="1253798"/>
              <a:ext cx="1662350" cy="311416"/>
            </a:xfrm>
            <a:custGeom>
              <a:avLst/>
              <a:gdLst>
                <a:gd name="connsiteX0" fmla="*/ 0 w 1654175"/>
                <a:gd name="connsiteY0" fmla="*/ 158750 h 276225"/>
                <a:gd name="connsiteX1" fmla="*/ 311150 w 1654175"/>
                <a:gd name="connsiteY1" fmla="*/ 76200 h 276225"/>
                <a:gd name="connsiteX2" fmla="*/ 1136650 w 1654175"/>
                <a:gd name="connsiteY2" fmla="*/ 238125 h 276225"/>
                <a:gd name="connsiteX3" fmla="*/ 1654175 w 1654175"/>
                <a:gd name="connsiteY3" fmla="*/ 276225 h 276225"/>
                <a:gd name="connsiteX4" fmla="*/ 1177925 w 1654175"/>
                <a:gd name="connsiteY4" fmla="*/ 165100 h 276225"/>
                <a:gd name="connsiteX5" fmla="*/ 238125 w 1654175"/>
                <a:gd name="connsiteY5" fmla="*/ 0 h 276225"/>
                <a:gd name="connsiteX6" fmla="*/ 0 w 1654175"/>
                <a:gd name="connsiteY6" fmla="*/ 158750 h 276225"/>
                <a:gd name="connsiteX0" fmla="*/ 8663 w 1662838"/>
                <a:gd name="connsiteY0" fmla="*/ 158750 h 276225"/>
                <a:gd name="connsiteX1" fmla="*/ 319813 w 1662838"/>
                <a:gd name="connsiteY1" fmla="*/ 76200 h 276225"/>
                <a:gd name="connsiteX2" fmla="*/ 1145313 w 1662838"/>
                <a:gd name="connsiteY2" fmla="*/ 238125 h 276225"/>
                <a:gd name="connsiteX3" fmla="*/ 1662838 w 1662838"/>
                <a:gd name="connsiteY3" fmla="*/ 276225 h 276225"/>
                <a:gd name="connsiteX4" fmla="*/ 1186588 w 1662838"/>
                <a:gd name="connsiteY4" fmla="*/ 165100 h 276225"/>
                <a:gd name="connsiteX5" fmla="*/ 246788 w 1662838"/>
                <a:gd name="connsiteY5" fmla="*/ 0 h 276225"/>
                <a:gd name="connsiteX6" fmla="*/ 8663 w 1662838"/>
                <a:gd name="connsiteY6" fmla="*/ 158750 h 276225"/>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528"/>
                <a:gd name="connsiteX1" fmla="*/ 319612 w 1662637"/>
                <a:gd name="connsiteY1" fmla="*/ 104203 h 304528"/>
                <a:gd name="connsiteX2" fmla="*/ 1145112 w 1662637"/>
                <a:gd name="connsiteY2" fmla="*/ 266128 h 304528"/>
                <a:gd name="connsiteX3" fmla="*/ 1662637 w 1662637"/>
                <a:gd name="connsiteY3" fmla="*/ 304228 h 304528"/>
                <a:gd name="connsiteX4" fmla="*/ 1186387 w 1662637"/>
                <a:gd name="connsiteY4" fmla="*/ 193103 h 304528"/>
                <a:gd name="connsiteX5" fmla="*/ 246587 w 1662637"/>
                <a:gd name="connsiteY5" fmla="*/ 28003 h 304528"/>
                <a:gd name="connsiteX6" fmla="*/ 8462 w 1662637"/>
                <a:gd name="connsiteY6" fmla="*/ 186753 h 304528"/>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2350" h="311416">
                  <a:moveTo>
                    <a:pt x="8175" y="190827"/>
                  </a:moveTo>
                  <a:cubicBezTo>
                    <a:pt x="26167" y="172835"/>
                    <a:pt x="-51092" y="-64231"/>
                    <a:pt x="319325" y="108277"/>
                  </a:cubicBezTo>
                  <a:cubicBezTo>
                    <a:pt x="470667" y="187652"/>
                    <a:pt x="733133" y="400377"/>
                    <a:pt x="1144825" y="270202"/>
                  </a:cubicBezTo>
                  <a:cubicBezTo>
                    <a:pt x="1307808" y="200352"/>
                    <a:pt x="1461267" y="200352"/>
                    <a:pt x="1662350" y="308302"/>
                  </a:cubicBezTo>
                  <a:cubicBezTo>
                    <a:pt x="1592500" y="258560"/>
                    <a:pt x="1405175" y="151669"/>
                    <a:pt x="1186100" y="197177"/>
                  </a:cubicBezTo>
                  <a:cubicBezTo>
                    <a:pt x="720433" y="345344"/>
                    <a:pt x="623067" y="188710"/>
                    <a:pt x="246300" y="32077"/>
                  </a:cubicBezTo>
                  <a:cubicBezTo>
                    <a:pt x="182800" y="-731"/>
                    <a:pt x="-45800" y="-65290"/>
                    <a:pt x="8175" y="19082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67" name="Group 166"/>
          <p:cNvGrpSpPr/>
          <p:nvPr/>
        </p:nvGrpSpPr>
        <p:grpSpPr bwMode="black">
          <a:xfrm>
            <a:off x="2050714" y="3281399"/>
            <a:ext cx="438078" cy="356396"/>
            <a:chOff x="5184775" y="225425"/>
            <a:chExt cx="1500188" cy="1220788"/>
          </a:xfrm>
          <a:solidFill>
            <a:srgbClr val="5E83BD"/>
          </a:solidFill>
        </p:grpSpPr>
        <p:sp>
          <p:nvSpPr>
            <p:cNvPr id="168"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69"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70"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73" name="Rounded Rectangle 4"/>
          <p:cNvSpPr/>
          <p:nvPr/>
        </p:nvSpPr>
        <p:spPr>
          <a:xfrm>
            <a:off x="2550713" y="3388146"/>
            <a:ext cx="321601" cy="256759"/>
          </a:xfrm>
          <a:custGeom>
            <a:avLst/>
            <a:gdLst/>
            <a:ahLst/>
            <a:cxnLst/>
            <a:rect l="l" t="t" r="r" b="b"/>
            <a:pathLst>
              <a:path w="2855842" h="2280047">
                <a:moveTo>
                  <a:pt x="2402205" y="1810634"/>
                </a:moveTo>
                <a:lnTo>
                  <a:pt x="2402205" y="2105204"/>
                </a:lnTo>
                <a:lnTo>
                  <a:pt x="2696775" y="2105204"/>
                </a:lnTo>
                <a:lnTo>
                  <a:pt x="2696775" y="1810634"/>
                </a:lnTo>
                <a:close/>
                <a:moveTo>
                  <a:pt x="2028348" y="1810634"/>
                </a:moveTo>
                <a:lnTo>
                  <a:pt x="2028348" y="2105204"/>
                </a:lnTo>
                <a:lnTo>
                  <a:pt x="2322918" y="2105204"/>
                </a:lnTo>
                <a:lnTo>
                  <a:pt x="2322918" y="1810634"/>
                </a:lnTo>
                <a:close/>
                <a:moveTo>
                  <a:pt x="1654492" y="1810634"/>
                </a:moveTo>
                <a:lnTo>
                  <a:pt x="1654492" y="2105204"/>
                </a:lnTo>
                <a:lnTo>
                  <a:pt x="1949062" y="2105204"/>
                </a:lnTo>
                <a:lnTo>
                  <a:pt x="1949062" y="1810634"/>
                </a:lnTo>
                <a:close/>
                <a:moveTo>
                  <a:pt x="1280636" y="1810634"/>
                </a:moveTo>
                <a:lnTo>
                  <a:pt x="1280636" y="2105204"/>
                </a:lnTo>
                <a:lnTo>
                  <a:pt x="1575206" y="2105204"/>
                </a:lnTo>
                <a:lnTo>
                  <a:pt x="1575206" y="1810634"/>
                </a:lnTo>
                <a:close/>
                <a:moveTo>
                  <a:pt x="906780" y="1810634"/>
                </a:moveTo>
                <a:lnTo>
                  <a:pt x="906780" y="2105204"/>
                </a:lnTo>
                <a:lnTo>
                  <a:pt x="1201350" y="2105204"/>
                </a:lnTo>
                <a:lnTo>
                  <a:pt x="1201350" y="1810634"/>
                </a:lnTo>
                <a:close/>
                <a:moveTo>
                  <a:pt x="532924" y="1810634"/>
                </a:moveTo>
                <a:lnTo>
                  <a:pt x="532924" y="2105204"/>
                </a:lnTo>
                <a:lnTo>
                  <a:pt x="827494" y="2105204"/>
                </a:lnTo>
                <a:lnTo>
                  <a:pt x="827494" y="1810634"/>
                </a:lnTo>
                <a:close/>
                <a:moveTo>
                  <a:pt x="159068" y="1810634"/>
                </a:moveTo>
                <a:lnTo>
                  <a:pt x="159068" y="2105204"/>
                </a:lnTo>
                <a:lnTo>
                  <a:pt x="453638" y="2105204"/>
                </a:lnTo>
                <a:lnTo>
                  <a:pt x="453638" y="1810634"/>
                </a:lnTo>
                <a:close/>
                <a:moveTo>
                  <a:pt x="2402205" y="1444039"/>
                </a:moveTo>
                <a:lnTo>
                  <a:pt x="2402205" y="1738609"/>
                </a:lnTo>
                <a:lnTo>
                  <a:pt x="2696775" y="1738609"/>
                </a:lnTo>
                <a:lnTo>
                  <a:pt x="2696775" y="1444039"/>
                </a:lnTo>
                <a:close/>
                <a:moveTo>
                  <a:pt x="2028348" y="1444039"/>
                </a:moveTo>
                <a:lnTo>
                  <a:pt x="2028348" y="1738609"/>
                </a:lnTo>
                <a:lnTo>
                  <a:pt x="2322918" y="1738609"/>
                </a:lnTo>
                <a:lnTo>
                  <a:pt x="2322918" y="1444039"/>
                </a:lnTo>
                <a:close/>
                <a:moveTo>
                  <a:pt x="1654492" y="1444039"/>
                </a:moveTo>
                <a:lnTo>
                  <a:pt x="1654492" y="1738609"/>
                </a:lnTo>
                <a:lnTo>
                  <a:pt x="1949062" y="1738609"/>
                </a:lnTo>
                <a:lnTo>
                  <a:pt x="1949062" y="1444039"/>
                </a:lnTo>
                <a:close/>
                <a:moveTo>
                  <a:pt x="1280636" y="1444039"/>
                </a:moveTo>
                <a:lnTo>
                  <a:pt x="1280636" y="1738609"/>
                </a:lnTo>
                <a:lnTo>
                  <a:pt x="1575206" y="1738609"/>
                </a:lnTo>
                <a:lnTo>
                  <a:pt x="1575206" y="1444039"/>
                </a:lnTo>
                <a:close/>
                <a:moveTo>
                  <a:pt x="906780" y="1444039"/>
                </a:moveTo>
                <a:lnTo>
                  <a:pt x="906780" y="1738609"/>
                </a:lnTo>
                <a:lnTo>
                  <a:pt x="1201350" y="1738609"/>
                </a:lnTo>
                <a:lnTo>
                  <a:pt x="1201350" y="1444039"/>
                </a:lnTo>
                <a:close/>
                <a:moveTo>
                  <a:pt x="532924" y="1444039"/>
                </a:moveTo>
                <a:lnTo>
                  <a:pt x="532924" y="1738609"/>
                </a:lnTo>
                <a:lnTo>
                  <a:pt x="827494" y="1738609"/>
                </a:lnTo>
                <a:lnTo>
                  <a:pt x="827494" y="1444039"/>
                </a:lnTo>
                <a:close/>
                <a:moveTo>
                  <a:pt x="159068" y="1444039"/>
                </a:moveTo>
                <a:lnTo>
                  <a:pt x="159068" y="1738609"/>
                </a:lnTo>
                <a:lnTo>
                  <a:pt x="453638" y="1738609"/>
                </a:lnTo>
                <a:lnTo>
                  <a:pt x="453638" y="1444039"/>
                </a:lnTo>
                <a:close/>
                <a:moveTo>
                  <a:pt x="2402205" y="1077444"/>
                </a:moveTo>
                <a:lnTo>
                  <a:pt x="2402205" y="1372014"/>
                </a:lnTo>
                <a:lnTo>
                  <a:pt x="2696775" y="1372014"/>
                </a:lnTo>
                <a:lnTo>
                  <a:pt x="2696775" y="1077444"/>
                </a:lnTo>
                <a:close/>
                <a:moveTo>
                  <a:pt x="2028348" y="1077444"/>
                </a:moveTo>
                <a:lnTo>
                  <a:pt x="2028348" y="1372014"/>
                </a:lnTo>
                <a:lnTo>
                  <a:pt x="2322918" y="1372014"/>
                </a:lnTo>
                <a:lnTo>
                  <a:pt x="2322918" y="1077444"/>
                </a:lnTo>
                <a:close/>
                <a:moveTo>
                  <a:pt x="1654492" y="1077444"/>
                </a:moveTo>
                <a:lnTo>
                  <a:pt x="1654492" y="1372014"/>
                </a:lnTo>
                <a:lnTo>
                  <a:pt x="1949062" y="1372014"/>
                </a:lnTo>
                <a:lnTo>
                  <a:pt x="1949062" y="1077444"/>
                </a:lnTo>
                <a:close/>
                <a:moveTo>
                  <a:pt x="1280636" y="1077444"/>
                </a:moveTo>
                <a:lnTo>
                  <a:pt x="1280636" y="1372014"/>
                </a:lnTo>
                <a:lnTo>
                  <a:pt x="1575206" y="1372014"/>
                </a:lnTo>
                <a:lnTo>
                  <a:pt x="1575206" y="1077444"/>
                </a:lnTo>
                <a:close/>
                <a:moveTo>
                  <a:pt x="906780" y="1077444"/>
                </a:moveTo>
                <a:lnTo>
                  <a:pt x="906780" y="1372014"/>
                </a:lnTo>
                <a:lnTo>
                  <a:pt x="1201350" y="1372014"/>
                </a:lnTo>
                <a:lnTo>
                  <a:pt x="1201350" y="1077444"/>
                </a:lnTo>
                <a:close/>
                <a:moveTo>
                  <a:pt x="532924" y="1077444"/>
                </a:moveTo>
                <a:lnTo>
                  <a:pt x="532924" y="1372014"/>
                </a:lnTo>
                <a:lnTo>
                  <a:pt x="827494" y="1372014"/>
                </a:lnTo>
                <a:lnTo>
                  <a:pt x="827494" y="1077444"/>
                </a:lnTo>
                <a:close/>
                <a:moveTo>
                  <a:pt x="159068" y="1077444"/>
                </a:moveTo>
                <a:lnTo>
                  <a:pt x="159068" y="1372014"/>
                </a:lnTo>
                <a:lnTo>
                  <a:pt x="453638" y="1372014"/>
                </a:lnTo>
                <a:lnTo>
                  <a:pt x="453638" y="1077444"/>
                </a:lnTo>
                <a:close/>
                <a:moveTo>
                  <a:pt x="2402205" y="710849"/>
                </a:moveTo>
                <a:lnTo>
                  <a:pt x="2402205" y="1005419"/>
                </a:lnTo>
                <a:lnTo>
                  <a:pt x="2696775" y="1005419"/>
                </a:lnTo>
                <a:lnTo>
                  <a:pt x="2696775" y="710849"/>
                </a:lnTo>
                <a:close/>
                <a:moveTo>
                  <a:pt x="2028348" y="710849"/>
                </a:moveTo>
                <a:lnTo>
                  <a:pt x="2028348" y="1005419"/>
                </a:lnTo>
                <a:lnTo>
                  <a:pt x="2322918" y="1005419"/>
                </a:lnTo>
                <a:lnTo>
                  <a:pt x="2322918" y="710849"/>
                </a:lnTo>
                <a:close/>
                <a:moveTo>
                  <a:pt x="1654492" y="710849"/>
                </a:moveTo>
                <a:lnTo>
                  <a:pt x="1654492" y="1005419"/>
                </a:lnTo>
                <a:lnTo>
                  <a:pt x="1949062" y="1005419"/>
                </a:lnTo>
                <a:lnTo>
                  <a:pt x="1949062" y="710849"/>
                </a:lnTo>
                <a:close/>
                <a:moveTo>
                  <a:pt x="1280636" y="710849"/>
                </a:moveTo>
                <a:lnTo>
                  <a:pt x="1280636" y="1005419"/>
                </a:lnTo>
                <a:lnTo>
                  <a:pt x="1575206" y="1005419"/>
                </a:lnTo>
                <a:lnTo>
                  <a:pt x="1575206" y="710849"/>
                </a:lnTo>
                <a:close/>
                <a:moveTo>
                  <a:pt x="906780" y="710849"/>
                </a:moveTo>
                <a:lnTo>
                  <a:pt x="906780" y="1005419"/>
                </a:lnTo>
                <a:lnTo>
                  <a:pt x="1201350" y="1005419"/>
                </a:lnTo>
                <a:lnTo>
                  <a:pt x="1201350" y="710849"/>
                </a:lnTo>
                <a:close/>
                <a:moveTo>
                  <a:pt x="532924" y="710849"/>
                </a:moveTo>
                <a:lnTo>
                  <a:pt x="532924" y="1005419"/>
                </a:lnTo>
                <a:lnTo>
                  <a:pt x="827494" y="1005419"/>
                </a:lnTo>
                <a:lnTo>
                  <a:pt x="827494" y="710849"/>
                </a:lnTo>
                <a:close/>
                <a:moveTo>
                  <a:pt x="159068" y="710849"/>
                </a:moveTo>
                <a:lnTo>
                  <a:pt x="159068" y="1005419"/>
                </a:lnTo>
                <a:lnTo>
                  <a:pt x="453638" y="1005419"/>
                </a:lnTo>
                <a:lnTo>
                  <a:pt x="453638" y="710849"/>
                </a:lnTo>
                <a:close/>
                <a:moveTo>
                  <a:pt x="159069" y="466884"/>
                </a:moveTo>
                <a:lnTo>
                  <a:pt x="159069" y="616627"/>
                </a:lnTo>
                <a:lnTo>
                  <a:pt x="1949063" y="616627"/>
                </a:lnTo>
                <a:lnTo>
                  <a:pt x="1949063" y="466884"/>
                </a:lnTo>
                <a:close/>
                <a:moveTo>
                  <a:pt x="213021" y="0"/>
                </a:moveTo>
                <a:lnTo>
                  <a:pt x="229822" y="0"/>
                </a:lnTo>
                <a:cubicBezTo>
                  <a:pt x="262883" y="0"/>
                  <a:pt x="289684" y="26801"/>
                  <a:pt x="289684" y="59862"/>
                </a:cubicBezTo>
                <a:lnTo>
                  <a:pt x="289684" y="146447"/>
                </a:lnTo>
                <a:lnTo>
                  <a:pt x="421270" y="146447"/>
                </a:lnTo>
                <a:lnTo>
                  <a:pt x="421270" y="59862"/>
                </a:lnTo>
                <a:cubicBezTo>
                  <a:pt x="421270" y="26801"/>
                  <a:pt x="448071" y="0"/>
                  <a:pt x="481132" y="0"/>
                </a:cubicBezTo>
                <a:lnTo>
                  <a:pt x="497933" y="0"/>
                </a:lnTo>
                <a:cubicBezTo>
                  <a:pt x="530994" y="0"/>
                  <a:pt x="557795" y="26801"/>
                  <a:pt x="557795" y="59862"/>
                </a:cubicBezTo>
                <a:lnTo>
                  <a:pt x="557795" y="146447"/>
                </a:lnTo>
                <a:lnTo>
                  <a:pt x="689381" y="146447"/>
                </a:lnTo>
                <a:lnTo>
                  <a:pt x="689381" y="59862"/>
                </a:lnTo>
                <a:cubicBezTo>
                  <a:pt x="689381" y="26801"/>
                  <a:pt x="716182" y="0"/>
                  <a:pt x="749243" y="0"/>
                </a:cubicBezTo>
                <a:lnTo>
                  <a:pt x="766044" y="0"/>
                </a:lnTo>
                <a:cubicBezTo>
                  <a:pt x="799105" y="0"/>
                  <a:pt x="825906" y="26801"/>
                  <a:pt x="825906" y="59862"/>
                </a:cubicBezTo>
                <a:lnTo>
                  <a:pt x="825906" y="146447"/>
                </a:lnTo>
                <a:lnTo>
                  <a:pt x="957492" y="146447"/>
                </a:lnTo>
                <a:lnTo>
                  <a:pt x="957492" y="59862"/>
                </a:lnTo>
                <a:cubicBezTo>
                  <a:pt x="957492" y="26801"/>
                  <a:pt x="984293" y="0"/>
                  <a:pt x="1017354" y="0"/>
                </a:cubicBezTo>
                <a:lnTo>
                  <a:pt x="1034155" y="0"/>
                </a:lnTo>
                <a:cubicBezTo>
                  <a:pt x="1067216" y="0"/>
                  <a:pt x="1094017" y="26801"/>
                  <a:pt x="1094017" y="59862"/>
                </a:cubicBezTo>
                <a:lnTo>
                  <a:pt x="1094017" y="146447"/>
                </a:lnTo>
                <a:lnTo>
                  <a:pt x="1225603" y="146447"/>
                </a:lnTo>
                <a:lnTo>
                  <a:pt x="1225603" y="59862"/>
                </a:lnTo>
                <a:cubicBezTo>
                  <a:pt x="1225603" y="26801"/>
                  <a:pt x="1252404" y="0"/>
                  <a:pt x="1285465" y="0"/>
                </a:cubicBezTo>
                <a:lnTo>
                  <a:pt x="1302266" y="0"/>
                </a:lnTo>
                <a:cubicBezTo>
                  <a:pt x="1335327" y="0"/>
                  <a:pt x="1362128" y="26801"/>
                  <a:pt x="1362128" y="59862"/>
                </a:cubicBezTo>
                <a:lnTo>
                  <a:pt x="1362128" y="146447"/>
                </a:lnTo>
                <a:lnTo>
                  <a:pt x="1493714" y="146447"/>
                </a:lnTo>
                <a:lnTo>
                  <a:pt x="1493714" y="59862"/>
                </a:lnTo>
                <a:cubicBezTo>
                  <a:pt x="1493714" y="26801"/>
                  <a:pt x="1520515" y="0"/>
                  <a:pt x="1553576" y="0"/>
                </a:cubicBezTo>
                <a:lnTo>
                  <a:pt x="1570377" y="0"/>
                </a:lnTo>
                <a:cubicBezTo>
                  <a:pt x="1603438" y="0"/>
                  <a:pt x="1630239" y="26801"/>
                  <a:pt x="1630239" y="59862"/>
                </a:cubicBezTo>
                <a:lnTo>
                  <a:pt x="1630239" y="146447"/>
                </a:lnTo>
                <a:lnTo>
                  <a:pt x="1761825" y="146447"/>
                </a:lnTo>
                <a:lnTo>
                  <a:pt x="1761825" y="59862"/>
                </a:lnTo>
                <a:cubicBezTo>
                  <a:pt x="1761825" y="26801"/>
                  <a:pt x="1788626" y="0"/>
                  <a:pt x="1821687" y="0"/>
                </a:cubicBezTo>
                <a:lnTo>
                  <a:pt x="1838488" y="0"/>
                </a:lnTo>
                <a:cubicBezTo>
                  <a:pt x="1871549" y="0"/>
                  <a:pt x="1898350" y="26801"/>
                  <a:pt x="1898350" y="59862"/>
                </a:cubicBezTo>
                <a:lnTo>
                  <a:pt x="1898350" y="146447"/>
                </a:lnTo>
                <a:lnTo>
                  <a:pt x="2029936" y="146447"/>
                </a:lnTo>
                <a:lnTo>
                  <a:pt x="2029936" y="59862"/>
                </a:lnTo>
                <a:cubicBezTo>
                  <a:pt x="2029936" y="26801"/>
                  <a:pt x="2056737" y="0"/>
                  <a:pt x="2089798" y="0"/>
                </a:cubicBezTo>
                <a:lnTo>
                  <a:pt x="2106599" y="0"/>
                </a:lnTo>
                <a:cubicBezTo>
                  <a:pt x="2139660" y="0"/>
                  <a:pt x="2166461" y="26801"/>
                  <a:pt x="2166461" y="59862"/>
                </a:cubicBezTo>
                <a:lnTo>
                  <a:pt x="2166461" y="146447"/>
                </a:lnTo>
                <a:lnTo>
                  <a:pt x="2298047" y="146447"/>
                </a:lnTo>
                <a:lnTo>
                  <a:pt x="2298047" y="59862"/>
                </a:lnTo>
                <a:cubicBezTo>
                  <a:pt x="2298047" y="26801"/>
                  <a:pt x="2324848" y="0"/>
                  <a:pt x="2357909" y="0"/>
                </a:cubicBezTo>
                <a:lnTo>
                  <a:pt x="2374710" y="0"/>
                </a:lnTo>
                <a:cubicBezTo>
                  <a:pt x="2407771" y="0"/>
                  <a:pt x="2434572" y="26801"/>
                  <a:pt x="2434572" y="59862"/>
                </a:cubicBezTo>
                <a:lnTo>
                  <a:pt x="2434572" y="146447"/>
                </a:lnTo>
                <a:lnTo>
                  <a:pt x="2566159" y="146447"/>
                </a:lnTo>
                <a:lnTo>
                  <a:pt x="2566159" y="59862"/>
                </a:lnTo>
                <a:cubicBezTo>
                  <a:pt x="2566159" y="26801"/>
                  <a:pt x="2592960" y="0"/>
                  <a:pt x="2626021" y="0"/>
                </a:cubicBezTo>
                <a:lnTo>
                  <a:pt x="2642822" y="0"/>
                </a:lnTo>
                <a:cubicBezTo>
                  <a:pt x="2675883" y="0"/>
                  <a:pt x="2702684" y="26801"/>
                  <a:pt x="2702684" y="59862"/>
                </a:cubicBezTo>
                <a:lnTo>
                  <a:pt x="2702684" y="146447"/>
                </a:lnTo>
                <a:lnTo>
                  <a:pt x="2855842" y="146447"/>
                </a:lnTo>
                <a:lnTo>
                  <a:pt x="2855842" y="2280047"/>
                </a:lnTo>
                <a:lnTo>
                  <a:pt x="0" y="2280047"/>
                </a:lnTo>
                <a:lnTo>
                  <a:pt x="0" y="146447"/>
                </a:lnTo>
                <a:lnTo>
                  <a:pt x="153159" y="146447"/>
                </a:lnTo>
                <a:lnTo>
                  <a:pt x="153159" y="59862"/>
                </a:lnTo>
                <a:cubicBezTo>
                  <a:pt x="153159" y="26801"/>
                  <a:pt x="179960" y="0"/>
                  <a:pt x="213021" y="0"/>
                </a:cubicBezTo>
                <a:close/>
              </a:path>
            </a:pathLst>
          </a:custGeom>
          <a:solidFill>
            <a:srgbClr val="5E83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white"/>
              </a:solidFill>
              <a:effectLst/>
              <a:uLnTx/>
              <a:uFillTx/>
              <a:latin typeface="Segoe UI"/>
              <a:ea typeface="+mn-ea"/>
              <a:cs typeface="+mn-cs"/>
            </a:endParaRPr>
          </a:p>
        </p:txBody>
      </p:sp>
      <p:grpSp>
        <p:nvGrpSpPr>
          <p:cNvPr id="179" name="Group 178"/>
          <p:cNvGrpSpPr/>
          <p:nvPr/>
        </p:nvGrpSpPr>
        <p:grpSpPr>
          <a:xfrm>
            <a:off x="1377772" y="1775253"/>
            <a:ext cx="840553" cy="308563"/>
            <a:chOff x="972456" y="7595356"/>
            <a:chExt cx="1238527" cy="454657"/>
          </a:xfrm>
          <a:solidFill>
            <a:srgbClr val="5E83BD"/>
          </a:solidFill>
          <a:effectLst/>
        </p:grpSpPr>
        <p:sp>
          <p:nvSpPr>
            <p:cNvPr id="175" name="Oval 2"/>
            <p:cNvSpPr/>
            <p:nvPr/>
          </p:nvSpPr>
          <p:spPr>
            <a:xfrm flipH="1">
              <a:off x="972456" y="7595356"/>
              <a:ext cx="367861" cy="454657"/>
            </a:xfrm>
            <a:custGeom>
              <a:avLst/>
              <a:gdLst/>
              <a:ahLst/>
              <a:cxnLst/>
              <a:rect l="l" t="t" r="r" b="b"/>
              <a:pathLst>
                <a:path w="3374788" h="4171059">
                  <a:moveTo>
                    <a:pt x="771909" y="3040028"/>
                  </a:moveTo>
                  <a:cubicBezTo>
                    <a:pt x="764688" y="3037652"/>
                    <a:pt x="751516" y="3047287"/>
                    <a:pt x="727721" y="3063632"/>
                  </a:cubicBezTo>
                  <a:cubicBezTo>
                    <a:pt x="345134" y="3307774"/>
                    <a:pt x="107997" y="3758257"/>
                    <a:pt x="0" y="4171059"/>
                  </a:cubicBezTo>
                  <a:lnTo>
                    <a:pt x="774469" y="4171059"/>
                  </a:lnTo>
                  <a:lnTo>
                    <a:pt x="780403" y="3088486"/>
                  </a:lnTo>
                  <a:cubicBezTo>
                    <a:pt x="780403" y="3056790"/>
                    <a:pt x="779131" y="3042403"/>
                    <a:pt x="771909" y="3040028"/>
                  </a:cubicBezTo>
                  <a:close/>
                  <a:moveTo>
                    <a:pt x="2602878" y="3040028"/>
                  </a:moveTo>
                  <a:cubicBezTo>
                    <a:pt x="2595656" y="3042403"/>
                    <a:pt x="2594383" y="3056790"/>
                    <a:pt x="2594383" y="3088486"/>
                  </a:cubicBezTo>
                  <a:cubicBezTo>
                    <a:pt x="2587742" y="3209432"/>
                    <a:pt x="2593325" y="3665865"/>
                    <a:pt x="2591726" y="3776029"/>
                  </a:cubicBezTo>
                  <a:lnTo>
                    <a:pt x="2596919" y="4171059"/>
                  </a:lnTo>
                  <a:lnTo>
                    <a:pt x="3374788" y="4171059"/>
                  </a:lnTo>
                  <a:cubicBezTo>
                    <a:pt x="3266790" y="3758257"/>
                    <a:pt x="3029653" y="3307774"/>
                    <a:pt x="2647066" y="3063632"/>
                  </a:cubicBezTo>
                  <a:cubicBezTo>
                    <a:pt x="2623270" y="3047287"/>
                    <a:pt x="2610099" y="3037652"/>
                    <a:pt x="2602878" y="3040028"/>
                  </a:cubicBezTo>
                  <a:close/>
                  <a:moveTo>
                    <a:pt x="2228309" y="2878197"/>
                  </a:moveTo>
                  <a:lnTo>
                    <a:pt x="2195779" y="2878197"/>
                  </a:lnTo>
                  <a:cubicBezTo>
                    <a:pt x="2056467" y="2937187"/>
                    <a:pt x="1879621" y="2971167"/>
                    <a:pt x="1687394" y="2971167"/>
                  </a:cubicBezTo>
                  <a:cubicBezTo>
                    <a:pt x="1495167" y="2971167"/>
                    <a:pt x="1318321" y="2937187"/>
                    <a:pt x="1179010" y="2878197"/>
                  </a:cubicBezTo>
                  <a:lnTo>
                    <a:pt x="1131217" y="2878197"/>
                  </a:lnTo>
                  <a:cubicBezTo>
                    <a:pt x="1048694" y="2878197"/>
                    <a:pt x="981796" y="2945095"/>
                    <a:pt x="981796" y="3027617"/>
                  </a:cubicBezTo>
                  <a:lnTo>
                    <a:pt x="981796" y="3774700"/>
                  </a:lnTo>
                  <a:lnTo>
                    <a:pt x="2377729" y="3774700"/>
                  </a:lnTo>
                  <a:lnTo>
                    <a:pt x="2377729" y="3027617"/>
                  </a:lnTo>
                  <a:cubicBezTo>
                    <a:pt x="2377729" y="2945095"/>
                    <a:pt x="2310831" y="2878197"/>
                    <a:pt x="2228309" y="2878197"/>
                  </a:cubicBezTo>
                  <a:close/>
                  <a:moveTo>
                    <a:pt x="2694954" y="1709424"/>
                  </a:moveTo>
                  <a:lnTo>
                    <a:pt x="617243" y="1709424"/>
                  </a:lnTo>
                  <a:cubicBezTo>
                    <a:pt x="640929" y="2282712"/>
                    <a:pt x="1097068" y="2739488"/>
                    <a:pt x="1656099" y="2739488"/>
                  </a:cubicBezTo>
                  <a:cubicBezTo>
                    <a:pt x="2215130" y="2739488"/>
                    <a:pt x="2671267" y="2282712"/>
                    <a:pt x="2694954" y="1709424"/>
                  </a:cubicBezTo>
                  <a:close/>
                  <a:moveTo>
                    <a:pt x="2966814" y="1365251"/>
                  </a:moveTo>
                  <a:lnTo>
                    <a:pt x="351307" y="1365251"/>
                  </a:lnTo>
                  <a:cubicBezTo>
                    <a:pt x="292893" y="1367234"/>
                    <a:pt x="246489" y="1415501"/>
                    <a:pt x="246489" y="1474606"/>
                  </a:cubicBezTo>
                  <a:cubicBezTo>
                    <a:pt x="246489" y="1535634"/>
                    <a:pt x="295963" y="1585108"/>
                    <a:pt x="356991" y="1585108"/>
                  </a:cubicBezTo>
                  <a:lnTo>
                    <a:pt x="2961130" y="1585108"/>
                  </a:lnTo>
                  <a:cubicBezTo>
                    <a:pt x="3022158" y="1585108"/>
                    <a:pt x="3071632" y="1535634"/>
                    <a:pt x="3071632" y="1474606"/>
                  </a:cubicBezTo>
                  <a:cubicBezTo>
                    <a:pt x="3071632" y="1415501"/>
                    <a:pt x="3025228" y="1367234"/>
                    <a:pt x="2966814" y="1365251"/>
                  </a:cubicBezTo>
                  <a:close/>
                  <a:moveTo>
                    <a:pt x="1113569" y="221137"/>
                  </a:moveTo>
                  <a:cubicBezTo>
                    <a:pt x="751890" y="417042"/>
                    <a:pt x="506294" y="799902"/>
                    <a:pt x="506294" y="1240124"/>
                  </a:cubicBezTo>
                  <a:cubicBezTo>
                    <a:pt x="506294" y="1271585"/>
                    <a:pt x="507549" y="1302752"/>
                    <a:pt x="511009" y="1333500"/>
                  </a:cubicBezTo>
                  <a:lnTo>
                    <a:pt x="1113569" y="1333500"/>
                  </a:lnTo>
                  <a:close/>
                  <a:moveTo>
                    <a:pt x="2215498" y="221137"/>
                  </a:moveTo>
                  <a:lnTo>
                    <a:pt x="2215498" y="1333500"/>
                  </a:lnTo>
                  <a:lnTo>
                    <a:pt x="2818058" y="1333500"/>
                  </a:lnTo>
                  <a:cubicBezTo>
                    <a:pt x="2821518" y="1302752"/>
                    <a:pt x="2822773" y="1271585"/>
                    <a:pt x="2822773" y="1240124"/>
                  </a:cubicBezTo>
                  <a:cubicBezTo>
                    <a:pt x="2822773" y="799902"/>
                    <a:pt x="2577177" y="417042"/>
                    <a:pt x="2215498" y="221137"/>
                  </a:cubicBezTo>
                  <a:close/>
                  <a:moveTo>
                    <a:pt x="1664534" y="0"/>
                  </a:moveTo>
                  <a:cubicBezTo>
                    <a:pt x="1489015" y="0"/>
                    <a:pt x="1321560" y="34524"/>
                    <a:pt x="1168837" y="97757"/>
                  </a:cubicBezTo>
                  <a:lnTo>
                    <a:pt x="1168837" y="1333501"/>
                  </a:lnTo>
                  <a:lnTo>
                    <a:pt x="2160230" y="1333501"/>
                  </a:lnTo>
                  <a:lnTo>
                    <a:pt x="2160230" y="97757"/>
                  </a:lnTo>
                  <a:cubicBezTo>
                    <a:pt x="2007507" y="34524"/>
                    <a:pt x="1840052" y="0"/>
                    <a:pt x="1664534" y="0"/>
                  </a:cubicBezTo>
                  <a:close/>
                </a:path>
              </a:pathLst>
            </a:custGeom>
            <a:grp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sp>
          <p:nvSpPr>
            <p:cNvPr id="177" name="Oval 2"/>
            <p:cNvSpPr/>
            <p:nvPr/>
          </p:nvSpPr>
          <p:spPr>
            <a:xfrm flipH="1">
              <a:off x="1407789" y="7595356"/>
              <a:ext cx="367861" cy="454657"/>
            </a:xfrm>
            <a:custGeom>
              <a:avLst/>
              <a:gdLst/>
              <a:ahLst/>
              <a:cxnLst/>
              <a:rect l="l" t="t" r="r" b="b"/>
              <a:pathLst>
                <a:path w="3374788" h="4171059">
                  <a:moveTo>
                    <a:pt x="771909" y="3040028"/>
                  </a:moveTo>
                  <a:cubicBezTo>
                    <a:pt x="764688" y="3037652"/>
                    <a:pt x="751516" y="3047287"/>
                    <a:pt x="727721" y="3063632"/>
                  </a:cubicBezTo>
                  <a:cubicBezTo>
                    <a:pt x="345134" y="3307774"/>
                    <a:pt x="107997" y="3758257"/>
                    <a:pt x="0" y="4171059"/>
                  </a:cubicBezTo>
                  <a:lnTo>
                    <a:pt x="774469" y="4171059"/>
                  </a:lnTo>
                  <a:lnTo>
                    <a:pt x="780403" y="3088486"/>
                  </a:lnTo>
                  <a:cubicBezTo>
                    <a:pt x="780403" y="3056790"/>
                    <a:pt x="779131" y="3042403"/>
                    <a:pt x="771909" y="3040028"/>
                  </a:cubicBezTo>
                  <a:close/>
                  <a:moveTo>
                    <a:pt x="2602878" y="3040028"/>
                  </a:moveTo>
                  <a:cubicBezTo>
                    <a:pt x="2595656" y="3042403"/>
                    <a:pt x="2594383" y="3056790"/>
                    <a:pt x="2594383" y="3088486"/>
                  </a:cubicBezTo>
                  <a:cubicBezTo>
                    <a:pt x="2587742" y="3209432"/>
                    <a:pt x="2593325" y="3665865"/>
                    <a:pt x="2591726" y="3776029"/>
                  </a:cubicBezTo>
                  <a:lnTo>
                    <a:pt x="2596919" y="4171059"/>
                  </a:lnTo>
                  <a:lnTo>
                    <a:pt x="3374788" y="4171059"/>
                  </a:lnTo>
                  <a:cubicBezTo>
                    <a:pt x="3266790" y="3758257"/>
                    <a:pt x="3029653" y="3307774"/>
                    <a:pt x="2647066" y="3063632"/>
                  </a:cubicBezTo>
                  <a:cubicBezTo>
                    <a:pt x="2623270" y="3047287"/>
                    <a:pt x="2610099" y="3037652"/>
                    <a:pt x="2602878" y="3040028"/>
                  </a:cubicBezTo>
                  <a:close/>
                  <a:moveTo>
                    <a:pt x="2228309" y="2878197"/>
                  </a:moveTo>
                  <a:lnTo>
                    <a:pt x="2195779" y="2878197"/>
                  </a:lnTo>
                  <a:cubicBezTo>
                    <a:pt x="2056467" y="2937187"/>
                    <a:pt x="1879621" y="2971167"/>
                    <a:pt x="1687394" y="2971167"/>
                  </a:cubicBezTo>
                  <a:cubicBezTo>
                    <a:pt x="1495167" y="2971167"/>
                    <a:pt x="1318321" y="2937187"/>
                    <a:pt x="1179010" y="2878197"/>
                  </a:cubicBezTo>
                  <a:lnTo>
                    <a:pt x="1131217" y="2878197"/>
                  </a:lnTo>
                  <a:cubicBezTo>
                    <a:pt x="1048694" y="2878197"/>
                    <a:pt x="981796" y="2945095"/>
                    <a:pt x="981796" y="3027617"/>
                  </a:cubicBezTo>
                  <a:lnTo>
                    <a:pt x="981796" y="3774700"/>
                  </a:lnTo>
                  <a:lnTo>
                    <a:pt x="2377729" y="3774700"/>
                  </a:lnTo>
                  <a:lnTo>
                    <a:pt x="2377729" y="3027617"/>
                  </a:lnTo>
                  <a:cubicBezTo>
                    <a:pt x="2377729" y="2945095"/>
                    <a:pt x="2310831" y="2878197"/>
                    <a:pt x="2228309" y="2878197"/>
                  </a:cubicBezTo>
                  <a:close/>
                  <a:moveTo>
                    <a:pt x="2694954" y="1709424"/>
                  </a:moveTo>
                  <a:lnTo>
                    <a:pt x="617243" y="1709424"/>
                  </a:lnTo>
                  <a:cubicBezTo>
                    <a:pt x="640929" y="2282712"/>
                    <a:pt x="1097068" y="2739488"/>
                    <a:pt x="1656099" y="2739488"/>
                  </a:cubicBezTo>
                  <a:cubicBezTo>
                    <a:pt x="2215130" y="2739488"/>
                    <a:pt x="2671267" y="2282712"/>
                    <a:pt x="2694954" y="1709424"/>
                  </a:cubicBezTo>
                  <a:close/>
                  <a:moveTo>
                    <a:pt x="2966814" y="1365251"/>
                  </a:moveTo>
                  <a:lnTo>
                    <a:pt x="351307" y="1365251"/>
                  </a:lnTo>
                  <a:cubicBezTo>
                    <a:pt x="292893" y="1367234"/>
                    <a:pt x="246489" y="1415501"/>
                    <a:pt x="246489" y="1474606"/>
                  </a:cubicBezTo>
                  <a:cubicBezTo>
                    <a:pt x="246489" y="1535634"/>
                    <a:pt x="295963" y="1585108"/>
                    <a:pt x="356991" y="1585108"/>
                  </a:cubicBezTo>
                  <a:lnTo>
                    <a:pt x="2961130" y="1585108"/>
                  </a:lnTo>
                  <a:cubicBezTo>
                    <a:pt x="3022158" y="1585108"/>
                    <a:pt x="3071632" y="1535634"/>
                    <a:pt x="3071632" y="1474606"/>
                  </a:cubicBezTo>
                  <a:cubicBezTo>
                    <a:pt x="3071632" y="1415501"/>
                    <a:pt x="3025228" y="1367234"/>
                    <a:pt x="2966814" y="1365251"/>
                  </a:cubicBezTo>
                  <a:close/>
                  <a:moveTo>
                    <a:pt x="1113569" y="221137"/>
                  </a:moveTo>
                  <a:cubicBezTo>
                    <a:pt x="751890" y="417042"/>
                    <a:pt x="506294" y="799902"/>
                    <a:pt x="506294" y="1240124"/>
                  </a:cubicBezTo>
                  <a:cubicBezTo>
                    <a:pt x="506294" y="1271585"/>
                    <a:pt x="507549" y="1302752"/>
                    <a:pt x="511009" y="1333500"/>
                  </a:cubicBezTo>
                  <a:lnTo>
                    <a:pt x="1113569" y="1333500"/>
                  </a:lnTo>
                  <a:close/>
                  <a:moveTo>
                    <a:pt x="2215498" y="221137"/>
                  </a:moveTo>
                  <a:lnTo>
                    <a:pt x="2215498" y="1333500"/>
                  </a:lnTo>
                  <a:lnTo>
                    <a:pt x="2818058" y="1333500"/>
                  </a:lnTo>
                  <a:cubicBezTo>
                    <a:pt x="2821518" y="1302752"/>
                    <a:pt x="2822773" y="1271585"/>
                    <a:pt x="2822773" y="1240124"/>
                  </a:cubicBezTo>
                  <a:cubicBezTo>
                    <a:pt x="2822773" y="799902"/>
                    <a:pt x="2577177" y="417042"/>
                    <a:pt x="2215498" y="221137"/>
                  </a:cubicBezTo>
                  <a:close/>
                  <a:moveTo>
                    <a:pt x="1664534" y="0"/>
                  </a:moveTo>
                  <a:cubicBezTo>
                    <a:pt x="1489015" y="0"/>
                    <a:pt x="1321560" y="34524"/>
                    <a:pt x="1168837" y="97757"/>
                  </a:cubicBezTo>
                  <a:lnTo>
                    <a:pt x="1168837" y="1333501"/>
                  </a:lnTo>
                  <a:lnTo>
                    <a:pt x="2160230" y="1333501"/>
                  </a:lnTo>
                  <a:lnTo>
                    <a:pt x="2160230" y="97757"/>
                  </a:lnTo>
                  <a:cubicBezTo>
                    <a:pt x="2007507" y="34524"/>
                    <a:pt x="1840052" y="0"/>
                    <a:pt x="1664534" y="0"/>
                  </a:cubicBezTo>
                  <a:close/>
                </a:path>
              </a:pathLst>
            </a:custGeom>
            <a:grp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sp>
          <p:nvSpPr>
            <p:cNvPr id="178" name="Oval 2"/>
            <p:cNvSpPr/>
            <p:nvPr/>
          </p:nvSpPr>
          <p:spPr>
            <a:xfrm flipH="1">
              <a:off x="1843122" y="7595356"/>
              <a:ext cx="367861" cy="454657"/>
            </a:xfrm>
            <a:custGeom>
              <a:avLst/>
              <a:gdLst/>
              <a:ahLst/>
              <a:cxnLst/>
              <a:rect l="l" t="t" r="r" b="b"/>
              <a:pathLst>
                <a:path w="3374788" h="4171059">
                  <a:moveTo>
                    <a:pt x="771909" y="3040028"/>
                  </a:moveTo>
                  <a:cubicBezTo>
                    <a:pt x="764688" y="3037652"/>
                    <a:pt x="751516" y="3047287"/>
                    <a:pt x="727721" y="3063632"/>
                  </a:cubicBezTo>
                  <a:cubicBezTo>
                    <a:pt x="345134" y="3307774"/>
                    <a:pt x="107997" y="3758257"/>
                    <a:pt x="0" y="4171059"/>
                  </a:cubicBezTo>
                  <a:lnTo>
                    <a:pt x="774469" y="4171059"/>
                  </a:lnTo>
                  <a:lnTo>
                    <a:pt x="780403" y="3088486"/>
                  </a:lnTo>
                  <a:cubicBezTo>
                    <a:pt x="780403" y="3056790"/>
                    <a:pt x="779131" y="3042403"/>
                    <a:pt x="771909" y="3040028"/>
                  </a:cubicBezTo>
                  <a:close/>
                  <a:moveTo>
                    <a:pt x="2602878" y="3040028"/>
                  </a:moveTo>
                  <a:cubicBezTo>
                    <a:pt x="2595656" y="3042403"/>
                    <a:pt x="2594383" y="3056790"/>
                    <a:pt x="2594383" y="3088486"/>
                  </a:cubicBezTo>
                  <a:cubicBezTo>
                    <a:pt x="2587742" y="3209432"/>
                    <a:pt x="2593325" y="3665865"/>
                    <a:pt x="2591726" y="3776029"/>
                  </a:cubicBezTo>
                  <a:lnTo>
                    <a:pt x="2596919" y="4171059"/>
                  </a:lnTo>
                  <a:lnTo>
                    <a:pt x="3374788" y="4171059"/>
                  </a:lnTo>
                  <a:cubicBezTo>
                    <a:pt x="3266790" y="3758257"/>
                    <a:pt x="3029653" y="3307774"/>
                    <a:pt x="2647066" y="3063632"/>
                  </a:cubicBezTo>
                  <a:cubicBezTo>
                    <a:pt x="2623270" y="3047287"/>
                    <a:pt x="2610099" y="3037652"/>
                    <a:pt x="2602878" y="3040028"/>
                  </a:cubicBezTo>
                  <a:close/>
                  <a:moveTo>
                    <a:pt x="2228309" y="2878197"/>
                  </a:moveTo>
                  <a:lnTo>
                    <a:pt x="2195779" y="2878197"/>
                  </a:lnTo>
                  <a:cubicBezTo>
                    <a:pt x="2056467" y="2937187"/>
                    <a:pt x="1879621" y="2971167"/>
                    <a:pt x="1687394" y="2971167"/>
                  </a:cubicBezTo>
                  <a:cubicBezTo>
                    <a:pt x="1495167" y="2971167"/>
                    <a:pt x="1318321" y="2937187"/>
                    <a:pt x="1179010" y="2878197"/>
                  </a:cubicBezTo>
                  <a:lnTo>
                    <a:pt x="1131217" y="2878197"/>
                  </a:lnTo>
                  <a:cubicBezTo>
                    <a:pt x="1048694" y="2878197"/>
                    <a:pt x="981796" y="2945095"/>
                    <a:pt x="981796" y="3027617"/>
                  </a:cubicBezTo>
                  <a:lnTo>
                    <a:pt x="981796" y="3774700"/>
                  </a:lnTo>
                  <a:lnTo>
                    <a:pt x="2377729" y="3774700"/>
                  </a:lnTo>
                  <a:lnTo>
                    <a:pt x="2377729" y="3027617"/>
                  </a:lnTo>
                  <a:cubicBezTo>
                    <a:pt x="2377729" y="2945095"/>
                    <a:pt x="2310831" y="2878197"/>
                    <a:pt x="2228309" y="2878197"/>
                  </a:cubicBezTo>
                  <a:close/>
                  <a:moveTo>
                    <a:pt x="2694954" y="1709424"/>
                  </a:moveTo>
                  <a:lnTo>
                    <a:pt x="617243" y="1709424"/>
                  </a:lnTo>
                  <a:cubicBezTo>
                    <a:pt x="640929" y="2282712"/>
                    <a:pt x="1097068" y="2739488"/>
                    <a:pt x="1656099" y="2739488"/>
                  </a:cubicBezTo>
                  <a:cubicBezTo>
                    <a:pt x="2215130" y="2739488"/>
                    <a:pt x="2671267" y="2282712"/>
                    <a:pt x="2694954" y="1709424"/>
                  </a:cubicBezTo>
                  <a:close/>
                  <a:moveTo>
                    <a:pt x="2966814" y="1365251"/>
                  </a:moveTo>
                  <a:lnTo>
                    <a:pt x="351307" y="1365251"/>
                  </a:lnTo>
                  <a:cubicBezTo>
                    <a:pt x="292893" y="1367234"/>
                    <a:pt x="246489" y="1415501"/>
                    <a:pt x="246489" y="1474606"/>
                  </a:cubicBezTo>
                  <a:cubicBezTo>
                    <a:pt x="246489" y="1535634"/>
                    <a:pt x="295963" y="1585108"/>
                    <a:pt x="356991" y="1585108"/>
                  </a:cubicBezTo>
                  <a:lnTo>
                    <a:pt x="2961130" y="1585108"/>
                  </a:lnTo>
                  <a:cubicBezTo>
                    <a:pt x="3022158" y="1585108"/>
                    <a:pt x="3071632" y="1535634"/>
                    <a:pt x="3071632" y="1474606"/>
                  </a:cubicBezTo>
                  <a:cubicBezTo>
                    <a:pt x="3071632" y="1415501"/>
                    <a:pt x="3025228" y="1367234"/>
                    <a:pt x="2966814" y="1365251"/>
                  </a:cubicBezTo>
                  <a:close/>
                  <a:moveTo>
                    <a:pt x="1113569" y="221137"/>
                  </a:moveTo>
                  <a:cubicBezTo>
                    <a:pt x="751890" y="417042"/>
                    <a:pt x="506294" y="799902"/>
                    <a:pt x="506294" y="1240124"/>
                  </a:cubicBezTo>
                  <a:cubicBezTo>
                    <a:pt x="506294" y="1271585"/>
                    <a:pt x="507549" y="1302752"/>
                    <a:pt x="511009" y="1333500"/>
                  </a:cubicBezTo>
                  <a:lnTo>
                    <a:pt x="1113569" y="1333500"/>
                  </a:lnTo>
                  <a:close/>
                  <a:moveTo>
                    <a:pt x="2215498" y="221137"/>
                  </a:moveTo>
                  <a:lnTo>
                    <a:pt x="2215498" y="1333500"/>
                  </a:lnTo>
                  <a:lnTo>
                    <a:pt x="2818058" y="1333500"/>
                  </a:lnTo>
                  <a:cubicBezTo>
                    <a:pt x="2821518" y="1302752"/>
                    <a:pt x="2822773" y="1271585"/>
                    <a:pt x="2822773" y="1240124"/>
                  </a:cubicBezTo>
                  <a:cubicBezTo>
                    <a:pt x="2822773" y="799902"/>
                    <a:pt x="2577177" y="417042"/>
                    <a:pt x="2215498" y="221137"/>
                  </a:cubicBezTo>
                  <a:close/>
                  <a:moveTo>
                    <a:pt x="1664534" y="0"/>
                  </a:moveTo>
                  <a:cubicBezTo>
                    <a:pt x="1489015" y="0"/>
                    <a:pt x="1321560" y="34524"/>
                    <a:pt x="1168837" y="97757"/>
                  </a:cubicBezTo>
                  <a:lnTo>
                    <a:pt x="1168837" y="1333501"/>
                  </a:lnTo>
                  <a:lnTo>
                    <a:pt x="2160230" y="1333501"/>
                  </a:lnTo>
                  <a:lnTo>
                    <a:pt x="2160230" y="97757"/>
                  </a:lnTo>
                  <a:cubicBezTo>
                    <a:pt x="2007507" y="34524"/>
                    <a:pt x="1840052" y="0"/>
                    <a:pt x="1664534" y="0"/>
                  </a:cubicBezTo>
                  <a:close/>
                </a:path>
              </a:pathLst>
            </a:custGeom>
            <a:grp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Segoe UI"/>
                <a:ea typeface="+mn-ea"/>
                <a:cs typeface="+mn-cs"/>
              </a:endParaRPr>
            </a:p>
          </p:txBody>
        </p:sp>
      </p:grpSp>
      <p:sp>
        <p:nvSpPr>
          <p:cNvPr id="180" name="Rounded Rectangle 4"/>
          <p:cNvSpPr/>
          <p:nvPr/>
        </p:nvSpPr>
        <p:spPr>
          <a:xfrm>
            <a:off x="1061430" y="3469627"/>
            <a:ext cx="321601" cy="256759"/>
          </a:xfrm>
          <a:custGeom>
            <a:avLst/>
            <a:gdLst/>
            <a:ahLst/>
            <a:cxnLst/>
            <a:rect l="l" t="t" r="r" b="b"/>
            <a:pathLst>
              <a:path w="2855842" h="2280047">
                <a:moveTo>
                  <a:pt x="2402205" y="1810634"/>
                </a:moveTo>
                <a:lnTo>
                  <a:pt x="2402205" y="2105204"/>
                </a:lnTo>
                <a:lnTo>
                  <a:pt x="2696775" y="2105204"/>
                </a:lnTo>
                <a:lnTo>
                  <a:pt x="2696775" y="1810634"/>
                </a:lnTo>
                <a:close/>
                <a:moveTo>
                  <a:pt x="2028348" y="1810634"/>
                </a:moveTo>
                <a:lnTo>
                  <a:pt x="2028348" y="2105204"/>
                </a:lnTo>
                <a:lnTo>
                  <a:pt x="2322918" y="2105204"/>
                </a:lnTo>
                <a:lnTo>
                  <a:pt x="2322918" y="1810634"/>
                </a:lnTo>
                <a:close/>
                <a:moveTo>
                  <a:pt x="1654492" y="1810634"/>
                </a:moveTo>
                <a:lnTo>
                  <a:pt x="1654492" y="2105204"/>
                </a:lnTo>
                <a:lnTo>
                  <a:pt x="1949062" y="2105204"/>
                </a:lnTo>
                <a:lnTo>
                  <a:pt x="1949062" y="1810634"/>
                </a:lnTo>
                <a:close/>
                <a:moveTo>
                  <a:pt x="1280636" y="1810634"/>
                </a:moveTo>
                <a:lnTo>
                  <a:pt x="1280636" y="2105204"/>
                </a:lnTo>
                <a:lnTo>
                  <a:pt x="1575206" y="2105204"/>
                </a:lnTo>
                <a:lnTo>
                  <a:pt x="1575206" y="1810634"/>
                </a:lnTo>
                <a:close/>
                <a:moveTo>
                  <a:pt x="906780" y="1810634"/>
                </a:moveTo>
                <a:lnTo>
                  <a:pt x="906780" y="2105204"/>
                </a:lnTo>
                <a:lnTo>
                  <a:pt x="1201350" y="2105204"/>
                </a:lnTo>
                <a:lnTo>
                  <a:pt x="1201350" y="1810634"/>
                </a:lnTo>
                <a:close/>
                <a:moveTo>
                  <a:pt x="532924" y="1810634"/>
                </a:moveTo>
                <a:lnTo>
                  <a:pt x="532924" y="2105204"/>
                </a:lnTo>
                <a:lnTo>
                  <a:pt x="827494" y="2105204"/>
                </a:lnTo>
                <a:lnTo>
                  <a:pt x="827494" y="1810634"/>
                </a:lnTo>
                <a:close/>
                <a:moveTo>
                  <a:pt x="159068" y="1810634"/>
                </a:moveTo>
                <a:lnTo>
                  <a:pt x="159068" y="2105204"/>
                </a:lnTo>
                <a:lnTo>
                  <a:pt x="453638" y="2105204"/>
                </a:lnTo>
                <a:lnTo>
                  <a:pt x="453638" y="1810634"/>
                </a:lnTo>
                <a:close/>
                <a:moveTo>
                  <a:pt x="2402205" y="1444039"/>
                </a:moveTo>
                <a:lnTo>
                  <a:pt x="2402205" y="1738609"/>
                </a:lnTo>
                <a:lnTo>
                  <a:pt x="2696775" y="1738609"/>
                </a:lnTo>
                <a:lnTo>
                  <a:pt x="2696775" y="1444039"/>
                </a:lnTo>
                <a:close/>
                <a:moveTo>
                  <a:pt x="2028348" y="1444039"/>
                </a:moveTo>
                <a:lnTo>
                  <a:pt x="2028348" y="1738609"/>
                </a:lnTo>
                <a:lnTo>
                  <a:pt x="2322918" y="1738609"/>
                </a:lnTo>
                <a:lnTo>
                  <a:pt x="2322918" y="1444039"/>
                </a:lnTo>
                <a:close/>
                <a:moveTo>
                  <a:pt x="1654492" y="1444039"/>
                </a:moveTo>
                <a:lnTo>
                  <a:pt x="1654492" y="1738609"/>
                </a:lnTo>
                <a:lnTo>
                  <a:pt x="1949062" y="1738609"/>
                </a:lnTo>
                <a:lnTo>
                  <a:pt x="1949062" y="1444039"/>
                </a:lnTo>
                <a:close/>
                <a:moveTo>
                  <a:pt x="1280636" y="1444039"/>
                </a:moveTo>
                <a:lnTo>
                  <a:pt x="1280636" y="1738609"/>
                </a:lnTo>
                <a:lnTo>
                  <a:pt x="1575206" y="1738609"/>
                </a:lnTo>
                <a:lnTo>
                  <a:pt x="1575206" y="1444039"/>
                </a:lnTo>
                <a:close/>
                <a:moveTo>
                  <a:pt x="906780" y="1444039"/>
                </a:moveTo>
                <a:lnTo>
                  <a:pt x="906780" y="1738609"/>
                </a:lnTo>
                <a:lnTo>
                  <a:pt x="1201350" y="1738609"/>
                </a:lnTo>
                <a:lnTo>
                  <a:pt x="1201350" y="1444039"/>
                </a:lnTo>
                <a:close/>
                <a:moveTo>
                  <a:pt x="532924" y="1444039"/>
                </a:moveTo>
                <a:lnTo>
                  <a:pt x="532924" y="1738609"/>
                </a:lnTo>
                <a:lnTo>
                  <a:pt x="827494" y="1738609"/>
                </a:lnTo>
                <a:lnTo>
                  <a:pt x="827494" y="1444039"/>
                </a:lnTo>
                <a:close/>
                <a:moveTo>
                  <a:pt x="159068" y="1444039"/>
                </a:moveTo>
                <a:lnTo>
                  <a:pt x="159068" y="1738609"/>
                </a:lnTo>
                <a:lnTo>
                  <a:pt x="453638" y="1738609"/>
                </a:lnTo>
                <a:lnTo>
                  <a:pt x="453638" y="1444039"/>
                </a:lnTo>
                <a:close/>
                <a:moveTo>
                  <a:pt x="2402205" y="1077444"/>
                </a:moveTo>
                <a:lnTo>
                  <a:pt x="2402205" y="1372014"/>
                </a:lnTo>
                <a:lnTo>
                  <a:pt x="2696775" y="1372014"/>
                </a:lnTo>
                <a:lnTo>
                  <a:pt x="2696775" y="1077444"/>
                </a:lnTo>
                <a:close/>
                <a:moveTo>
                  <a:pt x="2028348" y="1077444"/>
                </a:moveTo>
                <a:lnTo>
                  <a:pt x="2028348" y="1372014"/>
                </a:lnTo>
                <a:lnTo>
                  <a:pt x="2322918" y="1372014"/>
                </a:lnTo>
                <a:lnTo>
                  <a:pt x="2322918" y="1077444"/>
                </a:lnTo>
                <a:close/>
                <a:moveTo>
                  <a:pt x="1654492" y="1077444"/>
                </a:moveTo>
                <a:lnTo>
                  <a:pt x="1654492" y="1372014"/>
                </a:lnTo>
                <a:lnTo>
                  <a:pt x="1949062" y="1372014"/>
                </a:lnTo>
                <a:lnTo>
                  <a:pt x="1949062" y="1077444"/>
                </a:lnTo>
                <a:close/>
                <a:moveTo>
                  <a:pt x="1280636" y="1077444"/>
                </a:moveTo>
                <a:lnTo>
                  <a:pt x="1280636" y="1372014"/>
                </a:lnTo>
                <a:lnTo>
                  <a:pt x="1575206" y="1372014"/>
                </a:lnTo>
                <a:lnTo>
                  <a:pt x="1575206" y="1077444"/>
                </a:lnTo>
                <a:close/>
                <a:moveTo>
                  <a:pt x="906780" y="1077444"/>
                </a:moveTo>
                <a:lnTo>
                  <a:pt x="906780" y="1372014"/>
                </a:lnTo>
                <a:lnTo>
                  <a:pt x="1201350" y="1372014"/>
                </a:lnTo>
                <a:lnTo>
                  <a:pt x="1201350" y="1077444"/>
                </a:lnTo>
                <a:close/>
                <a:moveTo>
                  <a:pt x="532924" y="1077444"/>
                </a:moveTo>
                <a:lnTo>
                  <a:pt x="532924" y="1372014"/>
                </a:lnTo>
                <a:lnTo>
                  <a:pt x="827494" y="1372014"/>
                </a:lnTo>
                <a:lnTo>
                  <a:pt x="827494" y="1077444"/>
                </a:lnTo>
                <a:close/>
                <a:moveTo>
                  <a:pt x="159068" y="1077444"/>
                </a:moveTo>
                <a:lnTo>
                  <a:pt x="159068" y="1372014"/>
                </a:lnTo>
                <a:lnTo>
                  <a:pt x="453638" y="1372014"/>
                </a:lnTo>
                <a:lnTo>
                  <a:pt x="453638" y="1077444"/>
                </a:lnTo>
                <a:close/>
                <a:moveTo>
                  <a:pt x="2402205" y="710849"/>
                </a:moveTo>
                <a:lnTo>
                  <a:pt x="2402205" y="1005419"/>
                </a:lnTo>
                <a:lnTo>
                  <a:pt x="2696775" y="1005419"/>
                </a:lnTo>
                <a:lnTo>
                  <a:pt x="2696775" y="710849"/>
                </a:lnTo>
                <a:close/>
                <a:moveTo>
                  <a:pt x="2028348" y="710849"/>
                </a:moveTo>
                <a:lnTo>
                  <a:pt x="2028348" y="1005419"/>
                </a:lnTo>
                <a:lnTo>
                  <a:pt x="2322918" y="1005419"/>
                </a:lnTo>
                <a:lnTo>
                  <a:pt x="2322918" y="710849"/>
                </a:lnTo>
                <a:close/>
                <a:moveTo>
                  <a:pt x="1654492" y="710849"/>
                </a:moveTo>
                <a:lnTo>
                  <a:pt x="1654492" y="1005419"/>
                </a:lnTo>
                <a:lnTo>
                  <a:pt x="1949062" y="1005419"/>
                </a:lnTo>
                <a:lnTo>
                  <a:pt x="1949062" y="710849"/>
                </a:lnTo>
                <a:close/>
                <a:moveTo>
                  <a:pt x="1280636" y="710849"/>
                </a:moveTo>
                <a:lnTo>
                  <a:pt x="1280636" y="1005419"/>
                </a:lnTo>
                <a:lnTo>
                  <a:pt x="1575206" y="1005419"/>
                </a:lnTo>
                <a:lnTo>
                  <a:pt x="1575206" y="710849"/>
                </a:lnTo>
                <a:close/>
                <a:moveTo>
                  <a:pt x="906780" y="710849"/>
                </a:moveTo>
                <a:lnTo>
                  <a:pt x="906780" y="1005419"/>
                </a:lnTo>
                <a:lnTo>
                  <a:pt x="1201350" y="1005419"/>
                </a:lnTo>
                <a:lnTo>
                  <a:pt x="1201350" y="710849"/>
                </a:lnTo>
                <a:close/>
                <a:moveTo>
                  <a:pt x="532924" y="710849"/>
                </a:moveTo>
                <a:lnTo>
                  <a:pt x="532924" y="1005419"/>
                </a:lnTo>
                <a:lnTo>
                  <a:pt x="827494" y="1005419"/>
                </a:lnTo>
                <a:lnTo>
                  <a:pt x="827494" y="710849"/>
                </a:lnTo>
                <a:close/>
                <a:moveTo>
                  <a:pt x="159068" y="710849"/>
                </a:moveTo>
                <a:lnTo>
                  <a:pt x="159068" y="1005419"/>
                </a:lnTo>
                <a:lnTo>
                  <a:pt x="453638" y="1005419"/>
                </a:lnTo>
                <a:lnTo>
                  <a:pt x="453638" y="710849"/>
                </a:lnTo>
                <a:close/>
                <a:moveTo>
                  <a:pt x="159069" y="466884"/>
                </a:moveTo>
                <a:lnTo>
                  <a:pt x="159069" y="616627"/>
                </a:lnTo>
                <a:lnTo>
                  <a:pt x="1949063" y="616627"/>
                </a:lnTo>
                <a:lnTo>
                  <a:pt x="1949063" y="466884"/>
                </a:lnTo>
                <a:close/>
                <a:moveTo>
                  <a:pt x="213021" y="0"/>
                </a:moveTo>
                <a:lnTo>
                  <a:pt x="229822" y="0"/>
                </a:lnTo>
                <a:cubicBezTo>
                  <a:pt x="262883" y="0"/>
                  <a:pt x="289684" y="26801"/>
                  <a:pt x="289684" y="59862"/>
                </a:cubicBezTo>
                <a:lnTo>
                  <a:pt x="289684" y="146447"/>
                </a:lnTo>
                <a:lnTo>
                  <a:pt x="421270" y="146447"/>
                </a:lnTo>
                <a:lnTo>
                  <a:pt x="421270" y="59862"/>
                </a:lnTo>
                <a:cubicBezTo>
                  <a:pt x="421270" y="26801"/>
                  <a:pt x="448071" y="0"/>
                  <a:pt x="481132" y="0"/>
                </a:cubicBezTo>
                <a:lnTo>
                  <a:pt x="497933" y="0"/>
                </a:lnTo>
                <a:cubicBezTo>
                  <a:pt x="530994" y="0"/>
                  <a:pt x="557795" y="26801"/>
                  <a:pt x="557795" y="59862"/>
                </a:cubicBezTo>
                <a:lnTo>
                  <a:pt x="557795" y="146447"/>
                </a:lnTo>
                <a:lnTo>
                  <a:pt x="689381" y="146447"/>
                </a:lnTo>
                <a:lnTo>
                  <a:pt x="689381" y="59862"/>
                </a:lnTo>
                <a:cubicBezTo>
                  <a:pt x="689381" y="26801"/>
                  <a:pt x="716182" y="0"/>
                  <a:pt x="749243" y="0"/>
                </a:cubicBezTo>
                <a:lnTo>
                  <a:pt x="766044" y="0"/>
                </a:lnTo>
                <a:cubicBezTo>
                  <a:pt x="799105" y="0"/>
                  <a:pt x="825906" y="26801"/>
                  <a:pt x="825906" y="59862"/>
                </a:cubicBezTo>
                <a:lnTo>
                  <a:pt x="825906" y="146447"/>
                </a:lnTo>
                <a:lnTo>
                  <a:pt x="957492" y="146447"/>
                </a:lnTo>
                <a:lnTo>
                  <a:pt x="957492" y="59862"/>
                </a:lnTo>
                <a:cubicBezTo>
                  <a:pt x="957492" y="26801"/>
                  <a:pt x="984293" y="0"/>
                  <a:pt x="1017354" y="0"/>
                </a:cubicBezTo>
                <a:lnTo>
                  <a:pt x="1034155" y="0"/>
                </a:lnTo>
                <a:cubicBezTo>
                  <a:pt x="1067216" y="0"/>
                  <a:pt x="1094017" y="26801"/>
                  <a:pt x="1094017" y="59862"/>
                </a:cubicBezTo>
                <a:lnTo>
                  <a:pt x="1094017" y="146447"/>
                </a:lnTo>
                <a:lnTo>
                  <a:pt x="1225603" y="146447"/>
                </a:lnTo>
                <a:lnTo>
                  <a:pt x="1225603" y="59862"/>
                </a:lnTo>
                <a:cubicBezTo>
                  <a:pt x="1225603" y="26801"/>
                  <a:pt x="1252404" y="0"/>
                  <a:pt x="1285465" y="0"/>
                </a:cubicBezTo>
                <a:lnTo>
                  <a:pt x="1302266" y="0"/>
                </a:lnTo>
                <a:cubicBezTo>
                  <a:pt x="1335327" y="0"/>
                  <a:pt x="1362128" y="26801"/>
                  <a:pt x="1362128" y="59862"/>
                </a:cubicBezTo>
                <a:lnTo>
                  <a:pt x="1362128" y="146447"/>
                </a:lnTo>
                <a:lnTo>
                  <a:pt x="1493714" y="146447"/>
                </a:lnTo>
                <a:lnTo>
                  <a:pt x="1493714" y="59862"/>
                </a:lnTo>
                <a:cubicBezTo>
                  <a:pt x="1493714" y="26801"/>
                  <a:pt x="1520515" y="0"/>
                  <a:pt x="1553576" y="0"/>
                </a:cubicBezTo>
                <a:lnTo>
                  <a:pt x="1570377" y="0"/>
                </a:lnTo>
                <a:cubicBezTo>
                  <a:pt x="1603438" y="0"/>
                  <a:pt x="1630239" y="26801"/>
                  <a:pt x="1630239" y="59862"/>
                </a:cubicBezTo>
                <a:lnTo>
                  <a:pt x="1630239" y="146447"/>
                </a:lnTo>
                <a:lnTo>
                  <a:pt x="1761825" y="146447"/>
                </a:lnTo>
                <a:lnTo>
                  <a:pt x="1761825" y="59862"/>
                </a:lnTo>
                <a:cubicBezTo>
                  <a:pt x="1761825" y="26801"/>
                  <a:pt x="1788626" y="0"/>
                  <a:pt x="1821687" y="0"/>
                </a:cubicBezTo>
                <a:lnTo>
                  <a:pt x="1838488" y="0"/>
                </a:lnTo>
                <a:cubicBezTo>
                  <a:pt x="1871549" y="0"/>
                  <a:pt x="1898350" y="26801"/>
                  <a:pt x="1898350" y="59862"/>
                </a:cubicBezTo>
                <a:lnTo>
                  <a:pt x="1898350" y="146447"/>
                </a:lnTo>
                <a:lnTo>
                  <a:pt x="2029936" y="146447"/>
                </a:lnTo>
                <a:lnTo>
                  <a:pt x="2029936" y="59862"/>
                </a:lnTo>
                <a:cubicBezTo>
                  <a:pt x="2029936" y="26801"/>
                  <a:pt x="2056737" y="0"/>
                  <a:pt x="2089798" y="0"/>
                </a:cubicBezTo>
                <a:lnTo>
                  <a:pt x="2106599" y="0"/>
                </a:lnTo>
                <a:cubicBezTo>
                  <a:pt x="2139660" y="0"/>
                  <a:pt x="2166461" y="26801"/>
                  <a:pt x="2166461" y="59862"/>
                </a:cubicBezTo>
                <a:lnTo>
                  <a:pt x="2166461" y="146447"/>
                </a:lnTo>
                <a:lnTo>
                  <a:pt x="2298047" y="146447"/>
                </a:lnTo>
                <a:lnTo>
                  <a:pt x="2298047" y="59862"/>
                </a:lnTo>
                <a:cubicBezTo>
                  <a:pt x="2298047" y="26801"/>
                  <a:pt x="2324848" y="0"/>
                  <a:pt x="2357909" y="0"/>
                </a:cubicBezTo>
                <a:lnTo>
                  <a:pt x="2374710" y="0"/>
                </a:lnTo>
                <a:cubicBezTo>
                  <a:pt x="2407771" y="0"/>
                  <a:pt x="2434572" y="26801"/>
                  <a:pt x="2434572" y="59862"/>
                </a:cubicBezTo>
                <a:lnTo>
                  <a:pt x="2434572" y="146447"/>
                </a:lnTo>
                <a:lnTo>
                  <a:pt x="2566159" y="146447"/>
                </a:lnTo>
                <a:lnTo>
                  <a:pt x="2566159" y="59862"/>
                </a:lnTo>
                <a:cubicBezTo>
                  <a:pt x="2566159" y="26801"/>
                  <a:pt x="2592960" y="0"/>
                  <a:pt x="2626021" y="0"/>
                </a:cubicBezTo>
                <a:lnTo>
                  <a:pt x="2642822" y="0"/>
                </a:lnTo>
                <a:cubicBezTo>
                  <a:pt x="2675883" y="0"/>
                  <a:pt x="2702684" y="26801"/>
                  <a:pt x="2702684" y="59862"/>
                </a:cubicBezTo>
                <a:lnTo>
                  <a:pt x="2702684" y="146447"/>
                </a:lnTo>
                <a:lnTo>
                  <a:pt x="2855842" y="146447"/>
                </a:lnTo>
                <a:lnTo>
                  <a:pt x="2855842" y="2280047"/>
                </a:lnTo>
                <a:lnTo>
                  <a:pt x="0" y="2280047"/>
                </a:lnTo>
                <a:lnTo>
                  <a:pt x="0" y="146447"/>
                </a:lnTo>
                <a:lnTo>
                  <a:pt x="153159" y="146447"/>
                </a:lnTo>
                <a:lnTo>
                  <a:pt x="153159" y="59862"/>
                </a:lnTo>
                <a:cubicBezTo>
                  <a:pt x="153159" y="26801"/>
                  <a:pt x="179960" y="0"/>
                  <a:pt x="213021" y="0"/>
                </a:cubicBezTo>
                <a:close/>
              </a:path>
            </a:pathLst>
          </a:custGeom>
          <a:solidFill>
            <a:srgbClr val="5E83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white"/>
              </a:solidFill>
              <a:effectLst/>
              <a:uLnTx/>
              <a:uFillTx/>
              <a:latin typeface="Segoe UI"/>
              <a:ea typeface="+mn-ea"/>
              <a:cs typeface="+mn-cs"/>
            </a:endParaRPr>
          </a:p>
        </p:txBody>
      </p:sp>
      <p:grpSp>
        <p:nvGrpSpPr>
          <p:cNvPr id="181" name="Group 180"/>
          <p:cNvGrpSpPr/>
          <p:nvPr/>
        </p:nvGrpSpPr>
        <p:grpSpPr>
          <a:xfrm>
            <a:off x="492638" y="2202012"/>
            <a:ext cx="438921" cy="498411"/>
            <a:chOff x="3627441" y="3959993"/>
            <a:chExt cx="1632784" cy="1854088"/>
          </a:xfrm>
          <a:solidFill>
            <a:srgbClr val="5E83BD"/>
          </a:solidFill>
        </p:grpSpPr>
        <p:grpSp>
          <p:nvGrpSpPr>
            <p:cNvPr id="182" name="Group 181"/>
            <p:cNvGrpSpPr/>
            <p:nvPr/>
          </p:nvGrpSpPr>
          <p:grpSpPr>
            <a:xfrm>
              <a:off x="4264192" y="3959993"/>
              <a:ext cx="515612" cy="1724832"/>
              <a:chOff x="6465549" y="1926296"/>
              <a:chExt cx="1155091" cy="3864066"/>
            </a:xfrm>
            <a:grpFill/>
          </p:grpSpPr>
          <p:grpSp>
            <p:nvGrpSpPr>
              <p:cNvPr id="276" name="Group 243"/>
              <p:cNvGrpSpPr/>
              <p:nvPr/>
            </p:nvGrpSpPr>
            <p:grpSpPr>
              <a:xfrm>
                <a:off x="7136718" y="5397244"/>
                <a:ext cx="338027" cy="393118"/>
                <a:chOff x="4724400" y="5433395"/>
                <a:chExt cx="327645" cy="381043"/>
              </a:xfrm>
              <a:grpFill/>
            </p:grpSpPr>
            <p:sp>
              <p:nvSpPr>
                <p:cNvPr id="342" name="Freeform 156"/>
                <p:cNvSpPr/>
                <p:nvPr/>
              </p:nvSpPr>
              <p:spPr bwMode="auto">
                <a:xfrm>
                  <a:off x="4724400" y="5433395"/>
                  <a:ext cx="327645" cy="381043"/>
                </a:xfrm>
                <a:custGeom>
                  <a:avLst/>
                  <a:gdLst>
                    <a:gd name="connsiteX0" fmla="*/ 17533 w 567791"/>
                    <a:gd name="connsiteY0" fmla="*/ 66085 h 613646"/>
                    <a:gd name="connsiteX1" fmla="*/ 17533 w 567791"/>
                    <a:gd name="connsiteY1" fmla="*/ 163189 h 613646"/>
                    <a:gd name="connsiteX2" fmla="*/ 122729 w 567791"/>
                    <a:gd name="connsiteY2" fmla="*/ 252202 h 613646"/>
                    <a:gd name="connsiteX3" fmla="*/ 171282 w 567791"/>
                    <a:gd name="connsiteY3" fmla="*/ 276478 h 613646"/>
                    <a:gd name="connsiteX4" fmla="*/ 203650 w 567791"/>
                    <a:gd name="connsiteY4" fmla="*/ 478779 h 613646"/>
                    <a:gd name="connsiteX5" fmla="*/ 316938 w 567791"/>
                    <a:gd name="connsiteY5" fmla="*/ 567791 h 613646"/>
                    <a:gd name="connsiteX6" fmla="*/ 414043 w 567791"/>
                    <a:gd name="connsiteY6" fmla="*/ 608251 h 613646"/>
                    <a:gd name="connsiteX7" fmla="*/ 551607 w 567791"/>
                    <a:gd name="connsiteY7" fmla="*/ 535423 h 613646"/>
                    <a:gd name="connsiteX8" fmla="*/ 511147 w 567791"/>
                    <a:gd name="connsiteY8" fmla="*/ 349306 h 613646"/>
                    <a:gd name="connsiteX9" fmla="*/ 349306 w 567791"/>
                    <a:gd name="connsiteY9" fmla="*/ 163189 h 613646"/>
                    <a:gd name="connsiteX10" fmla="*/ 300754 w 567791"/>
                    <a:gd name="connsiteY10" fmla="*/ 49901 h 613646"/>
                    <a:gd name="connsiteX11" fmla="*/ 122729 w 567791"/>
                    <a:gd name="connsiteY11" fmla="*/ 1349 h 613646"/>
                    <a:gd name="connsiteX12" fmla="*/ 17533 w 567791"/>
                    <a:gd name="connsiteY12" fmla="*/ 66085 h 613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7791" h="613646">
                      <a:moveTo>
                        <a:pt x="17533" y="66085"/>
                      </a:moveTo>
                      <a:cubicBezTo>
                        <a:pt x="0" y="93058"/>
                        <a:pt x="0" y="132170"/>
                        <a:pt x="17533" y="163189"/>
                      </a:cubicBezTo>
                      <a:cubicBezTo>
                        <a:pt x="35066" y="194208"/>
                        <a:pt x="97104" y="233321"/>
                        <a:pt x="122729" y="252202"/>
                      </a:cubicBezTo>
                      <a:cubicBezTo>
                        <a:pt x="148354" y="271084"/>
                        <a:pt x="157795" y="238715"/>
                        <a:pt x="171282" y="276478"/>
                      </a:cubicBezTo>
                      <a:cubicBezTo>
                        <a:pt x="184769" y="314241"/>
                        <a:pt x="179374" y="430227"/>
                        <a:pt x="203650" y="478779"/>
                      </a:cubicBezTo>
                      <a:cubicBezTo>
                        <a:pt x="227926" y="527331"/>
                        <a:pt x="281873" y="546212"/>
                        <a:pt x="316938" y="567791"/>
                      </a:cubicBezTo>
                      <a:cubicBezTo>
                        <a:pt x="352003" y="589370"/>
                        <a:pt x="374932" y="613646"/>
                        <a:pt x="414043" y="608251"/>
                      </a:cubicBezTo>
                      <a:cubicBezTo>
                        <a:pt x="453154" y="602856"/>
                        <a:pt x="535423" y="578580"/>
                        <a:pt x="551607" y="535423"/>
                      </a:cubicBezTo>
                      <a:cubicBezTo>
                        <a:pt x="567791" y="492266"/>
                        <a:pt x="544864" y="411345"/>
                        <a:pt x="511147" y="349306"/>
                      </a:cubicBezTo>
                      <a:cubicBezTo>
                        <a:pt x="477430" y="287267"/>
                        <a:pt x="384372" y="213090"/>
                        <a:pt x="349306" y="163189"/>
                      </a:cubicBezTo>
                      <a:cubicBezTo>
                        <a:pt x="314241" y="113288"/>
                        <a:pt x="338517" y="76874"/>
                        <a:pt x="300754" y="49901"/>
                      </a:cubicBezTo>
                      <a:cubicBezTo>
                        <a:pt x="262991" y="22928"/>
                        <a:pt x="171281" y="0"/>
                        <a:pt x="122729" y="1349"/>
                      </a:cubicBezTo>
                      <a:cubicBezTo>
                        <a:pt x="74177" y="2698"/>
                        <a:pt x="35066" y="39112"/>
                        <a:pt x="17533" y="6608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343" name="Freeform 342"/>
                <p:cNvSpPr/>
                <p:nvPr/>
              </p:nvSpPr>
              <p:spPr bwMode="auto">
                <a:xfrm>
                  <a:off x="4863961" y="5624103"/>
                  <a:ext cx="177244" cy="172652"/>
                </a:xfrm>
                <a:custGeom>
                  <a:avLst/>
                  <a:gdLst>
                    <a:gd name="connsiteX0" fmla="*/ 6145 w 337164"/>
                    <a:gd name="connsiteY0" fmla="*/ 175751 h 305210"/>
                    <a:gd name="connsiteX1" fmla="*/ 72513 w 337164"/>
                    <a:gd name="connsiteY1" fmla="*/ 232287 h 305210"/>
                    <a:gd name="connsiteX2" fmla="*/ 168377 w 337164"/>
                    <a:gd name="connsiteY2" fmla="*/ 296197 h 305210"/>
                    <a:gd name="connsiteX3" fmla="*/ 261784 w 337164"/>
                    <a:gd name="connsiteY3" fmla="*/ 286364 h 305210"/>
                    <a:gd name="connsiteX4" fmla="*/ 328151 w 337164"/>
                    <a:gd name="connsiteY4" fmla="*/ 224913 h 305210"/>
                    <a:gd name="connsiteX5" fmla="*/ 315861 w 337164"/>
                    <a:gd name="connsiteY5" fmla="*/ 131506 h 305210"/>
                    <a:gd name="connsiteX6" fmla="*/ 259326 w 337164"/>
                    <a:gd name="connsiteY6" fmla="*/ 20893 h 305210"/>
                    <a:gd name="connsiteX7" fmla="*/ 242119 w 337164"/>
                    <a:gd name="connsiteY7" fmla="*/ 6145 h 305210"/>
                    <a:gd name="connsiteX8" fmla="*/ 249493 w 337164"/>
                    <a:gd name="connsiteY8" fmla="*/ 38100 h 305210"/>
                    <a:gd name="connsiteX9" fmla="*/ 215080 w 337164"/>
                    <a:gd name="connsiteY9" fmla="*/ 111842 h 305210"/>
                    <a:gd name="connsiteX10" fmla="*/ 109384 w 337164"/>
                    <a:gd name="connsiteY10" fmla="*/ 168377 h 305210"/>
                    <a:gd name="connsiteX11" fmla="*/ 6145 w 337164"/>
                    <a:gd name="connsiteY11" fmla="*/ 175751 h 305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7164" h="305210">
                      <a:moveTo>
                        <a:pt x="6145" y="175751"/>
                      </a:moveTo>
                      <a:cubicBezTo>
                        <a:pt x="0" y="186403"/>
                        <a:pt x="45474" y="212213"/>
                        <a:pt x="72513" y="232287"/>
                      </a:cubicBezTo>
                      <a:cubicBezTo>
                        <a:pt x="99552" y="252361"/>
                        <a:pt x="136832" y="287184"/>
                        <a:pt x="168377" y="296197"/>
                      </a:cubicBezTo>
                      <a:cubicBezTo>
                        <a:pt x="199922" y="305210"/>
                        <a:pt x="235155" y="298245"/>
                        <a:pt x="261784" y="286364"/>
                      </a:cubicBezTo>
                      <a:cubicBezTo>
                        <a:pt x="288413" y="274483"/>
                        <a:pt x="319138" y="250723"/>
                        <a:pt x="328151" y="224913"/>
                      </a:cubicBezTo>
                      <a:cubicBezTo>
                        <a:pt x="337164" y="199103"/>
                        <a:pt x="327332" y="165509"/>
                        <a:pt x="315861" y="131506"/>
                      </a:cubicBezTo>
                      <a:cubicBezTo>
                        <a:pt x="304390" y="97503"/>
                        <a:pt x="271616" y="41786"/>
                        <a:pt x="259326" y="20893"/>
                      </a:cubicBezTo>
                      <a:cubicBezTo>
                        <a:pt x="247036" y="0"/>
                        <a:pt x="243758" y="3277"/>
                        <a:pt x="242119" y="6145"/>
                      </a:cubicBezTo>
                      <a:cubicBezTo>
                        <a:pt x="240480" y="9013"/>
                        <a:pt x="253999" y="20484"/>
                        <a:pt x="249493" y="38100"/>
                      </a:cubicBezTo>
                      <a:cubicBezTo>
                        <a:pt x="244987" y="55716"/>
                        <a:pt x="238431" y="90129"/>
                        <a:pt x="215080" y="111842"/>
                      </a:cubicBezTo>
                      <a:cubicBezTo>
                        <a:pt x="191729" y="133555"/>
                        <a:pt x="141748" y="158955"/>
                        <a:pt x="109384" y="168377"/>
                      </a:cubicBezTo>
                      <a:cubicBezTo>
                        <a:pt x="77020" y="177799"/>
                        <a:pt x="12290" y="165099"/>
                        <a:pt x="6145" y="17575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277" name="Group 242"/>
              <p:cNvGrpSpPr/>
              <p:nvPr/>
            </p:nvGrpSpPr>
            <p:grpSpPr>
              <a:xfrm rot="269533">
                <a:off x="6687194" y="5368627"/>
                <a:ext cx="304307" cy="416438"/>
                <a:chOff x="4267200" y="5419952"/>
                <a:chExt cx="286397" cy="391930"/>
              </a:xfrm>
              <a:grpFill/>
            </p:grpSpPr>
            <p:sp>
              <p:nvSpPr>
                <p:cNvPr id="340" name="Freeform 339"/>
                <p:cNvSpPr/>
                <p:nvPr/>
              </p:nvSpPr>
              <p:spPr bwMode="auto">
                <a:xfrm>
                  <a:off x="4267200" y="5419952"/>
                  <a:ext cx="286397" cy="391930"/>
                </a:xfrm>
                <a:custGeom>
                  <a:avLst/>
                  <a:gdLst>
                    <a:gd name="connsiteX0" fmla="*/ 447759 w 496311"/>
                    <a:gd name="connsiteY0" fmla="*/ 151051 h 631178"/>
                    <a:gd name="connsiteX1" fmla="*/ 480127 w 496311"/>
                    <a:gd name="connsiteY1" fmla="*/ 248156 h 631178"/>
                    <a:gd name="connsiteX2" fmla="*/ 463943 w 496311"/>
                    <a:gd name="connsiteY2" fmla="*/ 296708 h 631178"/>
                    <a:gd name="connsiteX3" fmla="*/ 366839 w 496311"/>
                    <a:gd name="connsiteY3" fmla="*/ 369536 h 631178"/>
                    <a:gd name="connsiteX4" fmla="*/ 366839 w 496311"/>
                    <a:gd name="connsiteY4" fmla="*/ 515193 h 631178"/>
                    <a:gd name="connsiteX5" fmla="*/ 221182 w 496311"/>
                    <a:gd name="connsiteY5" fmla="*/ 604205 h 631178"/>
                    <a:gd name="connsiteX6" fmla="*/ 91710 w 496311"/>
                    <a:gd name="connsiteY6" fmla="*/ 620389 h 631178"/>
                    <a:gd name="connsiteX7" fmla="*/ 2697 w 496311"/>
                    <a:gd name="connsiteY7" fmla="*/ 539469 h 631178"/>
                    <a:gd name="connsiteX8" fmla="*/ 107894 w 496311"/>
                    <a:gd name="connsiteY8" fmla="*/ 312892 h 631178"/>
                    <a:gd name="connsiteX9" fmla="*/ 188814 w 496311"/>
                    <a:gd name="connsiteY9" fmla="*/ 118683 h 631178"/>
                    <a:gd name="connsiteX10" fmla="*/ 188814 w 496311"/>
                    <a:gd name="connsiteY10" fmla="*/ 5395 h 631178"/>
                    <a:gd name="connsiteX11" fmla="*/ 447759 w 496311"/>
                    <a:gd name="connsiteY11" fmla="*/ 151051 h 63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6311" h="631178">
                      <a:moveTo>
                        <a:pt x="447759" y="151051"/>
                      </a:moveTo>
                      <a:cubicBezTo>
                        <a:pt x="496311" y="191511"/>
                        <a:pt x="477430" y="223880"/>
                        <a:pt x="480127" y="248156"/>
                      </a:cubicBezTo>
                      <a:cubicBezTo>
                        <a:pt x="482824" y="272432"/>
                        <a:pt x="482824" y="276478"/>
                        <a:pt x="463943" y="296708"/>
                      </a:cubicBezTo>
                      <a:cubicBezTo>
                        <a:pt x="445062" y="316938"/>
                        <a:pt x="383023" y="333122"/>
                        <a:pt x="366839" y="369536"/>
                      </a:cubicBezTo>
                      <a:cubicBezTo>
                        <a:pt x="350655" y="405950"/>
                        <a:pt x="391115" y="476082"/>
                        <a:pt x="366839" y="515193"/>
                      </a:cubicBezTo>
                      <a:cubicBezTo>
                        <a:pt x="342563" y="554305"/>
                        <a:pt x="267037" y="586672"/>
                        <a:pt x="221182" y="604205"/>
                      </a:cubicBezTo>
                      <a:cubicBezTo>
                        <a:pt x="175327" y="621738"/>
                        <a:pt x="128124" y="631178"/>
                        <a:pt x="91710" y="620389"/>
                      </a:cubicBezTo>
                      <a:cubicBezTo>
                        <a:pt x="55296" y="609600"/>
                        <a:pt x="0" y="590719"/>
                        <a:pt x="2697" y="539469"/>
                      </a:cubicBezTo>
                      <a:cubicBezTo>
                        <a:pt x="5394" y="488220"/>
                        <a:pt x="76875" y="383023"/>
                        <a:pt x="107894" y="312892"/>
                      </a:cubicBezTo>
                      <a:cubicBezTo>
                        <a:pt x="138913" y="242761"/>
                        <a:pt x="175327" y="169932"/>
                        <a:pt x="188814" y="118683"/>
                      </a:cubicBezTo>
                      <a:cubicBezTo>
                        <a:pt x="202301" y="67434"/>
                        <a:pt x="147005" y="0"/>
                        <a:pt x="188814" y="5395"/>
                      </a:cubicBezTo>
                      <a:cubicBezTo>
                        <a:pt x="230623" y="10790"/>
                        <a:pt x="399207" y="110591"/>
                        <a:pt x="447759" y="15105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341" name="Freeform 340"/>
                <p:cNvSpPr/>
                <p:nvPr/>
              </p:nvSpPr>
              <p:spPr bwMode="auto">
                <a:xfrm>
                  <a:off x="4273916" y="5645567"/>
                  <a:ext cx="194233" cy="150617"/>
                </a:xfrm>
                <a:custGeom>
                  <a:avLst/>
                  <a:gdLst>
                    <a:gd name="connsiteX0" fmla="*/ 353533 w 369481"/>
                    <a:gd name="connsiteY0" fmla="*/ 24366 h 266257"/>
                    <a:gd name="connsiteX1" fmla="*/ 361507 w 369481"/>
                    <a:gd name="connsiteY1" fmla="*/ 128033 h 266257"/>
                    <a:gd name="connsiteX2" fmla="*/ 305686 w 369481"/>
                    <a:gd name="connsiteY2" fmla="*/ 191829 h 266257"/>
                    <a:gd name="connsiteX3" fmla="*/ 167463 w 369481"/>
                    <a:gd name="connsiteY3" fmla="*/ 252966 h 266257"/>
                    <a:gd name="connsiteX4" fmla="*/ 85060 w 369481"/>
                    <a:gd name="connsiteY4" fmla="*/ 255624 h 266257"/>
                    <a:gd name="connsiteX5" fmla="*/ 7974 w 369481"/>
                    <a:gd name="connsiteY5" fmla="*/ 189171 h 266257"/>
                    <a:gd name="connsiteX6" fmla="*/ 37214 w 369481"/>
                    <a:gd name="connsiteY6" fmla="*/ 93478 h 266257"/>
                    <a:gd name="connsiteX7" fmla="*/ 85060 w 369481"/>
                    <a:gd name="connsiteY7" fmla="*/ 5759 h 266257"/>
                    <a:gd name="connsiteX8" fmla="*/ 93035 w 369481"/>
                    <a:gd name="connsiteY8" fmla="*/ 58922 h 266257"/>
                    <a:gd name="connsiteX9" fmla="*/ 167463 w 369481"/>
                    <a:gd name="connsiteY9" fmla="*/ 88161 h 266257"/>
                    <a:gd name="connsiteX10" fmla="*/ 255181 w 369481"/>
                    <a:gd name="connsiteY10" fmla="*/ 88161 h 266257"/>
                    <a:gd name="connsiteX11" fmla="*/ 318977 w 369481"/>
                    <a:gd name="connsiteY11" fmla="*/ 74871 h 266257"/>
                    <a:gd name="connsiteX12" fmla="*/ 353533 w 369481"/>
                    <a:gd name="connsiteY12" fmla="*/ 24366 h 266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9481" h="266257">
                      <a:moveTo>
                        <a:pt x="353533" y="24366"/>
                      </a:moveTo>
                      <a:cubicBezTo>
                        <a:pt x="360621" y="33226"/>
                        <a:pt x="369481" y="100123"/>
                        <a:pt x="361507" y="128033"/>
                      </a:cubicBezTo>
                      <a:cubicBezTo>
                        <a:pt x="353533" y="155943"/>
                        <a:pt x="338027" y="171007"/>
                        <a:pt x="305686" y="191829"/>
                      </a:cubicBezTo>
                      <a:cubicBezTo>
                        <a:pt x="273345" y="212651"/>
                        <a:pt x="204234" y="242334"/>
                        <a:pt x="167463" y="252966"/>
                      </a:cubicBezTo>
                      <a:cubicBezTo>
                        <a:pt x="130692" y="263598"/>
                        <a:pt x="111642" y="266257"/>
                        <a:pt x="85060" y="255624"/>
                      </a:cubicBezTo>
                      <a:cubicBezTo>
                        <a:pt x="58479" y="244992"/>
                        <a:pt x="15948" y="216195"/>
                        <a:pt x="7974" y="189171"/>
                      </a:cubicBezTo>
                      <a:cubicBezTo>
                        <a:pt x="0" y="162147"/>
                        <a:pt x="24366" y="124047"/>
                        <a:pt x="37214" y="93478"/>
                      </a:cubicBezTo>
                      <a:cubicBezTo>
                        <a:pt x="50062" y="62909"/>
                        <a:pt x="75757" y="11518"/>
                        <a:pt x="85060" y="5759"/>
                      </a:cubicBezTo>
                      <a:cubicBezTo>
                        <a:pt x="94364" y="0"/>
                        <a:pt x="79301" y="45188"/>
                        <a:pt x="93035" y="58922"/>
                      </a:cubicBezTo>
                      <a:cubicBezTo>
                        <a:pt x="106769" y="72656"/>
                        <a:pt x="140439" y="83288"/>
                        <a:pt x="167463" y="88161"/>
                      </a:cubicBezTo>
                      <a:cubicBezTo>
                        <a:pt x="194487" y="93034"/>
                        <a:pt x="229929" y="90376"/>
                        <a:pt x="255181" y="88161"/>
                      </a:cubicBezTo>
                      <a:cubicBezTo>
                        <a:pt x="280433" y="85946"/>
                        <a:pt x="303471" y="84175"/>
                        <a:pt x="318977" y="74871"/>
                      </a:cubicBezTo>
                      <a:cubicBezTo>
                        <a:pt x="334483" y="65567"/>
                        <a:pt x="346445" y="15506"/>
                        <a:pt x="353533" y="2436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78" name="Freeform 277"/>
              <p:cNvSpPr/>
              <p:nvPr/>
            </p:nvSpPr>
            <p:spPr bwMode="auto">
              <a:xfrm>
                <a:off x="6611343" y="3619880"/>
                <a:ext cx="876104" cy="1959551"/>
              </a:xfrm>
              <a:custGeom>
                <a:avLst/>
                <a:gdLst>
                  <a:gd name="connsiteX0" fmla="*/ 178025 w 1467356"/>
                  <a:gd name="connsiteY0" fmla="*/ 44506 h 2956290"/>
                  <a:gd name="connsiteX1" fmla="*/ 299406 w 1467356"/>
                  <a:gd name="connsiteY1" fmla="*/ 117334 h 2956290"/>
                  <a:gd name="connsiteX2" fmla="*/ 493615 w 1467356"/>
                  <a:gd name="connsiteY2" fmla="*/ 165886 h 2956290"/>
                  <a:gd name="connsiteX3" fmla="*/ 687823 w 1467356"/>
                  <a:gd name="connsiteY3" fmla="*/ 182070 h 2956290"/>
                  <a:gd name="connsiteX4" fmla="*/ 865848 w 1467356"/>
                  <a:gd name="connsiteY4" fmla="*/ 149702 h 2956290"/>
                  <a:gd name="connsiteX5" fmla="*/ 946769 w 1467356"/>
                  <a:gd name="connsiteY5" fmla="*/ 101150 h 2956290"/>
                  <a:gd name="connsiteX6" fmla="*/ 1181438 w 1467356"/>
                  <a:gd name="connsiteY6" fmla="*/ 303451 h 2956290"/>
                  <a:gd name="connsiteX7" fmla="*/ 1351370 w 1467356"/>
                  <a:gd name="connsiteY7" fmla="*/ 424831 h 2956290"/>
                  <a:gd name="connsiteX8" fmla="*/ 1327094 w 1467356"/>
                  <a:gd name="connsiteY8" fmla="*/ 530028 h 2956290"/>
                  <a:gd name="connsiteX9" fmla="*/ 1246174 w 1467356"/>
                  <a:gd name="connsiteY9" fmla="*/ 788973 h 2956290"/>
                  <a:gd name="connsiteX10" fmla="*/ 1221898 w 1467356"/>
                  <a:gd name="connsiteY10" fmla="*/ 1590085 h 2956290"/>
                  <a:gd name="connsiteX11" fmla="*/ 1262358 w 1467356"/>
                  <a:gd name="connsiteY11" fmla="*/ 1727649 h 2956290"/>
                  <a:gd name="connsiteX12" fmla="*/ 1294726 w 1467356"/>
                  <a:gd name="connsiteY12" fmla="*/ 2075607 h 2956290"/>
                  <a:gd name="connsiteX13" fmla="*/ 1335186 w 1467356"/>
                  <a:gd name="connsiteY13" fmla="*/ 2294092 h 2956290"/>
                  <a:gd name="connsiteX14" fmla="*/ 1367554 w 1467356"/>
                  <a:gd name="connsiteY14" fmla="*/ 2593497 h 2956290"/>
                  <a:gd name="connsiteX15" fmla="*/ 1310910 w 1467356"/>
                  <a:gd name="connsiteY15" fmla="*/ 2714877 h 2956290"/>
                  <a:gd name="connsiteX16" fmla="*/ 1391830 w 1467356"/>
                  <a:gd name="connsiteY16" fmla="*/ 2755338 h 2956290"/>
                  <a:gd name="connsiteX17" fmla="*/ 1391830 w 1467356"/>
                  <a:gd name="connsiteY17" fmla="*/ 2949547 h 2956290"/>
                  <a:gd name="connsiteX18" fmla="*/ 938676 w 1467356"/>
                  <a:gd name="connsiteY18" fmla="*/ 2795798 h 2956290"/>
                  <a:gd name="connsiteX19" fmla="*/ 914400 w 1467356"/>
                  <a:gd name="connsiteY19" fmla="*/ 2625865 h 2956290"/>
                  <a:gd name="connsiteX20" fmla="*/ 809204 w 1467356"/>
                  <a:gd name="connsiteY20" fmla="*/ 1986594 h 2956290"/>
                  <a:gd name="connsiteX21" fmla="*/ 801112 w 1467356"/>
                  <a:gd name="connsiteY21" fmla="*/ 1671005 h 2956290"/>
                  <a:gd name="connsiteX22" fmla="*/ 760652 w 1467356"/>
                  <a:gd name="connsiteY22" fmla="*/ 1242127 h 2956290"/>
                  <a:gd name="connsiteX23" fmla="*/ 695915 w 1467356"/>
                  <a:gd name="connsiteY23" fmla="*/ 934630 h 2956290"/>
                  <a:gd name="connsiteX24" fmla="*/ 647363 w 1467356"/>
                  <a:gd name="connsiteY24" fmla="*/ 1120747 h 2956290"/>
                  <a:gd name="connsiteX25" fmla="*/ 614995 w 1467356"/>
                  <a:gd name="connsiteY25" fmla="*/ 1776201 h 2956290"/>
                  <a:gd name="connsiteX26" fmla="*/ 598811 w 1467356"/>
                  <a:gd name="connsiteY26" fmla="*/ 1913766 h 2956290"/>
                  <a:gd name="connsiteX27" fmla="*/ 631179 w 1467356"/>
                  <a:gd name="connsiteY27" fmla="*/ 2051331 h 2956290"/>
                  <a:gd name="connsiteX28" fmla="*/ 639271 w 1467356"/>
                  <a:gd name="connsiteY28" fmla="*/ 2544945 h 2956290"/>
                  <a:gd name="connsiteX29" fmla="*/ 687823 w 1467356"/>
                  <a:gd name="connsiteY29" fmla="*/ 2836258 h 2956290"/>
                  <a:gd name="connsiteX30" fmla="*/ 655455 w 1467356"/>
                  <a:gd name="connsiteY30" fmla="*/ 2892902 h 2956290"/>
                  <a:gd name="connsiteX31" fmla="*/ 380326 w 1467356"/>
                  <a:gd name="connsiteY31" fmla="*/ 2860534 h 2956290"/>
                  <a:gd name="connsiteX32" fmla="*/ 323682 w 1467356"/>
                  <a:gd name="connsiteY32" fmla="*/ 2803890 h 2956290"/>
                  <a:gd name="connsiteX33" fmla="*/ 226577 w 1467356"/>
                  <a:gd name="connsiteY33" fmla="*/ 2116067 h 2956290"/>
                  <a:gd name="connsiteX34" fmla="*/ 161841 w 1467356"/>
                  <a:gd name="connsiteY34" fmla="*/ 1857122 h 2956290"/>
                  <a:gd name="connsiteX35" fmla="*/ 137565 w 1467356"/>
                  <a:gd name="connsiteY35" fmla="*/ 1622453 h 2956290"/>
                  <a:gd name="connsiteX36" fmla="*/ 80921 w 1467356"/>
                  <a:gd name="connsiteY36" fmla="*/ 772789 h 2956290"/>
                  <a:gd name="connsiteX37" fmla="*/ 8092 w 1467356"/>
                  <a:gd name="connsiteY37" fmla="*/ 513844 h 2956290"/>
                  <a:gd name="connsiteX38" fmla="*/ 32369 w 1467356"/>
                  <a:gd name="connsiteY38" fmla="*/ 384371 h 2956290"/>
                  <a:gd name="connsiteX39" fmla="*/ 178025 w 1467356"/>
                  <a:gd name="connsiteY39" fmla="*/ 44506 h 2956290"/>
                  <a:gd name="connsiteX0" fmla="*/ 178025 w 1467356"/>
                  <a:gd name="connsiteY0" fmla="*/ 5610 h 2917394"/>
                  <a:gd name="connsiteX1" fmla="*/ 299406 w 1467356"/>
                  <a:gd name="connsiteY1" fmla="*/ 78438 h 2917394"/>
                  <a:gd name="connsiteX2" fmla="*/ 493615 w 1467356"/>
                  <a:gd name="connsiteY2" fmla="*/ 126990 h 2917394"/>
                  <a:gd name="connsiteX3" fmla="*/ 687823 w 1467356"/>
                  <a:gd name="connsiteY3" fmla="*/ 143174 h 2917394"/>
                  <a:gd name="connsiteX4" fmla="*/ 865848 w 1467356"/>
                  <a:gd name="connsiteY4" fmla="*/ 110806 h 2917394"/>
                  <a:gd name="connsiteX5" fmla="*/ 946769 w 1467356"/>
                  <a:gd name="connsiteY5" fmla="*/ 62254 h 2917394"/>
                  <a:gd name="connsiteX6" fmla="*/ 1181438 w 1467356"/>
                  <a:gd name="connsiteY6" fmla="*/ 264555 h 2917394"/>
                  <a:gd name="connsiteX7" fmla="*/ 1351370 w 1467356"/>
                  <a:gd name="connsiteY7" fmla="*/ 385935 h 2917394"/>
                  <a:gd name="connsiteX8" fmla="*/ 1327094 w 1467356"/>
                  <a:gd name="connsiteY8" fmla="*/ 491132 h 2917394"/>
                  <a:gd name="connsiteX9" fmla="*/ 1246174 w 1467356"/>
                  <a:gd name="connsiteY9" fmla="*/ 750077 h 2917394"/>
                  <a:gd name="connsiteX10" fmla="*/ 1221898 w 1467356"/>
                  <a:gd name="connsiteY10" fmla="*/ 1551189 h 2917394"/>
                  <a:gd name="connsiteX11" fmla="*/ 1262358 w 1467356"/>
                  <a:gd name="connsiteY11" fmla="*/ 1688753 h 2917394"/>
                  <a:gd name="connsiteX12" fmla="*/ 1294726 w 1467356"/>
                  <a:gd name="connsiteY12" fmla="*/ 2036711 h 2917394"/>
                  <a:gd name="connsiteX13" fmla="*/ 1335186 w 1467356"/>
                  <a:gd name="connsiteY13" fmla="*/ 2255196 h 2917394"/>
                  <a:gd name="connsiteX14" fmla="*/ 1367554 w 1467356"/>
                  <a:gd name="connsiteY14" fmla="*/ 2554601 h 2917394"/>
                  <a:gd name="connsiteX15" fmla="*/ 1310910 w 1467356"/>
                  <a:gd name="connsiteY15" fmla="*/ 2675981 h 2917394"/>
                  <a:gd name="connsiteX16" fmla="*/ 1391830 w 1467356"/>
                  <a:gd name="connsiteY16" fmla="*/ 2716442 h 2917394"/>
                  <a:gd name="connsiteX17" fmla="*/ 1391830 w 1467356"/>
                  <a:gd name="connsiteY17" fmla="*/ 2910651 h 2917394"/>
                  <a:gd name="connsiteX18" fmla="*/ 938676 w 1467356"/>
                  <a:gd name="connsiteY18" fmla="*/ 2756902 h 2917394"/>
                  <a:gd name="connsiteX19" fmla="*/ 914400 w 1467356"/>
                  <a:gd name="connsiteY19" fmla="*/ 2586969 h 2917394"/>
                  <a:gd name="connsiteX20" fmla="*/ 809204 w 1467356"/>
                  <a:gd name="connsiteY20" fmla="*/ 1947698 h 2917394"/>
                  <a:gd name="connsiteX21" fmla="*/ 801112 w 1467356"/>
                  <a:gd name="connsiteY21" fmla="*/ 1632109 h 2917394"/>
                  <a:gd name="connsiteX22" fmla="*/ 760652 w 1467356"/>
                  <a:gd name="connsiteY22" fmla="*/ 1203231 h 2917394"/>
                  <a:gd name="connsiteX23" fmla="*/ 695915 w 1467356"/>
                  <a:gd name="connsiteY23" fmla="*/ 895734 h 2917394"/>
                  <a:gd name="connsiteX24" fmla="*/ 647363 w 1467356"/>
                  <a:gd name="connsiteY24" fmla="*/ 1081851 h 2917394"/>
                  <a:gd name="connsiteX25" fmla="*/ 614995 w 1467356"/>
                  <a:gd name="connsiteY25" fmla="*/ 1737305 h 2917394"/>
                  <a:gd name="connsiteX26" fmla="*/ 598811 w 1467356"/>
                  <a:gd name="connsiteY26" fmla="*/ 1874870 h 2917394"/>
                  <a:gd name="connsiteX27" fmla="*/ 631179 w 1467356"/>
                  <a:gd name="connsiteY27" fmla="*/ 2012435 h 2917394"/>
                  <a:gd name="connsiteX28" fmla="*/ 639271 w 1467356"/>
                  <a:gd name="connsiteY28" fmla="*/ 2506049 h 2917394"/>
                  <a:gd name="connsiteX29" fmla="*/ 687823 w 1467356"/>
                  <a:gd name="connsiteY29" fmla="*/ 2797362 h 2917394"/>
                  <a:gd name="connsiteX30" fmla="*/ 655455 w 1467356"/>
                  <a:gd name="connsiteY30" fmla="*/ 2854006 h 2917394"/>
                  <a:gd name="connsiteX31" fmla="*/ 380326 w 1467356"/>
                  <a:gd name="connsiteY31" fmla="*/ 2821638 h 2917394"/>
                  <a:gd name="connsiteX32" fmla="*/ 323682 w 1467356"/>
                  <a:gd name="connsiteY32" fmla="*/ 2764994 h 2917394"/>
                  <a:gd name="connsiteX33" fmla="*/ 226577 w 1467356"/>
                  <a:gd name="connsiteY33" fmla="*/ 2077171 h 2917394"/>
                  <a:gd name="connsiteX34" fmla="*/ 161841 w 1467356"/>
                  <a:gd name="connsiteY34" fmla="*/ 1818226 h 2917394"/>
                  <a:gd name="connsiteX35" fmla="*/ 137565 w 1467356"/>
                  <a:gd name="connsiteY35" fmla="*/ 1583557 h 2917394"/>
                  <a:gd name="connsiteX36" fmla="*/ 80921 w 1467356"/>
                  <a:gd name="connsiteY36" fmla="*/ 733893 h 2917394"/>
                  <a:gd name="connsiteX37" fmla="*/ 8092 w 1467356"/>
                  <a:gd name="connsiteY37" fmla="*/ 474948 h 2917394"/>
                  <a:gd name="connsiteX38" fmla="*/ 32369 w 1467356"/>
                  <a:gd name="connsiteY38" fmla="*/ 345475 h 2917394"/>
                  <a:gd name="connsiteX39" fmla="*/ 178025 w 1467356"/>
                  <a:gd name="connsiteY39" fmla="*/ 5610 h 2917394"/>
                  <a:gd name="connsiteX0" fmla="*/ 178025 w 1467356"/>
                  <a:gd name="connsiteY0" fmla="*/ 5610 h 2917394"/>
                  <a:gd name="connsiteX1" fmla="*/ 299406 w 1467356"/>
                  <a:gd name="connsiteY1" fmla="*/ 78438 h 2917394"/>
                  <a:gd name="connsiteX2" fmla="*/ 493615 w 1467356"/>
                  <a:gd name="connsiteY2" fmla="*/ 126990 h 2917394"/>
                  <a:gd name="connsiteX3" fmla="*/ 687823 w 1467356"/>
                  <a:gd name="connsiteY3" fmla="*/ 143174 h 2917394"/>
                  <a:gd name="connsiteX4" fmla="*/ 865848 w 1467356"/>
                  <a:gd name="connsiteY4" fmla="*/ 110806 h 2917394"/>
                  <a:gd name="connsiteX5" fmla="*/ 946769 w 1467356"/>
                  <a:gd name="connsiteY5" fmla="*/ 62254 h 2917394"/>
                  <a:gd name="connsiteX6" fmla="*/ 1181438 w 1467356"/>
                  <a:gd name="connsiteY6" fmla="*/ 264555 h 2917394"/>
                  <a:gd name="connsiteX7" fmla="*/ 1351370 w 1467356"/>
                  <a:gd name="connsiteY7" fmla="*/ 385935 h 2917394"/>
                  <a:gd name="connsiteX8" fmla="*/ 1327094 w 1467356"/>
                  <a:gd name="connsiteY8" fmla="*/ 491132 h 2917394"/>
                  <a:gd name="connsiteX9" fmla="*/ 1246174 w 1467356"/>
                  <a:gd name="connsiteY9" fmla="*/ 750077 h 2917394"/>
                  <a:gd name="connsiteX10" fmla="*/ 1221898 w 1467356"/>
                  <a:gd name="connsiteY10" fmla="*/ 1551189 h 2917394"/>
                  <a:gd name="connsiteX11" fmla="*/ 1262358 w 1467356"/>
                  <a:gd name="connsiteY11" fmla="*/ 1688753 h 2917394"/>
                  <a:gd name="connsiteX12" fmla="*/ 1294726 w 1467356"/>
                  <a:gd name="connsiteY12" fmla="*/ 2036711 h 2917394"/>
                  <a:gd name="connsiteX13" fmla="*/ 1335186 w 1467356"/>
                  <a:gd name="connsiteY13" fmla="*/ 2255196 h 2917394"/>
                  <a:gd name="connsiteX14" fmla="*/ 1367554 w 1467356"/>
                  <a:gd name="connsiteY14" fmla="*/ 2554601 h 2917394"/>
                  <a:gd name="connsiteX15" fmla="*/ 1310910 w 1467356"/>
                  <a:gd name="connsiteY15" fmla="*/ 2675981 h 2917394"/>
                  <a:gd name="connsiteX16" fmla="*/ 1391830 w 1467356"/>
                  <a:gd name="connsiteY16" fmla="*/ 2716442 h 2917394"/>
                  <a:gd name="connsiteX17" fmla="*/ 1391830 w 1467356"/>
                  <a:gd name="connsiteY17" fmla="*/ 2910651 h 2917394"/>
                  <a:gd name="connsiteX18" fmla="*/ 938676 w 1467356"/>
                  <a:gd name="connsiteY18" fmla="*/ 2756902 h 2917394"/>
                  <a:gd name="connsiteX19" fmla="*/ 914400 w 1467356"/>
                  <a:gd name="connsiteY19" fmla="*/ 2586969 h 2917394"/>
                  <a:gd name="connsiteX20" fmla="*/ 809204 w 1467356"/>
                  <a:gd name="connsiteY20" fmla="*/ 1947698 h 2917394"/>
                  <a:gd name="connsiteX21" fmla="*/ 801112 w 1467356"/>
                  <a:gd name="connsiteY21" fmla="*/ 1632109 h 2917394"/>
                  <a:gd name="connsiteX22" fmla="*/ 760652 w 1467356"/>
                  <a:gd name="connsiteY22" fmla="*/ 1203231 h 2917394"/>
                  <a:gd name="connsiteX23" fmla="*/ 695915 w 1467356"/>
                  <a:gd name="connsiteY23" fmla="*/ 895734 h 2917394"/>
                  <a:gd name="connsiteX24" fmla="*/ 647363 w 1467356"/>
                  <a:gd name="connsiteY24" fmla="*/ 1081851 h 2917394"/>
                  <a:gd name="connsiteX25" fmla="*/ 614995 w 1467356"/>
                  <a:gd name="connsiteY25" fmla="*/ 1737305 h 2917394"/>
                  <a:gd name="connsiteX26" fmla="*/ 598811 w 1467356"/>
                  <a:gd name="connsiteY26" fmla="*/ 1874870 h 2917394"/>
                  <a:gd name="connsiteX27" fmla="*/ 631179 w 1467356"/>
                  <a:gd name="connsiteY27" fmla="*/ 2012435 h 2917394"/>
                  <a:gd name="connsiteX28" fmla="*/ 639271 w 1467356"/>
                  <a:gd name="connsiteY28" fmla="*/ 2506049 h 2917394"/>
                  <a:gd name="connsiteX29" fmla="*/ 687823 w 1467356"/>
                  <a:gd name="connsiteY29" fmla="*/ 2797362 h 2917394"/>
                  <a:gd name="connsiteX30" fmla="*/ 655455 w 1467356"/>
                  <a:gd name="connsiteY30" fmla="*/ 2854006 h 2917394"/>
                  <a:gd name="connsiteX31" fmla="*/ 380326 w 1467356"/>
                  <a:gd name="connsiteY31" fmla="*/ 2821638 h 2917394"/>
                  <a:gd name="connsiteX32" fmla="*/ 323682 w 1467356"/>
                  <a:gd name="connsiteY32" fmla="*/ 2764994 h 2917394"/>
                  <a:gd name="connsiteX33" fmla="*/ 226577 w 1467356"/>
                  <a:gd name="connsiteY33" fmla="*/ 2077171 h 2917394"/>
                  <a:gd name="connsiteX34" fmla="*/ 161841 w 1467356"/>
                  <a:gd name="connsiteY34" fmla="*/ 1818226 h 2917394"/>
                  <a:gd name="connsiteX35" fmla="*/ 137565 w 1467356"/>
                  <a:gd name="connsiteY35" fmla="*/ 1583557 h 2917394"/>
                  <a:gd name="connsiteX36" fmla="*/ 80921 w 1467356"/>
                  <a:gd name="connsiteY36" fmla="*/ 733893 h 2917394"/>
                  <a:gd name="connsiteX37" fmla="*/ 8092 w 1467356"/>
                  <a:gd name="connsiteY37" fmla="*/ 474948 h 2917394"/>
                  <a:gd name="connsiteX38" fmla="*/ 32369 w 1467356"/>
                  <a:gd name="connsiteY38" fmla="*/ 345475 h 2917394"/>
                  <a:gd name="connsiteX39" fmla="*/ 178025 w 1467356"/>
                  <a:gd name="connsiteY39" fmla="*/ 5610 h 2917394"/>
                  <a:gd name="connsiteX0" fmla="*/ 178025 w 1455471"/>
                  <a:gd name="connsiteY0" fmla="*/ 5610 h 2929279"/>
                  <a:gd name="connsiteX1" fmla="*/ 299406 w 1455471"/>
                  <a:gd name="connsiteY1" fmla="*/ 78438 h 2929279"/>
                  <a:gd name="connsiteX2" fmla="*/ 493615 w 1455471"/>
                  <a:gd name="connsiteY2" fmla="*/ 126990 h 2929279"/>
                  <a:gd name="connsiteX3" fmla="*/ 687823 w 1455471"/>
                  <a:gd name="connsiteY3" fmla="*/ 143174 h 2929279"/>
                  <a:gd name="connsiteX4" fmla="*/ 865848 w 1455471"/>
                  <a:gd name="connsiteY4" fmla="*/ 110806 h 2929279"/>
                  <a:gd name="connsiteX5" fmla="*/ 946769 w 1455471"/>
                  <a:gd name="connsiteY5" fmla="*/ 62254 h 2929279"/>
                  <a:gd name="connsiteX6" fmla="*/ 1181438 w 1455471"/>
                  <a:gd name="connsiteY6" fmla="*/ 264555 h 2929279"/>
                  <a:gd name="connsiteX7" fmla="*/ 1351370 w 1455471"/>
                  <a:gd name="connsiteY7" fmla="*/ 385935 h 2929279"/>
                  <a:gd name="connsiteX8" fmla="*/ 1327094 w 1455471"/>
                  <a:gd name="connsiteY8" fmla="*/ 491132 h 2929279"/>
                  <a:gd name="connsiteX9" fmla="*/ 1246174 w 1455471"/>
                  <a:gd name="connsiteY9" fmla="*/ 750077 h 2929279"/>
                  <a:gd name="connsiteX10" fmla="*/ 1221898 w 1455471"/>
                  <a:gd name="connsiteY10" fmla="*/ 1551189 h 2929279"/>
                  <a:gd name="connsiteX11" fmla="*/ 1262358 w 1455471"/>
                  <a:gd name="connsiteY11" fmla="*/ 1688753 h 2929279"/>
                  <a:gd name="connsiteX12" fmla="*/ 1294726 w 1455471"/>
                  <a:gd name="connsiteY12" fmla="*/ 2036711 h 2929279"/>
                  <a:gd name="connsiteX13" fmla="*/ 1335186 w 1455471"/>
                  <a:gd name="connsiteY13" fmla="*/ 2255196 h 2929279"/>
                  <a:gd name="connsiteX14" fmla="*/ 1367554 w 1455471"/>
                  <a:gd name="connsiteY14" fmla="*/ 2554601 h 2929279"/>
                  <a:gd name="connsiteX15" fmla="*/ 1310910 w 1455471"/>
                  <a:gd name="connsiteY15" fmla="*/ 2675981 h 2929279"/>
                  <a:gd name="connsiteX16" fmla="*/ 1391830 w 1455471"/>
                  <a:gd name="connsiteY16" fmla="*/ 2716442 h 2929279"/>
                  <a:gd name="connsiteX17" fmla="*/ 1391830 w 1455471"/>
                  <a:gd name="connsiteY17" fmla="*/ 2910651 h 2929279"/>
                  <a:gd name="connsiteX18" fmla="*/ 1009986 w 1455471"/>
                  <a:gd name="connsiteY18" fmla="*/ 2828211 h 2929279"/>
                  <a:gd name="connsiteX19" fmla="*/ 914400 w 1455471"/>
                  <a:gd name="connsiteY19" fmla="*/ 2586969 h 2929279"/>
                  <a:gd name="connsiteX20" fmla="*/ 809204 w 1455471"/>
                  <a:gd name="connsiteY20" fmla="*/ 1947698 h 2929279"/>
                  <a:gd name="connsiteX21" fmla="*/ 801112 w 1455471"/>
                  <a:gd name="connsiteY21" fmla="*/ 1632109 h 2929279"/>
                  <a:gd name="connsiteX22" fmla="*/ 760652 w 1455471"/>
                  <a:gd name="connsiteY22" fmla="*/ 1203231 h 2929279"/>
                  <a:gd name="connsiteX23" fmla="*/ 695915 w 1455471"/>
                  <a:gd name="connsiteY23" fmla="*/ 895734 h 2929279"/>
                  <a:gd name="connsiteX24" fmla="*/ 647363 w 1455471"/>
                  <a:gd name="connsiteY24" fmla="*/ 1081851 h 2929279"/>
                  <a:gd name="connsiteX25" fmla="*/ 614995 w 1455471"/>
                  <a:gd name="connsiteY25" fmla="*/ 1737305 h 2929279"/>
                  <a:gd name="connsiteX26" fmla="*/ 598811 w 1455471"/>
                  <a:gd name="connsiteY26" fmla="*/ 1874870 h 2929279"/>
                  <a:gd name="connsiteX27" fmla="*/ 631179 w 1455471"/>
                  <a:gd name="connsiteY27" fmla="*/ 2012435 h 2929279"/>
                  <a:gd name="connsiteX28" fmla="*/ 639271 w 1455471"/>
                  <a:gd name="connsiteY28" fmla="*/ 2506049 h 2929279"/>
                  <a:gd name="connsiteX29" fmla="*/ 687823 w 1455471"/>
                  <a:gd name="connsiteY29" fmla="*/ 2797362 h 2929279"/>
                  <a:gd name="connsiteX30" fmla="*/ 655455 w 1455471"/>
                  <a:gd name="connsiteY30" fmla="*/ 2854006 h 2929279"/>
                  <a:gd name="connsiteX31" fmla="*/ 380326 w 1455471"/>
                  <a:gd name="connsiteY31" fmla="*/ 2821638 h 2929279"/>
                  <a:gd name="connsiteX32" fmla="*/ 323682 w 1455471"/>
                  <a:gd name="connsiteY32" fmla="*/ 2764994 h 2929279"/>
                  <a:gd name="connsiteX33" fmla="*/ 226577 w 1455471"/>
                  <a:gd name="connsiteY33" fmla="*/ 2077171 h 2929279"/>
                  <a:gd name="connsiteX34" fmla="*/ 161841 w 1455471"/>
                  <a:gd name="connsiteY34" fmla="*/ 1818226 h 2929279"/>
                  <a:gd name="connsiteX35" fmla="*/ 137565 w 1455471"/>
                  <a:gd name="connsiteY35" fmla="*/ 1583557 h 2929279"/>
                  <a:gd name="connsiteX36" fmla="*/ 80921 w 1455471"/>
                  <a:gd name="connsiteY36" fmla="*/ 733893 h 2929279"/>
                  <a:gd name="connsiteX37" fmla="*/ 8092 w 1455471"/>
                  <a:gd name="connsiteY37" fmla="*/ 474948 h 2929279"/>
                  <a:gd name="connsiteX38" fmla="*/ 32369 w 1455471"/>
                  <a:gd name="connsiteY38" fmla="*/ 345475 h 2929279"/>
                  <a:gd name="connsiteX39" fmla="*/ 178025 w 1455471"/>
                  <a:gd name="connsiteY39" fmla="*/ 5610 h 2929279"/>
                  <a:gd name="connsiteX0" fmla="*/ 178025 w 1455471"/>
                  <a:gd name="connsiteY0" fmla="*/ 5610 h 2929279"/>
                  <a:gd name="connsiteX1" fmla="*/ 299406 w 1455471"/>
                  <a:gd name="connsiteY1" fmla="*/ 78438 h 2929279"/>
                  <a:gd name="connsiteX2" fmla="*/ 493615 w 1455471"/>
                  <a:gd name="connsiteY2" fmla="*/ 126990 h 2929279"/>
                  <a:gd name="connsiteX3" fmla="*/ 687823 w 1455471"/>
                  <a:gd name="connsiteY3" fmla="*/ 143174 h 2929279"/>
                  <a:gd name="connsiteX4" fmla="*/ 865848 w 1455471"/>
                  <a:gd name="connsiteY4" fmla="*/ 110806 h 2929279"/>
                  <a:gd name="connsiteX5" fmla="*/ 946769 w 1455471"/>
                  <a:gd name="connsiteY5" fmla="*/ 62254 h 2929279"/>
                  <a:gd name="connsiteX6" fmla="*/ 1181438 w 1455471"/>
                  <a:gd name="connsiteY6" fmla="*/ 264555 h 2929279"/>
                  <a:gd name="connsiteX7" fmla="*/ 1351370 w 1455471"/>
                  <a:gd name="connsiteY7" fmla="*/ 385935 h 2929279"/>
                  <a:gd name="connsiteX8" fmla="*/ 1327094 w 1455471"/>
                  <a:gd name="connsiteY8" fmla="*/ 491132 h 2929279"/>
                  <a:gd name="connsiteX9" fmla="*/ 1246174 w 1455471"/>
                  <a:gd name="connsiteY9" fmla="*/ 750077 h 2929279"/>
                  <a:gd name="connsiteX10" fmla="*/ 1221898 w 1455471"/>
                  <a:gd name="connsiteY10" fmla="*/ 1551189 h 2929279"/>
                  <a:gd name="connsiteX11" fmla="*/ 1262358 w 1455471"/>
                  <a:gd name="connsiteY11" fmla="*/ 1688753 h 2929279"/>
                  <a:gd name="connsiteX12" fmla="*/ 1294726 w 1455471"/>
                  <a:gd name="connsiteY12" fmla="*/ 2036711 h 2929279"/>
                  <a:gd name="connsiteX13" fmla="*/ 1335186 w 1455471"/>
                  <a:gd name="connsiteY13" fmla="*/ 2255196 h 2929279"/>
                  <a:gd name="connsiteX14" fmla="*/ 1367554 w 1455471"/>
                  <a:gd name="connsiteY14" fmla="*/ 2554601 h 2929279"/>
                  <a:gd name="connsiteX15" fmla="*/ 1310910 w 1455471"/>
                  <a:gd name="connsiteY15" fmla="*/ 2675981 h 2929279"/>
                  <a:gd name="connsiteX16" fmla="*/ 1391830 w 1455471"/>
                  <a:gd name="connsiteY16" fmla="*/ 2716442 h 2929279"/>
                  <a:gd name="connsiteX17" fmla="*/ 1391830 w 1455471"/>
                  <a:gd name="connsiteY17" fmla="*/ 2910651 h 2929279"/>
                  <a:gd name="connsiteX18" fmla="*/ 1009986 w 1455471"/>
                  <a:gd name="connsiteY18" fmla="*/ 2828211 h 2929279"/>
                  <a:gd name="connsiteX19" fmla="*/ 914400 w 1455471"/>
                  <a:gd name="connsiteY19" fmla="*/ 2586969 h 2929279"/>
                  <a:gd name="connsiteX20" fmla="*/ 809204 w 1455471"/>
                  <a:gd name="connsiteY20" fmla="*/ 1947698 h 2929279"/>
                  <a:gd name="connsiteX21" fmla="*/ 801112 w 1455471"/>
                  <a:gd name="connsiteY21" fmla="*/ 1632109 h 2929279"/>
                  <a:gd name="connsiteX22" fmla="*/ 760652 w 1455471"/>
                  <a:gd name="connsiteY22" fmla="*/ 1203231 h 2929279"/>
                  <a:gd name="connsiteX23" fmla="*/ 695915 w 1455471"/>
                  <a:gd name="connsiteY23" fmla="*/ 895734 h 2929279"/>
                  <a:gd name="connsiteX24" fmla="*/ 647363 w 1455471"/>
                  <a:gd name="connsiteY24" fmla="*/ 1081851 h 2929279"/>
                  <a:gd name="connsiteX25" fmla="*/ 614995 w 1455471"/>
                  <a:gd name="connsiteY25" fmla="*/ 1737305 h 2929279"/>
                  <a:gd name="connsiteX26" fmla="*/ 598811 w 1455471"/>
                  <a:gd name="connsiteY26" fmla="*/ 1874870 h 2929279"/>
                  <a:gd name="connsiteX27" fmla="*/ 631179 w 1455471"/>
                  <a:gd name="connsiteY27" fmla="*/ 2012435 h 2929279"/>
                  <a:gd name="connsiteX28" fmla="*/ 639271 w 1455471"/>
                  <a:gd name="connsiteY28" fmla="*/ 2506049 h 2929279"/>
                  <a:gd name="connsiteX29" fmla="*/ 687823 w 1455471"/>
                  <a:gd name="connsiteY29" fmla="*/ 2797362 h 2929279"/>
                  <a:gd name="connsiteX30" fmla="*/ 655455 w 1455471"/>
                  <a:gd name="connsiteY30" fmla="*/ 2854006 h 2929279"/>
                  <a:gd name="connsiteX31" fmla="*/ 380326 w 1455471"/>
                  <a:gd name="connsiteY31" fmla="*/ 2821638 h 2929279"/>
                  <a:gd name="connsiteX32" fmla="*/ 323682 w 1455471"/>
                  <a:gd name="connsiteY32" fmla="*/ 2764994 h 2929279"/>
                  <a:gd name="connsiteX33" fmla="*/ 226577 w 1455471"/>
                  <a:gd name="connsiteY33" fmla="*/ 2077171 h 2929279"/>
                  <a:gd name="connsiteX34" fmla="*/ 161841 w 1455471"/>
                  <a:gd name="connsiteY34" fmla="*/ 1818226 h 2929279"/>
                  <a:gd name="connsiteX35" fmla="*/ 137565 w 1455471"/>
                  <a:gd name="connsiteY35" fmla="*/ 1583557 h 2929279"/>
                  <a:gd name="connsiteX36" fmla="*/ 80921 w 1455471"/>
                  <a:gd name="connsiteY36" fmla="*/ 733893 h 2929279"/>
                  <a:gd name="connsiteX37" fmla="*/ 8092 w 1455471"/>
                  <a:gd name="connsiteY37" fmla="*/ 474948 h 2929279"/>
                  <a:gd name="connsiteX38" fmla="*/ 32369 w 1455471"/>
                  <a:gd name="connsiteY38" fmla="*/ 345475 h 2929279"/>
                  <a:gd name="connsiteX39" fmla="*/ 178025 w 1455471"/>
                  <a:gd name="connsiteY39" fmla="*/ 5610 h 2929279"/>
                  <a:gd name="connsiteX0" fmla="*/ 178025 w 1455471"/>
                  <a:gd name="connsiteY0" fmla="*/ 5610 h 2929279"/>
                  <a:gd name="connsiteX1" fmla="*/ 299406 w 1455471"/>
                  <a:gd name="connsiteY1" fmla="*/ 78438 h 2929279"/>
                  <a:gd name="connsiteX2" fmla="*/ 493615 w 1455471"/>
                  <a:gd name="connsiteY2" fmla="*/ 126990 h 2929279"/>
                  <a:gd name="connsiteX3" fmla="*/ 687823 w 1455471"/>
                  <a:gd name="connsiteY3" fmla="*/ 143174 h 2929279"/>
                  <a:gd name="connsiteX4" fmla="*/ 865848 w 1455471"/>
                  <a:gd name="connsiteY4" fmla="*/ 110806 h 2929279"/>
                  <a:gd name="connsiteX5" fmla="*/ 946769 w 1455471"/>
                  <a:gd name="connsiteY5" fmla="*/ 62254 h 2929279"/>
                  <a:gd name="connsiteX6" fmla="*/ 1181438 w 1455471"/>
                  <a:gd name="connsiteY6" fmla="*/ 264555 h 2929279"/>
                  <a:gd name="connsiteX7" fmla="*/ 1351370 w 1455471"/>
                  <a:gd name="connsiteY7" fmla="*/ 385935 h 2929279"/>
                  <a:gd name="connsiteX8" fmla="*/ 1327094 w 1455471"/>
                  <a:gd name="connsiteY8" fmla="*/ 491132 h 2929279"/>
                  <a:gd name="connsiteX9" fmla="*/ 1246174 w 1455471"/>
                  <a:gd name="connsiteY9" fmla="*/ 750077 h 2929279"/>
                  <a:gd name="connsiteX10" fmla="*/ 1221898 w 1455471"/>
                  <a:gd name="connsiteY10" fmla="*/ 1551189 h 2929279"/>
                  <a:gd name="connsiteX11" fmla="*/ 1262358 w 1455471"/>
                  <a:gd name="connsiteY11" fmla="*/ 1688753 h 2929279"/>
                  <a:gd name="connsiteX12" fmla="*/ 1294726 w 1455471"/>
                  <a:gd name="connsiteY12" fmla="*/ 2036711 h 2929279"/>
                  <a:gd name="connsiteX13" fmla="*/ 1335186 w 1455471"/>
                  <a:gd name="connsiteY13" fmla="*/ 2255196 h 2929279"/>
                  <a:gd name="connsiteX14" fmla="*/ 1367554 w 1455471"/>
                  <a:gd name="connsiteY14" fmla="*/ 2554601 h 2929279"/>
                  <a:gd name="connsiteX15" fmla="*/ 1310910 w 1455471"/>
                  <a:gd name="connsiteY15" fmla="*/ 2675981 h 2929279"/>
                  <a:gd name="connsiteX16" fmla="*/ 1391830 w 1455471"/>
                  <a:gd name="connsiteY16" fmla="*/ 2716442 h 2929279"/>
                  <a:gd name="connsiteX17" fmla="*/ 1391830 w 1455471"/>
                  <a:gd name="connsiteY17" fmla="*/ 2910651 h 2929279"/>
                  <a:gd name="connsiteX18" fmla="*/ 1009986 w 1455471"/>
                  <a:gd name="connsiteY18" fmla="*/ 2828211 h 2929279"/>
                  <a:gd name="connsiteX19" fmla="*/ 914400 w 1455471"/>
                  <a:gd name="connsiteY19" fmla="*/ 2586969 h 2929279"/>
                  <a:gd name="connsiteX20" fmla="*/ 809204 w 1455471"/>
                  <a:gd name="connsiteY20" fmla="*/ 1947698 h 2929279"/>
                  <a:gd name="connsiteX21" fmla="*/ 801112 w 1455471"/>
                  <a:gd name="connsiteY21" fmla="*/ 1632109 h 2929279"/>
                  <a:gd name="connsiteX22" fmla="*/ 760652 w 1455471"/>
                  <a:gd name="connsiteY22" fmla="*/ 1203231 h 2929279"/>
                  <a:gd name="connsiteX23" fmla="*/ 695915 w 1455471"/>
                  <a:gd name="connsiteY23" fmla="*/ 895734 h 2929279"/>
                  <a:gd name="connsiteX24" fmla="*/ 647363 w 1455471"/>
                  <a:gd name="connsiteY24" fmla="*/ 1081851 h 2929279"/>
                  <a:gd name="connsiteX25" fmla="*/ 614995 w 1455471"/>
                  <a:gd name="connsiteY25" fmla="*/ 1737305 h 2929279"/>
                  <a:gd name="connsiteX26" fmla="*/ 598811 w 1455471"/>
                  <a:gd name="connsiteY26" fmla="*/ 1874870 h 2929279"/>
                  <a:gd name="connsiteX27" fmla="*/ 631179 w 1455471"/>
                  <a:gd name="connsiteY27" fmla="*/ 2012435 h 2929279"/>
                  <a:gd name="connsiteX28" fmla="*/ 639271 w 1455471"/>
                  <a:gd name="connsiteY28" fmla="*/ 2506049 h 2929279"/>
                  <a:gd name="connsiteX29" fmla="*/ 687823 w 1455471"/>
                  <a:gd name="connsiteY29" fmla="*/ 2797362 h 2929279"/>
                  <a:gd name="connsiteX30" fmla="*/ 655455 w 1455471"/>
                  <a:gd name="connsiteY30" fmla="*/ 2854006 h 2929279"/>
                  <a:gd name="connsiteX31" fmla="*/ 380326 w 1455471"/>
                  <a:gd name="connsiteY31" fmla="*/ 2821638 h 2929279"/>
                  <a:gd name="connsiteX32" fmla="*/ 323682 w 1455471"/>
                  <a:gd name="connsiteY32" fmla="*/ 2764994 h 2929279"/>
                  <a:gd name="connsiteX33" fmla="*/ 226577 w 1455471"/>
                  <a:gd name="connsiteY33" fmla="*/ 2077171 h 2929279"/>
                  <a:gd name="connsiteX34" fmla="*/ 161841 w 1455471"/>
                  <a:gd name="connsiteY34" fmla="*/ 1818226 h 2929279"/>
                  <a:gd name="connsiteX35" fmla="*/ 137565 w 1455471"/>
                  <a:gd name="connsiteY35" fmla="*/ 1583557 h 2929279"/>
                  <a:gd name="connsiteX36" fmla="*/ 80921 w 1455471"/>
                  <a:gd name="connsiteY36" fmla="*/ 733893 h 2929279"/>
                  <a:gd name="connsiteX37" fmla="*/ 8092 w 1455471"/>
                  <a:gd name="connsiteY37" fmla="*/ 474948 h 2929279"/>
                  <a:gd name="connsiteX38" fmla="*/ 32369 w 1455471"/>
                  <a:gd name="connsiteY38" fmla="*/ 345475 h 2929279"/>
                  <a:gd name="connsiteX39" fmla="*/ 178025 w 1455471"/>
                  <a:gd name="connsiteY39" fmla="*/ 5610 h 2929279"/>
                  <a:gd name="connsiteX0" fmla="*/ 178025 w 1455471"/>
                  <a:gd name="connsiteY0" fmla="*/ 5610 h 2929279"/>
                  <a:gd name="connsiteX1" fmla="*/ 299406 w 1455471"/>
                  <a:gd name="connsiteY1" fmla="*/ 78438 h 2929279"/>
                  <a:gd name="connsiteX2" fmla="*/ 493615 w 1455471"/>
                  <a:gd name="connsiteY2" fmla="*/ 126990 h 2929279"/>
                  <a:gd name="connsiteX3" fmla="*/ 687823 w 1455471"/>
                  <a:gd name="connsiteY3" fmla="*/ 143174 h 2929279"/>
                  <a:gd name="connsiteX4" fmla="*/ 865848 w 1455471"/>
                  <a:gd name="connsiteY4" fmla="*/ 110806 h 2929279"/>
                  <a:gd name="connsiteX5" fmla="*/ 946769 w 1455471"/>
                  <a:gd name="connsiteY5" fmla="*/ 62254 h 2929279"/>
                  <a:gd name="connsiteX6" fmla="*/ 1181438 w 1455471"/>
                  <a:gd name="connsiteY6" fmla="*/ 264555 h 2929279"/>
                  <a:gd name="connsiteX7" fmla="*/ 1351370 w 1455471"/>
                  <a:gd name="connsiteY7" fmla="*/ 385935 h 2929279"/>
                  <a:gd name="connsiteX8" fmla="*/ 1327094 w 1455471"/>
                  <a:gd name="connsiteY8" fmla="*/ 491132 h 2929279"/>
                  <a:gd name="connsiteX9" fmla="*/ 1246174 w 1455471"/>
                  <a:gd name="connsiteY9" fmla="*/ 750077 h 2929279"/>
                  <a:gd name="connsiteX10" fmla="*/ 1221898 w 1455471"/>
                  <a:gd name="connsiteY10" fmla="*/ 1551189 h 2929279"/>
                  <a:gd name="connsiteX11" fmla="*/ 1262358 w 1455471"/>
                  <a:gd name="connsiteY11" fmla="*/ 1688753 h 2929279"/>
                  <a:gd name="connsiteX12" fmla="*/ 1294726 w 1455471"/>
                  <a:gd name="connsiteY12" fmla="*/ 2036711 h 2929279"/>
                  <a:gd name="connsiteX13" fmla="*/ 1335186 w 1455471"/>
                  <a:gd name="connsiteY13" fmla="*/ 2255196 h 2929279"/>
                  <a:gd name="connsiteX14" fmla="*/ 1367554 w 1455471"/>
                  <a:gd name="connsiteY14" fmla="*/ 2554601 h 2929279"/>
                  <a:gd name="connsiteX15" fmla="*/ 1310910 w 1455471"/>
                  <a:gd name="connsiteY15" fmla="*/ 2675981 h 2929279"/>
                  <a:gd name="connsiteX16" fmla="*/ 1391830 w 1455471"/>
                  <a:gd name="connsiteY16" fmla="*/ 2716442 h 2929279"/>
                  <a:gd name="connsiteX17" fmla="*/ 1391830 w 1455471"/>
                  <a:gd name="connsiteY17" fmla="*/ 2910651 h 2929279"/>
                  <a:gd name="connsiteX18" fmla="*/ 1009986 w 1455471"/>
                  <a:gd name="connsiteY18" fmla="*/ 2828211 h 2929279"/>
                  <a:gd name="connsiteX19" fmla="*/ 914400 w 1455471"/>
                  <a:gd name="connsiteY19" fmla="*/ 2586969 h 2929279"/>
                  <a:gd name="connsiteX20" fmla="*/ 809204 w 1455471"/>
                  <a:gd name="connsiteY20" fmla="*/ 1947698 h 2929279"/>
                  <a:gd name="connsiteX21" fmla="*/ 801112 w 1455471"/>
                  <a:gd name="connsiteY21" fmla="*/ 1632109 h 2929279"/>
                  <a:gd name="connsiteX22" fmla="*/ 760652 w 1455471"/>
                  <a:gd name="connsiteY22" fmla="*/ 1203231 h 2929279"/>
                  <a:gd name="connsiteX23" fmla="*/ 695915 w 1455471"/>
                  <a:gd name="connsiteY23" fmla="*/ 895734 h 2929279"/>
                  <a:gd name="connsiteX24" fmla="*/ 647363 w 1455471"/>
                  <a:gd name="connsiteY24" fmla="*/ 1081851 h 2929279"/>
                  <a:gd name="connsiteX25" fmla="*/ 614995 w 1455471"/>
                  <a:gd name="connsiteY25" fmla="*/ 1737305 h 2929279"/>
                  <a:gd name="connsiteX26" fmla="*/ 598811 w 1455471"/>
                  <a:gd name="connsiteY26" fmla="*/ 1874870 h 2929279"/>
                  <a:gd name="connsiteX27" fmla="*/ 631179 w 1455471"/>
                  <a:gd name="connsiteY27" fmla="*/ 2012435 h 2929279"/>
                  <a:gd name="connsiteX28" fmla="*/ 639271 w 1455471"/>
                  <a:gd name="connsiteY28" fmla="*/ 2506049 h 2929279"/>
                  <a:gd name="connsiteX29" fmla="*/ 687823 w 1455471"/>
                  <a:gd name="connsiteY29" fmla="*/ 2797362 h 2929279"/>
                  <a:gd name="connsiteX30" fmla="*/ 655455 w 1455471"/>
                  <a:gd name="connsiteY30" fmla="*/ 2854006 h 2929279"/>
                  <a:gd name="connsiteX31" fmla="*/ 380326 w 1455471"/>
                  <a:gd name="connsiteY31" fmla="*/ 2821638 h 2929279"/>
                  <a:gd name="connsiteX32" fmla="*/ 323682 w 1455471"/>
                  <a:gd name="connsiteY32" fmla="*/ 2764994 h 2929279"/>
                  <a:gd name="connsiteX33" fmla="*/ 226577 w 1455471"/>
                  <a:gd name="connsiteY33" fmla="*/ 2077171 h 2929279"/>
                  <a:gd name="connsiteX34" fmla="*/ 161841 w 1455471"/>
                  <a:gd name="connsiteY34" fmla="*/ 1818226 h 2929279"/>
                  <a:gd name="connsiteX35" fmla="*/ 137565 w 1455471"/>
                  <a:gd name="connsiteY35" fmla="*/ 1583557 h 2929279"/>
                  <a:gd name="connsiteX36" fmla="*/ 80921 w 1455471"/>
                  <a:gd name="connsiteY36" fmla="*/ 733893 h 2929279"/>
                  <a:gd name="connsiteX37" fmla="*/ 8092 w 1455471"/>
                  <a:gd name="connsiteY37" fmla="*/ 474948 h 2929279"/>
                  <a:gd name="connsiteX38" fmla="*/ 32369 w 1455471"/>
                  <a:gd name="connsiteY38" fmla="*/ 345475 h 2929279"/>
                  <a:gd name="connsiteX39" fmla="*/ 178025 w 1455471"/>
                  <a:gd name="connsiteY39" fmla="*/ 5610 h 2929279"/>
                  <a:gd name="connsiteX0" fmla="*/ 178025 w 1455471"/>
                  <a:gd name="connsiteY0" fmla="*/ 5610 h 2929279"/>
                  <a:gd name="connsiteX1" fmla="*/ 299406 w 1455471"/>
                  <a:gd name="connsiteY1" fmla="*/ 78438 h 2929279"/>
                  <a:gd name="connsiteX2" fmla="*/ 493615 w 1455471"/>
                  <a:gd name="connsiteY2" fmla="*/ 126990 h 2929279"/>
                  <a:gd name="connsiteX3" fmla="*/ 687823 w 1455471"/>
                  <a:gd name="connsiteY3" fmla="*/ 143174 h 2929279"/>
                  <a:gd name="connsiteX4" fmla="*/ 865848 w 1455471"/>
                  <a:gd name="connsiteY4" fmla="*/ 110806 h 2929279"/>
                  <a:gd name="connsiteX5" fmla="*/ 946769 w 1455471"/>
                  <a:gd name="connsiteY5" fmla="*/ 62254 h 2929279"/>
                  <a:gd name="connsiteX6" fmla="*/ 1181438 w 1455471"/>
                  <a:gd name="connsiteY6" fmla="*/ 264555 h 2929279"/>
                  <a:gd name="connsiteX7" fmla="*/ 1351370 w 1455471"/>
                  <a:gd name="connsiteY7" fmla="*/ 385935 h 2929279"/>
                  <a:gd name="connsiteX8" fmla="*/ 1327094 w 1455471"/>
                  <a:gd name="connsiteY8" fmla="*/ 491132 h 2929279"/>
                  <a:gd name="connsiteX9" fmla="*/ 1246174 w 1455471"/>
                  <a:gd name="connsiteY9" fmla="*/ 750077 h 2929279"/>
                  <a:gd name="connsiteX10" fmla="*/ 1221898 w 1455471"/>
                  <a:gd name="connsiteY10" fmla="*/ 1551189 h 2929279"/>
                  <a:gd name="connsiteX11" fmla="*/ 1262358 w 1455471"/>
                  <a:gd name="connsiteY11" fmla="*/ 1688753 h 2929279"/>
                  <a:gd name="connsiteX12" fmla="*/ 1294726 w 1455471"/>
                  <a:gd name="connsiteY12" fmla="*/ 2036711 h 2929279"/>
                  <a:gd name="connsiteX13" fmla="*/ 1335186 w 1455471"/>
                  <a:gd name="connsiteY13" fmla="*/ 2255196 h 2929279"/>
                  <a:gd name="connsiteX14" fmla="*/ 1367554 w 1455471"/>
                  <a:gd name="connsiteY14" fmla="*/ 2554601 h 2929279"/>
                  <a:gd name="connsiteX15" fmla="*/ 1310910 w 1455471"/>
                  <a:gd name="connsiteY15" fmla="*/ 2675981 h 2929279"/>
                  <a:gd name="connsiteX16" fmla="*/ 1391830 w 1455471"/>
                  <a:gd name="connsiteY16" fmla="*/ 2716442 h 2929279"/>
                  <a:gd name="connsiteX17" fmla="*/ 1391830 w 1455471"/>
                  <a:gd name="connsiteY17" fmla="*/ 2910651 h 2929279"/>
                  <a:gd name="connsiteX18" fmla="*/ 1009986 w 1455471"/>
                  <a:gd name="connsiteY18" fmla="*/ 2828211 h 2929279"/>
                  <a:gd name="connsiteX19" fmla="*/ 914400 w 1455471"/>
                  <a:gd name="connsiteY19" fmla="*/ 2586969 h 2929279"/>
                  <a:gd name="connsiteX20" fmla="*/ 809204 w 1455471"/>
                  <a:gd name="connsiteY20" fmla="*/ 1947698 h 2929279"/>
                  <a:gd name="connsiteX21" fmla="*/ 801112 w 1455471"/>
                  <a:gd name="connsiteY21" fmla="*/ 1632109 h 2929279"/>
                  <a:gd name="connsiteX22" fmla="*/ 760652 w 1455471"/>
                  <a:gd name="connsiteY22" fmla="*/ 1203231 h 2929279"/>
                  <a:gd name="connsiteX23" fmla="*/ 695915 w 1455471"/>
                  <a:gd name="connsiteY23" fmla="*/ 895734 h 2929279"/>
                  <a:gd name="connsiteX24" fmla="*/ 647363 w 1455471"/>
                  <a:gd name="connsiteY24" fmla="*/ 1081851 h 2929279"/>
                  <a:gd name="connsiteX25" fmla="*/ 614995 w 1455471"/>
                  <a:gd name="connsiteY25" fmla="*/ 1737305 h 2929279"/>
                  <a:gd name="connsiteX26" fmla="*/ 598811 w 1455471"/>
                  <a:gd name="connsiteY26" fmla="*/ 1874870 h 2929279"/>
                  <a:gd name="connsiteX27" fmla="*/ 631179 w 1455471"/>
                  <a:gd name="connsiteY27" fmla="*/ 2012435 h 2929279"/>
                  <a:gd name="connsiteX28" fmla="*/ 639271 w 1455471"/>
                  <a:gd name="connsiteY28" fmla="*/ 2506049 h 2929279"/>
                  <a:gd name="connsiteX29" fmla="*/ 687823 w 1455471"/>
                  <a:gd name="connsiteY29" fmla="*/ 2797362 h 2929279"/>
                  <a:gd name="connsiteX30" fmla="*/ 655455 w 1455471"/>
                  <a:gd name="connsiteY30" fmla="*/ 2854006 h 2929279"/>
                  <a:gd name="connsiteX31" fmla="*/ 380326 w 1455471"/>
                  <a:gd name="connsiteY31" fmla="*/ 2821638 h 2929279"/>
                  <a:gd name="connsiteX32" fmla="*/ 323682 w 1455471"/>
                  <a:gd name="connsiteY32" fmla="*/ 2764994 h 2929279"/>
                  <a:gd name="connsiteX33" fmla="*/ 226577 w 1455471"/>
                  <a:gd name="connsiteY33" fmla="*/ 2077171 h 2929279"/>
                  <a:gd name="connsiteX34" fmla="*/ 161841 w 1455471"/>
                  <a:gd name="connsiteY34" fmla="*/ 1818226 h 2929279"/>
                  <a:gd name="connsiteX35" fmla="*/ 137565 w 1455471"/>
                  <a:gd name="connsiteY35" fmla="*/ 1583557 h 2929279"/>
                  <a:gd name="connsiteX36" fmla="*/ 80921 w 1455471"/>
                  <a:gd name="connsiteY36" fmla="*/ 733893 h 2929279"/>
                  <a:gd name="connsiteX37" fmla="*/ 8092 w 1455471"/>
                  <a:gd name="connsiteY37" fmla="*/ 474948 h 2929279"/>
                  <a:gd name="connsiteX38" fmla="*/ 32369 w 1455471"/>
                  <a:gd name="connsiteY38" fmla="*/ 345475 h 2929279"/>
                  <a:gd name="connsiteX39" fmla="*/ 178025 w 1455471"/>
                  <a:gd name="connsiteY39" fmla="*/ 5610 h 2929279"/>
                  <a:gd name="connsiteX0" fmla="*/ 178025 w 1455471"/>
                  <a:gd name="connsiteY0" fmla="*/ 5610 h 2959949"/>
                  <a:gd name="connsiteX1" fmla="*/ 299406 w 1455471"/>
                  <a:gd name="connsiteY1" fmla="*/ 78438 h 2959949"/>
                  <a:gd name="connsiteX2" fmla="*/ 493615 w 1455471"/>
                  <a:gd name="connsiteY2" fmla="*/ 126990 h 2959949"/>
                  <a:gd name="connsiteX3" fmla="*/ 687823 w 1455471"/>
                  <a:gd name="connsiteY3" fmla="*/ 143174 h 2959949"/>
                  <a:gd name="connsiteX4" fmla="*/ 865848 w 1455471"/>
                  <a:gd name="connsiteY4" fmla="*/ 110806 h 2959949"/>
                  <a:gd name="connsiteX5" fmla="*/ 946769 w 1455471"/>
                  <a:gd name="connsiteY5" fmla="*/ 62254 h 2959949"/>
                  <a:gd name="connsiteX6" fmla="*/ 1181438 w 1455471"/>
                  <a:gd name="connsiteY6" fmla="*/ 264555 h 2959949"/>
                  <a:gd name="connsiteX7" fmla="*/ 1351370 w 1455471"/>
                  <a:gd name="connsiteY7" fmla="*/ 385935 h 2959949"/>
                  <a:gd name="connsiteX8" fmla="*/ 1327094 w 1455471"/>
                  <a:gd name="connsiteY8" fmla="*/ 491132 h 2959949"/>
                  <a:gd name="connsiteX9" fmla="*/ 1246174 w 1455471"/>
                  <a:gd name="connsiteY9" fmla="*/ 750077 h 2959949"/>
                  <a:gd name="connsiteX10" fmla="*/ 1221898 w 1455471"/>
                  <a:gd name="connsiteY10" fmla="*/ 1551189 h 2959949"/>
                  <a:gd name="connsiteX11" fmla="*/ 1262358 w 1455471"/>
                  <a:gd name="connsiteY11" fmla="*/ 1688753 h 2959949"/>
                  <a:gd name="connsiteX12" fmla="*/ 1294726 w 1455471"/>
                  <a:gd name="connsiteY12" fmla="*/ 2036711 h 2959949"/>
                  <a:gd name="connsiteX13" fmla="*/ 1335186 w 1455471"/>
                  <a:gd name="connsiteY13" fmla="*/ 2255196 h 2959949"/>
                  <a:gd name="connsiteX14" fmla="*/ 1367554 w 1455471"/>
                  <a:gd name="connsiteY14" fmla="*/ 2554601 h 2959949"/>
                  <a:gd name="connsiteX15" fmla="*/ 1310910 w 1455471"/>
                  <a:gd name="connsiteY15" fmla="*/ 2675981 h 2959949"/>
                  <a:gd name="connsiteX16" fmla="*/ 1391830 w 1455471"/>
                  <a:gd name="connsiteY16" fmla="*/ 2716442 h 2959949"/>
                  <a:gd name="connsiteX17" fmla="*/ 1391830 w 1455471"/>
                  <a:gd name="connsiteY17" fmla="*/ 2910651 h 2959949"/>
                  <a:gd name="connsiteX18" fmla="*/ 1009986 w 1455471"/>
                  <a:gd name="connsiteY18" fmla="*/ 2828211 h 2959949"/>
                  <a:gd name="connsiteX19" fmla="*/ 914400 w 1455471"/>
                  <a:gd name="connsiteY19" fmla="*/ 2586969 h 2959949"/>
                  <a:gd name="connsiteX20" fmla="*/ 809204 w 1455471"/>
                  <a:gd name="connsiteY20" fmla="*/ 1947698 h 2959949"/>
                  <a:gd name="connsiteX21" fmla="*/ 801112 w 1455471"/>
                  <a:gd name="connsiteY21" fmla="*/ 1632109 h 2959949"/>
                  <a:gd name="connsiteX22" fmla="*/ 760652 w 1455471"/>
                  <a:gd name="connsiteY22" fmla="*/ 1203231 h 2959949"/>
                  <a:gd name="connsiteX23" fmla="*/ 695915 w 1455471"/>
                  <a:gd name="connsiteY23" fmla="*/ 895734 h 2959949"/>
                  <a:gd name="connsiteX24" fmla="*/ 647363 w 1455471"/>
                  <a:gd name="connsiteY24" fmla="*/ 1081851 h 2959949"/>
                  <a:gd name="connsiteX25" fmla="*/ 614995 w 1455471"/>
                  <a:gd name="connsiteY25" fmla="*/ 1737305 h 2959949"/>
                  <a:gd name="connsiteX26" fmla="*/ 598811 w 1455471"/>
                  <a:gd name="connsiteY26" fmla="*/ 1874870 h 2959949"/>
                  <a:gd name="connsiteX27" fmla="*/ 631179 w 1455471"/>
                  <a:gd name="connsiteY27" fmla="*/ 2012435 h 2959949"/>
                  <a:gd name="connsiteX28" fmla="*/ 639271 w 1455471"/>
                  <a:gd name="connsiteY28" fmla="*/ 2506049 h 2959949"/>
                  <a:gd name="connsiteX29" fmla="*/ 687823 w 1455471"/>
                  <a:gd name="connsiteY29" fmla="*/ 2797362 h 2959949"/>
                  <a:gd name="connsiteX30" fmla="*/ 655455 w 1455471"/>
                  <a:gd name="connsiteY30" fmla="*/ 2854006 h 2959949"/>
                  <a:gd name="connsiteX31" fmla="*/ 380326 w 1455471"/>
                  <a:gd name="connsiteY31" fmla="*/ 2821638 h 2959949"/>
                  <a:gd name="connsiteX32" fmla="*/ 323682 w 1455471"/>
                  <a:gd name="connsiteY32" fmla="*/ 2764994 h 2959949"/>
                  <a:gd name="connsiteX33" fmla="*/ 226577 w 1455471"/>
                  <a:gd name="connsiteY33" fmla="*/ 2077171 h 2959949"/>
                  <a:gd name="connsiteX34" fmla="*/ 161841 w 1455471"/>
                  <a:gd name="connsiteY34" fmla="*/ 1818226 h 2959949"/>
                  <a:gd name="connsiteX35" fmla="*/ 137565 w 1455471"/>
                  <a:gd name="connsiteY35" fmla="*/ 1583557 h 2959949"/>
                  <a:gd name="connsiteX36" fmla="*/ 80921 w 1455471"/>
                  <a:gd name="connsiteY36" fmla="*/ 733893 h 2959949"/>
                  <a:gd name="connsiteX37" fmla="*/ 8092 w 1455471"/>
                  <a:gd name="connsiteY37" fmla="*/ 474948 h 2959949"/>
                  <a:gd name="connsiteX38" fmla="*/ 32369 w 1455471"/>
                  <a:gd name="connsiteY38" fmla="*/ 345475 h 2959949"/>
                  <a:gd name="connsiteX39" fmla="*/ 178025 w 1455471"/>
                  <a:gd name="connsiteY39" fmla="*/ 5610 h 2959949"/>
                  <a:gd name="connsiteX0" fmla="*/ 178025 w 1455471"/>
                  <a:gd name="connsiteY0" fmla="*/ 5610 h 2959949"/>
                  <a:gd name="connsiteX1" fmla="*/ 299406 w 1455471"/>
                  <a:gd name="connsiteY1" fmla="*/ 78438 h 2959949"/>
                  <a:gd name="connsiteX2" fmla="*/ 493615 w 1455471"/>
                  <a:gd name="connsiteY2" fmla="*/ 126990 h 2959949"/>
                  <a:gd name="connsiteX3" fmla="*/ 687823 w 1455471"/>
                  <a:gd name="connsiteY3" fmla="*/ 143174 h 2959949"/>
                  <a:gd name="connsiteX4" fmla="*/ 865848 w 1455471"/>
                  <a:gd name="connsiteY4" fmla="*/ 110806 h 2959949"/>
                  <a:gd name="connsiteX5" fmla="*/ 946769 w 1455471"/>
                  <a:gd name="connsiteY5" fmla="*/ 62254 h 2959949"/>
                  <a:gd name="connsiteX6" fmla="*/ 1181438 w 1455471"/>
                  <a:gd name="connsiteY6" fmla="*/ 264555 h 2959949"/>
                  <a:gd name="connsiteX7" fmla="*/ 1351370 w 1455471"/>
                  <a:gd name="connsiteY7" fmla="*/ 385935 h 2959949"/>
                  <a:gd name="connsiteX8" fmla="*/ 1327094 w 1455471"/>
                  <a:gd name="connsiteY8" fmla="*/ 491132 h 2959949"/>
                  <a:gd name="connsiteX9" fmla="*/ 1246174 w 1455471"/>
                  <a:gd name="connsiteY9" fmla="*/ 750077 h 2959949"/>
                  <a:gd name="connsiteX10" fmla="*/ 1221898 w 1455471"/>
                  <a:gd name="connsiteY10" fmla="*/ 1551189 h 2959949"/>
                  <a:gd name="connsiteX11" fmla="*/ 1262358 w 1455471"/>
                  <a:gd name="connsiteY11" fmla="*/ 1688753 h 2959949"/>
                  <a:gd name="connsiteX12" fmla="*/ 1294726 w 1455471"/>
                  <a:gd name="connsiteY12" fmla="*/ 2036711 h 2959949"/>
                  <a:gd name="connsiteX13" fmla="*/ 1335186 w 1455471"/>
                  <a:gd name="connsiteY13" fmla="*/ 2255196 h 2959949"/>
                  <a:gd name="connsiteX14" fmla="*/ 1367554 w 1455471"/>
                  <a:gd name="connsiteY14" fmla="*/ 2554601 h 2959949"/>
                  <a:gd name="connsiteX15" fmla="*/ 1310910 w 1455471"/>
                  <a:gd name="connsiteY15" fmla="*/ 2675981 h 2959949"/>
                  <a:gd name="connsiteX16" fmla="*/ 1391830 w 1455471"/>
                  <a:gd name="connsiteY16" fmla="*/ 2716442 h 2959949"/>
                  <a:gd name="connsiteX17" fmla="*/ 1391830 w 1455471"/>
                  <a:gd name="connsiteY17" fmla="*/ 2910651 h 2959949"/>
                  <a:gd name="connsiteX18" fmla="*/ 1009986 w 1455471"/>
                  <a:gd name="connsiteY18" fmla="*/ 2828211 h 2959949"/>
                  <a:gd name="connsiteX19" fmla="*/ 940330 w 1455471"/>
                  <a:gd name="connsiteY19" fmla="*/ 2580488 h 2959949"/>
                  <a:gd name="connsiteX20" fmla="*/ 809204 w 1455471"/>
                  <a:gd name="connsiteY20" fmla="*/ 1947698 h 2959949"/>
                  <a:gd name="connsiteX21" fmla="*/ 801112 w 1455471"/>
                  <a:gd name="connsiteY21" fmla="*/ 1632109 h 2959949"/>
                  <a:gd name="connsiteX22" fmla="*/ 760652 w 1455471"/>
                  <a:gd name="connsiteY22" fmla="*/ 1203231 h 2959949"/>
                  <a:gd name="connsiteX23" fmla="*/ 695915 w 1455471"/>
                  <a:gd name="connsiteY23" fmla="*/ 895734 h 2959949"/>
                  <a:gd name="connsiteX24" fmla="*/ 647363 w 1455471"/>
                  <a:gd name="connsiteY24" fmla="*/ 1081851 h 2959949"/>
                  <a:gd name="connsiteX25" fmla="*/ 614995 w 1455471"/>
                  <a:gd name="connsiteY25" fmla="*/ 1737305 h 2959949"/>
                  <a:gd name="connsiteX26" fmla="*/ 598811 w 1455471"/>
                  <a:gd name="connsiteY26" fmla="*/ 1874870 h 2959949"/>
                  <a:gd name="connsiteX27" fmla="*/ 631179 w 1455471"/>
                  <a:gd name="connsiteY27" fmla="*/ 2012435 h 2959949"/>
                  <a:gd name="connsiteX28" fmla="*/ 639271 w 1455471"/>
                  <a:gd name="connsiteY28" fmla="*/ 2506049 h 2959949"/>
                  <a:gd name="connsiteX29" fmla="*/ 687823 w 1455471"/>
                  <a:gd name="connsiteY29" fmla="*/ 2797362 h 2959949"/>
                  <a:gd name="connsiteX30" fmla="*/ 655455 w 1455471"/>
                  <a:gd name="connsiteY30" fmla="*/ 2854006 h 2959949"/>
                  <a:gd name="connsiteX31" fmla="*/ 380326 w 1455471"/>
                  <a:gd name="connsiteY31" fmla="*/ 2821638 h 2959949"/>
                  <a:gd name="connsiteX32" fmla="*/ 323682 w 1455471"/>
                  <a:gd name="connsiteY32" fmla="*/ 2764994 h 2959949"/>
                  <a:gd name="connsiteX33" fmla="*/ 226577 w 1455471"/>
                  <a:gd name="connsiteY33" fmla="*/ 2077171 h 2959949"/>
                  <a:gd name="connsiteX34" fmla="*/ 161841 w 1455471"/>
                  <a:gd name="connsiteY34" fmla="*/ 1818226 h 2959949"/>
                  <a:gd name="connsiteX35" fmla="*/ 137565 w 1455471"/>
                  <a:gd name="connsiteY35" fmla="*/ 1583557 h 2959949"/>
                  <a:gd name="connsiteX36" fmla="*/ 80921 w 1455471"/>
                  <a:gd name="connsiteY36" fmla="*/ 733893 h 2959949"/>
                  <a:gd name="connsiteX37" fmla="*/ 8092 w 1455471"/>
                  <a:gd name="connsiteY37" fmla="*/ 474948 h 2959949"/>
                  <a:gd name="connsiteX38" fmla="*/ 32369 w 1455471"/>
                  <a:gd name="connsiteY38" fmla="*/ 345475 h 2959949"/>
                  <a:gd name="connsiteX39" fmla="*/ 178025 w 1455471"/>
                  <a:gd name="connsiteY39" fmla="*/ 5610 h 2959949"/>
                  <a:gd name="connsiteX0" fmla="*/ 178025 w 1455471"/>
                  <a:gd name="connsiteY0" fmla="*/ 5610 h 2959949"/>
                  <a:gd name="connsiteX1" fmla="*/ 299406 w 1455471"/>
                  <a:gd name="connsiteY1" fmla="*/ 78438 h 2959949"/>
                  <a:gd name="connsiteX2" fmla="*/ 493615 w 1455471"/>
                  <a:gd name="connsiteY2" fmla="*/ 126990 h 2959949"/>
                  <a:gd name="connsiteX3" fmla="*/ 687823 w 1455471"/>
                  <a:gd name="connsiteY3" fmla="*/ 143174 h 2959949"/>
                  <a:gd name="connsiteX4" fmla="*/ 865848 w 1455471"/>
                  <a:gd name="connsiteY4" fmla="*/ 110806 h 2959949"/>
                  <a:gd name="connsiteX5" fmla="*/ 946769 w 1455471"/>
                  <a:gd name="connsiteY5" fmla="*/ 62254 h 2959949"/>
                  <a:gd name="connsiteX6" fmla="*/ 1181438 w 1455471"/>
                  <a:gd name="connsiteY6" fmla="*/ 264555 h 2959949"/>
                  <a:gd name="connsiteX7" fmla="*/ 1351370 w 1455471"/>
                  <a:gd name="connsiteY7" fmla="*/ 385935 h 2959949"/>
                  <a:gd name="connsiteX8" fmla="*/ 1327094 w 1455471"/>
                  <a:gd name="connsiteY8" fmla="*/ 491132 h 2959949"/>
                  <a:gd name="connsiteX9" fmla="*/ 1246174 w 1455471"/>
                  <a:gd name="connsiteY9" fmla="*/ 750077 h 2959949"/>
                  <a:gd name="connsiteX10" fmla="*/ 1221898 w 1455471"/>
                  <a:gd name="connsiteY10" fmla="*/ 1551189 h 2959949"/>
                  <a:gd name="connsiteX11" fmla="*/ 1262358 w 1455471"/>
                  <a:gd name="connsiteY11" fmla="*/ 1688753 h 2959949"/>
                  <a:gd name="connsiteX12" fmla="*/ 1294726 w 1455471"/>
                  <a:gd name="connsiteY12" fmla="*/ 2036711 h 2959949"/>
                  <a:gd name="connsiteX13" fmla="*/ 1335186 w 1455471"/>
                  <a:gd name="connsiteY13" fmla="*/ 2255196 h 2959949"/>
                  <a:gd name="connsiteX14" fmla="*/ 1367554 w 1455471"/>
                  <a:gd name="connsiteY14" fmla="*/ 2554601 h 2959949"/>
                  <a:gd name="connsiteX15" fmla="*/ 1310910 w 1455471"/>
                  <a:gd name="connsiteY15" fmla="*/ 2675981 h 2959949"/>
                  <a:gd name="connsiteX16" fmla="*/ 1391830 w 1455471"/>
                  <a:gd name="connsiteY16" fmla="*/ 2716442 h 2959949"/>
                  <a:gd name="connsiteX17" fmla="*/ 1391830 w 1455471"/>
                  <a:gd name="connsiteY17" fmla="*/ 2910651 h 2959949"/>
                  <a:gd name="connsiteX18" fmla="*/ 1009986 w 1455471"/>
                  <a:gd name="connsiteY18" fmla="*/ 2828211 h 2959949"/>
                  <a:gd name="connsiteX19" fmla="*/ 940330 w 1455471"/>
                  <a:gd name="connsiteY19" fmla="*/ 2580488 h 2959949"/>
                  <a:gd name="connsiteX20" fmla="*/ 838376 w 1455471"/>
                  <a:gd name="connsiteY20" fmla="*/ 1947699 h 2959949"/>
                  <a:gd name="connsiteX21" fmla="*/ 801112 w 1455471"/>
                  <a:gd name="connsiteY21" fmla="*/ 1632109 h 2959949"/>
                  <a:gd name="connsiteX22" fmla="*/ 760652 w 1455471"/>
                  <a:gd name="connsiteY22" fmla="*/ 1203231 h 2959949"/>
                  <a:gd name="connsiteX23" fmla="*/ 695915 w 1455471"/>
                  <a:gd name="connsiteY23" fmla="*/ 895734 h 2959949"/>
                  <a:gd name="connsiteX24" fmla="*/ 647363 w 1455471"/>
                  <a:gd name="connsiteY24" fmla="*/ 1081851 h 2959949"/>
                  <a:gd name="connsiteX25" fmla="*/ 614995 w 1455471"/>
                  <a:gd name="connsiteY25" fmla="*/ 1737305 h 2959949"/>
                  <a:gd name="connsiteX26" fmla="*/ 598811 w 1455471"/>
                  <a:gd name="connsiteY26" fmla="*/ 1874870 h 2959949"/>
                  <a:gd name="connsiteX27" fmla="*/ 631179 w 1455471"/>
                  <a:gd name="connsiteY27" fmla="*/ 2012435 h 2959949"/>
                  <a:gd name="connsiteX28" fmla="*/ 639271 w 1455471"/>
                  <a:gd name="connsiteY28" fmla="*/ 2506049 h 2959949"/>
                  <a:gd name="connsiteX29" fmla="*/ 687823 w 1455471"/>
                  <a:gd name="connsiteY29" fmla="*/ 2797362 h 2959949"/>
                  <a:gd name="connsiteX30" fmla="*/ 655455 w 1455471"/>
                  <a:gd name="connsiteY30" fmla="*/ 2854006 h 2959949"/>
                  <a:gd name="connsiteX31" fmla="*/ 380326 w 1455471"/>
                  <a:gd name="connsiteY31" fmla="*/ 2821638 h 2959949"/>
                  <a:gd name="connsiteX32" fmla="*/ 323682 w 1455471"/>
                  <a:gd name="connsiteY32" fmla="*/ 2764994 h 2959949"/>
                  <a:gd name="connsiteX33" fmla="*/ 226577 w 1455471"/>
                  <a:gd name="connsiteY33" fmla="*/ 2077171 h 2959949"/>
                  <a:gd name="connsiteX34" fmla="*/ 161841 w 1455471"/>
                  <a:gd name="connsiteY34" fmla="*/ 1818226 h 2959949"/>
                  <a:gd name="connsiteX35" fmla="*/ 137565 w 1455471"/>
                  <a:gd name="connsiteY35" fmla="*/ 1583557 h 2959949"/>
                  <a:gd name="connsiteX36" fmla="*/ 80921 w 1455471"/>
                  <a:gd name="connsiteY36" fmla="*/ 733893 h 2959949"/>
                  <a:gd name="connsiteX37" fmla="*/ 8092 w 1455471"/>
                  <a:gd name="connsiteY37" fmla="*/ 474948 h 2959949"/>
                  <a:gd name="connsiteX38" fmla="*/ 32369 w 1455471"/>
                  <a:gd name="connsiteY38" fmla="*/ 345475 h 2959949"/>
                  <a:gd name="connsiteX39" fmla="*/ 178025 w 1455471"/>
                  <a:gd name="connsiteY39" fmla="*/ 5610 h 2959949"/>
                  <a:gd name="connsiteX0" fmla="*/ 178025 w 1455471"/>
                  <a:gd name="connsiteY0" fmla="*/ 5610 h 2959949"/>
                  <a:gd name="connsiteX1" fmla="*/ 299406 w 1455471"/>
                  <a:gd name="connsiteY1" fmla="*/ 78438 h 2959949"/>
                  <a:gd name="connsiteX2" fmla="*/ 493615 w 1455471"/>
                  <a:gd name="connsiteY2" fmla="*/ 126990 h 2959949"/>
                  <a:gd name="connsiteX3" fmla="*/ 687823 w 1455471"/>
                  <a:gd name="connsiteY3" fmla="*/ 143174 h 2959949"/>
                  <a:gd name="connsiteX4" fmla="*/ 865848 w 1455471"/>
                  <a:gd name="connsiteY4" fmla="*/ 110806 h 2959949"/>
                  <a:gd name="connsiteX5" fmla="*/ 946769 w 1455471"/>
                  <a:gd name="connsiteY5" fmla="*/ 62254 h 2959949"/>
                  <a:gd name="connsiteX6" fmla="*/ 1181438 w 1455471"/>
                  <a:gd name="connsiteY6" fmla="*/ 264555 h 2959949"/>
                  <a:gd name="connsiteX7" fmla="*/ 1351370 w 1455471"/>
                  <a:gd name="connsiteY7" fmla="*/ 385935 h 2959949"/>
                  <a:gd name="connsiteX8" fmla="*/ 1327094 w 1455471"/>
                  <a:gd name="connsiteY8" fmla="*/ 491132 h 2959949"/>
                  <a:gd name="connsiteX9" fmla="*/ 1246174 w 1455471"/>
                  <a:gd name="connsiteY9" fmla="*/ 750077 h 2959949"/>
                  <a:gd name="connsiteX10" fmla="*/ 1221898 w 1455471"/>
                  <a:gd name="connsiteY10" fmla="*/ 1551189 h 2959949"/>
                  <a:gd name="connsiteX11" fmla="*/ 1262358 w 1455471"/>
                  <a:gd name="connsiteY11" fmla="*/ 1688753 h 2959949"/>
                  <a:gd name="connsiteX12" fmla="*/ 1294726 w 1455471"/>
                  <a:gd name="connsiteY12" fmla="*/ 2036711 h 2959949"/>
                  <a:gd name="connsiteX13" fmla="*/ 1335186 w 1455471"/>
                  <a:gd name="connsiteY13" fmla="*/ 2255196 h 2959949"/>
                  <a:gd name="connsiteX14" fmla="*/ 1367554 w 1455471"/>
                  <a:gd name="connsiteY14" fmla="*/ 2554601 h 2959949"/>
                  <a:gd name="connsiteX15" fmla="*/ 1310910 w 1455471"/>
                  <a:gd name="connsiteY15" fmla="*/ 2675981 h 2959949"/>
                  <a:gd name="connsiteX16" fmla="*/ 1391830 w 1455471"/>
                  <a:gd name="connsiteY16" fmla="*/ 2716442 h 2959949"/>
                  <a:gd name="connsiteX17" fmla="*/ 1391830 w 1455471"/>
                  <a:gd name="connsiteY17" fmla="*/ 2910651 h 2959949"/>
                  <a:gd name="connsiteX18" fmla="*/ 1009986 w 1455471"/>
                  <a:gd name="connsiteY18" fmla="*/ 2828211 h 2959949"/>
                  <a:gd name="connsiteX19" fmla="*/ 940330 w 1455471"/>
                  <a:gd name="connsiteY19" fmla="*/ 2580488 h 2959949"/>
                  <a:gd name="connsiteX20" fmla="*/ 838376 w 1455471"/>
                  <a:gd name="connsiteY20" fmla="*/ 1947699 h 2959949"/>
                  <a:gd name="connsiteX21" fmla="*/ 801112 w 1455471"/>
                  <a:gd name="connsiteY21" fmla="*/ 1632109 h 2959949"/>
                  <a:gd name="connsiteX22" fmla="*/ 750929 w 1455471"/>
                  <a:gd name="connsiteY22" fmla="*/ 1212955 h 2959949"/>
                  <a:gd name="connsiteX23" fmla="*/ 695915 w 1455471"/>
                  <a:gd name="connsiteY23" fmla="*/ 895734 h 2959949"/>
                  <a:gd name="connsiteX24" fmla="*/ 647363 w 1455471"/>
                  <a:gd name="connsiteY24" fmla="*/ 1081851 h 2959949"/>
                  <a:gd name="connsiteX25" fmla="*/ 614995 w 1455471"/>
                  <a:gd name="connsiteY25" fmla="*/ 1737305 h 2959949"/>
                  <a:gd name="connsiteX26" fmla="*/ 598811 w 1455471"/>
                  <a:gd name="connsiteY26" fmla="*/ 1874870 h 2959949"/>
                  <a:gd name="connsiteX27" fmla="*/ 631179 w 1455471"/>
                  <a:gd name="connsiteY27" fmla="*/ 2012435 h 2959949"/>
                  <a:gd name="connsiteX28" fmla="*/ 639271 w 1455471"/>
                  <a:gd name="connsiteY28" fmla="*/ 2506049 h 2959949"/>
                  <a:gd name="connsiteX29" fmla="*/ 687823 w 1455471"/>
                  <a:gd name="connsiteY29" fmla="*/ 2797362 h 2959949"/>
                  <a:gd name="connsiteX30" fmla="*/ 655455 w 1455471"/>
                  <a:gd name="connsiteY30" fmla="*/ 2854006 h 2959949"/>
                  <a:gd name="connsiteX31" fmla="*/ 380326 w 1455471"/>
                  <a:gd name="connsiteY31" fmla="*/ 2821638 h 2959949"/>
                  <a:gd name="connsiteX32" fmla="*/ 323682 w 1455471"/>
                  <a:gd name="connsiteY32" fmla="*/ 2764994 h 2959949"/>
                  <a:gd name="connsiteX33" fmla="*/ 226577 w 1455471"/>
                  <a:gd name="connsiteY33" fmla="*/ 2077171 h 2959949"/>
                  <a:gd name="connsiteX34" fmla="*/ 161841 w 1455471"/>
                  <a:gd name="connsiteY34" fmla="*/ 1818226 h 2959949"/>
                  <a:gd name="connsiteX35" fmla="*/ 137565 w 1455471"/>
                  <a:gd name="connsiteY35" fmla="*/ 1583557 h 2959949"/>
                  <a:gd name="connsiteX36" fmla="*/ 80921 w 1455471"/>
                  <a:gd name="connsiteY36" fmla="*/ 733893 h 2959949"/>
                  <a:gd name="connsiteX37" fmla="*/ 8092 w 1455471"/>
                  <a:gd name="connsiteY37" fmla="*/ 474948 h 2959949"/>
                  <a:gd name="connsiteX38" fmla="*/ 32369 w 1455471"/>
                  <a:gd name="connsiteY38" fmla="*/ 345475 h 2959949"/>
                  <a:gd name="connsiteX39" fmla="*/ 178025 w 1455471"/>
                  <a:gd name="connsiteY39" fmla="*/ 5610 h 2959949"/>
                  <a:gd name="connsiteX0" fmla="*/ 178025 w 1455471"/>
                  <a:gd name="connsiteY0" fmla="*/ 5610 h 2959949"/>
                  <a:gd name="connsiteX1" fmla="*/ 299406 w 1455471"/>
                  <a:gd name="connsiteY1" fmla="*/ 78438 h 2959949"/>
                  <a:gd name="connsiteX2" fmla="*/ 493615 w 1455471"/>
                  <a:gd name="connsiteY2" fmla="*/ 126990 h 2959949"/>
                  <a:gd name="connsiteX3" fmla="*/ 687823 w 1455471"/>
                  <a:gd name="connsiteY3" fmla="*/ 143174 h 2959949"/>
                  <a:gd name="connsiteX4" fmla="*/ 865848 w 1455471"/>
                  <a:gd name="connsiteY4" fmla="*/ 110806 h 2959949"/>
                  <a:gd name="connsiteX5" fmla="*/ 946769 w 1455471"/>
                  <a:gd name="connsiteY5" fmla="*/ 62254 h 2959949"/>
                  <a:gd name="connsiteX6" fmla="*/ 1181438 w 1455471"/>
                  <a:gd name="connsiteY6" fmla="*/ 264555 h 2959949"/>
                  <a:gd name="connsiteX7" fmla="*/ 1351370 w 1455471"/>
                  <a:gd name="connsiteY7" fmla="*/ 385935 h 2959949"/>
                  <a:gd name="connsiteX8" fmla="*/ 1327094 w 1455471"/>
                  <a:gd name="connsiteY8" fmla="*/ 491132 h 2959949"/>
                  <a:gd name="connsiteX9" fmla="*/ 1246174 w 1455471"/>
                  <a:gd name="connsiteY9" fmla="*/ 750077 h 2959949"/>
                  <a:gd name="connsiteX10" fmla="*/ 1221898 w 1455471"/>
                  <a:gd name="connsiteY10" fmla="*/ 1551189 h 2959949"/>
                  <a:gd name="connsiteX11" fmla="*/ 1262358 w 1455471"/>
                  <a:gd name="connsiteY11" fmla="*/ 1747097 h 2959949"/>
                  <a:gd name="connsiteX12" fmla="*/ 1294726 w 1455471"/>
                  <a:gd name="connsiteY12" fmla="*/ 2036711 h 2959949"/>
                  <a:gd name="connsiteX13" fmla="*/ 1335186 w 1455471"/>
                  <a:gd name="connsiteY13" fmla="*/ 2255196 h 2959949"/>
                  <a:gd name="connsiteX14" fmla="*/ 1367554 w 1455471"/>
                  <a:gd name="connsiteY14" fmla="*/ 2554601 h 2959949"/>
                  <a:gd name="connsiteX15" fmla="*/ 1310910 w 1455471"/>
                  <a:gd name="connsiteY15" fmla="*/ 2675981 h 2959949"/>
                  <a:gd name="connsiteX16" fmla="*/ 1391830 w 1455471"/>
                  <a:gd name="connsiteY16" fmla="*/ 2716442 h 2959949"/>
                  <a:gd name="connsiteX17" fmla="*/ 1391830 w 1455471"/>
                  <a:gd name="connsiteY17" fmla="*/ 2910651 h 2959949"/>
                  <a:gd name="connsiteX18" fmla="*/ 1009986 w 1455471"/>
                  <a:gd name="connsiteY18" fmla="*/ 2828211 h 2959949"/>
                  <a:gd name="connsiteX19" fmla="*/ 940330 w 1455471"/>
                  <a:gd name="connsiteY19" fmla="*/ 2580488 h 2959949"/>
                  <a:gd name="connsiteX20" fmla="*/ 838376 w 1455471"/>
                  <a:gd name="connsiteY20" fmla="*/ 1947699 h 2959949"/>
                  <a:gd name="connsiteX21" fmla="*/ 801112 w 1455471"/>
                  <a:gd name="connsiteY21" fmla="*/ 1632109 h 2959949"/>
                  <a:gd name="connsiteX22" fmla="*/ 750929 w 1455471"/>
                  <a:gd name="connsiteY22" fmla="*/ 1212955 h 2959949"/>
                  <a:gd name="connsiteX23" fmla="*/ 695915 w 1455471"/>
                  <a:gd name="connsiteY23" fmla="*/ 895734 h 2959949"/>
                  <a:gd name="connsiteX24" fmla="*/ 647363 w 1455471"/>
                  <a:gd name="connsiteY24" fmla="*/ 1081851 h 2959949"/>
                  <a:gd name="connsiteX25" fmla="*/ 614995 w 1455471"/>
                  <a:gd name="connsiteY25" fmla="*/ 1737305 h 2959949"/>
                  <a:gd name="connsiteX26" fmla="*/ 598811 w 1455471"/>
                  <a:gd name="connsiteY26" fmla="*/ 1874870 h 2959949"/>
                  <a:gd name="connsiteX27" fmla="*/ 631179 w 1455471"/>
                  <a:gd name="connsiteY27" fmla="*/ 2012435 h 2959949"/>
                  <a:gd name="connsiteX28" fmla="*/ 639271 w 1455471"/>
                  <a:gd name="connsiteY28" fmla="*/ 2506049 h 2959949"/>
                  <a:gd name="connsiteX29" fmla="*/ 687823 w 1455471"/>
                  <a:gd name="connsiteY29" fmla="*/ 2797362 h 2959949"/>
                  <a:gd name="connsiteX30" fmla="*/ 655455 w 1455471"/>
                  <a:gd name="connsiteY30" fmla="*/ 2854006 h 2959949"/>
                  <a:gd name="connsiteX31" fmla="*/ 380326 w 1455471"/>
                  <a:gd name="connsiteY31" fmla="*/ 2821638 h 2959949"/>
                  <a:gd name="connsiteX32" fmla="*/ 323682 w 1455471"/>
                  <a:gd name="connsiteY32" fmla="*/ 2764994 h 2959949"/>
                  <a:gd name="connsiteX33" fmla="*/ 226577 w 1455471"/>
                  <a:gd name="connsiteY33" fmla="*/ 2077171 h 2959949"/>
                  <a:gd name="connsiteX34" fmla="*/ 161841 w 1455471"/>
                  <a:gd name="connsiteY34" fmla="*/ 1818226 h 2959949"/>
                  <a:gd name="connsiteX35" fmla="*/ 137565 w 1455471"/>
                  <a:gd name="connsiteY35" fmla="*/ 1583557 h 2959949"/>
                  <a:gd name="connsiteX36" fmla="*/ 80921 w 1455471"/>
                  <a:gd name="connsiteY36" fmla="*/ 733893 h 2959949"/>
                  <a:gd name="connsiteX37" fmla="*/ 8092 w 1455471"/>
                  <a:gd name="connsiteY37" fmla="*/ 474948 h 2959949"/>
                  <a:gd name="connsiteX38" fmla="*/ 32369 w 1455471"/>
                  <a:gd name="connsiteY38" fmla="*/ 345475 h 2959949"/>
                  <a:gd name="connsiteX39" fmla="*/ 178025 w 1455471"/>
                  <a:gd name="connsiteY39" fmla="*/ 5610 h 2959949"/>
                  <a:gd name="connsiteX0" fmla="*/ 178025 w 1455471"/>
                  <a:gd name="connsiteY0" fmla="*/ 5610 h 2959949"/>
                  <a:gd name="connsiteX1" fmla="*/ 299406 w 1455471"/>
                  <a:gd name="connsiteY1" fmla="*/ 78438 h 2959949"/>
                  <a:gd name="connsiteX2" fmla="*/ 493615 w 1455471"/>
                  <a:gd name="connsiteY2" fmla="*/ 126990 h 2959949"/>
                  <a:gd name="connsiteX3" fmla="*/ 687823 w 1455471"/>
                  <a:gd name="connsiteY3" fmla="*/ 143174 h 2959949"/>
                  <a:gd name="connsiteX4" fmla="*/ 865848 w 1455471"/>
                  <a:gd name="connsiteY4" fmla="*/ 110806 h 2959949"/>
                  <a:gd name="connsiteX5" fmla="*/ 946769 w 1455471"/>
                  <a:gd name="connsiteY5" fmla="*/ 62254 h 2959949"/>
                  <a:gd name="connsiteX6" fmla="*/ 1181438 w 1455471"/>
                  <a:gd name="connsiteY6" fmla="*/ 264555 h 2959949"/>
                  <a:gd name="connsiteX7" fmla="*/ 1351370 w 1455471"/>
                  <a:gd name="connsiteY7" fmla="*/ 385935 h 2959949"/>
                  <a:gd name="connsiteX8" fmla="*/ 1327094 w 1455471"/>
                  <a:gd name="connsiteY8" fmla="*/ 491132 h 2959949"/>
                  <a:gd name="connsiteX9" fmla="*/ 1246174 w 1455471"/>
                  <a:gd name="connsiteY9" fmla="*/ 750077 h 2959949"/>
                  <a:gd name="connsiteX10" fmla="*/ 1221898 w 1455471"/>
                  <a:gd name="connsiteY10" fmla="*/ 1551189 h 2959949"/>
                  <a:gd name="connsiteX11" fmla="*/ 1262358 w 1455471"/>
                  <a:gd name="connsiteY11" fmla="*/ 1747097 h 2959949"/>
                  <a:gd name="connsiteX12" fmla="*/ 1294726 w 1455471"/>
                  <a:gd name="connsiteY12" fmla="*/ 2036711 h 2959949"/>
                  <a:gd name="connsiteX13" fmla="*/ 1338427 w 1455471"/>
                  <a:gd name="connsiteY13" fmla="*/ 2332987 h 2959949"/>
                  <a:gd name="connsiteX14" fmla="*/ 1367554 w 1455471"/>
                  <a:gd name="connsiteY14" fmla="*/ 2554601 h 2959949"/>
                  <a:gd name="connsiteX15" fmla="*/ 1310910 w 1455471"/>
                  <a:gd name="connsiteY15" fmla="*/ 2675981 h 2959949"/>
                  <a:gd name="connsiteX16" fmla="*/ 1391830 w 1455471"/>
                  <a:gd name="connsiteY16" fmla="*/ 2716442 h 2959949"/>
                  <a:gd name="connsiteX17" fmla="*/ 1391830 w 1455471"/>
                  <a:gd name="connsiteY17" fmla="*/ 2910651 h 2959949"/>
                  <a:gd name="connsiteX18" fmla="*/ 1009986 w 1455471"/>
                  <a:gd name="connsiteY18" fmla="*/ 2828211 h 2959949"/>
                  <a:gd name="connsiteX19" fmla="*/ 940330 w 1455471"/>
                  <a:gd name="connsiteY19" fmla="*/ 2580488 h 2959949"/>
                  <a:gd name="connsiteX20" fmla="*/ 838376 w 1455471"/>
                  <a:gd name="connsiteY20" fmla="*/ 1947699 h 2959949"/>
                  <a:gd name="connsiteX21" fmla="*/ 801112 w 1455471"/>
                  <a:gd name="connsiteY21" fmla="*/ 1632109 h 2959949"/>
                  <a:gd name="connsiteX22" fmla="*/ 750929 w 1455471"/>
                  <a:gd name="connsiteY22" fmla="*/ 1212955 h 2959949"/>
                  <a:gd name="connsiteX23" fmla="*/ 695915 w 1455471"/>
                  <a:gd name="connsiteY23" fmla="*/ 895734 h 2959949"/>
                  <a:gd name="connsiteX24" fmla="*/ 647363 w 1455471"/>
                  <a:gd name="connsiteY24" fmla="*/ 1081851 h 2959949"/>
                  <a:gd name="connsiteX25" fmla="*/ 614995 w 1455471"/>
                  <a:gd name="connsiteY25" fmla="*/ 1737305 h 2959949"/>
                  <a:gd name="connsiteX26" fmla="*/ 598811 w 1455471"/>
                  <a:gd name="connsiteY26" fmla="*/ 1874870 h 2959949"/>
                  <a:gd name="connsiteX27" fmla="*/ 631179 w 1455471"/>
                  <a:gd name="connsiteY27" fmla="*/ 2012435 h 2959949"/>
                  <a:gd name="connsiteX28" fmla="*/ 639271 w 1455471"/>
                  <a:gd name="connsiteY28" fmla="*/ 2506049 h 2959949"/>
                  <a:gd name="connsiteX29" fmla="*/ 687823 w 1455471"/>
                  <a:gd name="connsiteY29" fmla="*/ 2797362 h 2959949"/>
                  <a:gd name="connsiteX30" fmla="*/ 655455 w 1455471"/>
                  <a:gd name="connsiteY30" fmla="*/ 2854006 h 2959949"/>
                  <a:gd name="connsiteX31" fmla="*/ 380326 w 1455471"/>
                  <a:gd name="connsiteY31" fmla="*/ 2821638 h 2959949"/>
                  <a:gd name="connsiteX32" fmla="*/ 323682 w 1455471"/>
                  <a:gd name="connsiteY32" fmla="*/ 2764994 h 2959949"/>
                  <a:gd name="connsiteX33" fmla="*/ 226577 w 1455471"/>
                  <a:gd name="connsiteY33" fmla="*/ 2077171 h 2959949"/>
                  <a:gd name="connsiteX34" fmla="*/ 161841 w 1455471"/>
                  <a:gd name="connsiteY34" fmla="*/ 1818226 h 2959949"/>
                  <a:gd name="connsiteX35" fmla="*/ 137565 w 1455471"/>
                  <a:gd name="connsiteY35" fmla="*/ 1583557 h 2959949"/>
                  <a:gd name="connsiteX36" fmla="*/ 80921 w 1455471"/>
                  <a:gd name="connsiteY36" fmla="*/ 733893 h 2959949"/>
                  <a:gd name="connsiteX37" fmla="*/ 8092 w 1455471"/>
                  <a:gd name="connsiteY37" fmla="*/ 474948 h 2959949"/>
                  <a:gd name="connsiteX38" fmla="*/ 32369 w 1455471"/>
                  <a:gd name="connsiteY38" fmla="*/ 345475 h 2959949"/>
                  <a:gd name="connsiteX39" fmla="*/ 178025 w 1455471"/>
                  <a:gd name="connsiteY39" fmla="*/ 5610 h 2959949"/>
                  <a:gd name="connsiteX0" fmla="*/ 178025 w 1455471"/>
                  <a:gd name="connsiteY0" fmla="*/ 5610 h 2959949"/>
                  <a:gd name="connsiteX1" fmla="*/ 299406 w 1455471"/>
                  <a:gd name="connsiteY1" fmla="*/ 78438 h 2959949"/>
                  <a:gd name="connsiteX2" fmla="*/ 493615 w 1455471"/>
                  <a:gd name="connsiteY2" fmla="*/ 126990 h 2959949"/>
                  <a:gd name="connsiteX3" fmla="*/ 687823 w 1455471"/>
                  <a:gd name="connsiteY3" fmla="*/ 143174 h 2959949"/>
                  <a:gd name="connsiteX4" fmla="*/ 865848 w 1455471"/>
                  <a:gd name="connsiteY4" fmla="*/ 110806 h 2959949"/>
                  <a:gd name="connsiteX5" fmla="*/ 946769 w 1455471"/>
                  <a:gd name="connsiteY5" fmla="*/ 62254 h 2959949"/>
                  <a:gd name="connsiteX6" fmla="*/ 1181438 w 1455471"/>
                  <a:gd name="connsiteY6" fmla="*/ 264555 h 2959949"/>
                  <a:gd name="connsiteX7" fmla="*/ 1351370 w 1455471"/>
                  <a:gd name="connsiteY7" fmla="*/ 385935 h 2959949"/>
                  <a:gd name="connsiteX8" fmla="*/ 1327094 w 1455471"/>
                  <a:gd name="connsiteY8" fmla="*/ 491132 h 2959949"/>
                  <a:gd name="connsiteX9" fmla="*/ 1246174 w 1455471"/>
                  <a:gd name="connsiteY9" fmla="*/ 750077 h 2959949"/>
                  <a:gd name="connsiteX10" fmla="*/ 1221898 w 1455471"/>
                  <a:gd name="connsiteY10" fmla="*/ 1551189 h 2959949"/>
                  <a:gd name="connsiteX11" fmla="*/ 1262358 w 1455471"/>
                  <a:gd name="connsiteY11" fmla="*/ 1747097 h 2959949"/>
                  <a:gd name="connsiteX12" fmla="*/ 1294726 w 1455471"/>
                  <a:gd name="connsiteY12" fmla="*/ 2036711 h 2959949"/>
                  <a:gd name="connsiteX13" fmla="*/ 1338427 w 1455471"/>
                  <a:gd name="connsiteY13" fmla="*/ 2332987 h 2959949"/>
                  <a:gd name="connsiteX14" fmla="*/ 1367554 w 1455471"/>
                  <a:gd name="connsiteY14" fmla="*/ 2554601 h 2959949"/>
                  <a:gd name="connsiteX15" fmla="*/ 1346565 w 1455471"/>
                  <a:gd name="connsiteY15" fmla="*/ 2663016 h 2959949"/>
                  <a:gd name="connsiteX16" fmla="*/ 1391830 w 1455471"/>
                  <a:gd name="connsiteY16" fmla="*/ 2716442 h 2959949"/>
                  <a:gd name="connsiteX17" fmla="*/ 1391830 w 1455471"/>
                  <a:gd name="connsiteY17" fmla="*/ 2910651 h 2959949"/>
                  <a:gd name="connsiteX18" fmla="*/ 1009986 w 1455471"/>
                  <a:gd name="connsiteY18" fmla="*/ 2828211 h 2959949"/>
                  <a:gd name="connsiteX19" fmla="*/ 940330 w 1455471"/>
                  <a:gd name="connsiteY19" fmla="*/ 2580488 h 2959949"/>
                  <a:gd name="connsiteX20" fmla="*/ 838376 w 1455471"/>
                  <a:gd name="connsiteY20" fmla="*/ 1947699 h 2959949"/>
                  <a:gd name="connsiteX21" fmla="*/ 801112 w 1455471"/>
                  <a:gd name="connsiteY21" fmla="*/ 1632109 h 2959949"/>
                  <a:gd name="connsiteX22" fmla="*/ 750929 w 1455471"/>
                  <a:gd name="connsiteY22" fmla="*/ 1212955 h 2959949"/>
                  <a:gd name="connsiteX23" fmla="*/ 695915 w 1455471"/>
                  <a:gd name="connsiteY23" fmla="*/ 895734 h 2959949"/>
                  <a:gd name="connsiteX24" fmla="*/ 647363 w 1455471"/>
                  <a:gd name="connsiteY24" fmla="*/ 1081851 h 2959949"/>
                  <a:gd name="connsiteX25" fmla="*/ 614995 w 1455471"/>
                  <a:gd name="connsiteY25" fmla="*/ 1737305 h 2959949"/>
                  <a:gd name="connsiteX26" fmla="*/ 598811 w 1455471"/>
                  <a:gd name="connsiteY26" fmla="*/ 1874870 h 2959949"/>
                  <a:gd name="connsiteX27" fmla="*/ 631179 w 1455471"/>
                  <a:gd name="connsiteY27" fmla="*/ 2012435 h 2959949"/>
                  <a:gd name="connsiteX28" fmla="*/ 639271 w 1455471"/>
                  <a:gd name="connsiteY28" fmla="*/ 2506049 h 2959949"/>
                  <a:gd name="connsiteX29" fmla="*/ 687823 w 1455471"/>
                  <a:gd name="connsiteY29" fmla="*/ 2797362 h 2959949"/>
                  <a:gd name="connsiteX30" fmla="*/ 655455 w 1455471"/>
                  <a:gd name="connsiteY30" fmla="*/ 2854006 h 2959949"/>
                  <a:gd name="connsiteX31" fmla="*/ 380326 w 1455471"/>
                  <a:gd name="connsiteY31" fmla="*/ 2821638 h 2959949"/>
                  <a:gd name="connsiteX32" fmla="*/ 323682 w 1455471"/>
                  <a:gd name="connsiteY32" fmla="*/ 2764994 h 2959949"/>
                  <a:gd name="connsiteX33" fmla="*/ 226577 w 1455471"/>
                  <a:gd name="connsiteY33" fmla="*/ 2077171 h 2959949"/>
                  <a:gd name="connsiteX34" fmla="*/ 161841 w 1455471"/>
                  <a:gd name="connsiteY34" fmla="*/ 1818226 h 2959949"/>
                  <a:gd name="connsiteX35" fmla="*/ 137565 w 1455471"/>
                  <a:gd name="connsiteY35" fmla="*/ 1583557 h 2959949"/>
                  <a:gd name="connsiteX36" fmla="*/ 80921 w 1455471"/>
                  <a:gd name="connsiteY36" fmla="*/ 733893 h 2959949"/>
                  <a:gd name="connsiteX37" fmla="*/ 8092 w 1455471"/>
                  <a:gd name="connsiteY37" fmla="*/ 474948 h 2959949"/>
                  <a:gd name="connsiteX38" fmla="*/ 32369 w 1455471"/>
                  <a:gd name="connsiteY38" fmla="*/ 345475 h 2959949"/>
                  <a:gd name="connsiteX39" fmla="*/ 178025 w 1455471"/>
                  <a:gd name="connsiteY39" fmla="*/ 5610 h 2959949"/>
                  <a:gd name="connsiteX0" fmla="*/ 178025 w 1456551"/>
                  <a:gd name="connsiteY0" fmla="*/ 5610 h 2959949"/>
                  <a:gd name="connsiteX1" fmla="*/ 299406 w 1456551"/>
                  <a:gd name="connsiteY1" fmla="*/ 78438 h 2959949"/>
                  <a:gd name="connsiteX2" fmla="*/ 493615 w 1456551"/>
                  <a:gd name="connsiteY2" fmla="*/ 126990 h 2959949"/>
                  <a:gd name="connsiteX3" fmla="*/ 687823 w 1456551"/>
                  <a:gd name="connsiteY3" fmla="*/ 143174 h 2959949"/>
                  <a:gd name="connsiteX4" fmla="*/ 865848 w 1456551"/>
                  <a:gd name="connsiteY4" fmla="*/ 110806 h 2959949"/>
                  <a:gd name="connsiteX5" fmla="*/ 946769 w 1456551"/>
                  <a:gd name="connsiteY5" fmla="*/ 62254 h 2959949"/>
                  <a:gd name="connsiteX6" fmla="*/ 1181438 w 1456551"/>
                  <a:gd name="connsiteY6" fmla="*/ 264555 h 2959949"/>
                  <a:gd name="connsiteX7" fmla="*/ 1351370 w 1456551"/>
                  <a:gd name="connsiteY7" fmla="*/ 385935 h 2959949"/>
                  <a:gd name="connsiteX8" fmla="*/ 1327094 w 1456551"/>
                  <a:gd name="connsiteY8" fmla="*/ 491132 h 2959949"/>
                  <a:gd name="connsiteX9" fmla="*/ 1246174 w 1456551"/>
                  <a:gd name="connsiteY9" fmla="*/ 750077 h 2959949"/>
                  <a:gd name="connsiteX10" fmla="*/ 1221898 w 1456551"/>
                  <a:gd name="connsiteY10" fmla="*/ 1551189 h 2959949"/>
                  <a:gd name="connsiteX11" fmla="*/ 1262358 w 1456551"/>
                  <a:gd name="connsiteY11" fmla="*/ 1747097 h 2959949"/>
                  <a:gd name="connsiteX12" fmla="*/ 1294726 w 1456551"/>
                  <a:gd name="connsiteY12" fmla="*/ 2036711 h 2959949"/>
                  <a:gd name="connsiteX13" fmla="*/ 1338427 w 1456551"/>
                  <a:gd name="connsiteY13" fmla="*/ 2332987 h 2959949"/>
                  <a:gd name="connsiteX14" fmla="*/ 1367554 w 1456551"/>
                  <a:gd name="connsiteY14" fmla="*/ 2554601 h 2959949"/>
                  <a:gd name="connsiteX15" fmla="*/ 1346565 w 1456551"/>
                  <a:gd name="connsiteY15" fmla="*/ 2663016 h 2959949"/>
                  <a:gd name="connsiteX16" fmla="*/ 1398312 w 1456551"/>
                  <a:gd name="connsiteY16" fmla="*/ 2797474 h 2959949"/>
                  <a:gd name="connsiteX17" fmla="*/ 1391830 w 1456551"/>
                  <a:gd name="connsiteY17" fmla="*/ 2910651 h 2959949"/>
                  <a:gd name="connsiteX18" fmla="*/ 1009986 w 1456551"/>
                  <a:gd name="connsiteY18" fmla="*/ 2828211 h 2959949"/>
                  <a:gd name="connsiteX19" fmla="*/ 940330 w 1456551"/>
                  <a:gd name="connsiteY19" fmla="*/ 2580488 h 2959949"/>
                  <a:gd name="connsiteX20" fmla="*/ 838376 w 1456551"/>
                  <a:gd name="connsiteY20" fmla="*/ 1947699 h 2959949"/>
                  <a:gd name="connsiteX21" fmla="*/ 801112 w 1456551"/>
                  <a:gd name="connsiteY21" fmla="*/ 1632109 h 2959949"/>
                  <a:gd name="connsiteX22" fmla="*/ 750929 w 1456551"/>
                  <a:gd name="connsiteY22" fmla="*/ 1212955 h 2959949"/>
                  <a:gd name="connsiteX23" fmla="*/ 695915 w 1456551"/>
                  <a:gd name="connsiteY23" fmla="*/ 895734 h 2959949"/>
                  <a:gd name="connsiteX24" fmla="*/ 647363 w 1456551"/>
                  <a:gd name="connsiteY24" fmla="*/ 1081851 h 2959949"/>
                  <a:gd name="connsiteX25" fmla="*/ 614995 w 1456551"/>
                  <a:gd name="connsiteY25" fmla="*/ 1737305 h 2959949"/>
                  <a:gd name="connsiteX26" fmla="*/ 598811 w 1456551"/>
                  <a:gd name="connsiteY26" fmla="*/ 1874870 h 2959949"/>
                  <a:gd name="connsiteX27" fmla="*/ 631179 w 1456551"/>
                  <a:gd name="connsiteY27" fmla="*/ 2012435 h 2959949"/>
                  <a:gd name="connsiteX28" fmla="*/ 639271 w 1456551"/>
                  <a:gd name="connsiteY28" fmla="*/ 2506049 h 2959949"/>
                  <a:gd name="connsiteX29" fmla="*/ 687823 w 1456551"/>
                  <a:gd name="connsiteY29" fmla="*/ 2797362 h 2959949"/>
                  <a:gd name="connsiteX30" fmla="*/ 655455 w 1456551"/>
                  <a:gd name="connsiteY30" fmla="*/ 2854006 h 2959949"/>
                  <a:gd name="connsiteX31" fmla="*/ 380326 w 1456551"/>
                  <a:gd name="connsiteY31" fmla="*/ 2821638 h 2959949"/>
                  <a:gd name="connsiteX32" fmla="*/ 323682 w 1456551"/>
                  <a:gd name="connsiteY32" fmla="*/ 2764994 h 2959949"/>
                  <a:gd name="connsiteX33" fmla="*/ 226577 w 1456551"/>
                  <a:gd name="connsiteY33" fmla="*/ 2077171 h 2959949"/>
                  <a:gd name="connsiteX34" fmla="*/ 161841 w 1456551"/>
                  <a:gd name="connsiteY34" fmla="*/ 1818226 h 2959949"/>
                  <a:gd name="connsiteX35" fmla="*/ 137565 w 1456551"/>
                  <a:gd name="connsiteY35" fmla="*/ 1583557 h 2959949"/>
                  <a:gd name="connsiteX36" fmla="*/ 80921 w 1456551"/>
                  <a:gd name="connsiteY36" fmla="*/ 733893 h 2959949"/>
                  <a:gd name="connsiteX37" fmla="*/ 8092 w 1456551"/>
                  <a:gd name="connsiteY37" fmla="*/ 474948 h 2959949"/>
                  <a:gd name="connsiteX38" fmla="*/ 32369 w 1456551"/>
                  <a:gd name="connsiteY38" fmla="*/ 345475 h 2959949"/>
                  <a:gd name="connsiteX39" fmla="*/ 178025 w 1456551"/>
                  <a:gd name="connsiteY39" fmla="*/ 5610 h 2959949"/>
                  <a:gd name="connsiteX0" fmla="*/ 178025 w 1479241"/>
                  <a:gd name="connsiteY0" fmla="*/ 5610 h 2959949"/>
                  <a:gd name="connsiteX1" fmla="*/ 299406 w 1479241"/>
                  <a:gd name="connsiteY1" fmla="*/ 78438 h 2959949"/>
                  <a:gd name="connsiteX2" fmla="*/ 493615 w 1479241"/>
                  <a:gd name="connsiteY2" fmla="*/ 126990 h 2959949"/>
                  <a:gd name="connsiteX3" fmla="*/ 687823 w 1479241"/>
                  <a:gd name="connsiteY3" fmla="*/ 143174 h 2959949"/>
                  <a:gd name="connsiteX4" fmla="*/ 865848 w 1479241"/>
                  <a:gd name="connsiteY4" fmla="*/ 110806 h 2959949"/>
                  <a:gd name="connsiteX5" fmla="*/ 946769 w 1479241"/>
                  <a:gd name="connsiteY5" fmla="*/ 62254 h 2959949"/>
                  <a:gd name="connsiteX6" fmla="*/ 1181438 w 1479241"/>
                  <a:gd name="connsiteY6" fmla="*/ 264555 h 2959949"/>
                  <a:gd name="connsiteX7" fmla="*/ 1351370 w 1479241"/>
                  <a:gd name="connsiteY7" fmla="*/ 385935 h 2959949"/>
                  <a:gd name="connsiteX8" fmla="*/ 1327094 w 1479241"/>
                  <a:gd name="connsiteY8" fmla="*/ 491132 h 2959949"/>
                  <a:gd name="connsiteX9" fmla="*/ 1246174 w 1479241"/>
                  <a:gd name="connsiteY9" fmla="*/ 750077 h 2959949"/>
                  <a:gd name="connsiteX10" fmla="*/ 1221898 w 1479241"/>
                  <a:gd name="connsiteY10" fmla="*/ 1551189 h 2959949"/>
                  <a:gd name="connsiteX11" fmla="*/ 1262358 w 1479241"/>
                  <a:gd name="connsiteY11" fmla="*/ 1747097 h 2959949"/>
                  <a:gd name="connsiteX12" fmla="*/ 1294726 w 1479241"/>
                  <a:gd name="connsiteY12" fmla="*/ 2036711 h 2959949"/>
                  <a:gd name="connsiteX13" fmla="*/ 1338427 w 1479241"/>
                  <a:gd name="connsiteY13" fmla="*/ 2332987 h 2959949"/>
                  <a:gd name="connsiteX14" fmla="*/ 1367554 w 1479241"/>
                  <a:gd name="connsiteY14" fmla="*/ 2554601 h 2959949"/>
                  <a:gd name="connsiteX15" fmla="*/ 1346565 w 1479241"/>
                  <a:gd name="connsiteY15" fmla="*/ 2663016 h 2959949"/>
                  <a:gd name="connsiteX16" fmla="*/ 1398312 w 1479241"/>
                  <a:gd name="connsiteY16" fmla="*/ 2797474 h 2959949"/>
                  <a:gd name="connsiteX17" fmla="*/ 1414520 w 1479241"/>
                  <a:gd name="connsiteY17" fmla="*/ 2910651 h 2959949"/>
                  <a:gd name="connsiteX18" fmla="*/ 1009986 w 1479241"/>
                  <a:gd name="connsiteY18" fmla="*/ 2828211 h 2959949"/>
                  <a:gd name="connsiteX19" fmla="*/ 940330 w 1479241"/>
                  <a:gd name="connsiteY19" fmla="*/ 2580488 h 2959949"/>
                  <a:gd name="connsiteX20" fmla="*/ 838376 w 1479241"/>
                  <a:gd name="connsiteY20" fmla="*/ 1947699 h 2959949"/>
                  <a:gd name="connsiteX21" fmla="*/ 801112 w 1479241"/>
                  <a:gd name="connsiteY21" fmla="*/ 1632109 h 2959949"/>
                  <a:gd name="connsiteX22" fmla="*/ 750929 w 1479241"/>
                  <a:gd name="connsiteY22" fmla="*/ 1212955 h 2959949"/>
                  <a:gd name="connsiteX23" fmla="*/ 695915 w 1479241"/>
                  <a:gd name="connsiteY23" fmla="*/ 895734 h 2959949"/>
                  <a:gd name="connsiteX24" fmla="*/ 647363 w 1479241"/>
                  <a:gd name="connsiteY24" fmla="*/ 1081851 h 2959949"/>
                  <a:gd name="connsiteX25" fmla="*/ 614995 w 1479241"/>
                  <a:gd name="connsiteY25" fmla="*/ 1737305 h 2959949"/>
                  <a:gd name="connsiteX26" fmla="*/ 598811 w 1479241"/>
                  <a:gd name="connsiteY26" fmla="*/ 1874870 h 2959949"/>
                  <a:gd name="connsiteX27" fmla="*/ 631179 w 1479241"/>
                  <a:gd name="connsiteY27" fmla="*/ 2012435 h 2959949"/>
                  <a:gd name="connsiteX28" fmla="*/ 639271 w 1479241"/>
                  <a:gd name="connsiteY28" fmla="*/ 2506049 h 2959949"/>
                  <a:gd name="connsiteX29" fmla="*/ 687823 w 1479241"/>
                  <a:gd name="connsiteY29" fmla="*/ 2797362 h 2959949"/>
                  <a:gd name="connsiteX30" fmla="*/ 655455 w 1479241"/>
                  <a:gd name="connsiteY30" fmla="*/ 2854006 h 2959949"/>
                  <a:gd name="connsiteX31" fmla="*/ 380326 w 1479241"/>
                  <a:gd name="connsiteY31" fmla="*/ 2821638 h 2959949"/>
                  <a:gd name="connsiteX32" fmla="*/ 323682 w 1479241"/>
                  <a:gd name="connsiteY32" fmla="*/ 2764994 h 2959949"/>
                  <a:gd name="connsiteX33" fmla="*/ 226577 w 1479241"/>
                  <a:gd name="connsiteY33" fmla="*/ 2077171 h 2959949"/>
                  <a:gd name="connsiteX34" fmla="*/ 161841 w 1479241"/>
                  <a:gd name="connsiteY34" fmla="*/ 1818226 h 2959949"/>
                  <a:gd name="connsiteX35" fmla="*/ 137565 w 1479241"/>
                  <a:gd name="connsiteY35" fmla="*/ 1583557 h 2959949"/>
                  <a:gd name="connsiteX36" fmla="*/ 80921 w 1479241"/>
                  <a:gd name="connsiteY36" fmla="*/ 733893 h 2959949"/>
                  <a:gd name="connsiteX37" fmla="*/ 8092 w 1479241"/>
                  <a:gd name="connsiteY37" fmla="*/ 474948 h 2959949"/>
                  <a:gd name="connsiteX38" fmla="*/ 32369 w 1479241"/>
                  <a:gd name="connsiteY38" fmla="*/ 345475 h 2959949"/>
                  <a:gd name="connsiteX39" fmla="*/ 178025 w 1479241"/>
                  <a:gd name="connsiteY39" fmla="*/ 5610 h 2959949"/>
                  <a:gd name="connsiteX0" fmla="*/ 178025 w 1414520"/>
                  <a:gd name="connsiteY0" fmla="*/ 5610 h 2959949"/>
                  <a:gd name="connsiteX1" fmla="*/ 299406 w 1414520"/>
                  <a:gd name="connsiteY1" fmla="*/ 78438 h 2959949"/>
                  <a:gd name="connsiteX2" fmla="*/ 493615 w 1414520"/>
                  <a:gd name="connsiteY2" fmla="*/ 126990 h 2959949"/>
                  <a:gd name="connsiteX3" fmla="*/ 687823 w 1414520"/>
                  <a:gd name="connsiteY3" fmla="*/ 143174 h 2959949"/>
                  <a:gd name="connsiteX4" fmla="*/ 865848 w 1414520"/>
                  <a:gd name="connsiteY4" fmla="*/ 110806 h 2959949"/>
                  <a:gd name="connsiteX5" fmla="*/ 946769 w 1414520"/>
                  <a:gd name="connsiteY5" fmla="*/ 62254 h 2959949"/>
                  <a:gd name="connsiteX6" fmla="*/ 1181438 w 1414520"/>
                  <a:gd name="connsiteY6" fmla="*/ 264555 h 2959949"/>
                  <a:gd name="connsiteX7" fmla="*/ 1351370 w 1414520"/>
                  <a:gd name="connsiteY7" fmla="*/ 385935 h 2959949"/>
                  <a:gd name="connsiteX8" fmla="*/ 1327094 w 1414520"/>
                  <a:gd name="connsiteY8" fmla="*/ 491132 h 2959949"/>
                  <a:gd name="connsiteX9" fmla="*/ 1246174 w 1414520"/>
                  <a:gd name="connsiteY9" fmla="*/ 750077 h 2959949"/>
                  <a:gd name="connsiteX10" fmla="*/ 1221898 w 1414520"/>
                  <a:gd name="connsiteY10" fmla="*/ 1551189 h 2959949"/>
                  <a:gd name="connsiteX11" fmla="*/ 1262358 w 1414520"/>
                  <a:gd name="connsiteY11" fmla="*/ 1747097 h 2959949"/>
                  <a:gd name="connsiteX12" fmla="*/ 1294726 w 1414520"/>
                  <a:gd name="connsiteY12" fmla="*/ 2036711 h 2959949"/>
                  <a:gd name="connsiteX13" fmla="*/ 1338427 w 1414520"/>
                  <a:gd name="connsiteY13" fmla="*/ 2332987 h 2959949"/>
                  <a:gd name="connsiteX14" fmla="*/ 1367554 w 1414520"/>
                  <a:gd name="connsiteY14" fmla="*/ 2554601 h 2959949"/>
                  <a:gd name="connsiteX15" fmla="*/ 1346565 w 1414520"/>
                  <a:gd name="connsiteY15" fmla="*/ 2663016 h 2959949"/>
                  <a:gd name="connsiteX16" fmla="*/ 1398312 w 1414520"/>
                  <a:gd name="connsiteY16" fmla="*/ 2797474 h 2959949"/>
                  <a:gd name="connsiteX17" fmla="*/ 1414520 w 1414520"/>
                  <a:gd name="connsiteY17" fmla="*/ 2910651 h 2959949"/>
                  <a:gd name="connsiteX18" fmla="*/ 1009986 w 1414520"/>
                  <a:gd name="connsiteY18" fmla="*/ 2828211 h 2959949"/>
                  <a:gd name="connsiteX19" fmla="*/ 940330 w 1414520"/>
                  <a:gd name="connsiteY19" fmla="*/ 2580488 h 2959949"/>
                  <a:gd name="connsiteX20" fmla="*/ 838376 w 1414520"/>
                  <a:gd name="connsiteY20" fmla="*/ 1947699 h 2959949"/>
                  <a:gd name="connsiteX21" fmla="*/ 801112 w 1414520"/>
                  <a:gd name="connsiteY21" fmla="*/ 1632109 h 2959949"/>
                  <a:gd name="connsiteX22" fmla="*/ 750929 w 1414520"/>
                  <a:gd name="connsiteY22" fmla="*/ 1212955 h 2959949"/>
                  <a:gd name="connsiteX23" fmla="*/ 695915 w 1414520"/>
                  <a:gd name="connsiteY23" fmla="*/ 895734 h 2959949"/>
                  <a:gd name="connsiteX24" fmla="*/ 647363 w 1414520"/>
                  <a:gd name="connsiteY24" fmla="*/ 1081851 h 2959949"/>
                  <a:gd name="connsiteX25" fmla="*/ 614995 w 1414520"/>
                  <a:gd name="connsiteY25" fmla="*/ 1737305 h 2959949"/>
                  <a:gd name="connsiteX26" fmla="*/ 598811 w 1414520"/>
                  <a:gd name="connsiteY26" fmla="*/ 1874870 h 2959949"/>
                  <a:gd name="connsiteX27" fmla="*/ 631179 w 1414520"/>
                  <a:gd name="connsiteY27" fmla="*/ 2012435 h 2959949"/>
                  <a:gd name="connsiteX28" fmla="*/ 639271 w 1414520"/>
                  <a:gd name="connsiteY28" fmla="*/ 2506049 h 2959949"/>
                  <a:gd name="connsiteX29" fmla="*/ 687823 w 1414520"/>
                  <a:gd name="connsiteY29" fmla="*/ 2797362 h 2959949"/>
                  <a:gd name="connsiteX30" fmla="*/ 655455 w 1414520"/>
                  <a:gd name="connsiteY30" fmla="*/ 2854006 h 2959949"/>
                  <a:gd name="connsiteX31" fmla="*/ 380326 w 1414520"/>
                  <a:gd name="connsiteY31" fmla="*/ 2821638 h 2959949"/>
                  <a:gd name="connsiteX32" fmla="*/ 323682 w 1414520"/>
                  <a:gd name="connsiteY32" fmla="*/ 2764994 h 2959949"/>
                  <a:gd name="connsiteX33" fmla="*/ 226577 w 1414520"/>
                  <a:gd name="connsiteY33" fmla="*/ 2077171 h 2959949"/>
                  <a:gd name="connsiteX34" fmla="*/ 161841 w 1414520"/>
                  <a:gd name="connsiteY34" fmla="*/ 1818226 h 2959949"/>
                  <a:gd name="connsiteX35" fmla="*/ 137565 w 1414520"/>
                  <a:gd name="connsiteY35" fmla="*/ 1583557 h 2959949"/>
                  <a:gd name="connsiteX36" fmla="*/ 80921 w 1414520"/>
                  <a:gd name="connsiteY36" fmla="*/ 733893 h 2959949"/>
                  <a:gd name="connsiteX37" fmla="*/ 8092 w 1414520"/>
                  <a:gd name="connsiteY37" fmla="*/ 474948 h 2959949"/>
                  <a:gd name="connsiteX38" fmla="*/ 32369 w 1414520"/>
                  <a:gd name="connsiteY38" fmla="*/ 345475 h 2959949"/>
                  <a:gd name="connsiteX39" fmla="*/ 178025 w 1414520"/>
                  <a:gd name="connsiteY39" fmla="*/ 5610 h 2959949"/>
                  <a:gd name="connsiteX0" fmla="*/ 178025 w 1414520"/>
                  <a:gd name="connsiteY0" fmla="*/ 5610 h 2959949"/>
                  <a:gd name="connsiteX1" fmla="*/ 299406 w 1414520"/>
                  <a:gd name="connsiteY1" fmla="*/ 78438 h 2959949"/>
                  <a:gd name="connsiteX2" fmla="*/ 493615 w 1414520"/>
                  <a:gd name="connsiteY2" fmla="*/ 126990 h 2959949"/>
                  <a:gd name="connsiteX3" fmla="*/ 687823 w 1414520"/>
                  <a:gd name="connsiteY3" fmla="*/ 143174 h 2959949"/>
                  <a:gd name="connsiteX4" fmla="*/ 865848 w 1414520"/>
                  <a:gd name="connsiteY4" fmla="*/ 110806 h 2959949"/>
                  <a:gd name="connsiteX5" fmla="*/ 946769 w 1414520"/>
                  <a:gd name="connsiteY5" fmla="*/ 62254 h 2959949"/>
                  <a:gd name="connsiteX6" fmla="*/ 1181438 w 1414520"/>
                  <a:gd name="connsiteY6" fmla="*/ 264555 h 2959949"/>
                  <a:gd name="connsiteX7" fmla="*/ 1351370 w 1414520"/>
                  <a:gd name="connsiteY7" fmla="*/ 385935 h 2959949"/>
                  <a:gd name="connsiteX8" fmla="*/ 1327094 w 1414520"/>
                  <a:gd name="connsiteY8" fmla="*/ 491132 h 2959949"/>
                  <a:gd name="connsiteX9" fmla="*/ 1246174 w 1414520"/>
                  <a:gd name="connsiteY9" fmla="*/ 750077 h 2959949"/>
                  <a:gd name="connsiteX10" fmla="*/ 1221898 w 1414520"/>
                  <a:gd name="connsiteY10" fmla="*/ 1551189 h 2959949"/>
                  <a:gd name="connsiteX11" fmla="*/ 1262358 w 1414520"/>
                  <a:gd name="connsiteY11" fmla="*/ 1747097 h 2959949"/>
                  <a:gd name="connsiteX12" fmla="*/ 1294726 w 1414520"/>
                  <a:gd name="connsiteY12" fmla="*/ 2036711 h 2959949"/>
                  <a:gd name="connsiteX13" fmla="*/ 1338427 w 1414520"/>
                  <a:gd name="connsiteY13" fmla="*/ 2332987 h 2959949"/>
                  <a:gd name="connsiteX14" fmla="*/ 1367554 w 1414520"/>
                  <a:gd name="connsiteY14" fmla="*/ 2554601 h 2959949"/>
                  <a:gd name="connsiteX15" fmla="*/ 1346565 w 1414520"/>
                  <a:gd name="connsiteY15" fmla="*/ 2663016 h 2959949"/>
                  <a:gd name="connsiteX16" fmla="*/ 1398312 w 1414520"/>
                  <a:gd name="connsiteY16" fmla="*/ 2797474 h 2959949"/>
                  <a:gd name="connsiteX17" fmla="*/ 1414520 w 1414520"/>
                  <a:gd name="connsiteY17" fmla="*/ 2910651 h 2959949"/>
                  <a:gd name="connsiteX18" fmla="*/ 1009986 w 1414520"/>
                  <a:gd name="connsiteY18" fmla="*/ 2828211 h 2959949"/>
                  <a:gd name="connsiteX19" fmla="*/ 940330 w 1414520"/>
                  <a:gd name="connsiteY19" fmla="*/ 2580488 h 2959949"/>
                  <a:gd name="connsiteX20" fmla="*/ 838376 w 1414520"/>
                  <a:gd name="connsiteY20" fmla="*/ 1947699 h 2959949"/>
                  <a:gd name="connsiteX21" fmla="*/ 801112 w 1414520"/>
                  <a:gd name="connsiteY21" fmla="*/ 1632109 h 2959949"/>
                  <a:gd name="connsiteX22" fmla="*/ 750929 w 1414520"/>
                  <a:gd name="connsiteY22" fmla="*/ 1212955 h 2959949"/>
                  <a:gd name="connsiteX23" fmla="*/ 695915 w 1414520"/>
                  <a:gd name="connsiteY23" fmla="*/ 895734 h 2959949"/>
                  <a:gd name="connsiteX24" fmla="*/ 647363 w 1414520"/>
                  <a:gd name="connsiteY24" fmla="*/ 1081851 h 2959949"/>
                  <a:gd name="connsiteX25" fmla="*/ 614995 w 1414520"/>
                  <a:gd name="connsiteY25" fmla="*/ 1737305 h 2959949"/>
                  <a:gd name="connsiteX26" fmla="*/ 598811 w 1414520"/>
                  <a:gd name="connsiteY26" fmla="*/ 1874870 h 2959949"/>
                  <a:gd name="connsiteX27" fmla="*/ 631179 w 1414520"/>
                  <a:gd name="connsiteY27" fmla="*/ 2012435 h 2959949"/>
                  <a:gd name="connsiteX28" fmla="*/ 639271 w 1414520"/>
                  <a:gd name="connsiteY28" fmla="*/ 2506049 h 2959949"/>
                  <a:gd name="connsiteX29" fmla="*/ 687823 w 1414520"/>
                  <a:gd name="connsiteY29" fmla="*/ 2797362 h 2959949"/>
                  <a:gd name="connsiteX30" fmla="*/ 655455 w 1414520"/>
                  <a:gd name="connsiteY30" fmla="*/ 2854006 h 2959949"/>
                  <a:gd name="connsiteX31" fmla="*/ 380326 w 1414520"/>
                  <a:gd name="connsiteY31" fmla="*/ 2821638 h 2959949"/>
                  <a:gd name="connsiteX32" fmla="*/ 323682 w 1414520"/>
                  <a:gd name="connsiteY32" fmla="*/ 2764994 h 2959949"/>
                  <a:gd name="connsiteX33" fmla="*/ 226577 w 1414520"/>
                  <a:gd name="connsiteY33" fmla="*/ 2077171 h 2959949"/>
                  <a:gd name="connsiteX34" fmla="*/ 161841 w 1414520"/>
                  <a:gd name="connsiteY34" fmla="*/ 1818226 h 2959949"/>
                  <a:gd name="connsiteX35" fmla="*/ 137565 w 1414520"/>
                  <a:gd name="connsiteY35" fmla="*/ 1583557 h 2959949"/>
                  <a:gd name="connsiteX36" fmla="*/ 80921 w 1414520"/>
                  <a:gd name="connsiteY36" fmla="*/ 733893 h 2959949"/>
                  <a:gd name="connsiteX37" fmla="*/ 8092 w 1414520"/>
                  <a:gd name="connsiteY37" fmla="*/ 474948 h 2959949"/>
                  <a:gd name="connsiteX38" fmla="*/ 32369 w 1414520"/>
                  <a:gd name="connsiteY38" fmla="*/ 345475 h 2959949"/>
                  <a:gd name="connsiteX39" fmla="*/ 178025 w 1414520"/>
                  <a:gd name="connsiteY39" fmla="*/ 5610 h 2959949"/>
                  <a:gd name="connsiteX0" fmla="*/ 178025 w 1414520"/>
                  <a:gd name="connsiteY0" fmla="*/ 5610 h 2959949"/>
                  <a:gd name="connsiteX1" fmla="*/ 299406 w 1414520"/>
                  <a:gd name="connsiteY1" fmla="*/ 78438 h 2959949"/>
                  <a:gd name="connsiteX2" fmla="*/ 493615 w 1414520"/>
                  <a:gd name="connsiteY2" fmla="*/ 126990 h 2959949"/>
                  <a:gd name="connsiteX3" fmla="*/ 687823 w 1414520"/>
                  <a:gd name="connsiteY3" fmla="*/ 143174 h 2959949"/>
                  <a:gd name="connsiteX4" fmla="*/ 865848 w 1414520"/>
                  <a:gd name="connsiteY4" fmla="*/ 110806 h 2959949"/>
                  <a:gd name="connsiteX5" fmla="*/ 946769 w 1414520"/>
                  <a:gd name="connsiteY5" fmla="*/ 62254 h 2959949"/>
                  <a:gd name="connsiteX6" fmla="*/ 1181438 w 1414520"/>
                  <a:gd name="connsiteY6" fmla="*/ 264555 h 2959949"/>
                  <a:gd name="connsiteX7" fmla="*/ 1351370 w 1414520"/>
                  <a:gd name="connsiteY7" fmla="*/ 385935 h 2959949"/>
                  <a:gd name="connsiteX8" fmla="*/ 1327094 w 1414520"/>
                  <a:gd name="connsiteY8" fmla="*/ 491132 h 2959949"/>
                  <a:gd name="connsiteX9" fmla="*/ 1246174 w 1414520"/>
                  <a:gd name="connsiteY9" fmla="*/ 750077 h 2959949"/>
                  <a:gd name="connsiteX10" fmla="*/ 1221898 w 1414520"/>
                  <a:gd name="connsiteY10" fmla="*/ 1551189 h 2959949"/>
                  <a:gd name="connsiteX11" fmla="*/ 1262358 w 1414520"/>
                  <a:gd name="connsiteY11" fmla="*/ 1747097 h 2959949"/>
                  <a:gd name="connsiteX12" fmla="*/ 1294726 w 1414520"/>
                  <a:gd name="connsiteY12" fmla="*/ 2036711 h 2959949"/>
                  <a:gd name="connsiteX13" fmla="*/ 1338427 w 1414520"/>
                  <a:gd name="connsiteY13" fmla="*/ 2332987 h 2959949"/>
                  <a:gd name="connsiteX14" fmla="*/ 1367554 w 1414520"/>
                  <a:gd name="connsiteY14" fmla="*/ 2554601 h 2959949"/>
                  <a:gd name="connsiteX15" fmla="*/ 1346565 w 1414520"/>
                  <a:gd name="connsiteY15" fmla="*/ 2663016 h 2959949"/>
                  <a:gd name="connsiteX16" fmla="*/ 1398312 w 1414520"/>
                  <a:gd name="connsiteY16" fmla="*/ 2797474 h 2959949"/>
                  <a:gd name="connsiteX17" fmla="*/ 1414520 w 1414520"/>
                  <a:gd name="connsiteY17" fmla="*/ 2910651 h 2959949"/>
                  <a:gd name="connsiteX18" fmla="*/ 1009986 w 1414520"/>
                  <a:gd name="connsiteY18" fmla="*/ 2828211 h 2959949"/>
                  <a:gd name="connsiteX19" fmla="*/ 940330 w 1414520"/>
                  <a:gd name="connsiteY19" fmla="*/ 2580488 h 2959949"/>
                  <a:gd name="connsiteX20" fmla="*/ 838376 w 1414520"/>
                  <a:gd name="connsiteY20" fmla="*/ 1947699 h 2959949"/>
                  <a:gd name="connsiteX21" fmla="*/ 801112 w 1414520"/>
                  <a:gd name="connsiteY21" fmla="*/ 1632109 h 2959949"/>
                  <a:gd name="connsiteX22" fmla="*/ 750929 w 1414520"/>
                  <a:gd name="connsiteY22" fmla="*/ 1212955 h 2959949"/>
                  <a:gd name="connsiteX23" fmla="*/ 695915 w 1414520"/>
                  <a:gd name="connsiteY23" fmla="*/ 895734 h 2959949"/>
                  <a:gd name="connsiteX24" fmla="*/ 647363 w 1414520"/>
                  <a:gd name="connsiteY24" fmla="*/ 1081851 h 2959949"/>
                  <a:gd name="connsiteX25" fmla="*/ 614995 w 1414520"/>
                  <a:gd name="connsiteY25" fmla="*/ 1737305 h 2959949"/>
                  <a:gd name="connsiteX26" fmla="*/ 598811 w 1414520"/>
                  <a:gd name="connsiteY26" fmla="*/ 1874870 h 2959949"/>
                  <a:gd name="connsiteX27" fmla="*/ 631179 w 1414520"/>
                  <a:gd name="connsiteY27" fmla="*/ 2012435 h 2959949"/>
                  <a:gd name="connsiteX28" fmla="*/ 639271 w 1414520"/>
                  <a:gd name="connsiteY28" fmla="*/ 2506049 h 2959949"/>
                  <a:gd name="connsiteX29" fmla="*/ 687823 w 1414520"/>
                  <a:gd name="connsiteY29" fmla="*/ 2797362 h 2959949"/>
                  <a:gd name="connsiteX30" fmla="*/ 655455 w 1414520"/>
                  <a:gd name="connsiteY30" fmla="*/ 2854006 h 2959949"/>
                  <a:gd name="connsiteX31" fmla="*/ 380326 w 1414520"/>
                  <a:gd name="connsiteY31" fmla="*/ 2821638 h 2959949"/>
                  <a:gd name="connsiteX32" fmla="*/ 323682 w 1414520"/>
                  <a:gd name="connsiteY32" fmla="*/ 2764994 h 2959949"/>
                  <a:gd name="connsiteX33" fmla="*/ 226577 w 1414520"/>
                  <a:gd name="connsiteY33" fmla="*/ 2077171 h 2959949"/>
                  <a:gd name="connsiteX34" fmla="*/ 161841 w 1414520"/>
                  <a:gd name="connsiteY34" fmla="*/ 1818226 h 2959949"/>
                  <a:gd name="connsiteX35" fmla="*/ 137565 w 1414520"/>
                  <a:gd name="connsiteY35" fmla="*/ 1583557 h 2959949"/>
                  <a:gd name="connsiteX36" fmla="*/ 80921 w 1414520"/>
                  <a:gd name="connsiteY36" fmla="*/ 733893 h 2959949"/>
                  <a:gd name="connsiteX37" fmla="*/ 8092 w 1414520"/>
                  <a:gd name="connsiteY37" fmla="*/ 474948 h 2959949"/>
                  <a:gd name="connsiteX38" fmla="*/ 32369 w 1414520"/>
                  <a:gd name="connsiteY38" fmla="*/ 345475 h 2959949"/>
                  <a:gd name="connsiteX39" fmla="*/ 178025 w 1414520"/>
                  <a:gd name="connsiteY39" fmla="*/ 5610 h 2959949"/>
                  <a:gd name="connsiteX0" fmla="*/ 178025 w 1414520"/>
                  <a:gd name="connsiteY0" fmla="*/ 5610 h 2959949"/>
                  <a:gd name="connsiteX1" fmla="*/ 299406 w 1414520"/>
                  <a:gd name="connsiteY1" fmla="*/ 78438 h 2959949"/>
                  <a:gd name="connsiteX2" fmla="*/ 493615 w 1414520"/>
                  <a:gd name="connsiteY2" fmla="*/ 126990 h 2959949"/>
                  <a:gd name="connsiteX3" fmla="*/ 687823 w 1414520"/>
                  <a:gd name="connsiteY3" fmla="*/ 143174 h 2959949"/>
                  <a:gd name="connsiteX4" fmla="*/ 865848 w 1414520"/>
                  <a:gd name="connsiteY4" fmla="*/ 110806 h 2959949"/>
                  <a:gd name="connsiteX5" fmla="*/ 946769 w 1414520"/>
                  <a:gd name="connsiteY5" fmla="*/ 62254 h 2959949"/>
                  <a:gd name="connsiteX6" fmla="*/ 1181438 w 1414520"/>
                  <a:gd name="connsiteY6" fmla="*/ 264555 h 2959949"/>
                  <a:gd name="connsiteX7" fmla="*/ 1351370 w 1414520"/>
                  <a:gd name="connsiteY7" fmla="*/ 385935 h 2959949"/>
                  <a:gd name="connsiteX8" fmla="*/ 1327094 w 1414520"/>
                  <a:gd name="connsiteY8" fmla="*/ 491132 h 2959949"/>
                  <a:gd name="connsiteX9" fmla="*/ 1246174 w 1414520"/>
                  <a:gd name="connsiteY9" fmla="*/ 750077 h 2959949"/>
                  <a:gd name="connsiteX10" fmla="*/ 1221898 w 1414520"/>
                  <a:gd name="connsiteY10" fmla="*/ 1551189 h 2959949"/>
                  <a:gd name="connsiteX11" fmla="*/ 1262358 w 1414520"/>
                  <a:gd name="connsiteY11" fmla="*/ 1747097 h 2959949"/>
                  <a:gd name="connsiteX12" fmla="*/ 1294726 w 1414520"/>
                  <a:gd name="connsiteY12" fmla="*/ 2036711 h 2959949"/>
                  <a:gd name="connsiteX13" fmla="*/ 1338427 w 1414520"/>
                  <a:gd name="connsiteY13" fmla="*/ 2332987 h 2959949"/>
                  <a:gd name="connsiteX14" fmla="*/ 1367554 w 1414520"/>
                  <a:gd name="connsiteY14" fmla="*/ 2554601 h 2959949"/>
                  <a:gd name="connsiteX15" fmla="*/ 1346565 w 1414520"/>
                  <a:gd name="connsiteY15" fmla="*/ 2663016 h 2959949"/>
                  <a:gd name="connsiteX16" fmla="*/ 1398312 w 1414520"/>
                  <a:gd name="connsiteY16" fmla="*/ 2797474 h 2959949"/>
                  <a:gd name="connsiteX17" fmla="*/ 1414520 w 1414520"/>
                  <a:gd name="connsiteY17" fmla="*/ 2910651 h 2959949"/>
                  <a:gd name="connsiteX18" fmla="*/ 1009986 w 1414520"/>
                  <a:gd name="connsiteY18" fmla="*/ 2828211 h 2959949"/>
                  <a:gd name="connsiteX19" fmla="*/ 940330 w 1414520"/>
                  <a:gd name="connsiteY19" fmla="*/ 2580488 h 2959949"/>
                  <a:gd name="connsiteX20" fmla="*/ 838376 w 1414520"/>
                  <a:gd name="connsiteY20" fmla="*/ 1947699 h 2959949"/>
                  <a:gd name="connsiteX21" fmla="*/ 801112 w 1414520"/>
                  <a:gd name="connsiteY21" fmla="*/ 1632109 h 2959949"/>
                  <a:gd name="connsiteX22" fmla="*/ 750929 w 1414520"/>
                  <a:gd name="connsiteY22" fmla="*/ 1212955 h 2959949"/>
                  <a:gd name="connsiteX23" fmla="*/ 695915 w 1414520"/>
                  <a:gd name="connsiteY23" fmla="*/ 895734 h 2959949"/>
                  <a:gd name="connsiteX24" fmla="*/ 647363 w 1414520"/>
                  <a:gd name="connsiteY24" fmla="*/ 1081851 h 2959949"/>
                  <a:gd name="connsiteX25" fmla="*/ 614995 w 1414520"/>
                  <a:gd name="connsiteY25" fmla="*/ 1737305 h 2959949"/>
                  <a:gd name="connsiteX26" fmla="*/ 598811 w 1414520"/>
                  <a:gd name="connsiteY26" fmla="*/ 1874870 h 2959949"/>
                  <a:gd name="connsiteX27" fmla="*/ 631179 w 1414520"/>
                  <a:gd name="connsiteY27" fmla="*/ 2012435 h 2959949"/>
                  <a:gd name="connsiteX28" fmla="*/ 639271 w 1414520"/>
                  <a:gd name="connsiteY28" fmla="*/ 2506049 h 2959949"/>
                  <a:gd name="connsiteX29" fmla="*/ 687823 w 1414520"/>
                  <a:gd name="connsiteY29" fmla="*/ 2797362 h 2959949"/>
                  <a:gd name="connsiteX30" fmla="*/ 655455 w 1414520"/>
                  <a:gd name="connsiteY30" fmla="*/ 2854006 h 2959949"/>
                  <a:gd name="connsiteX31" fmla="*/ 380326 w 1414520"/>
                  <a:gd name="connsiteY31" fmla="*/ 2821638 h 2959949"/>
                  <a:gd name="connsiteX32" fmla="*/ 323682 w 1414520"/>
                  <a:gd name="connsiteY32" fmla="*/ 2764994 h 2959949"/>
                  <a:gd name="connsiteX33" fmla="*/ 226577 w 1414520"/>
                  <a:gd name="connsiteY33" fmla="*/ 2077171 h 2959949"/>
                  <a:gd name="connsiteX34" fmla="*/ 161841 w 1414520"/>
                  <a:gd name="connsiteY34" fmla="*/ 1818226 h 2959949"/>
                  <a:gd name="connsiteX35" fmla="*/ 137565 w 1414520"/>
                  <a:gd name="connsiteY35" fmla="*/ 1583557 h 2959949"/>
                  <a:gd name="connsiteX36" fmla="*/ 80921 w 1414520"/>
                  <a:gd name="connsiteY36" fmla="*/ 733893 h 2959949"/>
                  <a:gd name="connsiteX37" fmla="*/ 8092 w 1414520"/>
                  <a:gd name="connsiteY37" fmla="*/ 474948 h 2959949"/>
                  <a:gd name="connsiteX38" fmla="*/ 32369 w 1414520"/>
                  <a:gd name="connsiteY38" fmla="*/ 345475 h 2959949"/>
                  <a:gd name="connsiteX39" fmla="*/ 178025 w 1414520"/>
                  <a:gd name="connsiteY39" fmla="*/ 5610 h 2959949"/>
                  <a:gd name="connsiteX0" fmla="*/ 178025 w 1414520"/>
                  <a:gd name="connsiteY0" fmla="*/ 5610 h 2959949"/>
                  <a:gd name="connsiteX1" fmla="*/ 299406 w 1414520"/>
                  <a:gd name="connsiteY1" fmla="*/ 78438 h 2959949"/>
                  <a:gd name="connsiteX2" fmla="*/ 493615 w 1414520"/>
                  <a:gd name="connsiteY2" fmla="*/ 126990 h 2959949"/>
                  <a:gd name="connsiteX3" fmla="*/ 687823 w 1414520"/>
                  <a:gd name="connsiteY3" fmla="*/ 143174 h 2959949"/>
                  <a:gd name="connsiteX4" fmla="*/ 865848 w 1414520"/>
                  <a:gd name="connsiteY4" fmla="*/ 110806 h 2959949"/>
                  <a:gd name="connsiteX5" fmla="*/ 946769 w 1414520"/>
                  <a:gd name="connsiteY5" fmla="*/ 62254 h 2959949"/>
                  <a:gd name="connsiteX6" fmla="*/ 1181438 w 1414520"/>
                  <a:gd name="connsiteY6" fmla="*/ 264555 h 2959949"/>
                  <a:gd name="connsiteX7" fmla="*/ 1351370 w 1414520"/>
                  <a:gd name="connsiteY7" fmla="*/ 385935 h 2959949"/>
                  <a:gd name="connsiteX8" fmla="*/ 1327094 w 1414520"/>
                  <a:gd name="connsiteY8" fmla="*/ 491132 h 2959949"/>
                  <a:gd name="connsiteX9" fmla="*/ 1246174 w 1414520"/>
                  <a:gd name="connsiteY9" fmla="*/ 750077 h 2959949"/>
                  <a:gd name="connsiteX10" fmla="*/ 1221898 w 1414520"/>
                  <a:gd name="connsiteY10" fmla="*/ 1551189 h 2959949"/>
                  <a:gd name="connsiteX11" fmla="*/ 1262358 w 1414520"/>
                  <a:gd name="connsiteY11" fmla="*/ 1747097 h 2959949"/>
                  <a:gd name="connsiteX12" fmla="*/ 1294726 w 1414520"/>
                  <a:gd name="connsiteY12" fmla="*/ 2036711 h 2959949"/>
                  <a:gd name="connsiteX13" fmla="*/ 1338427 w 1414520"/>
                  <a:gd name="connsiteY13" fmla="*/ 2332987 h 2959949"/>
                  <a:gd name="connsiteX14" fmla="*/ 1367554 w 1414520"/>
                  <a:gd name="connsiteY14" fmla="*/ 2554601 h 2959949"/>
                  <a:gd name="connsiteX15" fmla="*/ 1346565 w 1414520"/>
                  <a:gd name="connsiteY15" fmla="*/ 2663016 h 2959949"/>
                  <a:gd name="connsiteX16" fmla="*/ 1398312 w 1414520"/>
                  <a:gd name="connsiteY16" fmla="*/ 2797474 h 2959949"/>
                  <a:gd name="connsiteX17" fmla="*/ 1414520 w 1414520"/>
                  <a:gd name="connsiteY17" fmla="*/ 2910651 h 2959949"/>
                  <a:gd name="connsiteX18" fmla="*/ 1009986 w 1414520"/>
                  <a:gd name="connsiteY18" fmla="*/ 2828211 h 2959949"/>
                  <a:gd name="connsiteX19" fmla="*/ 940330 w 1414520"/>
                  <a:gd name="connsiteY19" fmla="*/ 2580488 h 2959949"/>
                  <a:gd name="connsiteX20" fmla="*/ 838376 w 1414520"/>
                  <a:gd name="connsiteY20" fmla="*/ 1947699 h 2959949"/>
                  <a:gd name="connsiteX21" fmla="*/ 801112 w 1414520"/>
                  <a:gd name="connsiteY21" fmla="*/ 1632109 h 2959949"/>
                  <a:gd name="connsiteX22" fmla="*/ 750929 w 1414520"/>
                  <a:gd name="connsiteY22" fmla="*/ 1212955 h 2959949"/>
                  <a:gd name="connsiteX23" fmla="*/ 695915 w 1414520"/>
                  <a:gd name="connsiteY23" fmla="*/ 895734 h 2959949"/>
                  <a:gd name="connsiteX24" fmla="*/ 647363 w 1414520"/>
                  <a:gd name="connsiteY24" fmla="*/ 1081851 h 2959949"/>
                  <a:gd name="connsiteX25" fmla="*/ 614995 w 1414520"/>
                  <a:gd name="connsiteY25" fmla="*/ 1737305 h 2959949"/>
                  <a:gd name="connsiteX26" fmla="*/ 598811 w 1414520"/>
                  <a:gd name="connsiteY26" fmla="*/ 1874870 h 2959949"/>
                  <a:gd name="connsiteX27" fmla="*/ 631179 w 1414520"/>
                  <a:gd name="connsiteY27" fmla="*/ 2012435 h 2959949"/>
                  <a:gd name="connsiteX28" fmla="*/ 639271 w 1414520"/>
                  <a:gd name="connsiteY28" fmla="*/ 2506049 h 2959949"/>
                  <a:gd name="connsiteX29" fmla="*/ 687823 w 1414520"/>
                  <a:gd name="connsiteY29" fmla="*/ 2797362 h 2959949"/>
                  <a:gd name="connsiteX30" fmla="*/ 655455 w 1414520"/>
                  <a:gd name="connsiteY30" fmla="*/ 2854006 h 2959949"/>
                  <a:gd name="connsiteX31" fmla="*/ 380326 w 1414520"/>
                  <a:gd name="connsiteY31" fmla="*/ 2821638 h 2959949"/>
                  <a:gd name="connsiteX32" fmla="*/ 323682 w 1414520"/>
                  <a:gd name="connsiteY32" fmla="*/ 2764994 h 2959949"/>
                  <a:gd name="connsiteX33" fmla="*/ 226577 w 1414520"/>
                  <a:gd name="connsiteY33" fmla="*/ 2077171 h 2959949"/>
                  <a:gd name="connsiteX34" fmla="*/ 161841 w 1414520"/>
                  <a:gd name="connsiteY34" fmla="*/ 1818226 h 2959949"/>
                  <a:gd name="connsiteX35" fmla="*/ 137565 w 1414520"/>
                  <a:gd name="connsiteY35" fmla="*/ 1583557 h 2959949"/>
                  <a:gd name="connsiteX36" fmla="*/ 80921 w 1414520"/>
                  <a:gd name="connsiteY36" fmla="*/ 733893 h 2959949"/>
                  <a:gd name="connsiteX37" fmla="*/ 8092 w 1414520"/>
                  <a:gd name="connsiteY37" fmla="*/ 474948 h 2959949"/>
                  <a:gd name="connsiteX38" fmla="*/ 32369 w 1414520"/>
                  <a:gd name="connsiteY38" fmla="*/ 345475 h 2959949"/>
                  <a:gd name="connsiteX39" fmla="*/ 178025 w 1414520"/>
                  <a:gd name="connsiteY39" fmla="*/ 5610 h 2959949"/>
                  <a:gd name="connsiteX0" fmla="*/ 178025 w 1414520"/>
                  <a:gd name="connsiteY0" fmla="*/ 5610 h 2959949"/>
                  <a:gd name="connsiteX1" fmla="*/ 299406 w 1414520"/>
                  <a:gd name="connsiteY1" fmla="*/ 78438 h 2959949"/>
                  <a:gd name="connsiteX2" fmla="*/ 493615 w 1414520"/>
                  <a:gd name="connsiteY2" fmla="*/ 126990 h 2959949"/>
                  <a:gd name="connsiteX3" fmla="*/ 687823 w 1414520"/>
                  <a:gd name="connsiteY3" fmla="*/ 143174 h 2959949"/>
                  <a:gd name="connsiteX4" fmla="*/ 865848 w 1414520"/>
                  <a:gd name="connsiteY4" fmla="*/ 110806 h 2959949"/>
                  <a:gd name="connsiteX5" fmla="*/ 946769 w 1414520"/>
                  <a:gd name="connsiteY5" fmla="*/ 62254 h 2959949"/>
                  <a:gd name="connsiteX6" fmla="*/ 1181438 w 1414520"/>
                  <a:gd name="connsiteY6" fmla="*/ 264555 h 2959949"/>
                  <a:gd name="connsiteX7" fmla="*/ 1351370 w 1414520"/>
                  <a:gd name="connsiteY7" fmla="*/ 385935 h 2959949"/>
                  <a:gd name="connsiteX8" fmla="*/ 1327094 w 1414520"/>
                  <a:gd name="connsiteY8" fmla="*/ 491132 h 2959949"/>
                  <a:gd name="connsiteX9" fmla="*/ 1246174 w 1414520"/>
                  <a:gd name="connsiteY9" fmla="*/ 750077 h 2959949"/>
                  <a:gd name="connsiteX10" fmla="*/ 1221898 w 1414520"/>
                  <a:gd name="connsiteY10" fmla="*/ 1551189 h 2959949"/>
                  <a:gd name="connsiteX11" fmla="*/ 1262358 w 1414520"/>
                  <a:gd name="connsiteY11" fmla="*/ 1747097 h 2959949"/>
                  <a:gd name="connsiteX12" fmla="*/ 1294726 w 1414520"/>
                  <a:gd name="connsiteY12" fmla="*/ 2036711 h 2959949"/>
                  <a:gd name="connsiteX13" fmla="*/ 1338427 w 1414520"/>
                  <a:gd name="connsiteY13" fmla="*/ 2332987 h 2959949"/>
                  <a:gd name="connsiteX14" fmla="*/ 1367554 w 1414520"/>
                  <a:gd name="connsiteY14" fmla="*/ 2554601 h 2959949"/>
                  <a:gd name="connsiteX15" fmla="*/ 1346565 w 1414520"/>
                  <a:gd name="connsiteY15" fmla="*/ 2663016 h 2959949"/>
                  <a:gd name="connsiteX16" fmla="*/ 1398312 w 1414520"/>
                  <a:gd name="connsiteY16" fmla="*/ 2797474 h 2959949"/>
                  <a:gd name="connsiteX17" fmla="*/ 1414520 w 1414520"/>
                  <a:gd name="connsiteY17" fmla="*/ 2910651 h 2959949"/>
                  <a:gd name="connsiteX18" fmla="*/ 1009986 w 1414520"/>
                  <a:gd name="connsiteY18" fmla="*/ 2828211 h 2959949"/>
                  <a:gd name="connsiteX19" fmla="*/ 940330 w 1414520"/>
                  <a:gd name="connsiteY19" fmla="*/ 2580488 h 2959949"/>
                  <a:gd name="connsiteX20" fmla="*/ 838376 w 1414520"/>
                  <a:gd name="connsiteY20" fmla="*/ 1947699 h 2959949"/>
                  <a:gd name="connsiteX21" fmla="*/ 801112 w 1414520"/>
                  <a:gd name="connsiteY21" fmla="*/ 1632109 h 2959949"/>
                  <a:gd name="connsiteX22" fmla="*/ 750929 w 1414520"/>
                  <a:gd name="connsiteY22" fmla="*/ 1212955 h 2959949"/>
                  <a:gd name="connsiteX23" fmla="*/ 695915 w 1414520"/>
                  <a:gd name="connsiteY23" fmla="*/ 895734 h 2959949"/>
                  <a:gd name="connsiteX24" fmla="*/ 647363 w 1414520"/>
                  <a:gd name="connsiteY24" fmla="*/ 1081851 h 2959949"/>
                  <a:gd name="connsiteX25" fmla="*/ 614995 w 1414520"/>
                  <a:gd name="connsiteY25" fmla="*/ 1737305 h 2959949"/>
                  <a:gd name="connsiteX26" fmla="*/ 598811 w 1414520"/>
                  <a:gd name="connsiteY26" fmla="*/ 1874870 h 2959949"/>
                  <a:gd name="connsiteX27" fmla="*/ 631179 w 1414520"/>
                  <a:gd name="connsiteY27" fmla="*/ 2012435 h 2959949"/>
                  <a:gd name="connsiteX28" fmla="*/ 639271 w 1414520"/>
                  <a:gd name="connsiteY28" fmla="*/ 2506049 h 2959949"/>
                  <a:gd name="connsiteX29" fmla="*/ 687823 w 1414520"/>
                  <a:gd name="connsiteY29" fmla="*/ 2797362 h 2959949"/>
                  <a:gd name="connsiteX30" fmla="*/ 655455 w 1414520"/>
                  <a:gd name="connsiteY30" fmla="*/ 2854006 h 2959949"/>
                  <a:gd name="connsiteX31" fmla="*/ 380326 w 1414520"/>
                  <a:gd name="connsiteY31" fmla="*/ 2821638 h 2959949"/>
                  <a:gd name="connsiteX32" fmla="*/ 323682 w 1414520"/>
                  <a:gd name="connsiteY32" fmla="*/ 2764994 h 2959949"/>
                  <a:gd name="connsiteX33" fmla="*/ 226577 w 1414520"/>
                  <a:gd name="connsiteY33" fmla="*/ 2077171 h 2959949"/>
                  <a:gd name="connsiteX34" fmla="*/ 161841 w 1414520"/>
                  <a:gd name="connsiteY34" fmla="*/ 1818226 h 2959949"/>
                  <a:gd name="connsiteX35" fmla="*/ 137565 w 1414520"/>
                  <a:gd name="connsiteY35" fmla="*/ 1583557 h 2959949"/>
                  <a:gd name="connsiteX36" fmla="*/ 80921 w 1414520"/>
                  <a:gd name="connsiteY36" fmla="*/ 733893 h 2959949"/>
                  <a:gd name="connsiteX37" fmla="*/ 8092 w 1414520"/>
                  <a:gd name="connsiteY37" fmla="*/ 474948 h 2959949"/>
                  <a:gd name="connsiteX38" fmla="*/ 32369 w 1414520"/>
                  <a:gd name="connsiteY38" fmla="*/ 345475 h 2959949"/>
                  <a:gd name="connsiteX39" fmla="*/ 178025 w 1414520"/>
                  <a:gd name="connsiteY39" fmla="*/ 5610 h 2959949"/>
                  <a:gd name="connsiteX0" fmla="*/ 178025 w 1414520"/>
                  <a:gd name="connsiteY0" fmla="*/ 5610 h 2959949"/>
                  <a:gd name="connsiteX1" fmla="*/ 299406 w 1414520"/>
                  <a:gd name="connsiteY1" fmla="*/ 78438 h 2959949"/>
                  <a:gd name="connsiteX2" fmla="*/ 493615 w 1414520"/>
                  <a:gd name="connsiteY2" fmla="*/ 126990 h 2959949"/>
                  <a:gd name="connsiteX3" fmla="*/ 687823 w 1414520"/>
                  <a:gd name="connsiteY3" fmla="*/ 143174 h 2959949"/>
                  <a:gd name="connsiteX4" fmla="*/ 865848 w 1414520"/>
                  <a:gd name="connsiteY4" fmla="*/ 110806 h 2959949"/>
                  <a:gd name="connsiteX5" fmla="*/ 946769 w 1414520"/>
                  <a:gd name="connsiteY5" fmla="*/ 62254 h 2959949"/>
                  <a:gd name="connsiteX6" fmla="*/ 1181438 w 1414520"/>
                  <a:gd name="connsiteY6" fmla="*/ 264555 h 2959949"/>
                  <a:gd name="connsiteX7" fmla="*/ 1351370 w 1414520"/>
                  <a:gd name="connsiteY7" fmla="*/ 385935 h 2959949"/>
                  <a:gd name="connsiteX8" fmla="*/ 1327094 w 1414520"/>
                  <a:gd name="connsiteY8" fmla="*/ 491132 h 2959949"/>
                  <a:gd name="connsiteX9" fmla="*/ 1246174 w 1414520"/>
                  <a:gd name="connsiteY9" fmla="*/ 750077 h 2959949"/>
                  <a:gd name="connsiteX10" fmla="*/ 1221898 w 1414520"/>
                  <a:gd name="connsiteY10" fmla="*/ 1551189 h 2959949"/>
                  <a:gd name="connsiteX11" fmla="*/ 1262358 w 1414520"/>
                  <a:gd name="connsiteY11" fmla="*/ 1747097 h 2959949"/>
                  <a:gd name="connsiteX12" fmla="*/ 1294726 w 1414520"/>
                  <a:gd name="connsiteY12" fmla="*/ 2036711 h 2959949"/>
                  <a:gd name="connsiteX13" fmla="*/ 1338427 w 1414520"/>
                  <a:gd name="connsiteY13" fmla="*/ 2332987 h 2959949"/>
                  <a:gd name="connsiteX14" fmla="*/ 1367554 w 1414520"/>
                  <a:gd name="connsiteY14" fmla="*/ 2554601 h 2959949"/>
                  <a:gd name="connsiteX15" fmla="*/ 1346565 w 1414520"/>
                  <a:gd name="connsiteY15" fmla="*/ 2663016 h 2959949"/>
                  <a:gd name="connsiteX16" fmla="*/ 1398312 w 1414520"/>
                  <a:gd name="connsiteY16" fmla="*/ 2797474 h 2959949"/>
                  <a:gd name="connsiteX17" fmla="*/ 1414520 w 1414520"/>
                  <a:gd name="connsiteY17" fmla="*/ 2910651 h 2959949"/>
                  <a:gd name="connsiteX18" fmla="*/ 1009986 w 1414520"/>
                  <a:gd name="connsiteY18" fmla="*/ 2828211 h 2959949"/>
                  <a:gd name="connsiteX19" fmla="*/ 940330 w 1414520"/>
                  <a:gd name="connsiteY19" fmla="*/ 2580488 h 2959949"/>
                  <a:gd name="connsiteX20" fmla="*/ 838376 w 1414520"/>
                  <a:gd name="connsiteY20" fmla="*/ 1947699 h 2959949"/>
                  <a:gd name="connsiteX21" fmla="*/ 801112 w 1414520"/>
                  <a:gd name="connsiteY21" fmla="*/ 1632109 h 2959949"/>
                  <a:gd name="connsiteX22" fmla="*/ 750929 w 1414520"/>
                  <a:gd name="connsiteY22" fmla="*/ 1212955 h 2959949"/>
                  <a:gd name="connsiteX23" fmla="*/ 695915 w 1414520"/>
                  <a:gd name="connsiteY23" fmla="*/ 895734 h 2959949"/>
                  <a:gd name="connsiteX24" fmla="*/ 647363 w 1414520"/>
                  <a:gd name="connsiteY24" fmla="*/ 1081851 h 2959949"/>
                  <a:gd name="connsiteX25" fmla="*/ 614995 w 1414520"/>
                  <a:gd name="connsiteY25" fmla="*/ 1737305 h 2959949"/>
                  <a:gd name="connsiteX26" fmla="*/ 598811 w 1414520"/>
                  <a:gd name="connsiteY26" fmla="*/ 1874870 h 2959949"/>
                  <a:gd name="connsiteX27" fmla="*/ 631179 w 1414520"/>
                  <a:gd name="connsiteY27" fmla="*/ 2012435 h 2959949"/>
                  <a:gd name="connsiteX28" fmla="*/ 639271 w 1414520"/>
                  <a:gd name="connsiteY28" fmla="*/ 2506049 h 2959949"/>
                  <a:gd name="connsiteX29" fmla="*/ 687823 w 1414520"/>
                  <a:gd name="connsiteY29" fmla="*/ 2797362 h 2959949"/>
                  <a:gd name="connsiteX30" fmla="*/ 655455 w 1414520"/>
                  <a:gd name="connsiteY30" fmla="*/ 2854006 h 2959949"/>
                  <a:gd name="connsiteX31" fmla="*/ 419222 w 1414520"/>
                  <a:gd name="connsiteY31" fmla="*/ 2844327 h 2959949"/>
                  <a:gd name="connsiteX32" fmla="*/ 323682 w 1414520"/>
                  <a:gd name="connsiteY32" fmla="*/ 2764994 h 2959949"/>
                  <a:gd name="connsiteX33" fmla="*/ 226577 w 1414520"/>
                  <a:gd name="connsiteY33" fmla="*/ 2077171 h 2959949"/>
                  <a:gd name="connsiteX34" fmla="*/ 161841 w 1414520"/>
                  <a:gd name="connsiteY34" fmla="*/ 1818226 h 2959949"/>
                  <a:gd name="connsiteX35" fmla="*/ 137565 w 1414520"/>
                  <a:gd name="connsiteY35" fmla="*/ 1583557 h 2959949"/>
                  <a:gd name="connsiteX36" fmla="*/ 80921 w 1414520"/>
                  <a:gd name="connsiteY36" fmla="*/ 733893 h 2959949"/>
                  <a:gd name="connsiteX37" fmla="*/ 8092 w 1414520"/>
                  <a:gd name="connsiteY37" fmla="*/ 474948 h 2959949"/>
                  <a:gd name="connsiteX38" fmla="*/ 32369 w 1414520"/>
                  <a:gd name="connsiteY38" fmla="*/ 345475 h 2959949"/>
                  <a:gd name="connsiteX39" fmla="*/ 178025 w 1414520"/>
                  <a:gd name="connsiteY39" fmla="*/ 5610 h 2959949"/>
                  <a:gd name="connsiteX0" fmla="*/ 178025 w 1414520"/>
                  <a:gd name="connsiteY0" fmla="*/ 5610 h 2959949"/>
                  <a:gd name="connsiteX1" fmla="*/ 299406 w 1414520"/>
                  <a:gd name="connsiteY1" fmla="*/ 78438 h 2959949"/>
                  <a:gd name="connsiteX2" fmla="*/ 493615 w 1414520"/>
                  <a:gd name="connsiteY2" fmla="*/ 126990 h 2959949"/>
                  <a:gd name="connsiteX3" fmla="*/ 687823 w 1414520"/>
                  <a:gd name="connsiteY3" fmla="*/ 143174 h 2959949"/>
                  <a:gd name="connsiteX4" fmla="*/ 865848 w 1414520"/>
                  <a:gd name="connsiteY4" fmla="*/ 110806 h 2959949"/>
                  <a:gd name="connsiteX5" fmla="*/ 946769 w 1414520"/>
                  <a:gd name="connsiteY5" fmla="*/ 62254 h 2959949"/>
                  <a:gd name="connsiteX6" fmla="*/ 1181438 w 1414520"/>
                  <a:gd name="connsiteY6" fmla="*/ 264555 h 2959949"/>
                  <a:gd name="connsiteX7" fmla="*/ 1351370 w 1414520"/>
                  <a:gd name="connsiteY7" fmla="*/ 385935 h 2959949"/>
                  <a:gd name="connsiteX8" fmla="*/ 1327094 w 1414520"/>
                  <a:gd name="connsiteY8" fmla="*/ 491132 h 2959949"/>
                  <a:gd name="connsiteX9" fmla="*/ 1246174 w 1414520"/>
                  <a:gd name="connsiteY9" fmla="*/ 750077 h 2959949"/>
                  <a:gd name="connsiteX10" fmla="*/ 1221898 w 1414520"/>
                  <a:gd name="connsiteY10" fmla="*/ 1551189 h 2959949"/>
                  <a:gd name="connsiteX11" fmla="*/ 1262358 w 1414520"/>
                  <a:gd name="connsiteY11" fmla="*/ 1747097 h 2959949"/>
                  <a:gd name="connsiteX12" fmla="*/ 1294726 w 1414520"/>
                  <a:gd name="connsiteY12" fmla="*/ 2036711 h 2959949"/>
                  <a:gd name="connsiteX13" fmla="*/ 1338427 w 1414520"/>
                  <a:gd name="connsiteY13" fmla="*/ 2332987 h 2959949"/>
                  <a:gd name="connsiteX14" fmla="*/ 1367554 w 1414520"/>
                  <a:gd name="connsiteY14" fmla="*/ 2554601 h 2959949"/>
                  <a:gd name="connsiteX15" fmla="*/ 1346565 w 1414520"/>
                  <a:gd name="connsiteY15" fmla="*/ 2663016 h 2959949"/>
                  <a:gd name="connsiteX16" fmla="*/ 1398312 w 1414520"/>
                  <a:gd name="connsiteY16" fmla="*/ 2797474 h 2959949"/>
                  <a:gd name="connsiteX17" fmla="*/ 1414520 w 1414520"/>
                  <a:gd name="connsiteY17" fmla="*/ 2910651 h 2959949"/>
                  <a:gd name="connsiteX18" fmla="*/ 1009986 w 1414520"/>
                  <a:gd name="connsiteY18" fmla="*/ 2828211 h 2959949"/>
                  <a:gd name="connsiteX19" fmla="*/ 940330 w 1414520"/>
                  <a:gd name="connsiteY19" fmla="*/ 2580488 h 2959949"/>
                  <a:gd name="connsiteX20" fmla="*/ 838376 w 1414520"/>
                  <a:gd name="connsiteY20" fmla="*/ 1947699 h 2959949"/>
                  <a:gd name="connsiteX21" fmla="*/ 801112 w 1414520"/>
                  <a:gd name="connsiteY21" fmla="*/ 1632109 h 2959949"/>
                  <a:gd name="connsiteX22" fmla="*/ 750929 w 1414520"/>
                  <a:gd name="connsiteY22" fmla="*/ 1212955 h 2959949"/>
                  <a:gd name="connsiteX23" fmla="*/ 695915 w 1414520"/>
                  <a:gd name="connsiteY23" fmla="*/ 895734 h 2959949"/>
                  <a:gd name="connsiteX24" fmla="*/ 647363 w 1414520"/>
                  <a:gd name="connsiteY24" fmla="*/ 1081851 h 2959949"/>
                  <a:gd name="connsiteX25" fmla="*/ 614995 w 1414520"/>
                  <a:gd name="connsiteY25" fmla="*/ 1737305 h 2959949"/>
                  <a:gd name="connsiteX26" fmla="*/ 598811 w 1414520"/>
                  <a:gd name="connsiteY26" fmla="*/ 1874870 h 2959949"/>
                  <a:gd name="connsiteX27" fmla="*/ 631179 w 1414520"/>
                  <a:gd name="connsiteY27" fmla="*/ 2012435 h 2959949"/>
                  <a:gd name="connsiteX28" fmla="*/ 639271 w 1414520"/>
                  <a:gd name="connsiteY28" fmla="*/ 2506049 h 2959949"/>
                  <a:gd name="connsiteX29" fmla="*/ 687823 w 1414520"/>
                  <a:gd name="connsiteY29" fmla="*/ 2797362 h 2959949"/>
                  <a:gd name="connsiteX30" fmla="*/ 655455 w 1414520"/>
                  <a:gd name="connsiteY30" fmla="*/ 2854006 h 2959949"/>
                  <a:gd name="connsiteX31" fmla="*/ 419222 w 1414520"/>
                  <a:gd name="connsiteY31" fmla="*/ 2844327 h 2959949"/>
                  <a:gd name="connsiteX32" fmla="*/ 323682 w 1414520"/>
                  <a:gd name="connsiteY32" fmla="*/ 2764994 h 2959949"/>
                  <a:gd name="connsiteX33" fmla="*/ 226577 w 1414520"/>
                  <a:gd name="connsiteY33" fmla="*/ 2077171 h 2959949"/>
                  <a:gd name="connsiteX34" fmla="*/ 161841 w 1414520"/>
                  <a:gd name="connsiteY34" fmla="*/ 1818226 h 2959949"/>
                  <a:gd name="connsiteX35" fmla="*/ 137565 w 1414520"/>
                  <a:gd name="connsiteY35" fmla="*/ 1583557 h 2959949"/>
                  <a:gd name="connsiteX36" fmla="*/ 80921 w 1414520"/>
                  <a:gd name="connsiteY36" fmla="*/ 733893 h 2959949"/>
                  <a:gd name="connsiteX37" fmla="*/ 8092 w 1414520"/>
                  <a:gd name="connsiteY37" fmla="*/ 474948 h 2959949"/>
                  <a:gd name="connsiteX38" fmla="*/ 32369 w 1414520"/>
                  <a:gd name="connsiteY38" fmla="*/ 345475 h 2959949"/>
                  <a:gd name="connsiteX39" fmla="*/ 178025 w 1414520"/>
                  <a:gd name="connsiteY39" fmla="*/ 5610 h 2959949"/>
                  <a:gd name="connsiteX0" fmla="*/ 178025 w 1414520"/>
                  <a:gd name="connsiteY0" fmla="*/ 5610 h 2959949"/>
                  <a:gd name="connsiteX1" fmla="*/ 299406 w 1414520"/>
                  <a:gd name="connsiteY1" fmla="*/ 78438 h 2959949"/>
                  <a:gd name="connsiteX2" fmla="*/ 493615 w 1414520"/>
                  <a:gd name="connsiteY2" fmla="*/ 126990 h 2959949"/>
                  <a:gd name="connsiteX3" fmla="*/ 687823 w 1414520"/>
                  <a:gd name="connsiteY3" fmla="*/ 143174 h 2959949"/>
                  <a:gd name="connsiteX4" fmla="*/ 865848 w 1414520"/>
                  <a:gd name="connsiteY4" fmla="*/ 110806 h 2959949"/>
                  <a:gd name="connsiteX5" fmla="*/ 946769 w 1414520"/>
                  <a:gd name="connsiteY5" fmla="*/ 62254 h 2959949"/>
                  <a:gd name="connsiteX6" fmla="*/ 1181438 w 1414520"/>
                  <a:gd name="connsiteY6" fmla="*/ 264555 h 2959949"/>
                  <a:gd name="connsiteX7" fmla="*/ 1351370 w 1414520"/>
                  <a:gd name="connsiteY7" fmla="*/ 385935 h 2959949"/>
                  <a:gd name="connsiteX8" fmla="*/ 1327094 w 1414520"/>
                  <a:gd name="connsiteY8" fmla="*/ 491132 h 2959949"/>
                  <a:gd name="connsiteX9" fmla="*/ 1246174 w 1414520"/>
                  <a:gd name="connsiteY9" fmla="*/ 750077 h 2959949"/>
                  <a:gd name="connsiteX10" fmla="*/ 1221898 w 1414520"/>
                  <a:gd name="connsiteY10" fmla="*/ 1551189 h 2959949"/>
                  <a:gd name="connsiteX11" fmla="*/ 1262358 w 1414520"/>
                  <a:gd name="connsiteY11" fmla="*/ 1747097 h 2959949"/>
                  <a:gd name="connsiteX12" fmla="*/ 1294726 w 1414520"/>
                  <a:gd name="connsiteY12" fmla="*/ 2036711 h 2959949"/>
                  <a:gd name="connsiteX13" fmla="*/ 1338427 w 1414520"/>
                  <a:gd name="connsiteY13" fmla="*/ 2332987 h 2959949"/>
                  <a:gd name="connsiteX14" fmla="*/ 1367554 w 1414520"/>
                  <a:gd name="connsiteY14" fmla="*/ 2554601 h 2959949"/>
                  <a:gd name="connsiteX15" fmla="*/ 1346565 w 1414520"/>
                  <a:gd name="connsiteY15" fmla="*/ 2663016 h 2959949"/>
                  <a:gd name="connsiteX16" fmla="*/ 1398312 w 1414520"/>
                  <a:gd name="connsiteY16" fmla="*/ 2797474 h 2959949"/>
                  <a:gd name="connsiteX17" fmla="*/ 1414520 w 1414520"/>
                  <a:gd name="connsiteY17" fmla="*/ 2910651 h 2959949"/>
                  <a:gd name="connsiteX18" fmla="*/ 1009986 w 1414520"/>
                  <a:gd name="connsiteY18" fmla="*/ 2828211 h 2959949"/>
                  <a:gd name="connsiteX19" fmla="*/ 940330 w 1414520"/>
                  <a:gd name="connsiteY19" fmla="*/ 2580488 h 2959949"/>
                  <a:gd name="connsiteX20" fmla="*/ 838376 w 1414520"/>
                  <a:gd name="connsiteY20" fmla="*/ 1947699 h 2959949"/>
                  <a:gd name="connsiteX21" fmla="*/ 801112 w 1414520"/>
                  <a:gd name="connsiteY21" fmla="*/ 1632109 h 2959949"/>
                  <a:gd name="connsiteX22" fmla="*/ 750929 w 1414520"/>
                  <a:gd name="connsiteY22" fmla="*/ 1212955 h 2959949"/>
                  <a:gd name="connsiteX23" fmla="*/ 695915 w 1414520"/>
                  <a:gd name="connsiteY23" fmla="*/ 895734 h 2959949"/>
                  <a:gd name="connsiteX24" fmla="*/ 647363 w 1414520"/>
                  <a:gd name="connsiteY24" fmla="*/ 1081851 h 2959949"/>
                  <a:gd name="connsiteX25" fmla="*/ 614995 w 1414520"/>
                  <a:gd name="connsiteY25" fmla="*/ 1737305 h 2959949"/>
                  <a:gd name="connsiteX26" fmla="*/ 598811 w 1414520"/>
                  <a:gd name="connsiteY26" fmla="*/ 1874870 h 2959949"/>
                  <a:gd name="connsiteX27" fmla="*/ 631179 w 1414520"/>
                  <a:gd name="connsiteY27" fmla="*/ 2012435 h 2959949"/>
                  <a:gd name="connsiteX28" fmla="*/ 639271 w 1414520"/>
                  <a:gd name="connsiteY28" fmla="*/ 2506049 h 2959949"/>
                  <a:gd name="connsiteX29" fmla="*/ 687823 w 1414520"/>
                  <a:gd name="connsiteY29" fmla="*/ 2797362 h 2959949"/>
                  <a:gd name="connsiteX30" fmla="*/ 655455 w 1414520"/>
                  <a:gd name="connsiteY30" fmla="*/ 2854006 h 2959949"/>
                  <a:gd name="connsiteX31" fmla="*/ 419222 w 1414520"/>
                  <a:gd name="connsiteY31" fmla="*/ 2844327 h 2959949"/>
                  <a:gd name="connsiteX32" fmla="*/ 323682 w 1414520"/>
                  <a:gd name="connsiteY32" fmla="*/ 2764994 h 2959949"/>
                  <a:gd name="connsiteX33" fmla="*/ 226577 w 1414520"/>
                  <a:gd name="connsiteY33" fmla="*/ 2077171 h 2959949"/>
                  <a:gd name="connsiteX34" fmla="*/ 161841 w 1414520"/>
                  <a:gd name="connsiteY34" fmla="*/ 1818226 h 2959949"/>
                  <a:gd name="connsiteX35" fmla="*/ 137565 w 1414520"/>
                  <a:gd name="connsiteY35" fmla="*/ 1583557 h 2959949"/>
                  <a:gd name="connsiteX36" fmla="*/ 80921 w 1414520"/>
                  <a:gd name="connsiteY36" fmla="*/ 733893 h 2959949"/>
                  <a:gd name="connsiteX37" fmla="*/ 8092 w 1414520"/>
                  <a:gd name="connsiteY37" fmla="*/ 474948 h 2959949"/>
                  <a:gd name="connsiteX38" fmla="*/ 32369 w 1414520"/>
                  <a:gd name="connsiteY38" fmla="*/ 345475 h 2959949"/>
                  <a:gd name="connsiteX39" fmla="*/ 178025 w 1414520"/>
                  <a:gd name="connsiteY39" fmla="*/ 5610 h 2959949"/>
                  <a:gd name="connsiteX0" fmla="*/ 178025 w 1414520"/>
                  <a:gd name="connsiteY0" fmla="*/ 5610 h 2959949"/>
                  <a:gd name="connsiteX1" fmla="*/ 299406 w 1414520"/>
                  <a:gd name="connsiteY1" fmla="*/ 78438 h 2959949"/>
                  <a:gd name="connsiteX2" fmla="*/ 493615 w 1414520"/>
                  <a:gd name="connsiteY2" fmla="*/ 126990 h 2959949"/>
                  <a:gd name="connsiteX3" fmla="*/ 687823 w 1414520"/>
                  <a:gd name="connsiteY3" fmla="*/ 143174 h 2959949"/>
                  <a:gd name="connsiteX4" fmla="*/ 865848 w 1414520"/>
                  <a:gd name="connsiteY4" fmla="*/ 110806 h 2959949"/>
                  <a:gd name="connsiteX5" fmla="*/ 946769 w 1414520"/>
                  <a:gd name="connsiteY5" fmla="*/ 62254 h 2959949"/>
                  <a:gd name="connsiteX6" fmla="*/ 1181438 w 1414520"/>
                  <a:gd name="connsiteY6" fmla="*/ 264555 h 2959949"/>
                  <a:gd name="connsiteX7" fmla="*/ 1351370 w 1414520"/>
                  <a:gd name="connsiteY7" fmla="*/ 385935 h 2959949"/>
                  <a:gd name="connsiteX8" fmla="*/ 1327094 w 1414520"/>
                  <a:gd name="connsiteY8" fmla="*/ 491132 h 2959949"/>
                  <a:gd name="connsiteX9" fmla="*/ 1246174 w 1414520"/>
                  <a:gd name="connsiteY9" fmla="*/ 750077 h 2959949"/>
                  <a:gd name="connsiteX10" fmla="*/ 1221898 w 1414520"/>
                  <a:gd name="connsiteY10" fmla="*/ 1551189 h 2959949"/>
                  <a:gd name="connsiteX11" fmla="*/ 1262358 w 1414520"/>
                  <a:gd name="connsiteY11" fmla="*/ 1747097 h 2959949"/>
                  <a:gd name="connsiteX12" fmla="*/ 1294726 w 1414520"/>
                  <a:gd name="connsiteY12" fmla="*/ 2036711 h 2959949"/>
                  <a:gd name="connsiteX13" fmla="*/ 1338427 w 1414520"/>
                  <a:gd name="connsiteY13" fmla="*/ 2332987 h 2959949"/>
                  <a:gd name="connsiteX14" fmla="*/ 1367554 w 1414520"/>
                  <a:gd name="connsiteY14" fmla="*/ 2554601 h 2959949"/>
                  <a:gd name="connsiteX15" fmla="*/ 1346565 w 1414520"/>
                  <a:gd name="connsiteY15" fmla="*/ 2663016 h 2959949"/>
                  <a:gd name="connsiteX16" fmla="*/ 1398312 w 1414520"/>
                  <a:gd name="connsiteY16" fmla="*/ 2797474 h 2959949"/>
                  <a:gd name="connsiteX17" fmla="*/ 1414520 w 1414520"/>
                  <a:gd name="connsiteY17" fmla="*/ 2910651 h 2959949"/>
                  <a:gd name="connsiteX18" fmla="*/ 1009986 w 1414520"/>
                  <a:gd name="connsiteY18" fmla="*/ 2828211 h 2959949"/>
                  <a:gd name="connsiteX19" fmla="*/ 940330 w 1414520"/>
                  <a:gd name="connsiteY19" fmla="*/ 2580488 h 2959949"/>
                  <a:gd name="connsiteX20" fmla="*/ 838376 w 1414520"/>
                  <a:gd name="connsiteY20" fmla="*/ 1947699 h 2959949"/>
                  <a:gd name="connsiteX21" fmla="*/ 801112 w 1414520"/>
                  <a:gd name="connsiteY21" fmla="*/ 1632109 h 2959949"/>
                  <a:gd name="connsiteX22" fmla="*/ 750929 w 1414520"/>
                  <a:gd name="connsiteY22" fmla="*/ 1212955 h 2959949"/>
                  <a:gd name="connsiteX23" fmla="*/ 695915 w 1414520"/>
                  <a:gd name="connsiteY23" fmla="*/ 895734 h 2959949"/>
                  <a:gd name="connsiteX24" fmla="*/ 647363 w 1414520"/>
                  <a:gd name="connsiteY24" fmla="*/ 1081851 h 2959949"/>
                  <a:gd name="connsiteX25" fmla="*/ 614995 w 1414520"/>
                  <a:gd name="connsiteY25" fmla="*/ 1737305 h 2959949"/>
                  <a:gd name="connsiteX26" fmla="*/ 598811 w 1414520"/>
                  <a:gd name="connsiteY26" fmla="*/ 1874870 h 2959949"/>
                  <a:gd name="connsiteX27" fmla="*/ 631179 w 1414520"/>
                  <a:gd name="connsiteY27" fmla="*/ 2012435 h 2959949"/>
                  <a:gd name="connsiteX28" fmla="*/ 639271 w 1414520"/>
                  <a:gd name="connsiteY28" fmla="*/ 2506049 h 2959949"/>
                  <a:gd name="connsiteX29" fmla="*/ 687823 w 1414520"/>
                  <a:gd name="connsiteY29" fmla="*/ 2797362 h 2959949"/>
                  <a:gd name="connsiteX30" fmla="*/ 655455 w 1414520"/>
                  <a:gd name="connsiteY30" fmla="*/ 2854006 h 2959949"/>
                  <a:gd name="connsiteX31" fmla="*/ 419222 w 1414520"/>
                  <a:gd name="connsiteY31" fmla="*/ 2844327 h 2959949"/>
                  <a:gd name="connsiteX32" fmla="*/ 323682 w 1414520"/>
                  <a:gd name="connsiteY32" fmla="*/ 2764994 h 2959949"/>
                  <a:gd name="connsiteX33" fmla="*/ 226577 w 1414520"/>
                  <a:gd name="connsiteY33" fmla="*/ 2077171 h 2959949"/>
                  <a:gd name="connsiteX34" fmla="*/ 161841 w 1414520"/>
                  <a:gd name="connsiteY34" fmla="*/ 1818226 h 2959949"/>
                  <a:gd name="connsiteX35" fmla="*/ 137565 w 1414520"/>
                  <a:gd name="connsiteY35" fmla="*/ 1583557 h 2959949"/>
                  <a:gd name="connsiteX36" fmla="*/ 80921 w 1414520"/>
                  <a:gd name="connsiteY36" fmla="*/ 733893 h 2959949"/>
                  <a:gd name="connsiteX37" fmla="*/ 8092 w 1414520"/>
                  <a:gd name="connsiteY37" fmla="*/ 474948 h 2959949"/>
                  <a:gd name="connsiteX38" fmla="*/ 32369 w 1414520"/>
                  <a:gd name="connsiteY38" fmla="*/ 345475 h 2959949"/>
                  <a:gd name="connsiteX39" fmla="*/ 178025 w 1414520"/>
                  <a:gd name="connsiteY39" fmla="*/ 5610 h 2959949"/>
                  <a:gd name="connsiteX0" fmla="*/ 178025 w 1414520"/>
                  <a:gd name="connsiteY0" fmla="*/ 5610 h 2964163"/>
                  <a:gd name="connsiteX1" fmla="*/ 299406 w 1414520"/>
                  <a:gd name="connsiteY1" fmla="*/ 78438 h 2964163"/>
                  <a:gd name="connsiteX2" fmla="*/ 493615 w 1414520"/>
                  <a:gd name="connsiteY2" fmla="*/ 126990 h 2964163"/>
                  <a:gd name="connsiteX3" fmla="*/ 687823 w 1414520"/>
                  <a:gd name="connsiteY3" fmla="*/ 143174 h 2964163"/>
                  <a:gd name="connsiteX4" fmla="*/ 865848 w 1414520"/>
                  <a:gd name="connsiteY4" fmla="*/ 110806 h 2964163"/>
                  <a:gd name="connsiteX5" fmla="*/ 946769 w 1414520"/>
                  <a:gd name="connsiteY5" fmla="*/ 62254 h 2964163"/>
                  <a:gd name="connsiteX6" fmla="*/ 1181438 w 1414520"/>
                  <a:gd name="connsiteY6" fmla="*/ 264555 h 2964163"/>
                  <a:gd name="connsiteX7" fmla="*/ 1351370 w 1414520"/>
                  <a:gd name="connsiteY7" fmla="*/ 385935 h 2964163"/>
                  <a:gd name="connsiteX8" fmla="*/ 1327094 w 1414520"/>
                  <a:gd name="connsiteY8" fmla="*/ 491132 h 2964163"/>
                  <a:gd name="connsiteX9" fmla="*/ 1246174 w 1414520"/>
                  <a:gd name="connsiteY9" fmla="*/ 750077 h 2964163"/>
                  <a:gd name="connsiteX10" fmla="*/ 1221898 w 1414520"/>
                  <a:gd name="connsiteY10" fmla="*/ 1551189 h 2964163"/>
                  <a:gd name="connsiteX11" fmla="*/ 1262358 w 1414520"/>
                  <a:gd name="connsiteY11" fmla="*/ 1747097 h 2964163"/>
                  <a:gd name="connsiteX12" fmla="*/ 1294726 w 1414520"/>
                  <a:gd name="connsiteY12" fmla="*/ 2036711 h 2964163"/>
                  <a:gd name="connsiteX13" fmla="*/ 1338427 w 1414520"/>
                  <a:gd name="connsiteY13" fmla="*/ 2332987 h 2964163"/>
                  <a:gd name="connsiteX14" fmla="*/ 1367554 w 1414520"/>
                  <a:gd name="connsiteY14" fmla="*/ 2554601 h 2964163"/>
                  <a:gd name="connsiteX15" fmla="*/ 1346565 w 1414520"/>
                  <a:gd name="connsiteY15" fmla="*/ 2663016 h 2964163"/>
                  <a:gd name="connsiteX16" fmla="*/ 1398312 w 1414520"/>
                  <a:gd name="connsiteY16" fmla="*/ 2797474 h 2964163"/>
                  <a:gd name="connsiteX17" fmla="*/ 1414520 w 1414520"/>
                  <a:gd name="connsiteY17" fmla="*/ 2910651 h 2964163"/>
                  <a:gd name="connsiteX18" fmla="*/ 1009986 w 1414520"/>
                  <a:gd name="connsiteY18" fmla="*/ 2828211 h 2964163"/>
                  <a:gd name="connsiteX19" fmla="*/ 940330 w 1414520"/>
                  <a:gd name="connsiteY19" fmla="*/ 2580488 h 2964163"/>
                  <a:gd name="connsiteX20" fmla="*/ 838376 w 1414520"/>
                  <a:gd name="connsiteY20" fmla="*/ 1947699 h 2964163"/>
                  <a:gd name="connsiteX21" fmla="*/ 801112 w 1414520"/>
                  <a:gd name="connsiteY21" fmla="*/ 1632109 h 2964163"/>
                  <a:gd name="connsiteX22" fmla="*/ 750929 w 1414520"/>
                  <a:gd name="connsiteY22" fmla="*/ 1212955 h 2964163"/>
                  <a:gd name="connsiteX23" fmla="*/ 695915 w 1414520"/>
                  <a:gd name="connsiteY23" fmla="*/ 895734 h 2964163"/>
                  <a:gd name="connsiteX24" fmla="*/ 647363 w 1414520"/>
                  <a:gd name="connsiteY24" fmla="*/ 1081851 h 2964163"/>
                  <a:gd name="connsiteX25" fmla="*/ 614995 w 1414520"/>
                  <a:gd name="connsiteY25" fmla="*/ 1737305 h 2964163"/>
                  <a:gd name="connsiteX26" fmla="*/ 598811 w 1414520"/>
                  <a:gd name="connsiteY26" fmla="*/ 1874870 h 2964163"/>
                  <a:gd name="connsiteX27" fmla="*/ 631179 w 1414520"/>
                  <a:gd name="connsiteY27" fmla="*/ 2012435 h 2964163"/>
                  <a:gd name="connsiteX28" fmla="*/ 639271 w 1414520"/>
                  <a:gd name="connsiteY28" fmla="*/ 2506049 h 2964163"/>
                  <a:gd name="connsiteX29" fmla="*/ 687823 w 1414520"/>
                  <a:gd name="connsiteY29" fmla="*/ 2797362 h 2964163"/>
                  <a:gd name="connsiteX30" fmla="*/ 655455 w 1414520"/>
                  <a:gd name="connsiteY30" fmla="*/ 2854006 h 2964163"/>
                  <a:gd name="connsiteX31" fmla="*/ 419222 w 1414520"/>
                  <a:gd name="connsiteY31" fmla="*/ 2844327 h 2964163"/>
                  <a:gd name="connsiteX32" fmla="*/ 343130 w 1414520"/>
                  <a:gd name="connsiteY32" fmla="*/ 2855751 h 2964163"/>
                  <a:gd name="connsiteX33" fmla="*/ 226577 w 1414520"/>
                  <a:gd name="connsiteY33" fmla="*/ 2077171 h 2964163"/>
                  <a:gd name="connsiteX34" fmla="*/ 161841 w 1414520"/>
                  <a:gd name="connsiteY34" fmla="*/ 1818226 h 2964163"/>
                  <a:gd name="connsiteX35" fmla="*/ 137565 w 1414520"/>
                  <a:gd name="connsiteY35" fmla="*/ 1583557 h 2964163"/>
                  <a:gd name="connsiteX36" fmla="*/ 80921 w 1414520"/>
                  <a:gd name="connsiteY36" fmla="*/ 733893 h 2964163"/>
                  <a:gd name="connsiteX37" fmla="*/ 8092 w 1414520"/>
                  <a:gd name="connsiteY37" fmla="*/ 474948 h 2964163"/>
                  <a:gd name="connsiteX38" fmla="*/ 32369 w 1414520"/>
                  <a:gd name="connsiteY38" fmla="*/ 345475 h 2964163"/>
                  <a:gd name="connsiteX39" fmla="*/ 178025 w 1414520"/>
                  <a:gd name="connsiteY39" fmla="*/ 5610 h 2964163"/>
                  <a:gd name="connsiteX0" fmla="*/ 178025 w 1414520"/>
                  <a:gd name="connsiteY0" fmla="*/ 5610 h 2959949"/>
                  <a:gd name="connsiteX1" fmla="*/ 299406 w 1414520"/>
                  <a:gd name="connsiteY1" fmla="*/ 78438 h 2959949"/>
                  <a:gd name="connsiteX2" fmla="*/ 493615 w 1414520"/>
                  <a:gd name="connsiteY2" fmla="*/ 126990 h 2959949"/>
                  <a:gd name="connsiteX3" fmla="*/ 687823 w 1414520"/>
                  <a:gd name="connsiteY3" fmla="*/ 143174 h 2959949"/>
                  <a:gd name="connsiteX4" fmla="*/ 865848 w 1414520"/>
                  <a:gd name="connsiteY4" fmla="*/ 110806 h 2959949"/>
                  <a:gd name="connsiteX5" fmla="*/ 946769 w 1414520"/>
                  <a:gd name="connsiteY5" fmla="*/ 62254 h 2959949"/>
                  <a:gd name="connsiteX6" fmla="*/ 1181438 w 1414520"/>
                  <a:gd name="connsiteY6" fmla="*/ 264555 h 2959949"/>
                  <a:gd name="connsiteX7" fmla="*/ 1351370 w 1414520"/>
                  <a:gd name="connsiteY7" fmla="*/ 385935 h 2959949"/>
                  <a:gd name="connsiteX8" fmla="*/ 1327094 w 1414520"/>
                  <a:gd name="connsiteY8" fmla="*/ 491132 h 2959949"/>
                  <a:gd name="connsiteX9" fmla="*/ 1246174 w 1414520"/>
                  <a:gd name="connsiteY9" fmla="*/ 750077 h 2959949"/>
                  <a:gd name="connsiteX10" fmla="*/ 1221898 w 1414520"/>
                  <a:gd name="connsiteY10" fmla="*/ 1551189 h 2959949"/>
                  <a:gd name="connsiteX11" fmla="*/ 1262358 w 1414520"/>
                  <a:gd name="connsiteY11" fmla="*/ 1747097 h 2959949"/>
                  <a:gd name="connsiteX12" fmla="*/ 1294726 w 1414520"/>
                  <a:gd name="connsiteY12" fmla="*/ 2036711 h 2959949"/>
                  <a:gd name="connsiteX13" fmla="*/ 1338427 w 1414520"/>
                  <a:gd name="connsiteY13" fmla="*/ 2332987 h 2959949"/>
                  <a:gd name="connsiteX14" fmla="*/ 1367554 w 1414520"/>
                  <a:gd name="connsiteY14" fmla="*/ 2554601 h 2959949"/>
                  <a:gd name="connsiteX15" fmla="*/ 1346565 w 1414520"/>
                  <a:gd name="connsiteY15" fmla="*/ 2663016 h 2959949"/>
                  <a:gd name="connsiteX16" fmla="*/ 1398312 w 1414520"/>
                  <a:gd name="connsiteY16" fmla="*/ 2797474 h 2959949"/>
                  <a:gd name="connsiteX17" fmla="*/ 1414520 w 1414520"/>
                  <a:gd name="connsiteY17" fmla="*/ 2910651 h 2959949"/>
                  <a:gd name="connsiteX18" fmla="*/ 1009986 w 1414520"/>
                  <a:gd name="connsiteY18" fmla="*/ 2828211 h 2959949"/>
                  <a:gd name="connsiteX19" fmla="*/ 940330 w 1414520"/>
                  <a:gd name="connsiteY19" fmla="*/ 2580488 h 2959949"/>
                  <a:gd name="connsiteX20" fmla="*/ 838376 w 1414520"/>
                  <a:gd name="connsiteY20" fmla="*/ 1947699 h 2959949"/>
                  <a:gd name="connsiteX21" fmla="*/ 801112 w 1414520"/>
                  <a:gd name="connsiteY21" fmla="*/ 1632109 h 2959949"/>
                  <a:gd name="connsiteX22" fmla="*/ 750929 w 1414520"/>
                  <a:gd name="connsiteY22" fmla="*/ 1212955 h 2959949"/>
                  <a:gd name="connsiteX23" fmla="*/ 695915 w 1414520"/>
                  <a:gd name="connsiteY23" fmla="*/ 895734 h 2959949"/>
                  <a:gd name="connsiteX24" fmla="*/ 647363 w 1414520"/>
                  <a:gd name="connsiteY24" fmla="*/ 1081851 h 2959949"/>
                  <a:gd name="connsiteX25" fmla="*/ 614995 w 1414520"/>
                  <a:gd name="connsiteY25" fmla="*/ 1737305 h 2959949"/>
                  <a:gd name="connsiteX26" fmla="*/ 598811 w 1414520"/>
                  <a:gd name="connsiteY26" fmla="*/ 1874870 h 2959949"/>
                  <a:gd name="connsiteX27" fmla="*/ 631179 w 1414520"/>
                  <a:gd name="connsiteY27" fmla="*/ 2012435 h 2959949"/>
                  <a:gd name="connsiteX28" fmla="*/ 639271 w 1414520"/>
                  <a:gd name="connsiteY28" fmla="*/ 2506049 h 2959949"/>
                  <a:gd name="connsiteX29" fmla="*/ 687823 w 1414520"/>
                  <a:gd name="connsiteY29" fmla="*/ 2797362 h 2959949"/>
                  <a:gd name="connsiteX30" fmla="*/ 655455 w 1414520"/>
                  <a:gd name="connsiteY30" fmla="*/ 2854006 h 2959949"/>
                  <a:gd name="connsiteX31" fmla="*/ 419222 w 1414520"/>
                  <a:gd name="connsiteY31" fmla="*/ 2844327 h 2959949"/>
                  <a:gd name="connsiteX32" fmla="*/ 343130 w 1414520"/>
                  <a:gd name="connsiteY32" fmla="*/ 2855751 h 2959949"/>
                  <a:gd name="connsiteX33" fmla="*/ 226577 w 1414520"/>
                  <a:gd name="connsiteY33" fmla="*/ 2077171 h 2959949"/>
                  <a:gd name="connsiteX34" fmla="*/ 161841 w 1414520"/>
                  <a:gd name="connsiteY34" fmla="*/ 1818226 h 2959949"/>
                  <a:gd name="connsiteX35" fmla="*/ 137565 w 1414520"/>
                  <a:gd name="connsiteY35" fmla="*/ 1583557 h 2959949"/>
                  <a:gd name="connsiteX36" fmla="*/ 80921 w 1414520"/>
                  <a:gd name="connsiteY36" fmla="*/ 733893 h 2959949"/>
                  <a:gd name="connsiteX37" fmla="*/ 8092 w 1414520"/>
                  <a:gd name="connsiteY37" fmla="*/ 474948 h 2959949"/>
                  <a:gd name="connsiteX38" fmla="*/ 32369 w 1414520"/>
                  <a:gd name="connsiteY38" fmla="*/ 345475 h 2959949"/>
                  <a:gd name="connsiteX39" fmla="*/ 178025 w 1414520"/>
                  <a:gd name="connsiteY39" fmla="*/ 5610 h 2959949"/>
                  <a:gd name="connsiteX0" fmla="*/ 178025 w 1414520"/>
                  <a:gd name="connsiteY0" fmla="*/ 5610 h 2959949"/>
                  <a:gd name="connsiteX1" fmla="*/ 299406 w 1414520"/>
                  <a:gd name="connsiteY1" fmla="*/ 78438 h 2959949"/>
                  <a:gd name="connsiteX2" fmla="*/ 493615 w 1414520"/>
                  <a:gd name="connsiteY2" fmla="*/ 126990 h 2959949"/>
                  <a:gd name="connsiteX3" fmla="*/ 687823 w 1414520"/>
                  <a:gd name="connsiteY3" fmla="*/ 143174 h 2959949"/>
                  <a:gd name="connsiteX4" fmla="*/ 865848 w 1414520"/>
                  <a:gd name="connsiteY4" fmla="*/ 110806 h 2959949"/>
                  <a:gd name="connsiteX5" fmla="*/ 946769 w 1414520"/>
                  <a:gd name="connsiteY5" fmla="*/ 62254 h 2959949"/>
                  <a:gd name="connsiteX6" fmla="*/ 1181438 w 1414520"/>
                  <a:gd name="connsiteY6" fmla="*/ 264555 h 2959949"/>
                  <a:gd name="connsiteX7" fmla="*/ 1351370 w 1414520"/>
                  <a:gd name="connsiteY7" fmla="*/ 385935 h 2959949"/>
                  <a:gd name="connsiteX8" fmla="*/ 1327094 w 1414520"/>
                  <a:gd name="connsiteY8" fmla="*/ 491132 h 2959949"/>
                  <a:gd name="connsiteX9" fmla="*/ 1246174 w 1414520"/>
                  <a:gd name="connsiteY9" fmla="*/ 750077 h 2959949"/>
                  <a:gd name="connsiteX10" fmla="*/ 1221898 w 1414520"/>
                  <a:gd name="connsiteY10" fmla="*/ 1551189 h 2959949"/>
                  <a:gd name="connsiteX11" fmla="*/ 1262358 w 1414520"/>
                  <a:gd name="connsiteY11" fmla="*/ 1747097 h 2959949"/>
                  <a:gd name="connsiteX12" fmla="*/ 1294726 w 1414520"/>
                  <a:gd name="connsiteY12" fmla="*/ 2036711 h 2959949"/>
                  <a:gd name="connsiteX13" fmla="*/ 1338427 w 1414520"/>
                  <a:gd name="connsiteY13" fmla="*/ 2332987 h 2959949"/>
                  <a:gd name="connsiteX14" fmla="*/ 1367554 w 1414520"/>
                  <a:gd name="connsiteY14" fmla="*/ 2554601 h 2959949"/>
                  <a:gd name="connsiteX15" fmla="*/ 1346565 w 1414520"/>
                  <a:gd name="connsiteY15" fmla="*/ 2663016 h 2959949"/>
                  <a:gd name="connsiteX16" fmla="*/ 1398312 w 1414520"/>
                  <a:gd name="connsiteY16" fmla="*/ 2797474 h 2959949"/>
                  <a:gd name="connsiteX17" fmla="*/ 1414520 w 1414520"/>
                  <a:gd name="connsiteY17" fmla="*/ 2910651 h 2959949"/>
                  <a:gd name="connsiteX18" fmla="*/ 1009986 w 1414520"/>
                  <a:gd name="connsiteY18" fmla="*/ 2828211 h 2959949"/>
                  <a:gd name="connsiteX19" fmla="*/ 940330 w 1414520"/>
                  <a:gd name="connsiteY19" fmla="*/ 2580488 h 2959949"/>
                  <a:gd name="connsiteX20" fmla="*/ 838376 w 1414520"/>
                  <a:gd name="connsiteY20" fmla="*/ 1947699 h 2959949"/>
                  <a:gd name="connsiteX21" fmla="*/ 801112 w 1414520"/>
                  <a:gd name="connsiteY21" fmla="*/ 1632109 h 2959949"/>
                  <a:gd name="connsiteX22" fmla="*/ 750929 w 1414520"/>
                  <a:gd name="connsiteY22" fmla="*/ 1212955 h 2959949"/>
                  <a:gd name="connsiteX23" fmla="*/ 695915 w 1414520"/>
                  <a:gd name="connsiteY23" fmla="*/ 895734 h 2959949"/>
                  <a:gd name="connsiteX24" fmla="*/ 647363 w 1414520"/>
                  <a:gd name="connsiteY24" fmla="*/ 1081851 h 2959949"/>
                  <a:gd name="connsiteX25" fmla="*/ 614995 w 1414520"/>
                  <a:gd name="connsiteY25" fmla="*/ 1737305 h 2959949"/>
                  <a:gd name="connsiteX26" fmla="*/ 598811 w 1414520"/>
                  <a:gd name="connsiteY26" fmla="*/ 1874870 h 2959949"/>
                  <a:gd name="connsiteX27" fmla="*/ 631179 w 1414520"/>
                  <a:gd name="connsiteY27" fmla="*/ 2012435 h 2959949"/>
                  <a:gd name="connsiteX28" fmla="*/ 639271 w 1414520"/>
                  <a:gd name="connsiteY28" fmla="*/ 2506049 h 2959949"/>
                  <a:gd name="connsiteX29" fmla="*/ 687823 w 1414520"/>
                  <a:gd name="connsiteY29" fmla="*/ 2797362 h 2959949"/>
                  <a:gd name="connsiteX30" fmla="*/ 655455 w 1414520"/>
                  <a:gd name="connsiteY30" fmla="*/ 2854006 h 2959949"/>
                  <a:gd name="connsiteX31" fmla="*/ 380326 w 1414520"/>
                  <a:gd name="connsiteY31" fmla="*/ 2912394 h 2959949"/>
                  <a:gd name="connsiteX32" fmla="*/ 343130 w 1414520"/>
                  <a:gd name="connsiteY32" fmla="*/ 2855751 h 2959949"/>
                  <a:gd name="connsiteX33" fmla="*/ 226577 w 1414520"/>
                  <a:gd name="connsiteY33" fmla="*/ 2077171 h 2959949"/>
                  <a:gd name="connsiteX34" fmla="*/ 161841 w 1414520"/>
                  <a:gd name="connsiteY34" fmla="*/ 1818226 h 2959949"/>
                  <a:gd name="connsiteX35" fmla="*/ 137565 w 1414520"/>
                  <a:gd name="connsiteY35" fmla="*/ 1583557 h 2959949"/>
                  <a:gd name="connsiteX36" fmla="*/ 80921 w 1414520"/>
                  <a:gd name="connsiteY36" fmla="*/ 733893 h 2959949"/>
                  <a:gd name="connsiteX37" fmla="*/ 8092 w 1414520"/>
                  <a:gd name="connsiteY37" fmla="*/ 474948 h 2959949"/>
                  <a:gd name="connsiteX38" fmla="*/ 32369 w 1414520"/>
                  <a:gd name="connsiteY38" fmla="*/ 345475 h 2959949"/>
                  <a:gd name="connsiteX39" fmla="*/ 178025 w 1414520"/>
                  <a:gd name="connsiteY39" fmla="*/ 5610 h 2959949"/>
                  <a:gd name="connsiteX0" fmla="*/ 178025 w 1414520"/>
                  <a:gd name="connsiteY0" fmla="*/ 5610 h 2959949"/>
                  <a:gd name="connsiteX1" fmla="*/ 299406 w 1414520"/>
                  <a:gd name="connsiteY1" fmla="*/ 78438 h 2959949"/>
                  <a:gd name="connsiteX2" fmla="*/ 493615 w 1414520"/>
                  <a:gd name="connsiteY2" fmla="*/ 126990 h 2959949"/>
                  <a:gd name="connsiteX3" fmla="*/ 687823 w 1414520"/>
                  <a:gd name="connsiteY3" fmla="*/ 143174 h 2959949"/>
                  <a:gd name="connsiteX4" fmla="*/ 865848 w 1414520"/>
                  <a:gd name="connsiteY4" fmla="*/ 110806 h 2959949"/>
                  <a:gd name="connsiteX5" fmla="*/ 946769 w 1414520"/>
                  <a:gd name="connsiteY5" fmla="*/ 62254 h 2959949"/>
                  <a:gd name="connsiteX6" fmla="*/ 1181438 w 1414520"/>
                  <a:gd name="connsiteY6" fmla="*/ 264555 h 2959949"/>
                  <a:gd name="connsiteX7" fmla="*/ 1351370 w 1414520"/>
                  <a:gd name="connsiteY7" fmla="*/ 385935 h 2959949"/>
                  <a:gd name="connsiteX8" fmla="*/ 1327094 w 1414520"/>
                  <a:gd name="connsiteY8" fmla="*/ 491132 h 2959949"/>
                  <a:gd name="connsiteX9" fmla="*/ 1246174 w 1414520"/>
                  <a:gd name="connsiteY9" fmla="*/ 750077 h 2959949"/>
                  <a:gd name="connsiteX10" fmla="*/ 1221898 w 1414520"/>
                  <a:gd name="connsiteY10" fmla="*/ 1551189 h 2959949"/>
                  <a:gd name="connsiteX11" fmla="*/ 1262358 w 1414520"/>
                  <a:gd name="connsiteY11" fmla="*/ 1747097 h 2959949"/>
                  <a:gd name="connsiteX12" fmla="*/ 1294726 w 1414520"/>
                  <a:gd name="connsiteY12" fmla="*/ 2036711 h 2959949"/>
                  <a:gd name="connsiteX13" fmla="*/ 1338427 w 1414520"/>
                  <a:gd name="connsiteY13" fmla="*/ 2332987 h 2959949"/>
                  <a:gd name="connsiteX14" fmla="*/ 1367554 w 1414520"/>
                  <a:gd name="connsiteY14" fmla="*/ 2554601 h 2959949"/>
                  <a:gd name="connsiteX15" fmla="*/ 1346565 w 1414520"/>
                  <a:gd name="connsiteY15" fmla="*/ 2663016 h 2959949"/>
                  <a:gd name="connsiteX16" fmla="*/ 1398312 w 1414520"/>
                  <a:gd name="connsiteY16" fmla="*/ 2797474 h 2959949"/>
                  <a:gd name="connsiteX17" fmla="*/ 1414520 w 1414520"/>
                  <a:gd name="connsiteY17" fmla="*/ 2910651 h 2959949"/>
                  <a:gd name="connsiteX18" fmla="*/ 1009986 w 1414520"/>
                  <a:gd name="connsiteY18" fmla="*/ 2828211 h 2959949"/>
                  <a:gd name="connsiteX19" fmla="*/ 940330 w 1414520"/>
                  <a:gd name="connsiteY19" fmla="*/ 2580488 h 2959949"/>
                  <a:gd name="connsiteX20" fmla="*/ 838376 w 1414520"/>
                  <a:gd name="connsiteY20" fmla="*/ 1947699 h 2959949"/>
                  <a:gd name="connsiteX21" fmla="*/ 801112 w 1414520"/>
                  <a:gd name="connsiteY21" fmla="*/ 1632109 h 2959949"/>
                  <a:gd name="connsiteX22" fmla="*/ 750929 w 1414520"/>
                  <a:gd name="connsiteY22" fmla="*/ 1212955 h 2959949"/>
                  <a:gd name="connsiteX23" fmla="*/ 695915 w 1414520"/>
                  <a:gd name="connsiteY23" fmla="*/ 895734 h 2959949"/>
                  <a:gd name="connsiteX24" fmla="*/ 647363 w 1414520"/>
                  <a:gd name="connsiteY24" fmla="*/ 1081851 h 2959949"/>
                  <a:gd name="connsiteX25" fmla="*/ 614995 w 1414520"/>
                  <a:gd name="connsiteY25" fmla="*/ 1737305 h 2959949"/>
                  <a:gd name="connsiteX26" fmla="*/ 598811 w 1414520"/>
                  <a:gd name="connsiteY26" fmla="*/ 1874870 h 2959949"/>
                  <a:gd name="connsiteX27" fmla="*/ 631179 w 1414520"/>
                  <a:gd name="connsiteY27" fmla="*/ 2012435 h 2959949"/>
                  <a:gd name="connsiteX28" fmla="*/ 639271 w 1414520"/>
                  <a:gd name="connsiteY28" fmla="*/ 2506049 h 2959949"/>
                  <a:gd name="connsiteX29" fmla="*/ 687823 w 1414520"/>
                  <a:gd name="connsiteY29" fmla="*/ 2797362 h 2959949"/>
                  <a:gd name="connsiteX30" fmla="*/ 655455 w 1414520"/>
                  <a:gd name="connsiteY30" fmla="*/ 2854006 h 2959949"/>
                  <a:gd name="connsiteX31" fmla="*/ 380326 w 1414520"/>
                  <a:gd name="connsiteY31" fmla="*/ 2912394 h 2959949"/>
                  <a:gd name="connsiteX32" fmla="*/ 343130 w 1414520"/>
                  <a:gd name="connsiteY32" fmla="*/ 2855751 h 2959949"/>
                  <a:gd name="connsiteX33" fmla="*/ 226577 w 1414520"/>
                  <a:gd name="connsiteY33" fmla="*/ 2077171 h 2959949"/>
                  <a:gd name="connsiteX34" fmla="*/ 161841 w 1414520"/>
                  <a:gd name="connsiteY34" fmla="*/ 1818226 h 2959949"/>
                  <a:gd name="connsiteX35" fmla="*/ 137565 w 1414520"/>
                  <a:gd name="connsiteY35" fmla="*/ 1583557 h 2959949"/>
                  <a:gd name="connsiteX36" fmla="*/ 80921 w 1414520"/>
                  <a:gd name="connsiteY36" fmla="*/ 733893 h 2959949"/>
                  <a:gd name="connsiteX37" fmla="*/ 8092 w 1414520"/>
                  <a:gd name="connsiteY37" fmla="*/ 474948 h 2959949"/>
                  <a:gd name="connsiteX38" fmla="*/ 32369 w 1414520"/>
                  <a:gd name="connsiteY38" fmla="*/ 345475 h 2959949"/>
                  <a:gd name="connsiteX39" fmla="*/ 178025 w 1414520"/>
                  <a:gd name="connsiteY39" fmla="*/ 5610 h 2959949"/>
                  <a:gd name="connsiteX0" fmla="*/ 178025 w 1414520"/>
                  <a:gd name="connsiteY0" fmla="*/ 5610 h 2959949"/>
                  <a:gd name="connsiteX1" fmla="*/ 299406 w 1414520"/>
                  <a:gd name="connsiteY1" fmla="*/ 78438 h 2959949"/>
                  <a:gd name="connsiteX2" fmla="*/ 493615 w 1414520"/>
                  <a:gd name="connsiteY2" fmla="*/ 126990 h 2959949"/>
                  <a:gd name="connsiteX3" fmla="*/ 687823 w 1414520"/>
                  <a:gd name="connsiteY3" fmla="*/ 143174 h 2959949"/>
                  <a:gd name="connsiteX4" fmla="*/ 865848 w 1414520"/>
                  <a:gd name="connsiteY4" fmla="*/ 110806 h 2959949"/>
                  <a:gd name="connsiteX5" fmla="*/ 946769 w 1414520"/>
                  <a:gd name="connsiteY5" fmla="*/ 62254 h 2959949"/>
                  <a:gd name="connsiteX6" fmla="*/ 1181438 w 1414520"/>
                  <a:gd name="connsiteY6" fmla="*/ 264555 h 2959949"/>
                  <a:gd name="connsiteX7" fmla="*/ 1351370 w 1414520"/>
                  <a:gd name="connsiteY7" fmla="*/ 385935 h 2959949"/>
                  <a:gd name="connsiteX8" fmla="*/ 1327094 w 1414520"/>
                  <a:gd name="connsiteY8" fmla="*/ 491132 h 2959949"/>
                  <a:gd name="connsiteX9" fmla="*/ 1246174 w 1414520"/>
                  <a:gd name="connsiteY9" fmla="*/ 750077 h 2959949"/>
                  <a:gd name="connsiteX10" fmla="*/ 1221898 w 1414520"/>
                  <a:gd name="connsiteY10" fmla="*/ 1551189 h 2959949"/>
                  <a:gd name="connsiteX11" fmla="*/ 1262358 w 1414520"/>
                  <a:gd name="connsiteY11" fmla="*/ 1747097 h 2959949"/>
                  <a:gd name="connsiteX12" fmla="*/ 1294726 w 1414520"/>
                  <a:gd name="connsiteY12" fmla="*/ 2036711 h 2959949"/>
                  <a:gd name="connsiteX13" fmla="*/ 1338427 w 1414520"/>
                  <a:gd name="connsiteY13" fmla="*/ 2332987 h 2959949"/>
                  <a:gd name="connsiteX14" fmla="*/ 1367554 w 1414520"/>
                  <a:gd name="connsiteY14" fmla="*/ 2554601 h 2959949"/>
                  <a:gd name="connsiteX15" fmla="*/ 1346565 w 1414520"/>
                  <a:gd name="connsiteY15" fmla="*/ 2663016 h 2959949"/>
                  <a:gd name="connsiteX16" fmla="*/ 1398312 w 1414520"/>
                  <a:gd name="connsiteY16" fmla="*/ 2797474 h 2959949"/>
                  <a:gd name="connsiteX17" fmla="*/ 1414520 w 1414520"/>
                  <a:gd name="connsiteY17" fmla="*/ 2910651 h 2959949"/>
                  <a:gd name="connsiteX18" fmla="*/ 1009986 w 1414520"/>
                  <a:gd name="connsiteY18" fmla="*/ 2828211 h 2959949"/>
                  <a:gd name="connsiteX19" fmla="*/ 940330 w 1414520"/>
                  <a:gd name="connsiteY19" fmla="*/ 2580488 h 2959949"/>
                  <a:gd name="connsiteX20" fmla="*/ 838376 w 1414520"/>
                  <a:gd name="connsiteY20" fmla="*/ 1947699 h 2959949"/>
                  <a:gd name="connsiteX21" fmla="*/ 801112 w 1414520"/>
                  <a:gd name="connsiteY21" fmla="*/ 1632109 h 2959949"/>
                  <a:gd name="connsiteX22" fmla="*/ 750929 w 1414520"/>
                  <a:gd name="connsiteY22" fmla="*/ 1212955 h 2959949"/>
                  <a:gd name="connsiteX23" fmla="*/ 695915 w 1414520"/>
                  <a:gd name="connsiteY23" fmla="*/ 895734 h 2959949"/>
                  <a:gd name="connsiteX24" fmla="*/ 647363 w 1414520"/>
                  <a:gd name="connsiteY24" fmla="*/ 1081851 h 2959949"/>
                  <a:gd name="connsiteX25" fmla="*/ 614995 w 1414520"/>
                  <a:gd name="connsiteY25" fmla="*/ 1737305 h 2959949"/>
                  <a:gd name="connsiteX26" fmla="*/ 598811 w 1414520"/>
                  <a:gd name="connsiteY26" fmla="*/ 1874870 h 2959949"/>
                  <a:gd name="connsiteX27" fmla="*/ 631179 w 1414520"/>
                  <a:gd name="connsiteY27" fmla="*/ 2012435 h 2959949"/>
                  <a:gd name="connsiteX28" fmla="*/ 639271 w 1414520"/>
                  <a:gd name="connsiteY28" fmla="*/ 2506049 h 2959949"/>
                  <a:gd name="connsiteX29" fmla="*/ 687823 w 1414520"/>
                  <a:gd name="connsiteY29" fmla="*/ 2797362 h 2959949"/>
                  <a:gd name="connsiteX30" fmla="*/ 652214 w 1414520"/>
                  <a:gd name="connsiteY30" fmla="*/ 2886419 h 2959949"/>
                  <a:gd name="connsiteX31" fmla="*/ 380326 w 1414520"/>
                  <a:gd name="connsiteY31" fmla="*/ 2912394 h 2959949"/>
                  <a:gd name="connsiteX32" fmla="*/ 343130 w 1414520"/>
                  <a:gd name="connsiteY32" fmla="*/ 2855751 h 2959949"/>
                  <a:gd name="connsiteX33" fmla="*/ 226577 w 1414520"/>
                  <a:gd name="connsiteY33" fmla="*/ 2077171 h 2959949"/>
                  <a:gd name="connsiteX34" fmla="*/ 161841 w 1414520"/>
                  <a:gd name="connsiteY34" fmla="*/ 1818226 h 2959949"/>
                  <a:gd name="connsiteX35" fmla="*/ 137565 w 1414520"/>
                  <a:gd name="connsiteY35" fmla="*/ 1583557 h 2959949"/>
                  <a:gd name="connsiteX36" fmla="*/ 80921 w 1414520"/>
                  <a:gd name="connsiteY36" fmla="*/ 733893 h 2959949"/>
                  <a:gd name="connsiteX37" fmla="*/ 8092 w 1414520"/>
                  <a:gd name="connsiteY37" fmla="*/ 474948 h 2959949"/>
                  <a:gd name="connsiteX38" fmla="*/ 32369 w 1414520"/>
                  <a:gd name="connsiteY38" fmla="*/ 345475 h 2959949"/>
                  <a:gd name="connsiteX39" fmla="*/ 178025 w 1414520"/>
                  <a:gd name="connsiteY39" fmla="*/ 5610 h 2959949"/>
                  <a:gd name="connsiteX0" fmla="*/ 178025 w 1414520"/>
                  <a:gd name="connsiteY0" fmla="*/ 5610 h 2959949"/>
                  <a:gd name="connsiteX1" fmla="*/ 299406 w 1414520"/>
                  <a:gd name="connsiteY1" fmla="*/ 78438 h 2959949"/>
                  <a:gd name="connsiteX2" fmla="*/ 493615 w 1414520"/>
                  <a:gd name="connsiteY2" fmla="*/ 126990 h 2959949"/>
                  <a:gd name="connsiteX3" fmla="*/ 687823 w 1414520"/>
                  <a:gd name="connsiteY3" fmla="*/ 143174 h 2959949"/>
                  <a:gd name="connsiteX4" fmla="*/ 865848 w 1414520"/>
                  <a:gd name="connsiteY4" fmla="*/ 110806 h 2959949"/>
                  <a:gd name="connsiteX5" fmla="*/ 946769 w 1414520"/>
                  <a:gd name="connsiteY5" fmla="*/ 62254 h 2959949"/>
                  <a:gd name="connsiteX6" fmla="*/ 1181438 w 1414520"/>
                  <a:gd name="connsiteY6" fmla="*/ 264555 h 2959949"/>
                  <a:gd name="connsiteX7" fmla="*/ 1351370 w 1414520"/>
                  <a:gd name="connsiteY7" fmla="*/ 385935 h 2959949"/>
                  <a:gd name="connsiteX8" fmla="*/ 1327094 w 1414520"/>
                  <a:gd name="connsiteY8" fmla="*/ 491132 h 2959949"/>
                  <a:gd name="connsiteX9" fmla="*/ 1246174 w 1414520"/>
                  <a:gd name="connsiteY9" fmla="*/ 750077 h 2959949"/>
                  <a:gd name="connsiteX10" fmla="*/ 1221898 w 1414520"/>
                  <a:gd name="connsiteY10" fmla="*/ 1551189 h 2959949"/>
                  <a:gd name="connsiteX11" fmla="*/ 1262358 w 1414520"/>
                  <a:gd name="connsiteY11" fmla="*/ 1747097 h 2959949"/>
                  <a:gd name="connsiteX12" fmla="*/ 1294726 w 1414520"/>
                  <a:gd name="connsiteY12" fmla="*/ 2036711 h 2959949"/>
                  <a:gd name="connsiteX13" fmla="*/ 1338427 w 1414520"/>
                  <a:gd name="connsiteY13" fmla="*/ 2332987 h 2959949"/>
                  <a:gd name="connsiteX14" fmla="*/ 1367554 w 1414520"/>
                  <a:gd name="connsiteY14" fmla="*/ 2554601 h 2959949"/>
                  <a:gd name="connsiteX15" fmla="*/ 1346565 w 1414520"/>
                  <a:gd name="connsiteY15" fmla="*/ 2663016 h 2959949"/>
                  <a:gd name="connsiteX16" fmla="*/ 1398312 w 1414520"/>
                  <a:gd name="connsiteY16" fmla="*/ 2797474 h 2959949"/>
                  <a:gd name="connsiteX17" fmla="*/ 1414520 w 1414520"/>
                  <a:gd name="connsiteY17" fmla="*/ 2910651 h 2959949"/>
                  <a:gd name="connsiteX18" fmla="*/ 1009986 w 1414520"/>
                  <a:gd name="connsiteY18" fmla="*/ 2828211 h 2959949"/>
                  <a:gd name="connsiteX19" fmla="*/ 940330 w 1414520"/>
                  <a:gd name="connsiteY19" fmla="*/ 2580488 h 2959949"/>
                  <a:gd name="connsiteX20" fmla="*/ 838376 w 1414520"/>
                  <a:gd name="connsiteY20" fmla="*/ 1947699 h 2959949"/>
                  <a:gd name="connsiteX21" fmla="*/ 801112 w 1414520"/>
                  <a:gd name="connsiteY21" fmla="*/ 1632109 h 2959949"/>
                  <a:gd name="connsiteX22" fmla="*/ 750929 w 1414520"/>
                  <a:gd name="connsiteY22" fmla="*/ 1212955 h 2959949"/>
                  <a:gd name="connsiteX23" fmla="*/ 695915 w 1414520"/>
                  <a:gd name="connsiteY23" fmla="*/ 895734 h 2959949"/>
                  <a:gd name="connsiteX24" fmla="*/ 647363 w 1414520"/>
                  <a:gd name="connsiteY24" fmla="*/ 1081851 h 2959949"/>
                  <a:gd name="connsiteX25" fmla="*/ 614995 w 1414520"/>
                  <a:gd name="connsiteY25" fmla="*/ 1737305 h 2959949"/>
                  <a:gd name="connsiteX26" fmla="*/ 598811 w 1414520"/>
                  <a:gd name="connsiteY26" fmla="*/ 1874870 h 2959949"/>
                  <a:gd name="connsiteX27" fmla="*/ 631179 w 1414520"/>
                  <a:gd name="connsiteY27" fmla="*/ 2012435 h 2959949"/>
                  <a:gd name="connsiteX28" fmla="*/ 665201 w 1414520"/>
                  <a:gd name="connsiteY28" fmla="*/ 2506049 h 2959949"/>
                  <a:gd name="connsiteX29" fmla="*/ 687823 w 1414520"/>
                  <a:gd name="connsiteY29" fmla="*/ 2797362 h 2959949"/>
                  <a:gd name="connsiteX30" fmla="*/ 652214 w 1414520"/>
                  <a:gd name="connsiteY30" fmla="*/ 2886419 h 2959949"/>
                  <a:gd name="connsiteX31" fmla="*/ 380326 w 1414520"/>
                  <a:gd name="connsiteY31" fmla="*/ 2912394 h 2959949"/>
                  <a:gd name="connsiteX32" fmla="*/ 343130 w 1414520"/>
                  <a:gd name="connsiteY32" fmla="*/ 2855751 h 2959949"/>
                  <a:gd name="connsiteX33" fmla="*/ 226577 w 1414520"/>
                  <a:gd name="connsiteY33" fmla="*/ 2077171 h 2959949"/>
                  <a:gd name="connsiteX34" fmla="*/ 161841 w 1414520"/>
                  <a:gd name="connsiteY34" fmla="*/ 1818226 h 2959949"/>
                  <a:gd name="connsiteX35" fmla="*/ 137565 w 1414520"/>
                  <a:gd name="connsiteY35" fmla="*/ 1583557 h 2959949"/>
                  <a:gd name="connsiteX36" fmla="*/ 80921 w 1414520"/>
                  <a:gd name="connsiteY36" fmla="*/ 733893 h 2959949"/>
                  <a:gd name="connsiteX37" fmla="*/ 8092 w 1414520"/>
                  <a:gd name="connsiteY37" fmla="*/ 474948 h 2959949"/>
                  <a:gd name="connsiteX38" fmla="*/ 32369 w 1414520"/>
                  <a:gd name="connsiteY38" fmla="*/ 345475 h 2959949"/>
                  <a:gd name="connsiteX39" fmla="*/ 178025 w 1414520"/>
                  <a:gd name="connsiteY39" fmla="*/ 5610 h 2959949"/>
                  <a:gd name="connsiteX0" fmla="*/ 178025 w 1414520"/>
                  <a:gd name="connsiteY0" fmla="*/ 5610 h 2959949"/>
                  <a:gd name="connsiteX1" fmla="*/ 299406 w 1414520"/>
                  <a:gd name="connsiteY1" fmla="*/ 78438 h 2959949"/>
                  <a:gd name="connsiteX2" fmla="*/ 493615 w 1414520"/>
                  <a:gd name="connsiteY2" fmla="*/ 126990 h 2959949"/>
                  <a:gd name="connsiteX3" fmla="*/ 687823 w 1414520"/>
                  <a:gd name="connsiteY3" fmla="*/ 143174 h 2959949"/>
                  <a:gd name="connsiteX4" fmla="*/ 865848 w 1414520"/>
                  <a:gd name="connsiteY4" fmla="*/ 110806 h 2959949"/>
                  <a:gd name="connsiteX5" fmla="*/ 946769 w 1414520"/>
                  <a:gd name="connsiteY5" fmla="*/ 62254 h 2959949"/>
                  <a:gd name="connsiteX6" fmla="*/ 1181438 w 1414520"/>
                  <a:gd name="connsiteY6" fmla="*/ 264555 h 2959949"/>
                  <a:gd name="connsiteX7" fmla="*/ 1351370 w 1414520"/>
                  <a:gd name="connsiteY7" fmla="*/ 385935 h 2959949"/>
                  <a:gd name="connsiteX8" fmla="*/ 1327094 w 1414520"/>
                  <a:gd name="connsiteY8" fmla="*/ 491132 h 2959949"/>
                  <a:gd name="connsiteX9" fmla="*/ 1246174 w 1414520"/>
                  <a:gd name="connsiteY9" fmla="*/ 750077 h 2959949"/>
                  <a:gd name="connsiteX10" fmla="*/ 1221898 w 1414520"/>
                  <a:gd name="connsiteY10" fmla="*/ 1551189 h 2959949"/>
                  <a:gd name="connsiteX11" fmla="*/ 1262358 w 1414520"/>
                  <a:gd name="connsiteY11" fmla="*/ 1747097 h 2959949"/>
                  <a:gd name="connsiteX12" fmla="*/ 1294726 w 1414520"/>
                  <a:gd name="connsiteY12" fmla="*/ 2036711 h 2959949"/>
                  <a:gd name="connsiteX13" fmla="*/ 1338427 w 1414520"/>
                  <a:gd name="connsiteY13" fmla="*/ 2332987 h 2959949"/>
                  <a:gd name="connsiteX14" fmla="*/ 1367554 w 1414520"/>
                  <a:gd name="connsiteY14" fmla="*/ 2554601 h 2959949"/>
                  <a:gd name="connsiteX15" fmla="*/ 1346565 w 1414520"/>
                  <a:gd name="connsiteY15" fmla="*/ 2663016 h 2959949"/>
                  <a:gd name="connsiteX16" fmla="*/ 1398312 w 1414520"/>
                  <a:gd name="connsiteY16" fmla="*/ 2797474 h 2959949"/>
                  <a:gd name="connsiteX17" fmla="*/ 1414520 w 1414520"/>
                  <a:gd name="connsiteY17" fmla="*/ 2910651 h 2959949"/>
                  <a:gd name="connsiteX18" fmla="*/ 1009986 w 1414520"/>
                  <a:gd name="connsiteY18" fmla="*/ 2828211 h 2959949"/>
                  <a:gd name="connsiteX19" fmla="*/ 940330 w 1414520"/>
                  <a:gd name="connsiteY19" fmla="*/ 2580488 h 2959949"/>
                  <a:gd name="connsiteX20" fmla="*/ 838376 w 1414520"/>
                  <a:gd name="connsiteY20" fmla="*/ 1947699 h 2959949"/>
                  <a:gd name="connsiteX21" fmla="*/ 801112 w 1414520"/>
                  <a:gd name="connsiteY21" fmla="*/ 1632109 h 2959949"/>
                  <a:gd name="connsiteX22" fmla="*/ 750929 w 1414520"/>
                  <a:gd name="connsiteY22" fmla="*/ 1212955 h 2959949"/>
                  <a:gd name="connsiteX23" fmla="*/ 695915 w 1414520"/>
                  <a:gd name="connsiteY23" fmla="*/ 895734 h 2959949"/>
                  <a:gd name="connsiteX24" fmla="*/ 647363 w 1414520"/>
                  <a:gd name="connsiteY24" fmla="*/ 1081851 h 2959949"/>
                  <a:gd name="connsiteX25" fmla="*/ 614995 w 1414520"/>
                  <a:gd name="connsiteY25" fmla="*/ 1737305 h 2959949"/>
                  <a:gd name="connsiteX26" fmla="*/ 598811 w 1414520"/>
                  <a:gd name="connsiteY26" fmla="*/ 1874870 h 2959949"/>
                  <a:gd name="connsiteX27" fmla="*/ 608490 w 1414520"/>
                  <a:gd name="connsiteY27" fmla="*/ 2038365 h 2959949"/>
                  <a:gd name="connsiteX28" fmla="*/ 665201 w 1414520"/>
                  <a:gd name="connsiteY28" fmla="*/ 2506049 h 2959949"/>
                  <a:gd name="connsiteX29" fmla="*/ 687823 w 1414520"/>
                  <a:gd name="connsiteY29" fmla="*/ 2797362 h 2959949"/>
                  <a:gd name="connsiteX30" fmla="*/ 652214 w 1414520"/>
                  <a:gd name="connsiteY30" fmla="*/ 2886419 h 2959949"/>
                  <a:gd name="connsiteX31" fmla="*/ 380326 w 1414520"/>
                  <a:gd name="connsiteY31" fmla="*/ 2912394 h 2959949"/>
                  <a:gd name="connsiteX32" fmla="*/ 343130 w 1414520"/>
                  <a:gd name="connsiteY32" fmla="*/ 2855751 h 2959949"/>
                  <a:gd name="connsiteX33" fmla="*/ 226577 w 1414520"/>
                  <a:gd name="connsiteY33" fmla="*/ 2077171 h 2959949"/>
                  <a:gd name="connsiteX34" fmla="*/ 161841 w 1414520"/>
                  <a:gd name="connsiteY34" fmla="*/ 1818226 h 2959949"/>
                  <a:gd name="connsiteX35" fmla="*/ 137565 w 1414520"/>
                  <a:gd name="connsiteY35" fmla="*/ 1583557 h 2959949"/>
                  <a:gd name="connsiteX36" fmla="*/ 80921 w 1414520"/>
                  <a:gd name="connsiteY36" fmla="*/ 733893 h 2959949"/>
                  <a:gd name="connsiteX37" fmla="*/ 8092 w 1414520"/>
                  <a:gd name="connsiteY37" fmla="*/ 474948 h 2959949"/>
                  <a:gd name="connsiteX38" fmla="*/ 32369 w 1414520"/>
                  <a:gd name="connsiteY38" fmla="*/ 345475 h 2959949"/>
                  <a:gd name="connsiteX39" fmla="*/ 178025 w 1414520"/>
                  <a:gd name="connsiteY39" fmla="*/ 5610 h 2959949"/>
                  <a:gd name="connsiteX0" fmla="*/ 178025 w 1414520"/>
                  <a:gd name="connsiteY0" fmla="*/ 5610 h 2959949"/>
                  <a:gd name="connsiteX1" fmla="*/ 299406 w 1414520"/>
                  <a:gd name="connsiteY1" fmla="*/ 78438 h 2959949"/>
                  <a:gd name="connsiteX2" fmla="*/ 493615 w 1414520"/>
                  <a:gd name="connsiteY2" fmla="*/ 126990 h 2959949"/>
                  <a:gd name="connsiteX3" fmla="*/ 687823 w 1414520"/>
                  <a:gd name="connsiteY3" fmla="*/ 143174 h 2959949"/>
                  <a:gd name="connsiteX4" fmla="*/ 865848 w 1414520"/>
                  <a:gd name="connsiteY4" fmla="*/ 110806 h 2959949"/>
                  <a:gd name="connsiteX5" fmla="*/ 946769 w 1414520"/>
                  <a:gd name="connsiteY5" fmla="*/ 62254 h 2959949"/>
                  <a:gd name="connsiteX6" fmla="*/ 1181438 w 1414520"/>
                  <a:gd name="connsiteY6" fmla="*/ 264555 h 2959949"/>
                  <a:gd name="connsiteX7" fmla="*/ 1351370 w 1414520"/>
                  <a:gd name="connsiteY7" fmla="*/ 385935 h 2959949"/>
                  <a:gd name="connsiteX8" fmla="*/ 1327094 w 1414520"/>
                  <a:gd name="connsiteY8" fmla="*/ 491132 h 2959949"/>
                  <a:gd name="connsiteX9" fmla="*/ 1246174 w 1414520"/>
                  <a:gd name="connsiteY9" fmla="*/ 750077 h 2959949"/>
                  <a:gd name="connsiteX10" fmla="*/ 1221898 w 1414520"/>
                  <a:gd name="connsiteY10" fmla="*/ 1551189 h 2959949"/>
                  <a:gd name="connsiteX11" fmla="*/ 1262358 w 1414520"/>
                  <a:gd name="connsiteY11" fmla="*/ 1747097 h 2959949"/>
                  <a:gd name="connsiteX12" fmla="*/ 1294726 w 1414520"/>
                  <a:gd name="connsiteY12" fmla="*/ 2036711 h 2959949"/>
                  <a:gd name="connsiteX13" fmla="*/ 1338427 w 1414520"/>
                  <a:gd name="connsiteY13" fmla="*/ 2332987 h 2959949"/>
                  <a:gd name="connsiteX14" fmla="*/ 1367554 w 1414520"/>
                  <a:gd name="connsiteY14" fmla="*/ 2554601 h 2959949"/>
                  <a:gd name="connsiteX15" fmla="*/ 1346565 w 1414520"/>
                  <a:gd name="connsiteY15" fmla="*/ 2663016 h 2959949"/>
                  <a:gd name="connsiteX16" fmla="*/ 1398312 w 1414520"/>
                  <a:gd name="connsiteY16" fmla="*/ 2797474 h 2959949"/>
                  <a:gd name="connsiteX17" fmla="*/ 1414520 w 1414520"/>
                  <a:gd name="connsiteY17" fmla="*/ 2910651 h 2959949"/>
                  <a:gd name="connsiteX18" fmla="*/ 1009986 w 1414520"/>
                  <a:gd name="connsiteY18" fmla="*/ 2828211 h 2959949"/>
                  <a:gd name="connsiteX19" fmla="*/ 940330 w 1414520"/>
                  <a:gd name="connsiteY19" fmla="*/ 2580488 h 2959949"/>
                  <a:gd name="connsiteX20" fmla="*/ 838376 w 1414520"/>
                  <a:gd name="connsiteY20" fmla="*/ 1947699 h 2959949"/>
                  <a:gd name="connsiteX21" fmla="*/ 801112 w 1414520"/>
                  <a:gd name="connsiteY21" fmla="*/ 1632109 h 2959949"/>
                  <a:gd name="connsiteX22" fmla="*/ 750929 w 1414520"/>
                  <a:gd name="connsiteY22" fmla="*/ 1212955 h 2959949"/>
                  <a:gd name="connsiteX23" fmla="*/ 695915 w 1414520"/>
                  <a:gd name="connsiteY23" fmla="*/ 895734 h 2959949"/>
                  <a:gd name="connsiteX24" fmla="*/ 647363 w 1414520"/>
                  <a:gd name="connsiteY24" fmla="*/ 1081851 h 2959949"/>
                  <a:gd name="connsiteX25" fmla="*/ 621478 w 1414520"/>
                  <a:gd name="connsiteY25" fmla="*/ 1669237 h 2959949"/>
                  <a:gd name="connsiteX26" fmla="*/ 598811 w 1414520"/>
                  <a:gd name="connsiteY26" fmla="*/ 1874870 h 2959949"/>
                  <a:gd name="connsiteX27" fmla="*/ 608490 w 1414520"/>
                  <a:gd name="connsiteY27" fmla="*/ 2038365 h 2959949"/>
                  <a:gd name="connsiteX28" fmla="*/ 665201 w 1414520"/>
                  <a:gd name="connsiteY28" fmla="*/ 2506049 h 2959949"/>
                  <a:gd name="connsiteX29" fmla="*/ 687823 w 1414520"/>
                  <a:gd name="connsiteY29" fmla="*/ 2797362 h 2959949"/>
                  <a:gd name="connsiteX30" fmla="*/ 652214 w 1414520"/>
                  <a:gd name="connsiteY30" fmla="*/ 2886419 h 2959949"/>
                  <a:gd name="connsiteX31" fmla="*/ 380326 w 1414520"/>
                  <a:gd name="connsiteY31" fmla="*/ 2912394 h 2959949"/>
                  <a:gd name="connsiteX32" fmla="*/ 343130 w 1414520"/>
                  <a:gd name="connsiteY32" fmla="*/ 2855751 h 2959949"/>
                  <a:gd name="connsiteX33" fmla="*/ 226577 w 1414520"/>
                  <a:gd name="connsiteY33" fmla="*/ 2077171 h 2959949"/>
                  <a:gd name="connsiteX34" fmla="*/ 161841 w 1414520"/>
                  <a:gd name="connsiteY34" fmla="*/ 1818226 h 2959949"/>
                  <a:gd name="connsiteX35" fmla="*/ 137565 w 1414520"/>
                  <a:gd name="connsiteY35" fmla="*/ 1583557 h 2959949"/>
                  <a:gd name="connsiteX36" fmla="*/ 80921 w 1414520"/>
                  <a:gd name="connsiteY36" fmla="*/ 733893 h 2959949"/>
                  <a:gd name="connsiteX37" fmla="*/ 8092 w 1414520"/>
                  <a:gd name="connsiteY37" fmla="*/ 474948 h 2959949"/>
                  <a:gd name="connsiteX38" fmla="*/ 32369 w 1414520"/>
                  <a:gd name="connsiteY38" fmla="*/ 345475 h 2959949"/>
                  <a:gd name="connsiteX39" fmla="*/ 178025 w 1414520"/>
                  <a:gd name="connsiteY39" fmla="*/ 5610 h 2959949"/>
                  <a:gd name="connsiteX0" fmla="*/ 178025 w 1414520"/>
                  <a:gd name="connsiteY0" fmla="*/ 5610 h 2959949"/>
                  <a:gd name="connsiteX1" fmla="*/ 299406 w 1414520"/>
                  <a:gd name="connsiteY1" fmla="*/ 78438 h 2959949"/>
                  <a:gd name="connsiteX2" fmla="*/ 493615 w 1414520"/>
                  <a:gd name="connsiteY2" fmla="*/ 126990 h 2959949"/>
                  <a:gd name="connsiteX3" fmla="*/ 687823 w 1414520"/>
                  <a:gd name="connsiteY3" fmla="*/ 143174 h 2959949"/>
                  <a:gd name="connsiteX4" fmla="*/ 865848 w 1414520"/>
                  <a:gd name="connsiteY4" fmla="*/ 110806 h 2959949"/>
                  <a:gd name="connsiteX5" fmla="*/ 946769 w 1414520"/>
                  <a:gd name="connsiteY5" fmla="*/ 62254 h 2959949"/>
                  <a:gd name="connsiteX6" fmla="*/ 1181438 w 1414520"/>
                  <a:gd name="connsiteY6" fmla="*/ 264555 h 2959949"/>
                  <a:gd name="connsiteX7" fmla="*/ 1351370 w 1414520"/>
                  <a:gd name="connsiteY7" fmla="*/ 385935 h 2959949"/>
                  <a:gd name="connsiteX8" fmla="*/ 1327094 w 1414520"/>
                  <a:gd name="connsiteY8" fmla="*/ 491132 h 2959949"/>
                  <a:gd name="connsiteX9" fmla="*/ 1246174 w 1414520"/>
                  <a:gd name="connsiteY9" fmla="*/ 750077 h 2959949"/>
                  <a:gd name="connsiteX10" fmla="*/ 1221898 w 1414520"/>
                  <a:gd name="connsiteY10" fmla="*/ 1551189 h 2959949"/>
                  <a:gd name="connsiteX11" fmla="*/ 1262358 w 1414520"/>
                  <a:gd name="connsiteY11" fmla="*/ 1747097 h 2959949"/>
                  <a:gd name="connsiteX12" fmla="*/ 1294726 w 1414520"/>
                  <a:gd name="connsiteY12" fmla="*/ 2036711 h 2959949"/>
                  <a:gd name="connsiteX13" fmla="*/ 1338427 w 1414520"/>
                  <a:gd name="connsiteY13" fmla="*/ 2332987 h 2959949"/>
                  <a:gd name="connsiteX14" fmla="*/ 1367554 w 1414520"/>
                  <a:gd name="connsiteY14" fmla="*/ 2554601 h 2959949"/>
                  <a:gd name="connsiteX15" fmla="*/ 1346565 w 1414520"/>
                  <a:gd name="connsiteY15" fmla="*/ 2663016 h 2959949"/>
                  <a:gd name="connsiteX16" fmla="*/ 1398312 w 1414520"/>
                  <a:gd name="connsiteY16" fmla="*/ 2797474 h 2959949"/>
                  <a:gd name="connsiteX17" fmla="*/ 1414520 w 1414520"/>
                  <a:gd name="connsiteY17" fmla="*/ 2910651 h 2959949"/>
                  <a:gd name="connsiteX18" fmla="*/ 1009986 w 1414520"/>
                  <a:gd name="connsiteY18" fmla="*/ 2828211 h 2959949"/>
                  <a:gd name="connsiteX19" fmla="*/ 940330 w 1414520"/>
                  <a:gd name="connsiteY19" fmla="*/ 2580488 h 2959949"/>
                  <a:gd name="connsiteX20" fmla="*/ 838376 w 1414520"/>
                  <a:gd name="connsiteY20" fmla="*/ 1947699 h 2959949"/>
                  <a:gd name="connsiteX21" fmla="*/ 801112 w 1414520"/>
                  <a:gd name="connsiteY21" fmla="*/ 1632109 h 2959949"/>
                  <a:gd name="connsiteX22" fmla="*/ 750929 w 1414520"/>
                  <a:gd name="connsiteY22" fmla="*/ 1212955 h 2959949"/>
                  <a:gd name="connsiteX23" fmla="*/ 695915 w 1414520"/>
                  <a:gd name="connsiteY23" fmla="*/ 895734 h 2959949"/>
                  <a:gd name="connsiteX24" fmla="*/ 647363 w 1414520"/>
                  <a:gd name="connsiteY24" fmla="*/ 1081851 h 2959949"/>
                  <a:gd name="connsiteX25" fmla="*/ 621478 w 1414520"/>
                  <a:gd name="connsiteY25" fmla="*/ 1669237 h 2959949"/>
                  <a:gd name="connsiteX26" fmla="*/ 598811 w 1414520"/>
                  <a:gd name="connsiteY26" fmla="*/ 1874870 h 2959949"/>
                  <a:gd name="connsiteX27" fmla="*/ 608490 w 1414520"/>
                  <a:gd name="connsiteY27" fmla="*/ 2038365 h 2959949"/>
                  <a:gd name="connsiteX28" fmla="*/ 665201 w 1414520"/>
                  <a:gd name="connsiteY28" fmla="*/ 2506049 h 2959949"/>
                  <a:gd name="connsiteX29" fmla="*/ 687823 w 1414520"/>
                  <a:gd name="connsiteY29" fmla="*/ 2797362 h 2959949"/>
                  <a:gd name="connsiteX30" fmla="*/ 652214 w 1414520"/>
                  <a:gd name="connsiteY30" fmla="*/ 2886419 h 2959949"/>
                  <a:gd name="connsiteX31" fmla="*/ 380326 w 1414520"/>
                  <a:gd name="connsiteY31" fmla="*/ 2912394 h 2959949"/>
                  <a:gd name="connsiteX32" fmla="*/ 343130 w 1414520"/>
                  <a:gd name="connsiteY32" fmla="*/ 2855751 h 2959949"/>
                  <a:gd name="connsiteX33" fmla="*/ 226577 w 1414520"/>
                  <a:gd name="connsiteY33" fmla="*/ 2077171 h 2959949"/>
                  <a:gd name="connsiteX34" fmla="*/ 161841 w 1414520"/>
                  <a:gd name="connsiteY34" fmla="*/ 1818226 h 2959949"/>
                  <a:gd name="connsiteX35" fmla="*/ 137565 w 1414520"/>
                  <a:gd name="connsiteY35" fmla="*/ 1583557 h 2959949"/>
                  <a:gd name="connsiteX36" fmla="*/ 80921 w 1414520"/>
                  <a:gd name="connsiteY36" fmla="*/ 733893 h 2959949"/>
                  <a:gd name="connsiteX37" fmla="*/ 8092 w 1414520"/>
                  <a:gd name="connsiteY37" fmla="*/ 474948 h 2959949"/>
                  <a:gd name="connsiteX38" fmla="*/ 32369 w 1414520"/>
                  <a:gd name="connsiteY38" fmla="*/ 345475 h 2959949"/>
                  <a:gd name="connsiteX39" fmla="*/ 178025 w 1414520"/>
                  <a:gd name="connsiteY39" fmla="*/ 5610 h 2959949"/>
                  <a:gd name="connsiteX0" fmla="*/ 178025 w 1414520"/>
                  <a:gd name="connsiteY0" fmla="*/ 5610 h 2959949"/>
                  <a:gd name="connsiteX1" fmla="*/ 299406 w 1414520"/>
                  <a:gd name="connsiteY1" fmla="*/ 78438 h 2959949"/>
                  <a:gd name="connsiteX2" fmla="*/ 493615 w 1414520"/>
                  <a:gd name="connsiteY2" fmla="*/ 126990 h 2959949"/>
                  <a:gd name="connsiteX3" fmla="*/ 687823 w 1414520"/>
                  <a:gd name="connsiteY3" fmla="*/ 143174 h 2959949"/>
                  <a:gd name="connsiteX4" fmla="*/ 865848 w 1414520"/>
                  <a:gd name="connsiteY4" fmla="*/ 110806 h 2959949"/>
                  <a:gd name="connsiteX5" fmla="*/ 946769 w 1414520"/>
                  <a:gd name="connsiteY5" fmla="*/ 62254 h 2959949"/>
                  <a:gd name="connsiteX6" fmla="*/ 1181438 w 1414520"/>
                  <a:gd name="connsiteY6" fmla="*/ 264555 h 2959949"/>
                  <a:gd name="connsiteX7" fmla="*/ 1351370 w 1414520"/>
                  <a:gd name="connsiteY7" fmla="*/ 385935 h 2959949"/>
                  <a:gd name="connsiteX8" fmla="*/ 1327094 w 1414520"/>
                  <a:gd name="connsiteY8" fmla="*/ 491132 h 2959949"/>
                  <a:gd name="connsiteX9" fmla="*/ 1246174 w 1414520"/>
                  <a:gd name="connsiteY9" fmla="*/ 750077 h 2959949"/>
                  <a:gd name="connsiteX10" fmla="*/ 1221898 w 1414520"/>
                  <a:gd name="connsiteY10" fmla="*/ 1551189 h 2959949"/>
                  <a:gd name="connsiteX11" fmla="*/ 1262358 w 1414520"/>
                  <a:gd name="connsiteY11" fmla="*/ 1747097 h 2959949"/>
                  <a:gd name="connsiteX12" fmla="*/ 1294726 w 1414520"/>
                  <a:gd name="connsiteY12" fmla="*/ 2036711 h 2959949"/>
                  <a:gd name="connsiteX13" fmla="*/ 1338427 w 1414520"/>
                  <a:gd name="connsiteY13" fmla="*/ 2332987 h 2959949"/>
                  <a:gd name="connsiteX14" fmla="*/ 1367554 w 1414520"/>
                  <a:gd name="connsiteY14" fmla="*/ 2554601 h 2959949"/>
                  <a:gd name="connsiteX15" fmla="*/ 1346565 w 1414520"/>
                  <a:gd name="connsiteY15" fmla="*/ 2663016 h 2959949"/>
                  <a:gd name="connsiteX16" fmla="*/ 1398312 w 1414520"/>
                  <a:gd name="connsiteY16" fmla="*/ 2797474 h 2959949"/>
                  <a:gd name="connsiteX17" fmla="*/ 1414520 w 1414520"/>
                  <a:gd name="connsiteY17" fmla="*/ 2910651 h 2959949"/>
                  <a:gd name="connsiteX18" fmla="*/ 1009986 w 1414520"/>
                  <a:gd name="connsiteY18" fmla="*/ 2828211 h 2959949"/>
                  <a:gd name="connsiteX19" fmla="*/ 940330 w 1414520"/>
                  <a:gd name="connsiteY19" fmla="*/ 2580488 h 2959949"/>
                  <a:gd name="connsiteX20" fmla="*/ 838376 w 1414520"/>
                  <a:gd name="connsiteY20" fmla="*/ 1947699 h 2959949"/>
                  <a:gd name="connsiteX21" fmla="*/ 801112 w 1414520"/>
                  <a:gd name="connsiteY21" fmla="*/ 1632109 h 2959949"/>
                  <a:gd name="connsiteX22" fmla="*/ 750929 w 1414520"/>
                  <a:gd name="connsiteY22" fmla="*/ 1212955 h 2959949"/>
                  <a:gd name="connsiteX23" fmla="*/ 695915 w 1414520"/>
                  <a:gd name="connsiteY23" fmla="*/ 895734 h 2959949"/>
                  <a:gd name="connsiteX24" fmla="*/ 647363 w 1414520"/>
                  <a:gd name="connsiteY24" fmla="*/ 1081851 h 2959949"/>
                  <a:gd name="connsiteX25" fmla="*/ 621478 w 1414520"/>
                  <a:gd name="connsiteY25" fmla="*/ 1669237 h 2959949"/>
                  <a:gd name="connsiteX26" fmla="*/ 598811 w 1414520"/>
                  <a:gd name="connsiteY26" fmla="*/ 1874870 h 2959949"/>
                  <a:gd name="connsiteX27" fmla="*/ 634421 w 1414520"/>
                  <a:gd name="connsiteY27" fmla="*/ 2116156 h 2959949"/>
                  <a:gd name="connsiteX28" fmla="*/ 665201 w 1414520"/>
                  <a:gd name="connsiteY28" fmla="*/ 2506049 h 2959949"/>
                  <a:gd name="connsiteX29" fmla="*/ 687823 w 1414520"/>
                  <a:gd name="connsiteY29" fmla="*/ 2797362 h 2959949"/>
                  <a:gd name="connsiteX30" fmla="*/ 652214 w 1414520"/>
                  <a:gd name="connsiteY30" fmla="*/ 2886419 h 2959949"/>
                  <a:gd name="connsiteX31" fmla="*/ 380326 w 1414520"/>
                  <a:gd name="connsiteY31" fmla="*/ 2912394 h 2959949"/>
                  <a:gd name="connsiteX32" fmla="*/ 343130 w 1414520"/>
                  <a:gd name="connsiteY32" fmla="*/ 2855751 h 2959949"/>
                  <a:gd name="connsiteX33" fmla="*/ 226577 w 1414520"/>
                  <a:gd name="connsiteY33" fmla="*/ 2077171 h 2959949"/>
                  <a:gd name="connsiteX34" fmla="*/ 161841 w 1414520"/>
                  <a:gd name="connsiteY34" fmla="*/ 1818226 h 2959949"/>
                  <a:gd name="connsiteX35" fmla="*/ 137565 w 1414520"/>
                  <a:gd name="connsiteY35" fmla="*/ 1583557 h 2959949"/>
                  <a:gd name="connsiteX36" fmla="*/ 80921 w 1414520"/>
                  <a:gd name="connsiteY36" fmla="*/ 733893 h 2959949"/>
                  <a:gd name="connsiteX37" fmla="*/ 8092 w 1414520"/>
                  <a:gd name="connsiteY37" fmla="*/ 474948 h 2959949"/>
                  <a:gd name="connsiteX38" fmla="*/ 32369 w 1414520"/>
                  <a:gd name="connsiteY38" fmla="*/ 345475 h 2959949"/>
                  <a:gd name="connsiteX39" fmla="*/ 178025 w 1414520"/>
                  <a:gd name="connsiteY39" fmla="*/ 5610 h 2959949"/>
                  <a:gd name="connsiteX0" fmla="*/ 178025 w 1414520"/>
                  <a:gd name="connsiteY0" fmla="*/ 5610 h 2959949"/>
                  <a:gd name="connsiteX1" fmla="*/ 299406 w 1414520"/>
                  <a:gd name="connsiteY1" fmla="*/ 78438 h 2959949"/>
                  <a:gd name="connsiteX2" fmla="*/ 493615 w 1414520"/>
                  <a:gd name="connsiteY2" fmla="*/ 126990 h 2959949"/>
                  <a:gd name="connsiteX3" fmla="*/ 687823 w 1414520"/>
                  <a:gd name="connsiteY3" fmla="*/ 143174 h 2959949"/>
                  <a:gd name="connsiteX4" fmla="*/ 865848 w 1414520"/>
                  <a:gd name="connsiteY4" fmla="*/ 110806 h 2959949"/>
                  <a:gd name="connsiteX5" fmla="*/ 946769 w 1414520"/>
                  <a:gd name="connsiteY5" fmla="*/ 62254 h 2959949"/>
                  <a:gd name="connsiteX6" fmla="*/ 1181438 w 1414520"/>
                  <a:gd name="connsiteY6" fmla="*/ 264555 h 2959949"/>
                  <a:gd name="connsiteX7" fmla="*/ 1351370 w 1414520"/>
                  <a:gd name="connsiteY7" fmla="*/ 385935 h 2959949"/>
                  <a:gd name="connsiteX8" fmla="*/ 1327094 w 1414520"/>
                  <a:gd name="connsiteY8" fmla="*/ 491132 h 2959949"/>
                  <a:gd name="connsiteX9" fmla="*/ 1246174 w 1414520"/>
                  <a:gd name="connsiteY9" fmla="*/ 750077 h 2959949"/>
                  <a:gd name="connsiteX10" fmla="*/ 1221898 w 1414520"/>
                  <a:gd name="connsiteY10" fmla="*/ 1551189 h 2959949"/>
                  <a:gd name="connsiteX11" fmla="*/ 1262358 w 1414520"/>
                  <a:gd name="connsiteY11" fmla="*/ 1747097 h 2959949"/>
                  <a:gd name="connsiteX12" fmla="*/ 1294726 w 1414520"/>
                  <a:gd name="connsiteY12" fmla="*/ 2036711 h 2959949"/>
                  <a:gd name="connsiteX13" fmla="*/ 1338427 w 1414520"/>
                  <a:gd name="connsiteY13" fmla="*/ 2332987 h 2959949"/>
                  <a:gd name="connsiteX14" fmla="*/ 1367554 w 1414520"/>
                  <a:gd name="connsiteY14" fmla="*/ 2554601 h 2959949"/>
                  <a:gd name="connsiteX15" fmla="*/ 1346565 w 1414520"/>
                  <a:gd name="connsiteY15" fmla="*/ 2663016 h 2959949"/>
                  <a:gd name="connsiteX16" fmla="*/ 1398312 w 1414520"/>
                  <a:gd name="connsiteY16" fmla="*/ 2797474 h 2959949"/>
                  <a:gd name="connsiteX17" fmla="*/ 1414520 w 1414520"/>
                  <a:gd name="connsiteY17" fmla="*/ 2910651 h 2959949"/>
                  <a:gd name="connsiteX18" fmla="*/ 1009986 w 1414520"/>
                  <a:gd name="connsiteY18" fmla="*/ 2828211 h 2959949"/>
                  <a:gd name="connsiteX19" fmla="*/ 940330 w 1414520"/>
                  <a:gd name="connsiteY19" fmla="*/ 2580488 h 2959949"/>
                  <a:gd name="connsiteX20" fmla="*/ 838376 w 1414520"/>
                  <a:gd name="connsiteY20" fmla="*/ 1947699 h 2959949"/>
                  <a:gd name="connsiteX21" fmla="*/ 801112 w 1414520"/>
                  <a:gd name="connsiteY21" fmla="*/ 1632109 h 2959949"/>
                  <a:gd name="connsiteX22" fmla="*/ 750929 w 1414520"/>
                  <a:gd name="connsiteY22" fmla="*/ 1212955 h 2959949"/>
                  <a:gd name="connsiteX23" fmla="*/ 695915 w 1414520"/>
                  <a:gd name="connsiteY23" fmla="*/ 895734 h 2959949"/>
                  <a:gd name="connsiteX24" fmla="*/ 647363 w 1414520"/>
                  <a:gd name="connsiteY24" fmla="*/ 1081851 h 2959949"/>
                  <a:gd name="connsiteX25" fmla="*/ 621478 w 1414520"/>
                  <a:gd name="connsiteY25" fmla="*/ 1669237 h 2959949"/>
                  <a:gd name="connsiteX26" fmla="*/ 598811 w 1414520"/>
                  <a:gd name="connsiteY26" fmla="*/ 1874870 h 2959949"/>
                  <a:gd name="connsiteX27" fmla="*/ 634421 w 1414520"/>
                  <a:gd name="connsiteY27" fmla="*/ 2116156 h 2959949"/>
                  <a:gd name="connsiteX28" fmla="*/ 678166 w 1414520"/>
                  <a:gd name="connsiteY28" fmla="*/ 2506049 h 2959949"/>
                  <a:gd name="connsiteX29" fmla="*/ 687823 w 1414520"/>
                  <a:gd name="connsiteY29" fmla="*/ 2797362 h 2959949"/>
                  <a:gd name="connsiteX30" fmla="*/ 652214 w 1414520"/>
                  <a:gd name="connsiteY30" fmla="*/ 2886419 h 2959949"/>
                  <a:gd name="connsiteX31" fmla="*/ 380326 w 1414520"/>
                  <a:gd name="connsiteY31" fmla="*/ 2912394 h 2959949"/>
                  <a:gd name="connsiteX32" fmla="*/ 343130 w 1414520"/>
                  <a:gd name="connsiteY32" fmla="*/ 2855751 h 2959949"/>
                  <a:gd name="connsiteX33" fmla="*/ 226577 w 1414520"/>
                  <a:gd name="connsiteY33" fmla="*/ 2077171 h 2959949"/>
                  <a:gd name="connsiteX34" fmla="*/ 161841 w 1414520"/>
                  <a:gd name="connsiteY34" fmla="*/ 1818226 h 2959949"/>
                  <a:gd name="connsiteX35" fmla="*/ 137565 w 1414520"/>
                  <a:gd name="connsiteY35" fmla="*/ 1583557 h 2959949"/>
                  <a:gd name="connsiteX36" fmla="*/ 80921 w 1414520"/>
                  <a:gd name="connsiteY36" fmla="*/ 733893 h 2959949"/>
                  <a:gd name="connsiteX37" fmla="*/ 8092 w 1414520"/>
                  <a:gd name="connsiteY37" fmla="*/ 474948 h 2959949"/>
                  <a:gd name="connsiteX38" fmla="*/ 32369 w 1414520"/>
                  <a:gd name="connsiteY38" fmla="*/ 345475 h 2959949"/>
                  <a:gd name="connsiteX39" fmla="*/ 178025 w 1414520"/>
                  <a:gd name="connsiteY39" fmla="*/ 5610 h 2959949"/>
                  <a:gd name="connsiteX0" fmla="*/ 178025 w 1414520"/>
                  <a:gd name="connsiteY0" fmla="*/ 5610 h 2959949"/>
                  <a:gd name="connsiteX1" fmla="*/ 299406 w 1414520"/>
                  <a:gd name="connsiteY1" fmla="*/ 78438 h 2959949"/>
                  <a:gd name="connsiteX2" fmla="*/ 493615 w 1414520"/>
                  <a:gd name="connsiteY2" fmla="*/ 126990 h 2959949"/>
                  <a:gd name="connsiteX3" fmla="*/ 687823 w 1414520"/>
                  <a:gd name="connsiteY3" fmla="*/ 143174 h 2959949"/>
                  <a:gd name="connsiteX4" fmla="*/ 865848 w 1414520"/>
                  <a:gd name="connsiteY4" fmla="*/ 110806 h 2959949"/>
                  <a:gd name="connsiteX5" fmla="*/ 946769 w 1414520"/>
                  <a:gd name="connsiteY5" fmla="*/ 62254 h 2959949"/>
                  <a:gd name="connsiteX6" fmla="*/ 1181438 w 1414520"/>
                  <a:gd name="connsiteY6" fmla="*/ 264555 h 2959949"/>
                  <a:gd name="connsiteX7" fmla="*/ 1351370 w 1414520"/>
                  <a:gd name="connsiteY7" fmla="*/ 385935 h 2959949"/>
                  <a:gd name="connsiteX8" fmla="*/ 1327094 w 1414520"/>
                  <a:gd name="connsiteY8" fmla="*/ 491132 h 2959949"/>
                  <a:gd name="connsiteX9" fmla="*/ 1246174 w 1414520"/>
                  <a:gd name="connsiteY9" fmla="*/ 750077 h 2959949"/>
                  <a:gd name="connsiteX10" fmla="*/ 1221898 w 1414520"/>
                  <a:gd name="connsiteY10" fmla="*/ 1551189 h 2959949"/>
                  <a:gd name="connsiteX11" fmla="*/ 1262358 w 1414520"/>
                  <a:gd name="connsiteY11" fmla="*/ 1747097 h 2959949"/>
                  <a:gd name="connsiteX12" fmla="*/ 1294726 w 1414520"/>
                  <a:gd name="connsiteY12" fmla="*/ 2036711 h 2959949"/>
                  <a:gd name="connsiteX13" fmla="*/ 1338427 w 1414520"/>
                  <a:gd name="connsiteY13" fmla="*/ 2332987 h 2959949"/>
                  <a:gd name="connsiteX14" fmla="*/ 1367554 w 1414520"/>
                  <a:gd name="connsiteY14" fmla="*/ 2554601 h 2959949"/>
                  <a:gd name="connsiteX15" fmla="*/ 1346565 w 1414520"/>
                  <a:gd name="connsiteY15" fmla="*/ 2663016 h 2959949"/>
                  <a:gd name="connsiteX16" fmla="*/ 1398312 w 1414520"/>
                  <a:gd name="connsiteY16" fmla="*/ 2797474 h 2959949"/>
                  <a:gd name="connsiteX17" fmla="*/ 1414520 w 1414520"/>
                  <a:gd name="connsiteY17" fmla="*/ 2910651 h 2959949"/>
                  <a:gd name="connsiteX18" fmla="*/ 1009986 w 1414520"/>
                  <a:gd name="connsiteY18" fmla="*/ 2828211 h 2959949"/>
                  <a:gd name="connsiteX19" fmla="*/ 940330 w 1414520"/>
                  <a:gd name="connsiteY19" fmla="*/ 2580488 h 2959949"/>
                  <a:gd name="connsiteX20" fmla="*/ 838376 w 1414520"/>
                  <a:gd name="connsiteY20" fmla="*/ 1947699 h 2959949"/>
                  <a:gd name="connsiteX21" fmla="*/ 801112 w 1414520"/>
                  <a:gd name="connsiteY21" fmla="*/ 1632109 h 2959949"/>
                  <a:gd name="connsiteX22" fmla="*/ 750929 w 1414520"/>
                  <a:gd name="connsiteY22" fmla="*/ 1212955 h 2959949"/>
                  <a:gd name="connsiteX23" fmla="*/ 695915 w 1414520"/>
                  <a:gd name="connsiteY23" fmla="*/ 895734 h 2959949"/>
                  <a:gd name="connsiteX24" fmla="*/ 647363 w 1414520"/>
                  <a:gd name="connsiteY24" fmla="*/ 1081851 h 2959949"/>
                  <a:gd name="connsiteX25" fmla="*/ 602031 w 1414520"/>
                  <a:gd name="connsiteY25" fmla="*/ 1669237 h 2959949"/>
                  <a:gd name="connsiteX26" fmla="*/ 598811 w 1414520"/>
                  <a:gd name="connsiteY26" fmla="*/ 1874870 h 2959949"/>
                  <a:gd name="connsiteX27" fmla="*/ 634421 w 1414520"/>
                  <a:gd name="connsiteY27" fmla="*/ 2116156 h 2959949"/>
                  <a:gd name="connsiteX28" fmla="*/ 678166 w 1414520"/>
                  <a:gd name="connsiteY28" fmla="*/ 2506049 h 2959949"/>
                  <a:gd name="connsiteX29" fmla="*/ 687823 w 1414520"/>
                  <a:gd name="connsiteY29" fmla="*/ 2797362 h 2959949"/>
                  <a:gd name="connsiteX30" fmla="*/ 652214 w 1414520"/>
                  <a:gd name="connsiteY30" fmla="*/ 2886419 h 2959949"/>
                  <a:gd name="connsiteX31" fmla="*/ 380326 w 1414520"/>
                  <a:gd name="connsiteY31" fmla="*/ 2912394 h 2959949"/>
                  <a:gd name="connsiteX32" fmla="*/ 343130 w 1414520"/>
                  <a:gd name="connsiteY32" fmla="*/ 2855751 h 2959949"/>
                  <a:gd name="connsiteX33" fmla="*/ 226577 w 1414520"/>
                  <a:gd name="connsiteY33" fmla="*/ 2077171 h 2959949"/>
                  <a:gd name="connsiteX34" fmla="*/ 161841 w 1414520"/>
                  <a:gd name="connsiteY34" fmla="*/ 1818226 h 2959949"/>
                  <a:gd name="connsiteX35" fmla="*/ 137565 w 1414520"/>
                  <a:gd name="connsiteY35" fmla="*/ 1583557 h 2959949"/>
                  <a:gd name="connsiteX36" fmla="*/ 80921 w 1414520"/>
                  <a:gd name="connsiteY36" fmla="*/ 733893 h 2959949"/>
                  <a:gd name="connsiteX37" fmla="*/ 8092 w 1414520"/>
                  <a:gd name="connsiteY37" fmla="*/ 474948 h 2959949"/>
                  <a:gd name="connsiteX38" fmla="*/ 32369 w 1414520"/>
                  <a:gd name="connsiteY38" fmla="*/ 345475 h 2959949"/>
                  <a:gd name="connsiteX39" fmla="*/ 178025 w 1414520"/>
                  <a:gd name="connsiteY39" fmla="*/ 5610 h 2959949"/>
                  <a:gd name="connsiteX0" fmla="*/ 178025 w 1414520"/>
                  <a:gd name="connsiteY0" fmla="*/ 5610 h 2959949"/>
                  <a:gd name="connsiteX1" fmla="*/ 299406 w 1414520"/>
                  <a:gd name="connsiteY1" fmla="*/ 78438 h 2959949"/>
                  <a:gd name="connsiteX2" fmla="*/ 493615 w 1414520"/>
                  <a:gd name="connsiteY2" fmla="*/ 126990 h 2959949"/>
                  <a:gd name="connsiteX3" fmla="*/ 687823 w 1414520"/>
                  <a:gd name="connsiteY3" fmla="*/ 143174 h 2959949"/>
                  <a:gd name="connsiteX4" fmla="*/ 865848 w 1414520"/>
                  <a:gd name="connsiteY4" fmla="*/ 110806 h 2959949"/>
                  <a:gd name="connsiteX5" fmla="*/ 946769 w 1414520"/>
                  <a:gd name="connsiteY5" fmla="*/ 62254 h 2959949"/>
                  <a:gd name="connsiteX6" fmla="*/ 1181438 w 1414520"/>
                  <a:gd name="connsiteY6" fmla="*/ 264555 h 2959949"/>
                  <a:gd name="connsiteX7" fmla="*/ 1351370 w 1414520"/>
                  <a:gd name="connsiteY7" fmla="*/ 385935 h 2959949"/>
                  <a:gd name="connsiteX8" fmla="*/ 1327094 w 1414520"/>
                  <a:gd name="connsiteY8" fmla="*/ 491132 h 2959949"/>
                  <a:gd name="connsiteX9" fmla="*/ 1246174 w 1414520"/>
                  <a:gd name="connsiteY9" fmla="*/ 750077 h 2959949"/>
                  <a:gd name="connsiteX10" fmla="*/ 1221898 w 1414520"/>
                  <a:gd name="connsiteY10" fmla="*/ 1551189 h 2959949"/>
                  <a:gd name="connsiteX11" fmla="*/ 1262358 w 1414520"/>
                  <a:gd name="connsiteY11" fmla="*/ 1747097 h 2959949"/>
                  <a:gd name="connsiteX12" fmla="*/ 1294726 w 1414520"/>
                  <a:gd name="connsiteY12" fmla="*/ 2036711 h 2959949"/>
                  <a:gd name="connsiteX13" fmla="*/ 1338427 w 1414520"/>
                  <a:gd name="connsiteY13" fmla="*/ 2332987 h 2959949"/>
                  <a:gd name="connsiteX14" fmla="*/ 1367554 w 1414520"/>
                  <a:gd name="connsiteY14" fmla="*/ 2554601 h 2959949"/>
                  <a:gd name="connsiteX15" fmla="*/ 1346565 w 1414520"/>
                  <a:gd name="connsiteY15" fmla="*/ 2663016 h 2959949"/>
                  <a:gd name="connsiteX16" fmla="*/ 1398312 w 1414520"/>
                  <a:gd name="connsiteY16" fmla="*/ 2797474 h 2959949"/>
                  <a:gd name="connsiteX17" fmla="*/ 1414520 w 1414520"/>
                  <a:gd name="connsiteY17" fmla="*/ 2910651 h 2959949"/>
                  <a:gd name="connsiteX18" fmla="*/ 1009986 w 1414520"/>
                  <a:gd name="connsiteY18" fmla="*/ 2828211 h 2959949"/>
                  <a:gd name="connsiteX19" fmla="*/ 940330 w 1414520"/>
                  <a:gd name="connsiteY19" fmla="*/ 2580488 h 2959949"/>
                  <a:gd name="connsiteX20" fmla="*/ 838376 w 1414520"/>
                  <a:gd name="connsiteY20" fmla="*/ 1947699 h 2959949"/>
                  <a:gd name="connsiteX21" fmla="*/ 801112 w 1414520"/>
                  <a:gd name="connsiteY21" fmla="*/ 1632109 h 2959949"/>
                  <a:gd name="connsiteX22" fmla="*/ 750929 w 1414520"/>
                  <a:gd name="connsiteY22" fmla="*/ 1212955 h 2959949"/>
                  <a:gd name="connsiteX23" fmla="*/ 695915 w 1414520"/>
                  <a:gd name="connsiteY23" fmla="*/ 895734 h 2959949"/>
                  <a:gd name="connsiteX24" fmla="*/ 647363 w 1414520"/>
                  <a:gd name="connsiteY24" fmla="*/ 1081851 h 2959949"/>
                  <a:gd name="connsiteX25" fmla="*/ 602031 w 1414520"/>
                  <a:gd name="connsiteY25" fmla="*/ 1669237 h 2959949"/>
                  <a:gd name="connsiteX26" fmla="*/ 598811 w 1414520"/>
                  <a:gd name="connsiteY26" fmla="*/ 1874870 h 2959949"/>
                  <a:gd name="connsiteX27" fmla="*/ 634421 w 1414520"/>
                  <a:gd name="connsiteY27" fmla="*/ 2116156 h 2959949"/>
                  <a:gd name="connsiteX28" fmla="*/ 678166 w 1414520"/>
                  <a:gd name="connsiteY28" fmla="*/ 2506049 h 2959949"/>
                  <a:gd name="connsiteX29" fmla="*/ 687823 w 1414520"/>
                  <a:gd name="connsiteY29" fmla="*/ 2797362 h 2959949"/>
                  <a:gd name="connsiteX30" fmla="*/ 652214 w 1414520"/>
                  <a:gd name="connsiteY30" fmla="*/ 2886419 h 2959949"/>
                  <a:gd name="connsiteX31" fmla="*/ 380326 w 1414520"/>
                  <a:gd name="connsiteY31" fmla="*/ 2912394 h 2959949"/>
                  <a:gd name="connsiteX32" fmla="*/ 294369 w 1414520"/>
                  <a:gd name="connsiteY32" fmla="*/ 2863878 h 2959949"/>
                  <a:gd name="connsiteX33" fmla="*/ 226577 w 1414520"/>
                  <a:gd name="connsiteY33" fmla="*/ 2077171 h 2959949"/>
                  <a:gd name="connsiteX34" fmla="*/ 161841 w 1414520"/>
                  <a:gd name="connsiteY34" fmla="*/ 1818226 h 2959949"/>
                  <a:gd name="connsiteX35" fmla="*/ 137565 w 1414520"/>
                  <a:gd name="connsiteY35" fmla="*/ 1583557 h 2959949"/>
                  <a:gd name="connsiteX36" fmla="*/ 80921 w 1414520"/>
                  <a:gd name="connsiteY36" fmla="*/ 733893 h 2959949"/>
                  <a:gd name="connsiteX37" fmla="*/ 8092 w 1414520"/>
                  <a:gd name="connsiteY37" fmla="*/ 474948 h 2959949"/>
                  <a:gd name="connsiteX38" fmla="*/ 32369 w 1414520"/>
                  <a:gd name="connsiteY38" fmla="*/ 345475 h 2959949"/>
                  <a:gd name="connsiteX39" fmla="*/ 178025 w 1414520"/>
                  <a:gd name="connsiteY39" fmla="*/ 5610 h 2959949"/>
                  <a:gd name="connsiteX0" fmla="*/ 178025 w 1414520"/>
                  <a:gd name="connsiteY0" fmla="*/ 5610 h 2959949"/>
                  <a:gd name="connsiteX1" fmla="*/ 299406 w 1414520"/>
                  <a:gd name="connsiteY1" fmla="*/ 78438 h 2959949"/>
                  <a:gd name="connsiteX2" fmla="*/ 493615 w 1414520"/>
                  <a:gd name="connsiteY2" fmla="*/ 126990 h 2959949"/>
                  <a:gd name="connsiteX3" fmla="*/ 687823 w 1414520"/>
                  <a:gd name="connsiteY3" fmla="*/ 143174 h 2959949"/>
                  <a:gd name="connsiteX4" fmla="*/ 865848 w 1414520"/>
                  <a:gd name="connsiteY4" fmla="*/ 110806 h 2959949"/>
                  <a:gd name="connsiteX5" fmla="*/ 946769 w 1414520"/>
                  <a:gd name="connsiteY5" fmla="*/ 62254 h 2959949"/>
                  <a:gd name="connsiteX6" fmla="*/ 1181438 w 1414520"/>
                  <a:gd name="connsiteY6" fmla="*/ 264555 h 2959949"/>
                  <a:gd name="connsiteX7" fmla="*/ 1351370 w 1414520"/>
                  <a:gd name="connsiteY7" fmla="*/ 385935 h 2959949"/>
                  <a:gd name="connsiteX8" fmla="*/ 1327094 w 1414520"/>
                  <a:gd name="connsiteY8" fmla="*/ 491132 h 2959949"/>
                  <a:gd name="connsiteX9" fmla="*/ 1246174 w 1414520"/>
                  <a:gd name="connsiteY9" fmla="*/ 750077 h 2959949"/>
                  <a:gd name="connsiteX10" fmla="*/ 1221898 w 1414520"/>
                  <a:gd name="connsiteY10" fmla="*/ 1551189 h 2959949"/>
                  <a:gd name="connsiteX11" fmla="*/ 1262358 w 1414520"/>
                  <a:gd name="connsiteY11" fmla="*/ 1747097 h 2959949"/>
                  <a:gd name="connsiteX12" fmla="*/ 1294726 w 1414520"/>
                  <a:gd name="connsiteY12" fmla="*/ 2036711 h 2959949"/>
                  <a:gd name="connsiteX13" fmla="*/ 1338427 w 1414520"/>
                  <a:gd name="connsiteY13" fmla="*/ 2332987 h 2959949"/>
                  <a:gd name="connsiteX14" fmla="*/ 1367554 w 1414520"/>
                  <a:gd name="connsiteY14" fmla="*/ 2554601 h 2959949"/>
                  <a:gd name="connsiteX15" fmla="*/ 1346565 w 1414520"/>
                  <a:gd name="connsiteY15" fmla="*/ 2663016 h 2959949"/>
                  <a:gd name="connsiteX16" fmla="*/ 1398312 w 1414520"/>
                  <a:gd name="connsiteY16" fmla="*/ 2797474 h 2959949"/>
                  <a:gd name="connsiteX17" fmla="*/ 1414520 w 1414520"/>
                  <a:gd name="connsiteY17" fmla="*/ 2910651 h 2959949"/>
                  <a:gd name="connsiteX18" fmla="*/ 1009986 w 1414520"/>
                  <a:gd name="connsiteY18" fmla="*/ 2828211 h 2959949"/>
                  <a:gd name="connsiteX19" fmla="*/ 940330 w 1414520"/>
                  <a:gd name="connsiteY19" fmla="*/ 2580488 h 2959949"/>
                  <a:gd name="connsiteX20" fmla="*/ 838376 w 1414520"/>
                  <a:gd name="connsiteY20" fmla="*/ 1947699 h 2959949"/>
                  <a:gd name="connsiteX21" fmla="*/ 801112 w 1414520"/>
                  <a:gd name="connsiteY21" fmla="*/ 1632109 h 2959949"/>
                  <a:gd name="connsiteX22" fmla="*/ 750929 w 1414520"/>
                  <a:gd name="connsiteY22" fmla="*/ 1212955 h 2959949"/>
                  <a:gd name="connsiteX23" fmla="*/ 695915 w 1414520"/>
                  <a:gd name="connsiteY23" fmla="*/ 895734 h 2959949"/>
                  <a:gd name="connsiteX24" fmla="*/ 647363 w 1414520"/>
                  <a:gd name="connsiteY24" fmla="*/ 1081851 h 2959949"/>
                  <a:gd name="connsiteX25" fmla="*/ 602031 w 1414520"/>
                  <a:gd name="connsiteY25" fmla="*/ 1669237 h 2959949"/>
                  <a:gd name="connsiteX26" fmla="*/ 598811 w 1414520"/>
                  <a:gd name="connsiteY26" fmla="*/ 1874870 h 2959949"/>
                  <a:gd name="connsiteX27" fmla="*/ 634421 w 1414520"/>
                  <a:gd name="connsiteY27" fmla="*/ 2116156 h 2959949"/>
                  <a:gd name="connsiteX28" fmla="*/ 678166 w 1414520"/>
                  <a:gd name="connsiteY28" fmla="*/ 2506049 h 2959949"/>
                  <a:gd name="connsiteX29" fmla="*/ 687823 w 1414520"/>
                  <a:gd name="connsiteY29" fmla="*/ 2797362 h 2959949"/>
                  <a:gd name="connsiteX30" fmla="*/ 652214 w 1414520"/>
                  <a:gd name="connsiteY30" fmla="*/ 2886419 h 2959949"/>
                  <a:gd name="connsiteX31" fmla="*/ 380326 w 1414520"/>
                  <a:gd name="connsiteY31" fmla="*/ 2912394 h 2959949"/>
                  <a:gd name="connsiteX32" fmla="*/ 294369 w 1414520"/>
                  <a:gd name="connsiteY32" fmla="*/ 2863878 h 2959949"/>
                  <a:gd name="connsiteX33" fmla="*/ 226577 w 1414520"/>
                  <a:gd name="connsiteY33" fmla="*/ 2077171 h 2959949"/>
                  <a:gd name="connsiteX34" fmla="*/ 161841 w 1414520"/>
                  <a:gd name="connsiteY34" fmla="*/ 1818226 h 2959949"/>
                  <a:gd name="connsiteX35" fmla="*/ 137565 w 1414520"/>
                  <a:gd name="connsiteY35" fmla="*/ 1583557 h 2959949"/>
                  <a:gd name="connsiteX36" fmla="*/ 80921 w 1414520"/>
                  <a:gd name="connsiteY36" fmla="*/ 733893 h 2959949"/>
                  <a:gd name="connsiteX37" fmla="*/ 8092 w 1414520"/>
                  <a:gd name="connsiteY37" fmla="*/ 474948 h 2959949"/>
                  <a:gd name="connsiteX38" fmla="*/ 32369 w 1414520"/>
                  <a:gd name="connsiteY38" fmla="*/ 345475 h 2959949"/>
                  <a:gd name="connsiteX39" fmla="*/ 178025 w 1414520"/>
                  <a:gd name="connsiteY39" fmla="*/ 5610 h 2959949"/>
                  <a:gd name="connsiteX0" fmla="*/ 178025 w 1414520"/>
                  <a:gd name="connsiteY0" fmla="*/ 5610 h 2979185"/>
                  <a:gd name="connsiteX1" fmla="*/ 299406 w 1414520"/>
                  <a:gd name="connsiteY1" fmla="*/ 78438 h 2979185"/>
                  <a:gd name="connsiteX2" fmla="*/ 493615 w 1414520"/>
                  <a:gd name="connsiteY2" fmla="*/ 126990 h 2979185"/>
                  <a:gd name="connsiteX3" fmla="*/ 687823 w 1414520"/>
                  <a:gd name="connsiteY3" fmla="*/ 143174 h 2979185"/>
                  <a:gd name="connsiteX4" fmla="*/ 865848 w 1414520"/>
                  <a:gd name="connsiteY4" fmla="*/ 110806 h 2979185"/>
                  <a:gd name="connsiteX5" fmla="*/ 946769 w 1414520"/>
                  <a:gd name="connsiteY5" fmla="*/ 62254 h 2979185"/>
                  <a:gd name="connsiteX6" fmla="*/ 1181438 w 1414520"/>
                  <a:gd name="connsiteY6" fmla="*/ 264555 h 2979185"/>
                  <a:gd name="connsiteX7" fmla="*/ 1351370 w 1414520"/>
                  <a:gd name="connsiteY7" fmla="*/ 385935 h 2979185"/>
                  <a:gd name="connsiteX8" fmla="*/ 1327094 w 1414520"/>
                  <a:gd name="connsiteY8" fmla="*/ 491132 h 2979185"/>
                  <a:gd name="connsiteX9" fmla="*/ 1246174 w 1414520"/>
                  <a:gd name="connsiteY9" fmla="*/ 750077 h 2979185"/>
                  <a:gd name="connsiteX10" fmla="*/ 1221898 w 1414520"/>
                  <a:gd name="connsiteY10" fmla="*/ 1551189 h 2979185"/>
                  <a:gd name="connsiteX11" fmla="*/ 1262358 w 1414520"/>
                  <a:gd name="connsiteY11" fmla="*/ 1747097 h 2979185"/>
                  <a:gd name="connsiteX12" fmla="*/ 1294726 w 1414520"/>
                  <a:gd name="connsiteY12" fmla="*/ 2036711 h 2979185"/>
                  <a:gd name="connsiteX13" fmla="*/ 1338427 w 1414520"/>
                  <a:gd name="connsiteY13" fmla="*/ 2332987 h 2979185"/>
                  <a:gd name="connsiteX14" fmla="*/ 1367554 w 1414520"/>
                  <a:gd name="connsiteY14" fmla="*/ 2554601 h 2979185"/>
                  <a:gd name="connsiteX15" fmla="*/ 1346565 w 1414520"/>
                  <a:gd name="connsiteY15" fmla="*/ 2663016 h 2979185"/>
                  <a:gd name="connsiteX16" fmla="*/ 1398312 w 1414520"/>
                  <a:gd name="connsiteY16" fmla="*/ 2797474 h 2979185"/>
                  <a:gd name="connsiteX17" fmla="*/ 1414520 w 1414520"/>
                  <a:gd name="connsiteY17" fmla="*/ 2910651 h 2979185"/>
                  <a:gd name="connsiteX18" fmla="*/ 1009986 w 1414520"/>
                  <a:gd name="connsiteY18" fmla="*/ 2828211 h 2979185"/>
                  <a:gd name="connsiteX19" fmla="*/ 940330 w 1414520"/>
                  <a:gd name="connsiteY19" fmla="*/ 2580488 h 2979185"/>
                  <a:gd name="connsiteX20" fmla="*/ 838376 w 1414520"/>
                  <a:gd name="connsiteY20" fmla="*/ 1947699 h 2979185"/>
                  <a:gd name="connsiteX21" fmla="*/ 801112 w 1414520"/>
                  <a:gd name="connsiteY21" fmla="*/ 1632109 h 2979185"/>
                  <a:gd name="connsiteX22" fmla="*/ 750929 w 1414520"/>
                  <a:gd name="connsiteY22" fmla="*/ 1212955 h 2979185"/>
                  <a:gd name="connsiteX23" fmla="*/ 695915 w 1414520"/>
                  <a:gd name="connsiteY23" fmla="*/ 895734 h 2979185"/>
                  <a:gd name="connsiteX24" fmla="*/ 647363 w 1414520"/>
                  <a:gd name="connsiteY24" fmla="*/ 1081851 h 2979185"/>
                  <a:gd name="connsiteX25" fmla="*/ 602031 w 1414520"/>
                  <a:gd name="connsiteY25" fmla="*/ 1669237 h 2979185"/>
                  <a:gd name="connsiteX26" fmla="*/ 598811 w 1414520"/>
                  <a:gd name="connsiteY26" fmla="*/ 1874870 h 2979185"/>
                  <a:gd name="connsiteX27" fmla="*/ 634421 w 1414520"/>
                  <a:gd name="connsiteY27" fmla="*/ 2116156 h 2979185"/>
                  <a:gd name="connsiteX28" fmla="*/ 678166 w 1414520"/>
                  <a:gd name="connsiteY28" fmla="*/ 2506049 h 2979185"/>
                  <a:gd name="connsiteX29" fmla="*/ 687823 w 1414520"/>
                  <a:gd name="connsiteY29" fmla="*/ 2797362 h 2979185"/>
                  <a:gd name="connsiteX30" fmla="*/ 652214 w 1414520"/>
                  <a:gd name="connsiteY30" fmla="*/ 2886419 h 2979185"/>
                  <a:gd name="connsiteX31" fmla="*/ 286866 w 1414520"/>
                  <a:gd name="connsiteY31" fmla="*/ 2944902 h 2979185"/>
                  <a:gd name="connsiteX32" fmla="*/ 294369 w 1414520"/>
                  <a:gd name="connsiteY32" fmla="*/ 2863878 h 2979185"/>
                  <a:gd name="connsiteX33" fmla="*/ 226577 w 1414520"/>
                  <a:gd name="connsiteY33" fmla="*/ 2077171 h 2979185"/>
                  <a:gd name="connsiteX34" fmla="*/ 161841 w 1414520"/>
                  <a:gd name="connsiteY34" fmla="*/ 1818226 h 2979185"/>
                  <a:gd name="connsiteX35" fmla="*/ 137565 w 1414520"/>
                  <a:gd name="connsiteY35" fmla="*/ 1583557 h 2979185"/>
                  <a:gd name="connsiteX36" fmla="*/ 80921 w 1414520"/>
                  <a:gd name="connsiteY36" fmla="*/ 733893 h 2979185"/>
                  <a:gd name="connsiteX37" fmla="*/ 8092 w 1414520"/>
                  <a:gd name="connsiteY37" fmla="*/ 474948 h 2979185"/>
                  <a:gd name="connsiteX38" fmla="*/ 32369 w 1414520"/>
                  <a:gd name="connsiteY38" fmla="*/ 345475 h 2979185"/>
                  <a:gd name="connsiteX39" fmla="*/ 178025 w 1414520"/>
                  <a:gd name="connsiteY39" fmla="*/ 5610 h 2979185"/>
                  <a:gd name="connsiteX0" fmla="*/ 178025 w 1414520"/>
                  <a:gd name="connsiteY0" fmla="*/ 5610 h 2979185"/>
                  <a:gd name="connsiteX1" fmla="*/ 299406 w 1414520"/>
                  <a:gd name="connsiteY1" fmla="*/ 78438 h 2979185"/>
                  <a:gd name="connsiteX2" fmla="*/ 493615 w 1414520"/>
                  <a:gd name="connsiteY2" fmla="*/ 126990 h 2979185"/>
                  <a:gd name="connsiteX3" fmla="*/ 687823 w 1414520"/>
                  <a:gd name="connsiteY3" fmla="*/ 143174 h 2979185"/>
                  <a:gd name="connsiteX4" fmla="*/ 865848 w 1414520"/>
                  <a:gd name="connsiteY4" fmla="*/ 110806 h 2979185"/>
                  <a:gd name="connsiteX5" fmla="*/ 946769 w 1414520"/>
                  <a:gd name="connsiteY5" fmla="*/ 62254 h 2979185"/>
                  <a:gd name="connsiteX6" fmla="*/ 1181438 w 1414520"/>
                  <a:gd name="connsiteY6" fmla="*/ 264555 h 2979185"/>
                  <a:gd name="connsiteX7" fmla="*/ 1351370 w 1414520"/>
                  <a:gd name="connsiteY7" fmla="*/ 385935 h 2979185"/>
                  <a:gd name="connsiteX8" fmla="*/ 1327094 w 1414520"/>
                  <a:gd name="connsiteY8" fmla="*/ 491132 h 2979185"/>
                  <a:gd name="connsiteX9" fmla="*/ 1246174 w 1414520"/>
                  <a:gd name="connsiteY9" fmla="*/ 750077 h 2979185"/>
                  <a:gd name="connsiteX10" fmla="*/ 1221898 w 1414520"/>
                  <a:gd name="connsiteY10" fmla="*/ 1551189 h 2979185"/>
                  <a:gd name="connsiteX11" fmla="*/ 1262358 w 1414520"/>
                  <a:gd name="connsiteY11" fmla="*/ 1747097 h 2979185"/>
                  <a:gd name="connsiteX12" fmla="*/ 1294726 w 1414520"/>
                  <a:gd name="connsiteY12" fmla="*/ 2036711 h 2979185"/>
                  <a:gd name="connsiteX13" fmla="*/ 1338427 w 1414520"/>
                  <a:gd name="connsiteY13" fmla="*/ 2332987 h 2979185"/>
                  <a:gd name="connsiteX14" fmla="*/ 1367554 w 1414520"/>
                  <a:gd name="connsiteY14" fmla="*/ 2554601 h 2979185"/>
                  <a:gd name="connsiteX15" fmla="*/ 1346565 w 1414520"/>
                  <a:gd name="connsiteY15" fmla="*/ 2663016 h 2979185"/>
                  <a:gd name="connsiteX16" fmla="*/ 1398312 w 1414520"/>
                  <a:gd name="connsiteY16" fmla="*/ 2797474 h 2979185"/>
                  <a:gd name="connsiteX17" fmla="*/ 1414520 w 1414520"/>
                  <a:gd name="connsiteY17" fmla="*/ 2910651 h 2979185"/>
                  <a:gd name="connsiteX18" fmla="*/ 1009986 w 1414520"/>
                  <a:gd name="connsiteY18" fmla="*/ 2828211 h 2979185"/>
                  <a:gd name="connsiteX19" fmla="*/ 940330 w 1414520"/>
                  <a:gd name="connsiteY19" fmla="*/ 2580488 h 2979185"/>
                  <a:gd name="connsiteX20" fmla="*/ 838376 w 1414520"/>
                  <a:gd name="connsiteY20" fmla="*/ 1947699 h 2979185"/>
                  <a:gd name="connsiteX21" fmla="*/ 801112 w 1414520"/>
                  <a:gd name="connsiteY21" fmla="*/ 1632109 h 2979185"/>
                  <a:gd name="connsiteX22" fmla="*/ 750929 w 1414520"/>
                  <a:gd name="connsiteY22" fmla="*/ 1212955 h 2979185"/>
                  <a:gd name="connsiteX23" fmla="*/ 695915 w 1414520"/>
                  <a:gd name="connsiteY23" fmla="*/ 895734 h 2979185"/>
                  <a:gd name="connsiteX24" fmla="*/ 647363 w 1414520"/>
                  <a:gd name="connsiteY24" fmla="*/ 1081851 h 2979185"/>
                  <a:gd name="connsiteX25" fmla="*/ 602031 w 1414520"/>
                  <a:gd name="connsiteY25" fmla="*/ 1669237 h 2979185"/>
                  <a:gd name="connsiteX26" fmla="*/ 598811 w 1414520"/>
                  <a:gd name="connsiteY26" fmla="*/ 1874870 h 2979185"/>
                  <a:gd name="connsiteX27" fmla="*/ 634421 w 1414520"/>
                  <a:gd name="connsiteY27" fmla="*/ 2116156 h 2979185"/>
                  <a:gd name="connsiteX28" fmla="*/ 678166 w 1414520"/>
                  <a:gd name="connsiteY28" fmla="*/ 2506049 h 2979185"/>
                  <a:gd name="connsiteX29" fmla="*/ 687823 w 1414520"/>
                  <a:gd name="connsiteY29" fmla="*/ 2797362 h 2979185"/>
                  <a:gd name="connsiteX30" fmla="*/ 652214 w 1414520"/>
                  <a:gd name="connsiteY30" fmla="*/ 2886419 h 2979185"/>
                  <a:gd name="connsiteX31" fmla="*/ 286866 w 1414520"/>
                  <a:gd name="connsiteY31" fmla="*/ 2944902 h 2979185"/>
                  <a:gd name="connsiteX32" fmla="*/ 257798 w 1414520"/>
                  <a:gd name="connsiteY32" fmla="*/ 2863879 h 2979185"/>
                  <a:gd name="connsiteX33" fmla="*/ 226577 w 1414520"/>
                  <a:gd name="connsiteY33" fmla="*/ 2077171 h 2979185"/>
                  <a:gd name="connsiteX34" fmla="*/ 161841 w 1414520"/>
                  <a:gd name="connsiteY34" fmla="*/ 1818226 h 2979185"/>
                  <a:gd name="connsiteX35" fmla="*/ 137565 w 1414520"/>
                  <a:gd name="connsiteY35" fmla="*/ 1583557 h 2979185"/>
                  <a:gd name="connsiteX36" fmla="*/ 80921 w 1414520"/>
                  <a:gd name="connsiteY36" fmla="*/ 733893 h 2979185"/>
                  <a:gd name="connsiteX37" fmla="*/ 8092 w 1414520"/>
                  <a:gd name="connsiteY37" fmla="*/ 474948 h 2979185"/>
                  <a:gd name="connsiteX38" fmla="*/ 32369 w 1414520"/>
                  <a:gd name="connsiteY38" fmla="*/ 345475 h 2979185"/>
                  <a:gd name="connsiteX39" fmla="*/ 178025 w 1414520"/>
                  <a:gd name="connsiteY39" fmla="*/ 5610 h 2979185"/>
                  <a:gd name="connsiteX0" fmla="*/ 178025 w 1414520"/>
                  <a:gd name="connsiteY0" fmla="*/ 5610 h 2979185"/>
                  <a:gd name="connsiteX1" fmla="*/ 299406 w 1414520"/>
                  <a:gd name="connsiteY1" fmla="*/ 78438 h 2979185"/>
                  <a:gd name="connsiteX2" fmla="*/ 493615 w 1414520"/>
                  <a:gd name="connsiteY2" fmla="*/ 126990 h 2979185"/>
                  <a:gd name="connsiteX3" fmla="*/ 687823 w 1414520"/>
                  <a:gd name="connsiteY3" fmla="*/ 143174 h 2979185"/>
                  <a:gd name="connsiteX4" fmla="*/ 865848 w 1414520"/>
                  <a:gd name="connsiteY4" fmla="*/ 110806 h 2979185"/>
                  <a:gd name="connsiteX5" fmla="*/ 946769 w 1414520"/>
                  <a:gd name="connsiteY5" fmla="*/ 62254 h 2979185"/>
                  <a:gd name="connsiteX6" fmla="*/ 1181438 w 1414520"/>
                  <a:gd name="connsiteY6" fmla="*/ 264555 h 2979185"/>
                  <a:gd name="connsiteX7" fmla="*/ 1351370 w 1414520"/>
                  <a:gd name="connsiteY7" fmla="*/ 385935 h 2979185"/>
                  <a:gd name="connsiteX8" fmla="*/ 1327094 w 1414520"/>
                  <a:gd name="connsiteY8" fmla="*/ 491132 h 2979185"/>
                  <a:gd name="connsiteX9" fmla="*/ 1246174 w 1414520"/>
                  <a:gd name="connsiteY9" fmla="*/ 750077 h 2979185"/>
                  <a:gd name="connsiteX10" fmla="*/ 1221898 w 1414520"/>
                  <a:gd name="connsiteY10" fmla="*/ 1551189 h 2979185"/>
                  <a:gd name="connsiteX11" fmla="*/ 1262358 w 1414520"/>
                  <a:gd name="connsiteY11" fmla="*/ 1747097 h 2979185"/>
                  <a:gd name="connsiteX12" fmla="*/ 1294726 w 1414520"/>
                  <a:gd name="connsiteY12" fmla="*/ 2036711 h 2979185"/>
                  <a:gd name="connsiteX13" fmla="*/ 1338427 w 1414520"/>
                  <a:gd name="connsiteY13" fmla="*/ 2332987 h 2979185"/>
                  <a:gd name="connsiteX14" fmla="*/ 1367554 w 1414520"/>
                  <a:gd name="connsiteY14" fmla="*/ 2554601 h 2979185"/>
                  <a:gd name="connsiteX15" fmla="*/ 1346565 w 1414520"/>
                  <a:gd name="connsiteY15" fmla="*/ 2663016 h 2979185"/>
                  <a:gd name="connsiteX16" fmla="*/ 1398312 w 1414520"/>
                  <a:gd name="connsiteY16" fmla="*/ 2797474 h 2979185"/>
                  <a:gd name="connsiteX17" fmla="*/ 1414520 w 1414520"/>
                  <a:gd name="connsiteY17" fmla="*/ 2910651 h 2979185"/>
                  <a:gd name="connsiteX18" fmla="*/ 1009986 w 1414520"/>
                  <a:gd name="connsiteY18" fmla="*/ 2828211 h 2979185"/>
                  <a:gd name="connsiteX19" fmla="*/ 940330 w 1414520"/>
                  <a:gd name="connsiteY19" fmla="*/ 2580488 h 2979185"/>
                  <a:gd name="connsiteX20" fmla="*/ 838376 w 1414520"/>
                  <a:gd name="connsiteY20" fmla="*/ 1947699 h 2979185"/>
                  <a:gd name="connsiteX21" fmla="*/ 801112 w 1414520"/>
                  <a:gd name="connsiteY21" fmla="*/ 1632109 h 2979185"/>
                  <a:gd name="connsiteX22" fmla="*/ 750929 w 1414520"/>
                  <a:gd name="connsiteY22" fmla="*/ 1212955 h 2979185"/>
                  <a:gd name="connsiteX23" fmla="*/ 695915 w 1414520"/>
                  <a:gd name="connsiteY23" fmla="*/ 895734 h 2979185"/>
                  <a:gd name="connsiteX24" fmla="*/ 647363 w 1414520"/>
                  <a:gd name="connsiteY24" fmla="*/ 1081851 h 2979185"/>
                  <a:gd name="connsiteX25" fmla="*/ 602031 w 1414520"/>
                  <a:gd name="connsiteY25" fmla="*/ 1669237 h 2979185"/>
                  <a:gd name="connsiteX26" fmla="*/ 598811 w 1414520"/>
                  <a:gd name="connsiteY26" fmla="*/ 1874870 h 2979185"/>
                  <a:gd name="connsiteX27" fmla="*/ 634421 w 1414520"/>
                  <a:gd name="connsiteY27" fmla="*/ 2116156 h 2979185"/>
                  <a:gd name="connsiteX28" fmla="*/ 678166 w 1414520"/>
                  <a:gd name="connsiteY28" fmla="*/ 2506049 h 2979185"/>
                  <a:gd name="connsiteX29" fmla="*/ 687823 w 1414520"/>
                  <a:gd name="connsiteY29" fmla="*/ 2797362 h 2979185"/>
                  <a:gd name="connsiteX30" fmla="*/ 652214 w 1414520"/>
                  <a:gd name="connsiteY30" fmla="*/ 2886419 h 2979185"/>
                  <a:gd name="connsiteX31" fmla="*/ 286866 w 1414520"/>
                  <a:gd name="connsiteY31" fmla="*/ 2944902 h 2979185"/>
                  <a:gd name="connsiteX32" fmla="*/ 257798 w 1414520"/>
                  <a:gd name="connsiteY32" fmla="*/ 2863879 h 2979185"/>
                  <a:gd name="connsiteX33" fmla="*/ 226577 w 1414520"/>
                  <a:gd name="connsiteY33" fmla="*/ 2077171 h 2979185"/>
                  <a:gd name="connsiteX34" fmla="*/ 161841 w 1414520"/>
                  <a:gd name="connsiteY34" fmla="*/ 1818226 h 2979185"/>
                  <a:gd name="connsiteX35" fmla="*/ 137565 w 1414520"/>
                  <a:gd name="connsiteY35" fmla="*/ 1583557 h 2979185"/>
                  <a:gd name="connsiteX36" fmla="*/ 80921 w 1414520"/>
                  <a:gd name="connsiteY36" fmla="*/ 733893 h 2979185"/>
                  <a:gd name="connsiteX37" fmla="*/ 8092 w 1414520"/>
                  <a:gd name="connsiteY37" fmla="*/ 474948 h 2979185"/>
                  <a:gd name="connsiteX38" fmla="*/ 32369 w 1414520"/>
                  <a:gd name="connsiteY38" fmla="*/ 345475 h 2979185"/>
                  <a:gd name="connsiteX39" fmla="*/ 178025 w 1414520"/>
                  <a:gd name="connsiteY39" fmla="*/ 5610 h 2979185"/>
                  <a:gd name="connsiteX0" fmla="*/ 178025 w 1414520"/>
                  <a:gd name="connsiteY0" fmla="*/ 5610 h 2979185"/>
                  <a:gd name="connsiteX1" fmla="*/ 299406 w 1414520"/>
                  <a:gd name="connsiteY1" fmla="*/ 78438 h 2979185"/>
                  <a:gd name="connsiteX2" fmla="*/ 493615 w 1414520"/>
                  <a:gd name="connsiteY2" fmla="*/ 126990 h 2979185"/>
                  <a:gd name="connsiteX3" fmla="*/ 687823 w 1414520"/>
                  <a:gd name="connsiteY3" fmla="*/ 143174 h 2979185"/>
                  <a:gd name="connsiteX4" fmla="*/ 865848 w 1414520"/>
                  <a:gd name="connsiteY4" fmla="*/ 110806 h 2979185"/>
                  <a:gd name="connsiteX5" fmla="*/ 946769 w 1414520"/>
                  <a:gd name="connsiteY5" fmla="*/ 62254 h 2979185"/>
                  <a:gd name="connsiteX6" fmla="*/ 1181438 w 1414520"/>
                  <a:gd name="connsiteY6" fmla="*/ 264555 h 2979185"/>
                  <a:gd name="connsiteX7" fmla="*/ 1351370 w 1414520"/>
                  <a:gd name="connsiteY7" fmla="*/ 385935 h 2979185"/>
                  <a:gd name="connsiteX8" fmla="*/ 1327094 w 1414520"/>
                  <a:gd name="connsiteY8" fmla="*/ 491132 h 2979185"/>
                  <a:gd name="connsiteX9" fmla="*/ 1246174 w 1414520"/>
                  <a:gd name="connsiteY9" fmla="*/ 750077 h 2979185"/>
                  <a:gd name="connsiteX10" fmla="*/ 1221898 w 1414520"/>
                  <a:gd name="connsiteY10" fmla="*/ 1551189 h 2979185"/>
                  <a:gd name="connsiteX11" fmla="*/ 1262358 w 1414520"/>
                  <a:gd name="connsiteY11" fmla="*/ 1747097 h 2979185"/>
                  <a:gd name="connsiteX12" fmla="*/ 1294726 w 1414520"/>
                  <a:gd name="connsiteY12" fmla="*/ 2036711 h 2979185"/>
                  <a:gd name="connsiteX13" fmla="*/ 1338427 w 1414520"/>
                  <a:gd name="connsiteY13" fmla="*/ 2332987 h 2979185"/>
                  <a:gd name="connsiteX14" fmla="*/ 1367554 w 1414520"/>
                  <a:gd name="connsiteY14" fmla="*/ 2554601 h 2979185"/>
                  <a:gd name="connsiteX15" fmla="*/ 1346565 w 1414520"/>
                  <a:gd name="connsiteY15" fmla="*/ 2663016 h 2979185"/>
                  <a:gd name="connsiteX16" fmla="*/ 1398312 w 1414520"/>
                  <a:gd name="connsiteY16" fmla="*/ 2797474 h 2979185"/>
                  <a:gd name="connsiteX17" fmla="*/ 1414520 w 1414520"/>
                  <a:gd name="connsiteY17" fmla="*/ 2910651 h 2979185"/>
                  <a:gd name="connsiteX18" fmla="*/ 1009986 w 1414520"/>
                  <a:gd name="connsiteY18" fmla="*/ 2828211 h 2979185"/>
                  <a:gd name="connsiteX19" fmla="*/ 940330 w 1414520"/>
                  <a:gd name="connsiteY19" fmla="*/ 2580488 h 2979185"/>
                  <a:gd name="connsiteX20" fmla="*/ 838376 w 1414520"/>
                  <a:gd name="connsiteY20" fmla="*/ 1947699 h 2979185"/>
                  <a:gd name="connsiteX21" fmla="*/ 801112 w 1414520"/>
                  <a:gd name="connsiteY21" fmla="*/ 1632109 h 2979185"/>
                  <a:gd name="connsiteX22" fmla="*/ 750929 w 1414520"/>
                  <a:gd name="connsiteY22" fmla="*/ 1212955 h 2979185"/>
                  <a:gd name="connsiteX23" fmla="*/ 695915 w 1414520"/>
                  <a:gd name="connsiteY23" fmla="*/ 895734 h 2979185"/>
                  <a:gd name="connsiteX24" fmla="*/ 647363 w 1414520"/>
                  <a:gd name="connsiteY24" fmla="*/ 1081851 h 2979185"/>
                  <a:gd name="connsiteX25" fmla="*/ 602031 w 1414520"/>
                  <a:gd name="connsiteY25" fmla="*/ 1669237 h 2979185"/>
                  <a:gd name="connsiteX26" fmla="*/ 598811 w 1414520"/>
                  <a:gd name="connsiteY26" fmla="*/ 1874870 h 2979185"/>
                  <a:gd name="connsiteX27" fmla="*/ 634421 w 1414520"/>
                  <a:gd name="connsiteY27" fmla="*/ 2116156 h 2979185"/>
                  <a:gd name="connsiteX28" fmla="*/ 678166 w 1414520"/>
                  <a:gd name="connsiteY28" fmla="*/ 2506049 h 2979185"/>
                  <a:gd name="connsiteX29" fmla="*/ 687823 w 1414520"/>
                  <a:gd name="connsiteY29" fmla="*/ 2797362 h 2979185"/>
                  <a:gd name="connsiteX30" fmla="*/ 652214 w 1414520"/>
                  <a:gd name="connsiteY30" fmla="*/ 2886419 h 2979185"/>
                  <a:gd name="connsiteX31" fmla="*/ 286866 w 1414520"/>
                  <a:gd name="connsiteY31" fmla="*/ 2944902 h 2979185"/>
                  <a:gd name="connsiteX32" fmla="*/ 237481 w 1414520"/>
                  <a:gd name="connsiteY32" fmla="*/ 2863879 h 2979185"/>
                  <a:gd name="connsiteX33" fmla="*/ 226577 w 1414520"/>
                  <a:gd name="connsiteY33" fmla="*/ 2077171 h 2979185"/>
                  <a:gd name="connsiteX34" fmla="*/ 161841 w 1414520"/>
                  <a:gd name="connsiteY34" fmla="*/ 1818226 h 2979185"/>
                  <a:gd name="connsiteX35" fmla="*/ 137565 w 1414520"/>
                  <a:gd name="connsiteY35" fmla="*/ 1583557 h 2979185"/>
                  <a:gd name="connsiteX36" fmla="*/ 80921 w 1414520"/>
                  <a:gd name="connsiteY36" fmla="*/ 733893 h 2979185"/>
                  <a:gd name="connsiteX37" fmla="*/ 8092 w 1414520"/>
                  <a:gd name="connsiteY37" fmla="*/ 474948 h 2979185"/>
                  <a:gd name="connsiteX38" fmla="*/ 32369 w 1414520"/>
                  <a:gd name="connsiteY38" fmla="*/ 345475 h 2979185"/>
                  <a:gd name="connsiteX39" fmla="*/ 178025 w 1414520"/>
                  <a:gd name="connsiteY39" fmla="*/ 5610 h 2979185"/>
                  <a:gd name="connsiteX0" fmla="*/ 178025 w 1414520"/>
                  <a:gd name="connsiteY0" fmla="*/ 5610 h 2979185"/>
                  <a:gd name="connsiteX1" fmla="*/ 299406 w 1414520"/>
                  <a:gd name="connsiteY1" fmla="*/ 78438 h 2979185"/>
                  <a:gd name="connsiteX2" fmla="*/ 493615 w 1414520"/>
                  <a:gd name="connsiteY2" fmla="*/ 126990 h 2979185"/>
                  <a:gd name="connsiteX3" fmla="*/ 687823 w 1414520"/>
                  <a:gd name="connsiteY3" fmla="*/ 143174 h 2979185"/>
                  <a:gd name="connsiteX4" fmla="*/ 865848 w 1414520"/>
                  <a:gd name="connsiteY4" fmla="*/ 110806 h 2979185"/>
                  <a:gd name="connsiteX5" fmla="*/ 946769 w 1414520"/>
                  <a:gd name="connsiteY5" fmla="*/ 62254 h 2979185"/>
                  <a:gd name="connsiteX6" fmla="*/ 1181438 w 1414520"/>
                  <a:gd name="connsiteY6" fmla="*/ 264555 h 2979185"/>
                  <a:gd name="connsiteX7" fmla="*/ 1351370 w 1414520"/>
                  <a:gd name="connsiteY7" fmla="*/ 385935 h 2979185"/>
                  <a:gd name="connsiteX8" fmla="*/ 1327094 w 1414520"/>
                  <a:gd name="connsiteY8" fmla="*/ 491132 h 2979185"/>
                  <a:gd name="connsiteX9" fmla="*/ 1246174 w 1414520"/>
                  <a:gd name="connsiteY9" fmla="*/ 750077 h 2979185"/>
                  <a:gd name="connsiteX10" fmla="*/ 1221898 w 1414520"/>
                  <a:gd name="connsiteY10" fmla="*/ 1551189 h 2979185"/>
                  <a:gd name="connsiteX11" fmla="*/ 1262358 w 1414520"/>
                  <a:gd name="connsiteY11" fmla="*/ 1747097 h 2979185"/>
                  <a:gd name="connsiteX12" fmla="*/ 1294726 w 1414520"/>
                  <a:gd name="connsiteY12" fmla="*/ 2036711 h 2979185"/>
                  <a:gd name="connsiteX13" fmla="*/ 1338427 w 1414520"/>
                  <a:gd name="connsiteY13" fmla="*/ 2332987 h 2979185"/>
                  <a:gd name="connsiteX14" fmla="*/ 1367554 w 1414520"/>
                  <a:gd name="connsiteY14" fmla="*/ 2554601 h 2979185"/>
                  <a:gd name="connsiteX15" fmla="*/ 1346565 w 1414520"/>
                  <a:gd name="connsiteY15" fmla="*/ 2663016 h 2979185"/>
                  <a:gd name="connsiteX16" fmla="*/ 1398312 w 1414520"/>
                  <a:gd name="connsiteY16" fmla="*/ 2797474 h 2979185"/>
                  <a:gd name="connsiteX17" fmla="*/ 1414520 w 1414520"/>
                  <a:gd name="connsiteY17" fmla="*/ 2910651 h 2979185"/>
                  <a:gd name="connsiteX18" fmla="*/ 1009986 w 1414520"/>
                  <a:gd name="connsiteY18" fmla="*/ 2828211 h 2979185"/>
                  <a:gd name="connsiteX19" fmla="*/ 940330 w 1414520"/>
                  <a:gd name="connsiteY19" fmla="*/ 2580488 h 2979185"/>
                  <a:gd name="connsiteX20" fmla="*/ 838376 w 1414520"/>
                  <a:gd name="connsiteY20" fmla="*/ 1947699 h 2979185"/>
                  <a:gd name="connsiteX21" fmla="*/ 801112 w 1414520"/>
                  <a:gd name="connsiteY21" fmla="*/ 1632109 h 2979185"/>
                  <a:gd name="connsiteX22" fmla="*/ 750929 w 1414520"/>
                  <a:gd name="connsiteY22" fmla="*/ 1212955 h 2979185"/>
                  <a:gd name="connsiteX23" fmla="*/ 695915 w 1414520"/>
                  <a:gd name="connsiteY23" fmla="*/ 895734 h 2979185"/>
                  <a:gd name="connsiteX24" fmla="*/ 647363 w 1414520"/>
                  <a:gd name="connsiteY24" fmla="*/ 1081851 h 2979185"/>
                  <a:gd name="connsiteX25" fmla="*/ 602031 w 1414520"/>
                  <a:gd name="connsiteY25" fmla="*/ 1669237 h 2979185"/>
                  <a:gd name="connsiteX26" fmla="*/ 598811 w 1414520"/>
                  <a:gd name="connsiteY26" fmla="*/ 1874870 h 2979185"/>
                  <a:gd name="connsiteX27" fmla="*/ 634421 w 1414520"/>
                  <a:gd name="connsiteY27" fmla="*/ 2116156 h 2979185"/>
                  <a:gd name="connsiteX28" fmla="*/ 678166 w 1414520"/>
                  <a:gd name="connsiteY28" fmla="*/ 2506049 h 2979185"/>
                  <a:gd name="connsiteX29" fmla="*/ 687823 w 1414520"/>
                  <a:gd name="connsiteY29" fmla="*/ 2797362 h 2979185"/>
                  <a:gd name="connsiteX30" fmla="*/ 575008 w 1414520"/>
                  <a:gd name="connsiteY30" fmla="*/ 2910800 h 2979185"/>
                  <a:gd name="connsiteX31" fmla="*/ 286866 w 1414520"/>
                  <a:gd name="connsiteY31" fmla="*/ 2944902 h 2979185"/>
                  <a:gd name="connsiteX32" fmla="*/ 237481 w 1414520"/>
                  <a:gd name="connsiteY32" fmla="*/ 2863879 h 2979185"/>
                  <a:gd name="connsiteX33" fmla="*/ 226577 w 1414520"/>
                  <a:gd name="connsiteY33" fmla="*/ 2077171 h 2979185"/>
                  <a:gd name="connsiteX34" fmla="*/ 161841 w 1414520"/>
                  <a:gd name="connsiteY34" fmla="*/ 1818226 h 2979185"/>
                  <a:gd name="connsiteX35" fmla="*/ 137565 w 1414520"/>
                  <a:gd name="connsiteY35" fmla="*/ 1583557 h 2979185"/>
                  <a:gd name="connsiteX36" fmla="*/ 80921 w 1414520"/>
                  <a:gd name="connsiteY36" fmla="*/ 733893 h 2979185"/>
                  <a:gd name="connsiteX37" fmla="*/ 8092 w 1414520"/>
                  <a:gd name="connsiteY37" fmla="*/ 474948 h 2979185"/>
                  <a:gd name="connsiteX38" fmla="*/ 32369 w 1414520"/>
                  <a:gd name="connsiteY38" fmla="*/ 345475 h 2979185"/>
                  <a:gd name="connsiteX39" fmla="*/ 178025 w 1414520"/>
                  <a:gd name="connsiteY39" fmla="*/ 5610 h 2979185"/>
                  <a:gd name="connsiteX0" fmla="*/ 178025 w 1414520"/>
                  <a:gd name="connsiteY0" fmla="*/ 5610 h 2979185"/>
                  <a:gd name="connsiteX1" fmla="*/ 299406 w 1414520"/>
                  <a:gd name="connsiteY1" fmla="*/ 78438 h 2979185"/>
                  <a:gd name="connsiteX2" fmla="*/ 493615 w 1414520"/>
                  <a:gd name="connsiteY2" fmla="*/ 126990 h 2979185"/>
                  <a:gd name="connsiteX3" fmla="*/ 687823 w 1414520"/>
                  <a:gd name="connsiteY3" fmla="*/ 143174 h 2979185"/>
                  <a:gd name="connsiteX4" fmla="*/ 865848 w 1414520"/>
                  <a:gd name="connsiteY4" fmla="*/ 110806 h 2979185"/>
                  <a:gd name="connsiteX5" fmla="*/ 946769 w 1414520"/>
                  <a:gd name="connsiteY5" fmla="*/ 62254 h 2979185"/>
                  <a:gd name="connsiteX6" fmla="*/ 1181438 w 1414520"/>
                  <a:gd name="connsiteY6" fmla="*/ 264555 h 2979185"/>
                  <a:gd name="connsiteX7" fmla="*/ 1351370 w 1414520"/>
                  <a:gd name="connsiteY7" fmla="*/ 385935 h 2979185"/>
                  <a:gd name="connsiteX8" fmla="*/ 1327094 w 1414520"/>
                  <a:gd name="connsiteY8" fmla="*/ 491132 h 2979185"/>
                  <a:gd name="connsiteX9" fmla="*/ 1246174 w 1414520"/>
                  <a:gd name="connsiteY9" fmla="*/ 750077 h 2979185"/>
                  <a:gd name="connsiteX10" fmla="*/ 1221898 w 1414520"/>
                  <a:gd name="connsiteY10" fmla="*/ 1551189 h 2979185"/>
                  <a:gd name="connsiteX11" fmla="*/ 1262358 w 1414520"/>
                  <a:gd name="connsiteY11" fmla="*/ 1747097 h 2979185"/>
                  <a:gd name="connsiteX12" fmla="*/ 1294726 w 1414520"/>
                  <a:gd name="connsiteY12" fmla="*/ 2036711 h 2979185"/>
                  <a:gd name="connsiteX13" fmla="*/ 1338427 w 1414520"/>
                  <a:gd name="connsiteY13" fmla="*/ 2332987 h 2979185"/>
                  <a:gd name="connsiteX14" fmla="*/ 1367554 w 1414520"/>
                  <a:gd name="connsiteY14" fmla="*/ 2554601 h 2979185"/>
                  <a:gd name="connsiteX15" fmla="*/ 1346565 w 1414520"/>
                  <a:gd name="connsiteY15" fmla="*/ 2663016 h 2979185"/>
                  <a:gd name="connsiteX16" fmla="*/ 1398312 w 1414520"/>
                  <a:gd name="connsiteY16" fmla="*/ 2797474 h 2979185"/>
                  <a:gd name="connsiteX17" fmla="*/ 1414520 w 1414520"/>
                  <a:gd name="connsiteY17" fmla="*/ 2910651 h 2979185"/>
                  <a:gd name="connsiteX18" fmla="*/ 1009986 w 1414520"/>
                  <a:gd name="connsiteY18" fmla="*/ 2828211 h 2979185"/>
                  <a:gd name="connsiteX19" fmla="*/ 940330 w 1414520"/>
                  <a:gd name="connsiteY19" fmla="*/ 2580488 h 2979185"/>
                  <a:gd name="connsiteX20" fmla="*/ 838376 w 1414520"/>
                  <a:gd name="connsiteY20" fmla="*/ 1947699 h 2979185"/>
                  <a:gd name="connsiteX21" fmla="*/ 801112 w 1414520"/>
                  <a:gd name="connsiteY21" fmla="*/ 1632109 h 2979185"/>
                  <a:gd name="connsiteX22" fmla="*/ 750929 w 1414520"/>
                  <a:gd name="connsiteY22" fmla="*/ 1212955 h 2979185"/>
                  <a:gd name="connsiteX23" fmla="*/ 695915 w 1414520"/>
                  <a:gd name="connsiteY23" fmla="*/ 895734 h 2979185"/>
                  <a:gd name="connsiteX24" fmla="*/ 647363 w 1414520"/>
                  <a:gd name="connsiteY24" fmla="*/ 1081851 h 2979185"/>
                  <a:gd name="connsiteX25" fmla="*/ 602031 w 1414520"/>
                  <a:gd name="connsiteY25" fmla="*/ 1669237 h 2979185"/>
                  <a:gd name="connsiteX26" fmla="*/ 598811 w 1414520"/>
                  <a:gd name="connsiteY26" fmla="*/ 1874870 h 2979185"/>
                  <a:gd name="connsiteX27" fmla="*/ 634421 w 1414520"/>
                  <a:gd name="connsiteY27" fmla="*/ 2116156 h 2979185"/>
                  <a:gd name="connsiteX28" fmla="*/ 678166 w 1414520"/>
                  <a:gd name="connsiteY28" fmla="*/ 2506049 h 2979185"/>
                  <a:gd name="connsiteX29" fmla="*/ 630935 w 1414520"/>
                  <a:gd name="connsiteY29" fmla="*/ 2809553 h 2979185"/>
                  <a:gd name="connsiteX30" fmla="*/ 575008 w 1414520"/>
                  <a:gd name="connsiteY30" fmla="*/ 2910800 h 2979185"/>
                  <a:gd name="connsiteX31" fmla="*/ 286866 w 1414520"/>
                  <a:gd name="connsiteY31" fmla="*/ 2944902 h 2979185"/>
                  <a:gd name="connsiteX32" fmla="*/ 237481 w 1414520"/>
                  <a:gd name="connsiteY32" fmla="*/ 2863879 h 2979185"/>
                  <a:gd name="connsiteX33" fmla="*/ 226577 w 1414520"/>
                  <a:gd name="connsiteY33" fmla="*/ 2077171 h 2979185"/>
                  <a:gd name="connsiteX34" fmla="*/ 161841 w 1414520"/>
                  <a:gd name="connsiteY34" fmla="*/ 1818226 h 2979185"/>
                  <a:gd name="connsiteX35" fmla="*/ 137565 w 1414520"/>
                  <a:gd name="connsiteY35" fmla="*/ 1583557 h 2979185"/>
                  <a:gd name="connsiteX36" fmla="*/ 80921 w 1414520"/>
                  <a:gd name="connsiteY36" fmla="*/ 733893 h 2979185"/>
                  <a:gd name="connsiteX37" fmla="*/ 8092 w 1414520"/>
                  <a:gd name="connsiteY37" fmla="*/ 474948 h 2979185"/>
                  <a:gd name="connsiteX38" fmla="*/ 32369 w 1414520"/>
                  <a:gd name="connsiteY38" fmla="*/ 345475 h 2979185"/>
                  <a:gd name="connsiteX39" fmla="*/ 178025 w 1414520"/>
                  <a:gd name="connsiteY39" fmla="*/ 5610 h 2979185"/>
                  <a:gd name="connsiteX0" fmla="*/ 178025 w 1414520"/>
                  <a:gd name="connsiteY0" fmla="*/ 5610 h 2979185"/>
                  <a:gd name="connsiteX1" fmla="*/ 299406 w 1414520"/>
                  <a:gd name="connsiteY1" fmla="*/ 78438 h 2979185"/>
                  <a:gd name="connsiteX2" fmla="*/ 493615 w 1414520"/>
                  <a:gd name="connsiteY2" fmla="*/ 126990 h 2979185"/>
                  <a:gd name="connsiteX3" fmla="*/ 687823 w 1414520"/>
                  <a:gd name="connsiteY3" fmla="*/ 143174 h 2979185"/>
                  <a:gd name="connsiteX4" fmla="*/ 865848 w 1414520"/>
                  <a:gd name="connsiteY4" fmla="*/ 110806 h 2979185"/>
                  <a:gd name="connsiteX5" fmla="*/ 946769 w 1414520"/>
                  <a:gd name="connsiteY5" fmla="*/ 62254 h 2979185"/>
                  <a:gd name="connsiteX6" fmla="*/ 1181438 w 1414520"/>
                  <a:gd name="connsiteY6" fmla="*/ 264555 h 2979185"/>
                  <a:gd name="connsiteX7" fmla="*/ 1351370 w 1414520"/>
                  <a:gd name="connsiteY7" fmla="*/ 385935 h 2979185"/>
                  <a:gd name="connsiteX8" fmla="*/ 1327094 w 1414520"/>
                  <a:gd name="connsiteY8" fmla="*/ 491132 h 2979185"/>
                  <a:gd name="connsiteX9" fmla="*/ 1246174 w 1414520"/>
                  <a:gd name="connsiteY9" fmla="*/ 750077 h 2979185"/>
                  <a:gd name="connsiteX10" fmla="*/ 1221898 w 1414520"/>
                  <a:gd name="connsiteY10" fmla="*/ 1551189 h 2979185"/>
                  <a:gd name="connsiteX11" fmla="*/ 1262358 w 1414520"/>
                  <a:gd name="connsiteY11" fmla="*/ 1747097 h 2979185"/>
                  <a:gd name="connsiteX12" fmla="*/ 1294726 w 1414520"/>
                  <a:gd name="connsiteY12" fmla="*/ 2036711 h 2979185"/>
                  <a:gd name="connsiteX13" fmla="*/ 1338427 w 1414520"/>
                  <a:gd name="connsiteY13" fmla="*/ 2332987 h 2979185"/>
                  <a:gd name="connsiteX14" fmla="*/ 1367554 w 1414520"/>
                  <a:gd name="connsiteY14" fmla="*/ 2554601 h 2979185"/>
                  <a:gd name="connsiteX15" fmla="*/ 1346565 w 1414520"/>
                  <a:gd name="connsiteY15" fmla="*/ 2663016 h 2979185"/>
                  <a:gd name="connsiteX16" fmla="*/ 1398312 w 1414520"/>
                  <a:gd name="connsiteY16" fmla="*/ 2797474 h 2979185"/>
                  <a:gd name="connsiteX17" fmla="*/ 1414520 w 1414520"/>
                  <a:gd name="connsiteY17" fmla="*/ 2910651 h 2979185"/>
                  <a:gd name="connsiteX18" fmla="*/ 1009986 w 1414520"/>
                  <a:gd name="connsiteY18" fmla="*/ 2828211 h 2979185"/>
                  <a:gd name="connsiteX19" fmla="*/ 940330 w 1414520"/>
                  <a:gd name="connsiteY19" fmla="*/ 2580488 h 2979185"/>
                  <a:gd name="connsiteX20" fmla="*/ 838376 w 1414520"/>
                  <a:gd name="connsiteY20" fmla="*/ 1947699 h 2979185"/>
                  <a:gd name="connsiteX21" fmla="*/ 801112 w 1414520"/>
                  <a:gd name="connsiteY21" fmla="*/ 1632109 h 2979185"/>
                  <a:gd name="connsiteX22" fmla="*/ 750929 w 1414520"/>
                  <a:gd name="connsiteY22" fmla="*/ 1212955 h 2979185"/>
                  <a:gd name="connsiteX23" fmla="*/ 695915 w 1414520"/>
                  <a:gd name="connsiteY23" fmla="*/ 895734 h 2979185"/>
                  <a:gd name="connsiteX24" fmla="*/ 647363 w 1414520"/>
                  <a:gd name="connsiteY24" fmla="*/ 1081851 h 2979185"/>
                  <a:gd name="connsiteX25" fmla="*/ 602031 w 1414520"/>
                  <a:gd name="connsiteY25" fmla="*/ 1669237 h 2979185"/>
                  <a:gd name="connsiteX26" fmla="*/ 598811 w 1414520"/>
                  <a:gd name="connsiteY26" fmla="*/ 1874870 h 2979185"/>
                  <a:gd name="connsiteX27" fmla="*/ 634421 w 1414520"/>
                  <a:gd name="connsiteY27" fmla="*/ 2116156 h 2979185"/>
                  <a:gd name="connsiteX28" fmla="*/ 629404 w 1414520"/>
                  <a:gd name="connsiteY28" fmla="*/ 2510114 h 2979185"/>
                  <a:gd name="connsiteX29" fmla="*/ 630935 w 1414520"/>
                  <a:gd name="connsiteY29" fmla="*/ 2809553 h 2979185"/>
                  <a:gd name="connsiteX30" fmla="*/ 575008 w 1414520"/>
                  <a:gd name="connsiteY30" fmla="*/ 2910800 h 2979185"/>
                  <a:gd name="connsiteX31" fmla="*/ 286866 w 1414520"/>
                  <a:gd name="connsiteY31" fmla="*/ 2944902 h 2979185"/>
                  <a:gd name="connsiteX32" fmla="*/ 237481 w 1414520"/>
                  <a:gd name="connsiteY32" fmla="*/ 2863879 h 2979185"/>
                  <a:gd name="connsiteX33" fmla="*/ 226577 w 1414520"/>
                  <a:gd name="connsiteY33" fmla="*/ 2077171 h 2979185"/>
                  <a:gd name="connsiteX34" fmla="*/ 161841 w 1414520"/>
                  <a:gd name="connsiteY34" fmla="*/ 1818226 h 2979185"/>
                  <a:gd name="connsiteX35" fmla="*/ 137565 w 1414520"/>
                  <a:gd name="connsiteY35" fmla="*/ 1583557 h 2979185"/>
                  <a:gd name="connsiteX36" fmla="*/ 80921 w 1414520"/>
                  <a:gd name="connsiteY36" fmla="*/ 733893 h 2979185"/>
                  <a:gd name="connsiteX37" fmla="*/ 8092 w 1414520"/>
                  <a:gd name="connsiteY37" fmla="*/ 474948 h 2979185"/>
                  <a:gd name="connsiteX38" fmla="*/ 32369 w 1414520"/>
                  <a:gd name="connsiteY38" fmla="*/ 345475 h 2979185"/>
                  <a:gd name="connsiteX39" fmla="*/ 178025 w 1414520"/>
                  <a:gd name="connsiteY39" fmla="*/ 5610 h 2979185"/>
                  <a:gd name="connsiteX0" fmla="*/ 178025 w 1414520"/>
                  <a:gd name="connsiteY0" fmla="*/ 5610 h 2979185"/>
                  <a:gd name="connsiteX1" fmla="*/ 299406 w 1414520"/>
                  <a:gd name="connsiteY1" fmla="*/ 78438 h 2979185"/>
                  <a:gd name="connsiteX2" fmla="*/ 493615 w 1414520"/>
                  <a:gd name="connsiteY2" fmla="*/ 126990 h 2979185"/>
                  <a:gd name="connsiteX3" fmla="*/ 687823 w 1414520"/>
                  <a:gd name="connsiteY3" fmla="*/ 143174 h 2979185"/>
                  <a:gd name="connsiteX4" fmla="*/ 865848 w 1414520"/>
                  <a:gd name="connsiteY4" fmla="*/ 110806 h 2979185"/>
                  <a:gd name="connsiteX5" fmla="*/ 946769 w 1414520"/>
                  <a:gd name="connsiteY5" fmla="*/ 62254 h 2979185"/>
                  <a:gd name="connsiteX6" fmla="*/ 1181438 w 1414520"/>
                  <a:gd name="connsiteY6" fmla="*/ 264555 h 2979185"/>
                  <a:gd name="connsiteX7" fmla="*/ 1351370 w 1414520"/>
                  <a:gd name="connsiteY7" fmla="*/ 385935 h 2979185"/>
                  <a:gd name="connsiteX8" fmla="*/ 1327094 w 1414520"/>
                  <a:gd name="connsiteY8" fmla="*/ 491132 h 2979185"/>
                  <a:gd name="connsiteX9" fmla="*/ 1246174 w 1414520"/>
                  <a:gd name="connsiteY9" fmla="*/ 750077 h 2979185"/>
                  <a:gd name="connsiteX10" fmla="*/ 1221898 w 1414520"/>
                  <a:gd name="connsiteY10" fmla="*/ 1551189 h 2979185"/>
                  <a:gd name="connsiteX11" fmla="*/ 1262358 w 1414520"/>
                  <a:gd name="connsiteY11" fmla="*/ 1747097 h 2979185"/>
                  <a:gd name="connsiteX12" fmla="*/ 1294726 w 1414520"/>
                  <a:gd name="connsiteY12" fmla="*/ 2036711 h 2979185"/>
                  <a:gd name="connsiteX13" fmla="*/ 1338427 w 1414520"/>
                  <a:gd name="connsiteY13" fmla="*/ 2332987 h 2979185"/>
                  <a:gd name="connsiteX14" fmla="*/ 1367554 w 1414520"/>
                  <a:gd name="connsiteY14" fmla="*/ 2554601 h 2979185"/>
                  <a:gd name="connsiteX15" fmla="*/ 1346565 w 1414520"/>
                  <a:gd name="connsiteY15" fmla="*/ 2663016 h 2979185"/>
                  <a:gd name="connsiteX16" fmla="*/ 1398312 w 1414520"/>
                  <a:gd name="connsiteY16" fmla="*/ 2797474 h 2979185"/>
                  <a:gd name="connsiteX17" fmla="*/ 1414520 w 1414520"/>
                  <a:gd name="connsiteY17" fmla="*/ 2910651 h 2979185"/>
                  <a:gd name="connsiteX18" fmla="*/ 1009986 w 1414520"/>
                  <a:gd name="connsiteY18" fmla="*/ 2828211 h 2979185"/>
                  <a:gd name="connsiteX19" fmla="*/ 940330 w 1414520"/>
                  <a:gd name="connsiteY19" fmla="*/ 2580488 h 2979185"/>
                  <a:gd name="connsiteX20" fmla="*/ 838376 w 1414520"/>
                  <a:gd name="connsiteY20" fmla="*/ 1947699 h 2979185"/>
                  <a:gd name="connsiteX21" fmla="*/ 801112 w 1414520"/>
                  <a:gd name="connsiteY21" fmla="*/ 1632109 h 2979185"/>
                  <a:gd name="connsiteX22" fmla="*/ 750929 w 1414520"/>
                  <a:gd name="connsiteY22" fmla="*/ 1212955 h 2979185"/>
                  <a:gd name="connsiteX23" fmla="*/ 695915 w 1414520"/>
                  <a:gd name="connsiteY23" fmla="*/ 895734 h 2979185"/>
                  <a:gd name="connsiteX24" fmla="*/ 647363 w 1414520"/>
                  <a:gd name="connsiteY24" fmla="*/ 1081851 h 2979185"/>
                  <a:gd name="connsiteX25" fmla="*/ 602031 w 1414520"/>
                  <a:gd name="connsiteY25" fmla="*/ 1669237 h 2979185"/>
                  <a:gd name="connsiteX26" fmla="*/ 598811 w 1414520"/>
                  <a:gd name="connsiteY26" fmla="*/ 1874870 h 2979185"/>
                  <a:gd name="connsiteX27" fmla="*/ 634421 w 1414520"/>
                  <a:gd name="connsiteY27" fmla="*/ 2116156 h 2979185"/>
                  <a:gd name="connsiteX28" fmla="*/ 629404 w 1414520"/>
                  <a:gd name="connsiteY28" fmla="*/ 2510114 h 2979185"/>
                  <a:gd name="connsiteX29" fmla="*/ 614682 w 1414520"/>
                  <a:gd name="connsiteY29" fmla="*/ 2809553 h 2979185"/>
                  <a:gd name="connsiteX30" fmla="*/ 575008 w 1414520"/>
                  <a:gd name="connsiteY30" fmla="*/ 2910800 h 2979185"/>
                  <a:gd name="connsiteX31" fmla="*/ 286866 w 1414520"/>
                  <a:gd name="connsiteY31" fmla="*/ 2944902 h 2979185"/>
                  <a:gd name="connsiteX32" fmla="*/ 237481 w 1414520"/>
                  <a:gd name="connsiteY32" fmla="*/ 2863879 h 2979185"/>
                  <a:gd name="connsiteX33" fmla="*/ 226577 w 1414520"/>
                  <a:gd name="connsiteY33" fmla="*/ 2077171 h 2979185"/>
                  <a:gd name="connsiteX34" fmla="*/ 161841 w 1414520"/>
                  <a:gd name="connsiteY34" fmla="*/ 1818226 h 2979185"/>
                  <a:gd name="connsiteX35" fmla="*/ 137565 w 1414520"/>
                  <a:gd name="connsiteY35" fmla="*/ 1583557 h 2979185"/>
                  <a:gd name="connsiteX36" fmla="*/ 80921 w 1414520"/>
                  <a:gd name="connsiteY36" fmla="*/ 733893 h 2979185"/>
                  <a:gd name="connsiteX37" fmla="*/ 8092 w 1414520"/>
                  <a:gd name="connsiteY37" fmla="*/ 474948 h 2979185"/>
                  <a:gd name="connsiteX38" fmla="*/ 32369 w 1414520"/>
                  <a:gd name="connsiteY38" fmla="*/ 345475 h 2979185"/>
                  <a:gd name="connsiteX39" fmla="*/ 178025 w 1414520"/>
                  <a:gd name="connsiteY39" fmla="*/ 5610 h 2979185"/>
                  <a:gd name="connsiteX0" fmla="*/ 178025 w 1414520"/>
                  <a:gd name="connsiteY0" fmla="*/ 5610 h 2979185"/>
                  <a:gd name="connsiteX1" fmla="*/ 299406 w 1414520"/>
                  <a:gd name="connsiteY1" fmla="*/ 78438 h 2979185"/>
                  <a:gd name="connsiteX2" fmla="*/ 493615 w 1414520"/>
                  <a:gd name="connsiteY2" fmla="*/ 126990 h 2979185"/>
                  <a:gd name="connsiteX3" fmla="*/ 687823 w 1414520"/>
                  <a:gd name="connsiteY3" fmla="*/ 143174 h 2979185"/>
                  <a:gd name="connsiteX4" fmla="*/ 865848 w 1414520"/>
                  <a:gd name="connsiteY4" fmla="*/ 110806 h 2979185"/>
                  <a:gd name="connsiteX5" fmla="*/ 946769 w 1414520"/>
                  <a:gd name="connsiteY5" fmla="*/ 62254 h 2979185"/>
                  <a:gd name="connsiteX6" fmla="*/ 1181438 w 1414520"/>
                  <a:gd name="connsiteY6" fmla="*/ 264555 h 2979185"/>
                  <a:gd name="connsiteX7" fmla="*/ 1351370 w 1414520"/>
                  <a:gd name="connsiteY7" fmla="*/ 385935 h 2979185"/>
                  <a:gd name="connsiteX8" fmla="*/ 1327094 w 1414520"/>
                  <a:gd name="connsiteY8" fmla="*/ 491132 h 2979185"/>
                  <a:gd name="connsiteX9" fmla="*/ 1246174 w 1414520"/>
                  <a:gd name="connsiteY9" fmla="*/ 750077 h 2979185"/>
                  <a:gd name="connsiteX10" fmla="*/ 1221898 w 1414520"/>
                  <a:gd name="connsiteY10" fmla="*/ 1551189 h 2979185"/>
                  <a:gd name="connsiteX11" fmla="*/ 1262358 w 1414520"/>
                  <a:gd name="connsiteY11" fmla="*/ 1747097 h 2979185"/>
                  <a:gd name="connsiteX12" fmla="*/ 1294726 w 1414520"/>
                  <a:gd name="connsiteY12" fmla="*/ 2036711 h 2979185"/>
                  <a:gd name="connsiteX13" fmla="*/ 1338427 w 1414520"/>
                  <a:gd name="connsiteY13" fmla="*/ 2332987 h 2979185"/>
                  <a:gd name="connsiteX14" fmla="*/ 1367554 w 1414520"/>
                  <a:gd name="connsiteY14" fmla="*/ 2554601 h 2979185"/>
                  <a:gd name="connsiteX15" fmla="*/ 1346565 w 1414520"/>
                  <a:gd name="connsiteY15" fmla="*/ 2663016 h 2979185"/>
                  <a:gd name="connsiteX16" fmla="*/ 1398312 w 1414520"/>
                  <a:gd name="connsiteY16" fmla="*/ 2797474 h 2979185"/>
                  <a:gd name="connsiteX17" fmla="*/ 1414520 w 1414520"/>
                  <a:gd name="connsiteY17" fmla="*/ 2910651 h 2979185"/>
                  <a:gd name="connsiteX18" fmla="*/ 1009986 w 1414520"/>
                  <a:gd name="connsiteY18" fmla="*/ 2828211 h 2979185"/>
                  <a:gd name="connsiteX19" fmla="*/ 940330 w 1414520"/>
                  <a:gd name="connsiteY19" fmla="*/ 2580488 h 2979185"/>
                  <a:gd name="connsiteX20" fmla="*/ 838376 w 1414520"/>
                  <a:gd name="connsiteY20" fmla="*/ 1947699 h 2979185"/>
                  <a:gd name="connsiteX21" fmla="*/ 801112 w 1414520"/>
                  <a:gd name="connsiteY21" fmla="*/ 1632109 h 2979185"/>
                  <a:gd name="connsiteX22" fmla="*/ 750929 w 1414520"/>
                  <a:gd name="connsiteY22" fmla="*/ 1212955 h 2979185"/>
                  <a:gd name="connsiteX23" fmla="*/ 695915 w 1414520"/>
                  <a:gd name="connsiteY23" fmla="*/ 895734 h 2979185"/>
                  <a:gd name="connsiteX24" fmla="*/ 647363 w 1414520"/>
                  <a:gd name="connsiteY24" fmla="*/ 1081851 h 2979185"/>
                  <a:gd name="connsiteX25" fmla="*/ 602031 w 1414520"/>
                  <a:gd name="connsiteY25" fmla="*/ 1669237 h 2979185"/>
                  <a:gd name="connsiteX26" fmla="*/ 598811 w 1414520"/>
                  <a:gd name="connsiteY26" fmla="*/ 1874870 h 2979185"/>
                  <a:gd name="connsiteX27" fmla="*/ 634421 w 1414520"/>
                  <a:gd name="connsiteY27" fmla="*/ 2116156 h 2979185"/>
                  <a:gd name="connsiteX28" fmla="*/ 637531 w 1414520"/>
                  <a:gd name="connsiteY28" fmla="*/ 2510114 h 2979185"/>
                  <a:gd name="connsiteX29" fmla="*/ 614682 w 1414520"/>
                  <a:gd name="connsiteY29" fmla="*/ 2809553 h 2979185"/>
                  <a:gd name="connsiteX30" fmla="*/ 575008 w 1414520"/>
                  <a:gd name="connsiteY30" fmla="*/ 2910800 h 2979185"/>
                  <a:gd name="connsiteX31" fmla="*/ 286866 w 1414520"/>
                  <a:gd name="connsiteY31" fmla="*/ 2944902 h 2979185"/>
                  <a:gd name="connsiteX32" fmla="*/ 237481 w 1414520"/>
                  <a:gd name="connsiteY32" fmla="*/ 2863879 h 2979185"/>
                  <a:gd name="connsiteX33" fmla="*/ 226577 w 1414520"/>
                  <a:gd name="connsiteY33" fmla="*/ 2077171 h 2979185"/>
                  <a:gd name="connsiteX34" fmla="*/ 161841 w 1414520"/>
                  <a:gd name="connsiteY34" fmla="*/ 1818226 h 2979185"/>
                  <a:gd name="connsiteX35" fmla="*/ 137565 w 1414520"/>
                  <a:gd name="connsiteY35" fmla="*/ 1583557 h 2979185"/>
                  <a:gd name="connsiteX36" fmla="*/ 80921 w 1414520"/>
                  <a:gd name="connsiteY36" fmla="*/ 733893 h 2979185"/>
                  <a:gd name="connsiteX37" fmla="*/ 8092 w 1414520"/>
                  <a:gd name="connsiteY37" fmla="*/ 474948 h 2979185"/>
                  <a:gd name="connsiteX38" fmla="*/ 32369 w 1414520"/>
                  <a:gd name="connsiteY38" fmla="*/ 345475 h 2979185"/>
                  <a:gd name="connsiteX39" fmla="*/ 178025 w 1414520"/>
                  <a:gd name="connsiteY39" fmla="*/ 5610 h 2979185"/>
                  <a:gd name="connsiteX0" fmla="*/ 178025 w 1414520"/>
                  <a:gd name="connsiteY0" fmla="*/ 5610 h 2979185"/>
                  <a:gd name="connsiteX1" fmla="*/ 299406 w 1414520"/>
                  <a:gd name="connsiteY1" fmla="*/ 78438 h 2979185"/>
                  <a:gd name="connsiteX2" fmla="*/ 493615 w 1414520"/>
                  <a:gd name="connsiteY2" fmla="*/ 126990 h 2979185"/>
                  <a:gd name="connsiteX3" fmla="*/ 687823 w 1414520"/>
                  <a:gd name="connsiteY3" fmla="*/ 143174 h 2979185"/>
                  <a:gd name="connsiteX4" fmla="*/ 865848 w 1414520"/>
                  <a:gd name="connsiteY4" fmla="*/ 110806 h 2979185"/>
                  <a:gd name="connsiteX5" fmla="*/ 946769 w 1414520"/>
                  <a:gd name="connsiteY5" fmla="*/ 62254 h 2979185"/>
                  <a:gd name="connsiteX6" fmla="*/ 1181438 w 1414520"/>
                  <a:gd name="connsiteY6" fmla="*/ 264555 h 2979185"/>
                  <a:gd name="connsiteX7" fmla="*/ 1351370 w 1414520"/>
                  <a:gd name="connsiteY7" fmla="*/ 385935 h 2979185"/>
                  <a:gd name="connsiteX8" fmla="*/ 1327094 w 1414520"/>
                  <a:gd name="connsiteY8" fmla="*/ 491132 h 2979185"/>
                  <a:gd name="connsiteX9" fmla="*/ 1246174 w 1414520"/>
                  <a:gd name="connsiteY9" fmla="*/ 750077 h 2979185"/>
                  <a:gd name="connsiteX10" fmla="*/ 1221898 w 1414520"/>
                  <a:gd name="connsiteY10" fmla="*/ 1551189 h 2979185"/>
                  <a:gd name="connsiteX11" fmla="*/ 1262358 w 1414520"/>
                  <a:gd name="connsiteY11" fmla="*/ 1747097 h 2979185"/>
                  <a:gd name="connsiteX12" fmla="*/ 1294726 w 1414520"/>
                  <a:gd name="connsiteY12" fmla="*/ 2036711 h 2979185"/>
                  <a:gd name="connsiteX13" fmla="*/ 1338427 w 1414520"/>
                  <a:gd name="connsiteY13" fmla="*/ 2332987 h 2979185"/>
                  <a:gd name="connsiteX14" fmla="*/ 1367554 w 1414520"/>
                  <a:gd name="connsiteY14" fmla="*/ 2554601 h 2979185"/>
                  <a:gd name="connsiteX15" fmla="*/ 1346565 w 1414520"/>
                  <a:gd name="connsiteY15" fmla="*/ 2663016 h 2979185"/>
                  <a:gd name="connsiteX16" fmla="*/ 1398312 w 1414520"/>
                  <a:gd name="connsiteY16" fmla="*/ 2797474 h 2979185"/>
                  <a:gd name="connsiteX17" fmla="*/ 1414520 w 1414520"/>
                  <a:gd name="connsiteY17" fmla="*/ 2910651 h 2979185"/>
                  <a:gd name="connsiteX18" fmla="*/ 1009986 w 1414520"/>
                  <a:gd name="connsiteY18" fmla="*/ 2828211 h 2979185"/>
                  <a:gd name="connsiteX19" fmla="*/ 940330 w 1414520"/>
                  <a:gd name="connsiteY19" fmla="*/ 2580488 h 2979185"/>
                  <a:gd name="connsiteX20" fmla="*/ 838376 w 1414520"/>
                  <a:gd name="connsiteY20" fmla="*/ 1947699 h 2979185"/>
                  <a:gd name="connsiteX21" fmla="*/ 801112 w 1414520"/>
                  <a:gd name="connsiteY21" fmla="*/ 1632109 h 2979185"/>
                  <a:gd name="connsiteX22" fmla="*/ 750929 w 1414520"/>
                  <a:gd name="connsiteY22" fmla="*/ 1212955 h 2979185"/>
                  <a:gd name="connsiteX23" fmla="*/ 695915 w 1414520"/>
                  <a:gd name="connsiteY23" fmla="*/ 895734 h 2979185"/>
                  <a:gd name="connsiteX24" fmla="*/ 647363 w 1414520"/>
                  <a:gd name="connsiteY24" fmla="*/ 1081851 h 2979185"/>
                  <a:gd name="connsiteX25" fmla="*/ 602031 w 1414520"/>
                  <a:gd name="connsiteY25" fmla="*/ 1669237 h 2979185"/>
                  <a:gd name="connsiteX26" fmla="*/ 598811 w 1414520"/>
                  <a:gd name="connsiteY26" fmla="*/ 1822045 h 2979185"/>
                  <a:gd name="connsiteX27" fmla="*/ 634421 w 1414520"/>
                  <a:gd name="connsiteY27" fmla="*/ 2116156 h 2979185"/>
                  <a:gd name="connsiteX28" fmla="*/ 637531 w 1414520"/>
                  <a:gd name="connsiteY28" fmla="*/ 2510114 h 2979185"/>
                  <a:gd name="connsiteX29" fmla="*/ 614682 w 1414520"/>
                  <a:gd name="connsiteY29" fmla="*/ 2809553 h 2979185"/>
                  <a:gd name="connsiteX30" fmla="*/ 575008 w 1414520"/>
                  <a:gd name="connsiteY30" fmla="*/ 2910800 h 2979185"/>
                  <a:gd name="connsiteX31" fmla="*/ 286866 w 1414520"/>
                  <a:gd name="connsiteY31" fmla="*/ 2944902 h 2979185"/>
                  <a:gd name="connsiteX32" fmla="*/ 237481 w 1414520"/>
                  <a:gd name="connsiteY32" fmla="*/ 2863879 h 2979185"/>
                  <a:gd name="connsiteX33" fmla="*/ 226577 w 1414520"/>
                  <a:gd name="connsiteY33" fmla="*/ 2077171 h 2979185"/>
                  <a:gd name="connsiteX34" fmla="*/ 161841 w 1414520"/>
                  <a:gd name="connsiteY34" fmla="*/ 1818226 h 2979185"/>
                  <a:gd name="connsiteX35" fmla="*/ 137565 w 1414520"/>
                  <a:gd name="connsiteY35" fmla="*/ 1583557 h 2979185"/>
                  <a:gd name="connsiteX36" fmla="*/ 80921 w 1414520"/>
                  <a:gd name="connsiteY36" fmla="*/ 733893 h 2979185"/>
                  <a:gd name="connsiteX37" fmla="*/ 8092 w 1414520"/>
                  <a:gd name="connsiteY37" fmla="*/ 474948 h 2979185"/>
                  <a:gd name="connsiteX38" fmla="*/ 32369 w 1414520"/>
                  <a:gd name="connsiteY38" fmla="*/ 345475 h 2979185"/>
                  <a:gd name="connsiteX39" fmla="*/ 178025 w 1414520"/>
                  <a:gd name="connsiteY39" fmla="*/ 5610 h 2979185"/>
                  <a:gd name="connsiteX0" fmla="*/ 178025 w 1414520"/>
                  <a:gd name="connsiteY0" fmla="*/ 5610 h 2979185"/>
                  <a:gd name="connsiteX1" fmla="*/ 299406 w 1414520"/>
                  <a:gd name="connsiteY1" fmla="*/ 78438 h 2979185"/>
                  <a:gd name="connsiteX2" fmla="*/ 493615 w 1414520"/>
                  <a:gd name="connsiteY2" fmla="*/ 126990 h 2979185"/>
                  <a:gd name="connsiteX3" fmla="*/ 687823 w 1414520"/>
                  <a:gd name="connsiteY3" fmla="*/ 143174 h 2979185"/>
                  <a:gd name="connsiteX4" fmla="*/ 865848 w 1414520"/>
                  <a:gd name="connsiteY4" fmla="*/ 110806 h 2979185"/>
                  <a:gd name="connsiteX5" fmla="*/ 946769 w 1414520"/>
                  <a:gd name="connsiteY5" fmla="*/ 62254 h 2979185"/>
                  <a:gd name="connsiteX6" fmla="*/ 1181438 w 1414520"/>
                  <a:gd name="connsiteY6" fmla="*/ 264555 h 2979185"/>
                  <a:gd name="connsiteX7" fmla="*/ 1351370 w 1414520"/>
                  <a:gd name="connsiteY7" fmla="*/ 385935 h 2979185"/>
                  <a:gd name="connsiteX8" fmla="*/ 1327094 w 1414520"/>
                  <a:gd name="connsiteY8" fmla="*/ 491132 h 2979185"/>
                  <a:gd name="connsiteX9" fmla="*/ 1246174 w 1414520"/>
                  <a:gd name="connsiteY9" fmla="*/ 750077 h 2979185"/>
                  <a:gd name="connsiteX10" fmla="*/ 1221898 w 1414520"/>
                  <a:gd name="connsiteY10" fmla="*/ 1551189 h 2979185"/>
                  <a:gd name="connsiteX11" fmla="*/ 1262358 w 1414520"/>
                  <a:gd name="connsiteY11" fmla="*/ 1747097 h 2979185"/>
                  <a:gd name="connsiteX12" fmla="*/ 1294726 w 1414520"/>
                  <a:gd name="connsiteY12" fmla="*/ 2036711 h 2979185"/>
                  <a:gd name="connsiteX13" fmla="*/ 1338427 w 1414520"/>
                  <a:gd name="connsiteY13" fmla="*/ 2332987 h 2979185"/>
                  <a:gd name="connsiteX14" fmla="*/ 1367554 w 1414520"/>
                  <a:gd name="connsiteY14" fmla="*/ 2554601 h 2979185"/>
                  <a:gd name="connsiteX15" fmla="*/ 1346565 w 1414520"/>
                  <a:gd name="connsiteY15" fmla="*/ 2663016 h 2979185"/>
                  <a:gd name="connsiteX16" fmla="*/ 1398312 w 1414520"/>
                  <a:gd name="connsiteY16" fmla="*/ 2797474 h 2979185"/>
                  <a:gd name="connsiteX17" fmla="*/ 1414520 w 1414520"/>
                  <a:gd name="connsiteY17" fmla="*/ 2910651 h 2979185"/>
                  <a:gd name="connsiteX18" fmla="*/ 1009986 w 1414520"/>
                  <a:gd name="connsiteY18" fmla="*/ 2828211 h 2979185"/>
                  <a:gd name="connsiteX19" fmla="*/ 940330 w 1414520"/>
                  <a:gd name="connsiteY19" fmla="*/ 2580488 h 2979185"/>
                  <a:gd name="connsiteX20" fmla="*/ 838376 w 1414520"/>
                  <a:gd name="connsiteY20" fmla="*/ 1947699 h 2979185"/>
                  <a:gd name="connsiteX21" fmla="*/ 801112 w 1414520"/>
                  <a:gd name="connsiteY21" fmla="*/ 1632109 h 2979185"/>
                  <a:gd name="connsiteX22" fmla="*/ 750929 w 1414520"/>
                  <a:gd name="connsiteY22" fmla="*/ 1212955 h 2979185"/>
                  <a:gd name="connsiteX23" fmla="*/ 695915 w 1414520"/>
                  <a:gd name="connsiteY23" fmla="*/ 895734 h 2979185"/>
                  <a:gd name="connsiteX24" fmla="*/ 647363 w 1414520"/>
                  <a:gd name="connsiteY24" fmla="*/ 1081851 h 2979185"/>
                  <a:gd name="connsiteX25" fmla="*/ 602031 w 1414520"/>
                  <a:gd name="connsiteY25" fmla="*/ 1669237 h 2979185"/>
                  <a:gd name="connsiteX26" fmla="*/ 598811 w 1414520"/>
                  <a:gd name="connsiteY26" fmla="*/ 1822045 h 2979185"/>
                  <a:gd name="connsiteX27" fmla="*/ 597850 w 1414520"/>
                  <a:gd name="connsiteY27" fmla="*/ 2132410 h 2979185"/>
                  <a:gd name="connsiteX28" fmla="*/ 637531 w 1414520"/>
                  <a:gd name="connsiteY28" fmla="*/ 2510114 h 2979185"/>
                  <a:gd name="connsiteX29" fmla="*/ 614682 w 1414520"/>
                  <a:gd name="connsiteY29" fmla="*/ 2809553 h 2979185"/>
                  <a:gd name="connsiteX30" fmla="*/ 575008 w 1414520"/>
                  <a:gd name="connsiteY30" fmla="*/ 2910800 h 2979185"/>
                  <a:gd name="connsiteX31" fmla="*/ 286866 w 1414520"/>
                  <a:gd name="connsiteY31" fmla="*/ 2944902 h 2979185"/>
                  <a:gd name="connsiteX32" fmla="*/ 237481 w 1414520"/>
                  <a:gd name="connsiteY32" fmla="*/ 2863879 h 2979185"/>
                  <a:gd name="connsiteX33" fmla="*/ 226577 w 1414520"/>
                  <a:gd name="connsiteY33" fmla="*/ 2077171 h 2979185"/>
                  <a:gd name="connsiteX34" fmla="*/ 161841 w 1414520"/>
                  <a:gd name="connsiteY34" fmla="*/ 1818226 h 2979185"/>
                  <a:gd name="connsiteX35" fmla="*/ 137565 w 1414520"/>
                  <a:gd name="connsiteY35" fmla="*/ 1583557 h 2979185"/>
                  <a:gd name="connsiteX36" fmla="*/ 80921 w 1414520"/>
                  <a:gd name="connsiteY36" fmla="*/ 733893 h 2979185"/>
                  <a:gd name="connsiteX37" fmla="*/ 8092 w 1414520"/>
                  <a:gd name="connsiteY37" fmla="*/ 474948 h 2979185"/>
                  <a:gd name="connsiteX38" fmla="*/ 32369 w 1414520"/>
                  <a:gd name="connsiteY38" fmla="*/ 345475 h 2979185"/>
                  <a:gd name="connsiteX39" fmla="*/ 178025 w 1414520"/>
                  <a:gd name="connsiteY39" fmla="*/ 5610 h 2979185"/>
                  <a:gd name="connsiteX0" fmla="*/ 178025 w 1414520"/>
                  <a:gd name="connsiteY0" fmla="*/ 5610 h 2979185"/>
                  <a:gd name="connsiteX1" fmla="*/ 299406 w 1414520"/>
                  <a:gd name="connsiteY1" fmla="*/ 78438 h 2979185"/>
                  <a:gd name="connsiteX2" fmla="*/ 493615 w 1414520"/>
                  <a:gd name="connsiteY2" fmla="*/ 126990 h 2979185"/>
                  <a:gd name="connsiteX3" fmla="*/ 687823 w 1414520"/>
                  <a:gd name="connsiteY3" fmla="*/ 143174 h 2979185"/>
                  <a:gd name="connsiteX4" fmla="*/ 865848 w 1414520"/>
                  <a:gd name="connsiteY4" fmla="*/ 110806 h 2979185"/>
                  <a:gd name="connsiteX5" fmla="*/ 946769 w 1414520"/>
                  <a:gd name="connsiteY5" fmla="*/ 62254 h 2979185"/>
                  <a:gd name="connsiteX6" fmla="*/ 1181438 w 1414520"/>
                  <a:gd name="connsiteY6" fmla="*/ 264555 h 2979185"/>
                  <a:gd name="connsiteX7" fmla="*/ 1351370 w 1414520"/>
                  <a:gd name="connsiteY7" fmla="*/ 385935 h 2979185"/>
                  <a:gd name="connsiteX8" fmla="*/ 1327094 w 1414520"/>
                  <a:gd name="connsiteY8" fmla="*/ 491132 h 2979185"/>
                  <a:gd name="connsiteX9" fmla="*/ 1246174 w 1414520"/>
                  <a:gd name="connsiteY9" fmla="*/ 750077 h 2979185"/>
                  <a:gd name="connsiteX10" fmla="*/ 1221898 w 1414520"/>
                  <a:gd name="connsiteY10" fmla="*/ 1551189 h 2979185"/>
                  <a:gd name="connsiteX11" fmla="*/ 1262358 w 1414520"/>
                  <a:gd name="connsiteY11" fmla="*/ 1747097 h 2979185"/>
                  <a:gd name="connsiteX12" fmla="*/ 1294726 w 1414520"/>
                  <a:gd name="connsiteY12" fmla="*/ 2036711 h 2979185"/>
                  <a:gd name="connsiteX13" fmla="*/ 1338427 w 1414520"/>
                  <a:gd name="connsiteY13" fmla="*/ 2332987 h 2979185"/>
                  <a:gd name="connsiteX14" fmla="*/ 1367554 w 1414520"/>
                  <a:gd name="connsiteY14" fmla="*/ 2554601 h 2979185"/>
                  <a:gd name="connsiteX15" fmla="*/ 1346565 w 1414520"/>
                  <a:gd name="connsiteY15" fmla="*/ 2663016 h 2979185"/>
                  <a:gd name="connsiteX16" fmla="*/ 1398312 w 1414520"/>
                  <a:gd name="connsiteY16" fmla="*/ 2797474 h 2979185"/>
                  <a:gd name="connsiteX17" fmla="*/ 1414520 w 1414520"/>
                  <a:gd name="connsiteY17" fmla="*/ 2910651 h 2979185"/>
                  <a:gd name="connsiteX18" fmla="*/ 1009986 w 1414520"/>
                  <a:gd name="connsiteY18" fmla="*/ 2828211 h 2979185"/>
                  <a:gd name="connsiteX19" fmla="*/ 940330 w 1414520"/>
                  <a:gd name="connsiteY19" fmla="*/ 2580488 h 2979185"/>
                  <a:gd name="connsiteX20" fmla="*/ 838376 w 1414520"/>
                  <a:gd name="connsiteY20" fmla="*/ 1947699 h 2979185"/>
                  <a:gd name="connsiteX21" fmla="*/ 801112 w 1414520"/>
                  <a:gd name="connsiteY21" fmla="*/ 1632109 h 2979185"/>
                  <a:gd name="connsiteX22" fmla="*/ 750929 w 1414520"/>
                  <a:gd name="connsiteY22" fmla="*/ 1212955 h 2979185"/>
                  <a:gd name="connsiteX23" fmla="*/ 695915 w 1414520"/>
                  <a:gd name="connsiteY23" fmla="*/ 895734 h 2979185"/>
                  <a:gd name="connsiteX24" fmla="*/ 647363 w 1414520"/>
                  <a:gd name="connsiteY24" fmla="*/ 1081851 h 2979185"/>
                  <a:gd name="connsiteX25" fmla="*/ 602031 w 1414520"/>
                  <a:gd name="connsiteY25" fmla="*/ 1669237 h 2979185"/>
                  <a:gd name="connsiteX26" fmla="*/ 578493 w 1414520"/>
                  <a:gd name="connsiteY26" fmla="*/ 1822045 h 2979185"/>
                  <a:gd name="connsiteX27" fmla="*/ 597850 w 1414520"/>
                  <a:gd name="connsiteY27" fmla="*/ 2132410 h 2979185"/>
                  <a:gd name="connsiteX28" fmla="*/ 637531 w 1414520"/>
                  <a:gd name="connsiteY28" fmla="*/ 2510114 h 2979185"/>
                  <a:gd name="connsiteX29" fmla="*/ 614682 w 1414520"/>
                  <a:gd name="connsiteY29" fmla="*/ 2809553 h 2979185"/>
                  <a:gd name="connsiteX30" fmla="*/ 575008 w 1414520"/>
                  <a:gd name="connsiteY30" fmla="*/ 2910800 h 2979185"/>
                  <a:gd name="connsiteX31" fmla="*/ 286866 w 1414520"/>
                  <a:gd name="connsiteY31" fmla="*/ 2944902 h 2979185"/>
                  <a:gd name="connsiteX32" fmla="*/ 237481 w 1414520"/>
                  <a:gd name="connsiteY32" fmla="*/ 2863879 h 2979185"/>
                  <a:gd name="connsiteX33" fmla="*/ 226577 w 1414520"/>
                  <a:gd name="connsiteY33" fmla="*/ 2077171 h 2979185"/>
                  <a:gd name="connsiteX34" fmla="*/ 161841 w 1414520"/>
                  <a:gd name="connsiteY34" fmla="*/ 1818226 h 2979185"/>
                  <a:gd name="connsiteX35" fmla="*/ 137565 w 1414520"/>
                  <a:gd name="connsiteY35" fmla="*/ 1583557 h 2979185"/>
                  <a:gd name="connsiteX36" fmla="*/ 80921 w 1414520"/>
                  <a:gd name="connsiteY36" fmla="*/ 733893 h 2979185"/>
                  <a:gd name="connsiteX37" fmla="*/ 8092 w 1414520"/>
                  <a:gd name="connsiteY37" fmla="*/ 474948 h 2979185"/>
                  <a:gd name="connsiteX38" fmla="*/ 32369 w 1414520"/>
                  <a:gd name="connsiteY38" fmla="*/ 345475 h 2979185"/>
                  <a:gd name="connsiteX39" fmla="*/ 178025 w 1414520"/>
                  <a:gd name="connsiteY39" fmla="*/ 5610 h 2979185"/>
                  <a:gd name="connsiteX0" fmla="*/ 178025 w 1414520"/>
                  <a:gd name="connsiteY0" fmla="*/ 5610 h 2979185"/>
                  <a:gd name="connsiteX1" fmla="*/ 299406 w 1414520"/>
                  <a:gd name="connsiteY1" fmla="*/ 78438 h 2979185"/>
                  <a:gd name="connsiteX2" fmla="*/ 493615 w 1414520"/>
                  <a:gd name="connsiteY2" fmla="*/ 126990 h 2979185"/>
                  <a:gd name="connsiteX3" fmla="*/ 687823 w 1414520"/>
                  <a:gd name="connsiteY3" fmla="*/ 143174 h 2979185"/>
                  <a:gd name="connsiteX4" fmla="*/ 865848 w 1414520"/>
                  <a:gd name="connsiteY4" fmla="*/ 110806 h 2979185"/>
                  <a:gd name="connsiteX5" fmla="*/ 946769 w 1414520"/>
                  <a:gd name="connsiteY5" fmla="*/ 62254 h 2979185"/>
                  <a:gd name="connsiteX6" fmla="*/ 1181438 w 1414520"/>
                  <a:gd name="connsiteY6" fmla="*/ 264555 h 2979185"/>
                  <a:gd name="connsiteX7" fmla="*/ 1351370 w 1414520"/>
                  <a:gd name="connsiteY7" fmla="*/ 385935 h 2979185"/>
                  <a:gd name="connsiteX8" fmla="*/ 1327094 w 1414520"/>
                  <a:gd name="connsiteY8" fmla="*/ 491132 h 2979185"/>
                  <a:gd name="connsiteX9" fmla="*/ 1246174 w 1414520"/>
                  <a:gd name="connsiteY9" fmla="*/ 750077 h 2979185"/>
                  <a:gd name="connsiteX10" fmla="*/ 1221898 w 1414520"/>
                  <a:gd name="connsiteY10" fmla="*/ 1551189 h 2979185"/>
                  <a:gd name="connsiteX11" fmla="*/ 1262358 w 1414520"/>
                  <a:gd name="connsiteY11" fmla="*/ 1747097 h 2979185"/>
                  <a:gd name="connsiteX12" fmla="*/ 1294726 w 1414520"/>
                  <a:gd name="connsiteY12" fmla="*/ 2036711 h 2979185"/>
                  <a:gd name="connsiteX13" fmla="*/ 1338427 w 1414520"/>
                  <a:gd name="connsiteY13" fmla="*/ 2332987 h 2979185"/>
                  <a:gd name="connsiteX14" fmla="*/ 1367554 w 1414520"/>
                  <a:gd name="connsiteY14" fmla="*/ 2554601 h 2979185"/>
                  <a:gd name="connsiteX15" fmla="*/ 1346565 w 1414520"/>
                  <a:gd name="connsiteY15" fmla="*/ 2663016 h 2979185"/>
                  <a:gd name="connsiteX16" fmla="*/ 1398312 w 1414520"/>
                  <a:gd name="connsiteY16" fmla="*/ 2797474 h 2979185"/>
                  <a:gd name="connsiteX17" fmla="*/ 1414520 w 1414520"/>
                  <a:gd name="connsiteY17" fmla="*/ 2910651 h 2979185"/>
                  <a:gd name="connsiteX18" fmla="*/ 1009986 w 1414520"/>
                  <a:gd name="connsiteY18" fmla="*/ 2828211 h 2979185"/>
                  <a:gd name="connsiteX19" fmla="*/ 940330 w 1414520"/>
                  <a:gd name="connsiteY19" fmla="*/ 2580488 h 2979185"/>
                  <a:gd name="connsiteX20" fmla="*/ 838376 w 1414520"/>
                  <a:gd name="connsiteY20" fmla="*/ 1947699 h 2979185"/>
                  <a:gd name="connsiteX21" fmla="*/ 801112 w 1414520"/>
                  <a:gd name="connsiteY21" fmla="*/ 1632109 h 2979185"/>
                  <a:gd name="connsiteX22" fmla="*/ 750929 w 1414520"/>
                  <a:gd name="connsiteY22" fmla="*/ 1212955 h 2979185"/>
                  <a:gd name="connsiteX23" fmla="*/ 695915 w 1414520"/>
                  <a:gd name="connsiteY23" fmla="*/ 895734 h 2979185"/>
                  <a:gd name="connsiteX24" fmla="*/ 667680 w 1414520"/>
                  <a:gd name="connsiteY24" fmla="*/ 1081852 h 2979185"/>
                  <a:gd name="connsiteX25" fmla="*/ 602031 w 1414520"/>
                  <a:gd name="connsiteY25" fmla="*/ 1669237 h 2979185"/>
                  <a:gd name="connsiteX26" fmla="*/ 578493 w 1414520"/>
                  <a:gd name="connsiteY26" fmla="*/ 1822045 h 2979185"/>
                  <a:gd name="connsiteX27" fmla="*/ 597850 w 1414520"/>
                  <a:gd name="connsiteY27" fmla="*/ 2132410 h 2979185"/>
                  <a:gd name="connsiteX28" fmla="*/ 637531 w 1414520"/>
                  <a:gd name="connsiteY28" fmla="*/ 2510114 h 2979185"/>
                  <a:gd name="connsiteX29" fmla="*/ 614682 w 1414520"/>
                  <a:gd name="connsiteY29" fmla="*/ 2809553 h 2979185"/>
                  <a:gd name="connsiteX30" fmla="*/ 575008 w 1414520"/>
                  <a:gd name="connsiteY30" fmla="*/ 2910800 h 2979185"/>
                  <a:gd name="connsiteX31" fmla="*/ 286866 w 1414520"/>
                  <a:gd name="connsiteY31" fmla="*/ 2944902 h 2979185"/>
                  <a:gd name="connsiteX32" fmla="*/ 237481 w 1414520"/>
                  <a:gd name="connsiteY32" fmla="*/ 2863879 h 2979185"/>
                  <a:gd name="connsiteX33" fmla="*/ 226577 w 1414520"/>
                  <a:gd name="connsiteY33" fmla="*/ 2077171 h 2979185"/>
                  <a:gd name="connsiteX34" fmla="*/ 161841 w 1414520"/>
                  <a:gd name="connsiteY34" fmla="*/ 1818226 h 2979185"/>
                  <a:gd name="connsiteX35" fmla="*/ 137565 w 1414520"/>
                  <a:gd name="connsiteY35" fmla="*/ 1583557 h 2979185"/>
                  <a:gd name="connsiteX36" fmla="*/ 80921 w 1414520"/>
                  <a:gd name="connsiteY36" fmla="*/ 733893 h 2979185"/>
                  <a:gd name="connsiteX37" fmla="*/ 8092 w 1414520"/>
                  <a:gd name="connsiteY37" fmla="*/ 474948 h 2979185"/>
                  <a:gd name="connsiteX38" fmla="*/ 32369 w 1414520"/>
                  <a:gd name="connsiteY38" fmla="*/ 345475 h 2979185"/>
                  <a:gd name="connsiteX39" fmla="*/ 178025 w 1414520"/>
                  <a:gd name="connsiteY39" fmla="*/ 5610 h 2979185"/>
                  <a:gd name="connsiteX0" fmla="*/ 178025 w 1414520"/>
                  <a:gd name="connsiteY0" fmla="*/ 5610 h 2979185"/>
                  <a:gd name="connsiteX1" fmla="*/ 299406 w 1414520"/>
                  <a:gd name="connsiteY1" fmla="*/ 78438 h 2979185"/>
                  <a:gd name="connsiteX2" fmla="*/ 493615 w 1414520"/>
                  <a:gd name="connsiteY2" fmla="*/ 126990 h 2979185"/>
                  <a:gd name="connsiteX3" fmla="*/ 687823 w 1414520"/>
                  <a:gd name="connsiteY3" fmla="*/ 143174 h 2979185"/>
                  <a:gd name="connsiteX4" fmla="*/ 865848 w 1414520"/>
                  <a:gd name="connsiteY4" fmla="*/ 110806 h 2979185"/>
                  <a:gd name="connsiteX5" fmla="*/ 946769 w 1414520"/>
                  <a:gd name="connsiteY5" fmla="*/ 62254 h 2979185"/>
                  <a:gd name="connsiteX6" fmla="*/ 1181438 w 1414520"/>
                  <a:gd name="connsiteY6" fmla="*/ 264555 h 2979185"/>
                  <a:gd name="connsiteX7" fmla="*/ 1351370 w 1414520"/>
                  <a:gd name="connsiteY7" fmla="*/ 385935 h 2979185"/>
                  <a:gd name="connsiteX8" fmla="*/ 1327094 w 1414520"/>
                  <a:gd name="connsiteY8" fmla="*/ 491132 h 2979185"/>
                  <a:gd name="connsiteX9" fmla="*/ 1246174 w 1414520"/>
                  <a:gd name="connsiteY9" fmla="*/ 750077 h 2979185"/>
                  <a:gd name="connsiteX10" fmla="*/ 1221898 w 1414520"/>
                  <a:gd name="connsiteY10" fmla="*/ 1551189 h 2979185"/>
                  <a:gd name="connsiteX11" fmla="*/ 1262358 w 1414520"/>
                  <a:gd name="connsiteY11" fmla="*/ 1747097 h 2979185"/>
                  <a:gd name="connsiteX12" fmla="*/ 1294726 w 1414520"/>
                  <a:gd name="connsiteY12" fmla="*/ 2036711 h 2979185"/>
                  <a:gd name="connsiteX13" fmla="*/ 1338427 w 1414520"/>
                  <a:gd name="connsiteY13" fmla="*/ 2332987 h 2979185"/>
                  <a:gd name="connsiteX14" fmla="*/ 1367554 w 1414520"/>
                  <a:gd name="connsiteY14" fmla="*/ 2554601 h 2979185"/>
                  <a:gd name="connsiteX15" fmla="*/ 1346565 w 1414520"/>
                  <a:gd name="connsiteY15" fmla="*/ 2663016 h 2979185"/>
                  <a:gd name="connsiteX16" fmla="*/ 1398312 w 1414520"/>
                  <a:gd name="connsiteY16" fmla="*/ 2797474 h 2979185"/>
                  <a:gd name="connsiteX17" fmla="*/ 1414520 w 1414520"/>
                  <a:gd name="connsiteY17" fmla="*/ 2910651 h 2979185"/>
                  <a:gd name="connsiteX18" fmla="*/ 1009986 w 1414520"/>
                  <a:gd name="connsiteY18" fmla="*/ 2828211 h 2979185"/>
                  <a:gd name="connsiteX19" fmla="*/ 940330 w 1414520"/>
                  <a:gd name="connsiteY19" fmla="*/ 2580488 h 2979185"/>
                  <a:gd name="connsiteX20" fmla="*/ 838376 w 1414520"/>
                  <a:gd name="connsiteY20" fmla="*/ 1947699 h 2979185"/>
                  <a:gd name="connsiteX21" fmla="*/ 801112 w 1414520"/>
                  <a:gd name="connsiteY21" fmla="*/ 1632109 h 2979185"/>
                  <a:gd name="connsiteX22" fmla="*/ 750929 w 1414520"/>
                  <a:gd name="connsiteY22" fmla="*/ 1212955 h 2979185"/>
                  <a:gd name="connsiteX23" fmla="*/ 695915 w 1414520"/>
                  <a:gd name="connsiteY23" fmla="*/ 895734 h 2979185"/>
                  <a:gd name="connsiteX24" fmla="*/ 667680 w 1414520"/>
                  <a:gd name="connsiteY24" fmla="*/ 1081852 h 2979185"/>
                  <a:gd name="connsiteX25" fmla="*/ 602031 w 1414520"/>
                  <a:gd name="connsiteY25" fmla="*/ 1669237 h 2979185"/>
                  <a:gd name="connsiteX26" fmla="*/ 600414 w 1414520"/>
                  <a:gd name="connsiteY26" fmla="*/ 1822045 h 2979185"/>
                  <a:gd name="connsiteX27" fmla="*/ 597850 w 1414520"/>
                  <a:gd name="connsiteY27" fmla="*/ 2132410 h 2979185"/>
                  <a:gd name="connsiteX28" fmla="*/ 637531 w 1414520"/>
                  <a:gd name="connsiteY28" fmla="*/ 2510114 h 2979185"/>
                  <a:gd name="connsiteX29" fmla="*/ 614682 w 1414520"/>
                  <a:gd name="connsiteY29" fmla="*/ 2809553 h 2979185"/>
                  <a:gd name="connsiteX30" fmla="*/ 575008 w 1414520"/>
                  <a:gd name="connsiteY30" fmla="*/ 2910800 h 2979185"/>
                  <a:gd name="connsiteX31" fmla="*/ 286866 w 1414520"/>
                  <a:gd name="connsiteY31" fmla="*/ 2944902 h 2979185"/>
                  <a:gd name="connsiteX32" fmla="*/ 237481 w 1414520"/>
                  <a:gd name="connsiteY32" fmla="*/ 2863879 h 2979185"/>
                  <a:gd name="connsiteX33" fmla="*/ 226577 w 1414520"/>
                  <a:gd name="connsiteY33" fmla="*/ 2077171 h 2979185"/>
                  <a:gd name="connsiteX34" fmla="*/ 161841 w 1414520"/>
                  <a:gd name="connsiteY34" fmla="*/ 1818226 h 2979185"/>
                  <a:gd name="connsiteX35" fmla="*/ 137565 w 1414520"/>
                  <a:gd name="connsiteY35" fmla="*/ 1583557 h 2979185"/>
                  <a:gd name="connsiteX36" fmla="*/ 80921 w 1414520"/>
                  <a:gd name="connsiteY36" fmla="*/ 733893 h 2979185"/>
                  <a:gd name="connsiteX37" fmla="*/ 8092 w 1414520"/>
                  <a:gd name="connsiteY37" fmla="*/ 474948 h 2979185"/>
                  <a:gd name="connsiteX38" fmla="*/ 32369 w 1414520"/>
                  <a:gd name="connsiteY38" fmla="*/ 345475 h 2979185"/>
                  <a:gd name="connsiteX39" fmla="*/ 178025 w 1414520"/>
                  <a:gd name="connsiteY39" fmla="*/ 5610 h 2979185"/>
                  <a:gd name="connsiteX0" fmla="*/ 178025 w 1414520"/>
                  <a:gd name="connsiteY0" fmla="*/ 5610 h 2979185"/>
                  <a:gd name="connsiteX1" fmla="*/ 299406 w 1414520"/>
                  <a:gd name="connsiteY1" fmla="*/ 78438 h 2979185"/>
                  <a:gd name="connsiteX2" fmla="*/ 493615 w 1414520"/>
                  <a:gd name="connsiteY2" fmla="*/ 126990 h 2979185"/>
                  <a:gd name="connsiteX3" fmla="*/ 687823 w 1414520"/>
                  <a:gd name="connsiteY3" fmla="*/ 143174 h 2979185"/>
                  <a:gd name="connsiteX4" fmla="*/ 865848 w 1414520"/>
                  <a:gd name="connsiteY4" fmla="*/ 110806 h 2979185"/>
                  <a:gd name="connsiteX5" fmla="*/ 946769 w 1414520"/>
                  <a:gd name="connsiteY5" fmla="*/ 62254 h 2979185"/>
                  <a:gd name="connsiteX6" fmla="*/ 1181438 w 1414520"/>
                  <a:gd name="connsiteY6" fmla="*/ 264555 h 2979185"/>
                  <a:gd name="connsiteX7" fmla="*/ 1351370 w 1414520"/>
                  <a:gd name="connsiteY7" fmla="*/ 385935 h 2979185"/>
                  <a:gd name="connsiteX8" fmla="*/ 1327094 w 1414520"/>
                  <a:gd name="connsiteY8" fmla="*/ 491132 h 2979185"/>
                  <a:gd name="connsiteX9" fmla="*/ 1246174 w 1414520"/>
                  <a:gd name="connsiteY9" fmla="*/ 750077 h 2979185"/>
                  <a:gd name="connsiteX10" fmla="*/ 1221898 w 1414520"/>
                  <a:gd name="connsiteY10" fmla="*/ 1551189 h 2979185"/>
                  <a:gd name="connsiteX11" fmla="*/ 1262358 w 1414520"/>
                  <a:gd name="connsiteY11" fmla="*/ 1747097 h 2979185"/>
                  <a:gd name="connsiteX12" fmla="*/ 1294726 w 1414520"/>
                  <a:gd name="connsiteY12" fmla="*/ 2036711 h 2979185"/>
                  <a:gd name="connsiteX13" fmla="*/ 1338427 w 1414520"/>
                  <a:gd name="connsiteY13" fmla="*/ 2332987 h 2979185"/>
                  <a:gd name="connsiteX14" fmla="*/ 1367554 w 1414520"/>
                  <a:gd name="connsiteY14" fmla="*/ 2554601 h 2979185"/>
                  <a:gd name="connsiteX15" fmla="*/ 1346565 w 1414520"/>
                  <a:gd name="connsiteY15" fmla="*/ 2663016 h 2979185"/>
                  <a:gd name="connsiteX16" fmla="*/ 1398312 w 1414520"/>
                  <a:gd name="connsiteY16" fmla="*/ 2797474 h 2979185"/>
                  <a:gd name="connsiteX17" fmla="*/ 1414520 w 1414520"/>
                  <a:gd name="connsiteY17" fmla="*/ 2910651 h 2979185"/>
                  <a:gd name="connsiteX18" fmla="*/ 1009986 w 1414520"/>
                  <a:gd name="connsiteY18" fmla="*/ 2828211 h 2979185"/>
                  <a:gd name="connsiteX19" fmla="*/ 940330 w 1414520"/>
                  <a:gd name="connsiteY19" fmla="*/ 2580488 h 2979185"/>
                  <a:gd name="connsiteX20" fmla="*/ 838376 w 1414520"/>
                  <a:gd name="connsiteY20" fmla="*/ 1947699 h 2979185"/>
                  <a:gd name="connsiteX21" fmla="*/ 801112 w 1414520"/>
                  <a:gd name="connsiteY21" fmla="*/ 1632109 h 2979185"/>
                  <a:gd name="connsiteX22" fmla="*/ 750929 w 1414520"/>
                  <a:gd name="connsiteY22" fmla="*/ 1212955 h 2979185"/>
                  <a:gd name="connsiteX23" fmla="*/ 695915 w 1414520"/>
                  <a:gd name="connsiteY23" fmla="*/ 895734 h 2979185"/>
                  <a:gd name="connsiteX24" fmla="*/ 667680 w 1414520"/>
                  <a:gd name="connsiteY24" fmla="*/ 1081852 h 2979185"/>
                  <a:gd name="connsiteX25" fmla="*/ 602031 w 1414520"/>
                  <a:gd name="connsiteY25" fmla="*/ 1669237 h 2979185"/>
                  <a:gd name="connsiteX26" fmla="*/ 597850 w 1414520"/>
                  <a:gd name="connsiteY26" fmla="*/ 2132410 h 2979185"/>
                  <a:gd name="connsiteX27" fmla="*/ 637531 w 1414520"/>
                  <a:gd name="connsiteY27" fmla="*/ 2510114 h 2979185"/>
                  <a:gd name="connsiteX28" fmla="*/ 614682 w 1414520"/>
                  <a:gd name="connsiteY28" fmla="*/ 2809553 h 2979185"/>
                  <a:gd name="connsiteX29" fmla="*/ 575008 w 1414520"/>
                  <a:gd name="connsiteY29" fmla="*/ 2910800 h 2979185"/>
                  <a:gd name="connsiteX30" fmla="*/ 286866 w 1414520"/>
                  <a:gd name="connsiteY30" fmla="*/ 2944902 h 2979185"/>
                  <a:gd name="connsiteX31" fmla="*/ 237481 w 1414520"/>
                  <a:gd name="connsiteY31" fmla="*/ 2863879 h 2979185"/>
                  <a:gd name="connsiteX32" fmla="*/ 226577 w 1414520"/>
                  <a:gd name="connsiteY32" fmla="*/ 2077171 h 2979185"/>
                  <a:gd name="connsiteX33" fmla="*/ 161841 w 1414520"/>
                  <a:gd name="connsiteY33" fmla="*/ 1818226 h 2979185"/>
                  <a:gd name="connsiteX34" fmla="*/ 137565 w 1414520"/>
                  <a:gd name="connsiteY34" fmla="*/ 1583557 h 2979185"/>
                  <a:gd name="connsiteX35" fmla="*/ 80921 w 1414520"/>
                  <a:gd name="connsiteY35" fmla="*/ 733893 h 2979185"/>
                  <a:gd name="connsiteX36" fmla="*/ 8092 w 1414520"/>
                  <a:gd name="connsiteY36" fmla="*/ 474948 h 2979185"/>
                  <a:gd name="connsiteX37" fmla="*/ 32369 w 1414520"/>
                  <a:gd name="connsiteY37" fmla="*/ 345475 h 2979185"/>
                  <a:gd name="connsiteX38" fmla="*/ 178025 w 1414520"/>
                  <a:gd name="connsiteY38" fmla="*/ 5610 h 2979185"/>
                  <a:gd name="connsiteX0" fmla="*/ 178025 w 1414520"/>
                  <a:gd name="connsiteY0" fmla="*/ 5610 h 2979185"/>
                  <a:gd name="connsiteX1" fmla="*/ 299406 w 1414520"/>
                  <a:gd name="connsiteY1" fmla="*/ 78438 h 2979185"/>
                  <a:gd name="connsiteX2" fmla="*/ 493615 w 1414520"/>
                  <a:gd name="connsiteY2" fmla="*/ 126990 h 2979185"/>
                  <a:gd name="connsiteX3" fmla="*/ 687823 w 1414520"/>
                  <a:gd name="connsiteY3" fmla="*/ 143174 h 2979185"/>
                  <a:gd name="connsiteX4" fmla="*/ 865848 w 1414520"/>
                  <a:gd name="connsiteY4" fmla="*/ 110806 h 2979185"/>
                  <a:gd name="connsiteX5" fmla="*/ 946769 w 1414520"/>
                  <a:gd name="connsiteY5" fmla="*/ 62254 h 2979185"/>
                  <a:gd name="connsiteX6" fmla="*/ 1181438 w 1414520"/>
                  <a:gd name="connsiteY6" fmla="*/ 264555 h 2979185"/>
                  <a:gd name="connsiteX7" fmla="*/ 1351370 w 1414520"/>
                  <a:gd name="connsiteY7" fmla="*/ 385935 h 2979185"/>
                  <a:gd name="connsiteX8" fmla="*/ 1327094 w 1414520"/>
                  <a:gd name="connsiteY8" fmla="*/ 491132 h 2979185"/>
                  <a:gd name="connsiteX9" fmla="*/ 1246174 w 1414520"/>
                  <a:gd name="connsiteY9" fmla="*/ 750077 h 2979185"/>
                  <a:gd name="connsiteX10" fmla="*/ 1221898 w 1414520"/>
                  <a:gd name="connsiteY10" fmla="*/ 1551189 h 2979185"/>
                  <a:gd name="connsiteX11" fmla="*/ 1262358 w 1414520"/>
                  <a:gd name="connsiteY11" fmla="*/ 1747097 h 2979185"/>
                  <a:gd name="connsiteX12" fmla="*/ 1294726 w 1414520"/>
                  <a:gd name="connsiteY12" fmla="*/ 2036711 h 2979185"/>
                  <a:gd name="connsiteX13" fmla="*/ 1338427 w 1414520"/>
                  <a:gd name="connsiteY13" fmla="*/ 2332987 h 2979185"/>
                  <a:gd name="connsiteX14" fmla="*/ 1367554 w 1414520"/>
                  <a:gd name="connsiteY14" fmla="*/ 2554601 h 2979185"/>
                  <a:gd name="connsiteX15" fmla="*/ 1346565 w 1414520"/>
                  <a:gd name="connsiteY15" fmla="*/ 2663016 h 2979185"/>
                  <a:gd name="connsiteX16" fmla="*/ 1398312 w 1414520"/>
                  <a:gd name="connsiteY16" fmla="*/ 2797474 h 2979185"/>
                  <a:gd name="connsiteX17" fmla="*/ 1414520 w 1414520"/>
                  <a:gd name="connsiteY17" fmla="*/ 2910651 h 2979185"/>
                  <a:gd name="connsiteX18" fmla="*/ 1009986 w 1414520"/>
                  <a:gd name="connsiteY18" fmla="*/ 2828211 h 2979185"/>
                  <a:gd name="connsiteX19" fmla="*/ 940330 w 1414520"/>
                  <a:gd name="connsiteY19" fmla="*/ 2580488 h 2979185"/>
                  <a:gd name="connsiteX20" fmla="*/ 838376 w 1414520"/>
                  <a:gd name="connsiteY20" fmla="*/ 1947699 h 2979185"/>
                  <a:gd name="connsiteX21" fmla="*/ 801112 w 1414520"/>
                  <a:gd name="connsiteY21" fmla="*/ 1632109 h 2979185"/>
                  <a:gd name="connsiteX22" fmla="*/ 750929 w 1414520"/>
                  <a:gd name="connsiteY22" fmla="*/ 1212955 h 2979185"/>
                  <a:gd name="connsiteX23" fmla="*/ 695915 w 1414520"/>
                  <a:gd name="connsiteY23" fmla="*/ 895734 h 2979185"/>
                  <a:gd name="connsiteX24" fmla="*/ 667680 w 1414520"/>
                  <a:gd name="connsiteY24" fmla="*/ 1081852 h 2979185"/>
                  <a:gd name="connsiteX25" fmla="*/ 602031 w 1414520"/>
                  <a:gd name="connsiteY25" fmla="*/ 1669237 h 2979185"/>
                  <a:gd name="connsiteX26" fmla="*/ 637531 w 1414520"/>
                  <a:gd name="connsiteY26" fmla="*/ 2510114 h 2979185"/>
                  <a:gd name="connsiteX27" fmla="*/ 614682 w 1414520"/>
                  <a:gd name="connsiteY27" fmla="*/ 2809553 h 2979185"/>
                  <a:gd name="connsiteX28" fmla="*/ 575008 w 1414520"/>
                  <a:gd name="connsiteY28" fmla="*/ 2910800 h 2979185"/>
                  <a:gd name="connsiteX29" fmla="*/ 286866 w 1414520"/>
                  <a:gd name="connsiteY29" fmla="*/ 2944902 h 2979185"/>
                  <a:gd name="connsiteX30" fmla="*/ 237481 w 1414520"/>
                  <a:gd name="connsiteY30" fmla="*/ 2863879 h 2979185"/>
                  <a:gd name="connsiteX31" fmla="*/ 226577 w 1414520"/>
                  <a:gd name="connsiteY31" fmla="*/ 2077171 h 2979185"/>
                  <a:gd name="connsiteX32" fmla="*/ 161841 w 1414520"/>
                  <a:gd name="connsiteY32" fmla="*/ 1818226 h 2979185"/>
                  <a:gd name="connsiteX33" fmla="*/ 137565 w 1414520"/>
                  <a:gd name="connsiteY33" fmla="*/ 1583557 h 2979185"/>
                  <a:gd name="connsiteX34" fmla="*/ 80921 w 1414520"/>
                  <a:gd name="connsiteY34" fmla="*/ 733893 h 2979185"/>
                  <a:gd name="connsiteX35" fmla="*/ 8092 w 1414520"/>
                  <a:gd name="connsiteY35" fmla="*/ 474948 h 2979185"/>
                  <a:gd name="connsiteX36" fmla="*/ 32369 w 1414520"/>
                  <a:gd name="connsiteY36" fmla="*/ 345475 h 2979185"/>
                  <a:gd name="connsiteX37" fmla="*/ 178025 w 1414520"/>
                  <a:gd name="connsiteY37" fmla="*/ 5610 h 2979185"/>
                  <a:gd name="connsiteX0" fmla="*/ 178025 w 1414520"/>
                  <a:gd name="connsiteY0" fmla="*/ 5610 h 2979185"/>
                  <a:gd name="connsiteX1" fmla="*/ 299406 w 1414520"/>
                  <a:gd name="connsiteY1" fmla="*/ 78438 h 2979185"/>
                  <a:gd name="connsiteX2" fmla="*/ 493615 w 1414520"/>
                  <a:gd name="connsiteY2" fmla="*/ 126990 h 2979185"/>
                  <a:gd name="connsiteX3" fmla="*/ 687823 w 1414520"/>
                  <a:gd name="connsiteY3" fmla="*/ 143174 h 2979185"/>
                  <a:gd name="connsiteX4" fmla="*/ 865848 w 1414520"/>
                  <a:gd name="connsiteY4" fmla="*/ 110806 h 2979185"/>
                  <a:gd name="connsiteX5" fmla="*/ 946769 w 1414520"/>
                  <a:gd name="connsiteY5" fmla="*/ 62254 h 2979185"/>
                  <a:gd name="connsiteX6" fmla="*/ 1181438 w 1414520"/>
                  <a:gd name="connsiteY6" fmla="*/ 264555 h 2979185"/>
                  <a:gd name="connsiteX7" fmla="*/ 1351370 w 1414520"/>
                  <a:gd name="connsiteY7" fmla="*/ 385935 h 2979185"/>
                  <a:gd name="connsiteX8" fmla="*/ 1327094 w 1414520"/>
                  <a:gd name="connsiteY8" fmla="*/ 491132 h 2979185"/>
                  <a:gd name="connsiteX9" fmla="*/ 1246174 w 1414520"/>
                  <a:gd name="connsiteY9" fmla="*/ 750077 h 2979185"/>
                  <a:gd name="connsiteX10" fmla="*/ 1221898 w 1414520"/>
                  <a:gd name="connsiteY10" fmla="*/ 1551189 h 2979185"/>
                  <a:gd name="connsiteX11" fmla="*/ 1262358 w 1414520"/>
                  <a:gd name="connsiteY11" fmla="*/ 1747097 h 2979185"/>
                  <a:gd name="connsiteX12" fmla="*/ 1294726 w 1414520"/>
                  <a:gd name="connsiteY12" fmla="*/ 2036711 h 2979185"/>
                  <a:gd name="connsiteX13" fmla="*/ 1338427 w 1414520"/>
                  <a:gd name="connsiteY13" fmla="*/ 2332987 h 2979185"/>
                  <a:gd name="connsiteX14" fmla="*/ 1367554 w 1414520"/>
                  <a:gd name="connsiteY14" fmla="*/ 2554601 h 2979185"/>
                  <a:gd name="connsiteX15" fmla="*/ 1346565 w 1414520"/>
                  <a:gd name="connsiteY15" fmla="*/ 2663016 h 2979185"/>
                  <a:gd name="connsiteX16" fmla="*/ 1398312 w 1414520"/>
                  <a:gd name="connsiteY16" fmla="*/ 2797474 h 2979185"/>
                  <a:gd name="connsiteX17" fmla="*/ 1414520 w 1414520"/>
                  <a:gd name="connsiteY17" fmla="*/ 2910651 h 2979185"/>
                  <a:gd name="connsiteX18" fmla="*/ 733122 w 1414520"/>
                  <a:gd name="connsiteY18" fmla="*/ 2833685 h 2979185"/>
                  <a:gd name="connsiteX19" fmla="*/ 940330 w 1414520"/>
                  <a:gd name="connsiteY19" fmla="*/ 2580488 h 2979185"/>
                  <a:gd name="connsiteX20" fmla="*/ 838376 w 1414520"/>
                  <a:gd name="connsiteY20" fmla="*/ 1947699 h 2979185"/>
                  <a:gd name="connsiteX21" fmla="*/ 801112 w 1414520"/>
                  <a:gd name="connsiteY21" fmla="*/ 1632109 h 2979185"/>
                  <a:gd name="connsiteX22" fmla="*/ 750929 w 1414520"/>
                  <a:gd name="connsiteY22" fmla="*/ 1212955 h 2979185"/>
                  <a:gd name="connsiteX23" fmla="*/ 695915 w 1414520"/>
                  <a:gd name="connsiteY23" fmla="*/ 895734 h 2979185"/>
                  <a:gd name="connsiteX24" fmla="*/ 667680 w 1414520"/>
                  <a:gd name="connsiteY24" fmla="*/ 1081852 h 2979185"/>
                  <a:gd name="connsiteX25" fmla="*/ 602031 w 1414520"/>
                  <a:gd name="connsiteY25" fmla="*/ 1669237 h 2979185"/>
                  <a:gd name="connsiteX26" fmla="*/ 637531 w 1414520"/>
                  <a:gd name="connsiteY26" fmla="*/ 2510114 h 2979185"/>
                  <a:gd name="connsiteX27" fmla="*/ 614682 w 1414520"/>
                  <a:gd name="connsiteY27" fmla="*/ 2809553 h 2979185"/>
                  <a:gd name="connsiteX28" fmla="*/ 575008 w 1414520"/>
                  <a:gd name="connsiteY28" fmla="*/ 2910800 h 2979185"/>
                  <a:gd name="connsiteX29" fmla="*/ 286866 w 1414520"/>
                  <a:gd name="connsiteY29" fmla="*/ 2944902 h 2979185"/>
                  <a:gd name="connsiteX30" fmla="*/ 237481 w 1414520"/>
                  <a:gd name="connsiteY30" fmla="*/ 2863879 h 2979185"/>
                  <a:gd name="connsiteX31" fmla="*/ 226577 w 1414520"/>
                  <a:gd name="connsiteY31" fmla="*/ 2077171 h 2979185"/>
                  <a:gd name="connsiteX32" fmla="*/ 161841 w 1414520"/>
                  <a:gd name="connsiteY32" fmla="*/ 1818226 h 2979185"/>
                  <a:gd name="connsiteX33" fmla="*/ 137565 w 1414520"/>
                  <a:gd name="connsiteY33" fmla="*/ 1583557 h 2979185"/>
                  <a:gd name="connsiteX34" fmla="*/ 80921 w 1414520"/>
                  <a:gd name="connsiteY34" fmla="*/ 733893 h 2979185"/>
                  <a:gd name="connsiteX35" fmla="*/ 8092 w 1414520"/>
                  <a:gd name="connsiteY35" fmla="*/ 474948 h 2979185"/>
                  <a:gd name="connsiteX36" fmla="*/ 32369 w 1414520"/>
                  <a:gd name="connsiteY36" fmla="*/ 345475 h 2979185"/>
                  <a:gd name="connsiteX37" fmla="*/ 178025 w 1414520"/>
                  <a:gd name="connsiteY37" fmla="*/ 5610 h 2979185"/>
                  <a:gd name="connsiteX0" fmla="*/ 178025 w 1414520"/>
                  <a:gd name="connsiteY0" fmla="*/ 5610 h 2979185"/>
                  <a:gd name="connsiteX1" fmla="*/ 299406 w 1414520"/>
                  <a:gd name="connsiteY1" fmla="*/ 78438 h 2979185"/>
                  <a:gd name="connsiteX2" fmla="*/ 493615 w 1414520"/>
                  <a:gd name="connsiteY2" fmla="*/ 126990 h 2979185"/>
                  <a:gd name="connsiteX3" fmla="*/ 687823 w 1414520"/>
                  <a:gd name="connsiteY3" fmla="*/ 143174 h 2979185"/>
                  <a:gd name="connsiteX4" fmla="*/ 865848 w 1414520"/>
                  <a:gd name="connsiteY4" fmla="*/ 110806 h 2979185"/>
                  <a:gd name="connsiteX5" fmla="*/ 946769 w 1414520"/>
                  <a:gd name="connsiteY5" fmla="*/ 62254 h 2979185"/>
                  <a:gd name="connsiteX6" fmla="*/ 1181438 w 1414520"/>
                  <a:gd name="connsiteY6" fmla="*/ 264555 h 2979185"/>
                  <a:gd name="connsiteX7" fmla="*/ 1351370 w 1414520"/>
                  <a:gd name="connsiteY7" fmla="*/ 385935 h 2979185"/>
                  <a:gd name="connsiteX8" fmla="*/ 1327094 w 1414520"/>
                  <a:gd name="connsiteY8" fmla="*/ 491132 h 2979185"/>
                  <a:gd name="connsiteX9" fmla="*/ 1246174 w 1414520"/>
                  <a:gd name="connsiteY9" fmla="*/ 750077 h 2979185"/>
                  <a:gd name="connsiteX10" fmla="*/ 1221898 w 1414520"/>
                  <a:gd name="connsiteY10" fmla="*/ 1551189 h 2979185"/>
                  <a:gd name="connsiteX11" fmla="*/ 1262358 w 1414520"/>
                  <a:gd name="connsiteY11" fmla="*/ 1747097 h 2979185"/>
                  <a:gd name="connsiteX12" fmla="*/ 1294726 w 1414520"/>
                  <a:gd name="connsiteY12" fmla="*/ 2036711 h 2979185"/>
                  <a:gd name="connsiteX13" fmla="*/ 1338427 w 1414520"/>
                  <a:gd name="connsiteY13" fmla="*/ 2332987 h 2979185"/>
                  <a:gd name="connsiteX14" fmla="*/ 1367554 w 1414520"/>
                  <a:gd name="connsiteY14" fmla="*/ 2554601 h 2979185"/>
                  <a:gd name="connsiteX15" fmla="*/ 1346565 w 1414520"/>
                  <a:gd name="connsiteY15" fmla="*/ 2663016 h 2979185"/>
                  <a:gd name="connsiteX16" fmla="*/ 1398312 w 1414520"/>
                  <a:gd name="connsiteY16" fmla="*/ 2797474 h 2979185"/>
                  <a:gd name="connsiteX17" fmla="*/ 1414520 w 1414520"/>
                  <a:gd name="connsiteY17" fmla="*/ 2910651 h 2979185"/>
                  <a:gd name="connsiteX18" fmla="*/ 733122 w 1414520"/>
                  <a:gd name="connsiteY18" fmla="*/ 2833685 h 2979185"/>
                  <a:gd name="connsiteX19" fmla="*/ 769500 w 1414520"/>
                  <a:gd name="connsiteY19" fmla="*/ 2580487 h 2979185"/>
                  <a:gd name="connsiteX20" fmla="*/ 838376 w 1414520"/>
                  <a:gd name="connsiteY20" fmla="*/ 1947699 h 2979185"/>
                  <a:gd name="connsiteX21" fmla="*/ 801112 w 1414520"/>
                  <a:gd name="connsiteY21" fmla="*/ 1632109 h 2979185"/>
                  <a:gd name="connsiteX22" fmla="*/ 750929 w 1414520"/>
                  <a:gd name="connsiteY22" fmla="*/ 1212955 h 2979185"/>
                  <a:gd name="connsiteX23" fmla="*/ 695915 w 1414520"/>
                  <a:gd name="connsiteY23" fmla="*/ 895734 h 2979185"/>
                  <a:gd name="connsiteX24" fmla="*/ 667680 w 1414520"/>
                  <a:gd name="connsiteY24" fmla="*/ 1081852 h 2979185"/>
                  <a:gd name="connsiteX25" fmla="*/ 602031 w 1414520"/>
                  <a:gd name="connsiteY25" fmla="*/ 1669237 h 2979185"/>
                  <a:gd name="connsiteX26" fmla="*/ 637531 w 1414520"/>
                  <a:gd name="connsiteY26" fmla="*/ 2510114 h 2979185"/>
                  <a:gd name="connsiteX27" fmla="*/ 614682 w 1414520"/>
                  <a:gd name="connsiteY27" fmla="*/ 2809553 h 2979185"/>
                  <a:gd name="connsiteX28" fmla="*/ 575008 w 1414520"/>
                  <a:gd name="connsiteY28" fmla="*/ 2910800 h 2979185"/>
                  <a:gd name="connsiteX29" fmla="*/ 286866 w 1414520"/>
                  <a:gd name="connsiteY29" fmla="*/ 2944902 h 2979185"/>
                  <a:gd name="connsiteX30" fmla="*/ 237481 w 1414520"/>
                  <a:gd name="connsiteY30" fmla="*/ 2863879 h 2979185"/>
                  <a:gd name="connsiteX31" fmla="*/ 226577 w 1414520"/>
                  <a:gd name="connsiteY31" fmla="*/ 2077171 h 2979185"/>
                  <a:gd name="connsiteX32" fmla="*/ 161841 w 1414520"/>
                  <a:gd name="connsiteY32" fmla="*/ 1818226 h 2979185"/>
                  <a:gd name="connsiteX33" fmla="*/ 137565 w 1414520"/>
                  <a:gd name="connsiteY33" fmla="*/ 1583557 h 2979185"/>
                  <a:gd name="connsiteX34" fmla="*/ 80921 w 1414520"/>
                  <a:gd name="connsiteY34" fmla="*/ 733893 h 2979185"/>
                  <a:gd name="connsiteX35" fmla="*/ 8092 w 1414520"/>
                  <a:gd name="connsiteY35" fmla="*/ 474948 h 2979185"/>
                  <a:gd name="connsiteX36" fmla="*/ 32369 w 1414520"/>
                  <a:gd name="connsiteY36" fmla="*/ 345475 h 2979185"/>
                  <a:gd name="connsiteX37" fmla="*/ 178025 w 1414520"/>
                  <a:gd name="connsiteY37" fmla="*/ 5610 h 2979185"/>
                  <a:gd name="connsiteX0" fmla="*/ 178025 w 1414520"/>
                  <a:gd name="connsiteY0" fmla="*/ 5610 h 2979185"/>
                  <a:gd name="connsiteX1" fmla="*/ 299406 w 1414520"/>
                  <a:gd name="connsiteY1" fmla="*/ 78438 h 2979185"/>
                  <a:gd name="connsiteX2" fmla="*/ 493615 w 1414520"/>
                  <a:gd name="connsiteY2" fmla="*/ 126990 h 2979185"/>
                  <a:gd name="connsiteX3" fmla="*/ 687823 w 1414520"/>
                  <a:gd name="connsiteY3" fmla="*/ 143174 h 2979185"/>
                  <a:gd name="connsiteX4" fmla="*/ 865848 w 1414520"/>
                  <a:gd name="connsiteY4" fmla="*/ 110806 h 2979185"/>
                  <a:gd name="connsiteX5" fmla="*/ 946769 w 1414520"/>
                  <a:gd name="connsiteY5" fmla="*/ 62254 h 2979185"/>
                  <a:gd name="connsiteX6" fmla="*/ 1181438 w 1414520"/>
                  <a:gd name="connsiteY6" fmla="*/ 264555 h 2979185"/>
                  <a:gd name="connsiteX7" fmla="*/ 1351370 w 1414520"/>
                  <a:gd name="connsiteY7" fmla="*/ 385935 h 2979185"/>
                  <a:gd name="connsiteX8" fmla="*/ 1327094 w 1414520"/>
                  <a:gd name="connsiteY8" fmla="*/ 491132 h 2979185"/>
                  <a:gd name="connsiteX9" fmla="*/ 1246174 w 1414520"/>
                  <a:gd name="connsiteY9" fmla="*/ 750077 h 2979185"/>
                  <a:gd name="connsiteX10" fmla="*/ 1221898 w 1414520"/>
                  <a:gd name="connsiteY10" fmla="*/ 1551189 h 2979185"/>
                  <a:gd name="connsiteX11" fmla="*/ 1262358 w 1414520"/>
                  <a:gd name="connsiteY11" fmla="*/ 1747097 h 2979185"/>
                  <a:gd name="connsiteX12" fmla="*/ 1294726 w 1414520"/>
                  <a:gd name="connsiteY12" fmla="*/ 2036711 h 2979185"/>
                  <a:gd name="connsiteX13" fmla="*/ 1338427 w 1414520"/>
                  <a:gd name="connsiteY13" fmla="*/ 2332987 h 2979185"/>
                  <a:gd name="connsiteX14" fmla="*/ 1367554 w 1414520"/>
                  <a:gd name="connsiteY14" fmla="*/ 2554601 h 2979185"/>
                  <a:gd name="connsiteX15" fmla="*/ 1346565 w 1414520"/>
                  <a:gd name="connsiteY15" fmla="*/ 2663016 h 2979185"/>
                  <a:gd name="connsiteX16" fmla="*/ 1398312 w 1414520"/>
                  <a:gd name="connsiteY16" fmla="*/ 2797474 h 2979185"/>
                  <a:gd name="connsiteX17" fmla="*/ 1414520 w 1414520"/>
                  <a:gd name="connsiteY17" fmla="*/ 2910651 h 2979185"/>
                  <a:gd name="connsiteX18" fmla="*/ 733122 w 1414520"/>
                  <a:gd name="connsiteY18" fmla="*/ 2833685 h 2979185"/>
                  <a:gd name="connsiteX19" fmla="*/ 769500 w 1414520"/>
                  <a:gd name="connsiteY19" fmla="*/ 2580487 h 2979185"/>
                  <a:gd name="connsiteX20" fmla="*/ 773578 w 1414520"/>
                  <a:gd name="connsiteY20" fmla="*/ 1953175 h 2979185"/>
                  <a:gd name="connsiteX21" fmla="*/ 801112 w 1414520"/>
                  <a:gd name="connsiteY21" fmla="*/ 1632109 h 2979185"/>
                  <a:gd name="connsiteX22" fmla="*/ 750929 w 1414520"/>
                  <a:gd name="connsiteY22" fmla="*/ 1212955 h 2979185"/>
                  <a:gd name="connsiteX23" fmla="*/ 695915 w 1414520"/>
                  <a:gd name="connsiteY23" fmla="*/ 895734 h 2979185"/>
                  <a:gd name="connsiteX24" fmla="*/ 667680 w 1414520"/>
                  <a:gd name="connsiteY24" fmla="*/ 1081852 h 2979185"/>
                  <a:gd name="connsiteX25" fmla="*/ 602031 w 1414520"/>
                  <a:gd name="connsiteY25" fmla="*/ 1669237 h 2979185"/>
                  <a:gd name="connsiteX26" fmla="*/ 637531 w 1414520"/>
                  <a:gd name="connsiteY26" fmla="*/ 2510114 h 2979185"/>
                  <a:gd name="connsiteX27" fmla="*/ 614682 w 1414520"/>
                  <a:gd name="connsiteY27" fmla="*/ 2809553 h 2979185"/>
                  <a:gd name="connsiteX28" fmla="*/ 575008 w 1414520"/>
                  <a:gd name="connsiteY28" fmla="*/ 2910800 h 2979185"/>
                  <a:gd name="connsiteX29" fmla="*/ 286866 w 1414520"/>
                  <a:gd name="connsiteY29" fmla="*/ 2944902 h 2979185"/>
                  <a:gd name="connsiteX30" fmla="*/ 237481 w 1414520"/>
                  <a:gd name="connsiteY30" fmla="*/ 2863879 h 2979185"/>
                  <a:gd name="connsiteX31" fmla="*/ 226577 w 1414520"/>
                  <a:gd name="connsiteY31" fmla="*/ 2077171 h 2979185"/>
                  <a:gd name="connsiteX32" fmla="*/ 161841 w 1414520"/>
                  <a:gd name="connsiteY32" fmla="*/ 1818226 h 2979185"/>
                  <a:gd name="connsiteX33" fmla="*/ 137565 w 1414520"/>
                  <a:gd name="connsiteY33" fmla="*/ 1583557 h 2979185"/>
                  <a:gd name="connsiteX34" fmla="*/ 80921 w 1414520"/>
                  <a:gd name="connsiteY34" fmla="*/ 733893 h 2979185"/>
                  <a:gd name="connsiteX35" fmla="*/ 8092 w 1414520"/>
                  <a:gd name="connsiteY35" fmla="*/ 474948 h 2979185"/>
                  <a:gd name="connsiteX36" fmla="*/ 32369 w 1414520"/>
                  <a:gd name="connsiteY36" fmla="*/ 345475 h 2979185"/>
                  <a:gd name="connsiteX37" fmla="*/ 178025 w 1414520"/>
                  <a:gd name="connsiteY37" fmla="*/ 5610 h 2979185"/>
                  <a:gd name="connsiteX0" fmla="*/ 178025 w 1414520"/>
                  <a:gd name="connsiteY0" fmla="*/ 5610 h 2979185"/>
                  <a:gd name="connsiteX1" fmla="*/ 299406 w 1414520"/>
                  <a:gd name="connsiteY1" fmla="*/ 78438 h 2979185"/>
                  <a:gd name="connsiteX2" fmla="*/ 493615 w 1414520"/>
                  <a:gd name="connsiteY2" fmla="*/ 126990 h 2979185"/>
                  <a:gd name="connsiteX3" fmla="*/ 687823 w 1414520"/>
                  <a:gd name="connsiteY3" fmla="*/ 143174 h 2979185"/>
                  <a:gd name="connsiteX4" fmla="*/ 865848 w 1414520"/>
                  <a:gd name="connsiteY4" fmla="*/ 110806 h 2979185"/>
                  <a:gd name="connsiteX5" fmla="*/ 946769 w 1414520"/>
                  <a:gd name="connsiteY5" fmla="*/ 62254 h 2979185"/>
                  <a:gd name="connsiteX6" fmla="*/ 1181438 w 1414520"/>
                  <a:gd name="connsiteY6" fmla="*/ 264555 h 2979185"/>
                  <a:gd name="connsiteX7" fmla="*/ 1351370 w 1414520"/>
                  <a:gd name="connsiteY7" fmla="*/ 385935 h 2979185"/>
                  <a:gd name="connsiteX8" fmla="*/ 1327094 w 1414520"/>
                  <a:gd name="connsiteY8" fmla="*/ 491132 h 2979185"/>
                  <a:gd name="connsiteX9" fmla="*/ 1246174 w 1414520"/>
                  <a:gd name="connsiteY9" fmla="*/ 750077 h 2979185"/>
                  <a:gd name="connsiteX10" fmla="*/ 1221898 w 1414520"/>
                  <a:gd name="connsiteY10" fmla="*/ 1551189 h 2979185"/>
                  <a:gd name="connsiteX11" fmla="*/ 1262358 w 1414520"/>
                  <a:gd name="connsiteY11" fmla="*/ 1747097 h 2979185"/>
                  <a:gd name="connsiteX12" fmla="*/ 1294726 w 1414520"/>
                  <a:gd name="connsiteY12" fmla="*/ 2036711 h 2979185"/>
                  <a:gd name="connsiteX13" fmla="*/ 1338427 w 1414520"/>
                  <a:gd name="connsiteY13" fmla="*/ 2332987 h 2979185"/>
                  <a:gd name="connsiteX14" fmla="*/ 1367554 w 1414520"/>
                  <a:gd name="connsiteY14" fmla="*/ 2554601 h 2979185"/>
                  <a:gd name="connsiteX15" fmla="*/ 1346565 w 1414520"/>
                  <a:gd name="connsiteY15" fmla="*/ 2663016 h 2979185"/>
                  <a:gd name="connsiteX16" fmla="*/ 1398312 w 1414520"/>
                  <a:gd name="connsiteY16" fmla="*/ 2797474 h 2979185"/>
                  <a:gd name="connsiteX17" fmla="*/ 1414520 w 1414520"/>
                  <a:gd name="connsiteY17" fmla="*/ 2910651 h 2979185"/>
                  <a:gd name="connsiteX18" fmla="*/ 733122 w 1414520"/>
                  <a:gd name="connsiteY18" fmla="*/ 2833685 h 2979185"/>
                  <a:gd name="connsiteX19" fmla="*/ 769500 w 1414520"/>
                  <a:gd name="connsiteY19" fmla="*/ 2580487 h 2979185"/>
                  <a:gd name="connsiteX20" fmla="*/ 773578 w 1414520"/>
                  <a:gd name="connsiteY20" fmla="*/ 1953175 h 2979185"/>
                  <a:gd name="connsiteX21" fmla="*/ 753987 w 1414520"/>
                  <a:gd name="connsiteY21" fmla="*/ 1632109 h 2979185"/>
                  <a:gd name="connsiteX22" fmla="*/ 750929 w 1414520"/>
                  <a:gd name="connsiteY22" fmla="*/ 1212955 h 2979185"/>
                  <a:gd name="connsiteX23" fmla="*/ 695915 w 1414520"/>
                  <a:gd name="connsiteY23" fmla="*/ 895734 h 2979185"/>
                  <a:gd name="connsiteX24" fmla="*/ 667680 w 1414520"/>
                  <a:gd name="connsiteY24" fmla="*/ 1081852 h 2979185"/>
                  <a:gd name="connsiteX25" fmla="*/ 602031 w 1414520"/>
                  <a:gd name="connsiteY25" fmla="*/ 1669237 h 2979185"/>
                  <a:gd name="connsiteX26" fmla="*/ 637531 w 1414520"/>
                  <a:gd name="connsiteY26" fmla="*/ 2510114 h 2979185"/>
                  <a:gd name="connsiteX27" fmla="*/ 614682 w 1414520"/>
                  <a:gd name="connsiteY27" fmla="*/ 2809553 h 2979185"/>
                  <a:gd name="connsiteX28" fmla="*/ 575008 w 1414520"/>
                  <a:gd name="connsiteY28" fmla="*/ 2910800 h 2979185"/>
                  <a:gd name="connsiteX29" fmla="*/ 286866 w 1414520"/>
                  <a:gd name="connsiteY29" fmla="*/ 2944902 h 2979185"/>
                  <a:gd name="connsiteX30" fmla="*/ 237481 w 1414520"/>
                  <a:gd name="connsiteY30" fmla="*/ 2863879 h 2979185"/>
                  <a:gd name="connsiteX31" fmla="*/ 226577 w 1414520"/>
                  <a:gd name="connsiteY31" fmla="*/ 2077171 h 2979185"/>
                  <a:gd name="connsiteX32" fmla="*/ 161841 w 1414520"/>
                  <a:gd name="connsiteY32" fmla="*/ 1818226 h 2979185"/>
                  <a:gd name="connsiteX33" fmla="*/ 137565 w 1414520"/>
                  <a:gd name="connsiteY33" fmla="*/ 1583557 h 2979185"/>
                  <a:gd name="connsiteX34" fmla="*/ 80921 w 1414520"/>
                  <a:gd name="connsiteY34" fmla="*/ 733893 h 2979185"/>
                  <a:gd name="connsiteX35" fmla="*/ 8092 w 1414520"/>
                  <a:gd name="connsiteY35" fmla="*/ 474948 h 2979185"/>
                  <a:gd name="connsiteX36" fmla="*/ 32369 w 1414520"/>
                  <a:gd name="connsiteY36" fmla="*/ 345475 h 2979185"/>
                  <a:gd name="connsiteX37" fmla="*/ 178025 w 1414520"/>
                  <a:gd name="connsiteY37" fmla="*/ 5610 h 2979185"/>
                  <a:gd name="connsiteX0" fmla="*/ 178025 w 1414520"/>
                  <a:gd name="connsiteY0" fmla="*/ 5610 h 2979185"/>
                  <a:gd name="connsiteX1" fmla="*/ 299406 w 1414520"/>
                  <a:gd name="connsiteY1" fmla="*/ 78438 h 2979185"/>
                  <a:gd name="connsiteX2" fmla="*/ 493615 w 1414520"/>
                  <a:gd name="connsiteY2" fmla="*/ 126990 h 2979185"/>
                  <a:gd name="connsiteX3" fmla="*/ 687823 w 1414520"/>
                  <a:gd name="connsiteY3" fmla="*/ 143174 h 2979185"/>
                  <a:gd name="connsiteX4" fmla="*/ 865848 w 1414520"/>
                  <a:gd name="connsiteY4" fmla="*/ 110806 h 2979185"/>
                  <a:gd name="connsiteX5" fmla="*/ 946769 w 1414520"/>
                  <a:gd name="connsiteY5" fmla="*/ 62254 h 2979185"/>
                  <a:gd name="connsiteX6" fmla="*/ 1181438 w 1414520"/>
                  <a:gd name="connsiteY6" fmla="*/ 264555 h 2979185"/>
                  <a:gd name="connsiteX7" fmla="*/ 1351370 w 1414520"/>
                  <a:gd name="connsiteY7" fmla="*/ 385935 h 2979185"/>
                  <a:gd name="connsiteX8" fmla="*/ 1327094 w 1414520"/>
                  <a:gd name="connsiteY8" fmla="*/ 491132 h 2979185"/>
                  <a:gd name="connsiteX9" fmla="*/ 1246174 w 1414520"/>
                  <a:gd name="connsiteY9" fmla="*/ 750077 h 2979185"/>
                  <a:gd name="connsiteX10" fmla="*/ 1221898 w 1414520"/>
                  <a:gd name="connsiteY10" fmla="*/ 1551189 h 2979185"/>
                  <a:gd name="connsiteX11" fmla="*/ 1262358 w 1414520"/>
                  <a:gd name="connsiteY11" fmla="*/ 1747097 h 2979185"/>
                  <a:gd name="connsiteX12" fmla="*/ 1294726 w 1414520"/>
                  <a:gd name="connsiteY12" fmla="*/ 2036711 h 2979185"/>
                  <a:gd name="connsiteX13" fmla="*/ 1338427 w 1414520"/>
                  <a:gd name="connsiteY13" fmla="*/ 2332987 h 2979185"/>
                  <a:gd name="connsiteX14" fmla="*/ 1367554 w 1414520"/>
                  <a:gd name="connsiteY14" fmla="*/ 2554601 h 2979185"/>
                  <a:gd name="connsiteX15" fmla="*/ 1346565 w 1414520"/>
                  <a:gd name="connsiteY15" fmla="*/ 2663016 h 2979185"/>
                  <a:gd name="connsiteX16" fmla="*/ 1398312 w 1414520"/>
                  <a:gd name="connsiteY16" fmla="*/ 2797474 h 2979185"/>
                  <a:gd name="connsiteX17" fmla="*/ 1414520 w 1414520"/>
                  <a:gd name="connsiteY17" fmla="*/ 2910651 h 2979185"/>
                  <a:gd name="connsiteX18" fmla="*/ 733122 w 1414520"/>
                  <a:gd name="connsiteY18" fmla="*/ 2833685 h 2979185"/>
                  <a:gd name="connsiteX19" fmla="*/ 769500 w 1414520"/>
                  <a:gd name="connsiteY19" fmla="*/ 2580487 h 2979185"/>
                  <a:gd name="connsiteX20" fmla="*/ 773578 w 1414520"/>
                  <a:gd name="connsiteY20" fmla="*/ 1953175 h 2979185"/>
                  <a:gd name="connsiteX21" fmla="*/ 753987 w 1414520"/>
                  <a:gd name="connsiteY21" fmla="*/ 1632109 h 2979185"/>
                  <a:gd name="connsiteX22" fmla="*/ 721477 w 1414520"/>
                  <a:gd name="connsiteY22" fmla="*/ 1212956 h 2979185"/>
                  <a:gd name="connsiteX23" fmla="*/ 695915 w 1414520"/>
                  <a:gd name="connsiteY23" fmla="*/ 895734 h 2979185"/>
                  <a:gd name="connsiteX24" fmla="*/ 667680 w 1414520"/>
                  <a:gd name="connsiteY24" fmla="*/ 1081852 h 2979185"/>
                  <a:gd name="connsiteX25" fmla="*/ 602031 w 1414520"/>
                  <a:gd name="connsiteY25" fmla="*/ 1669237 h 2979185"/>
                  <a:gd name="connsiteX26" fmla="*/ 637531 w 1414520"/>
                  <a:gd name="connsiteY26" fmla="*/ 2510114 h 2979185"/>
                  <a:gd name="connsiteX27" fmla="*/ 614682 w 1414520"/>
                  <a:gd name="connsiteY27" fmla="*/ 2809553 h 2979185"/>
                  <a:gd name="connsiteX28" fmla="*/ 575008 w 1414520"/>
                  <a:gd name="connsiteY28" fmla="*/ 2910800 h 2979185"/>
                  <a:gd name="connsiteX29" fmla="*/ 286866 w 1414520"/>
                  <a:gd name="connsiteY29" fmla="*/ 2944902 h 2979185"/>
                  <a:gd name="connsiteX30" fmla="*/ 237481 w 1414520"/>
                  <a:gd name="connsiteY30" fmla="*/ 2863879 h 2979185"/>
                  <a:gd name="connsiteX31" fmla="*/ 226577 w 1414520"/>
                  <a:gd name="connsiteY31" fmla="*/ 2077171 h 2979185"/>
                  <a:gd name="connsiteX32" fmla="*/ 161841 w 1414520"/>
                  <a:gd name="connsiteY32" fmla="*/ 1818226 h 2979185"/>
                  <a:gd name="connsiteX33" fmla="*/ 137565 w 1414520"/>
                  <a:gd name="connsiteY33" fmla="*/ 1583557 h 2979185"/>
                  <a:gd name="connsiteX34" fmla="*/ 80921 w 1414520"/>
                  <a:gd name="connsiteY34" fmla="*/ 733893 h 2979185"/>
                  <a:gd name="connsiteX35" fmla="*/ 8092 w 1414520"/>
                  <a:gd name="connsiteY35" fmla="*/ 474948 h 2979185"/>
                  <a:gd name="connsiteX36" fmla="*/ 32369 w 1414520"/>
                  <a:gd name="connsiteY36" fmla="*/ 345475 h 2979185"/>
                  <a:gd name="connsiteX37" fmla="*/ 178025 w 1414520"/>
                  <a:gd name="connsiteY37" fmla="*/ 5610 h 2979185"/>
                  <a:gd name="connsiteX0" fmla="*/ 178025 w 1414520"/>
                  <a:gd name="connsiteY0" fmla="*/ 5610 h 2979185"/>
                  <a:gd name="connsiteX1" fmla="*/ 299406 w 1414520"/>
                  <a:gd name="connsiteY1" fmla="*/ 78438 h 2979185"/>
                  <a:gd name="connsiteX2" fmla="*/ 493615 w 1414520"/>
                  <a:gd name="connsiteY2" fmla="*/ 126990 h 2979185"/>
                  <a:gd name="connsiteX3" fmla="*/ 687823 w 1414520"/>
                  <a:gd name="connsiteY3" fmla="*/ 143174 h 2979185"/>
                  <a:gd name="connsiteX4" fmla="*/ 865848 w 1414520"/>
                  <a:gd name="connsiteY4" fmla="*/ 110806 h 2979185"/>
                  <a:gd name="connsiteX5" fmla="*/ 946769 w 1414520"/>
                  <a:gd name="connsiteY5" fmla="*/ 62254 h 2979185"/>
                  <a:gd name="connsiteX6" fmla="*/ 1181438 w 1414520"/>
                  <a:gd name="connsiteY6" fmla="*/ 264555 h 2979185"/>
                  <a:gd name="connsiteX7" fmla="*/ 1351370 w 1414520"/>
                  <a:gd name="connsiteY7" fmla="*/ 385935 h 2979185"/>
                  <a:gd name="connsiteX8" fmla="*/ 1327094 w 1414520"/>
                  <a:gd name="connsiteY8" fmla="*/ 491132 h 2979185"/>
                  <a:gd name="connsiteX9" fmla="*/ 1246174 w 1414520"/>
                  <a:gd name="connsiteY9" fmla="*/ 750077 h 2979185"/>
                  <a:gd name="connsiteX10" fmla="*/ 1221898 w 1414520"/>
                  <a:gd name="connsiteY10" fmla="*/ 1551189 h 2979185"/>
                  <a:gd name="connsiteX11" fmla="*/ 1262358 w 1414520"/>
                  <a:gd name="connsiteY11" fmla="*/ 1747097 h 2979185"/>
                  <a:gd name="connsiteX12" fmla="*/ 1171022 w 1414520"/>
                  <a:gd name="connsiteY12" fmla="*/ 2064083 h 2979185"/>
                  <a:gd name="connsiteX13" fmla="*/ 1338427 w 1414520"/>
                  <a:gd name="connsiteY13" fmla="*/ 2332987 h 2979185"/>
                  <a:gd name="connsiteX14" fmla="*/ 1367554 w 1414520"/>
                  <a:gd name="connsiteY14" fmla="*/ 2554601 h 2979185"/>
                  <a:gd name="connsiteX15" fmla="*/ 1346565 w 1414520"/>
                  <a:gd name="connsiteY15" fmla="*/ 2663016 h 2979185"/>
                  <a:gd name="connsiteX16" fmla="*/ 1398312 w 1414520"/>
                  <a:gd name="connsiteY16" fmla="*/ 2797474 h 2979185"/>
                  <a:gd name="connsiteX17" fmla="*/ 1414520 w 1414520"/>
                  <a:gd name="connsiteY17" fmla="*/ 2910651 h 2979185"/>
                  <a:gd name="connsiteX18" fmla="*/ 733122 w 1414520"/>
                  <a:gd name="connsiteY18" fmla="*/ 2833685 h 2979185"/>
                  <a:gd name="connsiteX19" fmla="*/ 769500 w 1414520"/>
                  <a:gd name="connsiteY19" fmla="*/ 2580487 h 2979185"/>
                  <a:gd name="connsiteX20" fmla="*/ 773578 w 1414520"/>
                  <a:gd name="connsiteY20" fmla="*/ 1953175 h 2979185"/>
                  <a:gd name="connsiteX21" fmla="*/ 753987 w 1414520"/>
                  <a:gd name="connsiteY21" fmla="*/ 1632109 h 2979185"/>
                  <a:gd name="connsiteX22" fmla="*/ 721477 w 1414520"/>
                  <a:gd name="connsiteY22" fmla="*/ 1212956 h 2979185"/>
                  <a:gd name="connsiteX23" fmla="*/ 695915 w 1414520"/>
                  <a:gd name="connsiteY23" fmla="*/ 895734 h 2979185"/>
                  <a:gd name="connsiteX24" fmla="*/ 667680 w 1414520"/>
                  <a:gd name="connsiteY24" fmla="*/ 1081852 h 2979185"/>
                  <a:gd name="connsiteX25" fmla="*/ 602031 w 1414520"/>
                  <a:gd name="connsiteY25" fmla="*/ 1669237 h 2979185"/>
                  <a:gd name="connsiteX26" fmla="*/ 637531 w 1414520"/>
                  <a:gd name="connsiteY26" fmla="*/ 2510114 h 2979185"/>
                  <a:gd name="connsiteX27" fmla="*/ 614682 w 1414520"/>
                  <a:gd name="connsiteY27" fmla="*/ 2809553 h 2979185"/>
                  <a:gd name="connsiteX28" fmla="*/ 575008 w 1414520"/>
                  <a:gd name="connsiteY28" fmla="*/ 2910800 h 2979185"/>
                  <a:gd name="connsiteX29" fmla="*/ 286866 w 1414520"/>
                  <a:gd name="connsiteY29" fmla="*/ 2944902 h 2979185"/>
                  <a:gd name="connsiteX30" fmla="*/ 237481 w 1414520"/>
                  <a:gd name="connsiteY30" fmla="*/ 2863879 h 2979185"/>
                  <a:gd name="connsiteX31" fmla="*/ 226577 w 1414520"/>
                  <a:gd name="connsiteY31" fmla="*/ 2077171 h 2979185"/>
                  <a:gd name="connsiteX32" fmla="*/ 161841 w 1414520"/>
                  <a:gd name="connsiteY32" fmla="*/ 1818226 h 2979185"/>
                  <a:gd name="connsiteX33" fmla="*/ 137565 w 1414520"/>
                  <a:gd name="connsiteY33" fmla="*/ 1583557 h 2979185"/>
                  <a:gd name="connsiteX34" fmla="*/ 80921 w 1414520"/>
                  <a:gd name="connsiteY34" fmla="*/ 733893 h 2979185"/>
                  <a:gd name="connsiteX35" fmla="*/ 8092 w 1414520"/>
                  <a:gd name="connsiteY35" fmla="*/ 474948 h 2979185"/>
                  <a:gd name="connsiteX36" fmla="*/ 32369 w 1414520"/>
                  <a:gd name="connsiteY36" fmla="*/ 345475 h 2979185"/>
                  <a:gd name="connsiteX37" fmla="*/ 178025 w 1414520"/>
                  <a:gd name="connsiteY37" fmla="*/ 5610 h 2979185"/>
                  <a:gd name="connsiteX0" fmla="*/ 178025 w 1414520"/>
                  <a:gd name="connsiteY0" fmla="*/ 5610 h 2979185"/>
                  <a:gd name="connsiteX1" fmla="*/ 299406 w 1414520"/>
                  <a:gd name="connsiteY1" fmla="*/ 78438 h 2979185"/>
                  <a:gd name="connsiteX2" fmla="*/ 493615 w 1414520"/>
                  <a:gd name="connsiteY2" fmla="*/ 126990 h 2979185"/>
                  <a:gd name="connsiteX3" fmla="*/ 687823 w 1414520"/>
                  <a:gd name="connsiteY3" fmla="*/ 143174 h 2979185"/>
                  <a:gd name="connsiteX4" fmla="*/ 865848 w 1414520"/>
                  <a:gd name="connsiteY4" fmla="*/ 110806 h 2979185"/>
                  <a:gd name="connsiteX5" fmla="*/ 946769 w 1414520"/>
                  <a:gd name="connsiteY5" fmla="*/ 62254 h 2979185"/>
                  <a:gd name="connsiteX6" fmla="*/ 1181438 w 1414520"/>
                  <a:gd name="connsiteY6" fmla="*/ 264555 h 2979185"/>
                  <a:gd name="connsiteX7" fmla="*/ 1351370 w 1414520"/>
                  <a:gd name="connsiteY7" fmla="*/ 385935 h 2979185"/>
                  <a:gd name="connsiteX8" fmla="*/ 1327094 w 1414520"/>
                  <a:gd name="connsiteY8" fmla="*/ 491132 h 2979185"/>
                  <a:gd name="connsiteX9" fmla="*/ 1246174 w 1414520"/>
                  <a:gd name="connsiteY9" fmla="*/ 750077 h 2979185"/>
                  <a:gd name="connsiteX10" fmla="*/ 1221898 w 1414520"/>
                  <a:gd name="connsiteY10" fmla="*/ 1551189 h 2979185"/>
                  <a:gd name="connsiteX11" fmla="*/ 1197562 w 1414520"/>
                  <a:gd name="connsiteY11" fmla="*/ 1758047 h 2979185"/>
                  <a:gd name="connsiteX12" fmla="*/ 1171022 w 1414520"/>
                  <a:gd name="connsiteY12" fmla="*/ 2064083 h 2979185"/>
                  <a:gd name="connsiteX13" fmla="*/ 1338427 w 1414520"/>
                  <a:gd name="connsiteY13" fmla="*/ 2332987 h 2979185"/>
                  <a:gd name="connsiteX14" fmla="*/ 1367554 w 1414520"/>
                  <a:gd name="connsiteY14" fmla="*/ 2554601 h 2979185"/>
                  <a:gd name="connsiteX15" fmla="*/ 1346565 w 1414520"/>
                  <a:gd name="connsiteY15" fmla="*/ 2663016 h 2979185"/>
                  <a:gd name="connsiteX16" fmla="*/ 1398312 w 1414520"/>
                  <a:gd name="connsiteY16" fmla="*/ 2797474 h 2979185"/>
                  <a:gd name="connsiteX17" fmla="*/ 1414520 w 1414520"/>
                  <a:gd name="connsiteY17" fmla="*/ 2910651 h 2979185"/>
                  <a:gd name="connsiteX18" fmla="*/ 733122 w 1414520"/>
                  <a:gd name="connsiteY18" fmla="*/ 2833685 h 2979185"/>
                  <a:gd name="connsiteX19" fmla="*/ 769500 w 1414520"/>
                  <a:gd name="connsiteY19" fmla="*/ 2580487 h 2979185"/>
                  <a:gd name="connsiteX20" fmla="*/ 773578 w 1414520"/>
                  <a:gd name="connsiteY20" fmla="*/ 1953175 h 2979185"/>
                  <a:gd name="connsiteX21" fmla="*/ 753987 w 1414520"/>
                  <a:gd name="connsiteY21" fmla="*/ 1632109 h 2979185"/>
                  <a:gd name="connsiteX22" fmla="*/ 721477 w 1414520"/>
                  <a:gd name="connsiteY22" fmla="*/ 1212956 h 2979185"/>
                  <a:gd name="connsiteX23" fmla="*/ 695915 w 1414520"/>
                  <a:gd name="connsiteY23" fmla="*/ 895734 h 2979185"/>
                  <a:gd name="connsiteX24" fmla="*/ 667680 w 1414520"/>
                  <a:gd name="connsiteY24" fmla="*/ 1081852 h 2979185"/>
                  <a:gd name="connsiteX25" fmla="*/ 602031 w 1414520"/>
                  <a:gd name="connsiteY25" fmla="*/ 1669237 h 2979185"/>
                  <a:gd name="connsiteX26" fmla="*/ 637531 w 1414520"/>
                  <a:gd name="connsiteY26" fmla="*/ 2510114 h 2979185"/>
                  <a:gd name="connsiteX27" fmla="*/ 614682 w 1414520"/>
                  <a:gd name="connsiteY27" fmla="*/ 2809553 h 2979185"/>
                  <a:gd name="connsiteX28" fmla="*/ 575008 w 1414520"/>
                  <a:gd name="connsiteY28" fmla="*/ 2910800 h 2979185"/>
                  <a:gd name="connsiteX29" fmla="*/ 286866 w 1414520"/>
                  <a:gd name="connsiteY29" fmla="*/ 2944902 h 2979185"/>
                  <a:gd name="connsiteX30" fmla="*/ 237481 w 1414520"/>
                  <a:gd name="connsiteY30" fmla="*/ 2863879 h 2979185"/>
                  <a:gd name="connsiteX31" fmla="*/ 226577 w 1414520"/>
                  <a:gd name="connsiteY31" fmla="*/ 2077171 h 2979185"/>
                  <a:gd name="connsiteX32" fmla="*/ 161841 w 1414520"/>
                  <a:gd name="connsiteY32" fmla="*/ 1818226 h 2979185"/>
                  <a:gd name="connsiteX33" fmla="*/ 137565 w 1414520"/>
                  <a:gd name="connsiteY33" fmla="*/ 1583557 h 2979185"/>
                  <a:gd name="connsiteX34" fmla="*/ 80921 w 1414520"/>
                  <a:gd name="connsiteY34" fmla="*/ 733893 h 2979185"/>
                  <a:gd name="connsiteX35" fmla="*/ 8092 w 1414520"/>
                  <a:gd name="connsiteY35" fmla="*/ 474948 h 2979185"/>
                  <a:gd name="connsiteX36" fmla="*/ 32369 w 1414520"/>
                  <a:gd name="connsiteY36" fmla="*/ 345475 h 2979185"/>
                  <a:gd name="connsiteX37" fmla="*/ 178025 w 1414520"/>
                  <a:gd name="connsiteY37" fmla="*/ 5610 h 2979185"/>
                  <a:gd name="connsiteX0" fmla="*/ 178025 w 1414520"/>
                  <a:gd name="connsiteY0" fmla="*/ 5610 h 2979185"/>
                  <a:gd name="connsiteX1" fmla="*/ 299406 w 1414520"/>
                  <a:gd name="connsiteY1" fmla="*/ 78438 h 2979185"/>
                  <a:gd name="connsiteX2" fmla="*/ 493615 w 1414520"/>
                  <a:gd name="connsiteY2" fmla="*/ 126990 h 2979185"/>
                  <a:gd name="connsiteX3" fmla="*/ 687823 w 1414520"/>
                  <a:gd name="connsiteY3" fmla="*/ 143174 h 2979185"/>
                  <a:gd name="connsiteX4" fmla="*/ 865848 w 1414520"/>
                  <a:gd name="connsiteY4" fmla="*/ 110806 h 2979185"/>
                  <a:gd name="connsiteX5" fmla="*/ 946769 w 1414520"/>
                  <a:gd name="connsiteY5" fmla="*/ 62254 h 2979185"/>
                  <a:gd name="connsiteX6" fmla="*/ 1181438 w 1414520"/>
                  <a:gd name="connsiteY6" fmla="*/ 264555 h 2979185"/>
                  <a:gd name="connsiteX7" fmla="*/ 1351370 w 1414520"/>
                  <a:gd name="connsiteY7" fmla="*/ 385935 h 2979185"/>
                  <a:gd name="connsiteX8" fmla="*/ 1327094 w 1414520"/>
                  <a:gd name="connsiteY8" fmla="*/ 491132 h 2979185"/>
                  <a:gd name="connsiteX9" fmla="*/ 1246174 w 1414520"/>
                  <a:gd name="connsiteY9" fmla="*/ 750077 h 2979185"/>
                  <a:gd name="connsiteX10" fmla="*/ 1221898 w 1414520"/>
                  <a:gd name="connsiteY10" fmla="*/ 1551189 h 2979185"/>
                  <a:gd name="connsiteX11" fmla="*/ 1197562 w 1414520"/>
                  <a:gd name="connsiteY11" fmla="*/ 1758047 h 2979185"/>
                  <a:gd name="connsiteX12" fmla="*/ 1171022 w 1414520"/>
                  <a:gd name="connsiteY12" fmla="*/ 2064083 h 2979185"/>
                  <a:gd name="connsiteX13" fmla="*/ 1108688 w 1414520"/>
                  <a:gd name="connsiteY13" fmla="*/ 2442473 h 2979185"/>
                  <a:gd name="connsiteX14" fmla="*/ 1367554 w 1414520"/>
                  <a:gd name="connsiteY14" fmla="*/ 2554601 h 2979185"/>
                  <a:gd name="connsiteX15" fmla="*/ 1346565 w 1414520"/>
                  <a:gd name="connsiteY15" fmla="*/ 2663016 h 2979185"/>
                  <a:gd name="connsiteX16" fmla="*/ 1398312 w 1414520"/>
                  <a:gd name="connsiteY16" fmla="*/ 2797474 h 2979185"/>
                  <a:gd name="connsiteX17" fmla="*/ 1414520 w 1414520"/>
                  <a:gd name="connsiteY17" fmla="*/ 2910651 h 2979185"/>
                  <a:gd name="connsiteX18" fmla="*/ 733122 w 1414520"/>
                  <a:gd name="connsiteY18" fmla="*/ 2833685 h 2979185"/>
                  <a:gd name="connsiteX19" fmla="*/ 769500 w 1414520"/>
                  <a:gd name="connsiteY19" fmla="*/ 2580487 h 2979185"/>
                  <a:gd name="connsiteX20" fmla="*/ 773578 w 1414520"/>
                  <a:gd name="connsiteY20" fmla="*/ 1953175 h 2979185"/>
                  <a:gd name="connsiteX21" fmla="*/ 753987 w 1414520"/>
                  <a:gd name="connsiteY21" fmla="*/ 1632109 h 2979185"/>
                  <a:gd name="connsiteX22" fmla="*/ 721477 w 1414520"/>
                  <a:gd name="connsiteY22" fmla="*/ 1212956 h 2979185"/>
                  <a:gd name="connsiteX23" fmla="*/ 695915 w 1414520"/>
                  <a:gd name="connsiteY23" fmla="*/ 895734 h 2979185"/>
                  <a:gd name="connsiteX24" fmla="*/ 667680 w 1414520"/>
                  <a:gd name="connsiteY24" fmla="*/ 1081852 h 2979185"/>
                  <a:gd name="connsiteX25" fmla="*/ 602031 w 1414520"/>
                  <a:gd name="connsiteY25" fmla="*/ 1669237 h 2979185"/>
                  <a:gd name="connsiteX26" fmla="*/ 637531 w 1414520"/>
                  <a:gd name="connsiteY26" fmla="*/ 2510114 h 2979185"/>
                  <a:gd name="connsiteX27" fmla="*/ 614682 w 1414520"/>
                  <a:gd name="connsiteY27" fmla="*/ 2809553 h 2979185"/>
                  <a:gd name="connsiteX28" fmla="*/ 575008 w 1414520"/>
                  <a:gd name="connsiteY28" fmla="*/ 2910800 h 2979185"/>
                  <a:gd name="connsiteX29" fmla="*/ 286866 w 1414520"/>
                  <a:gd name="connsiteY29" fmla="*/ 2944902 h 2979185"/>
                  <a:gd name="connsiteX30" fmla="*/ 237481 w 1414520"/>
                  <a:gd name="connsiteY30" fmla="*/ 2863879 h 2979185"/>
                  <a:gd name="connsiteX31" fmla="*/ 226577 w 1414520"/>
                  <a:gd name="connsiteY31" fmla="*/ 2077171 h 2979185"/>
                  <a:gd name="connsiteX32" fmla="*/ 161841 w 1414520"/>
                  <a:gd name="connsiteY32" fmla="*/ 1818226 h 2979185"/>
                  <a:gd name="connsiteX33" fmla="*/ 137565 w 1414520"/>
                  <a:gd name="connsiteY33" fmla="*/ 1583557 h 2979185"/>
                  <a:gd name="connsiteX34" fmla="*/ 80921 w 1414520"/>
                  <a:gd name="connsiteY34" fmla="*/ 733893 h 2979185"/>
                  <a:gd name="connsiteX35" fmla="*/ 8092 w 1414520"/>
                  <a:gd name="connsiteY35" fmla="*/ 474948 h 2979185"/>
                  <a:gd name="connsiteX36" fmla="*/ 32369 w 1414520"/>
                  <a:gd name="connsiteY36" fmla="*/ 345475 h 2979185"/>
                  <a:gd name="connsiteX37" fmla="*/ 178025 w 1414520"/>
                  <a:gd name="connsiteY37" fmla="*/ 5610 h 2979185"/>
                  <a:gd name="connsiteX0" fmla="*/ 178025 w 1414520"/>
                  <a:gd name="connsiteY0" fmla="*/ 5610 h 2979185"/>
                  <a:gd name="connsiteX1" fmla="*/ 299406 w 1414520"/>
                  <a:gd name="connsiteY1" fmla="*/ 78438 h 2979185"/>
                  <a:gd name="connsiteX2" fmla="*/ 493615 w 1414520"/>
                  <a:gd name="connsiteY2" fmla="*/ 126990 h 2979185"/>
                  <a:gd name="connsiteX3" fmla="*/ 687823 w 1414520"/>
                  <a:gd name="connsiteY3" fmla="*/ 143174 h 2979185"/>
                  <a:gd name="connsiteX4" fmla="*/ 865848 w 1414520"/>
                  <a:gd name="connsiteY4" fmla="*/ 110806 h 2979185"/>
                  <a:gd name="connsiteX5" fmla="*/ 946769 w 1414520"/>
                  <a:gd name="connsiteY5" fmla="*/ 62254 h 2979185"/>
                  <a:gd name="connsiteX6" fmla="*/ 1181438 w 1414520"/>
                  <a:gd name="connsiteY6" fmla="*/ 264555 h 2979185"/>
                  <a:gd name="connsiteX7" fmla="*/ 1351370 w 1414520"/>
                  <a:gd name="connsiteY7" fmla="*/ 385935 h 2979185"/>
                  <a:gd name="connsiteX8" fmla="*/ 1327094 w 1414520"/>
                  <a:gd name="connsiteY8" fmla="*/ 491132 h 2979185"/>
                  <a:gd name="connsiteX9" fmla="*/ 1246174 w 1414520"/>
                  <a:gd name="connsiteY9" fmla="*/ 750077 h 2979185"/>
                  <a:gd name="connsiteX10" fmla="*/ 1221898 w 1414520"/>
                  <a:gd name="connsiteY10" fmla="*/ 1551189 h 2979185"/>
                  <a:gd name="connsiteX11" fmla="*/ 1197562 w 1414520"/>
                  <a:gd name="connsiteY11" fmla="*/ 1758047 h 2979185"/>
                  <a:gd name="connsiteX12" fmla="*/ 1171022 w 1414520"/>
                  <a:gd name="connsiteY12" fmla="*/ 2064083 h 2979185"/>
                  <a:gd name="connsiteX13" fmla="*/ 1108688 w 1414520"/>
                  <a:gd name="connsiteY13" fmla="*/ 2442473 h 2979185"/>
                  <a:gd name="connsiteX14" fmla="*/ 1346565 w 1414520"/>
                  <a:gd name="connsiteY14" fmla="*/ 2663016 h 2979185"/>
                  <a:gd name="connsiteX15" fmla="*/ 1398312 w 1414520"/>
                  <a:gd name="connsiteY15" fmla="*/ 2797474 h 2979185"/>
                  <a:gd name="connsiteX16" fmla="*/ 1414520 w 1414520"/>
                  <a:gd name="connsiteY16" fmla="*/ 2910651 h 2979185"/>
                  <a:gd name="connsiteX17" fmla="*/ 733122 w 1414520"/>
                  <a:gd name="connsiteY17" fmla="*/ 2833685 h 2979185"/>
                  <a:gd name="connsiteX18" fmla="*/ 769500 w 1414520"/>
                  <a:gd name="connsiteY18" fmla="*/ 2580487 h 2979185"/>
                  <a:gd name="connsiteX19" fmla="*/ 773578 w 1414520"/>
                  <a:gd name="connsiteY19" fmla="*/ 1953175 h 2979185"/>
                  <a:gd name="connsiteX20" fmla="*/ 753987 w 1414520"/>
                  <a:gd name="connsiteY20" fmla="*/ 1632109 h 2979185"/>
                  <a:gd name="connsiteX21" fmla="*/ 721477 w 1414520"/>
                  <a:gd name="connsiteY21" fmla="*/ 1212956 h 2979185"/>
                  <a:gd name="connsiteX22" fmla="*/ 695915 w 1414520"/>
                  <a:gd name="connsiteY22" fmla="*/ 895734 h 2979185"/>
                  <a:gd name="connsiteX23" fmla="*/ 667680 w 1414520"/>
                  <a:gd name="connsiteY23" fmla="*/ 1081852 h 2979185"/>
                  <a:gd name="connsiteX24" fmla="*/ 602031 w 1414520"/>
                  <a:gd name="connsiteY24" fmla="*/ 1669237 h 2979185"/>
                  <a:gd name="connsiteX25" fmla="*/ 637531 w 1414520"/>
                  <a:gd name="connsiteY25" fmla="*/ 2510114 h 2979185"/>
                  <a:gd name="connsiteX26" fmla="*/ 614682 w 1414520"/>
                  <a:gd name="connsiteY26" fmla="*/ 2809553 h 2979185"/>
                  <a:gd name="connsiteX27" fmla="*/ 575008 w 1414520"/>
                  <a:gd name="connsiteY27" fmla="*/ 2910800 h 2979185"/>
                  <a:gd name="connsiteX28" fmla="*/ 286866 w 1414520"/>
                  <a:gd name="connsiteY28" fmla="*/ 2944902 h 2979185"/>
                  <a:gd name="connsiteX29" fmla="*/ 237481 w 1414520"/>
                  <a:gd name="connsiteY29" fmla="*/ 2863879 h 2979185"/>
                  <a:gd name="connsiteX30" fmla="*/ 226577 w 1414520"/>
                  <a:gd name="connsiteY30" fmla="*/ 2077171 h 2979185"/>
                  <a:gd name="connsiteX31" fmla="*/ 161841 w 1414520"/>
                  <a:gd name="connsiteY31" fmla="*/ 1818226 h 2979185"/>
                  <a:gd name="connsiteX32" fmla="*/ 137565 w 1414520"/>
                  <a:gd name="connsiteY32" fmla="*/ 1583557 h 2979185"/>
                  <a:gd name="connsiteX33" fmla="*/ 80921 w 1414520"/>
                  <a:gd name="connsiteY33" fmla="*/ 733893 h 2979185"/>
                  <a:gd name="connsiteX34" fmla="*/ 8092 w 1414520"/>
                  <a:gd name="connsiteY34" fmla="*/ 474948 h 2979185"/>
                  <a:gd name="connsiteX35" fmla="*/ 32369 w 1414520"/>
                  <a:gd name="connsiteY35" fmla="*/ 345475 h 2979185"/>
                  <a:gd name="connsiteX36" fmla="*/ 178025 w 1414520"/>
                  <a:gd name="connsiteY36" fmla="*/ 5610 h 2979185"/>
                  <a:gd name="connsiteX0" fmla="*/ 178025 w 1414520"/>
                  <a:gd name="connsiteY0" fmla="*/ 5610 h 2979185"/>
                  <a:gd name="connsiteX1" fmla="*/ 299406 w 1414520"/>
                  <a:gd name="connsiteY1" fmla="*/ 78438 h 2979185"/>
                  <a:gd name="connsiteX2" fmla="*/ 493615 w 1414520"/>
                  <a:gd name="connsiteY2" fmla="*/ 126990 h 2979185"/>
                  <a:gd name="connsiteX3" fmla="*/ 687823 w 1414520"/>
                  <a:gd name="connsiteY3" fmla="*/ 143174 h 2979185"/>
                  <a:gd name="connsiteX4" fmla="*/ 865848 w 1414520"/>
                  <a:gd name="connsiteY4" fmla="*/ 110806 h 2979185"/>
                  <a:gd name="connsiteX5" fmla="*/ 946769 w 1414520"/>
                  <a:gd name="connsiteY5" fmla="*/ 62254 h 2979185"/>
                  <a:gd name="connsiteX6" fmla="*/ 1181438 w 1414520"/>
                  <a:gd name="connsiteY6" fmla="*/ 264555 h 2979185"/>
                  <a:gd name="connsiteX7" fmla="*/ 1351370 w 1414520"/>
                  <a:gd name="connsiteY7" fmla="*/ 385935 h 2979185"/>
                  <a:gd name="connsiteX8" fmla="*/ 1327094 w 1414520"/>
                  <a:gd name="connsiteY8" fmla="*/ 491132 h 2979185"/>
                  <a:gd name="connsiteX9" fmla="*/ 1246174 w 1414520"/>
                  <a:gd name="connsiteY9" fmla="*/ 750077 h 2979185"/>
                  <a:gd name="connsiteX10" fmla="*/ 1221898 w 1414520"/>
                  <a:gd name="connsiteY10" fmla="*/ 1551189 h 2979185"/>
                  <a:gd name="connsiteX11" fmla="*/ 1197562 w 1414520"/>
                  <a:gd name="connsiteY11" fmla="*/ 1758047 h 2979185"/>
                  <a:gd name="connsiteX12" fmla="*/ 1171022 w 1414520"/>
                  <a:gd name="connsiteY12" fmla="*/ 2064083 h 2979185"/>
                  <a:gd name="connsiteX13" fmla="*/ 1108688 w 1414520"/>
                  <a:gd name="connsiteY13" fmla="*/ 2442473 h 2979185"/>
                  <a:gd name="connsiteX14" fmla="*/ 1398312 w 1414520"/>
                  <a:gd name="connsiteY14" fmla="*/ 2797474 h 2979185"/>
                  <a:gd name="connsiteX15" fmla="*/ 1414520 w 1414520"/>
                  <a:gd name="connsiteY15" fmla="*/ 2910651 h 2979185"/>
                  <a:gd name="connsiteX16" fmla="*/ 733122 w 1414520"/>
                  <a:gd name="connsiteY16" fmla="*/ 2833685 h 2979185"/>
                  <a:gd name="connsiteX17" fmla="*/ 769500 w 1414520"/>
                  <a:gd name="connsiteY17" fmla="*/ 2580487 h 2979185"/>
                  <a:gd name="connsiteX18" fmla="*/ 773578 w 1414520"/>
                  <a:gd name="connsiteY18" fmla="*/ 1953175 h 2979185"/>
                  <a:gd name="connsiteX19" fmla="*/ 753987 w 1414520"/>
                  <a:gd name="connsiteY19" fmla="*/ 1632109 h 2979185"/>
                  <a:gd name="connsiteX20" fmla="*/ 721477 w 1414520"/>
                  <a:gd name="connsiteY20" fmla="*/ 1212956 h 2979185"/>
                  <a:gd name="connsiteX21" fmla="*/ 695915 w 1414520"/>
                  <a:gd name="connsiteY21" fmla="*/ 895734 h 2979185"/>
                  <a:gd name="connsiteX22" fmla="*/ 667680 w 1414520"/>
                  <a:gd name="connsiteY22" fmla="*/ 1081852 h 2979185"/>
                  <a:gd name="connsiteX23" fmla="*/ 602031 w 1414520"/>
                  <a:gd name="connsiteY23" fmla="*/ 1669237 h 2979185"/>
                  <a:gd name="connsiteX24" fmla="*/ 637531 w 1414520"/>
                  <a:gd name="connsiteY24" fmla="*/ 2510114 h 2979185"/>
                  <a:gd name="connsiteX25" fmla="*/ 614682 w 1414520"/>
                  <a:gd name="connsiteY25" fmla="*/ 2809553 h 2979185"/>
                  <a:gd name="connsiteX26" fmla="*/ 575008 w 1414520"/>
                  <a:gd name="connsiteY26" fmla="*/ 2910800 h 2979185"/>
                  <a:gd name="connsiteX27" fmla="*/ 286866 w 1414520"/>
                  <a:gd name="connsiteY27" fmla="*/ 2944902 h 2979185"/>
                  <a:gd name="connsiteX28" fmla="*/ 237481 w 1414520"/>
                  <a:gd name="connsiteY28" fmla="*/ 2863879 h 2979185"/>
                  <a:gd name="connsiteX29" fmla="*/ 226577 w 1414520"/>
                  <a:gd name="connsiteY29" fmla="*/ 2077171 h 2979185"/>
                  <a:gd name="connsiteX30" fmla="*/ 161841 w 1414520"/>
                  <a:gd name="connsiteY30" fmla="*/ 1818226 h 2979185"/>
                  <a:gd name="connsiteX31" fmla="*/ 137565 w 1414520"/>
                  <a:gd name="connsiteY31" fmla="*/ 1583557 h 2979185"/>
                  <a:gd name="connsiteX32" fmla="*/ 80921 w 1414520"/>
                  <a:gd name="connsiteY32" fmla="*/ 733893 h 2979185"/>
                  <a:gd name="connsiteX33" fmla="*/ 8092 w 1414520"/>
                  <a:gd name="connsiteY33" fmla="*/ 474948 h 2979185"/>
                  <a:gd name="connsiteX34" fmla="*/ 32369 w 1414520"/>
                  <a:gd name="connsiteY34" fmla="*/ 345475 h 2979185"/>
                  <a:gd name="connsiteX35" fmla="*/ 178025 w 1414520"/>
                  <a:gd name="connsiteY35" fmla="*/ 5610 h 2979185"/>
                  <a:gd name="connsiteX0" fmla="*/ 178025 w 1477114"/>
                  <a:gd name="connsiteY0" fmla="*/ 5610 h 2979185"/>
                  <a:gd name="connsiteX1" fmla="*/ 299406 w 1477114"/>
                  <a:gd name="connsiteY1" fmla="*/ 78438 h 2979185"/>
                  <a:gd name="connsiteX2" fmla="*/ 493615 w 1477114"/>
                  <a:gd name="connsiteY2" fmla="*/ 126990 h 2979185"/>
                  <a:gd name="connsiteX3" fmla="*/ 687823 w 1477114"/>
                  <a:gd name="connsiteY3" fmla="*/ 143174 h 2979185"/>
                  <a:gd name="connsiteX4" fmla="*/ 865848 w 1477114"/>
                  <a:gd name="connsiteY4" fmla="*/ 110806 h 2979185"/>
                  <a:gd name="connsiteX5" fmla="*/ 946769 w 1477114"/>
                  <a:gd name="connsiteY5" fmla="*/ 62254 h 2979185"/>
                  <a:gd name="connsiteX6" fmla="*/ 1181438 w 1477114"/>
                  <a:gd name="connsiteY6" fmla="*/ 264555 h 2979185"/>
                  <a:gd name="connsiteX7" fmla="*/ 1351370 w 1477114"/>
                  <a:gd name="connsiteY7" fmla="*/ 385935 h 2979185"/>
                  <a:gd name="connsiteX8" fmla="*/ 1327094 w 1477114"/>
                  <a:gd name="connsiteY8" fmla="*/ 491132 h 2979185"/>
                  <a:gd name="connsiteX9" fmla="*/ 1246174 w 1477114"/>
                  <a:gd name="connsiteY9" fmla="*/ 750077 h 2979185"/>
                  <a:gd name="connsiteX10" fmla="*/ 1221898 w 1477114"/>
                  <a:gd name="connsiteY10" fmla="*/ 1551189 h 2979185"/>
                  <a:gd name="connsiteX11" fmla="*/ 1197562 w 1477114"/>
                  <a:gd name="connsiteY11" fmla="*/ 1758047 h 2979185"/>
                  <a:gd name="connsiteX12" fmla="*/ 1171022 w 1477114"/>
                  <a:gd name="connsiteY12" fmla="*/ 2064083 h 2979185"/>
                  <a:gd name="connsiteX13" fmla="*/ 1108688 w 1477114"/>
                  <a:gd name="connsiteY13" fmla="*/ 2442473 h 2979185"/>
                  <a:gd name="connsiteX14" fmla="*/ 1414520 w 1477114"/>
                  <a:gd name="connsiteY14" fmla="*/ 2910651 h 2979185"/>
                  <a:gd name="connsiteX15" fmla="*/ 733122 w 1477114"/>
                  <a:gd name="connsiteY15" fmla="*/ 2833685 h 2979185"/>
                  <a:gd name="connsiteX16" fmla="*/ 769500 w 1477114"/>
                  <a:gd name="connsiteY16" fmla="*/ 2580487 h 2979185"/>
                  <a:gd name="connsiteX17" fmla="*/ 773578 w 1477114"/>
                  <a:gd name="connsiteY17" fmla="*/ 1953175 h 2979185"/>
                  <a:gd name="connsiteX18" fmla="*/ 753987 w 1477114"/>
                  <a:gd name="connsiteY18" fmla="*/ 1632109 h 2979185"/>
                  <a:gd name="connsiteX19" fmla="*/ 721477 w 1477114"/>
                  <a:gd name="connsiteY19" fmla="*/ 1212956 h 2979185"/>
                  <a:gd name="connsiteX20" fmla="*/ 695915 w 1477114"/>
                  <a:gd name="connsiteY20" fmla="*/ 895734 h 2979185"/>
                  <a:gd name="connsiteX21" fmla="*/ 667680 w 1477114"/>
                  <a:gd name="connsiteY21" fmla="*/ 1081852 h 2979185"/>
                  <a:gd name="connsiteX22" fmla="*/ 602031 w 1477114"/>
                  <a:gd name="connsiteY22" fmla="*/ 1669237 h 2979185"/>
                  <a:gd name="connsiteX23" fmla="*/ 637531 w 1477114"/>
                  <a:gd name="connsiteY23" fmla="*/ 2510114 h 2979185"/>
                  <a:gd name="connsiteX24" fmla="*/ 614682 w 1477114"/>
                  <a:gd name="connsiteY24" fmla="*/ 2809553 h 2979185"/>
                  <a:gd name="connsiteX25" fmla="*/ 575008 w 1477114"/>
                  <a:gd name="connsiteY25" fmla="*/ 2910800 h 2979185"/>
                  <a:gd name="connsiteX26" fmla="*/ 286866 w 1477114"/>
                  <a:gd name="connsiteY26" fmla="*/ 2944902 h 2979185"/>
                  <a:gd name="connsiteX27" fmla="*/ 237481 w 1477114"/>
                  <a:gd name="connsiteY27" fmla="*/ 2863879 h 2979185"/>
                  <a:gd name="connsiteX28" fmla="*/ 226577 w 1477114"/>
                  <a:gd name="connsiteY28" fmla="*/ 2077171 h 2979185"/>
                  <a:gd name="connsiteX29" fmla="*/ 161841 w 1477114"/>
                  <a:gd name="connsiteY29" fmla="*/ 1818226 h 2979185"/>
                  <a:gd name="connsiteX30" fmla="*/ 137565 w 1477114"/>
                  <a:gd name="connsiteY30" fmla="*/ 1583557 h 2979185"/>
                  <a:gd name="connsiteX31" fmla="*/ 80921 w 1477114"/>
                  <a:gd name="connsiteY31" fmla="*/ 733893 h 2979185"/>
                  <a:gd name="connsiteX32" fmla="*/ 8092 w 1477114"/>
                  <a:gd name="connsiteY32" fmla="*/ 474948 h 2979185"/>
                  <a:gd name="connsiteX33" fmla="*/ 32369 w 1477114"/>
                  <a:gd name="connsiteY33" fmla="*/ 345475 h 2979185"/>
                  <a:gd name="connsiteX34" fmla="*/ 178025 w 1477114"/>
                  <a:gd name="connsiteY34" fmla="*/ 5610 h 2979185"/>
                  <a:gd name="connsiteX0" fmla="*/ 178025 w 1375647"/>
                  <a:gd name="connsiteY0" fmla="*/ 5610 h 2979185"/>
                  <a:gd name="connsiteX1" fmla="*/ 299406 w 1375647"/>
                  <a:gd name="connsiteY1" fmla="*/ 78438 h 2979185"/>
                  <a:gd name="connsiteX2" fmla="*/ 493615 w 1375647"/>
                  <a:gd name="connsiteY2" fmla="*/ 126990 h 2979185"/>
                  <a:gd name="connsiteX3" fmla="*/ 687823 w 1375647"/>
                  <a:gd name="connsiteY3" fmla="*/ 143174 h 2979185"/>
                  <a:gd name="connsiteX4" fmla="*/ 865848 w 1375647"/>
                  <a:gd name="connsiteY4" fmla="*/ 110806 h 2979185"/>
                  <a:gd name="connsiteX5" fmla="*/ 946769 w 1375647"/>
                  <a:gd name="connsiteY5" fmla="*/ 62254 h 2979185"/>
                  <a:gd name="connsiteX6" fmla="*/ 1181438 w 1375647"/>
                  <a:gd name="connsiteY6" fmla="*/ 264555 h 2979185"/>
                  <a:gd name="connsiteX7" fmla="*/ 1351370 w 1375647"/>
                  <a:gd name="connsiteY7" fmla="*/ 385935 h 2979185"/>
                  <a:gd name="connsiteX8" fmla="*/ 1327094 w 1375647"/>
                  <a:gd name="connsiteY8" fmla="*/ 491132 h 2979185"/>
                  <a:gd name="connsiteX9" fmla="*/ 1246174 w 1375647"/>
                  <a:gd name="connsiteY9" fmla="*/ 750077 h 2979185"/>
                  <a:gd name="connsiteX10" fmla="*/ 1221898 w 1375647"/>
                  <a:gd name="connsiteY10" fmla="*/ 1551189 h 2979185"/>
                  <a:gd name="connsiteX11" fmla="*/ 1197562 w 1375647"/>
                  <a:gd name="connsiteY11" fmla="*/ 1758047 h 2979185"/>
                  <a:gd name="connsiteX12" fmla="*/ 1171022 w 1375647"/>
                  <a:gd name="connsiteY12" fmla="*/ 2064083 h 2979185"/>
                  <a:gd name="connsiteX13" fmla="*/ 1108688 w 1375647"/>
                  <a:gd name="connsiteY13" fmla="*/ 2442473 h 2979185"/>
                  <a:gd name="connsiteX14" fmla="*/ 1102313 w 1375647"/>
                  <a:gd name="connsiteY14" fmla="*/ 2916125 h 2979185"/>
                  <a:gd name="connsiteX15" fmla="*/ 733122 w 1375647"/>
                  <a:gd name="connsiteY15" fmla="*/ 2833685 h 2979185"/>
                  <a:gd name="connsiteX16" fmla="*/ 769500 w 1375647"/>
                  <a:gd name="connsiteY16" fmla="*/ 2580487 h 2979185"/>
                  <a:gd name="connsiteX17" fmla="*/ 773578 w 1375647"/>
                  <a:gd name="connsiteY17" fmla="*/ 1953175 h 2979185"/>
                  <a:gd name="connsiteX18" fmla="*/ 753987 w 1375647"/>
                  <a:gd name="connsiteY18" fmla="*/ 1632109 h 2979185"/>
                  <a:gd name="connsiteX19" fmla="*/ 721477 w 1375647"/>
                  <a:gd name="connsiteY19" fmla="*/ 1212956 h 2979185"/>
                  <a:gd name="connsiteX20" fmla="*/ 695915 w 1375647"/>
                  <a:gd name="connsiteY20" fmla="*/ 895734 h 2979185"/>
                  <a:gd name="connsiteX21" fmla="*/ 667680 w 1375647"/>
                  <a:gd name="connsiteY21" fmla="*/ 1081852 h 2979185"/>
                  <a:gd name="connsiteX22" fmla="*/ 602031 w 1375647"/>
                  <a:gd name="connsiteY22" fmla="*/ 1669237 h 2979185"/>
                  <a:gd name="connsiteX23" fmla="*/ 637531 w 1375647"/>
                  <a:gd name="connsiteY23" fmla="*/ 2510114 h 2979185"/>
                  <a:gd name="connsiteX24" fmla="*/ 614682 w 1375647"/>
                  <a:gd name="connsiteY24" fmla="*/ 2809553 h 2979185"/>
                  <a:gd name="connsiteX25" fmla="*/ 575008 w 1375647"/>
                  <a:gd name="connsiteY25" fmla="*/ 2910800 h 2979185"/>
                  <a:gd name="connsiteX26" fmla="*/ 286866 w 1375647"/>
                  <a:gd name="connsiteY26" fmla="*/ 2944902 h 2979185"/>
                  <a:gd name="connsiteX27" fmla="*/ 237481 w 1375647"/>
                  <a:gd name="connsiteY27" fmla="*/ 2863879 h 2979185"/>
                  <a:gd name="connsiteX28" fmla="*/ 226577 w 1375647"/>
                  <a:gd name="connsiteY28" fmla="*/ 2077171 h 2979185"/>
                  <a:gd name="connsiteX29" fmla="*/ 161841 w 1375647"/>
                  <a:gd name="connsiteY29" fmla="*/ 1818226 h 2979185"/>
                  <a:gd name="connsiteX30" fmla="*/ 137565 w 1375647"/>
                  <a:gd name="connsiteY30" fmla="*/ 1583557 h 2979185"/>
                  <a:gd name="connsiteX31" fmla="*/ 80921 w 1375647"/>
                  <a:gd name="connsiteY31" fmla="*/ 733893 h 2979185"/>
                  <a:gd name="connsiteX32" fmla="*/ 8092 w 1375647"/>
                  <a:gd name="connsiteY32" fmla="*/ 474948 h 2979185"/>
                  <a:gd name="connsiteX33" fmla="*/ 32369 w 1375647"/>
                  <a:gd name="connsiteY33" fmla="*/ 345475 h 2979185"/>
                  <a:gd name="connsiteX34" fmla="*/ 178025 w 1375647"/>
                  <a:gd name="connsiteY34" fmla="*/ 5610 h 2979185"/>
                  <a:gd name="connsiteX0" fmla="*/ 178025 w 1375645"/>
                  <a:gd name="connsiteY0" fmla="*/ 5610 h 2979185"/>
                  <a:gd name="connsiteX1" fmla="*/ 299406 w 1375645"/>
                  <a:gd name="connsiteY1" fmla="*/ 78438 h 2979185"/>
                  <a:gd name="connsiteX2" fmla="*/ 493615 w 1375645"/>
                  <a:gd name="connsiteY2" fmla="*/ 126990 h 2979185"/>
                  <a:gd name="connsiteX3" fmla="*/ 687823 w 1375645"/>
                  <a:gd name="connsiteY3" fmla="*/ 143174 h 2979185"/>
                  <a:gd name="connsiteX4" fmla="*/ 865848 w 1375645"/>
                  <a:gd name="connsiteY4" fmla="*/ 110806 h 2979185"/>
                  <a:gd name="connsiteX5" fmla="*/ 946769 w 1375645"/>
                  <a:gd name="connsiteY5" fmla="*/ 62254 h 2979185"/>
                  <a:gd name="connsiteX6" fmla="*/ 1181438 w 1375645"/>
                  <a:gd name="connsiteY6" fmla="*/ 264555 h 2979185"/>
                  <a:gd name="connsiteX7" fmla="*/ 1351370 w 1375645"/>
                  <a:gd name="connsiteY7" fmla="*/ 385935 h 2979185"/>
                  <a:gd name="connsiteX8" fmla="*/ 1327094 w 1375645"/>
                  <a:gd name="connsiteY8" fmla="*/ 491132 h 2979185"/>
                  <a:gd name="connsiteX9" fmla="*/ 1246174 w 1375645"/>
                  <a:gd name="connsiteY9" fmla="*/ 750077 h 2979185"/>
                  <a:gd name="connsiteX10" fmla="*/ 1221898 w 1375645"/>
                  <a:gd name="connsiteY10" fmla="*/ 1551189 h 2979185"/>
                  <a:gd name="connsiteX11" fmla="*/ 1197562 w 1375645"/>
                  <a:gd name="connsiteY11" fmla="*/ 1758047 h 2979185"/>
                  <a:gd name="connsiteX12" fmla="*/ 1171022 w 1375645"/>
                  <a:gd name="connsiteY12" fmla="*/ 2064083 h 2979185"/>
                  <a:gd name="connsiteX13" fmla="*/ 1108688 w 1375645"/>
                  <a:gd name="connsiteY13" fmla="*/ 2442473 h 2979185"/>
                  <a:gd name="connsiteX14" fmla="*/ 1102313 w 1375645"/>
                  <a:gd name="connsiteY14" fmla="*/ 2916125 h 2979185"/>
                  <a:gd name="connsiteX15" fmla="*/ 691887 w 1375645"/>
                  <a:gd name="connsiteY15" fmla="*/ 2800839 h 2979185"/>
                  <a:gd name="connsiteX16" fmla="*/ 769500 w 1375645"/>
                  <a:gd name="connsiteY16" fmla="*/ 2580487 h 2979185"/>
                  <a:gd name="connsiteX17" fmla="*/ 773578 w 1375645"/>
                  <a:gd name="connsiteY17" fmla="*/ 1953175 h 2979185"/>
                  <a:gd name="connsiteX18" fmla="*/ 753987 w 1375645"/>
                  <a:gd name="connsiteY18" fmla="*/ 1632109 h 2979185"/>
                  <a:gd name="connsiteX19" fmla="*/ 721477 w 1375645"/>
                  <a:gd name="connsiteY19" fmla="*/ 1212956 h 2979185"/>
                  <a:gd name="connsiteX20" fmla="*/ 695915 w 1375645"/>
                  <a:gd name="connsiteY20" fmla="*/ 895734 h 2979185"/>
                  <a:gd name="connsiteX21" fmla="*/ 667680 w 1375645"/>
                  <a:gd name="connsiteY21" fmla="*/ 1081852 h 2979185"/>
                  <a:gd name="connsiteX22" fmla="*/ 602031 w 1375645"/>
                  <a:gd name="connsiteY22" fmla="*/ 1669237 h 2979185"/>
                  <a:gd name="connsiteX23" fmla="*/ 637531 w 1375645"/>
                  <a:gd name="connsiteY23" fmla="*/ 2510114 h 2979185"/>
                  <a:gd name="connsiteX24" fmla="*/ 614682 w 1375645"/>
                  <a:gd name="connsiteY24" fmla="*/ 2809553 h 2979185"/>
                  <a:gd name="connsiteX25" fmla="*/ 575008 w 1375645"/>
                  <a:gd name="connsiteY25" fmla="*/ 2910800 h 2979185"/>
                  <a:gd name="connsiteX26" fmla="*/ 286866 w 1375645"/>
                  <a:gd name="connsiteY26" fmla="*/ 2944902 h 2979185"/>
                  <a:gd name="connsiteX27" fmla="*/ 237481 w 1375645"/>
                  <a:gd name="connsiteY27" fmla="*/ 2863879 h 2979185"/>
                  <a:gd name="connsiteX28" fmla="*/ 226577 w 1375645"/>
                  <a:gd name="connsiteY28" fmla="*/ 2077171 h 2979185"/>
                  <a:gd name="connsiteX29" fmla="*/ 161841 w 1375645"/>
                  <a:gd name="connsiteY29" fmla="*/ 1818226 h 2979185"/>
                  <a:gd name="connsiteX30" fmla="*/ 137565 w 1375645"/>
                  <a:gd name="connsiteY30" fmla="*/ 1583557 h 2979185"/>
                  <a:gd name="connsiteX31" fmla="*/ 80921 w 1375645"/>
                  <a:gd name="connsiteY31" fmla="*/ 733893 h 2979185"/>
                  <a:gd name="connsiteX32" fmla="*/ 8092 w 1375645"/>
                  <a:gd name="connsiteY32" fmla="*/ 474948 h 2979185"/>
                  <a:gd name="connsiteX33" fmla="*/ 32369 w 1375645"/>
                  <a:gd name="connsiteY33" fmla="*/ 345475 h 2979185"/>
                  <a:gd name="connsiteX34" fmla="*/ 178025 w 1375645"/>
                  <a:gd name="connsiteY34" fmla="*/ 5610 h 2979185"/>
                  <a:gd name="connsiteX0" fmla="*/ 178025 w 1375647"/>
                  <a:gd name="connsiteY0" fmla="*/ 5610 h 2979185"/>
                  <a:gd name="connsiteX1" fmla="*/ 299406 w 1375647"/>
                  <a:gd name="connsiteY1" fmla="*/ 78438 h 2979185"/>
                  <a:gd name="connsiteX2" fmla="*/ 493615 w 1375647"/>
                  <a:gd name="connsiteY2" fmla="*/ 126990 h 2979185"/>
                  <a:gd name="connsiteX3" fmla="*/ 687823 w 1375647"/>
                  <a:gd name="connsiteY3" fmla="*/ 143174 h 2979185"/>
                  <a:gd name="connsiteX4" fmla="*/ 865848 w 1375647"/>
                  <a:gd name="connsiteY4" fmla="*/ 110806 h 2979185"/>
                  <a:gd name="connsiteX5" fmla="*/ 946769 w 1375647"/>
                  <a:gd name="connsiteY5" fmla="*/ 62254 h 2979185"/>
                  <a:gd name="connsiteX6" fmla="*/ 1181438 w 1375647"/>
                  <a:gd name="connsiteY6" fmla="*/ 264555 h 2979185"/>
                  <a:gd name="connsiteX7" fmla="*/ 1351370 w 1375647"/>
                  <a:gd name="connsiteY7" fmla="*/ 385935 h 2979185"/>
                  <a:gd name="connsiteX8" fmla="*/ 1327094 w 1375647"/>
                  <a:gd name="connsiteY8" fmla="*/ 491132 h 2979185"/>
                  <a:gd name="connsiteX9" fmla="*/ 1246174 w 1375647"/>
                  <a:gd name="connsiteY9" fmla="*/ 750077 h 2979185"/>
                  <a:gd name="connsiteX10" fmla="*/ 1221898 w 1375647"/>
                  <a:gd name="connsiteY10" fmla="*/ 1551189 h 2979185"/>
                  <a:gd name="connsiteX11" fmla="*/ 1197562 w 1375647"/>
                  <a:gd name="connsiteY11" fmla="*/ 1758047 h 2979185"/>
                  <a:gd name="connsiteX12" fmla="*/ 1171022 w 1375647"/>
                  <a:gd name="connsiteY12" fmla="*/ 2064083 h 2979185"/>
                  <a:gd name="connsiteX13" fmla="*/ 1108688 w 1375647"/>
                  <a:gd name="connsiteY13" fmla="*/ 2442473 h 2979185"/>
                  <a:gd name="connsiteX14" fmla="*/ 1102313 w 1375647"/>
                  <a:gd name="connsiteY14" fmla="*/ 2916125 h 2979185"/>
                  <a:gd name="connsiteX15" fmla="*/ 691887 w 1375647"/>
                  <a:gd name="connsiteY15" fmla="*/ 2800839 h 2979185"/>
                  <a:gd name="connsiteX16" fmla="*/ 734157 w 1375647"/>
                  <a:gd name="connsiteY16" fmla="*/ 2580487 h 2979185"/>
                  <a:gd name="connsiteX17" fmla="*/ 773578 w 1375647"/>
                  <a:gd name="connsiteY17" fmla="*/ 1953175 h 2979185"/>
                  <a:gd name="connsiteX18" fmla="*/ 753987 w 1375647"/>
                  <a:gd name="connsiteY18" fmla="*/ 1632109 h 2979185"/>
                  <a:gd name="connsiteX19" fmla="*/ 721477 w 1375647"/>
                  <a:gd name="connsiteY19" fmla="*/ 1212956 h 2979185"/>
                  <a:gd name="connsiteX20" fmla="*/ 695915 w 1375647"/>
                  <a:gd name="connsiteY20" fmla="*/ 895734 h 2979185"/>
                  <a:gd name="connsiteX21" fmla="*/ 667680 w 1375647"/>
                  <a:gd name="connsiteY21" fmla="*/ 1081852 h 2979185"/>
                  <a:gd name="connsiteX22" fmla="*/ 602031 w 1375647"/>
                  <a:gd name="connsiteY22" fmla="*/ 1669237 h 2979185"/>
                  <a:gd name="connsiteX23" fmla="*/ 637531 w 1375647"/>
                  <a:gd name="connsiteY23" fmla="*/ 2510114 h 2979185"/>
                  <a:gd name="connsiteX24" fmla="*/ 614682 w 1375647"/>
                  <a:gd name="connsiteY24" fmla="*/ 2809553 h 2979185"/>
                  <a:gd name="connsiteX25" fmla="*/ 575008 w 1375647"/>
                  <a:gd name="connsiteY25" fmla="*/ 2910800 h 2979185"/>
                  <a:gd name="connsiteX26" fmla="*/ 286866 w 1375647"/>
                  <a:gd name="connsiteY26" fmla="*/ 2944902 h 2979185"/>
                  <a:gd name="connsiteX27" fmla="*/ 237481 w 1375647"/>
                  <a:gd name="connsiteY27" fmla="*/ 2863879 h 2979185"/>
                  <a:gd name="connsiteX28" fmla="*/ 226577 w 1375647"/>
                  <a:gd name="connsiteY28" fmla="*/ 2077171 h 2979185"/>
                  <a:gd name="connsiteX29" fmla="*/ 161841 w 1375647"/>
                  <a:gd name="connsiteY29" fmla="*/ 1818226 h 2979185"/>
                  <a:gd name="connsiteX30" fmla="*/ 137565 w 1375647"/>
                  <a:gd name="connsiteY30" fmla="*/ 1583557 h 2979185"/>
                  <a:gd name="connsiteX31" fmla="*/ 80921 w 1375647"/>
                  <a:gd name="connsiteY31" fmla="*/ 733893 h 2979185"/>
                  <a:gd name="connsiteX32" fmla="*/ 8092 w 1375647"/>
                  <a:gd name="connsiteY32" fmla="*/ 474948 h 2979185"/>
                  <a:gd name="connsiteX33" fmla="*/ 32369 w 1375647"/>
                  <a:gd name="connsiteY33" fmla="*/ 345475 h 2979185"/>
                  <a:gd name="connsiteX34" fmla="*/ 178025 w 1375647"/>
                  <a:gd name="connsiteY34" fmla="*/ 5610 h 2979185"/>
                  <a:gd name="connsiteX0" fmla="*/ 178025 w 1375645"/>
                  <a:gd name="connsiteY0" fmla="*/ 5610 h 2979185"/>
                  <a:gd name="connsiteX1" fmla="*/ 299406 w 1375645"/>
                  <a:gd name="connsiteY1" fmla="*/ 78438 h 2979185"/>
                  <a:gd name="connsiteX2" fmla="*/ 493615 w 1375645"/>
                  <a:gd name="connsiteY2" fmla="*/ 126990 h 2979185"/>
                  <a:gd name="connsiteX3" fmla="*/ 687823 w 1375645"/>
                  <a:gd name="connsiteY3" fmla="*/ 143174 h 2979185"/>
                  <a:gd name="connsiteX4" fmla="*/ 865848 w 1375645"/>
                  <a:gd name="connsiteY4" fmla="*/ 110806 h 2979185"/>
                  <a:gd name="connsiteX5" fmla="*/ 946769 w 1375645"/>
                  <a:gd name="connsiteY5" fmla="*/ 62254 h 2979185"/>
                  <a:gd name="connsiteX6" fmla="*/ 1181438 w 1375645"/>
                  <a:gd name="connsiteY6" fmla="*/ 264555 h 2979185"/>
                  <a:gd name="connsiteX7" fmla="*/ 1351370 w 1375645"/>
                  <a:gd name="connsiteY7" fmla="*/ 385935 h 2979185"/>
                  <a:gd name="connsiteX8" fmla="*/ 1327094 w 1375645"/>
                  <a:gd name="connsiteY8" fmla="*/ 491132 h 2979185"/>
                  <a:gd name="connsiteX9" fmla="*/ 1246174 w 1375645"/>
                  <a:gd name="connsiteY9" fmla="*/ 750077 h 2979185"/>
                  <a:gd name="connsiteX10" fmla="*/ 1221898 w 1375645"/>
                  <a:gd name="connsiteY10" fmla="*/ 1551189 h 2979185"/>
                  <a:gd name="connsiteX11" fmla="*/ 1197562 w 1375645"/>
                  <a:gd name="connsiteY11" fmla="*/ 1758047 h 2979185"/>
                  <a:gd name="connsiteX12" fmla="*/ 1171022 w 1375645"/>
                  <a:gd name="connsiteY12" fmla="*/ 2064083 h 2979185"/>
                  <a:gd name="connsiteX13" fmla="*/ 1108688 w 1375645"/>
                  <a:gd name="connsiteY13" fmla="*/ 2442473 h 2979185"/>
                  <a:gd name="connsiteX14" fmla="*/ 1102313 w 1375645"/>
                  <a:gd name="connsiteY14" fmla="*/ 2916125 h 2979185"/>
                  <a:gd name="connsiteX15" fmla="*/ 691887 w 1375645"/>
                  <a:gd name="connsiteY15" fmla="*/ 2800839 h 2979185"/>
                  <a:gd name="connsiteX16" fmla="*/ 716485 w 1375645"/>
                  <a:gd name="connsiteY16" fmla="*/ 2575012 h 2979185"/>
                  <a:gd name="connsiteX17" fmla="*/ 773578 w 1375645"/>
                  <a:gd name="connsiteY17" fmla="*/ 1953175 h 2979185"/>
                  <a:gd name="connsiteX18" fmla="*/ 753987 w 1375645"/>
                  <a:gd name="connsiteY18" fmla="*/ 1632109 h 2979185"/>
                  <a:gd name="connsiteX19" fmla="*/ 721477 w 1375645"/>
                  <a:gd name="connsiteY19" fmla="*/ 1212956 h 2979185"/>
                  <a:gd name="connsiteX20" fmla="*/ 695915 w 1375645"/>
                  <a:gd name="connsiteY20" fmla="*/ 895734 h 2979185"/>
                  <a:gd name="connsiteX21" fmla="*/ 667680 w 1375645"/>
                  <a:gd name="connsiteY21" fmla="*/ 1081852 h 2979185"/>
                  <a:gd name="connsiteX22" fmla="*/ 602031 w 1375645"/>
                  <a:gd name="connsiteY22" fmla="*/ 1669237 h 2979185"/>
                  <a:gd name="connsiteX23" fmla="*/ 637531 w 1375645"/>
                  <a:gd name="connsiteY23" fmla="*/ 2510114 h 2979185"/>
                  <a:gd name="connsiteX24" fmla="*/ 614682 w 1375645"/>
                  <a:gd name="connsiteY24" fmla="*/ 2809553 h 2979185"/>
                  <a:gd name="connsiteX25" fmla="*/ 575008 w 1375645"/>
                  <a:gd name="connsiteY25" fmla="*/ 2910800 h 2979185"/>
                  <a:gd name="connsiteX26" fmla="*/ 286866 w 1375645"/>
                  <a:gd name="connsiteY26" fmla="*/ 2944902 h 2979185"/>
                  <a:gd name="connsiteX27" fmla="*/ 237481 w 1375645"/>
                  <a:gd name="connsiteY27" fmla="*/ 2863879 h 2979185"/>
                  <a:gd name="connsiteX28" fmla="*/ 226577 w 1375645"/>
                  <a:gd name="connsiteY28" fmla="*/ 2077171 h 2979185"/>
                  <a:gd name="connsiteX29" fmla="*/ 161841 w 1375645"/>
                  <a:gd name="connsiteY29" fmla="*/ 1818226 h 2979185"/>
                  <a:gd name="connsiteX30" fmla="*/ 137565 w 1375645"/>
                  <a:gd name="connsiteY30" fmla="*/ 1583557 h 2979185"/>
                  <a:gd name="connsiteX31" fmla="*/ 80921 w 1375645"/>
                  <a:gd name="connsiteY31" fmla="*/ 733893 h 2979185"/>
                  <a:gd name="connsiteX32" fmla="*/ 8092 w 1375645"/>
                  <a:gd name="connsiteY32" fmla="*/ 474948 h 2979185"/>
                  <a:gd name="connsiteX33" fmla="*/ 32369 w 1375645"/>
                  <a:gd name="connsiteY33" fmla="*/ 345475 h 2979185"/>
                  <a:gd name="connsiteX34" fmla="*/ 178025 w 1375645"/>
                  <a:gd name="connsiteY34" fmla="*/ 5610 h 2979185"/>
                  <a:gd name="connsiteX0" fmla="*/ 178025 w 1375647"/>
                  <a:gd name="connsiteY0" fmla="*/ 5610 h 2979185"/>
                  <a:gd name="connsiteX1" fmla="*/ 299406 w 1375647"/>
                  <a:gd name="connsiteY1" fmla="*/ 78438 h 2979185"/>
                  <a:gd name="connsiteX2" fmla="*/ 493615 w 1375647"/>
                  <a:gd name="connsiteY2" fmla="*/ 126990 h 2979185"/>
                  <a:gd name="connsiteX3" fmla="*/ 687823 w 1375647"/>
                  <a:gd name="connsiteY3" fmla="*/ 143174 h 2979185"/>
                  <a:gd name="connsiteX4" fmla="*/ 865848 w 1375647"/>
                  <a:gd name="connsiteY4" fmla="*/ 110806 h 2979185"/>
                  <a:gd name="connsiteX5" fmla="*/ 946769 w 1375647"/>
                  <a:gd name="connsiteY5" fmla="*/ 62254 h 2979185"/>
                  <a:gd name="connsiteX6" fmla="*/ 1181438 w 1375647"/>
                  <a:gd name="connsiteY6" fmla="*/ 264555 h 2979185"/>
                  <a:gd name="connsiteX7" fmla="*/ 1351370 w 1375647"/>
                  <a:gd name="connsiteY7" fmla="*/ 385935 h 2979185"/>
                  <a:gd name="connsiteX8" fmla="*/ 1327094 w 1375647"/>
                  <a:gd name="connsiteY8" fmla="*/ 491132 h 2979185"/>
                  <a:gd name="connsiteX9" fmla="*/ 1246174 w 1375647"/>
                  <a:gd name="connsiteY9" fmla="*/ 750077 h 2979185"/>
                  <a:gd name="connsiteX10" fmla="*/ 1221898 w 1375647"/>
                  <a:gd name="connsiteY10" fmla="*/ 1551189 h 2979185"/>
                  <a:gd name="connsiteX11" fmla="*/ 1197562 w 1375647"/>
                  <a:gd name="connsiteY11" fmla="*/ 1758047 h 2979185"/>
                  <a:gd name="connsiteX12" fmla="*/ 1171022 w 1375647"/>
                  <a:gd name="connsiteY12" fmla="*/ 2064083 h 2979185"/>
                  <a:gd name="connsiteX13" fmla="*/ 1108688 w 1375647"/>
                  <a:gd name="connsiteY13" fmla="*/ 2442473 h 2979185"/>
                  <a:gd name="connsiteX14" fmla="*/ 1102313 w 1375647"/>
                  <a:gd name="connsiteY14" fmla="*/ 2916125 h 2979185"/>
                  <a:gd name="connsiteX15" fmla="*/ 691887 w 1375647"/>
                  <a:gd name="connsiteY15" fmla="*/ 2800839 h 2979185"/>
                  <a:gd name="connsiteX16" fmla="*/ 716485 w 1375647"/>
                  <a:gd name="connsiteY16" fmla="*/ 2575012 h 2979185"/>
                  <a:gd name="connsiteX17" fmla="*/ 773578 w 1375647"/>
                  <a:gd name="connsiteY17" fmla="*/ 1953175 h 2979185"/>
                  <a:gd name="connsiteX18" fmla="*/ 753987 w 1375647"/>
                  <a:gd name="connsiteY18" fmla="*/ 1632109 h 2979185"/>
                  <a:gd name="connsiteX19" fmla="*/ 721477 w 1375647"/>
                  <a:gd name="connsiteY19" fmla="*/ 1212956 h 2979185"/>
                  <a:gd name="connsiteX20" fmla="*/ 695915 w 1375647"/>
                  <a:gd name="connsiteY20" fmla="*/ 895734 h 2979185"/>
                  <a:gd name="connsiteX21" fmla="*/ 667680 w 1375647"/>
                  <a:gd name="connsiteY21" fmla="*/ 1081852 h 2979185"/>
                  <a:gd name="connsiteX22" fmla="*/ 602031 w 1375647"/>
                  <a:gd name="connsiteY22" fmla="*/ 1669237 h 2979185"/>
                  <a:gd name="connsiteX23" fmla="*/ 637531 w 1375647"/>
                  <a:gd name="connsiteY23" fmla="*/ 2510114 h 2979185"/>
                  <a:gd name="connsiteX24" fmla="*/ 614682 w 1375647"/>
                  <a:gd name="connsiteY24" fmla="*/ 2809553 h 2979185"/>
                  <a:gd name="connsiteX25" fmla="*/ 575008 w 1375647"/>
                  <a:gd name="connsiteY25" fmla="*/ 2910800 h 2979185"/>
                  <a:gd name="connsiteX26" fmla="*/ 286866 w 1375647"/>
                  <a:gd name="connsiteY26" fmla="*/ 2944902 h 2979185"/>
                  <a:gd name="connsiteX27" fmla="*/ 237481 w 1375647"/>
                  <a:gd name="connsiteY27" fmla="*/ 2863879 h 2979185"/>
                  <a:gd name="connsiteX28" fmla="*/ 226577 w 1375647"/>
                  <a:gd name="connsiteY28" fmla="*/ 2077171 h 2979185"/>
                  <a:gd name="connsiteX29" fmla="*/ 161841 w 1375647"/>
                  <a:gd name="connsiteY29" fmla="*/ 1818226 h 2979185"/>
                  <a:gd name="connsiteX30" fmla="*/ 137565 w 1375647"/>
                  <a:gd name="connsiteY30" fmla="*/ 1583557 h 2979185"/>
                  <a:gd name="connsiteX31" fmla="*/ 80921 w 1375647"/>
                  <a:gd name="connsiteY31" fmla="*/ 733893 h 2979185"/>
                  <a:gd name="connsiteX32" fmla="*/ 8092 w 1375647"/>
                  <a:gd name="connsiteY32" fmla="*/ 474948 h 2979185"/>
                  <a:gd name="connsiteX33" fmla="*/ 32369 w 1375647"/>
                  <a:gd name="connsiteY33" fmla="*/ 345475 h 2979185"/>
                  <a:gd name="connsiteX34" fmla="*/ 178025 w 1375647"/>
                  <a:gd name="connsiteY34" fmla="*/ 5610 h 2979185"/>
                  <a:gd name="connsiteX0" fmla="*/ 178025 w 1375645"/>
                  <a:gd name="connsiteY0" fmla="*/ 5610 h 2979185"/>
                  <a:gd name="connsiteX1" fmla="*/ 299406 w 1375645"/>
                  <a:gd name="connsiteY1" fmla="*/ 78438 h 2979185"/>
                  <a:gd name="connsiteX2" fmla="*/ 493615 w 1375645"/>
                  <a:gd name="connsiteY2" fmla="*/ 126990 h 2979185"/>
                  <a:gd name="connsiteX3" fmla="*/ 687823 w 1375645"/>
                  <a:gd name="connsiteY3" fmla="*/ 143174 h 2979185"/>
                  <a:gd name="connsiteX4" fmla="*/ 865848 w 1375645"/>
                  <a:gd name="connsiteY4" fmla="*/ 110806 h 2979185"/>
                  <a:gd name="connsiteX5" fmla="*/ 946769 w 1375645"/>
                  <a:gd name="connsiteY5" fmla="*/ 62254 h 2979185"/>
                  <a:gd name="connsiteX6" fmla="*/ 1181438 w 1375645"/>
                  <a:gd name="connsiteY6" fmla="*/ 264555 h 2979185"/>
                  <a:gd name="connsiteX7" fmla="*/ 1351370 w 1375645"/>
                  <a:gd name="connsiteY7" fmla="*/ 385935 h 2979185"/>
                  <a:gd name="connsiteX8" fmla="*/ 1327094 w 1375645"/>
                  <a:gd name="connsiteY8" fmla="*/ 491132 h 2979185"/>
                  <a:gd name="connsiteX9" fmla="*/ 1246174 w 1375645"/>
                  <a:gd name="connsiteY9" fmla="*/ 750077 h 2979185"/>
                  <a:gd name="connsiteX10" fmla="*/ 1221898 w 1375645"/>
                  <a:gd name="connsiteY10" fmla="*/ 1551189 h 2979185"/>
                  <a:gd name="connsiteX11" fmla="*/ 1197562 w 1375645"/>
                  <a:gd name="connsiteY11" fmla="*/ 1758047 h 2979185"/>
                  <a:gd name="connsiteX12" fmla="*/ 1171022 w 1375645"/>
                  <a:gd name="connsiteY12" fmla="*/ 2064083 h 2979185"/>
                  <a:gd name="connsiteX13" fmla="*/ 1108688 w 1375645"/>
                  <a:gd name="connsiteY13" fmla="*/ 2442473 h 2979185"/>
                  <a:gd name="connsiteX14" fmla="*/ 1102313 w 1375645"/>
                  <a:gd name="connsiteY14" fmla="*/ 2916125 h 2979185"/>
                  <a:gd name="connsiteX15" fmla="*/ 691887 w 1375645"/>
                  <a:gd name="connsiteY15" fmla="*/ 2800839 h 2979185"/>
                  <a:gd name="connsiteX16" fmla="*/ 716485 w 1375645"/>
                  <a:gd name="connsiteY16" fmla="*/ 2575012 h 2979185"/>
                  <a:gd name="connsiteX17" fmla="*/ 773578 w 1375645"/>
                  <a:gd name="connsiteY17" fmla="*/ 1953175 h 2979185"/>
                  <a:gd name="connsiteX18" fmla="*/ 753987 w 1375645"/>
                  <a:gd name="connsiteY18" fmla="*/ 1632109 h 2979185"/>
                  <a:gd name="connsiteX19" fmla="*/ 721477 w 1375645"/>
                  <a:gd name="connsiteY19" fmla="*/ 1212956 h 2979185"/>
                  <a:gd name="connsiteX20" fmla="*/ 695915 w 1375645"/>
                  <a:gd name="connsiteY20" fmla="*/ 895734 h 2979185"/>
                  <a:gd name="connsiteX21" fmla="*/ 667680 w 1375645"/>
                  <a:gd name="connsiteY21" fmla="*/ 1081852 h 2979185"/>
                  <a:gd name="connsiteX22" fmla="*/ 602031 w 1375645"/>
                  <a:gd name="connsiteY22" fmla="*/ 1669237 h 2979185"/>
                  <a:gd name="connsiteX23" fmla="*/ 637531 w 1375645"/>
                  <a:gd name="connsiteY23" fmla="*/ 2510114 h 2979185"/>
                  <a:gd name="connsiteX24" fmla="*/ 614682 w 1375645"/>
                  <a:gd name="connsiteY24" fmla="*/ 2809553 h 2979185"/>
                  <a:gd name="connsiteX25" fmla="*/ 575008 w 1375645"/>
                  <a:gd name="connsiteY25" fmla="*/ 2910800 h 2979185"/>
                  <a:gd name="connsiteX26" fmla="*/ 286866 w 1375645"/>
                  <a:gd name="connsiteY26" fmla="*/ 2944902 h 2979185"/>
                  <a:gd name="connsiteX27" fmla="*/ 237481 w 1375645"/>
                  <a:gd name="connsiteY27" fmla="*/ 2863879 h 2979185"/>
                  <a:gd name="connsiteX28" fmla="*/ 226577 w 1375645"/>
                  <a:gd name="connsiteY28" fmla="*/ 2077171 h 2979185"/>
                  <a:gd name="connsiteX29" fmla="*/ 161841 w 1375645"/>
                  <a:gd name="connsiteY29" fmla="*/ 1818226 h 2979185"/>
                  <a:gd name="connsiteX30" fmla="*/ 137565 w 1375645"/>
                  <a:gd name="connsiteY30" fmla="*/ 1583557 h 2979185"/>
                  <a:gd name="connsiteX31" fmla="*/ 80921 w 1375645"/>
                  <a:gd name="connsiteY31" fmla="*/ 733893 h 2979185"/>
                  <a:gd name="connsiteX32" fmla="*/ 8092 w 1375645"/>
                  <a:gd name="connsiteY32" fmla="*/ 474948 h 2979185"/>
                  <a:gd name="connsiteX33" fmla="*/ 32369 w 1375645"/>
                  <a:gd name="connsiteY33" fmla="*/ 345475 h 2979185"/>
                  <a:gd name="connsiteX34" fmla="*/ 178025 w 1375645"/>
                  <a:gd name="connsiteY34" fmla="*/ 5610 h 2979185"/>
                  <a:gd name="connsiteX0" fmla="*/ 178025 w 1375647"/>
                  <a:gd name="connsiteY0" fmla="*/ 5610 h 2997889"/>
                  <a:gd name="connsiteX1" fmla="*/ 299406 w 1375647"/>
                  <a:gd name="connsiteY1" fmla="*/ 78438 h 2997889"/>
                  <a:gd name="connsiteX2" fmla="*/ 493615 w 1375647"/>
                  <a:gd name="connsiteY2" fmla="*/ 126990 h 2997889"/>
                  <a:gd name="connsiteX3" fmla="*/ 687823 w 1375647"/>
                  <a:gd name="connsiteY3" fmla="*/ 143174 h 2997889"/>
                  <a:gd name="connsiteX4" fmla="*/ 865848 w 1375647"/>
                  <a:gd name="connsiteY4" fmla="*/ 110806 h 2997889"/>
                  <a:gd name="connsiteX5" fmla="*/ 946769 w 1375647"/>
                  <a:gd name="connsiteY5" fmla="*/ 62254 h 2997889"/>
                  <a:gd name="connsiteX6" fmla="*/ 1181438 w 1375647"/>
                  <a:gd name="connsiteY6" fmla="*/ 264555 h 2997889"/>
                  <a:gd name="connsiteX7" fmla="*/ 1351370 w 1375647"/>
                  <a:gd name="connsiteY7" fmla="*/ 385935 h 2997889"/>
                  <a:gd name="connsiteX8" fmla="*/ 1327094 w 1375647"/>
                  <a:gd name="connsiteY8" fmla="*/ 491132 h 2997889"/>
                  <a:gd name="connsiteX9" fmla="*/ 1246174 w 1375647"/>
                  <a:gd name="connsiteY9" fmla="*/ 750077 h 2997889"/>
                  <a:gd name="connsiteX10" fmla="*/ 1221898 w 1375647"/>
                  <a:gd name="connsiteY10" fmla="*/ 1551189 h 2997889"/>
                  <a:gd name="connsiteX11" fmla="*/ 1197562 w 1375647"/>
                  <a:gd name="connsiteY11" fmla="*/ 1758047 h 2997889"/>
                  <a:gd name="connsiteX12" fmla="*/ 1171022 w 1375647"/>
                  <a:gd name="connsiteY12" fmla="*/ 2064083 h 2997889"/>
                  <a:gd name="connsiteX13" fmla="*/ 1108688 w 1375647"/>
                  <a:gd name="connsiteY13" fmla="*/ 2442473 h 2997889"/>
                  <a:gd name="connsiteX14" fmla="*/ 1049295 w 1375647"/>
                  <a:gd name="connsiteY14" fmla="*/ 2992766 h 2997889"/>
                  <a:gd name="connsiteX15" fmla="*/ 691887 w 1375647"/>
                  <a:gd name="connsiteY15" fmla="*/ 2800839 h 2997889"/>
                  <a:gd name="connsiteX16" fmla="*/ 716485 w 1375647"/>
                  <a:gd name="connsiteY16" fmla="*/ 2575012 h 2997889"/>
                  <a:gd name="connsiteX17" fmla="*/ 773578 w 1375647"/>
                  <a:gd name="connsiteY17" fmla="*/ 1953175 h 2997889"/>
                  <a:gd name="connsiteX18" fmla="*/ 753987 w 1375647"/>
                  <a:gd name="connsiteY18" fmla="*/ 1632109 h 2997889"/>
                  <a:gd name="connsiteX19" fmla="*/ 721477 w 1375647"/>
                  <a:gd name="connsiteY19" fmla="*/ 1212956 h 2997889"/>
                  <a:gd name="connsiteX20" fmla="*/ 695915 w 1375647"/>
                  <a:gd name="connsiteY20" fmla="*/ 895734 h 2997889"/>
                  <a:gd name="connsiteX21" fmla="*/ 667680 w 1375647"/>
                  <a:gd name="connsiteY21" fmla="*/ 1081852 h 2997889"/>
                  <a:gd name="connsiteX22" fmla="*/ 602031 w 1375647"/>
                  <a:gd name="connsiteY22" fmla="*/ 1669237 h 2997889"/>
                  <a:gd name="connsiteX23" fmla="*/ 637531 w 1375647"/>
                  <a:gd name="connsiteY23" fmla="*/ 2510114 h 2997889"/>
                  <a:gd name="connsiteX24" fmla="*/ 614682 w 1375647"/>
                  <a:gd name="connsiteY24" fmla="*/ 2809553 h 2997889"/>
                  <a:gd name="connsiteX25" fmla="*/ 575008 w 1375647"/>
                  <a:gd name="connsiteY25" fmla="*/ 2910800 h 2997889"/>
                  <a:gd name="connsiteX26" fmla="*/ 286866 w 1375647"/>
                  <a:gd name="connsiteY26" fmla="*/ 2944902 h 2997889"/>
                  <a:gd name="connsiteX27" fmla="*/ 237481 w 1375647"/>
                  <a:gd name="connsiteY27" fmla="*/ 2863879 h 2997889"/>
                  <a:gd name="connsiteX28" fmla="*/ 226577 w 1375647"/>
                  <a:gd name="connsiteY28" fmla="*/ 2077171 h 2997889"/>
                  <a:gd name="connsiteX29" fmla="*/ 161841 w 1375647"/>
                  <a:gd name="connsiteY29" fmla="*/ 1818226 h 2997889"/>
                  <a:gd name="connsiteX30" fmla="*/ 137565 w 1375647"/>
                  <a:gd name="connsiteY30" fmla="*/ 1583557 h 2997889"/>
                  <a:gd name="connsiteX31" fmla="*/ 80921 w 1375647"/>
                  <a:gd name="connsiteY31" fmla="*/ 733893 h 2997889"/>
                  <a:gd name="connsiteX32" fmla="*/ 8092 w 1375647"/>
                  <a:gd name="connsiteY32" fmla="*/ 474948 h 2997889"/>
                  <a:gd name="connsiteX33" fmla="*/ 32369 w 1375647"/>
                  <a:gd name="connsiteY33" fmla="*/ 345475 h 2997889"/>
                  <a:gd name="connsiteX34" fmla="*/ 178025 w 1375647"/>
                  <a:gd name="connsiteY34" fmla="*/ 5610 h 2997889"/>
                  <a:gd name="connsiteX0" fmla="*/ 178025 w 1375645"/>
                  <a:gd name="connsiteY0" fmla="*/ 5610 h 2997889"/>
                  <a:gd name="connsiteX1" fmla="*/ 299406 w 1375645"/>
                  <a:gd name="connsiteY1" fmla="*/ 78438 h 2997889"/>
                  <a:gd name="connsiteX2" fmla="*/ 493615 w 1375645"/>
                  <a:gd name="connsiteY2" fmla="*/ 126990 h 2997889"/>
                  <a:gd name="connsiteX3" fmla="*/ 687823 w 1375645"/>
                  <a:gd name="connsiteY3" fmla="*/ 143174 h 2997889"/>
                  <a:gd name="connsiteX4" fmla="*/ 865848 w 1375645"/>
                  <a:gd name="connsiteY4" fmla="*/ 110806 h 2997889"/>
                  <a:gd name="connsiteX5" fmla="*/ 946769 w 1375645"/>
                  <a:gd name="connsiteY5" fmla="*/ 62254 h 2997889"/>
                  <a:gd name="connsiteX6" fmla="*/ 1181438 w 1375645"/>
                  <a:gd name="connsiteY6" fmla="*/ 264555 h 2997889"/>
                  <a:gd name="connsiteX7" fmla="*/ 1351370 w 1375645"/>
                  <a:gd name="connsiteY7" fmla="*/ 385935 h 2997889"/>
                  <a:gd name="connsiteX8" fmla="*/ 1327094 w 1375645"/>
                  <a:gd name="connsiteY8" fmla="*/ 491132 h 2997889"/>
                  <a:gd name="connsiteX9" fmla="*/ 1246174 w 1375645"/>
                  <a:gd name="connsiteY9" fmla="*/ 750077 h 2997889"/>
                  <a:gd name="connsiteX10" fmla="*/ 1221898 w 1375645"/>
                  <a:gd name="connsiteY10" fmla="*/ 1551189 h 2997889"/>
                  <a:gd name="connsiteX11" fmla="*/ 1197562 w 1375645"/>
                  <a:gd name="connsiteY11" fmla="*/ 1758047 h 2997889"/>
                  <a:gd name="connsiteX12" fmla="*/ 1171022 w 1375645"/>
                  <a:gd name="connsiteY12" fmla="*/ 2064083 h 2997889"/>
                  <a:gd name="connsiteX13" fmla="*/ 1108688 w 1375645"/>
                  <a:gd name="connsiteY13" fmla="*/ 2442473 h 2997889"/>
                  <a:gd name="connsiteX14" fmla="*/ 1049295 w 1375645"/>
                  <a:gd name="connsiteY14" fmla="*/ 2992766 h 2997889"/>
                  <a:gd name="connsiteX15" fmla="*/ 691887 w 1375645"/>
                  <a:gd name="connsiteY15" fmla="*/ 2800839 h 2997889"/>
                  <a:gd name="connsiteX16" fmla="*/ 716485 w 1375645"/>
                  <a:gd name="connsiteY16" fmla="*/ 2575012 h 2997889"/>
                  <a:gd name="connsiteX17" fmla="*/ 773578 w 1375645"/>
                  <a:gd name="connsiteY17" fmla="*/ 1953175 h 2997889"/>
                  <a:gd name="connsiteX18" fmla="*/ 753987 w 1375645"/>
                  <a:gd name="connsiteY18" fmla="*/ 1632109 h 2997889"/>
                  <a:gd name="connsiteX19" fmla="*/ 721477 w 1375645"/>
                  <a:gd name="connsiteY19" fmla="*/ 1212956 h 2997889"/>
                  <a:gd name="connsiteX20" fmla="*/ 695915 w 1375645"/>
                  <a:gd name="connsiteY20" fmla="*/ 895734 h 2997889"/>
                  <a:gd name="connsiteX21" fmla="*/ 667680 w 1375645"/>
                  <a:gd name="connsiteY21" fmla="*/ 1081852 h 2997889"/>
                  <a:gd name="connsiteX22" fmla="*/ 602031 w 1375645"/>
                  <a:gd name="connsiteY22" fmla="*/ 1669237 h 2997889"/>
                  <a:gd name="connsiteX23" fmla="*/ 637531 w 1375645"/>
                  <a:gd name="connsiteY23" fmla="*/ 2510114 h 2997889"/>
                  <a:gd name="connsiteX24" fmla="*/ 614682 w 1375645"/>
                  <a:gd name="connsiteY24" fmla="*/ 2809553 h 2997889"/>
                  <a:gd name="connsiteX25" fmla="*/ 575008 w 1375645"/>
                  <a:gd name="connsiteY25" fmla="*/ 2910800 h 2997889"/>
                  <a:gd name="connsiteX26" fmla="*/ 286866 w 1375645"/>
                  <a:gd name="connsiteY26" fmla="*/ 2944902 h 2997889"/>
                  <a:gd name="connsiteX27" fmla="*/ 237481 w 1375645"/>
                  <a:gd name="connsiteY27" fmla="*/ 2863879 h 2997889"/>
                  <a:gd name="connsiteX28" fmla="*/ 226577 w 1375645"/>
                  <a:gd name="connsiteY28" fmla="*/ 2077171 h 2997889"/>
                  <a:gd name="connsiteX29" fmla="*/ 161841 w 1375645"/>
                  <a:gd name="connsiteY29" fmla="*/ 1818226 h 2997889"/>
                  <a:gd name="connsiteX30" fmla="*/ 137565 w 1375645"/>
                  <a:gd name="connsiteY30" fmla="*/ 1583557 h 2997889"/>
                  <a:gd name="connsiteX31" fmla="*/ 80921 w 1375645"/>
                  <a:gd name="connsiteY31" fmla="*/ 733893 h 2997889"/>
                  <a:gd name="connsiteX32" fmla="*/ 8092 w 1375645"/>
                  <a:gd name="connsiteY32" fmla="*/ 474948 h 2997889"/>
                  <a:gd name="connsiteX33" fmla="*/ 32369 w 1375645"/>
                  <a:gd name="connsiteY33" fmla="*/ 345475 h 2997889"/>
                  <a:gd name="connsiteX34" fmla="*/ 178025 w 1375645"/>
                  <a:gd name="connsiteY34" fmla="*/ 5610 h 2997889"/>
                  <a:gd name="connsiteX0" fmla="*/ 178025 w 1375647"/>
                  <a:gd name="connsiteY0" fmla="*/ 5610 h 2997889"/>
                  <a:gd name="connsiteX1" fmla="*/ 299406 w 1375647"/>
                  <a:gd name="connsiteY1" fmla="*/ 78438 h 2997889"/>
                  <a:gd name="connsiteX2" fmla="*/ 493615 w 1375647"/>
                  <a:gd name="connsiteY2" fmla="*/ 126990 h 2997889"/>
                  <a:gd name="connsiteX3" fmla="*/ 687823 w 1375647"/>
                  <a:gd name="connsiteY3" fmla="*/ 143174 h 2997889"/>
                  <a:gd name="connsiteX4" fmla="*/ 865848 w 1375647"/>
                  <a:gd name="connsiteY4" fmla="*/ 110806 h 2997889"/>
                  <a:gd name="connsiteX5" fmla="*/ 946769 w 1375647"/>
                  <a:gd name="connsiteY5" fmla="*/ 62254 h 2997889"/>
                  <a:gd name="connsiteX6" fmla="*/ 1181438 w 1375647"/>
                  <a:gd name="connsiteY6" fmla="*/ 264555 h 2997889"/>
                  <a:gd name="connsiteX7" fmla="*/ 1351370 w 1375647"/>
                  <a:gd name="connsiteY7" fmla="*/ 385935 h 2997889"/>
                  <a:gd name="connsiteX8" fmla="*/ 1327094 w 1375647"/>
                  <a:gd name="connsiteY8" fmla="*/ 491132 h 2997889"/>
                  <a:gd name="connsiteX9" fmla="*/ 1246174 w 1375647"/>
                  <a:gd name="connsiteY9" fmla="*/ 750077 h 2997889"/>
                  <a:gd name="connsiteX10" fmla="*/ 1221898 w 1375647"/>
                  <a:gd name="connsiteY10" fmla="*/ 1551189 h 2997889"/>
                  <a:gd name="connsiteX11" fmla="*/ 1197562 w 1375647"/>
                  <a:gd name="connsiteY11" fmla="*/ 1758047 h 2997889"/>
                  <a:gd name="connsiteX12" fmla="*/ 1171022 w 1375647"/>
                  <a:gd name="connsiteY12" fmla="*/ 2064083 h 2997889"/>
                  <a:gd name="connsiteX13" fmla="*/ 1108688 w 1375647"/>
                  <a:gd name="connsiteY13" fmla="*/ 2442473 h 2997889"/>
                  <a:gd name="connsiteX14" fmla="*/ 1049295 w 1375647"/>
                  <a:gd name="connsiteY14" fmla="*/ 2992766 h 2997889"/>
                  <a:gd name="connsiteX15" fmla="*/ 691887 w 1375647"/>
                  <a:gd name="connsiteY15" fmla="*/ 2800839 h 2997889"/>
                  <a:gd name="connsiteX16" fmla="*/ 716485 w 1375647"/>
                  <a:gd name="connsiteY16" fmla="*/ 2575012 h 2997889"/>
                  <a:gd name="connsiteX17" fmla="*/ 773578 w 1375647"/>
                  <a:gd name="connsiteY17" fmla="*/ 1953175 h 2997889"/>
                  <a:gd name="connsiteX18" fmla="*/ 753987 w 1375647"/>
                  <a:gd name="connsiteY18" fmla="*/ 1632109 h 2997889"/>
                  <a:gd name="connsiteX19" fmla="*/ 721477 w 1375647"/>
                  <a:gd name="connsiteY19" fmla="*/ 1212956 h 2997889"/>
                  <a:gd name="connsiteX20" fmla="*/ 695915 w 1375647"/>
                  <a:gd name="connsiteY20" fmla="*/ 895734 h 2997889"/>
                  <a:gd name="connsiteX21" fmla="*/ 667680 w 1375647"/>
                  <a:gd name="connsiteY21" fmla="*/ 1081852 h 2997889"/>
                  <a:gd name="connsiteX22" fmla="*/ 602031 w 1375647"/>
                  <a:gd name="connsiteY22" fmla="*/ 1669237 h 2997889"/>
                  <a:gd name="connsiteX23" fmla="*/ 637531 w 1375647"/>
                  <a:gd name="connsiteY23" fmla="*/ 2510114 h 2997889"/>
                  <a:gd name="connsiteX24" fmla="*/ 614682 w 1375647"/>
                  <a:gd name="connsiteY24" fmla="*/ 2809553 h 2997889"/>
                  <a:gd name="connsiteX25" fmla="*/ 575008 w 1375647"/>
                  <a:gd name="connsiteY25" fmla="*/ 2910800 h 2997889"/>
                  <a:gd name="connsiteX26" fmla="*/ 286866 w 1375647"/>
                  <a:gd name="connsiteY26" fmla="*/ 2944902 h 2997889"/>
                  <a:gd name="connsiteX27" fmla="*/ 237481 w 1375647"/>
                  <a:gd name="connsiteY27" fmla="*/ 2863879 h 2997889"/>
                  <a:gd name="connsiteX28" fmla="*/ 226577 w 1375647"/>
                  <a:gd name="connsiteY28" fmla="*/ 2077171 h 2997889"/>
                  <a:gd name="connsiteX29" fmla="*/ 161841 w 1375647"/>
                  <a:gd name="connsiteY29" fmla="*/ 1818226 h 2997889"/>
                  <a:gd name="connsiteX30" fmla="*/ 137565 w 1375647"/>
                  <a:gd name="connsiteY30" fmla="*/ 1583557 h 2997889"/>
                  <a:gd name="connsiteX31" fmla="*/ 80921 w 1375647"/>
                  <a:gd name="connsiteY31" fmla="*/ 733893 h 2997889"/>
                  <a:gd name="connsiteX32" fmla="*/ 8092 w 1375647"/>
                  <a:gd name="connsiteY32" fmla="*/ 474948 h 2997889"/>
                  <a:gd name="connsiteX33" fmla="*/ 32369 w 1375647"/>
                  <a:gd name="connsiteY33" fmla="*/ 345475 h 2997889"/>
                  <a:gd name="connsiteX34" fmla="*/ 178025 w 1375647"/>
                  <a:gd name="connsiteY34" fmla="*/ 5610 h 2997889"/>
                  <a:gd name="connsiteX0" fmla="*/ 178025 w 1375645"/>
                  <a:gd name="connsiteY0" fmla="*/ 5610 h 2997889"/>
                  <a:gd name="connsiteX1" fmla="*/ 299406 w 1375645"/>
                  <a:gd name="connsiteY1" fmla="*/ 78438 h 2997889"/>
                  <a:gd name="connsiteX2" fmla="*/ 493615 w 1375645"/>
                  <a:gd name="connsiteY2" fmla="*/ 126990 h 2997889"/>
                  <a:gd name="connsiteX3" fmla="*/ 687823 w 1375645"/>
                  <a:gd name="connsiteY3" fmla="*/ 143174 h 2997889"/>
                  <a:gd name="connsiteX4" fmla="*/ 865848 w 1375645"/>
                  <a:gd name="connsiteY4" fmla="*/ 110806 h 2997889"/>
                  <a:gd name="connsiteX5" fmla="*/ 946769 w 1375645"/>
                  <a:gd name="connsiteY5" fmla="*/ 62254 h 2997889"/>
                  <a:gd name="connsiteX6" fmla="*/ 1181438 w 1375645"/>
                  <a:gd name="connsiteY6" fmla="*/ 264555 h 2997889"/>
                  <a:gd name="connsiteX7" fmla="*/ 1351370 w 1375645"/>
                  <a:gd name="connsiteY7" fmla="*/ 385935 h 2997889"/>
                  <a:gd name="connsiteX8" fmla="*/ 1327094 w 1375645"/>
                  <a:gd name="connsiteY8" fmla="*/ 491132 h 2997889"/>
                  <a:gd name="connsiteX9" fmla="*/ 1246174 w 1375645"/>
                  <a:gd name="connsiteY9" fmla="*/ 750077 h 2997889"/>
                  <a:gd name="connsiteX10" fmla="*/ 1221898 w 1375645"/>
                  <a:gd name="connsiteY10" fmla="*/ 1551189 h 2997889"/>
                  <a:gd name="connsiteX11" fmla="*/ 1197562 w 1375645"/>
                  <a:gd name="connsiteY11" fmla="*/ 1758047 h 2997889"/>
                  <a:gd name="connsiteX12" fmla="*/ 1171022 w 1375645"/>
                  <a:gd name="connsiteY12" fmla="*/ 2064083 h 2997889"/>
                  <a:gd name="connsiteX13" fmla="*/ 1108688 w 1375645"/>
                  <a:gd name="connsiteY13" fmla="*/ 2442473 h 2997889"/>
                  <a:gd name="connsiteX14" fmla="*/ 1102313 w 1375645"/>
                  <a:gd name="connsiteY14" fmla="*/ 2992766 h 2997889"/>
                  <a:gd name="connsiteX15" fmla="*/ 691887 w 1375645"/>
                  <a:gd name="connsiteY15" fmla="*/ 2800839 h 2997889"/>
                  <a:gd name="connsiteX16" fmla="*/ 716485 w 1375645"/>
                  <a:gd name="connsiteY16" fmla="*/ 2575012 h 2997889"/>
                  <a:gd name="connsiteX17" fmla="*/ 773578 w 1375645"/>
                  <a:gd name="connsiteY17" fmla="*/ 1953175 h 2997889"/>
                  <a:gd name="connsiteX18" fmla="*/ 753987 w 1375645"/>
                  <a:gd name="connsiteY18" fmla="*/ 1632109 h 2997889"/>
                  <a:gd name="connsiteX19" fmla="*/ 721477 w 1375645"/>
                  <a:gd name="connsiteY19" fmla="*/ 1212956 h 2997889"/>
                  <a:gd name="connsiteX20" fmla="*/ 695915 w 1375645"/>
                  <a:gd name="connsiteY20" fmla="*/ 895734 h 2997889"/>
                  <a:gd name="connsiteX21" fmla="*/ 667680 w 1375645"/>
                  <a:gd name="connsiteY21" fmla="*/ 1081852 h 2997889"/>
                  <a:gd name="connsiteX22" fmla="*/ 602031 w 1375645"/>
                  <a:gd name="connsiteY22" fmla="*/ 1669237 h 2997889"/>
                  <a:gd name="connsiteX23" fmla="*/ 637531 w 1375645"/>
                  <a:gd name="connsiteY23" fmla="*/ 2510114 h 2997889"/>
                  <a:gd name="connsiteX24" fmla="*/ 614682 w 1375645"/>
                  <a:gd name="connsiteY24" fmla="*/ 2809553 h 2997889"/>
                  <a:gd name="connsiteX25" fmla="*/ 575008 w 1375645"/>
                  <a:gd name="connsiteY25" fmla="*/ 2910800 h 2997889"/>
                  <a:gd name="connsiteX26" fmla="*/ 286866 w 1375645"/>
                  <a:gd name="connsiteY26" fmla="*/ 2944902 h 2997889"/>
                  <a:gd name="connsiteX27" fmla="*/ 237481 w 1375645"/>
                  <a:gd name="connsiteY27" fmla="*/ 2863879 h 2997889"/>
                  <a:gd name="connsiteX28" fmla="*/ 226577 w 1375645"/>
                  <a:gd name="connsiteY28" fmla="*/ 2077171 h 2997889"/>
                  <a:gd name="connsiteX29" fmla="*/ 161841 w 1375645"/>
                  <a:gd name="connsiteY29" fmla="*/ 1818226 h 2997889"/>
                  <a:gd name="connsiteX30" fmla="*/ 137565 w 1375645"/>
                  <a:gd name="connsiteY30" fmla="*/ 1583557 h 2997889"/>
                  <a:gd name="connsiteX31" fmla="*/ 80921 w 1375645"/>
                  <a:gd name="connsiteY31" fmla="*/ 733893 h 2997889"/>
                  <a:gd name="connsiteX32" fmla="*/ 8092 w 1375645"/>
                  <a:gd name="connsiteY32" fmla="*/ 474948 h 2997889"/>
                  <a:gd name="connsiteX33" fmla="*/ 32369 w 1375645"/>
                  <a:gd name="connsiteY33" fmla="*/ 345475 h 2997889"/>
                  <a:gd name="connsiteX34" fmla="*/ 178025 w 1375645"/>
                  <a:gd name="connsiteY34" fmla="*/ 5610 h 2997889"/>
                  <a:gd name="connsiteX0" fmla="*/ 178025 w 1375647"/>
                  <a:gd name="connsiteY0" fmla="*/ 5610 h 2997889"/>
                  <a:gd name="connsiteX1" fmla="*/ 299406 w 1375647"/>
                  <a:gd name="connsiteY1" fmla="*/ 78438 h 2997889"/>
                  <a:gd name="connsiteX2" fmla="*/ 493615 w 1375647"/>
                  <a:gd name="connsiteY2" fmla="*/ 126990 h 2997889"/>
                  <a:gd name="connsiteX3" fmla="*/ 687823 w 1375647"/>
                  <a:gd name="connsiteY3" fmla="*/ 143174 h 2997889"/>
                  <a:gd name="connsiteX4" fmla="*/ 865848 w 1375647"/>
                  <a:gd name="connsiteY4" fmla="*/ 110806 h 2997889"/>
                  <a:gd name="connsiteX5" fmla="*/ 946769 w 1375647"/>
                  <a:gd name="connsiteY5" fmla="*/ 62254 h 2997889"/>
                  <a:gd name="connsiteX6" fmla="*/ 1181438 w 1375647"/>
                  <a:gd name="connsiteY6" fmla="*/ 264555 h 2997889"/>
                  <a:gd name="connsiteX7" fmla="*/ 1351370 w 1375647"/>
                  <a:gd name="connsiteY7" fmla="*/ 385935 h 2997889"/>
                  <a:gd name="connsiteX8" fmla="*/ 1327094 w 1375647"/>
                  <a:gd name="connsiteY8" fmla="*/ 491132 h 2997889"/>
                  <a:gd name="connsiteX9" fmla="*/ 1246174 w 1375647"/>
                  <a:gd name="connsiteY9" fmla="*/ 750077 h 2997889"/>
                  <a:gd name="connsiteX10" fmla="*/ 1221898 w 1375647"/>
                  <a:gd name="connsiteY10" fmla="*/ 1551189 h 2997889"/>
                  <a:gd name="connsiteX11" fmla="*/ 1197562 w 1375647"/>
                  <a:gd name="connsiteY11" fmla="*/ 1758047 h 2997889"/>
                  <a:gd name="connsiteX12" fmla="*/ 1171022 w 1375647"/>
                  <a:gd name="connsiteY12" fmla="*/ 2064083 h 2997889"/>
                  <a:gd name="connsiteX13" fmla="*/ 1108688 w 1375647"/>
                  <a:gd name="connsiteY13" fmla="*/ 2442473 h 2997889"/>
                  <a:gd name="connsiteX14" fmla="*/ 1102313 w 1375647"/>
                  <a:gd name="connsiteY14" fmla="*/ 2992766 h 2997889"/>
                  <a:gd name="connsiteX15" fmla="*/ 691887 w 1375647"/>
                  <a:gd name="connsiteY15" fmla="*/ 2800839 h 2997889"/>
                  <a:gd name="connsiteX16" fmla="*/ 716485 w 1375647"/>
                  <a:gd name="connsiteY16" fmla="*/ 2575012 h 2997889"/>
                  <a:gd name="connsiteX17" fmla="*/ 773578 w 1375647"/>
                  <a:gd name="connsiteY17" fmla="*/ 1953175 h 2997889"/>
                  <a:gd name="connsiteX18" fmla="*/ 753987 w 1375647"/>
                  <a:gd name="connsiteY18" fmla="*/ 1632109 h 2997889"/>
                  <a:gd name="connsiteX19" fmla="*/ 721477 w 1375647"/>
                  <a:gd name="connsiteY19" fmla="*/ 1212956 h 2997889"/>
                  <a:gd name="connsiteX20" fmla="*/ 695915 w 1375647"/>
                  <a:gd name="connsiteY20" fmla="*/ 895734 h 2997889"/>
                  <a:gd name="connsiteX21" fmla="*/ 667680 w 1375647"/>
                  <a:gd name="connsiteY21" fmla="*/ 1081852 h 2997889"/>
                  <a:gd name="connsiteX22" fmla="*/ 602031 w 1375647"/>
                  <a:gd name="connsiteY22" fmla="*/ 1669237 h 2997889"/>
                  <a:gd name="connsiteX23" fmla="*/ 637531 w 1375647"/>
                  <a:gd name="connsiteY23" fmla="*/ 2510114 h 2997889"/>
                  <a:gd name="connsiteX24" fmla="*/ 614682 w 1375647"/>
                  <a:gd name="connsiteY24" fmla="*/ 2809553 h 2997889"/>
                  <a:gd name="connsiteX25" fmla="*/ 575008 w 1375647"/>
                  <a:gd name="connsiteY25" fmla="*/ 2910800 h 2997889"/>
                  <a:gd name="connsiteX26" fmla="*/ 286866 w 1375647"/>
                  <a:gd name="connsiteY26" fmla="*/ 2944902 h 2997889"/>
                  <a:gd name="connsiteX27" fmla="*/ 237481 w 1375647"/>
                  <a:gd name="connsiteY27" fmla="*/ 2863879 h 2997889"/>
                  <a:gd name="connsiteX28" fmla="*/ 226577 w 1375647"/>
                  <a:gd name="connsiteY28" fmla="*/ 2077171 h 2997889"/>
                  <a:gd name="connsiteX29" fmla="*/ 161841 w 1375647"/>
                  <a:gd name="connsiteY29" fmla="*/ 1818226 h 2997889"/>
                  <a:gd name="connsiteX30" fmla="*/ 137565 w 1375647"/>
                  <a:gd name="connsiteY30" fmla="*/ 1583557 h 2997889"/>
                  <a:gd name="connsiteX31" fmla="*/ 80921 w 1375647"/>
                  <a:gd name="connsiteY31" fmla="*/ 733893 h 2997889"/>
                  <a:gd name="connsiteX32" fmla="*/ 8092 w 1375647"/>
                  <a:gd name="connsiteY32" fmla="*/ 474948 h 2997889"/>
                  <a:gd name="connsiteX33" fmla="*/ 32369 w 1375647"/>
                  <a:gd name="connsiteY33" fmla="*/ 345475 h 2997889"/>
                  <a:gd name="connsiteX34" fmla="*/ 178025 w 1375647"/>
                  <a:gd name="connsiteY34" fmla="*/ 5610 h 2997889"/>
                  <a:gd name="connsiteX0" fmla="*/ 178025 w 1375645"/>
                  <a:gd name="connsiteY0" fmla="*/ 5610 h 2997889"/>
                  <a:gd name="connsiteX1" fmla="*/ 299406 w 1375645"/>
                  <a:gd name="connsiteY1" fmla="*/ 78438 h 2997889"/>
                  <a:gd name="connsiteX2" fmla="*/ 493615 w 1375645"/>
                  <a:gd name="connsiteY2" fmla="*/ 126990 h 2997889"/>
                  <a:gd name="connsiteX3" fmla="*/ 687823 w 1375645"/>
                  <a:gd name="connsiteY3" fmla="*/ 143174 h 2997889"/>
                  <a:gd name="connsiteX4" fmla="*/ 865848 w 1375645"/>
                  <a:gd name="connsiteY4" fmla="*/ 110806 h 2997889"/>
                  <a:gd name="connsiteX5" fmla="*/ 946769 w 1375645"/>
                  <a:gd name="connsiteY5" fmla="*/ 62254 h 2997889"/>
                  <a:gd name="connsiteX6" fmla="*/ 1181438 w 1375645"/>
                  <a:gd name="connsiteY6" fmla="*/ 264555 h 2997889"/>
                  <a:gd name="connsiteX7" fmla="*/ 1351370 w 1375645"/>
                  <a:gd name="connsiteY7" fmla="*/ 385935 h 2997889"/>
                  <a:gd name="connsiteX8" fmla="*/ 1327094 w 1375645"/>
                  <a:gd name="connsiteY8" fmla="*/ 491132 h 2997889"/>
                  <a:gd name="connsiteX9" fmla="*/ 1246174 w 1375645"/>
                  <a:gd name="connsiteY9" fmla="*/ 750077 h 2997889"/>
                  <a:gd name="connsiteX10" fmla="*/ 1221898 w 1375645"/>
                  <a:gd name="connsiteY10" fmla="*/ 1551189 h 2997889"/>
                  <a:gd name="connsiteX11" fmla="*/ 1197562 w 1375645"/>
                  <a:gd name="connsiteY11" fmla="*/ 1758047 h 2997889"/>
                  <a:gd name="connsiteX12" fmla="*/ 1171022 w 1375645"/>
                  <a:gd name="connsiteY12" fmla="*/ 2064083 h 2997889"/>
                  <a:gd name="connsiteX13" fmla="*/ 1108688 w 1375645"/>
                  <a:gd name="connsiteY13" fmla="*/ 2617650 h 2997889"/>
                  <a:gd name="connsiteX14" fmla="*/ 1102313 w 1375645"/>
                  <a:gd name="connsiteY14" fmla="*/ 2992766 h 2997889"/>
                  <a:gd name="connsiteX15" fmla="*/ 691887 w 1375645"/>
                  <a:gd name="connsiteY15" fmla="*/ 2800839 h 2997889"/>
                  <a:gd name="connsiteX16" fmla="*/ 716485 w 1375645"/>
                  <a:gd name="connsiteY16" fmla="*/ 2575012 h 2997889"/>
                  <a:gd name="connsiteX17" fmla="*/ 773578 w 1375645"/>
                  <a:gd name="connsiteY17" fmla="*/ 1953175 h 2997889"/>
                  <a:gd name="connsiteX18" fmla="*/ 753987 w 1375645"/>
                  <a:gd name="connsiteY18" fmla="*/ 1632109 h 2997889"/>
                  <a:gd name="connsiteX19" fmla="*/ 721477 w 1375645"/>
                  <a:gd name="connsiteY19" fmla="*/ 1212956 h 2997889"/>
                  <a:gd name="connsiteX20" fmla="*/ 695915 w 1375645"/>
                  <a:gd name="connsiteY20" fmla="*/ 895734 h 2997889"/>
                  <a:gd name="connsiteX21" fmla="*/ 667680 w 1375645"/>
                  <a:gd name="connsiteY21" fmla="*/ 1081852 h 2997889"/>
                  <a:gd name="connsiteX22" fmla="*/ 602031 w 1375645"/>
                  <a:gd name="connsiteY22" fmla="*/ 1669237 h 2997889"/>
                  <a:gd name="connsiteX23" fmla="*/ 637531 w 1375645"/>
                  <a:gd name="connsiteY23" fmla="*/ 2510114 h 2997889"/>
                  <a:gd name="connsiteX24" fmla="*/ 614682 w 1375645"/>
                  <a:gd name="connsiteY24" fmla="*/ 2809553 h 2997889"/>
                  <a:gd name="connsiteX25" fmla="*/ 575008 w 1375645"/>
                  <a:gd name="connsiteY25" fmla="*/ 2910800 h 2997889"/>
                  <a:gd name="connsiteX26" fmla="*/ 286866 w 1375645"/>
                  <a:gd name="connsiteY26" fmla="*/ 2944902 h 2997889"/>
                  <a:gd name="connsiteX27" fmla="*/ 237481 w 1375645"/>
                  <a:gd name="connsiteY27" fmla="*/ 2863879 h 2997889"/>
                  <a:gd name="connsiteX28" fmla="*/ 226577 w 1375645"/>
                  <a:gd name="connsiteY28" fmla="*/ 2077171 h 2997889"/>
                  <a:gd name="connsiteX29" fmla="*/ 161841 w 1375645"/>
                  <a:gd name="connsiteY29" fmla="*/ 1818226 h 2997889"/>
                  <a:gd name="connsiteX30" fmla="*/ 137565 w 1375645"/>
                  <a:gd name="connsiteY30" fmla="*/ 1583557 h 2997889"/>
                  <a:gd name="connsiteX31" fmla="*/ 80921 w 1375645"/>
                  <a:gd name="connsiteY31" fmla="*/ 733893 h 2997889"/>
                  <a:gd name="connsiteX32" fmla="*/ 8092 w 1375645"/>
                  <a:gd name="connsiteY32" fmla="*/ 474948 h 2997889"/>
                  <a:gd name="connsiteX33" fmla="*/ 32369 w 1375645"/>
                  <a:gd name="connsiteY33" fmla="*/ 345475 h 2997889"/>
                  <a:gd name="connsiteX34" fmla="*/ 178025 w 1375645"/>
                  <a:gd name="connsiteY34" fmla="*/ 5610 h 2997889"/>
                  <a:gd name="connsiteX0" fmla="*/ 178025 w 1375647"/>
                  <a:gd name="connsiteY0" fmla="*/ 5610 h 2997889"/>
                  <a:gd name="connsiteX1" fmla="*/ 299406 w 1375647"/>
                  <a:gd name="connsiteY1" fmla="*/ 78438 h 2997889"/>
                  <a:gd name="connsiteX2" fmla="*/ 493615 w 1375647"/>
                  <a:gd name="connsiteY2" fmla="*/ 126990 h 2997889"/>
                  <a:gd name="connsiteX3" fmla="*/ 687823 w 1375647"/>
                  <a:gd name="connsiteY3" fmla="*/ 143174 h 2997889"/>
                  <a:gd name="connsiteX4" fmla="*/ 865848 w 1375647"/>
                  <a:gd name="connsiteY4" fmla="*/ 110806 h 2997889"/>
                  <a:gd name="connsiteX5" fmla="*/ 946769 w 1375647"/>
                  <a:gd name="connsiteY5" fmla="*/ 62254 h 2997889"/>
                  <a:gd name="connsiteX6" fmla="*/ 1181438 w 1375647"/>
                  <a:gd name="connsiteY6" fmla="*/ 264555 h 2997889"/>
                  <a:gd name="connsiteX7" fmla="*/ 1351370 w 1375647"/>
                  <a:gd name="connsiteY7" fmla="*/ 385935 h 2997889"/>
                  <a:gd name="connsiteX8" fmla="*/ 1327094 w 1375647"/>
                  <a:gd name="connsiteY8" fmla="*/ 491132 h 2997889"/>
                  <a:gd name="connsiteX9" fmla="*/ 1246174 w 1375647"/>
                  <a:gd name="connsiteY9" fmla="*/ 750077 h 2997889"/>
                  <a:gd name="connsiteX10" fmla="*/ 1221898 w 1375647"/>
                  <a:gd name="connsiteY10" fmla="*/ 1551189 h 2997889"/>
                  <a:gd name="connsiteX11" fmla="*/ 1203453 w 1375647"/>
                  <a:gd name="connsiteY11" fmla="*/ 1801841 h 2997889"/>
                  <a:gd name="connsiteX12" fmla="*/ 1171022 w 1375647"/>
                  <a:gd name="connsiteY12" fmla="*/ 2064083 h 2997889"/>
                  <a:gd name="connsiteX13" fmla="*/ 1108688 w 1375647"/>
                  <a:gd name="connsiteY13" fmla="*/ 2617650 h 2997889"/>
                  <a:gd name="connsiteX14" fmla="*/ 1102313 w 1375647"/>
                  <a:gd name="connsiteY14" fmla="*/ 2992766 h 2997889"/>
                  <a:gd name="connsiteX15" fmla="*/ 691887 w 1375647"/>
                  <a:gd name="connsiteY15" fmla="*/ 2800839 h 2997889"/>
                  <a:gd name="connsiteX16" fmla="*/ 716485 w 1375647"/>
                  <a:gd name="connsiteY16" fmla="*/ 2575012 h 2997889"/>
                  <a:gd name="connsiteX17" fmla="*/ 773578 w 1375647"/>
                  <a:gd name="connsiteY17" fmla="*/ 1953175 h 2997889"/>
                  <a:gd name="connsiteX18" fmla="*/ 753987 w 1375647"/>
                  <a:gd name="connsiteY18" fmla="*/ 1632109 h 2997889"/>
                  <a:gd name="connsiteX19" fmla="*/ 721477 w 1375647"/>
                  <a:gd name="connsiteY19" fmla="*/ 1212956 h 2997889"/>
                  <a:gd name="connsiteX20" fmla="*/ 695915 w 1375647"/>
                  <a:gd name="connsiteY20" fmla="*/ 895734 h 2997889"/>
                  <a:gd name="connsiteX21" fmla="*/ 667680 w 1375647"/>
                  <a:gd name="connsiteY21" fmla="*/ 1081852 h 2997889"/>
                  <a:gd name="connsiteX22" fmla="*/ 602031 w 1375647"/>
                  <a:gd name="connsiteY22" fmla="*/ 1669237 h 2997889"/>
                  <a:gd name="connsiteX23" fmla="*/ 637531 w 1375647"/>
                  <a:gd name="connsiteY23" fmla="*/ 2510114 h 2997889"/>
                  <a:gd name="connsiteX24" fmla="*/ 614682 w 1375647"/>
                  <a:gd name="connsiteY24" fmla="*/ 2809553 h 2997889"/>
                  <a:gd name="connsiteX25" fmla="*/ 575008 w 1375647"/>
                  <a:gd name="connsiteY25" fmla="*/ 2910800 h 2997889"/>
                  <a:gd name="connsiteX26" fmla="*/ 286866 w 1375647"/>
                  <a:gd name="connsiteY26" fmla="*/ 2944902 h 2997889"/>
                  <a:gd name="connsiteX27" fmla="*/ 237481 w 1375647"/>
                  <a:gd name="connsiteY27" fmla="*/ 2863879 h 2997889"/>
                  <a:gd name="connsiteX28" fmla="*/ 226577 w 1375647"/>
                  <a:gd name="connsiteY28" fmla="*/ 2077171 h 2997889"/>
                  <a:gd name="connsiteX29" fmla="*/ 161841 w 1375647"/>
                  <a:gd name="connsiteY29" fmla="*/ 1818226 h 2997889"/>
                  <a:gd name="connsiteX30" fmla="*/ 137565 w 1375647"/>
                  <a:gd name="connsiteY30" fmla="*/ 1583557 h 2997889"/>
                  <a:gd name="connsiteX31" fmla="*/ 80921 w 1375647"/>
                  <a:gd name="connsiteY31" fmla="*/ 733893 h 2997889"/>
                  <a:gd name="connsiteX32" fmla="*/ 8092 w 1375647"/>
                  <a:gd name="connsiteY32" fmla="*/ 474948 h 2997889"/>
                  <a:gd name="connsiteX33" fmla="*/ 32369 w 1375647"/>
                  <a:gd name="connsiteY33" fmla="*/ 345475 h 2997889"/>
                  <a:gd name="connsiteX34" fmla="*/ 178025 w 1375647"/>
                  <a:gd name="connsiteY34" fmla="*/ 5610 h 2997889"/>
                  <a:gd name="connsiteX0" fmla="*/ 178025 w 1375645"/>
                  <a:gd name="connsiteY0" fmla="*/ 5610 h 2982550"/>
                  <a:gd name="connsiteX1" fmla="*/ 299406 w 1375645"/>
                  <a:gd name="connsiteY1" fmla="*/ 78438 h 2982550"/>
                  <a:gd name="connsiteX2" fmla="*/ 493615 w 1375645"/>
                  <a:gd name="connsiteY2" fmla="*/ 126990 h 2982550"/>
                  <a:gd name="connsiteX3" fmla="*/ 687823 w 1375645"/>
                  <a:gd name="connsiteY3" fmla="*/ 143174 h 2982550"/>
                  <a:gd name="connsiteX4" fmla="*/ 865848 w 1375645"/>
                  <a:gd name="connsiteY4" fmla="*/ 110806 h 2982550"/>
                  <a:gd name="connsiteX5" fmla="*/ 946769 w 1375645"/>
                  <a:gd name="connsiteY5" fmla="*/ 62254 h 2982550"/>
                  <a:gd name="connsiteX6" fmla="*/ 1181438 w 1375645"/>
                  <a:gd name="connsiteY6" fmla="*/ 264555 h 2982550"/>
                  <a:gd name="connsiteX7" fmla="*/ 1351370 w 1375645"/>
                  <a:gd name="connsiteY7" fmla="*/ 385935 h 2982550"/>
                  <a:gd name="connsiteX8" fmla="*/ 1327094 w 1375645"/>
                  <a:gd name="connsiteY8" fmla="*/ 491132 h 2982550"/>
                  <a:gd name="connsiteX9" fmla="*/ 1246174 w 1375645"/>
                  <a:gd name="connsiteY9" fmla="*/ 750077 h 2982550"/>
                  <a:gd name="connsiteX10" fmla="*/ 1221898 w 1375645"/>
                  <a:gd name="connsiteY10" fmla="*/ 1551189 h 2982550"/>
                  <a:gd name="connsiteX11" fmla="*/ 1203453 w 1375645"/>
                  <a:gd name="connsiteY11" fmla="*/ 1801841 h 2982550"/>
                  <a:gd name="connsiteX12" fmla="*/ 1171022 w 1375645"/>
                  <a:gd name="connsiteY12" fmla="*/ 2064083 h 2982550"/>
                  <a:gd name="connsiteX13" fmla="*/ 1108688 w 1375645"/>
                  <a:gd name="connsiteY13" fmla="*/ 2617650 h 2982550"/>
                  <a:gd name="connsiteX14" fmla="*/ 1155960 w 1375645"/>
                  <a:gd name="connsiteY14" fmla="*/ 2977427 h 2982550"/>
                  <a:gd name="connsiteX15" fmla="*/ 691887 w 1375645"/>
                  <a:gd name="connsiteY15" fmla="*/ 2800839 h 2982550"/>
                  <a:gd name="connsiteX16" fmla="*/ 716485 w 1375645"/>
                  <a:gd name="connsiteY16" fmla="*/ 2575012 h 2982550"/>
                  <a:gd name="connsiteX17" fmla="*/ 773578 w 1375645"/>
                  <a:gd name="connsiteY17" fmla="*/ 1953175 h 2982550"/>
                  <a:gd name="connsiteX18" fmla="*/ 753987 w 1375645"/>
                  <a:gd name="connsiteY18" fmla="*/ 1632109 h 2982550"/>
                  <a:gd name="connsiteX19" fmla="*/ 721477 w 1375645"/>
                  <a:gd name="connsiteY19" fmla="*/ 1212956 h 2982550"/>
                  <a:gd name="connsiteX20" fmla="*/ 695915 w 1375645"/>
                  <a:gd name="connsiteY20" fmla="*/ 895734 h 2982550"/>
                  <a:gd name="connsiteX21" fmla="*/ 667680 w 1375645"/>
                  <a:gd name="connsiteY21" fmla="*/ 1081852 h 2982550"/>
                  <a:gd name="connsiteX22" fmla="*/ 602031 w 1375645"/>
                  <a:gd name="connsiteY22" fmla="*/ 1669237 h 2982550"/>
                  <a:gd name="connsiteX23" fmla="*/ 637531 w 1375645"/>
                  <a:gd name="connsiteY23" fmla="*/ 2510114 h 2982550"/>
                  <a:gd name="connsiteX24" fmla="*/ 614682 w 1375645"/>
                  <a:gd name="connsiteY24" fmla="*/ 2809553 h 2982550"/>
                  <a:gd name="connsiteX25" fmla="*/ 575008 w 1375645"/>
                  <a:gd name="connsiteY25" fmla="*/ 2910800 h 2982550"/>
                  <a:gd name="connsiteX26" fmla="*/ 286866 w 1375645"/>
                  <a:gd name="connsiteY26" fmla="*/ 2944902 h 2982550"/>
                  <a:gd name="connsiteX27" fmla="*/ 237481 w 1375645"/>
                  <a:gd name="connsiteY27" fmla="*/ 2863879 h 2982550"/>
                  <a:gd name="connsiteX28" fmla="*/ 226577 w 1375645"/>
                  <a:gd name="connsiteY28" fmla="*/ 2077171 h 2982550"/>
                  <a:gd name="connsiteX29" fmla="*/ 161841 w 1375645"/>
                  <a:gd name="connsiteY29" fmla="*/ 1818226 h 2982550"/>
                  <a:gd name="connsiteX30" fmla="*/ 137565 w 1375645"/>
                  <a:gd name="connsiteY30" fmla="*/ 1583557 h 2982550"/>
                  <a:gd name="connsiteX31" fmla="*/ 80921 w 1375645"/>
                  <a:gd name="connsiteY31" fmla="*/ 733893 h 2982550"/>
                  <a:gd name="connsiteX32" fmla="*/ 8092 w 1375645"/>
                  <a:gd name="connsiteY32" fmla="*/ 474948 h 2982550"/>
                  <a:gd name="connsiteX33" fmla="*/ 32369 w 1375645"/>
                  <a:gd name="connsiteY33" fmla="*/ 345475 h 2982550"/>
                  <a:gd name="connsiteX34" fmla="*/ 178025 w 1375645"/>
                  <a:gd name="connsiteY34" fmla="*/ 5610 h 2982550"/>
                  <a:gd name="connsiteX0" fmla="*/ 178025 w 1375647"/>
                  <a:gd name="connsiteY0" fmla="*/ 5610 h 2982550"/>
                  <a:gd name="connsiteX1" fmla="*/ 299406 w 1375647"/>
                  <a:gd name="connsiteY1" fmla="*/ 78438 h 2982550"/>
                  <a:gd name="connsiteX2" fmla="*/ 493615 w 1375647"/>
                  <a:gd name="connsiteY2" fmla="*/ 126990 h 2982550"/>
                  <a:gd name="connsiteX3" fmla="*/ 687823 w 1375647"/>
                  <a:gd name="connsiteY3" fmla="*/ 143174 h 2982550"/>
                  <a:gd name="connsiteX4" fmla="*/ 865848 w 1375647"/>
                  <a:gd name="connsiteY4" fmla="*/ 110806 h 2982550"/>
                  <a:gd name="connsiteX5" fmla="*/ 946769 w 1375647"/>
                  <a:gd name="connsiteY5" fmla="*/ 62254 h 2982550"/>
                  <a:gd name="connsiteX6" fmla="*/ 1181438 w 1375647"/>
                  <a:gd name="connsiteY6" fmla="*/ 264555 h 2982550"/>
                  <a:gd name="connsiteX7" fmla="*/ 1351370 w 1375647"/>
                  <a:gd name="connsiteY7" fmla="*/ 385935 h 2982550"/>
                  <a:gd name="connsiteX8" fmla="*/ 1327094 w 1375647"/>
                  <a:gd name="connsiteY8" fmla="*/ 491132 h 2982550"/>
                  <a:gd name="connsiteX9" fmla="*/ 1246174 w 1375647"/>
                  <a:gd name="connsiteY9" fmla="*/ 750077 h 2982550"/>
                  <a:gd name="connsiteX10" fmla="*/ 1221898 w 1375647"/>
                  <a:gd name="connsiteY10" fmla="*/ 1551189 h 2982550"/>
                  <a:gd name="connsiteX11" fmla="*/ 1203453 w 1375647"/>
                  <a:gd name="connsiteY11" fmla="*/ 1801841 h 2982550"/>
                  <a:gd name="connsiteX12" fmla="*/ 1171022 w 1375647"/>
                  <a:gd name="connsiteY12" fmla="*/ 2064083 h 2982550"/>
                  <a:gd name="connsiteX13" fmla="*/ 1108688 w 1375647"/>
                  <a:gd name="connsiteY13" fmla="*/ 2617650 h 2982550"/>
                  <a:gd name="connsiteX14" fmla="*/ 1155960 w 1375647"/>
                  <a:gd name="connsiteY14" fmla="*/ 2977427 h 2982550"/>
                  <a:gd name="connsiteX15" fmla="*/ 782673 w 1375647"/>
                  <a:gd name="connsiteY15" fmla="*/ 2846858 h 2982550"/>
                  <a:gd name="connsiteX16" fmla="*/ 716485 w 1375647"/>
                  <a:gd name="connsiteY16" fmla="*/ 2575012 h 2982550"/>
                  <a:gd name="connsiteX17" fmla="*/ 773578 w 1375647"/>
                  <a:gd name="connsiteY17" fmla="*/ 1953175 h 2982550"/>
                  <a:gd name="connsiteX18" fmla="*/ 753987 w 1375647"/>
                  <a:gd name="connsiteY18" fmla="*/ 1632109 h 2982550"/>
                  <a:gd name="connsiteX19" fmla="*/ 721477 w 1375647"/>
                  <a:gd name="connsiteY19" fmla="*/ 1212956 h 2982550"/>
                  <a:gd name="connsiteX20" fmla="*/ 695915 w 1375647"/>
                  <a:gd name="connsiteY20" fmla="*/ 895734 h 2982550"/>
                  <a:gd name="connsiteX21" fmla="*/ 667680 w 1375647"/>
                  <a:gd name="connsiteY21" fmla="*/ 1081852 h 2982550"/>
                  <a:gd name="connsiteX22" fmla="*/ 602031 w 1375647"/>
                  <a:gd name="connsiteY22" fmla="*/ 1669237 h 2982550"/>
                  <a:gd name="connsiteX23" fmla="*/ 637531 w 1375647"/>
                  <a:gd name="connsiteY23" fmla="*/ 2510114 h 2982550"/>
                  <a:gd name="connsiteX24" fmla="*/ 614682 w 1375647"/>
                  <a:gd name="connsiteY24" fmla="*/ 2809553 h 2982550"/>
                  <a:gd name="connsiteX25" fmla="*/ 575008 w 1375647"/>
                  <a:gd name="connsiteY25" fmla="*/ 2910800 h 2982550"/>
                  <a:gd name="connsiteX26" fmla="*/ 286866 w 1375647"/>
                  <a:gd name="connsiteY26" fmla="*/ 2944902 h 2982550"/>
                  <a:gd name="connsiteX27" fmla="*/ 237481 w 1375647"/>
                  <a:gd name="connsiteY27" fmla="*/ 2863879 h 2982550"/>
                  <a:gd name="connsiteX28" fmla="*/ 226577 w 1375647"/>
                  <a:gd name="connsiteY28" fmla="*/ 2077171 h 2982550"/>
                  <a:gd name="connsiteX29" fmla="*/ 161841 w 1375647"/>
                  <a:gd name="connsiteY29" fmla="*/ 1818226 h 2982550"/>
                  <a:gd name="connsiteX30" fmla="*/ 137565 w 1375647"/>
                  <a:gd name="connsiteY30" fmla="*/ 1583557 h 2982550"/>
                  <a:gd name="connsiteX31" fmla="*/ 80921 w 1375647"/>
                  <a:gd name="connsiteY31" fmla="*/ 733893 h 2982550"/>
                  <a:gd name="connsiteX32" fmla="*/ 8092 w 1375647"/>
                  <a:gd name="connsiteY32" fmla="*/ 474948 h 2982550"/>
                  <a:gd name="connsiteX33" fmla="*/ 32369 w 1375647"/>
                  <a:gd name="connsiteY33" fmla="*/ 345475 h 2982550"/>
                  <a:gd name="connsiteX34" fmla="*/ 178025 w 1375647"/>
                  <a:gd name="connsiteY34" fmla="*/ 5610 h 2982550"/>
                  <a:gd name="connsiteX0" fmla="*/ 178025 w 1375645"/>
                  <a:gd name="connsiteY0" fmla="*/ 5610 h 2982550"/>
                  <a:gd name="connsiteX1" fmla="*/ 299406 w 1375645"/>
                  <a:gd name="connsiteY1" fmla="*/ 78438 h 2982550"/>
                  <a:gd name="connsiteX2" fmla="*/ 493615 w 1375645"/>
                  <a:gd name="connsiteY2" fmla="*/ 126990 h 2982550"/>
                  <a:gd name="connsiteX3" fmla="*/ 687823 w 1375645"/>
                  <a:gd name="connsiteY3" fmla="*/ 143174 h 2982550"/>
                  <a:gd name="connsiteX4" fmla="*/ 865848 w 1375645"/>
                  <a:gd name="connsiteY4" fmla="*/ 110806 h 2982550"/>
                  <a:gd name="connsiteX5" fmla="*/ 946769 w 1375645"/>
                  <a:gd name="connsiteY5" fmla="*/ 62254 h 2982550"/>
                  <a:gd name="connsiteX6" fmla="*/ 1181438 w 1375645"/>
                  <a:gd name="connsiteY6" fmla="*/ 264555 h 2982550"/>
                  <a:gd name="connsiteX7" fmla="*/ 1351370 w 1375645"/>
                  <a:gd name="connsiteY7" fmla="*/ 385935 h 2982550"/>
                  <a:gd name="connsiteX8" fmla="*/ 1327094 w 1375645"/>
                  <a:gd name="connsiteY8" fmla="*/ 491132 h 2982550"/>
                  <a:gd name="connsiteX9" fmla="*/ 1246174 w 1375645"/>
                  <a:gd name="connsiteY9" fmla="*/ 750077 h 2982550"/>
                  <a:gd name="connsiteX10" fmla="*/ 1221898 w 1375645"/>
                  <a:gd name="connsiteY10" fmla="*/ 1551189 h 2982550"/>
                  <a:gd name="connsiteX11" fmla="*/ 1203453 w 1375645"/>
                  <a:gd name="connsiteY11" fmla="*/ 1801841 h 2982550"/>
                  <a:gd name="connsiteX12" fmla="*/ 1171022 w 1375645"/>
                  <a:gd name="connsiteY12" fmla="*/ 2064083 h 2982550"/>
                  <a:gd name="connsiteX13" fmla="*/ 1108688 w 1375645"/>
                  <a:gd name="connsiteY13" fmla="*/ 2617650 h 2982550"/>
                  <a:gd name="connsiteX14" fmla="*/ 1155960 w 1375645"/>
                  <a:gd name="connsiteY14" fmla="*/ 2977427 h 2982550"/>
                  <a:gd name="connsiteX15" fmla="*/ 782673 w 1375645"/>
                  <a:gd name="connsiteY15" fmla="*/ 2846858 h 2982550"/>
                  <a:gd name="connsiteX16" fmla="*/ 778382 w 1375645"/>
                  <a:gd name="connsiteY16" fmla="*/ 2575013 h 2982550"/>
                  <a:gd name="connsiteX17" fmla="*/ 773578 w 1375645"/>
                  <a:gd name="connsiteY17" fmla="*/ 1953175 h 2982550"/>
                  <a:gd name="connsiteX18" fmla="*/ 753987 w 1375645"/>
                  <a:gd name="connsiteY18" fmla="*/ 1632109 h 2982550"/>
                  <a:gd name="connsiteX19" fmla="*/ 721477 w 1375645"/>
                  <a:gd name="connsiteY19" fmla="*/ 1212956 h 2982550"/>
                  <a:gd name="connsiteX20" fmla="*/ 695915 w 1375645"/>
                  <a:gd name="connsiteY20" fmla="*/ 895734 h 2982550"/>
                  <a:gd name="connsiteX21" fmla="*/ 667680 w 1375645"/>
                  <a:gd name="connsiteY21" fmla="*/ 1081852 h 2982550"/>
                  <a:gd name="connsiteX22" fmla="*/ 602031 w 1375645"/>
                  <a:gd name="connsiteY22" fmla="*/ 1669237 h 2982550"/>
                  <a:gd name="connsiteX23" fmla="*/ 637531 w 1375645"/>
                  <a:gd name="connsiteY23" fmla="*/ 2510114 h 2982550"/>
                  <a:gd name="connsiteX24" fmla="*/ 614682 w 1375645"/>
                  <a:gd name="connsiteY24" fmla="*/ 2809553 h 2982550"/>
                  <a:gd name="connsiteX25" fmla="*/ 575008 w 1375645"/>
                  <a:gd name="connsiteY25" fmla="*/ 2910800 h 2982550"/>
                  <a:gd name="connsiteX26" fmla="*/ 286866 w 1375645"/>
                  <a:gd name="connsiteY26" fmla="*/ 2944902 h 2982550"/>
                  <a:gd name="connsiteX27" fmla="*/ 237481 w 1375645"/>
                  <a:gd name="connsiteY27" fmla="*/ 2863879 h 2982550"/>
                  <a:gd name="connsiteX28" fmla="*/ 226577 w 1375645"/>
                  <a:gd name="connsiteY28" fmla="*/ 2077171 h 2982550"/>
                  <a:gd name="connsiteX29" fmla="*/ 161841 w 1375645"/>
                  <a:gd name="connsiteY29" fmla="*/ 1818226 h 2982550"/>
                  <a:gd name="connsiteX30" fmla="*/ 137565 w 1375645"/>
                  <a:gd name="connsiteY30" fmla="*/ 1583557 h 2982550"/>
                  <a:gd name="connsiteX31" fmla="*/ 80921 w 1375645"/>
                  <a:gd name="connsiteY31" fmla="*/ 733893 h 2982550"/>
                  <a:gd name="connsiteX32" fmla="*/ 8092 w 1375645"/>
                  <a:gd name="connsiteY32" fmla="*/ 474948 h 2982550"/>
                  <a:gd name="connsiteX33" fmla="*/ 32369 w 1375645"/>
                  <a:gd name="connsiteY33" fmla="*/ 345475 h 2982550"/>
                  <a:gd name="connsiteX34" fmla="*/ 178025 w 1375645"/>
                  <a:gd name="connsiteY34" fmla="*/ 5610 h 2982550"/>
                  <a:gd name="connsiteX0" fmla="*/ 178025 w 1375647"/>
                  <a:gd name="connsiteY0" fmla="*/ 5610 h 2982550"/>
                  <a:gd name="connsiteX1" fmla="*/ 299406 w 1375647"/>
                  <a:gd name="connsiteY1" fmla="*/ 78438 h 2982550"/>
                  <a:gd name="connsiteX2" fmla="*/ 493615 w 1375647"/>
                  <a:gd name="connsiteY2" fmla="*/ 126990 h 2982550"/>
                  <a:gd name="connsiteX3" fmla="*/ 687823 w 1375647"/>
                  <a:gd name="connsiteY3" fmla="*/ 143174 h 2982550"/>
                  <a:gd name="connsiteX4" fmla="*/ 865848 w 1375647"/>
                  <a:gd name="connsiteY4" fmla="*/ 110806 h 2982550"/>
                  <a:gd name="connsiteX5" fmla="*/ 946769 w 1375647"/>
                  <a:gd name="connsiteY5" fmla="*/ 62254 h 2982550"/>
                  <a:gd name="connsiteX6" fmla="*/ 1181438 w 1375647"/>
                  <a:gd name="connsiteY6" fmla="*/ 264555 h 2982550"/>
                  <a:gd name="connsiteX7" fmla="*/ 1351370 w 1375647"/>
                  <a:gd name="connsiteY7" fmla="*/ 385935 h 2982550"/>
                  <a:gd name="connsiteX8" fmla="*/ 1327094 w 1375647"/>
                  <a:gd name="connsiteY8" fmla="*/ 491132 h 2982550"/>
                  <a:gd name="connsiteX9" fmla="*/ 1246174 w 1375647"/>
                  <a:gd name="connsiteY9" fmla="*/ 750077 h 2982550"/>
                  <a:gd name="connsiteX10" fmla="*/ 1221898 w 1375647"/>
                  <a:gd name="connsiteY10" fmla="*/ 1551189 h 2982550"/>
                  <a:gd name="connsiteX11" fmla="*/ 1203453 w 1375647"/>
                  <a:gd name="connsiteY11" fmla="*/ 1801841 h 2982550"/>
                  <a:gd name="connsiteX12" fmla="*/ 1171022 w 1375647"/>
                  <a:gd name="connsiteY12" fmla="*/ 2064083 h 2982550"/>
                  <a:gd name="connsiteX13" fmla="*/ 1108688 w 1375647"/>
                  <a:gd name="connsiteY13" fmla="*/ 2617650 h 2982550"/>
                  <a:gd name="connsiteX14" fmla="*/ 1155960 w 1375647"/>
                  <a:gd name="connsiteY14" fmla="*/ 2977427 h 2982550"/>
                  <a:gd name="connsiteX15" fmla="*/ 782673 w 1375647"/>
                  <a:gd name="connsiteY15" fmla="*/ 2846858 h 2982550"/>
                  <a:gd name="connsiteX16" fmla="*/ 778382 w 1375647"/>
                  <a:gd name="connsiteY16" fmla="*/ 2575013 h 2982550"/>
                  <a:gd name="connsiteX17" fmla="*/ 773578 w 1375647"/>
                  <a:gd name="connsiteY17" fmla="*/ 1953175 h 2982550"/>
                  <a:gd name="connsiteX18" fmla="*/ 753987 w 1375647"/>
                  <a:gd name="connsiteY18" fmla="*/ 1632109 h 2982550"/>
                  <a:gd name="connsiteX19" fmla="*/ 721477 w 1375647"/>
                  <a:gd name="connsiteY19" fmla="*/ 1212956 h 2982550"/>
                  <a:gd name="connsiteX20" fmla="*/ 695915 w 1375647"/>
                  <a:gd name="connsiteY20" fmla="*/ 895734 h 2982550"/>
                  <a:gd name="connsiteX21" fmla="*/ 667680 w 1375647"/>
                  <a:gd name="connsiteY21" fmla="*/ 1081852 h 2982550"/>
                  <a:gd name="connsiteX22" fmla="*/ 602031 w 1375647"/>
                  <a:gd name="connsiteY22" fmla="*/ 1669237 h 2982550"/>
                  <a:gd name="connsiteX23" fmla="*/ 637531 w 1375647"/>
                  <a:gd name="connsiteY23" fmla="*/ 2510114 h 2982550"/>
                  <a:gd name="connsiteX24" fmla="*/ 614682 w 1375647"/>
                  <a:gd name="connsiteY24" fmla="*/ 2809553 h 2982550"/>
                  <a:gd name="connsiteX25" fmla="*/ 575008 w 1375647"/>
                  <a:gd name="connsiteY25" fmla="*/ 2910800 h 2982550"/>
                  <a:gd name="connsiteX26" fmla="*/ 286866 w 1375647"/>
                  <a:gd name="connsiteY26" fmla="*/ 2944902 h 2982550"/>
                  <a:gd name="connsiteX27" fmla="*/ 237481 w 1375647"/>
                  <a:gd name="connsiteY27" fmla="*/ 2863879 h 2982550"/>
                  <a:gd name="connsiteX28" fmla="*/ 226577 w 1375647"/>
                  <a:gd name="connsiteY28" fmla="*/ 2077171 h 2982550"/>
                  <a:gd name="connsiteX29" fmla="*/ 161841 w 1375647"/>
                  <a:gd name="connsiteY29" fmla="*/ 1818226 h 2982550"/>
                  <a:gd name="connsiteX30" fmla="*/ 137565 w 1375647"/>
                  <a:gd name="connsiteY30" fmla="*/ 1583557 h 2982550"/>
                  <a:gd name="connsiteX31" fmla="*/ 80921 w 1375647"/>
                  <a:gd name="connsiteY31" fmla="*/ 733893 h 2982550"/>
                  <a:gd name="connsiteX32" fmla="*/ 8092 w 1375647"/>
                  <a:gd name="connsiteY32" fmla="*/ 474948 h 2982550"/>
                  <a:gd name="connsiteX33" fmla="*/ 32369 w 1375647"/>
                  <a:gd name="connsiteY33" fmla="*/ 345475 h 2982550"/>
                  <a:gd name="connsiteX34" fmla="*/ 178025 w 1375647"/>
                  <a:gd name="connsiteY34" fmla="*/ 5610 h 2982550"/>
                  <a:gd name="connsiteX0" fmla="*/ 178025 w 1375645"/>
                  <a:gd name="connsiteY0" fmla="*/ 5610 h 2982550"/>
                  <a:gd name="connsiteX1" fmla="*/ 299406 w 1375645"/>
                  <a:gd name="connsiteY1" fmla="*/ 78438 h 2982550"/>
                  <a:gd name="connsiteX2" fmla="*/ 493615 w 1375645"/>
                  <a:gd name="connsiteY2" fmla="*/ 126990 h 2982550"/>
                  <a:gd name="connsiteX3" fmla="*/ 687823 w 1375645"/>
                  <a:gd name="connsiteY3" fmla="*/ 143174 h 2982550"/>
                  <a:gd name="connsiteX4" fmla="*/ 865848 w 1375645"/>
                  <a:gd name="connsiteY4" fmla="*/ 110806 h 2982550"/>
                  <a:gd name="connsiteX5" fmla="*/ 946769 w 1375645"/>
                  <a:gd name="connsiteY5" fmla="*/ 62254 h 2982550"/>
                  <a:gd name="connsiteX6" fmla="*/ 1181438 w 1375645"/>
                  <a:gd name="connsiteY6" fmla="*/ 264555 h 2982550"/>
                  <a:gd name="connsiteX7" fmla="*/ 1351370 w 1375645"/>
                  <a:gd name="connsiteY7" fmla="*/ 385935 h 2982550"/>
                  <a:gd name="connsiteX8" fmla="*/ 1327094 w 1375645"/>
                  <a:gd name="connsiteY8" fmla="*/ 491132 h 2982550"/>
                  <a:gd name="connsiteX9" fmla="*/ 1246174 w 1375645"/>
                  <a:gd name="connsiteY9" fmla="*/ 750077 h 2982550"/>
                  <a:gd name="connsiteX10" fmla="*/ 1221898 w 1375645"/>
                  <a:gd name="connsiteY10" fmla="*/ 1551189 h 2982550"/>
                  <a:gd name="connsiteX11" fmla="*/ 1203453 w 1375645"/>
                  <a:gd name="connsiteY11" fmla="*/ 1801841 h 2982550"/>
                  <a:gd name="connsiteX12" fmla="*/ 1171022 w 1375645"/>
                  <a:gd name="connsiteY12" fmla="*/ 2064083 h 2982550"/>
                  <a:gd name="connsiteX13" fmla="*/ 1108688 w 1375645"/>
                  <a:gd name="connsiteY13" fmla="*/ 2617650 h 2982550"/>
                  <a:gd name="connsiteX14" fmla="*/ 1155960 w 1375645"/>
                  <a:gd name="connsiteY14" fmla="*/ 2977427 h 2982550"/>
                  <a:gd name="connsiteX15" fmla="*/ 782673 w 1375645"/>
                  <a:gd name="connsiteY15" fmla="*/ 2846858 h 2982550"/>
                  <a:gd name="connsiteX16" fmla="*/ 761876 w 1375645"/>
                  <a:gd name="connsiteY16" fmla="*/ 2575013 h 2982550"/>
                  <a:gd name="connsiteX17" fmla="*/ 773578 w 1375645"/>
                  <a:gd name="connsiteY17" fmla="*/ 1953175 h 2982550"/>
                  <a:gd name="connsiteX18" fmla="*/ 753987 w 1375645"/>
                  <a:gd name="connsiteY18" fmla="*/ 1632109 h 2982550"/>
                  <a:gd name="connsiteX19" fmla="*/ 721477 w 1375645"/>
                  <a:gd name="connsiteY19" fmla="*/ 1212956 h 2982550"/>
                  <a:gd name="connsiteX20" fmla="*/ 695915 w 1375645"/>
                  <a:gd name="connsiteY20" fmla="*/ 895734 h 2982550"/>
                  <a:gd name="connsiteX21" fmla="*/ 667680 w 1375645"/>
                  <a:gd name="connsiteY21" fmla="*/ 1081852 h 2982550"/>
                  <a:gd name="connsiteX22" fmla="*/ 602031 w 1375645"/>
                  <a:gd name="connsiteY22" fmla="*/ 1669237 h 2982550"/>
                  <a:gd name="connsiteX23" fmla="*/ 637531 w 1375645"/>
                  <a:gd name="connsiteY23" fmla="*/ 2510114 h 2982550"/>
                  <a:gd name="connsiteX24" fmla="*/ 614682 w 1375645"/>
                  <a:gd name="connsiteY24" fmla="*/ 2809553 h 2982550"/>
                  <a:gd name="connsiteX25" fmla="*/ 575008 w 1375645"/>
                  <a:gd name="connsiteY25" fmla="*/ 2910800 h 2982550"/>
                  <a:gd name="connsiteX26" fmla="*/ 286866 w 1375645"/>
                  <a:gd name="connsiteY26" fmla="*/ 2944902 h 2982550"/>
                  <a:gd name="connsiteX27" fmla="*/ 237481 w 1375645"/>
                  <a:gd name="connsiteY27" fmla="*/ 2863879 h 2982550"/>
                  <a:gd name="connsiteX28" fmla="*/ 226577 w 1375645"/>
                  <a:gd name="connsiteY28" fmla="*/ 2077171 h 2982550"/>
                  <a:gd name="connsiteX29" fmla="*/ 161841 w 1375645"/>
                  <a:gd name="connsiteY29" fmla="*/ 1818226 h 2982550"/>
                  <a:gd name="connsiteX30" fmla="*/ 137565 w 1375645"/>
                  <a:gd name="connsiteY30" fmla="*/ 1583557 h 2982550"/>
                  <a:gd name="connsiteX31" fmla="*/ 80921 w 1375645"/>
                  <a:gd name="connsiteY31" fmla="*/ 733893 h 2982550"/>
                  <a:gd name="connsiteX32" fmla="*/ 8092 w 1375645"/>
                  <a:gd name="connsiteY32" fmla="*/ 474948 h 2982550"/>
                  <a:gd name="connsiteX33" fmla="*/ 32369 w 1375645"/>
                  <a:gd name="connsiteY33" fmla="*/ 345475 h 2982550"/>
                  <a:gd name="connsiteX34" fmla="*/ 178025 w 1375645"/>
                  <a:gd name="connsiteY34" fmla="*/ 5610 h 2982550"/>
                  <a:gd name="connsiteX0" fmla="*/ 178025 w 1375647"/>
                  <a:gd name="connsiteY0" fmla="*/ 5610 h 2982550"/>
                  <a:gd name="connsiteX1" fmla="*/ 299406 w 1375647"/>
                  <a:gd name="connsiteY1" fmla="*/ 78438 h 2982550"/>
                  <a:gd name="connsiteX2" fmla="*/ 493615 w 1375647"/>
                  <a:gd name="connsiteY2" fmla="*/ 126990 h 2982550"/>
                  <a:gd name="connsiteX3" fmla="*/ 687823 w 1375647"/>
                  <a:gd name="connsiteY3" fmla="*/ 143174 h 2982550"/>
                  <a:gd name="connsiteX4" fmla="*/ 865848 w 1375647"/>
                  <a:gd name="connsiteY4" fmla="*/ 110806 h 2982550"/>
                  <a:gd name="connsiteX5" fmla="*/ 946769 w 1375647"/>
                  <a:gd name="connsiteY5" fmla="*/ 62254 h 2982550"/>
                  <a:gd name="connsiteX6" fmla="*/ 1181438 w 1375647"/>
                  <a:gd name="connsiteY6" fmla="*/ 264555 h 2982550"/>
                  <a:gd name="connsiteX7" fmla="*/ 1351370 w 1375647"/>
                  <a:gd name="connsiteY7" fmla="*/ 385935 h 2982550"/>
                  <a:gd name="connsiteX8" fmla="*/ 1327094 w 1375647"/>
                  <a:gd name="connsiteY8" fmla="*/ 491132 h 2982550"/>
                  <a:gd name="connsiteX9" fmla="*/ 1246174 w 1375647"/>
                  <a:gd name="connsiteY9" fmla="*/ 750077 h 2982550"/>
                  <a:gd name="connsiteX10" fmla="*/ 1221898 w 1375647"/>
                  <a:gd name="connsiteY10" fmla="*/ 1551189 h 2982550"/>
                  <a:gd name="connsiteX11" fmla="*/ 1203453 w 1375647"/>
                  <a:gd name="connsiteY11" fmla="*/ 1801841 h 2982550"/>
                  <a:gd name="connsiteX12" fmla="*/ 1171022 w 1375647"/>
                  <a:gd name="connsiteY12" fmla="*/ 2064083 h 2982550"/>
                  <a:gd name="connsiteX13" fmla="*/ 1108688 w 1375647"/>
                  <a:gd name="connsiteY13" fmla="*/ 2617650 h 2982550"/>
                  <a:gd name="connsiteX14" fmla="*/ 1155960 w 1375647"/>
                  <a:gd name="connsiteY14" fmla="*/ 2977427 h 2982550"/>
                  <a:gd name="connsiteX15" fmla="*/ 782673 w 1375647"/>
                  <a:gd name="connsiteY15" fmla="*/ 2846858 h 2982550"/>
                  <a:gd name="connsiteX16" fmla="*/ 761876 w 1375647"/>
                  <a:gd name="connsiteY16" fmla="*/ 2575013 h 2982550"/>
                  <a:gd name="connsiteX17" fmla="*/ 773578 w 1375647"/>
                  <a:gd name="connsiteY17" fmla="*/ 1953175 h 2982550"/>
                  <a:gd name="connsiteX18" fmla="*/ 753987 w 1375647"/>
                  <a:gd name="connsiteY18" fmla="*/ 1632109 h 2982550"/>
                  <a:gd name="connsiteX19" fmla="*/ 721477 w 1375647"/>
                  <a:gd name="connsiteY19" fmla="*/ 1212956 h 2982550"/>
                  <a:gd name="connsiteX20" fmla="*/ 695915 w 1375647"/>
                  <a:gd name="connsiteY20" fmla="*/ 895734 h 2982550"/>
                  <a:gd name="connsiteX21" fmla="*/ 667680 w 1375647"/>
                  <a:gd name="connsiteY21" fmla="*/ 1081852 h 2982550"/>
                  <a:gd name="connsiteX22" fmla="*/ 602031 w 1375647"/>
                  <a:gd name="connsiteY22" fmla="*/ 1669237 h 2982550"/>
                  <a:gd name="connsiteX23" fmla="*/ 637531 w 1375647"/>
                  <a:gd name="connsiteY23" fmla="*/ 2510114 h 2982550"/>
                  <a:gd name="connsiteX24" fmla="*/ 614682 w 1375647"/>
                  <a:gd name="connsiteY24" fmla="*/ 2809553 h 2982550"/>
                  <a:gd name="connsiteX25" fmla="*/ 575008 w 1375647"/>
                  <a:gd name="connsiteY25" fmla="*/ 2910800 h 2982550"/>
                  <a:gd name="connsiteX26" fmla="*/ 286866 w 1375647"/>
                  <a:gd name="connsiteY26" fmla="*/ 2944902 h 2982550"/>
                  <a:gd name="connsiteX27" fmla="*/ 237481 w 1375647"/>
                  <a:gd name="connsiteY27" fmla="*/ 2863879 h 2982550"/>
                  <a:gd name="connsiteX28" fmla="*/ 226577 w 1375647"/>
                  <a:gd name="connsiteY28" fmla="*/ 2077171 h 2982550"/>
                  <a:gd name="connsiteX29" fmla="*/ 161841 w 1375647"/>
                  <a:gd name="connsiteY29" fmla="*/ 1818226 h 2982550"/>
                  <a:gd name="connsiteX30" fmla="*/ 137565 w 1375647"/>
                  <a:gd name="connsiteY30" fmla="*/ 1583557 h 2982550"/>
                  <a:gd name="connsiteX31" fmla="*/ 80921 w 1375647"/>
                  <a:gd name="connsiteY31" fmla="*/ 733893 h 2982550"/>
                  <a:gd name="connsiteX32" fmla="*/ 8092 w 1375647"/>
                  <a:gd name="connsiteY32" fmla="*/ 474948 h 2982550"/>
                  <a:gd name="connsiteX33" fmla="*/ 32369 w 1375647"/>
                  <a:gd name="connsiteY33" fmla="*/ 345475 h 2982550"/>
                  <a:gd name="connsiteX34" fmla="*/ 178025 w 1375647"/>
                  <a:gd name="connsiteY34" fmla="*/ 5610 h 2982550"/>
                  <a:gd name="connsiteX0" fmla="*/ 178025 w 1375645"/>
                  <a:gd name="connsiteY0" fmla="*/ 5610 h 2982550"/>
                  <a:gd name="connsiteX1" fmla="*/ 299406 w 1375645"/>
                  <a:gd name="connsiteY1" fmla="*/ 78438 h 2982550"/>
                  <a:gd name="connsiteX2" fmla="*/ 493615 w 1375645"/>
                  <a:gd name="connsiteY2" fmla="*/ 126990 h 2982550"/>
                  <a:gd name="connsiteX3" fmla="*/ 687823 w 1375645"/>
                  <a:gd name="connsiteY3" fmla="*/ 143174 h 2982550"/>
                  <a:gd name="connsiteX4" fmla="*/ 865848 w 1375645"/>
                  <a:gd name="connsiteY4" fmla="*/ 110806 h 2982550"/>
                  <a:gd name="connsiteX5" fmla="*/ 946769 w 1375645"/>
                  <a:gd name="connsiteY5" fmla="*/ 62254 h 2982550"/>
                  <a:gd name="connsiteX6" fmla="*/ 1181438 w 1375645"/>
                  <a:gd name="connsiteY6" fmla="*/ 264555 h 2982550"/>
                  <a:gd name="connsiteX7" fmla="*/ 1351370 w 1375645"/>
                  <a:gd name="connsiteY7" fmla="*/ 385935 h 2982550"/>
                  <a:gd name="connsiteX8" fmla="*/ 1327094 w 1375645"/>
                  <a:gd name="connsiteY8" fmla="*/ 491132 h 2982550"/>
                  <a:gd name="connsiteX9" fmla="*/ 1246174 w 1375645"/>
                  <a:gd name="connsiteY9" fmla="*/ 750077 h 2982550"/>
                  <a:gd name="connsiteX10" fmla="*/ 1221898 w 1375645"/>
                  <a:gd name="connsiteY10" fmla="*/ 1551189 h 2982550"/>
                  <a:gd name="connsiteX11" fmla="*/ 1203453 w 1375645"/>
                  <a:gd name="connsiteY11" fmla="*/ 1801841 h 2982550"/>
                  <a:gd name="connsiteX12" fmla="*/ 1171022 w 1375645"/>
                  <a:gd name="connsiteY12" fmla="*/ 2064083 h 2982550"/>
                  <a:gd name="connsiteX13" fmla="*/ 1108688 w 1375645"/>
                  <a:gd name="connsiteY13" fmla="*/ 2617650 h 2982550"/>
                  <a:gd name="connsiteX14" fmla="*/ 1155960 w 1375645"/>
                  <a:gd name="connsiteY14" fmla="*/ 2977427 h 2982550"/>
                  <a:gd name="connsiteX15" fmla="*/ 782673 w 1375645"/>
                  <a:gd name="connsiteY15" fmla="*/ 2846858 h 2982550"/>
                  <a:gd name="connsiteX16" fmla="*/ 761876 w 1375645"/>
                  <a:gd name="connsiteY16" fmla="*/ 2575013 h 2982550"/>
                  <a:gd name="connsiteX17" fmla="*/ 752944 w 1375645"/>
                  <a:gd name="connsiteY17" fmla="*/ 1953176 h 2982550"/>
                  <a:gd name="connsiteX18" fmla="*/ 753987 w 1375645"/>
                  <a:gd name="connsiteY18" fmla="*/ 1632109 h 2982550"/>
                  <a:gd name="connsiteX19" fmla="*/ 721477 w 1375645"/>
                  <a:gd name="connsiteY19" fmla="*/ 1212956 h 2982550"/>
                  <a:gd name="connsiteX20" fmla="*/ 695915 w 1375645"/>
                  <a:gd name="connsiteY20" fmla="*/ 895734 h 2982550"/>
                  <a:gd name="connsiteX21" fmla="*/ 667680 w 1375645"/>
                  <a:gd name="connsiteY21" fmla="*/ 1081852 h 2982550"/>
                  <a:gd name="connsiteX22" fmla="*/ 602031 w 1375645"/>
                  <a:gd name="connsiteY22" fmla="*/ 1669237 h 2982550"/>
                  <a:gd name="connsiteX23" fmla="*/ 637531 w 1375645"/>
                  <a:gd name="connsiteY23" fmla="*/ 2510114 h 2982550"/>
                  <a:gd name="connsiteX24" fmla="*/ 614682 w 1375645"/>
                  <a:gd name="connsiteY24" fmla="*/ 2809553 h 2982550"/>
                  <a:gd name="connsiteX25" fmla="*/ 575008 w 1375645"/>
                  <a:gd name="connsiteY25" fmla="*/ 2910800 h 2982550"/>
                  <a:gd name="connsiteX26" fmla="*/ 286866 w 1375645"/>
                  <a:gd name="connsiteY26" fmla="*/ 2944902 h 2982550"/>
                  <a:gd name="connsiteX27" fmla="*/ 237481 w 1375645"/>
                  <a:gd name="connsiteY27" fmla="*/ 2863879 h 2982550"/>
                  <a:gd name="connsiteX28" fmla="*/ 226577 w 1375645"/>
                  <a:gd name="connsiteY28" fmla="*/ 2077171 h 2982550"/>
                  <a:gd name="connsiteX29" fmla="*/ 161841 w 1375645"/>
                  <a:gd name="connsiteY29" fmla="*/ 1818226 h 2982550"/>
                  <a:gd name="connsiteX30" fmla="*/ 137565 w 1375645"/>
                  <a:gd name="connsiteY30" fmla="*/ 1583557 h 2982550"/>
                  <a:gd name="connsiteX31" fmla="*/ 80921 w 1375645"/>
                  <a:gd name="connsiteY31" fmla="*/ 733893 h 2982550"/>
                  <a:gd name="connsiteX32" fmla="*/ 8092 w 1375645"/>
                  <a:gd name="connsiteY32" fmla="*/ 474948 h 2982550"/>
                  <a:gd name="connsiteX33" fmla="*/ 32369 w 1375645"/>
                  <a:gd name="connsiteY33" fmla="*/ 345475 h 2982550"/>
                  <a:gd name="connsiteX34" fmla="*/ 178025 w 1375645"/>
                  <a:gd name="connsiteY34" fmla="*/ 5610 h 2982550"/>
                  <a:gd name="connsiteX0" fmla="*/ 178025 w 1375647"/>
                  <a:gd name="connsiteY0" fmla="*/ 5610 h 2982550"/>
                  <a:gd name="connsiteX1" fmla="*/ 299406 w 1375647"/>
                  <a:gd name="connsiteY1" fmla="*/ 78438 h 2982550"/>
                  <a:gd name="connsiteX2" fmla="*/ 493615 w 1375647"/>
                  <a:gd name="connsiteY2" fmla="*/ 126990 h 2982550"/>
                  <a:gd name="connsiteX3" fmla="*/ 687823 w 1375647"/>
                  <a:gd name="connsiteY3" fmla="*/ 143174 h 2982550"/>
                  <a:gd name="connsiteX4" fmla="*/ 865848 w 1375647"/>
                  <a:gd name="connsiteY4" fmla="*/ 110806 h 2982550"/>
                  <a:gd name="connsiteX5" fmla="*/ 946769 w 1375647"/>
                  <a:gd name="connsiteY5" fmla="*/ 62254 h 2982550"/>
                  <a:gd name="connsiteX6" fmla="*/ 1181438 w 1375647"/>
                  <a:gd name="connsiteY6" fmla="*/ 264555 h 2982550"/>
                  <a:gd name="connsiteX7" fmla="*/ 1351370 w 1375647"/>
                  <a:gd name="connsiteY7" fmla="*/ 385935 h 2982550"/>
                  <a:gd name="connsiteX8" fmla="*/ 1327094 w 1375647"/>
                  <a:gd name="connsiteY8" fmla="*/ 491132 h 2982550"/>
                  <a:gd name="connsiteX9" fmla="*/ 1246174 w 1375647"/>
                  <a:gd name="connsiteY9" fmla="*/ 750077 h 2982550"/>
                  <a:gd name="connsiteX10" fmla="*/ 1221898 w 1375647"/>
                  <a:gd name="connsiteY10" fmla="*/ 1551189 h 2982550"/>
                  <a:gd name="connsiteX11" fmla="*/ 1203453 w 1375647"/>
                  <a:gd name="connsiteY11" fmla="*/ 1801841 h 2982550"/>
                  <a:gd name="connsiteX12" fmla="*/ 1171022 w 1375647"/>
                  <a:gd name="connsiteY12" fmla="*/ 2064083 h 2982550"/>
                  <a:gd name="connsiteX13" fmla="*/ 1108688 w 1375647"/>
                  <a:gd name="connsiteY13" fmla="*/ 2617650 h 2982550"/>
                  <a:gd name="connsiteX14" fmla="*/ 1155960 w 1375647"/>
                  <a:gd name="connsiteY14" fmla="*/ 2977427 h 2982550"/>
                  <a:gd name="connsiteX15" fmla="*/ 782673 w 1375647"/>
                  <a:gd name="connsiteY15" fmla="*/ 2846858 h 2982550"/>
                  <a:gd name="connsiteX16" fmla="*/ 782510 w 1375647"/>
                  <a:gd name="connsiteY16" fmla="*/ 2575013 h 2982550"/>
                  <a:gd name="connsiteX17" fmla="*/ 752944 w 1375647"/>
                  <a:gd name="connsiteY17" fmla="*/ 1953176 h 2982550"/>
                  <a:gd name="connsiteX18" fmla="*/ 753987 w 1375647"/>
                  <a:gd name="connsiteY18" fmla="*/ 1632109 h 2982550"/>
                  <a:gd name="connsiteX19" fmla="*/ 721477 w 1375647"/>
                  <a:gd name="connsiteY19" fmla="*/ 1212956 h 2982550"/>
                  <a:gd name="connsiteX20" fmla="*/ 695915 w 1375647"/>
                  <a:gd name="connsiteY20" fmla="*/ 895734 h 2982550"/>
                  <a:gd name="connsiteX21" fmla="*/ 667680 w 1375647"/>
                  <a:gd name="connsiteY21" fmla="*/ 1081852 h 2982550"/>
                  <a:gd name="connsiteX22" fmla="*/ 602031 w 1375647"/>
                  <a:gd name="connsiteY22" fmla="*/ 1669237 h 2982550"/>
                  <a:gd name="connsiteX23" fmla="*/ 637531 w 1375647"/>
                  <a:gd name="connsiteY23" fmla="*/ 2510114 h 2982550"/>
                  <a:gd name="connsiteX24" fmla="*/ 614682 w 1375647"/>
                  <a:gd name="connsiteY24" fmla="*/ 2809553 h 2982550"/>
                  <a:gd name="connsiteX25" fmla="*/ 575008 w 1375647"/>
                  <a:gd name="connsiteY25" fmla="*/ 2910800 h 2982550"/>
                  <a:gd name="connsiteX26" fmla="*/ 286866 w 1375647"/>
                  <a:gd name="connsiteY26" fmla="*/ 2944902 h 2982550"/>
                  <a:gd name="connsiteX27" fmla="*/ 237481 w 1375647"/>
                  <a:gd name="connsiteY27" fmla="*/ 2863879 h 2982550"/>
                  <a:gd name="connsiteX28" fmla="*/ 226577 w 1375647"/>
                  <a:gd name="connsiteY28" fmla="*/ 2077171 h 2982550"/>
                  <a:gd name="connsiteX29" fmla="*/ 161841 w 1375647"/>
                  <a:gd name="connsiteY29" fmla="*/ 1818226 h 2982550"/>
                  <a:gd name="connsiteX30" fmla="*/ 137565 w 1375647"/>
                  <a:gd name="connsiteY30" fmla="*/ 1583557 h 2982550"/>
                  <a:gd name="connsiteX31" fmla="*/ 80921 w 1375647"/>
                  <a:gd name="connsiteY31" fmla="*/ 733893 h 2982550"/>
                  <a:gd name="connsiteX32" fmla="*/ 8092 w 1375647"/>
                  <a:gd name="connsiteY32" fmla="*/ 474948 h 2982550"/>
                  <a:gd name="connsiteX33" fmla="*/ 32369 w 1375647"/>
                  <a:gd name="connsiteY33" fmla="*/ 345475 h 2982550"/>
                  <a:gd name="connsiteX34" fmla="*/ 178025 w 1375647"/>
                  <a:gd name="connsiteY34" fmla="*/ 5610 h 2982550"/>
                  <a:gd name="connsiteX0" fmla="*/ 178025 w 1375645"/>
                  <a:gd name="connsiteY0" fmla="*/ 5610 h 2998616"/>
                  <a:gd name="connsiteX1" fmla="*/ 299406 w 1375645"/>
                  <a:gd name="connsiteY1" fmla="*/ 78438 h 2998616"/>
                  <a:gd name="connsiteX2" fmla="*/ 493615 w 1375645"/>
                  <a:gd name="connsiteY2" fmla="*/ 126990 h 2998616"/>
                  <a:gd name="connsiteX3" fmla="*/ 687823 w 1375645"/>
                  <a:gd name="connsiteY3" fmla="*/ 143174 h 2998616"/>
                  <a:gd name="connsiteX4" fmla="*/ 865848 w 1375645"/>
                  <a:gd name="connsiteY4" fmla="*/ 110806 h 2998616"/>
                  <a:gd name="connsiteX5" fmla="*/ 946769 w 1375645"/>
                  <a:gd name="connsiteY5" fmla="*/ 62254 h 2998616"/>
                  <a:gd name="connsiteX6" fmla="*/ 1181438 w 1375645"/>
                  <a:gd name="connsiteY6" fmla="*/ 264555 h 2998616"/>
                  <a:gd name="connsiteX7" fmla="*/ 1351370 w 1375645"/>
                  <a:gd name="connsiteY7" fmla="*/ 385935 h 2998616"/>
                  <a:gd name="connsiteX8" fmla="*/ 1327094 w 1375645"/>
                  <a:gd name="connsiteY8" fmla="*/ 491132 h 2998616"/>
                  <a:gd name="connsiteX9" fmla="*/ 1246174 w 1375645"/>
                  <a:gd name="connsiteY9" fmla="*/ 750077 h 2998616"/>
                  <a:gd name="connsiteX10" fmla="*/ 1221898 w 1375645"/>
                  <a:gd name="connsiteY10" fmla="*/ 1551189 h 2998616"/>
                  <a:gd name="connsiteX11" fmla="*/ 1203453 w 1375645"/>
                  <a:gd name="connsiteY11" fmla="*/ 1801841 h 2998616"/>
                  <a:gd name="connsiteX12" fmla="*/ 1171022 w 1375645"/>
                  <a:gd name="connsiteY12" fmla="*/ 2064083 h 2998616"/>
                  <a:gd name="connsiteX13" fmla="*/ 1108688 w 1375645"/>
                  <a:gd name="connsiteY13" fmla="*/ 2617650 h 2998616"/>
                  <a:gd name="connsiteX14" fmla="*/ 1202056 w 1375645"/>
                  <a:gd name="connsiteY14" fmla="*/ 2993493 h 2998616"/>
                  <a:gd name="connsiteX15" fmla="*/ 782673 w 1375645"/>
                  <a:gd name="connsiteY15" fmla="*/ 2846858 h 2998616"/>
                  <a:gd name="connsiteX16" fmla="*/ 782510 w 1375645"/>
                  <a:gd name="connsiteY16" fmla="*/ 2575013 h 2998616"/>
                  <a:gd name="connsiteX17" fmla="*/ 752944 w 1375645"/>
                  <a:gd name="connsiteY17" fmla="*/ 1953176 h 2998616"/>
                  <a:gd name="connsiteX18" fmla="*/ 753987 w 1375645"/>
                  <a:gd name="connsiteY18" fmla="*/ 1632109 h 2998616"/>
                  <a:gd name="connsiteX19" fmla="*/ 721477 w 1375645"/>
                  <a:gd name="connsiteY19" fmla="*/ 1212956 h 2998616"/>
                  <a:gd name="connsiteX20" fmla="*/ 695915 w 1375645"/>
                  <a:gd name="connsiteY20" fmla="*/ 895734 h 2998616"/>
                  <a:gd name="connsiteX21" fmla="*/ 667680 w 1375645"/>
                  <a:gd name="connsiteY21" fmla="*/ 1081852 h 2998616"/>
                  <a:gd name="connsiteX22" fmla="*/ 602031 w 1375645"/>
                  <a:gd name="connsiteY22" fmla="*/ 1669237 h 2998616"/>
                  <a:gd name="connsiteX23" fmla="*/ 637531 w 1375645"/>
                  <a:gd name="connsiteY23" fmla="*/ 2510114 h 2998616"/>
                  <a:gd name="connsiteX24" fmla="*/ 614682 w 1375645"/>
                  <a:gd name="connsiteY24" fmla="*/ 2809553 h 2998616"/>
                  <a:gd name="connsiteX25" fmla="*/ 575008 w 1375645"/>
                  <a:gd name="connsiteY25" fmla="*/ 2910800 h 2998616"/>
                  <a:gd name="connsiteX26" fmla="*/ 286866 w 1375645"/>
                  <a:gd name="connsiteY26" fmla="*/ 2944902 h 2998616"/>
                  <a:gd name="connsiteX27" fmla="*/ 237481 w 1375645"/>
                  <a:gd name="connsiteY27" fmla="*/ 2863879 h 2998616"/>
                  <a:gd name="connsiteX28" fmla="*/ 226577 w 1375645"/>
                  <a:gd name="connsiteY28" fmla="*/ 2077171 h 2998616"/>
                  <a:gd name="connsiteX29" fmla="*/ 161841 w 1375645"/>
                  <a:gd name="connsiteY29" fmla="*/ 1818226 h 2998616"/>
                  <a:gd name="connsiteX30" fmla="*/ 137565 w 1375645"/>
                  <a:gd name="connsiteY30" fmla="*/ 1583557 h 2998616"/>
                  <a:gd name="connsiteX31" fmla="*/ 80921 w 1375645"/>
                  <a:gd name="connsiteY31" fmla="*/ 733893 h 2998616"/>
                  <a:gd name="connsiteX32" fmla="*/ 8092 w 1375645"/>
                  <a:gd name="connsiteY32" fmla="*/ 474948 h 2998616"/>
                  <a:gd name="connsiteX33" fmla="*/ 32369 w 1375645"/>
                  <a:gd name="connsiteY33" fmla="*/ 345475 h 2998616"/>
                  <a:gd name="connsiteX34" fmla="*/ 178025 w 1375645"/>
                  <a:gd name="connsiteY34" fmla="*/ 5610 h 2998616"/>
                  <a:gd name="connsiteX0" fmla="*/ 178025 w 1375647"/>
                  <a:gd name="connsiteY0" fmla="*/ 5610 h 3036099"/>
                  <a:gd name="connsiteX1" fmla="*/ 299406 w 1375647"/>
                  <a:gd name="connsiteY1" fmla="*/ 78438 h 3036099"/>
                  <a:gd name="connsiteX2" fmla="*/ 493615 w 1375647"/>
                  <a:gd name="connsiteY2" fmla="*/ 126990 h 3036099"/>
                  <a:gd name="connsiteX3" fmla="*/ 687823 w 1375647"/>
                  <a:gd name="connsiteY3" fmla="*/ 143174 h 3036099"/>
                  <a:gd name="connsiteX4" fmla="*/ 865848 w 1375647"/>
                  <a:gd name="connsiteY4" fmla="*/ 110806 h 3036099"/>
                  <a:gd name="connsiteX5" fmla="*/ 946769 w 1375647"/>
                  <a:gd name="connsiteY5" fmla="*/ 62254 h 3036099"/>
                  <a:gd name="connsiteX6" fmla="*/ 1181438 w 1375647"/>
                  <a:gd name="connsiteY6" fmla="*/ 264555 h 3036099"/>
                  <a:gd name="connsiteX7" fmla="*/ 1351370 w 1375647"/>
                  <a:gd name="connsiteY7" fmla="*/ 385935 h 3036099"/>
                  <a:gd name="connsiteX8" fmla="*/ 1327094 w 1375647"/>
                  <a:gd name="connsiteY8" fmla="*/ 491132 h 3036099"/>
                  <a:gd name="connsiteX9" fmla="*/ 1246174 w 1375647"/>
                  <a:gd name="connsiteY9" fmla="*/ 750077 h 3036099"/>
                  <a:gd name="connsiteX10" fmla="*/ 1221898 w 1375647"/>
                  <a:gd name="connsiteY10" fmla="*/ 1551189 h 3036099"/>
                  <a:gd name="connsiteX11" fmla="*/ 1203453 w 1375647"/>
                  <a:gd name="connsiteY11" fmla="*/ 1801841 h 3036099"/>
                  <a:gd name="connsiteX12" fmla="*/ 1171022 w 1375647"/>
                  <a:gd name="connsiteY12" fmla="*/ 2064083 h 3036099"/>
                  <a:gd name="connsiteX13" fmla="*/ 1108688 w 1375647"/>
                  <a:gd name="connsiteY13" fmla="*/ 2617650 h 3036099"/>
                  <a:gd name="connsiteX14" fmla="*/ 1202056 w 1375647"/>
                  <a:gd name="connsiteY14" fmla="*/ 2993493 h 3036099"/>
                  <a:gd name="connsiteX15" fmla="*/ 782673 w 1375647"/>
                  <a:gd name="connsiteY15" fmla="*/ 2846858 h 3036099"/>
                  <a:gd name="connsiteX16" fmla="*/ 782510 w 1375647"/>
                  <a:gd name="connsiteY16" fmla="*/ 2575013 h 3036099"/>
                  <a:gd name="connsiteX17" fmla="*/ 752944 w 1375647"/>
                  <a:gd name="connsiteY17" fmla="*/ 1953176 h 3036099"/>
                  <a:gd name="connsiteX18" fmla="*/ 753987 w 1375647"/>
                  <a:gd name="connsiteY18" fmla="*/ 1632109 h 3036099"/>
                  <a:gd name="connsiteX19" fmla="*/ 721477 w 1375647"/>
                  <a:gd name="connsiteY19" fmla="*/ 1212956 h 3036099"/>
                  <a:gd name="connsiteX20" fmla="*/ 695915 w 1375647"/>
                  <a:gd name="connsiteY20" fmla="*/ 895734 h 3036099"/>
                  <a:gd name="connsiteX21" fmla="*/ 667680 w 1375647"/>
                  <a:gd name="connsiteY21" fmla="*/ 1081852 h 3036099"/>
                  <a:gd name="connsiteX22" fmla="*/ 602031 w 1375647"/>
                  <a:gd name="connsiteY22" fmla="*/ 1669237 h 3036099"/>
                  <a:gd name="connsiteX23" fmla="*/ 637531 w 1375647"/>
                  <a:gd name="connsiteY23" fmla="*/ 2510114 h 3036099"/>
                  <a:gd name="connsiteX24" fmla="*/ 614682 w 1375647"/>
                  <a:gd name="connsiteY24" fmla="*/ 2809553 h 3036099"/>
                  <a:gd name="connsiteX25" fmla="*/ 575008 w 1375647"/>
                  <a:gd name="connsiteY25" fmla="*/ 2910800 h 3036099"/>
                  <a:gd name="connsiteX26" fmla="*/ 286866 w 1375647"/>
                  <a:gd name="connsiteY26" fmla="*/ 2944902 h 3036099"/>
                  <a:gd name="connsiteX27" fmla="*/ 237481 w 1375647"/>
                  <a:gd name="connsiteY27" fmla="*/ 2863879 h 3036099"/>
                  <a:gd name="connsiteX28" fmla="*/ 226577 w 1375647"/>
                  <a:gd name="connsiteY28" fmla="*/ 2077171 h 3036099"/>
                  <a:gd name="connsiteX29" fmla="*/ 161841 w 1375647"/>
                  <a:gd name="connsiteY29" fmla="*/ 1818226 h 3036099"/>
                  <a:gd name="connsiteX30" fmla="*/ 137565 w 1375647"/>
                  <a:gd name="connsiteY30" fmla="*/ 1583557 h 3036099"/>
                  <a:gd name="connsiteX31" fmla="*/ 80921 w 1375647"/>
                  <a:gd name="connsiteY31" fmla="*/ 733893 h 3036099"/>
                  <a:gd name="connsiteX32" fmla="*/ 8092 w 1375647"/>
                  <a:gd name="connsiteY32" fmla="*/ 474948 h 3036099"/>
                  <a:gd name="connsiteX33" fmla="*/ 32369 w 1375647"/>
                  <a:gd name="connsiteY33" fmla="*/ 345475 h 3036099"/>
                  <a:gd name="connsiteX34" fmla="*/ 178025 w 1375647"/>
                  <a:gd name="connsiteY34" fmla="*/ 5610 h 3036099"/>
                  <a:gd name="connsiteX0" fmla="*/ 178025 w 1375645"/>
                  <a:gd name="connsiteY0" fmla="*/ 5610 h 3036099"/>
                  <a:gd name="connsiteX1" fmla="*/ 299406 w 1375645"/>
                  <a:gd name="connsiteY1" fmla="*/ 78438 h 3036099"/>
                  <a:gd name="connsiteX2" fmla="*/ 493615 w 1375645"/>
                  <a:gd name="connsiteY2" fmla="*/ 126990 h 3036099"/>
                  <a:gd name="connsiteX3" fmla="*/ 687823 w 1375645"/>
                  <a:gd name="connsiteY3" fmla="*/ 143174 h 3036099"/>
                  <a:gd name="connsiteX4" fmla="*/ 865848 w 1375645"/>
                  <a:gd name="connsiteY4" fmla="*/ 110806 h 3036099"/>
                  <a:gd name="connsiteX5" fmla="*/ 946769 w 1375645"/>
                  <a:gd name="connsiteY5" fmla="*/ 62254 h 3036099"/>
                  <a:gd name="connsiteX6" fmla="*/ 1181438 w 1375645"/>
                  <a:gd name="connsiteY6" fmla="*/ 264555 h 3036099"/>
                  <a:gd name="connsiteX7" fmla="*/ 1351370 w 1375645"/>
                  <a:gd name="connsiteY7" fmla="*/ 385935 h 3036099"/>
                  <a:gd name="connsiteX8" fmla="*/ 1327094 w 1375645"/>
                  <a:gd name="connsiteY8" fmla="*/ 491132 h 3036099"/>
                  <a:gd name="connsiteX9" fmla="*/ 1246174 w 1375645"/>
                  <a:gd name="connsiteY9" fmla="*/ 750077 h 3036099"/>
                  <a:gd name="connsiteX10" fmla="*/ 1221898 w 1375645"/>
                  <a:gd name="connsiteY10" fmla="*/ 1551189 h 3036099"/>
                  <a:gd name="connsiteX11" fmla="*/ 1203453 w 1375645"/>
                  <a:gd name="connsiteY11" fmla="*/ 1801841 h 3036099"/>
                  <a:gd name="connsiteX12" fmla="*/ 1171022 w 1375645"/>
                  <a:gd name="connsiteY12" fmla="*/ 2064083 h 3036099"/>
                  <a:gd name="connsiteX13" fmla="*/ 1172073 w 1375645"/>
                  <a:gd name="connsiteY13" fmla="*/ 2649779 h 3036099"/>
                  <a:gd name="connsiteX14" fmla="*/ 1202056 w 1375645"/>
                  <a:gd name="connsiteY14" fmla="*/ 2993493 h 3036099"/>
                  <a:gd name="connsiteX15" fmla="*/ 782673 w 1375645"/>
                  <a:gd name="connsiteY15" fmla="*/ 2846858 h 3036099"/>
                  <a:gd name="connsiteX16" fmla="*/ 782510 w 1375645"/>
                  <a:gd name="connsiteY16" fmla="*/ 2575013 h 3036099"/>
                  <a:gd name="connsiteX17" fmla="*/ 752944 w 1375645"/>
                  <a:gd name="connsiteY17" fmla="*/ 1953176 h 3036099"/>
                  <a:gd name="connsiteX18" fmla="*/ 753987 w 1375645"/>
                  <a:gd name="connsiteY18" fmla="*/ 1632109 h 3036099"/>
                  <a:gd name="connsiteX19" fmla="*/ 721477 w 1375645"/>
                  <a:gd name="connsiteY19" fmla="*/ 1212956 h 3036099"/>
                  <a:gd name="connsiteX20" fmla="*/ 695915 w 1375645"/>
                  <a:gd name="connsiteY20" fmla="*/ 895734 h 3036099"/>
                  <a:gd name="connsiteX21" fmla="*/ 667680 w 1375645"/>
                  <a:gd name="connsiteY21" fmla="*/ 1081852 h 3036099"/>
                  <a:gd name="connsiteX22" fmla="*/ 602031 w 1375645"/>
                  <a:gd name="connsiteY22" fmla="*/ 1669237 h 3036099"/>
                  <a:gd name="connsiteX23" fmla="*/ 637531 w 1375645"/>
                  <a:gd name="connsiteY23" fmla="*/ 2510114 h 3036099"/>
                  <a:gd name="connsiteX24" fmla="*/ 614682 w 1375645"/>
                  <a:gd name="connsiteY24" fmla="*/ 2809553 h 3036099"/>
                  <a:gd name="connsiteX25" fmla="*/ 575008 w 1375645"/>
                  <a:gd name="connsiteY25" fmla="*/ 2910800 h 3036099"/>
                  <a:gd name="connsiteX26" fmla="*/ 286866 w 1375645"/>
                  <a:gd name="connsiteY26" fmla="*/ 2944902 h 3036099"/>
                  <a:gd name="connsiteX27" fmla="*/ 237481 w 1375645"/>
                  <a:gd name="connsiteY27" fmla="*/ 2863879 h 3036099"/>
                  <a:gd name="connsiteX28" fmla="*/ 226577 w 1375645"/>
                  <a:gd name="connsiteY28" fmla="*/ 2077171 h 3036099"/>
                  <a:gd name="connsiteX29" fmla="*/ 161841 w 1375645"/>
                  <a:gd name="connsiteY29" fmla="*/ 1818226 h 3036099"/>
                  <a:gd name="connsiteX30" fmla="*/ 137565 w 1375645"/>
                  <a:gd name="connsiteY30" fmla="*/ 1583557 h 3036099"/>
                  <a:gd name="connsiteX31" fmla="*/ 80921 w 1375645"/>
                  <a:gd name="connsiteY31" fmla="*/ 733893 h 3036099"/>
                  <a:gd name="connsiteX32" fmla="*/ 8092 w 1375645"/>
                  <a:gd name="connsiteY32" fmla="*/ 474948 h 3036099"/>
                  <a:gd name="connsiteX33" fmla="*/ 32369 w 1375645"/>
                  <a:gd name="connsiteY33" fmla="*/ 345475 h 3036099"/>
                  <a:gd name="connsiteX34" fmla="*/ 178025 w 1375645"/>
                  <a:gd name="connsiteY34" fmla="*/ 5610 h 3036099"/>
                  <a:gd name="connsiteX0" fmla="*/ 178025 w 1375647"/>
                  <a:gd name="connsiteY0" fmla="*/ 5610 h 3036099"/>
                  <a:gd name="connsiteX1" fmla="*/ 299406 w 1375647"/>
                  <a:gd name="connsiteY1" fmla="*/ 78438 h 3036099"/>
                  <a:gd name="connsiteX2" fmla="*/ 493615 w 1375647"/>
                  <a:gd name="connsiteY2" fmla="*/ 126990 h 3036099"/>
                  <a:gd name="connsiteX3" fmla="*/ 687823 w 1375647"/>
                  <a:gd name="connsiteY3" fmla="*/ 143174 h 3036099"/>
                  <a:gd name="connsiteX4" fmla="*/ 865848 w 1375647"/>
                  <a:gd name="connsiteY4" fmla="*/ 110806 h 3036099"/>
                  <a:gd name="connsiteX5" fmla="*/ 946769 w 1375647"/>
                  <a:gd name="connsiteY5" fmla="*/ 62254 h 3036099"/>
                  <a:gd name="connsiteX6" fmla="*/ 1181438 w 1375647"/>
                  <a:gd name="connsiteY6" fmla="*/ 264555 h 3036099"/>
                  <a:gd name="connsiteX7" fmla="*/ 1351370 w 1375647"/>
                  <a:gd name="connsiteY7" fmla="*/ 385935 h 3036099"/>
                  <a:gd name="connsiteX8" fmla="*/ 1327094 w 1375647"/>
                  <a:gd name="connsiteY8" fmla="*/ 491132 h 3036099"/>
                  <a:gd name="connsiteX9" fmla="*/ 1246174 w 1375647"/>
                  <a:gd name="connsiteY9" fmla="*/ 750077 h 3036099"/>
                  <a:gd name="connsiteX10" fmla="*/ 1221898 w 1375647"/>
                  <a:gd name="connsiteY10" fmla="*/ 1551189 h 3036099"/>
                  <a:gd name="connsiteX11" fmla="*/ 1171022 w 1375647"/>
                  <a:gd name="connsiteY11" fmla="*/ 2064083 h 3036099"/>
                  <a:gd name="connsiteX12" fmla="*/ 1172073 w 1375647"/>
                  <a:gd name="connsiteY12" fmla="*/ 2649779 h 3036099"/>
                  <a:gd name="connsiteX13" fmla="*/ 1202056 w 1375647"/>
                  <a:gd name="connsiteY13" fmla="*/ 2993493 h 3036099"/>
                  <a:gd name="connsiteX14" fmla="*/ 782673 w 1375647"/>
                  <a:gd name="connsiteY14" fmla="*/ 2846858 h 3036099"/>
                  <a:gd name="connsiteX15" fmla="*/ 782510 w 1375647"/>
                  <a:gd name="connsiteY15" fmla="*/ 2575013 h 3036099"/>
                  <a:gd name="connsiteX16" fmla="*/ 752944 w 1375647"/>
                  <a:gd name="connsiteY16" fmla="*/ 1953176 h 3036099"/>
                  <a:gd name="connsiteX17" fmla="*/ 753987 w 1375647"/>
                  <a:gd name="connsiteY17" fmla="*/ 1632109 h 3036099"/>
                  <a:gd name="connsiteX18" fmla="*/ 721477 w 1375647"/>
                  <a:gd name="connsiteY18" fmla="*/ 1212956 h 3036099"/>
                  <a:gd name="connsiteX19" fmla="*/ 695915 w 1375647"/>
                  <a:gd name="connsiteY19" fmla="*/ 895734 h 3036099"/>
                  <a:gd name="connsiteX20" fmla="*/ 667680 w 1375647"/>
                  <a:gd name="connsiteY20" fmla="*/ 1081852 h 3036099"/>
                  <a:gd name="connsiteX21" fmla="*/ 602031 w 1375647"/>
                  <a:gd name="connsiteY21" fmla="*/ 1669237 h 3036099"/>
                  <a:gd name="connsiteX22" fmla="*/ 637531 w 1375647"/>
                  <a:gd name="connsiteY22" fmla="*/ 2510114 h 3036099"/>
                  <a:gd name="connsiteX23" fmla="*/ 614682 w 1375647"/>
                  <a:gd name="connsiteY23" fmla="*/ 2809553 h 3036099"/>
                  <a:gd name="connsiteX24" fmla="*/ 575008 w 1375647"/>
                  <a:gd name="connsiteY24" fmla="*/ 2910800 h 3036099"/>
                  <a:gd name="connsiteX25" fmla="*/ 286866 w 1375647"/>
                  <a:gd name="connsiteY25" fmla="*/ 2944902 h 3036099"/>
                  <a:gd name="connsiteX26" fmla="*/ 237481 w 1375647"/>
                  <a:gd name="connsiteY26" fmla="*/ 2863879 h 3036099"/>
                  <a:gd name="connsiteX27" fmla="*/ 226577 w 1375647"/>
                  <a:gd name="connsiteY27" fmla="*/ 2077171 h 3036099"/>
                  <a:gd name="connsiteX28" fmla="*/ 161841 w 1375647"/>
                  <a:gd name="connsiteY28" fmla="*/ 1818226 h 3036099"/>
                  <a:gd name="connsiteX29" fmla="*/ 137565 w 1375647"/>
                  <a:gd name="connsiteY29" fmla="*/ 1583557 h 3036099"/>
                  <a:gd name="connsiteX30" fmla="*/ 80921 w 1375647"/>
                  <a:gd name="connsiteY30" fmla="*/ 733893 h 3036099"/>
                  <a:gd name="connsiteX31" fmla="*/ 8092 w 1375647"/>
                  <a:gd name="connsiteY31" fmla="*/ 474948 h 3036099"/>
                  <a:gd name="connsiteX32" fmla="*/ 32369 w 1375647"/>
                  <a:gd name="connsiteY32" fmla="*/ 345475 h 3036099"/>
                  <a:gd name="connsiteX33" fmla="*/ 178025 w 1375647"/>
                  <a:gd name="connsiteY33" fmla="*/ 5610 h 3036099"/>
                  <a:gd name="connsiteX0" fmla="*/ 178025 w 1375645"/>
                  <a:gd name="connsiteY0" fmla="*/ 5610 h 3036099"/>
                  <a:gd name="connsiteX1" fmla="*/ 299406 w 1375645"/>
                  <a:gd name="connsiteY1" fmla="*/ 78438 h 3036099"/>
                  <a:gd name="connsiteX2" fmla="*/ 493615 w 1375645"/>
                  <a:gd name="connsiteY2" fmla="*/ 126990 h 3036099"/>
                  <a:gd name="connsiteX3" fmla="*/ 687823 w 1375645"/>
                  <a:gd name="connsiteY3" fmla="*/ 143174 h 3036099"/>
                  <a:gd name="connsiteX4" fmla="*/ 865848 w 1375645"/>
                  <a:gd name="connsiteY4" fmla="*/ 110806 h 3036099"/>
                  <a:gd name="connsiteX5" fmla="*/ 946769 w 1375645"/>
                  <a:gd name="connsiteY5" fmla="*/ 62254 h 3036099"/>
                  <a:gd name="connsiteX6" fmla="*/ 1181438 w 1375645"/>
                  <a:gd name="connsiteY6" fmla="*/ 264555 h 3036099"/>
                  <a:gd name="connsiteX7" fmla="*/ 1351370 w 1375645"/>
                  <a:gd name="connsiteY7" fmla="*/ 385935 h 3036099"/>
                  <a:gd name="connsiteX8" fmla="*/ 1327094 w 1375645"/>
                  <a:gd name="connsiteY8" fmla="*/ 491132 h 3036099"/>
                  <a:gd name="connsiteX9" fmla="*/ 1246174 w 1375645"/>
                  <a:gd name="connsiteY9" fmla="*/ 750077 h 3036099"/>
                  <a:gd name="connsiteX10" fmla="*/ 1198848 w 1375645"/>
                  <a:gd name="connsiteY10" fmla="*/ 1556545 h 3036099"/>
                  <a:gd name="connsiteX11" fmla="*/ 1171022 w 1375645"/>
                  <a:gd name="connsiteY11" fmla="*/ 2064083 h 3036099"/>
                  <a:gd name="connsiteX12" fmla="*/ 1172073 w 1375645"/>
                  <a:gd name="connsiteY12" fmla="*/ 2649779 h 3036099"/>
                  <a:gd name="connsiteX13" fmla="*/ 1202056 w 1375645"/>
                  <a:gd name="connsiteY13" fmla="*/ 2993493 h 3036099"/>
                  <a:gd name="connsiteX14" fmla="*/ 782673 w 1375645"/>
                  <a:gd name="connsiteY14" fmla="*/ 2846858 h 3036099"/>
                  <a:gd name="connsiteX15" fmla="*/ 782510 w 1375645"/>
                  <a:gd name="connsiteY15" fmla="*/ 2575013 h 3036099"/>
                  <a:gd name="connsiteX16" fmla="*/ 752944 w 1375645"/>
                  <a:gd name="connsiteY16" fmla="*/ 1953176 h 3036099"/>
                  <a:gd name="connsiteX17" fmla="*/ 753987 w 1375645"/>
                  <a:gd name="connsiteY17" fmla="*/ 1632109 h 3036099"/>
                  <a:gd name="connsiteX18" fmla="*/ 721477 w 1375645"/>
                  <a:gd name="connsiteY18" fmla="*/ 1212956 h 3036099"/>
                  <a:gd name="connsiteX19" fmla="*/ 695915 w 1375645"/>
                  <a:gd name="connsiteY19" fmla="*/ 895734 h 3036099"/>
                  <a:gd name="connsiteX20" fmla="*/ 667680 w 1375645"/>
                  <a:gd name="connsiteY20" fmla="*/ 1081852 h 3036099"/>
                  <a:gd name="connsiteX21" fmla="*/ 602031 w 1375645"/>
                  <a:gd name="connsiteY21" fmla="*/ 1669237 h 3036099"/>
                  <a:gd name="connsiteX22" fmla="*/ 637531 w 1375645"/>
                  <a:gd name="connsiteY22" fmla="*/ 2510114 h 3036099"/>
                  <a:gd name="connsiteX23" fmla="*/ 614682 w 1375645"/>
                  <a:gd name="connsiteY23" fmla="*/ 2809553 h 3036099"/>
                  <a:gd name="connsiteX24" fmla="*/ 575008 w 1375645"/>
                  <a:gd name="connsiteY24" fmla="*/ 2910800 h 3036099"/>
                  <a:gd name="connsiteX25" fmla="*/ 286866 w 1375645"/>
                  <a:gd name="connsiteY25" fmla="*/ 2944902 h 3036099"/>
                  <a:gd name="connsiteX26" fmla="*/ 237481 w 1375645"/>
                  <a:gd name="connsiteY26" fmla="*/ 2863879 h 3036099"/>
                  <a:gd name="connsiteX27" fmla="*/ 226577 w 1375645"/>
                  <a:gd name="connsiteY27" fmla="*/ 2077171 h 3036099"/>
                  <a:gd name="connsiteX28" fmla="*/ 161841 w 1375645"/>
                  <a:gd name="connsiteY28" fmla="*/ 1818226 h 3036099"/>
                  <a:gd name="connsiteX29" fmla="*/ 137565 w 1375645"/>
                  <a:gd name="connsiteY29" fmla="*/ 1583557 h 3036099"/>
                  <a:gd name="connsiteX30" fmla="*/ 80921 w 1375645"/>
                  <a:gd name="connsiteY30" fmla="*/ 733893 h 3036099"/>
                  <a:gd name="connsiteX31" fmla="*/ 8092 w 1375645"/>
                  <a:gd name="connsiteY31" fmla="*/ 474948 h 3036099"/>
                  <a:gd name="connsiteX32" fmla="*/ 32369 w 1375645"/>
                  <a:gd name="connsiteY32" fmla="*/ 345475 h 3036099"/>
                  <a:gd name="connsiteX33" fmla="*/ 178025 w 1375645"/>
                  <a:gd name="connsiteY33" fmla="*/ 5610 h 3036099"/>
                  <a:gd name="connsiteX0" fmla="*/ 178025 w 1375647"/>
                  <a:gd name="connsiteY0" fmla="*/ 5610 h 3036099"/>
                  <a:gd name="connsiteX1" fmla="*/ 299406 w 1375647"/>
                  <a:gd name="connsiteY1" fmla="*/ 78438 h 3036099"/>
                  <a:gd name="connsiteX2" fmla="*/ 493615 w 1375647"/>
                  <a:gd name="connsiteY2" fmla="*/ 126990 h 3036099"/>
                  <a:gd name="connsiteX3" fmla="*/ 687823 w 1375647"/>
                  <a:gd name="connsiteY3" fmla="*/ 143174 h 3036099"/>
                  <a:gd name="connsiteX4" fmla="*/ 865848 w 1375647"/>
                  <a:gd name="connsiteY4" fmla="*/ 110806 h 3036099"/>
                  <a:gd name="connsiteX5" fmla="*/ 946769 w 1375647"/>
                  <a:gd name="connsiteY5" fmla="*/ 62254 h 3036099"/>
                  <a:gd name="connsiteX6" fmla="*/ 1181438 w 1375647"/>
                  <a:gd name="connsiteY6" fmla="*/ 264555 h 3036099"/>
                  <a:gd name="connsiteX7" fmla="*/ 1351370 w 1375647"/>
                  <a:gd name="connsiteY7" fmla="*/ 385935 h 3036099"/>
                  <a:gd name="connsiteX8" fmla="*/ 1327094 w 1375647"/>
                  <a:gd name="connsiteY8" fmla="*/ 491132 h 3036099"/>
                  <a:gd name="connsiteX9" fmla="*/ 1246174 w 1375647"/>
                  <a:gd name="connsiteY9" fmla="*/ 750077 h 3036099"/>
                  <a:gd name="connsiteX10" fmla="*/ 1198848 w 1375647"/>
                  <a:gd name="connsiteY10" fmla="*/ 1556545 h 3036099"/>
                  <a:gd name="connsiteX11" fmla="*/ 1171022 w 1375647"/>
                  <a:gd name="connsiteY11" fmla="*/ 2064083 h 3036099"/>
                  <a:gd name="connsiteX12" fmla="*/ 1172073 w 1375647"/>
                  <a:gd name="connsiteY12" fmla="*/ 2649779 h 3036099"/>
                  <a:gd name="connsiteX13" fmla="*/ 1202056 w 1375647"/>
                  <a:gd name="connsiteY13" fmla="*/ 2993493 h 3036099"/>
                  <a:gd name="connsiteX14" fmla="*/ 782673 w 1375647"/>
                  <a:gd name="connsiteY14" fmla="*/ 2846858 h 3036099"/>
                  <a:gd name="connsiteX15" fmla="*/ 782510 w 1375647"/>
                  <a:gd name="connsiteY15" fmla="*/ 2575013 h 3036099"/>
                  <a:gd name="connsiteX16" fmla="*/ 752944 w 1375647"/>
                  <a:gd name="connsiteY16" fmla="*/ 1953176 h 3036099"/>
                  <a:gd name="connsiteX17" fmla="*/ 753987 w 1375647"/>
                  <a:gd name="connsiteY17" fmla="*/ 1632109 h 3036099"/>
                  <a:gd name="connsiteX18" fmla="*/ 721477 w 1375647"/>
                  <a:gd name="connsiteY18" fmla="*/ 1212956 h 3036099"/>
                  <a:gd name="connsiteX19" fmla="*/ 695915 w 1375647"/>
                  <a:gd name="connsiteY19" fmla="*/ 895734 h 3036099"/>
                  <a:gd name="connsiteX20" fmla="*/ 667680 w 1375647"/>
                  <a:gd name="connsiteY20" fmla="*/ 1081852 h 3036099"/>
                  <a:gd name="connsiteX21" fmla="*/ 602031 w 1375647"/>
                  <a:gd name="connsiteY21" fmla="*/ 1669237 h 3036099"/>
                  <a:gd name="connsiteX22" fmla="*/ 637531 w 1375647"/>
                  <a:gd name="connsiteY22" fmla="*/ 2510114 h 3036099"/>
                  <a:gd name="connsiteX23" fmla="*/ 614682 w 1375647"/>
                  <a:gd name="connsiteY23" fmla="*/ 2809553 h 3036099"/>
                  <a:gd name="connsiteX24" fmla="*/ 575008 w 1375647"/>
                  <a:gd name="connsiteY24" fmla="*/ 2910800 h 3036099"/>
                  <a:gd name="connsiteX25" fmla="*/ 286866 w 1375647"/>
                  <a:gd name="connsiteY25" fmla="*/ 2944902 h 3036099"/>
                  <a:gd name="connsiteX26" fmla="*/ 237481 w 1375647"/>
                  <a:gd name="connsiteY26" fmla="*/ 2863879 h 3036099"/>
                  <a:gd name="connsiteX27" fmla="*/ 226577 w 1375647"/>
                  <a:gd name="connsiteY27" fmla="*/ 2077171 h 3036099"/>
                  <a:gd name="connsiteX28" fmla="*/ 161841 w 1375647"/>
                  <a:gd name="connsiteY28" fmla="*/ 1818226 h 3036099"/>
                  <a:gd name="connsiteX29" fmla="*/ 137565 w 1375647"/>
                  <a:gd name="connsiteY29" fmla="*/ 1583557 h 3036099"/>
                  <a:gd name="connsiteX30" fmla="*/ 80921 w 1375647"/>
                  <a:gd name="connsiteY30" fmla="*/ 733893 h 3036099"/>
                  <a:gd name="connsiteX31" fmla="*/ 8092 w 1375647"/>
                  <a:gd name="connsiteY31" fmla="*/ 474948 h 3036099"/>
                  <a:gd name="connsiteX32" fmla="*/ 32369 w 1375647"/>
                  <a:gd name="connsiteY32" fmla="*/ 345475 h 3036099"/>
                  <a:gd name="connsiteX33" fmla="*/ 178025 w 1375647"/>
                  <a:gd name="connsiteY33" fmla="*/ 5610 h 3036099"/>
                  <a:gd name="connsiteX0" fmla="*/ 178025 w 1375645"/>
                  <a:gd name="connsiteY0" fmla="*/ 5610 h 3036099"/>
                  <a:gd name="connsiteX1" fmla="*/ 299406 w 1375645"/>
                  <a:gd name="connsiteY1" fmla="*/ 78438 h 3036099"/>
                  <a:gd name="connsiteX2" fmla="*/ 493615 w 1375645"/>
                  <a:gd name="connsiteY2" fmla="*/ 126990 h 3036099"/>
                  <a:gd name="connsiteX3" fmla="*/ 687823 w 1375645"/>
                  <a:gd name="connsiteY3" fmla="*/ 143174 h 3036099"/>
                  <a:gd name="connsiteX4" fmla="*/ 865848 w 1375645"/>
                  <a:gd name="connsiteY4" fmla="*/ 110806 h 3036099"/>
                  <a:gd name="connsiteX5" fmla="*/ 946769 w 1375645"/>
                  <a:gd name="connsiteY5" fmla="*/ 62254 h 3036099"/>
                  <a:gd name="connsiteX6" fmla="*/ 1181438 w 1375645"/>
                  <a:gd name="connsiteY6" fmla="*/ 264555 h 3036099"/>
                  <a:gd name="connsiteX7" fmla="*/ 1351370 w 1375645"/>
                  <a:gd name="connsiteY7" fmla="*/ 385935 h 3036099"/>
                  <a:gd name="connsiteX8" fmla="*/ 1327094 w 1375645"/>
                  <a:gd name="connsiteY8" fmla="*/ 491132 h 3036099"/>
                  <a:gd name="connsiteX9" fmla="*/ 1246174 w 1375645"/>
                  <a:gd name="connsiteY9" fmla="*/ 750077 h 3036099"/>
                  <a:gd name="connsiteX10" fmla="*/ 1210372 w 1375645"/>
                  <a:gd name="connsiteY10" fmla="*/ 1556545 h 3036099"/>
                  <a:gd name="connsiteX11" fmla="*/ 1171022 w 1375645"/>
                  <a:gd name="connsiteY11" fmla="*/ 2064083 h 3036099"/>
                  <a:gd name="connsiteX12" fmla="*/ 1172073 w 1375645"/>
                  <a:gd name="connsiteY12" fmla="*/ 2649779 h 3036099"/>
                  <a:gd name="connsiteX13" fmla="*/ 1202056 w 1375645"/>
                  <a:gd name="connsiteY13" fmla="*/ 2993493 h 3036099"/>
                  <a:gd name="connsiteX14" fmla="*/ 782673 w 1375645"/>
                  <a:gd name="connsiteY14" fmla="*/ 2846858 h 3036099"/>
                  <a:gd name="connsiteX15" fmla="*/ 782510 w 1375645"/>
                  <a:gd name="connsiteY15" fmla="*/ 2575013 h 3036099"/>
                  <a:gd name="connsiteX16" fmla="*/ 752944 w 1375645"/>
                  <a:gd name="connsiteY16" fmla="*/ 1953176 h 3036099"/>
                  <a:gd name="connsiteX17" fmla="*/ 753987 w 1375645"/>
                  <a:gd name="connsiteY17" fmla="*/ 1632109 h 3036099"/>
                  <a:gd name="connsiteX18" fmla="*/ 721477 w 1375645"/>
                  <a:gd name="connsiteY18" fmla="*/ 1212956 h 3036099"/>
                  <a:gd name="connsiteX19" fmla="*/ 695915 w 1375645"/>
                  <a:gd name="connsiteY19" fmla="*/ 895734 h 3036099"/>
                  <a:gd name="connsiteX20" fmla="*/ 667680 w 1375645"/>
                  <a:gd name="connsiteY20" fmla="*/ 1081852 h 3036099"/>
                  <a:gd name="connsiteX21" fmla="*/ 602031 w 1375645"/>
                  <a:gd name="connsiteY21" fmla="*/ 1669237 h 3036099"/>
                  <a:gd name="connsiteX22" fmla="*/ 637531 w 1375645"/>
                  <a:gd name="connsiteY22" fmla="*/ 2510114 h 3036099"/>
                  <a:gd name="connsiteX23" fmla="*/ 614682 w 1375645"/>
                  <a:gd name="connsiteY23" fmla="*/ 2809553 h 3036099"/>
                  <a:gd name="connsiteX24" fmla="*/ 575008 w 1375645"/>
                  <a:gd name="connsiteY24" fmla="*/ 2910800 h 3036099"/>
                  <a:gd name="connsiteX25" fmla="*/ 286866 w 1375645"/>
                  <a:gd name="connsiteY25" fmla="*/ 2944902 h 3036099"/>
                  <a:gd name="connsiteX26" fmla="*/ 237481 w 1375645"/>
                  <a:gd name="connsiteY26" fmla="*/ 2863879 h 3036099"/>
                  <a:gd name="connsiteX27" fmla="*/ 226577 w 1375645"/>
                  <a:gd name="connsiteY27" fmla="*/ 2077171 h 3036099"/>
                  <a:gd name="connsiteX28" fmla="*/ 161841 w 1375645"/>
                  <a:gd name="connsiteY28" fmla="*/ 1818226 h 3036099"/>
                  <a:gd name="connsiteX29" fmla="*/ 137565 w 1375645"/>
                  <a:gd name="connsiteY29" fmla="*/ 1583557 h 3036099"/>
                  <a:gd name="connsiteX30" fmla="*/ 80921 w 1375645"/>
                  <a:gd name="connsiteY30" fmla="*/ 733893 h 3036099"/>
                  <a:gd name="connsiteX31" fmla="*/ 8092 w 1375645"/>
                  <a:gd name="connsiteY31" fmla="*/ 474948 h 3036099"/>
                  <a:gd name="connsiteX32" fmla="*/ 32369 w 1375645"/>
                  <a:gd name="connsiteY32" fmla="*/ 345475 h 3036099"/>
                  <a:gd name="connsiteX33" fmla="*/ 178025 w 1375645"/>
                  <a:gd name="connsiteY33" fmla="*/ 5610 h 3036099"/>
                  <a:gd name="connsiteX0" fmla="*/ 178025 w 1375647"/>
                  <a:gd name="connsiteY0" fmla="*/ 5610 h 3036099"/>
                  <a:gd name="connsiteX1" fmla="*/ 299406 w 1375647"/>
                  <a:gd name="connsiteY1" fmla="*/ 78438 h 3036099"/>
                  <a:gd name="connsiteX2" fmla="*/ 493615 w 1375647"/>
                  <a:gd name="connsiteY2" fmla="*/ 126990 h 3036099"/>
                  <a:gd name="connsiteX3" fmla="*/ 687823 w 1375647"/>
                  <a:gd name="connsiteY3" fmla="*/ 143174 h 3036099"/>
                  <a:gd name="connsiteX4" fmla="*/ 865848 w 1375647"/>
                  <a:gd name="connsiteY4" fmla="*/ 110806 h 3036099"/>
                  <a:gd name="connsiteX5" fmla="*/ 946769 w 1375647"/>
                  <a:gd name="connsiteY5" fmla="*/ 62254 h 3036099"/>
                  <a:gd name="connsiteX6" fmla="*/ 1181438 w 1375647"/>
                  <a:gd name="connsiteY6" fmla="*/ 264555 h 3036099"/>
                  <a:gd name="connsiteX7" fmla="*/ 1351370 w 1375647"/>
                  <a:gd name="connsiteY7" fmla="*/ 385935 h 3036099"/>
                  <a:gd name="connsiteX8" fmla="*/ 1327094 w 1375647"/>
                  <a:gd name="connsiteY8" fmla="*/ 491132 h 3036099"/>
                  <a:gd name="connsiteX9" fmla="*/ 1246174 w 1375647"/>
                  <a:gd name="connsiteY9" fmla="*/ 750077 h 3036099"/>
                  <a:gd name="connsiteX10" fmla="*/ 1210372 w 1375647"/>
                  <a:gd name="connsiteY10" fmla="*/ 1556545 h 3036099"/>
                  <a:gd name="connsiteX11" fmla="*/ 1171022 w 1375647"/>
                  <a:gd name="connsiteY11" fmla="*/ 2064083 h 3036099"/>
                  <a:gd name="connsiteX12" fmla="*/ 1172073 w 1375647"/>
                  <a:gd name="connsiteY12" fmla="*/ 2649779 h 3036099"/>
                  <a:gd name="connsiteX13" fmla="*/ 1202056 w 1375647"/>
                  <a:gd name="connsiteY13" fmla="*/ 2993493 h 3036099"/>
                  <a:gd name="connsiteX14" fmla="*/ 782673 w 1375647"/>
                  <a:gd name="connsiteY14" fmla="*/ 2846858 h 3036099"/>
                  <a:gd name="connsiteX15" fmla="*/ 782510 w 1375647"/>
                  <a:gd name="connsiteY15" fmla="*/ 2575013 h 3036099"/>
                  <a:gd name="connsiteX16" fmla="*/ 752944 w 1375647"/>
                  <a:gd name="connsiteY16" fmla="*/ 1953176 h 3036099"/>
                  <a:gd name="connsiteX17" fmla="*/ 753987 w 1375647"/>
                  <a:gd name="connsiteY17" fmla="*/ 1632109 h 3036099"/>
                  <a:gd name="connsiteX18" fmla="*/ 721477 w 1375647"/>
                  <a:gd name="connsiteY18" fmla="*/ 1212956 h 3036099"/>
                  <a:gd name="connsiteX19" fmla="*/ 695915 w 1375647"/>
                  <a:gd name="connsiteY19" fmla="*/ 895734 h 3036099"/>
                  <a:gd name="connsiteX20" fmla="*/ 667680 w 1375647"/>
                  <a:gd name="connsiteY20" fmla="*/ 1081852 h 3036099"/>
                  <a:gd name="connsiteX21" fmla="*/ 602031 w 1375647"/>
                  <a:gd name="connsiteY21" fmla="*/ 1669237 h 3036099"/>
                  <a:gd name="connsiteX22" fmla="*/ 637531 w 1375647"/>
                  <a:gd name="connsiteY22" fmla="*/ 2510114 h 3036099"/>
                  <a:gd name="connsiteX23" fmla="*/ 614682 w 1375647"/>
                  <a:gd name="connsiteY23" fmla="*/ 2809553 h 3036099"/>
                  <a:gd name="connsiteX24" fmla="*/ 575008 w 1375647"/>
                  <a:gd name="connsiteY24" fmla="*/ 2910800 h 3036099"/>
                  <a:gd name="connsiteX25" fmla="*/ 286866 w 1375647"/>
                  <a:gd name="connsiteY25" fmla="*/ 2944902 h 3036099"/>
                  <a:gd name="connsiteX26" fmla="*/ 237481 w 1375647"/>
                  <a:gd name="connsiteY26" fmla="*/ 2863879 h 3036099"/>
                  <a:gd name="connsiteX27" fmla="*/ 226577 w 1375647"/>
                  <a:gd name="connsiteY27" fmla="*/ 2077171 h 3036099"/>
                  <a:gd name="connsiteX28" fmla="*/ 161841 w 1375647"/>
                  <a:gd name="connsiteY28" fmla="*/ 1818226 h 3036099"/>
                  <a:gd name="connsiteX29" fmla="*/ 137565 w 1375647"/>
                  <a:gd name="connsiteY29" fmla="*/ 1583557 h 3036099"/>
                  <a:gd name="connsiteX30" fmla="*/ 80921 w 1375647"/>
                  <a:gd name="connsiteY30" fmla="*/ 733893 h 3036099"/>
                  <a:gd name="connsiteX31" fmla="*/ 8092 w 1375647"/>
                  <a:gd name="connsiteY31" fmla="*/ 474948 h 3036099"/>
                  <a:gd name="connsiteX32" fmla="*/ 32369 w 1375647"/>
                  <a:gd name="connsiteY32" fmla="*/ 345475 h 3036099"/>
                  <a:gd name="connsiteX33" fmla="*/ 178025 w 1375647"/>
                  <a:gd name="connsiteY33" fmla="*/ 5610 h 3036099"/>
                  <a:gd name="connsiteX0" fmla="*/ 178025 w 1375645"/>
                  <a:gd name="connsiteY0" fmla="*/ 5610 h 3036099"/>
                  <a:gd name="connsiteX1" fmla="*/ 299406 w 1375645"/>
                  <a:gd name="connsiteY1" fmla="*/ 78438 h 3036099"/>
                  <a:gd name="connsiteX2" fmla="*/ 493615 w 1375645"/>
                  <a:gd name="connsiteY2" fmla="*/ 126990 h 3036099"/>
                  <a:gd name="connsiteX3" fmla="*/ 687823 w 1375645"/>
                  <a:gd name="connsiteY3" fmla="*/ 143174 h 3036099"/>
                  <a:gd name="connsiteX4" fmla="*/ 865848 w 1375645"/>
                  <a:gd name="connsiteY4" fmla="*/ 110806 h 3036099"/>
                  <a:gd name="connsiteX5" fmla="*/ 946769 w 1375645"/>
                  <a:gd name="connsiteY5" fmla="*/ 62254 h 3036099"/>
                  <a:gd name="connsiteX6" fmla="*/ 1181438 w 1375645"/>
                  <a:gd name="connsiteY6" fmla="*/ 264555 h 3036099"/>
                  <a:gd name="connsiteX7" fmla="*/ 1351370 w 1375645"/>
                  <a:gd name="connsiteY7" fmla="*/ 385935 h 3036099"/>
                  <a:gd name="connsiteX8" fmla="*/ 1327094 w 1375645"/>
                  <a:gd name="connsiteY8" fmla="*/ 491132 h 3036099"/>
                  <a:gd name="connsiteX9" fmla="*/ 1257699 w 1375645"/>
                  <a:gd name="connsiteY9" fmla="*/ 739368 h 3036099"/>
                  <a:gd name="connsiteX10" fmla="*/ 1210372 w 1375645"/>
                  <a:gd name="connsiteY10" fmla="*/ 1556545 h 3036099"/>
                  <a:gd name="connsiteX11" fmla="*/ 1171022 w 1375645"/>
                  <a:gd name="connsiteY11" fmla="*/ 2064083 h 3036099"/>
                  <a:gd name="connsiteX12" fmla="*/ 1172073 w 1375645"/>
                  <a:gd name="connsiteY12" fmla="*/ 2649779 h 3036099"/>
                  <a:gd name="connsiteX13" fmla="*/ 1202056 w 1375645"/>
                  <a:gd name="connsiteY13" fmla="*/ 2993493 h 3036099"/>
                  <a:gd name="connsiteX14" fmla="*/ 782673 w 1375645"/>
                  <a:gd name="connsiteY14" fmla="*/ 2846858 h 3036099"/>
                  <a:gd name="connsiteX15" fmla="*/ 782510 w 1375645"/>
                  <a:gd name="connsiteY15" fmla="*/ 2575013 h 3036099"/>
                  <a:gd name="connsiteX16" fmla="*/ 752944 w 1375645"/>
                  <a:gd name="connsiteY16" fmla="*/ 1953176 h 3036099"/>
                  <a:gd name="connsiteX17" fmla="*/ 753987 w 1375645"/>
                  <a:gd name="connsiteY17" fmla="*/ 1632109 h 3036099"/>
                  <a:gd name="connsiteX18" fmla="*/ 721477 w 1375645"/>
                  <a:gd name="connsiteY18" fmla="*/ 1212956 h 3036099"/>
                  <a:gd name="connsiteX19" fmla="*/ 695915 w 1375645"/>
                  <a:gd name="connsiteY19" fmla="*/ 895734 h 3036099"/>
                  <a:gd name="connsiteX20" fmla="*/ 667680 w 1375645"/>
                  <a:gd name="connsiteY20" fmla="*/ 1081852 h 3036099"/>
                  <a:gd name="connsiteX21" fmla="*/ 602031 w 1375645"/>
                  <a:gd name="connsiteY21" fmla="*/ 1669237 h 3036099"/>
                  <a:gd name="connsiteX22" fmla="*/ 637531 w 1375645"/>
                  <a:gd name="connsiteY22" fmla="*/ 2510114 h 3036099"/>
                  <a:gd name="connsiteX23" fmla="*/ 614682 w 1375645"/>
                  <a:gd name="connsiteY23" fmla="*/ 2809553 h 3036099"/>
                  <a:gd name="connsiteX24" fmla="*/ 575008 w 1375645"/>
                  <a:gd name="connsiteY24" fmla="*/ 2910800 h 3036099"/>
                  <a:gd name="connsiteX25" fmla="*/ 286866 w 1375645"/>
                  <a:gd name="connsiteY25" fmla="*/ 2944902 h 3036099"/>
                  <a:gd name="connsiteX26" fmla="*/ 237481 w 1375645"/>
                  <a:gd name="connsiteY26" fmla="*/ 2863879 h 3036099"/>
                  <a:gd name="connsiteX27" fmla="*/ 226577 w 1375645"/>
                  <a:gd name="connsiteY27" fmla="*/ 2077171 h 3036099"/>
                  <a:gd name="connsiteX28" fmla="*/ 161841 w 1375645"/>
                  <a:gd name="connsiteY28" fmla="*/ 1818226 h 3036099"/>
                  <a:gd name="connsiteX29" fmla="*/ 137565 w 1375645"/>
                  <a:gd name="connsiteY29" fmla="*/ 1583557 h 3036099"/>
                  <a:gd name="connsiteX30" fmla="*/ 80921 w 1375645"/>
                  <a:gd name="connsiteY30" fmla="*/ 733893 h 3036099"/>
                  <a:gd name="connsiteX31" fmla="*/ 8092 w 1375645"/>
                  <a:gd name="connsiteY31" fmla="*/ 474948 h 3036099"/>
                  <a:gd name="connsiteX32" fmla="*/ 32369 w 1375645"/>
                  <a:gd name="connsiteY32" fmla="*/ 345475 h 3036099"/>
                  <a:gd name="connsiteX33" fmla="*/ 178025 w 1375645"/>
                  <a:gd name="connsiteY33" fmla="*/ 5610 h 3036099"/>
                  <a:gd name="connsiteX0" fmla="*/ 178025 w 1375647"/>
                  <a:gd name="connsiteY0" fmla="*/ 5610 h 3036099"/>
                  <a:gd name="connsiteX1" fmla="*/ 299406 w 1375647"/>
                  <a:gd name="connsiteY1" fmla="*/ 78438 h 3036099"/>
                  <a:gd name="connsiteX2" fmla="*/ 493615 w 1375647"/>
                  <a:gd name="connsiteY2" fmla="*/ 126990 h 3036099"/>
                  <a:gd name="connsiteX3" fmla="*/ 687823 w 1375647"/>
                  <a:gd name="connsiteY3" fmla="*/ 143174 h 3036099"/>
                  <a:gd name="connsiteX4" fmla="*/ 865848 w 1375647"/>
                  <a:gd name="connsiteY4" fmla="*/ 110806 h 3036099"/>
                  <a:gd name="connsiteX5" fmla="*/ 946769 w 1375647"/>
                  <a:gd name="connsiteY5" fmla="*/ 62254 h 3036099"/>
                  <a:gd name="connsiteX6" fmla="*/ 1181438 w 1375647"/>
                  <a:gd name="connsiteY6" fmla="*/ 264555 h 3036099"/>
                  <a:gd name="connsiteX7" fmla="*/ 1351370 w 1375647"/>
                  <a:gd name="connsiteY7" fmla="*/ 385935 h 3036099"/>
                  <a:gd name="connsiteX8" fmla="*/ 1327094 w 1375647"/>
                  <a:gd name="connsiteY8" fmla="*/ 491132 h 3036099"/>
                  <a:gd name="connsiteX9" fmla="*/ 1257699 w 1375647"/>
                  <a:gd name="connsiteY9" fmla="*/ 739368 h 3036099"/>
                  <a:gd name="connsiteX10" fmla="*/ 1210372 w 1375647"/>
                  <a:gd name="connsiteY10" fmla="*/ 1556545 h 3036099"/>
                  <a:gd name="connsiteX11" fmla="*/ 1171022 w 1375647"/>
                  <a:gd name="connsiteY11" fmla="*/ 2064083 h 3036099"/>
                  <a:gd name="connsiteX12" fmla="*/ 1172073 w 1375647"/>
                  <a:gd name="connsiteY12" fmla="*/ 2649779 h 3036099"/>
                  <a:gd name="connsiteX13" fmla="*/ 1202056 w 1375647"/>
                  <a:gd name="connsiteY13" fmla="*/ 2993493 h 3036099"/>
                  <a:gd name="connsiteX14" fmla="*/ 782673 w 1375647"/>
                  <a:gd name="connsiteY14" fmla="*/ 2846858 h 3036099"/>
                  <a:gd name="connsiteX15" fmla="*/ 782510 w 1375647"/>
                  <a:gd name="connsiteY15" fmla="*/ 2575013 h 3036099"/>
                  <a:gd name="connsiteX16" fmla="*/ 752944 w 1375647"/>
                  <a:gd name="connsiteY16" fmla="*/ 1953176 h 3036099"/>
                  <a:gd name="connsiteX17" fmla="*/ 753987 w 1375647"/>
                  <a:gd name="connsiteY17" fmla="*/ 1632109 h 3036099"/>
                  <a:gd name="connsiteX18" fmla="*/ 721477 w 1375647"/>
                  <a:gd name="connsiteY18" fmla="*/ 1212956 h 3036099"/>
                  <a:gd name="connsiteX19" fmla="*/ 695915 w 1375647"/>
                  <a:gd name="connsiteY19" fmla="*/ 895734 h 3036099"/>
                  <a:gd name="connsiteX20" fmla="*/ 667680 w 1375647"/>
                  <a:gd name="connsiteY20" fmla="*/ 1081852 h 3036099"/>
                  <a:gd name="connsiteX21" fmla="*/ 602031 w 1375647"/>
                  <a:gd name="connsiteY21" fmla="*/ 1669237 h 3036099"/>
                  <a:gd name="connsiteX22" fmla="*/ 637531 w 1375647"/>
                  <a:gd name="connsiteY22" fmla="*/ 2510114 h 3036099"/>
                  <a:gd name="connsiteX23" fmla="*/ 614682 w 1375647"/>
                  <a:gd name="connsiteY23" fmla="*/ 2809553 h 3036099"/>
                  <a:gd name="connsiteX24" fmla="*/ 575008 w 1375647"/>
                  <a:gd name="connsiteY24" fmla="*/ 2910800 h 3036099"/>
                  <a:gd name="connsiteX25" fmla="*/ 286866 w 1375647"/>
                  <a:gd name="connsiteY25" fmla="*/ 2944902 h 3036099"/>
                  <a:gd name="connsiteX26" fmla="*/ 237481 w 1375647"/>
                  <a:gd name="connsiteY26" fmla="*/ 2863879 h 3036099"/>
                  <a:gd name="connsiteX27" fmla="*/ 226577 w 1375647"/>
                  <a:gd name="connsiteY27" fmla="*/ 2077171 h 3036099"/>
                  <a:gd name="connsiteX28" fmla="*/ 161841 w 1375647"/>
                  <a:gd name="connsiteY28" fmla="*/ 1818226 h 3036099"/>
                  <a:gd name="connsiteX29" fmla="*/ 137565 w 1375647"/>
                  <a:gd name="connsiteY29" fmla="*/ 1583557 h 3036099"/>
                  <a:gd name="connsiteX30" fmla="*/ 80921 w 1375647"/>
                  <a:gd name="connsiteY30" fmla="*/ 733893 h 3036099"/>
                  <a:gd name="connsiteX31" fmla="*/ 8092 w 1375647"/>
                  <a:gd name="connsiteY31" fmla="*/ 474948 h 3036099"/>
                  <a:gd name="connsiteX32" fmla="*/ 32369 w 1375647"/>
                  <a:gd name="connsiteY32" fmla="*/ 345475 h 3036099"/>
                  <a:gd name="connsiteX33" fmla="*/ 178025 w 1375647"/>
                  <a:gd name="connsiteY33" fmla="*/ 5610 h 3036099"/>
                  <a:gd name="connsiteX0" fmla="*/ 178025 w 1334531"/>
                  <a:gd name="connsiteY0" fmla="*/ 5610 h 3036099"/>
                  <a:gd name="connsiteX1" fmla="*/ 299406 w 1334531"/>
                  <a:gd name="connsiteY1" fmla="*/ 78438 h 3036099"/>
                  <a:gd name="connsiteX2" fmla="*/ 493615 w 1334531"/>
                  <a:gd name="connsiteY2" fmla="*/ 126990 h 3036099"/>
                  <a:gd name="connsiteX3" fmla="*/ 687823 w 1334531"/>
                  <a:gd name="connsiteY3" fmla="*/ 143174 h 3036099"/>
                  <a:gd name="connsiteX4" fmla="*/ 865848 w 1334531"/>
                  <a:gd name="connsiteY4" fmla="*/ 110806 h 3036099"/>
                  <a:gd name="connsiteX5" fmla="*/ 946769 w 1334531"/>
                  <a:gd name="connsiteY5" fmla="*/ 62254 h 3036099"/>
                  <a:gd name="connsiteX6" fmla="*/ 1181438 w 1334531"/>
                  <a:gd name="connsiteY6" fmla="*/ 264555 h 3036099"/>
                  <a:gd name="connsiteX7" fmla="*/ 1213078 w 1334531"/>
                  <a:gd name="connsiteY7" fmla="*/ 385935 h 3036099"/>
                  <a:gd name="connsiteX8" fmla="*/ 1327094 w 1334531"/>
                  <a:gd name="connsiteY8" fmla="*/ 491132 h 3036099"/>
                  <a:gd name="connsiteX9" fmla="*/ 1257699 w 1334531"/>
                  <a:gd name="connsiteY9" fmla="*/ 739368 h 3036099"/>
                  <a:gd name="connsiteX10" fmla="*/ 1210372 w 1334531"/>
                  <a:gd name="connsiteY10" fmla="*/ 1556545 h 3036099"/>
                  <a:gd name="connsiteX11" fmla="*/ 1171022 w 1334531"/>
                  <a:gd name="connsiteY11" fmla="*/ 2064083 h 3036099"/>
                  <a:gd name="connsiteX12" fmla="*/ 1172073 w 1334531"/>
                  <a:gd name="connsiteY12" fmla="*/ 2649779 h 3036099"/>
                  <a:gd name="connsiteX13" fmla="*/ 1202056 w 1334531"/>
                  <a:gd name="connsiteY13" fmla="*/ 2993493 h 3036099"/>
                  <a:gd name="connsiteX14" fmla="*/ 782673 w 1334531"/>
                  <a:gd name="connsiteY14" fmla="*/ 2846858 h 3036099"/>
                  <a:gd name="connsiteX15" fmla="*/ 782510 w 1334531"/>
                  <a:gd name="connsiteY15" fmla="*/ 2575013 h 3036099"/>
                  <a:gd name="connsiteX16" fmla="*/ 752944 w 1334531"/>
                  <a:gd name="connsiteY16" fmla="*/ 1953176 h 3036099"/>
                  <a:gd name="connsiteX17" fmla="*/ 753987 w 1334531"/>
                  <a:gd name="connsiteY17" fmla="*/ 1632109 h 3036099"/>
                  <a:gd name="connsiteX18" fmla="*/ 721477 w 1334531"/>
                  <a:gd name="connsiteY18" fmla="*/ 1212956 h 3036099"/>
                  <a:gd name="connsiteX19" fmla="*/ 695915 w 1334531"/>
                  <a:gd name="connsiteY19" fmla="*/ 895734 h 3036099"/>
                  <a:gd name="connsiteX20" fmla="*/ 667680 w 1334531"/>
                  <a:gd name="connsiteY20" fmla="*/ 1081852 h 3036099"/>
                  <a:gd name="connsiteX21" fmla="*/ 602031 w 1334531"/>
                  <a:gd name="connsiteY21" fmla="*/ 1669237 h 3036099"/>
                  <a:gd name="connsiteX22" fmla="*/ 637531 w 1334531"/>
                  <a:gd name="connsiteY22" fmla="*/ 2510114 h 3036099"/>
                  <a:gd name="connsiteX23" fmla="*/ 614682 w 1334531"/>
                  <a:gd name="connsiteY23" fmla="*/ 2809553 h 3036099"/>
                  <a:gd name="connsiteX24" fmla="*/ 575008 w 1334531"/>
                  <a:gd name="connsiteY24" fmla="*/ 2910800 h 3036099"/>
                  <a:gd name="connsiteX25" fmla="*/ 286866 w 1334531"/>
                  <a:gd name="connsiteY25" fmla="*/ 2944902 h 3036099"/>
                  <a:gd name="connsiteX26" fmla="*/ 237481 w 1334531"/>
                  <a:gd name="connsiteY26" fmla="*/ 2863879 h 3036099"/>
                  <a:gd name="connsiteX27" fmla="*/ 226577 w 1334531"/>
                  <a:gd name="connsiteY27" fmla="*/ 2077171 h 3036099"/>
                  <a:gd name="connsiteX28" fmla="*/ 161841 w 1334531"/>
                  <a:gd name="connsiteY28" fmla="*/ 1818226 h 3036099"/>
                  <a:gd name="connsiteX29" fmla="*/ 137565 w 1334531"/>
                  <a:gd name="connsiteY29" fmla="*/ 1583557 h 3036099"/>
                  <a:gd name="connsiteX30" fmla="*/ 80921 w 1334531"/>
                  <a:gd name="connsiteY30" fmla="*/ 733893 h 3036099"/>
                  <a:gd name="connsiteX31" fmla="*/ 8092 w 1334531"/>
                  <a:gd name="connsiteY31" fmla="*/ 474948 h 3036099"/>
                  <a:gd name="connsiteX32" fmla="*/ 32369 w 1334531"/>
                  <a:gd name="connsiteY32" fmla="*/ 345475 h 3036099"/>
                  <a:gd name="connsiteX33" fmla="*/ 178025 w 1334531"/>
                  <a:gd name="connsiteY33" fmla="*/ 5610 h 3036099"/>
                  <a:gd name="connsiteX0" fmla="*/ 178025 w 1334531"/>
                  <a:gd name="connsiteY0" fmla="*/ 5610 h 3036099"/>
                  <a:gd name="connsiteX1" fmla="*/ 299406 w 1334531"/>
                  <a:gd name="connsiteY1" fmla="*/ 78438 h 3036099"/>
                  <a:gd name="connsiteX2" fmla="*/ 493615 w 1334531"/>
                  <a:gd name="connsiteY2" fmla="*/ 126990 h 3036099"/>
                  <a:gd name="connsiteX3" fmla="*/ 687823 w 1334531"/>
                  <a:gd name="connsiteY3" fmla="*/ 143174 h 3036099"/>
                  <a:gd name="connsiteX4" fmla="*/ 865848 w 1334531"/>
                  <a:gd name="connsiteY4" fmla="*/ 110806 h 3036099"/>
                  <a:gd name="connsiteX5" fmla="*/ 1181438 w 1334531"/>
                  <a:gd name="connsiteY5" fmla="*/ 264555 h 3036099"/>
                  <a:gd name="connsiteX6" fmla="*/ 1213078 w 1334531"/>
                  <a:gd name="connsiteY6" fmla="*/ 385935 h 3036099"/>
                  <a:gd name="connsiteX7" fmla="*/ 1327094 w 1334531"/>
                  <a:gd name="connsiteY7" fmla="*/ 491132 h 3036099"/>
                  <a:gd name="connsiteX8" fmla="*/ 1257699 w 1334531"/>
                  <a:gd name="connsiteY8" fmla="*/ 739368 h 3036099"/>
                  <a:gd name="connsiteX9" fmla="*/ 1210372 w 1334531"/>
                  <a:gd name="connsiteY9" fmla="*/ 1556545 h 3036099"/>
                  <a:gd name="connsiteX10" fmla="*/ 1171022 w 1334531"/>
                  <a:gd name="connsiteY10" fmla="*/ 2064083 h 3036099"/>
                  <a:gd name="connsiteX11" fmla="*/ 1172073 w 1334531"/>
                  <a:gd name="connsiteY11" fmla="*/ 2649779 h 3036099"/>
                  <a:gd name="connsiteX12" fmla="*/ 1202056 w 1334531"/>
                  <a:gd name="connsiteY12" fmla="*/ 2993493 h 3036099"/>
                  <a:gd name="connsiteX13" fmla="*/ 782673 w 1334531"/>
                  <a:gd name="connsiteY13" fmla="*/ 2846858 h 3036099"/>
                  <a:gd name="connsiteX14" fmla="*/ 782510 w 1334531"/>
                  <a:gd name="connsiteY14" fmla="*/ 2575013 h 3036099"/>
                  <a:gd name="connsiteX15" fmla="*/ 752944 w 1334531"/>
                  <a:gd name="connsiteY15" fmla="*/ 1953176 h 3036099"/>
                  <a:gd name="connsiteX16" fmla="*/ 753987 w 1334531"/>
                  <a:gd name="connsiteY16" fmla="*/ 1632109 h 3036099"/>
                  <a:gd name="connsiteX17" fmla="*/ 721477 w 1334531"/>
                  <a:gd name="connsiteY17" fmla="*/ 1212956 h 3036099"/>
                  <a:gd name="connsiteX18" fmla="*/ 695915 w 1334531"/>
                  <a:gd name="connsiteY18" fmla="*/ 895734 h 3036099"/>
                  <a:gd name="connsiteX19" fmla="*/ 667680 w 1334531"/>
                  <a:gd name="connsiteY19" fmla="*/ 1081852 h 3036099"/>
                  <a:gd name="connsiteX20" fmla="*/ 602031 w 1334531"/>
                  <a:gd name="connsiteY20" fmla="*/ 1669237 h 3036099"/>
                  <a:gd name="connsiteX21" fmla="*/ 637531 w 1334531"/>
                  <a:gd name="connsiteY21" fmla="*/ 2510114 h 3036099"/>
                  <a:gd name="connsiteX22" fmla="*/ 614682 w 1334531"/>
                  <a:gd name="connsiteY22" fmla="*/ 2809553 h 3036099"/>
                  <a:gd name="connsiteX23" fmla="*/ 575008 w 1334531"/>
                  <a:gd name="connsiteY23" fmla="*/ 2910800 h 3036099"/>
                  <a:gd name="connsiteX24" fmla="*/ 286866 w 1334531"/>
                  <a:gd name="connsiteY24" fmla="*/ 2944902 h 3036099"/>
                  <a:gd name="connsiteX25" fmla="*/ 237481 w 1334531"/>
                  <a:gd name="connsiteY25" fmla="*/ 2863879 h 3036099"/>
                  <a:gd name="connsiteX26" fmla="*/ 226577 w 1334531"/>
                  <a:gd name="connsiteY26" fmla="*/ 2077171 h 3036099"/>
                  <a:gd name="connsiteX27" fmla="*/ 161841 w 1334531"/>
                  <a:gd name="connsiteY27" fmla="*/ 1818226 h 3036099"/>
                  <a:gd name="connsiteX28" fmla="*/ 137565 w 1334531"/>
                  <a:gd name="connsiteY28" fmla="*/ 1583557 h 3036099"/>
                  <a:gd name="connsiteX29" fmla="*/ 80921 w 1334531"/>
                  <a:gd name="connsiteY29" fmla="*/ 733893 h 3036099"/>
                  <a:gd name="connsiteX30" fmla="*/ 8092 w 1334531"/>
                  <a:gd name="connsiteY30" fmla="*/ 474948 h 3036099"/>
                  <a:gd name="connsiteX31" fmla="*/ 32369 w 1334531"/>
                  <a:gd name="connsiteY31" fmla="*/ 345475 h 3036099"/>
                  <a:gd name="connsiteX32" fmla="*/ 178025 w 1334531"/>
                  <a:gd name="connsiteY32" fmla="*/ 5610 h 3036099"/>
                  <a:gd name="connsiteX0" fmla="*/ 178025 w 1334531"/>
                  <a:gd name="connsiteY0" fmla="*/ 5610 h 3036099"/>
                  <a:gd name="connsiteX1" fmla="*/ 299406 w 1334531"/>
                  <a:gd name="connsiteY1" fmla="*/ 78438 h 3036099"/>
                  <a:gd name="connsiteX2" fmla="*/ 493615 w 1334531"/>
                  <a:gd name="connsiteY2" fmla="*/ 126990 h 3036099"/>
                  <a:gd name="connsiteX3" fmla="*/ 687823 w 1334531"/>
                  <a:gd name="connsiteY3" fmla="*/ 143174 h 3036099"/>
                  <a:gd name="connsiteX4" fmla="*/ 1181438 w 1334531"/>
                  <a:gd name="connsiteY4" fmla="*/ 264555 h 3036099"/>
                  <a:gd name="connsiteX5" fmla="*/ 1213078 w 1334531"/>
                  <a:gd name="connsiteY5" fmla="*/ 385935 h 3036099"/>
                  <a:gd name="connsiteX6" fmla="*/ 1327094 w 1334531"/>
                  <a:gd name="connsiteY6" fmla="*/ 491132 h 3036099"/>
                  <a:gd name="connsiteX7" fmla="*/ 1257699 w 1334531"/>
                  <a:gd name="connsiteY7" fmla="*/ 739368 h 3036099"/>
                  <a:gd name="connsiteX8" fmla="*/ 1210372 w 1334531"/>
                  <a:gd name="connsiteY8" fmla="*/ 1556545 h 3036099"/>
                  <a:gd name="connsiteX9" fmla="*/ 1171022 w 1334531"/>
                  <a:gd name="connsiteY9" fmla="*/ 2064083 h 3036099"/>
                  <a:gd name="connsiteX10" fmla="*/ 1172073 w 1334531"/>
                  <a:gd name="connsiteY10" fmla="*/ 2649779 h 3036099"/>
                  <a:gd name="connsiteX11" fmla="*/ 1202056 w 1334531"/>
                  <a:gd name="connsiteY11" fmla="*/ 2993493 h 3036099"/>
                  <a:gd name="connsiteX12" fmla="*/ 782673 w 1334531"/>
                  <a:gd name="connsiteY12" fmla="*/ 2846858 h 3036099"/>
                  <a:gd name="connsiteX13" fmla="*/ 782510 w 1334531"/>
                  <a:gd name="connsiteY13" fmla="*/ 2575013 h 3036099"/>
                  <a:gd name="connsiteX14" fmla="*/ 752944 w 1334531"/>
                  <a:gd name="connsiteY14" fmla="*/ 1953176 h 3036099"/>
                  <a:gd name="connsiteX15" fmla="*/ 753987 w 1334531"/>
                  <a:gd name="connsiteY15" fmla="*/ 1632109 h 3036099"/>
                  <a:gd name="connsiteX16" fmla="*/ 721477 w 1334531"/>
                  <a:gd name="connsiteY16" fmla="*/ 1212956 h 3036099"/>
                  <a:gd name="connsiteX17" fmla="*/ 695915 w 1334531"/>
                  <a:gd name="connsiteY17" fmla="*/ 895734 h 3036099"/>
                  <a:gd name="connsiteX18" fmla="*/ 667680 w 1334531"/>
                  <a:gd name="connsiteY18" fmla="*/ 1081852 h 3036099"/>
                  <a:gd name="connsiteX19" fmla="*/ 602031 w 1334531"/>
                  <a:gd name="connsiteY19" fmla="*/ 1669237 h 3036099"/>
                  <a:gd name="connsiteX20" fmla="*/ 637531 w 1334531"/>
                  <a:gd name="connsiteY20" fmla="*/ 2510114 h 3036099"/>
                  <a:gd name="connsiteX21" fmla="*/ 614682 w 1334531"/>
                  <a:gd name="connsiteY21" fmla="*/ 2809553 h 3036099"/>
                  <a:gd name="connsiteX22" fmla="*/ 575008 w 1334531"/>
                  <a:gd name="connsiteY22" fmla="*/ 2910800 h 3036099"/>
                  <a:gd name="connsiteX23" fmla="*/ 286866 w 1334531"/>
                  <a:gd name="connsiteY23" fmla="*/ 2944902 h 3036099"/>
                  <a:gd name="connsiteX24" fmla="*/ 237481 w 1334531"/>
                  <a:gd name="connsiteY24" fmla="*/ 2863879 h 3036099"/>
                  <a:gd name="connsiteX25" fmla="*/ 226577 w 1334531"/>
                  <a:gd name="connsiteY25" fmla="*/ 2077171 h 3036099"/>
                  <a:gd name="connsiteX26" fmla="*/ 161841 w 1334531"/>
                  <a:gd name="connsiteY26" fmla="*/ 1818226 h 3036099"/>
                  <a:gd name="connsiteX27" fmla="*/ 137565 w 1334531"/>
                  <a:gd name="connsiteY27" fmla="*/ 1583557 h 3036099"/>
                  <a:gd name="connsiteX28" fmla="*/ 80921 w 1334531"/>
                  <a:gd name="connsiteY28" fmla="*/ 733893 h 3036099"/>
                  <a:gd name="connsiteX29" fmla="*/ 8092 w 1334531"/>
                  <a:gd name="connsiteY29" fmla="*/ 474948 h 3036099"/>
                  <a:gd name="connsiteX30" fmla="*/ 32369 w 1334531"/>
                  <a:gd name="connsiteY30" fmla="*/ 345475 h 3036099"/>
                  <a:gd name="connsiteX31" fmla="*/ 178025 w 1334531"/>
                  <a:gd name="connsiteY31" fmla="*/ 5610 h 3036099"/>
                  <a:gd name="connsiteX0" fmla="*/ 178025 w 1334531"/>
                  <a:gd name="connsiteY0" fmla="*/ 5610 h 3036099"/>
                  <a:gd name="connsiteX1" fmla="*/ 299406 w 1334531"/>
                  <a:gd name="connsiteY1" fmla="*/ 78438 h 3036099"/>
                  <a:gd name="connsiteX2" fmla="*/ 493615 w 1334531"/>
                  <a:gd name="connsiteY2" fmla="*/ 126990 h 3036099"/>
                  <a:gd name="connsiteX3" fmla="*/ 1181438 w 1334531"/>
                  <a:gd name="connsiteY3" fmla="*/ 264555 h 3036099"/>
                  <a:gd name="connsiteX4" fmla="*/ 1213078 w 1334531"/>
                  <a:gd name="connsiteY4" fmla="*/ 385935 h 3036099"/>
                  <a:gd name="connsiteX5" fmla="*/ 1327094 w 1334531"/>
                  <a:gd name="connsiteY5" fmla="*/ 491132 h 3036099"/>
                  <a:gd name="connsiteX6" fmla="*/ 1257699 w 1334531"/>
                  <a:gd name="connsiteY6" fmla="*/ 739368 h 3036099"/>
                  <a:gd name="connsiteX7" fmla="*/ 1210372 w 1334531"/>
                  <a:gd name="connsiteY7" fmla="*/ 1556545 h 3036099"/>
                  <a:gd name="connsiteX8" fmla="*/ 1171022 w 1334531"/>
                  <a:gd name="connsiteY8" fmla="*/ 2064083 h 3036099"/>
                  <a:gd name="connsiteX9" fmla="*/ 1172073 w 1334531"/>
                  <a:gd name="connsiteY9" fmla="*/ 2649779 h 3036099"/>
                  <a:gd name="connsiteX10" fmla="*/ 1202056 w 1334531"/>
                  <a:gd name="connsiteY10" fmla="*/ 2993493 h 3036099"/>
                  <a:gd name="connsiteX11" fmla="*/ 782673 w 1334531"/>
                  <a:gd name="connsiteY11" fmla="*/ 2846858 h 3036099"/>
                  <a:gd name="connsiteX12" fmla="*/ 782510 w 1334531"/>
                  <a:gd name="connsiteY12" fmla="*/ 2575013 h 3036099"/>
                  <a:gd name="connsiteX13" fmla="*/ 752944 w 1334531"/>
                  <a:gd name="connsiteY13" fmla="*/ 1953176 h 3036099"/>
                  <a:gd name="connsiteX14" fmla="*/ 753987 w 1334531"/>
                  <a:gd name="connsiteY14" fmla="*/ 1632109 h 3036099"/>
                  <a:gd name="connsiteX15" fmla="*/ 721477 w 1334531"/>
                  <a:gd name="connsiteY15" fmla="*/ 1212956 h 3036099"/>
                  <a:gd name="connsiteX16" fmla="*/ 695915 w 1334531"/>
                  <a:gd name="connsiteY16" fmla="*/ 895734 h 3036099"/>
                  <a:gd name="connsiteX17" fmla="*/ 667680 w 1334531"/>
                  <a:gd name="connsiteY17" fmla="*/ 1081852 h 3036099"/>
                  <a:gd name="connsiteX18" fmla="*/ 602031 w 1334531"/>
                  <a:gd name="connsiteY18" fmla="*/ 1669237 h 3036099"/>
                  <a:gd name="connsiteX19" fmla="*/ 637531 w 1334531"/>
                  <a:gd name="connsiteY19" fmla="*/ 2510114 h 3036099"/>
                  <a:gd name="connsiteX20" fmla="*/ 614682 w 1334531"/>
                  <a:gd name="connsiteY20" fmla="*/ 2809553 h 3036099"/>
                  <a:gd name="connsiteX21" fmla="*/ 575008 w 1334531"/>
                  <a:gd name="connsiteY21" fmla="*/ 2910800 h 3036099"/>
                  <a:gd name="connsiteX22" fmla="*/ 286866 w 1334531"/>
                  <a:gd name="connsiteY22" fmla="*/ 2944902 h 3036099"/>
                  <a:gd name="connsiteX23" fmla="*/ 237481 w 1334531"/>
                  <a:gd name="connsiteY23" fmla="*/ 2863879 h 3036099"/>
                  <a:gd name="connsiteX24" fmla="*/ 226577 w 1334531"/>
                  <a:gd name="connsiteY24" fmla="*/ 2077171 h 3036099"/>
                  <a:gd name="connsiteX25" fmla="*/ 161841 w 1334531"/>
                  <a:gd name="connsiteY25" fmla="*/ 1818226 h 3036099"/>
                  <a:gd name="connsiteX26" fmla="*/ 137565 w 1334531"/>
                  <a:gd name="connsiteY26" fmla="*/ 1583557 h 3036099"/>
                  <a:gd name="connsiteX27" fmla="*/ 80921 w 1334531"/>
                  <a:gd name="connsiteY27" fmla="*/ 733893 h 3036099"/>
                  <a:gd name="connsiteX28" fmla="*/ 8092 w 1334531"/>
                  <a:gd name="connsiteY28" fmla="*/ 474948 h 3036099"/>
                  <a:gd name="connsiteX29" fmla="*/ 32369 w 1334531"/>
                  <a:gd name="connsiteY29" fmla="*/ 345475 h 3036099"/>
                  <a:gd name="connsiteX30" fmla="*/ 178025 w 1334531"/>
                  <a:gd name="connsiteY30" fmla="*/ 5610 h 3036099"/>
                  <a:gd name="connsiteX0" fmla="*/ 178025 w 1334531"/>
                  <a:gd name="connsiteY0" fmla="*/ 5610 h 3036099"/>
                  <a:gd name="connsiteX1" fmla="*/ 299406 w 1334531"/>
                  <a:gd name="connsiteY1" fmla="*/ 78438 h 3036099"/>
                  <a:gd name="connsiteX2" fmla="*/ 1181438 w 1334531"/>
                  <a:gd name="connsiteY2" fmla="*/ 264555 h 3036099"/>
                  <a:gd name="connsiteX3" fmla="*/ 1213078 w 1334531"/>
                  <a:gd name="connsiteY3" fmla="*/ 385935 h 3036099"/>
                  <a:gd name="connsiteX4" fmla="*/ 1327094 w 1334531"/>
                  <a:gd name="connsiteY4" fmla="*/ 491132 h 3036099"/>
                  <a:gd name="connsiteX5" fmla="*/ 1257699 w 1334531"/>
                  <a:gd name="connsiteY5" fmla="*/ 739368 h 3036099"/>
                  <a:gd name="connsiteX6" fmla="*/ 1210372 w 1334531"/>
                  <a:gd name="connsiteY6" fmla="*/ 1556545 h 3036099"/>
                  <a:gd name="connsiteX7" fmla="*/ 1171022 w 1334531"/>
                  <a:gd name="connsiteY7" fmla="*/ 2064083 h 3036099"/>
                  <a:gd name="connsiteX8" fmla="*/ 1172073 w 1334531"/>
                  <a:gd name="connsiteY8" fmla="*/ 2649779 h 3036099"/>
                  <a:gd name="connsiteX9" fmla="*/ 1202056 w 1334531"/>
                  <a:gd name="connsiteY9" fmla="*/ 2993493 h 3036099"/>
                  <a:gd name="connsiteX10" fmla="*/ 782673 w 1334531"/>
                  <a:gd name="connsiteY10" fmla="*/ 2846858 h 3036099"/>
                  <a:gd name="connsiteX11" fmla="*/ 782510 w 1334531"/>
                  <a:gd name="connsiteY11" fmla="*/ 2575013 h 3036099"/>
                  <a:gd name="connsiteX12" fmla="*/ 752944 w 1334531"/>
                  <a:gd name="connsiteY12" fmla="*/ 1953176 h 3036099"/>
                  <a:gd name="connsiteX13" fmla="*/ 753987 w 1334531"/>
                  <a:gd name="connsiteY13" fmla="*/ 1632109 h 3036099"/>
                  <a:gd name="connsiteX14" fmla="*/ 721477 w 1334531"/>
                  <a:gd name="connsiteY14" fmla="*/ 1212956 h 3036099"/>
                  <a:gd name="connsiteX15" fmla="*/ 695915 w 1334531"/>
                  <a:gd name="connsiteY15" fmla="*/ 895734 h 3036099"/>
                  <a:gd name="connsiteX16" fmla="*/ 667680 w 1334531"/>
                  <a:gd name="connsiteY16" fmla="*/ 1081852 h 3036099"/>
                  <a:gd name="connsiteX17" fmla="*/ 602031 w 1334531"/>
                  <a:gd name="connsiteY17" fmla="*/ 1669237 h 3036099"/>
                  <a:gd name="connsiteX18" fmla="*/ 637531 w 1334531"/>
                  <a:gd name="connsiteY18" fmla="*/ 2510114 h 3036099"/>
                  <a:gd name="connsiteX19" fmla="*/ 614682 w 1334531"/>
                  <a:gd name="connsiteY19" fmla="*/ 2809553 h 3036099"/>
                  <a:gd name="connsiteX20" fmla="*/ 575008 w 1334531"/>
                  <a:gd name="connsiteY20" fmla="*/ 2910800 h 3036099"/>
                  <a:gd name="connsiteX21" fmla="*/ 286866 w 1334531"/>
                  <a:gd name="connsiteY21" fmla="*/ 2944902 h 3036099"/>
                  <a:gd name="connsiteX22" fmla="*/ 237481 w 1334531"/>
                  <a:gd name="connsiteY22" fmla="*/ 2863879 h 3036099"/>
                  <a:gd name="connsiteX23" fmla="*/ 226577 w 1334531"/>
                  <a:gd name="connsiteY23" fmla="*/ 2077171 h 3036099"/>
                  <a:gd name="connsiteX24" fmla="*/ 161841 w 1334531"/>
                  <a:gd name="connsiteY24" fmla="*/ 1818226 h 3036099"/>
                  <a:gd name="connsiteX25" fmla="*/ 137565 w 1334531"/>
                  <a:gd name="connsiteY25" fmla="*/ 1583557 h 3036099"/>
                  <a:gd name="connsiteX26" fmla="*/ 80921 w 1334531"/>
                  <a:gd name="connsiteY26" fmla="*/ 733893 h 3036099"/>
                  <a:gd name="connsiteX27" fmla="*/ 8092 w 1334531"/>
                  <a:gd name="connsiteY27" fmla="*/ 474948 h 3036099"/>
                  <a:gd name="connsiteX28" fmla="*/ 32369 w 1334531"/>
                  <a:gd name="connsiteY28" fmla="*/ 345475 h 3036099"/>
                  <a:gd name="connsiteX29" fmla="*/ 178025 w 1334531"/>
                  <a:gd name="connsiteY29" fmla="*/ 5610 h 3036099"/>
                  <a:gd name="connsiteX0" fmla="*/ 178025 w 1353947"/>
                  <a:gd name="connsiteY0" fmla="*/ 13487 h 3043976"/>
                  <a:gd name="connsiteX1" fmla="*/ 1181438 w 1353947"/>
                  <a:gd name="connsiteY1" fmla="*/ 272432 h 3043976"/>
                  <a:gd name="connsiteX2" fmla="*/ 1213078 w 1353947"/>
                  <a:gd name="connsiteY2" fmla="*/ 393812 h 3043976"/>
                  <a:gd name="connsiteX3" fmla="*/ 1327094 w 1353947"/>
                  <a:gd name="connsiteY3" fmla="*/ 499009 h 3043976"/>
                  <a:gd name="connsiteX4" fmla="*/ 1257699 w 1353947"/>
                  <a:gd name="connsiteY4" fmla="*/ 747245 h 3043976"/>
                  <a:gd name="connsiteX5" fmla="*/ 1210372 w 1353947"/>
                  <a:gd name="connsiteY5" fmla="*/ 1564422 h 3043976"/>
                  <a:gd name="connsiteX6" fmla="*/ 1171022 w 1353947"/>
                  <a:gd name="connsiteY6" fmla="*/ 2071960 h 3043976"/>
                  <a:gd name="connsiteX7" fmla="*/ 1172073 w 1353947"/>
                  <a:gd name="connsiteY7" fmla="*/ 2657656 h 3043976"/>
                  <a:gd name="connsiteX8" fmla="*/ 1202056 w 1353947"/>
                  <a:gd name="connsiteY8" fmla="*/ 3001370 h 3043976"/>
                  <a:gd name="connsiteX9" fmla="*/ 782673 w 1353947"/>
                  <a:gd name="connsiteY9" fmla="*/ 2854735 h 3043976"/>
                  <a:gd name="connsiteX10" fmla="*/ 782510 w 1353947"/>
                  <a:gd name="connsiteY10" fmla="*/ 2582890 h 3043976"/>
                  <a:gd name="connsiteX11" fmla="*/ 752944 w 1353947"/>
                  <a:gd name="connsiteY11" fmla="*/ 1961053 h 3043976"/>
                  <a:gd name="connsiteX12" fmla="*/ 753987 w 1353947"/>
                  <a:gd name="connsiteY12" fmla="*/ 1639986 h 3043976"/>
                  <a:gd name="connsiteX13" fmla="*/ 721477 w 1353947"/>
                  <a:gd name="connsiteY13" fmla="*/ 1220833 h 3043976"/>
                  <a:gd name="connsiteX14" fmla="*/ 695915 w 1353947"/>
                  <a:gd name="connsiteY14" fmla="*/ 903611 h 3043976"/>
                  <a:gd name="connsiteX15" fmla="*/ 667680 w 1353947"/>
                  <a:gd name="connsiteY15" fmla="*/ 1089729 h 3043976"/>
                  <a:gd name="connsiteX16" fmla="*/ 602031 w 1353947"/>
                  <a:gd name="connsiteY16" fmla="*/ 1677114 h 3043976"/>
                  <a:gd name="connsiteX17" fmla="*/ 637531 w 1353947"/>
                  <a:gd name="connsiteY17" fmla="*/ 2517991 h 3043976"/>
                  <a:gd name="connsiteX18" fmla="*/ 614682 w 1353947"/>
                  <a:gd name="connsiteY18" fmla="*/ 2817430 h 3043976"/>
                  <a:gd name="connsiteX19" fmla="*/ 575008 w 1353947"/>
                  <a:gd name="connsiteY19" fmla="*/ 2918677 h 3043976"/>
                  <a:gd name="connsiteX20" fmla="*/ 286866 w 1353947"/>
                  <a:gd name="connsiteY20" fmla="*/ 2952779 h 3043976"/>
                  <a:gd name="connsiteX21" fmla="*/ 237481 w 1353947"/>
                  <a:gd name="connsiteY21" fmla="*/ 2871756 h 3043976"/>
                  <a:gd name="connsiteX22" fmla="*/ 226577 w 1353947"/>
                  <a:gd name="connsiteY22" fmla="*/ 2085048 h 3043976"/>
                  <a:gd name="connsiteX23" fmla="*/ 161841 w 1353947"/>
                  <a:gd name="connsiteY23" fmla="*/ 1826103 h 3043976"/>
                  <a:gd name="connsiteX24" fmla="*/ 137565 w 1353947"/>
                  <a:gd name="connsiteY24" fmla="*/ 1591434 h 3043976"/>
                  <a:gd name="connsiteX25" fmla="*/ 80921 w 1353947"/>
                  <a:gd name="connsiteY25" fmla="*/ 741770 h 3043976"/>
                  <a:gd name="connsiteX26" fmla="*/ 8092 w 1353947"/>
                  <a:gd name="connsiteY26" fmla="*/ 482825 h 3043976"/>
                  <a:gd name="connsiteX27" fmla="*/ 32369 w 1353947"/>
                  <a:gd name="connsiteY27" fmla="*/ 353352 h 3043976"/>
                  <a:gd name="connsiteX28" fmla="*/ 178025 w 1353947"/>
                  <a:gd name="connsiteY28" fmla="*/ 13487 h 3043976"/>
                  <a:gd name="connsiteX0" fmla="*/ 195557 w 1541412"/>
                  <a:gd name="connsiteY0" fmla="*/ 87664 h 2778288"/>
                  <a:gd name="connsiteX1" fmla="*/ 1344626 w 1541412"/>
                  <a:gd name="connsiteY1" fmla="*/ 6744 h 2778288"/>
                  <a:gd name="connsiteX2" fmla="*/ 1376266 w 1541412"/>
                  <a:gd name="connsiteY2" fmla="*/ 128124 h 2778288"/>
                  <a:gd name="connsiteX3" fmla="*/ 1490282 w 1541412"/>
                  <a:gd name="connsiteY3" fmla="*/ 233321 h 2778288"/>
                  <a:gd name="connsiteX4" fmla="*/ 1420887 w 1541412"/>
                  <a:gd name="connsiteY4" fmla="*/ 481557 h 2778288"/>
                  <a:gd name="connsiteX5" fmla="*/ 1373560 w 1541412"/>
                  <a:gd name="connsiteY5" fmla="*/ 1298734 h 2778288"/>
                  <a:gd name="connsiteX6" fmla="*/ 1334210 w 1541412"/>
                  <a:gd name="connsiteY6" fmla="*/ 1806272 h 2778288"/>
                  <a:gd name="connsiteX7" fmla="*/ 1335261 w 1541412"/>
                  <a:gd name="connsiteY7" fmla="*/ 2391968 h 2778288"/>
                  <a:gd name="connsiteX8" fmla="*/ 1365244 w 1541412"/>
                  <a:gd name="connsiteY8" fmla="*/ 2735682 h 2778288"/>
                  <a:gd name="connsiteX9" fmla="*/ 945861 w 1541412"/>
                  <a:gd name="connsiteY9" fmla="*/ 2589047 h 2778288"/>
                  <a:gd name="connsiteX10" fmla="*/ 945698 w 1541412"/>
                  <a:gd name="connsiteY10" fmla="*/ 2317202 h 2778288"/>
                  <a:gd name="connsiteX11" fmla="*/ 916132 w 1541412"/>
                  <a:gd name="connsiteY11" fmla="*/ 1695365 h 2778288"/>
                  <a:gd name="connsiteX12" fmla="*/ 917175 w 1541412"/>
                  <a:gd name="connsiteY12" fmla="*/ 1374298 h 2778288"/>
                  <a:gd name="connsiteX13" fmla="*/ 884665 w 1541412"/>
                  <a:gd name="connsiteY13" fmla="*/ 955145 h 2778288"/>
                  <a:gd name="connsiteX14" fmla="*/ 859103 w 1541412"/>
                  <a:gd name="connsiteY14" fmla="*/ 637923 h 2778288"/>
                  <a:gd name="connsiteX15" fmla="*/ 830868 w 1541412"/>
                  <a:gd name="connsiteY15" fmla="*/ 824041 h 2778288"/>
                  <a:gd name="connsiteX16" fmla="*/ 765219 w 1541412"/>
                  <a:gd name="connsiteY16" fmla="*/ 1411426 h 2778288"/>
                  <a:gd name="connsiteX17" fmla="*/ 800719 w 1541412"/>
                  <a:gd name="connsiteY17" fmla="*/ 2252303 h 2778288"/>
                  <a:gd name="connsiteX18" fmla="*/ 777870 w 1541412"/>
                  <a:gd name="connsiteY18" fmla="*/ 2551742 h 2778288"/>
                  <a:gd name="connsiteX19" fmla="*/ 738196 w 1541412"/>
                  <a:gd name="connsiteY19" fmla="*/ 2652989 h 2778288"/>
                  <a:gd name="connsiteX20" fmla="*/ 450054 w 1541412"/>
                  <a:gd name="connsiteY20" fmla="*/ 2687091 h 2778288"/>
                  <a:gd name="connsiteX21" fmla="*/ 400669 w 1541412"/>
                  <a:gd name="connsiteY21" fmla="*/ 2606068 h 2778288"/>
                  <a:gd name="connsiteX22" fmla="*/ 389765 w 1541412"/>
                  <a:gd name="connsiteY22" fmla="*/ 1819360 h 2778288"/>
                  <a:gd name="connsiteX23" fmla="*/ 325029 w 1541412"/>
                  <a:gd name="connsiteY23" fmla="*/ 1560415 h 2778288"/>
                  <a:gd name="connsiteX24" fmla="*/ 300753 w 1541412"/>
                  <a:gd name="connsiteY24" fmla="*/ 1325746 h 2778288"/>
                  <a:gd name="connsiteX25" fmla="*/ 244109 w 1541412"/>
                  <a:gd name="connsiteY25" fmla="*/ 476082 h 2778288"/>
                  <a:gd name="connsiteX26" fmla="*/ 171280 w 1541412"/>
                  <a:gd name="connsiteY26" fmla="*/ 217137 h 2778288"/>
                  <a:gd name="connsiteX27" fmla="*/ 195557 w 1541412"/>
                  <a:gd name="connsiteY27" fmla="*/ 87664 h 2778288"/>
                  <a:gd name="connsiteX0" fmla="*/ 200830 w 1597325"/>
                  <a:gd name="connsiteY0" fmla="*/ 14837 h 2705461"/>
                  <a:gd name="connsiteX1" fmla="*/ 1381539 w 1597325"/>
                  <a:gd name="connsiteY1" fmla="*/ 55297 h 2705461"/>
                  <a:gd name="connsiteX2" fmla="*/ 1495555 w 1597325"/>
                  <a:gd name="connsiteY2" fmla="*/ 160494 h 2705461"/>
                  <a:gd name="connsiteX3" fmla="*/ 1426160 w 1597325"/>
                  <a:gd name="connsiteY3" fmla="*/ 408730 h 2705461"/>
                  <a:gd name="connsiteX4" fmla="*/ 1378833 w 1597325"/>
                  <a:gd name="connsiteY4" fmla="*/ 1225907 h 2705461"/>
                  <a:gd name="connsiteX5" fmla="*/ 1339483 w 1597325"/>
                  <a:gd name="connsiteY5" fmla="*/ 1733445 h 2705461"/>
                  <a:gd name="connsiteX6" fmla="*/ 1340534 w 1597325"/>
                  <a:gd name="connsiteY6" fmla="*/ 2319141 h 2705461"/>
                  <a:gd name="connsiteX7" fmla="*/ 1370517 w 1597325"/>
                  <a:gd name="connsiteY7" fmla="*/ 2662855 h 2705461"/>
                  <a:gd name="connsiteX8" fmla="*/ 951134 w 1597325"/>
                  <a:gd name="connsiteY8" fmla="*/ 2516220 h 2705461"/>
                  <a:gd name="connsiteX9" fmla="*/ 950971 w 1597325"/>
                  <a:gd name="connsiteY9" fmla="*/ 2244375 h 2705461"/>
                  <a:gd name="connsiteX10" fmla="*/ 921405 w 1597325"/>
                  <a:gd name="connsiteY10" fmla="*/ 1622538 h 2705461"/>
                  <a:gd name="connsiteX11" fmla="*/ 922448 w 1597325"/>
                  <a:gd name="connsiteY11" fmla="*/ 1301471 h 2705461"/>
                  <a:gd name="connsiteX12" fmla="*/ 889938 w 1597325"/>
                  <a:gd name="connsiteY12" fmla="*/ 882318 h 2705461"/>
                  <a:gd name="connsiteX13" fmla="*/ 864376 w 1597325"/>
                  <a:gd name="connsiteY13" fmla="*/ 565096 h 2705461"/>
                  <a:gd name="connsiteX14" fmla="*/ 836141 w 1597325"/>
                  <a:gd name="connsiteY14" fmla="*/ 751214 h 2705461"/>
                  <a:gd name="connsiteX15" fmla="*/ 770492 w 1597325"/>
                  <a:gd name="connsiteY15" fmla="*/ 1338599 h 2705461"/>
                  <a:gd name="connsiteX16" fmla="*/ 805992 w 1597325"/>
                  <a:gd name="connsiteY16" fmla="*/ 2179476 h 2705461"/>
                  <a:gd name="connsiteX17" fmla="*/ 783143 w 1597325"/>
                  <a:gd name="connsiteY17" fmla="*/ 2478915 h 2705461"/>
                  <a:gd name="connsiteX18" fmla="*/ 743469 w 1597325"/>
                  <a:gd name="connsiteY18" fmla="*/ 2580162 h 2705461"/>
                  <a:gd name="connsiteX19" fmla="*/ 455327 w 1597325"/>
                  <a:gd name="connsiteY19" fmla="*/ 2614264 h 2705461"/>
                  <a:gd name="connsiteX20" fmla="*/ 405942 w 1597325"/>
                  <a:gd name="connsiteY20" fmla="*/ 2533241 h 2705461"/>
                  <a:gd name="connsiteX21" fmla="*/ 395038 w 1597325"/>
                  <a:gd name="connsiteY21" fmla="*/ 1746533 h 2705461"/>
                  <a:gd name="connsiteX22" fmla="*/ 330302 w 1597325"/>
                  <a:gd name="connsiteY22" fmla="*/ 1487588 h 2705461"/>
                  <a:gd name="connsiteX23" fmla="*/ 306026 w 1597325"/>
                  <a:gd name="connsiteY23" fmla="*/ 1252919 h 2705461"/>
                  <a:gd name="connsiteX24" fmla="*/ 249382 w 1597325"/>
                  <a:gd name="connsiteY24" fmla="*/ 403255 h 2705461"/>
                  <a:gd name="connsiteX25" fmla="*/ 176553 w 1597325"/>
                  <a:gd name="connsiteY25" fmla="*/ 144310 h 2705461"/>
                  <a:gd name="connsiteX26" fmla="*/ 200830 w 1597325"/>
                  <a:gd name="connsiteY26" fmla="*/ 14837 h 2705461"/>
                  <a:gd name="connsiteX0" fmla="*/ 178742 w 1502992"/>
                  <a:gd name="connsiteY0" fmla="*/ 14835 h 2705459"/>
                  <a:gd name="connsiteX1" fmla="*/ 1226920 w 1502992"/>
                  <a:gd name="connsiteY1" fmla="*/ 55296 h 2705459"/>
                  <a:gd name="connsiteX2" fmla="*/ 1473467 w 1502992"/>
                  <a:gd name="connsiteY2" fmla="*/ 160492 h 2705459"/>
                  <a:gd name="connsiteX3" fmla="*/ 1404072 w 1502992"/>
                  <a:gd name="connsiteY3" fmla="*/ 408728 h 2705459"/>
                  <a:gd name="connsiteX4" fmla="*/ 1356745 w 1502992"/>
                  <a:gd name="connsiteY4" fmla="*/ 1225905 h 2705459"/>
                  <a:gd name="connsiteX5" fmla="*/ 1317395 w 1502992"/>
                  <a:gd name="connsiteY5" fmla="*/ 1733443 h 2705459"/>
                  <a:gd name="connsiteX6" fmla="*/ 1318446 w 1502992"/>
                  <a:gd name="connsiteY6" fmla="*/ 2319139 h 2705459"/>
                  <a:gd name="connsiteX7" fmla="*/ 1348429 w 1502992"/>
                  <a:gd name="connsiteY7" fmla="*/ 2662853 h 2705459"/>
                  <a:gd name="connsiteX8" fmla="*/ 929046 w 1502992"/>
                  <a:gd name="connsiteY8" fmla="*/ 2516218 h 2705459"/>
                  <a:gd name="connsiteX9" fmla="*/ 928883 w 1502992"/>
                  <a:gd name="connsiteY9" fmla="*/ 2244373 h 2705459"/>
                  <a:gd name="connsiteX10" fmla="*/ 899317 w 1502992"/>
                  <a:gd name="connsiteY10" fmla="*/ 1622536 h 2705459"/>
                  <a:gd name="connsiteX11" fmla="*/ 900360 w 1502992"/>
                  <a:gd name="connsiteY11" fmla="*/ 1301469 h 2705459"/>
                  <a:gd name="connsiteX12" fmla="*/ 867850 w 1502992"/>
                  <a:gd name="connsiteY12" fmla="*/ 882316 h 2705459"/>
                  <a:gd name="connsiteX13" fmla="*/ 842288 w 1502992"/>
                  <a:gd name="connsiteY13" fmla="*/ 565094 h 2705459"/>
                  <a:gd name="connsiteX14" fmla="*/ 814053 w 1502992"/>
                  <a:gd name="connsiteY14" fmla="*/ 751212 h 2705459"/>
                  <a:gd name="connsiteX15" fmla="*/ 748404 w 1502992"/>
                  <a:gd name="connsiteY15" fmla="*/ 1338597 h 2705459"/>
                  <a:gd name="connsiteX16" fmla="*/ 783904 w 1502992"/>
                  <a:gd name="connsiteY16" fmla="*/ 2179474 h 2705459"/>
                  <a:gd name="connsiteX17" fmla="*/ 761055 w 1502992"/>
                  <a:gd name="connsiteY17" fmla="*/ 2478913 h 2705459"/>
                  <a:gd name="connsiteX18" fmla="*/ 721381 w 1502992"/>
                  <a:gd name="connsiteY18" fmla="*/ 2580160 h 2705459"/>
                  <a:gd name="connsiteX19" fmla="*/ 433239 w 1502992"/>
                  <a:gd name="connsiteY19" fmla="*/ 2614262 h 2705459"/>
                  <a:gd name="connsiteX20" fmla="*/ 383854 w 1502992"/>
                  <a:gd name="connsiteY20" fmla="*/ 2533239 h 2705459"/>
                  <a:gd name="connsiteX21" fmla="*/ 372950 w 1502992"/>
                  <a:gd name="connsiteY21" fmla="*/ 1746531 h 2705459"/>
                  <a:gd name="connsiteX22" fmla="*/ 308214 w 1502992"/>
                  <a:gd name="connsiteY22" fmla="*/ 1487586 h 2705459"/>
                  <a:gd name="connsiteX23" fmla="*/ 283938 w 1502992"/>
                  <a:gd name="connsiteY23" fmla="*/ 1252917 h 2705459"/>
                  <a:gd name="connsiteX24" fmla="*/ 227294 w 1502992"/>
                  <a:gd name="connsiteY24" fmla="*/ 403253 h 2705459"/>
                  <a:gd name="connsiteX25" fmla="*/ 154465 w 1502992"/>
                  <a:gd name="connsiteY25" fmla="*/ 144308 h 2705459"/>
                  <a:gd name="connsiteX26" fmla="*/ 178742 w 1502992"/>
                  <a:gd name="connsiteY26" fmla="*/ 14835 h 2705459"/>
                  <a:gd name="connsiteX0" fmla="*/ 190972 w 1365405"/>
                  <a:gd name="connsiteY0" fmla="*/ 14835 h 2716170"/>
                  <a:gd name="connsiteX1" fmla="*/ 1089333 w 1365405"/>
                  <a:gd name="connsiteY1" fmla="*/ 66007 h 2716170"/>
                  <a:gd name="connsiteX2" fmla="*/ 1335880 w 1365405"/>
                  <a:gd name="connsiteY2" fmla="*/ 171203 h 2716170"/>
                  <a:gd name="connsiteX3" fmla="*/ 1266485 w 1365405"/>
                  <a:gd name="connsiteY3" fmla="*/ 419439 h 2716170"/>
                  <a:gd name="connsiteX4" fmla="*/ 1219158 w 1365405"/>
                  <a:gd name="connsiteY4" fmla="*/ 1236616 h 2716170"/>
                  <a:gd name="connsiteX5" fmla="*/ 1179808 w 1365405"/>
                  <a:gd name="connsiteY5" fmla="*/ 1744154 h 2716170"/>
                  <a:gd name="connsiteX6" fmla="*/ 1180859 w 1365405"/>
                  <a:gd name="connsiteY6" fmla="*/ 2329850 h 2716170"/>
                  <a:gd name="connsiteX7" fmla="*/ 1210842 w 1365405"/>
                  <a:gd name="connsiteY7" fmla="*/ 2673564 h 2716170"/>
                  <a:gd name="connsiteX8" fmla="*/ 791459 w 1365405"/>
                  <a:gd name="connsiteY8" fmla="*/ 2526929 h 2716170"/>
                  <a:gd name="connsiteX9" fmla="*/ 791296 w 1365405"/>
                  <a:gd name="connsiteY9" fmla="*/ 2255084 h 2716170"/>
                  <a:gd name="connsiteX10" fmla="*/ 761730 w 1365405"/>
                  <a:gd name="connsiteY10" fmla="*/ 1633247 h 2716170"/>
                  <a:gd name="connsiteX11" fmla="*/ 762773 w 1365405"/>
                  <a:gd name="connsiteY11" fmla="*/ 1312180 h 2716170"/>
                  <a:gd name="connsiteX12" fmla="*/ 730263 w 1365405"/>
                  <a:gd name="connsiteY12" fmla="*/ 893027 h 2716170"/>
                  <a:gd name="connsiteX13" fmla="*/ 704701 w 1365405"/>
                  <a:gd name="connsiteY13" fmla="*/ 575805 h 2716170"/>
                  <a:gd name="connsiteX14" fmla="*/ 676466 w 1365405"/>
                  <a:gd name="connsiteY14" fmla="*/ 761923 h 2716170"/>
                  <a:gd name="connsiteX15" fmla="*/ 610817 w 1365405"/>
                  <a:gd name="connsiteY15" fmla="*/ 1349308 h 2716170"/>
                  <a:gd name="connsiteX16" fmla="*/ 646317 w 1365405"/>
                  <a:gd name="connsiteY16" fmla="*/ 2190185 h 2716170"/>
                  <a:gd name="connsiteX17" fmla="*/ 623468 w 1365405"/>
                  <a:gd name="connsiteY17" fmla="*/ 2489624 h 2716170"/>
                  <a:gd name="connsiteX18" fmla="*/ 583794 w 1365405"/>
                  <a:gd name="connsiteY18" fmla="*/ 2590871 h 2716170"/>
                  <a:gd name="connsiteX19" fmla="*/ 295652 w 1365405"/>
                  <a:gd name="connsiteY19" fmla="*/ 2624973 h 2716170"/>
                  <a:gd name="connsiteX20" fmla="*/ 246267 w 1365405"/>
                  <a:gd name="connsiteY20" fmla="*/ 2543950 h 2716170"/>
                  <a:gd name="connsiteX21" fmla="*/ 235363 w 1365405"/>
                  <a:gd name="connsiteY21" fmla="*/ 1757242 h 2716170"/>
                  <a:gd name="connsiteX22" fmla="*/ 170627 w 1365405"/>
                  <a:gd name="connsiteY22" fmla="*/ 1498297 h 2716170"/>
                  <a:gd name="connsiteX23" fmla="*/ 146351 w 1365405"/>
                  <a:gd name="connsiteY23" fmla="*/ 1263628 h 2716170"/>
                  <a:gd name="connsiteX24" fmla="*/ 89707 w 1365405"/>
                  <a:gd name="connsiteY24" fmla="*/ 413964 h 2716170"/>
                  <a:gd name="connsiteX25" fmla="*/ 16878 w 1365405"/>
                  <a:gd name="connsiteY25" fmla="*/ 155019 h 2716170"/>
                  <a:gd name="connsiteX26" fmla="*/ 190972 w 1365405"/>
                  <a:gd name="connsiteY26" fmla="*/ 14835 h 2716170"/>
                  <a:gd name="connsiteX0" fmla="*/ 190970 w 1335879"/>
                  <a:gd name="connsiteY0" fmla="*/ 14835 h 2716170"/>
                  <a:gd name="connsiteX1" fmla="*/ 1089331 w 1335879"/>
                  <a:gd name="connsiteY1" fmla="*/ 66007 h 2716170"/>
                  <a:gd name="connsiteX2" fmla="*/ 1335878 w 1335879"/>
                  <a:gd name="connsiteY2" fmla="*/ 171203 h 2716170"/>
                  <a:gd name="connsiteX3" fmla="*/ 1266483 w 1335879"/>
                  <a:gd name="connsiteY3" fmla="*/ 419439 h 2716170"/>
                  <a:gd name="connsiteX4" fmla="*/ 1219156 w 1335879"/>
                  <a:gd name="connsiteY4" fmla="*/ 1236616 h 2716170"/>
                  <a:gd name="connsiteX5" fmla="*/ 1179806 w 1335879"/>
                  <a:gd name="connsiteY5" fmla="*/ 1744154 h 2716170"/>
                  <a:gd name="connsiteX6" fmla="*/ 1180857 w 1335879"/>
                  <a:gd name="connsiteY6" fmla="*/ 2329850 h 2716170"/>
                  <a:gd name="connsiteX7" fmla="*/ 1210840 w 1335879"/>
                  <a:gd name="connsiteY7" fmla="*/ 2673564 h 2716170"/>
                  <a:gd name="connsiteX8" fmla="*/ 791457 w 1335879"/>
                  <a:gd name="connsiteY8" fmla="*/ 2526929 h 2716170"/>
                  <a:gd name="connsiteX9" fmla="*/ 791294 w 1335879"/>
                  <a:gd name="connsiteY9" fmla="*/ 2255084 h 2716170"/>
                  <a:gd name="connsiteX10" fmla="*/ 761728 w 1335879"/>
                  <a:gd name="connsiteY10" fmla="*/ 1633247 h 2716170"/>
                  <a:gd name="connsiteX11" fmla="*/ 762771 w 1335879"/>
                  <a:gd name="connsiteY11" fmla="*/ 1312180 h 2716170"/>
                  <a:gd name="connsiteX12" fmla="*/ 730261 w 1335879"/>
                  <a:gd name="connsiteY12" fmla="*/ 893027 h 2716170"/>
                  <a:gd name="connsiteX13" fmla="*/ 704699 w 1335879"/>
                  <a:gd name="connsiteY13" fmla="*/ 575805 h 2716170"/>
                  <a:gd name="connsiteX14" fmla="*/ 676464 w 1335879"/>
                  <a:gd name="connsiteY14" fmla="*/ 761923 h 2716170"/>
                  <a:gd name="connsiteX15" fmla="*/ 610815 w 1335879"/>
                  <a:gd name="connsiteY15" fmla="*/ 1349308 h 2716170"/>
                  <a:gd name="connsiteX16" fmla="*/ 646315 w 1335879"/>
                  <a:gd name="connsiteY16" fmla="*/ 2190185 h 2716170"/>
                  <a:gd name="connsiteX17" fmla="*/ 623466 w 1335879"/>
                  <a:gd name="connsiteY17" fmla="*/ 2489624 h 2716170"/>
                  <a:gd name="connsiteX18" fmla="*/ 583792 w 1335879"/>
                  <a:gd name="connsiteY18" fmla="*/ 2590871 h 2716170"/>
                  <a:gd name="connsiteX19" fmla="*/ 295650 w 1335879"/>
                  <a:gd name="connsiteY19" fmla="*/ 2624973 h 2716170"/>
                  <a:gd name="connsiteX20" fmla="*/ 246265 w 1335879"/>
                  <a:gd name="connsiteY20" fmla="*/ 2543950 h 2716170"/>
                  <a:gd name="connsiteX21" fmla="*/ 235361 w 1335879"/>
                  <a:gd name="connsiteY21" fmla="*/ 1757242 h 2716170"/>
                  <a:gd name="connsiteX22" fmla="*/ 170625 w 1335879"/>
                  <a:gd name="connsiteY22" fmla="*/ 1498297 h 2716170"/>
                  <a:gd name="connsiteX23" fmla="*/ 146349 w 1335879"/>
                  <a:gd name="connsiteY23" fmla="*/ 1263628 h 2716170"/>
                  <a:gd name="connsiteX24" fmla="*/ 89705 w 1335879"/>
                  <a:gd name="connsiteY24" fmla="*/ 413964 h 2716170"/>
                  <a:gd name="connsiteX25" fmla="*/ 16876 w 1335879"/>
                  <a:gd name="connsiteY25" fmla="*/ 155019 h 2716170"/>
                  <a:gd name="connsiteX26" fmla="*/ 190970 w 1335879"/>
                  <a:gd name="connsiteY26" fmla="*/ 14835 h 2716170"/>
                  <a:gd name="connsiteX0" fmla="*/ 190972 w 1335879"/>
                  <a:gd name="connsiteY0" fmla="*/ 14835 h 2716170"/>
                  <a:gd name="connsiteX1" fmla="*/ 1089333 w 1335879"/>
                  <a:gd name="connsiteY1" fmla="*/ 66007 h 2716170"/>
                  <a:gd name="connsiteX2" fmla="*/ 1335880 w 1335879"/>
                  <a:gd name="connsiteY2" fmla="*/ 171203 h 2716170"/>
                  <a:gd name="connsiteX3" fmla="*/ 1266485 w 1335879"/>
                  <a:gd name="connsiteY3" fmla="*/ 419439 h 2716170"/>
                  <a:gd name="connsiteX4" fmla="*/ 1194400 w 1335879"/>
                  <a:gd name="connsiteY4" fmla="*/ 1236617 h 2716170"/>
                  <a:gd name="connsiteX5" fmla="*/ 1179808 w 1335879"/>
                  <a:gd name="connsiteY5" fmla="*/ 1744154 h 2716170"/>
                  <a:gd name="connsiteX6" fmla="*/ 1180859 w 1335879"/>
                  <a:gd name="connsiteY6" fmla="*/ 2329850 h 2716170"/>
                  <a:gd name="connsiteX7" fmla="*/ 1210842 w 1335879"/>
                  <a:gd name="connsiteY7" fmla="*/ 2673564 h 2716170"/>
                  <a:gd name="connsiteX8" fmla="*/ 791459 w 1335879"/>
                  <a:gd name="connsiteY8" fmla="*/ 2526929 h 2716170"/>
                  <a:gd name="connsiteX9" fmla="*/ 791296 w 1335879"/>
                  <a:gd name="connsiteY9" fmla="*/ 2255084 h 2716170"/>
                  <a:gd name="connsiteX10" fmla="*/ 761730 w 1335879"/>
                  <a:gd name="connsiteY10" fmla="*/ 1633247 h 2716170"/>
                  <a:gd name="connsiteX11" fmla="*/ 762773 w 1335879"/>
                  <a:gd name="connsiteY11" fmla="*/ 1312180 h 2716170"/>
                  <a:gd name="connsiteX12" fmla="*/ 730263 w 1335879"/>
                  <a:gd name="connsiteY12" fmla="*/ 893027 h 2716170"/>
                  <a:gd name="connsiteX13" fmla="*/ 704701 w 1335879"/>
                  <a:gd name="connsiteY13" fmla="*/ 575805 h 2716170"/>
                  <a:gd name="connsiteX14" fmla="*/ 676466 w 1335879"/>
                  <a:gd name="connsiteY14" fmla="*/ 761923 h 2716170"/>
                  <a:gd name="connsiteX15" fmla="*/ 610817 w 1335879"/>
                  <a:gd name="connsiteY15" fmla="*/ 1349308 h 2716170"/>
                  <a:gd name="connsiteX16" fmla="*/ 646317 w 1335879"/>
                  <a:gd name="connsiteY16" fmla="*/ 2190185 h 2716170"/>
                  <a:gd name="connsiteX17" fmla="*/ 623468 w 1335879"/>
                  <a:gd name="connsiteY17" fmla="*/ 2489624 h 2716170"/>
                  <a:gd name="connsiteX18" fmla="*/ 583794 w 1335879"/>
                  <a:gd name="connsiteY18" fmla="*/ 2590871 h 2716170"/>
                  <a:gd name="connsiteX19" fmla="*/ 295652 w 1335879"/>
                  <a:gd name="connsiteY19" fmla="*/ 2624973 h 2716170"/>
                  <a:gd name="connsiteX20" fmla="*/ 246267 w 1335879"/>
                  <a:gd name="connsiteY20" fmla="*/ 2543950 h 2716170"/>
                  <a:gd name="connsiteX21" fmla="*/ 235363 w 1335879"/>
                  <a:gd name="connsiteY21" fmla="*/ 1757242 h 2716170"/>
                  <a:gd name="connsiteX22" fmla="*/ 170627 w 1335879"/>
                  <a:gd name="connsiteY22" fmla="*/ 1498297 h 2716170"/>
                  <a:gd name="connsiteX23" fmla="*/ 146351 w 1335879"/>
                  <a:gd name="connsiteY23" fmla="*/ 1263628 h 2716170"/>
                  <a:gd name="connsiteX24" fmla="*/ 89707 w 1335879"/>
                  <a:gd name="connsiteY24" fmla="*/ 413964 h 2716170"/>
                  <a:gd name="connsiteX25" fmla="*/ 16878 w 1335879"/>
                  <a:gd name="connsiteY25" fmla="*/ 155019 h 2716170"/>
                  <a:gd name="connsiteX26" fmla="*/ 190972 w 1335879"/>
                  <a:gd name="connsiteY26" fmla="*/ 14835 h 2716170"/>
                  <a:gd name="connsiteX0" fmla="*/ 190970 w 1335879"/>
                  <a:gd name="connsiteY0" fmla="*/ 14835 h 2716170"/>
                  <a:gd name="connsiteX1" fmla="*/ 1089331 w 1335879"/>
                  <a:gd name="connsiteY1" fmla="*/ 66007 h 2716170"/>
                  <a:gd name="connsiteX2" fmla="*/ 1335878 w 1335879"/>
                  <a:gd name="connsiteY2" fmla="*/ 171203 h 2716170"/>
                  <a:gd name="connsiteX3" fmla="*/ 1266483 w 1335879"/>
                  <a:gd name="connsiteY3" fmla="*/ 419439 h 2716170"/>
                  <a:gd name="connsiteX4" fmla="*/ 1194398 w 1335879"/>
                  <a:gd name="connsiteY4" fmla="*/ 1236617 h 2716170"/>
                  <a:gd name="connsiteX5" fmla="*/ 1179806 w 1335879"/>
                  <a:gd name="connsiteY5" fmla="*/ 1744154 h 2716170"/>
                  <a:gd name="connsiteX6" fmla="*/ 1180857 w 1335879"/>
                  <a:gd name="connsiteY6" fmla="*/ 2329850 h 2716170"/>
                  <a:gd name="connsiteX7" fmla="*/ 1210840 w 1335879"/>
                  <a:gd name="connsiteY7" fmla="*/ 2673564 h 2716170"/>
                  <a:gd name="connsiteX8" fmla="*/ 791457 w 1335879"/>
                  <a:gd name="connsiteY8" fmla="*/ 2526929 h 2716170"/>
                  <a:gd name="connsiteX9" fmla="*/ 791294 w 1335879"/>
                  <a:gd name="connsiteY9" fmla="*/ 2255084 h 2716170"/>
                  <a:gd name="connsiteX10" fmla="*/ 761728 w 1335879"/>
                  <a:gd name="connsiteY10" fmla="*/ 1633247 h 2716170"/>
                  <a:gd name="connsiteX11" fmla="*/ 762771 w 1335879"/>
                  <a:gd name="connsiteY11" fmla="*/ 1312180 h 2716170"/>
                  <a:gd name="connsiteX12" fmla="*/ 730261 w 1335879"/>
                  <a:gd name="connsiteY12" fmla="*/ 893027 h 2716170"/>
                  <a:gd name="connsiteX13" fmla="*/ 704699 w 1335879"/>
                  <a:gd name="connsiteY13" fmla="*/ 575805 h 2716170"/>
                  <a:gd name="connsiteX14" fmla="*/ 676464 w 1335879"/>
                  <a:gd name="connsiteY14" fmla="*/ 761923 h 2716170"/>
                  <a:gd name="connsiteX15" fmla="*/ 610815 w 1335879"/>
                  <a:gd name="connsiteY15" fmla="*/ 1349308 h 2716170"/>
                  <a:gd name="connsiteX16" fmla="*/ 646315 w 1335879"/>
                  <a:gd name="connsiteY16" fmla="*/ 2190185 h 2716170"/>
                  <a:gd name="connsiteX17" fmla="*/ 623466 w 1335879"/>
                  <a:gd name="connsiteY17" fmla="*/ 2489624 h 2716170"/>
                  <a:gd name="connsiteX18" fmla="*/ 583792 w 1335879"/>
                  <a:gd name="connsiteY18" fmla="*/ 2590871 h 2716170"/>
                  <a:gd name="connsiteX19" fmla="*/ 295650 w 1335879"/>
                  <a:gd name="connsiteY19" fmla="*/ 2624973 h 2716170"/>
                  <a:gd name="connsiteX20" fmla="*/ 246265 w 1335879"/>
                  <a:gd name="connsiteY20" fmla="*/ 2543950 h 2716170"/>
                  <a:gd name="connsiteX21" fmla="*/ 235361 w 1335879"/>
                  <a:gd name="connsiteY21" fmla="*/ 1757242 h 2716170"/>
                  <a:gd name="connsiteX22" fmla="*/ 170625 w 1335879"/>
                  <a:gd name="connsiteY22" fmla="*/ 1498297 h 2716170"/>
                  <a:gd name="connsiteX23" fmla="*/ 146349 w 1335879"/>
                  <a:gd name="connsiteY23" fmla="*/ 1263628 h 2716170"/>
                  <a:gd name="connsiteX24" fmla="*/ 89705 w 1335879"/>
                  <a:gd name="connsiteY24" fmla="*/ 413964 h 2716170"/>
                  <a:gd name="connsiteX25" fmla="*/ 16876 w 1335879"/>
                  <a:gd name="connsiteY25" fmla="*/ 155019 h 2716170"/>
                  <a:gd name="connsiteX26" fmla="*/ 190970 w 1335879"/>
                  <a:gd name="connsiteY26" fmla="*/ 14835 h 2716170"/>
                  <a:gd name="connsiteX0" fmla="*/ 190972 w 1335879"/>
                  <a:gd name="connsiteY0" fmla="*/ 14835 h 2716170"/>
                  <a:gd name="connsiteX1" fmla="*/ 1089333 w 1335879"/>
                  <a:gd name="connsiteY1" fmla="*/ 66007 h 2716170"/>
                  <a:gd name="connsiteX2" fmla="*/ 1335880 w 1335879"/>
                  <a:gd name="connsiteY2" fmla="*/ 171203 h 2716170"/>
                  <a:gd name="connsiteX3" fmla="*/ 1266485 w 1335879"/>
                  <a:gd name="connsiteY3" fmla="*/ 419439 h 2716170"/>
                  <a:gd name="connsiteX4" fmla="*/ 1194400 w 1335879"/>
                  <a:gd name="connsiteY4" fmla="*/ 1236617 h 2716170"/>
                  <a:gd name="connsiteX5" fmla="*/ 1179808 w 1335879"/>
                  <a:gd name="connsiteY5" fmla="*/ 1744154 h 2716170"/>
                  <a:gd name="connsiteX6" fmla="*/ 1180859 w 1335879"/>
                  <a:gd name="connsiteY6" fmla="*/ 2329850 h 2716170"/>
                  <a:gd name="connsiteX7" fmla="*/ 1210842 w 1335879"/>
                  <a:gd name="connsiteY7" fmla="*/ 2673564 h 2716170"/>
                  <a:gd name="connsiteX8" fmla="*/ 791459 w 1335879"/>
                  <a:gd name="connsiteY8" fmla="*/ 2526929 h 2716170"/>
                  <a:gd name="connsiteX9" fmla="*/ 791296 w 1335879"/>
                  <a:gd name="connsiteY9" fmla="*/ 2255084 h 2716170"/>
                  <a:gd name="connsiteX10" fmla="*/ 761730 w 1335879"/>
                  <a:gd name="connsiteY10" fmla="*/ 1633247 h 2716170"/>
                  <a:gd name="connsiteX11" fmla="*/ 762773 w 1335879"/>
                  <a:gd name="connsiteY11" fmla="*/ 1312180 h 2716170"/>
                  <a:gd name="connsiteX12" fmla="*/ 730263 w 1335879"/>
                  <a:gd name="connsiteY12" fmla="*/ 893027 h 2716170"/>
                  <a:gd name="connsiteX13" fmla="*/ 704701 w 1335879"/>
                  <a:gd name="connsiteY13" fmla="*/ 575805 h 2716170"/>
                  <a:gd name="connsiteX14" fmla="*/ 676466 w 1335879"/>
                  <a:gd name="connsiteY14" fmla="*/ 761923 h 2716170"/>
                  <a:gd name="connsiteX15" fmla="*/ 610817 w 1335879"/>
                  <a:gd name="connsiteY15" fmla="*/ 1349308 h 2716170"/>
                  <a:gd name="connsiteX16" fmla="*/ 646317 w 1335879"/>
                  <a:gd name="connsiteY16" fmla="*/ 2190185 h 2716170"/>
                  <a:gd name="connsiteX17" fmla="*/ 623468 w 1335879"/>
                  <a:gd name="connsiteY17" fmla="*/ 2489624 h 2716170"/>
                  <a:gd name="connsiteX18" fmla="*/ 583794 w 1335879"/>
                  <a:gd name="connsiteY18" fmla="*/ 2590871 h 2716170"/>
                  <a:gd name="connsiteX19" fmla="*/ 295652 w 1335879"/>
                  <a:gd name="connsiteY19" fmla="*/ 2624973 h 2716170"/>
                  <a:gd name="connsiteX20" fmla="*/ 246267 w 1335879"/>
                  <a:gd name="connsiteY20" fmla="*/ 2543950 h 2716170"/>
                  <a:gd name="connsiteX21" fmla="*/ 235363 w 1335879"/>
                  <a:gd name="connsiteY21" fmla="*/ 1757242 h 2716170"/>
                  <a:gd name="connsiteX22" fmla="*/ 170627 w 1335879"/>
                  <a:gd name="connsiteY22" fmla="*/ 1498297 h 2716170"/>
                  <a:gd name="connsiteX23" fmla="*/ 146351 w 1335879"/>
                  <a:gd name="connsiteY23" fmla="*/ 1263628 h 2716170"/>
                  <a:gd name="connsiteX24" fmla="*/ 89707 w 1335879"/>
                  <a:gd name="connsiteY24" fmla="*/ 413964 h 2716170"/>
                  <a:gd name="connsiteX25" fmla="*/ 16878 w 1335879"/>
                  <a:gd name="connsiteY25" fmla="*/ 155019 h 2716170"/>
                  <a:gd name="connsiteX26" fmla="*/ 190972 w 1335879"/>
                  <a:gd name="connsiteY26" fmla="*/ 14835 h 2716170"/>
                  <a:gd name="connsiteX0" fmla="*/ 190970 w 1335879"/>
                  <a:gd name="connsiteY0" fmla="*/ 14835 h 2719185"/>
                  <a:gd name="connsiteX1" fmla="*/ 1089331 w 1335879"/>
                  <a:gd name="connsiteY1" fmla="*/ 66007 h 2719185"/>
                  <a:gd name="connsiteX2" fmla="*/ 1335878 w 1335879"/>
                  <a:gd name="connsiteY2" fmla="*/ 171203 h 2719185"/>
                  <a:gd name="connsiteX3" fmla="*/ 1266483 w 1335879"/>
                  <a:gd name="connsiteY3" fmla="*/ 419439 h 2719185"/>
                  <a:gd name="connsiteX4" fmla="*/ 1194398 w 1335879"/>
                  <a:gd name="connsiteY4" fmla="*/ 1236617 h 2719185"/>
                  <a:gd name="connsiteX5" fmla="*/ 1179806 w 1335879"/>
                  <a:gd name="connsiteY5" fmla="*/ 1744154 h 2719185"/>
                  <a:gd name="connsiteX6" fmla="*/ 1180857 w 1335879"/>
                  <a:gd name="connsiteY6" fmla="*/ 2329850 h 2719185"/>
                  <a:gd name="connsiteX7" fmla="*/ 1210840 w 1335879"/>
                  <a:gd name="connsiteY7" fmla="*/ 2673564 h 2719185"/>
                  <a:gd name="connsiteX8" fmla="*/ 802310 w 1335879"/>
                  <a:gd name="connsiteY8" fmla="*/ 2587446 h 2719185"/>
                  <a:gd name="connsiteX9" fmla="*/ 791294 w 1335879"/>
                  <a:gd name="connsiteY9" fmla="*/ 2255084 h 2719185"/>
                  <a:gd name="connsiteX10" fmla="*/ 761728 w 1335879"/>
                  <a:gd name="connsiteY10" fmla="*/ 1633247 h 2719185"/>
                  <a:gd name="connsiteX11" fmla="*/ 762771 w 1335879"/>
                  <a:gd name="connsiteY11" fmla="*/ 1312180 h 2719185"/>
                  <a:gd name="connsiteX12" fmla="*/ 730261 w 1335879"/>
                  <a:gd name="connsiteY12" fmla="*/ 893027 h 2719185"/>
                  <a:gd name="connsiteX13" fmla="*/ 704699 w 1335879"/>
                  <a:gd name="connsiteY13" fmla="*/ 575805 h 2719185"/>
                  <a:gd name="connsiteX14" fmla="*/ 676464 w 1335879"/>
                  <a:gd name="connsiteY14" fmla="*/ 761923 h 2719185"/>
                  <a:gd name="connsiteX15" fmla="*/ 610815 w 1335879"/>
                  <a:gd name="connsiteY15" fmla="*/ 1349308 h 2719185"/>
                  <a:gd name="connsiteX16" fmla="*/ 646315 w 1335879"/>
                  <a:gd name="connsiteY16" fmla="*/ 2190185 h 2719185"/>
                  <a:gd name="connsiteX17" fmla="*/ 623466 w 1335879"/>
                  <a:gd name="connsiteY17" fmla="*/ 2489624 h 2719185"/>
                  <a:gd name="connsiteX18" fmla="*/ 583792 w 1335879"/>
                  <a:gd name="connsiteY18" fmla="*/ 2590871 h 2719185"/>
                  <a:gd name="connsiteX19" fmla="*/ 295650 w 1335879"/>
                  <a:gd name="connsiteY19" fmla="*/ 2624973 h 2719185"/>
                  <a:gd name="connsiteX20" fmla="*/ 246265 w 1335879"/>
                  <a:gd name="connsiteY20" fmla="*/ 2543950 h 2719185"/>
                  <a:gd name="connsiteX21" fmla="*/ 235361 w 1335879"/>
                  <a:gd name="connsiteY21" fmla="*/ 1757242 h 2719185"/>
                  <a:gd name="connsiteX22" fmla="*/ 170625 w 1335879"/>
                  <a:gd name="connsiteY22" fmla="*/ 1498297 h 2719185"/>
                  <a:gd name="connsiteX23" fmla="*/ 146349 w 1335879"/>
                  <a:gd name="connsiteY23" fmla="*/ 1263628 h 2719185"/>
                  <a:gd name="connsiteX24" fmla="*/ 89705 w 1335879"/>
                  <a:gd name="connsiteY24" fmla="*/ 413964 h 2719185"/>
                  <a:gd name="connsiteX25" fmla="*/ 16876 w 1335879"/>
                  <a:gd name="connsiteY25" fmla="*/ 155019 h 2719185"/>
                  <a:gd name="connsiteX26" fmla="*/ 190970 w 1335879"/>
                  <a:gd name="connsiteY26" fmla="*/ 14835 h 2719185"/>
                  <a:gd name="connsiteX0" fmla="*/ 190972 w 1335879"/>
                  <a:gd name="connsiteY0" fmla="*/ 14835 h 2776687"/>
                  <a:gd name="connsiteX1" fmla="*/ 1089333 w 1335879"/>
                  <a:gd name="connsiteY1" fmla="*/ 66007 h 2776687"/>
                  <a:gd name="connsiteX2" fmla="*/ 1335880 w 1335879"/>
                  <a:gd name="connsiteY2" fmla="*/ 171203 h 2776687"/>
                  <a:gd name="connsiteX3" fmla="*/ 1266485 w 1335879"/>
                  <a:gd name="connsiteY3" fmla="*/ 419439 h 2776687"/>
                  <a:gd name="connsiteX4" fmla="*/ 1194400 w 1335879"/>
                  <a:gd name="connsiteY4" fmla="*/ 1236617 h 2776687"/>
                  <a:gd name="connsiteX5" fmla="*/ 1179808 w 1335879"/>
                  <a:gd name="connsiteY5" fmla="*/ 1744154 h 2776687"/>
                  <a:gd name="connsiteX6" fmla="*/ 1180859 w 1335879"/>
                  <a:gd name="connsiteY6" fmla="*/ 2329850 h 2776687"/>
                  <a:gd name="connsiteX7" fmla="*/ 1210842 w 1335879"/>
                  <a:gd name="connsiteY7" fmla="*/ 2734082 h 2776687"/>
                  <a:gd name="connsiteX8" fmla="*/ 802312 w 1335879"/>
                  <a:gd name="connsiteY8" fmla="*/ 2587446 h 2776687"/>
                  <a:gd name="connsiteX9" fmla="*/ 791296 w 1335879"/>
                  <a:gd name="connsiteY9" fmla="*/ 2255084 h 2776687"/>
                  <a:gd name="connsiteX10" fmla="*/ 761730 w 1335879"/>
                  <a:gd name="connsiteY10" fmla="*/ 1633247 h 2776687"/>
                  <a:gd name="connsiteX11" fmla="*/ 762773 w 1335879"/>
                  <a:gd name="connsiteY11" fmla="*/ 1312180 h 2776687"/>
                  <a:gd name="connsiteX12" fmla="*/ 730263 w 1335879"/>
                  <a:gd name="connsiteY12" fmla="*/ 893027 h 2776687"/>
                  <a:gd name="connsiteX13" fmla="*/ 704701 w 1335879"/>
                  <a:gd name="connsiteY13" fmla="*/ 575805 h 2776687"/>
                  <a:gd name="connsiteX14" fmla="*/ 676466 w 1335879"/>
                  <a:gd name="connsiteY14" fmla="*/ 761923 h 2776687"/>
                  <a:gd name="connsiteX15" fmla="*/ 610817 w 1335879"/>
                  <a:gd name="connsiteY15" fmla="*/ 1349308 h 2776687"/>
                  <a:gd name="connsiteX16" fmla="*/ 646317 w 1335879"/>
                  <a:gd name="connsiteY16" fmla="*/ 2190185 h 2776687"/>
                  <a:gd name="connsiteX17" fmla="*/ 623468 w 1335879"/>
                  <a:gd name="connsiteY17" fmla="*/ 2489624 h 2776687"/>
                  <a:gd name="connsiteX18" fmla="*/ 583794 w 1335879"/>
                  <a:gd name="connsiteY18" fmla="*/ 2590871 h 2776687"/>
                  <a:gd name="connsiteX19" fmla="*/ 295652 w 1335879"/>
                  <a:gd name="connsiteY19" fmla="*/ 2624973 h 2776687"/>
                  <a:gd name="connsiteX20" fmla="*/ 246267 w 1335879"/>
                  <a:gd name="connsiteY20" fmla="*/ 2543950 h 2776687"/>
                  <a:gd name="connsiteX21" fmla="*/ 235363 w 1335879"/>
                  <a:gd name="connsiteY21" fmla="*/ 1757242 h 2776687"/>
                  <a:gd name="connsiteX22" fmla="*/ 170627 w 1335879"/>
                  <a:gd name="connsiteY22" fmla="*/ 1498297 h 2776687"/>
                  <a:gd name="connsiteX23" fmla="*/ 146351 w 1335879"/>
                  <a:gd name="connsiteY23" fmla="*/ 1263628 h 2776687"/>
                  <a:gd name="connsiteX24" fmla="*/ 89707 w 1335879"/>
                  <a:gd name="connsiteY24" fmla="*/ 413964 h 2776687"/>
                  <a:gd name="connsiteX25" fmla="*/ 16878 w 1335879"/>
                  <a:gd name="connsiteY25" fmla="*/ 155019 h 2776687"/>
                  <a:gd name="connsiteX26" fmla="*/ 190972 w 1335879"/>
                  <a:gd name="connsiteY26" fmla="*/ 14835 h 2776687"/>
                  <a:gd name="connsiteX0" fmla="*/ 190970 w 1335879"/>
                  <a:gd name="connsiteY0" fmla="*/ 14835 h 2776689"/>
                  <a:gd name="connsiteX1" fmla="*/ 1089331 w 1335879"/>
                  <a:gd name="connsiteY1" fmla="*/ 66007 h 2776689"/>
                  <a:gd name="connsiteX2" fmla="*/ 1335878 w 1335879"/>
                  <a:gd name="connsiteY2" fmla="*/ 171203 h 2776689"/>
                  <a:gd name="connsiteX3" fmla="*/ 1266483 w 1335879"/>
                  <a:gd name="connsiteY3" fmla="*/ 419439 h 2776689"/>
                  <a:gd name="connsiteX4" fmla="*/ 1194398 w 1335879"/>
                  <a:gd name="connsiteY4" fmla="*/ 1236617 h 2776689"/>
                  <a:gd name="connsiteX5" fmla="*/ 1179806 w 1335879"/>
                  <a:gd name="connsiteY5" fmla="*/ 1744154 h 2776689"/>
                  <a:gd name="connsiteX6" fmla="*/ 1180857 w 1335879"/>
                  <a:gd name="connsiteY6" fmla="*/ 2329850 h 2776689"/>
                  <a:gd name="connsiteX7" fmla="*/ 1210840 w 1335879"/>
                  <a:gd name="connsiteY7" fmla="*/ 2734082 h 2776689"/>
                  <a:gd name="connsiteX8" fmla="*/ 802310 w 1335879"/>
                  <a:gd name="connsiteY8" fmla="*/ 2587446 h 2776689"/>
                  <a:gd name="connsiteX9" fmla="*/ 791294 w 1335879"/>
                  <a:gd name="connsiteY9" fmla="*/ 2255084 h 2776689"/>
                  <a:gd name="connsiteX10" fmla="*/ 788862 w 1335879"/>
                  <a:gd name="connsiteY10" fmla="*/ 1633247 h 2776689"/>
                  <a:gd name="connsiteX11" fmla="*/ 762771 w 1335879"/>
                  <a:gd name="connsiteY11" fmla="*/ 1312180 h 2776689"/>
                  <a:gd name="connsiteX12" fmla="*/ 730261 w 1335879"/>
                  <a:gd name="connsiteY12" fmla="*/ 893027 h 2776689"/>
                  <a:gd name="connsiteX13" fmla="*/ 704699 w 1335879"/>
                  <a:gd name="connsiteY13" fmla="*/ 575805 h 2776689"/>
                  <a:gd name="connsiteX14" fmla="*/ 676464 w 1335879"/>
                  <a:gd name="connsiteY14" fmla="*/ 761923 h 2776689"/>
                  <a:gd name="connsiteX15" fmla="*/ 610815 w 1335879"/>
                  <a:gd name="connsiteY15" fmla="*/ 1349308 h 2776689"/>
                  <a:gd name="connsiteX16" fmla="*/ 646315 w 1335879"/>
                  <a:gd name="connsiteY16" fmla="*/ 2190185 h 2776689"/>
                  <a:gd name="connsiteX17" fmla="*/ 623466 w 1335879"/>
                  <a:gd name="connsiteY17" fmla="*/ 2489624 h 2776689"/>
                  <a:gd name="connsiteX18" fmla="*/ 583792 w 1335879"/>
                  <a:gd name="connsiteY18" fmla="*/ 2590871 h 2776689"/>
                  <a:gd name="connsiteX19" fmla="*/ 295650 w 1335879"/>
                  <a:gd name="connsiteY19" fmla="*/ 2624973 h 2776689"/>
                  <a:gd name="connsiteX20" fmla="*/ 246265 w 1335879"/>
                  <a:gd name="connsiteY20" fmla="*/ 2543950 h 2776689"/>
                  <a:gd name="connsiteX21" fmla="*/ 235361 w 1335879"/>
                  <a:gd name="connsiteY21" fmla="*/ 1757242 h 2776689"/>
                  <a:gd name="connsiteX22" fmla="*/ 170625 w 1335879"/>
                  <a:gd name="connsiteY22" fmla="*/ 1498297 h 2776689"/>
                  <a:gd name="connsiteX23" fmla="*/ 146349 w 1335879"/>
                  <a:gd name="connsiteY23" fmla="*/ 1263628 h 2776689"/>
                  <a:gd name="connsiteX24" fmla="*/ 89705 w 1335879"/>
                  <a:gd name="connsiteY24" fmla="*/ 413964 h 2776689"/>
                  <a:gd name="connsiteX25" fmla="*/ 16876 w 1335879"/>
                  <a:gd name="connsiteY25" fmla="*/ 155019 h 2776689"/>
                  <a:gd name="connsiteX26" fmla="*/ 190970 w 1335879"/>
                  <a:gd name="connsiteY26" fmla="*/ 14835 h 2776689"/>
                  <a:gd name="connsiteX0" fmla="*/ 190972 w 1335879"/>
                  <a:gd name="connsiteY0" fmla="*/ 14835 h 2776687"/>
                  <a:gd name="connsiteX1" fmla="*/ 1089333 w 1335879"/>
                  <a:gd name="connsiteY1" fmla="*/ 66007 h 2776687"/>
                  <a:gd name="connsiteX2" fmla="*/ 1335880 w 1335879"/>
                  <a:gd name="connsiteY2" fmla="*/ 171203 h 2776687"/>
                  <a:gd name="connsiteX3" fmla="*/ 1266485 w 1335879"/>
                  <a:gd name="connsiteY3" fmla="*/ 419439 h 2776687"/>
                  <a:gd name="connsiteX4" fmla="*/ 1194400 w 1335879"/>
                  <a:gd name="connsiteY4" fmla="*/ 1236617 h 2776687"/>
                  <a:gd name="connsiteX5" fmla="*/ 1179808 w 1335879"/>
                  <a:gd name="connsiteY5" fmla="*/ 1744154 h 2776687"/>
                  <a:gd name="connsiteX6" fmla="*/ 1180859 w 1335879"/>
                  <a:gd name="connsiteY6" fmla="*/ 2329850 h 2776687"/>
                  <a:gd name="connsiteX7" fmla="*/ 1210842 w 1335879"/>
                  <a:gd name="connsiteY7" fmla="*/ 2734082 h 2776687"/>
                  <a:gd name="connsiteX8" fmla="*/ 802312 w 1335879"/>
                  <a:gd name="connsiteY8" fmla="*/ 2587446 h 2776687"/>
                  <a:gd name="connsiteX9" fmla="*/ 791296 w 1335879"/>
                  <a:gd name="connsiteY9" fmla="*/ 2255084 h 2776687"/>
                  <a:gd name="connsiteX10" fmla="*/ 788864 w 1335879"/>
                  <a:gd name="connsiteY10" fmla="*/ 1633247 h 2776687"/>
                  <a:gd name="connsiteX11" fmla="*/ 762773 w 1335879"/>
                  <a:gd name="connsiteY11" fmla="*/ 1312180 h 2776687"/>
                  <a:gd name="connsiteX12" fmla="*/ 730263 w 1335879"/>
                  <a:gd name="connsiteY12" fmla="*/ 893027 h 2776687"/>
                  <a:gd name="connsiteX13" fmla="*/ 704701 w 1335879"/>
                  <a:gd name="connsiteY13" fmla="*/ 575805 h 2776687"/>
                  <a:gd name="connsiteX14" fmla="*/ 676466 w 1335879"/>
                  <a:gd name="connsiteY14" fmla="*/ 761923 h 2776687"/>
                  <a:gd name="connsiteX15" fmla="*/ 610817 w 1335879"/>
                  <a:gd name="connsiteY15" fmla="*/ 1349308 h 2776687"/>
                  <a:gd name="connsiteX16" fmla="*/ 646317 w 1335879"/>
                  <a:gd name="connsiteY16" fmla="*/ 2190185 h 2776687"/>
                  <a:gd name="connsiteX17" fmla="*/ 623468 w 1335879"/>
                  <a:gd name="connsiteY17" fmla="*/ 2489624 h 2776687"/>
                  <a:gd name="connsiteX18" fmla="*/ 583795 w 1335879"/>
                  <a:gd name="connsiteY18" fmla="*/ 2661475 h 2776687"/>
                  <a:gd name="connsiteX19" fmla="*/ 295652 w 1335879"/>
                  <a:gd name="connsiteY19" fmla="*/ 2624973 h 2776687"/>
                  <a:gd name="connsiteX20" fmla="*/ 246267 w 1335879"/>
                  <a:gd name="connsiteY20" fmla="*/ 2543950 h 2776687"/>
                  <a:gd name="connsiteX21" fmla="*/ 235363 w 1335879"/>
                  <a:gd name="connsiteY21" fmla="*/ 1757242 h 2776687"/>
                  <a:gd name="connsiteX22" fmla="*/ 170627 w 1335879"/>
                  <a:gd name="connsiteY22" fmla="*/ 1498297 h 2776687"/>
                  <a:gd name="connsiteX23" fmla="*/ 146351 w 1335879"/>
                  <a:gd name="connsiteY23" fmla="*/ 1263628 h 2776687"/>
                  <a:gd name="connsiteX24" fmla="*/ 89707 w 1335879"/>
                  <a:gd name="connsiteY24" fmla="*/ 413964 h 2776687"/>
                  <a:gd name="connsiteX25" fmla="*/ 16878 w 1335879"/>
                  <a:gd name="connsiteY25" fmla="*/ 155019 h 2776687"/>
                  <a:gd name="connsiteX26" fmla="*/ 190972 w 1335879"/>
                  <a:gd name="connsiteY26" fmla="*/ 14835 h 2776687"/>
                  <a:gd name="connsiteX0" fmla="*/ 190970 w 1335879"/>
                  <a:gd name="connsiteY0" fmla="*/ 14835 h 2776689"/>
                  <a:gd name="connsiteX1" fmla="*/ 1089331 w 1335879"/>
                  <a:gd name="connsiteY1" fmla="*/ 66007 h 2776689"/>
                  <a:gd name="connsiteX2" fmla="*/ 1335878 w 1335879"/>
                  <a:gd name="connsiteY2" fmla="*/ 171203 h 2776689"/>
                  <a:gd name="connsiteX3" fmla="*/ 1266483 w 1335879"/>
                  <a:gd name="connsiteY3" fmla="*/ 419439 h 2776689"/>
                  <a:gd name="connsiteX4" fmla="*/ 1194398 w 1335879"/>
                  <a:gd name="connsiteY4" fmla="*/ 1236617 h 2776689"/>
                  <a:gd name="connsiteX5" fmla="*/ 1179806 w 1335879"/>
                  <a:gd name="connsiteY5" fmla="*/ 1744154 h 2776689"/>
                  <a:gd name="connsiteX6" fmla="*/ 1180857 w 1335879"/>
                  <a:gd name="connsiteY6" fmla="*/ 2329850 h 2776689"/>
                  <a:gd name="connsiteX7" fmla="*/ 1210840 w 1335879"/>
                  <a:gd name="connsiteY7" fmla="*/ 2734082 h 2776689"/>
                  <a:gd name="connsiteX8" fmla="*/ 802310 w 1335879"/>
                  <a:gd name="connsiteY8" fmla="*/ 2587446 h 2776689"/>
                  <a:gd name="connsiteX9" fmla="*/ 791294 w 1335879"/>
                  <a:gd name="connsiteY9" fmla="*/ 2255084 h 2776689"/>
                  <a:gd name="connsiteX10" fmla="*/ 788862 w 1335879"/>
                  <a:gd name="connsiteY10" fmla="*/ 1633247 h 2776689"/>
                  <a:gd name="connsiteX11" fmla="*/ 762771 w 1335879"/>
                  <a:gd name="connsiteY11" fmla="*/ 1312180 h 2776689"/>
                  <a:gd name="connsiteX12" fmla="*/ 730261 w 1335879"/>
                  <a:gd name="connsiteY12" fmla="*/ 893027 h 2776689"/>
                  <a:gd name="connsiteX13" fmla="*/ 704699 w 1335879"/>
                  <a:gd name="connsiteY13" fmla="*/ 575805 h 2776689"/>
                  <a:gd name="connsiteX14" fmla="*/ 676464 w 1335879"/>
                  <a:gd name="connsiteY14" fmla="*/ 761923 h 2776689"/>
                  <a:gd name="connsiteX15" fmla="*/ 610815 w 1335879"/>
                  <a:gd name="connsiteY15" fmla="*/ 1349308 h 2776689"/>
                  <a:gd name="connsiteX16" fmla="*/ 646315 w 1335879"/>
                  <a:gd name="connsiteY16" fmla="*/ 2190185 h 2776689"/>
                  <a:gd name="connsiteX17" fmla="*/ 623466 w 1335879"/>
                  <a:gd name="connsiteY17" fmla="*/ 2489624 h 2776689"/>
                  <a:gd name="connsiteX18" fmla="*/ 583793 w 1335879"/>
                  <a:gd name="connsiteY18" fmla="*/ 2661475 h 2776689"/>
                  <a:gd name="connsiteX19" fmla="*/ 295651 w 1335879"/>
                  <a:gd name="connsiteY19" fmla="*/ 2690533 h 2776689"/>
                  <a:gd name="connsiteX20" fmla="*/ 246265 w 1335879"/>
                  <a:gd name="connsiteY20" fmla="*/ 2543950 h 2776689"/>
                  <a:gd name="connsiteX21" fmla="*/ 235361 w 1335879"/>
                  <a:gd name="connsiteY21" fmla="*/ 1757242 h 2776689"/>
                  <a:gd name="connsiteX22" fmla="*/ 170625 w 1335879"/>
                  <a:gd name="connsiteY22" fmla="*/ 1498297 h 2776689"/>
                  <a:gd name="connsiteX23" fmla="*/ 146349 w 1335879"/>
                  <a:gd name="connsiteY23" fmla="*/ 1263628 h 2776689"/>
                  <a:gd name="connsiteX24" fmla="*/ 89705 w 1335879"/>
                  <a:gd name="connsiteY24" fmla="*/ 413964 h 2776689"/>
                  <a:gd name="connsiteX25" fmla="*/ 16876 w 1335879"/>
                  <a:gd name="connsiteY25" fmla="*/ 155019 h 2776689"/>
                  <a:gd name="connsiteX26" fmla="*/ 190970 w 1335879"/>
                  <a:gd name="connsiteY26" fmla="*/ 14835 h 2776689"/>
                  <a:gd name="connsiteX0" fmla="*/ 190972 w 1335879"/>
                  <a:gd name="connsiteY0" fmla="*/ 14835 h 2776687"/>
                  <a:gd name="connsiteX1" fmla="*/ 1089333 w 1335879"/>
                  <a:gd name="connsiteY1" fmla="*/ 66007 h 2776687"/>
                  <a:gd name="connsiteX2" fmla="*/ 1335880 w 1335879"/>
                  <a:gd name="connsiteY2" fmla="*/ 171203 h 2776687"/>
                  <a:gd name="connsiteX3" fmla="*/ 1266485 w 1335879"/>
                  <a:gd name="connsiteY3" fmla="*/ 419439 h 2776687"/>
                  <a:gd name="connsiteX4" fmla="*/ 1194400 w 1335879"/>
                  <a:gd name="connsiteY4" fmla="*/ 1236617 h 2776687"/>
                  <a:gd name="connsiteX5" fmla="*/ 1179808 w 1335879"/>
                  <a:gd name="connsiteY5" fmla="*/ 1744154 h 2776687"/>
                  <a:gd name="connsiteX6" fmla="*/ 1180859 w 1335879"/>
                  <a:gd name="connsiteY6" fmla="*/ 2329850 h 2776687"/>
                  <a:gd name="connsiteX7" fmla="*/ 1210842 w 1335879"/>
                  <a:gd name="connsiteY7" fmla="*/ 2734082 h 2776687"/>
                  <a:gd name="connsiteX8" fmla="*/ 802312 w 1335879"/>
                  <a:gd name="connsiteY8" fmla="*/ 2587446 h 2776687"/>
                  <a:gd name="connsiteX9" fmla="*/ 791296 w 1335879"/>
                  <a:gd name="connsiteY9" fmla="*/ 2255084 h 2776687"/>
                  <a:gd name="connsiteX10" fmla="*/ 788864 w 1335879"/>
                  <a:gd name="connsiteY10" fmla="*/ 1633247 h 2776687"/>
                  <a:gd name="connsiteX11" fmla="*/ 762773 w 1335879"/>
                  <a:gd name="connsiteY11" fmla="*/ 1312180 h 2776687"/>
                  <a:gd name="connsiteX12" fmla="*/ 730263 w 1335879"/>
                  <a:gd name="connsiteY12" fmla="*/ 893027 h 2776687"/>
                  <a:gd name="connsiteX13" fmla="*/ 704701 w 1335879"/>
                  <a:gd name="connsiteY13" fmla="*/ 575805 h 2776687"/>
                  <a:gd name="connsiteX14" fmla="*/ 676466 w 1335879"/>
                  <a:gd name="connsiteY14" fmla="*/ 761923 h 2776687"/>
                  <a:gd name="connsiteX15" fmla="*/ 610817 w 1335879"/>
                  <a:gd name="connsiteY15" fmla="*/ 1349308 h 2776687"/>
                  <a:gd name="connsiteX16" fmla="*/ 646317 w 1335879"/>
                  <a:gd name="connsiteY16" fmla="*/ 2190185 h 2776687"/>
                  <a:gd name="connsiteX17" fmla="*/ 623468 w 1335879"/>
                  <a:gd name="connsiteY17" fmla="*/ 2489624 h 2776687"/>
                  <a:gd name="connsiteX18" fmla="*/ 583795 w 1335879"/>
                  <a:gd name="connsiteY18" fmla="*/ 2661475 h 2776687"/>
                  <a:gd name="connsiteX19" fmla="*/ 295653 w 1335879"/>
                  <a:gd name="connsiteY19" fmla="*/ 2690533 h 2776687"/>
                  <a:gd name="connsiteX20" fmla="*/ 246267 w 1335879"/>
                  <a:gd name="connsiteY20" fmla="*/ 2543950 h 2776687"/>
                  <a:gd name="connsiteX21" fmla="*/ 235363 w 1335879"/>
                  <a:gd name="connsiteY21" fmla="*/ 1757242 h 2776687"/>
                  <a:gd name="connsiteX22" fmla="*/ 170627 w 1335879"/>
                  <a:gd name="connsiteY22" fmla="*/ 1498297 h 2776687"/>
                  <a:gd name="connsiteX23" fmla="*/ 146351 w 1335879"/>
                  <a:gd name="connsiteY23" fmla="*/ 1263628 h 2776687"/>
                  <a:gd name="connsiteX24" fmla="*/ 89707 w 1335879"/>
                  <a:gd name="connsiteY24" fmla="*/ 413964 h 2776687"/>
                  <a:gd name="connsiteX25" fmla="*/ 16878 w 1335879"/>
                  <a:gd name="connsiteY25" fmla="*/ 155019 h 2776687"/>
                  <a:gd name="connsiteX26" fmla="*/ 190972 w 1335879"/>
                  <a:gd name="connsiteY26" fmla="*/ 14835 h 2776687"/>
                  <a:gd name="connsiteX0" fmla="*/ 190970 w 1335879"/>
                  <a:gd name="connsiteY0" fmla="*/ 14835 h 2790224"/>
                  <a:gd name="connsiteX1" fmla="*/ 1089331 w 1335879"/>
                  <a:gd name="connsiteY1" fmla="*/ 66007 h 2790224"/>
                  <a:gd name="connsiteX2" fmla="*/ 1335878 w 1335879"/>
                  <a:gd name="connsiteY2" fmla="*/ 171203 h 2790224"/>
                  <a:gd name="connsiteX3" fmla="*/ 1266483 w 1335879"/>
                  <a:gd name="connsiteY3" fmla="*/ 419439 h 2790224"/>
                  <a:gd name="connsiteX4" fmla="*/ 1194398 w 1335879"/>
                  <a:gd name="connsiteY4" fmla="*/ 1236617 h 2790224"/>
                  <a:gd name="connsiteX5" fmla="*/ 1179806 w 1335879"/>
                  <a:gd name="connsiteY5" fmla="*/ 1744154 h 2790224"/>
                  <a:gd name="connsiteX6" fmla="*/ 1180857 w 1335879"/>
                  <a:gd name="connsiteY6" fmla="*/ 2329850 h 2790224"/>
                  <a:gd name="connsiteX7" fmla="*/ 1210840 w 1335879"/>
                  <a:gd name="connsiteY7" fmla="*/ 2734082 h 2790224"/>
                  <a:gd name="connsiteX8" fmla="*/ 802310 w 1335879"/>
                  <a:gd name="connsiteY8" fmla="*/ 2587446 h 2790224"/>
                  <a:gd name="connsiteX9" fmla="*/ 791294 w 1335879"/>
                  <a:gd name="connsiteY9" fmla="*/ 2255084 h 2790224"/>
                  <a:gd name="connsiteX10" fmla="*/ 788862 w 1335879"/>
                  <a:gd name="connsiteY10" fmla="*/ 1633247 h 2790224"/>
                  <a:gd name="connsiteX11" fmla="*/ 762771 w 1335879"/>
                  <a:gd name="connsiteY11" fmla="*/ 1312180 h 2790224"/>
                  <a:gd name="connsiteX12" fmla="*/ 730261 w 1335879"/>
                  <a:gd name="connsiteY12" fmla="*/ 893027 h 2790224"/>
                  <a:gd name="connsiteX13" fmla="*/ 704699 w 1335879"/>
                  <a:gd name="connsiteY13" fmla="*/ 575805 h 2790224"/>
                  <a:gd name="connsiteX14" fmla="*/ 676464 w 1335879"/>
                  <a:gd name="connsiteY14" fmla="*/ 761923 h 2790224"/>
                  <a:gd name="connsiteX15" fmla="*/ 610815 w 1335879"/>
                  <a:gd name="connsiteY15" fmla="*/ 1349308 h 2790224"/>
                  <a:gd name="connsiteX16" fmla="*/ 646315 w 1335879"/>
                  <a:gd name="connsiteY16" fmla="*/ 2190185 h 2790224"/>
                  <a:gd name="connsiteX17" fmla="*/ 623466 w 1335879"/>
                  <a:gd name="connsiteY17" fmla="*/ 2489624 h 2790224"/>
                  <a:gd name="connsiteX18" fmla="*/ 583793 w 1335879"/>
                  <a:gd name="connsiteY18" fmla="*/ 2661475 h 2790224"/>
                  <a:gd name="connsiteX19" fmla="*/ 295651 w 1335879"/>
                  <a:gd name="connsiteY19" fmla="*/ 2690533 h 2790224"/>
                  <a:gd name="connsiteX20" fmla="*/ 246265 w 1335879"/>
                  <a:gd name="connsiteY20" fmla="*/ 2543950 h 2790224"/>
                  <a:gd name="connsiteX21" fmla="*/ 235361 w 1335879"/>
                  <a:gd name="connsiteY21" fmla="*/ 1757242 h 2790224"/>
                  <a:gd name="connsiteX22" fmla="*/ 170625 w 1335879"/>
                  <a:gd name="connsiteY22" fmla="*/ 1498297 h 2790224"/>
                  <a:gd name="connsiteX23" fmla="*/ 146349 w 1335879"/>
                  <a:gd name="connsiteY23" fmla="*/ 1263628 h 2790224"/>
                  <a:gd name="connsiteX24" fmla="*/ 89705 w 1335879"/>
                  <a:gd name="connsiteY24" fmla="*/ 413964 h 2790224"/>
                  <a:gd name="connsiteX25" fmla="*/ 16876 w 1335879"/>
                  <a:gd name="connsiteY25" fmla="*/ 155019 h 2790224"/>
                  <a:gd name="connsiteX26" fmla="*/ 190970 w 1335879"/>
                  <a:gd name="connsiteY26" fmla="*/ 14835 h 2790224"/>
                  <a:gd name="connsiteX0" fmla="*/ 190972 w 1335879"/>
                  <a:gd name="connsiteY0" fmla="*/ 14835 h 2776688"/>
                  <a:gd name="connsiteX1" fmla="*/ 1089333 w 1335879"/>
                  <a:gd name="connsiteY1" fmla="*/ 66007 h 2776688"/>
                  <a:gd name="connsiteX2" fmla="*/ 1335880 w 1335879"/>
                  <a:gd name="connsiteY2" fmla="*/ 171203 h 2776688"/>
                  <a:gd name="connsiteX3" fmla="*/ 1266485 w 1335879"/>
                  <a:gd name="connsiteY3" fmla="*/ 419439 h 2776688"/>
                  <a:gd name="connsiteX4" fmla="*/ 1194400 w 1335879"/>
                  <a:gd name="connsiteY4" fmla="*/ 1236617 h 2776688"/>
                  <a:gd name="connsiteX5" fmla="*/ 1179808 w 1335879"/>
                  <a:gd name="connsiteY5" fmla="*/ 1744154 h 2776688"/>
                  <a:gd name="connsiteX6" fmla="*/ 1180859 w 1335879"/>
                  <a:gd name="connsiteY6" fmla="*/ 2329850 h 2776688"/>
                  <a:gd name="connsiteX7" fmla="*/ 1210842 w 1335879"/>
                  <a:gd name="connsiteY7" fmla="*/ 2734082 h 2776688"/>
                  <a:gd name="connsiteX8" fmla="*/ 802312 w 1335879"/>
                  <a:gd name="connsiteY8" fmla="*/ 2587446 h 2776688"/>
                  <a:gd name="connsiteX9" fmla="*/ 791296 w 1335879"/>
                  <a:gd name="connsiteY9" fmla="*/ 2255084 h 2776688"/>
                  <a:gd name="connsiteX10" fmla="*/ 788864 w 1335879"/>
                  <a:gd name="connsiteY10" fmla="*/ 1633247 h 2776688"/>
                  <a:gd name="connsiteX11" fmla="*/ 762773 w 1335879"/>
                  <a:gd name="connsiteY11" fmla="*/ 1312180 h 2776688"/>
                  <a:gd name="connsiteX12" fmla="*/ 730263 w 1335879"/>
                  <a:gd name="connsiteY12" fmla="*/ 893027 h 2776688"/>
                  <a:gd name="connsiteX13" fmla="*/ 704701 w 1335879"/>
                  <a:gd name="connsiteY13" fmla="*/ 575805 h 2776688"/>
                  <a:gd name="connsiteX14" fmla="*/ 676466 w 1335879"/>
                  <a:gd name="connsiteY14" fmla="*/ 761923 h 2776688"/>
                  <a:gd name="connsiteX15" fmla="*/ 610817 w 1335879"/>
                  <a:gd name="connsiteY15" fmla="*/ 1349308 h 2776688"/>
                  <a:gd name="connsiteX16" fmla="*/ 646317 w 1335879"/>
                  <a:gd name="connsiteY16" fmla="*/ 2190185 h 2776688"/>
                  <a:gd name="connsiteX17" fmla="*/ 623468 w 1335879"/>
                  <a:gd name="connsiteY17" fmla="*/ 2489624 h 2776688"/>
                  <a:gd name="connsiteX18" fmla="*/ 583795 w 1335879"/>
                  <a:gd name="connsiteY18" fmla="*/ 2661475 h 2776688"/>
                  <a:gd name="connsiteX19" fmla="*/ 295653 w 1335879"/>
                  <a:gd name="connsiteY19" fmla="*/ 2690533 h 2776688"/>
                  <a:gd name="connsiteX20" fmla="*/ 246267 w 1335879"/>
                  <a:gd name="connsiteY20" fmla="*/ 2543950 h 2776688"/>
                  <a:gd name="connsiteX21" fmla="*/ 235363 w 1335879"/>
                  <a:gd name="connsiteY21" fmla="*/ 1757242 h 2776688"/>
                  <a:gd name="connsiteX22" fmla="*/ 170627 w 1335879"/>
                  <a:gd name="connsiteY22" fmla="*/ 1498297 h 2776688"/>
                  <a:gd name="connsiteX23" fmla="*/ 146351 w 1335879"/>
                  <a:gd name="connsiteY23" fmla="*/ 1263628 h 2776688"/>
                  <a:gd name="connsiteX24" fmla="*/ 89707 w 1335879"/>
                  <a:gd name="connsiteY24" fmla="*/ 413964 h 2776688"/>
                  <a:gd name="connsiteX25" fmla="*/ 16878 w 1335879"/>
                  <a:gd name="connsiteY25" fmla="*/ 155019 h 2776688"/>
                  <a:gd name="connsiteX26" fmla="*/ 190972 w 1335879"/>
                  <a:gd name="connsiteY26" fmla="*/ 14835 h 2776688"/>
                  <a:gd name="connsiteX0" fmla="*/ 190970 w 1335879"/>
                  <a:gd name="connsiteY0" fmla="*/ 14835 h 2776688"/>
                  <a:gd name="connsiteX1" fmla="*/ 1089331 w 1335879"/>
                  <a:gd name="connsiteY1" fmla="*/ 66007 h 2776688"/>
                  <a:gd name="connsiteX2" fmla="*/ 1335878 w 1335879"/>
                  <a:gd name="connsiteY2" fmla="*/ 171203 h 2776688"/>
                  <a:gd name="connsiteX3" fmla="*/ 1266483 w 1335879"/>
                  <a:gd name="connsiteY3" fmla="*/ 419439 h 2776688"/>
                  <a:gd name="connsiteX4" fmla="*/ 1194398 w 1335879"/>
                  <a:gd name="connsiteY4" fmla="*/ 1236617 h 2776688"/>
                  <a:gd name="connsiteX5" fmla="*/ 1179806 w 1335879"/>
                  <a:gd name="connsiteY5" fmla="*/ 1744154 h 2776688"/>
                  <a:gd name="connsiteX6" fmla="*/ 1180857 w 1335879"/>
                  <a:gd name="connsiteY6" fmla="*/ 2329850 h 2776688"/>
                  <a:gd name="connsiteX7" fmla="*/ 1210840 w 1335879"/>
                  <a:gd name="connsiteY7" fmla="*/ 2734082 h 2776688"/>
                  <a:gd name="connsiteX8" fmla="*/ 802310 w 1335879"/>
                  <a:gd name="connsiteY8" fmla="*/ 2587446 h 2776688"/>
                  <a:gd name="connsiteX9" fmla="*/ 791294 w 1335879"/>
                  <a:gd name="connsiteY9" fmla="*/ 2255084 h 2776688"/>
                  <a:gd name="connsiteX10" fmla="*/ 788862 w 1335879"/>
                  <a:gd name="connsiteY10" fmla="*/ 1633247 h 2776688"/>
                  <a:gd name="connsiteX11" fmla="*/ 762771 w 1335879"/>
                  <a:gd name="connsiteY11" fmla="*/ 1312180 h 2776688"/>
                  <a:gd name="connsiteX12" fmla="*/ 730261 w 1335879"/>
                  <a:gd name="connsiteY12" fmla="*/ 893027 h 2776688"/>
                  <a:gd name="connsiteX13" fmla="*/ 704699 w 1335879"/>
                  <a:gd name="connsiteY13" fmla="*/ 575805 h 2776688"/>
                  <a:gd name="connsiteX14" fmla="*/ 676464 w 1335879"/>
                  <a:gd name="connsiteY14" fmla="*/ 761923 h 2776688"/>
                  <a:gd name="connsiteX15" fmla="*/ 610815 w 1335879"/>
                  <a:gd name="connsiteY15" fmla="*/ 1349308 h 2776688"/>
                  <a:gd name="connsiteX16" fmla="*/ 646315 w 1335879"/>
                  <a:gd name="connsiteY16" fmla="*/ 2190185 h 2776688"/>
                  <a:gd name="connsiteX17" fmla="*/ 623466 w 1335879"/>
                  <a:gd name="connsiteY17" fmla="*/ 2489624 h 2776688"/>
                  <a:gd name="connsiteX18" fmla="*/ 583793 w 1335879"/>
                  <a:gd name="connsiteY18" fmla="*/ 2661475 h 2776688"/>
                  <a:gd name="connsiteX19" fmla="*/ 295651 w 1335879"/>
                  <a:gd name="connsiteY19" fmla="*/ 2690533 h 2776688"/>
                  <a:gd name="connsiteX20" fmla="*/ 246265 w 1335879"/>
                  <a:gd name="connsiteY20" fmla="*/ 2543950 h 2776688"/>
                  <a:gd name="connsiteX21" fmla="*/ 235361 w 1335879"/>
                  <a:gd name="connsiteY21" fmla="*/ 1757242 h 2776688"/>
                  <a:gd name="connsiteX22" fmla="*/ 170625 w 1335879"/>
                  <a:gd name="connsiteY22" fmla="*/ 1498297 h 2776688"/>
                  <a:gd name="connsiteX23" fmla="*/ 146349 w 1335879"/>
                  <a:gd name="connsiteY23" fmla="*/ 1263628 h 2776688"/>
                  <a:gd name="connsiteX24" fmla="*/ 89705 w 1335879"/>
                  <a:gd name="connsiteY24" fmla="*/ 413964 h 2776688"/>
                  <a:gd name="connsiteX25" fmla="*/ 16876 w 1335879"/>
                  <a:gd name="connsiteY25" fmla="*/ 155019 h 2776688"/>
                  <a:gd name="connsiteX26" fmla="*/ 190970 w 1335879"/>
                  <a:gd name="connsiteY26" fmla="*/ 14835 h 2776688"/>
                  <a:gd name="connsiteX0" fmla="*/ 190972 w 1335879"/>
                  <a:gd name="connsiteY0" fmla="*/ 14835 h 2776688"/>
                  <a:gd name="connsiteX1" fmla="*/ 1089333 w 1335879"/>
                  <a:gd name="connsiteY1" fmla="*/ 66007 h 2776688"/>
                  <a:gd name="connsiteX2" fmla="*/ 1335880 w 1335879"/>
                  <a:gd name="connsiteY2" fmla="*/ 171203 h 2776688"/>
                  <a:gd name="connsiteX3" fmla="*/ 1266485 w 1335879"/>
                  <a:gd name="connsiteY3" fmla="*/ 419439 h 2776688"/>
                  <a:gd name="connsiteX4" fmla="*/ 1194400 w 1335879"/>
                  <a:gd name="connsiteY4" fmla="*/ 1236617 h 2776688"/>
                  <a:gd name="connsiteX5" fmla="*/ 1179808 w 1335879"/>
                  <a:gd name="connsiteY5" fmla="*/ 1744154 h 2776688"/>
                  <a:gd name="connsiteX6" fmla="*/ 1180859 w 1335879"/>
                  <a:gd name="connsiteY6" fmla="*/ 2329850 h 2776688"/>
                  <a:gd name="connsiteX7" fmla="*/ 1210842 w 1335879"/>
                  <a:gd name="connsiteY7" fmla="*/ 2734082 h 2776688"/>
                  <a:gd name="connsiteX8" fmla="*/ 802312 w 1335879"/>
                  <a:gd name="connsiteY8" fmla="*/ 2587446 h 2776688"/>
                  <a:gd name="connsiteX9" fmla="*/ 791296 w 1335879"/>
                  <a:gd name="connsiteY9" fmla="*/ 2255084 h 2776688"/>
                  <a:gd name="connsiteX10" fmla="*/ 788864 w 1335879"/>
                  <a:gd name="connsiteY10" fmla="*/ 1633247 h 2776688"/>
                  <a:gd name="connsiteX11" fmla="*/ 762773 w 1335879"/>
                  <a:gd name="connsiteY11" fmla="*/ 1312180 h 2776688"/>
                  <a:gd name="connsiteX12" fmla="*/ 730263 w 1335879"/>
                  <a:gd name="connsiteY12" fmla="*/ 893027 h 2776688"/>
                  <a:gd name="connsiteX13" fmla="*/ 704701 w 1335879"/>
                  <a:gd name="connsiteY13" fmla="*/ 575805 h 2776688"/>
                  <a:gd name="connsiteX14" fmla="*/ 676466 w 1335879"/>
                  <a:gd name="connsiteY14" fmla="*/ 761923 h 2776688"/>
                  <a:gd name="connsiteX15" fmla="*/ 610817 w 1335879"/>
                  <a:gd name="connsiteY15" fmla="*/ 1349308 h 2776688"/>
                  <a:gd name="connsiteX16" fmla="*/ 646317 w 1335879"/>
                  <a:gd name="connsiteY16" fmla="*/ 2190185 h 2776688"/>
                  <a:gd name="connsiteX17" fmla="*/ 623468 w 1335879"/>
                  <a:gd name="connsiteY17" fmla="*/ 2489624 h 2776688"/>
                  <a:gd name="connsiteX18" fmla="*/ 594648 w 1335879"/>
                  <a:gd name="connsiteY18" fmla="*/ 2681648 h 2776688"/>
                  <a:gd name="connsiteX19" fmla="*/ 295653 w 1335879"/>
                  <a:gd name="connsiteY19" fmla="*/ 2690533 h 2776688"/>
                  <a:gd name="connsiteX20" fmla="*/ 246267 w 1335879"/>
                  <a:gd name="connsiteY20" fmla="*/ 2543950 h 2776688"/>
                  <a:gd name="connsiteX21" fmla="*/ 235363 w 1335879"/>
                  <a:gd name="connsiteY21" fmla="*/ 1757242 h 2776688"/>
                  <a:gd name="connsiteX22" fmla="*/ 170627 w 1335879"/>
                  <a:gd name="connsiteY22" fmla="*/ 1498297 h 2776688"/>
                  <a:gd name="connsiteX23" fmla="*/ 146351 w 1335879"/>
                  <a:gd name="connsiteY23" fmla="*/ 1263628 h 2776688"/>
                  <a:gd name="connsiteX24" fmla="*/ 89707 w 1335879"/>
                  <a:gd name="connsiteY24" fmla="*/ 413964 h 2776688"/>
                  <a:gd name="connsiteX25" fmla="*/ 16878 w 1335879"/>
                  <a:gd name="connsiteY25" fmla="*/ 155019 h 2776688"/>
                  <a:gd name="connsiteX26" fmla="*/ 190972 w 1335879"/>
                  <a:gd name="connsiteY26" fmla="*/ 14835 h 2776688"/>
                  <a:gd name="connsiteX0" fmla="*/ 190970 w 1335879"/>
                  <a:gd name="connsiteY0" fmla="*/ 14835 h 2776688"/>
                  <a:gd name="connsiteX1" fmla="*/ 1089331 w 1335879"/>
                  <a:gd name="connsiteY1" fmla="*/ 66007 h 2776688"/>
                  <a:gd name="connsiteX2" fmla="*/ 1335878 w 1335879"/>
                  <a:gd name="connsiteY2" fmla="*/ 171203 h 2776688"/>
                  <a:gd name="connsiteX3" fmla="*/ 1266483 w 1335879"/>
                  <a:gd name="connsiteY3" fmla="*/ 419439 h 2776688"/>
                  <a:gd name="connsiteX4" fmla="*/ 1194398 w 1335879"/>
                  <a:gd name="connsiteY4" fmla="*/ 1236617 h 2776688"/>
                  <a:gd name="connsiteX5" fmla="*/ 1179806 w 1335879"/>
                  <a:gd name="connsiteY5" fmla="*/ 1744154 h 2776688"/>
                  <a:gd name="connsiteX6" fmla="*/ 1180857 w 1335879"/>
                  <a:gd name="connsiteY6" fmla="*/ 2329850 h 2776688"/>
                  <a:gd name="connsiteX7" fmla="*/ 1210840 w 1335879"/>
                  <a:gd name="connsiteY7" fmla="*/ 2734082 h 2776688"/>
                  <a:gd name="connsiteX8" fmla="*/ 802310 w 1335879"/>
                  <a:gd name="connsiteY8" fmla="*/ 2587446 h 2776688"/>
                  <a:gd name="connsiteX9" fmla="*/ 791294 w 1335879"/>
                  <a:gd name="connsiteY9" fmla="*/ 2255084 h 2776688"/>
                  <a:gd name="connsiteX10" fmla="*/ 788862 w 1335879"/>
                  <a:gd name="connsiteY10" fmla="*/ 1633247 h 2776688"/>
                  <a:gd name="connsiteX11" fmla="*/ 762771 w 1335879"/>
                  <a:gd name="connsiteY11" fmla="*/ 1312180 h 2776688"/>
                  <a:gd name="connsiteX12" fmla="*/ 730261 w 1335879"/>
                  <a:gd name="connsiteY12" fmla="*/ 893027 h 2776688"/>
                  <a:gd name="connsiteX13" fmla="*/ 704699 w 1335879"/>
                  <a:gd name="connsiteY13" fmla="*/ 575805 h 2776688"/>
                  <a:gd name="connsiteX14" fmla="*/ 676464 w 1335879"/>
                  <a:gd name="connsiteY14" fmla="*/ 761923 h 2776688"/>
                  <a:gd name="connsiteX15" fmla="*/ 610815 w 1335879"/>
                  <a:gd name="connsiteY15" fmla="*/ 1349308 h 2776688"/>
                  <a:gd name="connsiteX16" fmla="*/ 646315 w 1335879"/>
                  <a:gd name="connsiteY16" fmla="*/ 2190185 h 2776688"/>
                  <a:gd name="connsiteX17" fmla="*/ 623466 w 1335879"/>
                  <a:gd name="connsiteY17" fmla="*/ 2489624 h 2776688"/>
                  <a:gd name="connsiteX18" fmla="*/ 594646 w 1335879"/>
                  <a:gd name="connsiteY18" fmla="*/ 2681648 h 2776688"/>
                  <a:gd name="connsiteX19" fmla="*/ 295651 w 1335879"/>
                  <a:gd name="connsiteY19" fmla="*/ 2690533 h 2776688"/>
                  <a:gd name="connsiteX20" fmla="*/ 246265 w 1335879"/>
                  <a:gd name="connsiteY20" fmla="*/ 2543950 h 2776688"/>
                  <a:gd name="connsiteX21" fmla="*/ 235361 w 1335879"/>
                  <a:gd name="connsiteY21" fmla="*/ 1757242 h 2776688"/>
                  <a:gd name="connsiteX22" fmla="*/ 170625 w 1335879"/>
                  <a:gd name="connsiteY22" fmla="*/ 1498297 h 2776688"/>
                  <a:gd name="connsiteX23" fmla="*/ 146349 w 1335879"/>
                  <a:gd name="connsiteY23" fmla="*/ 1263628 h 2776688"/>
                  <a:gd name="connsiteX24" fmla="*/ 89705 w 1335879"/>
                  <a:gd name="connsiteY24" fmla="*/ 413964 h 2776688"/>
                  <a:gd name="connsiteX25" fmla="*/ 16876 w 1335879"/>
                  <a:gd name="connsiteY25" fmla="*/ 155019 h 2776688"/>
                  <a:gd name="connsiteX26" fmla="*/ 190970 w 1335879"/>
                  <a:gd name="connsiteY26" fmla="*/ 14835 h 2776688"/>
                  <a:gd name="connsiteX0" fmla="*/ 190972 w 1335879"/>
                  <a:gd name="connsiteY0" fmla="*/ 14835 h 2776688"/>
                  <a:gd name="connsiteX1" fmla="*/ 1089333 w 1335879"/>
                  <a:gd name="connsiteY1" fmla="*/ 66007 h 2776688"/>
                  <a:gd name="connsiteX2" fmla="*/ 1335880 w 1335879"/>
                  <a:gd name="connsiteY2" fmla="*/ 171203 h 2776688"/>
                  <a:gd name="connsiteX3" fmla="*/ 1266485 w 1335879"/>
                  <a:gd name="connsiteY3" fmla="*/ 419439 h 2776688"/>
                  <a:gd name="connsiteX4" fmla="*/ 1194400 w 1335879"/>
                  <a:gd name="connsiteY4" fmla="*/ 1236617 h 2776688"/>
                  <a:gd name="connsiteX5" fmla="*/ 1179808 w 1335879"/>
                  <a:gd name="connsiteY5" fmla="*/ 1744154 h 2776688"/>
                  <a:gd name="connsiteX6" fmla="*/ 1180859 w 1335879"/>
                  <a:gd name="connsiteY6" fmla="*/ 2329850 h 2776688"/>
                  <a:gd name="connsiteX7" fmla="*/ 1210842 w 1335879"/>
                  <a:gd name="connsiteY7" fmla="*/ 2734082 h 2776688"/>
                  <a:gd name="connsiteX8" fmla="*/ 802312 w 1335879"/>
                  <a:gd name="connsiteY8" fmla="*/ 2587446 h 2776688"/>
                  <a:gd name="connsiteX9" fmla="*/ 791296 w 1335879"/>
                  <a:gd name="connsiteY9" fmla="*/ 2255084 h 2776688"/>
                  <a:gd name="connsiteX10" fmla="*/ 788864 w 1335879"/>
                  <a:gd name="connsiteY10" fmla="*/ 1633247 h 2776688"/>
                  <a:gd name="connsiteX11" fmla="*/ 762773 w 1335879"/>
                  <a:gd name="connsiteY11" fmla="*/ 1312180 h 2776688"/>
                  <a:gd name="connsiteX12" fmla="*/ 730263 w 1335879"/>
                  <a:gd name="connsiteY12" fmla="*/ 893027 h 2776688"/>
                  <a:gd name="connsiteX13" fmla="*/ 704701 w 1335879"/>
                  <a:gd name="connsiteY13" fmla="*/ 575805 h 2776688"/>
                  <a:gd name="connsiteX14" fmla="*/ 676466 w 1335879"/>
                  <a:gd name="connsiteY14" fmla="*/ 761923 h 2776688"/>
                  <a:gd name="connsiteX15" fmla="*/ 610817 w 1335879"/>
                  <a:gd name="connsiteY15" fmla="*/ 1349308 h 2776688"/>
                  <a:gd name="connsiteX16" fmla="*/ 646317 w 1335879"/>
                  <a:gd name="connsiteY16" fmla="*/ 2190185 h 2776688"/>
                  <a:gd name="connsiteX17" fmla="*/ 639748 w 1335879"/>
                  <a:gd name="connsiteY17" fmla="*/ 2489624 h 2776688"/>
                  <a:gd name="connsiteX18" fmla="*/ 594648 w 1335879"/>
                  <a:gd name="connsiteY18" fmla="*/ 2681648 h 2776688"/>
                  <a:gd name="connsiteX19" fmla="*/ 295653 w 1335879"/>
                  <a:gd name="connsiteY19" fmla="*/ 2690533 h 2776688"/>
                  <a:gd name="connsiteX20" fmla="*/ 246267 w 1335879"/>
                  <a:gd name="connsiteY20" fmla="*/ 2543950 h 2776688"/>
                  <a:gd name="connsiteX21" fmla="*/ 235363 w 1335879"/>
                  <a:gd name="connsiteY21" fmla="*/ 1757242 h 2776688"/>
                  <a:gd name="connsiteX22" fmla="*/ 170627 w 1335879"/>
                  <a:gd name="connsiteY22" fmla="*/ 1498297 h 2776688"/>
                  <a:gd name="connsiteX23" fmla="*/ 146351 w 1335879"/>
                  <a:gd name="connsiteY23" fmla="*/ 1263628 h 2776688"/>
                  <a:gd name="connsiteX24" fmla="*/ 89707 w 1335879"/>
                  <a:gd name="connsiteY24" fmla="*/ 413964 h 2776688"/>
                  <a:gd name="connsiteX25" fmla="*/ 16878 w 1335879"/>
                  <a:gd name="connsiteY25" fmla="*/ 155019 h 2776688"/>
                  <a:gd name="connsiteX26" fmla="*/ 190972 w 1335879"/>
                  <a:gd name="connsiteY26" fmla="*/ 14835 h 2776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35879" h="2776688">
                    <a:moveTo>
                      <a:pt x="190972" y="14835"/>
                    </a:moveTo>
                    <a:cubicBezTo>
                      <a:pt x="369715" y="0"/>
                      <a:pt x="898515" y="39946"/>
                      <a:pt x="1089333" y="66007"/>
                    </a:cubicBezTo>
                    <a:cubicBezTo>
                      <a:pt x="1280151" y="92068"/>
                      <a:pt x="1306355" y="112298"/>
                      <a:pt x="1335880" y="171203"/>
                    </a:cubicBezTo>
                    <a:cubicBezTo>
                      <a:pt x="1330831" y="203334"/>
                      <a:pt x="1277535" y="408070"/>
                      <a:pt x="1266485" y="419439"/>
                    </a:cubicBezTo>
                    <a:cubicBezTo>
                      <a:pt x="1246073" y="614436"/>
                      <a:pt x="1217597" y="947141"/>
                      <a:pt x="1194400" y="1236617"/>
                    </a:cubicBezTo>
                    <a:cubicBezTo>
                      <a:pt x="1181875" y="1455618"/>
                      <a:pt x="1182065" y="1561949"/>
                      <a:pt x="1179808" y="1744154"/>
                    </a:cubicBezTo>
                    <a:cubicBezTo>
                      <a:pt x="1177551" y="1926360"/>
                      <a:pt x="1175687" y="2164862"/>
                      <a:pt x="1180859" y="2329850"/>
                    </a:cubicBezTo>
                    <a:cubicBezTo>
                      <a:pt x="1186031" y="2494838"/>
                      <a:pt x="1232200" y="2674354"/>
                      <a:pt x="1210842" y="2734082"/>
                    </a:cubicBezTo>
                    <a:cubicBezTo>
                      <a:pt x="1040991" y="2776688"/>
                      <a:pt x="953193" y="2719184"/>
                      <a:pt x="802312" y="2587446"/>
                    </a:cubicBezTo>
                    <a:cubicBezTo>
                      <a:pt x="812907" y="2534867"/>
                      <a:pt x="794188" y="2400195"/>
                      <a:pt x="791296" y="2255084"/>
                    </a:cubicBezTo>
                    <a:cubicBezTo>
                      <a:pt x="780153" y="2001599"/>
                      <a:pt x="793618" y="1790398"/>
                      <a:pt x="788864" y="1633247"/>
                    </a:cubicBezTo>
                    <a:cubicBezTo>
                      <a:pt x="784110" y="1476096"/>
                      <a:pt x="772540" y="1435550"/>
                      <a:pt x="762773" y="1312180"/>
                    </a:cubicBezTo>
                    <a:cubicBezTo>
                      <a:pt x="753006" y="1188810"/>
                      <a:pt x="739942" y="1015756"/>
                      <a:pt x="730263" y="893027"/>
                    </a:cubicBezTo>
                    <a:cubicBezTo>
                      <a:pt x="720584" y="770298"/>
                      <a:pt x="713667" y="597656"/>
                      <a:pt x="704701" y="575805"/>
                    </a:cubicBezTo>
                    <a:cubicBezTo>
                      <a:pt x="695735" y="553954"/>
                      <a:pt x="692113" y="633006"/>
                      <a:pt x="676466" y="761923"/>
                    </a:cubicBezTo>
                    <a:cubicBezTo>
                      <a:pt x="660819" y="890840"/>
                      <a:pt x="618909" y="1217138"/>
                      <a:pt x="610817" y="1349308"/>
                    </a:cubicBezTo>
                    <a:cubicBezTo>
                      <a:pt x="605792" y="1587352"/>
                      <a:pt x="644209" y="2000132"/>
                      <a:pt x="646317" y="2190185"/>
                    </a:cubicBezTo>
                    <a:cubicBezTo>
                      <a:pt x="648426" y="2380238"/>
                      <a:pt x="648359" y="2407714"/>
                      <a:pt x="639748" y="2489624"/>
                    </a:cubicBezTo>
                    <a:cubicBezTo>
                      <a:pt x="631137" y="2571534"/>
                      <a:pt x="643857" y="2678422"/>
                      <a:pt x="594648" y="2681648"/>
                    </a:cubicBezTo>
                    <a:cubicBezTo>
                      <a:pt x="540012" y="2715133"/>
                      <a:pt x="415775" y="2724816"/>
                      <a:pt x="295653" y="2690533"/>
                    </a:cubicBezTo>
                    <a:cubicBezTo>
                      <a:pt x="266141" y="2685424"/>
                      <a:pt x="229709" y="2749879"/>
                      <a:pt x="246267" y="2543950"/>
                    </a:cubicBezTo>
                    <a:cubicBezTo>
                      <a:pt x="242605" y="2302313"/>
                      <a:pt x="247970" y="1931517"/>
                      <a:pt x="235363" y="1757242"/>
                    </a:cubicBezTo>
                    <a:cubicBezTo>
                      <a:pt x="222756" y="1582967"/>
                      <a:pt x="185462" y="1580566"/>
                      <a:pt x="170627" y="1498297"/>
                    </a:cubicBezTo>
                    <a:cubicBezTo>
                      <a:pt x="155792" y="1416028"/>
                      <a:pt x="159838" y="1444350"/>
                      <a:pt x="146351" y="1263628"/>
                    </a:cubicBezTo>
                    <a:cubicBezTo>
                      <a:pt x="132864" y="1082906"/>
                      <a:pt x="111286" y="598732"/>
                      <a:pt x="89707" y="413964"/>
                    </a:cubicBezTo>
                    <a:cubicBezTo>
                      <a:pt x="81093" y="404227"/>
                      <a:pt x="1" y="221540"/>
                      <a:pt x="16878" y="155019"/>
                    </a:cubicBezTo>
                    <a:cubicBezTo>
                      <a:pt x="33755" y="88498"/>
                      <a:pt x="12230" y="29670"/>
                      <a:pt x="190972" y="1483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79" name="Freeform 278"/>
              <p:cNvSpPr/>
              <p:nvPr/>
            </p:nvSpPr>
            <p:spPr bwMode="auto">
              <a:xfrm>
                <a:off x="6771023" y="3659044"/>
                <a:ext cx="595502" cy="1861184"/>
              </a:xfrm>
              <a:custGeom>
                <a:avLst/>
                <a:gdLst>
                  <a:gd name="connsiteX0" fmla="*/ 479425 w 981075"/>
                  <a:gd name="connsiteY0" fmla="*/ 4762 h 2840037"/>
                  <a:gd name="connsiteX1" fmla="*/ 498475 w 981075"/>
                  <a:gd name="connsiteY1" fmla="*/ 366712 h 2840037"/>
                  <a:gd name="connsiteX2" fmla="*/ 508000 w 981075"/>
                  <a:gd name="connsiteY2" fmla="*/ 385762 h 2840037"/>
                  <a:gd name="connsiteX3" fmla="*/ 584200 w 981075"/>
                  <a:gd name="connsiteY3" fmla="*/ 395287 h 2840037"/>
                  <a:gd name="connsiteX4" fmla="*/ 660400 w 981075"/>
                  <a:gd name="connsiteY4" fmla="*/ 347662 h 2840037"/>
                  <a:gd name="connsiteX5" fmla="*/ 650875 w 981075"/>
                  <a:gd name="connsiteY5" fmla="*/ 757237 h 2840037"/>
                  <a:gd name="connsiteX6" fmla="*/ 698500 w 981075"/>
                  <a:gd name="connsiteY6" fmla="*/ 1404937 h 2840037"/>
                  <a:gd name="connsiteX7" fmla="*/ 841375 w 981075"/>
                  <a:gd name="connsiteY7" fmla="*/ 1747837 h 2840037"/>
                  <a:gd name="connsiteX8" fmla="*/ 917575 w 981075"/>
                  <a:gd name="connsiteY8" fmla="*/ 2205037 h 2840037"/>
                  <a:gd name="connsiteX9" fmla="*/ 936625 w 981075"/>
                  <a:gd name="connsiteY9" fmla="*/ 2414587 h 2840037"/>
                  <a:gd name="connsiteX10" fmla="*/ 965200 w 981075"/>
                  <a:gd name="connsiteY10" fmla="*/ 2500312 h 2840037"/>
                  <a:gd name="connsiteX11" fmla="*/ 841375 w 981075"/>
                  <a:gd name="connsiteY11" fmla="*/ 2576512 h 2840037"/>
                  <a:gd name="connsiteX12" fmla="*/ 803275 w 981075"/>
                  <a:gd name="connsiteY12" fmla="*/ 2509837 h 2840037"/>
                  <a:gd name="connsiteX13" fmla="*/ 688975 w 981075"/>
                  <a:gd name="connsiteY13" fmla="*/ 1824037 h 2840037"/>
                  <a:gd name="connsiteX14" fmla="*/ 574675 w 981075"/>
                  <a:gd name="connsiteY14" fmla="*/ 795337 h 2840037"/>
                  <a:gd name="connsiteX15" fmla="*/ 498475 w 981075"/>
                  <a:gd name="connsiteY15" fmla="*/ 528637 h 2840037"/>
                  <a:gd name="connsiteX16" fmla="*/ 479425 w 981075"/>
                  <a:gd name="connsiteY16" fmla="*/ 614362 h 2840037"/>
                  <a:gd name="connsiteX17" fmla="*/ 450850 w 981075"/>
                  <a:gd name="connsiteY17" fmla="*/ 995362 h 2840037"/>
                  <a:gd name="connsiteX18" fmla="*/ 384175 w 981075"/>
                  <a:gd name="connsiteY18" fmla="*/ 1433512 h 2840037"/>
                  <a:gd name="connsiteX19" fmla="*/ 412750 w 981075"/>
                  <a:gd name="connsiteY19" fmla="*/ 1871662 h 2840037"/>
                  <a:gd name="connsiteX20" fmla="*/ 450850 w 981075"/>
                  <a:gd name="connsiteY20" fmla="*/ 2424112 h 2840037"/>
                  <a:gd name="connsiteX21" fmla="*/ 412750 w 981075"/>
                  <a:gd name="connsiteY21" fmla="*/ 2700337 h 2840037"/>
                  <a:gd name="connsiteX22" fmla="*/ 403225 w 981075"/>
                  <a:gd name="connsiteY22" fmla="*/ 2767012 h 2840037"/>
                  <a:gd name="connsiteX23" fmla="*/ 165100 w 981075"/>
                  <a:gd name="connsiteY23" fmla="*/ 2833687 h 2840037"/>
                  <a:gd name="connsiteX24" fmla="*/ 79375 w 981075"/>
                  <a:gd name="connsiteY24" fmla="*/ 2805112 h 2840037"/>
                  <a:gd name="connsiteX25" fmla="*/ 22225 w 981075"/>
                  <a:gd name="connsiteY25" fmla="*/ 2757487 h 2840037"/>
                  <a:gd name="connsiteX26" fmla="*/ 22225 w 981075"/>
                  <a:gd name="connsiteY26" fmla="*/ 2338387 h 2840037"/>
                  <a:gd name="connsiteX27" fmla="*/ 12700 w 981075"/>
                  <a:gd name="connsiteY27" fmla="*/ 1776412 h 2840037"/>
                  <a:gd name="connsiteX28" fmla="*/ 98425 w 981075"/>
                  <a:gd name="connsiteY28" fmla="*/ 1681162 h 2840037"/>
                  <a:gd name="connsiteX29" fmla="*/ 193675 w 981075"/>
                  <a:gd name="connsiteY29" fmla="*/ 1624012 h 2840037"/>
                  <a:gd name="connsiteX30" fmla="*/ 269875 w 981075"/>
                  <a:gd name="connsiteY30" fmla="*/ 1366837 h 2840037"/>
                  <a:gd name="connsiteX31" fmla="*/ 374650 w 981075"/>
                  <a:gd name="connsiteY31" fmla="*/ 795337 h 2840037"/>
                  <a:gd name="connsiteX32" fmla="*/ 403225 w 981075"/>
                  <a:gd name="connsiteY32" fmla="*/ 509587 h 2840037"/>
                  <a:gd name="connsiteX33" fmla="*/ 231775 w 981075"/>
                  <a:gd name="connsiteY33" fmla="*/ 395287 h 2840037"/>
                  <a:gd name="connsiteX34" fmla="*/ 422275 w 981075"/>
                  <a:gd name="connsiteY34" fmla="*/ 433387 h 2840037"/>
                  <a:gd name="connsiteX35" fmla="*/ 450850 w 981075"/>
                  <a:gd name="connsiteY35" fmla="*/ 395287 h 2840037"/>
                  <a:gd name="connsiteX36" fmla="*/ 479425 w 981075"/>
                  <a:gd name="connsiteY36" fmla="*/ 4762 h 2840037"/>
                  <a:gd name="connsiteX0" fmla="*/ 479425 w 981075"/>
                  <a:gd name="connsiteY0" fmla="*/ 4762 h 2840037"/>
                  <a:gd name="connsiteX1" fmla="*/ 498475 w 981075"/>
                  <a:gd name="connsiteY1" fmla="*/ 366712 h 2840037"/>
                  <a:gd name="connsiteX2" fmla="*/ 584200 w 981075"/>
                  <a:gd name="connsiteY2" fmla="*/ 395287 h 2840037"/>
                  <a:gd name="connsiteX3" fmla="*/ 660400 w 981075"/>
                  <a:gd name="connsiteY3" fmla="*/ 347662 h 2840037"/>
                  <a:gd name="connsiteX4" fmla="*/ 650875 w 981075"/>
                  <a:gd name="connsiteY4" fmla="*/ 757237 h 2840037"/>
                  <a:gd name="connsiteX5" fmla="*/ 698500 w 981075"/>
                  <a:gd name="connsiteY5" fmla="*/ 1404937 h 2840037"/>
                  <a:gd name="connsiteX6" fmla="*/ 841375 w 981075"/>
                  <a:gd name="connsiteY6" fmla="*/ 1747837 h 2840037"/>
                  <a:gd name="connsiteX7" fmla="*/ 917575 w 981075"/>
                  <a:gd name="connsiteY7" fmla="*/ 2205037 h 2840037"/>
                  <a:gd name="connsiteX8" fmla="*/ 936625 w 981075"/>
                  <a:gd name="connsiteY8" fmla="*/ 2414587 h 2840037"/>
                  <a:gd name="connsiteX9" fmla="*/ 965200 w 981075"/>
                  <a:gd name="connsiteY9" fmla="*/ 2500312 h 2840037"/>
                  <a:gd name="connsiteX10" fmla="*/ 841375 w 981075"/>
                  <a:gd name="connsiteY10" fmla="*/ 2576512 h 2840037"/>
                  <a:gd name="connsiteX11" fmla="*/ 803275 w 981075"/>
                  <a:gd name="connsiteY11" fmla="*/ 2509837 h 2840037"/>
                  <a:gd name="connsiteX12" fmla="*/ 688975 w 981075"/>
                  <a:gd name="connsiteY12" fmla="*/ 1824037 h 2840037"/>
                  <a:gd name="connsiteX13" fmla="*/ 574675 w 981075"/>
                  <a:gd name="connsiteY13" fmla="*/ 795337 h 2840037"/>
                  <a:gd name="connsiteX14" fmla="*/ 498475 w 981075"/>
                  <a:gd name="connsiteY14" fmla="*/ 528637 h 2840037"/>
                  <a:gd name="connsiteX15" fmla="*/ 479425 w 981075"/>
                  <a:gd name="connsiteY15" fmla="*/ 614362 h 2840037"/>
                  <a:gd name="connsiteX16" fmla="*/ 450850 w 981075"/>
                  <a:gd name="connsiteY16" fmla="*/ 995362 h 2840037"/>
                  <a:gd name="connsiteX17" fmla="*/ 384175 w 981075"/>
                  <a:gd name="connsiteY17" fmla="*/ 1433512 h 2840037"/>
                  <a:gd name="connsiteX18" fmla="*/ 412750 w 981075"/>
                  <a:gd name="connsiteY18" fmla="*/ 1871662 h 2840037"/>
                  <a:gd name="connsiteX19" fmla="*/ 450850 w 981075"/>
                  <a:gd name="connsiteY19" fmla="*/ 2424112 h 2840037"/>
                  <a:gd name="connsiteX20" fmla="*/ 412750 w 981075"/>
                  <a:gd name="connsiteY20" fmla="*/ 2700337 h 2840037"/>
                  <a:gd name="connsiteX21" fmla="*/ 403225 w 981075"/>
                  <a:gd name="connsiteY21" fmla="*/ 2767012 h 2840037"/>
                  <a:gd name="connsiteX22" fmla="*/ 165100 w 981075"/>
                  <a:gd name="connsiteY22" fmla="*/ 2833687 h 2840037"/>
                  <a:gd name="connsiteX23" fmla="*/ 79375 w 981075"/>
                  <a:gd name="connsiteY23" fmla="*/ 2805112 h 2840037"/>
                  <a:gd name="connsiteX24" fmla="*/ 22225 w 981075"/>
                  <a:gd name="connsiteY24" fmla="*/ 2757487 h 2840037"/>
                  <a:gd name="connsiteX25" fmla="*/ 22225 w 981075"/>
                  <a:gd name="connsiteY25" fmla="*/ 2338387 h 2840037"/>
                  <a:gd name="connsiteX26" fmla="*/ 12700 w 981075"/>
                  <a:gd name="connsiteY26" fmla="*/ 1776412 h 2840037"/>
                  <a:gd name="connsiteX27" fmla="*/ 98425 w 981075"/>
                  <a:gd name="connsiteY27" fmla="*/ 1681162 h 2840037"/>
                  <a:gd name="connsiteX28" fmla="*/ 193675 w 981075"/>
                  <a:gd name="connsiteY28" fmla="*/ 1624012 h 2840037"/>
                  <a:gd name="connsiteX29" fmla="*/ 269875 w 981075"/>
                  <a:gd name="connsiteY29" fmla="*/ 1366837 h 2840037"/>
                  <a:gd name="connsiteX30" fmla="*/ 374650 w 981075"/>
                  <a:gd name="connsiteY30" fmla="*/ 795337 h 2840037"/>
                  <a:gd name="connsiteX31" fmla="*/ 403225 w 981075"/>
                  <a:gd name="connsiteY31" fmla="*/ 509587 h 2840037"/>
                  <a:gd name="connsiteX32" fmla="*/ 231775 w 981075"/>
                  <a:gd name="connsiteY32" fmla="*/ 395287 h 2840037"/>
                  <a:gd name="connsiteX33" fmla="*/ 422275 w 981075"/>
                  <a:gd name="connsiteY33" fmla="*/ 433387 h 2840037"/>
                  <a:gd name="connsiteX34" fmla="*/ 450850 w 981075"/>
                  <a:gd name="connsiteY34" fmla="*/ 395287 h 2840037"/>
                  <a:gd name="connsiteX35" fmla="*/ 479425 w 981075"/>
                  <a:gd name="connsiteY35" fmla="*/ 4762 h 2840037"/>
                  <a:gd name="connsiteX0" fmla="*/ 479425 w 981075"/>
                  <a:gd name="connsiteY0" fmla="*/ 4762 h 2840037"/>
                  <a:gd name="connsiteX1" fmla="*/ 498475 w 981075"/>
                  <a:gd name="connsiteY1" fmla="*/ 366712 h 2840037"/>
                  <a:gd name="connsiteX2" fmla="*/ 584200 w 981075"/>
                  <a:gd name="connsiteY2" fmla="*/ 395287 h 2840037"/>
                  <a:gd name="connsiteX3" fmla="*/ 660400 w 981075"/>
                  <a:gd name="connsiteY3" fmla="*/ 347662 h 2840037"/>
                  <a:gd name="connsiteX4" fmla="*/ 650875 w 981075"/>
                  <a:gd name="connsiteY4" fmla="*/ 757237 h 2840037"/>
                  <a:gd name="connsiteX5" fmla="*/ 698500 w 981075"/>
                  <a:gd name="connsiteY5" fmla="*/ 1404937 h 2840037"/>
                  <a:gd name="connsiteX6" fmla="*/ 841375 w 981075"/>
                  <a:gd name="connsiteY6" fmla="*/ 1747837 h 2840037"/>
                  <a:gd name="connsiteX7" fmla="*/ 917575 w 981075"/>
                  <a:gd name="connsiteY7" fmla="*/ 2205037 h 2840037"/>
                  <a:gd name="connsiteX8" fmla="*/ 936625 w 981075"/>
                  <a:gd name="connsiteY8" fmla="*/ 2414587 h 2840037"/>
                  <a:gd name="connsiteX9" fmla="*/ 965200 w 981075"/>
                  <a:gd name="connsiteY9" fmla="*/ 2500312 h 2840037"/>
                  <a:gd name="connsiteX10" fmla="*/ 841375 w 981075"/>
                  <a:gd name="connsiteY10" fmla="*/ 2576512 h 2840037"/>
                  <a:gd name="connsiteX11" fmla="*/ 803275 w 981075"/>
                  <a:gd name="connsiteY11" fmla="*/ 2509837 h 2840037"/>
                  <a:gd name="connsiteX12" fmla="*/ 688975 w 981075"/>
                  <a:gd name="connsiteY12" fmla="*/ 1824037 h 2840037"/>
                  <a:gd name="connsiteX13" fmla="*/ 574675 w 981075"/>
                  <a:gd name="connsiteY13" fmla="*/ 795337 h 2840037"/>
                  <a:gd name="connsiteX14" fmla="*/ 498475 w 981075"/>
                  <a:gd name="connsiteY14" fmla="*/ 528637 h 2840037"/>
                  <a:gd name="connsiteX15" fmla="*/ 479425 w 981075"/>
                  <a:gd name="connsiteY15" fmla="*/ 614362 h 2840037"/>
                  <a:gd name="connsiteX16" fmla="*/ 450850 w 981075"/>
                  <a:gd name="connsiteY16" fmla="*/ 995362 h 2840037"/>
                  <a:gd name="connsiteX17" fmla="*/ 384175 w 981075"/>
                  <a:gd name="connsiteY17" fmla="*/ 1433512 h 2840037"/>
                  <a:gd name="connsiteX18" fmla="*/ 412750 w 981075"/>
                  <a:gd name="connsiteY18" fmla="*/ 1871662 h 2840037"/>
                  <a:gd name="connsiteX19" fmla="*/ 450850 w 981075"/>
                  <a:gd name="connsiteY19" fmla="*/ 2424112 h 2840037"/>
                  <a:gd name="connsiteX20" fmla="*/ 412750 w 981075"/>
                  <a:gd name="connsiteY20" fmla="*/ 2700337 h 2840037"/>
                  <a:gd name="connsiteX21" fmla="*/ 403225 w 981075"/>
                  <a:gd name="connsiteY21" fmla="*/ 2767012 h 2840037"/>
                  <a:gd name="connsiteX22" fmla="*/ 165100 w 981075"/>
                  <a:gd name="connsiteY22" fmla="*/ 2833687 h 2840037"/>
                  <a:gd name="connsiteX23" fmla="*/ 79375 w 981075"/>
                  <a:gd name="connsiteY23" fmla="*/ 2805112 h 2840037"/>
                  <a:gd name="connsiteX24" fmla="*/ 22225 w 981075"/>
                  <a:gd name="connsiteY24" fmla="*/ 2757487 h 2840037"/>
                  <a:gd name="connsiteX25" fmla="*/ 22225 w 981075"/>
                  <a:gd name="connsiteY25" fmla="*/ 2338387 h 2840037"/>
                  <a:gd name="connsiteX26" fmla="*/ 12700 w 981075"/>
                  <a:gd name="connsiteY26" fmla="*/ 1776412 h 2840037"/>
                  <a:gd name="connsiteX27" fmla="*/ 98425 w 981075"/>
                  <a:gd name="connsiteY27" fmla="*/ 1681162 h 2840037"/>
                  <a:gd name="connsiteX28" fmla="*/ 193675 w 981075"/>
                  <a:gd name="connsiteY28" fmla="*/ 1624012 h 2840037"/>
                  <a:gd name="connsiteX29" fmla="*/ 269875 w 981075"/>
                  <a:gd name="connsiteY29" fmla="*/ 1366837 h 2840037"/>
                  <a:gd name="connsiteX30" fmla="*/ 374650 w 981075"/>
                  <a:gd name="connsiteY30" fmla="*/ 795337 h 2840037"/>
                  <a:gd name="connsiteX31" fmla="*/ 403225 w 981075"/>
                  <a:gd name="connsiteY31" fmla="*/ 509587 h 2840037"/>
                  <a:gd name="connsiteX32" fmla="*/ 231775 w 981075"/>
                  <a:gd name="connsiteY32" fmla="*/ 395287 h 2840037"/>
                  <a:gd name="connsiteX33" fmla="*/ 422275 w 981075"/>
                  <a:gd name="connsiteY33" fmla="*/ 433387 h 2840037"/>
                  <a:gd name="connsiteX34" fmla="*/ 450850 w 981075"/>
                  <a:gd name="connsiteY34" fmla="*/ 395287 h 2840037"/>
                  <a:gd name="connsiteX35" fmla="*/ 479425 w 981075"/>
                  <a:gd name="connsiteY35" fmla="*/ 4762 h 2840037"/>
                  <a:gd name="connsiteX0" fmla="*/ 479425 w 981075"/>
                  <a:gd name="connsiteY0" fmla="*/ 4762 h 2840037"/>
                  <a:gd name="connsiteX1" fmla="*/ 498475 w 981075"/>
                  <a:gd name="connsiteY1" fmla="*/ 366712 h 2840037"/>
                  <a:gd name="connsiteX2" fmla="*/ 584200 w 981075"/>
                  <a:gd name="connsiteY2" fmla="*/ 395287 h 2840037"/>
                  <a:gd name="connsiteX3" fmla="*/ 660400 w 981075"/>
                  <a:gd name="connsiteY3" fmla="*/ 347662 h 2840037"/>
                  <a:gd name="connsiteX4" fmla="*/ 650875 w 981075"/>
                  <a:gd name="connsiteY4" fmla="*/ 757237 h 2840037"/>
                  <a:gd name="connsiteX5" fmla="*/ 698500 w 981075"/>
                  <a:gd name="connsiteY5" fmla="*/ 1404937 h 2840037"/>
                  <a:gd name="connsiteX6" fmla="*/ 841375 w 981075"/>
                  <a:gd name="connsiteY6" fmla="*/ 1747837 h 2840037"/>
                  <a:gd name="connsiteX7" fmla="*/ 917575 w 981075"/>
                  <a:gd name="connsiteY7" fmla="*/ 2205037 h 2840037"/>
                  <a:gd name="connsiteX8" fmla="*/ 936625 w 981075"/>
                  <a:gd name="connsiteY8" fmla="*/ 2414587 h 2840037"/>
                  <a:gd name="connsiteX9" fmla="*/ 965200 w 981075"/>
                  <a:gd name="connsiteY9" fmla="*/ 2500312 h 2840037"/>
                  <a:gd name="connsiteX10" fmla="*/ 841375 w 981075"/>
                  <a:gd name="connsiteY10" fmla="*/ 2576512 h 2840037"/>
                  <a:gd name="connsiteX11" fmla="*/ 803275 w 981075"/>
                  <a:gd name="connsiteY11" fmla="*/ 2509837 h 2840037"/>
                  <a:gd name="connsiteX12" fmla="*/ 688975 w 981075"/>
                  <a:gd name="connsiteY12" fmla="*/ 1824037 h 2840037"/>
                  <a:gd name="connsiteX13" fmla="*/ 574675 w 981075"/>
                  <a:gd name="connsiteY13" fmla="*/ 795337 h 2840037"/>
                  <a:gd name="connsiteX14" fmla="*/ 498475 w 981075"/>
                  <a:gd name="connsiteY14" fmla="*/ 528637 h 2840037"/>
                  <a:gd name="connsiteX15" fmla="*/ 479425 w 981075"/>
                  <a:gd name="connsiteY15" fmla="*/ 614362 h 2840037"/>
                  <a:gd name="connsiteX16" fmla="*/ 450850 w 981075"/>
                  <a:gd name="connsiteY16" fmla="*/ 995362 h 2840037"/>
                  <a:gd name="connsiteX17" fmla="*/ 384175 w 981075"/>
                  <a:gd name="connsiteY17" fmla="*/ 1433512 h 2840037"/>
                  <a:gd name="connsiteX18" fmla="*/ 412750 w 981075"/>
                  <a:gd name="connsiteY18" fmla="*/ 1871662 h 2840037"/>
                  <a:gd name="connsiteX19" fmla="*/ 450850 w 981075"/>
                  <a:gd name="connsiteY19" fmla="*/ 2424112 h 2840037"/>
                  <a:gd name="connsiteX20" fmla="*/ 412750 w 981075"/>
                  <a:gd name="connsiteY20" fmla="*/ 2700337 h 2840037"/>
                  <a:gd name="connsiteX21" fmla="*/ 403225 w 981075"/>
                  <a:gd name="connsiteY21" fmla="*/ 2767012 h 2840037"/>
                  <a:gd name="connsiteX22" fmla="*/ 165100 w 981075"/>
                  <a:gd name="connsiteY22" fmla="*/ 2833687 h 2840037"/>
                  <a:gd name="connsiteX23" fmla="*/ 79375 w 981075"/>
                  <a:gd name="connsiteY23" fmla="*/ 2805112 h 2840037"/>
                  <a:gd name="connsiteX24" fmla="*/ 22225 w 981075"/>
                  <a:gd name="connsiteY24" fmla="*/ 2757487 h 2840037"/>
                  <a:gd name="connsiteX25" fmla="*/ 22225 w 981075"/>
                  <a:gd name="connsiteY25" fmla="*/ 2338387 h 2840037"/>
                  <a:gd name="connsiteX26" fmla="*/ 12700 w 981075"/>
                  <a:gd name="connsiteY26" fmla="*/ 1776412 h 2840037"/>
                  <a:gd name="connsiteX27" fmla="*/ 98425 w 981075"/>
                  <a:gd name="connsiteY27" fmla="*/ 1681162 h 2840037"/>
                  <a:gd name="connsiteX28" fmla="*/ 193675 w 981075"/>
                  <a:gd name="connsiteY28" fmla="*/ 1624012 h 2840037"/>
                  <a:gd name="connsiteX29" fmla="*/ 269875 w 981075"/>
                  <a:gd name="connsiteY29" fmla="*/ 1366837 h 2840037"/>
                  <a:gd name="connsiteX30" fmla="*/ 374650 w 981075"/>
                  <a:gd name="connsiteY30" fmla="*/ 795337 h 2840037"/>
                  <a:gd name="connsiteX31" fmla="*/ 403225 w 981075"/>
                  <a:gd name="connsiteY31" fmla="*/ 509587 h 2840037"/>
                  <a:gd name="connsiteX32" fmla="*/ 231775 w 981075"/>
                  <a:gd name="connsiteY32" fmla="*/ 395287 h 2840037"/>
                  <a:gd name="connsiteX33" fmla="*/ 422275 w 981075"/>
                  <a:gd name="connsiteY33" fmla="*/ 433387 h 2840037"/>
                  <a:gd name="connsiteX34" fmla="*/ 450850 w 981075"/>
                  <a:gd name="connsiteY34" fmla="*/ 395287 h 2840037"/>
                  <a:gd name="connsiteX35" fmla="*/ 479425 w 981075"/>
                  <a:gd name="connsiteY35" fmla="*/ 4762 h 2840037"/>
                  <a:gd name="connsiteX0" fmla="*/ 479425 w 981075"/>
                  <a:gd name="connsiteY0" fmla="*/ 4762 h 2840037"/>
                  <a:gd name="connsiteX1" fmla="*/ 498475 w 981075"/>
                  <a:gd name="connsiteY1" fmla="*/ 366712 h 2840037"/>
                  <a:gd name="connsiteX2" fmla="*/ 584200 w 981075"/>
                  <a:gd name="connsiteY2" fmla="*/ 395287 h 2840037"/>
                  <a:gd name="connsiteX3" fmla="*/ 660400 w 981075"/>
                  <a:gd name="connsiteY3" fmla="*/ 347662 h 2840037"/>
                  <a:gd name="connsiteX4" fmla="*/ 650875 w 981075"/>
                  <a:gd name="connsiteY4" fmla="*/ 757237 h 2840037"/>
                  <a:gd name="connsiteX5" fmla="*/ 698500 w 981075"/>
                  <a:gd name="connsiteY5" fmla="*/ 1404937 h 2840037"/>
                  <a:gd name="connsiteX6" fmla="*/ 841375 w 981075"/>
                  <a:gd name="connsiteY6" fmla="*/ 1747837 h 2840037"/>
                  <a:gd name="connsiteX7" fmla="*/ 917575 w 981075"/>
                  <a:gd name="connsiteY7" fmla="*/ 2205037 h 2840037"/>
                  <a:gd name="connsiteX8" fmla="*/ 936625 w 981075"/>
                  <a:gd name="connsiteY8" fmla="*/ 2414587 h 2840037"/>
                  <a:gd name="connsiteX9" fmla="*/ 965200 w 981075"/>
                  <a:gd name="connsiteY9" fmla="*/ 2500312 h 2840037"/>
                  <a:gd name="connsiteX10" fmla="*/ 841375 w 981075"/>
                  <a:gd name="connsiteY10" fmla="*/ 2576512 h 2840037"/>
                  <a:gd name="connsiteX11" fmla="*/ 803275 w 981075"/>
                  <a:gd name="connsiteY11" fmla="*/ 2509837 h 2840037"/>
                  <a:gd name="connsiteX12" fmla="*/ 688975 w 981075"/>
                  <a:gd name="connsiteY12" fmla="*/ 1824037 h 2840037"/>
                  <a:gd name="connsiteX13" fmla="*/ 574675 w 981075"/>
                  <a:gd name="connsiteY13" fmla="*/ 795337 h 2840037"/>
                  <a:gd name="connsiteX14" fmla="*/ 515144 w 981075"/>
                  <a:gd name="connsiteY14" fmla="*/ 561974 h 2840037"/>
                  <a:gd name="connsiteX15" fmla="*/ 479425 w 981075"/>
                  <a:gd name="connsiteY15" fmla="*/ 614362 h 2840037"/>
                  <a:gd name="connsiteX16" fmla="*/ 450850 w 981075"/>
                  <a:gd name="connsiteY16" fmla="*/ 995362 h 2840037"/>
                  <a:gd name="connsiteX17" fmla="*/ 384175 w 981075"/>
                  <a:gd name="connsiteY17" fmla="*/ 1433512 h 2840037"/>
                  <a:gd name="connsiteX18" fmla="*/ 412750 w 981075"/>
                  <a:gd name="connsiteY18" fmla="*/ 1871662 h 2840037"/>
                  <a:gd name="connsiteX19" fmla="*/ 450850 w 981075"/>
                  <a:gd name="connsiteY19" fmla="*/ 2424112 h 2840037"/>
                  <a:gd name="connsiteX20" fmla="*/ 412750 w 981075"/>
                  <a:gd name="connsiteY20" fmla="*/ 2700337 h 2840037"/>
                  <a:gd name="connsiteX21" fmla="*/ 403225 w 981075"/>
                  <a:gd name="connsiteY21" fmla="*/ 2767012 h 2840037"/>
                  <a:gd name="connsiteX22" fmla="*/ 165100 w 981075"/>
                  <a:gd name="connsiteY22" fmla="*/ 2833687 h 2840037"/>
                  <a:gd name="connsiteX23" fmla="*/ 79375 w 981075"/>
                  <a:gd name="connsiteY23" fmla="*/ 2805112 h 2840037"/>
                  <a:gd name="connsiteX24" fmla="*/ 22225 w 981075"/>
                  <a:gd name="connsiteY24" fmla="*/ 2757487 h 2840037"/>
                  <a:gd name="connsiteX25" fmla="*/ 22225 w 981075"/>
                  <a:gd name="connsiteY25" fmla="*/ 2338387 h 2840037"/>
                  <a:gd name="connsiteX26" fmla="*/ 12700 w 981075"/>
                  <a:gd name="connsiteY26" fmla="*/ 1776412 h 2840037"/>
                  <a:gd name="connsiteX27" fmla="*/ 98425 w 981075"/>
                  <a:gd name="connsiteY27" fmla="*/ 1681162 h 2840037"/>
                  <a:gd name="connsiteX28" fmla="*/ 193675 w 981075"/>
                  <a:gd name="connsiteY28" fmla="*/ 1624012 h 2840037"/>
                  <a:gd name="connsiteX29" fmla="*/ 269875 w 981075"/>
                  <a:gd name="connsiteY29" fmla="*/ 1366837 h 2840037"/>
                  <a:gd name="connsiteX30" fmla="*/ 374650 w 981075"/>
                  <a:gd name="connsiteY30" fmla="*/ 795337 h 2840037"/>
                  <a:gd name="connsiteX31" fmla="*/ 403225 w 981075"/>
                  <a:gd name="connsiteY31" fmla="*/ 509587 h 2840037"/>
                  <a:gd name="connsiteX32" fmla="*/ 231775 w 981075"/>
                  <a:gd name="connsiteY32" fmla="*/ 395287 h 2840037"/>
                  <a:gd name="connsiteX33" fmla="*/ 422275 w 981075"/>
                  <a:gd name="connsiteY33" fmla="*/ 433387 h 2840037"/>
                  <a:gd name="connsiteX34" fmla="*/ 450850 w 981075"/>
                  <a:gd name="connsiteY34" fmla="*/ 395287 h 2840037"/>
                  <a:gd name="connsiteX35" fmla="*/ 479425 w 981075"/>
                  <a:gd name="connsiteY35" fmla="*/ 4762 h 2840037"/>
                  <a:gd name="connsiteX0" fmla="*/ 479425 w 981075"/>
                  <a:gd name="connsiteY0" fmla="*/ 4762 h 2840037"/>
                  <a:gd name="connsiteX1" fmla="*/ 498475 w 981075"/>
                  <a:gd name="connsiteY1" fmla="*/ 366712 h 2840037"/>
                  <a:gd name="connsiteX2" fmla="*/ 584200 w 981075"/>
                  <a:gd name="connsiteY2" fmla="*/ 395287 h 2840037"/>
                  <a:gd name="connsiteX3" fmla="*/ 660400 w 981075"/>
                  <a:gd name="connsiteY3" fmla="*/ 347662 h 2840037"/>
                  <a:gd name="connsiteX4" fmla="*/ 650875 w 981075"/>
                  <a:gd name="connsiteY4" fmla="*/ 757237 h 2840037"/>
                  <a:gd name="connsiteX5" fmla="*/ 698500 w 981075"/>
                  <a:gd name="connsiteY5" fmla="*/ 1404937 h 2840037"/>
                  <a:gd name="connsiteX6" fmla="*/ 841375 w 981075"/>
                  <a:gd name="connsiteY6" fmla="*/ 1747837 h 2840037"/>
                  <a:gd name="connsiteX7" fmla="*/ 917575 w 981075"/>
                  <a:gd name="connsiteY7" fmla="*/ 2205037 h 2840037"/>
                  <a:gd name="connsiteX8" fmla="*/ 936625 w 981075"/>
                  <a:gd name="connsiteY8" fmla="*/ 2414587 h 2840037"/>
                  <a:gd name="connsiteX9" fmla="*/ 965200 w 981075"/>
                  <a:gd name="connsiteY9" fmla="*/ 2500312 h 2840037"/>
                  <a:gd name="connsiteX10" fmla="*/ 841375 w 981075"/>
                  <a:gd name="connsiteY10" fmla="*/ 2576512 h 2840037"/>
                  <a:gd name="connsiteX11" fmla="*/ 803275 w 981075"/>
                  <a:gd name="connsiteY11" fmla="*/ 2509837 h 2840037"/>
                  <a:gd name="connsiteX12" fmla="*/ 688975 w 981075"/>
                  <a:gd name="connsiteY12" fmla="*/ 1824037 h 2840037"/>
                  <a:gd name="connsiteX13" fmla="*/ 574675 w 981075"/>
                  <a:gd name="connsiteY13" fmla="*/ 795337 h 2840037"/>
                  <a:gd name="connsiteX14" fmla="*/ 515144 w 981075"/>
                  <a:gd name="connsiteY14" fmla="*/ 561974 h 2840037"/>
                  <a:gd name="connsiteX15" fmla="*/ 450850 w 981075"/>
                  <a:gd name="connsiteY15" fmla="*/ 995362 h 2840037"/>
                  <a:gd name="connsiteX16" fmla="*/ 384175 w 981075"/>
                  <a:gd name="connsiteY16" fmla="*/ 1433512 h 2840037"/>
                  <a:gd name="connsiteX17" fmla="*/ 412750 w 981075"/>
                  <a:gd name="connsiteY17" fmla="*/ 1871662 h 2840037"/>
                  <a:gd name="connsiteX18" fmla="*/ 450850 w 981075"/>
                  <a:gd name="connsiteY18" fmla="*/ 2424112 h 2840037"/>
                  <a:gd name="connsiteX19" fmla="*/ 412750 w 981075"/>
                  <a:gd name="connsiteY19" fmla="*/ 2700337 h 2840037"/>
                  <a:gd name="connsiteX20" fmla="*/ 403225 w 981075"/>
                  <a:gd name="connsiteY20" fmla="*/ 2767012 h 2840037"/>
                  <a:gd name="connsiteX21" fmla="*/ 165100 w 981075"/>
                  <a:gd name="connsiteY21" fmla="*/ 2833687 h 2840037"/>
                  <a:gd name="connsiteX22" fmla="*/ 79375 w 981075"/>
                  <a:gd name="connsiteY22" fmla="*/ 2805112 h 2840037"/>
                  <a:gd name="connsiteX23" fmla="*/ 22225 w 981075"/>
                  <a:gd name="connsiteY23" fmla="*/ 2757487 h 2840037"/>
                  <a:gd name="connsiteX24" fmla="*/ 22225 w 981075"/>
                  <a:gd name="connsiteY24" fmla="*/ 2338387 h 2840037"/>
                  <a:gd name="connsiteX25" fmla="*/ 12700 w 981075"/>
                  <a:gd name="connsiteY25" fmla="*/ 1776412 h 2840037"/>
                  <a:gd name="connsiteX26" fmla="*/ 98425 w 981075"/>
                  <a:gd name="connsiteY26" fmla="*/ 1681162 h 2840037"/>
                  <a:gd name="connsiteX27" fmla="*/ 193675 w 981075"/>
                  <a:gd name="connsiteY27" fmla="*/ 1624012 h 2840037"/>
                  <a:gd name="connsiteX28" fmla="*/ 269875 w 981075"/>
                  <a:gd name="connsiteY28" fmla="*/ 1366837 h 2840037"/>
                  <a:gd name="connsiteX29" fmla="*/ 374650 w 981075"/>
                  <a:gd name="connsiteY29" fmla="*/ 795337 h 2840037"/>
                  <a:gd name="connsiteX30" fmla="*/ 403225 w 981075"/>
                  <a:gd name="connsiteY30" fmla="*/ 509587 h 2840037"/>
                  <a:gd name="connsiteX31" fmla="*/ 231775 w 981075"/>
                  <a:gd name="connsiteY31" fmla="*/ 395287 h 2840037"/>
                  <a:gd name="connsiteX32" fmla="*/ 422275 w 981075"/>
                  <a:gd name="connsiteY32" fmla="*/ 433387 h 2840037"/>
                  <a:gd name="connsiteX33" fmla="*/ 450850 w 981075"/>
                  <a:gd name="connsiteY33" fmla="*/ 395287 h 2840037"/>
                  <a:gd name="connsiteX34" fmla="*/ 479425 w 981075"/>
                  <a:gd name="connsiteY34" fmla="*/ 4762 h 2840037"/>
                  <a:gd name="connsiteX0" fmla="*/ 479425 w 981075"/>
                  <a:gd name="connsiteY0" fmla="*/ 4762 h 2840037"/>
                  <a:gd name="connsiteX1" fmla="*/ 498475 w 981075"/>
                  <a:gd name="connsiteY1" fmla="*/ 366712 h 2840037"/>
                  <a:gd name="connsiteX2" fmla="*/ 584200 w 981075"/>
                  <a:gd name="connsiteY2" fmla="*/ 395287 h 2840037"/>
                  <a:gd name="connsiteX3" fmla="*/ 660400 w 981075"/>
                  <a:gd name="connsiteY3" fmla="*/ 347662 h 2840037"/>
                  <a:gd name="connsiteX4" fmla="*/ 650875 w 981075"/>
                  <a:gd name="connsiteY4" fmla="*/ 757237 h 2840037"/>
                  <a:gd name="connsiteX5" fmla="*/ 698500 w 981075"/>
                  <a:gd name="connsiteY5" fmla="*/ 1404937 h 2840037"/>
                  <a:gd name="connsiteX6" fmla="*/ 841375 w 981075"/>
                  <a:gd name="connsiteY6" fmla="*/ 1747837 h 2840037"/>
                  <a:gd name="connsiteX7" fmla="*/ 917575 w 981075"/>
                  <a:gd name="connsiteY7" fmla="*/ 2205037 h 2840037"/>
                  <a:gd name="connsiteX8" fmla="*/ 936625 w 981075"/>
                  <a:gd name="connsiteY8" fmla="*/ 2414587 h 2840037"/>
                  <a:gd name="connsiteX9" fmla="*/ 965200 w 981075"/>
                  <a:gd name="connsiteY9" fmla="*/ 2500312 h 2840037"/>
                  <a:gd name="connsiteX10" fmla="*/ 841375 w 981075"/>
                  <a:gd name="connsiteY10" fmla="*/ 2576512 h 2840037"/>
                  <a:gd name="connsiteX11" fmla="*/ 803275 w 981075"/>
                  <a:gd name="connsiteY11" fmla="*/ 2509837 h 2840037"/>
                  <a:gd name="connsiteX12" fmla="*/ 688975 w 981075"/>
                  <a:gd name="connsiteY12" fmla="*/ 1824037 h 2840037"/>
                  <a:gd name="connsiteX13" fmla="*/ 574675 w 981075"/>
                  <a:gd name="connsiteY13" fmla="*/ 795337 h 2840037"/>
                  <a:gd name="connsiteX14" fmla="*/ 515144 w 981075"/>
                  <a:gd name="connsiteY14" fmla="*/ 561974 h 2840037"/>
                  <a:gd name="connsiteX15" fmla="*/ 450850 w 981075"/>
                  <a:gd name="connsiteY15" fmla="*/ 995362 h 2840037"/>
                  <a:gd name="connsiteX16" fmla="*/ 384175 w 981075"/>
                  <a:gd name="connsiteY16" fmla="*/ 1433512 h 2840037"/>
                  <a:gd name="connsiteX17" fmla="*/ 412750 w 981075"/>
                  <a:gd name="connsiteY17" fmla="*/ 1871662 h 2840037"/>
                  <a:gd name="connsiteX18" fmla="*/ 450850 w 981075"/>
                  <a:gd name="connsiteY18" fmla="*/ 2424112 h 2840037"/>
                  <a:gd name="connsiteX19" fmla="*/ 412750 w 981075"/>
                  <a:gd name="connsiteY19" fmla="*/ 2700337 h 2840037"/>
                  <a:gd name="connsiteX20" fmla="*/ 403225 w 981075"/>
                  <a:gd name="connsiteY20" fmla="*/ 2767012 h 2840037"/>
                  <a:gd name="connsiteX21" fmla="*/ 165100 w 981075"/>
                  <a:gd name="connsiteY21" fmla="*/ 2833687 h 2840037"/>
                  <a:gd name="connsiteX22" fmla="*/ 79375 w 981075"/>
                  <a:gd name="connsiteY22" fmla="*/ 2805112 h 2840037"/>
                  <a:gd name="connsiteX23" fmla="*/ 22225 w 981075"/>
                  <a:gd name="connsiteY23" fmla="*/ 2757487 h 2840037"/>
                  <a:gd name="connsiteX24" fmla="*/ 22225 w 981075"/>
                  <a:gd name="connsiteY24" fmla="*/ 2338387 h 2840037"/>
                  <a:gd name="connsiteX25" fmla="*/ 12700 w 981075"/>
                  <a:gd name="connsiteY25" fmla="*/ 1776412 h 2840037"/>
                  <a:gd name="connsiteX26" fmla="*/ 98425 w 981075"/>
                  <a:gd name="connsiteY26" fmla="*/ 1681162 h 2840037"/>
                  <a:gd name="connsiteX27" fmla="*/ 193675 w 981075"/>
                  <a:gd name="connsiteY27" fmla="*/ 1624012 h 2840037"/>
                  <a:gd name="connsiteX28" fmla="*/ 269875 w 981075"/>
                  <a:gd name="connsiteY28" fmla="*/ 1366837 h 2840037"/>
                  <a:gd name="connsiteX29" fmla="*/ 374650 w 981075"/>
                  <a:gd name="connsiteY29" fmla="*/ 795337 h 2840037"/>
                  <a:gd name="connsiteX30" fmla="*/ 403225 w 981075"/>
                  <a:gd name="connsiteY30" fmla="*/ 509587 h 2840037"/>
                  <a:gd name="connsiteX31" fmla="*/ 231775 w 981075"/>
                  <a:gd name="connsiteY31" fmla="*/ 395287 h 2840037"/>
                  <a:gd name="connsiteX32" fmla="*/ 422275 w 981075"/>
                  <a:gd name="connsiteY32" fmla="*/ 433387 h 2840037"/>
                  <a:gd name="connsiteX33" fmla="*/ 450850 w 981075"/>
                  <a:gd name="connsiteY33" fmla="*/ 395287 h 2840037"/>
                  <a:gd name="connsiteX34" fmla="*/ 479425 w 981075"/>
                  <a:gd name="connsiteY34" fmla="*/ 4762 h 2840037"/>
                  <a:gd name="connsiteX0" fmla="*/ 479425 w 981075"/>
                  <a:gd name="connsiteY0" fmla="*/ 4762 h 2840037"/>
                  <a:gd name="connsiteX1" fmla="*/ 498475 w 981075"/>
                  <a:gd name="connsiteY1" fmla="*/ 366712 h 2840037"/>
                  <a:gd name="connsiteX2" fmla="*/ 584200 w 981075"/>
                  <a:gd name="connsiteY2" fmla="*/ 395287 h 2840037"/>
                  <a:gd name="connsiteX3" fmla="*/ 660400 w 981075"/>
                  <a:gd name="connsiteY3" fmla="*/ 347662 h 2840037"/>
                  <a:gd name="connsiteX4" fmla="*/ 650875 w 981075"/>
                  <a:gd name="connsiteY4" fmla="*/ 757237 h 2840037"/>
                  <a:gd name="connsiteX5" fmla="*/ 698500 w 981075"/>
                  <a:gd name="connsiteY5" fmla="*/ 1404937 h 2840037"/>
                  <a:gd name="connsiteX6" fmla="*/ 841375 w 981075"/>
                  <a:gd name="connsiteY6" fmla="*/ 1747837 h 2840037"/>
                  <a:gd name="connsiteX7" fmla="*/ 917575 w 981075"/>
                  <a:gd name="connsiteY7" fmla="*/ 2205037 h 2840037"/>
                  <a:gd name="connsiteX8" fmla="*/ 936625 w 981075"/>
                  <a:gd name="connsiteY8" fmla="*/ 2414587 h 2840037"/>
                  <a:gd name="connsiteX9" fmla="*/ 965200 w 981075"/>
                  <a:gd name="connsiteY9" fmla="*/ 2500312 h 2840037"/>
                  <a:gd name="connsiteX10" fmla="*/ 841375 w 981075"/>
                  <a:gd name="connsiteY10" fmla="*/ 2576512 h 2840037"/>
                  <a:gd name="connsiteX11" fmla="*/ 803275 w 981075"/>
                  <a:gd name="connsiteY11" fmla="*/ 2509837 h 2840037"/>
                  <a:gd name="connsiteX12" fmla="*/ 688975 w 981075"/>
                  <a:gd name="connsiteY12" fmla="*/ 1824037 h 2840037"/>
                  <a:gd name="connsiteX13" fmla="*/ 574675 w 981075"/>
                  <a:gd name="connsiteY13" fmla="*/ 795337 h 2840037"/>
                  <a:gd name="connsiteX14" fmla="*/ 515144 w 981075"/>
                  <a:gd name="connsiteY14" fmla="*/ 561974 h 2840037"/>
                  <a:gd name="connsiteX15" fmla="*/ 450850 w 981075"/>
                  <a:gd name="connsiteY15" fmla="*/ 995362 h 2840037"/>
                  <a:gd name="connsiteX16" fmla="*/ 384175 w 981075"/>
                  <a:gd name="connsiteY16" fmla="*/ 1433512 h 2840037"/>
                  <a:gd name="connsiteX17" fmla="*/ 412750 w 981075"/>
                  <a:gd name="connsiteY17" fmla="*/ 1871662 h 2840037"/>
                  <a:gd name="connsiteX18" fmla="*/ 450850 w 981075"/>
                  <a:gd name="connsiteY18" fmla="*/ 2424112 h 2840037"/>
                  <a:gd name="connsiteX19" fmla="*/ 412750 w 981075"/>
                  <a:gd name="connsiteY19" fmla="*/ 2700337 h 2840037"/>
                  <a:gd name="connsiteX20" fmla="*/ 403225 w 981075"/>
                  <a:gd name="connsiteY20" fmla="*/ 2767012 h 2840037"/>
                  <a:gd name="connsiteX21" fmla="*/ 165100 w 981075"/>
                  <a:gd name="connsiteY21" fmla="*/ 2833687 h 2840037"/>
                  <a:gd name="connsiteX22" fmla="*/ 79375 w 981075"/>
                  <a:gd name="connsiteY22" fmla="*/ 2805112 h 2840037"/>
                  <a:gd name="connsiteX23" fmla="*/ 22225 w 981075"/>
                  <a:gd name="connsiteY23" fmla="*/ 2757487 h 2840037"/>
                  <a:gd name="connsiteX24" fmla="*/ 22225 w 981075"/>
                  <a:gd name="connsiteY24" fmla="*/ 2338387 h 2840037"/>
                  <a:gd name="connsiteX25" fmla="*/ 12700 w 981075"/>
                  <a:gd name="connsiteY25" fmla="*/ 1776412 h 2840037"/>
                  <a:gd name="connsiteX26" fmla="*/ 98425 w 981075"/>
                  <a:gd name="connsiteY26" fmla="*/ 1681162 h 2840037"/>
                  <a:gd name="connsiteX27" fmla="*/ 193675 w 981075"/>
                  <a:gd name="connsiteY27" fmla="*/ 1624012 h 2840037"/>
                  <a:gd name="connsiteX28" fmla="*/ 269875 w 981075"/>
                  <a:gd name="connsiteY28" fmla="*/ 1366837 h 2840037"/>
                  <a:gd name="connsiteX29" fmla="*/ 374650 w 981075"/>
                  <a:gd name="connsiteY29" fmla="*/ 795337 h 2840037"/>
                  <a:gd name="connsiteX30" fmla="*/ 403225 w 981075"/>
                  <a:gd name="connsiteY30" fmla="*/ 509587 h 2840037"/>
                  <a:gd name="connsiteX31" fmla="*/ 231775 w 981075"/>
                  <a:gd name="connsiteY31" fmla="*/ 395287 h 2840037"/>
                  <a:gd name="connsiteX32" fmla="*/ 422275 w 981075"/>
                  <a:gd name="connsiteY32" fmla="*/ 433387 h 2840037"/>
                  <a:gd name="connsiteX33" fmla="*/ 450850 w 981075"/>
                  <a:gd name="connsiteY33" fmla="*/ 395287 h 2840037"/>
                  <a:gd name="connsiteX34" fmla="*/ 479425 w 981075"/>
                  <a:gd name="connsiteY34" fmla="*/ 4762 h 2840037"/>
                  <a:gd name="connsiteX0" fmla="*/ 479425 w 981075"/>
                  <a:gd name="connsiteY0" fmla="*/ 4762 h 2840037"/>
                  <a:gd name="connsiteX1" fmla="*/ 498475 w 981075"/>
                  <a:gd name="connsiteY1" fmla="*/ 366712 h 2840037"/>
                  <a:gd name="connsiteX2" fmla="*/ 584200 w 981075"/>
                  <a:gd name="connsiteY2" fmla="*/ 395287 h 2840037"/>
                  <a:gd name="connsiteX3" fmla="*/ 660400 w 981075"/>
                  <a:gd name="connsiteY3" fmla="*/ 347662 h 2840037"/>
                  <a:gd name="connsiteX4" fmla="*/ 650875 w 981075"/>
                  <a:gd name="connsiteY4" fmla="*/ 757237 h 2840037"/>
                  <a:gd name="connsiteX5" fmla="*/ 698500 w 981075"/>
                  <a:gd name="connsiteY5" fmla="*/ 1404937 h 2840037"/>
                  <a:gd name="connsiteX6" fmla="*/ 841375 w 981075"/>
                  <a:gd name="connsiteY6" fmla="*/ 1747837 h 2840037"/>
                  <a:gd name="connsiteX7" fmla="*/ 917575 w 981075"/>
                  <a:gd name="connsiteY7" fmla="*/ 2205037 h 2840037"/>
                  <a:gd name="connsiteX8" fmla="*/ 936625 w 981075"/>
                  <a:gd name="connsiteY8" fmla="*/ 2414587 h 2840037"/>
                  <a:gd name="connsiteX9" fmla="*/ 965200 w 981075"/>
                  <a:gd name="connsiteY9" fmla="*/ 2500312 h 2840037"/>
                  <a:gd name="connsiteX10" fmla="*/ 841375 w 981075"/>
                  <a:gd name="connsiteY10" fmla="*/ 2576512 h 2840037"/>
                  <a:gd name="connsiteX11" fmla="*/ 803275 w 981075"/>
                  <a:gd name="connsiteY11" fmla="*/ 2509837 h 2840037"/>
                  <a:gd name="connsiteX12" fmla="*/ 688975 w 981075"/>
                  <a:gd name="connsiteY12" fmla="*/ 1824037 h 2840037"/>
                  <a:gd name="connsiteX13" fmla="*/ 574675 w 981075"/>
                  <a:gd name="connsiteY13" fmla="*/ 795337 h 2840037"/>
                  <a:gd name="connsiteX14" fmla="*/ 515144 w 981075"/>
                  <a:gd name="connsiteY14" fmla="*/ 561974 h 2840037"/>
                  <a:gd name="connsiteX15" fmla="*/ 450850 w 981075"/>
                  <a:gd name="connsiteY15" fmla="*/ 995362 h 2840037"/>
                  <a:gd name="connsiteX16" fmla="*/ 384175 w 981075"/>
                  <a:gd name="connsiteY16" fmla="*/ 1433512 h 2840037"/>
                  <a:gd name="connsiteX17" fmla="*/ 412750 w 981075"/>
                  <a:gd name="connsiteY17" fmla="*/ 1871662 h 2840037"/>
                  <a:gd name="connsiteX18" fmla="*/ 450850 w 981075"/>
                  <a:gd name="connsiteY18" fmla="*/ 2424112 h 2840037"/>
                  <a:gd name="connsiteX19" fmla="*/ 412750 w 981075"/>
                  <a:gd name="connsiteY19" fmla="*/ 2700337 h 2840037"/>
                  <a:gd name="connsiteX20" fmla="*/ 403225 w 981075"/>
                  <a:gd name="connsiteY20" fmla="*/ 2767012 h 2840037"/>
                  <a:gd name="connsiteX21" fmla="*/ 165100 w 981075"/>
                  <a:gd name="connsiteY21" fmla="*/ 2833687 h 2840037"/>
                  <a:gd name="connsiteX22" fmla="*/ 79375 w 981075"/>
                  <a:gd name="connsiteY22" fmla="*/ 2805112 h 2840037"/>
                  <a:gd name="connsiteX23" fmla="*/ 22225 w 981075"/>
                  <a:gd name="connsiteY23" fmla="*/ 2757487 h 2840037"/>
                  <a:gd name="connsiteX24" fmla="*/ 22225 w 981075"/>
                  <a:gd name="connsiteY24" fmla="*/ 2338387 h 2840037"/>
                  <a:gd name="connsiteX25" fmla="*/ 12700 w 981075"/>
                  <a:gd name="connsiteY25" fmla="*/ 1776412 h 2840037"/>
                  <a:gd name="connsiteX26" fmla="*/ 98425 w 981075"/>
                  <a:gd name="connsiteY26" fmla="*/ 1681162 h 2840037"/>
                  <a:gd name="connsiteX27" fmla="*/ 193675 w 981075"/>
                  <a:gd name="connsiteY27" fmla="*/ 1624012 h 2840037"/>
                  <a:gd name="connsiteX28" fmla="*/ 269875 w 981075"/>
                  <a:gd name="connsiteY28" fmla="*/ 1366837 h 2840037"/>
                  <a:gd name="connsiteX29" fmla="*/ 374650 w 981075"/>
                  <a:gd name="connsiteY29" fmla="*/ 795337 h 2840037"/>
                  <a:gd name="connsiteX30" fmla="*/ 403225 w 981075"/>
                  <a:gd name="connsiteY30" fmla="*/ 509587 h 2840037"/>
                  <a:gd name="connsiteX31" fmla="*/ 231775 w 981075"/>
                  <a:gd name="connsiteY31" fmla="*/ 395287 h 2840037"/>
                  <a:gd name="connsiteX32" fmla="*/ 422275 w 981075"/>
                  <a:gd name="connsiteY32" fmla="*/ 433387 h 2840037"/>
                  <a:gd name="connsiteX33" fmla="*/ 450850 w 981075"/>
                  <a:gd name="connsiteY33" fmla="*/ 395287 h 2840037"/>
                  <a:gd name="connsiteX34" fmla="*/ 479425 w 981075"/>
                  <a:gd name="connsiteY34" fmla="*/ 4762 h 2840037"/>
                  <a:gd name="connsiteX0" fmla="*/ 479425 w 981075"/>
                  <a:gd name="connsiteY0" fmla="*/ 4762 h 2840037"/>
                  <a:gd name="connsiteX1" fmla="*/ 498475 w 981075"/>
                  <a:gd name="connsiteY1" fmla="*/ 366712 h 2840037"/>
                  <a:gd name="connsiteX2" fmla="*/ 584200 w 981075"/>
                  <a:gd name="connsiteY2" fmla="*/ 395287 h 2840037"/>
                  <a:gd name="connsiteX3" fmla="*/ 660400 w 981075"/>
                  <a:gd name="connsiteY3" fmla="*/ 347662 h 2840037"/>
                  <a:gd name="connsiteX4" fmla="*/ 650875 w 981075"/>
                  <a:gd name="connsiteY4" fmla="*/ 757237 h 2840037"/>
                  <a:gd name="connsiteX5" fmla="*/ 698500 w 981075"/>
                  <a:gd name="connsiteY5" fmla="*/ 1404937 h 2840037"/>
                  <a:gd name="connsiteX6" fmla="*/ 841375 w 981075"/>
                  <a:gd name="connsiteY6" fmla="*/ 1747837 h 2840037"/>
                  <a:gd name="connsiteX7" fmla="*/ 917575 w 981075"/>
                  <a:gd name="connsiteY7" fmla="*/ 2205037 h 2840037"/>
                  <a:gd name="connsiteX8" fmla="*/ 936625 w 981075"/>
                  <a:gd name="connsiteY8" fmla="*/ 2414587 h 2840037"/>
                  <a:gd name="connsiteX9" fmla="*/ 965200 w 981075"/>
                  <a:gd name="connsiteY9" fmla="*/ 2500312 h 2840037"/>
                  <a:gd name="connsiteX10" fmla="*/ 841375 w 981075"/>
                  <a:gd name="connsiteY10" fmla="*/ 2576512 h 2840037"/>
                  <a:gd name="connsiteX11" fmla="*/ 803275 w 981075"/>
                  <a:gd name="connsiteY11" fmla="*/ 2509837 h 2840037"/>
                  <a:gd name="connsiteX12" fmla="*/ 688975 w 981075"/>
                  <a:gd name="connsiteY12" fmla="*/ 1824037 h 2840037"/>
                  <a:gd name="connsiteX13" fmla="*/ 574675 w 981075"/>
                  <a:gd name="connsiteY13" fmla="*/ 795337 h 2840037"/>
                  <a:gd name="connsiteX14" fmla="*/ 515144 w 981075"/>
                  <a:gd name="connsiteY14" fmla="*/ 561974 h 2840037"/>
                  <a:gd name="connsiteX15" fmla="*/ 460375 w 981075"/>
                  <a:gd name="connsiteY15" fmla="*/ 995362 h 2840037"/>
                  <a:gd name="connsiteX16" fmla="*/ 384175 w 981075"/>
                  <a:gd name="connsiteY16" fmla="*/ 1433512 h 2840037"/>
                  <a:gd name="connsiteX17" fmla="*/ 412750 w 981075"/>
                  <a:gd name="connsiteY17" fmla="*/ 1871662 h 2840037"/>
                  <a:gd name="connsiteX18" fmla="*/ 450850 w 981075"/>
                  <a:gd name="connsiteY18" fmla="*/ 2424112 h 2840037"/>
                  <a:gd name="connsiteX19" fmla="*/ 412750 w 981075"/>
                  <a:gd name="connsiteY19" fmla="*/ 2700337 h 2840037"/>
                  <a:gd name="connsiteX20" fmla="*/ 403225 w 981075"/>
                  <a:gd name="connsiteY20" fmla="*/ 2767012 h 2840037"/>
                  <a:gd name="connsiteX21" fmla="*/ 165100 w 981075"/>
                  <a:gd name="connsiteY21" fmla="*/ 2833687 h 2840037"/>
                  <a:gd name="connsiteX22" fmla="*/ 79375 w 981075"/>
                  <a:gd name="connsiteY22" fmla="*/ 2805112 h 2840037"/>
                  <a:gd name="connsiteX23" fmla="*/ 22225 w 981075"/>
                  <a:gd name="connsiteY23" fmla="*/ 2757487 h 2840037"/>
                  <a:gd name="connsiteX24" fmla="*/ 22225 w 981075"/>
                  <a:gd name="connsiteY24" fmla="*/ 2338387 h 2840037"/>
                  <a:gd name="connsiteX25" fmla="*/ 12700 w 981075"/>
                  <a:gd name="connsiteY25" fmla="*/ 1776412 h 2840037"/>
                  <a:gd name="connsiteX26" fmla="*/ 98425 w 981075"/>
                  <a:gd name="connsiteY26" fmla="*/ 1681162 h 2840037"/>
                  <a:gd name="connsiteX27" fmla="*/ 193675 w 981075"/>
                  <a:gd name="connsiteY27" fmla="*/ 1624012 h 2840037"/>
                  <a:gd name="connsiteX28" fmla="*/ 269875 w 981075"/>
                  <a:gd name="connsiteY28" fmla="*/ 1366837 h 2840037"/>
                  <a:gd name="connsiteX29" fmla="*/ 374650 w 981075"/>
                  <a:gd name="connsiteY29" fmla="*/ 795337 h 2840037"/>
                  <a:gd name="connsiteX30" fmla="*/ 403225 w 981075"/>
                  <a:gd name="connsiteY30" fmla="*/ 509587 h 2840037"/>
                  <a:gd name="connsiteX31" fmla="*/ 231775 w 981075"/>
                  <a:gd name="connsiteY31" fmla="*/ 395287 h 2840037"/>
                  <a:gd name="connsiteX32" fmla="*/ 422275 w 981075"/>
                  <a:gd name="connsiteY32" fmla="*/ 433387 h 2840037"/>
                  <a:gd name="connsiteX33" fmla="*/ 450850 w 981075"/>
                  <a:gd name="connsiteY33" fmla="*/ 395287 h 2840037"/>
                  <a:gd name="connsiteX34" fmla="*/ 479425 w 981075"/>
                  <a:gd name="connsiteY34" fmla="*/ 4762 h 2840037"/>
                  <a:gd name="connsiteX0" fmla="*/ 479425 w 981075"/>
                  <a:gd name="connsiteY0" fmla="*/ 4762 h 2840037"/>
                  <a:gd name="connsiteX1" fmla="*/ 498475 w 981075"/>
                  <a:gd name="connsiteY1" fmla="*/ 366712 h 2840037"/>
                  <a:gd name="connsiteX2" fmla="*/ 584200 w 981075"/>
                  <a:gd name="connsiteY2" fmla="*/ 395287 h 2840037"/>
                  <a:gd name="connsiteX3" fmla="*/ 660400 w 981075"/>
                  <a:gd name="connsiteY3" fmla="*/ 347662 h 2840037"/>
                  <a:gd name="connsiteX4" fmla="*/ 650875 w 981075"/>
                  <a:gd name="connsiteY4" fmla="*/ 757237 h 2840037"/>
                  <a:gd name="connsiteX5" fmla="*/ 698500 w 981075"/>
                  <a:gd name="connsiteY5" fmla="*/ 1404937 h 2840037"/>
                  <a:gd name="connsiteX6" fmla="*/ 841375 w 981075"/>
                  <a:gd name="connsiteY6" fmla="*/ 1747837 h 2840037"/>
                  <a:gd name="connsiteX7" fmla="*/ 917575 w 981075"/>
                  <a:gd name="connsiteY7" fmla="*/ 2205037 h 2840037"/>
                  <a:gd name="connsiteX8" fmla="*/ 936625 w 981075"/>
                  <a:gd name="connsiteY8" fmla="*/ 2414587 h 2840037"/>
                  <a:gd name="connsiteX9" fmla="*/ 965200 w 981075"/>
                  <a:gd name="connsiteY9" fmla="*/ 2500312 h 2840037"/>
                  <a:gd name="connsiteX10" fmla="*/ 841375 w 981075"/>
                  <a:gd name="connsiteY10" fmla="*/ 2576512 h 2840037"/>
                  <a:gd name="connsiteX11" fmla="*/ 803275 w 981075"/>
                  <a:gd name="connsiteY11" fmla="*/ 2509837 h 2840037"/>
                  <a:gd name="connsiteX12" fmla="*/ 688975 w 981075"/>
                  <a:gd name="connsiteY12" fmla="*/ 1824037 h 2840037"/>
                  <a:gd name="connsiteX13" fmla="*/ 574675 w 981075"/>
                  <a:gd name="connsiteY13" fmla="*/ 795337 h 2840037"/>
                  <a:gd name="connsiteX14" fmla="*/ 515144 w 981075"/>
                  <a:gd name="connsiteY14" fmla="*/ 561974 h 2840037"/>
                  <a:gd name="connsiteX15" fmla="*/ 460375 w 981075"/>
                  <a:gd name="connsiteY15" fmla="*/ 995362 h 2840037"/>
                  <a:gd name="connsiteX16" fmla="*/ 415131 w 981075"/>
                  <a:gd name="connsiteY16" fmla="*/ 1433512 h 2840037"/>
                  <a:gd name="connsiteX17" fmla="*/ 412750 w 981075"/>
                  <a:gd name="connsiteY17" fmla="*/ 1871662 h 2840037"/>
                  <a:gd name="connsiteX18" fmla="*/ 450850 w 981075"/>
                  <a:gd name="connsiteY18" fmla="*/ 2424112 h 2840037"/>
                  <a:gd name="connsiteX19" fmla="*/ 412750 w 981075"/>
                  <a:gd name="connsiteY19" fmla="*/ 2700337 h 2840037"/>
                  <a:gd name="connsiteX20" fmla="*/ 403225 w 981075"/>
                  <a:gd name="connsiteY20" fmla="*/ 2767012 h 2840037"/>
                  <a:gd name="connsiteX21" fmla="*/ 165100 w 981075"/>
                  <a:gd name="connsiteY21" fmla="*/ 2833687 h 2840037"/>
                  <a:gd name="connsiteX22" fmla="*/ 79375 w 981075"/>
                  <a:gd name="connsiteY22" fmla="*/ 2805112 h 2840037"/>
                  <a:gd name="connsiteX23" fmla="*/ 22225 w 981075"/>
                  <a:gd name="connsiteY23" fmla="*/ 2757487 h 2840037"/>
                  <a:gd name="connsiteX24" fmla="*/ 22225 w 981075"/>
                  <a:gd name="connsiteY24" fmla="*/ 2338387 h 2840037"/>
                  <a:gd name="connsiteX25" fmla="*/ 12700 w 981075"/>
                  <a:gd name="connsiteY25" fmla="*/ 1776412 h 2840037"/>
                  <a:gd name="connsiteX26" fmla="*/ 98425 w 981075"/>
                  <a:gd name="connsiteY26" fmla="*/ 1681162 h 2840037"/>
                  <a:gd name="connsiteX27" fmla="*/ 193675 w 981075"/>
                  <a:gd name="connsiteY27" fmla="*/ 1624012 h 2840037"/>
                  <a:gd name="connsiteX28" fmla="*/ 269875 w 981075"/>
                  <a:gd name="connsiteY28" fmla="*/ 1366837 h 2840037"/>
                  <a:gd name="connsiteX29" fmla="*/ 374650 w 981075"/>
                  <a:gd name="connsiteY29" fmla="*/ 795337 h 2840037"/>
                  <a:gd name="connsiteX30" fmla="*/ 403225 w 981075"/>
                  <a:gd name="connsiteY30" fmla="*/ 509587 h 2840037"/>
                  <a:gd name="connsiteX31" fmla="*/ 231775 w 981075"/>
                  <a:gd name="connsiteY31" fmla="*/ 395287 h 2840037"/>
                  <a:gd name="connsiteX32" fmla="*/ 422275 w 981075"/>
                  <a:gd name="connsiteY32" fmla="*/ 433387 h 2840037"/>
                  <a:gd name="connsiteX33" fmla="*/ 450850 w 981075"/>
                  <a:gd name="connsiteY33" fmla="*/ 395287 h 2840037"/>
                  <a:gd name="connsiteX34" fmla="*/ 479425 w 981075"/>
                  <a:gd name="connsiteY34" fmla="*/ 4762 h 2840037"/>
                  <a:gd name="connsiteX0" fmla="*/ 479425 w 981075"/>
                  <a:gd name="connsiteY0" fmla="*/ 4762 h 2840037"/>
                  <a:gd name="connsiteX1" fmla="*/ 498475 w 981075"/>
                  <a:gd name="connsiteY1" fmla="*/ 366712 h 2840037"/>
                  <a:gd name="connsiteX2" fmla="*/ 584200 w 981075"/>
                  <a:gd name="connsiteY2" fmla="*/ 395287 h 2840037"/>
                  <a:gd name="connsiteX3" fmla="*/ 660400 w 981075"/>
                  <a:gd name="connsiteY3" fmla="*/ 347662 h 2840037"/>
                  <a:gd name="connsiteX4" fmla="*/ 650875 w 981075"/>
                  <a:gd name="connsiteY4" fmla="*/ 757237 h 2840037"/>
                  <a:gd name="connsiteX5" fmla="*/ 698500 w 981075"/>
                  <a:gd name="connsiteY5" fmla="*/ 1404937 h 2840037"/>
                  <a:gd name="connsiteX6" fmla="*/ 841375 w 981075"/>
                  <a:gd name="connsiteY6" fmla="*/ 1747837 h 2840037"/>
                  <a:gd name="connsiteX7" fmla="*/ 917575 w 981075"/>
                  <a:gd name="connsiteY7" fmla="*/ 2205037 h 2840037"/>
                  <a:gd name="connsiteX8" fmla="*/ 936625 w 981075"/>
                  <a:gd name="connsiteY8" fmla="*/ 2414587 h 2840037"/>
                  <a:gd name="connsiteX9" fmla="*/ 965200 w 981075"/>
                  <a:gd name="connsiteY9" fmla="*/ 2500312 h 2840037"/>
                  <a:gd name="connsiteX10" fmla="*/ 841375 w 981075"/>
                  <a:gd name="connsiteY10" fmla="*/ 2576512 h 2840037"/>
                  <a:gd name="connsiteX11" fmla="*/ 803275 w 981075"/>
                  <a:gd name="connsiteY11" fmla="*/ 2509837 h 2840037"/>
                  <a:gd name="connsiteX12" fmla="*/ 688975 w 981075"/>
                  <a:gd name="connsiteY12" fmla="*/ 1824037 h 2840037"/>
                  <a:gd name="connsiteX13" fmla="*/ 574675 w 981075"/>
                  <a:gd name="connsiteY13" fmla="*/ 795337 h 2840037"/>
                  <a:gd name="connsiteX14" fmla="*/ 515144 w 981075"/>
                  <a:gd name="connsiteY14" fmla="*/ 561974 h 2840037"/>
                  <a:gd name="connsiteX15" fmla="*/ 460375 w 981075"/>
                  <a:gd name="connsiteY15" fmla="*/ 995362 h 2840037"/>
                  <a:gd name="connsiteX16" fmla="*/ 415131 w 981075"/>
                  <a:gd name="connsiteY16" fmla="*/ 1433512 h 2840037"/>
                  <a:gd name="connsiteX17" fmla="*/ 429419 w 981075"/>
                  <a:gd name="connsiteY17" fmla="*/ 1871662 h 2840037"/>
                  <a:gd name="connsiteX18" fmla="*/ 450850 w 981075"/>
                  <a:gd name="connsiteY18" fmla="*/ 2424112 h 2840037"/>
                  <a:gd name="connsiteX19" fmla="*/ 412750 w 981075"/>
                  <a:gd name="connsiteY19" fmla="*/ 2700337 h 2840037"/>
                  <a:gd name="connsiteX20" fmla="*/ 403225 w 981075"/>
                  <a:gd name="connsiteY20" fmla="*/ 2767012 h 2840037"/>
                  <a:gd name="connsiteX21" fmla="*/ 165100 w 981075"/>
                  <a:gd name="connsiteY21" fmla="*/ 2833687 h 2840037"/>
                  <a:gd name="connsiteX22" fmla="*/ 79375 w 981075"/>
                  <a:gd name="connsiteY22" fmla="*/ 2805112 h 2840037"/>
                  <a:gd name="connsiteX23" fmla="*/ 22225 w 981075"/>
                  <a:gd name="connsiteY23" fmla="*/ 2757487 h 2840037"/>
                  <a:gd name="connsiteX24" fmla="*/ 22225 w 981075"/>
                  <a:gd name="connsiteY24" fmla="*/ 2338387 h 2840037"/>
                  <a:gd name="connsiteX25" fmla="*/ 12700 w 981075"/>
                  <a:gd name="connsiteY25" fmla="*/ 1776412 h 2840037"/>
                  <a:gd name="connsiteX26" fmla="*/ 98425 w 981075"/>
                  <a:gd name="connsiteY26" fmla="*/ 1681162 h 2840037"/>
                  <a:gd name="connsiteX27" fmla="*/ 193675 w 981075"/>
                  <a:gd name="connsiteY27" fmla="*/ 1624012 h 2840037"/>
                  <a:gd name="connsiteX28" fmla="*/ 269875 w 981075"/>
                  <a:gd name="connsiteY28" fmla="*/ 1366837 h 2840037"/>
                  <a:gd name="connsiteX29" fmla="*/ 374650 w 981075"/>
                  <a:gd name="connsiteY29" fmla="*/ 795337 h 2840037"/>
                  <a:gd name="connsiteX30" fmla="*/ 403225 w 981075"/>
                  <a:gd name="connsiteY30" fmla="*/ 509587 h 2840037"/>
                  <a:gd name="connsiteX31" fmla="*/ 231775 w 981075"/>
                  <a:gd name="connsiteY31" fmla="*/ 395287 h 2840037"/>
                  <a:gd name="connsiteX32" fmla="*/ 422275 w 981075"/>
                  <a:gd name="connsiteY32" fmla="*/ 433387 h 2840037"/>
                  <a:gd name="connsiteX33" fmla="*/ 450850 w 981075"/>
                  <a:gd name="connsiteY33" fmla="*/ 395287 h 2840037"/>
                  <a:gd name="connsiteX34" fmla="*/ 479425 w 981075"/>
                  <a:gd name="connsiteY34" fmla="*/ 4762 h 2840037"/>
                  <a:gd name="connsiteX0" fmla="*/ 479425 w 981075"/>
                  <a:gd name="connsiteY0" fmla="*/ 4762 h 2840037"/>
                  <a:gd name="connsiteX1" fmla="*/ 498475 w 981075"/>
                  <a:gd name="connsiteY1" fmla="*/ 366712 h 2840037"/>
                  <a:gd name="connsiteX2" fmla="*/ 584200 w 981075"/>
                  <a:gd name="connsiteY2" fmla="*/ 395287 h 2840037"/>
                  <a:gd name="connsiteX3" fmla="*/ 660400 w 981075"/>
                  <a:gd name="connsiteY3" fmla="*/ 347662 h 2840037"/>
                  <a:gd name="connsiteX4" fmla="*/ 650875 w 981075"/>
                  <a:gd name="connsiteY4" fmla="*/ 757237 h 2840037"/>
                  <a:gd name="connsiteX5" fmla="*/ 698500 w 981075"/>
                  <a:gd name="connsiteY5" fmla="*/ 1404937 h 2840037"/>
                  <a:gd name="connsiteX6" fmla="*/ 841375 w 981075"/>
                  <a:gd name="connsiteY6" fmla="*/ 1747837 h 2840037"/>
                  <a:gd name="connsiteX7" fmla="*/ 917575 w 981075"/>
                  <a:gd name="connsiteY7" fmla="*/ 2205037 h 2840037"/>
                  <a:gd name="connsiteX8" fmla="*/ 936625 w 981075"/>
                  <a:gd name="connsiteY8" fmla="*/ 2414587 h 2840037"/>
                  <a:gd name="connsiteX9" fmla="*/ 965200 w 981075"/>
                  <a:gd name="connsiteY9" fmla="*/ 2500312 h 2840037"/>
                  <a:gd name="connsiteX10" fmla="*/ 841375 w 981075"/>
                  <a:gd name="connsiteY10" fmla="*/ 2576512 h 2840037"/>
                  <a:gd name="connsiteX11" fmla="*/ 803275 w 981075"/>
                  <a:gd name="connsiteY11" fmla="*/ 2509837 h 2840037"/>
                  <a:gd name="connsiteX12" fmla="*/ 688975 w 981075"/>
                  <a:gd name="connsiteY12" fmla="*/ 1824037 h 2840037"/>
                  <a:gd name="connsiteX13" fmla="*/ 574675 w 981075"/>
                  <a:gd name="connsiteY13" fmla="*/ 795337 h 2840037"/>
                  <a:gd name="connsiteX14" fmla="*/ 515144 w 981075"/>
                  <a:gd name="connsiteY14" fmla="*/ 561974 h 2840037"/>
                  <a:gd name="connsiteX15" fmla="*/ 460375 w 981075"/>
                  <a:gd name="connsiteY15" fmla="*/ 995362 h 2840037"/>
                  <a:gd name="connsiteX16" fmla="*/ 415131 w 981075"/>
                  <a:gd name="connsiteY16" fmla="*/ 1433512 h 2840037"/>
                  <a:gd name="connsiteX17" fmla="*/ 429419 w 981075"/>
                  <a:gd name="connsiteY17" fmla="*/ 1871662 h 2840037"/>
                  <a:gd name="connsiteX18" fmla="*/ 450850 w 981075"/>
                  <a:gd name="connsiteY18" fmla="*/ 2424112 h 2840037"/>
                  <a:gd name="connsiteX19" fmla="*/ 412750 w 981075"/>
                  <a:gd name="connsiteY19" fmla="*/ 2700337 h 2840037"/>
                  <a:gd name="connsiteX20" fmla="*/ 403225 w 981075"/>
                  <a:gd name="connsiteY20" fmla="*/ 2767012 h 2840037"/>
                  <a:gd name="connsiteX21" fmla="*/ 165100 w 981075"/>
                  <a:gd name="connsiteY21" fmla="*/ 2833687 h 2840037"/>
                  <a:gd name="connsiteX22" fmla="*/ 79375 w 981075"/>
                  <a:gd name="connsiteY22" fmla="*/ 2805112 h 2840037"/>
                  <a:gd name="connsiteX23" fmla="*/ 22225 w 981075"/>
                  <a:gd name="connsiteY23" fmla="*/ 2757487 h 2840037"/>
                  <a:gd name="connsiteX24" fmla="*/ 22225 w 981075"/>
                  <a:gd name="connsiteY24" fmla="*/ 2338387 h 2840037"/>
                  <a:gd name="connsiteX25" fmla="*/ 12700 w 981075"/>
                  <a:gd name="connsiteY25" fmla="*/ 1776412 h 2840037"/>
                  <a:gd name="connsiteX26" fmla="*/ 98425 w 981075"/>
                  <a:gd name="connsiteY26" fmla="*/ 1681162 h 2840037"/>
                  <a:gd name="connsiteX27" fmla="*/ 193675 w 981075"/>
                  <a:gd name="connsiteY27" fmla="*/ 1624012 h 2840037"/>
                  <a:gd name="connsiteX28" fmla="*/ 269875 w 981075"/>
                  <a:gd name="connsiteY28" fmla="*/ 1366837 h 2840037"/>
                  <a:gd name="connsiteX29" fmla="*/ 374650 w 981075"/>
                  <a:gd name="connsiteY29" fmla="*/ 795337 h 2840037"/>
                  <a:gd name="connsiteX30" fmla="*/ 403225 w 981075"/>
                  <a:gd name="connsiteY30" fmla="*/ 509587 h 2840037"/>
                  <a:gd name="connsiteX31" fmla="*/ 231775 w 981075"/>
                  <a:gd name="connsiteY31" fmla="*/ 395287 h 2840037"/>
                  <a:gd name="connsiteX32" fmla="*/ 422275 w 981075"/>
                  <a:gd name="connsiteY32" fmla="*/ 433387 h 2840037"/>
                  <a:gd name="connsiteX33" fmla="*/ 450850 w 981075"/>
                  <a:gd name="connsiteY33" fmla="*/ 395287 h 2840037"/>
                  <a:gd name="connsiteX34" fmla="*/ 479425 w 981075"/>
                  <a:gd name="connsiteY34" fmla="*/ 4762 h 2840037"/>
                  <a:gd name="connsiteX0" fmla="*/ 479425 w 981075"/>
                  <a:gd name="connsiteY0" fmla="*/ 4762 h 2840037"/>
                  <a:gd name="connsiteX1" fmla="*/ 498475 w 981075"/>
                  <a:gd name="connsiteY1" fmla="*/ 366712 h 2840037"/>
                  <a:gd name="connsiteX2" fmla="*/ 584200 w 981075"/>
                  <a:gd name="connsiteY2" fmla="*/ 395287 h 2840037"/>
                  <a:gd name="connsiteX3" fmla="*/ 660400 w 981075"/>
                  <a:gd name="connsiteY3" fmla="*/ 347662 h 2840037"/>
                  <a:gd name="connsiteX4" fmla="*/ 650875 w 981075"/>
                  <a:gd name="connsiteY4" fmla="*/ 757237 h 2840037"/>
                  <a:gd name="connsiteX5" fmla="*/ 698500 w 981075"/>
                  <a:gd name="connsiteY5" fmla="*/ 1404937 h 2840037"/>
                  <a:gd name="connsiteX6" fmla="*/ 841375 w 981075"/>
                  <a:gd name="connsiteY6" fmla="*/ 1747837 h 2840037"/>
                  <a:gd name="connsiteX7" fmla="*/ 917575 w 981075"/>
                  <a:gd name="connsiteY7" fmla="*/ 2205037 h 2840037"/>
                  <a:gd name="connsiteX8" fmla="*/ 936625 w 981075"/>
                  <a:gd name="connsiteY8" fmla="*/ 2414587 h 2840037"/>
                  <a:gd name="connsiteX9" fmla="*/ 965200 w 981075"/>
                  <a:gd name="connsiteY9" fmla="*/ 2500312 h 2840037"/>
                  <a:gd name="connsiteX10" fmla="*/ 841375 w 981075"/>
                  <a:gd name="connsiteY10" fmla="*/ 2576512 h 2840037"/>
                  <a:gd name="connsiteX11" fmla="*/ 803275 w 981075"/>
                  <a:gd name="connsiteY11" fmla="*/ 2509837 h 2840037"/>
                  <a:gd name="connsiteX12" fmla="*/ 688975 w 981075"/>
                  <a:gd name="connsiteY12" fmla="*/ 1824037 h 2840037"/>
                  <a:gd name="connsiteX13" fmla="*/ 567531 w 981075"/>
                  <a:gd name="connsiteY13" fmla="*/ 800099 h 2840037"/>
                  <a:gd name="connsiteX14" fmla="*/ 515144 w 981075"/>
                  <a:gd name="connsiteY14" fmla="*/ 561974 h 2840037"/>
                  <a:gd name="connsiteX15" fmla="*/ 460375 w 981075"/>
                  <a:gd name="connsiteY15" fmla="*/ 995362 h 2840037"/>
                  <a:gd name="connsiteX16" fmla="*/ 415131 w 981075"/>
                  <a:gd name="connsiteY16" fmla="*/ 1433512 h 2840037"/>
                  <a:gd name="connsiteX17" fmla="*/ 429419 w 981075"/>
                  <a:gd name="connsiteY17" fmla="*/ 1871662 h 2840037"/>
                  <a:gd name="connsiteX18" fmla="*/ 450850 w 981075"/>
                  <a:gd name="connsiteY18" fmla="*/ 2424112 h 2840037"/>
                  <a:gd name="connsiteX19" fmla="*/ 412750 w 981075"/>
                  <a:gd name="connsiteY19" fmla="*/ 2700337 h 2840037"/>
                  <a:gd name="connsiteX20" fmla="*/ 403225 w 981075"/>
                  <a:gd name="connsiteY20" fmla="*/ 2767012 h 2840037"/>
                  <a:gd name="connsiteX21" fmla="*/ 165100 w 981075"/>
                  <a:gd name="connsiteY21" fmla="*/ 2833687 h 2840037"/>
                  <a:gd name="connsiteX22" fmla="*/ 79375 w 981075"/>
                  <a:gd name="connsiteY22" fmla="*/ 2805112 h 2840037"/>
                  <a:gd name="connsiteX23" fmla="*/ 22225 w 981075"/>
                  <a:gd name="connsiteY23" fmla="*/ 2757487 h 2840037"/>
                  <a:gd name="connsiteX24" fmla="*/ 22225 w 981075"/>
                  <a:gd name="connsiteY24" fmla="*/ 2338387 h 2840037"/>
                  <a:gd name="connsiteX25" fmla="*/ 12700 w 981075"/>
                  <a:gd name="connsiteY25" fmla="*/ 1776412 h 2840037"/>
                  <a:gd name="connsiteX26" fmla="*/ 98425 w 981075"/>
                  <a:gd name="connsiteY26" fmla="*/ 1681162 h 2840037"/>
                  <a:gd name="connsiteX27" fmla="*/ 193675 w 981075"/>
                  <a:gd name="connsiteY27" fmla="*/ 1624012 h 2840037"/>
                  <a:gd name="connsiteX28" fmla="*/ 269875 w 981075"/>
                  <a:gd name="connsiteY28" fmla="*/ 1366837 h 2840037"/>
                  <a:gd name="connsiteX29" fmla="*/ 374650 w 981075"/>
                  <a:gd name="connsiteY29" fmla="*/ 795337 h 2840037"/>
                  <a:gd name="connsiteX30" fmla="*/ 403225 w 981075"/>
                  <a:gd name="connsiteY30" fmla="*/ 509587 h 2840037"/>
                  <a:gd name="connsiteX31" fmla="*/ 231775 w 981075"/>
                  <a:gd name="connsiteY31" fmla="*/ 395287 h 2840037"/>
                  <a:gd name="connsiteX32" fmla="*/ 422275 w 981075"/>
                  <a:gd name="connsiteY32" fmla="*/ 433387 h 2840037"/>
                  <a:gd name="connsiteX33" fmla="*/ 450850 w 981075"/>
                  <a:gd name="connsiteY33" fmla="*/ 395287 h 2840037"/>
                  <a:gd name="connsiteX34" fmla="*/ 479425 w 981075"/>
                  <a:gd name="connsiteY34" fmla="*/ 4762 h 2840037"/>
                  <a:gd name="connsiteX0" fmla="*/ 479425 w 981075"/>
                  <a:gd name="connsiteY0" fmla="*/ 4762 h 2840037"/>
                  <a:gd name="connsiteX1" fmla="*/ 498475 w 981075"/>
                  <a:gd name="connsiteY1" fmla="*/ 366712 h 2840037"/>
                  <a:gd name="connsiteX2" fmla="*/ 584200 w 981075"/>
                  <a:gd name="connsiteY2" fmla="*/ 395287 h 2840037"/>
                  <a:gd name="connsiteX3" fmla="*/ 660400 w 981075"/>
                  <a:gd name="connsiteY3" fmla="*/ 347662 h 2840037"/>
                  <a:gd name="connsiteX4" fmla="*/ 650875 w 981075"/>
                  <a:gd name="connsiteY4" fmla="*/ 757237 h 2840037"/>
                  <a:gd name="connsiteX5" fmla="*/ 698500 w 981075"/>
                  <a:gd name="connsiteY5" fmla="*/ 1404937 h 2840037"/>
                  <a:gd name="connsiteX6" fmla="*/ 841375 w 981075"/>
                  <a:gd name="connsiteY6" fmla="*/ 1747837 h 2840037"/>
                  <a:gd name="connsiteX7" fmla="*/ 917575 w 981075"/>
                  <a:gd name="connsiteY7" fmla="*/ 2205037 h 2840037"/>
                  <a:gd name="connsiteX8" fmla="*/ 936625 w 981075"/>
                  <a:gd name="connsiteY8" fmla="*/ 2414587 h 2840037"/>
                  <a:gd name="connsiteX9" fmla="*/ 965200 w 981075"/>
                  <a:gd name="connsiteY9" fmla="*/ 2500312 h 2840037"/>
                  <a:gd name="connsiteX10" fmla="*/ 841375 w 981075"/>
                  <a:gd name="connsiteY10" fmla="*/ 2576512 h 2840037"/>
                  <a:gd name="connsiteX11" fmla="*/ 803275 w 981075"/>
                  <a:gd name="connsiteY11" fmla="*/ 2509837 h 2840037"/>
                  <a:gd name="connsiteX12" fmla="*/ 693738 w 981075"/>
                  <a:gd name="connsiteY12" fmla="*/ 1824037 h 2840037"/>
                  <a:gd name="connsiteX13" fmla="*/ 567531 w 981075"/>
                  <a:gd name="connsiteY13" fmla="*/ 800099 h 2840037"/>
                  <a:gd name="connsiteX14" fmla="*/ 515144 w 981075"/>
                  <a:gd name="connsiteY14" fmla="*/ 561974 h 2840037"/>
                  <a:gd name="connsiteX15" fmla="*/ 460375 w 981075"/>
                  <a:gd name="connsiteY15" fmla="*/ 995362 h 2840037"/>
                  <a:gd name="connsiteX16" fmla="*/ 415131 w 981075"/>
                  <a:gd name="connsiteY16" fmla="*/ 1433512 h 2840037"/>
                  <a:gd name="connsiteX17" fmla="*/ 429419 w 981075"/>
                  <a:gd name="connsiteY17" fmla="*/ 1871662 h 2840037"/>
                  <a:gd name="connsiteX18" fmla="*/ 450850 w 981075"/>
                  <a:gd name="connsiteY18" fmla="*/ 2424112 h 2840037"/>
                  <a:gd name="connsiteX19" fmla="*/ 412750 w 981075"/>
                  <a:gd name="connsiteY19" fmla="*/ 2700337 h 2840037"/>
                  <a:gd name="connsiteX20" fmla="*/ 403225 w 981075"/>
                  <a:gd name="connsiteY20" fmla="*/ 2767012 h 2840037"/>
                  <a:gd name="connsiteX21" fmla="*/ 165100 w 981075"/>
                  <a:gd name="connsiteY21" fmla="*/ 2833687 h 2840037"/>
                  <a:gd name="connsiteX22" fmla="*/ 79375 w 981075"/>
                  <a:gd name="connsiteY22" fmla="*/ 2805112 h 2840037"/>
                  <a:gd name="connsiteX23" fmla="*/ 22225 w 981075"/>
                  <a:gd name="connsiteY23" fmla="*/ 2757487 h 2840037"/>
                  <a:gd name="connsiteX24" fmla="*/ 22225 w 981075"/>
                  <a:gd name="connsiteY24" fmla="*/ 2338387 h 2840037"/>
                  <a:gd name="connsiteX25" fmla="*/ 12700 w 981075"/>
                  <a:gd name="connsiteY25" fmla="*/ 1776412 h 2840037"/>
                  <a:gd name="connsiteX26" fmla="*/ 98425 w 981075"/>
                  <a:gd name="connsiteY26" fmla="*/ 1681162 h 2840037"/>
                  <a:gd name="connsiteX27" fmla="*/ 193675 w 981075"/>
                  <a:gd name="connsiteY27" fmla="*/ 1624012 h 2840037"/>
                  <a:gd name="connsiteX28" fmla="*/ 269875 w 981075"/>
                  <a:gd name="connsiteY28" fmla="*/ 1366837 h 2840037"/>
                  <a:gd name="connsiteX29" fmla="*/ 374650 w 981075"/>
                  <a:gd name="connsiteY29" fmla="*/ 795337 h 2840037"/>
                  <a:gd name="connsiteX30" fmla="*/ 403225 w 981075"/>
                  <a:gd name="connsiteY30" fmla="*/ 509587 h 2840037"/>
                  <a:gd name="connsiteX31" fmla="*/ 231775 w 981075"/>
                  <a:gd name="connsiteY31" fmla="*/ 395287 h 2840037"/>
                  <a:gd name="connsiteX32" fmla="*/ 422275 w 981075"/>
                  <a:gd name="connsiteY32" fmla="*/ 433387 h 2840037"/>
                  <a:gd name="connsiteX33" fmla="*/ 450850 w 981075"/>
                  <a:gd name="connsiteY33" fmla="*/ 395287 h 2840037"/>
                  <a:gd name="connsiteX34" fmla="*/ 479425 w 981075"/>
                  <a:gd name="connsiteY34" fmla="*/ 4762 h 2840037"/>
                  <a:gd name="connsiteX0" fmla="*/ 479425 w 981075"/>
                  <a:gd name="connsiteY0" fmla="*/ 4762 h 2840037"/>
                  <a:gd name="connsiteX1" fmla="*/ 498475 w 981075"/>
                  <a:gd name="connsiteY1" fmla="*/ 366712 h 2840037"/>
                  <a:gd name="connsiteX2" fmla="*/ 584200 w 981075"/>
                  <a:gd name="connsiteY2" fmla="*/ 395287 h 2840037"/>
                  <a:gd name="connsiteX3" fmla="*/ 660400 w 981075"/>
                  <a:gd name="connsiteY3" fmla="*/ 347662 h 2840037"/>
                  <a:gd name="connsiteX4" fmla="*/ 650875 w 981075"/>
                  <a:gd name="connsiteY4" fmla="*/ 757237 h 2840037"/>
                  <a:gd name="connsiteX5" fmla="*/ 698500 w 981075"/>
                  <a:gd name="connsiteY5" fmla="*/ 1404937 h 2840037"/>
                  <a:gd name="connsiteX6" fmla="*/ 841375 w 981075"/>
                  <a:gd name="connsiteY6" fmla="*/ 1747837 h 2840037"/>
                  <a:gd name="connsiteX7" fmla="*/ 917575 w 981075"/>
                  <a:gd name="connsiteY7" fmla="*/ 2205037 h 2840037"/>
                  <a:gd name="connsiteX8" fmla="*/ 936625 w 981075"/>
                  <a:gd name="connsiteY8" fmla="*/ 2414587 h 2840037"/>
                  <a:gd name="connsiteX9" fmla="*/ 965200 w 981075"/>
                  <a:gd name="connsiteY9" fmla="*/ 2500312 h 2840037"/>
                  <a:gd name="connsiteX10" fmla="*/ 841375 w 981075"/>
                  <a:gd name="connsiteY10" fmla="*/ 2576512 h 2840037"/>
                  <a:gd name="connsiteX11" fmla="*/ 803275 w 981075"/>
                  <a:gd name="connsiteY11" fmla="*/ 2509837 h 2840037"/>
                  <a:gd name="connsiteX12" fmla="*/ 693738 w 981075"/>
                  <a:gd name="connsiteY12" fmla="*/ 1824037 h 2840037"/>
                  <a:gd name="connsiteX13" fmla="*/ 567531 w 981075"/>
                  <a:gd name="connsiteY13" fmla="*/ 800099 h 2840037"/>
                  <a:gd name="connsiteX14" fmla="*/ 515144 w 981075"/>
                  <a:gd name="connsiteY14" fmla="*/ 561974 h 2840037"/>
                  <a:gd name="connsiteX15" fmla="*/ 460375 w 981075"/>
                  <a:gd name="connsiteY15" fmla="*/ 995362 h 2840037"/>
                  <a:gd name="connsiteX16" fmla="*/ 415131 w 981075"/>
                  <a:gd name="connsiteY16" fmla="*/ 1433512 h 2840037"/>
                  <a:gd name="connsiteX17" fmla="*/ 429419 w 981075"/>
                  <a:gd name="connsiteY17" fmla="*/ 1871662 h 2840037"/>
                  <a:gd name="connsiteX18" fmla="*/ 450850 w 981075"/>
                  <a:gd name="connsiteY18" fmla="*/ 2424112 h 2840037"/>
                  <a:gd name="connsiteX19" fmla="*/ 412750 w 981075"/>
                  <a:gd name="connsiteY19" fmla="*/ 2700337 h 2840037"/>
                  <a:gd name="connsiteX20" fmla="*/ 403225 w 981075"/>
                  <a:gd name="connsiteY20" fmla="*/ 2767012 h 2840037"/>
                  <a:gd name="connsiteX21" fmla="*/ 165100 w 981075"/>
                  <a:gd name="connsiteY21" fmla="*/ 2833687 h 2840037"/>
                  <a:gd name="connsiteX22" fmla="*/ 79375 w 981075"/>
                  <a:gd name="connsiteY22" fmla="*/ 2805112 h 2840037"/>
                  <a:gd name="connsiteX23" fmla="*/ 22225 w 981075"/>
                  <a:gd name="connsiteY23" fmla="*/ 2757487 h 2840037"/>
                  <a:gd name="connsiteX24" fmla="*/ 22225 w 981075"/>
                  <a:gd name="connsiteY24" fmla="*/ 2338387 h 2840037"/>
                  <a:gd name="connsiteX25" fmla="*/ 12700 w 981075"/>
                  <a:gd name="connsiteY25" fmla="*/ 1776412 h 2840037"/>
                  <a:gd name="connsiteX26" fmla="*/ 98425 w 981075"/>
                  <a:gd name="connsiteY26" fmla="*/ 1681162 h 2840037"/>
                  <a:gd name="connsiteX27" fmla="*/ 193675 w 981075"/>
                  <a:gd name="connsiteY27" fmla="*/ 1624012 h 2840037"/>
                  <a:gd name="connsiteX28" fmla="*/ 269875 w 981075"/>
                  <a:gd name="connsiteY28" fmla="*/ 1366837 h 2840037"/>
                  <a:gd name="connsiteX29" fmla="*/ 374650 w 981075"/>
                  <a:gd name="connsiteY29" fmla="*/ 795337 h 2840037"/>
                  <a:gd name="connsiteX30" fmla="*/ 403225 w 981075"/>
                  <a:gd name="connsiteY30" fmla="*/ 509587 h 2840037"/>
                  <a:gd name="connsiteX31" fmla="*/ 231775 w 981075"/>
                  <a:gd name="connsiteY31" fmla="*/ 395287 h 2840037"/>
                  <a:gd name="connsiteX32" fmla="*/ 422275 w 981075"/>
                  <a:gd name="connsiteY32" fmla="*/ 433387 h 2840037"/>
                  <a:gd name="connsiteX33" fmla="*/ 450850 w 981075"/>
                  <a:gd name="connsiteY33" fmla="*/ 395287 h 2840037"/>
                  <a:gd name="connsiteX34" fmla="*/ 479425 w 981075"/>
                  <a:gd name="connsiteY34" fmla="*/ 4762 h 2840037"/>
                  <a:gd name="connsiteX0" fmla="*/ 481013 w 982663"/>
                  <a:gd name="connsiteY0" fmla="*/ 4762 h 2840037"/>
                  <a:gd name="connsiteX1" fmla="*/ 500063 w 982663"/>
                  <a:gd name="connsiteY1" fmla="*/ 366712 h 2840037"/>
                  <a:gd name="connsiteX2" fmla="*/ 585788 w 982663"/>
                  <a:gd name="connsiteY2" fmla="*/ 395287 h 2840037"/>
                  <a:gd name="connsiteX3" fmla="*/ 661988 w 982663"/>
                  <a:gd name="connsiteY3" fmla="*/ 347662 h 2840037"/>
                  <a:gd name="connsiteX4" fmla="*/ 652463 w 982663"/>
                  <a:gd name="connsiteY4" fmla="*/ 757237 h 2840037"/>
                  <a:gd name="connsiteX5" fmla="*/ 700088 w 982663"/>
                  <a:gd name="connsiteY5" fmla="*/ 1404937 h 2840037"/>
                  <a:gd name="connsiteX6" fmla="*/ 842963 w 982663"/>
                  <a:gd name="connsiteY6" fmla="*/ 1747837 h 2840037"/>
                  <a:gd name="connsiteX7" fmla="*/ 919163 w 982663"/>
                  <a:gd name="connsiteY7" fmla="*/ 2205037 h 2840037"/>
                  <a:gd name="connsiteX8" fmla="*/ 938213 w 982663"/>
                  <a:gd name="connsiteY8" fmla="*/ 2414587 h 2840037"/>
                  <a:gd name="connsiteX9" fmla="*/ 966788 w 982663"/>
                  <a:gd name="connsiteY9" fmla="*/ 2500312 h 2840037"/>
                  <a:gd name="connsiteX10" fmla="*/ 842963 w 982663"/>
                  <a:gd name="connsiteY10" fmla="*/ 2576512 h 2840037"/>
                  <a:gd name="connsiteX11" fmla="*/ 804863 w 982663"/>
                  <a:gd name="connsiteY11" fmla="*/ 2509837 h 2840037"/>
                  <a:gd name="connsiteX12" fmla="*/ 695326 w 982663"/>
                  <a:gd name="connsiteY12" fmla="*/ 1824037 h 2840037"/>
                  <a:gd name="connsiteX13" fmla="*/ 569119 w 982663"/>
                  <a:gd name="connsiteY13" fmla="*/ 800099 h 2840037"/>
                  <a:gd name="connsiteX14" fmla="*/ 516732 w 982663"/>
                  <a:gd name="connsiteY14" fmla="*/ 561974 h 2840037"/>
                  <a:gd name="connsiteX15" fmla="*/ 461963 w 982663"/>
                  <a:gd name="connsiteY15" fmla="*/ 995362 h 2840037"/>
                  <a:gd name="connsiteX16" fmla="*/ 416719 w 982663"/>
                  <a:gd name="connsiteY16" fmla="*/ 1433512 h 2840037"/>
                  <a:gd name="connsiteX17" fmla="*/ 431007 w 982663"/>
                  <a:gd name="connsiteY17" fmla="*/ 1871662 h 2840037"/>
                  <a:gd name="connsiteX18" fmla="*/ 452438 w 982663"/>
                  <a:gd name="connsiteY18" fmla="*/ 2424112 h 2840037"/>
                  <a:gd name="connsiteX19" fmla="*/ 414338 w 982663"/>
                  <a:gd name="connsiteY19" fmla="*/ 2700337 h 2840037"/>
                  <a:gd name="connsiteX20" fmla="*/ 404813 w 982663"/>
                  <a:gd name="connsiteY20" fmla="*/ 2767012 h 2840037"/>
                  <a:gd name="connsiteX21" fmla="*/ 166688 w 982663"/>
                  <a:gd name="connsiteY21" fmla="*/ 2833687 h 2840037"/>
                  <a:gd name="connsiteX22" fmla="*/ 23813 w 982663"/>
                  <a:gd name="connsiteY22" fmla="*/ 2757487 h 2840037"/>
                  <a:gd name="connsiteX23" fmla="*/ 23813 w 982663"/>
                  <a:gd name="connsiteY23" fmla="*/ 2338387 h 2840037"/>
                  <a:gd name="connsiteX24" fmla="*/ 14288 w 982663"/>
                  <a:gd name="connsiteY24" fmla="*/ 1776412 h 2840037"/>
                  <a:gd name="connsiteX25" fmla="*/ 100013 w 982663"/>
                  <a:gd name="connsiteY25" fmla="*/ 1681162 h 2840037"/>
                  <a:gd name="connsiteX26" fmla="*/ 195263 w 982663"/>
                  <a:gd name="connsiteY26" fmla="*/ 1624012 h 2840037"/>
                  <a:gd name="connsiteX27" fmla="*/ 271463 w 982663"/>
                  <a:gd name="connsiteY27" fmla="*/ 1366837 h 2840037"/>
                  <a:gd name="connsiteX28" fmla="*/ 376238 w 982663"/>
                  <a:gd name="connsiteY28" fmla="*/ 795337 h 2840037"/>
                  <a:gd name="connsiteX29" fmla="*/ 404813 w 982663"/>
                  <a:gd name="connsiteY29" fmla="*/ 509587 h 2840037"/>
                  <a:gd name="connsiteX30" fmla="*/ 233363 w 982663"/>
                  <a:gd name="connsiteY30" fmla="*/ 395287 h 2840037"/>
                  <a:gd name="connsiteX31" fmla="*/ 423863 w 982663"/>
                  <a:gd name="connsiteY31" fmla="*/ 433387 h 2840037"/>
                  <a:gd name="connsiteX32" fmla="*/ 452438 w 982663"/>
                  <a:gd name="connsiteY32" fmla="*/ 395287 h 2840037"/>
                  <a:gd name="connsiteX33" fmla="*/ 481013 w 982663"/>
                  <a:gd name="connsiteY33" fmla="*/ 4762 h 2840037"/>
                  <a:gd name="connsiteX0" fmla="*/ 479425 w 981075"/>
                  <a:gd name="connsiteY0" fmla="*/ 4762 h 2840037"/>
                  <a:gd name="connsiteX1" fmla="*/ 498475 w 981075"/>
                  <a:gd name="connsiteY1" fmla="*/ 366712 h 2840037"/>
                  <a:gd name="connsiteX2" fmla="*/ 584200 w 981075"/>
                  <a:gd name="connsiteY2" fmla="*/ 395287 h 2840037"/>
                  <a:gd name="connsiteX3" fmla="*/ 660400 w 981075"/>
                  <a:gd name="connsiteY3" fmla="*/ 347662 h 2840037"/>
                  <a:gd name="connsiteX4" fmla="*/ 650875 w 981075"/>
                  <a:gd name="connsiteY4" fmla="*/ 757237 h 2840037"/>
                  <a:gd name="connsiteX5" fmla="*/ 698500 w 981075"/>
                  <a:gd name="connsiteY5" fmla="*/ 1404937 h 2840037"/>
                  <a:gd name="connsiteX6" fmla="*/ 841375 w 981075"/>
                  <a:gd name="connsiteY6" fmla="*/ 1747837 h 2840037"/>
                  <a:gd name="connsiteX7" fmla="*/ 917575 w 981075"/>
                  <a:gd name="connsiteY7" fmla="*/ 2205037 h 2840037"/>
                  <a:gd name="connsiteX8" fmla="*/ 936625 w 981075"/>
                  <a:gd name="connsiteY8" fmla="*/ 2414587 h 2840037"/>
                  <a:gd name="connsiteX9" fmla="*/ 965200 w 981075"/>
                  <a:gd name="connsiteY9" fmla="*/ 2500312 h 2840037"/>
                  <a:gd name="connsiteX10" fmla="*/ 841375 w 981075"/>
                  <a:gd name="connsiteY10" fmla="*/ 2576512 h 2840037"/>
                  <a:gd name="connsiteX11" fmla="*/ 803275 w 981075"/>
                  <a:gd name="connsiteY11" fmla="*/ 2509837 h 2840037"/>
                  <a:gd name="connsiteX12" fmla="*/ 693738 w 981075"/>
                  <a:gd name="connsiteY12" fmla="*/ 1824037 h 2840037"/>
                  <a:gd name="connsiteX13" fmla="*/ 567531 w 981075"/>
                  <a:gd name="connsiteY13" fmla="*/ 800099 h 2840037"/>
                  <a:gd name="connsiteX14" fmla="*/ 515144 w 981075"/>
                  <a:gd name="connsiteY14" fmla="*/ 561974 h 2840037"/>
                  <a:gd name="connsiteX15" fmla="*/ 460375 w 981075"/>
                  <a:gd name="connsiteY15" fmla="*/ 995362 h 2840037"/>
                  <a:gd name="connsiteX16" fmla="*/ 415131 w 981075"/>
                  <a:gd name="connsiteY16" fmla="*/ 1433512 h 2840037"/>
                  <a:gd name="connsiteX17" fmla="*/ 429419 w 981075"/>
                  <a:gd name="connsiteY17" fmla="*/ 1871662 h 2840037"/>
                  <a:gd name="connsiteX18" fmla="*/ 450850 w 981075"/>
                  <a:gd name="connsiteY18" fmla="*/ 2424112 h 2840037"/>
                  <a:gd name="connsiteX19" fmla="*/ 412750 w 981075"/>
                  <a:gd name="connsiteY19" fmla="*/ 2700337 h 2840037"/>
                  <a:gd name="connsiteX20" fmla="*/ 403225 w 981075"/>
                  <a:gd name="connsiteY20" fmla="*/ 2767012 h 2840037"/>
                  <a:gd name="connsiteX21" fmla="*/ 165100 w 981075"/>
                  <a:gd name="connsiteY21" fmla="*/ 2833687 h 2840037"/>
                  <a:gd name="connsiteX22" fmla="*/ 22225 w 981075"/>
                  <a:gd name="connsiteY22" fmla="*/ 2757487 h 2840037"/>
                  <a:gd name="connsiteX23" fmla="*/ 22225 w 981075"/>
                  <a:gd name="connsiteY23" fmla="*/ 2338387 h 2840037"/>
                  <a:gd name="connsiteX24" fmla="*/ 12700 w 981075"/>
                  <a:gd name="connsiteY24" fmla="*/ 1776412 h 2840037"/>
                  <a:gd name="connsiteX25" fmla="*/ 98425 w 981075"/>
                  <a:gd name="connsiteY25" fmla="*/ 1681162 h 2840037"/>
                  <a:gd name="connsiteX26" fmla="*/ 193675 w 981075"/>
                  <a:gd name="connsiteY26" fmla="*/ 1624012 h 2840037"/>
                  <a:gd name="connsiteX27" fmla="*/ 269875 w 981075"/>
                  <a:gd name="connsiteY27" fmla="*/ 1366837 h 2840037"/>
                  <a:gd name="connsiteX28" fmla="*/ 374650 w 981075"/>
                  <a:gd name="connsiteY28" fmla="*/ 795337 h 2840037"/>
                  <a:gd name="connsiteX29" fmla="*/ 403225 w 981075"/>
                  <a:gd name="connsiteY29" fmla="*/ 509587 h 2840037"/>
                  <a:gd name="connsiteX30" fmla="*/ 231775 w 981075"/>
                  <a:gd name="connsiteY30" fmla="*/ 395287 h 2840037"/>
                  <a:gd name="connsiteX31" fmla="*/ 422275 w 981075"/>
                  <a:gd name="connsiteY31" fmla="*/ 433387 h 2840037"/>
                  <a:gd name="connsiteX32" fmla="*/ 450850 w 981075"/>
                  <a:gd name="connsiteY32" fmla="*/ 395287 h 2840037"/>
                  <a:gd name="connsiteX33" fmla="*/ 479425 w 981075"/>
                  <a:gd name="connsiteY33" fmla="*/ 4762 h 2840037"/>
                  <a:gd name="connsiteX0" fmla="*/ 479425 w 981075"/>
                  <a:gd name="connsiteY0" fmla="*/ 4762 h 2835274"/>
                  <a:gd name="connsiteX1" fmla="*/ 498475 w 981075"/>
                  <a:gd name="connsiteY1" fmla="*/ 366712 h 2835274"/>
                  <a:gd name="connsiteX2" fmla="*/ 584200 w 981075"/>
                  <a:gd name="connsiteY2" fmla="*/ 395287 h 2835274"/>
                  <a:gd name="connsiteX3" fmla="*/ 660400 w 981075"/>
                  <a:gd name="connsiteY3" fmla="*/ 347662 h 2835274"/>
                  <a:gd name="connsiteX4" fmla="*/ 650875 w 981075"/>
                  <a:gd name="connsiteY4" fmla="*/ 757237 h 2835274"/>
                  <a:gd name="connsiteX5" fmla="*/ 698500 w 981075"/>
                  <a:gd name="connsiteY5" fmla="*/ 1404937 h 2835274"/>
                  <a:gd name="connsiteX6" fmla="*/ 841375 w 981075"/>
                  <a:gd name="connsiteY6" fmla="*/ 1747837 h 2835274"/>
                  <a:gd name="connsiteX7" fmla="*/ 917575 w 981075"/>
                  <a:gd name="connsiteY7" fmla="*/ 2205037 h 2835274"/>
                  <a:gd name="connsiteX8" fmla="*/ 936625 w 981075"/>
                  <a:gd name="connsiteY8" fmla="*/ 2414587 h 2835274"/>
                  <a:gd name="connsiteX9" fmla="*/ 965200 w 981075"/>
                  <a:gd name="connsiteY9" fmla="*/ 2500312 h 2835274"/>
                  <a:gd name="connsiteX10" fmla="*/ 841375 w 981075"/>
                  <a:gd name="connsiteY10" fmla="*/ 2576512 h 2835274"/>
                  <a:gd name="connsiteX11" fmla="*/ 803275 w 981075"/>
                  <a:gd name="connsiteY11" fmla="*/ 2509837 h 2835274"/>
                  <a:gd name="connsiteX12" fmla="*/ 693738 w 981075"/>
                  <a:gd name="connsiteY12" fmla="*/ 1824037 h 2835274"/>
                  <a:gd name="connsiteX13" fmla="*/ 567531 w 981075"/>
                  <a:gd name="connsiteY13" fmla="*/ 800099 h 2835274"/>
                  <a:gd name="connsiteX14" fmla="*/ 515144 w 981075"/>
                  <a:gd name="connsiteY14" fmla="*/ 561974 h 2835274"/>
                  <a:gd name="connsiteX15" fmla="*/ 460375 w 981075"/>
                  <a:gd name="connsiteY15" fmla="*/ 995362 h 2835274"/>
                  <a:gd name="connsiteX16" fmla="*/ 415131 w 981075"/>
                  <a:gd name="connsiteY16" fmla="*/ 1433512 h 2835274"/>
                  <a:gd name="connsiteX17" fmla="*/ 429419 w 981075"/>
                  <a:gd name="connsiteY17" fmla="*/ 1871662 h 2835274"/>
                  <a:gd name="connsiteX18" fmla="*/ 450850 w 981075"/>
                  <a:gd name="connsiteY18" fmla="*/ 2424112 h 2835274"/>
                  <a:gd name="connsiteX19" fmla="*/ 412750 w 981075"/>
                  <a:gd name="connsiteY19" fmla="*/ 2700337 h 2835274"/>
                  <a:gd name="connsiteX20" fmla="*/ 403225 w 981075"/>
                  <a:gd name="connsiteY20" fmla="*/ 2767012 h 2835274"/>
                  <a:gd name="connsiteX21" fmla="*/ 165100 w 981075"/>
                  <a:gd name="connsiteY21" fmla="*/ 2833687 h 2835274"/>
                  <a:gd name="connsiteX22" fmla="*/ 22225 w 981075"/>
                  <a:gd name="connsiteY22" fmla="*/ 2757487 h 2835274"/>
                  <a:gd name="connsiteX23" fmla="*/ 22225 w 981075"/>
                  <a:gd name="connsiteY23" fmla="*/ 2338387 h 2835274"/>
                  <a:gd name="connsiteX24" fmla="*/ 12700 w 981075"/>
                  <a:gd name="connsiteY24" fmla="*/ 1776412 h 2835274"/>
                  <a:gd name="connsiteX25" fmla="*/ 98425 w 981075"/>
                  <a:gd name="connsiteY25" fmla="*/ 1681162 h 2835274"/>
                  <a:gd name="connsiteX26" fmla="*/ 193675 w 981075"/>
                  <a:gd name="connsiteY26" fmla="*/ 1624012 h 2835274"/>
                  <a:gd name="connsiteX27" fmla="*/ 269875 w 981075"/>
                  <a:gd name="connsiteY27" fmla="*/ 1366837 h 2835274"/>
                  <a:gd name="connsiteX28" fmla="*/ 374650 w 981075"/>
                  <a:gd name="connsiteY28" fmla="*/ 795337 h 2835274"/>
                  <a:gd name="connsiteX29" fmla="*/ 403225 w 981075"/>
                  <a:gd name="connsiteY29" fmla="*/ 509587 h 2835274"/>
                  <a:gd name="connsiteX30" fmla="*/ 231775 w 981075"/>
                  <a:gd name="connsiteY30" fmla="*/ 395287 h 2835274"/>
                  <a:gd name="connsiteX31" fmla="*/ 422275 w 981075"/>
                  <a:gd name="connsiteY31" fmla="*/ 433387 h 2835274"/>
                  <a:gd name="connsiteX32" fmla="*/ 450850 w 981075"/>
                  <a:gd name="connsiteY32" fmla="*/ 395287 h 2835274"/>
                  <a:gd name="connsiteX33" fmla="*/ 479425 w 981075"/>
                  <a:gd name="connsiteY33" fmla="*/ 4762 h 2835274"/>
                  <a:gd name="connsiteX0" fmla="*/ 479425 w 981075"/>
                  <a:gd name="connsiteY0" fmla="*/ 4762 h 2835274"/>
                  <a:gd name="connsiteX1" fmla="*/ 498475 w 981075"/>
                  <a:gd name="connsiteY1" fmla="*/ 366712 h 2835274"/>
                  <a:gd name="connsiteX2" fmla="*/ 584200 w 981075"/>
                  <a:gd name="connsiteY2" fmla="*/ 395287 h 2835274"/>
                  <a:gd name="connsiteX3" fmla="*/ 660400 w 981075"/>
                  <a:gd name="connsiteY3" fmla="*/ 347662 h 2835274"/>
                  <a:gd name="connsiteX4" fmla="*/ 650875 w 981075"/>
                  <a:gd name="connsiteY4" fmla="*/ 757237 h 2835274"/>
                  <a:gd name="connsiteX5" fmla="*/ 698500 w 981075"/>
                  <a:gd name="connsiteY5" fmla="*/ 1404937 h 2835274"/>
                  <a:gd name="connsiteX6" fmla="*/ 841375 w 981075"/>
                  <a:gd name="connsiteY6" fmla="*/ 1747837 h 2835274"/>
                  <a:gd name="connsiteX7" fmla="*/ 917575 w 981075"/>
                  <a:gd name="connsiteY7" fmla="*/ 2205037 h 2835274"/>
                  <a:gd name="connsiteX8" fmla="*/ 936625 w 981075"/>
                  <a:gd name="connsiteY8" fmla="*/ 2414587 h 2835274"/>
                  <a:gd name="connsiteX9" fmla="*/ 965200 w 981075"/>
                  <a:gd name="connsiteY9" fmla="*/ 2500312 h 2835274"/>
                  <a:gd name="connsiteX10" fmla="*/ 841375 w 981075"/>
                  <a:gd name="connsiteY10" fmla="*/ 2576512 h 2835274"/>
                  <a:gd name="connsiteX11" fmla="*/ 693738 w 981075"/>
                  <a:gd name="connsiteY11" fmla="*/ 1824037 h 2835274"/>
                  <a:gd name="connsiteX12" fmla="*/ 567531 w 981075"/>
                  <a:gd name="connsiteY12" fmla="*/ 800099 h 2835274"/>
                  <a:gd name="connsiteX13" fmla="*/ 515144 w 981075"/>
                  <a:gd name="connsiteY13" fmla="*/ 561974 h 2835274"/>
                  <a:gd name="connsiteX14" fmla="*/ 460375 w 981075"/>
                  <a:gd name="connsiteY14" fmla="*/ 995362 h 2835274"/>
                  <a:gd name="connsiteX15" fmla="*/ 415131 w 981075"/>
                  <a:gd name="connsiteY15" fmla="*/ 1433512 h 2835274"/>
                  <a:gd name="connsiteX16" fmla="*/ 429419 w 981075"/>
                  <a:gd name="connsiteY16" fmla="*/ 1871662 h 2835274"/>
                  <a:gd name="connsiteX17" fmla="*/ 450850 w 981075"/>
                  <a:gd name="connsiteY17" fmla="*/ 2424112 h 2835274"/>
                  <a:gd name="connsiteX18" fmla="*/ 412750 w 981075"/>
                  <a:gd name="connsiteY18" fmla="*/ 2700337 h 2835274"/>
                  <a:gd name="connsiteX19" fmla="*/ 403225 w 981075"/>
                  <a:gd name="connsiteY19" fmla="*/ 2767012 h 2835274"/>
                  <a:gd name="connsiteX20" fmla="*/ 165100 w 981075"/>
                  <a:gd name="connsiteY20" fmla="*/ 2833687 h 2835274"/>
                  <a:gd name="connsiteX21" fmla="*/ 22225 w 981075"/>
                  <a:gd name="connsiteY21" fmla="*/ 2757487 h 2835274"/>
                  <a:gd name="connsiteX22" fmla="*/ 22225 w 981075"/>
                  <a:gd name="connsiteY22" fmla="*/ 2338387 h 2835274"/>
                  <a:gd name="connsiteX23" fmla="*/ 12700 w 981075"/>
                  <a:gd name="connsiteY23" fmla="*/ 1776412 h 2835274"/>
                  <a:gd name="connsiteX24" fmla="*/ 98425 w 981075"/>
                  <a:gd name="connsiteY24" fmla="*/ 1681162 h 2835274"/>
                  <a:gd name="connsiteX25" fmla="*/ 193675 w 981075"/>
                  <a:gd name="connsiteY25" fmla="*/ 1624012 h 2835274"/>
                  <a:gd name="connsiteX26" fmla="*/ 269875 w 981075"/>
                  <a:gd name="connsiteY26" fmla="*/ 1366837 h 2835274"/>
                  <a:gd name="connsiteX27" fmla="*/ 374650 w 981075"/>
                  <a:gd name="connsiteY27" fmla="*/ 795337 h 2835274"/>
                  <a:gd name="connsiteX28" fmla="*/ 403225 w 981075"/>
                  <a:gd name="connsiteY28" fmla="*/ 509587 h 2835274"/>
                  <a:gd name="connsiteX29" fmla="*/ 231775 w 981075"/>
                  <a:gd name="connsiteY29" fmla="*/ 395287 h 2835274"/>
                  <a:gd name="connsiteX30" fmla="*/ 422275 w 981075"/>
                  <a:gd name="connsiteY30" fmla="*/ 433387 h 2835274"/>
                  <a:gd name="connsiteX31" fmla="*/ 450850 w 981075"/>
                  <a:gd name="connsiteY31" fmla="*/ 395287 h 2835274"/>
                  <a:gd name="connsiteX32" fmla="*/ 479425 w 981075"/>
                  <a:gd name="connsiteY32" fmla="*/ 4762 h 2835274"/>
                  <a:gd name="connsiteX0" fmla="*/ 479425 w 981075"/>
                  <a:gd name="connsiteY0" fmla="*/ 4762 h 2835274"/>
                  <a:gd name="connsiteX1" fmla="*/ 498475 w 981075"/>
                  <a:gd name="connsiteY1" fmla="*/ 366712 h 2835274"/>
                  <a:gd name="connsiteX2" fmla="*/ 584200 w 981075"/>
                  <a:gd name="connsiteY2" fmla="*/ 395287 h 2835274"/>
                  <a:gd name="connsiteX3" fmla="*/ 681832 w 981075"/>
                  <a:gd name="connsiteY3" fmla="*/ 392906 h 2835274"/>
                  <a:gd name="connsiteX4" fmla="*/ 650875 w 981075"/>
                  <a:gd name="connsiteY4" fmla="*/ 757237 h 2835274"/>
                  <a:gd name="connsiteX5" fmla="*/ 698500 w 981075"/>
                  <a:gd name="connsiteY5" fmla="*/ 1404937 h 2835274"/>
                  <a:gd name="connsiteX6" fmla="*/ 841375 w 981075"/>
                  <a:gd name="connsiteY6" fmla="*/ 1747837 h 2835274"/>
                  <a:gd name="connsiteX7" fmla="*/ 917575 w 981075"/>
                  <a:gd name="connsiteY7" fmla="*/ 2205037 h 2835274"/>
                  <a:gd name="connsiteX8" fmla="*/ 936625 w 981075"/>
                  <a:gd name="connsiteY8" fmla="*/ 2414587 h 2835274"/>
                  <a:gd name="connsiteX9" fmla="*/ 965200 w 981075"/>
                  <a:gd name="connsiteY9" fmla="*/ 2500312 h 2835274"/>
                  <a:gd name="connsiteX10" fmla="*/ 841375 w 981075"/>
                  <a:gd name="connsiteY10" fmla="*/ 2576512 h 2835274"/>
                  <a:gd name="connsiteX11" fmla="*/ 693738 w 981075"/>
                  <a:gd name="connsiteY11" fmla="*/ 1824037 h 2835274"/>
                  <a:gd name="connsiteX12" fmla="*/ 567531 w 981075"/>
                  <a:gd name="connsiteY12" fmla="*/ 800099 h 2835274"/>
                  <a:gd name="connsiteX13" fmla="*/ 515144 w 981075"/>
                  <a:gd name="connsiteY13" fmla="*/ 561974 h 2835274"/>
                  <a:gd name="connsiteX14" fmla="*/ 460375 w 981075"/>
                  <a:gd name="connsiteY14" fmla="*/ 995362 h 2835274"/>
                  <a:gd name="connsiteX15" fmla="*/ 415131 w 981075"/>
                  <a:gd name="connsiteY15" fmla="*/ 1433512 h 2835274"/>
                  <a:gd name="connsiteX16" fmla="*/ 429419 w 981075"/>
                  <a:gd name="connsiteY16" fmla="*/ 1871662 h 2835274"/>
                  <a:gd name="connsiteX17" fmla="*/ 450850 w 981075"/>
                  <a:gd name="connsiteY17" fmla="*/ 2424112 h 2835274"/>
                  <a:gd name="connsiteX18" fmla="*/ 412750 w 981075"/>
                  <a:gd name="connsiteY18" fmla="*/ 2700337 h 2835274"/>
                  <a:gd name="connsiteX19" fmla="*/ 403225 w 981075"/>
                  <a:gd name="connsiteY19" fmla="*/ 2767012 h 2835274"/>
                  <a:gd name="connsiteX20" fmla="*/ 165100 w 981075"/>
                  <a:gd name="connsiteY20" fmla="*/ 2833687 h 2835274"/>
                  <a:gd name="connsiteX21" fmla="*/ 22225 w 981075"/>
                  <a:gd name="connsiteY21" fmla="*/ 2757487 h 2835274"/>
                  <a:gd name="connsiteX22" fmla="*/ 22225 w 981075"/>
                  <a:gd name="connsiteY22" fmla="*/ 2338387 h 2835274"/>
                  <a:gd name="connsiteX23" fmla="*/ 12700 w 981075"/>
                  <a:gd name="connsiteY23" fmla="*/ 1776412 h 2835274"/>
                  <a:gd name="connsiteX24" fmla="*/ 98425 w 981075"/>
                  <a:gd name="connsiteY24" fmla="*/ 1681162 h 2835274"/>
                  <a:gd name="connsiteX25" fmla="*/ 193675 w 981075"/>
                  <a:gd name="connsiteY25" fmla="*/ 1624012 h 2835274"/>
                  <a:gd name="connsiteX26" fmla="*/ 269875 w 981075"/>
                  <a:gd name="connsiteY26" fmla="*/ 1366837 h 2835274"/>
                  <a:gd name="connsiteX27" fmla="*/ 374650 w 981075"/>
                  <a:gd name="connsiteY27" fmla="*/ 795337 h 2835274"/>
                  <a:gd name="connsiteX28" fmla="*/ 403225 w 981075"/>
                  <a:gd name="connsiteY28" fmla="*/ 509587 h 2835274"/>
                  <a:gd name="connsiteX29" fmla="*/ 231775 w 981075"/>
                  <a:gd name="connsiteY29" fmla="*/ 395287 h 2835274"/>
                  <a:gd name="connsiteX30" fmla="*/ 422275 w 981075"/>
                  <a:gd name="connsiteY30" fmla="*/ 433387 h 2835274"/>
                  <a:gd name="connsiteX31" fmla="*/ 450850 w 981075"/>
                  <a:gd name="connsiteY31" fmla="*/ 395287 h 2835274"/>
                  <a:gd name="connsiteX32" fmla="*/ 479425 w 981075"/>
                  <a:gd name="connsiteY32" fmla="*/ 4762 h 2835274"/>
                  <a:gd name="connsiteX0" fmla="*/ 479425 w 981075"/>
                  <a:gd name="connsiteY0" fmla="*/ 4762 h 2835274"/>
                  <a:gd name="connsiteX1" fmla="*/ 498475 w 981075"/>
                  <a:gd name="connsiteY1" fmla="*/ 366712 h 2835274"/>
                  <a:gd name="connsiteX2" fmla="*/ 584200 w 981075"/>
                  <a:gd name="connsiteY2" fmla="*/ 395287 h 2835274"/>
                  <a:gd name="connsiteX3" fmla="*/ 681832 w 981075"/>
                  <a:gd name="connsiteY3" fmla="*/ 392906 h 2835274"/>
                  <a:gd name="connsiteX4" fmla="*/ 650875 w 981075"/>
                  <a:gd name="connsiteY4" fmla="*/ 757237 h 2835274"/>
                  <a:gd name="connsiteX5" fmla="*/ 698500 w 981075"/>
                  <a:gd name="connsiteY5" fmla="*/ 1404937 h 2835274"/>
                  <a:gd name="connsiteX6" fmla="*/ 841375 w 981075"/>
                  <a:gd name="connsiteY6" fmla="*/ 1747837 h 2835274"/>
                  <a:gd name="connsiteX7" fmla="*/ 917575 w 981075"/>
                  <a:gd name="connsiteY7" fmla="*/ 2205037 h 2835274"/>
                  <a:gd name="connsiteX8" fmla="*/ 936625 w 981075"/>
                  <a:gd name="connsiteY8" fmla="*/ 2414587 h 2835274"/>
                  <a:gd name="connsiteX9" fmla="*/ 965200 w 981075"/>
                  <a:gd name="connsiteY9" fmla="*/ 2500312 h 2835274"/>
                  <a:gd name="connsiteX10" fmla="*/ 841375 w 981075"/>
                  <a:gd name="connsiteY10" fmla="*/ 2576512 h 2835274"/>
                  <a:gd name="connsiteX11" fmla="*/ 693738 w 981075"/>
                  <a:gd name="connsiteY11" fmla="*/ 1824037 h 2835274"/>
                  <a:gd name="connsiteX12" fmla="*/ 567531 w 981075"/>
                  <a:gd name="connsiteY12" fmla="*/ 800099 h 2835274"/>
                  <a:gd name="connsiteX13" fmla="*/ 515144 w 981075"/>
                  <a:gd name="connsiteY13" fmla="*/ 561974 h 2835274"/>
                  <a:gd name="connsiteX14" fmla="*/ 460375 w 981075"/>
                  <a:gd name="connsiteY14" fmla="*/ 995362 h 2835274"/>
                  <a:gd name="connsiteX15" fmla="*/ 415131 w 981075"/>
                  <a:gd name="connsiteY15" fmla="*/ 1433512 h 2835274"/>
                  <a:gd name="connsiteX16" fmla="*/ 429419 w 981075"/>
                  <a:gd name="connsiteY16" fmla="*/ 1871662 h 2835274"/>
                  <a:gd name="connsiteX17" fmla="*/ 450850 w 981075"/>
                  <a:gd name="connsiteY17" fmla="*/ 2424112 h 2835274"/>
                  <a:gd name="connsiteX18" fmla="*/ 412750 w 981075"/>
                  <a:gd name="connsiteY18" fmla="*/ 2700337 h 2835274"/>
                  <a:gd name="connsiteX19" fmla="*/ 403225 w 981075"/>
                  <a:gd name="connsiteY19" fmla="*/ 2767012 h 2835274"/>
                  <a:gd name="connsiteX20" fmla="*/ 165100 w 981075"/>
                  <a:gd name="connsiteY20" fmla="*/ 2833687 h 2835274"/>
                  <a:gd name="connsiteX21" fmla="*/ 22225 w 981075"/>
                  <a:gd name="connsiteY21" fmla="*/ 2757487 h 2835274"/>
                  <a:gd name="connsiteX22" fmla="*/ 22225 w 981075"/>
                  <a:gd name="connsiteY22" fmla="*/ 2338387 h 2835274"/>
                  <a:gd name="connsiteX23" fmla="*/ 12700 w 981075"/>
                  <a:gd name="connsiteY23" fmla="*/ 1776412 h 2835274"/>
                  <a:gd name="connsiteX24" fmla="*/ 98425 w 981075"/>
                  <a:gd name="connsiteY24" fmla="*/ 1681162 h 2835274"/>
                  <a:gd name="connsiteX25" fmla="*/ 193675 w 981075"/>
                  <a:gd name="connsiteY25" fmla="*/ 1624012 h 2835274"/>
                  <a:gd name="connsiteX26" fmla="*/ 269875 w 981075"/>
                  <a:gd name="connsiteY26" fmla="*/ 1366837 h 2835274"/>
                  <a:gd name="connsiteX27" fmla="*/ 374650 w 981075"/>
                  <a:gd name="connsiteY27" fmla="*/ 795337 h 2835274"/>
                  <a:gd name="connsiteX28" fmla="*/ 403225 w 981075"/>
                  <a:gd name="connsiteY28" fmla="*/ 509587 h 2835274"/>
                  <a:gd name="connsiteX29" fmla="*/ 231775 w 981075"/>
                  <a:gd name="connsiteY29" fmla="*/ 395287 h 2835274"/>
                  <a:gd name="connsiteX30" fmla="*/ 422275 w 981075"/>
                  <a:gd name="connsiteY30" fmla="*/ 433387 h 2835274"/>
                  <a:gd name="connsiteX31" fmla="*/ 450850 w 981075"/>
                  <a:gd name="connsiteY31" fmla="*/ 395287 h 2835274"/>
                  <a:gd name="connsiteX32" fmla="*/ 479425 w 981075"/>
                  <a:gd name="connsiteY32" fmla="*/ 4762 h 2835274"/>
                  <a:gd name="connsiteX0" fmla="*/ 479425 w 981075"/>
                  <a:gd name="connsiteY0" fmla="*/ 4762 h 2835274"/>
                  <a:gd name="connsiteX1" fmla="*/ 498475 w 981075"/>
                  <a:gd name="connsiteY1" fmla="*/ 366712 h 2835274"/>
                  <a:gd name="connsiteX2" fmla="*/ 584200 w 981075"/>
                  <a:gd name="connsiteY2" fmla="*/ 395287 h 2835274"/>
                  <a:gd name="connsiteX3" fmla="*/ 681832 w 981075"/>
                  <a:gd name="connsiteY3" fmla="*/ 392906 h 2835274"/>
                  <a:gd name="connsiteX4" fmla="*/ 650875 w 981075"/>
                  <a:gd name="connsiteY4" fmla="*/ 757237 h 2835274"/>
                  <a:gd name="connsiteX5" fmla="*/ 698500 w 981075"/>
                  <a:gd name="connsiteY5" fmla="*/ 1404937 h 2835274"/>
                  <a:gd name="connsiteX6" fmla="*/ 841375 w 981075"/>
                  <a:gd name="connsiteY6" fmla="*/ 1747837 h 2835274"/>
                  <a:gd name="connsiteX7" fmla="*/ 917575 w 981075"/>
                  <a:gd name="connsiteY7" fmla="*/ 2205037 h 2835274"/>
                  <a:gd name="connsiteX8" fmla="*/ 936625 w 981075"/>
                  <a:gd name="connsiteY8" fmla="*/ 2414587 h 2835274"/>
                  <a:gd name="connsiteX9" fmla="*/ 965200 w 981075"/>
                  <a:gd name="connsiteY9" fmla="*/ 2500312 h 2835274"/>
                  <a:gd name="connsiteX10" fmla="*/ 841375 w 981075"/>
                  <a:gd name="connsiteY10" fmla="*/ 2576512 h 2835274"/>
                  <a:gd name="connsiteX11" fmla="*/ 693738 w 981075"/>
                  <a:gd name="connsiteY11" fmla="*/ 1824037 h 2835274"/>
                  <a:gd name="connsiteX12" fmla="*/ 567531 w 981075"/>
                  <a:gd name="connsiteY12" fmla="*/ 800099 h 2835274"/>
                  <a:gd name="connsiteX13" fmla="*/ 515144 w 981075"/>
                  <a:gd name="connsiteY13" fmla="*/ 561974 h 2835274"/>
                  <a:gd name="connsiteX14" fmla="*/ 460375 w 981075"/>
                  <a:gd name="connsiteY14" fmla="*/ 995362 h 2835274"/>
                  <a:gd name="connsiteX15" fmla="*/ 415131 w 981075"/>
                  <a:gd name="connsiteY15" fmla="*/ 1433512 h 2835274"/>
                  <a:gd name="connsiteX16" fmla="*/ 429419 w 981075"/>
                  <a:gd name="connsiteY16" fmla="*/ 1871662 h 2835274"/>
                  <a:gd name="connsiteX17" fmla="*/ 450850 w 981075"/>
                  <a:gd name="connsiteY17" fmla="*/ 2424112 h 2835274"/>
                  <a:gd name="connsiteX18" fmla="*/ 412750 w 981075"/>
                  <a:gd name="connsiteY18" fmla="*/ 2700337 h 2835274"/>
                  <a:gd name="connsiteX19" fmla="*/ 403225 w 981075"/>
                  <a:gd name="connsiteY19" fmla="*/ 2767012 h 2835274"/>
                  <a:gd name="connsiteX20" fmla="*/ 165100 w 981075"/>
                  <a:gd name="connsiteY20" fmla="*/ 2833687 h 2835274"/>
                  <a:gd name="connsiteX21" fmla="*/ 22225 w 981075"/>
                  <a:gd name="connsiteY21" fmla="*/ 2757487 h 2835274"/>
                  <a:gd name="connsiteX22" fmla="*/ 22225 w 981075"/>
                  <a:gd name="connsiteY22" fmla="*/ 2338387 h 2835274"/>
                  <a:gd name="connsiteX23" fmla="*/ 12700 w 981075"/>
                  <a:gd name="connsiteY23" fmla="*/ 1776412 h 2835274"/>
                  <a:gd name="connsiteX24" fmla="*/ 98425 w 981075"/>
                  <a:gd name="connsiteY24" fmla="*/ 1681162 h 2835274"/>
                  <a:gd name="connsiteX25" fmla="*/ 193675 w 981075"/>
                  <a:gd name="connsiteY25" fmla="*/ 1624012 h 2835274"/>
                  <a:gd name="connsiteX26" fmla="*/ 269875 w 981075"/>
                  <a:gd name="connsiteY26" fmla="*/ 1366837 h 2835274"/>
                  <a:gd name="connsiteX27" fmla="*/ 374650 w 981075"/>
                  <a:gd name="connsiteY27" fmla="*/ 795337 h 2835274"/>
                  <a:gd name="connsiteX28" fmla="*/ 403225 w 981075"/>
                  <a:gd name="connsiteY28" fmla="*/ 509587 h 2835274"/>
                  <a:gd name="connsiteX29" fmla="*/ 231775 w 981075"/>
                  <a:gd name="connsiteY29" fmla="*/ 395287 h 2835274"/>
                  <a:gd name="connsiteX30" fmla="*/ 422275 w 981075"/>
                  <a:gd name="connsiteY30" fmla="*/ 433387 h 2835274"/>
                  <a:gd name="connsiteX31" fmla="*/ 450850 w 981075"/>
                  <a:gd name="connsiteY31" fmla="*/ 395287 h 2835274"/>
                  <a:gd name="connsiteX32" fmla="*/ 479425 w 981075"/>
                  <a:gd name="connsiteY32" fmla="*/ 4762 h 2835274"/>
                  <a:gd name="connsiteX0" fmla="*/ 479425 w 981075"/>
                  <a:gd name="connsiteY0" fmla="*/ 4762 h 2835274"/>
                  <a:gd name="connsiteX1" fmla="*/ 498475 w 981075"/>
                  <a:gd name="connsiteY1" fmla="*/ 366712 h 2835274"/>
                  <a:gd name="connsiteX2" fmla="*/ 584200 w 981075"/>
                  <a:gd name="connsiteY2" fmla="*/ 421480 h 2835274"/>
                  <a:gd name="connsiteX3" fmla="*/ 681832 w 981075"/>
                  <a:gd name="connsiteY3" fmla="*/ 392906 h 2835274"/>
                  <a:gd name="connsiteX4" fmla="*/ 650875 w 981075"/>
                  <a:gd name="connsiteY4" fmla="*/ 757237 h 2835274"/>
                  <a:gd name="connsiteX5" fmla="*/ 698500 w 981075"/>
                  <a:gd name="connsiteY5" fmla="*/ 1404937 h 2835274"/>
                  <a:gd name="connsiteX6" fmla="*/ 841375 w 981075"/>
                  <a:gd name="connsiteY6" fmla="*/ 1747837 h 2835274"/>
                  <a:gd name="connsiteX7" fmla="*/ 917575 w 981075"/>
                  <a:gd name="connsiteY7" fmla="*/ 2205037 h 2835274"/>
                  <a:gd name="connsiteX8" fmla="*/ 936625 w 981075"/>
                  <a:gd name="connsiteY8" fmla="*/ 2414587 h 2835274"/>
                  <a:gd name="connsiteX9" fmla="*/ 965200 w 981075"/>
                  <a:gd name="connsiteY9" fmla="*/ 2500312 h 2835274"/>
                  <a:gd name="connsiteX10" fmla="*/ 841375 w 981075"/>
                  <a:gd name="connsiteY10" fmla="*/ 2576512 h 2835274"/>
                  <a:gd name="connsiteX11" fmla="*/ 693738 w 981075"/>
                  <a:gd name="connsiteY11" fmla="*/ 1824037 h 2835274"/>
                  <a:gd name="connsiteX12" fmla="*/ 567531 w 981075"/>
                  <a:gd name="connsiteY12" fmla="*/ 800099 h 2835274"/>
                  <a:gd name="connsiteX13" fmla="*/ 515144 w 981075"/>
                  <a:gd name="connsiteY13" fmla="*/ 561974 h 2835274"/>
                  <a:gd name="connsiteX14" fmla="*/ 460375 w 981075"/>
                  <a:gd name="connsiteY14" fmla="*/ 995362 h 2835274"/>
                  <a:gd name="connsiteX15" fmla="*/ 415131 w 981075"/>
                  <a:gd name="connsiteY15" fmla="*/ 1433512 h 2835274"/>
                  <a:gd name="connsiteX16" fmla="*/ 429419 w 981075"/>
                  <a:gd name="connsiteY16" fmla="*/ 1871662 h 2835274"/>
                  <a:gd name="connsiteX17" fmla="*/ 450850 w 981075"/>
                  <a:gd name="connsiteY17" fmla="*/ 2424112 h 2835274"/>
                  <a:gd name="connsiteX18" fmla="*/ 412750 w 981075"/>
                  <a:gd name="connsiteY18" fmla="*/ 2700337 h 2835274"/>
                  <a:gd name="connsiteX19" fmla="*/ 403225 w 981075"/>
                  <a:gd name="connsiteY19" fmla="*/ 2767012 h 2835274"/>
                  <a:gd name="connsiteX20" fmla="*/ 165100 w 981075"/>
                  <a:gd name="connsiteY20" fmla="*/ 2833687 h 2835274"/>
                  <a:gd name="connsiteX21" fmla="*/ 22225 w 981075"/>
                  <a:gd name="connsiteY21" fmla="*/ 2757487 h 2835274"/>
                  <a:gd name="connsiteX22" fmla="*/ 22225 w 981075"/>
                  <a:gd name="connsiteY22" fmla="*/ 2338387 h 2835274"/>
                  <a:gd name="connsiteX23" fmla="*/ 12700 w 981075"/>
                  <a:gd name="connsiteY23" fmla="*/ 1776412 h 2835274"/>
                  <a:gd name="connsiteX24" fmla="*/ 98425 w 981075"/>
                  <a:gd name="connsiteY24" fmla="*/ 1681162 h 2835274"/>
                  <a:gd name="connsiteX25" fmla="*/ 193675 w 981075"/>
                  <a:gd name="connsiteY25" fmla="*/ 1624012 h 2835274"/>
                  <a:gd name="connsiteX26" fmla="*/ 269875 w 981075"/>
                  <a:gd name="connsiteY26" fmla="*/ 1366837 h 2835274"/>
                  <a:gd name="connsiteX27" fmla="*/ 374650 w 981075"/>
                  <a:gd name="connsiteY27" fmla="*/ 795337 h 2835274"/>
                  <a:gd name="connsiteX28" fmla="*/ 403225 w 981075"/>
                  <a:gd name="connsiteY28" fmla="*/ 509587 h 2835274"/>
                  <a:gd name="connsiteX29" fmla="*/ 231775 w 981075"/>
                  <a:gd name="connsiteY29" fmla="*/ 395287 h 2835274"/>
                  <a:gd name="connsiteX30" fmla="*/ 422275 w 981075"/>
                  <a:gd name="connsiteY30" fmla="*/ 433387 h 2835274"/>
                  <a:gd name="connsiteX31" fmla="*/ 450850 w 981075"/>
                  <a:gd name="connsiteY31" fmla="*/ 395287 h 2835274"/>
                  <a:gd name="connsiteX32" fmla="*/ 479425 w 981075"/>
                  <a:gd name="connsiteY32" fmla="*/ 4762 h 2835274"/>
                  <a:gd name="connsiteX0" fmla="*/ 479425 w 981075"/>
                  <a:gd name="connsiteY0" fmla="*/ 4762 h 2835274"/>
                  <a:gd name="connsiteX1" fmla="*/ 498475 w 981075"/>
                  <a:gd name="connsiteY1" fmla="*/ 366712 h 2835274"/>
                  <a:gd name="connsiteX2" fmla="*/ 584200 w 981075"/>
                  <a:gd name="connsiteY2" fmla="*/ 421480 h 2835274"/>
                  <a:gd name="connsiteX3" fmla="*/ 681832 w 981075"/>
                  <a:gd name="connsiteY3" fmla="*/ 392906 h 2835274"/>
                  <a:gd name="connsiteX4" fmla="*/ 650875 w 981075"/>
                  <a:gd name="connsiteY4" fmla="*/ 757237 h 2835274"/>
                  <a:gd name="connsiteX5" fmla="*/ 698500 w 981075"/>
                  <a:gd name="connsiteY5" fmla="*/ 1404937 h 2835274"/>
                  <a:gd name="connsiteX6" fmla="*/ 841375 w 981075"/>
                  <a:gd name="connsiteY6" fmla="*/ 1747837 h 2835274"/>
                  <a:gd name="connsiteX7" fmla="*/ 917575 w 981075"/>
                  <a:gd name="connsiteY7" fmla="*/ 2205037 h 2835274"/>
                  <a:gd name="connsiteX8" fmla="*/ 936625 w 981075"/>
                  <a:gd name="connsiteY8" fmla="*/ 2414587 h 2835274"/>
                  <a:gd name="connsiteX9" fmla="*/ 965200 w 981075"/>
                  <a:gd name="connsiteY9" fmla="*/ 2500312 h 2835274"/>
                  <a:gd name="connsiteX10" fmla="*/ 841375 w 981075"/>
                  <a:gd name="connsiteY10" fmla="*/ 2576512 h 2835274"/>
                  <a:gd name="connsiteX11" fmla="*/ 693738 w 981075"/>
                  <a:gd name="connsiteY11" fmla="*/ 1824037 h 2835274"/>
                  <a:gd name="connsiteX12" fmla="*/ 567531 w 981075"/>
                  <a:gd name="connsiteY12" fmla="*/ 800099 h 2835274"/>
                  <a:gd name="connsiteX13" fmla="*/ 515144 w 981075"/>
                  <a:gd name="connsiteY13" fmla="*/ 561974 h 2835274"/>
                  <a:gd name="connsiteX14" fmla="*/ 460375 w 981075"/>
                  <a:gd name="connsiteY14" fmla="*/ 995362 h 2835274"/>
                  <a:gd name="connsiteX15" fmla="*/ 415131 w 981075"/>
                  <a:gd name="connsiteY15" fmla="*/ 1433512 h 2835274"/>
                  <a:gd name="connsiteX16" fmla="*/ 429419 w 981075"/>
                  <a:gd name="connsiteY16" fmla="*/ 1871662 h 2835274"/>
                  <a:gd name="connsiteX17" fmla="*/ 450850 w 981075"/>
                  <a:gd name="connsiteY17" fmla="*/ 2424112 h 2835274"/>
                  <a:gd name="connsiteX18" fmla="*/ 412750 w 981075"/>
                  <a:gd name="connsiteY18" fmla="*/ 2700337 h 2835274"/>
                  <a:gd name="connsiteX19" fmla="*/ 403225 w 981075"/>
                  <a:gd name="connsiteY19" fmla="*/ 2767012 h 2835274"/>
                  <a:gd name="connsiteX20" fmla="*/ 165100 w 981075"/>
                  <a:gd name="connsiteY20" fmla="*/ 2833687 h 2835274"/>
                  <a:gd name="connsiteX21" fmla="*/ 22225 w 981075"/>
                  <a:gd name="connsiteY21" fmla="*/ 2757487 h 2835274"/>
                  <a:gd name="connsiteX22" fmla="*/ 22225 w 981075"/>
                  <a:gd name="connsiteY22" fmla="*/ 2338387 h 2835274"/>
                  <a:gd name="connsiteX23" fmla="*/ 12700 w 981075"/>
                  <a:gd name="connsiteY23" fmla="*/ 1776412 h 2835274"/>
                  <a:gd name="connsiteX24" fmla="*/ 98425 w 981075"/>
                  <a:gd name="connsiteY24" fmla="*/ 1681162 h 2835274"/>
                  <a:gd name="connsiteX25" fmla="*/ 193675 w 981075"/>
                  <a:gd name="connsiteY25" fmla="*/ 1624012 h 2835274"/>
                  <a:gd name="connsiteX26" fmla="*/ 269875 w 981075"/>
                  <a:gd name="connsiteY26" fmla="*/ 1366837 h 2835274"/>
                  <a:gd name="connsiteX27" fmla="*/ 374650 w 981075"/>
                  <a:gd name="connsiteY27" fmla="*/ 795337 h 2835274"/>
                  <a:gd name="connsiteX28" fmla="*/ 403225 w 981075"/>
                  <a:gd name="connsiteY28" fmla="*/ 509587 h 2835274"/>
                  <a:gd name="connsiteX29" fmla="*/ 231775 w 981075"/>
                  <a:gd name="connsiteY29" fmla="*/ 395287 h 2835274"/>
                  <a:gd name="connsiteX30" fmla="*/ 422275 w 981075"/>
                  <a:gd name="connsiteY30" fmla="*/ 433387 h 2835274"/>
                  <a:gd name="connsiteX31" fmla="*/ 450850 w 981075"/>
                  <a:gd name="connsiteY31" fmla="*/ 395287 h 2835274"/>
                  <a:gd name="connsiteX32" fmla="*/ 479425 w 981075"/>
                  <a:gd name="connsiteY32" fmla="*/ 4762 h 2835274"/>
                  <a:gd name="connsiteX0" fmla="*/ 479425 w 981075"/>
                  <a:gd name="connsiteY0" fmla="*/ 4762 h 2835274"/>
                  <a:gd name="connsiteX1" fmla="*/ 498475 w 981075"/>
                  <a:gd name="connsiteY1" fmla="*/ 366712 h 2835274"/>
                  <a:gd name="connsiteX2" fmla="*/ 584200 w 981075"/>
                  <a:gd name="connsiteY2" fmla="*/ 421480 h 2835274"/>
                  <a:gd name="connsiteX3" fmla="*/ 681832 w 981075"/>
                  <a:gd name="connsiteY3" fmla="*/ 392906 h 2835274"/>
                  <a:gd name="connsiteX4" fmla="*/ 650875 w 981075"/>
                  <a:gd name="connsiteY4" fmla="*/ 757237 h 2835274"/>
                  <a:gd name="connsiteX5" fmla="*/ 698500 w 981075"/>
                  <a:gd name="connsiteY5" fmla="*/ 1404937 h 2835274"/>
                  <a:gd name="connsiteX6" fmla="*/ 841375 w 981075"/>
                  <a:gd name="connsiteY6" fmla="*/ 1747837 h 2835274"/>
                  <a:gd name="connsiteX7" fmla="*/ 917575 w 981075"/>
                  <a:gd name="connsiteY7" fmla="*/ 2205037 h 2835274"/>
                  <a:gd name="connsiteX8" fmla="*/ 936625 w 981075"/>
                  <a:gd name="connsiteY8" fmla="*/ 2414587 h 2835274"/>
                  <a:gd name="connsiteX9" fmla="*/ 965200 w 981075"/>
                  <a:gd name="connsiteY9" fmla="*/ 2500312 h 2835274"/>
                  <a:gd name="connsiteX10" fmla="*/ 841375 w 981075"/>
                  <a:gd name="connsiteY10" fmla="*/ 2576512 h 2835274"/>
                  <a:gd name="connsiteX11" fmla="*/ 693738 w 981075"/>
                  <a:gd name="connsiteY11" fmla="*/ 1824037 h 2835274"/>
                  <a:gd name="connsiteX12" fmla="*/ 567531 w 981075"/>
                  <a:gd name="connsiteY12" fmla="*/ 800099 h 2835274"/>
                  <a:gd name="connsiteX13" fmla="*/ 515144 w 981075"/>
                  <a:gd name="connsiteY13" fmla="*/ 561974 h 2835274"/>
                  <a:gd name="connsiteX14" fmla="*/ 460375 w 981075"/>
                  <a:gd name="connsiteY14" fmla="*/ 995362 h 2835274"/>
                  <a:gd name="connsiteX15" fmla="*/ 415131 w 981075"/>
                  <a:gd name="connsiteY15" fmla="*/ 1433512 h 2835274"/>
                  <a:gd name="connsiteX16" fmla="*/ 429419 w 981075"/>
                  <a:gd name="connsiteY16" fmla="*/ 1871662 h 2835274"/>
                  <a:gd name="connsiteX17" fmla="*/ 450850 w 981075"/>
                  <a:gd name="connsiteY17" fmla="*/ 2424112 h 2835274"/>
                  <a:gd name="connsiteX18" fmla="*/ 412750 w 981075"/>
                  <a:gd name="connsiteY18" fmla="*/ 2700337 h 2835274"/>
                  <a:gd name="connsiteX19" fmla="*/ 403225 w 981075"/>
                  <a:gd name="connsiteY19" fmla="*/ 2767012 h 2835274"/>
                  <a:gd name="connsiteX20" fmla="*/ 165100 w 981075"/>
                  <a:gd name="connsiteY20" fmla="*/ 2833687 h 2835274"/>
                  <a:gd name="connsiteX21" fmla="*/ 22225 w 981075"/>
                  <a:gd name="connsiteY21" fmla="*/ 2757487 h 2835274"/>
                  <a:gd name="connsiteX22" fmla="*/ 22225 w 981075"/>
                  <a:gd name="connsiteY22" fmla="*/ 2338387 h 2835274"/>
                  <a:gd name="connsiteX23" fmla="*/ 12700 w 981075"/>
                  <a:gd name="connsiteY23" fmla="*/ 1776412 h 2835274"/>
                  <a:gd name="connsiteX24" fmla="*/ 98425 w 981075"/>
                  <a:gd name="connsiteY24" fmla="*/ 1681162 h 2835274"/>
                  <a:gd name="connsiteX25" fmla="*/ 193675 w 981075"/>
                  <a:gd name="connsiteY25" fmla="*/ 1624012 h 2835274"/>
                  <a:gd name="connsiteX26" fmla="*/ 269875 w 981075"/>
                  <a:gd name="connsiteY26" fmla="*/ 1366837 h 2835274"/>
                  <a:gd name="connsiteX27" fmla="*/ 374650 w 981075"/>
                  <a:gd name="connsiteY27" fmla="*/ 795337 h 2835274"/>
                  <a:gd name="connsiteX28" fmla="*/ 403225 w 981075"/>
                  <a:gd name="connsiteY28" fmla="*/ 509587 h 2835274"/>
                  <a:gd name="connsiteX29" fmla="*/ 231775 w 981075"/>
                  <a:gd name="connsiteY29" fmla="*/ 395287 h 2835274"/>
                  <a:gd name="connsiteX30" fmla="*/ 422275 w 981075"/>
                  <a:gd name="connsiteY30" fmla="*/ 433387 h 2835274"/>
                  <a:gd name="connsiteX31" fmla="*/ 450850 w 981075"/>
                  <a:gd name="connsiteY31" fmla="*/ 395287 h 2835274"/>
                  <a:gd name="connsiteX32" fmla="*/ 479425 w 981075"/>
                  <a:gd name="connsiteY32" fmla="*/ 4762 h 2835274"/>
                  <a:gd name="connsiteX0" fmla="*/ 479425 w 981075"/>
                  <a:gd name="connsiteY0" fmla="*/ 3969 h 2834481"/>
                  <a:gd name="connsiteX1" fmla="*/ 498475 w 981075"/>
                  <a:gd name="connsiteY1" fmla="*/ 365919 h 2834481"/>
                  <a:gd name="connsiteX2" fmla="*/ 584200 w 981075"/>
                  <a:gd name="connsiteY2" fmla="*/ 420687 h 2834481"/>
                  <a:gd name="connsiteX3" fmla="*/ 681832 w 981075"/>
                  <a:gd name="connsiteY3" fmla="*/ 392113 h 2834481"/>
                  <a:gd name="connsiteX4" fmla="*/ 650875 w 981075"/>
                  <a:gd name="connsiteY4" fmla="*/ 756444 h 2834481"/>
                  <a:gd name="connsiteX5" fmla="*/ 698500 w 981075"/>
                  <a:gd name="connsiteY5" fmla="*/ 1404144 h 2834481"/>
                  <a:gd name="connsiteX6" fmla="*/ 841375 w 981075"/>
                  <a:gd name="connsiteY6" fmla="*/ 1747044 h 2834481"/>
                  <a:gd name="connsiteX7" fmla="*/ 917575 w 981075"/>
                  <a:gd name="connsiteY7" fmla="*/ 2204244 h 2834481"/>
                  <a:gd name="connsiteX8" fmla="*/ 936625 w 981075"/>
                  <a:gd name="connsiteY8" fmla="*/ 2413794 h 2834481"/>
                  <a:gd name="connsiteX9" fmla="*/ 965200 w 981075"/>
                  <a:gd name="connsiteY9" fmla="*/ 2499519 h 2834481"/>
                  <a:gd name="connsiteX10" fmla="*/ 841375 w 981075"/>
                  <a:gd name="connsiteY10" fmla="*/ 2575719 h 2834481"/>
                  <a:gd name="connsiteX11" fmla="*/ 693738 w 981075"/>
                  <a:gd name="connsiteY11" fmla="*/ 1823244 h 2834481"/>
                  <a:gd name="connsiteX12" fmla="*/ 567531 w 981075"/>
                  <a:gd name="connsiteY12" fmla="*/ 799306 h 2834481"/>
                  <a:gd name="connsiteX13" fmla="*/ 515144 w 981075"/>
                  <a:gd name="connsiteY13" fmla="*/ 561181 h 2834481"/>
                  <a:gd name="connsiteX14" fmla="*/ 460375 w 981075"/>
                  <a:gd name="connsiteY14" fmla="*/ 994569 h 2834481"/>
                  <a:gd name="connsiteX15" fmla="*/ 415131 w 981075"/>
                  <a:gd name="connsiteY15" fmla="*/ 1432719 h 2834481"/>
                  <a:gd name="connsiteX16" fmla="*/ 429419 w 981075"/>
                  <a:gd name="connsiteY16" fmla="*/ 1870869 h 2834481"/>
                  <a:gd name="connsiteX17" fmla="*/ 450850 w 981075"/>
                  <a:gd name="connsiteY17" fmla="*/ 2423319 h 2834481"/>
                  <a:gd name="connsiteX18" fmla="*/ 412750 w 981075"/>
                  <a:gd name="connsiteY18" fmla="*/ 2699544 h 2834481"/>
                  <a:gd name="connsiteX19" fmla="*/ 403225 w 981075"/>
                  <a:gd name="connsiteY19" fmla="*/ 2766219 h 2834481"/>
                  <a:gd name="connsiteX20" fmla="*/ 165100 w 981075"/>
                  <a:gd name="connsiteY20" fmla="*/ 2832894 h 2834481"/>
                  <a:gd name="connsiteX21" fmla="*/ 22225 w 981075"/>
                  <a:gd name="connsiteY21" fmla="*/ 2756694 h 2834481"/>
                  <a:gd name="connsiteX22" fmla="*/ 22225 w 981075"/>
                  <a:gd name="connsiteY22" fmla="*/ 2337594 h 2834481"/>
                  <a:gd name="connsiteX23" fmla="*/ 12700 w 981075"/>
                  <a:gd name="connsiteY23" fmla="*/ 1775619 h 2834481"/>
                  <a:gd name="connsiteX24" fmla="*/ 98425 w 981075"/>
                  <a:gd name="connsiteY24" fmla="*/ 1680369 h 2834481"/>
                  <a:gd name="connsiteX25" fmla="*/ 193675 w 981075"/>
                  <a:gd name="connsiteY25" fmla="*/ 1623219 h 2834481"/>
                  <a:gd name="connsiteX26" fmla="*/ 269875 w 981075"/>
                  <a:gd name="connsiteY26" fmla="*/ 1366044 h 2834481"/>
                  <a:gd name="connsiteX27" fmla="*/ 374650 w 981075"/>
                  <a:gd name="connsiteY27" fmla="*/ 794544 h 2834481"/>
                  <a:gd name="connsiteX28" fmla="*/ 403225 w 981075"/>
                  <a:gd name="connsiteY28" fmla="*/ 508794 h 2834481"/>
                  <a:gd name="connsiteX29" fmla="*/ 231775 w 981075"/>
                  <a:gd name="connsiteY29" fmla="*/ 394494 h 2834481"/>
                  <a:gd name="connsiteX30" fmla="*/ 422275 w 981075"/>
                  <a:gd name="connsiteY30" fmla="*/ 432594 h 2834481"/>
                  <a:gd name="connsiteX31" fmla="*/ 453231 w 981075"/>
                  <a:gd name="connsiteY31" fmla="*/ 342107 h 2834481"/>
                  <a:gd name="connsiteX32" fmla="*/ 479425 w 981075"/>
                  <a:gd name="connsiteY32" fmla="*/ 3969 h 2834481"/>
                  <a:gd name="connsiteX0" fmla="*/ 479425 w 981075"/>
                  <a:gd name="connsiteY0" fmla="*/ 3969 h 2834481"/>
                  <a:gd name="connsiteX1" fmla="*/ 498475 w 981075"/>
                  <a:gd name="connsiteY1" fmla="*/ 365919 h 2834481"/>
                  <a:gd name="connsiteX2" fmla="*/ 584200 w 981075"/>
                  <a:gd name="connsiteY2" fmla="*/ 420687 h 2834481"/>
                  <a:gd name="connsiteX3" fmla="*/ 681832 w 981075"/>
                  <a:gd name="connsiteY3" fmla="*/ 392113 h 2834481"/>
                  <a:gd name="connsiteX4" fmla="*/ 650875 w 981075"/>
                  <a:gd name="connsiteY4" fmla="*/ 756444 h 2834481"/>
                  <a:gd name="connsiteX5" fmla="*/ 698500 w 981075"/>
                  <a:gd name="connsiteY5" fmla="*/ 1404144 h 2834481"/>
                  <a:gd name="connsiteX6" fmla="*/ 841375 w 981075"/>
                  <a:gd name="connsiteY6" fmla="*/ 1747044 h 2834481"/>
                  <a:gd name="connsiteX7" fmla="*/ 917575 w 981075"/>
                  <a:gd name="connsiteY7" fmla="*/ 2204244 h 2834481"/>
                  <a:gd name="connsiteX8" fmla="*/ 936625 w 981075"/>
                  <a:gd name="connsiteY8" fmla="*/ 2413794 h 2834481"/>
                  <a:gd name="connsiteX9" fmla="*/ 965200 w 981075"/>
                  <a:gd name="connsiteY9" fmla="*/ 2499519 h 2834481"/>
                  <a:gd name="connsiteX10" fmla="*/ 841375 w 981075"/>
                  <a:gd name="connsiteY10" fmla="*/ 2575719 h 2834481"/>
                  <a:gd name="connsiteX11" fmla="*/ 693738 w 981075"/>
                  <a:gd name="connsiteY11" fmla="*/ 1823244 h 2834481"/>
                  <a:gd name="connsiteX12" fmla="*/ 567531 w 981075"/>
                  <a:gd name="connsiteY12" fmla="*/ 799306 h 2834481"/>
                  <a:gd name="connsiteX13" fmla="*/ 515144 w 981075"/>
                  <a:gd name="connsiteY13" fmla="*/ 561181 h 2834481"/>
                  <a:gd name="connsiteX14" fmla="*/ 460375 w 981075"/>
                  <a:gd name="connsiteY14" fmla="*/ 994569 h 2834481"/>
                  <a:gd name="connsiteX15" fmla="*/ 415131 w 981075"/>
                  <a:gd name="connsiteY15" fmla="*/ 1432719 h 2834481"/>
                  <a:gd name="connsiteX16" fmla="*/ 429419 w 981075"/>
                  <a:gd name="connsiteY16" fmla="*/ 1870869 h 2834481"/>
                  <a:gd name="connsiteX17" fmla="*/ 450850 w 981075"/>
                  <a:gd name="connsiteY17" fmla="*/ 2423319 h 2834481"/>
                  <a:gd name="connsiteX18" fmla="*/ 412750 w 981075"/>
                  <a:gd name="connsiteY18" fmla="*/ 2699544 h 2834481"/>
                  <a:gd name="connsiteX19" fmla="*/ 403225 w 981075"/>
                  <a:gd name="connsiteY19" fmla="*/ 2766219 h 2834481"/>
                  <a:gd name="connsiteX20" fmla="*/ 165100 w 981075"/>
                  <a:gd name="connsiteY20" fmla="*/ 2832894 h 2834481"/>
                  <a:gd name="connsiteX21" fmla="*/ 22225 w 981075"/>
                  <a:gd name="connsiteY21" fmla="*/ 2756694 h 2834481"/>
                  <a:gd name="connsiteX22" fmla="*/ 22225 w 981075"/>
                  <a:gd name="connsiteY22" fmla="*/ 2337594 h 2834481"/>
                  <a:gd name="connsiteX23" fmla="*/ 12700 w 981075"/>
                  <a:gd name="connsiteY23" fmla="*/ 1775619 h 2834481"/>
                  <a:gd name="connsiteX24" fmla="*/ 98425 w 981075"/>
                  <a:gd name="connsiteY24" fmla="*/ 1680369 h 2834481"/>
                  <a:gd name="connsiteX25" fmla="*/ 193675 w 981075"/>
                  <a:gd name="connsiteY25" fmla="*/ 1623219 h 2834481"/>
                  <a:gd name="connsiteX26" fmla="*/ 269875 w 981075"/>
                  <a:gd name="connsiteY26" fmla="*/ 1366044 h 2834481"/>
                  <a:gd name="connsiteX27" fmla="*/ 374650 w 981075"/>
                  <a:gd name="connsiteY27" fmla="*/ 794544 h 2834481"/>
                  <a:gd name="connsiteX28" fmla="*/ 342265 w 981075"/>
                  <a:gd name="connsiteY28" fmla="*/ 508794 h 2834481"/>
                  <a:gd name="connsiteX29" fmla="*/ 231775 w 981075"/>
                  <a:gd name="connsiteY29" fmla="*/ 394494 h 2834481"/>
                  <a:gd name="connsiteX30" fmla="*/ 422275 w 981075"/>
                  <a:gd name="connsiteY30" fmla="*/ 432594 h 2834481"/>
                  <a:gd name="connsiteX31" fmla="*/ 453231 w 981075"/>
                  <a:gd name="connsiteY31" fmla="*/ 342107 h 2834481"/>
                  <a:gd name="connsiteX32" fmla="*/ 479425 w 981075"/>
                  <a:gd name="connsiteY32" fmla="*/ 3969 h 2834481"/>
                  <a:gd name="connsiteX0" fmla="*/ 479425 w 981075"/>
                  <a:gd name="connsiteY0" fmla="*/ 3969 h 2834481"/>
                  <a:gd name="connsiteX1" fmla="*/ 498475 w 981075"/>
                  <a:gd name="connsiteY1" fmla="*/ 365919 h 2834481"/>
                  <a:gd name="connsiteX2" fmla="*/ 584200 w 981075"/>
                  <a:gd name="connsiteY2" fmla="*/ 420687 h 2834481"/>
                  <a:gd name="connsiteX3" fmla="*/ 681832 w 981075"/>
                  <a:gd name="connsiteY3" fmla="*/ 392113 h 2834481"/>
                  <a:gd name="connsiteX4" fmla="*/ 650875 w 981075"/>
                  <a:gd name="connsiteY4" fmla="*/ 756444 h 2834481"/>
                  <a:gd name="connsiteX5" fmla="*/ 698500 w 981075"/>
                  <a:gd name="connsiteY5" fmla="*/ 1404144 h 2834481"/>
                  <a:gd name="connsiteX6" fmla="*/ 841375 w 981075"/>
                  <a:gd name="connsiteY6" fmla="*/ 1747044 h 2834481"/>
                  <a:gd name="connsiteX7" fmla="*/ 917575 w 981075"/>
                  <a:gd name="connsiteY7" fmla="*/ 2204244 h 2834481"/>
                  <a:gd name="connsiteX8" fmla="*/ 936625 w 981075"/>
                  <a:gd name="connsiteY8" fmla="*/ 2413794 h 2834481"/>
                  <a:gd name="connsiteX9" fmla="*/ 965200 w 981075"/>
                  <a:gd name="connsiteY9" fmla="*/ 2499519 h 2834481"/>
                  <a:gd name="connsiteX10" fmla="*/ 841375 w 981075"/>
                  <a:gd name="connsiteY10" fmla="*/ 2575719 h 2834481"/>
                  <a:gd name="connsiteX11" fmla="*/ 693738 w 981075"/>
                  <a:gd name="connsiteY11" fmla="*/ 1823244 h 2834481"/>
                  <a:gd name="connsiteX12" fmla="*/ 567531 w 981075"/>
                  <a:gd name="connsiteY12" fmla="*/ 799306 h 2834481"/>
                  <a:gd name="connsiteX13" fmla="*/ 515144 w 981075"/>
                  <a:gd name="connsiteY13" fmla="*/ 561181 h 2834481"/>
                  <a:gd name="connsiteX14" fmla="*/ 460375 w 981075"/>
                  <a:gd name="connsiteY14" fmla="*/ 994569 h 2834481"/>
                  <a:gd name="connsiteX15" fmla="*/ 415131 w 981075"/>
                  <a:gd name="connsiteY15" fmla="*/ 1432719 h 2834481"/>
                  <a:gd name="connsiteX16" fmla="*/ 429419 w 981075"/>
                  <a:gd name="connsiteY16" fmla="*/ 1870869 h 2834481"/>
                  <a:gd name="connsiteX17" fmla="*/ 450850 w 981075"/>
                  <a:gd name="connsiteY17" fmla="*/ 2423319 h 2834481"/>
                  <a:gd name="connsiteX18" fmla="*/ 412750 w 981075"/>
                  <a:gd name="connsiteY18" fmla="*/ 2699544 h 2834481"/>
                  <a:gd name="connsiteX19" fmla="*/ 403225 w 981075"/>
                  <a:gd name="connsiteY19" fmla="*/ 2766219 h 2834481"/>
                  <a:gd name="connsiteX20" fmla="*/ 165100 w 981075"/>
                  <a:gd name="connsiteY20" fmla="*/ 2832894 h 2834481"/>
                  <a:gd name="connsiteX21" fmla="*/ 22225 w 981075"/>
                  <a:gd name="connsiteY21" fmla="*/ 2756694 h 2834481"/>
                  <a:gd name="connsiteX22" fmla="*/ 22225 w 981075"/>
                  <a:gd name="connsiteY22" fmla="*/ 2337594 h 2834481"/>
                  <a:gd name="connsiteX23" fmla="*/ 12700 w 981075"/>
                  <a:gd name="connsiteY23" fmla="*/ 1775619 h 2834481"/>
                  <a:gd name="connsiteX24" fmla="*/ 98425 w 981075"/>
                  <a:gd name="connsiteY24" fmla="*/ 1680369 h 2834481"/>
                  <a:gd name="connsiteX25" fmla="*/ 193675 w 981075"/>
                  <a:gd name="connsiteY25" fmla="*/ 1623219 h 2834481"/>
                  <a:gd name="connsiteX26" fmla="*/ 269875 w 981075"/>
                  <a:gd name="connsiteY26" fmla="*/ 1366044 h 2834481"/>
                  <a:gd name="connsiteX27" fmla="*/ 345621 w 981075"/>
                  <a:gd name="connsiteY27" fmla="*/ 794544 h 2834481"/>
                  <a:gd name="connsiteX28" fmla="*/ 342265 w 981075"/>
                  <a:gd name="connsiteY28" fmla="*/ 508794 h 2834481"/>
                  <a:gd name="connsiteX29" fmla="*/ 231775 w 981075"/>
                  <a:gd name="connsiteY29" fmla="*/ 394494 h 2834481"/>
                  <a:gd name="connsiteX30" fmla="*/ 422275 w 981075"/>
                  <a:gd name="connsiteY30" fmla="*/ 432594 h 2834481"/>
                  <a:gd name="connsiteX31" fmla="*/ 453231 w 981075"/>
                  <a:gd name="connsiteY31" fmla="*/ 342107 h 2834481"/>
                  <a:gd name="connsiteX32" fmla="*/ 479425 w 981075"/>
                  <a:gd name="connsiteY32" fmla="*/ 3969 h 2834481"/>
                  <a:gd name="connsiteX0" fmla="*/ 479425 w 981075"/>
                  <a:gd name="connsiteY0" fmla="*/ 3969 h 2834481"/>
                  <a:gd name="connsiteX1" fmla="*/ 498475 w 981075"/>
                  <a:gd name="connsiteY1" fmla="*/ 365919 h 2834481"/>
                  <a:gd name="connsiteX2" fmla="*/ 584200 w 981075"/>
                  <a:gd name="connsiteY2" fmla="*/ 420687 h 2834481"/>
                  <a:gd name="connsiteX3" fmla="*/ 681832 w 981075"/>
                  <a:gd name="connsiteY3" fmla="*/ 392113 h 2834481"/>
                  <a:gd name="connsiteX4" fmla="*/ 650875 w 981075"/>
                  <a:gd name="connsiteY4" fmla="*/ 756444 h 2834481"/>
                  <a:gd name="connsiteX5" fmla="*/ 698500 w 981075"/>
                  <a:gd name="connsiteY5" fmla="*/ 1404144 h 2834481"/>
                  <a:gd name="connsiteX6" fmla="*/ 841375 w 981075"/>
                  <a:gd name="connsiteY6" fmla="*/ 1747044 h 2834481"/>
                  <a:gd name="connsiteX7" fmla="*/ 917575 w 981075"/>
                  <a:gd name="connsiteY7" fmla="*/ 2204244 h 2834481"/>
                  <a:gd name="connsiteX8" fmla="*/ 936625 w 981075"/>
                  <a:gd name="connsiteY8" fmla="*/ 2413794 h 2834481"/>
                  <a:gd name="connsiteX9" fmla="*/ 965200 w 981075"/>
                  <a:gd name="connsiteY9" fmla="*/ 2499519 h 2834481"/>
                  <a:gd name="connsiteX10" fmla="*/ 841375 w 981075"/>
                  <a:gd name="connsiteY10" fmla="*/ 2575719 h 2834481"/>
                  <a:gd name="connsiteX11" fmla="*/ 693738 w 981075"/>
                  <a:gd name="connsiteY11" fmla="*/ 1823244 h 2834481"/>
                  <a:gd name="connsiteX12" fmla="*/ 567531 w 981075"/>
                  <a:gd name="connsiteY12" fmla="*/ 799306 h 2834481"/>
                  <a:gd name="connsiteX13" fmla="*/ 515144 w 981075"/>
                  <a:gd name="connsiteY13" fmla="*/ 561181 h 2834481"/>
                  <a:gd name="connsiteX14" fmla="*/ 460375 w 981075"/>
                  <a:gd name="connsiteY14" fmla="*/ 994569 h 2834481"/>
                  <a:gd name="connsiteX15" fmla="*/ 415131 w 981075"/>
                  <a:gd name="connsiteY15" fmla="*/ 1432719 h 2834481"/>
                  <a:gd name="connsiteX16" fmla="*/ 429419 w 981075"/>
                  <a:gd name="connsiteY16" fmla="*/ 1870869 h 2834481"/>
                  <a:gd name="connsiteX17" fmla="*/ 450850 w 981075"/>
                  <a:gd name="connsiteY17" fmla="*/ 2423319 h 2834481"/>
                  <a:gd name="connsiteX18" fmla="*/ 412750 w 981075"/>
                  <a:gd name="connsiteY18" fmla="*/ 2699544 h 2834481"/>
                  <a:gd name="connsiteX19" fmla="*/ 403225 w 981075"/>
                  <a:gd name="connsiteY19" fmla="*/ 2766219 h 2834481"/>
                  <a:gd name="connsiteX20" fmla="*/ 165100 w 981075"/>
                  <a:gd name="connsiteY20" fmla="*/ 2832894 h 2834481"/>
                  <a:gd name="connsiteX21" fmla="*/ 22225 w 981075"/>
                  <a:gd name="connsiteY21" fmla="*/ 2756694 h 2834481"/>
                  <a:gd name="connsiteX22" fmla="*/ 22225 w 981075"/>
                  <a:gd name="connsiteY22" fmla="*/ 2337594 h 2834481"/>
                  <a:gd name="connsiteX23" fmla="*/ 12700 w 981075"/>
                  <a:gd name="connsiteY23" fmla="*/ 1775619 h 2834481"/>
                  <a:gd name="connsiteX24" fmla="*/ 98425 w 981075"/>
                  <a:gd name="connsiteY24" fmla="*/ 1680369 h 2834481"/>
                  <a:gd name="connsiteX25" fmla="*/ 193675 w 981075"/>
                  <a:gd name="connsiteY25" fmla="*/ 1623219 h 2834481"/>
                  <a:gd name="connsiteX26" fmla="*/ 269875 w 981075"/>
                  <a:gd name="connsiteY26" fmla="*/ 1366044 h 2834481"/>
                  <a:gd name="connsiteX27" fmla="*/ 328204 w 981075"/>
                  <a:gd name="connsiteY27" fmla="*/ 794544 h 2834481"/>
                  <a:gd name="connsiteX28" fmla="*/ 342265 w 981075"/>
                  <a:gd name="connsiteY28" fmla="*/ 508794 h 2834481"/>
                  <a:gd name="connsiteX29" fmla="*/ 231775 w 981075"/>
                  <a:gd name="connsiteY29" fmla="*/ 394494 h 2834481"/>
                  <a:gd name="connsiteX30" fmla="*/ 422275 w 981075"/>
                  <a:gd name="connsiteY30" fmla="*/ 432594 h 2834481"/>
                  <a:gd name="connsiteX31" fmla="*/ 453231 w 981075"/>
                  <a:gd name="connsiteY31" fmla="*/ 342107 h 2834481"/>
                  <a:gd name="connsiteX32" fmla="*/ 479425 w 981075"/>
                  <a:gd name="connsiteY32" fmla="*/ 3969 h 2834481"/>
                  <a:gd name="connsiteX0" fmla="*/ 479425 w 981075"/>
                  <a:gd name="connsiteY0" fmla="*/ 3969 h 2834481"/>
                  <a:gd name="connsiteX1" fmla="*/ 498475 w 981075"/>
                  <a:gd name="connsiteY1" fmla="*/ 365919 h 2834481"/>
                  <a:gd name="connsiteX2" fmla="*/ 584200 w 981075"/>
                  <a:gd name="connsiteY2" fmla="*/ 420687 h 2834481"/>
                  <a:gd name="connsiteX3" fmla="*/ 681832 w 981075"/>
                  <a:gd name="connsiteY3" fmla="*/ 392113 h 2834481"/>
                  <a:gd name="connsiteX4" fmla="*/ 650875 w 981075"/>
                  <a:gd name="connsiteY4" fmla="*/ 756444 h 2834481"/>
                  <a:gd name="connsiteX5" fmla="*/ 698500 w 981075"/>
                  <a:gd name="connsiteY5" fmla="*/ 1404144 h 2834481"/>
                  <a:gd name="connsiteX6" fmla="*/ 841375 w 981075"/>
                  <a:gd name="connsiteY6" fmla="*/ 1747044 h 2834481"/>
                  <a:gd name="connsiteX7" fmla="*/ 917575 w 981075"/>
                  <a:gd name="connsiteY7" fmla="*/ 2204244 h 2834481"/>
                  <a:gd name="connsiteX8" fmla="*/ 936625 w 981075"/>
                  <a:gd name="connsiteY8" fmla="*/ 2413794 h 2834481"/>
                  <a:gd name="connsiteX9" fmla="*/ 965200 w 981075"/>
                  <a:gd name="connsiteY9" fmla="*/ 2499519 h 2834481"/>
                  <a:gd name="connsiteX10" fmla="*/ 841375 w 981075"/>
                  <a:gd name="connsiteY10" fmla="*/ 2575719 h 2834481"/>
                  <a:gd name="connsiteX11" fmla="*/ 693738 w 981075"/>
                  <a:gd name="connsiteY11" fmla="*/ 1823244 h 2834481"/>
                  <a:gd name="connsiteX12" fmla="*/ 567531 w 981075"/>
                  <a:gd name="connsiteY12" fmla="*/ 799306 h 2834481"/>
                  <a:gd name="connsiteX13" fmla="*/ 515144 w 981075"/>
                  <a:gd name="connsiteY13" fmla="*/ 561181 h 2834481"/>
                  <a:gd name="connsiteX14" fmla="*/ 460375 w 981075"/>
                  <a:gd name="connsiteY14" fmla="*/ 994569 h 2834481"/>
                  <a:gd name="connsiteX15" fmla="*/ 415131 w 981075"/>
                  <a:gd name="connsiteY15" fmla="*/ 1432719 h 2834481"/>
                  <a:gd name="connsiteX16" fmla="*/ 429419 w 981075"/>
                  <a:gd name="connsiteY16" fmla="*/ 1870869 h 2834481"/>
                  <a:gd name="connsiteX17" fmla="*/ 450850 w 981075"/>
                  <a:gd name="connsiteY17" fmla="*/ 2423319 h 2834481"/>
                  <a:gd name="connsiteX18" fmla="*/ 412750 w 981075"/>
                  <a:gd name="connsiteY18" fmla="*/ 2699544 h 2834481"/>
                  <a:gd name="connsiteX19" fmla="*/ 403225 w 981075"/>
                  <a:gd name="connsiteY19" fmla="*/ 2766219 h 2834481"/>
                  <a:gd name="connsiteX20" fmla="*/ 165100 w 981075"/>
                  <a:gd name="connsiteY20" fmla="*/ 2832894 h 2834481"/>
                  <a:gd name="connsiteX21" fmla="*/ 22225 w 981075"/>
                  <a:gd name="connsiteY21" fmla="*/ 2756694 h 2834481"/>
                  <a:gd name="connsiteX22" fmla="*/ 22225 w 981075"/>
                  <a:gd name="connsiteY22" fmla="*/ 2337594 h 2834481"/>
                  <a:gd name="connsiteX23" fmla="*/ 12700 w 981075"/>
                  <a:gd name="connsiteY23" fmla="*/ 1775619 h 2834481"/>
                  <a:gd name="connsiteX24" fmla="*/ 98425 w 981075"/>
                  <a:gd name="connsiteY24" fmla="*/ 1680369 h 2834481"/>
                  <a:gd name="connsiteX25" fmla="*/ 193675 w 981075"/>
                  <a:gd name="connsiteY25" fmla="*/ 1623219 h 2834481"/>
                  <a:gd name="connsiteX26" fmla="*/ 269875 w 981075"/>
                  <a:gd name="connsiteY26" fmla="*/ 1366044 h 2834481"/>
                  <a:gd name="connsiteX27" fmla="*/ 328204 w 981075"/>
                  <a:gd name="connsiteY27" fmla="*/ 794544 h 2834481"/>
                  <a:gd name="connsiteX28" fmla="*/ 327751 w 981075"/>
                  <a:gd name="connsiteY28" fmla="*/ 508794 h 2834481"/>
                  <a:gd name="connsiteX29" fmla="*/ 231775 w 981075"/>
                  <a:gd name="connsiteY29" fmla="*/ 394494 h 2834481"/>
                  <a:gd name="connsiteX30" fmla="*/ 422275 w 981075"/>
                  <a:gd name="connsiteY30" fmla="*/ 432594 h 2834481"/>
                  <a:gd name="connsiteX31" fmla="*/ 453231 w 981075"/>
                  <a:gd name="connsiteY31" fmla="*/ 342107 h 2834481"/>
                  <a:gd name="connsiteX32" fmla="*/ 479425 w 981075"/>
                  <a:gd name="connsiteY32" fmla="*/ 3969 h 2834481"/>
                  <a:gd name="connsiteX0" fmla="*/ 479425 w 981075"/>
                  <a:gd name="connsiteY0" fmla="*/ 3969 h 2834481"/>
                  <a:gd name="connsiteX1" fmla="*/ 498475 w 981075"/>
                  <a:gd name="connsiteY1" fmla="*/ 365919 h 2834481"/>
                  <a:gd name="connsiteX2" fmla="*/ 584200 w 981075"/>
                  <a:gd name="connsiteY2" fmla="*/ 420687 h 2834481"/>
                  <a:gd name="connsiteX3" fmla="*/ 681832 w 981075"/>
                  <a:gd name="connsiteY3" fmla="*/ 392113 h 2834481"/>
                  <a:gd name="connsiteX4" fmla="*/ 650875 w 981075"/>
                  <a:gd name="connsiteY4" fmla="*/ 756444 h 2834481"/>
                  <a:gd name="connsiteX5" fmla="*/ 698500 w 981075"/>
                  <a:gd name="connsiteY5" fmla="*/ 1404144 h 2834481"/>
                  <a:gd name="connsiteX6" fmla="*/ 841375 w 981075"/>
                  <a:gd name="connsiteY6" fmla="*/ 1747044 h 2834481"/>
                  <a:gd name="connsiteX7" fmla="*/ 917575 w 981075"/>
                  <a:gd name="connsiteY7" fmla="*/ 2204244 h 2834481"/>
                  <a:gd name="connsiteX8" fmla="*/ 936625 w 981075"/>
                  <a:gd name="connsiteY8" fmla="*/ 2413794 h 2834481"/>
                  <a:gd name="connsiteX9" fmla="*/ 965200 w 981075"/>
                  <a:gd name="connsiteY9" fmla="*/ 2499519 h 2834481"/>
                  <a:gd name="connsiteX10" fmla="*/ 841375 w 981075"/>
                  <a:gd name="connsiteY10" fmla="*/ 2575719 h 2834481"/>
                  <a:gd name="connsiteX11" fmla="*/ 693738 w 981075"/>
                  <a:gd name="connsiteY11" fmla="*/ 1823244 h 2834481"/>
                  <a:gd name="connsiteX12" fmla="*/ 567531 w 981075"/>
                  <a:gd name="connsiteY12" fmla="*/ 799306 h 2834481"/>
                  <a:gd name="connsiteX13" fmla="*/ 515144 w 981075"/>
                  <a:gd name="connsiteY13" fmla="*/ 561181 h 2834481"/>
                  <a:gd name="connsiteX14" fmla="*/ 460375 w 981075"/>
                  <a:gd name="connsiteY14" fmla="*/ 994569 h 2834481"/>
                  <a:gd name="connsiteX15" fmla="*/ 415131 w 981075"/>
                  <a:gd name="connsiteY15" fmla="*/ 1432719 h 2834481"/>
                  <a:gd name="connsiteX16" fmla="*/ 429419 w 981075"/>
                  <a:gd name="connsiteY16" fmla="*/ 1870869 h 2834481"/>
                  <a:gd name="connsiteX17" fmla="*/ 450850 w 981075"/>
                  <a:gd name="connsiteY17" fmla="*/ 2423319 h 2834481"/>
                  <a:gd name="connsiteX18" fmla="*/ 412750 w 981075"/>
                  <a:gd name="connsiteY18" fmla="*/ 2699544 h 2834481"/>
                  <a:gd name="connsiteX19" fmla="*/ 403225 w 981075"/>
                  <a:gd name="connsiteY19" fmla="*/ 2766219 h 2834481"/>
                  <a:gd name="connsiteX20" fmla="*/ 165100 w 981075"/>
                  <a:gd name="connsiteY20" fmla="*/ 2832894 h 2834481"/>
                  <a:gd name="connsiteX21" fmla="*/ 22225 w 981075"/>
                  <a:gd name="connsiteY21" fmla="*/ 2756694 h 2834481"/>
                  <a:gd name="connsiteX22" fmla="*/ 22225 w 981075"/>
                  <a:gd name="connsiteY22" fmla="*/ 2337594 h 2834481"/>
                  <a:gd name="connsiteX23" fmla="*/ 12700 w 981075"/>
                  <a:gd name="connsiteY23" fmla="*/ 1775619 h 2834481"/>
                  <a:gd name="connsiteX24" fmla="*/ 98425 w 981075"/>
                  <a:gd name="connsiteY24" fmla="*/ 1680369 h 2834481"/>
                  <a:gd name="connsiteX25" fmla="*/ 193675 w 981075"/>
                  <a:gd name="connsiteY25" fmla="*/ 1623219 h 2834481"/>
                  <a:gd name="connsiteX26" fmla="*/ 287292 w 981075"/>
                  <a:gd name="connsiteY26" fmla="*/ 1368947 h 2834481"/>
                  <a:gd name="connsiteX27" fmla="*/ 328204 w 981075"/>
                  <a:gd name="connsiteY27" fmla="*/ 794544 h 2834481"/>
                  <a:gd name="connsiteX28" fmla="*/ 327751 w 981075"/>
                  <a:gd name="connsiteY28" fmla="*/ 508794 h 2834481"/>
                  <a:gd name="connsiteX29" fmla="*/ 231775 w 981075"/>
                  <a:gd name="connsiteY29" fmla="*/ 394494 h 2834481"/>
                  <a:gd name="connsiteX30" fmla="*/ 422275 w 981075"/>
                  <a:gd name="connsiteY30" fmla="*/ 432594 h 2834481"/>
                  <a:gd name="connsiteX31" fmla="*/ 453231 w 981075"/>
                  <a:gd name="connsiteY31" fmla="*/ 342107 h 2834481"/>
                  <a:gd name="connsiteX32" fmla="*/ 479425 w 981075"/>
                  <a:gd name="connsiteY32" fmla="*/ 3969 h 2834481"/>
                  <a:gd name="connsiteX0" fmla="*/ 479425 w 981075"/>
                  <a:gd name="connsiteY0" fmla="*/ 3969 h 2834481"/>
                  <a:gd name="connsiteX1" fmla="*/ 469900 w 981075"/>
                  <a:gd name="connsiteY1" fmla="*/ 365919 h 2834481"/>
                  <a:gd name="connsiteX2" fmla="*/ 584200 w 981075"/>
                  <a:gd name="connsiteY2" fmla="*/ 420687 h 2834481"/>
                  <a:gd name="connsiteX3" fmla="*/ 681832 w 981075"/>
                  <a:gd name="connsiteY3" fmla="*/ 392113 h 2834481"/>
                  <a:gd name="connsiteX4" fmla="*/ 650875 w 981075"/>
                  <a:gd name="connsiteY4" fmla="*/ 756444 h 2834481"/>
                  <a:gd name="connsiteX5" fmla="*/ 698500 w 981075"/>
                  <a:gd name="connsiteY5" fmla="*/ 1404144 h 2834481"/>
                  <a:gd name="connsiteX6" fmla="*/ 841375 w 981075"/>
                  <a:gd name="connsiteY6" fmla="*/ 1747044 h 2834481"/>
                  <a:gd name="connsiteX7" fmla="*/ 917575 w 981075"/>
                  <a:gd name="connsiteY7" fmla="*/ 2204244 h 2834481"/>
                  <a:gd name="connsiteX8" fmla="*/ 936625 w 981075"/>
                  <a:gd name="connsiteY8" fmla="*/ 2413794 h 2834481"/>
                  <a:gd name="connsiteX9" fmla="*/ 965200 w 981075"/>
                  <a:gd name="connsiteY9" fmla="*/ 2499519 h 2834481"/>
                  <a:gd name="connsiteX10" fmla="*/ 841375 w 981075"/>
                  <a:gd name="connsiteY10" fmla="*/ 2575719 h 2834481"/>
                  <a:gd name="connsiteX11" fmla="*/ 693738 w 981075"/>
                  <a:gd name="connsiteY11" fmla="*/ 1823244 h 2834481"/>
                  <a:gd name="connsiteX12" fmla="*/ 567531 w 981075"/>
                  <a:gd name="connsiteY12" fmla="*/ 799306 h 2834481"/>
                  <a:gd name="connsiteX13" fmla="*/ 515144 w 981075"/>
                  <a:gd name="connsiteY13" fmla="*/ 561181 h 2834481"/>
                  <a:gd name="connsiteX14" fmla="*/ 460375 w 981075"/>
                  <a:gd name="connsiteY14" fmla="*/ 994569 h 2834481"/>
                  <a:gd name="connsiteX15" fmla="*/ 415131 w 981075"/>
                  <a:gd name="connsiteY15" fmla="*/ 1432719 h 2834481"/>
                  <a:gd name="connsiteX16" fmla="*/ 429419 w 981075"/>
                  <a:gd name="connsiteY16" fmla="*/ 1870869 h 2834481"/>
                  <a:gd name="connsiteX17" fmla="*/ 450850 w 981075"/>
                  <a:gd name="connsiteY17" fmla="*/ 2423319 h 2834481"/>
                  <a:gd name="connsiteX18" fmla="*/ 412750 w 981075"/>
                  <a:gd name="connsiteY18" fmla="*/ 2699544 h 2834481"/>
                  <a:gd name="connsiteX19" fmla="*/ 403225 w 981075"/>
                  <a:gd name="connsiteY19" fmla="*/ 2766219 h 2834481"/>
                  <a:gd name="connsiteX20" fmla="*/ 165100 w 981075"/>
                  <a:gd name="connsiteY20" fmla="*/ 2832894 h 2834481"/>
                  <a:gd name="connsiteX21" fmla="*/ 22225 w 981075"/>
                  <a:gd name="connsiteY21" fmla="*/ 2756694 h 2834481"/>
                  <a:gd name="connsiteX22" fmla="*/ 22225 w 981075"/>
                  <a:gd name="connsiteY22" fmla="*/ 2337594 h 2834481"/>
                  <a:gd name="connsiteX23" fmla="*/ 12700 w 981075"/>
                  <a:gd name="connsiteY23" fmla="*/ 1775619 h 2834481"/>
                  <a:gd name="connsiteX24" fmla="*/ 98425 w 981075"/>
                  <a:gd name="connsiteY24" fmla="*/ 1680369 h 2834481"/>
                  <a:gd name="connsiteX25" fmla="*/ 193675 w 981075"/>
                  <a:gd name="connsiteY25" fmla="*/ 1623219 h 2834481"/>
                  <a:gd name="connsiteX26" fmla="*/ 287292 w 981075"/>
                  <a:gd name="connsiteY26" fmla="*/ 1368947 h 2834481"/>
                  <a:gd name="connsiteX27" fmla="*/ 328204 w 981075"/>
                  <a:gd name="connsiteY27" fmla="*/ 794544 h 2834481"/>
                  <a:gd name="connsiteX28" fmla="*/ 327751 w 981075"/>
                  <a:gd name="connsiteY28" fmla="*/ 508794 h 2834481"/>
                  <a:gd name="connsiteX29" fmla="*/ 231775 w 981075"/>
                  <a:gd name="connsiteY29" fmla="*/ 394494 h 2834481"/>
                  <a:gd name="connsiteX30" fmla="*/ 422275 w 981075"/>
                  <a:gd name="connsiteY30" fmla="*/ 432594 h 2834481"/>
                  <a:gd name="connsiteX31" fmla="*/ 453231 w 981075"/>
                  <a:gd name="connsiteY31" fmla="*/ 342107 h 2834481"/>
                  <a:gd name="connsiteX32" fmla="*/ 479425 w 981075"/>
                  <a:gd name="connsiteY32" fmla="*/ 3969 h 2834481"/>
                  <a:gd name="connsiteX0" fmla="*/ 462757 w 981075"/>
                  <a:gd name="connsiteY0" fmla="*/ 3969 h 2836863"/>
                  <a:gd name="connsiteX1" fmla="*/ 469900 w 981075"/>
                  <a:gd name="connsiteY1" fmla="*/ 368301 h 2836863"/>
                  <a:gd name="connsiteX2" fmla="*/ 584200 w 981075"/>
                  <a:gd name="connsiteY2" fmla="*/ 423069 h 2836863"/>
                  <a:gd name="connsiteX3" fmla="*/ 681832 w 981075"/>
                  <a:gd name="connsiteY3" fmla="*/ 394495 h 2836863"/>
                  <a:gd name="connsiteX4" fmla="*/ 650875 w 981075"/>
                  <a:gd name="connsiteY4" fmla="*/ 758826 h 2836863"/>
                  <a:gd name="connsiteX5" fmla="*/ 698500 w 981075"/>
                  <a:gd name="connsiteY5" fmla="*/ 1406526 h 2836863"/>
                  <a:gd name="connsiteX6" fmla="*/ 841375 w 981075"/>
                  <a:gd name="connsiteY6" fmla="*/ 1749426 h 2836863"/>
                  <a:gd name="connsiteX7" fmla="*/ 917575 w 981075"/>
                  <a:gd name="connsiteY7" fmla="*/ 2206626 h 2836863"/>
                  <a:gd name="connsiteX8" fmla="*/ 936625 w 981075"/>
                  <a:gd name="connsiteY8" fmla="*/ 2416176 h 2836863"/>
                  <a:gd name="connsiteX9" fmla="*/ 965200 w 981075"/>
                  <a:gd name="connsiteY9" fmla="*/ 2501901 h 2836863"/>
                  <a:gd name="connsiteX10" fmla="*/ 841375 w 981075"/>
                  <a:gd name="connsiteY10" fmla="*/ 2578101 h 2836863"/>
                  <a:gd name="connsiteX11" fmla="*/ 693738 w 981075"/>
                  <a:gd name="connsiteY11" fmla="*/ 1825626 h 2836863"/>
                  <a:gd name="connsiteX12" fmla="*/ 567531 w 981075"/>
                  <a:gd name="connsiteY12" fmla="*/ 801688 h 2836863"/>
                  <a:gd name="connsiteX13" fmla="*/ 515144 w 981075"/>
                  <a:gd name="connsiteY13" fmla="*/ 563563 h 2836863"/>
                  <a:gd name="connsiteX14" fmla="*/ 460375 w 981075"/>
                  <a:gd name="connsiteY14" fmla="*/ 996951 h 2836863"/>
                  <a:gd name="connsiteX15" fmla="*/ 415131 w 981075"/>
                  <a:gd name="connsiteY15" fmla="*/ 1435101 h 2836863"/>
                  <a:gd name="connsiteX16" fmla="*/ 429419 w 981075"/>
                  <a:gd name="connsiteY16" fmla="*/ 1873251 h 2836863"/>
                  <a:gd name="connsiteX17" fmla="*/ 450850 w 981075"/>
                  <a:gd name="connsiteY17" fmla="*/ 2425701 h 2836863"/>
                  <a:gd name="connsiteX18" fmla="*/ 412750 w 981075"/>
                  <a:gd name="connsiteY18" fmla="*/ 2701926 h 2836863"/>
                  <a:gd name="connsiteX19" fmla="*/ 403225 w 981075"/>
                  <a:gd name="connsiteY19" fmla="*/ 2768601 h 2836863"/>
                  <a:gd name="connsiteX20" fmla="*/ 165100 w 981075"/>
                  <a:gd name="connsiteY20" fmla="*/ 2835276 h 2836863"/>
                  <a:gd name="connsiteX21" fmla="*/ 22225 w 981075"/>
                  <a:gd name="connsiteY21" fmla="*/ 2759076 h 2836863"/>
                  <a:gd name="connsiteX22" fmla="*/ 22225 w 981075"/>
                  <a:gd name="connsiteY22" fmla="*/ 2339976 h 2836863"/>
                  <a:gd name="connsiteX23" fmla="*/ 12700 w 981075"/>
                  <a:gd name="connsiteY23" fmla="*/ 1778001 h 2836863"/>
                  <a:gd name="connsiteX24" fmla="*/ 98425 w 981075"/>
                  <a:gd name="connsiteY24" fmla="*/ 1682751 h 2836863"/>
                  <a:gd name="connsiteX25" fmla="*/ 193675 w 981075"/>
                  <a:gd name="connsiteY25" fmla="*/ 1625601 h 2836863"/>
                  <a:gd name="connsiteX26" fmla="*/ 287292 w 981075"/>
                  <a:gd name="connsiteY26" fmla="*/ 1371329 h 2836863"/>
                  <a:gd name="connsiteX27" fmla="*/ 328204 w 981075"/>
                  <a:gd name="connsiteY27" fmla="*/ 796926 h 2836863"/>
                  <a:gd name="connsiteX28" fmla="*/ 327751 w 981075"/>
                  <a:gd name="connsiteY28" fmla="*/ 511176 h 2836863"/>
                  <a:gd name="connsiteX29" fmla="*/ 231775 w 981075"/>
                  <a:gd name="connsiteY29" fmla="*/ 396876 h 2836863"/>
                  <a:gd name="connsiteX30" fmla="*/ 422275 w 981075"/>
                  <a:gd name="connsiteY30" fmla="*/ 434976 h 2836863"/>
                  <a:gd name="connsiteX31" fmla="*/ 453231 w 981075"/>
                  <a:gd name="connsiteY31" fmla="*/ 344489 h 2836863"/>
                  <a:gd name="connsiteX32" fmla="*/ 462757 w 981075"/>
                  <a:gd name="connsiteY32" fmla="*/ 3969 h 2836863"/>
                  <a:gd name="connsiteX0" fmla="*/ 462757 w 981075"/>
                  <a:gd name="connsiteY0" fmla="*/ 3969 h 2836863"/>
                  <a:gd name="connsiteX1" fmla="*/ 469900 w 981075"/>
                  <a:gd name="connsiteY1" fmla="*/ 368301 h 2836863"/>
                  <a:gd name="connsiteX2" fmla="*/ 584200 w 981075"/>
                  <a:gd name="connsiteY2" fmla="*/ 423069 h 2836863"/>
                  <a:gd name="connsiteX3" fmla="*/ 681832 w 981075"/>
                  <a:gd name="connsiteY3" fmla="*/ 394495 h 2836863"/>
                  <a:gd name="connsiteX4" fmla="*/ 650875 w 981075"/>
                  <a:gd name="connsiteY4" fmla="*/ 758826 h 2836863"/>
                  <a:gd name="connsiteX5" fmla="*/ 698500 w 981075"/>
                  <a:gd name="connsiteY5" fmla="*/ 1406526 h 2836863"/>
                  <a:gd name="connsiteX6" fmla="*/ 841375 w 981075"/>
                  <a:gd name="connsiteY6" fmla="*/ 1749426 h 2836863"/>
                  <a:gd name="connsiteX7" fmla="*/ 917575 w 981075"/>
                  <a:gd name="connsiteY7" fmla="*/ 2206626 h 2836863"/>
                  <a:gd name="connsiteX8" fmla="*/ 936625 w 981075"/>
                  <a:gd name="connsiteY8" fmla="*/ 2416176 h 2836863"/>
                  <a:gd name="connsiteX9" fmla="*/ 965200 w 981075"/>
                  <a:gd name="connsiteY9" fmla="*/ 2501901 h 2836863"/>
                  <a:gd name="connsiteX10" fmla="*/ 841375 w 981075"/>
                  <a:gd name="connsiteY10" fmla="*/ 2578101 h 2836863"/>
                  <a:gd name="connsiteX11" fmla="*/ 693738 w 981075"/>
                  <a:gd name="connsiteY11" fmla="*/ 1825626 h 2836863"/>
                  <a:gd name="connsiteX12" fmla="*/ 567531 w 981075"/>
                  <a:gd name="connsiteY12" fmla="*/ 801688 h 2836863"/>
                  <a:gd name="connsiteX13" fmla="*/ 515144 w 981075"/>
                  <a:gd name="connsiteY13" fmla="*/ 563563 h 2836863"/>
                  <a:gd name="connsiteX14" fmla="*/ 460375 w 981075"/>
                  <a:gd name="connsiteY14" fmla="*/ 996951 h 2836863"/>
                  <a:gd name="connsiteX15" fmla="*/ 415131 w 981075"/>
                  <a:gd name="connsiteY15" fmla="*/ 1435101 h 2836863"/>
                  <a:gd name="connsiteX16" fmla="*/ 429419 w 981075"/>
                  <a:gd name="connsiteY16" fmla="*/ 1873251 h 2836863"/>
                  <a:gd name="connsiteX17" fmla="*/ 450850 w 981075"/>
                  <a:gd name="connsiteY17" fmla="*/ 2425701 h 2836863"/>
                  <a:gd name="connsiteX18" fmla="*/ 412750 w 981075"/>
                  <a:gd name="connsiteY18" fmla="*/ 2701926 h 2836863"/>
                  <a:gd name="connsiteX19" fmla="*/ 403225 w 981075"/>
                  <a:gd name="connsiteY19" fmla="*/ 2768601 h 2836863"/>
                  <a:gd name="connsiteX20" fmla="*/ 165100 w 981075"/>
                  <a:gd name="connsiteY20" fmla="*/ 2835276 h 2836863"/>
                  <a:gd name="connsiteX21" fmla="*/ 22225 w 981075"/>
                  <a:gd name="connsiteY21" fmla="*/ 2759076 h 2836863"/>
                  <a:gd name="connsiteX22" fmla="*/ 22225 w 981075"/>
                  <a:gd name="connsiteY22" fmla="*/ 2339976 h 2836863"/>
                  <a:gd name="connsiteX23" fmla="*/ 12700 w 981075"/>
                  <a:gd name="connsiteY23" fmla="*/ 1778001 h 2836863"/>
                  <a:gd name="connsiteX24" fmla="*/ 98425 w 981075"/>
                  <a:gd name="connsiteY24" fmla="*/ 1682751 h 2836863"/>
                  <a:gd name="connsiteX25" fmla="*/ 193675 w 981075"/>
                  <a:gd name="connsiteY25" fmla="*/ 1625601 h 2836863"/>
                  <a:gd name="connsiteX26" fmla="*/ 287292 w 981075"/>
                  <a:gd name="connsiteY26" fmla="*/ 1371329 h 2836863"/>
                  <a:gd name="connsiteX27" fmla="*/ 328204 w 981075"/>
                  <a:gd name="connsiteY27" fmla="*/ 796926 h 2836863"/>
                  <a:gd name="connsiteX28" fmla="*/ 327751 w 981075"/>
                  <a:gd name="connsiteY28" fmla="*/ 511176 h 2836863"/>
                  <a:gd name="connsiteX29" fmla="*/ 231775 w 981075"/>
                  <a:gd name="connsiteY29" fmla="*/ 396876 h 2836863"/>
                  <a:gd name="connsiteX30" fmla="*/ 422275 w 981075"/>
                  <a:gd name="connsiteY30" fmla="*/ 434976 h 2836863"/>
                  <a:gd name="connsiteX31" fmla="*/ 453231 w 981075"/>
                  <a:gd name="connsiteY31" fmla="*/ 344489 h 2836863"/>
                  <a:gd name="connsiteX32" fmla="*/ 462757 w 981075"/>
                  <a:gd name="connsiteY32" fmla="*/ 3969 h 2836863"/>
                  <a:gd name="connsiteX0" fmla="*/ 462757 w 981075"/>
                  <a:gd name="connsiteY0" fmla="*/ 3969 h 2836863"/>
                  <a:gd name="connsiteX1" fmla="*/ 469900 w 981075"/>
                  <a:gd name="connsiteY1" fmla="*/ 368301 h 2836863"/>
                  <a:gd name="connsiteX2" fmla="*/ 584200 w 981075"/>
                  <a:gd name="connsiteY2" fmla="*/ 423069 h 2836863"/>
                  <a:gd name="connsiteX3" fmla="*/ 681832 w 981075"/>
                  <a:gd name="connsiteY3" fmla="*/ 394495 h 2836863"/>
                  <a:gd name="connsiteX4" fmla="*/ 650875 w 981075"/>
                  <a:gd name="connsiteY4" fmla="*/ 758826 h 2836863"/>
                  <a:gd name="connsiteX5" fmla="*/ 698500 w 981075"/>
                  <a:gd name="connsiteY5" fmla="*/ 1406526 h 2836863"/>
                  <a:gd name="connsiteX6" fmla="*/ 841375 w 981075"/>
                  <a:gd name="connsiteY6" fmla="*/ 1749426 h 2836863"/>
                  <a:gd name="connsiteX7" fmla="*/ 917575 w 981075"/>
                  <a:gd name="connsiteY7" fmla="*/ 2206626 h 2836863"/>
                  <a:gd name="connsiteX8" fmla="*/ 936625 w 981075"/>
                  <a:gd name="connsiteY8" fmla="*/ 2416176 h 2836863"/>
                  <a:gd name="connsiteX9" fmla="*/ 965200 w 981075"/>
                  <a:gd name="connsiteY9" fmla="*/ 2501901 h 2836863"/>
                  <a:gd name="connsiteX10" fmla="*/ 841375 w 981075"/>
                  <a:gd name="connsiteY10" fmla="*/ 2578101 h 2836863"/>
                  <a:gd name="connsiteX11" fmla="*/ 693738 w 981075"/>
                  <a:gd name="connsiteY11" fmla="*/ 1825626 h 2836863"/>
                  <a:gd name="connsiteX12" fmla="*/ 567531 w 981075"/>
                  <a:gd name="connsiteY12" fmla="*/ 801688 h 2836863"/>
                  <a:gd name="connsiteX13" fmla="*/ 515144 w 981075"/>
                  <a:gd name="connsiteY13" fmla="*/ 563563 h 2836863"/>
                  <a:gd name="connsiteX14" fmla="*/ 460375 w 981075"/>
                  <a:gd name="connsiteY14" fmla="*/ 996951 h 2836863"/>
                  <a:gd name="connsiteX15" fmla="*/ 415131 w 981075"/>
                  <a:gd name="connsiteY15" fmla="*/ 1435101 h 2836863"/>
                  <a:gd name="connsiteX16" fmla="*/ 429419 w 981075"/>
                  <a:gd name="connsiteY16" fmla="*/ 1873251 h 2836863"/>
                  <a:gd name="connsiteX17" fmla="*/ 450850 w 981075"/>
                  <a:gd name="connsiteY17" fmla="*/ 2425701 h 2836863"/>
                  <a:gd name="connsiteX18" fmla="*/ 412750 w 981075"/>
                  <a:gd name="connsiteY18" fmla="*/ 2701926 h 2836863"/>
                  <a:gd name="connsiteX19" fmla="*/ 403225 w 981075"/>
                  <a:gd name="connsiteY19" fmla="*/ 2768601 h 2836863"/>
                  <a:gd name="connsiteX20" fmla="*/ 165100 w 981075"/>
                  <a:gd name="connsiteY20" fmla="*/ 2835276 h 2836863"/>
                  <a:gd name="connsiteX21" fmla="*/ 22225 w 981075"/>
                  <a:gd name="connsiteY21" fmla="*/ 2759076 h 2836863"/>
                  <a:gd name="connsiteX22" fmla="*/ 22225 w 981075"/>
                  <a:gd name="connsiteY22" fmla="*/ 2339976 h 2836863"/>
                  <a:gd name="connsiteX23" fmla="*/ 12700 w 981075"/>
                  <a:gd name="connsiteY23" fmla="*/ 1778001 h 2836863"/>
                  <a:gd name="connsiteX24" fmla="*/ 98425 w 981075"/>
                  <a:gd name="connsiteY24" fmla="*/ 1682751 h 2836863"/>
                  <a:gd name="connsiteX25" fmla="*/ 193675 w 981075"/>
                  <a:gd name="connsiteY25" fmla="*/ 1625601 h 2836863"/>
                  <a:gd name="connsiteX26" fmla="*/ 287292 w 981075"/>
                  <a:gd name="connsiteY26" fmla="*/ 1371329 h 2836863"/>
                  <a:gd name="connsiteX27" fmla="*/ 328204 w 981075"/>
                  <a:gd name="connsiteY27" fmla="*/ 796926 h 2836863"/>
                  <a:gd name="connsiteX28" fmla="*/ 327751 w 981075"/>
                  <a:gd name="connsiteY28" fmla="*/ 511176 h 2836863"/>
                  <a:gd name="connsiteX29" fmla="*/ 231775 w 981075"/>
                  <a:gd name="connsiteY29" fmla="*/ 396876 h 2836863"/>
                  <a:gd name="connsiteX30" fmla="*/ 422275 w 981075"/>
                  <a:gd name="connsiteY30" fmla="*/ 434976 h 2836863"/>
                  <a:gd name="connsiteX31" fmla="*/ 453231 w 981075"/>
                  <a:gd name="connsiteY31" fmla="*/ 344489 h 2836863"/>
                  <a:gd name="connsiteX32" fmla="*/ 462757 w 981075"/>
                  <a:gd name="connsiteY32" fmla="*/ 3969 h 2836863"/>
                  <a:gd name="connsiteX0" fmla="*/ 462757 w 1007768"/>
                  <a:gd name="connsiteY0" fmla="*/ 3969 h 2836863"/>
                  <a:gd name="connsiteX1" fmla="*/ 469900 w 1007768"/>
                  <a:gd name="connsiteY1" fmla="*/ 368301 h 2836863"/>
                  <a:gd name="connsiteX2" fmla="*/ 584200 w 1007768"/>
                  <a:gd name="connsiteY2" fmla="*/ 423069 h 2836863"/>
                  <a:gd name="connsiteX3" fmla="*/ 681832 w 1007768"/>
                  <a:gd name="connsiteY3" fmla="*/ 394495 h 2836863"/>
                  <a:gd name="connsiteX4" fmla="*/ 650875 w 1007768"/>
                  <a:gd name="connsiteY4" fmla="*/ 758826 h 2836863"/>
                  <a:gd name="connsiteX5" fmla="*/ 698500 w 1007768"/>
                  <a:gd name="connsiteY5" fmla="*/ 1406526 h 2836863"/>
                  <a:gd name="connsiteX6" fmla="*/ 841375 w 1007768"/>
                  <a:gd name="connsiteY6" fmla="*/ 1749426 h 2836863"/>
                  <a:gd name="connsiteX7" fmla="*/ 917575 w 1007768"/>
                  <a:gd name="connsiteY7" fmla="*/ 2206626 h 2836863"/>
                  <a:gd name="connsiteX8" fmla="*/ 936625 w 1007768"/>
                  <a:gd name="connsiteY8" fmla="*/ 2416176 h 2836863"/>
                  <a:gd name="connsiteX9" fmla="*/ 965200 w 1007768"/>
                  <a:gd name="connsiteY9" fmla="*/ 2501901 h 2836863"/>
                  <a:gd name="connsiteX10" fmla="*/ 681216 w 1007768"/>
                  <a:gd name="connsiteY10" fmla="*/ 2609674 h 2836863"/>
                  <a:gd name="connsiteX11" fmla="*/ 693738 w 1007768"/>
                  <a:gd name="connsiteY11" fmla="*/ 1825626 h 2836863"/>
                  <a:gd name="connsiteX12" fmla="*/ 567531 w 1007768"/>
                  <a:gd name="connsiteY12" fmla="*/ 801688 h 2836863"/>
                  <a:gd name="connsiteX13" fmla="*/ 515144 w 1007768"/>
                  <a:gd name="connsiteY13" fmla="*/ 563563 h 2836863"/>
                  <a:gd name="connsiteX14" fmla="*/ 460375 w 1007768"/>
                  <a:gd name="connsiteY14" fmla="*/ 996951 h 2836863"/>
                  <a:gd name="connsiteX15" fmla="*/ 415131 w 1007768"/>
                  <a:gd name="connsiteY15" fmla="*/ 1435101 h 2836863"/>
                  <a:gd name="connsiteX16" fmla="*/ 429419 w 1007768"/>
                  <a:gd name="connsiteY16" fmla="*/ 1873251 h 2836863"/>
                  <a:gd name="connsiteX17" fmla="*/ 450850 w 1007768"/>
                  <a:gd name="connsiteY17" fmla="*/ 2425701 h 2836863"/>
                  <a:gd name="connsiteX18" fmla="*/ 412750 w 1007768"/>
                  <a:gd name="connsiteY18" fmla="*/ 2701926 h 2836863"/>
                  <a:gd name="connsiteX19" fmla="*/ 403225 w 1007768"/>
                  <a:gd name="connsiteY19" fmla="*/ 2768601 h 2836863"/>
                  <a:gd name="connsiteX20" fmla="*/ 165100 w 1007768"/>
                  <a:gd name="connsiteY20" fmla="*/ 2835276 h 2836863"/>
                  <a:gd name="connsiteX21" fmla="*/ 22225 w 1007768"/>
                  <a:gd name="connsiteY21" fmla="*/ 2759076 h 2836863"/>
                  <a:gd name="connsiteX22" fmla="*/ 22225 w 1007768"/>
                  <a:gd name="connsiteY22" fmla="*/ 2339976 h 2836863"/>
                  <a:gd name="connsiteX23" fmla="*/ 12700 w 1007768"/>
                  <a:gd name="connsiteY23" fmla="*/ 1778001 h 2836863"/>
                  <a:gd name="connsiteX24" fmla="*/ 98425 w 1007768"/>
                  <a:gd name="connsiteY24" fmla="*/ 1682751 h 2836863"/>
                  <a:gd name="connsiteX25" fmla="*/ 193675 w 1007768"/>
                  <a:gd name="connsiteY25" fmla="*/ 1625601 h 2836863"/>
                  <a:gd name="connsiteX26" fmla="*/ 287292 w 1007768"/>
                  <a:gd name="connsiteY26" fmla="*/ 1371329 h 2836863"/>
                  <a:gd name="connsiteX27" fmla="*/ 328204 w 1007768"/>
                  <a:gd name="connsiteY27" fmla="*/ 796926 h 2836863"/>
                  <a:gd name="connsiteX28" fmla="*/ 327751 w 1007768"/>
                  <a:gd name="connsiteY28" fmla="*/ 511176 h 2836863"/>
                  <a:gd name="connsiteX29" fmla="*/ 231775 w 1007768"/>
                  <a:gd name="connsiteY29" fmla="*/ 396876 h 2836863"/>
                  <a:gd name="connsiteX30" fmla="*/ 422275 w 1007768"/>
                  <a:gd name="connsiteY30" fmla="*/ 434976 h 2836863"/>
                  <a:gd name="connsiteX31" fmla="*/ 453231 w 1007768"/>
                  <a:gd name="connsiteY31" fmla="*/ 344489 h 2836863"/>
                  <a:gd name="connsiteX32" fmla="*/ 462757 w 1007768"/>
                  <a:gd name="connsiteY32" fmla="*/ 3969 h 2836863"/>
                  <a:gd name="connsiteX0" fmla="*/ 462757 w 1007768"/>
                  <a:gd name="connsiteY0" fmla="*/ 3969 h 2836863"/>
                  <a:gd name="connsiteX1" fmla="*/ 469900 w 1007768"/>
                  <a:gd name="connsiteY1" fmla="*/ 368301 h 2836863"/>
                  <a:gd name="connsiteX2" fmla="*/ 584200 w 1007768"/>
                  <a:gd name="connsiteY2" fmla="*/ 423069 h 2836863"/>
                  <a:gd name="connsiteX3" fmla="*/ 681832 w 1007768"/>
                  <a:gd name="connsiteY3" fmla="*/ 394495 h 2836863"/>
                  <a:gd name="connsiteX4" fmla="*/ 650875 w 1007768"/>
                  <a:gd name="connsiteY4" fmla="*/ 758826 h 2836863"/>
                  <a:gd name="connsiteX5" fmla="*/ 698500 w 1007768"/>
                  <a:gd name="connsiteY5" fmla="*/ 1406526 h 2836863"/>
                  <a:gd name="connsiteX6" fmla="*/ 841375 w 1007768"/>
                  <a:gd name="connsiteY6" fmla="*/ 1749426 h 2836863"/>
                  <a:gd name="connsiteX7" fmla="*/ 917575 w 1007768"/>
                  <a:gd name="connsiteY7" fmla="*/ 2206626 h 2836863"/>
                  <a:gd name="connsiteX8" fmla="*/ 936625 w 1007768"/>
                  <a:gd name="connsiteY8" fmla="*/ 2416176 h 2836863"/>
                  <a:gd name="connsiteX9" fmla="*/ 965200 w 1007768"/>
                  <a:gd name="connsiteY9" fmla="*/ 2501901 h 2836863"/>
                  <a:gd name="connsiteX10" fmla="*/ 681216 w 1007768"/>
                  <a:gd name="connsiteY10" fmla="*/ 2609674 h 2836863"/>
                  <a:gd name="connsiteX11" fmla="*/ 635499 w 1007768"/>
                  <a:gd name="connsiteY11" fmla="*/ 1839158 h 2836863"/>
                  <a:gd name="connsiteX12" fmla="*/ 567531 w 1007768"/>
                  <a:gd name="connsiteY12" fmla="*/ 801688 h 2836863"/>
                  <a:gd name="connsiteX13" fmla="*/ 515144 w 1007768"/>
                  <a:gd name="connsiteY13" fmla="*/ 563563 h 2836863"/>
                  <a:gd name="connsiteX14" fmla="*/ 460375 w 1007768"/>
                  <a:gd name="connsiteY14" fmla="*/ 996951 h 2836863"/>
                  <a:gd name="connsiteX15" fmla="*/ 415131 w 1007768"/>
                  <a:gd name="connsiteY15" fmla="*/ 1435101 h 2836863"/>
                  <a:gd name="connsiteX16" fmla="*/ 429419 w 1007768"/>
                  <a:gd name="connsiteY16" fmla="*/ 1873251 h 2836863"/>
                  <a:gd name="connsiteX17" fmla="*/ 450850 w 1007768"/>
                  <a:gd name="connsiteY17" fmla="*/ 2425701 h 2836863"/>
                  <a:gd name="connsiteX18" fmla="*/ 412750 w 1007768"/>
                  <a:gd name="connsiteY18" fmla="*/ 2701926 h 2836863"/>
                  <a:gd name="connsiteX19" fmla="*/ 403225 w 1007768"/>
                  <a:gd name="connsiteY19" fmla="*/ 2768601 h 2836863"/>
                  <a:gd name="connsiteX20" fmla="*/ 165100 w 1007768"/>
                  <a:gd name="connsiteY20" fmla="*/ 2835276 h 2836863"/>
                  <a:gd name="connsiteX21" fmla="*/ 22225 w 1007768"/>
                  <a:gd name="connsiteY21" fmla="*/ 2759076 h 2836863"/>
                  <a:gd name="connsiteX22" fmla="*/ 22225 w 1007768"/>
                  <a:gd name="connsiteY22" fmla="*/ 2339976 h 2836863"/>
                  <a:gd name="connsiteX23" fmla="*/ 12700 w 1007768"/>
                  <a:gd name="connsiteY23" fmla="*/ 1778001 h 2836863"/>
                  <a:gd name="connsiteX24" fmla="*/ 98425 w 1007768"/>
                  <a:gd name="connsiteY24" fmla="*/ 1682751 h 2836863"/>
                  <a:gd name="connsiteX25" fmla="*/ 193675 w 1007768"/>
                  <a:gd name="connsiteY25" fmla="*/ 1625601 h 2836863"/>
                  <a:gd name="connsiteX26" fmla="*/ 287292 w 1007768"/>
                  <a:gd name="connsiteY26" fmla="*/ 1371329 h 2836863"/>
                  <a:gd name="connsiteX27" fmla="*/ 328204 w 1007768"/>
                  <a:gd name="connsiteY27" fmla="*/ 796926 h 2836863"/>
                  <a:gd name="connsiteX28" fmla="*/ 327751 w 1007768"/>
                  <a:gd name="connsiteY28" fmla="*/ 511176 h 2836863"/>
                  <a:gd name="connsiteX29" fmla="*/ 231775 w 1007768"/>
                  <a:gd name="connsiteY29" fmla="*/ 396876 h 2836863"/>
                  <a:gd name="connsiteX30" fmla="*/ 422275 w 1007768"/>
                  <a:gd name="connsiteY30" fmla="*/ 434976 h 2836863"/>
                  <a:gd name="connsiteX31" fmla="*/ 453231 w 1007768"/>
                  <a:gd name="connsiteY31" fmla="*/ 344489 h 2836863"/>
                  <a:gd name="connsiteX32" fmla="*/ 462757 w 1007768"/>
                  <a:gd name="connsiteY32" fmla="*/ 3969 h 2836863"/>
                  <a:gd name="connsiteX0" fmla="*/ 462757 w 1007768"/>
                  <a:gd name="connsiteY0" fmla="*/ 3969 h 2836863"/>
                  <a:gd name="connsiteX1" fmla="*/ 469900 w 1007768"/>
                  <a:gd name="connsiteY1" fmla="*/ 368301 h 2836863"/>
                  <a:gd name="connsiteX2" fmla="*/ 584200 w 1007768"/>
                  <a:gd name="connsiteY2" fmla="*/ 423069 h 2836863"/>
                  <a:gd name="connsiteX3" fmla="*/ 681832 w 1007768"/>
                  <a:gd name="connsiteY3" fmla="*/ 394495 h 2836863"/>
                  <a:gd name="connsiteX4" fmla="*/ 650875 w 1007768"/>
                  <a:gd name="connsiteY4" fmla="*/ 758826 h 2836863"/>
                  <a:gd name="connsiteX5" fmla="*/ 698500 w 1007768"/>
                  <a:gd name="connsiteY5" fmla="*/ 1406526 h 2836863"/>
                  <a:gd name="connsiteX6" fmla="*/ 841375 w 1007768"/>
                  <a:gd name="connsiteY6" fmla="*/ 1749426 h 2836863"/>
                  <a:gd name="connsiteX7" fmla="*/ 917575 w 1007768"/>
                  <a:gd name="connsiteY7" fmla="*/ 2206626 h 2836863"/>
                  <a:gd name="connsiteX8" fmla="*/ 936625 w 1007768"/>
                  <a:gd name="connsiteY8" fmla="*/ 2416176 h 2836863"/>
                  <a:gd name="connsiteX9" fmla="*/ 965200 w 1007768"/>
                  <a:gd name="connsiteY9" fmla="*/ 2501901 h 2836863"/>
                  <a:gd name="connsiteX10" fmla="*/ 681216 w 1007768"/>
                  <a:gd name="connsiteY10" fmla="*/ 2609674 h 2836863"/>
                  <a:gd name="connsiteX11" fmla="*/ 635499 w 1007768"/>
                  <a:gd name="connsiteY11" fmla="*/ 1839158 h 2836863"/>
                  <a:gd name="connsiteX12" fmla="*/ 567531 w 1007768"/>
                  <a:gd name="connsiteY12" fmla="*/ 801688 h 2836863"/>
                  <a:gd name="connsiteX13" fmla="*/ 515144 w 1007768"/>
                  <a:gd name="connsiteY13" fmla="*/ 563563 h 2836863"/>
                  <a:gd name="connsiteX14" fmla="*/ 460375 w 1007768"/>
                  <a:gd name="connsiteY14" fmla="*/ 996951 h 2836863"/>
                  <a:gd name="connsiteX15" fmla="*/ 415131 w 1007768"/>
                  <a:gd name="connsiteY15" fmla="*/ 1435101 h 2836863"/>
                  <a:gd name="connsiteX16" fmla="*/ 429419 w 1007768"/>
                  <a:gd name="connsiteY16" fmla="*/ 1873251 h 2836863"/>
                  <a:gd name="connsiteX17" fmla="*/ 450850 w 1007768"/>
                  <a:gd name="connsiteY17" fmla="*/ 2425701 h 2836863"/>
                  <a:gd name="connsiteX18" fmla="*/ 412750 w 1007768"/>
                  <a:gd name="connsiteY18" fmla="*/ 2701926 h 2836863"/>
                  <a:gd name="connsiteX19" fmla="*/ 403225 w 1007768"/>
                  <a:gd name="connsiteY19" fmla="*/ 2768601 h 2836863"/>
                  <a:gd name="connsiteX20" fmla="*/ 165100 w 1007768"/>
                  <a:gd name="connsiteY20" fmla="*/ 2835276 h 2836863"/>
                  <a:gd name="connsiteX21" fmla="*/ 22225 w 1007768"/>
                  <a:gd name="connsiteY21" fmla="*/ 2759076 h 2836863"/>
                  <a:gd name="connsiteX22" fmla="*/ 22225 w 1007768"/>
                  <a:gd name="connsiteY22" fmla="*/ 2339976 h 2836863"/>
                  <a:gd name="connsiteX23" fmla="*/ 12700 w 1007768"/>
                  <a:gd name="connsiteY23" fmla="*/ 1778001 h 2836863"/>
                  <a:gd name="connsiteX24" fmla="*/ 98425 w 1007768"/>
                  <a:gd name="connsiteY24" fmla="*/ 1682751 h 2836863"/>
                  <a:gd name="connsiteX25" fmla="*/ 193675 w 1007768"/>
                  <a:gd name="connsiteY25" fmla="*/ 1625601 h 2836863"/>
                  <a:gd name="connsiteX26" fmla="*/ 287292 w 1007768"/>
                  <a:gd name="connsiteY26" fmla="*/ 1371329 h 2836863"/>
                  <a:gd name="connsiteX27" fmla="*/ 328204 w 1007768"/>
                  <a:gd name="connsiteY27" fmla="*/ 796926 h 2836863"/>
                  <a:gd name="connsiteX28" fmla="*/ 327751 w 1007768"/>
                  <a:gd name="connsiteY28" fmla="*/ 511176 h 2836863"/>
                  <a:gd name="connsiteX29" fmla="*/ 231775 w 1007768"/>
                  <a:gd name="connsiteY29" fmla="*/ 396876 h 2836863"/>
                  <a:gd name="connsiteX30" fmla="*/ 422275 w 1007768"/>
                  <a:gd name="connsiteY30" fmla="*/ 434976 h 2836863"/>
                  <a:gd name="connsiteX31" fmla="*/ 453231 w 1007768"/>
                  <a:gd name="connsiteY31" fmla="*/ 344489 h 2836863"/>
                  <a:gd name="connsiteX32" fmla="*/ 462757 w 1007768"/>
                  <a:gd name="connsiteY32" fmla="*/ 3969 h 2836863"/>
                  <a:gd name="connsiteX0" fmla="*/ 462757 w 1007768"/>
                  <a:gd name="connsiteY0" fmla="*/ 3969 h 2836863"/>
                  <a:gd name="connsiteX1" fmla="*/ 469900 w 1007768"/>
                  <a:gd name="connsiteY1" fmla="*/ 368301 h 2836863"/>
                  <a:gd name="connsiteX2" fmla="*/ 584200 w 1007768"/>
                  <a:gd name="connsiteY2" fmla="*/ 423069 h 2836863"/>
                  <a:gd name="connsiteX3" fmla="*/ 681832 w 1007768"/>
                  <a:gd name="connsiteY3" fmla="*/ 394495 h 2836863"/>
                  <a:gd name="connsiteX4" fmla="*/ 650875 w 1007768"/>
                  <a:gd name="connsiteY4" fmla="*/ 758826 h 2836863"/>
                  <a:gd name="connsiteX5" fmla="*/ 776154 w 1007768"/>
                  <a:gd name="connsiteY5" fmla="*/ 1347893 h 2836863"/>
                  <a:gd name="connsiteX6" fmla="*/ 841375 w 1007768"/>
                  <a:gd name="connsiteY6" fmla="*/ 1749426 h 2836863"/>
                  <a:gd name="connsiteX7" fmla="*/ 917575 w 1007768"/>
                  <a:gd name="connsiteY7" fmla="*/ 2206626 h 2836863"/>
                  <a:gd name="connsiteX8" fmla="*/ 936625 w 1007768"/>
                  <a:gd name="connsiteY8" fmla="*/ 2416176 h 2836863"/>
                  <a:gd name="connsiteX9" fmla="*/ 965200 w 1007768"/>
                  <a:gd name="connsiteY9" fmla="*/ 2501901 h 2836863"/>
                  <a:gd name="connsiteX10" fmla="*/ 681216 w 1007768"/>
                  <a:gd name="connsiteY10" fmla="*/ 2609674 h 2836863"/>
                  <a:gd name="connsiteX11" fmla="*/ 635499 w 1007768"/>
                  <a:gd name="connsiteY11" fmla="*/ 1839158 h 2836863"/>
                  <a:gd name="connsiteX12" fmla="*/ 567531 w 1007768"/>
                  <a:gd name="connsiteY12" fmla="*/ 801688 h 2836863"/>
                  <a:gd name="connsiteX13" fmla="*/ 515144 w 1007768"/>
                  <a:gd name="connsiteY13" fmla="*/ 563563 h 2836863"/>
                  <a:gd name="connsiteX14" fmla="*/ 460375 w 1007768"/>
                  <a:gd name="connsiteY14" fmla="*/ 996951 h 2836863"/>
                  <a:gd name="connsiteX15" fmla="*/ 415131 w 1007768"/>
                  <a:gd name="connsiteY15" fmla="*/ 1435101 h 2836863"/>
                  <a:gd name="connsiteX16" fmla="*/ 429419 w 1007768"/>
                  <a:gd name="connsiteY16" fmla="*/ 1873251 h 2836863"/>
                  <a:gd name="connsiteX17" fmla="*/ 450850 w 1007768"/>
                  <a:gd name="connsiteY17" fmla="*/ 2425701 h 2836863"/>
                  <a:gd name="connsiteX18" fmla="*/ 412750 w 1007768"/>
                  <a:gd name="connsiteY18" fmla="*/ 2701926 h 2836863"/>
                  <a:gd name="connsiteX19" fmla="*/ 403225 w 1007768"/>
                  <a:gd name="connsiteY19" fmla="*/ 2768601 h 2836863"/>
                  <a:gd name="connsiteX20" fmla="*/ 165100 w 1007768"/>
                  <a:gd name="connsiteY20" fmla="*/ 2835276 h 2836863"/>
                  <a:gd name="connsiteX21" fmla="*/ 22225 w 1007768"/>
                  <a:gd name="connsiteY21" fmla="*/ 2759076 h 2836863"/>
                  <a:gd name="connsiteX22" fmla="*/ 22225 w 1007768"/>
                  <a:gd name="connsiteY22" fmla="*/ 2339976 h 2836863"/>
                  <a:gd name="connsiteX23" fmla="*/ 12700 w 1007768"/>
                  <a:gd name="connsiteY23" fmla="*/ 1778001 h 2836863"/>
                  <a:gd name="connsiteX24" fmla="*/ 98425 w 1007768"/>
                  <a:gd name="connsiteY24" fmla="*/ 1682751 h 2836863"/>
                  <a:gd name="connsiteX25" fmla="*/ 193675 w 1007768"/>
                  <a:gd name="connsiteY25" fmla="*/ 1625601 h 2836863"/>
                  <a:gd name="connsiteX26" fmla="*/ 287292 w 1007768"/>
                  <a:gd name="connsiteY26" fmla="*/ 1371329 h 2836863"/>
                  <a:gd name="connsiteX27" fmla="*/ 328204 w 1007768"/>
                  <a:gd name="connsiteY27" fmla="*/ 796926 h 2836863"/>
                  <a:gd name="connsiteX28" fmla="*/ 327751 w 1007768"/>
                  <a:gd name="connsiteY28" fmla="*/ 511176 h 2836863"/>
                  <a:gd name="connsiteX29" fmla="*/ 231775 w 1007768"/>
                  <a:gd name="connsiteY29" fmla="*/ 396876 h 2836863"/>
                  <a:gd name="connsiteX30" fmla="*/ 422275 w 1007768"/>
                  <a:gd name="connsiteY30" fmla="*/ 434976 h 2836863"/>
                  <a:gd name="connsiteX31" fmla="*/ 453231 w 1007768"/>
                  <a:gd name="connsiteY31" fmla="*/ 344489 h 2836863"/>
                  <a:gd name="connsiteX32" fmla="*/ 462757 w 1007768"/>
                  <a:gd name="connsiteY32" fmla="*/ 3969 h 2836863"/>
                  <a:gd name="connsiteX0" fmla="*/ 462757 w 1007768"/>
                  <a:gd name="connsiteY0" fmla="*/ 3969 h 2836863"/>
                  <a:gd name="connsiteX1" fmla="*/ 469900 w 1007768"/>
                  <a:gd name="connsiteY1" fmla="*/ 368301 h 2836863"/>
                  <a:gd name="connsiteX2" fmla="*/ 584200 w 1007768"/>
                  <a:gd name="connsiteY2" fmla="*/ 423069 h 2836863"/>
                  <a:gd name="connsiteX3" fmla="*/ 681832 w 1007768"/>
                  <a:gd name="connsiteY3" fmla="*/ 394495 h 2836863"/>
                  <a:gd name="connsiteX4" fmla="*/ 650875 w 1007768"/>
                  <a:gd name="connsiteY4" fmla="*/ 758826 h 2836863"/>
                  <a:gd name="connsiteX5" fmla="*/ 776154 w 1007768"/>
                  <a:gd name="connsiteY5" fmla="*/ 1347893 h 2836863"/>
                  <a:gd name="connsiteX6" fmla="*/ 938441 w 1007768"/>
                  <a:gd name="connsiteY6" fmla="*/ 1722364 h 2836863"/>
                  <a:gd name="connsiteX7" fmla="*/ 917575 w 1007768"/>
                  <a:gd name="connsiteY7" fmla="*/ 2206626 h 2836863"/>
                  <a:gd name="connsiteX8" fmla="*/ 936625 w 1007768"/>
                  <a:gd name="connsiteY8" fmla="*/ 2416176 h 2836863"/>
                  <a:gd name="connsiteX9" fmla="*/ 965200 w 1007768"/>
                  <a:gd name="connsiteY9" fmla="*/ 2501901 h 2836863"/>
                  <a:gd name="connsiteX10" fmla="*/ 681216 w 1007768"/>
                  <a:gd name="connsiteY10" fmla="*/ 2609674 h 2836863"/>
                  <a:gd name="connsiteX11" fmla="*/ 635499 w 1007768"/>
                  <a:gd name="connsiteY11" fmla="*/ 1839158 h 2836863"/>
                  <a:gd name="connsiteX12" fmla="*/ 567531 w 1007768"/>
                  <a:gd name="connsiteY12" fmla="*/ 801688 h 2836863"/>
                  <a:gd name="connsiteX13" fmla="*/ 515144 w 1007768"/>
                  <a:gd name="connsiteY13" fmla="*/ 563563 h 2836863"/>
                  <a:gd name="connsiteX14" fmla="*/ 460375 w 1007768"/>
                  <a:gd name="connsiteY14" fmla="*/ 996951 h 2836863"/>
                  <a:gd name="connsiteX15" fmla="*/ 415131 w 1007768"/>
                  <a:gd name="connsiteY15" fmla="*/ 1435101 h 2836863"/>
                  <a:gd name="connsiteX16" fmla="*/ 429419 w 1007768"/>
                  <a:gd name="connsiteY16" fmla="*/ 1873251 h 2836863"/>
                  <a:gd name="connsiteX17" fmla="*/ 450850 w 1007768"/>
                  <a:gd name="connsiteY17" fmla="*/ 2425701 h 2836863"/>
                  <a:gd name="connsiteX18" fmla="*/ 412750 w 1007768"/>
                  <a:gd name="connsiteY18" fmla="*/ 2701926 h 2836863"/>
                  <a:gd name="connsiteX19" fmla="*/ 403225 w 1007768"/>
                  <a:gd name="connsiteY19" fmla="*/ 2768601 h 2836863"/>
                  <a:gd name="connsiteX20" fmla="*/ 165100 w 1007768"/>
                  <a:gd name="connsiteY20" fmla="*/ 2835276 h 2836863"/>
                  <a:gd name="connsiteX21" fmla="*/ 22225 w 1007768"/>
                  <a:gd name="connsiteY21" fmla="*/ 2759076 h 2836863"/>
                  <a:gd name="connsiteX22" fmla="*/ 22225 w 1007768"/>
                  <a:gd name="connsiteY22" fmla="*/ 2339976 h 2836863"/>
                  <a:gd name="connsiteX23" fmla="*/ 12700 w 1007768"/>
                  <a:gd name="connsiteY23" fmla="*/ 1778001 h 2836863"/>
                  <a:gd name="connsiteX24" fmla="*/ 98425 w 1007768"/>
                  <a:gd name="connsiteY24" fmla="*/ 1682751 h 2836863"/>
                  <a:gd name="connsiteX25" fmla="*/ 193675 w 1007768"/>
                  <a:gd name="connsiteY25" fmla="*/ 1625601 h 2836863"/>
                  <a:gd name="connsiteX26" fmla="*/ 287292 w 1007768"/>
                  <a:gd name="connsiteY26" fmla="*/ 1371329 h 2836863"/>
                  <a:gd name="connsiteX27" fmla="*/ 328204 w 1007768"/>
                  <a:gd name="connsiteY27" fmla="*/ 796926 h 2836863"/>
                  <a:gd name="connsiteX28" fmla="*/ 327751 w 1007768"/>
                  <a:gd name="connsiteY28" fmla="*/ 511176 h 2836863"/>
                  <a:gd name="connsiteX29" fmla="*/ 231775 w 1007768"/>
                  <a:gd name="connsiteY29" fmla="*/ 396876 h 2836863"/>
                  <a:gd name="connsiteX30" fmla="*/ 422275 w 1007768"/>
                  <a:gd name="connsiteY30" fmla="*/ 434976 h 2836863"/>
                  <a:gd name="connsiteX31" fmla="*/ 453231 w 1007768"/>
                  <a:gd name="connsiteY31" fmla="*/ 344489 h 2836863"/>
                  <a:gd name="connsiteX32" fmla="*/ 462757 w 1007768"/>
                  <a:gd name="connsiteY32" fmla="*/ 3969 h 2836863"/>
                  <a:gd name="connsiteX0" fmla="*/ 462757 w 1007768"/>
                  <a:gd name="connsiteY0" fmla="*/ 3969 h 2836863"/>
                  <a:gd name="connsiteX1" fmla="*/ 469900 w 1007768"/>
                  <a:gd name="connsiteY1" fmla="*/ 368301 h 2836863"/>
                  <a:gd name="connsiteX2" fmla="*/ 584200 w 1007768"/>
                  <a:gd name="connsiteY2" fmla="*/ 423069 h 2836863"/>
                  <a:gd name="connsiteX3" fmla="*/ 681832 w 1007768"/>
                  <a:gd name="connsiteY3" fmla="*/ 394495 h 2836863"/>
                  <a:gd name="connsiteX4" fmla="*/ 650875 w 1007768"/>
                  <a:gd name="connsiteY4" fmla="*/ 758826 h 2836863"/>
                  <a:gd name="connsiteX5" fmla="*/ 776154 w 1007768"/>
                  <a:gd name="connsiteY5" fmla="*/ 1347893 h 2836863"/>
                  <a:gd name="connsiteX6" fmla="*/ 938441 w 1007768"/>
                  <a:gd name="connsiteY6" fmla="*/ 1722364 h 2836863"/>
                  <a:gd name="connsiteX7" fmla="*/ 956403 w 1007768"/>
                  <a:gd name="connsiteY7" fmla="*/ 2206626 h 2836863"/>
                  <a:gd name="connsiteX8" fmla="*/ 936625 w 1007768"/>
                  <a:gd name="connsiteY8" fmla="*/ 2416176 h 2836863"/>
                  <a:gd name="connsiteX9" fmla="*/ 965200 w 1007768"/>
                  <a:gd name="connsiteY9" fmla="*/ 2501901 h 2836863"/>
                  <a:gd name="connsiteX10" fmla="*/ 681216 w 1007768"/>
                  <a:gd name="connsiteY10" fmla="*/ 2609674 h 2836863"/>
                  <a:gd name="connsiteX11" fmla="*/ 635499 w 1007768"/>
                  <a:gd name="connsiteY11" fmla="*/ 1839158 h 2836863"/>
                  <a:gd name="connsiteX12" fmla="*/ 567531 w 1007768"/>
                  <a:gd name="connsiteY12" fmla="*/ 801688 h 2836863"/>
                  <a:gd name="connsiteX13" fmla="*/ 515144 w 1007768"/>
                  <a:gd name="connsiteY13" fmla="*/ 563563 h 2836863"/>
                  <a:gd name="connsiteX14" fmla="*/ 460375 w 1007768"/>
                  <a:gd name="connsiteY14" fmla="*/ 996951 h 2836863"/>
                  <a:gd name="connsiteX15" fmla="*/ 415131 w 1007768"/>
                  <a:gd name="connsiteY15" fmla="*/ 1435101 h 2836863"/>
                  <a:gd name="connsiteX16" fmla="*/ 429419 w 1007768"/>
                  <a:gd name="connsiteY16" fmla="*/ 1873251 h 2836863"/>
                  <a:gd name="connsiteX17" fmla="*/ 450850 w 1007768"/>
                  <a:gd name="connsiteY17" fmla="*/ 2425701 h 2836863"/>
                  <a:gd name="connsiteX18" fmla="*/ 412750 w 1007768"/>
                  <a:gd name="connsiteY18" fmla="*/ 2701926 h 2836863"/>
                  <a:gd name="connsiteX19" fmla="*/ 403225 w 1007768"/>
                  <a:gd name="connsiteY19" fmla="*/ 2768601 h 2836863"/>
                  <a:gd name="connsiteX20" fmla="*/ 165100 w 1007768"/>
                  <a:gd name="connsiteY20" fmla="*/ 2835276 h 2836863"/>
                  <a:gd name="connsiteX21" fmla="*/ 22225 w 1007768"/>
                  <a:gd name="connsiteY21" fmla="*/ 2759076 h 2836863"/>
                  <a:gd name="connsiteX22" fmla="*/ 22225 w 1007768"/>
                  <a:gd name="connsiteY22" fmla="*/ 2339976 h 2836863"/>
                  <a:gd name="connsiteX23" fmla="*/ 12700 w 1007768"/>
                  <a:gd name="connsiteY23" fmla="*/ 1778001 h 2836863"/>
                  <a:gd name="connsiteX24" fmla="*/ 98425 w 1007768"/>
                  <a:gd name="connsiteY24" fmla="*/ 1682751 h 2836863"/>
                  <a:gd name="connsiteX25" fmla="*/ 193675 w 1007768"/>
                  <a:gd name="connsiteY25" fmla="*/ 1625601 h 2836863"/>
                  <a:gd name="connsiteX26" fmla="*/ 287292 w 1007768"/>
                  <a:gd name="connsiteY26" fmla="*/ 1371329 h 2836863"/>
                  <a:gd name="connsiteX27" fmla="*/ 328204 w 1007768"/>
                  <a:gd name="connsiteY27" fmla="*/ 796926 h 2836863"/>
                  <a:gd name="connsiteX28" fmla="*/ 327751 w 1007768"/>
                  <a:gd name="connsiteY28" fmla="*/ 511176 h 2836863"/>
                  <a:gd name="connsiteX29" fmla="*/ 231775 w 1007768"/>
                  <a:gd name="connsiteY29" fmla="*/ 396876 h 2836863"/>
                  <a:gd name="connsiteX30" fmla="*/ 422275 w 1007768"/>
                  <a:gd name="connsiteY30" fmla="*/ 434976 h 2836863"/>
                  <a:gd name="connsiteX31" fmla="*/ 453231 w 1007768"/>
                  <a:gd name="connsiteY31" fmla="*/ 344489 h 2836863"/>
                  <a:gd name="connsiteX32" fmla="*/ 462757 w 1007768"/>
                  <a:gd name="connsiteY32" fmla="*/ 3969 h 2836863"/>
                  <a:gd name="connsiteX0" fmla="*/ 462757 w 1012623"/>
                  <a:gd name="connsiteY0" fmla="*/ 3969 h 2858885"/>
                  <a:gd name="connsiteX1" fmla="*/ 469900 w 1012623"/>
                  <a:gd name="connsiteY1" fmla="*/ 368301 h 2858885"/>
                  <a:gd name="connsiteX2" fmla="*/ 584200 w 1012623"/>
                  <a:gd name="connsiteY2" fmla="*/ 423069 h 2858885"/>
                  <a:gd name="connsiteX3" fmla="*/ 681832 w 1012623"/>
                  <a:gd name="connsiteY3" fmla="*/ 394495 h 2858885"/>
                  <a:gd name="connsiteX4" fmla="*/ 650875 w 1012623"/>
                  <a:gd name="connsiteY4" fmla="*/ 758826 h 2858885"/>
                  <a:gd name="connsiteX5" fmla="*/ 776154 w 1012623"/>
                  <a:gd name="connsiteY5" fmla="*/ 1347893 h 2858885"/>
                  <a:gd name="connsiteX6" fmla="*/ 938441 w 1012623"/>
                  <a:gd name="connsiteY6" fmla="*/ 1722364 h 2858885"/>
                  <a:gd name="connsiteX7" fmla="*/ 956403 w 1012623"/>
                  <a:gd name="connsiteY7" fmla="*/ 2206626 h 2858885"/>
                  <a:gd name="connsiteX8" fmla="*/ 936625 w 1012623"/>
                  <a:gd name="connsiteY8" fmla="*/ 2416176 h 2858885"/>
                  <a:gd name="connsiteX9" fmla="*/ 970054 w 1012623"/>
                  <a:gd name="connsiteY9" fmla="*/ 2826635 h 2858885"/>
                  <a:gd name="connsiteX10" fmla="*/ 681216 w 1012623"/>
                  <a:gd name="connsiteY10" fmla="*/ 2609674 h 2858885"/>
                  <a:gd name="connsiteX11" fmla="*/ 635499 w 1012623"/>
                  <a:gd name="connsiteY11" fmla="*/ 1839158 h 2858885"/>
                  <a:gd name="connsiteX12" fmla="*/ 567531 w 1012623"/>
                  <a:gd name="connsiteY12" fmla="*/ 801688 h 2858885"/>
                  <a:gd name="connsiteX13" fmla="*/ 515144 w 1012623"/>
                  <a:gd name="connsiteY13" fmla="*/ 563563 h 2858885"/>
                  <a:gd name="connsiteX14" fmla="*/ 460375 w 1012623"/>
                  <a:gd name="connsiteY14" fmla="*/ 996951 h 2858885"/>
                  <a:gd name="connsiteX15" fmla="*/ 415131 w 1012623"/>
                  <a:gd name="connsiteY15" fmla="*/ 1435101 h 2858885"/>
                  <a:gd name="connsiteX16" fmla="*/ 429419 w 1012623"/>
                  <a:gd name="connsiteY16" fmla="*/ 1873251 h 2858885"/>
                  <a:gd name="connsiteX17" fmla="*/ 450850 w 1012623"/>
                  <a:gd name="connsiteY17" fmla="*/ 2425701 h 2858885"/>
                  <a:gd name="connsiteX18" fmla="*/ 412750 w 1012623"/>
                  <a:gd name="connsiteY18" fmla="*/ 2701926 h 2858885"/>
                  <a:gd name="connsiteX19" fmla="*/ 403225 w 1012623"/>
                  <a:gd name="connsiteY19" fmla="*/ 2768601 h 2858885"/>
                  <a:gd name="connsiteX20" fmla="*/ 165100 w 1012623"/>
                  <a:gd name="connsiteY20" fmla="*/ 2835276 h 2858885"/>
                  <a:gd name="connsiteX21" fmla="*/ 22225 w 1012623"/>
                  <a:gd name="connsiteY21" fmla="*/ 2759076 h 2858885"/>
                  <a:gd name="connsiteX22" fmla="*/ 22225 w 1012623"/>
                  <a:gd name="connsiteY22" fmla="*/ 2339976 h 2858885"/>
                  <a:gd name="connsiteX23" fmla="*/ 12700 w 1012623"/>
                  <a:gd name="connsiteY23" fmla="*/ 1778001 h 2858885"/>
                  <a:gd name="connsiteX24" fmla="*/ 98425 w 1012623"/>
                  <a:gd name="connsiteY24" fmla="*/ 1682751 h 2858885"/>
                  <a:gd name="connsiteX25" fmla="*/ 193675 w 1012623"/>
                  <a:gd name="connsiteY25" fmla="*/ 1625601 h 2858885"/>
                  <a:gd name="connsiteX26" fmla="*/ 287292 w 1012623"/>
                  <a:gd name="connsiteY26" fmla="*/ 1371329 h 2858885"/>
                  <a:gd name="connsiteX27" fmla="*/ 328204 w 1012623"/>
                  <a:gd name="connsiteY27" fmla="*/ 796926 h 2858885"/>
                  <a:gd name="connsiteX28" fmla="*/ 327751 w 1012623"/>
                  <a:gd name="connsiteY28" fmla="*/ 511176 h 2858885"/>
                  <a:gd name="connsiteX29" fmla="*/ 231775 w 1012623"/>
                  <a:gd name="connsiteY29" fmla="*/ 396876 h 2858885"/>
                  <a:gd name="connsiteX30" fmla="*/ 422275 w 1012623"/>
                  <a:gd name="connsiteY30" fmla="*/ 434976 h 2858885"/>
                  <a:gd name="connsiteX31" fmla="*/ 453231 w 1012623"/>
                  <a:gd name="connsiteY31" fmla="*/ 344489 h 2858885"/>
                  <a:gd name="connsiteX32" fmla="*/ 462757 w 1012623"/>
                  <a:gd name="connsiteY32" fmla="*/ 3969 h 2858885"/>
                  <a:gd name="connsiteX0" fmla="*/ 462757 w 1020710"/>
                  <a:gd name="connsiteY0" fmla="*/ 3969 h 2847610"/>
                  <a:gd name="connsiteX1" fmla="*/ 469900 w 1020710"/>
                  <a:gd name="connsiteY1" fmla="*/ 368301 h 2847610"/>
                  <a:gd name="connsiteX2" fmla="*/ 584200 w 1020710"/>
                  <a:gd name="connsiteY2" fmla="*/ 423069 h 2847610"/>
                  <a:gd name="connsiteX3" fmla="*/ 681832 w 1020710"/>
                  <a:gd name="connsiteY3" fmla="*/ 394495 h 2847610"/>
                  <a:gd name="connsiteX4" fmla="*/ 650875 w 1020710"/>
                  <a:gd name="connsiteY4" fmla="*/ 758826 h 2847610"/>
                  <a:gd name="connsiteX5" fmla="*/ 776154 w 1020710"/>
                  <a:gd name="connsiteY5" fmla="*/ 1347893 h 2847610"/>
                  <a:gd name="connsiteX6" fmla="*/ 938441 w 1020710"/>
                  <a:gd name="connsiteY6" fmla="*/ 1722364 h 2847610"/>
                  <a:gd name="connsiteX7" fmla="*/ 956403 w 1020710"/>
                  <a:gd name="connsiteY7" fmla="*/ 2206626 h 2847610"/>
                  <a:gd name="connsiteX8" fmla="*/ 985159 w 1020710"/>
                  <a:gd name="connsiteY8" fmla="*/ 2483829 h 2847610"/>
                  <a:gd name="connsiteX9" fmla="*/ 970054 w 1020710"/>
                  <a:gd name="connsiteY9" fmla="*/ 2826635 h 2847610"/>
                  <a:gd name="connsiteX10" fmla="*/ 681216 w 1020710"/>
                  <a:gd name="connsiteY10" fmla="*/ 2609674 h 2847610"/>
                  <a:gd name="connsiteX11" fmla="*/ 635499 w 1020710"/>
                  <a:gd name="connsiteY11" fmla="*/ 1839158 h 2847610"/>
                  <a:gd name="connsiteX12" fmla="*/ 567531 w 1020710"/>
                  <a:gd name="connsiteY12" fmla="*/ 801688 h 2847610"/>
                  <a:gd name="connsiteX13" fmla="*/ 515144 w 1020710"/>
                  <a:gd name="connsiteY13" fmla="*/ 563563 h 2847610"/>
                  <a:gd name="connsiteX14" fmla="*/ 460375 w 1020710"/>
                  <a:gd name="connsiteY14" fmla="*/ 996951 h 2847610"/>
                  <a:gd name="connsiteX15" fmla="*/ 415131 w 1020710"/>
                  <a:gd name="connsiteY15" fmla="*/ 1435101 h 2847610"/>
                  <a:gd name="connsiteX16" fmla="*/ 429419 w 1020710"/>
                  <a:gd name="connsiteY16" fmla="*/ 1873251 h 2847610"/>
                  <a:gd name="connsiteX17" fmla="*/ 450850 w 1020710"/>
                  <a:gd name="connsiteY17" fmla="*/ 2425701 h 2847610"/>
                  <a:gd name="connsiteX18" fmla="*/ 412750 w 1020710"/>
                  <a:gd name="connsiteY18" fmla="*/ 2701926 h 2847610"/>
                  <a:gd name="connsiteX19" fmla="*/ 403225 w 1020710"/>
                  <a:gd name="connsiteY19" fmla="*/ 2768601 h 2847610"/>
                  <a:gd name="connsiteX20" fmla="*/ 165100 w 1020710"/>
                  <a:gd name="connsiteY20" fmla="*/ 2835276 h 2847610"/>
                  <a:gd name="connsiteX21" fmla="*/ 22225 w 1020710"/>
                  <a:gd name="connsiteY21" fmla="*/ 2759076 h 2847610"/>
                  <a:gd name="connsiteX22" fmla="*/ 22225 w 1020710"/>
                  <a:gd name="connsiteY22" fmla="*/ 2339976 h 2847610"/>
                  <a:gd name="connsiteX23" fmla="*/ 12700 w 1020710"/>
                  <a:gd name="connsiteY23" fmla="*/ 1778001 h 2847610"/>
                  <a:gd name="connsiteX24" fmla="*/ 98425 w 1020710"/>
                  <a:gd name="connsiteY24" fmla="*/ 1682751 h 2847610"/>
                  <a:gd name="connsiteX25" fmla="*/ 193675 w 1020710"/>
                  <a:gd name="connsiteY25" fmla="*/ 1625601 h 2847610"/>
                  <a:gd name="connsiteX26" fmla="*/ 287292 w 1020710"/>
                  <a:gd name="connsiteY26" fmla="*/ 1371329 h 2847610"/>
                  <a:gd name="connsiteX27" fmla="*/ 328204 w 1020710"/>
                  <a:gd name="connsiteY27" fmla="*/ 796926 h 2847610"/>
                  <a:gd name="connsiteX28" fmla="*/ 327751 w 1020710"/>
                  <a:gd name="connsiteY28" fmla="*/ 511176 h 2847610"/>
                  <a:gd name="connsiteX29" fmla="*/ 231775 w 1020710"/>
                  <a:gd name="connsiteY29" fmla="*/ 396876 h 2847610"/>
                  <a:gd name="connsiteX30" fmla="*/ 422275 w 1020710"/>
                  <a:gd name="connsiteY30" fmla="*/ 434976 h 2847610"/>
                  <a:gd name="connsiteX31" fmla="*/ 453231 w 1020710"/>
                  <a:gd name="connsiteY31" fmla="*/ 344489 h 2847610"/>
                  <a:gd name="connsiteX32" fmla="*/ 462757 w 1020710"/>
                  <a:gd name="connsiteY32" fmla="*/ 3969 h 2847610"/>
                  <a:gd name="connsiteX0" fmla="*/ 462757 w 1020710"/>
                  <a:gd name="connsiteY0" fmla="*/ 3969 h 2840844"/>
                  <a:gd name="connsiteX1" fmla="*/ 469900 w 1020710"/>
                  <a:gd name="connsiteY1" fmla="*/ 368301 h 2840844"/>
                  <a:gd name="connsiteX2" fmla="*/ 584200 w 1020710"/>
                  <a:gd name="connsiteY2" fmla="*/ 423069 h 2840844"/>
                  <a:gd name="connsiteX3" fmla="*/ 681832 w 1020710"/>
                  <a:gd name="connsiteY3" fmla="*/ 394495 h 2840844"/>
                  <a:gd name="connsiteX4" fmla="*/ 650875 w 1020710"/>
                  <a:gd name="connsiteY4" fmla="*/ 758826 h 2840844"/>
                  <a:gd name="connsiteX5" fmla="*/ 776154 w 1020710"/>
                  <a:gd name="connsiteY5" fmla="*/ 1347893 h 2840844"/>
                  <a:gd name="connsiteX6" fmla="*/ 938441 w 1020710"/>
                  <a:gd name="connsiteY6" fmla="*/ 1722364 h 2840844"/>
                  <a:gd name="connsiteX7" fmla="*/ 956403 w 1020710"/>
                  <a:gd name="connsiteY7" fmla="*/ 2206626 h 2840844"/>
                  <a:gd name="connsiteX8" fmla="*/ 985159 w 1020710"/>
                  <a:gd name="connsiteY8" fmla="*/ 2524421 h 2840844"/>
                  <a:gd name="connsiteX9" fmla="*/ 970054 w 1020710"/>
                  <a:gd name="connsiteY9" fmla="*/ 2826635 h 2840844"/>
                  <a:gd name="connsiteX10" fmla="*/ 681216 w 1020710"/>
                  <a:gd name="connsiteY10" fmla="*/ 2609674 h 2840844"/>
                  <a:gd name="connsiteX11" fmla="*/ 635499 w 1020710"/>
                  <a:gd name="connsiteY11" fmla="*/ 1839158 h 2840844"/>
                  <a:gd name="connsiteX12" fmla="*/ 567531 w 1020710"/>
                  <a:gd name="connsiteY12" fmla="*/ 801688 h 2840844"/>
                  <a:gd name="connsiteX13" fmla="*/ 515144 w 1020710"/>
                  <a:gd name="connsiteY13" fmla="*/ 563563 h 2840844"/>
                  <a:gd name="connsiteX14" fmla="*/ 460375 w 1020710"/>
                  <a:gd name="connsiteY14" fmla="*/ 996951 h 2840844"/>
                  <a:gd name="connsiteX15" fmla="*/ 415131 w 1020710"/>
                  <a:gd name="connsiteY15" fmla="*/ 1435101 h 2840844"/>
                  <a:gd name="connsiteX16" fmla="*/ 429419 w 1020710"/>
                  <a:gd name="connsiteY16" fmla="*/ 1873251 h 2840844"/>
                  <a:gd name="connsiteX17" fmla="*/ 450850 w 1020710"/>
                  <a:gd name="connsiteY17" fmla="*/ 2425701 h 2840844"/>
                  <a:gd name="connsiteX18" fmla="*/ 412750 w 1020710"/>
                  <a:gd name="connsiteY18" fmla="*/ 2701926 h 2840844"/>
                  <a:gd name="connsiteX19" fmla="*/ 403225 w 1020710"/>
                  <a:gd name="connsiteY19" fmla="*/ 2768601 h 2840844"/>
                  <a:gd name="connsiteX20" fmla="*/ 165100 w 1020710"/>
                  <a:gd name="connsiteY20" fmla="*/ 2835276 h 2840844"/>
                  <a:gd name="connsiteX21" fmla="*/ 22225 w 1020710"/>
                  <a:gd name="connsiteY21" fmla="*/ 2759076 h 2840844"/>
                  <a:gd name="connsiteX22" fmla="*/ 22225 w 1020710"/>
                  <a:gd name="connsiteY22" fmla="*/ 2339976 h 2840844"/>
                  <a:gd name="connsiteX23" fmla="*/ 12700 w 1020710"/>
                  <a:gd name="connsiteY23" fmla="*/ 1778001 h 2840844"/>
                  <a:gd name="connsiteX24" fmla="*/ 98425 w 1020710"/>
                  <a:gd name="connsiteY24" fmla="*/ 1682751 h 2840844"/>
                  <a:gd name="connsiteX25" fmla="*/ 193675 w 1020710"/>
                  <a:gd name="connsiteY25" fmla="*/ 1625601 h 2840844"/>
                  <a:gd name="connsiteX26" fmla="*/ 287292 w 1020710"/>
                  <a:gd name="connsiteY26" fmla="*/ 1371329 h 2840844"/>
                  <a:gd name="connsiteX27" fmla="*/ 328204 w 1020710"/>
                  <a:gd name="connsiteY27" fmla="*/ 796926 h 2840844"/>
                  <a:gd name="connsiteX28" fmla="*/ 327751 w 1020710"/>
                  <a:gd name="connsiteY28" fmla="*/ 511176 h 2840844"/>
                  <a:gd name="connsiteX29" fmla="*/ 231775 w 1020710"/>
                  <a:gd name="connsiteY29" fmla="*/ 396876 h 2840844"/>
                  <a:gd name="connsiteX30" fmla="*/ 422275 w 1020710"/>
                  <a:gd name="connsiteY30" fmla="*/ 434976 h 2840844"/>
                  <a:gd name="connsiteX31" fmla="*/ 453231 w 1020710"/>
                  <a:gd name="connsiteY31" fmla="*/ 344489 h 2840844"/>
                  <a:gd name="connsiteX32" fmla="*/ 462757 w 1020710"/>
                  <a:gd name="connsiteY32" fmla="*/ 3969 h 2840844"/>
                  <a:gd name="connsiteX0" fmla="*/ 462757 w 1020710"/>
                  <a:gd name="connsiteY0" fmla="*/ 3969 h 2840844"/>
                  <a:gd name="connsiteX1" fmla="*/ 469900 w 1020710"/>
                  <a:gd name="connsiteY1" fmla="*/ 368301 h 2840844"/>
                  <a:gd name="connsiteX2" fmla="*/ 584200 w 1020710"/>
                  <a:gd name="connsiteY2" fmla="*/ 423069 h 2840844"/>
                  <a:gd name="connsiteX3" fmla="*/ 681832 w 1020710"/>
                  <a:gd name="connsiteY3" fmla="*/ 394495 h 2840844"/>
                  <a:gd name="connsiteX4" fmla="*/ 650875 w 1020710"/>
                  <a:gd name="connsiteY4" fmla="*/ 758826 h 2840844"/>
                  <a:gd name="connsiteX5" fmla="*/ 776154 w 1020710"/>
                  <a:gd name="connsiteY5" fmla="*/ 1347893 h 2840844"/>
                  <a:gd name="connsiteX6" fmla="*/ 938441 w 1020710"/>
                  <a:gd name="connsiteY6" fmla="*/ 1722364 h 2840844"/>
                  <a:gd name="connsiteX7" fmla="*/ 956403 w 1020710"/>
                  <a:gd name="connsiteY7" fmla="*/ 2206626 h 2840844"/>
                  <a:gd name="connsiteX8" fmla="*/ 985159 w 1020710"/>
                  <a:gd name="connsiteY8" fmla="*/ 2524421 h 2840844"/>
                  <a:gd name="connsiteX9" fmla="*/ 970054 w 1020710"/>
                  <a:gd name="connsiteY9" fmla="*/ 2826635 h 2840844"/>
                  <a:gd name="connsiteX10" fmla="*/ 681216 w 1020710"/>
                  <a:gd name="connsiteY10" fmla="*/ 2609674 h 2840844"/>
                  <a:gd name="connsiteX11" fmla="*/ 635499 w 1020710"/>
                  <a:gd name="connsiteY11" fmla="*/ 1839158 h 2840844"/>
                  <a:gd name="connsiteX12" fmla="*/ 567531 w 1020710"/>
                  <a:gd name="connsiteY12" fmla="*/ 801688 h 2840844"/>
                  <a:gd name="connsiteX13" fmla="*/ 515144 w 1020710"/>
                  <a:gd name="connsiteY13" fmla="*/ 563563 h 2840844"/>
                  <a:gd name="connsiteX14" fmla="*/ 460375 w 1020710"/>
                  <a:gd name="connsiteY14" fmla="*/ 996951 h 2840844"/>
                  <a:gd name="connsiteX15" fmla="*/ 415131 w 1020710"/>
                  <a:gd name="connsiteY15" fmla="*/ 1435101 h 2840844"/>
                  <a:gd name="connsiteX16" fmla="*/ 429419 w 1020710"/>
                  <a:gd name="connsiteY16" fmla="*/ 1873251 h 2840844"/>
                  <a:gd name="connsiteX17" fmla="*/ 450850 w 1020710"/>
                  <a:gd name="connsiteY17" fmla="*/ 2425701 h 2840844"/>
                  <a:gd name="connsiteX18" fmla="*/ 412750 w 1020710"/>
                  <a:gd name="connsiteY18" fmla="*/ 2701926 h 2840844"/>
                  <a:gd name="connsiteX19" fmla="*/ 403225 w 1020710"/>
                  <a:gd name="connsiteY19" fmla="*/ 2768601 h 2840844"/>
                  <a:gd name="connsiteX20" fmla="*/ 165100 w 1020710"/>
                  <a:gd name="connsiteY20" fmla="*/ 2835276 h 2840844"/>
                  <a:gd name="connsiteX21" fmla="*/ 22225 w 1020710"/>
                  <a:gd name="connsiteY21" fmla="*/ 2759076 h 2840844"/>
                  <a:gd name="connsiteX22" fmla="*/ 22225 w 1020710"/>
                  <a:gd name="connsiteY22" fmla="*/ 2339976 h 2840844"/>
                  <a:gd name="connsiteX23" fmla="*/ 12700 w 1020710"/>
                  <a:gd name="connsiteY23" fmla="*/ 1778001 h 2840844"/>
                  <a:gd name="connsiteX24" fmla="*/ 98425 w 1020710"/>
                  <a:gd name="connsiteY24" fmla="*/ 1682751 h 2840844"/>
                  <a:gd name="connsiteX25" fmla="*/ 193675 w 1020710"/>
                  <a:gd name="connsiteY25" fmla="*/ 1625601 h 2840844"/>
                  <a:gd name="connsiteX26" fmla="*/ 287292 w 1020710"/>
                  <a:gd name="connsiteY26" fmla="*/ 1371329 h 2840844"/>
                  <a:gd name="connsiteX27" fmla="*/ 328204 w 1020710"/>
                  <a:gd name="connsiteY27" fmla="*/ 796926 h 2840844"/>
                  <a:gd name="connsiteX28" fmla="*/ 327751 w 1020710"/>
                  <a:gd name="connsiteY28" fmla="*/ 511176 h 2840844"/>
                  <a:gd name="connsiteX29" fmla="*/ 231775 w 1020710"/>
                  <a:gd name="connsiteY29" fmla="*/ 396876 h 2840844"/>
                  <a:gd name="connsiteX30" fmla="*/ 422275 w 1020710"/>
                  <a:gd name="connsiteY30" fmla="*/ 434976 h 2840844"/>
                  <a:gd name="connsiteX31" fmla="*/ 453231 w 1020710"/>
                  <a:gd name="connsiteY31" fmla="*/ 344489 h 2840844"/>
                  <a:gd name="connsiteX32" fmla="*/ 462757 w 1020710"/>
                  <a:gd name="connsiteY32" fmla="*/ 3969 h 2840844"/>
                  <a:gd name="connsiteX0" fmla="*/ 462757 w 1016666"/>
                  <a:gd name="connsiteY0" fmla="*/ 3969 h 2840844"/>
                  <a:gd name="connsiteX1" fmla="*/ 469900 w 1016666"/>
                  <a:gd name="connsiteY1" fmla="*/ 368301 h 2840844"/>
                  <a:gd name="connsiteX2" fmla="*/ 584200 w 1016666"/>
                  <a:gd name="connsiteY2" fmla="*/ 423069 h 2840844"/>
                  <a:gd name="connsiteX3" fmla="*/ 681832 w 1016666"/>
                  <a:gd name="connsiteY3" fmla="*/ 394495 h 2840844"/>
                  <a:gd name="connsiteX4" fmla="*/ 650875 w 1016666"/>
                  <a:gd name="connsiteY4" fmla="*/ 758826 h 2840844"/>
                  <a:gd name="connsiteX5" fmla="*/ 776154 w 1016666"/>
                  <a:gd name="connsiteY5" fmla="*/ 1347893 h 2840844"/>
                  <a:gd name="connsiteX6" fmla="*/ 938441 w 1016666"/>
                  <a:gd name="connsiteY6" fmla="*/ 1722364 h 2840844"/>
                  <a:gd name="connsiteX7" fmla="*/ 956403 w 1016666"/>
                  <a:gd name="connsiteY7" fmla="*/ 2206626 h 2840844"/>
                  <a:gd name="connsiteX8" fmla="*/ 960891 w 1016666"/>
                  <a:gd name="connsiteY8" fmla="*/ 2524421 h 2840844"/>
                  <a:gd name="connsiteX9" fmla="*/ 970054 w 1016666"/>
                  <a:gd name="connsiteY9" fmla="*/ 2826635 h 2840844"/>
                  <a:gd name="connsiteX10" fmla="*/ 681216 w 1016666"/>
                  <a:gd name="connsiteY10" fmla="*/ 2609674 h 2840844"/>
                  <a:gd name="connsiteX11" fmla="*/ 635499 w 1016666"/>
                  <a:gd name="connsiteY11" fmla="*/ 1839158 h 2840844"/>
                  <a:gd name="connsiteX12" fmla="*/ 567531 w 1016666"/>
                  <a:gd name="connsiteY12" fmla="*/ 801688 h 2840844"/>
                  <a:gd name="connsiteX13" fmla="*/ 515144 w 1016666"/>
                  <a:gd name="connsiteY13" fmla="*/ 563563 h 2840844"/>
                  <a:gd name="connsiteX14" fmla="*/ 460375 w 1016666"/>
                  <a:gd name="connsiteY14" fmla="*/ 996951 h 2840844"/>
                  <a:gd name="connsiteX15" fmla="*/ 415131 w 1016666"/>
                  <a:gd name="connsiteY15" fmla="*/ 1435101 h 2840844"/>
                  <a:gd name="connsiteX16" fmla="*/ 429419 w 1016666"/>
                  <a:gd name="connsiteY16" fmla="*/ 1873251 h 2840844"/>
                  <a:gd name="connsiteX17" fmla="*/ 450850 w 1016666"/>
                  <a:gd name="connsiteY17" fmla="*/ 2425701 h 2840844"/>
                  <a:gd name="connsiteX18" fmla="*/ 412750 w 1016666"/>
                  <a:gd name="connsiteY18" fmla="*/ 2701926 h 2840844"/>
                  <a:gd name="connsiteX19" fmla="*/ 403225 w 1016666"/>
                  <a:gd name="connsiteY19" fmla="*/ 2768601 h 2840844"/>
                  <a:gd name="connsiteX20" fmla="*/ 165100 w 1016666"/>
                  <a:gd name="connsiteY20" fmla="*/ 2835276 h 2840844"/>
                  <a:gd name="connsiteX21" fmla="*/ 22225 w 1016666"/>
                  <a:gd name="connsiteY21" fmla="*/ 2759076 h 2840844"/>
                  <a:gd name="connsiteX22" fmla="*/ 22225 w 1016666"/>
                  <a:gd name="connsiteY22" fmla="*/ 2339976 h 2840844"/>
                  <a:gd name="connsiteX23" fmla="*/ 12700 w 1016666"/>
                  <a:gd name="connsiteY23" fmla="*/ 1778001 h 2840844"/>
                  <a:gd name="connsiteX24" fmla="*/ 98425 w 1016666"/>
                  <a:gd name="connsiteY24" fmla="*/ 1682751 h 2840844"/>
                  <a:gd name="connsiteX25" fmla="*/ 193675 w 1016666"/>
                  <a:gd name="connsiteY25" fmla="*/ 1625601 h 2840844"/>
                  <a:gd name="connsiteX26" fmla="*/ 287292 w 1016666"/>
                  <a:gd name="connsiteY26" fmla="*/ 1371329 h 2840844"/>
                  <a:gd name="connsiteX27" fmla="*/ 328204 w 1016666"/>
                  <a:gd name="connsiteY27" fmla="*/ 796926 h 2840844"/>
                  <a:gd name="connsiteX28" fmla="*/ 327751 w 1016666"/>
                  <a:gd name="connsiteY28" fmla="*/ 511176 h 2840844"/>
                  <a:gd name="connsiteX29" fmla="*/ 231775 w 1016666"/>
                  <a:gd name="connsiteY29" fmla="*/ 396876 h 2840844"/>
                  <a:gd name="connsiteX30" fmla="*/ 422275 w 1016666"/>
                  <a:gd name="connsiteY30" fmla="*/ 434976 h 2840844"/>
                  <a:gd name="connsiteX31" fmla="*/ 453231 w 1016666"/>
                  <a:gd name="connsiteY31" fmla="*/ 344489 h 2840844"/>
                  <a:gd name="connsiteX32" fmla="*/ 462757 w 1016666"/>
                  <a:gd name="connsiteY32" fmla="*/ 3969 h 2840844"/>
                  <a:gd name="connsiteX0" fmla="*/ 462757 w 1016666"/>
                  <a:gd name="connsiteY0" fmla="*/ 3969 h 2840844"/>
                  <a:gd name="connsiteX1" fmla="*/ 469900 w 1016666"/>
                  <a:gd name="connsiteY1" fmla="*/ 368301 h 2840844"/>
                  <a:gd name="connsiteX2" fmla="*/ 584200 w 1016666"/>
                  <a:gd name="connsiteY2" fmla="*/ 423069 h 2840844"/>
                  <a:gd name="connsiteX3" fmla="*/ 681832 w 1016666"/>
                  <a:gd name="connsiteY3" fmla="*/ 394495 h 2840844"/>
                  <a:gd name="connsiteX4" fmla="*/ 650875 w 1016666"/>
                  <a:gd name="connsiteY4" fmla="*/ 758826 h 2840844"/>
                  <a:gd name="connsiteX5" fmla="*/ 776154 w 1016666"/>
                  <a:gd name="connsiteY5" fmla="*/ 1347893 h 2840844"/>
                  <a:gd name="connsiteX6" fmla="*/ 938441 w 1016666"/>
                  <a:gd name="connsiteY6" fmla="*/ 1722364 h 2840844"/>
                  <a:gd name="connsiteX7" fmla="*/ 956403 w 1016666"/>
                  <a:gd name="connsiteY7" fmla="*/ 2206626 h 2840844"/>
                  <a:gd name="connsiteX8" fmla="*/ 960891 w 1016666"/>
                  <a:gd name="connsiteY8" fmla="*/ 2524421 h 2840844"/>
                  <a:gd name="connsiteX9" fmla="*/ 970054 w 1016666"/>
                  <a:gd name="connsiteY9" fmla="*/ 2826635 h 2840844"/>
                  <a:gd name="connsiteX10" fmla="*/ 681216 w 1016666"/>
                  <a:gd name="connsiteY10" fmla="*/ 2609674 h 2840844"/>
                  <a:gd name="connsiteX11" fmla="*/ 635499 w 1016666"/>
                  <a:gd name="connsiteY11" fmla="*/ 1839158 h 2840844"/>
                  <a:gd name="connsiteX12" fmla="*/ 567531 w 1016666"/>
                  <a:gd name="connsiteY12" fmla="*/ 801688 h 2840844"/>
                  <a:gd name="connsiteX13" fmla="*/ 515144 w 1016666"/>
                  <a:gd name="connsiteY13" fmla="*/ 563563 h 2840844"/>
                  <a:gd name="connsiteX14" fmla="*/ 460375 w 1016666"/>
                  <a:gd name="connsiteY14" fmla="*/ 996951 h 2840844"/>
                  <a:gd name="connsiteX15" fmla="*/ 415131 w 1016666"/>
                  <a:gd name="connsiteY15" fmla="*/ 1435101 h 2840844"/>
                  <a:gd name="connsiteX16" fmla="*/ 429419 w 1016666"/>
                  <a:gd name="connsiteY16" fmla="*/ 1873251 h 2840844"/>
                  <a:gd name="connsiteX17" fmla="*/ 450850 w 1016666"/>
                  <a:gd name="connsiteY17" fmla="*/ 2425701 h 2840844"/>
                  <a:gd name="connsiteX18" fmla="*/ 412750 w 1016666"/>
                  <a:gd name="connsiteY18" fmla="*/ 2701926 h 2840844"/>
                  <a:gd name="connsiteX19" fmla="*/ 403225 w 1016666"/>
                  <a:gd name="connsiteY19" fmla="*/ 2768601 h 2840844"/>
                  <a:gd name="connsiteX20" fmla="*/ 165100 w 1016666"/>
                  <a:gd name="connsiteY20" fmla="*/ 2835276 h 2840844"/>
                  <a:gd name="connsiteX21" fmla="*/ 22225 w 1016666"/>
                  <a:gd name="connsiteY21" fmla="*/ 2759076 h 2840844"/>
                  <a:gd name="connsiteX22" fmla="*/ 22225 w 1016666"/>
                  <a:gd name="connsiteY22" fmla="*/ 2339976 h 2840844"/>
                  <a:gd name="connsiteX23" fmla="*/ 12700 w 1016666"/>
                  <a:gd name="connsiteY23" fmla="*/ 1778001 h 2840844"/>
                  <a:gd name="connsiteX24" fmla="*/ 98425 w 1016666"/>
                  <a:gd name="connsiteY24" fmla="*/ 1682751 h 2840844"/>
                  <a:gd name="connsiteX25" fmla="*/ 193675 w 1016666"/>
                  <a:gd name="connsiteY25" fmla="*/ 1625601 h 2840844"/>
                  <a:gd name="connsiteX26" fmla="*/ 287292 w 1016666"/>
                  <a:gd name="connsiteY26" fmla="*/ 1371329 h 2840844"/>
                  <a:gd name="connsiteX27" fmla="*/ 328204 w 1016666"/>
                  <a:gd name="connsiteY27" fmla="*/ 796926 h 2840844"/>
                  <a:gd name="connsiteX28" fmla="*/ 327751 w 1016666"/>
                  <a:gd name="connsiteY28" fmla="*/ 511176 h 2840844"/>
                  <a:gd name="connsiteX29" fmla="*/ 231775 w 1016666"/>
                  <a:gd name="connsiteY29" fmla="*/ 396876 h 2840844"/>
                  <a:gd name="connsiteX30" fmla="*/ 422275 w 1016666"/>
                  <a:gd name="connsiteY30" fmla="*/ 434976 h 2840844"/>
                  <a:gd name="connsiteX31" fmla="*/ 453231 w 1016666"/>
                  <a:gd name="connsiteY31" fmla="*/ 344489 h 2840844"/>
                  <a:gd name="connsiteX32" fmla="*/ 462757 w 1016666"/>
                  <a:gd name="connsiteY32" fmla="*/ 3969 h 2840844"/>
                  <a:gd name="connsiteX0" fmla="*/ 462757 w 1016666"/>
                  <a:gd name="connsiteY0" fmla="*/ 3969 h 2840844"/>
                  <a:gd name="connsiteX1" fmla="*/ 469900 w 1016666"/>
                  <a:gd name="connsiteY1" fmla="*/ 368301 h 2840844"/>
                  <a:gd name="connsiteX2" fmla="*/ 584200 w 1016666"/>
                  <a:gd name="connsiteY2" fmla="*/ 423069 h 2840844"/>
                  <a:gd name="connsiteX3" fmla="*/ 681832 w 1016666"/>
                  <a:gd name="connsiteY3" fmla="*/ 394495 h 2840844"/>
                  <a:gd name="connsiteX4" fmla="*/ 650875 w 1016666"/>
                  <a:gd name="connsiteY4" fmla="*/ 758826 h 2840844"/>
                  <a:gd name="connsiteX5" fmla="*/ 776154 w 1016666"/>
                  <a:gd name="connsiteY5" fmla="*/ 1347893 h 2840844"/>
                  <a:gd name="connsiteX6" fmla="*/ 938441 w 1016666"/>
                  <a:gd name="connsiteY6" fmla="*/ 1722364 h 2840844"/>
                  <a:gd name="connsiteX7" fmla="*/ 956403 w 1016666"/>
                  <a:gd name="connsiteY7" fmla="*/ 2206626 h 2840844"/>
                  <a:gd name="connsiteX8" fmla="*/ 960891 w 1016666"/>
                  <a:gd name="connsiteY8" fmla="*/ 2524421 h 2840844"/>
                  <a:gd name="connsiteX9" fmla="*/ 970054 w 1016666"/>
                  <a:gd name="connsiteY9" fmla="*/ 2826635 h 2840844"/>
                  <a:gd name="connsiteX10" fmla="*/ 681216 w 1016666"/>
                  <a:gd name="connsiteY10" fmla="*/ 2609674 h 2840844"/>
                  <a:gd name="connsiteX11" fmla="*/ 635499 w 1016666"/>
                  <a:gd name="connsiteY11" fmla="*/ 1839158 h 2840844"/>
                  <a:gd name="connsiteX12" fmla="*/ 567531 w 1016666"/>
                  <a:gd name="connsiteY12" fmla="*/ 801688 h 2840844"/>
                  <a:gd name="connsiteX13" fmla="*/ 515144 w 1016666"/>
                  <a:gd name="connsiteY13" fmla="*/ 563563 h 2840844"/>
                  <a:gd name="connsiteX14" fmla="*/ 460375 w 1016666"/>
                  <a:gd name="connsiteY14" fmla="*/ 996951 h 2840844"/>
                  <a:gd name="connsiteX15" fmla="*/ 415131 w 1016666"/>
                  <a:gd name="connsiteY15" fmla="*/ 1435101 h 2840844"/>
                  <a:gd name="connsiteX16" fmla="*/ 429419 w 1016666"/>
                  <a:gd name="connsiteY16" fmla="*/ 1873251 h 2840844"/>
                  <a:gd name="connsiteX17" fmla="*/ 450850 w 1016666"/>
                  <a:gd name="connsiteY17" fmla="*/ 2425701 h 2840844"/>
                  <a:gd name="connsiteX18" fmla="*/ 412750 w 1016666"/>
                  <a:gd name="connsiteY18" fmla="*/ 2701926 h 2840844"/>
                  <a:gd name="connsiteX19" fmla="*/ 403225 w 1016666"/>
                  <a:gd name="connsiteY19" fmla="*/ 2768601 h 2840844"/>
                  <a:gd name="connsiteX20" fmla="*/ 165100 w 1016666"/>
                  <a:gd name="connsiteY20" fmla="*/ 2835276 h 2840844"/>
                  <a:gd name="connsiteX21" fmla="*/ 22225 w 1016666"/>
                  <a:gd name="connsiteY21" fmla="*/ 2759076 h 2840844"/>
                  <a:gd name="connsiteX22" fmla="*/ 22225 w 1016666"/>
                  <a:gd name="connsiteY22" fmla="*/ 2339976 h 2840844"/>
                  <a:gd name="connsiteX23" fmla="*/ 12700 w 1016666"/>
                  <a:gd name="connsiteY23" fmla="*/ 1778001 h 2840844"/>
                  <a:gd name="connsiteX24" fmla="*/ 98425 w 1016666"/>
                  <a:gd name="connsiteY24" fmla="*/ 1682751 h 2840844"/>
                  <a:gd name="connsiteX25" fmla="*/ 193675 w 1016666"/>
                  <a:gd name="connsiteY25" fmla="*/ 1625601 h 2840844"/>
                  <a:gd name="connsiteX26" fmla="*/ 287292 w 1016666"/>
                  <a:gd name="connsiteY26" fmla="*/ 1371329 h 2840844"/>
                  <a:gd name="connsiteX27" fmla="*/ 328204 w 1016666"/>
                  <a:gd name="connsiteY27" fmla="*/ 796926 h 2840844"/>
                  <a:gd name="connsiteX28" fmla="*/ 327751 w 1016666"/>
                  <a:gd name="connsiteY28" fmla="*/ 511176 h 2840844"/>
                  <a:gd name="connsiteX29" fmla="*/ 231775 w 1016666"/>
                  <a:gd name="connsiteY29" fmla="*/ 396876 h 2840844"/>
                  <a:gd name="connsiteX30" fmla="*/ 422275 w 1016666"/>
                  <a:gd name="connsiteY30" fmla="*/ 434976 h 2840844"/>
                  <a:gd name="connsiteX31" fmla="*/ 453231 w 1016666"/>
                  <a:gd name="connsiteY31" fmla="*/ 344489 h 2840844"/>
                  <a:gd name="connsiteX32" fmla="*/ 462757 w 1016666"/>
                  <a:gd name="connsiteY32" fmla="*/ 3969 h 2840844"/>
                  <a:gd name="connsiteX0" fmla="*/ 462757 w 1016666"/>
                  <a:gd name="connsiteY0" fmla="*/ 3969 h 2840844"/>
                  <a:gd name="connsiteX1" fmla="*/ 469900 w 1016666"/>
                  <a:gd name="connsiteY1" fmla="*/ 368301 h 2840844"/>
                  <a:gd name="connsiteX2" fmla="*/ 584200 w 1016666"/>
                  <a:gd name="connsiteY2" fmla="*/ 423069 h 2840844"/>
                  <a:gd name="connsiteX3" fmla="*/ 681832 w 1016666"/>
                  <a:gd name="connsiteY3" fmla="*/ 394495 h 2840844"/>
                  <a:gd name="connsiteX4" fmla="*/ 650875 w 1016666"/>
                  <a:gd name="connsiteY4" fmla="*/ 758826 h 2840844"/>
                  <a:gd name="connsiteX5" fmla="*/ 776154 w 1016666"/>
                  <a:gd name="connsiteY5" fmla="*/ 1347893 h 2840844"/>
                  <a:gd name="connsiteX6" fmla="*/ 938441 w 1016666"/>
                  <a:gd name="connsiteY6" fmla="*/ 1722364 h 2840844"/>
                  <a:gd name="connsiteX7" fmla="*/ 956403 w 1016666"/>
                  <a:gd name="connsiteY7" fmla="*/ 2206626 h 2840844"/>
                  <a:gd name="connsiteX8" fmla="*/ 960891 w 1016666"/>
                  <a:gd name="connsiteY8" fmla="*/ 2524421 h 2840844"/>
                  <a:gd name="connsiteX9" fmla="*/ 970054 w 1016666"/>
                  <a:gd name="connsiteY9" fmla="*/ 2826635 h 2840844"/>
                  <a:gd name="connsiteX10" fmla="*/ 681216 w 1016666"/>
                  <a:gd name="connsiteY10" fmla="*/ 2609674 h 2840844"/>
                  <a:gd name="connsiteX11" fmla="*/ 635499 w 1016666"/>
                  <a:gd name="connsiteY11" fmla="*/ 1839158 h 2840844"/>
                  <a:gd name="connsiteX12" fmla="*/ 567531 w 1016666"/>
                  <a:gd name="connsiteY12" fmla="*/ 801688 h 2840844"/>
                  <a:gd name="connsiteX13" fmla="*/ 515144 w 1016666"/>
                  <a:gd name="connsiteY13" fmla="*/ 563563 h 2840844"/>
                  <a:gd name="connsiteX14" fmla="*/ 460375 w 1016666"/>
                  <a:gd name="connsiteY14" fmla="*/ 996951 h 2840844"/>
                  <a:gd name="connsiteX15" fmla="*/ 415131 w 1016666"/>
                  <a:gd name="connsiteY15" fmla="*/ 1435101 h 2840844"/>
                  <a:gd name="connsiteX16" fmla="*/ 429419 w 1016666"/>
                  <a:gd name="connsiteY16" fmla="*/ 1873251 h 2840844"/>
                  <a:gd name="connsiteX17" fmla="*/ 450850 w 1016666"/>
                  <a:gd name="connsiteY17" fmla="*/ 2425701 h 2840844"/>
                  <a:gd name="connsiteX18" fmla="*/ 412750 w 1016666"/>
                  <a:gd name="connsiteY18" fmla="*/ 2701926 h 2840844"/>
                  <a:gd name="connsiteX19" fmla="*/ 403225 w 1016666"/>
                  <a:gd name="connsiteY19" fmla="*/ 2768601 h 2840844"/>
                  <a:gd name="connsiteX20" fmla="*/ 165100 w 1016666"/>
                  <a:gd name="connsiteY20" fmla="*/ 2835276 h 2840844"/>
                  <a:gd name="connsiteX21" fmla="*/ 22225 w 1016666"/>
                  <a:gd name="connsiteY21" fmla="*/ 2759076 h 2840844"/>
                  <a:gd name="connsiteX22" fmla="*/ 22225 w 1016666"/>
                  <a:gd name="connsiteY22" fmla="*/ 2339976 h 2840844"/>
                  <a:gd name="connsiteX23" fmla="*/ 12700 w 1016666"/>
                  <a:gd name="connsiteY23" fmla="*/ 1778001 h 2840844"/>
                  <a:gd name="connsiteX24" fmla="*/ 98425 w 1016666"/>
                  <a:gd name="connsiteY24" fmla="*/ 1682751 h 2840844"/>
                  <a:gd name="connsiteX25" fmla="*/ 193675 w 1016666"/>
                  <a:gd name="connsiteY25" fmla="*/ 1625601 h 2840844"/>
                  <a:gd name="connsiteX26" fmla="*/ 287292 w 1016666"/>
                  <a:gd name="connsiteY26" fmla="*/ 1371329 h 2840844"/>
                  <a:gd name="connsiteX27" fmla="*/ 328204 w 1016666"/>
                  <a:gd name="connsiteY27" fmla="*/ 796926 h 2840844"/>
                  <a:gd name="connsiteX28" fmla="*/ 327751 w 1016666"/>
                  <a:gd name="connsiteY28" fmla="*/ 511176 h 2840844"/>
                  <a:gd name="connsiteX29" fmla="*/ 231775 w 1016666"/>
                  <a:gd name="connsiteY29" fmla="*/ 396876 h 2840844"/>
                  <a:gd name="connsiteX30" fmla="*/ 422275 w 1016666"/>
                  <a:gd name="connsiteY30" fmla="*/ 434976 h 2840844"/>
                  <a:gd name="connsiteX31" fmla="*/ 453231 w 1016666"/>
                  <a:gd name="connsiteY31" fmla="*/ 344489 h 2840844"/>
                  <a:gd name="connsiteX32" fmla="*/ 462757 w 1016666"/>
                  <a:gd name="connsiteY32" fmla="*/ 3969 h 2840844"/>
                  <a:gd name="connsiteX0" fmla="*/ 462757 w 1016666"/>
                  <a:gd name="connsiteY0" fmla="*/ 3969 h 2840844"/>
                  <a:gd name="connsiteX1" fmla="*/ 469900 w 1016666"/>
                  <a:gd name="connsiteY1" fmla="*/ 368301 h 2840844"/>
                  <a:gd name="connsiteX2" fmla="*/ 584200 w 1016666"/>
                  <a:gd name="connsiteY2" fmla="*/ 423069 h 2840844"/>
                  <a:gd name="connsiteX3" fmla="*/ 681832 w 1016666"/>
                  <a:gd name="connsiteY3" fmla="*/ 394495 h 2840844"/>
                  <a:gd name="connsiteX4" fmla="*/ 650875 w 1016666"/>
                  <a:gd name="connsiteY4" fmla="*/ 758826 h 2840844"/>
                  <a:gd name="connsiteX5" fmla="*/ 776154 w 1016666"/>
                  <a:gd name="connsiteY5" fmla="*/ 1347893 h 2840844"/>
                  <a:gd name="connsiteX6" fmla="*/ 938441 w 1016666"/>
                  <a:gd name="connsiteY6" fmla="*/ 1722364 h 2840844"/>
                  <a:gd name="connsiteX7" fmla="*/ 956403 w 1016666"/>
                  <a:gd name="connsiteY7" fmla="*/ 2206626 h 2840844"/>
                  <a:gd name="connsiteX8" fmla="*/ 960891 w 1016666"/>
                  <a:gd name="connsiteY8" fmla="*/ 2524421 h 2840844"/>
                  <a:gd name="connsiteX9" fmla="*/ 970054 w 1016666"/>
                  <a:gd name="connsiteY9" fmla="*/ 2826635 h 2840844"/>
                  <a:gd name="connsiteX10" fmla="*/ 681216 w 1016666"/>
                  <a:gd name="connsiteY10" fmla="*/ 2609674 h 2840844"/>
                  <a:gd name="connsiteX11" fmla="*/ 635499 w 1016666"/>
                  <a:gd name="connsiteY11" fmla="*/ 1839158 h 2840844"/>
                  <a:gd name="connsiteX12" fmla="*/ 567531 w 1016666"/>
                  <a:gd name="connsiteY12" fmla="*/ 801688 h 2840844"/>
                  <a:gd name="connsiteX13" fmla="*/ 515144 w 1016666"/>
                  <a:gd name="connsiteY13" fmla="*/ 563563 h 2840844"/>
                  <a:gd name="connsiteX14" fmla="*/ 460375 w 1016666"/>
                  <a:gd name="connsiteY14" fmla="*/ 996951 h 2840844"/>
                  <a:gd name="connsiteX15" fmla="*/ 415131 w 1016666"/>
                  <a:gd name="connsiteY15" fmla="*/ 1435101 h 2840844"/>
                  <a:gd name="connsiteX16" fmla="*/ 429419 w 1016666"/>
                  <a:gd name="connsiteY16" fmla="*/ 1873251 h 2840844"/>
                  <a:gd name="connsiteX17" fmla="*/ 450850 w 1016666"/>
                  <a:gd name="connsiteY17" fmla="*/ 2425701 h 2840844"/>
                  <a:gd name="connsiteX18" fmla="*/ 412750 w 1016666"/>
                  <a:gd name="connsiteY18" fmla="*/ 2701926 h 2840844"/>
                  <a:gd name="connsiteX19" fmla="*/ 403225 w 1016666"/>
                  <a:gd name="connsiteY19" fmla="*/ 2768601 h 2840844"/>
                  <a:gd name="connsiteX20" fmla="*/ 165100 w 1016666"/>
                  <a:gd name="connsiteY20" fmla="*/ 2835276 h 2840844"/>
                  <a:gd name="connsiteX21" fmla="*/ 22225 w 1016666"/>
                  <a:gd name="connsiteY21" fmla="*/ 2759076 h 2840844"/>
                  <a:gd name="connsiteX22" fmla="*/ 22225 w 1016666"/>
                  <a:gd name="connsiteY22" fmla="*/ 2339976 h 2840844"/>
                  <a:gd name="connsiteX23" fmla="*/ 12700 w 1016666"/>
                  <a:gd name="connsiteY23" fmla="*/ 1778001 h 2840844"/>
                  <a:gd name="connsiteX24" fmla="*/ 98425 w 1016666"/>
                  <a:gd name="connsiteY24" fmla="*/ 1682751 h 2840844"/>
                  <a:gd name="connsiteX25" fmla="*/ 193675 w 1016666"/>
                  <a:gd name="connsiteY25" fmla="*/ 1625601 h 2840844"/>
                  <a:gd name="connsiteX26" fmla="*/ 287292 w 1016666"/>
                  <a:gd name="connsiteY26" fmla="*/ 1371329 h 2840844"/>
                  <a:gd name="connsiteX27" fmla="*/ 328204 w 1016666"/>
                  <a:gd name="connsiteY27" fmla="*/ 796926 h 2840844"/>
                  <a:gd name="connsiteX28" fmla="*/ 327751 w 1016666"/>
                  <a:gd name="connsiteY28" fmla="*/ 511176 h 2840844"/>
                  <a:gd name="connsiteX29" fmla="*/ 231775 w 1016666"/>
                  <a:gd name="connsiteY29" fmla="*/ 396876 h 2840844"/>
                  <a:gd name="connsiteX30" fmla="*/ 422275 w 1016666"/>
                  <a:gd name="connsiteY30" fmla="*/ 434976 h 2840844"/>
                  <a:gd name="connsiteX31" fmla="*/ 453231 w 1016666"/>
                  <a:gd name="connsiteY31" fmla="*/ 344489 h 2840844"/>
                  <a:gd name="connsiteX32" fmla="*/ 462757 w 1016666"/>
                  <a:gd name="connsiteY32" fmla="*/ 3969 h 2840844"/>
                  <a:gd name="connsiteX0" fmla="*/ 462757 w 1040932"/>
                  <a:gd name="connsiteY0" fmla="*/ 3969 h 2894966"/>
                  <a:gd name="connsiteX1" fmla="*/ 469900 w 1040932"/>
                  <a:gd name="connsiteY1" fmla="*/ 368301 h 2894966"/>
                  <a:gd name="connsiteX2" fmla="*/ 584200 w 1040932"/>
                  <a:gd name="connsiteY2" fmla="*/ 423069 h 2894966"/>
                  <a:gd name="connsiteX3" fmla="*/ 681832 w 1040932"/>
                  <a:gd name="connsiteY3" fmla="*/ 394495 h 2894966"/>
                  <a:gd name="connsiteX4" fmla="*/ 650875 w 1040932"/>
                  <a:gd name="connsiteY4" fmla="*/ 758826 h 2894966"/>
                  <a:gd name="connsiteX5" fmla="*/ 776154 w 1040932"/>
                  <a:gd name="connsiteY5" fmla="*/ 1347893 h 2894966"/>
                  <a:gd name="connsiteX6" fmla="*/ 938441 w 1040932"/>
                  <a:gd name="connsiteY6" fmla="*/ 1722364 h 2894966"/>
                  <a:gd name="connsiteX7" fmla="*/ 956403 w 1040932"/>
                  <a:gd name="connsiteY7" fmla="*/ 2206626 h 2894966"/>
                  <a:gd name="connsiteX8" fmla="*/ 960891 w 1040932"/>
                  <a:gd name="connsiteY8" fmla="*/ 2524421 h 2894966"/>
                  <a:gd name="connsiteX9" fmla="*/ 994320 w 1040932"/>
                  <a:gd name="connsiteY9" fmla="*/ 2880757 h 2894966"/>
                  <a:gd name="connsiteX10" fmla="*/ 681216 w 1040932"/>
                  <a:gd name="connsiteY10" fmla="*/ 2609674 h 2894966"/>
                  <a:gd name="connsiteX11" fmla="*/ 635499 w 1040932"/>
                  <a:gd name="connsiteY11" fmla="*/ 1839158 h 2894966"/>
                  <a:gd name="connsiteX12" fmla="*/ 567531 w 1040932"/>
                  <a:gd name="connsiteY12" fmla="*/ 801688 h 2894966"/>
                  <a:gd name="connsiteX13" fmla="*/ 515144 w 1040932"/>
                  <a:gd name="connsiteY13" fmla="*/ 563563 h 2894966"/>
                  <a:gd name="connsiteX14" fmla="*/ 460375 w 1040932"/>
                  <a:gd name="connsiteY14" fmla="*/ 996951 h 2894966"/>
                  <a:gd name="connsiteX15" fmla="*/ 415131 w 1040932"/>
                  <a:gd name="connsiteY15" fmla="*/ 1435101 h 2894966"/>
                  <a:gd name="connsiteX16" fmla="*/ 429419 w 1040932"/>
                  <a:gd name="connsiteY16" fmla="*/ 1873251 h 2894966"/>
                  <a:gd name="connsiteX17" fmla="*/ 450850 w 1040932"/>
                  <a:gd name="connsiteY17" fmla="*/ 2425701 h 2894966"/>
                  <a:gd name="connsiteX18" fmla="*/ 412750 w 1040932"/>
                  <a:gd name="connsiteY18" fmla="*/ 2701926 h 2894966"/>
                  <a:gd name="connsiteX19" fmla="*/ 403225 w 1040932"/>
                  <a:gd name="connsiteY19" fmla="*/ 2768601 h 2894966"/>
                  <a:gd name="connsiteX20" fmla="*/ 165100 w 1040932"/>
                  <a:gd name="connsiteY20" fmla="*/ 2835276 h 2894966"/>
                  <a:gd name="connsiteX21" fmla="*/ 22225 w 1040932"/>
                  <a:gd name="connsiteY21" fmla="*/ 2759076 h 2894966"/>
                  <a:gd name="connsiteX22" fmla="*/ 22225 w 1040932"/>
                  <a:gd name="connsiteY22" fmla="*/ 2339976 h 2894966"/>
                  <a:gd name="connsiteX23" fmla="*/ 12700 w 1040932"/>
                  <a:gd name="connsiteY23" fmla="*/ 1778001 h 2894966"/>
                  <a:gd name="connsiteX24" fmla="*/ 98425 w 1040932"/>
                  <a:gd name="connsiteY24" fmla="*/ 1682751 h 2894966"/>
                  <a:gd name="connsiteX25" fmla="*/ 193675 w 1040932"/>
                  <a:gd name="connsiteY25" fmla="*/ 1625601 h 2894966"/>
                  <a:gd name="connsiteX26" fmla="*/ 287292 w 1040932"/>
                  <a:gd name="connsiteY26" fmla="*/ 1371329 h 2894966"/>
                  <a:gd name="connsiteX27" fmla="*/ 328204 w 1040932"/>
                  <a:gd name="connsiteY27" fmla="*/ 796926 h 2894966"/>
                  <a:gd name="connsiteX28" fmla="*/ 327751 w 1040932"/>
                  <a:gd name="connsiteY28" fmla="*/ 511176 h 2894966"/>
                  <a:gd name="connsiteX29" fmla="*/ 231775 w 1040932"/>
                  <a:gd name="connsiteY29" fmla="*/ 396876 h 2894966"/>
                  <a:gd name="connsiteX30" fmla="*/ 422275 w 1040932"/>
                  <a:gd name="connsiteY30" fmla="*/ 434976 h 2894966"/>
                  <a:gd name="connsiteX31" fmla="*/ 453231 w 1040932"/>
                  <a:gd name="connsiteY31" fmla="*/ 344489 h 2894966"/>
                  <a:gd name="connsiteX32" fmla="*/ 462757 w 1040932"/>
                  <a:gd name="connsiteY32" fmla="*/ 3969 h 2894966"/>
                  <a:gd name="connsiteX0" fmla="*/ 462757 w 1011813"/>
                  <a:gd name="connsiteY0" fmla="*/ 3969 h 2894966"/>
                  <a:gd name="connsiteX1" fmla="*/ 469900 w 1011813"/>
                  <a:gd name="connsiteY1" fmla="*/ 368301 h 2894966"/>
                  <a:gd name="connsiteX2" fmla="*/ 584200 w 1011813"/>
                  <a:gd name="connsiteY2" fmla="*/ 423069 h 2894966"/>
                  <a:gd name="connsiteX3" fmla="*/ 681832 w 1011813"/>
                  <a:gd name="connsiteY3" fmla="*/ 394495 h 2894966"/>
                  <a:gd name="connsiteX4" fmla="*/ 650875 w 1011813"/>
                  <a:gd name="connsiteY4" fmla="*/ 758826 h 2894966"/>
                  <a:gd name="connsiteX5" fmla="*/ 776154 w 1011813"/>
                  <a:gd name="connsiteY5" fmla="*/ 1347893 h 2894966"/>
                  <a:gd name="connsiteX6" fmla="*/ 938441 w 1011813"/>
                  <a:gd name="connsiteY6" fmla="*/ 1722364 h 2894966"/>
                  <a:gd name="connsiteX7" fmla="*/ 956403 w 1011813"/>
                  <a:gd name="connsiteY7" fmla="*/ 2206626 h 2894966"/>
                  <a:gd name="connsiteX8" fmla="*/ 960891 w 1011813"/>
                  <a:gd name="connsiteY8" fmla="*/ 2524421 h 2894966"/>
                  <a:gd name="connsiteX9" fmla="*/ 994320 w 1011813"/>
                  <a:gd name="connsiteY9" fmla="*/ 2880757 h 2894966"/>
                  <a:gd name="connsiteX10" fmla="*/ 681216 w 1011813"/>
                  <a:gd name="connsiteY10" fmla="*/ 2609674 h 2894966"/>
                  <a:gd name="connsiteX11" fmla="*/ 635499 w 1011813"/>
                  <a:gd name="connsiteY11" fmla="*/ 1839158 h 2894966"/>
                  <a:gd name="connsiteX12" fmla="*/ 567531 w 1011813"/>
                  <a:gd name="connsiteY12" fmla="*/ 801688 h 2894966"/>
                  <a:gd name="connsiteX13" fmla="*/ 515144 w 1011813"/>
                  <a:gd name="connsiteY13" fmla="*/ 563563 h 2894966"/>
                  <a:gd name="connsiteX14" fmla="*/ 460375 w 1011813"/>
                  <a:gd name="connsiteY14" fmla="*/ 996951 h 2894966"/>
                  <a:gd name="connsiteX15" fmla="*/ 415131 w 1011813"/>
                  <a:gd name="connsiteY15" fmla="*/ 1435101 h 2894966"/>
                  <a:gd name="connsiteX16" fmla="*/ 429419 w 1011813"/>
                  <a:gd name="connsiteY16" fmla="*/ 1873251 h 2894966"/>
                  <a:gd name="connsiteX17" fmla="*/ 450850 w 1011813"/>
                  <a:gd name="connsiteY17" fmla="*/ 2425701 h 2894966"/>
                  <a:gd name="connsiteX18" fmla="*/ 412750 w 1011813"/>
                  <a:gd name="connsiteY18" fmla="*/ 2701926 h 2894966"/>
                  <a:gd name="connsiteX19" fmla="*/ 403225 w 1011813"/>
                  <a:gd name="connsiteY19" fmla="*/ 2768601 h 2894966"/>
                  <a:gd name="connsiteX20" fmla="*/ 165100 w 1011813"/>
                  <a:gd name="connsiteY20" fmla="*/ 2835276 h 2894966"/>
                  <a:gd name="connsiteX21" fmla="*/ 22225 w 1011813"/>
                  <a:gd name="connsiteY21" fmla="*/ 2759076 h 2894966"/>
                  <a:gd name="connsiteX22" fmla="*/ 22225 w 1011813"/>
                  <a:gd name="connsiteY22" fmla="*/ 2339976 h 2894966"/>
                  <a:gd name="connsiteX23" fmla="*/ 12700 w 1011813"/>
                  <a:gd name="connsiteY23" fmla="*/ 1778001 h 2894966"/>
                  <a:gd name="connsiteX24" fmla="*/ 98425 w 1011813"/>
                  <a:gd name="connsiteY24" fmla="*/ 1682751 h 2894966"/>
                  <a:gd name="connsiteX25" fmla="*/ 193675 w 1011813"/>
                  <a:gd name="connsiteY25" fmla="*/ 1625601 h 2894966"/>
                  <a:gd name="connsiteX26" fmla="*/ 287292 w 1011813"/>
                  <a:gd name="connsiteY26" fmla="*/ 1371329 h 2894966"/>
                  <a:gd name="connsiteX27" fmla="*/ 328204 w 1011813"/>
                  <a:gd name="connsiteY27" fmla="*/ 796926 h 2894966"/>
                  <a:gd name="connsiteX28" fmla="*/ 327751 w 1011813"/>
                  <a:gd name="connsiteY28" fmla="*/ 511176 h 2894966"/>
                  <a:gd name="connsiteX29" fmla="*/ 231775 w 1011813"/>
                  <a:gd name="connsiteY29" fmla="*/ 396876 h 2894966"/>
                  <a:gd name="connsiteX30" fmla="*/ 422275 w 1011813"/>
                  <a:gd name="connsiteY30" fmla="*/ 434976 h 2894966"/>
                  <a:gd name="connsiteX31" fmla="*/ 453231 w 1011813"/>
                  <a:gd name="connsiteY31" fmla="*/ 344489 h 2894966"/>
                  <a:gd name="connsiteX32" fmla="*/ 462757 w 1011813"/>
                  <a:gd name="connsiteY32" fmla="*/ 3969 h 2894966"/>
                  <a:gd name="connsiteX0" fmla="*/ 462757 w 1011813"/>
                  <a:gd name="connsiteY0" fmla="*/ 3969 h 2894966"/>
                  <a:gd name="connsiteX1" fmla="*/ 469900 w 1011813"/>
                  <a:gd name="connsiteY1" fmla="*/ 368301 h 2894966"/>
                  <a:gd name="connsiteX2" fmla="*/ 584200 w 1011813"/>
                  <a:gd name="connsiteY2" fmla="*/ 423069 h 2894966"/>
                  <a:gd name="connsiteX3" fmla="*/ 681832 w 1011813"/>
                  <a:gd name="connsiteY3" fmla="*/ 394495 h 2894966"/>
                  <a:gd name="connsiteX4" fmla="*/ 650875 w 1011813"/>
                  <a:gd name="connsiteY4" fmla="*/ 758826 h 2894966"/>
                  <a:gd name="connsiteX5" fmla="*/ 776154 w 1011813"/>
                  <a:gd name="connsiteY5" fmla="*/ 1347893 h 2894966"/>
                  <a:gd name="connsiteX6" fmla="*/ 938441 w 1011813"/>
                  <a:gd name="connsiteY6" fmla="*/ 1722364 h 2894966"/>
                  <a:gd name="connsiteX7" fmla="*/ 956403 w 1011813"/>
                  <a:gd name="connsiteY7" fmla="*/ 2206626 h 2894966"/>
                  <a:gd name="connsiteX8" fmla="*/ 960891 w 1011813"/>
                  <a:gd name="connsiteY8" fmla="*/ 2524421 h 2894966"/>
                  <a:gd name="connsiteX9" fmla="*/ 994320 w 1011813"/>
                  <a:gd name="connsiteY9" fmla="*/ 2880757 h 2894966"/>
                  <a:gd name="connsiteX10" fmla="*/ 681216 w 1011813"/>
                  <a:gd name="connsiteY10" fmla="*/ 2663798 h 2894966"/>
                  <a:gd name="connsiteX11" fmla="*/ 635499 w 1011813"/>
                  <a:gd name="connsiteY11" fmla="*/ 1839158 h 2894966"/>
                  <a:gd name="connsiteX12" fmla="*/ 567531 w 1011813"/>
                  <a:gd name="connsiteY12" fmla="*/ 801688 h 2894966"/>
                  <a:gd name="connsiteX13" fmla="*/ 515144 w 1011813"/>
                  <a:gd name="connsiteY13" fmla="*/ 563563 h 2894966"/>
                  <a:gd name="connsiteX14" fmla="*/ 460375 w 1011813"/>
                  <a:gd name="connsiteY14" fmla="*/ 996951 h 2894966"/>
                  <a:gd name="connsiteX15" fmla="*/ 415131 w 1011813"/>
                  <a:gd name="connsiteY15" fmla="*/ 1435101 h 2894966"/>
                  <a:gd name="connsiteX16" fmla="*/ 429419 w 1011813"/>
                  <a:gd name="connsiteY16" fmla="*/ 1873251 h 2894966"/>
                  <a:gd name="connsiteX17" fmla="*/ 450850 w 1011813"/>
                  <a:gd name="connsiteY17" fmla="*/ 2425701 h 2894966"/>
                  <a:gd name="connsiteX18" fmla="*/ 412750 w 1011813"/>
                  <a:gd name="connsiteY18" fmla="*/ 2701926 h 2894966"/>
                  <a:gd name="connsiteX19" fmla="*/ 403225 w 1011813"/>
                  <a:gd name="connsiteY19" fmla="*/ 2768601 h 2894966"/>
                  <a:gd name="connsiteX20" fmla="*/ 165100 w 1011813"/>
                  <a:gd name="connsiteY20" fmla="*/ 2835276 h 2894966"/>
                  <a:gd name="connsiteX21" fmla="*/ 22225 w 1011813"/>
                  <a:gd name="connsiteY21" fmla="*/ 2759076 h 2894966"/>
                  <a:gd name="connsiteX22" fmla="*/ 22225 w 1011813"/>
                  <a:gd name="connsiteY22" fmla="*/ 2339976 h 2894966"/>
                  <a:gd name="connsiteX23" fmla="*/ 12700 w 1011813"/>
                  <a:gd name="connsiteY23" fmla="*/ 1778001 h 2894966"/>
                  <a:gd name="connsiteX24" fmla="*/ 98425 w 1011813"/>
                  <a:gd name="connsiteY24" fmla="*/ 1682751 h 2894966"/>
                  <a:gd name="connsiteX25" fmla="*/ 193675 w 1011813"/>
                  <a:gd name="connsiteY25" fmla="*/ 1625601 h 2894966"/>
                  <a:gd name="connsiteX26" fmla="*/ 287292 w 1011813"/>
                  <a:gd name="connsiteY26" fmla="*/ 1371329 h 2894966"/>
                  <a:gd name="connsiteX27" fmla="*/ 328204 w 1011813"/>
                  <a:gd name="connsiteY27" fmla="*/ 796926 h 2894966"/>
                  <a:gd name="connsiteX28" fmla="*/ 327751 w 1011813"/>
                  <a:gd name="connsiteY28" fmla="*/ 511176 h 2894966"/>
                  <a:gd name="connsiteX29" fmla="*/ 231775 w 1011813"/>
                  <a:gd name="connsiteY29" fmla="*/ 396876 h 2894966"/>
                  <a:gd name="connsiteX30" fmla="*/ 422275 w 1011813"/>
                  <a:gd name="connsiteY30" fmla="*/ 434976 h 2894966"/>
                  <a:gd name="connsiteX31" fmla="*/ 453231 w 1011813"/>
                  <a:gd name="connsiteY31" fmla="*/ 344489 h 2894966"/>
                  <a:gd name="connsiteX32" fmla="*/ 462757 w 1011813"/>
                  <a:gd name="connsiteY32" fmla="*/ 3969 h 2894966"/>
                  <a:gd name="connsiteX0" fmla="*/ 460784 w 1009840"/>
                  <a:gd name="connsiteY0" fmla="*/ 3969 h 2894966"/>
                  <a:gd name="connsiteX1" fmla="*/ 467927 w 1009840"/>
                  <a:gd name="connsiteY1" fmla="*/ 368301 h 2894966"/>
                  <a:gd name="connsiteX2" fmla="*/ 582227 w 1009840"/>
                  <a:gd name="connsiteY2" fmla="*/ 423069 h 2894966"/>
                  <a:gd name="connsiteX3" fmla="*/ 679859 w 1009840"/>
                  <a:gd name="connsiteY3" fmla="*/ 394495 h 2894966"/>
                  <a:gd name="connsiteX4" fmla="*/ 648902 w 1009840"/>
                  <a:gd name="connsiteY4" fmla="*/ 758826 h 2894966"/>
                  <a:gd name="connsiteX5" fmla="*/ 774181 w 1009840"/>
                  <a:gd name="connsiteY5" fmla="*/ 1347893 h 2894966"/>
                  <a:gd name="connsiteX6" fmla="*/ 936468 w 1009840"/>
                  <a:gd name="connsiteY6" fmla="*/ 1722364 h 2894966"/>
                  <a:gd name="connsiteX7" fmla="*/ 954430 w 1009840"/>
                  <a:gd name="connsiteY7" fmla="*/ 2206626 h 2894966"/>
                  <a:gd name="connsiteX8" fmla="*/ 958918 w 1009840"/>
                  <a:gd name="connsiteY8" fmla="*/ 2524421 h 2894966"/>
                  <a:gd name="connsiteX9" fmla="*/ 992347 w 1009840"/>
                  <a:gd name="connsiteY9" fmla="*/ 2880757 h 2894966"/>
                  <a:gd name="connsiteX10" fmla="*/ 679243 w 1009840"/>
                  <a:gd name="connsiteY10" fmla="*/ 2663798 h 2894966"/>
                  <a:gd name="connsiteX11" fmla="*/ 633526 w 1009840"/>
                  <a:gd name="connsiteY11" fmla="*/ 1839158 h 2894966"/>
                  <a:gd name="connsiteX12" fmla="*/ 565558 w 1009840"/>
                  <a:gd name="connsiteY12" fmla="*/ 801688 h 2894966"/>
                  <a:gd name="connsiteX13" fmla="*/ 513171 w 1009840"/>
                  <a:gd name="connsiteY13" fmla="*/ 563563 h 2894966"/>
                  <a:gd name="connsiteX14" fmla="*/ 458402 w 1009840"/>
                  <a:gd name="connsiteY14" fmla="*/ 996951 h 2894966"/>
                  <a:gd name="connsiteX15" fmla="*/ 413158 w 1009840"/>
                  <a:gd name="connsiteY15" fmla="*/ 1435101 h 2894966"/>
                  <a:gd name="connsiteX16" fmla="*/ 427446 w 1009840"/>
                  <a:gd name="connsiteY16" fmla="*/ 1873251 h 2894966"/>
                  <a:gd name="connsiteX17" fmla="*/ 448877 w 1009840"/>
                  <a:gd name="connsiteY17" fmla="*/ 2425701 h 2894966"/>
                  <a:gd name="connsiteX18" fmla="*/ 410777 w 1009840"/>
                  <a:gd name="connsiteY18" fmla="*/ 2701926 h 2894966"/>
                  <a:gd name="connsiteX19" fmla="*/ 401252 w 1009840"/>
                  <a:gd name="connsiteY19" fmla="*/ 2768601 h 2894966"/>
                  <a:gd name="connsiteX20" fmla="*/ 163127 w 1009840"/>
                  <a:gd name="connsiteY20" fmla="*/ 2835276 h 2894966"/>
                  <a:gd name="connsiteX21" fmla="*/ 20252 w 1009840"/>
                  <a:gd name="connsiteY21" fmla="*/ 2759076 h 2894966"/>
                  <a:gd name="connsiteX22" fmla="*/ 20252 w 1009840"/>
                  <a:gd name="connsiteY22" fmla="*/ 2339976 h 2894966"/>
                  <a:gd name="connsiteX23" fmla="*/ 141766 w 1009840"/>
                  <a:gd name="connsiteY23" fmla="*/ 1971940 h 2894966"/>
                  <a:gd name="connsiteX24" fmla="*/ 96452 w 1009840"/>
                  <a:gd name="connsiteY24" fmla="*/ 1682751 h 2894966"/>
                  <a:gd name="connsiteX25" fmla="*/ 191702 w 1009840"/>
                  <a:gd name="connsiteY25" fmla="*/ 1625601 h 2894966"/>
                  <a:gd name="connsiteX26" fmla="*/ 285319 w 1009840"/>
                  <a:gd name="connsiteY26" fmla="*/ 1371329 h 2894966"/>
                  <a:gd name="connsiteX27" fmla="*/ 326231 w 1009840"/>
                  <a:gd name="connsiteY27" fmla="*/ 796926 h 2894966"/>
                  <a:gd name="connsiteX28" fmla="*/ 325778 w 1009840"/>
                  <a:gd name="connsiteY28" fmla="*/ 511176 h 2894966"/>
                  <a:gd name="connsiteX29" fmla="*/ 229802 w 1009840"/>
                  <a:gd name="connsiteY29" fmla="*/ 396876 h 2894966"/>
                  <a:gd name="connsiteX30" fmla="*/ 420302 w 1009840"/>
                  <a:gd name="connsiteY30" fmla="*/ 434976 h 2894966"/>
                  <a:gd name="connsiteX31" fmla="*/ 451258 w 1009840"/>
                  <a:gd name="connsiteY31" fmla="*/ 344489 h 2894966"/>
                  <a:gd name="connsiteX32" fmla="*/ 460784 w 1009840"/>
                  <a:gd name="connsiteY32" fmla="*/ 3969 h 2894966"/>
                  <a:gd name="connsiteX0" fmla="*/ 460784 w 1009840"/>
                  <a:gd name="connsiteY0" fmla="*/ 3969 h 2894966"/>
                  <a:gd name="connsiteX1" fmla="*/ 467927 w 1009840"/>
                  <a:gd name="connsiteY1" fmla="*/ 368301 h 2894966"/>
                  <a:gd name="connsiteX2" fmla="*/ 582227 w 1009840"/>
                  <a:gd name="connsiteY2" fmla="*/ 423069 h 2894966"/>
                  <a:gd name="connsiteX3" fmla="*/ 679859 w 1009840"/>
                  <a:gd name="connsiteY3" fmla="*/ 394495 h 2894966"/>
                  <a:gd name="connsiteX4" fmla="*/ 648902 w 1009840"/>
                  <a:gd name="connsiteY4" fmla="*/ 758826 h 2894966"/>
                  <a:gd name="connsiteX5" fmla="*/ 774181 w 1009840"/>
                  <a:gd name="connsiteY5" fmla="*/ 1347893 h 2894966"/>
                  <a:gd name="connsiteX6" fmla="*/ 936468 w 1009840"/>
                  <a:gd name="connsiteY6" fmla="*/ 1722364 h 2894966"/>
                  <a:gd name="connsiteX7" fmla="*/ 954430 w 1009840"/>
                  <a:gd name="connsiteY7" fmla="*/ 2206626 h 2894966"/>
                  <a:gd name="connsiteX8" fmla="*/ 958918 w 1009840"/>
                  <a:gd name="connsiteY8" fmla="*/ 2524421 h 2894966"/>
                  <a:gd name="connsiteX9" fmla="*/ 992347 w 1009840"/>
                  <a:gd name="connsiteY9" fmla="*/ 2880757 h 2894966"/>
                  <a:gd name="connsiteX10" fmla="*/ 679243 w 1009840"/>
                  <a:gd name="connsiteY10" fmla="*/ 2663798 h 2894966"/>
                  <a:gd name="connsiteX11" fmla="*/ 633526 w 1009840"/>
                  <a:gd name="connsiteY11" fmla="*/ 1839158 h 2894966"/>
                  <a:gd name="connsiteX12" fmla="*/ 565558 w 1009840"/>
                  <a:gd name="connsiteY12" fmla="*/ 801688 h 2894966"/>
                  <a:gd name="connsiteX13" fmla="*/ 513171 w 1009840"/>
                  <a:gd name="connsiteY13" fmla="*/ 563563 h 2894966"/>
                  <a:gd name="connsiteX14" fmla="*/ 458402 w 1009840"/>
                  <a:gd name="connsiteY14" fmla="*/ 996951 h 2894966"/>
                  <a:gd name="connsiteX15" fmla="*/ 413158 w 1009840"/>
                  <a:gd name="connsiteY15" fmla="*/ 1435101 h 2894966"/>
                  <a:gd name="connsiteX16" fmla="*/ 427446 w 1009840"/>
                  <a:gd name="connsiteY16" fmla="*/ 1873251 h 2894966"/>
                  <a:gd name="connsiteX17" fmla="*/ 448877 w 1009840"/>
                  <a:gd name="connsiteY17" fmla="*/ 2425701 h 2894966"/>
                  <a:gd name="connsiteX18" fmla="*/ 410777 w 1009840"/>
                  <a:gd name="connsiteY18" fmla="*/ 2701926 h 2894966"/>
                  <a:gd name="connsiteX19" fmla="*/ 401252 w 1009840"/>
                  <a:gd name="connsiteY19" fmla="*/ 2768601 h 2894966"/>
                  <a:gd name="connsiteX20" fmla="*/ 163127 w 1009840"/>
                  <a:gd name="connsiteY20" fmla="*/ 2835276 h 2894966"/>
                  <a:gd name="connsiteX21" fmla="*/ 20252 w 1009840"/>
                  <a:gd name="connsiteY21" fmla="*/ 2759076 h 2894966"/>
                  <a:gd name="connsiteX22" fmla="*/ 20252 w 1009840"/>
                  <a:gd name="connsiteY22" fmla="*/ 2339976 h 2894966"/>
                  <a:gd name="connsiteX23" fmla="*/ 141766 w 1009840"/>
                  <a:gd name="connsiteY23" fmla="*/ 1971940 h 2894966"/>
                  <a:gd name="connsiteX24" fmla="*/ 191702 w 1009840"/>
                  <a:gd name="connsiteY24" fmla="*/ 1625601 h 2894966"/>
                  <a:gd name="connsiteX25" fmla="*/ 285319 w 1009840"/>
                  <a:gd name="connsiteY25" fmla="*/ 1371329 h 2894966"/>
                  <a:gd name="connsiteX26" fmla="*/ 326231 w 1009840"/>
                  <a:gd name="connsiteY26" fmla="*/ 796926 h 2894966"/>
                  <a:gd name="connsiteX27" fmla="*/ 325778 w 1009840"/>
                  <a:gd name="connsiteY27" fmla="*/ 511176 h 2894966"/>
                  <a:gd name="connsiteX28" fmla="*/ 229802 w 1009840"/>
                  <a:gd name="connsiteY28" fmla="*/ 396876 h 2894966"/>
                  <a:gd name="connsiteX29" fmla="*/ 420302 w 1009840"/>
                  <a:gd name="connsiteY29" fmla="*/ 434976 h 2894966"/>
                  <a:gd name="connsiteX30" fmla="*/ 451258 w 1009840"/>
                  <a:gd name="connsiteY30" fmla="*/ 344489 h 2894966"/>
                  <a:gd name="connsiteX31" fmla="*/ 460784 w 1009840"/>
                  <a:gd name="connsiteY31" fmla="*/ 3969 h 2894966"/>
                  <a:gd name="connsiteX0" fmla="*/ 447677 w 996733"/>
                  <a:gd name="connsiteY0" fmla="*/ 3969 h 2894966"/>
                  <a:gd name="connsiteX1" fmla="*/ 454820 w 996733"/>
                  <a:gd name="connsiteY1" fmla="*/ 368301 h 2894966"/>
                  <a:gd name="connsiteX2" fmla="*/ 569120 w 996733"/>
                  <a:gd name="connsiteY2" fmla="*/ 423069 h 2894966"/>
                  <a:gd name="connsiteX3" fmla="*/ 666752 w 996733"/>
                  <a:gd name="connsiteY3" fmla="*/ 394495 h 2894966"/>
                  <a:gd name="connsiteX4" fmla="*/ 635795 w 996733"/>
                  <a:gd name="connsiteY4" fmla="*/ 758826 h 2894966"/>
                  <a:gd name="connsiteX5" fmla="*/ 761074 w 996733"/>
                  <a:gd name="connsiteY5" fmla="*/ 1347893 h 2894966"/>
                  <a:gd name="connsiteX6" fmla="*/ 923361 w 996733"/>
                  <a:gd name="connsiteY6" fmla="*/ 1722364 h 2894966"/>
                  <a:gd name="connsiteX7" fmla="*/ 941323 w 996733"/>
                  <a:gd name="connsiteY7" fmla="*/ 2206626 h 2894966"/>
                  <a:gd name="connsiteX8" fmla="*/ 945811 w 996733"/>
                  <a:gd name="connsiteY8" fmla="*/ 2524421 h 2894966"/>
                  <a:gd name="connsiteX9" fmla="*/ 979240 w 996733"/>
                  <a:gd name="connsiteY9" fmla="*/ 2880757 h 2894966"/>
                  <a:gd name="connsiteX10" fmla="*/ 666136 w 996733"/>
                  <a:gd name="connsiteY10" fmla="*/ 2663798 h 2894966"/>
                  <a:gd name="connsiteX11" fmla="*/ 620419 w 996733"/>
                  <a:gd name="connsiteY11" fmla="*/ 1839158 h 2894966"/>
                  <a:gd name="connsiteX12" fmla="*/ 552451 w 996733"/>
                  <a:gd name="connsiteY12" fmla="*/ 801688 h 2894966"/>
                  <a:gd name="connsiteX13" fmla="*/ 500064 w 996733"/>
                  <a:gd name="connsiteY13" fmla="*/ 563563 h 2894966"/>
                  <a:gd name="connsiteX14" fmla="*/ 445295 w 996733"/>
                  <a:gd name="connsiteY14" fmla="*/ 996951 h 2894966"/>
                  <a:gd name="connsiteX15" fmla="*/ 400051 w 996733"/>
                  <a:gd name="connsiteY15" fmla="*/ 1435101 h 2894966"/>
                  <a:gd name="connsiteX16" fmla="*/ 414339 w 996733"/>
                  <a:gd name="connsiteY16" fmla="*/ 1873251 h 2894966"/>
                  <a:gd name="connsiteX17" fmla="*/ 435770 w 996733"/>
                  <a:gd name="connsiteY17" fmla="*/ 2425701 h 2894966"/>
                  <a:gd name="connsiteX18" fmla="*/ 397670 w 996733"/>
                  <a:gd name="connsiteY18" fmla="*/ 2701926 h 2894966"/>
                  <a:gd name="connsiteX19" fmla="*/ 388145 w 996733"/>
                  <a:gd name="connsiteY19" fmla="*/ 2768601 h 2894966"/>
                  <a:gd name="connsiteX20" fmla="*/ 150020 w 996733"/>
                  <a:gd name="connsiteY20" fmla="*/ 2835276 h 2894966"/>
                  <a:gd name="connsiteX21" fmla="*/ 7145 w 996733"/>
                  <a:gd name="connsiteY21" fmla="*/ 2759076 h 2894966"/>
                  <a:gd name="connsiteX22" fmla="*/ 113918 w 996733"/>
                  <a:gd name="connsiteY22" fmla="*/ 2353507 h 2894966"/>
                  <a:gd name="connsiteX23" fmla="*/ 128659 w 996733"/>
                  <a:gd name="connsiteY23" fmla="*/ 1971940 h 2894966"/>
                  <a:gd name="connsiteX24" fmla="*/ 178595 w 996733"/>
                  <a:gd name="connsiteY24" fmla="*/ 1625601 h 2894966"/>
                  <a:gd name="connsiteX25" fmla="*/ 272212 w 996733"/>
                  <a:gd name="connsiteY25" fmla="*/ 1371329 h 2894966"/>
                  <a:gd name="connsiteX26" fmla="*/ 313124 w 996733"/>
                  <a:gd name="connsiteY26" fmla="*/ 796926 h 2894966"/>
                  <a:gd name="connsiteX27" fmla="*/ 312671 w 996733"/>
                  <a:gd name="connsiteY27" fmla="*/ 511176 h 2894966"/>
                  <a:gd name="connsiteX28" fmla="*/ 216695 w 996733"/>
                  <a:gd name="connsiteY28" fmla="*/ 396876 h 2894966"/>
                  <a:gd name="connsiteX29" fmla="*/ 407195 w 996733"/>
                  <a:gd name="connsiteY29" fmla="*/ 434976 h 2894966"/>
                  <a:gd name="connsiteX30" fmla="*/ 438151 w 996733"/>
                  <a:gd name="connsiteY30" fmla="*/ 344489 h 2894966"/>
                  <a:gd name="connsiteX31" fmla="*/ 447677 w 996733"/>
                  <a:gd name="connsiteY31" fmla="*/ 3969 h 2894966"/>
                  <a:gd name="connsiteX0" fmla="*/ 447677 w 996733"/>
                  <a:gd name="connsiteY0" fmla="*/ 3969 h 2894966"/>
                  <a:gd name="connsiteX1" fmla="*/ 454820 w 996733"/>
                  <a:gd name="connsiteY1" fmla="*/ 368301 h 2894966"/>
                  <a:gd name="connsiteX2" fmla="*/ 569120 w 996733"/>
                  <a:gd name="connsiteY2" fmla="*/ 423069 h 2894966"/>
                  <a:gd name="connsiteX3" fmla="*/ 666752 w 996733"/>
                  <a:gd name="connsiteY3" fmla="*/ 394495 h 2894966"/>
                  <a:gd name="connsiteX4" fmla="*/ 635795 w 996733"/>
                  <a:gd name="connsiteY4" fmla="*/ 758826 h 2894966"/>
                  <a:gd name="connsiteX5" fmla="*/ 761074 w 996733"/>
                  <a:gd name="connsiteY5" fmla="*/ 1347893 h 2894966"/>
                  <a:gd name="connsiteX6" fmla="*/ 923361 w 996733"/>
                  <a:gd name="connsiteY6" fmla="*/ 1722364 h 2894966"/>
                  <a:gd name="connsiteX7" fmla="*/ 941323 w 996733"/>
                  <a:gd name="connsiteY7" fmla="*/ 2206626 h 2894966"/>
                  <a:gd name="connsiteX8" fmla="*/ 945811 w 996733"/>
                  <a:gd name="connsiteY8" fmla="*/ 2524421 h 2894966"/>
                  <a:gd name="connsiteX9" fmla="*/ 979240 w 996733"/>
                  <a:gd name="connsiteY9" fmla="*/ 2880757 h 2894966"/>
                  <a:gd name="connsiteX10" fmla="*/ 666136 w 996733"/>
                  <a:gd name="connsiteY10" fmla="*/ 2663798 h 2894966"/>
                  <a:gd name="connsiteX11" fmla="*/ 620419 w 996733"/>
                  <a:gd name="connsiteY11" fmla="*/ 1839158 h 2894966"/>
                  <a:gd name="connsiteX12" fmla="*/ 552451 w 996733"/>
                  <a:gd name="connsiteY12" fmla="*/ 801688 h 2894966"/>
                  <a:gd name="connsiteX13" fmla="*/ 500064 w 996733"/>
                  <a:gd name="connsiteY13" fmla="*/ 563563 h 2894966"/>
                  <a:gd name="connsiteX14" fmla="*/ 445295 w 996733"/>
                  <a:gd name="connsiteY14" fmla="*/ 996951 h 2894966"/>
                  <a:gd name="connsiteX15" fmla="*/ 400051 w 996733"/>
                  <a:gd name="connsiteY15" fmla="*/ 1435101 h 2894966"/>
                  <a:gd name="connsiteX16" fmla="*/ 414339 w 996733"/>
                  <a:gd name="connsiteY16" fmla="*/ 1873251 h 2894966"/>
                  <a:gd name="connsiteX17" fmla="*/ 435770 w 996733"/>
                  <a:gd name="connsiteY17" fmla="*/ 2425701 h 2894966"/>
                  <a:gd name="connsiteX18" fmla="*/ 397670 w 996733"/>
                  <a:gd name="connsiteY18" fmla="*/ 2701926 h 2894966"/>
                  <a:gd name="connsiteX19" fmla="*/ 388145 w 996733"/>
                  <a:gd name="connsiteY19" fmla="*/ 2768601 h 2894966"/>
                  <a:gd name="connsiteX20" fmla="*/ 150020 w 996733"/>
                  <a:gd name="connsiteY20" fmla="*/ 2835276 h 2894966"/>
                  <a:gd name="connsiteX21" fmla="*/ 7145 w 996733"/>
                  <a:gd name="connsiteY21" fmla="*/ 2759076 h 2894966"/>
                  <a:gd name="connsiteX22" fmla="*/ 113918 w 996733"/>
                  <a:gd name="connsiteY22" fmla="*/ 2353507 h 2894966"/>
                  <a:gd name="connsiteX23" fmla="*/ 128659 w 996733"/>
                  <a:gd name="connsiteY23" fmla="*/ 1971940 h 2894966"/>
                  <a:gd name="connsiteX24" fmla="*/ 198009 w 996733"/>
                  <a:gd name="connsiteY24" fmla="*/ 1724825 h 2894966"/>
                  <a:gd name="connsiteX25" fmla="*/ 272212 w 996733"/>
                  <a:gd name="connsiteY25" fmla="*/ 1371329 h 2894966"/>
                  <a:gd name="connsiteX26" fmla="*/ 313124 w 996733"/>
                  <a:gd name="connsiteY26" fmla="*/ 796926 h 2894966"/>
                  <a:gd name="connsiteX27" fmla="*/ 312671 w 996733"/>
                  <a:gd name="connsiteY27" fmla="*/ 511176 h 2894966"/>
                  <a:gd name="connsiteX28" fmla="*/ 216695 w 996733"/>
                  <a:gd name="connsiteY28" fmla="*/ 396876 h 2894966"/>
                  <a:gd name="connsiteX29" fmla="*/ 407195 w 996733"/>
                  <a:gd name="connsiteY29" fmla="*/ 434976 h 2894966"/>
                  <a:gd name="connsiteX30" fmla="*/ 438151 w 996733"/>
                  <a:gd name="connsiteY30" fmla="*/ 344489 h 2894966"/>
                  <a:gd name="connsiteX31" fmla="*/ 447677 w 996733"/>
                  <a:gd name="connsiteY31" fmla="*/ 3969 h 2894966"/>
                  <a:gd name="connsiteX0" fmla="*/ 447677 w 996733"/>
                  <a:gd name="connsiteY0" fmla="*/ 3969 h 2894966"/>
                  <a:gd name="connsiteX1" fmla="*/ 454820 w 996733"/>
                  <a:gd name="connsiteY1" fmla="*/ 368301 h 2894966"/>
                  <a:gd name="connsiteX2" fmla="*/ 569120 w 996733"/>
                  <a:gd name="connsiteY2" fmla="*/ 423069 h 2894966"/>
                  <a:gd name="connsiteX3" fmla="*/ 666752 w 996733"/>
                  <a:gd name="connsiteY3" fmla="*/ 394495 h 2894966"/>
                  <a:gd name="connsiteX4" fmla="*/ 635795 w 996733"/>
                  <a:gd name="connsiteY4" fmla="*/ 758826 h 2894966"/>
                  <a:gd name="connsiteX5" fmla="*/ 761074 w 996733"/>
                  <a:gd name="connsiteY5" fmla="*/ 1347893 h 2894966"/>
                  <a:gd name="connsiteX6" fmla="*/ 923361 w 996733"/>
                  <a:gd name="connsiteY6" fmla="*/ 1722364 h 2894966"/>
                  <a:gd name="connsiteX7" fmla="*/ 941323 w 996733"/>
                  <a:gd name="connsiteY7" fmla="*/ 2206626 h 2894966"/>
                  <a:gd name="connsiteX8" fmla="*/ 945811 w 996733"/>
                  <a:gd name="connsiteY8" fmla="*/ 2524421 h 2894966"/>
                  <a:gd name="connsiteX9" fmla="*/ 979240 w 996733"/>
                  <a:gd name="connsiteY9" fmla="*/ 2880757 h 2894966"/>
                  <a:gd name="connsiteX10" fmla="*/ 666136 w 996733"/>
                  <a:gd name="connsiteY10" fmla="*/ 2663798 h 2894966"/>
                  <a:gd name="connsiteX11" fmla="*/ 620419 w 996733"/>
                  <a:gd name="connsiteY11" fmla="*/ 1839158 h 2894966"/>
                  <a:gd name="connsiteX12" fmla="*/ 552451 w 996733"/>
                  <a:gd name="connsiteY12" fmla="*/ 801688 h 2894966"/>
                  <a:gd name="connsiteX13" fmla="*/ 500064 w 996733"/>
                  <a:gd name="connsiteY13" fmla="*/ 563563 h 2894966"/>
                  <a:gd name="connsiteX14" fmla="*/ 445295 w 996733"/>
                  <a:gd name="connsiteY14" fmla="*/ 996951 h 2894966"/>
                  <a:gd name="connsiteX15" fmla="*/ 400051 w 996733"/>
                  <a:gd name="connsiteY15" fmla="*/ 1435101 h 2894966"/>
                  <a:gd name="connsiteX16" fmla="*/ 414339 w 996733"/>
                  <a:gd name="connsiteY16" fmla="*/ 1873251 h 2894966"/>
                  <a:gd name="connsiteX17" fmla="*/ 435770 w 996733"/>
                  <a:gd name="connsiteY17" fmla="*/ 2425701 h 2894966"/>
                  <a:gd name="connsiteX18" fmla="*/ 397670 w 996733"/>
                  <a:gd name="connsiteY18" fmla="*/ 2701926 h 2894966"/>
                  <a:gd name="connsiteX19" fmla="*/ 388145 w 996733"/>
                  <a:gd name="connsiteY19" fmla="*/ 2768601 h 2894966"/>
                  <a:gd name="connsiteX20" fmla="*/ 150020 w 996733"/>
                  <a:gd name="connsiteY20" fmla="*/ 2835276 h 2894966"/>
                  <a:gd name="connsiteX21" fmla="*/ 7145 w 996733"/>
                  <a:gd name="connsiteY21" fmla="*/ 2759076 h 2894966"/>
                  <a:gd name="connsiteX22" fmla="*/ 113918 w 996733"/>
                  <a:gd name="connsiteY22" fmla="*/ 2353507 h 2894966"/>
                  <a:gd name="connsiteX23" fmla="*/ 128659 w 996733"/>
                  <a:gd name="connsiteY23" fmla="*/ 1971940 h 2894966"/>
                  <a:gd name="connsiteX24" fmla="*/ 198009 w 996733"/>
                  <a:gd name="connsiteY24" fmla="*/ 1724825 h 2894966"/>
                  <a:gd name="connsiteX25" fmla="*/ 247947 w 996733"/>
                  <a:gd name="connsiteY25" fmla="*/ 1375840 h 2894966"/>
                  <a:gd name="connsiteX26" fmla="*/ 313124 w 996733"/>
                  <a:gd name="connsiteY26" fmla="*/ 796926 h 2894966"/>
                  <a:gd name="connsiteX27" fmla="*/ 312671 w 996733"/>
                  <a:gd name="connsiteY27" fmla="*/ 511176 h 2894966"/>
                  <a:gd name="connsiteX28" fmla="*/ 216695 w 996733"/>
                  <a:gd name="connsiteY28" fmla="*/ 396876 h 2894966"/>
                  <a:gd name="connsiteX29" fmla="*/ 407195 w 996733"/>
                  <a:gd name="connsiteY29" fmla="*/ 434976 h 2894966"/>
                  <a:gd name="connsiteX30" fmla="*/ 438151 w 996733"/>
                  <a:gd name="connsiteY30" fmla="*/ 344489 h 2894966"/>
                  <a:gd name="connsiteX31" fmla="*/ 447677 w 996733"/>
                  <a:gd name="connsiteY31" fmla="*/ 3969 h 2894966"/>
                  <a:gd name="connsiteX0" fmla="*/ 447677 w 996733"/>
                  <a:gd name="connsiteY0" fmla="*/ 3969 h 2894966"/>
                  <a:gd name="connsiteX1" fmla="*/ 454820 w 996733"/>
                  <a:gd name="connsiteY1" fmla="*/ 368301 h 2894966"/>
                  <a:gd name="connsiteX2" fmla="*/ 569120 w 996733"/>
                  <a:gd name="connsiteY2" fmla="*/ 423069 h 2894966"/>
                  <a:gd name="connsiteX3" fmla="*/ 666752 w 996733"/>
                  <a:gd name="connsiteY3" fmla="*/ 394495 h 2894966"/>
                  <a:gd name="connsiteX4" fmla="*/ 635795 w 996733"/>
                  <a:gd name="connsiteY4" fmla="*/ 758826 h 2894966"/>
                  <a:gd name="connsiteX5" fmla="*/ 761074 w 996733"/>
                  <a:gd name="connsiteY5" fmla="*/ 1347893 h 2894966"/>
                  <a:gd name="connsiteX6" fmla="*/ 923361 w 996733"/>
                  <a:gd name="connsiteY6" fmla="*/ 1722364 h 2894966"/>
                  <a:gd name="connsiteX7" fmla="*/ 941323 w 996733"/>
                  <a:gd name="connsiteY7" fmla="*/ 2206626 h 2894966"/>
                  <a:gd name="connsiteX8" fmla="*/ 945811 w 996733"/>
                  <a:gd name="connsiteY8" fmla="*/ 2524421 h 2894966"/>
                  <a:gd name="connsiteX9" fmla="*/ 979240 w 996733"/>
                  <a:gd name="connsiteY9" fmla="*/ 2880757 h 2894966"/>
                  <a:gd name="connsiteX10" fmla="*/ 666136 w 996733"/>
                  <a:gd name="connsiteY10" fmla="*/ 2663798 h 2894966"/>
                  <a:gd name="connsiteX11" fmla="*/ 620419 w 996733"/>
                  <a:gd name="connsiteY11" fmla="*/ 1839158 h 2894966"/>
                  <a:gd name="connsiteX12" fmla="*/ 552451 w 996733"/>
                  <a:gd name="connsiteY12" fmla="*/ 801688 h 2894966"/>
                  <a:gd name="connsiteX13" fmla="*/ 500064 w 996733"/>
                  <a:gd name="connsiteY13" fmla="*/ 563563 h 2894966"/>
                  <a:gd name="connsiteX14" fmla="*/ 445295 w 996733"/>
                  <a:gd name="connsiteY14" fmla="*/ 996951 h 2894966"/>
                  <a:gd name="connsiteX15" fmla="*/ 400051 w 996733"/>
                  <a:gd name="connsiteY15" fmla="*/ 1435101 h 2894966"/>
                  <a:gd name="connsiteX16" fmla="*/ 414339 w 996733"/>
                  <a:gd name="connsiteY16" fmla="*/ 1873251 h 2894966"/>
                  <a:gd name="connsiteX17" fmla="*/ 435770 w 996733"/>
                  <a:gd name="connsiteY17" fmla="*/ 2425701 h 2894966"/>
                  <a:gd name="connsiteX18" fmla="*/ 397670 w 996733"/>
                  <a:gd name="connsiteY18" fmla="*/ 2701926 h 2894966"/>
                  <a:gd name="connsiteX19" fmla="*/ 388145 w 996733"/>
                  <a:gd name="connsiteY19" fmla="*/ 2768601 h 2894966"/>
                  <a:gd name="connsiteX20" fmla="*/ 150020 w 996733"/>
                  <a:gd name="connsiteY20" fmla="*/ 2835276 h 2894966"/>
                  <a:gd name="connsiteX21" fmla="*/ 7145 w 996733"/>
                  <a:gd name="connsiteY21" fmla="*/ 2759076 h 2894966"/>
                  <a:gd name="connsiteX22" fmla="*/ 113918 w 996733"/>
                  <a:gd name="connsiteY22" fmla="*/ 2353507 h 2894966"/>
                  <a:gd name="connsiteX23" fmla="*/ 162633 w 996733"/>
                  <a:gd name="connsiteY23" fmla="*/ 1971940 h 2894966"/>
                  <a:gd name="connsiteX24" fmla="*/ 198009 w 996733"/>
                  <a:gd name="connsiteY24" fmla="*/ 1724825 h 2894966"/>
                  <a:gd name="connsiteX25" fmla="*/ 247947 w 996733"/>
                  <a:gd name="connsiteY25" fmla="*/ 1375840 h 2894966"/>
                  <a:gd name="connsiteX26" fmla="*/ 313124 w 996733"/>
                  <a:gd name="connsiteY26" fmla="*/ 796926 h 2894966"/>
                  <a:gd name="connsiteX27" fmla="*/ 312671 w 996733"/>
                  <a:gd name="connsiteY27" fmla="*/ 511176 h 2894966"/>
                  <a:gd name="connsiteX28" fmla="*/ 216695 w 996733"/>
                  <a:gd name="connsiteY28" fmla="*/ 396876 h 2894966"/>
                  <a:gd name="connsiteX29" fmla="*/ 407195 w 996733"/>
                  <a:gd name="connsiteY29" fmla="*/ 434976 h 2894966"/>
                  <a:gd name="connsiteX30" fmla="*/ 438151 w 996733"/>
                  <a:gd name="connsiteY30" fmla="*/ 344489 h 2894966"/>
                  <a:gd name="connsiteX31" fmla="*/ 447677 w 996733"/>
                  <a:gd name="connsiteY31" fmla="*/ 3969 h 2894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96733" h="2894966">
                    <a:moveTo>
                      <a:pt x="447677" y="3969"/>
                    </a:moveTo>
                    <a:cubicBezTo>
                      <a:pt x="450455" y="7938"/>
                      <a:pt x="449264" y="303214"/>
                      <a:pt x="454820" y="368301"/>
                    </a:cubicBezTo>
                    <a:cubicBezTo>
                      <a:pt x="457995" y="431007"/>
                      <a:pt x="517129" y="456803"/>
                      <a:pt x="569120" y="423069"/>
                    </a:cubicBezTo>
                    <a:cubicBezTo>
                      <a:pt x="604442" y="408385"/>
                      <a:pt x="655640" y="374651"/>
                      <a:pt x="666752" y="394495"/>
                    </a:cubicBezTo>
                    <a:cubicBezTo>
                      <a:pt x="611189" y="478633"/>
                      <a:pt x="620075" y="599926"/>
                      <a:pt x="635795" y="758826"/>
                    </a:cubicBezTo>
                    <a:cubicBezTo>
                      <a:pt x="651515" y="917726"/>
                      <a:pt x="713146" y="1187303"/>
                      <a:pt x="761074" y="1347893"/>
                    </a:cubicBezTo>
                    <a:cubicBezTo>
                      <a:pt x="809002" y="1508483"/>
                      <a:pt x="893320" y="1579242"/>
                      <a:pt x="923361" y="1722364"/>
                    </a:cubicBezTo>
                    <a:cubicBezTo>
                      <a:pt x="953402" y="1865486"/>
                      <a:pt x="937581" y="2072950"/>
                      <a:pt x="941323" y="2206626"/>
                    </a:cubicBezTo>
                    <a:cubicBezTo>
                      <a:pt x="945065" y="2340302"/>
                      <a:pt x="943536" y="2385005"/>
                      <a:pt x="945811" y="2524421"/>
                    </a:cubicBezTo>
                    <a:cubicBezTo>
                      <a:pt x="962647" y="2663838"/>
                      <a:pt x="996733" y="2803406"/>
                      <a:pt x="979240" y="2880757"/>
                    </a:cubicBezTo>
                    <a:cubicBezTo>
                      <a:pt x="932628" y="2894966"/>
                      <a:pt x="725939" y="2837398"/>
                      <a:pt x="666136" y="2663798"/>
                    </a:cubicBezTo>
                    <a:cubicBezTo>
                      <a:pt x="606333" y="2490198"/>
                      <a:pt x="666060" y="2135227"/>
                      <a:pt x="620419" y="1839158"/>
                    </a:cubicBezTo>
                    <a:cubicBezTo>
                      <a:pt x="605398" y="1549693"/>
                      <a:pt x="581423" y="1012032"/>
                      <a:pt x="552451" y="801688"/>
                    </a:cubicBezTo>
                    <a:cubicBezTo>
                      <a:pt x="513954" y="610394"/>
                      <a:pt x="520702" y="587376"/>
                      <a:pt x="500064" y="563563"/>
                    </a:cubicBezTo>
                    <a:cubicBezTo>
                      <a:pt x="484189" y="635001"/>
                      <a:pt x="461964" y="851695"/>
                      <a:pt x="445295" y="996951"/>
                    </a:cubicBezTo>
                    <a:cubicBezTo>
                      <a:pt x="428626" y="1142207"/>
                      <a:pt x="405210" y="1289051"/>
                      <a:pt x="400051" y="1435101"/>
                    </a:cubicBezTo>
                    <a:cubicBezTo>
                      <a:pt x="394892" y="1581151"/>
                      <a:pt x="408386" y="1708151"/>
                      <a:pt x="414339" y="1873251"/>
                    </a:cubicBezTo>
                    <a:cubicBezTo>
                      <a:pt x="420292" y="2038351"/>
                      <a:pt x="438548" y="2287589"/>
                      <a:pt x="435770" y="2425701"/>
                    </a:cubicBezTo>
                    <a:cubicBezTo>
                      <a:pt x="432992" y="2563813"/>
                      <a:pt x="405607" y="2644776"/>
                      <a:pt x="397670" y="2701926"/>
                    </a:cubicBezTo>
                    <a:cubicBezTo>
                      <a:pt x="389733" y="2759076"/>
                      <a:pt x="429420" y="2746376"/>
                      <a:pt x="388145" y="2768601"/>
                    </a:cubicBezTo>
                    <a:cubicBezTo>
                      <a:pt x="346870" y="2790826"/>
                      <a:pt x="213520" y="2836863"/>
                      <a:pt x="150020" y="2835276"/>
                    </a:cubicBezTo>
                    <a:cubicBezTo>
                      <a:pt x="86520" y="2833689"/>
                      <a:pt x="45246" y="2822576"/>
                      <a:pt x="7145" y="2759076"/>
                    </a:cubicBezTo>
                    <a:cubicBezTo>
                      <a:pt x="0" y="2678908"/>
                      <a:pt x="88003" y="2484696"/>
                      <a:pt x="113918" y="2353507"/>
                    </a:cubicBezTo>
                    <a:cubicBezTo>
                      <a:pt x="139833" y="2222318"/>
                      <a:pt x="148618" y="2076720"/>
                      <a:pt x="162633" y="1971940"/>
                    </a:cubicBezTo>
                    <a:cubicBezTo>
                      <a:pt x="176648" y="1867160"/>
                      <a:pt x="183790" y="1824175"/>
                      <a:pt x="198009" y="1724825"/>
                    </a:cubicBezTo>
                    <a:cubicBezTo>
                      <a:pt x="212228" y="1625475"/>
                      <a:pt x="228761" y="1530490"/>
                      <a:pt x="247947" y="1375840"/>
                    </a:cubicBezTo>
                    <a:cubicBezTo>
                      <a:pt x="267133" y="1221190"/>
                      <a:pt x="302337" y="941037"/>
                      <a:pt x="313124" y="796926"/>
                    </a:cubicBezTo>
                    <a:cubicBezTo>
                      <a:pt x="323911" y="652815"/>
                      <a:pt x="328742" y="577851"/>
                      <a:pt x="312671" y="511176"/>
                    </a:cubicBezTo>
                    <a:cubicBezTo>
                      <a:pt x="296600" y="444501"/>
                      <a:pt x="200941" y="409576"/>
                      <a:pt x="216695" y="396876"/>
                    </a:cubicBezTo>
                    <a:cubicBezTo>
                      <a:pt x="232449" y="384176"/>
                      <a:pt x="370286" y="443707"/>
                      <a:pt x="407195" y="434976"/>
                    </a:cubicBezTo>
                    <a:cubicBezTo>
                      <a:pt x="470298" y="442914"/>
                      <a:pt x="445691" y="418704"/>
                      <a:pt x="438151" y="344489"/>
                    </a:cubicBezTo>
                    <a:cubicBezTo>
                      <a:pt x="444898" y="272655"/>
                      <a:pt x="444899" y="0"/>
                      <a:pt x="447677" y="3969"/>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80" name="Freeform 279"/>
              <p:cNvSpPr/>
              <p:nvPr/>
            </p:nvSpPr>
            <p:spPr bwMode="auto">
              <a:xfrm>
                <a:off x="6678015" y="3408246"/>
                <a:ext cx="714243" cy="166982"/>
              </a:xfrm>
              <a:custGeom>
                <a:avLst/>
                <a:gdLst>
                  <a:gd name="connsiteX0" fmla="*/ 1195480 w 1195480"/>
                  <a:gd name="connsiteY0" fmla="*/ 259732 h 259732"/>
                  <a:gd name="connsiteX1" fmla="*/ 1074508 w 1195480"/>
                  <a:gd name="connsiteY1" fmla="*/ 167225 h 259732"/>
                  <a:gd name="connsiteX2" fmla="*/ 949979 w 1195480"/>
                  <a:gd name="connsiteY2" fmla="*/ 56928 h 259732"/>
                  <a:gd name="connsiteX3" fmla="*/ 910842 w 1195480"/>
                  <a:gd name="connsiteY3" fmla="*/ 88949 h 259732"/>
                  <a:gd name="connsiteX4" fmla="*/ 935747 w 1195480"/>
                  <a:gd name="connsiteY4" fmla="*/ 163667 h 259732"/>
                  <a:gd name="connsiteX5" fmla="*/ 903726 w 1195480"/>
                  <a:gd name="connsiteY5" fmla="*/ 174341 h 259732"/>
                  <a:gd name="connsiteX6" fmla="*/ 882378 w 1195480"/>
                  <a:gd name="connsiteY6" fmla="*/ 106739 h 259732"/>
                  <a:gd name="connsiteX7" fmla="*/ 747175 w 1195480"/>
                  <a:gd name="connsiteY7" fmla="*/ 145877 h 259732"/>
                  <a:gd name="connsiteX8" fmla="*/ 715153 w 1195480"/>
                  <a:gd name="connsiteY8" fmla="*/ 145877 h 259732"/>
                  <a:gd name="connsiteX9" fmla="*/ 740059 w 1195480"/>
                  <a:gd name="connsiteY9" fmla="*/ 167225 h 259732"/>
                  <a:gd name="connsiteX10" fmla="*/ 743617 w 1195480"/>
                  <a:gd name="connsiteY10" fmla="*/ 206363 h 259732"/>
                  <a:gd name="connsiteX11" fmla="*/ 718711 w 1195480"/>
                  <a:gd name="connsiteY11" fmla="*/ 217037 h 259732"/>
                  <a:gd name="connsiteX12" fmla="*/ 686689 w 1195480"/>
                  <a:gd name="connsiteY12" fmla="*/ 227711 h 259732"/>
                  <a:gd name="connsiteX13" fmla="*/ 590624 w 1195480"/>
                  <a:gd name="connsiteY13" fmla="*/ 231269 h 259732"/>
                  <a:gd name="connsiteX14" fmla="*/ 540812 w 1195480"/>
                  <a:gd name="connsiteY14" fmla="*/ 206363 h 259732"/>
                  <a:gd name="connsiteX15" fmla="*/ 544370 w 1195480"/>
                  <a:gd name="connsiteY15" fmla="*/ 167225 h 259732"/>
                  <a:gd name="connsiteX16" fmla="*/ 572834 w 1195480"/>
                  <a:gd name="connsiteY16" fmla="*/ 145877 h 259732"/>
                  <a:gd name="connsiteX17" fmla="*/ 487442 w 1195480"/>
                  <a:gd name="connsiteY17" fmla="*/ 142319 h 259732"/>
                  <a:gd name="connsiteX18" fmla="*/ 323775 w 1195480"/>
                  <a:gd name="connsiteY18" fmla="*/ 110297 h 259732"/>
                  <a:gd name="connsiteX19" fmla="*/ 305985 w 1195480"/>
                  <a:gd name="connsiteY19" fmla="*/ 185015 h 259732"/>
                  <a:gd name="connsiteX20" fmla="*/ 273964 w 1195480"/>
                  <a:gd name="connsiteY20" fmla="*/ 174341 h 259732"/>
                  <a:gd name="connsiteX21" fmla="*/ 291754 w 1195480"/>
                  <a:gd name="connsiteY21" fmla="*/ 103181 h 259732"/>
                  <a:gd name="connsiteX22" fmla="*/ 199246 w 1195480"/>
                  <a:gd name="connsiteY22" fmla="*/ 67602 h 259732"/>
                  <a:gd name="connsiteX23" fmla="*/ 92507 w 1195480"/>
                  <a:gd name="connsiteY23" fmla="*/ 0 h 259732"/>
                  <a:gd name="connsiteX24" fmla="*/ 32021 w 1195480"/>
                  <a:gd name="connsiteY24" fmla="*/ 124529 h 259732"/>
                  <a:gd name="connsiteX25" fmla="*/ 0 w 1195480"/>
                  <a:gd name="connsiteY25" fmla="*/ 177899 h 259732"/>
                  <a:gd name="connsiteX26" fmla="*/ 46253 w 1195480"/>
                  <a:gd name="connsiteY26" fmla="*/ 120971 h 259732"/>
                  <a:gd name="connsiteX27" fmla="*/ 88949 w 1195480"/>
                  <a:gd name="connsiteY27" fmla="*/ 60486 h 259732"/>
                  <a:gd name="connsiteX28" fmla="*/ 177898 w 1195480"/>
                  <a:gd name="connsiteY28" fmla="*/ 120971 h 259732"/>
                  <a:gd name="connsiteX29" fmla="*/ 266848 w 1195480"/>
                  <a:gd name="connsiteY29" fmla="*/ 152993 h 259732"/>
                  <a:gd name="connsiteX30" fmla="*/ 259732 w 1195480"/>
                  <a:gd name="connsiteY30" fmla="*/ 177899 h 259732"/>
                  <a:gd name="connsiteX31" fmla="*/ 305985 w 1195480"/>
                  <a:gd name="connsiteY31" fmla="*/ 195689 h 259732"/>
                  <a:gd name="connsiteX32" fmla="*/ 320217 w 1195480"/>
                  <a:gd name="connsiteY32" fmla="*/ 174341 h 259732"/>
                  <a:gd name="connsiteX33" fmla="*/ 469652 w 1195480"/>
                  <a:gd name="connsiteY33" fmla="*/ 202805 h 259732"/>
                  <a:gd name="connsiteX34" fmla="*/ 530138 w 1195480"/>
                  <a:gd name="connsiteY34" fmla="*/ 209921 h 259732"/>
                  <a:gd name="connsiteX35" fmla="*/ 597740 w 1195480"/>
                  <a:gd name="connsiteY35" fmla="*/ 241942 h 259732"/>
                  <a:gd name="connsiteX36" fmla="*/ 686689 w 1195480"/>
                  <a:gd name="connsiteY36" fmla="*/ 238384 h 259732"/>
                  <a:gd name="connsiteX37" fmla="*/ 750733 w 1195480"/>
                  <a:gd name="connsiteY37" fmla="*/ 217037 h 259732"/>
                  <a:gd name="connsiteX38" fmla="*/ 750733 w 1195480"/>
                  <a:gd name="connsiteY38" fmla="*/ 199247 h 259732"/>
                  <a:gd name="connsiteX39" fmla="*/ 825450 w 1195480"/>
                  <a:gd name="connsiteY39" fmla="*/ 181457 h 259732"/>
                  <a:gd name="connsiteX40" fmla="*/ 889494 w 1195480"/>
                  <a:gd name="connsiteY40" fmla="*/ 160109 h 259732"/>
                  <a:gd name="connsiteX41" fmla="*/ 900168 w 1195480"/>
                  <a:gd name="connsiteY41" fmla="*/ 185015 h 259732"/>
                  <a:gd name="connsiteX42" fmla="*/ 939305 w 1195480"/>
                  <a:gd name="connsiteY42" fmla="*/ 167225 h 259732"/>
                  <a:gd name="connsiteX43" fmla="*/ 935747 w 1195480"/>
                  <a:gd name="connsiteY43" fmla="*/ 142319 h 259732"/>
                  <a:gd name="connsiteX44" fmla="*/ 967769 w 1195480"/>
                  <a:gd name="connsiteY44" fmla="*/ 120971 h 259732"/>
                  <a:gd name="connsiteX45" fmla="*/ 1053161 w 1195480"/>
                  <a:gd name="connsiteY45" fmla="*/ 181457 h 259732"/>
                  <a:gd name="connsiteX46" fmla="*/ 1145668 w 1195480"/>
                  <a:gd name="connsiteY46" fmla="*/ 234826 h 259732"/>
                  <a:gd name="connsiteX47" fmla="*/ 1195480 w 1195480"/>
                  <a:gd name="connsiteY47" fmla="*/ 259732 h 259732"/>
                  <a:gd name="connsiteX0" fmla="*/ 1195480 w 1195480"/>
                  <a:gd name="connsiteY0" fmla="*/ 259732 h 259732"/>
                  <a:gd name="connsiteX1" fmla="*/ 1074508 w 1195480"/>
                  <a:gd name="connsiteY1" fmla="*/ 167225 h 259732"/>
                  <a:gd name="connsiteX2" fmla="*/ 949979 w 1195480"/>
                  <a:gd name="connsiteY2" fmla="*/ 56928 h 259732"/>
                  <a:gd name="connsiteX3" fmla="*/ 910842 w 1195480"/>
                  <a:gd name="connsiteY3" fmla="*/ 88949 h 259732"/>
                  <a:gd name="connsiteX4" fmla="*/ 935747 w 1195480"/>
                  <a:gd name="connsiteY4" fmla="*/ 163667 h 259732"/>
                  <a:gd name="connsiteX5" fmla="*/ 903726 w 1195480"/>
                  <a:gd name="connsiteY5" fmla="*/ 174341 h 259732"/>
                  <a:gd name="connsiteX6" fmla="*/ 882378 w 1195480"/>
                  <a:gd name="connsiteY6" fmla="*/ 106739 h 259732"/>
                  <a:gd name="connsiteX7" fmla="*/ 747175 w 1195480"/>
                  <a:gd name="connsiteY7" fmla="*/ 145877 h 259732"/>
                  <a:gd name="connsiteX8" fmla="*/ 715153 w 1195480"/>
                  <a:gd name="connsiteY8" fmla="*/ 145877 h 259732"/>
                  <a:gd name="connsiteX9" fmla="*/ 740059 w 1195480"/>
                  <a:gd name="connsiteY9" fmla="*/ 167225 h 259732"/>
                  <a:gd name="connsiteX10" fmla="*/ 743617 w 1195480"/>
                  <a:gd name="connsiteY10" fmla="*/ 206363 h 259732"/>
                  <a:gd name="connsiteX11" fmla="*/ 718711 w 1195480"/>
                  <a:gd name="connsiteY11" fmla="*/ 217037 h 259732"/>
                  <a:gd name="connsiteX12" fmla="*/ 686689 w 1195480"/>
                  <a:gd name="connsiteY12" fmla="*/ 227711 h 259732"/>
                  <a:gd name="connsiteX13" fmla="*/ 590624 w 1195480"/>
                  <a:gd name="connsiteY13" fmla="*/ 231269 h 259732"/>
                  <a:gd name="connsiteX14" fmla="*/ 540812 w 1195480"/>
                  <a:gd name="connsiteY14" fmla="*/ 206363 h 259732"/>
                  <a:gd name="connsiteX15" fmla="*/ 544370 w 1195480"/>
                  <a:gd name="connsiteY15" fmla="*/ 167225 h 259732"/>
                  <a:gd name="connsiteX16" fmla="*/ 572834 w 1195480"/>
                  <a:gd name="connsiteY16" fmla="*/ 145877 h 259732"/>
                  <a:gd name="connsiteX17" fmla="*/ 487442 w 1195480"/>
                  <a:gd name="connsiteY17" fmla="*/ 142319 h 259732"/>
                  <a:gd name="connsiteX18" fmla="*/ 323775 w 1195480"/>
                  <a:gd name="connsiteY18" fmla="*/ 110297 h 259732"/>
                  <a:gd name="connsiteX19" fmla="*/ 305985 w 1195480"/>
                  <a:gd name="connsiteY19" fmla="*/ 185015 h 259732"/>
                  <a:gd name="connsiteX20" fmla="*/ 273964 w 1195480"/>
                  <a:gd name="connsiteY20" fmla="*/ 174341 h 259732"/>
                  <a:gd name="connsiteX21" fmla="*/ 291754 w 1195480"/>
                  <a:gd name="connsiteY21" fmla="*/ 103181 h 259732"/>
                  <a:gd name="connsiteX22" fmla="*/ 199246 w 1195480"/>
                  <a:gd name="connsiteY22" fmla="*/ 67602 h 259732"/>
                  <a:gd name="connsiteX23" fmla="*/ 92507 w 1195480"/>
                  <a:gd name="connsiteY23" fmla="*/ 0 h 259732"/>
                  <a:gd name="connsiteX24" fmla="*/ 32021 w 1195480"/>
                  <a:gd name="connsiteY24" fmla="*/ 124529 h 259732"/>
                  <a:gd name="connsiteX25" fmla="*/ 0 w 1195480"/>
                  <a:gd name="connsiteY25" fmla="*/ 177899 h 259732"/>
                  <a:gd name="connsiteX26" fmla="*/ 46253 w 1195480"/>
                  <a:gd name="connsiteY26" fmla="*/ 120971 h 259732"/>
                  <a:gd name="connsiteX27" fmla="*/ 88949 w 1195480"/>
                  <a:gd name="connsiteY27" fmla="*/ 60486 h 259732"/>
                  <a:gd name="connsiteX28" fmla="*/ 177898 w 1195480"/>
                  <a:gd name="connsiteY28" fmla="*/ 120971 h 259732"/>
                  <a:gd name="connsiteX29" fmla="*/ 266848 w 1195480"/>
                  <a:gd name="connsiteY29" fmla="*/ 152993 h 259732"/>
                  <a:gd name="connsiteX30" fmla="*/ 259732 w 1195480"/>
                  <a:gd name="connsiteY30" fmla="*/ 177899 h 259732"/>
                  <a:gd name="connsiteX31" fmla="*/ 305985 w 1195480"/>
                  <a:gd name="connsiteY31" fmla="*/ 195689 h 259732"/>
                  <a:gd name="connsiteX32" fmla="*/ 320217 w 1195480"/>
                  <a:gd name="connsiteY32" fmla="*/ 174341 h 259732"/>
                  <a:gd name="connsiteX33" fmla="*/ 469652 w 1195480"/>
                  <a:gd name="connsiteY33" fmla="*/ 202805 h 259732"/>
                  <a:gd name="connsiteX34" fmla="*/ 530138 w 1195480"/>
                  <a:gd name="connsiteY34" fmla="*/ 209921 h 259732"/>
                  <a:gd name="connsiteX35" fmla="*/ 597740 w 1195480"/>
                  <a:gd name="connsiteY35" fmla="*/ 241942 h 259732"/>
                  <a:gd name="connsiteX36" fmla="*/ 686689 w 1195480"/>
                  <a:gd name="connsiteY36" fmla="*/ 238384 h 259732"/>
                  <a:gd name="connsiteX37" fmla="*/ 750733 w 1195480"/>
                  <a:gd name="connsiteY37" fmla="*/ 217037 h 259732"/>
                  <a:gd name="connsiteX38" fmla="*/ 750733 w 1195480"/>
                  <a:gd name="connsiteY38" fmla="*/ 199247 h 259732"/>
                  <a:gd name="connsiteX39" fmla="*/ 825450 w 1195480"/>
                  <a:gd name="connsiteY39" fmla="*/ 181457 h 259732"/>
                  <a:gd name="connsiteX40" fmla="*/ 889494 w 1195480"/>
                  <a:gd name="connsiteY40" fmla="*/ 160109 h 259732"/>
                  <a:gd name="connsiteX41" fmla="*/ 900168 w 1195480"/>
                  <a:gd name="connsiteY41" fmla="*/ 185015 h 259732"/>
                  <a:gd name="connsiteX42" fmla="*/ 939305 w 1195480"/>
                  <a:gd name="connsiteY42" fmla="*/ 167225 h 259732"/>
                  <a:gd name="connsiteX43" fmla="*/ 935747 w 1195480"/>
                  <a:gd name="connsiteY43" fmla="*/ 142319 h 259732"/>
                  <a:gd name="connsiteX44" fmla="*/ 967769 w 1195480"/>
                  <a:gd name="connsiteY44" fmla="*/ 120971 h 259732"/>
                  <a:gd name="connsiteX45" fmla="*/ 1053161 w 1195480"/>
                  <a:gd name="connsiteY45" fmla="*/ 181457 h 259732"/>
                  <a:gd name="connsiteX46" fmla="*/ 1145668 w 1195480"/>
                  <a:gd name="connsiteY46" fmla="*/ 234826 h 259732"/>
                  <a:gd name="connsiteX47" fmla="*/ 1195480 w 1195480"/>
                  <a:gd name="connsiteY47" fmla="*/ 259732 h 259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195480" h="259732">
                    <a:moveTo>
                      <a:pt x="1195480" y="259732"/>
                    </a:moveTo>
                    <a:lnTo>
                      <a:pt x="1074508" y="167225"/>
                    </a:lnTo>
                    <a:lnTo>
                      <a:pt x="949979" y="56928"/>
                    </a:lnTo>
                    <a:lnTo>
                      <a:pt x="910842" y="88949"/>
                    </a:lnTo>
                    <a:lnTo>
                      <a:pt x="935747" y="163667"/>
                    </a:lnTo>
                    <a:lnTo>
                      <a:pt x="903726" y="174341"/>
                    </a:lnTo>
                    <a:lnTo>
                      <a:pt x="882378" y="106739"/>
                    </a:lnTo>
                    <a:lnTo>
                      <a:pt x="747175" y="145877"/>
                    </a:lnTo>
                    <a:lnTo>
                      <a:pt x="715153" y="145877"/>
                    </a:lnTo>
                    <a:lnTo>
                      <a:pt x="740059" y="167225"/>
                    </a:lnTo>
                    <a:lnTo>
                      <a:pt x="743617" y="206363"/>
                    </a:lnTo>
                    <a:lnTo>
                      <a:pt x="718711" y="217037"/>
                    </a:lnTo>
                    <a:lnTo>
                      <a:pt x="686689" y="227711"/>
                    </a:lnTo>
                    <a:lnTo>
                      <a:pt x="590624" y="231269"/>
                    </a:lnTo>
                    <a:lnTo>
                      <a:pt x="540812" y="206363"/>
                    </a:lnTo>
                    <a:lnTo>
                      <a:pt x="544370" y="167225"/>
                    </a:lnTo>
                    <a:lnTo>
                      <a:pt x="572834" y="145877"/>
                    </a:lnTo>
                    <a:lnTo>
                      <a:pt x="487442" y="142319"/>
                    </a:lnTo>
                    <a:lnTo>
                      <a:pt x="323775" y="110297"/>
                    </a:lnTo>
                    <a:lnTo>
                      <a:pt x="305985" y="185015"/>
                    </a:lnTo>
                    <a:lnTo>
                      <a:pt x="273964" y="174341"/>
                    </a:lnTo>
                    <a:lnTo>
                      <a:pt x="291754" y="103181"/>
                    </a:lnTo>
                    <a:lnTo>
                      <a:pt x="199246" y="67602"/>
                    </a:lnTo>
                    <a:lnTo>
                      <a:pt x="92507" y="0"/>
                    </a:lnTo>
                    <a:lnTo>
                      <a:pt x="32021" y="124529"/>
                    </a:lnTo>
                    <a:lnTo>
                      <a:pt x="0" y="177899"/>
                    </a:lnTo>
                    <a:lnTo>
                      <a:pt x="46253" y="120971"/>
                    </a:lnTo>
                    <a:lnTo>
                      <a:pt x="88949" y="60486"/>
                    </a:lnTo>
                    <a:lnTo>
                      <a:pt x="177898" y="120971"/>
                    </a:lnTo>
                    <a:lnTo>
                      <a:pt x="266848" y="152993"/>
                    </a:lnTo>
                    <a:lnTo>
                      <a:pt x="259732" y="177899"/>
                    </a:lnTo>
                    <a:lnTo>
                      <a:pt x="305985" y="195689"/>
                    </a:lnTo>
                    <a:lnTo>
                      <a:pt x="320217" y="174341"/>
                    </a:lnTo>
                    <a:lnTo>
                      <a:pt x="469652" y="202805"/>
                    </a:lnTo>
                    <a:cubicBezTo>
                      <a:pt x="531322" y="206433"/>
                      <a:pt x="527757" y="207597"/>
                      <a:pt x="530138" y="209921"/>
                    </a:cubicBezTo>
                    <a:lnTo>
                      <a:pt x="597740" y="241942"/>
                    </a:lnTo>
                    <a:lnTo>
                      <a:pt x="686689" y="238384"/>
                    </a:lnTo>
                    <a:lnTo>
                      <a:pt x="750733" y="217037"/>
                    </a:lnTo>
                    <a:lnTo>
                      <a:pt x="750733" y="199247"/>
                    </a:lnTo>
                    <a:lnTo>
                      <a:pt x="825450" y="181457"/>
                    </a:lnTo>
                    <a:lnTo>
                      <a:pt x="889494" y="160109"/>
                    </a:lnTo>
                    <a:lnTo>
                      <a:pt x="900168" y="185015"/>
                    </a:lnTo>
                    <a:lnTo>
                      <a:pt x="939305" y="167225"/>
                    </a:lnTo>
                    <a:lnTo>
                      <a:pt x="935747" y="142319"/>
                    </a:lnTo>
                    <a:lnTo>
                      <a:pt x="967769" y="120971"/>
                    </a:lnTo>
                    <a:lnTo>
                      <a:pt x="1053161" y="181457"/>
                    </a:lnTo>
                    <a:lnTo>
                      <a:pt x="1145668" y="234826"/>
                    </a:lnTo>
                    <a:lnTo>
                      <a:pt x="1195480" y="25973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81" name="Freeform 280"/>
              <p:cNvSpPr/>
              <p:nvPr/>
            </p:nvSpPr>
            <p:spPr bwMode="auto">
              <a:xfrm>
                <a:off x="7000358" y="3499317"/>
                <a:ext cx="123488" cy="61238"/>
              </a:xfrm>
              <a:custGeom>
                <a:avLst/>
                <a:gdLst>
                  <a:gd name="connsiteX0" fmla="*/ 30480 w 206692"/>
                  <a:gd name="connsiteY0" fmla="*/ 2382 h 95250"/>
                  <a:gd name="connsiteX1" fmla="*/ 1905 w 206692"/>
                  <a:gd name="connsiteY1" fmla="*/ 30957 h 95250"/>
                  <a:gd name="connsiteX2" fmla="*/ 1905 w 206692"/>
                  <a:gd name="connsiteY2" fmla="*/ 69057 h 95250"/>
                  <a:gd name="connsiteX3" fmla="*/ 54292 w 206692"/>
                  <a:gd name="connsiteY3" fmla="*/ 95250 h 95250"/>
                  <a:gd name="connsiteX4" fmla="*/ 151924 w 206692"/>
                  <a:gd name="connsiteY4" fmla="*/ 92869 h 95250"/>
                  <a:gd name="connsiteX5" fmla="*/ 204311 w 206692"/>
                  <a:gd name="connsiteY5" fmla="*/ 71438 h 95250"/>
                  <a:gd name="connsiteX6" fmla="*/ 206692 w 206692"/>
                  <a:gd name="connsiteY6" fmla="*/ 16669 h 95250"/>
                  <a:gd name="connsiteX7" fmla="*/ 175736 w 206692"/>
                  <a:gd name="connsiteY7" fmla="*/ 0 h 95250"/>
                  <a:gd name="connsiteX8" fmla="*/ 101917 w 206692"/>
                  <a:gd name="connsiteY8" fmla="*/ 7144 h 95250"/>
                  <a:gd name="connsiteX9" fmla="*/ 30480 w 206692"/>
                  <a:gd name="connsiteY9" fmla="*/ 2382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6692" h="95250">
                    <a:moveTo>
                      <a:pt x="30480" y="2382"/>
                    </a:moveTo>
                    <a:cubicBezTo>
                      <a:pt x="0" y="25242"/>
                      <a:pt x="1905" y="11907"/>
                      <a:pt x="1905" y="30957"/>
                    </a:cubicBezTo>
                    <a:lnTo>
                      <a:pt x="1905" y="69057"/>
                    </a:lnTo>
                    <a:lnTo>
                      <a:pt x="54292" y="95250"/>
                    </a:lnTo>
                    <a:lnTo>
                      <a:pt x="151924" y="92869"/>
                    </a:lnTo>
                    <a:lnTo>
                      <a:pt x="204311" y="71438"/>
                    </a:lnTo>
                    <a:cubicBezTo>
                      <a:pt x="205105" y="53182"/>
                      <a:pt x="205898" y="34925"/>
                      <a:pt x="206692" y="16669"/>
                    </a:cubicBezTo>
                    <a:lnTo>
                      <a:pt x="175736" y="0"/>
                    </a:lnTo>
                    <a:lnTo>
                      <a:pt x="101917" y="7144"/>
                    </a:lnTo>
                    <a:lnTo>
                      <a:pt x="30480" y="238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nvGrpSpPr>
              <p:cNvPr id="282" name="Group 120"/>
              <p:cNvGrpSpPr/>
              <p:nvPr/>
            </p:nvGrpSpPr>
            <p:grpSpPr>
              <a:xfrm rot="21536255" flipH="1">
                <a:off x="6856202" y="1926296"/>
                <a:ext cx="393073" cy="780013"/>
                <a:chOff x="2133599" y="-2547370"/>
                <a:chExt cx="3515438" cy="6893242"/>
              </a:xfrm>
              <a:grpFill/>
            </p:grpSpPr>
            <p:sp>
              <p:nvSpPr>
                <p:cNvPr id="303" name="Freeform 302"/>
                <p:cNvSpPr/>
                <p:nvPr/>
              </p:nvSpPr>
              <p:spPr>
                <a:xfrm>
                  <a:off x="2137006" y="-2547370"/>
                  <a:ext cx="3512031" cy="3881488"/>
                </a:xfrm>
                <a:custGeom>
                  <a:avLst/>
                  <a:gdLst>
                    <a:gd name="connsiteX0" fmla="*/ 2749924 w 3675530"/>
                    <a:gd name="connsiteY0" fmla="*/ 4110318 h 4780430"/>
                    <a:gd name="connsiteX1" fmla="*/ 2803712 w 3675530"/>
                    <a:gd name="connsiteY1" fmla="*/ 4069977 h 4780430"/>
                    <a:gd name="connsiteX2" fmla="*/ 3005418 w 3675530"/>
                    <a:gd name="connsiteY2" fmla="*/ 3760694 h 4780430"/>
                    <a:gd name="connsiteX3" fmla="*/ 3153335 w 3675530"/>
                    <a:gd name="connsiteY3" fmla="*/ 3437965 h 4780430"/>
                    <a:gd name="connsiteX4" fmla="*/ 3516406 w 3675530"/>
                    <a:gd name="connsiteY4" fmla="*/ 2940424 h 4780430"/>
                    <a:gd name="connsiteX5" fmla="*/ 3664324 w 3675530"/>
                    <a:gd name="connsiteY5" fmla="*/ 1797424 h 4780430"/>
                    <a:gd name="connsiteX6" fmla="*/ 3449171 w 3675530"/>
                    <a:gd name="connsiteY6" fmla="*/ 1057836 h 4780430"/>
                    <a:gd name="connsiteX7" fmla="*/ 3180230 w 3675530"/>
                    <a:gd name="connsiteY7" fmla="*/ 909918 h 4780430"/>
                    <a:gd name="connsiteX8" fmla="*/ 3086100 w 3675530"/>
                    <a:gd name="connsiteY8" fmla="*/ 708212 h 4780430"/>
                    <a:gd name="connsiteX9" fmla="*/ 2373406 w 3675530"/>
                    <a:gd name="connsiteY9" fmla="*/ 49306 h 4780430"/>
                    <a:gd name="connsiteX10" fmla="*/ 853888 w 3675530"/>
                    <a:gd name="connsiteY10" fmla="*/ 412377 h 4780430"/>
                    <a:gd name="connsiteX11" fmla="*/ 87406 w 3675530"/>
                    <a:gd name="connsiteY11" fmla="*/ 1770530 h 4780430"/>
                    <a:gd name="connsiteX12" fmla="*/ 329453 w 3675530"/>
                    <a:gd name="connsiteY12" fmla="*/ 3263153 h 4780430"/>
                    <a:gd name="connsiteX13" fmla="*/ 423583 w 3675530"/>
                    <a:gd name="connsiteY13" fmla="*/ 3666565 h 4780430"/>
                    <a:gd name="connsiteX14" fmla="*/ 638735 w 3675530"/>
                    <a:gd name="connsiteY14" fmla="*/ 3881718 h 4780430"/>
                    <a:gd name="connsiteX15" fmla="*/ 1808630 w 3675530"/>
                    <a:gd name="connsiteY15" fmla="*/ 4742330 h 4780430"/>
                    <a:gd name="connsiteX16" fmla="*/ 2749924 w 3675530"/>
                    <a:gd name="connsiteY16" fmla="*/ 4110318 h 4780430"/>
                    <a:gd name="connsiteX0" fmla="*/ 2749924 w 3675530"/>
                    <a:gd name="connsiteY0" fmla="*/ 4088093 h 4758205"/>
                    <a:gd name="connsiteX1" fmla="*/ 2803712 w 3675530"/>
                    <a:gd name="connsiteY1" fmla="*/ 4047752 h 4758205"/>
                    <a:gd name="connsiteX2" fmla="*/ 3005418 w 3675530"/>
                    <a:gd name="connsiteY2" fmla="*/ 3738469 h 4758205"/>
                    <a:gd name="connsiteX3" fmla="*/ 3153335 w 3675530"/>
                    <a:gd name="connsiteY3" fmla="*/ 3415740 h 4758205"/>
                    <a:gd name="connsiteX4" fmla="*/ 3516406 w 3675530"/>
                    <a:gd name="connsiteY4" fmla="*/ 2918199 h 4758205"/>
                    <a:gd name="connsiteX5" fmla="*/ 3664324 w 3675530"/>
                    <a:gd name="connsiteY5" fmla="*/ 1775199 h 4758205"/>
                    <a:gd name="connsiteX6" fmla="*/ 3449171 w 3675530"/>
                    <a:gd name="connsiteY6" fmla="*/ 1035611 h 4758205"/>
                    <a:gd name="connsiteX7" fmla="*/ 3180230 w 3675530"/>
                    <a:gd name="connsiteY7" fmla="*/ 887693 h 4758205"/>
                    <a:gd name="connsiteX8" fmla="*/ 3133725 w 3675530"/>
                    <a:gd name="connsiteY8" fmla="*/ 552637 h 4758205"/>
                    <a:gd name="connsiteX9" fmla="*/ 2373406 w 3675530"/>
                    <a:gd name="connsiteY9" fmla="*/ 27081 h 4758205"/>
                    <a:gd name="connsiteX10" fmla="*/ 853888 w 3675530"/>
                    <a:gd name="connsiteY10" fmla="*/ 390152 h 4758205"/>
                    <a:gd name="connsiteX11" fmla="*/ 87406 w 3675530"/>
                    <a:gd name="connsiteY11" fmla="*/ 1748305 h 4758205"/>
                    <a:gd name="connsiteX12" fmla="*/ 329453 w 3675530"/>
                    <a:gd name="connsiteY12" fmla="*/ 3240928 h 4758205"/>
                    <a:gd name="connsiteX13" fmla="*/ 423583 w 3675530"/>
                    <a:gd name="connsiteY13" fmla="*/ 3644340 h 4758205"/>
                    <a:gd name="connsiteX14" fmla="*/ 638735 w 3675530"/>
                    <a:gd name="connsiteY14" fmla="*/ 3859493 h 4758205"/>
                    <a:gd name="connsiteX15" fmla="*/ 1808630 w 3675530"/>
                    <a:gd name="connsiteY15" fmla="*/ 4720105 h 4758205"/>
                    <a:gd name="connsiteX16" fmla="*/ 2749924 w 3675530"/>
                    <a:gd name="connsiteY16" fmla="*/ 4088093 h 4758205"/>
                    <a:gd name="connsiteX0" fmla="*/ 2749924 w 3675530"/>
                    <a:gd name="connsiteY0" fmla="*/ 4088093 h 4758205"/>
                    <a:gd name="connsiteX1" fmla="*/ 2803712 w 3675530"/>
                    <a:gd name="connsiteY1" fmla="*/ 4047752 h 4758205"/>
                    <a:gd name="connsiteX2" fmla="*/ 3005418 w 3675530"/>
                    <a:gd name="connsiteY2" fmla="*/ 3738469 h 4758205"/>
                    <a:gd name="connsiteX3" fmla="*/ 3153335 w 3675530"/>
                    <a:gd name="connsiteY3" fmla="*/ 3415740 h 4758205"/>
                    <a:gd name="connsiteX4" fmla="*/ 3516406 w 3675530"/>
                    <a:gd name="connsiteY4" fmla="*/ 2918199 h 4758205"/>
                    <a:gd name="connsiteX5" fmla="*/ 3664324 w 3675530"/>
                    <a:gd name="connsiteY5" fmla="*/ 1775199 h 4758205"/>
                    <a:gd name="connsiteX6" fmla="*/ 3449171 w 3675530"/>
                    <a:gd name="connsiteY6" fmla="*/ 1035611 h 4758205"/>
                    <a:gd name="connsiteX7" fmla="*/ 3180230 w 3675530"/>
                    <a:gd name="connsiteY7" fmla="*/ 887693 h 4758205"/>
                    <a:gd name="connsiteX8" fmla="*/ 3133725 w 3675530"/>
                    <a:gd name="connsiteY8" fmla="*/ 552637 h 4758205"/>
                    <a:gd name="connsiteX9" fmla="*/ 2373406 w 3675530"/>
                    <a:gd name="connsiteY9" fmla="*/ 27081 h 4758205"/>
                    <a:gd name="connsiteX10" fmla="*/ 853888 w 3675530"/>
                    <a:gd name="connsiteY10" fmla="*/ 390152 h 4758205"/>
                    <a:gd name="connsiteX11" fmla="*/ 87406 w 3675530"/>
                    <a:gd name="connsiteY11" fmla="*/ 1748305 h 4758205"/>
                    <a:gd name="connsiteX12" fmla="*/ 329453 w 3675530"/>
                    <a:gd name="connsiteY12" fmla="*/ 3240928 h 4758205"/>
                    <a:gd name="connsiteX13" fmla="*/ 423583 w 3675530"/>
                    <a:gd name="connsiteY13" fmla="*/ 3644340 h 4758205"/>
                    <a:gd name="connsiteX14" fmla="*/ 638735 w 3675530"/>
                    <a:gd name="connsiteY14" fmla="*/ 3859493 h 4758205"/>
                    <a:gd name="connsiteX15" fmla="*/ 1808630 w 3675530"/>
                    <a:gd name="connsiteY15" fmla="*/ 4720105 h 4758205"/>
                    <a:gd name="connsiteX16" fmla="*/ 2749924 w 3675530"/>
                    <a:gd name="connsiteY16" fmla="*/ 4088093 h 4758205"/>
                    <a:gd name="connsiteX0" fmla="*/ 2749924 w 3675530"/>
                    <a:gd name="connsiteY0" fmla="*/ 3957824 h 4627936"/>
                    <a:gd name="connsiteX1" fmla="*/ 2803712 w 3675530"/>
                    <a:gd name="connsiteY1" fmla="*/ 3917483 h 4627936"/>
                    <a:gd name="connsiteX2" fmla="*/ 3005418 w 3675530"/>
                    <a:gd name="connsiteY2" fmla="*/ 3608200 h 4627936"/>
                    <a:gd name="connsiteX3" fmla="*/ 3153335 w 3675530"/>
                    <a:gd name="connsiteY3" fmla="*/ 3285471 h 4627936"/>
                    <a:gd name="connsiteX4" fmla="*/ 3516406 w 3675530"/>
                    <a:gd name="connsiteY4" fmla="*/ 2787930 h 4627936"/>
                    <a:gd name="connsiteX5" fmla="*/ 3664324 w 3675530"/>
                    <a:gd name="connsiteY5" fmla="*/ 1644930 h 4627936"/>
                    <a:gd name="connsiteX6" fmla="*/ 3449171 w 3675530"/>
                    <a:gd name="connsiteY6" fmla="*/ 905342 h 4627936"/>
                    <a:gd name="connsiteX7" fmla="*/ 3180230 w 3675530"/>
                    <a:gd name="connsiteY7" fmla="*/ 757424 h 4627936"/>
                    <a:gd name="connsiteX8" fmla="*/ 3133725 w 3675530"/>
                    <a:gd name="connsiteY8" fmla="*/ 422368 h 4627936"/>
                    <a:gd name="connsiteX9" fmla="*/ 2344831 w 3675530"/>
                    <a:gd name="connsiteY9" fmla="*/ 58737 h 4627936"/>
                    <a:gd name="connsiteX10" fmla="*/ 853888 w 3675530"/>
                    <a:gd name="connsiteY10" fmla="*/ 259883 h 4627936"/>
                    <a:gd name="connsiteX11" fmla="*/ 87406 w 3675530"/>
                    <a:gd name="connsiteY11" fmla="*/ 1618036 h 4627936"/>
                    <a:gd name="connsiteX12" fmla="*/ 329453 w 3675530"/>
                    <a:gd name="connsiteY12" fmla="*/ 3110659 h 4627936"/>
                    <a:gd name="connsiteX13" fmla="*/ 423583 w 3675530"/>
                    <a:gd name="connsiteY13" fmla="*/ 3514071 h 4627936"/>
                    <a:gd name="connsiteX14" fmla="*/ 638735 w 3675530"/>
                    <a:gd name="connsiteY14" fmla="*/ 3729224 h 4627936"/>
                    <a:gd name="connsiteX15" fmla="*/ 1808630 w 3675530"/>
                    <a:gd name="connsiteY15" fmla="*/ 4589836 h 4627936"/>
                    <a:gd name="connsiteX16" fmla="*/ 2749924 w 3675530"/>
                    <a:gd name="connsiteY16" fmla="*/ 3957824 h 4627936"/>
                    <a:gd name="connsiteX0" fmla="*/ 2749924 w 3675530"/>
                    <a:gd name="connsiteY0" fmla="*/ 3957824 h 4627936"/>
                    <a:gd name="connsiteX1" fmla="*/ 3005418 w 3675530"/>
                    <a:gd name="connsiteY1" fmla="*/ 3608200 h 4627936"/>
                    <a:gd name="connsiteX2" fmla="*/ 3153335 w 3675530"/>
                    <a:gd name="connsiteY2" fmla="*/ 3285471 h 4627936"/>
                    <a:gd name="connsiteX3" fmla="*/ 3516406 w 3675530"/>
                    <a:gd name="connsiteY3" fmla="*/ 2787930 h 4627936"/>
                    <a:gd name="connsiteX4" fmla="*/ 3664324 w 3675530"/>
                    <a:gd name="connsiteY4" fmla="*/ 1644930 h 4627936"/>
                    <a:gd name="connsiteX5" fmla="*/ 3449171 w 3675530"/>
                    <a:gd name="connsiteY5" fmla="*/ 905342 h 4627936"/>
                    <a:gd name="connsiteX6" fmla="*/ 3180230 w 3675530"/>
                    <a:gd name="connsiteY6" fmla="*/ 757424 h 4627936"/>
                    <a:gd name="connsiteX7" fmla="*/ 3133725 w 3675530"/>
                    <a:gd name="connsiteY7" fmla="*/ 422368 h 4627936"/>
                    <a:gd name="connsiteX8" fmla="*/ 2344831 w 3675530"/>
                    <a:gd name="connsiteY8" fmla="*/ 58737 h 4627936"/>
                    <a:gd name="connsiteX9" fmla="*/ 853888 w 3675530"/>
                    <a:gd name="connsiteY9" fmla="*/ 259883 h 4627936"/>
                    <a:gd name="connsiteX10" fmla="*/ 87406 w 3675530"/>
                    <a:gd name="connsiteY10" fmla="*/ 1618036 h 4627936"/>
                    <a:gd name="connsiteX11" fmla="*/ 329453 w 3675530"/>
                    <a:gd name="connsiteY11" fmla="*/ 3110659 h 4627936"/>
                    <a:gd name="connsiteX12" fmla="*/ 423583 w 3675530"/>
                    <a:gd name="connsiteY12" fmla="*/ 3514071 h 4627936"/>
                    <a:gd name="connsiteX13" fmla="*/ 638735 w 3675530"/>
                    <a:gd name="connsiteY13" fmla="*/ 3729224 h 4627936"/>
                    <a:gd name="connsiteX14" fmla="*/ 1808630 w 3675530"/>
                    <a:gd name="connsiteY14" fmla="*/ 4589836 h 4627936"/>
                    <a:gd name="connsiteX15" fmla="*/ 2749924 w 3675530"/>
                    <a:gd name="connsiteY15" fmla="*/ 3957824 h 4627936"/>
                    <a:gd name="connsiteX0" fmla="*/ 2749924 w 3675530"/>
                    <a:gd name="connsiteY0" fmla="*/ 3957824 h 4627936"/>
                    <a:gd name="connsiteX1" fmla="*/ 3153335 w 3675530"/>
                    <a:gd name="connsiteY1" fmla="*/ 3285471 h 4627936"/>
                    <a:gd name="connsiteX2" fmla="*/ 3516406 w 3675530"/>
                    <a:gd name="connsiteY2" fmla="*/ 2787930 h 4627936"/>
                    <a:gd name="connsiteX3" fmla="*/ 3664324 w 3675530"/>
                    <a:gd name="connsiteY3" fmla="*/ 1644930 h 4627936"/>
                    <a:gd name="connsiteX4" fmla="*/ 3449171 w 3675530"/>
                    <a:gd name="connsiteY4" fmla="*/ 905342 h 4627936"/>
                    <a:gd name="connsiteX5" fmla="*/ 3180230 w 3675530"/>
                    <a:gd name="connsiteY5" fmla="*/ 757424 h 4627936"/>
                    <a:gd name="connsiteX6" fmla="*/ 3133725 w 3675530"/>
                    <a:gd name="connsiteY6" fmla="*/ 422368 h 4627936"/>
                    <a:gd name="connsiteX7" fmla="*/ 2344831 w 3675530"/>
                    <a:gd name="connsiteY7" fmla="*/ 58737 h 4627936"/>
                    <a:gd name="connsiteX8" fmla="*/ 853888 w 3675530"/>
                    <a:gd name="connsiteY8" fmla="*/ 259883 h 4627936"/>
                    <a:gd name="connsiteX9" fmla="*/ 87406 w 3675530"/>
                    <a:gd name="connsiteY9" fmla="*/ 1618036 h 4627936"/>
                    <a:gd name="connsiteX10" fmla="*/ 329453 w 3675530"/>
                    <a:gd name="connsiteY10" fmla="*/ 3110659 h 4627936"/>
                    <a:gd name="connsiteX11" fmla="*/ 423583 w 3675530"/>
                    <a:gd name="connsiteY11" fmla="*/ 3514071 h 4627936"/>
                    <a:gd name="connsiteX12" fmla="*/ 638735 w 3675530"/>
                    <a:gd name="connsiteY12" fmla="*/ 3729224 h 4627936"/>
                    <a:gd name="connsiteX13" fmla="*/ 1808630 w 3675530"/>
                    <a:gd name="connsiteY13" fmla="*/ 4589836 h 4627936"/>
                    <a:gd name="connsiteX14" fmla="*/ 2749924 w 3675530"/>
                    <a:gd name="connsiteY14" fmla="*/ 3957824 h 4627936"/>
                    <a:gd name="connsiteX0" fmla="*/ 1808630 w 3675530"/>
                    <a:gd name="connsiteY0" fmla="*/ 4589836 h 4663795"/>
                    <a:gd name="connsiteX1" fmla="*/ 3153335 w 3675530"/>
                    <a:gd name="connsiteY1" fmla="*/ 3285471 h 4663795"/>
                    <a:gd name="connsiteX2" fmla="*/ 3516406 w 3675530"/>
                    <a:gd name="connsiteY2" fmla="*/ 2787930 h 4663795"/>
                    <a:gd name="connsiteX3" fmla="*/ 3664324 w 3675530"/>
                    <a:gd name="connsiteY3" fmla="*/ 1644930 h 4663795"/>
                    <a:gd name="connsiteX4" fmla="*/ 3449171 w 3675530"/>
                    <a:gd name="connsiteY4" fmla="*/ 905342 h 4663795"/>
                    <a:gd name="connsiteX5" fmla="*/ 3180230 w 3675530"/>
                    <a:gd name="connsiteY5" fmla="*/ 757424 h 4663795"/>
                    <a:gd name="connsiteX6" fmla="*/ 3133725 w 3675530"/>
                    <a:gd name="connsiteY6" fmla="*/ 422368 h 4663795"/>
                    <a:gd name="connsiteX7" fmla="*/ 2344831 w 3675530"/>
                    <a:gd name="connsiteY7" fmla="*/ 58737 h 4663795"/>
                    <a:gd name="connsiteX8" fmla="*/ 853888 w 3675530"/>
                    <a:gd name="connsiteY8" fmla="*/ 259883 h 4663795"/>
                    <a:gd name="connsiteX9" fmla="*/ 87406 w 3675530"/>
                    <a:gd name="connsiteY9" fmla="*/ 1618036 h 4663795"/>
                    <a:gd name="connsiteX10" fmla="*/ 329453 w 3675530"/>
                    <a:gd name="connsiteY10" fmla="*/ 3110659 h 4663795"/>
                    <a:gd name="connsiteX11" fmla="*/ 423583 w 3675530"/>
                    <a:gd name="connsiteY11" fmla="*/ 3514071 h 4663795"/>
                    <a:gd name="connsiteX12" fmla="*/ 638735 w 3675530"/>
                    <a:gd name="connsiteY12" fmla="*/ 3729224 h 4663795"/>
                    <a:gd name="connsiteX13" fmla="*/ 1808630 w 3675530"/>
                    <a:gd name="connsiteY13" fmla="*/ 4589836 h 4663795"/>
                    <a:gd name="connsiteX0" fmla="*/ 638735 w 3675530"/>
                    <a:gd name="connsiteY0" fmla="*/ 3729224 h 3767324"/>
                    <a:gd name="connsiteX1" fmla="*/ 3153335 w 3675530"/>
                    <a:gd name="connsiteY1" fmla="*/ 3285471 h 3767324"/>
                    <a:gd name="connsiteX2" fmla="*/ 3516406 w 3675530"/>
                    <a:gd name="connsiteY2" fmla="*/ 2787930 h 3767324"/>
                    <a:gd name="connsiteX3" fmla="*/ 3664324 w 3675530"/>
                    <a:gd name="connsiteY3" fmla="*/ 1644930 h 3767324"/>
                    <a:gd name="connsiteX4" fmla="*/ 3449171 w 3675530"/>
                    <a:gd name="connsiteY4" fmla="*/ 905342 h 3767324"/>
                    <a:gd name="connsiteX5" fmla="*/ 3180230 w 3675530"/>
                    <a:gd name="connsiteY5" fmla="*/ 757424 h 3767324"/>
                    <a:gd name="connsiteX6" fmla="*/ 3133725 w 3675530"/>
                    <a:gd name="connsiteY6" fmla="*/ 422368 h 3767324"/>
                    <a:gd name="connsiteX7" fmla="*/ 2344831 w 3675530"/>
                    <a:gd name="connsiteY7" fmla="*/ 58737 h 3767324"/>
                    <a:gd name="connsiteX8" fmla="*/ 853888 w 3675530"/>
                    <a:gd name="connsiteY8" fmla="*/ 259883 h 3767324"/>
                    <a:gd name="connsiteX9" fmla="*/ 87406 w 3675530"/>
                    <a:gd name="connsiteY9" fmla="*/ 1618036 h 3767324"/>
                    <a:gd name="connsiteX10" fmla="*/ 329453 w 3675530"/>
                    <a:gd name="connsiteY10" fmla="*/ 3110659 h 3767324"/>
                    <a:gd name="connsiteX11" fmla="*/ 423583 w 3675530"/>
                    <a:gd name="connsiteY11" fmla="*/ 3514071 h 3767324"/>
                    <a:gd name="connsiteX12" fmla="*/ 638735 w 3675530"/>
                    <a:gd name="connsiteY12" fmla="*/ 3729224 h 3767324"/>
                    <a:gd name="connsiteX0" fmla="*/ 470647 w 3722594"/>
                    <a:gd name="connsiteY0" fmla="*/ 3514071 h 3543206"/>
                    <a:gd name="connsiteX1" fmla="*/ 3200399 w 3722594"/>
                    <a:gd name="connsiteY1" fmla="*/ 3285471 h 3543206"/>
                    <a:gd name="connsiteX2" fmla="*/ 3563470 w 3722594"/>
                    <a:gd name="connsiteY2" fmla="*/ 2787930 h 3543206"/>
                    <a:gd name="connsiteX3" fmla="*/ 3711388 w 3722594"/>
                    <a:gd name="connsiteY3" fmla="*/ 1644930 h 3543206"/>
                    <a:gd name="connsiteX4" fmla="*/ 3496235 w 3722594"/>
                    <a:gd name="connsiteY4" fmla="*/ 905342 h 3543206"/>
                    <a:gd name="connsiteX5" fmla="*/ 3227294 w 3722594"/>
                    <a:gd name="connsiteY5" fmla="*/ 757424 h 3543206"/>
                    <a:gd name="connsiteX6" fmla="*/ 3180789 w 3722594"/>
                    <a:gd name="connsiteY6" fmla="*/ 422368 h 3543206"/>
                    <a:gd name="connsiteX7" fmla="*/ 2391895 w 3722594"/>
                    <a:gd name="connsiteY7" fmla="*/ 58737 h 3543206"/>
                    <a:gd name="connsiteX8" fmla="*/ 900952 w 3722594"/>
                    <a:gd name="connsiteY8" fmla="*/ 259883 h 3543206"/>
                    <a:gd name="connsiteX9" fmla="*/ 134470 w 3722594"/>
                    <a:gd name="connsiteY9" fmla="*/ 1618036 h 3543206"/>
                    <a:gd name="connsiteX10" fmla="*/ 376517 w 3722594"/>
                    <a:gd name="connsiteY10" fmla="*/ 3110659 h 3543206"/>
                    <a:gd name="connsiteX11" fmla="*/ 470647 w 3722594"/>
                    <a:gd name="connsiteY11" fmla="*/ 3514071 h 3543206"/>
                    <a:gd name="connsiteX0" fmla="*/ 510988 w 3866029"/>
                    <a:gd name="connsiteY0" fmla="*/ 3110659 h 3388565"/>
                    <a:gd name="connsiteX1" fmla="*/ 3334870 w 3866029"/>
                    <a:gd name="connsiteY1" fmla="*/ 3285471 h 3388565"/>
                    <a:gd name="connsiteX2" fmla="*/ 3697941 w 3866029"/>
                    <a:gd name="connsiteY2" fmla="*/ 2787930 h 3388565"/>
                    <a:gd name="connsiteX3" fmla="*/ 3845859 w 3866029"/>
                    <a:gd name="connsiteY3" fmla="*/ 1644930 h 3388565"/>
                    <a:gd name="connsiteX4" fmla="*/ 3630706 w 3866029"/>
                    <a:gd name="connsiteY4" fmla="*/ 905342 h 3388565"/>
                    <a:gd name="connsiteX5" fmla="*/ 3361765 w 3866029"/>
                    <a:gd name="connsiteY5" fmla="*/ 757424 h 3388565"/>
                    <a:gd name="connsiteX6" fmla="*/ 3315260 w 3866029"/>
                    <a:gd name="connsiteY6" fmla="*/ 422368 h 3388565"/>
                    <a:gd name="connsiteX7" fmla="*/ 2526366 w 3866029"/>
                    <a:gd name="connsiteY7" fmla="*/ 58737 h 3388565"/>
                    <a:gd name="connsiteX8" fmla="*/ 1035423 w 3866029"/>
                    <a:gd name="connsiteY8" fmla="*/ 259883 h 3388565"/>
                    <a:gd name="connsiteX9" fmla="*/ 268941 w 3866029"/>
                    <a:gd name="connsiteY9" fmla="*/ 1618036 h 3388565"/>
                    <a:gd name="connsiteX10" fmla="*/ 510988 w 3866029"/>
                    <a:gd name="connsiteY10" fmla="*/ 3110659 h 3388565"/>
                    <a:gd name="connsiteX0" fmla="*/ 484875 w 3830952"/>
                    <a:gd name="connsiteY0" fmla="*/ 3110659 h 3389043"/>
                    <a:gd name="connsiteX1" fmla="*/ 3152079 w 3830952"/>
                    <a:gd name="connsiteY1" fmla="*/ 3288342 h 3389043"/>
                    <a:gd name="connsiteX2" fmla="*/ 3671828 w 3830952"/>
                    <a:gd name="connsiteY2" fmla="*/ 2787930 h 3389043"/>
                    <a:gd name="connsiteX3" fmla="*/ 3819746 w 3830952"/>
                    <a:gd name="connsiteY3" fmla="*/ 1644930 h 3389043"/>
                    <a:gd name="connsiteX4" fmla="*/ 3604593 w 3830952"/>
                    <a:gd name="connsiteY4" fmla="*/ 905342 h 3389043"/>
                    <a:gd name="connsiteX5" fmla="*/ 3335652 w 3830952"/>
                    <a:gd name="connsiteY5" fmla="*/ 757424 h 3389043"/>
                    <a:gd name="connsiteX6" fmla="*/ 3289147 w 3830952"/>
                    <a:gd name="connsiteY6" fmla="*/ 422368 h 3389043"/>
                    <a:gd name="connsiteX7" fmla="*/ 2500253 w 3830952"/>
                    <a:gd name="connsiteY7" fmla="*/ 58737 h 3389043"/>
                    <a:gd name="connsiteX8" fmla="*/ 1009310 w 3830952"/>
                    <a:gd name="connsiteY8" fmla="*/ 259883 h 3389043"/>
                    <a:gd name="connsiteX9" fmla="*/ 242828 w 3830952"/>
                    <a:gd name="connsiteY9" fmla="*/ 1618036 h 3389043"/>
                    <a:gd name="connsiteX10" fmla="*/ 484875 w 3830952"/>
                    <a:gd name="connsiteY10" fmla="*/ 3110659 h 3389043"/>
                    <a:gd name="connsiteX0" fmla="*/ 484875 w 3820054"/>
                    <a:gd name="connsiteY0" fmla="*/ 3110659 h 3389043"/>
                    <a:gd name="connsiteX1" fmla="*/ 3152079 w 3820054"/>
                    <a:gd name="connsiteY1" fmla="*/ 3288342 h 3389043"/>
                    <a:gd name="connsiteX2" fmla="*/ 3606444 w 3820054"/>
                    <a:gd name="connsiteY2" fmla="*/ 2644580 h 3389043"/>
                    <a:gd name="connsiteX3" fmla="*/ 3819746 w 3820054"/>
                    <a:gd name="connsiteY3" fmla="*/ 1644930 h 3389043"/>
                    <a:gd name="connsiteX4" fmla="*/ 3604593 w 3820054"/>
                    <a:gd name="connsiteY4" fmla="*/ 905342 h 3389043"/>
                    <a:gd name="connsiteX5" fmla="*/ 3335652 w 3820054"/>
                    <a:gd name="connsiteY5" fmla="*/ 757424 h 3389043"/>
                    <a:gd name="connsiteX6" fmla="*/ 3289147 w 3820054"/>
                    <a:gd name="connsiteY6" fmla="*/ 422368 h 3389043"/>
                    <a:gd name="connsiteX7" fmla="*/ 2500253 w 3820054"/>
                    <a:gd name="connsiteY7" fmla="*/ 58737 h 3389043"/>
                    <a:gd name="connsiteX8" fmla="*/ 1009310 w 3820054"/>
                    <a:gd name="connsiteY8" fmla="*/ 259883 h 3389043"/>
                    <a:gd name="connsiteX9" fmla="*/ 242828 w 3820054"/>
                    <a:gd name="connsiteY9" fmla="*/ 1618036 h 3389043"/>
                    <a:gd name="connsiteX10" fmla="*/ 484875 w 3820054"/>
                    <a:gd name="connsiteY10" fmla="*/ 3110659 h 3389043"/>
                    <a:gd name="connsiteX0" fmla="*/ 484875 w 3820054"/>
                    <a:gd name="connsiteY0" fmla="*/ 3110659 h 3389043"/>
                    <a:gd name="connsiteX1" fmla="*/ 3152079 w 3820054"/>
                    <a:gd name="connsiteY1" fmla="*/ 3288342 h 3389043"/>
                    <a:gd name="connsiteX2" fmla="*/ 3606444 w 3820054"/>
                    <a:gd name="connsiteY2" fmla="*/ 2644580 h 3389043"/>
                    <a:gd name="connsiteX3" fmla="*/ 3819746 w 3820054"/>
                    <a:gd name="connsiteY3" fmla="*/ 1644930 h 3389043"/>
                    <a:gd name="connsiteX4" fmla="*/ 3604593 w 3820054"/>
                    <a:gd name="connsiteY4" fmla="*/ 905342 h 3389043"/>
                    <a:gd name="connsiteX5" fmla="*/ 3335652 w 3820054"/>
                    <a:gd name="connsiteY5" fmla="*/ 757424 h 3389043"/>
                    <a:gd name="connsiteX6" fmla="*/ 3289147 w 3820054"/>
                    <a:gd name="connsiteY6" fmla="*/ 422368 h 3389043"/>
                    <a:gd name="connsiteX7" fmla="*/ 2500253 w 3820054"/>
                    <a:gd name="connsiteY7" fmla="*/ 58737 h 3389043"/>
                    <a:gd name="connsiteX8" fmla="*/ 1009310 w 3820054"/>
                    <a:gd name="connsiteY8" fmla="*/ 259883 h 3389043"/>
                    <a:gd name="connsiteX9" fmla="*/ 242828 w 3820054"/>
                    <a:gd name="connsiteY9" fmla="*/ 1618036 h 3389043"/>
                    <a:gd name="connsiteX10" fmla="*/ 484875 w 3820054"/>
                    <a:gd name="connsiteY10" fmla="*/ 3110659 h 3389043"/>
                    <a:gd name="connsiteX0" fmla="*/ 484875 w 3820054"/>
                    <a:gd name="connsiteY0" fmla="*/ 3110659 h 3389043"/>
                    <a:gd name="connsiteX1" fmla="*/ 3152079 w 3820054"/>
                    <a:gd name="connsiteY1" fmla="*/ 3288342 h 3389043"/>
                    <a:gd name="connsiteX2" fmla="*/ 3606444 w 3820054"/>
                    <a:gd name="connsiteY2" fmla="*/ 2644580 h 3389043"/>
                    <a:gd name="connsiteX3" fmla="*/ 3819746 w 3820054"/>
                    <a:gd name="connsiteY3" fmla="*/ 1644930 h 3389043"/>
                    <a:gd name="connsiteX4" fmla="*/ 3604593 w 3820054"/>
                    <a:gd name="connsiteY4" fmla="*/ 905342 h 3389043"/>
                    <a:gd name="connsiteX5" fmla="*/ 3335652 w 3820054"/>
                    <a:gd name="connsiteY5" fmla="*/ 757424 h 3389043"/>
                    <a:gd name="connsiteX6" fmla="*/ 3289147 w 3820054"/>
                    <a:gd name="connsiteY6" fmla="*/ 422368 h 3389043"/>
                    <a:gd name="connsiteX7" fmla="*/ 2500253 w 3820054"/>
                    <a:gd name="connsiteY7" fmla="*/ 58737 h 3389043"/>
                    <a:gd name="connsiteX8" fmla="*/ 1009310 w 3820054"/>
                    <a:gd name="connsiteY8" fmla="*/ 259883 h 3389043"/>
                    <a:gd name="connsiteX9" fmla="*/ 242828 w 3820054"/>
                    <a:gd name="connsiteY9" fmla="*/ 1618036 h 3389043"/>
                    <a:gd name="connsiteX10" fmla="*/ 484875 w 3820054"/>
                    <a:gd name="connsiteY10" fmla="*/ 3110659 h 3389043"/>
                    <a:gd name="connsiteX0" fmla="*/ 484875 w 3821017"/>
                    <a:gd name="connsiteY0" fmla="*/ 3110659 h 3389043"/>
                    <a:gd name="connsiteX1" fmla="*/ 3152079 w 3821017"/>
                    <a:gd name="connsiteY1" fmla="*/ 3288342 h 3389043"/>
                    <a:gd name="connsiteX2" fmla="*/ 3596968 w 3821017"/>
                    <a:gd name="connsiteY2" fmla="*/ 2696377 h 3389043"/>
                    <a:gd name="connsiteX3" fmla="*/ 3819746 w 3821017"/>
                    <a:gd name="connsiteY3" fmla="*/ 1644930 h 3389043"/>
                    <a:gd name="connsiteX4" fmla="*/ 3604593 w 3821017"/>
                    <a:gd name="connsiteY4" fmla="*/ 905342 h 3389043"/>
                    <a:gd name="connsiteX5" fmla="*/ 3335652 w 3821017"/>
                    <a:gd name="connsiteY5" fmla="*/ 757424 h 3389043"/>
                    <a:gd name="connsiteX6" fmla="*/ 3289147 w 3821017"/>
                    <a:gd name="connsiteY6" fmla="*/ 422368 h 3389043"/>
                    <a:gd name="connsiteX7" fmla="*/ 2500253 w 3821017"/>
                    <a:gd name="connsiteY7" fmla="*/ 58737 h 3389043"/>
                    <a:gd name="connsiteX8" fmla="*/ 1009310 w 3821017"/>
                    <a:gd name="connsiteY8" fmla="*/ 259883 h 3389043"/>
                    <a:gd name="connsiteX9" fmla="*/ 242828 w 3821017"/>
                    <a:gd name="connsiteY9" fmla="*/ 1618036 h 3389043"/>
                    <a:gd name="connsiteX10" fmla="*/ 484875 w 3821017"/>
                    <a:gd name="connsiteY10" fmla="*/ 3110659 h 3389043"/>
                    <a:gd name="connsiteX0" fmla="*/ 357128 w 3935317"/>
                    <a:gd name="connsiteY0" fmla="*/ 1618036 h 3288342"/>
                    <a:gd name="connsiteX1" fmla="*/ 3266379 w 3935317"/>
                    <a:gd name="connsiteY1" fmla="*/ 3288342 h 3288342"/>
                    <a:gd name="connsiteX2" fmla="*/ 3711268 w 3935317"/>
                    <a:gd name="connsiteY2" fmla="*/ 2696377 h 3288342"/>
                    <a:gd name="connsiteX3" fmla="*/ 3934046 w 3935317"/>
                    <a:gd name="connsiteY3" fmla="*/ 1644930 h 3288342"/>
                    <a:gd name="connsiteX4" fmla="*/ 3718893 w 3935317"/>
                    <a:gd name="connsiteY4" fmla="*/ 905342 h 3288342"/>
                    <a:gd name="connsiteX5" fmla="*/ 3449952 w 3935317"/>
                    <a:gd name="connsiteY5" fmla="*/ 757424 h 3288342"/>
                    <a:gd name="connsiteX6" fmla="*/ 3403447 w 3935317"/>
                    <a:gd name="connsiteY6" fmla="*/ 422368 h 3288342"/>
                    <a:gd name="connsiteX7" fmla="*/ 2614553 w 3935317"/>
                    <a:gd name="connsiteY7" fmla="*/ 58737 h 3288342"/>
                    <a:gd name="connsiteX8" fmla="*/ 1123610 w 3935317"/>
                    <a:gd name="connsiteY8" fmla="*/ 259883 h 3288342"/>
                    <a:gd name="connsiteX9" fmla="*/ 357128 w 3935317"/>
                    <a:gd name="connsiteY9" fmla="*/ 1618036 h 3288342"/>
                    <a:gd name="connsiteX0" fmla="*/ 357128 w 3935317"/>
                    <a:gd name="connsiteY0" fmla="*/ 1618036 h 3749154"/>
                    <a:gd name="connsiteX1" fmla="*/ 3266379 w 3935317"/>
                    <a:gd name="connsiteY1" fmla="*/ 3288342 h 3749154"/>
                    <a:gd name="connsiteX2" fmla="*/ 3711268 w 3935317"/>
                    <a:gd name="connsiteY2" fmla="*/ 2696377 h 3749154"/>
                    <a:gd name="connsiteX3" fmla="*/ 3934046 w 3935317"/>
                    <a:gd name="connsiteY3" fmla="*/ 1644930 h 3749154"/>
                    <a:gd name="connsiteX4" fmla="*/ 3718893 w 3935317"/>
                    <a:gd name="connsiteY4" fmla="*/ 905342 h 3749154"/>
                    <a:gd name="connsiteX5" fmla="*/ 3449952 w 3935317"/>
                    <a:gd name="connsiteY5" fmla="*/ 757424 h 3749154"/>
                    <a:gd name="connsiteX6" fmla="*/ 3403447 w 3935317"/>
                    <a:gd name="connsiteY6" fmla="*/ 422368 h 3749154"/>
                    <a:gd name="connsiteX7" fmla="*/ 2614553 w 3935317"/>
                    <a:gd name="connsiteY7" fmla="*/ 58737 h 3749154"/>
                    <a:gd name="connsiteX8" fmla="*/ 1123610 w 3935317"/>
                    <a:gd name="connsiteY8" fmla="*/ 259883 h 3749154"/>
                    <a:gd name="connsiteX9" fmla="*/ 357128 w 3935317"/>
                    <a:gd name="connsiteY9" fmla="*/ 1618036 h 3749154"/>
                    <a:gd name="connsiteX0" fmla="*/ 0 w 3578189"/>
                    <a:gd name="connsiteY0" fmla="*/ 1618036 h 3749154"/>
                    <a:gd name="connsiteX1" fmla="*/ 2909251 w 3578189"/>
                    <a:gd name="connsiteY1" fmla="*/ 3288342 h 3749154"/>
                    <a:gd name="connsiteX2" fmla="*/ 3354140 w 3578189"/>
                    <a:gd name="connsiteY2" fmla="*/ 2696377 h 3749154"/>
                    <a:gd name="connsiteX3" fmla="*/ 3576918 w 3578189"/>
                    <a:gd name="connsiteY3" fmla="*/ 1644930 h 3749154"/>
                    <a:gd name="connsiteX4" fmla="*/ 3361765 w 3578189"/>
                    <a:gd name="connsiteY4" fmla="*/ 905342 h 3749154"/>
                    <a:gd name="connsiteX5" fmla="*/ 3092824 w 3578189"/>
                    <a:gd name="connsiteY5" fmla="*/ 757424 h 3749154"/>
                    <a:gd name="connsiteX6" fmla="*/ 3046319 w 3578189"/>
                    <a:gd name="connsiteY6" fmla="*/ 422368 h 3749154"/>
                    <a:gd name="connsiteX7" fmla="*/ 2257425 w 3578189"/>
                    <a:gd name="connsiteY7" fmla="*/ 58737 h 3749154"/>
                    <a:gd name="connsiteX8" fmla="*/ 766482 w 3578189"/>
                    <a:gd name="connsiteY8" fmla="*/ 259883 h 3749154"/>
                    <a:gd name="connsiteX9" fmla="*/ 0 w 3578189"/>
                    <a:gd name="connsiteY9" fmla="*/ 1618036 h 3749154"/>
                    <a:gd name="connsiteX0" fmla="*/ 0 w 3578189"/>
                    <a:gd name="connsiteY0" fmla="*/ 1618036 h 3749154"/>
                    <a:gd name="connsiteX1" fmla="*/ 2909251 w 3578189"/>
                    <a:gd name="connsiteY1" fmla="*/ 3288342 h 3749154"/>
                    <a:gd name="connsiteX2" fmla="*/ 3354140 w 3578189"/>
                    <a:gd name="connsiteY2" fmla="*/ 2696377 h 3749154"/>
                    <a:gd name="connsiteX3" fmla="*/ 3576918 w 3578189"/>
                    <a:gd name="connsiteY3" fmla="*/ 1644930 h 3749154"/>
                    <a:gd name="connsiteX4" fmla="*/ 3361765 w 3578189"/>
                    <a:gd name="connsiteY4" fmla="*/ 905342 h 3749154"/>
                    <a:gd name="connsiteX5" fmla="*/ 3092824 w 3578189"/>
                    <a:gd name="connsiteY5" fmla="*/ 757424 h 3749154"/>
                    <a:gd name="connsiteX6" fmla="*/ 3046319 w 3578189"/>
                    <a:gd name="connsiteY6" fmla="*/ 422368 h 3749154"/>
                    <a:gd name="connsiteX7" fmla="*/ 2257425 w 3578189"/>
                    <a:gd name="connsiteY7" fmla="*/ 58737 h 3749154"/>
                    <a:gd name="connsiteX8" fmla="*/ 766482 w 3578189"/>
                    <a:gd name="connsiteY8" fmla="*/ 259883 h 3749154"/>
                    <a:gd name="connsiteX9" fmla="*/ 0 w 3578189"/>
                    <a:gd name="connsiteY9" fmla="*/ 1618036 h 3749154"/>
                    <a:gd name="connsiteX0" fmla="*/ 0 w 3512031"/>
                    <a:gd name="connsiteY0" fmla="*/ 1833444 h 3964562"/>
                    <a:gd name="connsiteX1" fmla="*/ 2843093 w 3512031"/>
                    <a:gd name="connsiteY1" fmla="*/ 3319115 h 3964562"/>
                    <a:gd name="connsiteX2" fmla="*/ 3287982 w 3512031"/>
                    <a:gd name="connsiteY2" fmla="*/ 2727150 h 3964562"/>
                    <a:gd name="connsiteX3" fmla="*/ 3510760 w 3512031"/>
                    <a:gd name="connsiteY3" fmla="*/ 1675703 h 3964562"/>
                    <a:gd name="connsiteX4" fmla="*/ 3295607 w 3512031"/>
                    <a:gd name="connsiteY4" fmla="*/ 936115 h 3964562"/>
                    <a:gd name="connsiteX5" fmla="*/ 3026666 w 3512031"/>
                    <a:gd name="connsiteY5" fmla="*/ 788197 h 3964562"/>
                    <a:gd name="connsiteX6" fmla="*/ 2980161 w 3512031"/>
                    <a:gd name="connsiteY6" fmla="*/ 453141 h 3964562"/>
                    <a:gd name="connsiteX7" fmla="*/ 2191267 w 3512031"/>
                    <a:gd name="connsiteY7" fmla="*/ 89510 h 3964562"/>
                    <a:gd name="connsiteX8" fmla="*/ 700324 w 3512031"/>
                    <a:gd name="connsiteY8" fmla="*/ 290656 h 3964562"/>
                    <a:gd name="connsiteX9" fmla="*/ 0 w 3512031"/>
                    <a:gd name="connsiteY9" fmla="*/ 1833444 h 3964562"/>
                    <a:gd name="connsiteX0" fmla="*/ 0 w 3512031"/>
                    <a:gd name="connsiteY0" fmla="*/ 1833444 h 3964562"/>
                    <a:gd name="connsiteX1" fmla="*/ 2843093 w 3512031"/>
                    <a:gd name="connsiteY1" fmla="*/ 3319115 h 3964562"/>
                    <a:gd name="connsiteX2" fmla="*/ 3287982 w 3512031"/>
                    <a:gd name="connsiteY2" fmla="*/ 2727150 h 3964562"/>
                    <a:gd name="connsiteX3" fmla="*/ 3510760 w 3512031"/>
                    <a:gd name="connsiteY3" fmla="*/ 1675703 h 3964562"/>
                    <a:gd name="connsiteX4" fmla="*/ 3295607 w 3512031"/>
                    <a:gd name="connsiteY4" fmla="*/ 936115 h 3964562"/>
                    <a:gd name="connsiteX5" fmla="*/ 3026666 w 3512031"/>
                    <a:gd name="connsiteY5" fmla="*/ 788197 h 3964562"/>
                    <a:gd name="connsiteX6" fmla="*/ 2980161 w 3512031"/>
                    <a:gd name="connsiteY6" fmla="*/ 453141 h 3964562"/>
                    <a:gd name="connsiteX7" fmla="*/ 2191267 w 3512031"/>
                    <a:gd name="connsiteY7" fmla="*/ 89510 h 3964562"/>
                    <a:gd name="connsiteX8" fmla="*/ 700324 w 3512031"/>
                    <a:gd name="connsiteY8" fmla="*/ 290656 h 3964562"/>
                    <a:gd name="connsiteX9" fmla="*/ 0 w 3512031"/>
                    <a:gd name="connsiteY9" fmla="*/ 1833444 h 3964562"/>
                    <a:gd name="connsiteX0" fmla="*/ 0 w 3512031"/>
                    <a:gd name="connsiteY0" fmla="*/ 1752946 h 3884064"/>
                    <a:gd name="connsiteX1" fmla="*/ 2843093 w 3512031"/>
                    <a:gd name="connsiteY1" fmla="*/ 3238617 h 3884064"/>
                    <a:gd name="connsiteX2" fmla="*/ 3287982 w 3512031"/>
                    <a:gd name="connsiteY2" fmla="*/ 2646652 h 3884064"/>
                    <a:gd name="connsiteX3" fmla="*/ 3510760 w 3512031"/>
                    <a:gd name="connsiteY3" fmla="*/ 1595205 h 3884064"/>
                    <a:gd name="connsiteX4" fmla="*/ 3295607 w 3512031"/>
                    <a:gd name="connsiteY4" fmla="*/ 855617 h 3884064"/>
                    <a:gd name="connsiteX5" fmla="*/ 3026666 w 3512031"/>
                    <a:gd name="connsiteY5" fmla="*/ 707699 h 3884064"/>
                    <a:gd name="connsiteX6" fmla="*/ 2980161 w 3512031"/>
                    <a:gd name="connsiteY6" fmla="*/ 372643 h 3884064"/>
                    <a:gd name="connsiteX7" fmla="*/ 2191267 w 3512031"/>
                    <a:gd name="connsiteY7" fmla="*/ 9012 h 3884064"/>
                    <a:gd name="connsiteX8" fmla="*/ 714836 w 3512031"/>
                    <a:gd name="connsiteY8" fmla="*/ 426714 h 3884064"/>
                    <a:gd name="connsiteX9" fmla="*/ 0 w 3512031"/>
                    <a:gd name="connsiteY9" fmla="*/ 1752946 h 3884064"/>
                    <a:gd name="connsiteX0" fmla="*/ 0 w 3512031"/>
                    <a:gd name="connsiteY0" fmla="*/ 1750372 h 3881490"/>
                    <a:gd name="connsiteX1" fmla="*/ 2843093 w 3512031"/>
                    <a:gd name="connsiteY1" fmla="*/ 3236043 h 3881490"/>
                    <a:gd name="connsiteX2" fmla="*/ 3287982 w 3512031"/>
                    <a:gd name="connsiteY2" fmla="*/ 2644078 h 3881490"/>
                    <a:gd name="connsiteX3" fmla="*/ 3510760 w 3512031"/>
                    <a:gd name="connsiteY3" fmla="*/ 1592631 h 3881490"/>
                    <a:gd name="connsiteX4" fmla="*/ 3295607 w 3512031"/>
                    <a:gd name="connsiteY4" fmla="*/ 853043 h 3881490"/>
                    <a:gd name="connsiteX5" fmla="*/ 3026666 w 3512031"/>
                    <a:gd name="connsiteY5" fmla="*/ 705125 h 3881490"/>
                    <a:gd name="connsiteX6" fmla="*/ 2980161 w 3512031"/>
                    <a:gd name="connsiteY6" fmla="*/ 370069 h 3881490"/>
                    <a:gd name="connsiteX7" fmla="*/ 2191267 w 3512031"/>
                    <a:gd name="connsiteY7" fmla="*/ 6438 h 3881490"/>
                    <a:gd name="connsiteX8" fmla="*/ 702647 w 3512031"/>
                    <a:gd name="connsiteY8" fmla="*/ 331440 h 3881490"/>
                    <a:gd name="connsiteX9" fmla="*/ 0 w 3512031"/>
                    <a:gd name="connsiteY9" fmla="*/ 1750372 h 3881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12031" h="3881490">
                      <a:moveTo>
                        <a:pt x="0" y="1750372"/>
                      </a:moveTo>
                      <a:cubicBezTo>
                        <a:pt x="63737" y="3881490"/>
                        <a:pt x="2284070" y="3056320"/>
                        <a:pt x="2843093" y="3236043"/>
                      </a:cubicBezTo>
                      <a:cubicBezTo>
                        <a:pt x="2914014" y="3156272"/>
                        <a:pt x="2998360" y="2879949"/>
                        <a:pt x="3287982" y="2644078"/>
                      </a:cubicBezTo>
                      <a:cubicBezTo>
                        <a:pt x="3399260" y="2370176"/>
                        <a:pt x="3509489" y="1891137"/>
                        <a:pt x="3510760" y="1592631"/>
                      </a:cubicBezTo>
                      <a:cubicBezTo>
                        <a:pt x="3512031" y="1294125"/>
                        <a:pt x="3376289" y="1000961"/>
                        <a:pt x="3295607" y="853043"/>
                      </a:cubicBezTo>
                      <a:cubicBezTo>
                        <a:pt x="3214925" y="705125"/>
                        <a:pt x="3079240" y="785621"/>
                        <a:pt x="3026666" y="705125"/>
                      </a:cubicBezTo>
                      <a:cubicBezTo>
                        <a:pt x="2974092" y="624629"/>
                        <a:pt x="3038432" y="580179"/>
                        <a:pt x="2980161" y="370069"/>
                      </a:cubicBezTo>
                      <a:cubicBezTo>
                        <a:pt x="2845690" y="226634"/>
                        <a:pt x="2570853" y="12876"/>
                        <a:pt x="2191267" y="6438"/>
                      </a:cubicBezTo>
                      <a:cubicBezTo>
                        <a:pt x="1811681" y="0"/>
                        <a:pt x="1067858" y="40784"/>
                        <a:pt x="702647" y="331440"/>
                      </a:cubicBezTo>
                      <a:cubicBezTo>
                        <a:pt x="337436" y="622096"/>
                        <a:pt x="93360" y="752106"/>
                        <a:pt x="0" y="175037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304" name="Freeform 303"/>
                <p:cNvSpPr/>
                <p:nvPr/>
              </p:nvSpPr>
              <p:spPr>
                <a:xfrm>
                  <a:off x="2535195" y="1327514"/>
                  <a:ext cx="2701120" cy="3018358"/>
                </a:xfrm>
                <a:custGeom>
                  <a:avLst/>
                  <a:gdLst>
                    <a:gd name="connsiteX0" fmla="*/ 0 w 2610677"/>
                    <a:gd name="connsiteY0" fmla="*/ 0 h 2705008"/>
                    <a:gd name="connsiteX1" fmla="*/ 39189 w 2610677"/>
                    <a:gd name="connsiteY1" fmla="*/ 587828 h 2705008"/>
                    <a:gd name="connsiteX2" fmla="*/ 65315 w 2610677"/>
                    <a:gd name="connsiteY2" fmla="*/ 953588 h 2705008"/>
                    <a:gd name="connsiteX3" fmla="*/ 65315 w 2610677"/>
                    <a:gd name="connsiteY3" fmla="*/ 940526 h 2705008"/>
                    <a:gd name="connsiteX4" fmla="*/ 1123406 w 2610677"/>
                    <a:gd name="connsiteY4" fmla="*/ 1685108 h 2705008"/>
                    <a:gd name="connsiteX5" fmla="*/ 1345475 w 2610677"/>
                    <a:gd name="connsiteY5" fmla="*/ 2599508 h 2705008"/>
                    <a:gd name="connsiteX6" fmla="*/ 1802675 w 2610677"/>
                    <a:gd name="connsiteY6" fmla="*/ 2704011 h 2705008"/>
                    <a:gd name="connsiteX7" fmla="*/ 2116183 w 2610677"/>
                    <a:gd name="connsiteY7" fmla="*/ 1254034 h 2705008"/>
                    <a:gd name="connsiteX8" fmla="*/ 2103120 w 2610677"/>
                    <a:gd name="connsiteY8" fmla="*/ 365760 h 2705008"/>
                    <a:gd name="connsiteX9" fmla="*/ 2011680 w 2610677"/>
                    <a:gd name="connsiteY9" fmla="*/ 431074 h 2705008"/>
                    <a:gd name="connsiteX10" fmla="*/ 1985555 w 2610677"/>
                    <a:gd name="connsiteY10" fmla="*/ 26126 h 2705008"/>
                    <a:gd name="connsiteX11" fmla="*/ 0 w 2610677"/>
                    <a:gd name="connsiteY11" fmla="*/ 0 h 2705008"/>
                    <a:gd name="connsiteX0" fmla="*/ 0 w 2591627"/>
                    <a:gd name="connsiteY0" fmla="*/ 0 h 2762158"/>
                    <a:gd name="connsiteX1" fmla="*/ 20139 w 2591627"/>
                    <a:gd name="connsiteY1" fmla="*/ 644978 h 2762158"/>
                    <a:gd name="connsiteX2" fmla="*/ 46265 w 2591627"/>
                    <a:gd name="connsiteY2" fmla="*/ 1010738 h 2762158"/>
                    <a:gd name="connsiteX3" fmla="*/ 46265 w 2591627"/>
                    <a:gd name="connsiteY3" fmla="*/ 997676 h 2762158"/>
                    <a:gd name="connsiteX4" fmla="*/ 1104356 w 2591627"/>
                    <a:gd name="connsiteY4" fmla="*/ 1742258 h 2762158"/>
                    <a:gd name="connsiteX5" fmla="*/ 1326425 w 2591627"/>
                    <a:gd name="connsiteY5" fmla="*/ 2656658 h 2762158"/>
                    <a:gd name="connsiteX6" fmla="*/ 1783625 w 2591627"/>
                    <a:gd name="connsiteY6" fmla="*/ 2761161 h 2762158"/>
                    <a:gd name="connsiteX7" fmla="*/ 2097133 w 2591627"/>
                    <a:gd name="connsiteY7" fmla="*/ 1311184 h 2762158"/>
                    <a:gd name="connsiteX8" fmla="*/ 2084070 w 2591627"/>
                    <a:gd name="connsiteY8" fmla="*/ 422910 h 2762158"/>
                    <a:gd name="connsiteX9" fmla="*/ 1992630 w 2591627"/>
                    <a:gd name="connsiteY9" fmla="*/ 488224 h 2762158"/>
                    <a:gd name="connsiteX10" fmla="*/ 1966505 w 2591627"/>
                    <a:gd name="connsiteY10" fmla="*/ 83276 h 2762158"/>
                    <a:gd name="connsiteX11" fmla="*/ 0 w 2591627"/>
                    <a:gd name="connsiteY11" fmla="*/ 0 h 2762158"/>
                    <a:gd name="connsiteX0" fmla="*/ 0 w 2591627"/>
                    <a:gd name="connsiteY0" fmla="*/ 0 h 3018359"/>
                    <a:gd name="connsiteX1" fmla="*/ 20139 w 2591627"/>
                    <a:gd name="connsiteY1" fmla="*/ 644978 h 3018359"/>
                    <a:gd name="connsiteX2" fmla="*/ 46265 w 2591627"/>
                    <a:gd name="connsiteY2" fmla="*/ 1010738 h 3018359"/>
                    <a:gd name="connsiteX3" fmla="*/ 46265 w 2591627"/>
                    <a:gd name="connsiteY3" fmla="*/ 997676 h 3018359"/>
                    <a:gd name="connsiteX4" fmla="*/ 1104356 w 2591627"/>
                    <a:gd name="connsiteY4" fmla="*/ 1742258 h 3018359"/>
                    <a:gd name="connsiteX5" fmla="*/ 1331240 w 2591627"/>
                    <a:gd name="connsiteY5" fmla="*/ 2912857 h 3018359"/>
                    <a:gd name="connsiteX6" fmla="*/ 1783625 w 2591627"/>
                    <a:gd name="connsiteY6" fmla="*/ 2761161 h 3018359"/>
                    <a:gd name="connsiteX7" fmla="*/ 2097133 w 2591627"/>
                    <a:gd name="connsiteY7" fmla="*/ 1311184 h 3018359"/>
                    <a:gd name="connsiteX8" fmla="*/ 2084070 w 2591627"/>
                    <a:gd name="connsiteY8" fmla="*/ 422910 h 3018359"/>
                    <a:gd name="connsiteX9" fmla="*/ 1992630 w 2591627"/>
                    <a:gd name="connsiteY9" fmla="*/ 488224 h 3018359"/>
                    <a:gd name="connsiteX10" fmla="*/ 1966505 w 2591627"/>
                    <a:gd name="connsiteY10" fmla="*/ 83276 h 3018359"/>
                    <a:gd name="connsiteX11" fmla="*/ 0 w 2591627"/>
                    <a:gd name="connsiteY11" fmla="*/ 0 h 3018359"/>
                    <a:gd name="connsiteX0" fmla="*/ 0 w 2591627"/>
                    <a:gd name="connsiteY0" fmla="*/ 0 h 3018359"/>
                    <a:gd name="connsiteX1" fmla="*/ 20139 w 2591627"/>
                    <a:gd name="connsiteY1" fmla="*/ 644978 h 3018359"/>
                    <a:gd name="connsiteX2" fmla="*/ 46265 w 2591627"/>
                    <a:gd name="connsiteY2" fmla="*/ 1010738 h 3018359"/>
                    <a:gd name="connsiteX3" fmla="*/ 46265 w 2591627"/>
                    <a:gd name="connsiteY3" fmla="*/ 997676 h 3018359"/>
                    <a:gd name="connsiteX4" fmla="*/ 922862 w 2591627"/>
                    <a:gd name="connsiteY4" fmla="*/ 1745586 h 3018359"/>
                    <a:gd name="connsiteX5" fmla="*/ 1331240 w 2591627"/>
                    <a:gd name="connsiteY5" fmla="*/ 2912857 h 3018359"/>
                    <a:gd name="connsiteX6" fmla="*/ 1783625 w 2591627"/>
                    <a:gd name="connsiteY6" fmla="*/ 2761161 h 3018359"/>
                    <a:gd name="connsiteX7" fmla="*/ 2097133 w 2591627"/>
                    <a:gd name="connsiteY7" fmla="*/ 1311184 h 3018359"/>
                    <a:gd name="connsiteX8" fmla="*/ 2084070 w 2591627"/>
                    <a:gd name="connsiteY8" fmla="*/ 422910 h 3018359"/>
                    <a:gd name="connsiteX9" fmla="*/ 1992630 w 2591627"/>
                    <a:gd name="connsiteY9" fmla="*/ 488224 h 3018359"/>
                    <a:gd name="connsiteX10" fmla="*/ 1966505 w 2591627"/>
                    <a:gd name="connsiteY10" fmla="*/ 83276 h 3018359"/>
                    <a:gd name="connsiteX11" fmla="*/ 0 w 2591627"/>
                    <a:gd name="connsiteY11" fmla="*/ 0 h 3018359"/>
                    <a:gd name="connsiteX0" fmla="*/ 0 w 2591627"/>
                    <a:gd name="connsiteY0" fmla="*/ 0 h 3018359"/>
                    <a:gd name="connsiteX1" fmla="*/ 20139 w 2591627"/>
                    <a:gd name="connsiteY1" fmla="*/ 644978 h 3018359"/>
                    <a:gd name="connsiteX2" fmla="*/ 46265 w 2591627"/>
                    <a:gd name="connsiteY2" fmla="*/ 1010738 h 3018359"/>
                    <a:gd name="connsiteX3" fmla="*/ 46265 w 2591627"/>
                    <a:gd name="connsiteY3" fmla="*/ 997676 h 3018359"/>
                    <a:gd name="connsiteX4" fmla="*/ 922862 w 2591627"/>
                    <a:gd name="connsiteY4" fmla="*/ 1745586 h 3018359"/>
                    <a:gd name="connsiteX5" fmla="*/ 1331240 w 2591627"/>
                    <a:gd name="connsiteY5" fmla="*/ 2912857 h 3018359"/>
                    <a:gd name="connsiteX6" fmla="*/ 1783625 w 2591627"/>
                    <a:gd name="connsiteY6" fmla="*/ 2761161 h 3018359"/>
                    <a:gd name="connsiteX7" fmla="*/ 2097133 w 2591627"/>
                    <a:gd name="connsiteY7" fmla="*/ 1311184 h 3018359"/>
                    <a:gd name="connsiteX8" fmla="*/ 2084070 w 2591627"/>
                    <a:gd name="connsiteY8" fmla="*/ 422910 h 3018359"/>
                    <a:gd name="connsiteX9" fmla="*/ 1992630 w 2591627"/>
                    <a:gd name="connsiteY9" fmla="*/ 488224 h 3018359"/>
                    <a:gd name="connsiteX10" fmla="*/ 1966505 w 2591627"/>
                    <a:gd name="connsiteY10" fmla="*/ 83276 h 3018359"/>
                    <a:gd name="connsiteX11" fmla="*/ 0 w 2591627"/>
                    <a:gd name="connsiteY11" fmla="*/ 0 h 3018359"/>
                    <a:gd name="connsiteX0" fmla="*/ 109492 w 2701119"/>
                    <a:gd name="connsiteY0" fmla="*/ 0 h 3018359"/>
                    <a:gd name="connsiteX1" fmla="*/ 0 w 2701119"/>
                    <a:gd name="connsiteY1" fmla="*/ 647358 h 3018359"/>
                    <a:gd name="connsiteX2" fmla="*/ 155757 w 2701119"/>
                    <a:gd name="connsiteY2" fmla="*/ 1010738 h 3018359"/>
                    <a:gd name="connsiteX3" fmla="*/ 155757 w 2701119"/>
                    <a:gd name="connsiteY3" fmla="*/ 997676 h 3018359"/>
                    <a:gd name="connsiteX4" fmla="*/ 1032354 w 2701119"/>
                    <a:gd name="connsiteY4" fmla="*/ 1745586 h 3018359"/>
                    <a:gd name="connsiteX5" fmla="*/ 1440732 w 2701119"/>
                    <a:gd name="connsiteY5" fmla="*/ 2912857 h 3018359"/>
                    <a:gd name="connsiteX6" fmla="*/ 1893117 w 2701119"/>
                    <a:gd name="connsiteY6" fmla="*/ 2761161 h 3018359"/>
                    <a:gd name="connsiteX7" fmla="*/ 2206625 w 2701119"/>
                    <a:gd name="connsiteY7" fmla="*/ 1311184 h 3018359"/>
                    <a:gd name="connsiteX8" fmla="*/ 2193562 w 2701119"/>
                    <a:gd name="connsiteY8" fmla="*/ 422910 h 3018359"/>
                    <a:gd name="connsiteX9" fmla="*/ 2102122 w 2701119"/>
                    <a:gd name="connsiteY9" fmla="*/ 488224 h 3018359"/>
                    <a:gd name="connsiteX10" fmla="*/ 2075997 w 2701119"/>
                    <a:gd name="connsiteY10" fmla="*/ 83276 h 3018359"/>
                    <a:gd name="connsiteX11" fmla="*/ 109492 w 2701119"/>
                    <a:gd name="connsiteY11" fmla="*/ 0 h 3018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01119" h="3018359">
                      <a:moveTo>
                        <a:pt x="109492" y="0"/>
                      </a:moveTo>
                      <a:lnTo>
                        <a:pt x="0" y="647358"/>
                      </a:lnTo>
                      <a:cubicBezTo>
                        <a:pt x="8709" y="769278"/>
                        <a:pt x="146728" y="888841"/>
                        <a:pt x="155757" y="1010738"/>
                      </a:cubicBezTo>
                      <a:cubicBezTo>
                        <a:pt x="156079" y="1015080"/>
                        <a:pt x="155757" y="1002030"/>
                        <a:pt x="155757" y="997676"/>
                      </a:cubicBezTo>
                      <a:cubicBezTo>
                        <a:pt x="510503" y="1242933"/>
                        <a:pt x="1032354" y="1314314"/>
                        <a:pt x="1032354" y="1745586"/>
                      </a:cubicBezTo>
                      <a:cubicBezTo>
                        <a:pt x="1062215" y="2675649"/>
                        <a:pt x="1090707" y="2912857"/>
                        <a:pt x="1440732" y="2912857"/>
                      </a:cubicBezTo>
                      <a:cubicBezTo>
                        <a:pt x="1889108" y="3018357"/>
                        <a:pt x="1727965" y="2761161"/>
                        <a:pt x="1893117" y="2761161"/>
                      </a:cubicBezTo>
                      <a:cubicBezTo>
                        <a:pt x="2001768" y="2278751"/>
                        <a:pt x="2701119" y="1311184"/>
                        <a:pt x="2206625" y="1311184"/>
                      </a:cubicBezTo>
                      <a:lnTo>
                        <a:pt x="2193562" y="422910"/>
                      </a:lnTo>
                      <a:lnTo>
                        <a:pt x="2102122" y="488224"/>
                      </a:lnTo>
                      <a:lnTo>
                        <a:pt x="2075997" y="83276"/>
                      </a:lnTo>
                      <a:lnTo>
                        <a:pt x="109492"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305" name="Freeform 304"/>
                <p:cNvSpPr/>
                <p:nvPr/>
              </p:nvSpPr>
              <p:spPr>
                <a:xfrm>
                  <a:off x="2133599" y="-1819778"/>
                  <a:ext cx="3284536" cy="3904166"/>
                </a:xfrm>
                <a:custGeom>
                  <a:avLst/>
                  <a:gdLst>
                    <a:gd name="connsiteX0" fmla="*/ 2870200 w 3284537"/>
                    <a:gd name="connsiteY0" fmla="*/ 82550 h 3830638"/>
                    <a:gd name="connsiteX1" fmla="*/ 2289175 w 3284537"/>
                    <a:gd name="connsiteY1" fmla="*/ 225425 h 3830638"/>
                    <a:gd name="connsiteX2" fmla="*/ 1584325 w 3284537"/>
                    <a:gd name="connsiteY2" fmla="*/ 777875 h 3830638"/>
                    <a:gd name="connsiteX3" fmla="*/ 1917700 w 3284537"/>
                    <a:gd name="connsiteY3" fmla="*/ 406400 h 3830638"/>
                    <a:gd name="connsiteX4" fmla="*/ 2060575 w 3284537"/>
                    <a:gd name="connsiteY4" fmla="*/ 244475 h 3830638"/>
                    <a:gd name="connsiteX5" fmla="*/ 1479550 w 3284537"/>
                    <a:gd name="connsiteY5" fmla="*/ 768350 h 3830638"/>
                    <a:gd name="connsiteX6" fmla="*/ 1146175 w 3284537"/>
                    <a:gd name="connsiteY6" fmla="*/ 882650 h 3830638"/>
                    <a:gd name="connsiteX7" fmla="*/ 1346200 w 3284537"/>
                    <a:gd name="connsiteY7" fmla="*/ 749300 h 3830638"/>
                    <a:gd name="connsiteX8" fmla="*/ 1612900 w 3284537"/>
                    <a:gd name="connsiteY8" fmla="*/ 273050 h 3830638"/>
                    <a:gd name="connsiteX9" fmla="*/ 1155700 w 3284537"/>
                    <a:gd name="connsiteY9" fmla="*/ 749300 h 3830638"/>
                    <a:gd name="connsiteX10" fmla="*/ 679450 w 3284537"/>
                    <a:gd name="connsiteY10" fmla="*/ 1044575 h 3830638"/>
                    <a:gd name="connsiteX11" fmla="*/ 517525 w 3284537"/>
                    <a:gd name="connsiteY11" fmla="*/ 1196975 h 3830638"/>
                    <a:gd name="connsiteX12" fmla="*/ 393700 w 3284537"/>
                    <a:gd name="connsiteY12" fmla="*/ 1597025 h 3830638"/>
                    <a:gd name="connsiteX13" fmla="*/ 384175 w 3284537"/>
                    <a:gd name="connsiteY13" fmla="*/ 1739900 h 3830638"/>
                    <a:gd name="connsiteX14" fmla="*/ 203200 w 3284537"/>
                    <a:gd name="connsiteY14" fmla="*/ 1520825 h 3830638"/>
                    <a:gd name="connsiteX15" fmla="*/ 31750 w 3284537"/>
                    <a:gd name="connsiteY15" fmla="*/ 1263650 h 3830638"/>
                    <a:gd name="connsiteX16" fmla="*/ 22225 w 3284537"/>
                    <a:gd name="connsiteY16" fmla="*/ 1663700 h 3830638"/>
                    <a:gd name="connsiteX17" fmla="*/ 165100 w 3284537"/>
                    <a:gd name="connsiteY17" fmla="*/ 1997075 h 3830638"/>
                    <a:gd name="connsiteX18" fmla="*/ 288925 w 3284537"/>
                    <a:gd name="connsiteY18" fmla="*/ 2092325 h 3830638"/>
                    <a:gd name="connsiteX19" fmla="*/ 374650 w 3284537"/>
                    <a:gd name="connsiteY19" fmla="*/ 2587625 h 3830638"/>
                    <a:gd name="connsiteX20" fmla="*/ 498475 w 3284537"/>
                    <a:gd name="connsiteY20" fmla="*/ 3178175 h 3830638"/>
                    <a:gd name="connsiteX21" fmla="*/ 831850 w 3284537"/>
                    <a:gd name="connsiteY21" fmla="*/ 3435350 h 3830638"/>
                    <a:gd name="connsiteX22" fmla="*/ 1222375 w 3284537"/>
                    <a:gd name="connsiteY22" fmla="*/ 3711575 h 3830638"/>
                    <a:gd name="connsiteX23" fmla="*/ 2022475 w 3284537"/>
                    <a:gd name="connsiteY23" fmla="*/ 3759200 h 3830638"/>
                    <a:gd name="connsiteX24" fmla="*/ 2413000 w 3284537"/>
                    <a:gd name="connsiteY24" fmla="*/ 3282950 h 3830638"/>
                    <a:gd name="connsiteX25" fmla="*/ 2660650 w 3284537"/>
                    <a:gd name="connsiteY25" fmla="*/ 2959100 h 3830638"/>
                    <a:gd name="connsiteX26" fmla="*/ 2822575 w 3284537"/>
                    <a:gd name="connsiteY26" fmla="*/ 2473325 h 3830638"/>
                    <a:gd name="connsiteX27" fmla="*/ 2974975 w 3284537"/>
                    <a:gd name="connsiteY27" fmla="*/ 2454275 h 3830638"/>
                    <a:gd name="connsiteX28" fmla="*/ 3165475 w 3284537"/>
                    <a:gd name="connsiteY28" fmla="*/ 2054225 h 3830638"/>
                    <a:gd name="connsiteX29" fmla="*/ 3270250 w 3284537"/>
                    <a:gd name="connsiteY29" fmla="*/ 1854200 h 3830638"/>
                    <a:gd name="connsiteX30" fmla="*/ 3079750 w 3284537"/>
                    <a:gd name="connsiteY30" fmla="*/ 1968500 h 3830638"/>
                    <a:gd name="connsiteX31" fmla="*/ 2955925 w 3284537"/>
                    <a:gd name="connsiteY31" fmla="*/ 2130425 h 3830638"/>
                    <a:gd name="connsiteX32" fmla="*/ 2984500 w 3284537"/>
                    <a:gd name="connsiteY32" fmla="*/ 1606550 h 3830638"/>
                    <a:gd name="connsiteX33" fmla="*/ 2889250 w 3284537"/>
                    <a:gd name="connsiteY33" fmla="*/ 1263650 h 3830638"/>
                    <a:gd name="connsiteX34" fmla="*/ 2870200 w 3284537"/>
                    <a:gd name="connsiteY34" fmla="*/ 968375 h 3830638"/>
                    <a:gd name="connsiteX35" fmla="*/ 2927350 w 3284537"/>
                    <a:gd name="connsiteY35" fmla="*/ 787400 h 3830638"/>
                    <a:gd name="connsiteX36" fmla="*/ 3003550 w 3284537"/>
                    <a:gd name="connsiteY36" fmla="*/ 349250 h 3830638"/>
                    <a:gd name="connsiteX37" fmla="*/ 2917825 w 3284537"/>
                    <a:gd name="connsiteY37" fmla="*/ 177800 h 3830638"/>
                    <a:gd name="connsiteX38" fmla="*/ 2946400 w 3284537"/>
                    <a:gd name="connsiteY38" fmla="*/ 15875 h 3830638"/>
                    <a:gd name="connsiteX39" fmla="*/ 2870200 w 3284537"/>
                    <a:gd name="connsiteY39" fmla="*/ 82550 h 3830638"/>
                    <a:gd name="connsiteX0" fmla="*/ 2870200 w 3284537"/>
                    <a:gd name="connsiteY0" fmla="*/ 7937 h 3756025"/>
                    <a:gd name="connsiteX1" fmla="*/ 2289175 w 3284537"/>
                    <a:gd name="connsiteY1" fmla="*/ 150812 h 3756025"/>
                    <a:gd name="connsiteX2" fmla="*/ 1584325 w 3284537"/>
                    <a:gd name="connsiteY2" fmla="*/ 703262 h 3756025"/>
                    <a:gd name="connsiteX3" fmla="*/ 1917700 w 3284537"/>
                    <a:gd name="connsiteY3" fmla="*/ 331787 h 3756025"/>
                    <a:gd name="connsiteX4" fmla="*/ 2060575 w 3284537"/>
                    <a:gd name="connsiteY4" fmla="*/ 169862 h 3756025"/>
                    <a:gd name="connsiteX5" fmla="*/ 1479550 w 3284537"/>
                    <a:gd name="connsiteY5" fmla="*/ 693737 h 3756025"/>
                    <a:gd name="connsiteX6" fmla="*/ 1146175 w 3284537"/>
                    <a:gd name="connsiteY6" fmla="*/ 808037 h 3756025"/>
                    <a:gd name="connsiteX7" fmla="*/ 1346200 w 3284537"/>
                    <a:gd name="connsiteY7" fmla="*/ 674687 h 3756025"/>
                    <a:gd name="connsiteX8" fmla="*/ 1612900 w 3284537"/>
                    <a:gd name="connsiteY8" fmla="*/ 198437 h 3756025"/>
                    <a:gd name="connsiteX9" fmla="*/ 1155700 w 3284537"/>
                    <a:gd name="connsiteY9" fmla="*/ 674687 h 3756025"/>
                    <a:gd name="connsiteX10" fmla="*/ 679450 w 3284537"/>
                    <a:gd name="connsiteY10" fmla="*/ 969962 h 3756025"/>
                    <a:gd name="connsiteX11" fmla="*/ 517525 w 3284537"/>
                    <a:gd name="connsiteY11" fmla="*/ 1122362 h 3756025"/>
                    <a:gd name="connsiteX12" fmla="*/ 393700 w 3284537"/>
                    <a:gd name="connsiteY12" fmla="*/ 1522412 h 3756025"/>
                    <a:gd name="connsiteX13" fmla="*/ 384175 w 3284537"/>
                    <a:gd name="connsiteY13" fmla="*/ 1665287 h 3756025"/>
                    <a:gd name="connsiteX14" fmla="*/ 203200 w 3284537"/>
                    <a:gd name="connsiteY14" fmla="*/ 1446212 h 3756025"/>
                    <a:gd name="connsiteX15" fmla="*/ 31750 w 3284537"/>
                    <a:gd name="connsiteY15" fmla="*/ 1189037 h 3756025"/>
                    <a:gd name="connsiteX16" fmla="*/ 22225 w 3284537"/>
                    <a:gd name="connsiteY16" fmla="*/ 1589087 h 3756025"/>
                    <a:gd name="connsiteX17" fmla="*/ 165100 w 3284537"/>
                    <a:gd name="connsiteY17" fmla="*/ 1922462 h 3756025"/>
                    <a:gd name="connsiteX18" fmla="*/ 288925 w 3284537"/>
                    <a:gd name="connsiteY18" fmla="*/ 2017712 h 3756025"/>
                    <a:gd name="connsiteX19" fmla="*/ 374650 w 3284537"/>
                    <a:gd name="connsiteY19" fmla="*/ 2513012 h 3756025"/>
                    <a:gd name="connsiteX20" fmla="*/ 498475 w 3284537"/>
                    <a:gd name="connsiteY20" fmla="*/ 3103562 h 3756025"/>
                    <a:gd name="connsiteX21" fmla="*/ 831850 w 3284537"/>
                    <a:gd name="connsiteY21" fmla="*/ 3360737 h 3756025"/>
                    <a:gd name="connsiteX22" fmla="*/ 1222375 w 3284537"/>
                    <a:gd name="connsiteY22" fmla="*/ 3636962 h 3756025"/>
                    <a:gd name="connsiteX23" fmla="*/ 2022475 w 3284537"/>
                    <a:gd name="connsiteY23" fmla="*/ 3684587 h 3756025"/>
                    <a:gd name="connsiteX24" fmla="*/ 2413000 w 3284537"/>
                    <a:gd name="connsiteY24" fmla="*/ 3208337 h 3756025"/>
                    <a:gd name="connsiteX25" fmla="*/ 2660650 w 3284537"/>
                    <a:gd name="connsiteY25" fmla="*/ 2884487 h 3756025"/>
                    <a:gd name="connsiteX26" fmla="*/ 2822575 w 3284537"/>
                    <a:gd name="connsiteY26" fmla="*/ 2398712 h 3756025"/>
                    <a:gd name="connsiteX27" fmla="*/ 2974975 w 3284537"/>
                    <a:gd name="connsiteY27" fmla="*/ 2379662 h 3756025"/>
                    <a:gd name="connsiteX28" fmla="*/ 3165475 w 3284537"/>
                    <a:gd name="connsiteY28" fmla="*/ 1979612 h 3756025"/>
                    <a:gd name="connsiteX29" fmla="*/ 3270250 w 3284537"/>
                    <a:gd name="connsiteY29" fmla="*/ 1779587 h 3756025"/>
                    <a:gd name="connsiteX30" fmla="*/ 3079750 w 3284537"/>
                    <a:gd name="connsiteY30" fmla="*/ 1893887 h 3756025"/>
                    <a:gd name="connsiteX31" fmla="*/ 2955925 w 3284537"/>
                    <a:gd name="connsiteY31" fmla="*/ 2055812 h 3756025"/>
                    <a:gd name="connsiteX32" fmla="*/ 2984500 w 3284537"/>
                    <a:gd name="connsiteY32" fmla="*/ 1531937 h 3756025"/>
                    <a:gd name="connsiteX33" fmla="*/ 2889250 w 3284537"/>
                    <a:gd name="connsiteY33" fmla="*/ 1189037 h 3756025"/>
                    <a:gd name="connsiteX34" fmla="*/ 2870200 w 3284537"/>
                    <a:gd name="connsiteY34" fmla="*/ 893762 h 3756025"/>
                    <a:gd name="connsiteX35" fmla="*/ 2927350 w 3284537"/>
                    <a:gd name="connsiteY35" fmla="*/ 712787 h 3756025"/>
                    <a:gd name="connsiteX36" fmla="*/ 3003550 w 3284537"/>
                    <a:gd name="connsiteY36" fmla="*/ 274637 h 3756025"/>
                    <a:gd name="connsiteX37" fmla="*/ 2917825 w 3284537"/>
                    <a:gd name="connsiteY37" fmla="*/ 103187 h 3756025"/>
                    <a:gd name="connsiteX38" fmla="*/ 2870200 w 3284537"/>
                    <a:gd name="connsiteY38" fmla="*/ 7937 h 3756025"/>
                    <a:gd name="connsiteX0" fmla="*/ 2917825 w 3284537"/>
                    <a:gd name="connsiteY0" fmla="*/ 52387 h 3705225"/>
                    <a:gd name="connsiteX1" fmla="*/ 2289175 w 3284537"/>
                    <a:gd name="connsiteY1" fmla="*/ 100012 h 3705225"/>
                    <a:gd name="connsiteX2" fmla="*/ 1584325 w 3284537"/>
                    <a:gd name="connsiteY2" fmla="*/ 652462 h 3705225"/>
                    <a:gd name="connsiteX3" fmla="*/ 1917700 w 3284537"/>
                    <a:gd name="connsiteY3" fmla="*/ 280987 h 3705225"/>
                    <a:gd name="connsiteX4" fmla="*/ 2060575 w 3284537"/>
                    <a:gd name="connsiteY4" fmla="*/ 119062 h 3705225"/>
                    <a:gd name="connsiteX5" fmla="*/ 1479550 w 3284537"/>
                    <a:gd name="connsiteY5" fmla="*/ 642937 h 3705225"/>
                    <a:gd name="connsiteX6" fmla="*/ 1146175 w 3284537"/>
                    <a:gd name="connsiteY6" fmla="*/ 757237 h 3705225"/>
                    <a:gd name="connsiteX7" fmla="*/ 1346200 w 3284537"/>
                    <a:gd name="connsiteY7" fmla="*/ 623887 h 3705225"/>
                    <a:gd name="connsiteX8" fmla="*/ 1612900 w 3284537"/>
                    <a:gd name="connsiteY8" fmla="*/ 147637 h 3705225"/>
                    <a:gd name="connsiteX9" fmla="*/ 1155700 w 3284537"/>
                    <a:gd name="connsiteY9" fmla="*/ 623887 h 3705225"/>
                    <a:gd name="connsiteX10" fmla="*/ 679450 w 3284537"/>
                    <a:gd name="connsiteY10" fmla="*/ 919162 h 3705225"/>
                    <a:gd name="connsiteX11" fmla="*/ 517525 w 3284537"/>
                    <a:gd name="connsiteY11" fmla="*/ 1071562 h 3705225"/>
                    <a:gd name="connsiteX12" fmla="*/ 393700 w 3284537"/>
                    <a:gd name="connsiteY12" fmla="*/ 1471612 h 3705225"/>
                    <a:gd name="connsiteX13" fmla="*/ 384175 w 3284537"/>
                    <a:gd name="connsiteY13" fmla="*/ 1614487 h 3705225"/>
                    <a:gd name="connsiteX14" fmla="*/ 203200 w 3284537"/>
                    <a:gd name="connsiteY14" fmla="*/ 1395412 h 3705225"/>
                    <a:gd name="connsiteX15" fmla="*/ 31750 w 3284537"/>
                    <a:gd name="connsiteY15" fmla="*/ 1138237 h 3705225"/>
                    <a:gd name="connsiteX16" fmla="*/ 22225 w 3284537"/>
                    <a:gd name="connsiteY16" fmla="*/ 1538287 h 3705225"/>
                    <a:gd name="connsiteX17" fmla="*/ 165100 w 3284537"/>
                    <a:gd name="connsiteY17" fmla="*/ 1871662 h 3705225"/>
                    <a:gd name="connsiteX18" fmla="*/ 288925 w 3284537"/>
                    <a:gd name="connsiteY18" fmla="*/ 1966912 h 3705225"/>
                    <a:gd name="connsiteX19" fmla="*/ 374650 w 3284537"/>
                    <a:gd name="connsiteY19" fmla="*/ 2462212 h 3705225"/>
                    <a:gd name="connsiteX20" fmla="*/ 498475 w 3284537"/>
                    <a:gd name="connsiteY20" fmla="*/ 3052762 h 3705225"/>
                    <a:gd name="connsiteX21" fmla="*/ 831850 w 3284537"/>
                    <a:gd name="connsiteY21" fmla="*/ 3309937 h 3705225"/>
                    <a:gd name="connsiteX22" fmla="*/ 1222375 w 3284537"/>
                    <a:gd name="connsiteY22" fmla="*/ 3586162 h 3705225"/>
                    <a:gd name="connsiteX23" fmla="*/ 2022475 w 3284537"/>
                    <a:gd name="connsiteY23" fmla="*/ 3633787 h 3705225"/>
                    <a:gd name="connsiteX24" fmla="*/ 2413000 w 3284537"/>
                    <a:gd name="connsiteY24" fmla="*/ 3157537 h 3705225"/>
                    <a:gd name="connsiteX25" fmla="*/ 2660650 w 3284537"/>
                    <a:gd name="connsiteY25" fmla="*/ 2833687 h 3705225"/>
                    <a:gd name="connsiteX26" fmla="*/ 2822575 w 3284537"/>
                    <a:gd name="connsiteY26" fmla="*/ 2347912 h 3705225"/>
                    <a:gd name="connsiteX27" fmla="*/ 2974975 w 3284537"/>
                    <a:gd name="connsiteY27" fmla="*/ 2328862 h 3705225"/>
                    <a:gd name="connsiteX28" fmla="*/ 3165475 w 3284537"/>
                    <a:gd name="connsiteY28" fmla="*/ 1928812 h 3705225"/>
                    <a:gd name="connsiteX29" fmla="*/ 3270250 w 3284537"/>
                    <a:gd name="connsiteY29" fmla="*/ 1728787 h 3705225"/>
                    <a:gd name="connsiteX30" fmla="*/ 3079750 w 3284537"/>
                    <a:gd name="connsiteY30" fmla="*/ 1843087 h 3705225"/>
                    <a:gd name="connsiteX31" fmla="*/ 2955925 w 3284537"/>
                    <a:gd name="connsiteY31" fmla="*/ 2005012 h 3705225"/>
                    <a:gd name="connsiteX32" fmla="*/ 2984500 w 3284537"/>
                    <a:gd name="connsiteY32" fmla="*/ 1481137 h 3705225"/>
                    <a:gd name="connsiteX33" fmla="*/ 2889250 w 3284537"/>
                    <a:gd name="connsiteY33" fmla="*/ 1138237 h 3705225"/>
                    <a:gd name="connsiteX34" fmla="*/ 2870200 w 3284537"/>
                    <a:gd name="connsiteY34" fmla="*/ 842962 h 3705225"/>
                    <a:gd name="connsiteX35" fmla="*/ 2927350 w 3284537"/>
                    <a:gd name="connsiteY35" fmla="*/ 661987 h 3705225"/>
                    <a:gd name="connsiteX36" fmla="*/ 3003550 w 3284537"/>
                    <a:gd name="connsiteY36" fmla="*/ 223837 h 3705225"/>
                    <a:gd name="connsiteX37" fmla="*/ 2917825 w 3284537"/>
                    <a:gd name="connsiteY37" fmla="*/ 52387 h 3705225"/>
                    <a:gd name="connsiteX0" fmla="*/ 3003550 w 3284537"/>
                    <a:gd name="connsiteY0" fmla="*/ 195262 h 3676650"/>
                    <a:gd name="connsiteX1" fmla="*/ 2289175 w 3284537"/>
                    <a:gd name="connsiteY1" fmla="*/ 71437 h 3676650"/>
                    <a:gd name="connsiteX2" fmla="*/ 1584325 w 3284537"/>
                    <a:gd name="connsiteY2" fmla="*/ 623887 h 3676650"/>
                    <a:gd name="connsiteX3" fmla="*/ 1917700 w 3284537"/>
                    <a:gd name="connsiteY3" fmla="*/ 252412 h 3676650"/>
                    <a:gd name="connsiteX4" fmla="*/ 2060575 w 3284537"/>
                    <a:gd name="connsiteY4" fmla="*/ 90487 h 3676650"/>
                    <a:gd name="connsiteX5" fmla="*/ 1479550 w 3284537"/>
                    <a:gd name="connsiteY5" fmla="*/ 614362 h 3676650"/>
                    <a:gd name="connsiteX6" fmla="*/ 1146175 w 3284537"/>
                    <a:gd name="connsiteY6" fmla="*/ 728662 h 3676650"/>
                    <a:gd name="connsiteX7" fmla="*/ 1346200 w 3284537"/>
                    <a:gd name="connsiteY7" fmla="*/ 595312 h 3676650"/>
                    <a:gd name="connsiteX8" fmla="*/ 1612900 w 3284537"/>
                    <a:gd name="connsiteY8" fmla="*/ 119062 h 3676650"/>
                    <a:gd name="connsiteX9" fmla="*/ 1155700 w 3284537"/>
                    <a:gd name="connsiteY9" fmla="*/ 595312 h 3676650"/>
                    <a:gd name="connsiteX10" fmla="*/ 679450 w 3284537"/>
                    <a:gd name="connsiteY10" fmla="*/ 890587 h 3676650"/>
                    <a:gd name="connsiteX11" fmla="*/ 517525 w 3284537"/>
                    <a:gd name="connsiteY11" fmla="*/ 1042987 h 3676650"/>
                    <a:gd name="connsiteX12" fmla="*/ 393700 w 3284537"/>
                    <a:gd name="connsiteY12" fmla="*/ 1443037 h 3676650"/>
                    <a:gd name="connsiteX13" fmla="*/ 384175 w 3284537"/>
                    <a:gd name="connsiteY13" fmla="*/ 1585912 h 3676650"/>
                    <a:gd name="connsiteX14" fmla="*/ 203200 w 3284537"/>
                    <a:gd name="connsiteY14" fmla="*/ 1366837 h 3676650"/>
                    <a:gd name="connsiteX15" fmla="*/ 31750 w 3284537"/>
                    <a:gd name="connsiteY15" fmla="*/ 1109662 h 3676650"/>
                    <a:gd name="connsiteX16" fmla="*/ 22225 w 3284537"/>
                    <a:gd name="connsiteY16" fmla="*/ 1509712 h 3676650"/>
                    <a:gd name="connsiteX17" fmla="*/ 165100 w 3284537"/>
                    <a:gd name="connsiteY17" fmla="*/ 1843087 h 3676650"/>
                    <a:gd name="connsiteX18" fmla="*/ 288925 w 3284537"/>
                    <a:gd name="connsiteY18" fmla="*/ 1938337 h 3676650"/>
                    <a:gd name="connsiteX19" fmla="*/ 374650 w 3284537"/>
                    <a:gd name="connsiteY19" fmla="*/ 2433637 h 3676650"/>
                    <a:gd name="connsiteX20" fmla="*/ 498475 w 3284537"/>
                    <a:gd name="connsiteY20" fmla="*/ 3024187 h 3676650"/>
                    <a:gd name="connsiteX21" fmla="*/ 831850 w 3284537"/>
                    <a:gd name="connsiteY21" fmla="*/ 3281362 h 3676650"/>
                    <a:gd name="connsiteX22" fmla="*/ 1222375 w 3284537"/>
                    <a:gd name="connsiteY22" fmla="*/ 3557587 h 3676650"/>
                    <a:gd name="connsiteX23" fmla="*/ 2022475 w 3284537"/>
                    <a:gd name="connsiteY23" fmla="*/ 3605212 h 3676650"/>
                    <a:gd name="connsiteX24" fmla="*/ 2413000 w 3284537"/>
                    <a:gd name="connsiteY24" fmla="*/ 3128962 h 3676650"/>
                    <a:gd name="connsiteX25" fmla="*/ 2660650 w 3284537"/>
                    <a:gd name="connsiteY25" fmla="*/ 2805112 h 3676650"/>
                    <a:gd name="connsiteX26" fmla="*/ 2822575 w 3284537"/>
                    <a:gd name="connsiteY26" fmla="*/ 2319337 h 3676650"/>
                    <a:gd name="connsiteX27" fmla="*/ 2974975 w 3284537"/>
                    <a:gd name="connsiteY27" fmla="*/ 2300287 h 3676650"/>
                    <a:gd name="connsiteX28" fmla="*/ 3165475 w 3284537"/>
                    <a:gd name="connsiteY28" fmla="*/ 1900237 h 3676650"/>
                    <a:gd name="connsiteX29" fmla="*/ 3270250 w 3284537"/>
                    <a:gd name="connsiteY29" fmla="*/ 1700212 h 3676650"/>
                    <a:gd name="connsiteX30" fmla="*/ 3079750 w 3284537"/>
                    <a:gd name="connsiteY30" fmla="*/ 1814512 h 3676650"/>
                    <a:gd name="connsiteX31" fmla="*/ 2955925 w 3284537"/>
                    <a:gd name="connsiteY31" fmla="*/ 1976437 h 3676650"/>
                    <a:gd name="connsiteX32" fmla="*/ 2984500 w 3284537"/>
                    <a:gd name="connsiteY32" fmla="*/ 1452562 h 3676650"/>
                    <a:gd name="connsiteX33" fmla="*/ 2889250 w 3284537"/>
                    <a:gd name="connsiteY33" fmla="*/ 1109662 h 3676650"/>
                    <a:gd name="connsiteX34" fmla="*/ 2870200 w 3284537"/>
                    <a:gd name="connsiteY34" fmla="*/ 814387 h 3676650"/>
                    <a:gd name="connsiteX35" fmla="*/ 2927350 w 3284537"/>
                    <a:gd name="connsiteY35" fmla="*/ 633412 h 3676650"/>
                    <a:gd name="connsiteX36" fmla="*/ 3003550 w 3284537"/>
                    <a:gd name="connsiteY36" fmla="*/ 195262 h 3676650"/>
                    <a:gd name="connsiteX0" fmla="*/ 2927350 w 3284537"/>
                    <a:gd name="connsiteY0" fmla="*/ 195262 h 3676650"/>
                    <a:gd name="connsiteX1" fmla="*/ 2289175 w 3284537"/>
                    <a:gd name="connsiteY1" fmla="*/ 71437 h 3676650"/>
                    <a:gd name="connsiteX2" fmla="*/ 1584325 w 3284537"/>
                    <a:gd name="connsiteY2" fmla="*/ 623887 h 3676650"/>
                    <a:gd name="connsiteX3" fmla="*/ 1917700 w 3284537"/>
                    <a:gd name="connsiteY3" fmla="*/ 252412 h 3676650"/>
                    <a:gd name="connsiteX4" fmla="*/ 2060575 w 3284537"/>
                    <a:gd name="connsiteY4" fmla="*/ 90487 h 3676650"/>
                    <a:gd name="connsiteX5" fmla="*/ 1479550 w 3284537"/>
                    <a:gd name="connsiteY5" fmla="*/ 614362 h 3676650"/>
                    <a:gd name="connsiteX6" fmla="*/ 1146175 w 3284537"/>
                    <a:gd name="connsiteY6" fmla="*/ 728662 h 3676650"/>
                    <a:gd name="connsiteX7" fmla="*/ 1346200 w 3284537"/>
                    <a:gd name="connsiteY7" fmla="*/ 595312 h 3676650"/>
                    <a:gd name="connsiteX8" fmla="*/ 1612900 w 3284537"/>
                    <a:gd name="connsiteY8" fmla="*/ 119062 h 3676650"/>
                    <a:gd name="connsiteX9" fmla="*/ 1155700 w 3284537"/>
                    <a:gd name="connsiteY9" fmla="*/ 595312 h 3676650"/>
                    <a:gd name="connsiteX10" fmla="*/ 679450 w 3284537"/>
                    <a:gd name="connsiteY10" fmla="*/ 890587 h 3676650"/>
                    <a:gd name="connsiteX11" fmla="*/ 517525 w 3284537"/>
                    <a:gd name="connsiteY11" fmla="*/ 1042987 h 3676650"/>
                    <a:gd name="connsiteX12" fmla="*/ 393700 w 3284537"/>
                    <a:gd name="connsiteY12" fmla="*/ 1443037 h 3676650"/>
                    <a:gd name="connsiteX13" fmla="*/ 384175 w 3284537"/>
                    <a:gd name="connsiteY13" fmla="*/ 1585912 h 3676650"/>
                    <a:gd name="connsiteX14" fmla="*/ 203200 w 3284537"/>
                    <a:gd name="connsiteY14" fmla="*/ 1366837 h 3676650"/>
                    <a:gd name="connsiteX15" fmla="*/ 31750 w 3284537"/>
                    <a:gd name="connsiteY15" fmla="*/ 1109662 h 3676650"/>
                    <a:gd name="connsiteX16" fmla="*/ 22225 w 3284537"/>
                    <a:gd name="connsiteY16" fmla="*/ 1509712 h 3676650"/>
                    <a:gd name="connsiteX17" fmla="*/ 165100 w 3284537"/>
                    <a:gd name="connsiteY17" fmla="*/ 1843087 h 3676650"/>
                    <a:gd name="connsiteX18" fmla="*/ 288925 w 3284537"/>
                    <a:gd name="connsiteY18" fmla="*/ 1938337 h 3676650"/>
                    <a:gd name="connsiteX19" fmla="*/ 374650 w 3284537"/>
                    <a:gd name="connsiteY19" fmla="*/ 2433637 h 3676650"/>
                    <a:gd name="connsiteX20" fmla="*/ 498475 w 3284537"/>
                    <a:gd name="connsiteY20" fmla="*/ 3024187 h 3676650"/>
                    <a:gd name="connsiteX21" fmla="*/ 831850 w 3284537"/>
                    <a:gd name="connsiteY21" fmla="*/ 3281362 h 3676650"/>
                    <a:gd name="connsiteX22" fmla="*/ 1222375 w 3284537"/>
                    <a:gd name="connsiteY22" fmla="*/ 3557587 h 3676650"/>
                    <a:gd name="connsiteX23" fmla="*/ 2022475 w 3284537"/>
                    <a:gd name="connsiteY23" fmla="*/ 3605212 h 3676650"/>
                    <a:gd name="connsiteX24" fmla="*/ 2413000 w 3284537"/>
                    <a:gd name="connsiteY24" fmla="*/ 3128962 h 3676650"/>
                    <a:gd name="connsiteX25" fmla="*/ 2660650 w 3284537"/>
                    <a:gd name="connsiteY25" fmla="*/ 2805112 h 3676650"/>
                    <a:gd name="connsiteX26" fmla="*/ 2822575 w 3284537"/>
                    <a:gd name="connsiteY26" fmla="*/ 2319337 h 3676650"/>
                    <a:gd name="connsiteX27" fmla="*/ 2974975 w 3284537"/>
                    <a:gd name="connsiteY27" fmla="*/ 2300287 h 3676650"/>
                    <a:gd name="connsiteX28" fmla="*/ 3165475 w 3284537"/>
                    <a:gd name="connsiteY28" fmla="*/ 1900237 h 3676650"/>
                    <a:gd name="connsiteX29" fmla="*/ 3270250 w 3284537"/>
                    <a:gd name="connsiteY29" fmla="*/ 1700212 h 3676650"/>
                    <a:gd name="connsiteX30" fmla="*/ 3079750 w 3284537"/>
                    <a:gd name="connsiteY30" fmla="*/ 1814512 h 3676650"/>
                    <a:gd name="connsiteX31" fmla="*/ 2955925 w 3284537"/>
                    <a:gd name="connsiteY31" fmla="*/ 1976437 h 3676650"/>
                    <a:gd name="connsiteX32" fmla="*/ 2984500 w 3284537"/>
                    <a:gd name="connsiteY32" fmla="*/ 1452562 h 3676650"/>
                    <a:gd name="connsiteX33" fmla="*/ 2889250 w 3284537"/>
                    <a:gd name="connsiteY33" fmla="*/ 1109662 h 3676650"/>
                    <a:gd name="connsiteX34" fmla="*/ 2870200 w 3284537"/>
                    <a:gd name="connsiteY34" fmla="*/ 814387 h 3676650"/>
                    <a:gd name="connsiteX35" fmla="*/ 2927350 w 3284537"/>
                    <a:gd name="connsiteY35" fmla="*/ 633412 h 3676650"/>
                    <a:gd name="connsiteX36" fmla="*/ 2927350 w 3284537"/>
                    <a:gd name="connsiteY36" fmla="*/ 195262 h 3676650"/>
                    <a:gd name="connsiteX0" fmla="*/ 2879725 w 3284537"/>
                    <a:gd name="connsiteY0" fmla="*/ 171450 h 3681413"/>
                    <a:gd name="connsiteX1" fmla="*/ 2289175 w 3284537"/>
                    <a:gd name="connsiteY1" fmla="*/ 76200 h 3681413"/>
                    <a:gd name="connsiteX2" fmla="*/ 1584325 w 3284537"/>
                    <a:gd name="connsiteY2" fmla="*/ 628650 h 3681413"/>
                    <a:gd name="connsiteX3" fmla="*/ 1917700 w 3284537"/>
                    <a:gd name="connsiteY3" fmla="*/ 257175 h 3681413"/>
                    <a:gd name="connsiteX4" fmla="*/ 2060575 w 3284537"/>
                    <a:gd name="connsiteY4" fmla="*/ 95250 h 3681413"/>
                    <a:gd name="connsiteX5" fmla="*/ 1479550 w 3284537"/>
                    <a:gd name="connsiteY5" fmla="*/ 619125 h 3681413"/>
                    <a:gd name="connsiteX6" fmla="*/ 1146175 w 3284537"/>
                    <a:gd name="connsiteY6" fmla="*/ 733425 h 3681413"/>
                    <a:gd name="connsiteX7" fmla="*/ 1346200 w 3284537"/>
                    <a:gd name="connsiteY7" fmla="*/ 600075 h 3681413"/>
                    <a:gd name="connsiteX8" fmla="*/ 1612900 w 3284537"/>
                    <a:gd name="connsiteY8" fmla="*/ 123825 h 3681413"/>
                    <a:gd name="connsiteX9" fmla="*/ 1155700 w 3284537"/>
                    <a:gd name="connsiteY9" fmla="*/ 600075 h 3681413"/>
                    <a:gd name="connsiteX10" fmla="*/ 679450 w 3284537"/>
                    <a:gd name="connsiteY10" fmla="*/ 895350 h 3681413"/>
                    <a:gd name="connsiteX11" fmla="*/ 517525 w 3284537"/>
                    <a:gd name="connsiteY11" fmla="*/ 1047750 h 3681413"/>
                    <a:gd name="connsiteX12" fmla="*/ 393700 w 3284537"/>
                    <a:gd name="connsiteY12" fmla="*/ 1447800 h 3681413"/>
                    <a:gd name="connsiteX13" fmla="*/ 384175 w 3284537"/>
                    <a:gd name="connsiteY13" fmla="*/ 1590675 h 3681413"/>
                    <a:gd name="connsiteX14" fmla="*/ 203200 w 3284537"/>
                    <a:gd name="connsiteY14" fmla="*/ 1371600 h 3681413"/>
                    <a:gd name="connsiteX15" fmla="*/ 31750 w 3284537"/>
                    <a:gd name="connsiteY15" fmla="*/ 1114425 h 3681413"/>
                    <a:gd name="connsiteX16" fmla="*/ 22225 w 3284537"/>
                    <a:gd name="connsiteY16" fmla="*/ 1514475 h 3681413"/>
                    <a:gd name="connsiteX17" fmla="*/ 165100 w 3284537"/>
                    <a:gd name="connsiteY17" fmla="*/ 1847850 h 3681413"/>
                    <a:gd name="connsiteX18" fmla="*/ 288925 w 3284537"/>
                    <a:gd name="connsiteY18" fmla="*/ 1943100 h 3681413"/>
                    <a:gd name="connsiteX19" fmla="*/ 374650 w 3284537"/>
                    <a:gd name="connsiteY19" fmla="*/ 2438400 h 3681413"/>
                    <a:gd name="connsiteX20" fmla="*/ 498475 w 3284537"/>
                    <a:gd name="connsiteY20" fmla="*/ 3028950 h 3681413"/>
                    <a:gd name="connsiteX21" fmla="*/ 831850 w 3284537"/>
                    <a:gd name="connsiteY21" fmla="*/ 3286125 h 3681413"/>
                    <a:gd name="connsiteX22" fmla="*/ 1222375 w 3284537"/>
                    <a:gd name="connsiteY22" fmla="*/ 3562350 h 3681413"/>
                    <a:gd name="connsiteX23" fmla="*/ 2022475 w 3284537"/>
                    <a:gd name="connsiteY23" fmla="*/ 3609975 h 3681413"/>
                    <a:gd name="connsiteX24" fmla="*/ 2413000 w 3284537"/>
                    <a:gd name="connsiteY24" fmla="*/ 3133725 h 3681413"/>
                    <a:gd name="connsiteX25" fmla="*/ 2660650 w 3284537"/>
                    <a:gd name="connsiteY25" fmla="*/ 2809875 h 3681413"/>
                    <a:gd name="connsiteX26" fmla="*/ 2822575 w 3284537"/>
                    <a:gd name="connsiteY26" fmla="*/ 2324100 h 3681413"/>
                    <a:gd name="connsiteX27" fmla="*/ 2974975 w 3284537"/>
                    <a:gd name="connsiteY27" fmla="*/ 2305050 h 3681413"/>
                    <a:gd name="connsiteX28" fmla="*/ 3165475 w 3284537"/>
                    <a:gd name="connsiteY28" fmla="*/ 1905000 h 3681413"/>
                    <a:gd name="connsiteX29" fmla="*/ 3270250 w 3284537"/>
                    <a:gd name="connsiteY29" fmla="*/ 1704975 h 3681413"/>
                    <a:gd name="connsiteX30" fmla="*/ 3079750 w 3284537"/>
                    <a:gd name="connsiteY30" fmla="*/ 1819275 h 3681413"/>
                    <a:gd name="connsiteX31" fmla="*/ 2955925 w 3284537"/>
                    <a:gd name="connsiteY31" fmla="*/ 1981200 h 3681413"/>
                    <a:gd name="connsiteX32" fmla="*/ 2984500 w 3284537"/>
                    <a:gd name="connsiteY32" fmla="*/ 1457325 h 3681413"/>
                    <a:gd name="connsiteX33" fmla="*/ 2889250 w 3284537"/>
                    <a:gd name="connsiteY33" fmla="*/ 1114425 h 3681413"/>
                    <a:gd name="connsiteX34" fmla="*/ 2870200 w 3284537"/>
                    <a:gd name="connsiteY34" fmla="*/ 819150 h 3681413"/>
                    <a:gd name="connsiteX35" fmla="*/ 2927350 w 3284537"/>
                    <a:gd name="connsiteY35" fmla="*/ 638175 h 3681413"/>
                    <a:gd name="connsiteX36" fmla="*/ 2879725 w 3284537"/>
                    <a:gd name="connsiteY36" fmla="*/ 171450 h 3681413"/>
                    <a:gd name="connsiteX0" fmla="*/ 2879725 w 3284537"/>
                    <a:gd name="connsiteY0" fmla="*/ 171450 h 3681413"/>
                    <a:gd name="connsiteX1" fmla="*/ 2289175 w 3284537"/>
                    <a:gd name="connsiteY1" fmla="*/ 76200 h 3681413"/>
                    <a:gd name="connsiteX2" fmla="*/ 1584325 w 3284537"/>
                    <a:gd name="connsiteY2" fmla="*/ 628650 h 3681413"/>
                    <a:gd name="connsiteX3" fmla="*/ 1917700 w 3284537"/>
                    <a:gd name="connsiteY3" fmla="*/ 257175 h 3681413"/>
                    <a:gd name="connsiteX4" fmla="*/ 2060575 w 3284537"/>
                    <a:gd name="connsiteY4" fmla="*/ 95250 h 3681413"/>
                    <a:gd name="connsiteX5" fmla="*/ 1479550 w 3284537"/>
                    <a:gd name="connsiteY5" fmla="*/ 619125 h 3681413"/>
                    <a:gd name="connsiteX6" fmla="*/ 1146175 w 3284537"/>
                    <a:gd name="connsiteY6" fmla="*/ 733425 h 3681413"/>
                    <a:gd name="connsiteX7" fmla="*/ 1346200 w 3284537"/>
                    <a:gd name="connsiteY7" fmla="*/ 600075 h 3681413"/>
                    <a:gd name="connsiteX8" fmla="*/ 1612900 w 3284537"/>
                    <a:gd name="connsiteY8" fmla="*/ 123825 h 3681413"/>
                    <a:gd name="connsiteX9" fmla="*/ 1155700 w 3284537"/>
                    <a:gd name="connsiteY9" fmla="*/ 600075 h 3681413"/>
                    <a:gd name="connsiteX10" fmla="*/ 679450 w 3284537"/>
                    <a:gd name="connsiteY10" fmla="*/ 895350 h 3681413"/>
                    <a:gd name="connsiteX11" fmla="*/ 517525 w 3284537"/>
                    <a:gd name="connsiteY11" fmla="*/ 1047750 h 3681413"/>
                    <a:gd name="connsiteX12" fmla="*/ 393700 w 3284537"/>
                    <a:gd name="connsiteY12" fmla="*/ 1447800 h 3681413"/>
                    <a:gd name="connsiteX13" fmla="*/ 384175 w 3284537"/>
                    <a:gd name="connsiteY13" fmla="*/ 1590675 h 3681413"/>
                    <a:gd name="connsiteX14" fmla="*/ 203200 w 3284537"/>
                    <a:gd name="connsiteY14" fmla="*/ 1371600 h 3681413"/>
                    <a:gd name="connsiteX15" fmla="*/ 31750 w 3284537"/>
                    <a:gd name="connsiteY15" fmla="*/ 1114425 h 3681413"/>
                    <a:gd name="connsiteX16" fmla="*/ 22225 w 3284537"/>
                    <a:gd name="connsiteY16" fmla="*/ 1514475 h 3681413"/>
                    <a:gd name="connsiteX17" fmla="*/ 165100 w 3284537"/>
                    <a:gd name="connsiteY17" fmla="*/ 1847850 h 3681413"/>
                    <a:gd name="connsiteX18" fmla="*/ 288925 w 3284537"/>
                    <a:gd name="connsiteY18" fmla="*/ 1943100 h 3681413"/>
                    <a:gd name="connsiteX19" fmla="*/ 374650 w 3284537"/>
                    <a:gd name="connsiteY19" fmla="*/ 2438400 h 3681413"/>
                    <a:gd name="connsiteX20" fmla="*/ 498475 w 3284537"/>
                    <a:gd name="connsiteY20" fmla="*/ 3028950 h 3681413"/>
                    <a:gd name="connsiteX21" fmla="*/ 831850 w 3284537"/>
                    <a:gd name="connsiteY21" fmla="*/ 3286125 h 3681413"/>
                    <a:gd name="connsiteX22" fmla="*/ 1222375 w 3284537"/>
                    <a:gd name="connsiteY22" fmla="*/ 3562350 h 3681413"/>
                    <a:gd name="connsiteX23" fmla="*/ 2022475 w 3284537"/>
                    <a:gd name="connsiteY23" fmla="*/ 3609975 h 3681413"/>
                    <a:gd name="connsiteX24" fmla="*/ 2413000 w 3284537"/>
                    <a:gd name="connsiteY24" fmla="*/ 3133725 h 3681413"/>
                    <a:gd name="connsiteX25" fmla="*/ 2660650 w 3284537"/>
                    <a:gd name="connsiteY25" fmla="*/ 2809875 h 3681413"/>
                    <a:gd name="connsiteX26" fmla="*/ 2822575 w 3284537"/>
                    <a:gd name="connsiteY26" fmla="*/ 2324100 h 3681413"/>
                    <a:gd name="connsiteX27" fmla="*/ 2974975 w 3284537"/>
                    <a:gd name="connsiteY27" fmla="*/ 2305050 h 3681413"/>
                    <a:gd name="connsiteX28" fmla="*/ 3165475 w 3284537"/>
                    <a:gd name="connsiteY28" fmla="*/ 1905000 h 3681413"/>
                    <a:gd name="connsiteX29" fmla="*/ 3270250 w 3284537"/>
                    <a:gd name="connsiteY29" fmla="*/ 1704975 h 3681413"/>
                    <a:gd name="connsiteX30" fmla="*/ 3079750 w 3284537"/>
                    <a:gd name="connsiteY30" fmla="*/ 1819275 h 3681413"/>
                    <a:gd name="connsiteX31" fmla="*/ 2955925 w 3284537"/>
                    <a:gd name="connsiteY31" fmla="*/ 1981200 h 3681413"/>
                    <a:gd name="connsiteX32" fmla="*/ 2984500 w 3284537"/>
                    <a:gd name="connsiteY32" fmla="*/ 1457325 h 3681413"/>
                    <a:gd name="connsiteX33" fmla="*/ 2889250 w 3284537"/>
                    <a:gd name="connsiteY33" fmla="*/ 1114425 h 3681413"/>
                    <a:gd name="connsiteX34" fmla="*/ 2870200 w 3284537"/>
                    <a:gd name="connsiteY34" fmla="*/ 819150 h 3681413"/>
                    <a:gd name="connsiteX35" fmla="*/ 2927350 w 3284537"/>
                    <a:gd name="connsiteY35" fmla="*/ 638175 h 3681413"/>
                    <a:gd name="connsiteX36" fmla="*/ 2879725 w 3284537"/>
                    <a:gd name="connsiteY36" fmla="*/ 171450 h 3681413"/>
                    <a:gd name="connsiteX0" fmla="*/ 2879725 w 3284537"/>
                    <a:gd name="connsiteY0" fmla="*/ 136525 h 3646488"/>
                    <a:gd name="connsiteX1" fmla="*/ 2289175 w 3284537"/>
                    <a:gd name="connsiteY1" fmla="*/ 117475 h 3646488"/>
                    <a:gd name="connsiteX2" fmla="*/ 1584325 w 3284537"/>
                    <a:gd name="connsiteY2" fmla="*/ 593725 h 3646488"/>
                    <a:gd name="connsiteX3" fmla="*/ 1917700 w 3284537"/>
                    <a:gd name="connsiteY3" fmla="*/ 222250 h 3646488"/>
                    <a:gd name="connsiteX4" fmla="*/ 2060575 w 3284537"/>
                    <a:gd name="connsiteY4" fmla="*/ 60325 h 3646488"/>
                    <a:gd name="connsiteX5" fmla="*/ 1479550 w 3284537"/>
                    <a:gd name="connsiteY5" fmla="*/ 584200 h 3646488"/>
                    <a:gd name="connsiteX6" fmla="*/ 1146175 w 3284537"/>
                    <a:gd name="connsiteY6" fmla="*/ 698500 h 3646488"/>
                    <a:gd name="connsiteX7" fmla="*/ 1346200 w 3284537"/>
                    <a:gd name="connsiteY7" fmla="*/ 565150 h 3646488"/>
                    <a:gd name="connsiteX8" fmla="*/ 1612900 w 3284537"/>
                    <a:gd name="connsiteY8" fmla="*/ 88900 h 3646488"/>
                    <a:gd name="connsiteX9" fmla="*/ 1155700 w 3284537"/>
                    <a:gd name="connsiteY9" fmla="*/ 565150 h 3646488"/>
                    <a:gd name="connsiteX10" fmla="*/ 679450 w 3284537"/>
                    <a:gd name="connsiteY10" fmla="*/ 860425 h 3646488"/>
                    <a:gd name="connsiteX11" fmla="*/ 517525 w 3284537"/>
                    <a:gd name="connsiteY11" fmla="*/ 1012825 h 3646488"/>
                    <a:gd name="connsiteX12" fmla="*/ 393700 w 3284537"/>
                    <a:gd name="connsiteY12" fmla="*/ 1412875 h 3646488"/>
                    <a:gd name="connsiteX13" fmla="*/ 384175 w 3284537"/>
                    <a:gd name="connsiteY13" fmla="*/ 1555750 h 3646488"/>
                    <a:gd name="connsiteX14" fmla="*/ 203200 w 3284537"/>
                    <a:gd name="connsiteY14" fmla="*/ 1336675 h 3646488"/>
                    <a:gd name="connsiteX15" fmla="*/ 31750 w 3284537"/>
                    <a:gd name="connsiteY15" fmla="*/ 1079500 h 3646488"/>
                    <a:gd name="connsiteX16" fmla="*/ 22225 w 3284537"/>
                    <a:gd name="connsiteY16" fmla="*/ 1479550 h 3646488"/>
                    <a:gd name="connsiteX17" fmla="*/ 165100 w 3284537"/>
                    <a:gd name="connsiteY17" fmla="*/ 1812925 h 3646488"/>
                    <a:gd name="connsiteX18" fmla="*/ 288925 w 3284537"/>
                    <a:gd name="connsiteY18" fmla="*/ 1908175 h 3646488"/>
                    <a:gd name="connsiteX19" fmla="*/ 374650 w 3284537"/>
                    <a:gd name="connsiteY19" fmla="*/ 2403475 h 3646488"/>
                    <a:gd name="connsiteX20" fmla="*/ 498475 w 3284537"/>
                    <a:gd name="connsiteY20" fmla="*/ 2994025 h 3646488"/>
                    <a:gd name="connsiteX21" fmla="*/ 831850 w 3284537"/>
                    <a:gd name="connsiteY21" fmla="*/ 3251200 h 3646488"/>
                    <a:gd name="connsiteX22" fmla="*/ 1222375 w 3284537"/>
                    <a:gd name="connsiteY22" fmla="*/ 3527425 h 3646488"/>
                    <a:gd name="connsiteX23" fmla="*/ 2022475 w 3284537"/>
                    <a:gd name="connsiteY23" fmla="*/ 3575050 h 3646488"/>
                    <a:gd name="connsiteX24" fmla="*/ 2413000 w 3284537"/>
                    <a:gd name="connsiteY24" fmla="*/ 3098800 h 3646488"/>
                    <a:gd name="connsiteX25" fmla="*/ 2660650 w 3284537"/>
                    <a:gd name="connsiteY25" fmla="*/ 2774950 h 3646488"/>
                    <a:gd name="connsiteX26" fmla="*/ 2822575 w 3284537"/>
                    <a:gd name="connsiteY26" fmla="*/ 2289175 h 3646488"/>
                    <a:gd name="connsiteX27" fmla="*/ 2974975 w 3284537"/>
                    <a:gd name="connsiteY27" fmla="*/ 2270125 h 3646488"/>
                    <a:gd name="connsiteX28" fmla="*/ 3165475 w 3284537"/>
                    <a:gd name="connsiteY28" fmla="*/ 1870075 h 3646488"/>
                    <a:gd name="connsiteX29" fmla="*/ 3270250 w 3284537"/>
                    <a:gd name="connsiteY29" fmla="*/ 1670050 h 3646488"/>
                    <a:gd name="connsiteX30" fmla="*/ 3079750 w 3284537"/>
                    <a:gd name="connsiteY30" fmla="*/ 1784350 h 3646488"/>
                    <a:gd name="connsiteX31" fmla="*/ 2955925 w 3284537"/>
                    <a:gd name="connsiteY31" fmla="*/ 1946275 h 3646488"/>
                    <a:gd name="connsiteX32" fmla="*/ 2984500 w 3284537"/>
                    <a:gd name="connsiteY32" fmla="*/ 1422400 h 3646488"/>
                    <a:gd name="connsiteX33" fmla="*/ 2889250 w 3284537"/>
                    <a:gd name="connsiteY33" fmla="*/ 1079500 h 3646488"/>
                    <a:gd name="connsiteX34" fmla="*/ 2870200 w 3284537"/>
                    <a:gd name="connsiteY34" fmla="*/ 784225 h 3646488"/>
                    <a:gd name="connsiteX35" fmla="*/ 2927350 w 3284537"/>
                    <a:gd name="connsiteY35" fmla="*/ 603250 h 3646488"/>
                    <a:gd name="connsiteX36" fmla="*/ 2879725 w 3284537"/>
                    <a:gd name="connsiteY36" fmla="*/ 136525 h 3646488"/>
                    <a:gd name="connsiteX0" fmla="*/ 2879725 w 3284537"/>
                    <a:gd name="connsiteY0" fmla="*/ 136525 h 3646488"/>
                    <a:gd name="connsiteX1" fmla="*/ 2289175 w 3284537"/>
                    <a:gd name="connsiteY1" fmla="*/ 117475 h 3646488"/>
                    <a:gd name="connsiteX2" fmla="*/ 1584325 w 3284537"/>
                    <a:gd name="connsiteY2" fmla="*/ 593725 h 3646488"/>
                    <a:gd name="connsiteX3" fmla="*/ 1917700 w 3284537"/>
                    <a:gd name="connsiteY3" fmla="*/ 222250 h 3646488"/>
                    <a:gd name="connsiteX4" fmla="*/ 2060575 w 3284537"/>
                    <a:gd name="connsiteY4" fmla="*/ 60325 h 3646488"/>
                    <a:gd name="connsiteX5" fmla="*/ 1479550 w 3284537"/>
                    <a:gd name="connsiteY5" fmla="*/ 584200 h 3646488"/>
                    <a:gd name="connsiteX6" fmla="*/ 1146175 w 3284537"/>
                    <a:gd name="connsiteY6" fmla="*/ 698500 h 3646488"/>
                    <a:gd name="connsiteX7" fmla="*/ 1346200 w 3284537"/>
                    <a:gd name="connsiteY7" fmla="*/ 565150 h 3646488"/>
                    <a:gd name="connsiteX8" fmla="*/ 1612900 w 3284537"/>
                    <a:gd name="connsiteY8" fmla="*/ 88900 h 3646488"/>
                    <a:gd name="connsiteX9" fmla="*/ 1155700 w 3284537"/>
                    <a:gd name="connsiteY9" fmla="*/ 565150 h 3646488"/>
                    <a:gd name="connsiteX10" fmla="*/ 679450 w 3284537"/>
                    <a:gd name="connsiteY10" fmla="*/ 860425 h 3646488"/>
                    <a:gd name="connsiteX11" fmla="*/ 517525 w 3284537"/>
                    <a:gd name="connsiteY11" fmla="*/ 1012825 h 3646488"/>
                    <a:gd name="connsiteX12" fmla="*/ 393700 w 3284537"/>
                    <a:gd name="connsiteY12" fmla="*/ 1412875 h 3646488"/>
                    <a:gd name="connsiteX13" fmla="*/ 384175 w 3284537"/>
                    <a:gd name="connsiteY13" fmla="*/ 1555750 h 3646488"/>
                    <a:gd name="connsiteX14" fmla="*/ 203200 w 3284537"/>
                    <a:gd name="connsiteY14" fmla="*/ 1336675 h 3646488"/>
                    <a:gd name="connsiteX15" fmla="*/ 31750 w 3284537"/>
                    <a:gd name="connsiteY15" fmla="*/ 1079500 h 3646488"/>
                    <a:gd name="connsiteX16" fmla="*/ 22225 w 3284537"/>
                    <a:gd name="connsiteY16" fmla="*/ 1479550 h 3646488"/>
                    <a:gd name="connsiteX17" fmla="*/ 165100 w 3284537"/>
                    <a:gd name="connsiteY17" fmla="*/ 1812925 h 3646488"/>
                    <a:gd name="connsiteX18" fmla="*/ 288925 w 3284537"/>
                    <a:gd name="connsiteY18" fmla="*/ 1908175 h 3646488"/>
                    <a:gd name="connsiteX19" fmla="*/ 374650 w 3284537"/>
                    <a:gd name="connsiteY19" fmla="*/ 2403475 h 3646488"/>
                    <a:gd name="connsiteX20" fmla="*/ 498475 w 3284537"/>
                    <a:gd name="connsiteY20" fmla="*/ 2994025 h 3646488"/>
                    <a:gd name="connsiteX21" fmla="*/ 812800 w 3284537"/>
                    <a:gd name="connsiteY21" fmla="*/ 3289300 h 3646488"/>
                    <a:gd name="connsiteX22" fmla="*/ 1222375 w 3284537"/>
                    <a:gd name="connsiteY22" fmla="*/ 3527425 h 3646488"/>
                    <a:gd name="connsiteX23" fmla="*/ 2022475 w 3284537"/>
                    <a:gd name="connsiteY23" fmla="*/ 3575050 h 3646488"/>
                    <a:gd name="connsiteX24" fmla="*/ 2413000 w 3284537"/>
                    <a:gd name="connsiteY24" fmla="*/ 3098800 h 3646488"/>
                    <a:gd name="connsiteX25" fmla="*/ 2660650 w 3284537"/>
                    <a:gd name="connsiteY25" fmla="*/ 2774950 h 3646488"/>
                    <a:gd name="connsiteX26" fmla="*/ 2822575 w 3284537"/>
                    <a:gd name="connsiteY26" fmla="*/ 2289175 h 3646488"/>
                    <a:gd name="connsiteX27" fmla="*/ 2974975 w 3284537"/>
                    <a:gd name="connsiteY27" fmla="*/ 2270125 h 3646488"/>
                    <a:gd name="connsiteX28" fmla="*/ 3165475 w 3284537"/>
                    <a:gd name="connsiteY28" fmla="*/ 1870075 h 3646488"/>
                    <a:gd name="connsiteX29" fmla="*/ 3270250 w 3284537"/>
                    <a:gd name="connsiteY29" fmla="*/ 1670050 h 3646488"/>
                    <a:gd name="connsiteX30" fmla="*/ 3079750 w 3284537"/>
                    <a:gd name="connsiteY30" fmla="*/ 1784350 h 3646488"/>
                    <a:gd name="connsiteX31" fmla="*/ 2955925 w 3284537"/>
                    <a:gd name="connsiteY31" fmla="*/ 1946275 h 3646488"/>
                    <a:gd name="connsiteX32" fmla="*/ 2984500 w 3284537"/>
                    <a:gd name="connsiteY32" fmla="*/ 1422400 h 3646488"/>
                    <a:gd name="connsiteX33" fmla="*/ 2889250 w 3284537"/>
                    <a:gd name="connsiteY33" fmla="*/ 1079500 h 3646488"/>
                    <a:gd name="connsiteX34" fmla="*/ 2870200 w 3284537"/>
                    <a:gd name="connsiteY34" fmla="*/ 784225 h 3646488"/>
                    <a:gd name="connsiteX35" fmla="*/ 2927350 w 3284537"/>
                    <a:gd name="connsiteY35" fmla="*/ 603250 h 3646488"/>
                    <a:gd name="connsiteX36" fmla="*/ 2879725 w 3284537"/>
                    <a:gd name="connsiteY36" fmla="*/ 136525 h 3646488"/>
                    <a:gd name="connsiteX0" fmla="*/ 2879725 w 3284537"/>
                    <a:gd name="connsiteY0" fmla="*/ 136525 h 3646488"/>
                    <a:gd name="connsiteX1" fmla="*/ 2289175 w 3284537"/>
                    <a:gd name="connsiteY1" fmla="*/ 117475 h 3646488"/>
                    <a:gd name="connsiteX2" fmla="*/ 1584325 w 3284537"/>
                    <a:gd name="connsiteY2" fmla="*/ 593725 h 3646488"/>
                    <a:gd name="connsiteX3" fmla="*/ 1917700 w 3284537"/>
                    <a:gd name="connsiteY3" fmla="*/ 222250 h 3646488"/>
                    <a:gd name="connsiteX4" fmla="*/ 2060575 w 3284537"/>
                    <a:gd name="connsiteY4" fmla="*/ 60325 h 3646488"/>
                    <a:gd name="connsiteX5" fmla="*/ 1479550 w 3284537"/>
                    <a:gd name="connsiteY5" fmla="*/ 584200 h 3646488"/>
                    <a:gd name="connsiteX6" fmla="*/ 1146175 w 3284537"/>
                    <a:gd name="connsiteY6" fmla="*/ 698500 h 3646488"/>
                    <a:gd name="connsiteX7" fmla="*/ 1346200 w 3284537"/>
                    <a:gd name="connsiteY7" fmla="*/ 565150 h 3646488"/>
                    <a:gd name="connsiteX8" fmla="*/ 1612900 w 3284537"/>
                    <a:gd name="connsiteY8" fmla="*/ 88900 h 3646488"/>
                    <a:gd name="connsiteX9" fmla="*/ 1155700 w 3284537"/>
                    <a:gd name="connsiteY9" fmla="*/ 565150 h 3646488"/>
                    <a:gd name="connsiteX10" fmla="*/ 679450 w 3284537"/>
                    <a:gd name="connsiteY10" fmla="*/ 860425 h 3646488"/>
                    <a:gd name="connsiteX11" fmla="*/ 517525 w 3284537"/>
                    <a:gd name="connsiteY11" fmla="*/ 1012825 h 3646488"/>
                    <a:gd name="connsiteX12" fmla="*/ 393700 w 3284537"/>
                    <a:gd name="connsiteY12" fmla="*/ 1412875 h 3646488"/>
                    <a:gd name="connsiteX13" fmla="*/ 384175 w 3284537"/>
                    <a:gd name="connsiteY13" fmla="*/ 1555750 h 3646488"/>
                    <a:gd name="connsiteX14" fmla="*/ 203200 w 3284537"/>
                    <a:gd name="connsiteY14" fmla="*/ 1336675 h 3646488"/>
                    <a:gd name="connsiteX15" fmla="*/ 31750 w 3284537"/>
                    <a:gd name="connsiteY15" fmla="*/ 1079500 h 3646488"/>
                    <a:gd name="connsiteX16" fmla="*/ 22225 w 3284537"/>
                    <a:gd name="connsiteY16" fmla="*/ 1479550 h 3646488"/>
                    <a:gd name="connsiteX17" fmla="*/ 165100 w 3284537"/>
                    <a:gd name="connsiteY17" fmla="*/ 1812925 h 3646488"/>
                    <a:gd name="connsiteX18" fmla="*/ 288925 w 3284537"/>
                    <a:gd name="connsiteY18" fmla="*/ 1908175 h 3646488"/>
                    <a:gd name="connsiteX19" fmla="*/ 374650 w 3284537"/>
                    <a:gd name="connsiteY19" fmla="*/ 2403475 h 3646488"/>
                    <a:gd name="connsiteX20" fmla="*/ 488950 w 3284537"/>
                    <a:gd name="connsiteY20" fmla="*/ 2879725 h 3646488"/>
                    <a:gd name="connsiteX21" fmla="*/ 812800 w 3284537"/>
                    <a:gd name="connsiteY21" fmla="*/ 3289300 h 3646488"/>
                    <a:gd name="connsiteX22" fmla="*/ 1222375 w 3284537"/>
                    <a:gd name="connsiteY22" fmla="*/ 3527425 h 3646488"/>
                    <a:gd name="connsiteX23" fmla="*/ 2022475 w 3284537"/>
                    <a:gd name="connsiteY23" fmla="*/ 3575050 h 3646488"/>
                    <a:gd name="connsiteX24" fmla="*/ 2413000 w 3284537"/>
                    <a:gd name="connsiteY24" fmla="*/ 3098800 h 3646488"/>
                    <a:gd name="connsiteX25" fmla="*/ 2660650 w 3284537"/>
                    <a:gd name="connsiteY25" fmla="*/ 2774950 h 3646488"/>
                    <a:gd name="connsiteX26" fmla="*/ 2822575 w 3284537"/>
                    <a:gd name="connsiteY26" fmla="*/ 2289175 h 3646488"/>
                    <a:gd name="connsiteX27" fmla="*/ 2974975 w 3284537"/>
                    <a:gd name="connsiteY27" fmla="*/ 2270125 h 3646488"/>
                    <a:gd name="connsiteX28" fmla="*/ 3165475 w 3284537"/>
                    <a:gd name="connsiteY28" fmla="*/ 1870075 h 3646488"/>
                    <a:gd name="connsiteX29" fmla="*/ 3270250 w 3284537"/>
                    <a:gd name="connsiteY29" fmla="*/ 1670050 h 3646488"/>
                    <a:gd name="connsiteX30" fmla="*/ 3079750 w 3284537"/>
                    <a:gd name="connsiteY30" fmla="*/ 1784350 h 3646488"/>
                    <a:gd name="connsiteX31" fmla="*/ 2955925 w 3284537"/>
                    <a:gd name="connsiteY31" fmla="*/ 1946275 h 3646488"/>
                    <a:gd name="connsiteX32" fmla="*/ 2984500 w 3284537"/>
                    <a:gd name="connsiteY32" fmla="*/ 1422400 h 3646488"/>
                    <a:gd name="connsiteX33" fmla="*/ 2889250 w 3284537"/>
                    <a:gd name="connsiteY33" fmla="*/ 1079500 h 3646488"/>
                    <a:gd name="connsiteX34" fmla="*/ 2870200 w 3284537"/>
                    <a:gd name="connsiteY34" fmla="*/ 784225 h 3646488"/>
                    <a:gd name="connsiteX35" fmla="*/ 2927350 w 3284537"/>
                    <a:gd name="connsiteY35" fmla="*/ 603250 h 3646488"/>
                    <a:gd name="connsiteX36" fmla="*/ 2879725 w 3284537"/>
                    <a:gd name="connsiteY36" fmla="*/ 136525 h 3646488"/>
                    <a:gd name="connsiteX0" fmla="*/ 2879725 w 3284537"/>
                    <a:gd name="connsiteY0" fmla="*/ 136525 h 3656013"/>
                    <a:gd name="connsiteX1" fmla="*/ 2289175 w 3284537"/>
                    <a:gd name="connsiteY1" fmla="*/ 117475 h 3656013"/>
                    <a:gd name="connsiteX2" fmla="*/ 1584325 w 3284537"/>
                    <a:gd name="connsiteY2" fmla="*/ 593725 h 3656013"/>
                    <a:gd name="connsiteX3" fmla="*/ 1917700 w 3284537"/>
                    <a:gd name="connsiteY3" fmla="*/ 222250 h 3656013"/>
                    <a:gd name="connsiteX4" fmla="*/ 2060575 w 3284537"/>
                    <a:gd name="connsiteY4" fmla="*/ 60325 h 3656013"/>
                    <a:gd name="connsiteX5" fmla="*/ 1479550 w 3284537"/>
                    <a:gd name="connsiteY5" fmla="*/ 584200 h 3656013"/>
                    <a:gd name="connsiteX6" fmla="*/ 1146175 w 3284537"/>
                    <a:gd name="connsiteY6" fmla="*/ 698500 h 3656013"/>
                    <a:gd name="connsiteX7" fmla="*/ 1346200 w 3284537"/>
                    <a:gd name="connsiteY7" fmla="*/ 565150 h 3656013"/>
                    <a:gd name="connsiteX8" fmla="*/ 1612900 w 3284537"/>
                    <a:gd name="connsiteY8" fmla="*/ 88900 h 3656013"/>
                    <a:gd name="connsiteX9" fmla="*/ 1155700 w 3284537"/>
                    <a:gd name="connsiteY9" fmla="*/ 565150 h 3656013"/>
                    <a:gd name="connsiteX10" fmla="*/ 679450 w 3284537"/>
                    <a:gd name="connsiteY10" fmla="*/ 860425 h 3656013"/>
                    <a:gd name="connsiteX11" fmla="*/ 517525 w 3284537"/>
                    <a:gd name="connsiteY11" fmla="*/ 1012825 h 3656013"/>
                    <a:gd name="connsiteX12" fmla="*/ 393700 w 3284537"/>
                    <a:gd name="connsiteY12" fmla="*/ 1412875 h 3656013"/>
                    <a:gd name="connsiteX13" fmla="*/ 384175 w 3284537"/>
                    <a:gd name="connsiteY13" fmla="*/ 1555750 h 3656013"/>
                    <a:gd name="connsiteX14" fmla="*/ 203200 w 3284537"/>
                    <a:gd name="connsiteY14" fmla="*/ 1336675 h 3656013"/>
                    <a:gd name="connsiteX15" fmla="*/ 31750 w 3284537"/>
                    <a:gd name="connsiteY15" fmla="*/ 1079500 h 3656013"/>
                    <a:gd name="connsiteX16" fmla="*/ 22225 w 3284537"/>
                    <a:gd name="connsiteY16" fmla="*/ 1479550 h 3656013"/>
                    <a:gd name="connsiteX17" fmla="*/ 165100 w 3284537"/>
                    <a:gd name="connsiteY17" fmla="*/ 1812925 h 3656013"/>
                    <a:gd name="connsiteX18" fmla="*/ 288925 w 3284537"/>
                    <a:gd name="connsiteY18" fmla="*/ 1908175 h 3656013"/>
                    <a:gd name="connsiteX19" fmla="*/ 374650 w 3284537"/>
                    <a:gd name="connsiteY19" fmla="*/ 2403475 h 3656013"/>
                    <a:gd name="connsiteX20" fmla="*/ 488950 w 3284537"/>
                    <a:gd name="connsiteY20" fmla="*/ 2879725 h 3656013"/>
                    <a:gd name="connsiteX21" fmla="*/ 812800 w 3284537"/>
                    <a:gd name="connsiteY21" fmla="*/ 3289300 h 3656013"/>
                    <a:gd name="connsiteX22" fmla="*/ 1222375 w 3284537"/>
                    <a:gd name="connsiteY22" fmla="*/ 3527425 h 3656013"/>
                    <a:gd name="connsiteX23" fmla="*/ 1974850 w 3284537"/>
                    <a:gd name="connsiteY23" fmla="*/ 3584575 h 3656013"/>
                    <a:gd name="connsiteX24" fmla="*/ 2413000 w 3284537"/>
                    <a:gd name="connsiteY24" fmla="*/ 3098800 h 3656013"/>
                    <a:gd name="connsiteX25" fmla="*/ 2660650 w 3284537"/>
                    <a:gd name="connsiteY25" fmla="*/ 2774950 h 3656013"/>
                    <a:gd name="connsiteX26" fmla="*/ 2822575 w 3284537"/>
                    <a:gd name="connsiteY26" fmla="*/ 2289175 h 3656013"/>
                    <a:gd name="connsiteX27" fmla="*/ 2974975 w 3284537"/>
                    <a:gd name="connsiteY27" fmla="*/ 2270125 h 3656013"/>
                    <a:gd name="connsiteX28" fmla="*/ 3165475 w 3284537"/>
                    <a:gd name="connsiteY28" fmla="*/ 1870075 h 3656013"/>
                    <a:gd name="connsiteX29" fmla="*/ 3270250 w 3284537"/>
                    <a:gd name="connsiteY29" fmla="*/ 1670050 h 3656013"/>
                    <a:gd name="connsiteX30" fmla="*/ 3079750 w 3284537"/>
                    <a:gd name="connsiteY30" fmla="*/ 1784350 h 3656013"/>
                    <a:gd name="connsiteX31" fmla="*/ 2955925 w 3284537"/>
                    <a:gd name="connsiteY31" fmla="*/ 1946275 h 3656013"/>
                    <a:gd name="connsiteX32" fmla="*/ 2984500 w 3284537"/>
                    <a:gd name="connsiteY32" fmla="*/ 1422400 h 3656013"/>
                    <a:gd name="connsiteX33" fmla="*/ 2889250 w 3284537"/>
                    <a:gd name="connsiteY33" fmla="*/ 1079500 h 3656013"/>
                    <a:gd name="connsiteX34" fmla="*/ 2870200 w 3284537"/>
                    <a:gd name="connsiteY34" fmla="*/ 784225 h 3656013"/>
                    <a:gd name="connsiteX35" fmla="*/ 2927350 w 3284537"/>
                    <a:gd name="connsiteY35" fmla="*/ 603250 h 3656013"/>
                    <a:gd name="connsiteX36" fmla="*/ 2879725 w 3284537"/>
                    <a:gd name="connsiteY36" fmla="*/ 136525 h 3656013"/>
                    <a:gd name="connsiteX0" fmla="*/ 2879725 w 3284537"/>
                    <a:gd name="connsiteY0" fmla="*/ 136525 h 3656013"/>
                    <a:gd name="connsiteX1" fmla="*/ 2289175 w 3284537"/>
                    <a:gd name="connsiteY1" fmla="*/ 117475 h 3656013"/>
                    <a:gd name="connsiteX2" fmla="*/ 1584325 w 3284537"/>
                    <a:gd name="connsiteY2" fmla="*/ 593725 h 3656013"/>
                    <a:gd name="connsiteX3" fmla="*/ 1917700 w 3284537"/>
                    <a:gd name="connsiteY3" fmla="*/ 222250 h 3656013"/>
                    <a:gd name="connsiteX4" fmla="*/ 2060575 w 3284537"/>
                    <a:gd name="connsiteY4" fmla="*/ 60325 h 3656013"/>
                    <a:gd name="connsiteX5" fmla="*/ 1479550 w 3284537"/>
                    <a:gd name="connsiteY5" fmla="*/ 584200 h 3656013"/>
                    <a:gd name="connsiteX6" fmla="*/ 1146175 w 3284537"/>
                    <a:gd name="connsiteY6" fmla="*/ 698500 h 3656013"/>
                    <a:gd name="connsiteX7" fmla="*/ 1346200 w 3284537"/>
                    <a:gd name="connsiteY7" fmla="*/ 565150 h 3656013"/>
                    <a:gd name="connsiteX8" fmla="*/ 1612900 w 3284537"/>
                    <a:gd name="connsiteY8" fmla="*/ 88900 h 3656013"/>
                    <a:gd name="connsiteX9" fmla="*/ 1155700 w 3284537"/>
                    <a:gd name="connsiteY9" fmla="*/ 565150 h 3656013"/>
                    <a:gd name="connsiteX10" fmla="*/ 679450 w 3284537"/>
                    <a:gd name="connsiteY10" fmla="*/ 860425 h 3656013"/>
                    <a:gd name="connsiteX11" fmla="*/ 517525 w 3284537"/>
                    <a:gd name="connsiteY11" fmla="*/ 1012825 h 3656013"/>
                    <a:gd name="connsiteX12" fmla="*/ 393700 w 3284537"/>
                    <a:gd name="connsiteY12" fmla="*/ 1412875 h 3656013"/>
                    <a:gd name="connsiteX13" fmla="*/ 384175 w 3284537"/>
                    <a:gd name="connsiteY13" fmla="*/ 1555750 h 3656013"/>
                    <a:gd name="connsiteX14" fmla="*/ 203200 w 3284537"/>
                    <a:gd name="connsiteY14" fmla="*/ 1336675 h 3656013"/>
                    <a:gd name="connsiteX15" fmla="*/ 31750 w 3284537"/>
                    <a:gd name="connsiteY15" fmla="*/ 1079500 h 3656013"/>
                    <a:gd name="connsiteX16" fmla="*/ 22225 w 3284537"/>
                    <a:gd name="connsiteY16" fmla="*/ 1479550 h 3656013"/>
                    <a:gd name="connsiteX17" fmla="*/ 165100 w 3284537"/>
                    <a:gd name="connsiteY17" fmla="*/ 1812925 h 3656013"/>
                    <a:gd name="connsiteX18" fmla="*/ 288925 w 3284537"/>
                    <a:gd name="connsiteY18" fmla="*/ 1908175 h 3656013"/>
                    <a:gd name="connsiteX19" fmla="*/ 374650 w 3284537"/>
                    <a:gd name="connsiteY19" fmla="*/ 2403475 h 3656013"/>
                    <a:gd name="connsiteX20" fmla="*/ 488950 w 3284537"/>
                    <a:gd name="connsiteY20" fmla="*/ 2879725 h 3656013"/>
                    <a:gd name="connsiteX21" fmla="*/ 812800 w 3284537"/>
                    <a:gd name="connsiteY21" fmla="*/ 3289300 h 3656013"/>
                    <a:gd name="connsiteX22" fmla="*/ 1222375 w 3284537"/>
                    <a:gd name="connsiteY22" fmla="*/ 3527425 h 3656013"/>
                    <a:gd name="connsiteX23" fmla="*/ 1927225 w 3284537"/>
                    <a:gd name="connsiteY23" fmla="*/ 3584575 h 3656013"/>
                    <a:gd name="connsiteX24" fmla="*/ 2413000 w 3284537"/>
                    <a:gd name="connsiteY24" fmla="*/ 3098800 h 3656013"/>
                    <a:gd name="connsiteX25" fmla="*/ 2660650 w 3284537"/>
                    <a:gd name="connsiteY25" fmla="*/ 2774950 h 3656013"/>
                    <a:gd name="connsiteX26" fmla="*/ 2822575 w 3284537"/>
                    <a:gd name="connsiteY26" fmla="*/ 2289175 h 3656013"/>
                    <a:gd name="connsiteX27" fmla="*/ 2974975 w 3284537"/>
                    <a:gd name="connsiteY27" fmla="*/ 2270125 h 3656013"/>
                    <a:gd name="connsiteX28" fmla="*/ 3165475 w 3284537"/>
                    <a:gd name="connsiteY28" fmla="*/ 1870075 h 3656013"/>
                    <a:gd name="connsiteX29" fmla="*/ 3270250 w 3284537"/>
                    <a:gd name="connsiteY29" fmla="*/ 1670050 h 3656013"/>
                    <a:gd name="connsiteX30" fmla="*/ 3079750 w 3284537"/>
                    <a:gd name="connsiteY30" fmla="*/ 1784350 h 3656013"/>
                    <a:gd name="connsiteX31" fmla="*/ 2955925 w 3284537"/>
                    <a:gd name="connsiteY31" fmla="*/ 1946275 h 3656013"/>
                    <a:gd name="connsiteX32" fmla="*/ 2984500 w 3284537"/>
                    <a:gd name="connsiteY32" fmla="*/ 1422400 h 3656013"/>
                    <a:gd name="connsiteX33" fmla="*/ 2889250 w 3284537"/>
                    <a:gd name="connsiteY33" fmla="*/ 1079500 h 3656013"/>
                    <a:gd name="connsiteX34" fmla="*/ 2870200 w 3284537"/>
                    <a:gd name="connsiteY34" fmla="*/ 784225 h 3656013"/>
                    <a:gd name="connsiteX35" fmla="*/ 2927350 w 3284537"/>
                    <a:gd name="connsiteY35" fmla="*/ 603250 h 3656013"/>
                    <a:gd name="connsiteX36" fmla="*/ 2879725 w 3284537"/>
                    <a:gd name="connsiteY36" fmla="*/ 136525 h 3656013"/>
                    <a:gd name="connsiteX0" fmla="*/ 2879725 w 3284537"/>
                    <a:gd name="connsiteY0" fmla="*/ 136525 h 3652838"/>
                    <a:gd name="connsiteX1" fmla="*/ 2289175 w 3284537"/>
                    <a:gd name="connsiteY1" fmla="*/ 117475 h 3652838"/>
                    <a:gd name="connsiteX2" fmla="*/ 1584325 w 3284537"/>
                    <a:gd name="connsiteY2" fmla="*/ 593725 h 3652838"/>
                    <a:gd name="connsiteX3" fmla="*/ 1917700 w 3284537"/>
                    <a:gd name="connsiteY3" fmla="*/ 222250 h 3652838"/>
                    <a:gd name="connsiteX4" fmla="*/ 2060575 w 3284537"/>
                    <a:gd name="connsiteY4" fmla="*/ 60325 h 3652838"/>
                    <a:gd name="connsiteX5" fmla="*/ 1479550 w 3284537"/>
                    <a:gd name="connsiteY5" fmla="*/ 584200 h 3652838"/>
                    <a:gd name="connsiteX6" fmla="*/ 1146175 w 3284537"/>
                    <a:gd name="connsiteY6" fmla="*/ 698500 h 3652838"/>
                    <a:gd name="connsiteX7" fmla="*/ 1346200 w 3284537"/>
                    <a:gd name="connsiteY7" fmla="*/ 565150 h 3652838"/>
                    <a:gd name="connsiteX8" fmla="*/ 1612900 w 3284537"/>
                    <a:gd name="connsiteY8" fmla="*/ 88900 h 3652838"/>
                    <a:gd name="connsiteX9" fmla="*/ 1155700 w 3284537"/>
                    <a:gd name="connsiteY9" fmla="*/ 565150 h 3652838"/>
                    <a:gd name="connsiteX10" fmla="*/ 679450 w 3284537"/>
                    <a:gd name="connsiteY10" fmla="*/ 860425 h 3652838"/>
                    <a:gd name="connsiteX11" fmla="*/ 517525 w 3284537"/>
                    <a:gd name="connsiteY11" fmla="*/ 1012825 h 3652838"/>
                    <a:gd name="connsiteX12" fmla="*/ 393700 w 3284537"/>
                    <a:gd name="connsiteY12" fmla="*/ 1412875 h 3652838"/>
                    <a:gd name="connsiteX13" fmla="*/ 384175 w 3284537"/>
                    <a:gd name="connsiteY13" fmla="*/ 1555750 h 3652838"/>
                    <a:gd name="connsiteX14" fmla="*/ 203200 w 3284537"/>
                    <a:gd name="connsiteY14" fmla="*/ 1336675 h 3652838"/>
                    <a:gd name="connsiteX15" fmla="*/ 31750 w 3284537"/>
                    <a:gd name="connsiteY15" fmla="*/ 1079500 h 3652838"/>
                    <a:gd name="connsiteX16" fmla="*/ 22225 w 3284537"/>
                    <a:gd name="connsiteY16" fmla="*/ 1479550 h 3652838"/>
                    <a:gd name="connsiteX17" fmla="*/ 165100 w 3284537"/>
                    <a:gd name="connsiteY17" fmla="*/ 1812925 h 3652838"/>
                    <a:gd name="connsiteX18" fmla="*/ 288925 w 3284537"/>
                    <a:gd name="connsiteY18" fmla="*/ 1908175 h 3652838"/>
                    <a:gd name="connsiteX19" fmla="*/ 374650 w 3284537"/>
                    <a:gd name="connsiteY19" fmla="*/ 2403475 h 3652838"/>
                    <a:gd name="connsiteX20" fmla="*/ 488950 w 3284537"/>
                    <a:gd name="connsiteY20" fmla="*/ 2879725 h 3652838"/>
                    <a:gd name="connsiteX21" fmla="*/ 812800 w 3284537"/>
                    <a:gd name="connsiteY21" fmla="*/ 3289300 h 3652838"/>
                    <a:gd name="connsiteX22" fmla="*/ 1222375 w 3284537"/>
                    <a:gd name="connsiteY22" fmla="*/ 3527425 h 3652838"/>
                    <a:gd name="connsiteX23" fmla="*/ 1927225 w 3284537"/>
                    <a:gd name="connsiteY23" fmla="*/ 3584575 h 3652838"/>
                    <a:gd name="connsiteX24" fmla="*/ 2451100 w 3284537"/>
                    <a:gd name="connsiteY24" fmla="*/ 3117850 h 3652838"/>
                    <a:gd name="connsiteX25" fmla="*/ 2660650 w 3284537"/>
                    <a:gd name="connsiteY25" fmla="*/ 2774950 h 3652838"/>
                    <a:gd name="connsiteX26" fmla="*/ 2822575 w 3284537"/>
                    <a:gd name="connsiteY26" fmla="*/ 2289175 h 3652838"/>
                    <a:gd name="connsiteX27" fmla="*/ 2974975 w 3284537"/>
                    <a:gd name="connsiteY27" fmla="*/ 2270125 h 3652838"/>
                    <a:gd name="connsiteX28" fmla="*/ 3165475 w 3284537"/>
                    <a:gd name="connsiteY28" fmla="*/ 1870075 h 3652838"/>
                    <a:gd name="connsiteX29" fmla="*/ 3270250 w 3284537"/>
                    <a:gd name="connsiteY29" fmla="*/ 1670050 h 3652838"/>
                    <a:gd name="connsiteX30" fmla="*/ 3079750 w 3284537"/>
                    <a:gd name="connsiteY30" fmla="*/ 1784350 h 3652838"/>
                    <a:gd name="connsiteX31" fmla="*/ 2955925 w 3284537"/>
                    <a:gd name="connsiteY31" fmla="*/ 1946275 h 3652838"/>
                    <a:gd name="connsiteX32" fmla="*/ 2984500 w 3284537"/>
                    <a:gd name="connsiteY32" fmla="*/ 1422400 h 3652838"/>
                    <a:gd name="connsiteX33" fmla="*/ 2889250 w 3284537"/>
                    <a:gd name="connsiteY33" fmla="*/ 1079500 h 3652838"/>
                    <a:gd name="connsiteX34" fmla="*/ 2870200 w 3284537"/>
                    <a:gd name="connsiteY34" fmla="*/ 784225 h 3652838"/>
                    <a:gd name="connsiteX35" fmla="*/ 2927350 w 3284537"/>
                    <a:gd name="connsiteY35" fmla="*/ 603250 h 3652838"/>
                    <a:gd name="connsiteX36" fmla="*/ 2879725 w 3284537"/>
                    <a:gd name="connsiteY36" fmla="*/ 136525 h 3652838"/>
                    <a:gd name="connsiteX0" fmla="*/ 2879725 w 3284537"/>
                    <a:gd name="connsiteY0" fmla="*/ 136525 h 3652838"/>
                    <a:gd name="connsiteX1" fmla="*/ 2289175 w 3284537"/>
                    <a:gd name="connsiteY1" fmla="*/ 117475 h 3652838"/>
                    <a:gd name="connsiteX2" fmla="*/ 1584325 w 3284537"/>
                    <a:gd name="connsiteY2" fmla="*/ 593725 h 3652838"/>
                    <a:gd name="connsiteX3" fmla="*/ 1917700 w 3284537"/>
                    <a:gd name="connsiteY3" fmla="*/ 222250 h 3652838"/>
                    <a:gd name="connsiteX4" fmla="*/ 2060575 w 3284537"/>
                    <a:gd name="connsiteY4" fmla="*/ 60325 h 3652838"/>
                    <a:gd name="connsiteX5" fmla="*/ 1479550 w 3284537"/>
                    <a:gd name="connsiteY5" fmla="*/ 584200 h 3652838"/>
                    <a:gd name="connsiteX6" fmla="*/ 1346200 w 3284537"/>
                    <a:gd name="connsiteY6" fmla="*/ 565150 h 3652838"/>
                    <a:gd name="connsiteX7" fmla="*/ 1612900 w 3284537"/>
                    <a:gd name="connsiteY7" fmla="*/ 88900 h 3652838"/>
                    <a:gd name="connsiteX8" fmla="*/ 1155700 w 3284537"/>
                    <a:gd name="connsiteY8" fmla="*/ 565150 h 3652838"/>
                    <a:gd name="connsiteX9" fmla="*/ 679450 w 3284537"/>
                    <a:gd name="connsiteY9" fmla="*/ 860425 h 3652838"/>
                    <a:gd name="connsiteX10" fmla="*/ 517525 w 3284537"/>
                    <a:gd name="connsiteY10" fmla="*/ 1012825 h 3652838"/>
                    <a:gd name="connsiteX11" fmla="*/ 393700 w 3284537"/>
                    <a:gd name="connsiteY11" fmla="*/ 1412875 h 3652838"/>
                    <a:gd name="connsiteX12" fmla="*/ 384175 w 3284537"/>
                    <a:gd name="connsiteY12" fmla="*/ 1555750 h 3652838"/>
                    <a:gd name="connsiteX13" fmla="*/ 203200 w 3284537"/>
                    <a:gd name="connsiteY13" fmla="*/ 1336675 h 3652838"/>
                    <a:gd name="connsiteX14" fmla="*/ 31750 w 3284537"/>
                    <a:gd name="connsiteY14" fmla="*/ 1079500 h 3652838"/>
                    <a:gd name="connsiteX15" fmla="*/ 22225 w 3284537"/>
                    <a:gd name="connsiteY15" fmla="*/ 1479550 h 3652838"/>
                    <a:gd name="connsiteX16" fmla="*/ 165100 w 3284537"/>
                    <a:gd name="connsiteY16" fmla="*/ 1812925 h 3652838"/>
                    <a:gd name="connsiteX17" fmla="*/ 288925 w 3284537"/>
                    <a:gd name="connsiteY17" fmla="*/ 1908175 h 3652838"/>
                    <a:gd name="connsiteX18" fmla="*/ 374650 w 3284537"/>
                    <a:gd name="connsiteY18" fmla="*/ 2403475 h 3652838"/>
                    <a:gd name="connsiteX19" fmla="*/ 488950 w 3284537"/>
                    <a:gd name="connsiteY19" fmla="*/ 2879725 h 3652838"/>
                    <a:gd name="connsiteX20" fmla="*/ 812800 w 3284537"/>
                    <a:gd name="connsiteY20" fmla="*/ 3289300 h 3652838"/>
                    <a:gd name="connsiteX21" fmla="*/ 1222375 w 3284537"/>
                    <a:gd name="connsiteY21" fmla="*/ 3527425 h 3652838"/>
                    <a:gd name="connsiteX22" fmla="*/ 1927225 w 3284537"/>
                    <a:gd name="connsiteY22" fmla="*/ 3584575 h 3652838"/>
                    <a:gd name="connsiteX23" fmla="*/ 2451100 w 3284537"/>
                    <a:gd name="connsiteY23" fmla="*/ 3117850 h 3652838"/>
                    <a:gd name="connsiteX24" fmla="*/ 2660650 w 3284537"/>
                    <a:gd name="connsiteY24" fmla="*/ 2774950 h 3652838"/>
                    <a:gd name="connsiteX25" fmla="*/ 2822575 w 3284537"/>
                    <a:gd name="connsiteY25" fmla="*/ 2289175 h 3652838"/>
                    <a:gd name="connsiteX26" fmla="*/ 2974975 w 3284537"/>
                    <a:gd name="connsiteY26" fmla="*/ 2270125 h 3652838"/>
                    <a:gd name="connsiteX27" fmla="*/ 3165475 w 3284537"/>
                    <a:gd name="connsiteY27" fmla="*/ 1870075 h 3652838"/>
                    <a:gd name="connsiteX28" fmla="*/ 3270250 w 3284537"/>
                    <a:gd name="connsiteY28" fmla="*/ 1670050 h 3652838"/>
                    <a:gd name="connsiteX29" fmla="*/ 3079750 w 3284537"/>
                    <a:gd name="connsiteY29" fmla="*/ 1784350 h 3652838"/>
                    <a:gd name="connsiteX30" fmla="*/ 2955925 w 3284537"/>
                    <a:gd name="connsiteY30" fmla="*/ 1946275 h 3652838"/>
                    <a:gd name="connsiteX31" fmla="*/ 2984500 w 3284537"/>
                    <a:gd name="connsiteY31" fmla="*/ 1422400 h 3652838"/>
                    <a:gd name="connsiteX32" fmla="*/ 2889250 w 3284537"/>
                    <a:gd name="connsiteY32" fmla="*/ 1079500 h 3652838"/>
                    <a:gd name="connsiteX33" fmla="*/ 2870200 w 3284537"/>
                    <a:gd name="connsiteY33" fmla="*/ 784225 h 3652838"/>
                    <a:gd name="connsiteX34" fmla="*/ 2927350 w 3284537"/>
                    <a:gd name="connsiteY34" fmla="*/ 603250 h 3652838"/>
                    <a:gd name="connsiteX35" fmla="*/ 2879725 w 3284537"/>
                    <a:gd name="connsiteY35" fmla="*/ 136525 h 3652838"/>
                    <a:gd name="connsiteX0" fmla="*/ 2879725 w 3284537"/>
                    <a:gd name="connsiteY0" fmla="*/ 136525 h 3652838"/>
                    <a:gd name="connsiteX1" fmla="*/ 2289175 w 3284537"/>
                    <a:gd name="connsiteY1" fmla="*/ 117475 h 3652838"/>
                    <a:gd name="connsiteX2" fmla="*/ 1584325 w 3284537"/>
                    <a:gd name="connsiteY2" fmla="*/ 593725 h 3652838"/>
                    <a:gd name="connsiteX3" fmla="*/ 1917700 w 3284537"/>
                    <a:gd name="connsiteY3" fmla="*/ 222250 h 3652838"/>
                    <a:gd name="connsiteX4" fmla="*/ 2060575 w 3284537"/>
                    <a:gd name="connsiteY4" fmla="*/ 60325 h 3652838"/>
                    <a:gd name="connsiteX5" fmla="*/ 1479550 w 3284537"/>
                    <a:gd name="connsiteY5" fmla="*/ 584200 h 3652838"/>
                    <a:gd name="connsiteX6" fmla="*/ 1612900 w 3284537"/>
                    <a:gd name="connsiteY6" fmla="*/ 88900 h 3652838"/>
                    <a:gd name="connsiteX7" fmla="*/ 1155700 w 3284537"/>
                    <a:gd name="connsiteY7" fmla="*/ 565150 h 3652838"/>
                    <a:gd name="connsiteX8" fmla="*/ 679450 w 3284537"/>
                    <a:gd name="connsiteY8" fmla="*/ 860425 h 3652838"/>
                    <a:gd name="connsiteX9" fmla="*/ 517525 w 3284537"/>
                    <a:gd name="connsiteY9" fmla="*/ 1012825 h 3652838"/>
                    <a:gd name="connsiteX10" fmla="*/ 393700 w 3284537"/>
                    <a:gd name="connsiteY10" fmla="*/ 1412875 h 3652838"/>
                    <a:gd name="connsiteX11" fmla="*/ 384175 w 3284537"/>
                    <a:gd name="connsiteY11" fmla="*/ 1555750 h 3652838"/>
                    <a:gd name="connsiteX12" fmla="*/ 203200 w 3284537"/>
                    <a:gd name="connsiteY12" fmla="*/ 1336675 h 3652838"/>
                    <a:gd name="connsiteX13" fmla="*/ 31750 w 3284537"/>
                    <a:gd name="connsiteY13" fmla="*/ 1079500 h 3652838"/>
                    <a:gd name="connsiteX14" fmla="*/ 22225 w 3284537"/>
                    <a:gd name="connsiteY14" fmla="*/ 1479550 h 3652838"/>
                    <a:gd name="connsiteX15" fmla="*/ 165100 w 3284537"/>
                    <a:gd name="connsiteY15" fmla="*/ 1812925 h 3652838"/>
                    <a:gd name="connsiteX16" fmla="*/ 288925 w 3284537"/>
                    <a:gd name="connsiteY16" fmla="*/ 1908175 h 3652838"/>
                    <a:gd name="connsiteX17" fmla="*/ 374650 w 3284537"/>
                    <a:gd name="connsiteY17" fmla="*/ 2403475 h 3652838"/>
                    <a:gd name="connsiteX18" fmla="*/ 488950 w 3284537"/>
                    <a:gd name="connsiteY18" fmla="*/ 2879725 h 3652838"/>
                    <a:gd name="connsiteX19" fmla="*/ 812800 w 3284537"/>
                    <a:gd name="connsiteY19" fmla="*/ 3289300 h 3652838"/>
                    <a:gd name="connsiteX20" fmla="*/ 1222375 w 3284537"/>
                    <a:gd name="connsiteY20" fmla="*/ 3527425 h 3652838"/>
                    <a:gd name="connsiteX21" fmla="*/ 1927225 w 3284537"/>
                    <a:gd name="connsiteY21" fmla="*/ 3584575 h 3652838"/>
                    <a:gd name="connsiteX22" fmla="*/ 2451100 w 3284537"/>
                    <a:gd name="connsiteY22" fmla="*/ 3117850 h 3652838"/>
                    <a:gd name="connsiteX23" fmla="*/ 2660650 w 3284537"/>
                    <a:gd name="connsiteY23" fmla="*/ 2774950 h 3652838"/>
                    <a:gd name="connsiteX24" fmla="*/ 2822575 w 3284537"/>
                    <a:gd name="connsiteY24" fmla="*/ 2289175 h 3652838"/>
                    <a:gd name="connsiteX25" fmla="*/ 2974975 w 3284537"/>
                    <a:gd name="connsiteY25" fmla="*/ 2270125 h 3652838"/>
                    <a:gd name="connsiteX26" fmla="*/ 3165475 w 3284537"/>
                    <a:gd name="connsiteY26" fmla="*/ 1870075 h 3652838"/>
                    <a:gd name="connsiteX27" fmla="*/ 3270250 w 3284537"/>
                    <a:gd name="connsiteY27" fmla="*/ 1670050 h 3652838"/>
                    <a:gd name="connsiteX28" fmla="*/ 3079750 w 3284537"/>
                    <a:gd name="connsiteY28" fmla="*/ 1784350 h 3652838"/>
                    <a:gd name="connsiteX29" fmla="*/ 2955925 w 3284537"/>
                    <a:gd name="connsiteY29" fmla="*/ 1946275 h 3652838"/>
                    <a:gd name="connsiteX30" fmla="*/ 2984500 w 3284537"/>
                    <a:gd name="connsiteY30" fmla="*/ 1422400 h 3652838"/>
                    <a:gd name="connsiteX31" fmla="*/ 2889250 w 3284537"/>
                    <a:gd name="connsiteY31" fmla="*/ 1079500 h 3652838"/>
                    <a:gd name="connsiteX32" fmla="*/ 2870200 w 3284537"/>
                    <a:gd name="connsiteY32" fmla="*/ 784225 h 3652838"/>
                    <a:gd name="connsiteX33" fmla="*/ 2927350 w 3284537"/>
                    <a:gd name="connsiteY33" fmla="*/ 603250 h 3652838"/>
                    <a:gd name="connsiteX34" fmla="*/ 2879725 w 3284537"/>
                    <a:gd name="connsiteY34" fmla="*/ 136525 h 3652838"/>
                    <a:gd name="connsiteX0" fmla="*/ 2879725 w 3284537"/>
                    <a:gd name="connsiteY0" fmla="*/ 131762 h 3648075"/>
                    <a:gd name="connsiteX1" fmla="*/ 2289175 w 3284537"/>
                    <a:gd name="connsiteY1" fmla="*/ 112712 h 3648075"/>
                    <a:gd name="connsiteX2" fmla="*/ 1584325 w 3284537"/>
                    <a:gd name="connsiteY2" fmla="*/ 588962 h 3648075"/>
                    <a:gd name="connsiteX3" fmla="*/ 1917700 w 3284537"/>
                    <a:gd name="connsiteY3" fmla="*/ 217487 h 3648075"/>
                    <a:gd name="connsiteX4" fmla="*/ 2060575 w 3284537"/>
                    <a:gd name="connsiteY4" fmla="*/ 55562 h 3648075"/>
                    <a:gd name="connsiteX5" fmla="*/ 1612900 w 3284537"/>
                    <a:gd name="connsiteY5" fmla="*/ 84137 h 3648075"/>
                    <a:gd name="connsiteX6" fmla="*/ 1155700 w 3284537"/>
                    <a:gd name="connsiteY6" fmla="*/ 560387 h 3648075"/>
                    <a:gd name="connsiteX7" fmla="*/ 679450 w 3284537"/>
                    <a:gd name="connsiteY7" fmla="*/ 855662 h 3648075"/>
                    <a:gd name="connsiteX8" fmla="*/ 517525 w 3284537"/>
                    <a:gd name="connsiteY8" fmla="*/ 1008062 h 3648075"/>
                    <a:gd name="connsiteX9" fmla="*/ 393700 w 3284537"/>
                    <a:gd name="connsiteY9" fmla="*/ 1408112 h 3648075"/>
                    <a:gd name="connsiteX10" fmla="*/ 384175 w 3284537"/>
                    <a:gd name="connsiteY10" fmla="*/ 1550987 h 3648075"/>
                    <a:gd name="connsiteX11" fmla="*/ 203200 w 3284537"/>
                    <a:gd name="connsiteY11" fmla="*/ 1331912 h 3648075"/>
                    <a:gd name="connsiteX12" fmla="*/ 31750 w 3284537"/>
                    <a:gd name="connsiteY12" fmla="*/ 1074737 h 3648075"/>
                    <a:gd name="connsiteX13" fmla="*/ 22225 w 3284537"/>
                    <a:gd name="connsiteY13" fmla="*/ 1474787 h 3648075"/>
                    <a:gd name="connsiteX14" fmla="*/ 165100 w 3284537"/>
                    <a:gd name="connsiteY14" fmla="*/ 1808162 h 3648075"/>
                    <a:gd name="connsiteX15" fmla="*/ 288925 w 3284537"/>
                    <a:gd name="connsiteY15" fmla="*/ 1903412 h 3648075"/>
                    <a:gd name="connsiteX16" fmla="*/ 374650 w 3284537"/>
                    <a:gd name="connsiteY16" fmla="*/ 2398712 h 3648075"/>
                    <a:gd name="connsiteX17" fmla="*/ 488950 w 3284537"/>
                    <a:gd name="connsiteY17" fmla="*/ 2874962 h 3648075"/>
                    <a:gd name="connsiteX18" fmla="*/ 812800 w 3284537"/>
                    <a:gd name="connsiteY18" fmla="*/ 3284537 h 3648075"/>
                    <a:gd name="connsiteX19" fmla="*/ 1222375 w 3284537"/>
                    <a:gd name="connsiteY19" fmla="*/ 3522662 h 3648075"/>
                    <a:gd name="connsiteX20" fmla="*/ 1927225 w 3284537"/>
                    <a:gd name="connsiteY20" fmla="*/ 3579812 h 3648075"/>
                    <a:gd name="connsiteX21" fmla="*/ 2451100 w 3284537"/>
                    <a:gd name="connsiteY21" fmla="*/ 3113087 h 3648075"/>
                    <a:gd name="connsiteX22" fmla="*/ 2660650 w 3284537"/>
                    <a:gd name="connsiteY22" fmla="*/ 2770187 h 3648075"/>
                    <a:gd name="connsiteX23" fmla="*/ 2822575 w 3284537"/>
                    <a:gd name="connsiteY23" fmla="*/ 2284412 h 3648075"/>
                    <a:gd name="connsiteX24" fmla="*/ 2974975 w 3284537"/>
                    <a:gd name="connsiteY24" fmla="*/ 2265362 h 3648075"/>
                    <a:gd name="connsiteX25" fmla="*/ 3165475 w 3284537"/>
                    <a:gd name="connsiteY25" fmla="*/ 1865312 h 3648075"/>
                    <a:gd name="connsiteX26" fmla="*/ 3270250 w 3284537"/>
                    <a:gd name="connsiteY26" fmla="*/ 1665287 h 3648075"/>
                    <a:gd name="connsiteX27" fmla="*/ 3079750 w 3284537"/>
                    <a:gd name="connsiteY27" fmla="*/ 1779587 h 3648075"/>
                    <a:gd name="connsiteX28" fmla="*/ 2955925 w 3284537"/>
                    <a:gd name="connsiteY28" fmla="*/ 1941512 h 3648075"/>
                    <a:gd name="connsiteX29" fmla="*/ 2984500 w 3284537"/>
                    <a:gd name="connsiteY29" fmla="*/ 1417637 h 3648075"/>
                    <a:gd name="connsiteX30" fmla="*/ 2889250 w 3284537"/>
                    <a:gd name="connsiteY30" fmla="*/ 1074737 h 3648075"/>
                    <a:gd name="connsiteX31" fmla="*/ 2870200 w 3284537"/>
                    <a:gd name="connsiteY31" fmla="*/ 779462 h 3648075"/>
                    <a:gd name="connsiteX32" fmla="*/ 2927350 w 3284537"/>
                    <a:gd name="connsiteY32" fmla="*/ 598487 h 3648075"/>
                    <a:gd name="connsiteX33" fmla="*/ 2879725 w 3284537"/>
                    <a:gd name="connsiteY33" fmla="*/ 131762 h 3648075"/>
                    <a:gd name="connsiteX0" fmla="*/ 2879725 w 3284537"/>
                    <a:gd name="connsiteY0" fmla="*/ 131762 h 3648075"/>
                    <a:gd name="connsiteX1" fmla="*/ 2289175 w 3284537"/>
                    <a:gd name="connsiteY1" fmla="*/ 112712 h 3648075"/>
                    <a:gd name="connsiteX2" fmla="*/ 1917700 w 3284537"/>
                    <a:gd name="connsiteY2" fmla="*/ 217487 h 3648075"/>
                    <a:gd name="connsiteX3" fmla="*/ 2060575 w 3284537"/>
                    <a:gd name="connsiteY3" fmla="*/ 55562 h 3648075"/>
                    <a:gd name="connsiteX4" fmla="*/ 1612900 w 3284537"/>
                    <a:gd name="connsiteY4" fmla="*/ 84137 h 3648075"/>
                    <a:gd name="connsiteX5" fmla="*/ 1155700 w 3284537"/>
                    <a:gd name="connsiteY5" fmla="*/ 560387 h 3648075"/>
                    <a:gd name="connsiteX6" fmla="*/ 679450 w 3284537"/>
                    <a:gd name="connsiteY6" fmla="*/ 855662 h 3648075"/>
                    <a:gd name="connsiteX7" fmla="*/ 517525 w 3284537"/>
                    <a:gd name="connsiteY7" fmla="*/ 1008062 h 3648075"/>
                    <a:gd name="connsiteX8" fmla="*/ 393700 w 3284537"/>
                    <a:gd name="connsiteY8" fmla="*/ 1408112 h 3648075"/>
                    <a:gd name="connsiteX9" fmla="*/ 384175 w 3284537"/>
                    <a:gd name="connsiteY9" fmla="*/ 1550987 h 3648075"/>
                    <a:gd name="connsiteX10" fmla="*/ 203200 w 3284537"/>
                    <a:gd name="connsiteY10" fmla="*/ 1331912 h 3648075"/>
                    <a:gd name="connsiteX11" fmla="*/ 31750 w 3284537"/>
                    <a:gd name="connsiteY11" fmla="*/ 1074737 h 3648075"/>
                    <a:gd name="connsiteX12" fmla="*/ 22225 w 3284537"/>
                    <a:gd name="connsiteY12" fmla="*/ 1474787 h 3648075"/>
                    <a:gd name="connsiteX13" fmla="*/ 165100 w 3284537"/>
                    <a:gd name="connsiteY13" fmla="*/ 1808162 h 3648075"/>
                    <a:gd name="connsiteX14" fmla="*/ 288925 w 3284537"/>
                    <a:gd name="connsiteY14" fmla="*/ 1903412 h 3648075"/>
                    <a:gd name="connsiteX15" fmla="*/ 374650 w 3284537"/>
                    <a:gd name="connsiteY15" fmla="*/ 2398712 h 3648075"/>
                    <a:gd name="connsiteX16" fmla="*/ 488950 w 3284537"/>
                    <a:gd name="connsiteY16" fmla="*/ 2874962 h 3648075"/>
                    <a:gd name="connsiteX17" fmla="*/ 812800 w 3284537"/>
                    <a:gd name="connsiteY17" fmla="*/ 3284537 h 3648075"/>
                    <a:gd name="connsiteX18" fmla="*/ 1222375 w 3284537"/>
                    <a:gd name="connsiteY18" fmla="*/ 3522662 h 3648075"/>
                    <a:gd name="connsiteX19" fmla="*/ 1927225 w 3284537"/>
                    <a:gd name="connsiteY19" fmla="*/ 3579812 h 3648075"/>
                    <a:gd name="connsiteX20" fmla="*/ 2451100 w 3284537"/>
                    <a:gd name="connsiteY20" fmla="*/ 3113087 h 3648075"/>
                    <a:gd name="connsiteX21" fmla="*/ 2660650 w 3284537"/>
                    <a:gd name="connsiteY21" fmla="*/ 2770187 h 3648075"/>
                    <a:gd name="connsiteX22" fmla="*/ 2822575 w 3284537"/>
                    <a:gd name="connsiteY22" fmla="*/ 2284412 h 3648075"/>
                    <a:gd name="connsiteX23" fmla="*/ 2974975 w 3284537"/>
                    <a:gd name="connsiteY23" fmla="*/ 2265362 h 3648075"/>
                    <a:gd name="connsiteX24" fmla="*/ 3165475 w 3284537"/>
                    <a:gd name="connsiteY24" fmla="*/ 1865312 h 3648075"/>
                    <a:gd name="connsiteX25" fmla="*/ 3270250 w 3284537"/>
                    <a:gd name="connsiteY25" fmla="*/ 1665287 h 3648075"/>
                    <a:gd name="connsiteX26" fmla="*/ 3079750 w 3284537"/>
                    <a:gd name="connsiteY26" fmla="*/ 1779587 h 3648075"/>
                    <a:gd name="connsiteX27" fmla="*/ 2955925 w 3284537"/>
                    <a:gd name="connsiteY27" fmla="*/ 1941512 h 3648075"/>
                    <a:gd name="connsiteX28" fmla="*/ 2984500 w 3284537"/>
                    <a:gd name="connsiteY28" fmla="*/ 1417637 h 3648075"/>
                    <a:gd name="connsiteX29" fmla="*/ 2889250 w 3284537"/>
                    <a:gd name="connsiteY29" fmla="*/ 1074737 h 3648075"/>
                    <a:gd name="connsiteX30" fmla="*/ 2870200 w 3284537"/>
                    <a:gd name="connsiteY30" fmla="*/ 779462 h 3648075"/>
                    <a:gd name="connsiteX31" fmla="*/ 2927350 w 3284537"/>
                    <a:gd name="connsiteY31" fmla="*/ 598487 h 3648075"/>
                    <a:gd name="connsiteX32" fmla="*/ 2879725 w 3284537"/>
                    <a:gd name="connsiteY32" fmla="*/ 131762 h 3648075"/>
                    <a:gd name="connsiteX0" fmla="*/ 2879725 w 3284537"/>
                    <a:gd name="connsiteY0" fmla="*/ 452651 h 3968964"/>
                    <a:gd name="connsiteX1" fmla="*/ 2289175 w 3284537"/>
                    <a:gd name="connsiteY1" fmla="*/ 433601 h 3968964"/>
                    <a:gd name="connsiteX2" fmla="*/ 1917700 w 3284537"/>
                    <a:gd name="connsiteY2" fmla="*/ 538376 h 3968964"/>
                    <a:gd name="connsiteX3" fmla="*/ 2060575 w 3284537"/>
                    <a:gd name="connsiteY3" fmla="*/ 376451 h 3968964"/>
                    <a:gd name="connsiteX4" fmla="*/ 1612900 w 3284537"/>
                    <a:gd name="connsiteY4" fmla="*/ 405026 h 3968964"/>
                    <a:gd name="connsiteX5" fmla="*/ 1099778 w 3284537"/>
                    <a:gd name="connsiteY5" fmla="*/ 128588 h 3968964"/>
                    <a:gd name="connsiteX6" fmla="*/ 679450 w 3284537"/>
                    <a:gd name="connsiteY6" fmla="*/ 1176551 h 3968964"/>
                    <a:gd name="connsiteX7" fmla="*/ 517525 w 3284537"/>
                    <a:gd name="connsiteY7" fmla="*/ 1328951 h 3968964"/>
                    <a:gd name="connsiteX8" fmla="*/ 393700 w 3284537"/>
                    <a:gd name="connsiteY8" fmla="*/ 1729001 h 3968964"/>
                    <a:gd name="connsiteX9" fmla="*/ 384175 w 3284537"/>
                    <a:gd name="connsiteY9" fmla="*/ 1871876 h 3968964"/>
                    <a:gd name="connsiteX10" fmla="*/ 203200 w 3284537"/>
                    <a:gd name="connsiteY10" fmla="*/ 1652801 h 3968964"/>
                    <a:gd name="connsiteX11" fmla="*/ 31750 w 3284537"/>
                    <a:gd name="connsiteY11" fmla="*/ 1395626 h 3968964"/>
                    <a:gd name="connsiteX12" fmla="*/ 22225 w 3284537"/>
                    <a:gd name="connsiteY12" fmla="*/ 1795676 h 3968964"/>
                    <a:gd name="connsiteX13" fmla="*/ 165100 w 3284537"/>
                    <a:gd name="connsiteY13" fmla="*/ 2129051 h 3968964"/>
                    <a:gd name="connsiteX14" fmla="*/ 288925 w 3284537"/>
                    <a:gd name="connsiteY14" fmla="*/ 2224301 h 3968964"/>
                    <a:gd name="connsiteX15" fmla="*/ 374650 w 3284537"/>
                    <a:gd name="connsiteY15" fmla="*/ 2719601 h 3968964"/>
                    <a:gd name="connsiteX16" fmla="*/ 488950 w 3284537"/>
                    <a:gd name="connsiteY16" fmla="*/ 3195851 h 3968964"/>
                    <a:gd name="connsiteX17" fmla="*/ 812800 w 3284537"/>
                    <a:gd name="connsiteY17" fmla="*/ 3605426 h 3968964"/>
                    <a:gd name="connsiteX18" fmla="*/ 1222375 w 3284537"/>
                    <a:gd name="connsiteY18" fmla="*/ 3843551 h 3968964"/>
                    <a:gd name="connsiteX19" fmla="*/ 1927225 w 3284537"/>
                    <a:gd name="connsiteY19" fmla="*/ 3900701 h 3968964"/>
                    <a:gd name="connsiteX20" fmla="*/ 2451100 w 3284537"/>
                    <a:gd name="connsiteY20" fmla="*/ 3433976 h 3968964"/>
                    <a:gd name="connsiteX21" fmla="*/ 2660650 w 3284537"/>
                    <a:gd name="connsiteY21" fmla="*/ 3091076 h 3968964"/>
                    <a:gd name="connsiteX22" fmla="*/ 2822575 w 3284537"/>
                    <a:gd name="connsiteY22" fmla="*/ 2605301 h 3968964"/>
                    <a:gd name="connsiteX23" fmla="*/ 2974975 w 3284537"/>
                    <a:gd name="connsiteY23" fmla="*/ 2586251 h 3968964"/>
                    <a:gd name="connsiteX24" fmla="*/ 3165475 w 3284537"/>
                    <a:gd name="connsiteY24" fmla="*/ 2186201 h 3968964"/>
                    <a:gd name="connsiteX25" fmla="*/ 3270250 w 3284537"/>
                    <a:gd name="connsiteY25" fmla="*/ 1986176 h 3968964"/>
                    <a:gd name="connsiteX26" fmla="*/ 3079750 w 3284537"/>
                    <a:gd name="connsiteY26" fmla="*/ 2100476 h 3968964"/>
                    <a:gd name="connsiteX27" fmla="*/ 2955925 w 3284537"/>
                    <a:gd name="connsiteY27" fmla="*/ 2262401 h 3968964"/>
                    <a:gd name="connsiteX28" fmla="*/ 2984500 w 3284537"/>
                    <a:gd name="connsiteY28" fmla="*/ 1738526 h 3968964"/>
                    <a:gd name="connsiteX29" fmla="*/ 2889250 w 3284537"/>
                    <a:gd name="connsiteY29" fmla="*/ 1395626 h 3968964"/>
                    <a:gd name="connsiteX30" fmla="*/ 2870200 w 3284537"/>
                    <a:gd name="connsiteY30" fmla="*/ 1100351 h 3968964"/>
                    <a:gd name="connsiteX31" fmla="*/ 2927350 w 3284537"/>
                    <a:gd name="connsiteY31" fmla="*/ 919376 h 3968964"/>
                    <a:gd name="connsiteX32" fmla="*/ 2879725 w 3284537"/>
                    <a:gd name="connsiteY32" fmla="*/ 452651 h 3968964"/>
                    <a:gd name="connsiteX0" fmla="*/ 2879725 w 3284537"/>
                    <a:gd name="connsiteY0" fmla="*/ 452651 h 3968964"/>
                    <a:gd name="connsiteX1" fmla="*/ 2289175 w 3284537"/>
                    <a:gd name="connsiteY1" fmla="*/ 433601 h 3968964"/>
                    <a:gd name="connsiteX2" fmla="*/ 1917700 w 3284537"/>
                    <a:gd name="connsiteY2" fmla="*/ 538376 h 3968964"/>
                    <a:gd name="connsiteX3" fmla="*/ 2060575 w 3284537"/>
                    <a:gd name="connsiteY3" fmla="*/ 376451 h 3968964"/>
                    <a:gd name="connsiteX4" fmla="*/ 1612900 w 3284537"/>
                    <a:gd name="connsiteY4" fmla="*/ 405026 h 3968964"/>
                    <a:gd name="connsiteX5" fmla="*/ 1099778 w 3284537"/>
                    <a:gd name="connsiteY5" fmla="*/ 128588 h 3968964"/>
                    <a:gd name="connsiteX6" fmla="*/ 679450 w 3284537"/>
                    <a:gd name="connsiteY6" fmla="*/ 1176551 h 3968964"/>
                    <a:gd name="connsiteX7" fmla="*/ 517525 w 3284537"/>
                    <a:gd name="connsiteY7" fmla="*/ 1328951 h 3968964"/>
                    <a:gd name="connsiteX8" fmla="*/ 393700 w 3284537"/>
                    <a:gd name="connsiteY8" fmla="*/ 1729001 h 3968964"/>
                    <a:gd name="connsiteX9" fmla="*/ 384175 w 3284537"/>
                    <a:gd name="connsiteY9" fmla="*/ 1871876 h 3968964"/>
                    <a:gd name="connsiteX10" fmla="*/ 203200 w 3284537"/>
                    <a:gd name="connsiteY10" fmla="*/ 1652801 h 3968964"/>
                    <a:gd name="connsiteX11" fmla="*/ 31750 w 3284537"/>
                    <a:gd name="connsiteY11" fmla="*/ 1395626 h 3968964"/>
                    <a:gd name="connsiteX12" fmla="*/ 22225 w 3284537"/>
                    <a:gd name="connsiteY12" fmla="*/ 1795676 h 3968964"/>
                    <a:gd name="connsiteX13" fmla="*/ 165100 w 3284537"/>
                    <a:gd name="connsiteY13" fmla="*/ 2129051 h 3968964"/>
                    <a:gd name="connsiteX14" fmla="*/ 288925 w 3284537"/>
                    <a:gd name="connsiteY14" fmla="*/ 2224301 h 3968964"/>
                    <a:gd name="connsiteX15" fmla="*/ 374650 w 3284537"/>
                    <a:gd name="connsiteY15" fmla="*/ 2719601 h 3968964"/>
                    <a:gd name="connsiteX16" fmla="*/ 488950 w 3284537"/>
                    <a:gd name="connsiteY16" fmla="*/ 3195851 h 3968964"/>
                    <a:gd name="connsiteX17" fmla="*/ 812800 w 3284537"/>
                    <a:gd name="connsiteY17" fmla="*/ 3605426 h 3968964"/>
                    <a:gd name="connsiteX18" fmla="*/ 1222375 w 3284537"/>
                    <a:gd name="connsiteY18" fmla="*/ 3843551 h 3968964"/>
                    <a:gd name="connsiteX19" fmla="*/ 1927225 w 3284537"/>
                    <a:gd name="connsiteY19" fmla="*/ 3900701 h 3968964"/>
                    <a:gd name="connsiteX20" fmla="*/ 2451100 w 3284537"/>
                    <a:gd name="connsiteY20" fmla="*/ 3433976 h 3968964"/>
                    <a:gd name="connsiteX21" fmla="*/ 2660650 w 3284537"/>
                    <a:gd name="connsiteY21" fmla="*/ 3091076 h 3968964"/>
                    <a:gd name="connsiteX22" fmla="*/ 2822575 w 3284537"/>
                    <a:gd name="connsiteY22" fmla="*/ 2605301 h 3968964"/>
                    <a:gd name="connsiteX23" fmla="*/ 2974975 w 3284537"/>
                    <a:gd name="connsiteY23" fmla="*/ 2586251 h 3968964"/>
                    <a:gd name="connsiteX24" fmla="*/ 3165475 w 3284537"/>
                    <a:gd name="connsiteY24" fmla="*/ 2186201 h 3968964"/>
                    <a:gd name="connsiteX25" fmla="*/ 3270250 w 3284537"/>
                    <a:gd name="connsiteY25" fmla="*/ 1986176 h 3968964"/>
                    <a:gd name="connsiteX26" fmla="*/ 3079750 w 3284537"/>
                    <a:gd name="connsiteY26" fmla="*/ 2100476 h 3968964"/>
                    <a:gd name="connsiteX27" fmla="*/ 2955925 w 3284537"/>
                    <a:gd name="connsiteY27" fmla="*/ 2262401 h 3968964"/>
                    <a:gd name="connsiteX28" fmla="*/ 2984500 w 3284537"/>
                    <a:gd name="connsiteY28" fmla="*/ 1738526 h 3968964"/>
                    <a:gd name="connsiteX29" fmla="*/ 2889250 w 3284537"/>
                    <a:gd name="connsiteY29" fmla="*/ 1395626 h 3968964"/>
                    <a:gd name="connsiteX30" fmla="*/ 2870200 w 3284537"/>
                    <a:gd name="connsiteY30" fmla="*/ 1100351 h 3968964"/>
                    <a:gd name="connsiteX31" fmla="*/ 2927350 w 3284537"/>
                    <a:gd name="connsiteY31" fmla="*/ 919376 h 3968964"/>
                    <a:gd name="connsiteX32" fmla="*/ 2879725 w 3284537"/>
                    <a:gd name="connsiteY32" fmla="*/ 452651 h 3968964"/>
                    <a:gd name="connsiteX0" fmla="*/ 2879725 w 3284537"/>
                    <a:gd name="connsiteY0" fmla="*/ 387851 h 3904164"/>
                    <a:gd name="connsiteX1" fmla="*/ 2289175 w 3284537"/>
                    <a:gd name="connsiteY1" fmla="*/ 368801 h 3904164"/>
                    <a:gd name="connsiteX2" fmla="*/ 1917700 w 3284537"/>
                    <a:gd name="connsiteY2" fmla="*/ 473576 h 3904164"/>
                    <a:gd name="connsiteX3" fmla="*/ 2060575 w 3284537"/>
                    <a:gd name="connsiteY3" fmla="*/ 311651 h 3904164"/>
                    <a:gd name="connsiteX4" fmla="*/ 1612900 w 3284537"/>
                    <a:gd name="connsiteY4" fmla="*/ 340226 h 3904164"/>
                    <a:gd name="connsiteX5" fmla="*/ 944261 w 3284537"/>
                    <a:gd name="connsiteY5" fmla="*/ 128587 h 3904164"/>
                    <a:gd name="connsiteX6" fmla="*/ 679450 w 3284537"/>
                    <a:gd name="connsiteY6" fmla="*/ 1111751 h 3904164"/>
                    <a:gd name="connsiteX7" fmla="*/ 517525 w 3284537"/>
                    <a:gd name="connsiteY7" fmla="*/ 1264151 h 3904164"/>
                    <a:gd name="connsiteX8" fmla="*/ 393700 w 3284537"/>
                    <a:gd name="connsiteY8" fmla="*/ 1664201 h 3904164"/>
                    <a:gd name="connsiteX9" fmla="*/ 384175 w 3284537"/>
                    <a:gd name="connsiteY9" fmla="*/ 1807076 h 3904164"/>
                    <a:gd name="connsiteX10" fmla="*/ 203200 w 3284537"/>
                    <a:gd name="connsiteY10" fmla="*/ 1588001 h 3904164"/>
                    <a:gd name="connsiteX11" fmla="*/ 31750 w 3284537"/>
                    <a:gd name="connsiteY11" fmla="*/ 1330826 h 3904164"/>
                    <a:gd name="connsiteX12" fmla="*/ 22225 w 3284537"/>
                    <a:gd name="connsiteY12" fmla="*/ 1730876 h 3904164"/>
                    <a:gd name="connsiteX13" fmla="*/ 165100 w 3284537"/>
                    <a:gd name="connsiteY13" fmla="*/ 2064251 h 3904164"/>
                    <a:gd name="connsiteX14" fmla="*/ 288925 w 3284537"/>
                    <a:gd name="connsiteY14" fmla="*/ 2159501 h 3904164"/>
                    <a:gd name="connsiteX15" fmla="*/ 374650 w 3284537"/>
                    <a:gd name="connsiteY15" fmla="*/ 2654801 h 3904164"/>
                    <a:gd name="connsiteX16" fmla="*/ 488950 w 3284537"/>
                    <a:gd name="connsiteY16" fmla="*/ 3131051 h 3904164"/>
                    <a:gd name="connsiteX17" fmla="*/ 812800 w 3284537"/>
                    <a:gd name="connsiteY17" fmla="*/ 3540626 h 3904164"/>
                    <a:gd name="connsiteX18" fmla="*/ 1222375 w 3284537"/>
                    <a:gd name="connsiteY18" fmla="*/ 3778751 h 3904164"/>
                    <a:gd name="connsiteX19" fmla="*/ 1927225 w 3284537"/>
                    <a:gd name="connsiteY19" fmla="*/ 3835901 h 3904164"/>
                    <a:gd name="connsiteX20" fmla="*/ 2451100 w 3284537"/>
                    <a:gd name="connsiteY20" fmla="*/ 3369176 h 3904164"/>
                    <a:gd name="connsiteX21" fmla="*/ 2660650 w 3284537"/>
                    <a:gd name="connsiteY21" fmla="*/ 3026276 h 3904164"/>
                    <a:gd name="connsiteX22" fmla="*/ 2822575 w 3284537"/>
                    <a:gd name="connsiteY22" fmla="*/ 2540501 h 3904164"/>
                    <a:gd name="connsiteX23" fmla="*/ 2974975 w 3284537"/>
                    <a:gd name="connsiteY23" fmla="*/ 2521451 h 3904164"/>
                    <a:gd name="connsiteX24" fmla="*/ 3165475 w 3284537"/>
                    <a:gd name="connsiteY24" fmla="*/ 2121401 h 3904164"/>
                    <a:gd name="connsiteX25" fmla="*/ 3270250 w 3284537"/>
                    <a:gd name="connsiteY25" fmla="*/ 1921376 h 3904164"/>
                    <a:gd name="connsiteX26" fmla="*/ 3079750 w 3284537"/>
                    <a:gd name="connsiteY26" fmla="*/ 2035676 h 3904164"/>
                    <a:gd name="connsiteX27" fmla="*/ 2955925 w 3284537"/>
                    <a:gd name="connsiteY27" fmla="*/ 2197601 h 3904164"/>
                    <a:gd name="connsiteX28" fmla="*/ 2984500 w 3284537"/>
                    <a:gd name="connsiteY28" fmla="*/ 1673726 h 3904164"/>
                    <a:gd name="connsiteX29" fmla="*/ 2889250 w 3284537"/>
                    <a:gd name="connsiteY29" fmla="*/ 1330826 h 3904164"/>
                    <a:gd name="connsiteX30" fmla="*/ 2870200 w 3284537"/>
                    <a:gd name="connsiteY30" fmla="*/ 1035551 h 3904164"/>
                    <a:gd name="connsiteX31" fmla="*/ 2927350 w 3284537"/>
                    <a:gd name="connsiteY31" fmla="*/ 854576 h 3904164"/>
                    <a:gd name="connsiteX32" fmla="*/ 2879725 w 3284537"/>
                    <a:gd name="connsiteY32" fmla="*/ 387851 h 3904164"/>
                    <a:gd name="connsiteX0" fmla="*/ 2879725 w 3284537"/>
                    <a:gd name="connsiteY0" fmla="*/ 387852 h 3904165"/>
                    <a:gd name="connsiteX1" fmla="*/ 2289175 w 3284537"/>
                    <a:gd name="connsiteY1" fmla="*/ 368802 h 3904165"/>
                    <a:gd name="connsiteX2" fmla="*/ 1917700 w 3284537"/>
                    <a:gd name="connsiteY2" fmla="*/ 473577 h 3904165"/>
                    <a:gd name="connsiteX3" fmla="*/ 2060575 w 3284537"/>
                    <a:gd name="connsiteY3" fmla="*/ 311652 h 3904165"/>
                    <a:gd name="connsiteX4" fmla="*/ 1612900 w 3284537"/>
                    <a:gd name="connsiteY4" fmla="*/ 340227 h 3904165"/>
                    <a:gd name="connsiteX5" fmla="*/ 944261 w 3284537"/>
                    <a:gd name="connsiteY5" fmla="*/ 128588 h 3904165"/>
                    <a:gd name="connsiteX6" fmla="*/ 884481 w 3284537"/>
                    <a:gd name="connsiteY6" fmla="*/ 901499 h 3904165"/>
                    <a:gd name="connsiteX7" fmla="*/ 517525 w 3284537"/>
                    <a:gd name="connsiteY7" fmla="*/ 1264152 h 3904165"/>
                    <a:gd name="connsiteX8" fmla="*/ 393700 w 3284537"/>
                    <a:gd name="connsiteY8" fmla="*/ 1664202 h 3904165"/>
                    <a:gd name="connsiteX9" fmla="*/ 384175 w 3284537"/>
                    <a:gd name="connsiteY9" fmla="*/ 1807077 h 3904165"/>
                    <a:gd name="connsiteX10" fmla="*/ 203200 w 3284537"/>
                    <a:gd name="connsiteY10" fmla="*/ 1588002 h 3904165"/>
                    <a:gd name="connsiteX11" fmla="*/ 31750 w 3284537"/>
                    <a:gd name="connsiteY11" fmla="*/ 1330827 h 3904165"/>
                    <a:gd name="connsiteX12" fmla="*/ 22225 w 3284537"/>
                    <a:gd name="connsiteY12" fmla="*/ 1730877 h 3904165"/>
                    <a:gd name="connsiteX13" fmla="*/ 165100 w 3284537"/>
                    <a:gd name="connsiteY13" fmla="*/ 2064252 h 3904165"/>
                    <a:gd name="connsiteX14" fmla="*/ 288925 w 3284537"/>
                    <a:gd name="connsiteY14" fmla="*/ 2159502 h 3904165"/>
                    <a:gd name="connsiteX15" fmla="*/ 374650 w 3284537"/>
                    <a:gd name="connsiteY15" fmla="*/ 2654802 h 3904165"/>
                    <a:gd name="connsiteX16" fmla="*/ 488950 w 3284537"/>
                    <a:gd name="connsiteY16" fmla="*/ 3131052 h 3904165"/>
                    <a:gd name="connsiteX17" fmla="*/ 812800 w 3284537"/>
                    <a:gd name="connsiteY17" fmla="*/ 3540627 h 3904165"/>
                    <a:gd name="connsiteX18" fmla="*/ 1222375 w 3284537"/>
                    <a:gd name="connsiteY18" fmla="*/ 3778752 h 3904165"/>
                    <a:gd name="connsiteX19" fmla="*/ 1927225 w 3284537"/>
                    <a:gd name="connsiteY19" fmla="*/ 3835902 h 3904165"/>
                    <a:gd name="connsiteX20" fmla="*/ 2451100 w 3284537"/>
                    <a:gd name="connsiteY20" fmla="*/ 3369177 h 3904165"/>
                    <a:gd name="connsiteX21" fmla="*/ 2660650 w 3284537"/>
                    <a:gd name="connsiteY21" fmla="*/ 3026277 h 3904165"/>
                    <a:gd name="connsiteX22" fmla="*/ 2822575 w 3284537"/>
                    <a:gd name="connsiteY22" fmla="*/ 2540502 h 3904165"/>
                    <a:gd name="connsiteX23" fmla="*/ 2974975 w 3284537"/>
                    <a:gd name="connsiteY23" fmla="*/ 2521452 h 3904165"/>
                    <a:gd name="connsiteX24" fmla="*/ 3165475 w 3284537"/>
                    <a:gd name="connsiteY24" fmla="*/ 2121402 h 3904165"/>
                    <a:gd name="connsiteX25" fmla="*/ 3270250 w 3284537"/>
                    <a:gd name="connsiteY25" fmla="*/ 1921377 h 3904165"/>
                    <a:gd name="connsiteX26" fmla="*/ 3079750 w 3284537"/>
                    <a:gd name="connsiteY26" fmla="*/ 2035677 h 3904165"/>
                    <a:gd name="connsiteX27" fmla="*/ 2955925 w 3284537"/>
                    <a:gd name="connsiteY27" fmla="*/ 2197602 h 3904165"/>
                    <a:gd name="connsiteX28" fmla="*/ 2984500 w 3284537"/>
                    <a:gd name="connsiteY28" fmla="*/ 1673727 h 3904165"/>
                    <a:gd name="connsiteX29" fmla="*/ 2889250 w 3284537"/>
                    <a:gd name="connsiteY29" fmla="*/ 1330827 h 3904165"/>
                    <a:gd name="connsiteX30" fmla="*/ 2870200 w 3284537"/>
                    <a:gd name="connsiteY30" fmla="*/ 1035552 h 3904165"/>
                    <a:gd name="connsiteX31" fmla="*/ 2927350 w 3284537"/>
                    <a:gd name="connsiteY31" fmla="*/ 854577 h 3904165"/>
                    <a:gd name="connsiteX32" fmla="*/ 2879725 w 3284537"/>
                    <a:gd name="connsiteY32" fmla="*/ 387852 h 3904165"/>
                    <a:gd name="connsiteX0" fmla="*/ 2879725 w 3284537"/>
                    <a:gd name="connsiteY0" fmla="*/ 387852 h 3904165"/>
                    <a:gd name="connsiteX1" fmla="*/ 2289175 w 3284537"/>
                    <a:gd name="connsiteY1" fmla="*/ 368802 h 3904165"/>
                    <a:gd name="connsiteX2" fmla="*/ 1917700 w 3284537"/>
                    <a:gd name="connsiteY2" fmla="*/ 473577 h 3904165"/>
                    <a:gd name="connsiteX3" fmla="*/ 2060575 w 3284537"/>
                    <a:gd name="connsiteY3" fmla="*/ 311652 h 3904165"/>
                    <a:gd name="connsiteX4" fmla="*/ 1612900 w 3284537"/>
                    <a:gd name="connsiteY4" fmla="*/ 340227 h 3904165"/>
                    <a:gd name="connsiteX5" fmla="*/ 944261 w 3284537"/>
                    <a:gd name="connsiteY5" fmla="*/ 128588 h 3904165"/>
                    <a:gd name="connsiteX6" fmla="*/ 884481 w 3284537"/>
                    <a:gd name="connsiteY6" fmla="*/ 901499 h 3904165"/>
                    <a:gd name="connsiteX7" fmla="*/ 517525 w 3284537"/>
                    <a:gd name="connsiteY7" fmla="*/ 1264152 h 3904165"/>
                    <a:gd name="connsiteX8" fmla="*/ 393700 w 3284537"/>
                    <a:gd name="connsiteY8" fmla="*/ 1664202 h 3904165"/>
                    <a:gd name="connsiteX9" fmla="*/ 384175 w 3284537"/>
                    <a:gd name="connsiteY9" fmla="*/ 1807077 h 3904165"/>
                    <a:gd name="connsiteX10" fmla="*/ 203200 w 3284537"/>
                    <a:gd name="connsiteY10" fmla="*/ 1588002 h 3904165"/>
                    <a:gd name="connsiteX11" fmla="*/ 31750 w 3284537"/>
                    <a:gd name="connsiteY11" fmla="*/ 1330827 h 3904165"/>
                    <a:gd name="connsiteX12" fmla="*/ 22225 w 3284537"/>
                    <a:gd name="connsiteY12" fmla="*/ 1730877 h 3904165"/>
                    <a:gd name="connsiteX13" fmla="*/ 165100 w 3284537"/>
                    <a:gd name="connsiteY13" fmla="*/ 2064252 h 3904165"/>
                    <a:gd name="connsiteX14" fmla="*/ 288925 w 3284537"/>
                    <a:gd name="connsiteY14" fmla="*/ 2159502 h 3904165"/>
                    <a:gd name="connsiteX15" fmla="*/ 374650 w 3284537"/>
                    <a:gd name="connsiteY15" fmla="*/ 2654802 h 3904165"/>
                    <a:gd name="connsiteX16" fmla="*/ 488950 w 3284537"/>
                    <a:gd name="connsiteY16" fmla="*/ 3131052 h 3904165"/>
                    <a:gd name="connsiteX17" fmla="*/ 812800 w 3284537"/>
                    <a:gd name="connsiteY17" fmla="*/ 3540627 h 3904165"/>
                    <a:gd name="connsiteX18" fmla="*/ 1222375 w 3284537"/>
                    <a:gd name="connsiteY18" fmla="*/ 3778752 h 3904165"/>
                    <a:gd name="connsiteX19" fmla="*/ 1927225 w 3284537"/>
                    <a:gd name="connsiteY19" fmla="*/ 3835902 h 3904165"/>
                    <a:gd name="connsiteX20" fmla="*/ 2451100 w 3284537"/>
                    <a:gd name="connsiteY20" fmla="*/ 3369177 h 3904165"/>
                    <a:gd name="connsiteX21" fmla="*/ 2660650 w 3284537"/>
                    <a:gd name="connsiteY21" fmla="*/ 3026277 h 3904165"/>
                    <a:gd name="connsiteX22" fmla="*/ 2822575 w 3284537"/>
                    <a:gd name="connsiteY22" fmla="*/ 2540502 h 3904165"/>
                    <a:gd name="connsiteX23" fmla="*/ 2974975 w 3284537"/>
                    <a:gd name="connsiteY23" fmla="*/ 2521452 h 3904165"/>
                    <a:gd name="connsiteX24" fmla="*/ 3165475 w 3284537"/>
                    <a:gd name="connsiteY24" fmla="*/ 2121402 h 3904165"/>
                    <a:gd name="connsiteX25" fmla="*/ 3270250 w 3284537"/>
                    <a:gd name="connsiteY25" fmla="*/ 1921377 h 3904165"/>
                    <a:gd name="connsiteX26" fmla="*/ 3079750 w 3284537"/>
                    <a:gd name="connsiteY26" fmla="*/ 2035677 h 3904165"/>
                    <a:gd name="connsiteX27" fmla="*/ 2955925 w 3284537"/>
                    <a:gd name="connsiteY27" fmla="*/ 2197602 h 3904165"/>
                    <a:gd name="connsiteX28" fmla="*/ 2984500 w 3284537"/>
                    <a:gd name="connsiteY28" fmla="*/ 1673727 h 3904165"/>
                    <a:gd name="connsiteX29" fmla="*/ 2889250 w 3284537"/>
                    <a:gd name="connsiteY29" fmla="*/ 1330827 h 3904165"/>
                    <a:gd name="connsiteX30" fmla="*/ 2870200 w 3284537"/>
                    <a:gd name="connsiteY30" fmla="*/ 1035552 h 3904165"/>
                    <a:gd name="connsiteX31" fmla="*/ 2927350 w 3284537"/>
                    <a:gd name="connsiteY31" fmla="*/ 854577 h 3904165"/>
                    <a:gd name="connsiteX32" fmla="*/ 2879725 w 3284537"/>
                    <a:gd name="connsiteY32" fmla="*/ 387852 h 3904165"/>
                    <a:gd name="connsiteX0" fmla="*/ 2879725 w 3284537"/>
                    <a:gd name="connsiteY0" fmla="*/ 387852 h 3904165"/>
                    <a:gd name="connsiteX1" fmla="*/ 2289175 w 3284537"/>
                    <a:gd name="connsiteY1" fmla="*/ 368802 h 3904165"/>
                    <a:gd name="connsiteX2" fmla="*/ 1917700 w 3284537"/>
                    <a:gd name="connsiteY2" fmla="*/ 473577 h 3904165"/>
                    <a:gd name="connsiteX3" fmla="*/ 2060575 w 3284537"/>
                    <a:gd name="connsiteY3" fmla="*/ 311652 h 3904165"/>
                    <a:gd name="connsiteX4" fmla="*/ 1612900 w 3284537"/>
                    <a:gd name="connsiteY4" fmla="*/ 340227 h 3904165"/>
                    <a:gd name="connsiteX5" fmla="*/ 944261 w 3284537"/>
                    <a:gd name="connsiteY5" fmla="*/ 128588 h 3904165"/>
                    <a:gd name="connsiteX6" fmla="*/ 851016 w 3284537"/>
                    <a:gd name="connsiteY6" fmla="*/ 788539 h 3904165"/>
                    <a:gd name="connsiteX7" fmla="*/ 517525 w 3284537"/>
                    <a:gd name="connsiteY7" fmla="*/ 1264152 h 3904165"/>
                    <a:gd name="connsiteX8" fmla="*/ 393700 w 3284537"/>
                    <a:gd name="connsiteY8" fmla="*/ 1664202 h 3904165"/>
                    <a:gd name="connsiteX9" fmla="*/ 384175 w 3284537"/>
                    <a:gd name="connsiteY9" fmla="*/ 1807077 h 3904165"/>
                    <a:gd name="connsiteX10" fmla="*/ 203200 w 3284537"/>
                    <a:gd name="connsiteY10" fmla="*/ 1588002 h 3904165"/>
                    <a:gd name="connsiteX11" fmla="*/ 31750 w 3284537"/>
                    <a:gd name="connsiteY11" fmla="*/ 1330827 h 3904165"/>
                    <a:gd name="connsiteX12" fmla="*/ 22225 w 3284537"/>
                    <a:gd name="connsiteY12" fmla="*/ 1730877 h 3904165"/>
                    <a:gd name="connsiteX13" fmla="*/ 165100 w 3284537"/>
                    <a:gd name="connsiteY13" fmla="*/ 2064252 h 3904165"/>
                    <a:gd name="connsiteX14" fmla="*/ 288925 w 3284537"/>
                    <a:gd name="connsiteY14" fmla="*/ 2159502 h 3904165"/>
                    <a:gd name="connsiteX15" fmla="*/ 374650 w 3284537"/>
                    <a:gd name="connsiteY15" fmla="*/ 2654802 h 3904165"/>
                    <a:gd name="connsiteX16" fmla="*/ 488950 w 3284537"/>
                    <a:gd name="connsiteY16" fmla="*/ 3131052 h 3904165"/>
                    <a:gd name="connsiteX17" fmla="*/ 812800 w 3284537"/>
                    <a:gd name="connsiteY17" fmla="*/ 3540627 h 3904165"/>
                    <a:gd name="connsiteX18" fmla="*/ 1222375 w 3284537"/>
                    <a:gd name="connsiteY18" fmla="*/ 3778752 h 3904165"/>
                    <a:gd name="connsiteX19" fmla="*/ 1927225 w 3284537"/>
                    <a:gd name="connsiteY19" fmla="*/ 3835902 h 3904165"/>
                    <a:gd name="connsiteX20" fmla="*/ 2451100 w 3284537"/>
                    <a:gd name="connsiteY20" fmla="*/ 3369177 h 3904165"/>
                    <a:gd name="connsiteX21" fmla="*/ 2660650 w 3284537"/>
                    <a:gd name="connsiteY21" fmla="*/ 3026277 h 3904165"/>
                    <a:gd name="connsiteX22" fmla="*/ 2822575 w 3284537"/>
                    <a:gd name="connsiteY22" fmla="*/ 2540502 h 3904165"/>
                    <a:gd name="connsiteX23" fmla="*/ 2974975 w 3284537"/>
                    <a:gd name="connsiteY23" fmla="*/ 2521452 h 3904165"/>
                    <a:gd name="connsiteX24" fmla="*/ 3165475 w 3284537"/>
                    <a:gd name="connsiteY24" fmla="*/ 2121402 h 3904165"/>
                    <a:gd name="connsiteX25" fmla="*/ 3270250 w 3284537"/>
                    <a:gd name="connsiteY25" fmla="*/ 1921377 h 3904165"/>
                    <a:gd name="connsiteX26" fmla="*/ 3079750 w 3284537"/>
                    <a:gd name="connsiteY26" fmla="*/ 2035677 h 3904165"/>
                    <a:gd name="connsiteX27" fmla="*/ 2955925 w 3284537"/>
                    <a:gd name="connsiteY27" fmla="*/ 2197602 h 3904165"/>
                    <a:gd name="connsiteX28" fmla="*/ 2984500 w 3284537"/>
                    <a:gd name="connsiteY28" fmla="*/ 1673727 h 3904165"/>
                    <a:gd name="connsiteX29" fmla="*/ 2889250 w 3284537"/>
                    <a:gd name="connsiteY29" fmla="*/ 1330827 h 3904165"/>
                    <a:gd name="connsiteX30" fmla="*/ 2870200 w 3284537"/>
                    <a:gd name="connsiteY30" fmla="*/ 1035552 h 3904165"/>
                    <a:gd name="connsiteX31" fmla="*/ 2927350 w 3284537"/>
                    <a:gd name="connsiteY31" fmla="*/ 854577 h 3904165"/>
                    <a:gd name="connsiteX32" fmla="*/ 2879725 w 3284537"/>
                    <a:gd name="connsiteY32" fmla="*/ 387852 h 3904165"/>
                    <a:gd name="connsiteX0" fmla="*/ 2879725 w 3284537"/>
                    <a:gd name="connsiteY0" fmla="*/ 387852 h 3904165"/>
                    <a:gd name="connsiteX1" fmla="*/ 2289175 w 3284537"/>
                    <a:gd name="connsiteY1" fmla="*/ 368802 h 3904165"/>
                    <a:gd name="connsiteX2" fmla="*/ 1917700 w 3284537"/>
                    <a:gd name="connsiteY2" fmla="*/ 473577 h 3904165"/>
                    <a:gd name="connsiteX3" fmla="*/ 2060575 w 3284537"/>
                    <a:gd name="connsiteY3" fmla="*/ 311652 h 3904165"/>
                    <a:gd name="connsiteX4" fmla="*/ 1612900 w 3284537"/>
                    <a:gd name="connsiteY4" fmla="*/ 340227 h 3904165"/>
                    <a:gd name="connsiteX5" fmla="*/ 944261 w 3284537"/>
                    <a:gd name="connsiteY5" fmla="*/ 128588 h 3904165"/>
                    <a:gd name="connsiteX6" fmla="*/ 851016 w 3284537"/>
                    <a:gd name="connsiteY6" fmla="*/ 788539 h 3904165"/>
                    <a:gd name="connsiteX7" fmla="*/ 517525 w 3284537"/>
                    <a:gd name="connsiteY7" fmla="*/ 1264152 h 3904165"/>
                    <a:gd name="connsiteX8" fmla="*/ 393700 w 3284537"/>
                    <a:gd name="connsiteY8" fmla="*/ 1664202 h 3904165"/>
                    <a:gd name="connsiteX9" fmla="*/ 384175 w 3284537"/>
                    <a:gd name="connsiteY9" fmla="*/ 1807077 h 3904165"/>
                    <a:gd name="connsiteX10" fmla="*/ 203200 w 3284537"/>
                    <a:gd name="connsiteY10" fmla="*/ 1588002 h 3904165"/>
                    <a:gd name="connsiteX11" fmla="*/ 31750 w 3284537"/>
                    <a:gd name="connsiteY11" fmla="*/ 1330827 h 3904165"/>
                    <a:gd name="connsiteX12" fmla="*/ 22225 w 3284537"/>
                    <a:gd name="connsiteY12" fmla="*/ 1730877 h 3904165"/>
                    <a:gd name="connsiteX13" fmla="*/ 165100 w 3284537"/>
                    <a:gd name="connsiteY13" fmla="*/ 2064252 h 3904165"/>
                    <a:gd name="connsiteX14" fmla="*/ 288925 w 3284537"/>
                    <a:gd name="connsiteY14" fmla="*/ 2159502 h 3904165"/>
                    <a:gd name="connsiteX15" fmla="*/ 374650 w 3284537"/>
                    <a:gd name="connsiteY15" fmla="*/ 2654802 h 3904165"/>
                    <a:gd name="connsiteX16" fmla="*/ 488950 w 3284537"/>
                    <a:gd name="connsiteY16" fmla="*/ 3131052 h 3904165"/>
                    <a:gd name="connsiteX17" fmla="*/ 812800 w 3284537"/>
                    <a:gd name="connsiteY17" fmla="*/ 3540627 h 3904165"/>
                    <a:gd name="connsiteX18" fmla="*/ 1222375 w 3284537"/>
                    <a:gd name="connsiteY18" fmla="*/ 3778752 h 3904165"/>
                    <a:gd name="connsiteX19" fmla="*/ 1927225 w 3284537"/>
                    <a:gd name="connsiteY19" fmla="*/ 3835902 h 3904165"/>
                    <a:gd name="connsiteX20" fmla="*/ 2451100 w 3284537"/>
                    <a:gd name="connsiteY20" fmla="*/ 3369177 h 3904165"/>
                    <a:gd name="connsiteX21" fmla="*/ 2660650 w 3284537"/>
                    <a:gd name="connsiteY21" fmla="*/ 3026277 h 3904165"/>
                    <a:gd name="connsiteX22" fmla="*/ 2822575 w 3284537"/>
                    <a:gd name="connsiteY22" fmla="*/ 2540502 h 3904165"/>
                    <a:gd name="connsiteX23" fmla="*/ 2974975 w 3284537"/>
                    <a:gd name="connsiteY23" fmla="*/ 2521452 h 3904165"/>
                    <a:gd name="connsiteX24" fmla="*/ 3165475 w 3284537"/>
                    <a:gd name="connsiteY24" fmla="*/ 2121402 h 3904165"/>
                    <a:gd name="connsiteX25" fmla="*/ 3270250 w 3284537"/>
                    <a:gd name="connsiteY25" fmla="*/ 1921377 h 3904165"/>
                    <a:gd name="connsiteX26" fmla="*/ 3079750 w 3284537"/>
                    <a:gd name="connsiteY26" fmla="*/ 2035677 h 3904165"/>
                    <a:gd name="connsiteX27" fmla="*/ 2955925 w 3284537"/>
                    <a:gd name="connsiteY27" fmla="*/ 2197602 h 3904165"/>
                    <a:gd name="connsiteX28" fmla="*/ 2984500 w 3284537"/>
                    <a:gd name="connsiteY28" fmla="*/ 1673727 h 3904165"/>
                    <a:gd name="connsiteX29" fmla="*/ 2889250 w 3284537"/>
                    <a:gd name="connsiteY29" fmla="*/ 1330827 h 3904165"/>
                    <a:gd name="connsiteX30" fmla="*/ 2870200 w 3284537"/>
                    <a:gd name="connsiteY30" fmla="*/ 1035552 h 3904165"/>
                    <a:gd name="connsiteX31" fmla="*/ 2927350 w 3284537"/>
                    <a:gd name="connsiteY31" fmla="*/ 854577 h 3904165"/>
                    <a:gd name="connsiteX32" fmla="*/ 2879725 w 3284537"/>
                    <a:gd name="connsiteY32" fmla="*/ 387852 h 3904165"/>
                    <a:gd name="connsiteX0" fmla="*/ 2879725 w 3284537"/>
                    <a:gd name="connsiteY0" fmla="*/ 387852 h 3904165"/>
                    <a:gd name="connsiteX1" fmla="*/ 2289175 w 3284537"/>
                    <a:gd name="connsiteY1" fmla="*/ 368802 h 3904165"/>
                    <a:gd name="connsiteX2" fmla="*/ 1917700 w 3284537"/>
                    <a:gd name="connsiteY2" fmla="*/ 473577 h 3904165"/>
                    <a:gd name="connsiteX3" fmla="*/ 2060575 w 3284537"/>
                    <a:gd name="connsiteY3" fmla="*/ 311652 h 3904165"/>
                    <a:gd name="connsiteX4" fmla="*/ 1612900 w 3284537"/>
                    <a:gd name="connsiteY4" fmla="*/ 340227 h 3904165"/>
                    <a:gd name="connsiteX5" fmla="*/ 944261 w 3284537"/>
                    <a:gd name="connsiteY5" fmla="*/ 128588 h 3904165"/>
                    <a:gd name="connsiteX6" fmla="*/ 851016 w 3284537"/>
                    <a:gd name="connsiteY6" fmla="*/ 788539 h 3904165"/>
                    <a:gd name="connsiteX7" fmla="*/ 517525 w 3284537"/>
                    <a:gd name="connsiteY7" fmla="*/ 1264152 h 3904165"/>
                    <a:gd name="connsiteX8" fmla="*/ 393700 w 3284537"/>
                    <a:gd name="connsiteY8" fmla="*/ 1664202 h 3904165"/>
                    <a:gd name="connsiteX9" fmla="*/ 384175 w 3284537"/>
                    <a:gd name="connsiteY9" fmla="*/ 1807077 h 3904165"/>
                    <a:gd name="connsiteX10" fmla="*/ 203200 w 3284537"/>
                    <a:gd name="connsiteY10" fmla="*/ 1588002 h 3904165"/>
                    <a:gd name="connsiteX11" fmla="*/ 31750 w 3284537"/>
                    <a:gd name="connsiteY11" fmla="*/ 1330827 h 3904165"/>
                    <a:gd name="connsiteX12" fmla="*/ 22225 w 3284537"/>
                    <a:gd name="connsiteY12" fmla="*/ 1730877 h 3904165"/>
                    <a:gd name="connsiteX13" fmla="*/ 165100 w 3284537"/>
                    <a:gd name="connsiteY13" fmla="*/ 2064252 h 3904165"/>
                    <a:gd name="connsiteX14" fmla="*/ 288925 w 3284537"/>
                    <a:gd name="connsiteY14" fmla="*/ 2159502 h 3904165"/>
                    <a:gd name="connsiteX15" fmla="*/ 374650 w 3284537"/>
                    <a:gd name="connsiteY15" fmla="*/ 2654802 h 3904165"/>
                    <a:gd name="connsiteX16" fmla="*/ 488950 w 3284537"/>
                    <a:gd name="connsiteY16" fmla="*/ 3131052 h 3904165"/>
                    <a:gd name="connsiteX17" fmla="*/ 812800 w 3284537"/>
                    <a:gd name="connsiteY17" fmla="*/ 3540627 h 3904165"/>
                    <a:gd name="connsiteX18" fmla="*/ 1222375 w 3284537"/>
                    <a:gd name="connsiteY18" fmla="*/ 3778752 h 3904165"/>
                    <a:gd name="connsiteX19" fmla="*/ 1927225 w 3284537"/>
                    <a:gd name="connsiteY19" fmla="*/ 3835902 h 3904165"/>
                    <a:gd name="connsiteX20" fmla="*/ 2451100 w 3284537"/>
                    <a:gd name="connsiteY20" fmla="*/ 3369177 h 3904165"/>
                    <a:gd name="connsiteX21" fmla="*/ 2660650 w 3284537"/>
                    <a:gd name="connsiteY21" fmla="*/ 3026277 h 3904165"/>
                    <a:gd name="connsiteX22" fmla="*/ 2822575 w 3284537"/>
                    <a:gd name="connsiteY22" fmla="*/ 2540502 h 3904165"/>
                    <a:gd name="connsiteX23" fmla="*/ 2974975 w 3284537"/>
                    <a:gd name="connsiteY23" fmla="*/ 2521452 h 3904165"/>
                    <a:gd name="connsiteX24" fmla="*/ 3165475 w 3284537"/>
                    <a:gd name="connsiteY24" fmla="*/ 2121402 h 3904165"/>
                    <a:gd name="connsiteX25" fmla="*/ 3270250 w 3284537"/>
                    <a:gd name="connsiteY25" fmla="*/ 1921377 h 3904165"/>
                    <a:gd name="connsiteX26" fmla="*/ 3079750 w 3284537"/>
                    <a:gd name="connsiteY26" fmla="*/ 2035677 h 3904165"/>
                    <a:gd name="connsiteX27" fmla="*/ 2955925 w 3284537"/>
                    <a:gd name="connsiteY27" fmla="*/ 2197602 h 3904165"/>
                    <a:gd name="connsiteX28" fmla="*/ 2984500 w 3284537"/>
                    <a:gd name="connsiteY28" fmla="*/ 1673727 h 3904165"/>
                    <a:gd name="connsiteX29" fmla="*/ 2889250 w 3284537"/>
                    <a:gd name="connsiteY29" fmla="*/ 1330827 h 3904165"/>
                    <a:gd name="connsiteX30" fmla="*/ 2870200 w 3284537"/>
                    <a:gd name="connsiteY30" fmla="*/ 1035552 h 3904165"/>
                    <a:gd name="connsiteX31" fmla="*/ 2927350 w 3284537"/>
                    <a:gd name="connsiteY31" fmla="*/ 854577 h 3904165"/>
                    <a:gd name="connsiteX32" fmla="*/ 2879725 w 3284537"/>
                    <a:gd name="connsiteY32" fmla="*/ 387852 h 3904165"/>
                    <a:gd name="connsiteX0" fmla="*/ 2879725 w 3284537"/>
                    <a:gd name="connsiteY0" fmla="*/ 387852 h 3904165"/>
                    <a:gd name="connsiteX1" fmla="*/ 2289175 w 3284537"/>
                    <a:gd name="connsiteY1" fmla="*/ 368802 h 3904165"/>
                    <a:gd name="connsiteX2" fmla="*/ 1917700 w 3284537"/>
                    <a:gd name="connsiteY2" fmla="*/ 473577 h 3904165"/>
                    <a:gd name="connsiteX3" fmla="*/ 2060575 w 3284537"/>
                    <a:gd name="connsiteY3" fmla="*/ 311652 h 3904165"/>
                    <a:gd name="connsiteX4" fmla="*/ 1612900 w 3284537"/>
                    <a:gd name="connsiteY4" fmla="*/ 340227 h 3904165"/>
                    <a:gd name="connsiteX5" fmla="*/ 944261 w 3284537"/>
                    <a:gd name="connsiteY5" fmla="*/ 128588 h 3904165"/>
                    <a:gd name="connsiteX6" fmla="*/ 851016 w 3284537"/>
                    <a:gd name="connsiteY6" fmla="*/ 788539 h 3904165"/>
                    <a:gd name="connsiteX7" fmla="*/ 822302 w 3284537"/>
                    <a:gd name="connsiteY7" fmla="*/ 936858 h 3904165"/>
                    <a:gd name="connsiteX8" fmla="*/ 517525 w 3284537"/>
                    <a:gd name="connsiteY8" fmla="*/ 1264152 h 3904165"/>
                    <a:gd name="connsiteX9" fmla="*/ 393700 w 3284537"/>
                    <a:gd name="connsiteY9" fmla="*/ 1664202 h 3904165"/>
                    <a:gd name="connsiteX10" fmla="*/ 384175 w 3284537"/>
                    <a:gd name="connsiteY10" fmla="*/ 1807077 h 3904165"/>
                    <a:gd name="connsiteX11" fmla="*/ 203200 w 3284537"/>
                    <a:gd name="connsiteY11" fmla="*/ 1588002 h 3904165"/>
                    <a:gd name="connsiteX12" fmla="*/ 31750 w 3284537"/>
                    <a:gd name="connsiteY12" fmla="*/ 1330827 h 3904165"/>
                    <a:gd name="connsiteX13" fmla="*/ 22225 w 3284537"/>
                    <a:gd name="connsiteY13" fmla="*/ 1730877 h 3904165"/>
                    <a:gd name="connsiteX14" fmla="*/ 165100 w 3284537"/>
                    <a:gd name="connsiteY14" fmla="*/ 2064252 h 3904165"/>
                    <a:gd name="connsiteX15" fmla="*/ 288925 w 3284537"/>
                    <a:gd name="connsiteY15" fmla="*/ 2159502 h 3904165"/>
                    <a:gd name="connsiteX16" fmla="*/ 374650 w 3284537"/>
                    <a:gd name="connsiteY16" fmla="*/ 2654802 h 3904165"/>
                    <a:gd name="connsiteX17" fmla="*/ 488950 w 3284537"/>
                    <a:gd name="connsiteY17" fmla="*/ 3131052 h 3904165"/>
                    <a:gd name="connsiteX18" fmla="*/ 812800 w 3284537"/>
                    <a:gd name="connsiteY18" fmla="*/ 3540627 h 3904165"/>
                    <a:gd name="connsiteX19" fmla="*/ 1222375 w 3284537"/>
                    <a:gd name="connsiteY19" fmla="*/ 3778752 h 3904165"/>
                    <a:gd name="connsiteX20" fmla="*/ 1927225 w 3284537"/>
                    <a:gd name="connsiteY20" fmla="*/ 3835902 h 3904165"/>
                    <a:gd name="connsiteX21" fmla="*/ 2451100 w 3284537"/>
                    <a:gd name="connsiteY21" fmla="*/ 3369177 h 3904165"/>
                    <a:gd name="connsiteX22" fmla="*/ 2660650 w 3284537"/>
                    <a:gd name="connsiteY22" fmla="*/ 3026277 h 3904165"/>
                    <a:gd name="connsiteX23" fmla="*/ 2822575 w 3284537"/>
                    <a:gd name="connsiteY23" fmla="*/ 2540502 h 3904165"/>
                    <a:gd name="connsiteX24" fmla="*/ 2974975 w 3284537"/>
                    <a:gd name="connsiteY24" fmla="*/ 2521452 h 3904165"/>
                    <a:gd name="connsiteX25" fmla="*/ 3165475 w 3284537"/>
                    <a:gd name="connsiteY25" fmla="*/ 2121402 h 3904165"/>
                    <a:gd name="connsiteX26" fmla="*/ 3270250 w 3284537"/>
                    <a:gd name="connsiteY26" fmla="*/ 1921377 h 3904165"/>
                    <a:gd name="connsiteX27" fmla="*/ 3079750 w 3284537"/>
                    <a:gd name="connsiteY27" fmla="*/ 2035677 h 3904165"/>
                    <a:gd name="connsiteX28" fmla="*/ 2955925 w 3284537"/>
                    <a:gd name="connsiteY28" fmla="*/ 2197602 h 3904165"/>
                    <a:gd name="connsiteX29" fmla="*/ 2984500 w 3284537"/>
                    <a:gd name="connsiteY29" fmla="*/ 1673727 h 3904165"/>
                    <a:gd name="connsiteX30" fmla="*/ 2889250 w 3284537"/>
                    <a:gd name="connsiteY30" fmla="*/ 1330827 h 3904165"/>
                    <a:gd name="connsiteX31" fmla="*/ 2870200 w 3284537"/>
                    <a:gd name="connsiteY31" fmla="*/ 1035552 h 3904165"/>
                    <a:gd name="connsiteX32" fmla="*/ 2927350 w 3284537"/>
                    <a:gd name="connsiteY32" fmla="*/ 854577 h 3904165"/>
                    <a:gd name="connsiteX33" fmla="*/ 2879725 w 3284537"/>
                    <a:gd name="connsiteY33" fmla="*/ 387852 h 3904165"/>
                    <a:gd name="connsiteX0" fmla="*/ 2879725 w 3284537"/>
                    <a:gd name="connsiteY0" fmla="*/ 387852 h 3904165"/>
                    <a:gd name="connsiteX1" fmla="*/ 2289175 w 3284537"/>
                    <a:gd name="connsiteY1" fmla="*/ 368802 h 3904165"/>
                    <a:gd name="connsiteX2" fmla="*/ 1917700 w 3284537"/>
                    <a:gd name="connsiteY2" fmla="*/ 473577 h 3904165"/>
                    <a:gd name="connsiteX3" fmla="*/ 2060575 w 3284537"/>
                    <a:gd name="connsiteY3" fmla="*/ 311652 h 3904165"/>
                    <a:gd name="connsiteX4" fmla="*/ 1612900 w 3284537"/>
                    <a:gd name="connsiteY4" fmla="*/ 340227 h 3904165"/>
                    <a:gd name="connsiteX5" fmla="*/ 944261 w 3284537"/>
                    <a:gd name="connsiteY5" fmla="*/ 128588 h 3904165"/>
                    <a:gd name="connsiteX6" fmla="*/ 851016 w 3284537"/>
                    <a:gd name="connsiteY6" fmla="*/ 788539 h 3904165"/>
                    <a:gd name="connsiteX7" fmla="*/ 822302 w 3284537"/>
                    <a:gd name="connsiteY7" fmla="*/ 936858 h 3904165"/>
                    <a:gd name="connsiteX8" fmla="*/ 517525 w 3284537"/>
                    <a:gd name="connsiteY8" fmla="*/ 1264152 h 3904165"/>
                    <a:gd name="connsiteX9" fmla="*/ 393700 w 3284537"/>
                    <a:gd name="connsiteY9" fmla="*/ 1664202 h 3904165"/>
                    <a:gd name="connsiteX10" fmla="*/ 384175 w 3284537"/>
                    <a:gd name="connsiteY10" fmla="*/ 1807077 h 3904165"/>
                    <a:gd name="connsiteX11" fmla="*/ 203200 w 3284537"/>
                    <a:gd name="connsiteY11" fmla="*/ 1588002 h 3904165"/>
                    <a:gd name="connsiteX12" fmla="*/ 31750 w 3284537"/>
                    <a:gd name="connsiteY12" fmla="*/ 1330827 h 3904165"/>
                    <a:gd name="connsiteX13" fmla="*/ 22225 w 3284537"/>
                    <a:gd name="connsiteY13" fmla="*/ 1730877 h 3904165"/>
                    <a:gd name="connsiteX14" fmla="*/ 165100 w 3284537"/>
                    <a:gd name="connsiteY14" fmla="*/ 2064252 h 3904165"/>
                    <a:gd name="connsiteX15" fmla="*/ 288925 w 3284537"/>
                    <a:gd name="connsiteY15" fmla="*/ 2159502 h 3904165"/>
                    <a:gd name="connsiteX16" fmla="*/ 374650 w 3284537"/>
                    <a:gd name="connsiteY16" fmla="*/ 2654802 h 3904165"/>
                    <a:gd name="connsiteX17" fmla="*/ 488950 w 3284537"/>
                    <a:gd name="connsiteY17" fmla="*/ 3131052 h 3904165"/>
                    <a:gd name="connsiteX18" fmla="*/ 812800 w 3284537"/>
                    <a:gd name="connsiteY18" fmla="*/ 3540627 h 3904165"/>
                    <a:gd name="connsiteX19" fmla="*/ 1222375 w 3284537"/>
                    <a:gd name="connsiteY19" fmla="*/ 3778752 h 3904165"/>
                    <a:gd name="connsiteX20" fmla="*/ 1927225 w 3284537"/>
                    <a:gd name="connsiteY20" fmla="*/ 3835902 h 3904165"/>
                    <a:gd name="connsiteX21" fmla="*/ 2451100 w 3284537"/>
                    <a:gd name="connsiteY21" fmla="*/ 3369177 h 3904165"/>
                    <a:gd name="connsiteX22" fmla="*/ 2660650 w 3284537"/>
                    <a:gd name="connsiteY22" fmla="*/ 3026277 h 3904165"/>
                    <a:gd name="connsiteX23" fmla="*/ 2822575 w 3284537"/>
                    <a:gd name="connsiteY23" fmla="*/ 2540502 h 3904165"/>
                    <a:gd name="connsiteX24" fmla="*/ 2974975 w 3284537"/>
                    <a:gd name="connsiteY24" fmla="*/ 2521452 h 3904165"/>
                    <a:gd name="connsiteX25" fmla="*/ 3165475 w 3284537"/>
                    <a:gd name="connsiteY25" fmla="*/ 2121402 h 3904165"/>
                    <a:gd name="connsiteX26" fmla="*/ 3270250 w 3284537"/>
                    <a:gd name="connsiteY26" fmla="*/ 1921377 h 3904165"/>
                    <a:gd name="connsiteX27" fmla="*/ 3079750 w 3284537"/>
                    <a:gd name="connsiteY27" fmla="*/ 2035677 h 3904165"/>
                    <a:gd name="connsiteX28" fmla="*/ 2955925 w 3284537"/>
                    <a:gd name="connsiteY28" fmla="*/ 2197602 h 3904165"/>
                    <a:gd name="connsiteX29" fmla="*/ 2984500 w 3284537"/>
                    <a:gd name="connsiteY29" fmla="*/ 1673727 h 3904165"/>
                    <a:gd name="connsiteX30" fmla="*/ 2889250 w 3284537"/>
                    <a:gd name="connsiteY30" fmla="*/ 1330827 h 3904165"/>
                    <a:gd name="connsiteX31" fmla="*/ 2870200 w 3284537"/>
                    <a:gd name="connsiteY31" fmla="*/ 1035552 h 3904165"/>
                    <a:gd name="connsiteX32" fmla="*/ 2927350 w 3284537"/>
                    <a:gd name="connsiteY32" fmla="*/ 854577 h 3904165"/>
                    <a:gd name="connsiteX33" fmla="*/ 2879725 w 3284537"/>
                    <a:gd name="connsiteY33" fmla="*/ 387852 h 3904165"/>
                    <a:gd name="connsiteX0" fmla="*/ 2879725 w 3284537"/>
                    <a:gd name="connsiteY0" fmla="*/ 387852 h 3904165"/>
                    <a:gd name="connsiteX1" fmla="*/ 2289175 w 3284537"/>
                    <a:gd name="connsiteY1" fmla="*/ 368802 h 3904165"/>
                    <a:gd name="connsiteX2" fmla="*/ 1917700 w 3284537"/>
                    <a:gd name="connsiteY2" fmla="*/ 473577 h 3904165"/>
                    <a:gd name="connsiteX3" fmla="*/ 2060575 w 3284537"/>
                    <a:gd name="connsiteY3" fmla="*/ 311652 h 3904165"/>
                    <a:gd name="connsiteX4" fmla="*/ 1612900 w 3284537"/>
                    <a:gd name="connsiteY4" fmla="*/ 340227 h 3904165"/>
                    <a:gd name="connsiteX5" fmla="*/ 944261 w 3284537"/>
                    <a:gd name="connsiteY5" fmla="*/ 128588 h 3904165"/>
                    <a:gd name="connsiteX6" fmla="*/ 851016 w 3284537"/>
                    <a:gd name="connsiteY6" fmla="*/ 788539 h 3904165"/>
                    <a:gd name="connsiteX7" fmla="*/ 822302 w 3284537"/>
                    <a:gd name="connsiteY7" fmla="*/ 936858 h 3904165"/>
                    <a:gd name="connsiteX8" fmla="*/ 517525 w 3284537"/>
                    <a:gd name="connsiteY8" fmla="*/ 1264152 h 3904165"/>
                    <a:gd name="connsiteX9" fmla="*/ 393700 w 3284537"/>
                    <a:gd name="connsiteY9" fmla="*/ 1664202 h 3904165"/>
                    <a:gd name="connsiteX10" fmla="*/ 384175 w 3284537"/>
                    <a:gd name="connsiteY10" fmla="*/ 1807077 h 3904165"/>
                    <a:gd name="connsiteX11" fmla="*/ 203200 w 3284537"/>
                    <a:gd name="connsiteY11" fmla="*/ 1588002 h 3904165"/>
                    <a:gd name="connsiteX12" fmla="*/ 31750 w 3284537"/>
                    <a:gd name="connsiteY12" fmla="*/ 1330827 h 3904165"/>
                    <a:gd name="connsiteX13" fmla="*/ 22225 w 3284537"/>
                    <a:gd name="connsiteY13" fmla="*/ 1730877 h 3904165"/>
                    <a:gd name="connsiteX14" fmla="*/ 165100 w 3284537"/>
                    <a:gd name="connsiteY14" fmla="*/ 2064252 h 3904165"/>
                    <a:gd name="connsiteX15" fmla="*/ 288925 w 3284537"/>
                    <a:gd name="connsiteY15" fmla="*/ 2159502 h 3904165"/>
                    <a:gd name="connsiteX16" fmla="*/ 374650 w 3284537"/>
                    <a:gd name="connsiteY16" fmla="*/ 2654802 h 3904165"/>
                    <a:gd name="connsiteX17" fmla="*/ 488950 w 3284537"/>
                    <a:gd name="connsiteY17" fmla="*/ 3131052 h 3904165"/>
                    <a:gd name="connsiteX18" fmla="*/ 812800 w 3284537"/>
                    <a:gd name="connsiteY18" fmla="*/ 3540627 h 3904165"/>
                    <a:gd name="connsiteX19" fmla="*/ 1222375 w 3284537"/>
                    <a:gd name="connsiteY19" fmla="*/ 3778752 h 3904165"/>
                    <a:gd name="connsiteX20" fmla="*/ 1927225 w 3284537"/>
                    <a:gd name="connsiteY20" fmla="*/ 3835902 h 3904165"/>
                    <a:gd name="connsiteX21" fmla="*/ 2451100 w 3284537"/>
                    <a:gd name="connsiteY21" fmla="*/ 3369177 h 3904165"/>
                    <a:gd name="connsiteX22" fmla="*/ 2660650 w 3284537"/>
                    <a:gd name="connsiteY22" fmla="*/ 3026277 h 3904165"/>
                    <a:gd name="connsiteX23" fmla="*/ 2822575 w 3284537"/>
                    <a:gd name="connsiteY23" fmla="*/ 2540502 h 3904165"/>
                    <a:gd name="connsiteX24" fmla="*/ 2974975 w 3284537"/>
                    <a:gd name="connsiteY24" fmla="*/ 2521452 h 3904165"/>
                    <a:gd name="connsiteX25" fmla="*/ 3165475 w 3284537"/>
                    <a:gd name="connsiteY25" fmla="*/ 2121402 h 3904165"/>
                    <a:gd name="connsiteX26" fmla="*/ 3270250 w 3284537"/>
                    <a:gd name="connsiteY26" fmla="*/ 1921377 h 3904165"/>
                    <a:gd name="connsiteX27" fmla="*/ 3079750 w 3284537"/>
                    <a:gd name="connsiteY27" fmla="*/ 2035677 h 3904165"/>
                    <a:gd name="connsiteX28" fmla="*/ 2955925 w 3284537"/>
                    <a:gd name="connsiteY28" fmla="*/ 2197602 h 3904165"/>
                    <a:gd name="connsiteX29" fmla="*/ 2984500 w 3284537"/>
                    <a:gd name="connsiteY29" fmla="*/ 1673727 h 3904165"/>
                    <a:gd name="connsiteX30" fmla="*/ 2889250 w 3284537"/>
                    <a:gd name="connsiteY30" fmla="*/ 1330827 h 3904165"/>
                    <a:gd name="connsiteX31" fmla="*/ 2870200 w 3284537"/>
                    <a:gd name="connsiteY31" fmla="*/ 1035552 h 3904165"/>
                    <a:gd name="connsiteX32" fmla="*/ 2927350 w 3284537"/>
                    <a:gd name="connsiteY32" fmla="*/ 854577 h 3904165"/>
                    <a:gd name="connsiteX33" fmla="*/ 2879725 w 3284537"/>
                    <a:gd name="connsiteY33" fmla="*/ 387852 h 3904165"/>
                    <a:gd name="connsiteX0" fmla="*/ 2879725 w 3284537"/>
                    <a:gd name="connsiteY0" fmla="*/ 387852 h 3904165"/>
                    <a:gd name="connsiteX1" fmla="*/ 2289175 w 3284537"/>
                    <a:gd name="connsiteY1" fmla="*/ 368802 h 3904165"/>
                    <a:gd name="connsiteX2" fmla="*/ 1917700 w 3284537"/>
                    <a:gd name="connsiteY2" fmla="*/ 473577 h 3904165"/>
                    <a:gd name="connsiteX3" fmla="*/ 1612900 w 3284537"/>
                    <a:gd name="connsiteY3" fmla="*/ 340227 h 3904165"/>
                    <a:gd name="connsiteX4" fmla="*/ 944261 w 3284537"/>
                    <a:gd name="connsiteY4" fmla="*/ 128588 h 3904165"/>
                    <a:gd name="connsiteX5" fmla="*/ 851016 w 3284537"/>
                    <a:gd name="connsiteY5" fmla="*/ 788539 h 3904165"/>
                    <a:gd name="connsiteX6" fmla="*/ 822302 w 3284537"/>
                    <a:gd name="connsiteY6" fmla="*/ 936858 h 3904165"/>
                    <a:gd name="connsiteX7" fmla="*/ 517525 w 3284537"/>
                    <a:gd name="connsiteY7" fmla="*/ 1264152 h 3904165"/>
                    <a:gd name="connsiteX8" fmla="*/ 393700 w 3284537"/>
                    <a:gd name="connsiteY8" fmla="*/ 1664202 h 3904165"/>
                    <a:gd name="connsiteX9" fmla="*/ 384175 w 3284537"/>
                    <a:gd name="connsiteY9" fmla="*/ 1807077 h 3904165"/>
                    <a:gd name="connsiteX10" fmla="*/ 203200 w 3284537"/>
                    <a:gd name="connsiteY10" fmla="*/ 1588002 h 3904165"/>
                    <a:gd name="connsiteX11" fmla="*/ 31750 w 3284537"/>
                    <a:gd name="connsiteY11" fmla="*/ 1330827 h 3904165"/>
                    <a:gd name="connsiteX12" fmla="*/ 22225 w 3284537"/>
                    <a:gd name="connsiteY12" fmla="*/ 1730877 h 3904165"/>
                    <a:gd name="connsiteX13" fmla="*/ 165100 w 3284537"/>
                    <a:gd name="connsiteY13" fmla="*/ 2064252 h 3904165"/>
                    <a:gd name="connsiteX14" fmla="*/ 288925 w 3284537"/>
                    <a:gd name="connsiteY14" fmla="*/ 2159502 h 3904165"/>
                    <a:gd name="connsiteX15" fmla="*/ 374650 w 3284537"/>
                    <a:gd name="connsiteY15" fmla="*/ 2654802 h 3904165"/>
                    <a:gd name="connsiteX16" fmla="*/ 488950 w 3284537"/>
                    <a:gd name="connsiteY16" fmla="*/ 3131052 h 3904165"/>
                    <a:gd name="connsiteX17" fmla="*/ 812800 w 3284537"/>
                    <a:gd name="connsiteY17" fmla="*/ 3540627 h 3904165"/>
                    <a:gd name="connsiteX18" fmla="*/ 1222375 w 3284537"/>
                    <a:gd name="connsiteY18" fmla="*/ 3778752 h 3904165"/>
                    <a:gd name="connsiteX19" fmla="*/ 1927225 w 3284537"/>
                    <a:gd name="connsiteY19" fmla="*/ 3835902 h 3904165"/>
                    <a:gd name="connsiteX20" fmla="*/ 2451100 w 3284537"/>
                    <a:gd name="connsiteY20" fmla="*/ 3369177 h 3904165"/>
                    <a:gd name="connsiteX21" fmla="*/ 2660650 w 3284537"/>
                    <a:gd name="connsiteY21" fmla="*/ 3026277 h 3904165"/>
                    <a:gd name="connsiteX22" fmla="*/ 2822575 w 3284537"/>
                    <a:gd name="connsiteY22" fmla="*/ 2540502 h 3904165"/>
                    <a:gd name="connsiteX23" fmla="*/ 2974975 w 3284537"/>
                    <a:gd name="connsiteY23" fmla="*/ 2521452 h 3904165"/>
                    <a:gd name="connsiteX24" fmla="*/ 3165475 w 3284537"/>
                    <a:gd name="connsiteY24" fmla="*/ 2121402 h 3904165"/>
                    <a:gd name="connsiteX25" fmla="*/ 3270250 w 3284537"/>
                    <a:gd name="connsiteY25" fmla="*/ 1921377 h 3904165"/>
                    <a:gd name="connsiteX26" fmla="*/ 3079750 w 3284537"/>
                    <a:gd name="connsiteY26" fmla="*/ 2035677 h 3904165"/>
                    <a:gd name="connsiteX27" fmla="*/ 2955925 w 3284537"/>
                    <a:gd name="connsiteY27" fmla="*/ 2197602 h 3904165"/>
                    <a:gd name="connsiteX28" fmla="*/ 2984500 w 3284537"/>
                    <a:gd name="connsiteY28" fmla="*/ 1673727 h 3904165"/>
                    <a:gd name="connsiteX29" fmla="*/ 2889250 w 3284537"/>
                    <a:gd name="connsiteY29" fmla="*/ 1330827 h 3904165"/>
                    <a:gd name="connsiteX30" fmla="*/ 2870200 w 3284537"/>
                    <a:gd name="connsiteY30" fmla="*/ 1035552 h 3904165"/>
                    <a:gd name="connsiteX31" fmla="*/ 2927350 w 3284537"/>
                    <a:gd name="connsiteY31" fmla="*/ 854577 h 3904165"/>
                    <a:gd name="connsiteX32" fmla="*/ 2879725 w 3284537"/>
                    <a:gd name="connsiteY32" fmla="*/ 387852 h 3904165"/>
                    <a:gd name="connsiteX0" fmla="*/ 2879725 w 3284537"/>
                    <a:gd name="connsiteY0" fmla="*/ 387852 h 3904165"/>
                    <a:gd name="connsiteX1" fmla="*/ 2289175 w 3284537"/>
                    <a:gd name="connsiteY1" fmla="*/ 368802 h 3904165"/>
                    <a:gd name="connsiteX2" fmla="*/ 1926790 w 3284537"/>
                    <a:gd name="connsiteY2" fmla="*/ 401137 h 3904165"/>
                    <a:gd name="connsiteX3" fmla="*/ 1612900 w 3284537"/>
                    <a:gd name="connsiteY3" fmla="*/ 340227 h 3904165"/>
                    <a:gd name="connsiteX4" fmla="*/ 944261 w 3284537"/>
                    <a:gd name="connsiteY4" fmla="*/ 128588 h 3904165"/>
                    <a:gd name="connsiteX5" fmla="*/ 851016 w 3284537"/>
                    <a:gd name="connsiteY5" fmla="*/ 788539 h 3904165"/>
                    <a:gd name="connsiteX6" fmla="*/ 822302 w 3284537"/>
                    <a:gd name="connsiteY6" fmla="*/ 936858 h 3904165"/>
                    <a:gd name="connsiteX7" fmla="*/ 517525 w 3284537"/>
                    <a:gd name="connsiteY7" fmla="*/ 1264152 h 3904165"/>
                    <a:gd name="connsiteX8" fmla="*/ 393700 w 3284537"/>
                    <a:gd name="connsiteY8" fmla="*/ 1664202 h 3904165"/>
                    <a:gd name="connsiteX9" fmla="*/ 384175 w 3284537"/>
                    <a:gd name="connsiteY9" fmla="*/ 1807077 h 3904165"/>
                    <a:gd name="connsiteX10" fmla="*/ 203200 w 3284537"/>
                    <a:gd name="connsiteY10" fmla="*/ 1588002 h 3904165"/>
                    <a:gd name="connsiteX11" fmla="*/ 31750 w 3284537"/>
                    <a:gd name="connsiteY11" fmla="*/ 1330827 h 3904165"/>
                    <a:gd name="connsiteX12" fmla="*/ 22225 w 3284537"/>
                    <a:gd name="connsiteY12" fmla="*/ 1730877 h 3904165"/>
                    <a:gd name="connsiteX13" fmla="*/ 165100 w 3284537"/>
                    <a:gd name="connsiteY13" fmla="*/ 2064252 h 3904165"/>
                    <a:gd name="connsiteX14" fmla="*/ 288925 w 3284537"/>
                    <a:gd name="connsiteY14" fmla="*/ 2159502 h 3904165"/>
                    <a:gd name="connsiteX15" fmla="*/ 374650 w 3284537"/>
                    <a:gd name="connsiteY15" fmla="*/ 2654802 h 3904165"/>
                    <a:gd name="connsiteX16" fmla="*/ 488950 w 3284537"/>
                    <a:gd name="connsiteY16" fmla="*/ 3131052 h 3904165"/>
                    <a:gd name="connsiteX17" fmla="*/ 812800 w 3284537"/>
                    <a:gd name="connsiteY17" fmla="*/ 3540627 h 3904165"/>
                    <a:gd name="connsiteX18" fmla="*/ 1222375 w 3284537"/>
                    <a:gd name="connsiteY18" fmla="*/ 3778752 h 3904165"/>
                    <a:gd name="connsiteX19" fmla="*/ 1927225 w 3284537"/>
                    <a:gd name="connsiteY19" fmla="*/ 3835902 h 3904165"/>
                    <a:gd name="connsiteX20" fmla="*/ 2451100 w 3284537"/>
                    <a:gd name="connsiteY20" fmla="*/ 3369177 h 3904165"/>
                    <a:gd name="connsiteX21" fmla="*/ 2660650 w 3284537"/>
                    <a:gd name="connsiteY21" fmla="*/ 3026277 h 3904165"/>
                    <a:gd name="connsiteX22" fmla="*/ 2822575 w 3284537"/>
                    <a:gd name="connsiteY22" fmla="*/ 2540502 h 3904165"/>
                    <a:gd name="connsiteX23" fmla="*/ 2974975 w 3284537"/>
                    <a:gd name="connsiteY23" fmla="*/ 2521452 h 3904165"/>
                    <a:gd name="connsiteX24" fmla="*/ 3165475 w 3284537"/>
                    <a:gd name="connsiteY24" fmla="*/ 2121402 h 3904165"/>
                    <a:gd name="connsiteX25" fmla="*/ 3270250 w 3284537"/>
                    <a:gd name="connsiteY25" fmla="*/ 1921377 h 3904165"/>
                    <a:gd name="connsiteX26" fmla="*/ 3079750 w 3284537"/>
                    <a:gd name="connsiteY26" fmla="*/ 2035677 h 3904165"/>
                    <a:gd name="connsiteX27" fmla="*/ 2955925 w 3284537"/>
                    <a:gd name="connsiteY27" fmla="*/ 2197602 h 3904165"/>
                    <a:gd name="connsiteX28" fmla="*/ 2984500 w 3284537"/>
                    <a:gd name="connsiteY28" fmla="*/ 1673727 h 3904165"/>
                    <a:gd name="connsiteX29" fmla="*/ 2889250 w 3284537"/>
                    <a:gd name="connsiteY29" fmla="*/ 1330827 h 3904165"/>
                    <a:gd name="connsiteX30" fmla="*/ 2870200 w 3284537"/>
                    <a:gd name="connsiteY30" fmla="*/ 1035552 h 3904165"/>
                    <a:gd name="connsiteX31" fmla="*/ 2927350 w 3284537"/>
                    <a:gd name="connsiteY31" fmla="*/ 854577 h 3904165"/>
                    <a:gd name="connsiteX32" fmla="*/ 2879725 w 3284537"/>
                    <a:gd name="connsiteY32" fmla="*/ 387852 h 3904165"/>
                    <a:gd name="connsiteX0" fmla="*/ 2879725 w 3284537"/>
                    <a:gd name="connsiteY0" fmla="*/ 387852 h 3904165"/>
                    <a:gd name="connsiteX1" fmla="*/ 2289175 w 3284537"/>
                    <a:gd name="connsiteY1" fmla="*/ 368802 h 3904165"/>
                    <a:gd name="connsiteX2" fmla="*/ 1926790 w 3284537"/>
                    <a:gd name="connsiteY2" fmla="*/ 401137 h 3904165"/>
                    <a:gd name="connsiteX3" fmla="*/ 1643268 w 3284537"/>
                    <a:gd name="connsiteY3" fmla="*/ 288046 h 3904165"/>
                    <a:gd name="connsiteX4" fmla="*/ 944261 w 3284537"/>
                    <a:gd name="connsiteY4" fmla="*/ 128588 h 3904165"/>
                    <a:gd name="connsiteX5" fmla="*/ 851016 w 3284537"/>
                    <a:gd name="connsiteY5" fmla="*/ 788539 h 3904165"/>
                    <a:gd name="connsiteX6" fmla="*/ 822302 w 3284537"/>
                    <a:gd name="connsiteY6" fmla="*/ 936858 h 3904165"/>
                    <a:gd name="connsiteX7" fmla="*/ 517525 w 3284537"/>
                    <a:gd name="connsiteY7" fmla="*/ 1264152 h 3904165"/>
                    <a:gd name="connsiteX8" fmla="*/ 393700 w 3284537"/>
                    <a:gd name="connsiteY8" fmla="*/ 1664202 h 3904165"/>
                    <a:gd name="connsiteX9" fmla="*/ 384175 w 3284537"/>
                    <a:gd name="connsiteY9" fmla="*/ 1807077 h 3904165"/>
                    <a:gd name="connsiteX10" fmla="*/ 203200 w 3284537"/>
                    <a:gd name="connsiteY10" fmla="*/ 1588002 h 3904165"/>
                    <a:gd name="connsiteX11" fmla="*/ 31750 w 3284537"/>
                    <a:gd name="connsiteY11" fmla="*/ 1330827 h 3904165"/>
                    <a:gd name="connsiteX12" fmla="*/ 22225 w 3284537"/>
                    <a:gd name="connsiteY12" fmla="*/ 1730877 h 3904165"/>
                    <a:gd name="connsiteX13" fmla="*/ 165100 w 3284537"/>
                    <a:gd name="connsiteY13" fmla="*/ 2064252 h 3904165"/>
                    <a:gd name="connsiteX14" fmla="*/ 288925 w 3284537"/>
                    <a:gd name="connsiteY14" fmla="*/ 2159502 h 3904165"/>
                    <a:gd name="connsiteX15" fmla="*/ 374650 w 3284537"/>
                    <a:gd name="connsiteY15" fmla="*/ 2654802 h 3904165"/>
                    <a:gd name="connsiteX16" fmla="*/ 488950 w 3284537"/>
                    <a:gd name="connsiteY16" fmla="*/ 3131052 h 3904165"/>
                    <a:gd name="connsiteX17" fmla="*/ 812800 w 3284537"/>
                    <a:gd name="connsiteY17" fmla="*/ 3540627 h 3904165"/>
                    <a:gd name="connsiteX18" fmla="*/ 1222375 w 3284537"/>
                    <a:gd name="connsiteY18" fmla="*/ 3778752 h 3904165"/>
                    <a:gd name="connsiteX19" fmla="*/ 1927225 w 3284537"/>
                    <a:gd name="connsiteY19" fmla="*/ 3835902 h 3904165"/>
                    <a:gd name="connsiteX20" fmla="*/ 2451100 w 3284537"/>
                    <a:gd name="connsiteY20" fmla="*/ 3369177 h 3904165"/>
                    <a:gd name="connsiteX21" fmla="*/ 2660650 w 3284537"/>
                    <a:gd name="connsiteY21" fmla="*/ 3026277 h 3904165"/>
                    <a:gd name="connsiteX22" fmla="*/ 2822575 w 3284537"/>
                    <a:gd name="connsiteY22" fmla="*/ 2540502 h 3904165"/>
                    <a:gd name="connsiteX23" fmla="*/ 2974975 w 3284537"/>
                    <a:gd name="connsiteY23" fmla="*/ 2521452 h 3904165"/>
                    <a:gd name="connsiteX24" fmla="*/ 3165475 w 3284537"/>
                    <a:gd name="connsiteY24" fmla="*/ 2121402 h 3904165"/>
                    <a:gd name="connsiteX25" fmla="*/ 3270250 w 3284537"/>
                    <a:gd name="connsiteY25" fmla="*/ 1921377 h 3904165"/>
                    <a:gd name="connsiteX26" fmla="*/ 3079750 w 3284537"/>
                    <a:gd name="connsiteY26" fmla="*/ 2035677 h 3904165"/>
                    <a:gd name="connsiteX27" fmla="*/ 2955925 w 3284537"/>
                    <a:gd name="connsiteY27" fmla="*/ 2197602 h 3904165"/>
                    <a:gd name="connsiteX28" fmla="*/ 2984500 w 3284537"/>
                    <a:gd name="connsiteY28" fmla="*/ 1673727 h 3904165"/>
                    <a:gd name="connsiteX29" fmla="*/ 2889250 w 3284537"/>
                    <a:gd name="connsiteY29" fmla="*/ 1330827 h 3904165"/>
                    <a:gd name="connsiteX30" fmla="*/ 2870200 w 3284537"/>
                    <a:gd name="connsiteY30" fmla="*/ 1035552 h 3904165"/>
                    <a:gd name="connsiteX31" fmla="*/ 2927350 w 3284537"/>
                    <a:gd name="connsiteY31" fmla="*/ 854577 h 3904165"/>
                    <a:gd name="connsiteX32" fmla="*/ 2879725 w 3284537"/>
                    <a:gd name="connsiteY32" fmla="*/ 387852 h 3904165"/>
                    <a:gd name="connsiteX0" fmla="*/ 2879725 w 3284537"/>
                    <a:gd name="connsiteY0" fmla="*/ 387852 h 3904165"/>
                    <a:gd name="connsiteX1" fmla="*/ 2289175 w 3284537"/>
                    <a:gd name="connsiteY1" fmla="*/ 368802 h 3904165"/>
                    <a:gd name="connsiteX2" fmla="*/ 1926790 w 3284537"/>
                    <a:gd name="connsiteY2" fmla="*/ 401137 h 3904165"/>
                    <a:gd name="connsiteX3" fmla="*/ 1643268 w 3284537"/>
                    <a:gd name="connsiteY3" fmla="*/ 288046 h 3904165"/>
                    <a:gd name="connsiteX4" fmla="*/ 944261 w 3284537"/>
                    <a:gd name="connsiteY4" fmla="*/ 128588 h 3904165"/>
                    <a:gd name="connsiteX5" fmla="*/ 851016 w 3284537"/>
                    <a:gd name="connsiteY5" fmla="*/ 788539 h 3904165"/>
                    <a:gd name="connsiteX6" fmla="*/ 822302 w 3284537"/>
                    <a:gd name="connsiteY6" fmla="*/ 936858 h 3904165"/>
                    <a:gd name="connsiteX7" fmla="*/ 517525 w 3284537"/>
                    <a:gd name="connsiteY7" fmla="*/ 1264152 h 3904165"/>
                    <a:gd name="connsiteX8" fmla="*/ 393700 w 3284537"/>
                    <a:gd name="connsiteY8" fmla="*/ 1664202 h 3904165"/>
                    <a:gd name="connsiteX9" fmla="*/ 384175 w 3284537"/>
                    <a:gd name="connsiteY9" fmla="*/ 1807077 h 3904165"/>
                    <a:gd name="connsiteX10" fmla="*/ 203200 w 3284537"/>
                    <a:gd name="connsiteY10" fmla="*/ 1588002 h 3904165"/>
                    <a:gd name="connsiteX11" fmla="*/ 31750 w 3284537"/>
                    <a:gd name="connsiteY11" fmla="*/ 1330827 h 3904165"/>
                    <a:gd name="connsiteX12" fmla="*/ 22225 w 3284537"/>
                    <a:gd name="connsiteY12" fmla="*/ 1730877 h 3904165"/>
                    <a:gd name="connsiteX13" fmla="*/ 165100 w 3284537"/>
                    <a:gd name="connsiteY13" fmla="*/ 2064252 h 3904165"/>
                    <a:gd name="connsiteX14" fmla="*/ 288925 w 3284537"/>
                    <a:gd name="connsiteY14" fmla="*/ 2159502 h 3904165"/>
                    <a:gd name="connsiteX15" fmla="*/ 374650 w 3284537"/>
                    <a:gd name="connsiteY15" fmla="*/ 2654802 h 3904165"/>
                    <a:gd name="connsiteX16" fmla="*/ 488950 w 3284537"/>
                    <a:gd name="connsiteY16" fmla="*/ 3131052 h 3904165"/>
                    <a:gd name="connsiteX17" fmla="*/ 812800 w 3284537"/>
                    <a:gd name="connsiteY17" fmla="*/ 3540627 h 3904165"/>
                    <a:gd name="connsiteX18" fmla="*/ 1222375 w 3284537"/>
                    <a:gd name="connsiteY18" fmla="*/ 3778752 h 3904165"/>
                    <a:gd name="connsiteX19" fmla="*/ 1927225 w 3284537"/>
                    <a:gd name="connsiteY19" fmla="*/ 3835902 h 3904165"/>
                    <a:gd name="connsiteX20" fmla="*/ 2451100 w 3284537"/>
                    <a:gd name="connsiteY20" fmla="*/ 3369177 h 3904165"/>
                    <a:gd name="connsiteX21" fmla="*/ 2660650 w 3284537"/>
                    <a:gd name="connsiteY21" fmla="*/ 3026277 h 3904165"/>
                    <a:gd name="connsiteX22" fmla="*/ 2822575 w 3284537"/>
                    <a:gd name="connsiteY22" fmla="*/ 2540502 h 3904165"/>
                    <a:gd name="connsiteX23" fmla="*/ 2974975 w 3284537"/>
                    <a:gd name="connsiteY23" fmla="*/ 2521452 h 3904165"/>
                    <a:gd name="connsiteX24" fmla="*/ 3165475 w 3284537"/>
                    <a:gd name="connsiteY24" fmla="*/ 2121402 h 3904165"/>
                    <a:gd name="connsiteX25" fmla="*/ 3270250 w 3284537"/>
                    <a:gd name="connsiteY25" fmla="*/ 1921377 h 3904165"/>
                    <a:gd name="connsiteX26" fmla="*/ 3079750 w 3284537"/>
                    <a:gd name="connsiteY26" fmla="*/ 2035677 h 3904165"/>
                    <a:gd name="connsiteX27" fmla="*/ 2955925 w 3284537"/>
                    <a:gd name="connsiteY27" fmla="*/ 2197602 h 3904165"/>
                    <a:gd name="connsiteX28" fmla="*/ 2984500 w 3284537"/>
                    <a:gd name="connsiteY28" fmla="*/ 1673727 h 3904165"/>
                    <a:gd name="connsiteX29" fmla="*/ 2889250 w 3284537"/>
                    <a:gd name="connsiteY29" fmla="*/ 1330827 h 3904165"/>
                    <a:gd name="connsiteX30" fmla="*/ 2870200 w 3284537"/>
                    <a:gd name="connsiteY30" fmla="*/ 1035552 h 3904165"/>
                    <a:gd name="connsiteX31" fmla="*/ 2927350 w 3284537"/>
                    <a:gd name="connsiteY31" fmla="*/ 854577 h 3904165"/>
                    <a:gd name="connsiteX32" fmla="*/ 2879725 w 3284537"/>
                    <a:gd name="connsiteY32" fmla="*/ 387852 h 3904165"/>
                    <a:gd name="connsiteX0" fmla="*/ 2879725 w 3284537"/>
                    <a:gd name="connsiteY0" fmla="*/ 387852 h 3904165"/>
                    <a:gd name="connsiteX1" fmla="*/ 2289175 w 3284537"/>
                    <a:gd name="connsiteY1" fmla="*/ 368802 h 3904165"/>
                    <a:gd name="connsiteX2" fmla="*/ 1926790 w 3284537"/>
                    <a:gd name="connsiteY2" fmla="*/ 401137 h 3904165"/>
                    <a:gd name="connsiteX3" fmla="*/ 1643268 w 3284537"/>
                    <a:gd name="connsiteY3" fmla="*/ 288046 h 3904165"/>
                    <a:gd name="connsiteX4" fmla="*/ 944261 w 3284537"/>
                    <a:gd name="connsiteY4" fmla="*/ 128588 h 3904165"/>
                    <a:gd name="connsiteX5" fmla="*/ 851016 w 3284537"/>
                    <a:gd name="connsiteY5" fmla="*/ 788539 h 3904165"/>
                    <a:gd name="connsiteX6" fmla="*/ 822302 w 3284537"/>
                    <a:gd name="connsiteY6" fmla="*/ 936858 h 3904165"/>
                    <a:gd name="connsiteX7" fmla="*/ 517525 w 3284537"/>
                    <a:gd name="connsiteY7" fmla="*/ 1264152 h 3904165"/>
                    <a:gd name="connsiteX8" fmla="*/ 393700 w 3284537"/>
                    <a:gd name="connsiteY8" fmla="*/ 1664202 h 3904165"/>
                    <a:gd name="connsiteX9" fmla="*/ 384175 w 3284537"/>
                    <a:gd name="connsiteY9" fmla="*/ 1807077 h 3904165"/>
                    <a:gd name="connsiteX10" fmla="*/ 203200 w 3284537"/>
                    <a:gd name="connsiteY10" fmla="*/ 1588002 h 3904165"/>
                    <a:gd name="connsiteX11" fmla="*/ 31750 w 3284537"/>
                    <a:gd name="connsiteY11" fmla="*/ 1330827 h 3904165"/>
                    <a:gd name="connsiteX12" fmla="*/ 22225 w 3284537"/>
                    <a:gd name="connsiteY12" fmla="*/ 1730877 h 3904165"/>
                    <a:gd name="connsiteX13" fmla="*/ 165100 w 3284537"/>
                    <a:gd name="connsiteY13" fmla="*/ 2064252 h 3904165"/>
                    <a:gd name="connsiteX14" fmla="*/ 288925 w 3284537"/>
                    <a:gd name="connsiteY14" fmla="*/ 2159502 h 3904165"/>
                    <a:gd name="connsiteX15" fmla="*/ 374650 w 3284537"/>
                    <a:gd name="connsiteY15" fmla="*/ 2654802 h 3904165"/>
                    <a:gd name="connsiteX16" fmla="*/ 488950 w 3284537"/>
                    <a:gd name="connsiteY16" fmla="*/ 3131052 h 3904165"/>
                    <a:gd name="connsiteX17" fmla="*/ 812800 w 3284537"/>
                    <a:gd name="connsiteY17" fmla="*/ 3540627 h 3904165"/>
                    <a:gd name="connsiteX18" fmla="*/ 1222375 w 3284537"/>
                    <a:gd name="connsiteY18" fmla="*/ 3778752 h 3904165"/>
                    <a:gd name="connsiteX19" fmla="*/ 1927225 w 3284537"/>
                    <a:gd name="connsiteY19" fmla="*/ 3835902 h 3904165"/>
                    <a:gd name="connsiteX20" fmla="*/ 2451100 w 3284537"/>
                    <a:gd name="connsiteY20" fmla="*/ 3369177 h 3904165"/>
                    <a:gd name="connsiteX21" fmla="*/ 2660650 w 3284537"/>
                    <a:gd name="connsiteY21" fmla="*/ 3026277 h 3904165"/>
                    <a:gd name="connsiteX22" fmla="*/ 2822575 w 3284537"/>
                    <a:gd name="connsiteY22" fmla="*/ 2540502 h 3904165"/>
                    <a:gd name="connsiteX23" fmla="*/ 2974975 w 3284537"/>
                    <a:gd name="connsiteY23" fmla="*/ 2521452 h 3904165"/>
                    <a:gd name="connsiteX24" fmla="*/ 3165475 w 3284537"/>
                    <a:gd name="connsiteY24" fmla="*/ 2121402 h 3904165"/>
                    <a:gd name="connsiteX25" fmla="*/ 3270250 w 3284537"/>
                    <a:gd name="connsiteY25" fmla="*/ 1921377 h 3904165"/>
                    <a:gd name="connsiteX26" fmla="*/ 3079750 w 3284537"/>
                    <a:gd name="connsiteY26" fmla="*/ 2035677 h 3904165"/>
                    <a:gd name="connsiteX27" fmla="*/ 2955925 w 3284537"/>
                    <a:gd name="connsiteY27" fmla="*/ 2197602 h 3904165"/>
                    <a:gd name="connsiteX28" fmla="*/ 2984500 w 3284537"/>
                    <a:gd name="connsiteY28" fmla="*/ 1673727 h 3904165"/>
                    <a:gd name="connsiteX29" fmla="*/ 2889250 w 3284537"/>
                    <a:gd name="connsiteY29" fmla="*/ 1330827 h 3904165"/>
                    <a:gd name="connsiteX30" fmla="*/ 2870200 w 3284537"/>
                    <a:gd name="connsiteY30" fmla="*/ 1035552 h 3904165"/>
                    <a:gd name="connsiteX31" fmla="*/ 2927350 w 3284537"/>
                    <a:gd name="connsiteY31" fmla="*/ 854577 h 3904165"/>
                    <a:gd name="connsiteX32" fmla="*/ 2879725 w 3284537"/>
                    <a:gd name="connsiteY32" fmla="*/ 387852 h 3904165"/>
                    <a:gd name="connsiteX0" fmla="*/ 2879725 w 3284537"/>
                    <a:gd name="connsiteY0" fmla="*/ 387852 h 3904165"/>
                    <a:gd name="connsiteX1" fmla="*/ 2289175 w 3284537"/>
                    <a:gd name="connsiteY1" fmla="*/ 368802 h 3904165"/>
                    <a:gd name="connsiteX2" fmla="*/ 1927564 w 3284537"/>
                    <a:gd name="connsiteY2" fmla="*/ 442422 h 3904165"/>
                    <a:gd name="connsiteX3" fmla="*/ 1643268 w 3284537"/>
                    <a:gd name="connsiteY3" fmla="*/ 288046 h 3904165"/>
                    <a:gd name="connsiteX4" fmla="*/ 944261 w 3284537"/>
                    <a:gd name="connsiteY4" fmla="*/ 128588 h 3904165"/>
                    <a:gd name="connsiteX5" fmla="*/ 851016 w 3284537"/>
                    <a:gd name="connsiteY5" fmla="*/ 788539 h 3904165"/>
                    <a:gd name="connsiteX6" fmla="*/ 822302 w 3284537"/>
                    <a:gd name="connsiteY6" fmla="*/ 936858 h 3904165"/>
                    <a:gd name="connsiteX7" fmla="*/ 517525 w 3284537"/>
                    <a:gd name="connsiteY7" fmla="*/ 1264152 h 3904165"/>
                    <a:gd name="connsiteX8" fmla="*/ 393700 w 3284537"/>
                    <a:gd name="connsiteY8" fmla="*/ 1664202 h 3904165"/>
                    <a:gd name="connsiteX9" fmla="*/ 384175 w 3284537"/>
                    <a:gd name="connsiteY9" fmla="*/ 1807077 h 3904165"/>
                    <a:gd name="connsiteX10" fmla="*/ 203200 w 3284537"/>
                    <a:gd name="connsiteY10" fmla="*/ 1588002 h 3904165"/>
                    <a:gd name="connsiteX11" fmla="*/ 31750 w 3284537"/>
                    <a:gd name="connsiteY11" fmla="*/ 1330827 h 3904165"/>
                    <a:gd name="connsiteX12" fmla="*/ 22225 w 3284537"/>
                    <a:gd name="connsiteY12" fmla="*/ 1730877 h 3904165"/>
                    <a:gd name="connsiteX13" fmla="*/ 165100 w 3284537"/>
                    <a:gd name="connsiteY13" fmla="*/ 2064252 h 3904165"/>
                    <a:gd name="connsiteX14" fmla="*/ 288925 w 3284537"/>
                    <a:gd name="connsiteY14" fmla="*/ 2159502 h 3904165"/>
                    <a:gd name="connsiteX15" fmla="*/ 374650 w 3284537"/>
                    <a:gd name="connsiteY15" fmla="*/ 2654802 h 3904165"/>
                    <a:gd name="connsiteX16" fmla="*/ 488950 w 3284537"/>
                    <a:gd name="connsiteY16" fmla="*/ 3131052 h 3904165"/>
                    <a:gd name="connsiteX17" fmla="*/ 812800 w 3284537"/>
                    <a:gd name="connsiteY17" fmla="*/ 3540627 h 3904165"/>
                    <a:gd name="connsiteX18" fmla="*/ 1222375 w 3284537"/>
                    <a:gd name="connsiteY18" fmla="*/ 3778752 h 3904165"/>
                    <a:gd name="connsiteX19" fmla="*/ 1927225 w 3284537"/>
                    <a:gd name="connsiteY19" fmla="*/ 3835902 h 3904165"/>
                    <a:gd name="connsiteX20" fmla="*/ 2451100 w 3284537"/>
                    <a:gd name="connsiteY20" fmla="*/ 3369177 h 3904165"/>
                    <a:gd name="connsiteX21" fmla="*/ 2660650 w 3284537"/>
                    <a:gd name="connsiteY21" fmla="*/ 3026277 h 3904165"/>
                    <a:gd name="connsiteX22" fmla="*/ 2822575 w 3284537"/>
                    <a:gd name="connsiteY22" fmla="*/ 2540502 h 3904165"/>
                    <a:gd name="connsiteX23" fmla="*/ 2974975 w 3284537"/>
                    <a:gd name="connsiteY23" fmla="*/ 2521452 h 3904165"/>
                    <a:gd name="connsiteX24" fmla="*/ 3165475 w 3284537"/>
                    <a:gd name="connsiteY24" fmla="*/ 2121402 h 3904165"/>
                    <a:gd name="connsiteX25" fmla="*/ 3270250 w 3284537"/>
                    <a:gd name="connsiteY25" fmla="*/ 1921377 h 3904165"/>
                    <a:gd name="connsiteX26" fmla="*/ 3079750 w 3284537"/>
                    <a:gd name="connsiteY26" fmla="*/ 2035677 h 3904165"/>
                    <a:gd name="connsiteX27" fmla="*/ 2955925 w 3284537"/>
                    <a:gd name="connsiteY27" fmla="*/ 2197602 h 3904165"/>
                    <a:gd name="connsiteX28" fmla="*/ 2984500 w 3284537"/>
                    <a:gd name="connsiteY28" fmla="*/ 1673727 h 3904165"/>
                    <a:gd name="connsiteX29" fmla="*/ 2889250 w 3284537"/>
                    <a:gd name="connsiteY29" fmla="*/ 1330827 h 3904165"/>
                    <a:gd name="connsiteX30" fmla="*/ 2870200 w 3284537"/>
                    <a:gd name="connsiteY30" fmla="*/ 1035552 h 3904165"/>
                    <a:gd name="connsiteX31" fmla="*/ 2927350 w 3284537"/>
                    <a:gd name="connsiteY31" fmla="*/ 854577 h 3904165"/>
                    <a:gd name="connsiteX32" fmla="*/ 2879725 w 3284537"/>
                    <a:gd name="connsiteY32" fmla="*/ 387852 h 3904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284537" h="3904165">
                      <a:moveTo>
                        <a:pt x="2879725" y="387852"/>
                      </a:moveTo>
                      <a:cubicBezTo>
                        <a:pt x="2773362" y="294189"/>
                        <a:pt x="2447869" y="359707"/>
                        <a:pt x="2289175" y="368802"/>
                      </a:cubicBezTo>
                      <a:cubicBezTo>
                        <a:pt x="2130482" y="377897"/>
                        <a:pt x="2035215" y="455881"/>
                        <a:pt x="1927564" y="442422"/>
                      </a:cubicBezTo>
                      <a:cubicBezTo>
                        <a:pt x="1819913" y="428963"/>
                        <a:pt x="1817503" y="427923"/>
                        <a:pt x="1643268" y="288046"/>
                      </a:cubicBezTo>
                      <a:cubicBezTo>
                        <a:pt x="1456053" y="195608"/>
                        <a:pt x="1099836" y="0"/>
                        <a:pt x="944261" y="128588"/>
                      </a:cubicBezTo>
                      <a:cubicBezTo>
                        <a:pt x="872441" y="265964"/>
                        <a:pt x="721547" y="489381"/>
                        <a:pt x="851016" y="788539"/>
                      </a:cubicBezTo>
                      <a:cubicBezTo>
                        <a:pt x="835557" y="904232"/>
                        <a:pt x="877884" y="857589"/>
                        <a:pt x="822302" y="936858"/>
                      </a:cubicBezTo>
                      <a:cubicBezTo>
                        <a:pt x="766720" y="1016127"/>
                        <a:pt x="588959" y="1142928"/>
                        <a:pt x="517525" y="1264152"/>
                      </a:cubicBezTo>
                      <a:cubicBezTo>
                        <a:pt x="446091" y="1385376"/>
                        <a:pt x="415925" y="1573714"/>
                        <a:pt x="393700" y="1664202"/>
                      </a:cubicBezTo>
                      <a:cubicBezTo>
                        <a:pt x="371475" y="1754690"/>
                        <a:pt x="415925" y="1819777"/>
                        <a:pt x="384175" y="1807077"/>
                      </a:cubicBezTo>
                      <a:cubicBezTo>
                        <a:pt x="352425" y="1794377"/>
                        <a:pt x="261937" y="1667377"/>
                        <a:pt x="203200" y="1588002"/>
                      </a:cubicBezTo>
                      <a:cubicBezTo>
                        <a:pt x="144463" y="1508627"/>
                        <a:pt x="61912" y="1307015"/>
                        <a:pt x="31750" y="1330827"/>
                      </a:cubicBezTo>
                      <a:cubicBezTo>
                        <a:pt x="1588" y="1354639"/>
                        <a:pt x="0" y="1608640"/>
                        <a:pt x="22225" y="1730877"/>
                      </a:cubicBezTo>
                      <a:cubicBezTo>
                        <a:pt x="44450" y="1853114"/>
                        <a:pt x="120650" y="1992815"/>
                        <a:pt x="165100" y="2064252"/>
                      </a:cubicBezTo>
                      <a:cubicBezTo>
                        <a:pt x="209550" y="2135689"/>
                        <a:pt x="254000" y="2061077"/>
                        <a:pt x="288925" y="2159502"/>
                      </a:cubicBezTo>
                      <a:cubicBezTo>
                        <a:pt x="323850" y="2257927"/>
                        <a:pt x="341313" y="2492877"/>
                        <a:pt x="374650" y="2654802"/>
                      </a:cubicBezTo>
                      <a:cubicBezTo>
                        <a:pt x="407987" y="2816727"/>
                        <a:pt x="415925" y="2983415"/>
                        <a:pt x="488950" y="3131052"/>
                      </a:cubicBezTo>
                      <a:cubicBezTo>
                        <a:pt x="561975" y="3278689"/>
                        <a:pt x="690563" y="3432677"/>
                        <a:pt x="812800" y="3540627"/>
                      </a:cubicBezTo>
                      <a:cubicBezTo>
                        <a:pt x="935037" y="3648577"/>
                        <a:pt x="1036638" y="3729540"/>
                        <a:pt x="1222375" y="3778752"/>
                      </a:cubicBezTo>
                      <a:cubicBezTo>
                        <a:pt x="1408112" y="3827964"/>
                        <a:pt x="1722437" y="3904165"/>
                        <a:pt x="1927225" y="3835902"/>
                      </a:cubicBezTo>
                      <a:cubicBezTo>
                        <a:pt x="2132013" y="3767639"/>
                        <a:pt x="2328862" y="3504115"/>
                        <a:pt x="2451100" y="3369177"/>
                      </a:cubicBezTo>
                      <a:cubicBezTo>
                        <a:pt x="2573338" y="3234239"/>
                        <a:pt x="2598738" y="3164390"/>
                        <a:pt x="2660650" y="3026277"/>
                      </a:cubicBezTo>
                      <a:cubicBezTo>
                        <a:pt x="2722563" y="2888165"/>
                        <a:pt x="2770188" y="2624640"/>
                        <a:pt x="2822575" y="2540502"/>
                      </a:cubicBezTo>
                      <a:cubicBezTo>
                        <a:pt x="2874963" y="2456365"/>
                        <a:pt x="2917825" y="2591302"/>
                        <a:pt x="2974975" y="2521452"/>
                      </a:cubicBezTo>
                      <a:cubicBezTo>
                        <a:pt x="3032125" y="2451602"/>
                        <a:pt x="3116263" y="2221414"/>
                        <a:pt x="3165475" y="2121402"/>
                      </a:cubicBezTo>
                      <a:cubicBezTo>
                        <a:pt x="3214687" y="2021390"/>
                        <a:pt x="3284537" y="1935664"/>
                        <a:pt x="3270250" y="1921377"/>
                      </a:cubicBezTo>
                      <a:cubicBezTo>
                        <a:pt x="3255963" y="1907090"/>
                        <a:pt x="3132137" y="1989640"/>
                        <a:pt x="3079750" y="2035677"/>
                      </a:cubicBezTo>
                      <a:cubicBezTo>
                        <a:pt x="3027363" y="2081714"/>
                        <a:pt x="2971800" y="2257927"/>
                        <a:pt x="2955925" y="2197602"/>
                      </a:cubicBezTo>
                      <a:cubicBezTo>
                        <a:pt x="2940050" y="2137277"/>
                        <a:pt x="2995613" y="1818190"/>
                        <a:pt x="2984500" y="1673727"/>
                      </a:cubicBezTo>
                      <a:cubicBezTo>
                        <a:pt x="2973387" y="1529264"/>
                        <a:pt x="2908300" y="1437190"/>
                        <a:pt x="2889250" y="1330827"/>
                      </a:cubicBezTo>
                      <a:cubicBezTo>
                        <a:pt x="2870200" y="1224464"/>
                        <a:pt x="2863850" y="1114927"/>
                        <a:pt x="2870200" y="1035552"/>
                      </a:cubicBezTo>
                      <a:cubicBezTo>
                        <a:pt x="2876550" y="956177"/>
                        <a:pt x="2925763" y="962527"/>
                        <a:pt x="2927350" y="854577"/>
                      </a:cubicBezTo>
                      <a:cubicBezTo>
                        <a:pt x="2928938" y="746627"/>
                        <a:pt x="2928938" y="546602"/>
                        <a:pt x="2879725" y="38785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306" name="Freeform 305"/>
                <p:cNvSpPr/>
                <p:nvPr/>
              </p:nvSpPr>
              <p:spPr>
                <a:xfrm>
                  <a:off x="3386051" y="381815"/>
                  <a:ext cx="835556" cy="382568"/>
                </a:xfrm>
                <a:custGeom>
                  <a:avLst/>
                  <a:gdLst>
                    <a:gd name="connsiteX0" fmla="*/ 14068 w 829994"/>
                    <a:gd name="connsiteY0" fmla="*/ 0 h 422031"/>
                    <a:gd name="connsiteX1" fmla="*/ 28136 w 829994"/>
                    <a:gd name="connsiteY1" fmla="*/ 84406 h 422031"/>
                    <a:gd name="connsiteX2" fmla="*/ 154745 w 829994"/>
                    <a:gd name="connsiteY2" fmla="*/ 126609 h 422031"/>
                    <a:gd name="connsiteX3" fmla="*/ 281354 w 829994"/>
                    <a:gd name="connsiteY3" fmla="*/ 168813 h 422031"/>
                    <a:gd name="connsiteX4" fmla="*/ 422031 w 829994"/>
                    <a:gd name="connsiteY4" fmla="*/ 295422 h 422031"/>
                    <a:gd name="connsiteX5" fmla="*/ 604911 w 829994"/>
                    <a:gd name="connsiteY5" fmla="*/ 196948 h 422031"/>
                    <a:gd name="connsiteX6" fmla="*/ 829994 w 829994"/>
                    <a:gd name="connsiteY6" fmla="*/ 211016 h 422031"/>
                    <a:gd name="connsiteX7" fmla="*/ 590843 w 829994"/>
                    <a:gd name="connsiteY7" fmla="*/ 323557 h 422031"/>
                    <a:gd name="connsiteX8" fmla="*/ 436099 w 829994"/>
                    <a:gd name="connsiteY8" fmla="*/ 422031 h 422031"/>
                    <a:gd name="connsiteX9" fmla="*/ 295422 w 829994"/>
                    <a:gd name="connsiteY9" fmla="*/ 365760 h 422031"/>
                    <a:gd name="connsiteX10" fmla="*/ 182880 w 829994"/>
                    <a:gd name="connsiteY10" fmla="*/ 239151 h 422031"/>
                    <a:gd name="connsiteX11" fmla="*/ 0 w 829994"/>
                    <a:gd name="connsiteY11" fmla="*/ 140677 h 422031"/>
                    <a:gd name="connsiteX12" fmla="*/ 14068 w 829994"/>
                    <a:gd name="connsiteY12" fmla="*/ 0 h 422031"/>
                    <a:gd name="connsiteX0" fmla="*/ 14068 w 829994"/>
                    <a:gd name="connsiteY0" fmla="*/ 0 h 423371"/>
                    <a:gd name="connsiteX1" fmla="*/ 28136 w 829994"/>
                    <a:gd name="connsiteY1" fmla="*/ 84406 h 423371"/>
                    <a:gd name="connsiteX2" fmla="*/ 154745 w 829994"/>
                    <a:gd name="connsiteY2" fmla="*/ 126609 h 423371"/>
                    <a:gd name="connsiteX3" fmla="*/ 281354 w 829994"/>
                    <a:gd name="connsiteY3" fmla="*/ 168813 h 423371"/>
                    <a:gd name="connsiteX4" fmla="*/ 422031 w 829994"/>
                    <a:gd name="connsiteY4" fmla="*/ 295422 h 423371"/>
                    <a:gd name="connsiteX5" fmla="*/ 604911 w 829994"/>
                    <a:gd name="connsiteY5" fmla="*/ 196948 h 423371"/>
                    <a:gd name="connsiteX6" fmla="*/ 829994 w 829994"/>
                    <a:gd name="connsiteY6" fmla="*/ 211016 h 423371"/>
                    <a:gd name="connsiteX7" fmla="*/ 590843 w 829994"/>
                    <a:gd name="connsiteY7" fmla="*/ 323557 h 423371"/>
                    <a:gd name="connsiteX8" fmla="*/ 436099 w 829994"/>
                    <a:gd name="connsiteY8" fmla="*/ 422031 h 423371"/>
                    <a:gd name="connsiteX9" fmla="*/ 295422 w 829994"/>
                    <a:gd name="connsiteY9" fmla="*/ 365760 h 423371"/>
                    <a:gd name="connsiteX10" fmla="*/ 182880 w 829994"/>
                    <a:gd name="connsiteY10" fmla="*/ 239151 h 423371"/>
                    <a:gd name="connsiteX11" fmla="*/ 0 w 829994"/>
                    <a:gd name="connsiteY11" fmla="*/ 140677 h 423371"/>
                    <a:gd name="connsiteX12" fmla="*/ 14068 w 829994"/>
                    <a:gd name="connsiteY12" fmla="*/ 0 h 423371"/>
                    <a:gd name="connsiteX0" fmla="*/ 14068 w 829994"/>
                    <a:gd name="connsiteY0" fmla="*/ 0 h 423371"/>
                    <a:gd name="connsiteX1" fmla="*/ 28136 w 829994"/>
                    <a:gd name="connsiteY1" fmla="*/ 84406 h 423371"/>
                    <a:gd name="connsiteX2" fmla="*/ 154745 w 829994"/>
                    <a:gd name="connsiteY2" fmla="*/ 126609 h 423371"/>
                    <a:gd name="connsiteX3" fmla="*/ 281354 w 829994"/>
                    <a:gd name="connsiteY3" fmla="*/ 168813 h 423371"/>
                    <a:gd name="connsiteX4" fmla="*/ 422031 w 829994"/>
                    <a:gd name="connsiteY4" fmla="*/ 295422 h 423371"/>
                    <a:gd name="connsiteX5" fmla="*/ 604911 w 829994"/>
                    <a:gd name="connsiteY5" fmla="*/ 196948 h 423371"/>
                    <a:gd name="connsiteX6" fmla="*/ 829994 w 829994"/>
                    <a:gd name="connsiteY6" fmla="*/ 211016 h 423371"/>
                    <a:gd name="connsiteX7" fmla="*/ 590843 w 829994"/>
                    <a:gd name="connsiteY7" fmla="*/ 323557 h 423371"/>
                    <a:gd name="connsiteX8" fmla="*/ 436099 w 829994"/>
                    <a:gd name="connsiteY8" fmla="*/ 422031 h 423371"/>
                    <a:gd name="connsiteX9" fmla="*/ 295422 w 829994"/>
                    <a:gd name="connsiteY9" fmla="*/ 385857 h 423371"/>
                    <a:gd name="connsiteX10" fmla="*/ 182880 w 829994"/>
                    <a:gd name="connsiteY10" fmla="*/ 239151 h 423371"/>
                    <a:gd name="connsiteX11" fmla="*/ 0 w 829994"/>
                    <a:gd name="connsiteY11" fmla="*/ 140677 h 423371"/>
                    <a:gd name="connsiteX12" fmla="*/ 14068 w 829994"/>
                    <a:gd name="connsiteY12" fmla="*/ 0 h 423371"/>
                    <a:gd name="connsiteX0" fmla="*/ 14068 w 829994"/>
                    <a:gd name="connsiteY0" fmla="*/ 0 h 423371"/>
                    <a:gd name="connsiteX1" fmla="*/ 28136 w 829994"/>
                    <a:gd name="connsiteY1" fmla="*/ 84406 h 423371"/>
                    <a:gd name="connsiteX2" fmla="*/ 154745 w 829994"/>
                    <a:gd name="connsiteY2" fmla="*/ 126609 h 423371"/>
                    <a:gd name="connsiteX3" fmla="*/ 281354 w 829994"/>
                    <a:gd name="connsiteY3" fmla="*/ 168813 h 423371"/>
                    <a:gd name="connsiteX4" fmla="*/ 422031 w 829994"/>
                    <a:gd name="connsiteY4" fmla="*/ 295422 h 423371"/>
                    <a:gd name="connsiteX5" fmla="*/ 604911 w 829994"/>
                    <a:gd name="connsiteY5" fmla="*/ 196948 h 423371"/>
                    <a:gd name="connsiteX6" fmla="*/ 829994 w 829994"/>
                    <a:gd name="connsiteY6" fmla="*/ 211016 h 423371"/>
                    <a:gd name="connsiteX7" fmla="*/ 615964 w 829994"/>
                    <a:gd name="connsiteY7" fmla="*/ 293411 h 423371"/>
                    <a:gd name="connsiteX8" fmla="*/ 436099 w 829994"/>
                    <a:gd name="connsiteY8" fmla="*/ 422031 h 423371"/>
                    <a:gd name="connsiteX9" fmla="*/ 295422 w 829994"/>
                    <a:gd name="connsiteY9" fmla="*/ 385857 h 423371"/>
                    <a:gd name="connsiteX10" fmla="*/ 182880 w 829994"/>
                    <a:gd name="connsiteY10" fmla="*/ 239151 h 423371"/>
                    <a:gd name="connsiteX11" fmla="*/ 0 w 829994"/>
                    <a:gd name="connsiteY11" fmla="*/ 140677 h 423371"/>
                    <a:gd name="connsiteX12" fmla="*/ 14068 w 829994"/>
                    <a:gd name="connsiteY12" fmla="*/ 0 h 423371"/>
                    <a:gd name="connsiteX0" fmla="*/ 14068 w 829994"/>
                    <a:gd name="connsiteY0" fmla="*/ 0 h 408298"/>
                    <a:gd name="connsiteX1" fmla="*/ 28136 w 829994"/>
                    <a:gd name="connsiteY1" fmla="*/ 84406 h 408298"/>
                    <a:gd name="connsiteX2" fmla="*/ 154745 w 829994"/>
                    <a:gd name="connsiteY2" fmla="*/ 126609 h 408298"/>
                    <a:gd name="connsiteX3" fmla="*/ 281354 w 829994"/>
                    <a:gd name="connsiteY3" fmla="*/ 168813 h 408298"/>
                    <a:gd name="connsiteX4" fmla="*/ 422031 w 829994"/>
                    <a:gd name="connsiteY4" fmla="*/ 295422 h 408298"/>
                    <a:gd name="connsiteX5" fmla="*/ 604911 w 829994"/>
                    <a:gd name="connsiteY5" fmla="*/ 196948 h 408298"/>
                    <a:gd name="connsiteX6" fmla="*/ 829994 w 829994"/>
                    <a:gd name="connsiteY6" fmla="*/ 211016 h 408298"/>
                    <a:gd name="connsiteX7" fmla="*/ 615964 w 829994"/>
                    <a:gd name="connsiteY7" fmla="*/ 293411 h 408298"/>
                    <a:gd name="connsiteX8" fmla="*/ 481317 w 829994"/>
                    <a:gd name="connsiteY8" fmla="*/ 406958 h 408298"/>
                    <a:gd name="connsiteX9" fmla="*/ 295422 w 829994"/>
                    <a:gd name="connsiteY9" fmla="*/ 385857 h 408298"/>
                    <a:gd name="connsiteX10" fmla="*/ 182880 w 829994"/>
                    <a:gd name="connsiteY10" fmla="*/ 239151 h 408298"/>
                    <a:gd name="connsiteX11" fmla="*/ 0 w 829994"/>
                    <a:gd name="connsiteY11" fmla="*/ 140677 h 408298"/>
                    <a:gd name="connsiteX12" fmla="*/ 14068 w 829994"/>
                    <a:gd name="connsiteY12" fmla="*/ 0 h 408298"/>
                    <a:gd name="connsiteX0" fmla="*/ 14068 w 829994"/>
                    <a:gd name="connsiteY0" fmla="*/ 0 h 408298"/>
                    <a:gd name="connsiteX1" fmla="*/ 28136 w 829994"/>
                    <a:gd name="connsiteY1" fmla="*/ 84406 h 408298"/>
                    <a:gd name="connsiteX2" fmla="*/ 154745 w 829994"/>
                    <a:gd name="connsiteY2" fmla="*/ 126609 h 408298"/>
                    <a:gd name="connsiteX3" fmla="*/ 281354 w 829994"/>
                    <a:gd name="connsiteY3" fmla="*/ 168813 h 408298"/>
                    <a:gd name="connsiteX4" fmla="*/ 422031 w 829994"/>
                    <a:gd name="connsiteY4" fmla="*/ 295422 h 408298"/>
                    <a:gd name="connsiteX5" fmla="*/ 604911 w 829994"/>
                    <a:gd name="connsiteY5" fmla="*/ 196948 h 408298"/>
                    <a:gd name="connsiteX6" fmla="*/ 829994 w 829994"/>
                    <a:gd name="connsiteY6" fmla="*/ 211016 h 408298"/>
                    <a:gd name="connsiteX7" fmla="*/ 615964 w 829994"/>
                    <a:gd name="connsiteY7" fmla="*/ 293411 h 408298"/>
                    <a:gd name="connsiteX8" fmla="*/ 481317 w 829994"/>
                    <a:gd name="connsiteY8" fmla="*/ 406958 h 408298"/>
                    <a:gd name="connsiteX9" fmla="*/ 280349 w 829994"/>
                    <a:gd name="connsiteY9" fmla="*/ 370784 h 408298"/>
                    <a:gd name="connsiteX10" fmla="*/ 182880 w 829994"/>
                    <a:gd name="connsiteY10" fmla="*/ 239151 h 408298"/>
                    <a:gd name="connsiteX11" fmla="*/ 0 w 829994"/>
                    <a:gd name="connsiteY11" fmla="*/ 140677 h 408298"/>
                    <a:gd name="connsiteX12" fmla="*/ 14068 w 829994"/>
                    <a:gd name="connsiteY12" fmla="*/ 0 h 408298"/>
                    <a:gd name="connsiteX0" fmla="*/ 14068 w 829994"/>
                    <a:gd name="connsiteY0" fmla="*/ 0 h 408298"/>
                    <a:gd name="connsiteX1" fmla="*/ 28136 w 829994"/>
                    <a:gd name="connsiteY1" fmla="*/ 84406 h 408298"/>
                    <a:gd name="connsiteX2" fmla="*/ 154745 w 829994"/>
                    <a:gd name="connsiteY2" fmla="*/ 126609 h 408298"/>
                    <a:gd name="connsiteX3" fmla="*/ 281354 w 829994"/>
                    <a:gd name="connsiteY3" fmla="*/ 168813 h 408298"/>
                    <a:gd name="connsiteX4" fmla="*/ 422031 w 829994"/>
                    <a:gd name="connsiteY4" fmla="*/ 295422 h 408298"/>
                    <a:gd name="connsiteX5" fmla="*/ 604911 w 829994"/>
                    <a:gd name="connsiteY5" fmla="*/ 196948 h 408298"/>
                    <a:gd name="connsiteX6" fmla="*/ 829994 w 829994"/>
                    <a:gd name="connsiteY6" fmla="*/ 211016 h 408298"/>
                    <a:gd name="connsiteX7" fmla="*/ 615964 w 829994"/>
                    <a:gd name="connsiteY7" fmla="*/ 293411 h 408298"/>
                    <a:gd name="connsiteX8" fmla="*/ 481317 w 829994"/>
                    <a:gd name="connsiteY8" fmla="*/ 406958 h 408298"/>
                    <a:gd name="connsiteX9" fmla="*/ 280349 w 829994"/>
                    <a:gd name="connsiteY9" fmla="*/ 370784 h 408298"/>
                    <a:gd name="connsiteX10" fmla="*/ 182880 w 829994"/>
                    <a:gd name="connsiteY10" fmla="*/ 239151 h 408298"/>
                    <a:gd name="connsiteX11" fmla="*/ 0 w 829994"/>
                    <a:gd name="connsiteY11" fmla="*/ 140677 h 408298"/>
                    <a:gd name="connsiteX12" fmla="*/ 14068 w 829994"/>
                    <a:gd name="connsiteY12" fmla="*/ 0 h 408298"/>
                    <a:gd name="connsiteX0" fmla="*/ 14068 w 829994"/>
                    <a:gd name="connsiteY0" fmla="*/ 0 h 408298"/>
                    <a:gd name="connsiteX1" fmla="*/ 28136 w 829994"/>
                    <a:gd name="connsiteY1" fmla="*/ 84406 h 408298"/>
                    <a:gd name="connsiteX2" fmla="*/ 154745 w 829994"/>
                    <a:gd name="connsiteY2" fmla="*/ 126609 h 408298"/>
                    <a:gd name="connsiteX3" fmla="*/ 281354 w 829994"/>
                    <a:gd name="connsiteY3" fmla="*/ 168813 h 408298"/>
                    <a:gd name="connsiteX4" fmla="*/ 422031 w 829994"/>
                    <a:gd name="connsiteY4" fmla="*/ 295422 h 408298"/>
                    <a:gd name="connsiteX5" fmla="*/ 604911 w 829994"/>
                    <a:gd name="connsiteY5" fmla="*/ 196948 h 408298"/>
                    <a:gd name="connsiteX6" fmla="*/ 829994 w 829994"/>
                    <a:gd name="connsiteY6" fmla="*/ 211016 h 408298"/>
                    <a:gd name="connsiteX7" fmla="*/ 615964 w 829994"/>
                    <a:gd name="connsiteY7" fmla="*/ 293411 h 408298"/>
                    <a:gd name="connsiteX8" fmla="*/ 481317 w 829994"/>
                    <a:gd name="connsiteY8" fmla="*/ 406958 h 408298"/>
                    <a:gd name="connsiteX9" fmla="*/ 280349 w 829994"/>
                    <a:gd name="connsiteY9" fmla="*/ 370784 h 408298"/>
                    <a:gd name="connsiteX10" fmla="*/ 182880 w 829994"/>
                    <a:gd name="connsiteY10" fmla="*/ 239151 h 408298"/>
                    <a:gd name="connsiteX11" fmla="*/ 0 w 829994"/>
                    <a:gd name="connsiteY11" fmla="*/ 140677 h 408298"/>
                    <a:gd name="connsiteX12" fmla="*/ 14068 w 829994"/>
                    <a:gd name="connsiteY12" fmla="*/ 0 h 408298"/>
                    <a:gd name="connsiteX0" fmla="*/ 14068 w 829994"/>
                    <a:gd name="connsiteY0" fmla="*/ 0 h 408298"/>
                    <a:gd name="connsiteX1" fmla="*/ 28136 w 829994"/>
                    <a:gd name="connsiteY1" fmla="*/ 84406 h 408298"/>
                    <a:gd name="connsiteX2" fmla="*/ 154745 w 829994"/>
                    <a:gd name="connsiteY2" fmla="*/ 126609 h 408298"/>
                    <a:gd name="connsiteX3" fmla="*/ 281354 w 829994"/>
                    <a:gd name="connsiteY3" fmla="*/ 168813 h 408298"/>
                    <a:gd name="connsiteX4" fmla="*/ 604911 w 829994"/>
                    <a:gd name="connsiteY4" fmla="*/ 196948 h 408298"/>
                    <a:gd name="connsiteX5" fmla="*/ 829994 w 829994"/>
                    <a:gd name="connsiteY5" fmla="*/ 211016 h 408298"/>
                    <a:gd name="connsiteX6" fmla="*/ 615964 w 829994"/>
                    <a:gd name="connsiteY6" fmla="*/ 293411 h 408298"/>
                    <a:gd name="connsiteX7" fmla="*/ 481317 w 829994"/>
                    <a:gd name="connsiteY7" fmla="*/ 406958 h 408298"/>
                    <a:gd name="connsiteX8" fmla="*/ 280349 w 829994"/>
                    <a:gd name="connsiteY8" fmla="*/ 370784 h 408298"/>
                    <a:gd name="connsiteX9" fmla="*/ 182880 w 829994"/>
                    <a:gd name="connsiteY9" fmla="*/ 239151 h 408298"/>
                    <a:gd name="connsiteX10" fmla="*/ 0 w 829994"/>
                    <a:gd name="connsiteY10" fmla="*/ 140677 h 408298"/>
                    <a:gd name="connsiteX11" fmla="*/ 14068 w 829994"/>
                    <a:gd name="connsiteY11" fmla="*/ 0 h 408298"/>
                    <a:gd name="connsiteX0" fmla="*/ 14068 w 829994"/>
                    <a:gd name="connsiteY0" fmla="*/ 0 h 408298"/>
                    <a:gd name="connsiteX1" fmla="*/ 28136 w 829994"/>
                    <a:gd name="connsiteY1" fmla="*/ 84406 h 408298"/>
                    <a:gd name="connsiteX2" fmla="*/ 154745 w 829994"/>
                    <a:gd name="connsiteY2" fmla="*/ 126609 h 408298"/>
                    <a:gd name="connsiteX3" fmla="*/ 281354 w 829994"/>
                    <a:gd name="connsiteY3" fmla="*/ 168813 h 408298"/>
                    <a:gd name="connsiteX4" fmla="*/ 604911 w 829994"/>
                    <a:gd name="connsiteY4" fmla="*/ 196948 h 408298"/>
                    <a:gd name="connsiteX5" fmla="*/ 829994 w 829994"/>
                    <a:gd name="connsiteY5" fmla="*/ 211016 h 408298"/>
                    <a:gd name="connsiteX6" fmla="*/ 615964 w 829994"/>
                    <a:gd name="connsiteY6" fmla="*/ 293411 h 408298"/>
                    <a:gd name="connsiteX7" fmla="*/ 481317 w 829994"/>
                    <a:gd name="connsiteY7" fmla="*/ 406958 h 408298"/>
                    <a:gd name="connsiteX8" fmla="*/ 280349 w 829994"/>
                    <a:gd name="connsiteY8" fmla="*/ 370784 h 408298"/>
                    <a:gd name="connsiteX9" fmla="*/ 182880 w 829994"/>
                    <a:gd name="connsiteY9" fmla="*/ 239151 h 408298"/>
                    <a:gd name="connsiteX10" fmla="*/ 0 w 829994"/>
                    <a:gd name="connsiteY10" fmla="*/ 140677 h 408298"/>
                    <a:gd name="connsiteX11" fmla="*/ 14068 w 829994"/>
                    <a:gd name="connsiteY11" fmla="*/ 0 h 408298"/>
                    <a:gd name="connsiteX0" fmla="*/ 14068 w 829994"/>
                    <a:gd name="connsiteY0" fmla="*/ 0 h 408298"/>
                    <a:gd name="connsiteX1" fmla="*/ 28136 w 829994"/>
                    <a:gd name="connsiteY1" fmla="*/ 84406 h 408298"/>
                    <a:gd name="connsiteX2" fmla="*/ 154745 w 829994"/>
                    <a:gd name="connsiteY2" fmla="*/ 126609 h 408298"/>
                    <a:gd name="connsiteX3" fmla="*/ 281354 w 829994"/>
                    <a:gd name="connsiteY3" fmla="*/ 168813 h 408298"/>
                    <a:gd name="connsiteX4" fmla="*/ 604911 w 829994"/>
                    <a:gd name="connsiteY4" fmla="*/ 196948 h 408298"/>
                    <a:gd name="connsiteX5" fmla="*/ 829994 w 829994"/>
                    <a:gd name="connsiteY5" fmla="*/ 211016 h 408298"/>
                    <a:gd name="connsiteX6" fmla="*/ 615964 w 829994"/>
                    <a:gd name="connsiteY6" fmla="*/ 293411 h 408298"/>
                    <a:gd name="connsiteX7" fmla="*/ 481317 w 829994"/>
                    <a:gd name="connsiteY7" fmla="*/ 406958 h 408298"/>
                    <a:gd name="connsiteX8" fmla="*/ 280349 w 829994"/>
                    <a:gd name="connsiteY8" fmla="*/ 370784 h 408298"/>
                    <a:gd name="connsiteX9" fmla="*/ 182880 w 829994"/>
                    <a:gd name="connsiteY9" fmla="*/ 239151 h 408298"/>
                    <a:gd name="connsiteX10" fmla="*/ 0 w 829994"/>
                    <a:gd name="connsiteY10" fmla="*/ 140677 h 408298"/>
                    <a:gd name="connsiteX11" fmla="*/ 14068 w 829994"/>
                    <a:gd name="connsiteY11" fmla="*/ 0 h 408298"/>
                    <a:gd name="connsiteX0" fmla="*/ 14068 w 829994"/>
                    <a:gd name="connsiteY0" fmla="*/ 0 h 408298"/>
                    <a:gd name="connsiteX1" fmla="*/ 28136 w 829994"/>
                    <a:gd name="connsiteY1" fmla="*/ 84406 h 408298"/>
                    <a:gd name="connsiteX2" fmla="*/ 154745 w 829994"/>
                    <a:gd name="connsiteY2" fmla="*/ 126609 h 408298"/>
                    <a:gd name="connsiteX3" fmla="*/ 281354 w 829994"/>
                    <a:gd name="connsiteY3" fmla="*/ 168813 h 408298"/>
                    <a:gd name="connsiteX4" fmla="*/ 604911 w 829994"/>
                    <a:gd name="connsiteY4" fmla="*/ 196948 h 408298"/>
                    <a:gd name="connsiteX5" fmla="*/ 829994 w 829994"/>
                    <a:gd name="connsiteY5" fmla="*/ 211016 h 408298"/>
                    <a:gd name="connsiteX6" fmla="*/ 615964 w 829994"/>
                    <a:gd name="connsiteY6" fmla="*/ 293411 h 408298"/>
                    <a:gd name="connsiteX7" fmla="*/ 481317 w 829994"/>
                    <a:gd name="connsiteY7" fmla="*/ 406958 h 408298"/>
                    <a:gd name="connsiteX8" fmla="*/ 280349 w 829994"/>
                    <a:gd name="connsiteY8" fmla="*/ 370784 h 408298"/>
                    <a:gd name="connsiteX9" fmla="*/ 182880 w 829994"/>
                    <a:gd name="connsiteY9" fmla="*/ 239151 h 408298"/>
                    <a:gd name="connsiteX10" fmla="*/ 0 w 829994"/>
                    <a:gd name="connsiteY10" fmla="*/ 140677 h 408298"/>
                    <a:gd name="connsiteX11" fmla="*/ 14068 w 829994"/>
                    <a:gd name="connsiteY11" fmla="*/ 0 h 408298"/>
                    <a:gd name="connsiteX0" fmla="*/ 14068 w 829994"/>
                    <a:gd name="connsiteY0" fmla="*/ 0 h 408298"/>
                    <a:gd name="connsiteX1" fmla="*/ 28136 w 829994"/>
                    <a:gd name="connsiteY1" fmla="*/ 84406 h 408298"/>
                    <a:gd name="connsiteX2" fmla="*/ 281354 w 829994"/>
                    <a:gd name="connsiteY2" fmla="*/ 168813 h 408298"/>
                    <a:gd name="connsiteX3" fmla="*/ 604911 w 829994"/>
                    <a:gd name="connsiteY3" fmla="*/ 196948 h 408298"/>
                    <a:gd name="connsiteX4" fmla="*/ 829994 w 829994"/>
                    <a:gd name="connsiteY4" fmla="*/ 211016 h 408298"/>
                    <a:gd name="connsiteX5" fmla="*/ 615964 w 829994"/>
                    <a:gd name="connsiteY5" fmla="*/ 293411 h 408298"/>
                    <a:gd name="connsiteX6" fmla="*/ 481317 w 829994"/>
                    <a:gd name="connsiteY6" fmla="*/ 406958 h 408298"/>
                    <a:gd name="connsiteX7" fmla="*/ 280349 w 829994"/>
                    <a:gd name="connsiteY7" fmla="*/ 370784 h 408298"/>
                    <a:gd name="connsiteX8" fmla="*/ 182880 w 829994"/>
                    <a:gd name="connsiteY8" fmla="*/ 239151 h 408298"/>
                    <a:gd name="connsiteX9" fmla="*/ 0 w 829994"/>
                    <a:gd name="connsiteY9" fmla="*/ 140677 h 408298"/>
                    <a:gd name="connsiteX10" fmla="*/ 14068 w 829994"/>
                    <a:gd name="connsiteY10" fmla="*/ 0 h 408298"/>
                    <a:gd name="connsiteX0" fmla="*/ 14068 w 829994"/>
                    <a:gd name="connsiteY0" fmla="*/ 0 h 408298"/>
                    <a:gd name="connsiteX1" fmla="*/ 28136 w 829994"/>
                    <a:gd name="connsiteY1" fmla="*/ 84406 h 408298"/>
                    <a:gd name="connsiteX2" fmla="*/ 281354 w 829994"/>
                    <a:gd name="connsiteY2" fmla="*/ 168813 h 408298"/>
                    <a:gd name="connsiteX3" fmla="*/ 604911 w 829994"/>
                    <a:gd name="connsiteY3" fmla="*/ 196948 h 408298"/>
                    <a:gd name="connsiteX4" fmla="*/ 829994 w 829994"/>
                    <a:gd name="connsiteY4" fmla="*/ 211016 h 408298"/>
                    <a:gd name="connsiteX5" fmla="*/ 615964 w 829994"/>
                    <a:gd name="connsiteY5" fmla="*/ 293411 h 408298"/>
                    <a:gd name="connsiteX6" fmla="*/ 481317 w 829994"/>
                    <a:gd name="connsiteY6" fmla="*/ 406958 h 408298"/>
                    <a:gd name="connsiteX7" fmla="*/ 280349 w 829994"/>
                    <a:gd name="connsiteY7" fmla="*/ 370784 h 408298"/>
                    <a:gd name="connsiteX8" fmla="*/ 182880 w 829994"/>
                    <a:gd name="connsiteY8" fmla="*/ 239151 h 408298"/>
                    <a:gd name="connsiteX9" fmla="*/ 0 w 829994"/>
                    <a:gd name="connsiteY9" fmla="*/ 140677 h 408298"/>
                    <a:gd name="connsiteX10" fmla="*/ 14068 w 829994"/>
                    <a:gd name="connsiteY10" fmla="*/ 0 h 408298"/>
                    <a:gd name="connsiteX0" fmla="*/ 14068 w 829994"/>
                    <a:gd name="connsiteY0" fmla="*/ 0 h 408298"/>
                    <a:gd name="connsiteX1" fmla="*/ 281354 w 829994"/>
                    <a:gd name="connsiteY1" fmla="*/ 168813 h 408298"/>
                    <a:gd name="connsiteX2" fmla="*/ 604911 w 829994"/>
                    <a:gd name="connsiteY2" fmla="*/ 196948 h 408298"/>
                    <a:gd name="connsiteX3" fmla="*/ 829994 w 829994"/>
                    <a:gd name="connsiteY3" fmla="*/ 211016 h 408298"/>
                    <a:gd name="connsiteX4" fmla="*/ 615964 w 829994"/>
                    <a:gd name="connsiteY4" fmla="*/ 293411 h 408298"/>
                    <a:gd name="connsiteX5" fmla="*/ 481317 w 829994"/>
                    <a:gd name="connsiteY5" fmla="*/ 406958 h 408298"/>
                    <a:gd name="connsiteX6" fmla="*/ 280349 w 829994"/>
                    <a:gd name="connsiteY6" fmla="*/ 370784 h 408298"/>
                    <a:gd name="connsiteX7" fmla="*/ 182880 w 829994"/>
                    <a:gd name="connsiteY7" fmla="*/ 239151 h 408298"/>
                    <a:gd name="connsiteX8" fmla="*/ 0 w 829994"/>
                    <a:gd name="connsiteY8" fmla="*/ 140677 h 408298"/>
                    <a:gd name="connsiteX9" fmla="*/ 14068 w 829994"/>
                    <a:gd name="connsiteY9" fmla="*/ 0 h 408298"/>
                    <a:gd name="connsiteX0" fmla="*/ 14068 w 829994"/>
                    <a:gd name="connsiteY0" fmla="*/ 0 h 408298"/>
                    <a:gd name="connsiteX1" fmla="*/ 281354 w 829994"/>
                    <a:gd name="connsiteY1" fmla="*/ 168813 h 408298"/>
                    <a:gd name="connsiteX2" fmla="*/ 604911 w 829994"/>
                    <a:gd name="connsiteY2" fmla="*/ 196948 h 408298"/>
                    <a:gd name="connsiteX3" fmla="*/ 829994 w 829994"/>
                    <a:gd name="connsiteY3" fmla="*/ 211016 h 408298"/>
                    <a:gd name="connsiteX4" fmla="*/ 615964 w 829994"/>
                    <a:gd name="connsiteY4" fmla="*/ 293411 h 408298"/>
                    <a:gd name="connsiteX5" fmla="*/ 481317 w 829994"/>
                    <a:gd name="connsiteY5" fmla="*/ 406958 h 408298"/>
                    <a:gd name="connsiteX6" fmla="*/ 280349 w 829994"/>
                    <a:gd name="connsiteY6" fmla="*/ 370784 h 408298"/>
                    <a:gd name="connsiteX7" fmla="*/ 182880 w 829994"/>
                    <a:gd name="connsiteY7" fmla="*/ 239151 h 408298"/>
                    <a:gd name="connsiteX8" fmla="*/ 0 w 829994"/>
                    <a:gd name="connsiteY8" fmla="*/ 140677 h 408298"/>
                    <a:gd name="connsiteX9" fmla="*/ 14068 w 829994"/>
                    <a:gd name="connsiteY9" fmla="*/ 0 h 408298"/>
                    <a:gd name="connsiteX0" fmla="*/ 0 w 815926"/>
                    <a:gd name="connsiteY0" fmla="*/ 0 h 408298"/>
                    <a:gd name="connsiteX1" fmla="*/ 267286 w 815926"/>
                    <a:gd name="connsiteY1" fmla="*/ 168813 h 408298"/>
                    <a:gd name="connsiteX2" fmla="*/ 590843 w 815926"/>
                    <a:gd name="connsiteY2" fmla="*/ 196948 h 408298"/>
                    <a:gd name="connsiteX3" fmla="*/ 815926 w 815926"/>
                    <a:gd name="connsiteY3" fmla="*/ 211016 h 408298"/>
                    <a:gd name="connsiteX4" fmla="*/ 601896 w 815926"/>
                    <a:gd name="connsiteY4" fmla="*/ 293411 h 408298"/>
                    <a:gd name="connsiteX5" fmla="*/ 467249 w 815926"/>
                    <a:gd name="connsiteY5" fmla="*/ 406958 h 408298"/>
                    <a:gd name="connsiteX6" fmla="*/ 266281 w 815926"/>
                    <a:gd name="connsiteY6" fmla="*/ 370784 h 408298"/>
                    <a:gd name="connsiteX7" fmla="*/ 168812 w 815926"/>
                    <a:gd name="connsiteY7" fmla="*/ 239151 h 408298"/>
                    <a:gd name="connsiteX8" fmla="*/ 0 w 815926"/>
                    <a:gd name="connsiteY8" fmla="*/ 0 h 408298"/>
                    <a:gd name="connsiteX0" fmla="*/ 108523 w 924449"/>
                    <a:gd name="connsiteY0" fmla="*/ 0 h 408298"/>
                    <a:gd name="connsiteX1" fmla="*/ 375809 w 924449"/>
                    <a:gd name="connsiteY1" fmla="*/ 168813 h 408298"/>
                    <a:gd name="connsiteX2" fmla="*/ 699366 w 924449"/>
                    <a:gd name="connsiteY2" fmla="*/ 196948 h 408298"/>
                    <a:gd name="connsiteX3" fmla="*/ 924449 w 924449"/>
                    <a:gd name="connsiteY3" fmla="*/ 211016 h 408298"/>
                    <a:gd name="connsiteX4" fmla="*/ 710419 w 924449"/>
                    <a:gd name="connsiteY4" fmla="*/ 293411 h 408298"/>
                    <a:gd name="connsiteX5" fmla="*/ 575772 w 924449"/>
                    <a:gd name="connsiteY5" fmla="*/ 406958 h 408298"/>
                    <a:gd name="connsiteX6" fmla="*/ 374804 w 924449"/>
                    <a:gd name="connsiteY6" fmla="*/ 370784 h 408298"/>
                    <a:gd name="connsiteX7" fmla="*/ 277335 w 924449"/>
                    <a:gd name="connsiteY7" fmla="*/ 239151 h 408298"/>
                    <a:gd name="connsiteX8" fmla="*/ 108523 w 924449"/>
                    <a:gd name="connsiteY8" fmla="*/ 0 h 408298"/>
                    <a:gd name="connsiteX0" fmla="*/ 108523 w 924449"/>
                    <a:gd name="connsiteY0" fmla="*/ 0 h 408298"/>
                    <a:gd name="connsiteX1" fmla="*/ 375809 w 924449"/>
                    <a:gd name="connsiteY1" fmla="*/ 168813 h 408298"/>
                    <a:gd name="connsiteX2" fmla="*/ 699366 w 924449"/>
                    <a:gd name="connsiteY2" fmla="*/ 196948 h 408298"/>
                    <a:gd name="connsiteX3" fmla="*/ 924449 w 924449"/>
                    <a:gd name="connsiteY3" fmla="*/ 211016 h 408298"/>
                    <a:gd name="connsiteX4" fmla="*/ 710419 w 924449"/>
                    <a:gd name="connsiteY4" fmla="*/ 293411 h 408298"/>
                    <a:gd name="connsiteX5" fmla="*/ 575772 w 924449"/>
                    <a:gd name="connsiteY5" fmla="*/ 406958 h 408298"/>
                    <a:gd name="connsiteX6" fmla="*/ 374804 w 924449"/>
                    <a:gd name="connsiteY6" fmla="*/ 370784 h 408298"/>
                    <a:gd name="connsiteX7" fmla="*/ 277335 w 924449"/>
                    <a:gd name="connsiteY7" fmla="*/ 239151 h 408298"/>
                    <a:gd name="connsiteX8" fmla="*/ 108523 w 924449"/>
                    <a:gd name="connsiteY8" fmla="*/ 0 h 408298"/>
                    <a:gd name="connsiteX0" fmla="*/ 108523 w 924449"/>
                    <a:gd name="connsiteY0" fmla="*/ 0 h 414661"/>
                    <a:gd name="connsiteX1" fmla="*/ 375809 w 924449"/>
                    <a:gd name="connsiteY1" fmla="*/ 168813 h 414661"/>
                    <a:gd name="connsiteX2" fmla="*/ 699366 w 924449"/>
                    <a:gd name="connsiteY2" fmla="*/ 196948 h 414661"/>
                    <a:gd name="connsiteX3" fmla="*/ 924449 w 924449"/>
                    <a:gd name="connsiteY3" fmla="*/ 211016 h 414661"/>
                    <a:gd name="connsiteX4" fmla="*/ 710419 w 924449"/>
                    <a:gd name="connsiteY4" fmla="*/ 293411 h 414661"/>
                    <a:gd name="connsiteX5" fmla="*/ 575772 w 924449"/>
                    <a:gd name="connsiteY5" fmla="*/ 406958 h 414661"/>
                    <a:gd name="connsiteX6" fmla="*/ 374804 w 924449"/>
                    <a:gd name="connsiteY6" fmla="*/ 370784 h 414661"/>
                    <a:gd name="connsiteX7" fmla="*/ 277335 w 924449"/>
                    <a:gd name="connsiteY7" fmla="*/ 239151 h 414661"/>
                    <a:gd name="connsiteX8" fmla="*/ 108523 w 924449"/>
                    <a:gd name="connsiteY8" fmla="*/ 0 h 414661"/>
                    <a:gd name="connsiteX0" fmla="*/ 108523 w 924449"/>
                    <a:gd name="connsiteY0" fmla="*/ 0 h 414661"/>
                    <a:gd name="connsiteX1" fmla="*/ 375809 w 924449"/>
                    <a:gd name="connsiteY1" fmla="*/ 168813 h 414661"/>
                    <a:gd name="connsiteX2" fmla="*/ 699366 w 924449"/>
                    <a:gd name="connsiteY2" fmla="*/ 196948 h 414661"/>
                    <a:gd name="connsiteX3" fmla="*/ 924449 w 924449"/>
                    <a:gd name="connsiteY3" fmla="*/ 211016 h 414661"/>
                    <a:gd name="connsiteX4" fmla="*/ 745588 w 924449"/>
                    <a:gd name="connsiteY4" fmla="*/ 283363 h 414661"/>
                    <a:gd name="connsiteX5" fmla="*/ 575772 w 924449"/>
                    <a:gd name="connsiteY5" fmla="*/ 406958 h 414661"/>
                    <a:gd name="connsiteX6" fmla="*/ 374804 w 924449"/>
                    <a:gd name="connsiteY6" fmla="*/ 370784 h 414661"/>
                    <a:gd name="connsiteX7" fmla="*/ 277335 w 924449"/>
                    <a:gd name="connsiteY7" fmla="*/ 239151 h 414661"/>
                    <a:gd name="connsiteX8" fmla="*/ 108523 w 924449"/>
                    <a:gd name="connsiteY8" fmla="*/ 0 h 414661"/>
                    <a:gd name="connsiteX0" fmla="*/ 108523 w 924449"/>
                    <a:gd name="connsiteY0" fmla="*/ 0 h 414661"/>
                    <a:gd name="connsiteX1" fmla="*/ 375809 w 924449"/>
                    <a:gd name="connsiteY1" fmla="*/ 168813 h 414661"/>
                    <a:gd name="connsiteX2" fmla="*/ 699366 w 924449"/>
                    <a:gd name="connsiteY2" fmla="*/ 196948 h 414661"/>
                    <a:gd name="connsiteX3" fmla="*/ 924449 w 924449"/>
                    <a:gd name="connsiteY3" fmla="*/ 211016 h 414661"/>
                    <a:gd name="connsiteX4" fmla="*/ 745588 w 924449"/>
                    <a:gd name="connsiteY4" fmla="*/ 283363 h 414661"/>
                    <a:gd name="connsiteX5" fmla="*/ 610941 w 924449"/>
                    <a:gd name="connsiteY5" fmla="*/ 406958 h 414661"/>
                    <a:gd name="connsiteX6" fmla="*/ 374804 w 924449"/>
                    <a:gd name="connsiteY6" fmla="*/ 370784 h 414661"/>
                    <a:gd name="connsiteX7" fmla="*/ 277335 w 924449"/>
                    <a:gd name="connsiteY7" fmla="*/ 239151 h 414661"/>
                    <a:gd name="connsiteX8" fmla="*/ 108523 w 924449"/>
                    <a:gd name="connsiteY8" fmla="*/ 0 h 414661"/>
                    <a:gd name="connsiteX0" fmla="*/ 108523 w 924449"/>
                    <a:gd name="connsiteY0" fmla="*/ 0 h 428395"/>
                    <a:gd name="connsiteX1" fmla="*/ 375809 w 924449"/>
                    <a:gd name="connsiteY1" fmla="*/ 168813 h 428395"/>
                    <a:gd name="connsiteX2" fmla="*/ 699366 w 924449"/>
                    <a:gd name="connsiteY2" fmla="*/ 196948 h 428395"/>
                    <a:gd name="connsiteX3" fmla="*/ 924449 w 924449"/>
                    <a:gd name="connsiteY3" fmla="*/ 211016 h 428395"/>
                    <a:gd name="connsiteX4" fmla="*/ 745588 w 924449"/>
                    <a:gd name="connsiteY4" fmla="*/ 283363 h 428395"/>
                    <a:gd name="connsiteX5" fmla="*/ 610941 w 924449"/>
                    <a:gd name="connsiteY5" fmla="*/ 406958 h 428395"/>
                    <a:gd name="connsiteX6" fmla="*/ 374804 w 924449"/>
                    <a:gd name="connsiteY6" fmla="*/ 370784 h 428395"/>
                    <a:gd name="connsiteX7" fmla="*/ 277335 w 924449"/>
                    <a:gd name="connsiteY7" fmla="*/ 239151 h 428395"/>
                    <a:gd name="connsiteX8" fmla="*/ 108523 w 924449"/>
                    <a:gd name="connsiteY8" fmla="*/ 0 h 428395"/>
                    <a:gd name="connsiteX0" fmla="*/ 108523 w 924449"/>
                    <a:gd name="connsiteY0" fmla="*/ 0 h 428395"/>
                    <a:gd name="connsiteX1" fmla="*/ 375809 w 924449"/>
                    <a:gd name="connsiteY1" fmla="*/ 168813 h 428395"/>
                    <a:gd name="connsiteX2" fmla="*/ 699366 w 924449"/>
                    <a:gd name="connsiteY2" fmla="*/ 196948 h 428395"/>
                    <a:gd name="connsiteX3" fmla="*/ 924449 w 924449"/>
                    <a:gd name="connsiteY3" fmla="*/ 211016 h 428395"/>
                    <a:gd name="connsiteX4" fmla="*/ 745588 w 924449"/>
                    <a:gd name="connsiteY4" fmla="*/ 283363 h 428395"/>
                    <a:gd name="connsiteX5" fmla="*/ 610941 w 924449"/>
                    <a:gd name="connsiteY5" fmla="*/ 406958 h 428395"/>
                    <a:gd name="connsiteX6" fmla="*/ 374804 w 924449"/>
                    <a:gd name="connsiteY6" fmla="*/ 370784 h 428395"/>
                    <a:gd name="connsiteX7" fmla="*/ 277335 w 924449"/>
                    <a:gd name="connsiteY7" fmla="*/ 239151 h 428395"/>
                    <a:gd name="connsiteX8" fmla="*/ 108523 w 924449"/>
                    <a:gd name="connsiteY8" fmla="*/ 0 h 428395"/>
                    <a:gd name="connsiteX0" fmla="*/ 108523 w 924449"/>
                    <a:gd name="connsiteY0" fmla="*/ 0 h 428395"/>
                    <a:gd name="connsiteX1" fmla="*/ 375809 w 924449"/>
                    <a:gd name="connsiteY1" fmla="*/ 168813 h 428395"/>
                    <a:gd name="connsiteX2" fmla="*/ 699366 w 924449"/>
                    <a:gd name="connsiteY2" fmla="*/ 196948 h 428395"/>
                    <a:gd name="connsiteX3" fmla="*/ 924449 w 924449"/>
                    <a:gd name="connsiteY3" fmla="*/ 211016 h 428395"/>
                    <a:gd name="connsiteX4" fmla="*/ 745588 w 924449"/>
                    <a:gd name="connsiteY4" fmla="*/ 283363 h 428395"/>
                    <a:gd name="connsiteX5" fmla="*/ 610941 w 924449"/>
                    <a:gd name="connsiteY5" fmla="*/ 406958 h 428395"/>
                    <a:gd name="connsiteX6" fmla="*/ 374804 w 924449"/>
                    <a:gd name="connsiteY6" fmla="*/ 370784 h 428395"/>
                    <a:gd name="connsiteX7" fmla="*/ 277335 w 924449"/>
                    <a:gd name="connsiteY7" fmla="*/ 239151 h 428395"/>
                    <a:gd name="connsiteX8" fmla="*/ 108523 w 924449"/>
                    <a:gd name="connsiteY8" fmla="*/ 0 h 428395"/>
                    <a:gd name="connsiteX0" fmla="*/ 108523 w 924449"/>
                    <a:gd name="connsiteY0" fmla="*/ 0 h 428395"/>
                    <a:gd name="connsiteX1" fmla="*/ 375809 w 924449"/>
                    <a:gd name="connsiteY1" fmla="*/ 168813 h 428395"/>
                    <a:gd name="connsiteX2" fmla="*/ 699366 w 924449"/>
                    <a:gd name="connsiteY2" fmla="*/ 196948 h 428395"/>
                    <a:gd name="connsiteX3" fmla="*/ 924449 w 924449"/>
                    <a:gd name="connsiteY3" fmla="*/ 211016 h 428395"/>
                    <a:gd name="connsiteX4" fmla="*/ 745588 w 924449"/>
                    <a:gd name="connsiteY4" fmla="*/ 283363 h 428395"/>
                    <a:gd name="connsiteX5" fmla="*/ 610941 w 924449"/>
                    <a:gd name="connsiteY5" fmla="*/ 406958 h 428395"/>
                    <a:gd name="connsiteX6" fmla="*/ 374804 w 924449"/>
                    <a:gd name="connsiteY6" fmla="*/ 370784 h 428395"/>
                    <a:gd name="connsiteX7" fmla="*/ 277335 w 924449"/>
                    <a:gd name="connsiteY7" fmla="*/ 239151 h 428395"/>
                    <a:gd name="connsiteX8" fmla="*/ 108523 w 924449"/>
                    <a:gd name="connsiteY8" fmla="*/ 0 h 428395"/>
                    <a:gd name="connsiteX0" fmla="*/ 108523 w 924449"/>
                    <a:gd name="connsiteY0" fmla="*/ 0 h 428395"/>
                    <a:gd name="connsiteX1" fmla="*/ 375809 w 924449"/>
                    <a:gd name="connsiteY1" fmla="*/ 168813 h 428395"/>
                    <a:gd name="connsiteX2" fmla="*/ 699366 w 924449"/>
                    <a:gd name="connsiteY2" fmla="*/ 196948 h 428395"/>
                    <a:gd name="connsiteX3" fmla="*/ 924449 w 924449"/>
                    <a:gd name="connsiteY3" fmla="*/ 211016 h 428395"/>
                    <a:gd name="connsiteX4" fmla="*/ 745588 w 924449"/>
                    <a:gd name="connsiteY4" fmla="*/ 283363 h 428395"/>
                    <a:gd name="connsiteX5" fmla="*/ 610941 w 924449"/>
                    <a:gd name="connsiteY5" fmla="*/ 406958 h 428395"/>
                    <a:gd name="connsiteX6" fmla="*/ 374804 w 924449"/>
                    <a:gd name="connsiteY6" fmla="*/ 339787 h 428395"/>
                    <a:gd name="connsiteX7" fmla="*/ 277335 w 924449"/>
                    <a:gd name="connsiteY7" fmla="*/ 239151 h 428395"/>
                    <a:gd name="connsiteX8" fmla="*/ 108523 w 924449"/>
                    <a:gd name="connsiteY8" fmla="*/ 0 h 428395"/>
                    <a:gd name="connsiteX0" fmla="*/ 108523 w 924449"/>
                    <a:gd name="connsiteY0" fmla="*/ 0 h 402565"/>
                    <a:gd name="connsiteX1" fmla="*/ 375809 w 924449"/>
                    <a:gd name="connsiteY1" fmla="*/ 168813 h 402565"/>
                    <a:gd name="connsiteX2" fmla="*/ 699366 w 924449"/>
                    <a:gd name="connsiteY2" fmla="*/ 196948 h 402565"/>
                    <a:gd name="connsiteX3" fmla="*/ 924449 w 924449"/>
                    <a:gd name="connsiteY3" fmla="*/ 211016 h 402565"/>
                    <a:gd name="connsiteX4" fmla="*/ 745588 w 924449"/>
                    <a:gd name="connsiteY4" fmla="*/ 283363 h 402565"/>
                    <a:gd name="connsiteX5" fmla="*/ 616108 w 924449"/>
                    <a:gd name="connsiteY5" fmla="*/ 381128 h 402565"/>
                    <a:gd name="connsiteX6" fmla="*/ 374804 w 924449"/>
                    <a:gd name="connsiteY6" fmla="*/ 339787 h 402565"/>
                    <a:gd name="connsiteX7" fmla="*/ 277335 w 924449"/>
                    <a:gd name="connsiteY7" fmla="*/ 239151 h 402565"/>
                    <a:gd name="connsiteX8" fmla="*/ 108523 w 924449"/>
                    <a:gd name="connsiteY8" fmla="*/ 0 h 402565"/>
                    <a:gd name="connsiteX0" fmla="*/ 108523 w 924449"/>
                    <a:gd name="connsiteY0" fmla="*/ 0 h 412897"/>
                    <a:gd name="connsiteX1" fmla="*/ 375809 w 924449"/>
                    <a:gd name="connsiteY1" fmla="*/ 168813 h 412897"/>
                    <a:gd name="connsiteX2" fmla="*/ 699366 w 924449"/>
                    <a:gd name="connsiteY2" fmla="*/ 196948 h 412897"/>
                    <a:gd name="connsiteX3" fmla="*/ 924449 w 924449"/>
                    <a:gd name="connsiteY3" fmla="*/ 211016 h 412897"/>
                    <a:gd name="connsiteX4" fmla="*/ 745588 w 924449"/>
                    <a:gd name="connsiteY4" fmla="*/ 283363 h 412897"/>
                    <a:gd name="connsiteX5" fmla="*/ 616108 w 924449"/>
                    <a:gd name="connsiteY5" fmla="*/ 381128 h 412897"/>
                    <a:gd name="connsiteX6" fmla="*/ 374804 w 924449"/>
                    <a:gd name="connsiteY6" fmla="*/ 339787 h 412897"/>
                    <a:gd name="connsiteX7" fmla="*/ 277335 w 924449"/>
                    <a:gd name="connsiteY7" fmla="*/ 239151 h 412897"/>
                    <a:gd name="connsiteX8" fmla="*/ 108523 w 924449"/>
                    <a:gd name="connsiteY8" fmla="*/ 0 h 412897"/>
                    <a:gd name="connsiteX0" fmla="*/ 108523 w 924449"/>
                    <a:gd name="connsiteY0" fmla="*/ 0 h 412897"/>
                    <a:gd name="connsiteX1" fmla="*/ 375809 w 924449"/>
                    <a:gd name="connsiteY1" fmla="*/ 168813 h 412897"/>
                    <a:gd name="connsiteX2" fmla="*/ 699366 w 924449"/>
                    <a:gd name="connsiteY2" fmla="*/ 196948 h 412897"/>
                    <a:gd name="connsiteX3" fmla="*/ 924449 w 924449"/>
                    <a:gd name="connsiteY3" fmla="*/ 211016 h 412897"/>
                    <a:gd name="connsiteX4" fmla="*/ 732942 w 924449"/>
                    <a:gd name="connsiteY4" fmla="*/ 260503 h 412897"/>
                    <a:gd name="connsiteX5" fmla="*/ 616108 w 924449"/>
                    <a:gd name="connsiteY5" fmla="*/ 381128 h 412897"/>
                    <a:gd name="connsiteX6" fmla="*/ 374804 w 924449"/>
                    <a:gd name="connsiteY6" fmla="*/ 339787 h 412897"/>
                    <a:gd name="connsiteX7" fmla="*/ 277335 w 924449"/>
                    <a:gd name="connsiteY7" fmla="*/ 239151 h 412897"/>
                    <a:gd name="connsiteX8" fmla="*/ 108523 w 924449"/>
                    <a:gd name="connsiteY8" fmla="*/ 0 h 412897"/>
                    <a:gd name="connsiteX0" fmla="*/ 108523 w 924449"/>
                    <a:gd name="connsiteY0" fmla="*/ 0 h 412897"/>
                    <a:gd name="connsiteX1" fmla="*/ 375809 w 924449"/>
                    <a:gd name="connsiteY1" fmla="*/ 168813 h 412897"/>
                    <a:gd name="connsiteX2" fmla="*/ 699366 w 924449"/>
                    <a:gd name="connsiteY2" fmla="*/ 196948 h 412897"/>
                    <a:gd name="connsiteX3" fmla="*/ 924449 w 924449"/>
                    <a:gd name="connsiteY3" fmla="*/ 211016 h 412897"/>
                    <a:gd name="connsiteX4" fmla="*/ 732942 w 924449"/>
                    <a:gd name="connsiteY4" fmla="*/ 260503 h 412897"/>
                    <a:gd name="connsiteX5" fmla="*/ 616108 w 924449"/>
                    <a:gd name="connsiteY5" fmla="*/ 381128 h 412897"/>
                    <a:gd name="connsiteX6" fmla="*/ 374804 w 924449"/>
                    <a:gd name="connsiteY6" fmla="*/ 339787 h 412897"/>
                    <a:gd name="connsiteX7" fmla="*/ 277335 w 924449"/>
                    <a:gd name="connsiteY7" fmla="*/ 239151 h 412897"/>
                    <a:gd name="connsiteX8" fmla="*/ 108523 w 924449"/>
                    <a:gd name="connsiteY8" fmla="*/ 0 h 412897"/>
                    <a:gd name="connsiteX0" fmla="*/ 108523 w 924449"/>
                    <a:gd name="connsiteY0" fmla="*/ 0 h 412897"/>
                    <a:gd name="connsiteX1" fmla="*/ 375809 w 924449"/>
                    <a:gd name="connsiteY1" fmla="*/ 168813 h 412897"/>
                    <a:gd name="connsiteX2" fmla="*/ 699366 w 924449"/>
                    <a:gd name="connsiteY2" fmla="*/ 196948 h 412897"/>
                    <a:gd name="connsiteX3" fmla="*/ 924449 w 924449"/>
                    <a:gd name="connsiteY3" fmla="*/ 211016 h 412897"/>
                    <a:gd name="connsiteX4" fmla="*/ 732942 w 924449"/>
                    <a:gd name="connsiteY4" fmla="*/ 279553 h 412897"/>
                    <a:gd name="connsiteX5" fmla="*/ 616108 w 924449"/>
                    <a:gd name="connsiteY5" fmla="*/ 381128 h 412897"/>
                    <a:gd name="connsiteX6" fmla="*/ 374804 w 924449"/>
                    <a:gd name="connsiteY6" fmla="*/ 339787 h 412897"/>
                    <a:gd name="connsiteX7" fmla="*/ 277335 w 924449"/>
                    <a:gd name="connsiteY7" fmla="*/ 239151 h 412897"/>
                    <a:gd name="connsiteX8" fmla="*/ 108523 w 924449"/>
                    <a:gd name="connsiteY8" fmla="*/ 0 h 412897"/>
                    <a:gd name="connsiteX0" fmla="*/ 108523 w 924449"/>
                    <a:gd name="connsiteY0" fmla="*/ 0 h 412897"/>
                    <a:gd name="connsiteX1" fmla="*/ 375809 w 924449"/>
                    <a:gd name="connsiteY1" fmla="*/ 168813 h 412897"/>
                    <a:gd name="connsiteX2" fmla="*/ 699366 w 924449"/>
                    <a:gd name="connsiteY2" fmla="*/ 196948 h 412897"/>
                    <a:gd name="connsiteX3" fmla="*/ 924449 w 924449"/>
                    <a:gd name="connsiteY3" fmla="*/ 211016 h 412897"/>
                    <a:gd name="connsiteX4" fmla="*/ 732942 w 924449"/>
                    <a:gd name="connsiteY4" fmla="*/ 279553 h 412897"/>
                    <a:gd name="connsiteX5" fmla="*/ 616108 w 924449"/>
                    <a:gd name="connsiteY5" fmla="*/ 381128 h 412897"/>
                    <a:gd name="connsiteX6" fmla="*/ 374804 w 924449"/>
                    <a:gd name="connsiteY6" fmla="*/ 339787 h 412897"/>
                    <a:gd name="connsiteX7" fmla="*/ 277335 w 924449"/>
                    <a:gd name="connsiteY7" fmla="*/ 239151 h 412897"/>
                    <a:gd name="connsiteX8" fmla="*/ 108523 w 924449"/>
                    <a:gd name="connsiteY8" fmla="*/ 0 h 412897"/>
                    <a:gd name="connsiteX0" fmla="*/ 108523 w 924449"/>
                    <a:gd name="connsiteY0" fmla="*/ 0 h 397657"/>
                    <a:gd name="connsiteX1" fmla="*/ 375809 w 924449"/>
                    <a:gd name="connsiteY1" fmla="*/ 168813 h 397657"/>
                    <a:gd name="connsiteX2" fmla="*/ 699366 w 924449"/>
                    <a:gd name="connsiteY2" fmla="*/ 196948 h 397657"/>
                    <a:gd name="connsiteX3" fmla="*/ 924449 w 924449"/>
                    <a:gd name="connsiteY3" fmla="*/ 211016 h 397657"/>
                    <a:gd name="connsiteX4" fmla="*/ 732942 w 924449"/>
                    <a:gd name="connsiteY4" fmla="*/ 279553 h 397657"/>
                    <a:gd name="connsiteX5" fmla="*/ 624539 w 924449"/>
                    <a:gd name="connsiteY5" fmla="*/ 365888 h 397657"/>
                    <a:gd name="connsiteX6" fmla="*/ 374804 w 924449"/>
                    <a:gd name="connsiteY6" fmla="*/ 339787 h 397657"/>
                    <a:gd name="connsiteX7" fmla="*/ 277335 w 924449"/>
                    <a:gd name="connsiteY7" fmla="*/ 239151 h 397657"/>
                    <a:gd name="connsiteX8" fmla="*/ 108523 w 924449"/>
                    <a:gd name="connsiteY8" fmla="*/ 0 h 397657"/>
                    <a:gd name="connsiteX0" fmla="*/ 108523 w 924449"/>
                    <a:gd name="connsiteY0" fmla="*/ 0 h 397657"/>
                    <a:gd name="connsiteX1" fmla="*/ 375809 w 924449"/>
                    <a:gd name="connsiteY1" fmla="*/ 168813 h 397657"/>
                    <a:gd name="connsiteX2" fmla="*/ 699366 w 924449"/>
                    <a:gd name="connsiteY2" fmla="*/ 196948 h 397657"/>
                    <a:gd name="connsiteX3" fmla="*/ 924449 w 924449"/>
                    <a:gd name="connsiteY3" fmla="*/ 211016 h 397657"/>
                    <a:gd name="connsiteX4" fmla="*/ 732942 w 924449"/>
                    <a:gd name="connsiteY4" fmla="*/ 279553 h 397657"/>
                    <a:gd name="connsiteX5" fmla="*/ 624539 w 924449"/>
                    <a:gd name="connsiteY5" fmla="*/ 365888 h 397657"/>
                    <a:gd name="connsiteX6" fmla="*/ 374804 w 924449"/>
                    <a:gd name="connsiteY6" fmla="*/ 339787 h 397657"/>
                    <a:gd name="connsiteX7" fmla="*/ 277335 w 924449"/>
                    <a:gd name="connsiteY7" fmla="*/ 239151 h 397657"/>
                    <a:gd name="connsiteX8" fmla="*/ 108523 w 924449"/>
                    <a:gd name="connsiteY8" fmla="*/ 0 h 397657"/>
                    <a:gd name="connsiteX0" fmla="*/ 108523 w 924449"/>
                    <a:gd name="connsiteY0" fmla="*/ 0 h 397657"/>
                    <a:gd name="connsiteX1" fmla="*/ 375809 w 924449"/>
                    <a:gd name="connsiteY1" fmla="*/ 168813 h 397657"/>
                    <a:gd name="connsiteX2" fmla="*/ 699366 w 924449"/>
                    <a:gd name="connsiteY2" fmla="*/ 196948 h 397657"/>
                    <a:gd name="connsiteX3" fmla="*/ 924449 w 924449"/>
                    <a:gd name="connsiteY3" fmla="*/ 211016 h 397657"/>
                    <a:gd name="connsiteX4" fmla="*/ 732942 w 924449"/>
                    <a:gd name="connsiteY4" fmla="*/ 279553 h 397657"/>
                    <a:gd name="connsiteX5" fmla="*/ 624539 w 924449"/>
                    <a:gd name="connsiteY5" fmla="*/ 365888 h 397657"/>
                    <a:gd name="connsiteX6" fmla="*/ 374804 w 924449"/>
                    <a:gd name="connsiteY6" fmla="*/ 339787 h 397657"/>
                    <a:gd name="connsiteX7" fmla="*/ 277335 w 924449"/>
                    <a:gd name="connsiteY7" fmla="*/ 239151 h 397657"/>
                    <a:gd name="connsiteX8" fmla="*/ 108523 w 924449"/>
                    <a:gd name="connsiteY8" fmla="*/ 0 h 397657"/>
                    <a:gd name="connsiteX0" fmla="*/ 108523 w 924449"/>
                    <a:gd name="connsiteY0" fmla="*/ 0 h 397657"/>
                    <a:gd name="connsiteX1" fmla="*/ 375809 w 924449"/>
                    <a:gd name="connsiteY1" fmla="*/ 168813 h 397657"/>
                    <a:gd name="connsiteX2" fmla="*/ 699366 w 924449"/>
                    <a:gd name="connsiteY2" fmla="*/ 196948 h 397657"/>
                    <a:gd name="connsiteX3" fmla="*/ 924449 w 924449"/>
                    <a:gd name="connsiteY3" fmla="*/ 211016 h 397657"/>
                    <a:gd name="connsiteX4" fmla="*/ 732942 w 924449"/>
                    <a:gd name="connsiteY4" fmla="*/ 279553 h 397657"/>
                    <a:gd name="connsiteX5" fmla="*/ 624539 w 924449"/>
                    <a:gd name="connsiteY5" fmla="*/ 365888 h 397657"/>
                    <a:gd name="connsiteX6" fmla="*/ 374804 w 924449"/>
                    <a:gd name="connsiteY6" fmla="*/ 339787 h 397657"/>
                    <a:gd name="connsiteX7" fmla="*/ 277335 w 924449"/>
                    <a:gd name="connsiteY7" fmla="*/ 239151 h 397657"/>
                    <a:gd name="connsiteX8" fmla="*/ 108523 w 924449"/>
                    <a:gd name="connsiteY8" fmla="*/ 0 h 397657"/>
                    <a:gd name="connsiteX0" fmla="*/ 108523 w 924449"/>
                    <a:gd name="connsiteY0" fmla="*/ 0 h 397657"/>
                    <a:gd name="connsiteX1" fmla="*/ 375809 w 924449"/>
                    <a:gd name="connsiteY1" fmla="*/ 168813 h 397657"/>
                    <a:gd name="connsiteX2" fmla="*/ 699366 w 924449"/>
                    <a:gd name="connsiteY2" fmla="*/ 196948 h 397657"/>
                    <a:gd name="connsiteX3" fmla="*/ 924449 w 924449"/>
                    <a:gd name="connsiteY3" fmla="*/ 211016 h 397657"/>
                    <a:gd name="connsiteX4" fmla="*/ 732942 w 924449"/>
                    <a:gd name="connsiteY4" fmla="*/ 279553 h 397657"/>
                    <a:gd name="connsiteX5" fmla="*/ 624539 w 924449"/>
                    <a:gd name="connsiteY5" fmla="*/ 365888 h 397657"/>
                    <a:gd name="connsiteX6" fmla="*/ 374804 w 924449"/>
                    <a:gd name="connsiteY6" fmla="*/ 339787 h 397657"/>
                    <a:gd name="connsiteX7" fmla="*/ 277335 w 924449"/>
                    <a:gd name="connsiteY7" fmla="*/ 239151 h 397657"/>
                    <a:gd name="connsiteX8" fmla="*/ 108523 w 924449"/>
                    <a:gd name="connsiteY8" fmla="*/ 0 h 397657"/>
                    <a:gd name="connsiteX0" fmla="*/ 108523 w 924449"/>
                    <a:gd name="connsiteY0" fmla="*/ 0 h 397657"/>
                    <a:gd name="connsiteX1" fmla="*/ 375809 w 924449"/>
                    <a:gd name="connsiteY1" fmla="*/ 168813 h 397657"/>
                    <a:gd name="connsiteX2" fmla="*/ 699366 w 924449"/>
                    <a:gd name="connsiteY2" fmla="*/ 196948 h 397657"/>
                    <a:gd name="connsiteX3" fmla="*/ 924449 w 924449"/>
                    <a:gd name="connsiteY3" fmla="*/ 211016 h 397657"/>
                    <a:gd name="connsiteX4" fmla="*/ 732942 w 924449"/>
                    <a:gd name="connsiteY4" fmla="*/ 279553 h 397657"/>
                    <a:gd name="connsiteX5" fmla="*/ 624539 w 924449"/>
                    <a:gd name="connsiteY5" fmla="*/ 365888 h 397657"/>
                    <a:gd name="connsiteX6" fmla="*/ 374804 w 924449"/>
                    <a:gd name="connsiteY6" fmla="*/ 339787 h 397657"/>
                    <a:gd name="connsiteX7" fmla="*/ 277335 w 924449"/>
                    <a:gd name="connsiteY7" fmla="*/ 239151 h 397657"/>
                    <a:gd name="connsiteX8" fmla="*/ 108523 w 924449"/>
                    <a:gd name="connsiteY8" fmla="*/ 0 h 397657"/>
                    <a:gd name="connsiteX0" fmla="*/ 108523 w 924449"/>
                    <a:gd name="connsiteY0" fmla="*/ 0 h 397657"/>
                    <a:gd name="connsiteX1" fmla="*/ 375809 w 924449"/>
                    <a:gd name="connsiteY1" fmla="*/ 168813 h 397657"/>
                    <a:gd name="connsiteX2" fmla="*/ 707636 w 924449"/>
                    <a:gd name="connsiteY2" fmla="*/ 181999 h 397657"/>
                    <a:gd name="connsiteX3" fmla="*/ 924449 w 924449"/>
                    <a:gd name="connsiteY3" fmla="*/ 211016 h 397657"/>
                    <a:gd name="connsiteX4" fmla="*/ 732942 w 924449"/>
                    <a:gd name="connsiteY4" fmla="*/ 279553 h 397657"/>
                    <a:gd name="connsiteX5" fmla="*/ 624539 w 924449"/>
                    <a:gd name="connsiteY5" fmla="*/ 365888 h 397657"/>
                    <a:gd name="connsiteX6" fmla="*/ 374804 w 924449"/>
                    <a:gd name="connsiteY6" fmla="*/ 339787 h 397657"/>
                    <a:gd name="connsiteX7" fmla="*/ 277335 w 924449"/>
                    <a:gd name="connsiteY7" fmla="*/ 239151 h 397657"/>
                    <a:gd name="connsiteX8" fmla="*/ 108523 w 924449"/>
                    <a:gd name="connsiteY8" fmla="*/ 0 h 397657"/>
                    <a:gd name="connsiteX0" fmla="*/ 108523 w 924449"/>
                    <a:gd name="connsiteY0" fmla="*/ 0 h 397657"/>
                    <a:gd name="connsiteX1" fmla="*/ 375809 w 924449"/>
                    <a:gd name="connsiteY1" fmla="*/ 168813 h 397657"/>
                    <a:gd name="connsiteX2" fmla="*/ 707636 w 924449"/>
                    <a:gd name="connsiteY2" fmla="*/ 181999 h 397657"/>
                    <a:gd name="connsiteX3" fmla="*/ 924449 w 924449"/>
                    <a:gd name="connsiteY3" fmla="*/ 211016 h 397657"/>
                    <a:gd name="connsiteX4" fmla="*/ 732942 w 924449"/>
                    <a:gd name="connsiteY4" fmla="*/ 279553 h 397657"/>
                    <a:gd name="connsiteX5" fmla="*/ 624539 w 924449"/>
                    <a:gd name="connsiteY5" fmla="*/ 365888 h 397657"/>
                    <a:gd name="connsiteX6" fmla="*/ 374804 w 924449"/>
                    <a:gd name="connsiteY6" fmla="*/ 339787 h 397657"/>
                    <a:gd name="connsiteX7" fmla="*/ 277335 w 924449"/>
                    <a:gd name="connsiteY7" fmla="*/ 239151 h 397657"/>
                    <a:gd name="connsiteX8" fmla="*/ 108523 w 924449"/>
                    <a:gd name="connsiteY8" fmla="*/ 0 h 397657"/>
                    <a:gd name="connsiteX0" fmla="*/ 108523 w 924449"/>
                    <a:gd name="connsiteY0" fmla="*/ 0 h 397657"/>
                    <a:gd name="connsiteX1" fmla="*/ 375809 w 924449"/>
                    <a:gd name="connsiteY1" fmla="*/ 168813 h 397657"/>
                    <a:gd name="connsiteX2" fmla="*/ 707636 w 924449"/>
                    <a:gd name="connsiteY2" fmla="*/ 181999 h 397657"/>
                    <a:gd name="connsiteX3" fmla="*/ 924449 w 924449"/>
                    <a:gd name="connsiteY3" fmla="*/ 211016 h 397657"/>
                    <a:gd name="connsiteX4" fmla="*/ 732942 w 924449"/>
                    <a:gd name="connsiteY4" fmla="*/ 279553 h 397657"/>
                    <a:gd name="connsiteX5" fmla="*/ 624539 w 924449"/>
                    <a:gd name="connsiteY5" fmla="*/ 365888 h 397657"/>
                    <a:gd name="connsiteX6" fmla="*/ 371465 w 924449"/>
                    <a:gd name="connsiteY6" fmla="*/ 321680 h 397657"/>
                    <a:gd name="connsiteX7" fmla="*/ 277335 w 924449"/>
                    <a:gd name="connsiteY7" fmla="*/ 239151 h 397657"/>
                    <a:gd name="connsiteX8" fmla="*/ 108523 w 924449"/>
                    <a:gd name="connsiteY8" fmla="*/ 0 h 397657"/>
                    <a:gd name="connsiteX0" fmla="*/ 108523 w 924449"/>
                    <a:gd name="connsiteY0" fmla="*/ 0 h 382568"/>
                    <a:gd name="connsiteX1" fmla="*/ 375809 w 924449"/>
                    <a:gd name="connsiteY1" fmla="*/ 168813 h 382568"/>
                    <a:gd name="connsiteX2" fmla="*/ 707636 w 924449"/>
                    <a:gd name="connsiteY2" fmla="*/ 181999 h 382568"/>
                    <a:gd name="connsiteX3" fmla="*/ 924449 w 924449"/>
                    <a:gd name="connsiteY3" fmla="*/ 211016 h 382568"/>
                    <a:gd name="connsiteX4" fmla="*/ 732942 w 924449"/>
                    <a:gd name="connsiteY4" fmla="*/ 279553 h 382568"/>
                    <a:gd name="connsiteX5" fmla="*/ 624539 w 924449"/>
                    <a:gd name="connsiteY5" fmla="*/ 350799 h 382568"/>
                    <a:gd name="connsiteX6" fmla="*/ 371465 w 924449"/>
                    <a:gd name="connsiteY6" fmla="*/ 321680 h 382568"/>
                    <a:gd name="connsiteX7" fmla="*/ 277335 w 924449"/>
                    <a:gd name="connsiteY7" fmla="*/ 239151 h 382568"/>
                    <a:gd name="connsiteX8" fmla="*/ 108523 w 924449"/>
                    <a:gd name="connsiteY8" fmla="*/ 0 h 382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4449" h="382568">
                      <a:moveTo>
                        <a:pt x="108523" y="0"/>
                      </a:moveTo>
                      <a:cubicBezTo>
                        <a:pt x="127280" y="141682"/>
                        <a:pt x="286714" y="112542"/>
                        <a:pt x="375809" y="168813"/>
                      </a:cubicBezTo>
                      <a:cubicBezTo>
                        <a:pt x="433420" y="268627"/>
                        <a:pt x="609366" y="303249"/>
                        <a:pt x="707636" y="181999"/>
                      </a:cubicBezTo>
                      <a:cubicBezTo>
                        <a:pt x="874867" y="125770"/>
                        <a:pt x="875056" y="190920"/>
                        <a:pt x="924449" y="211016"/>
                      </a:cubicBezTo>
                      <a:cubicBezTo>
                        <a:pt x="829660" y="235132"/>
                        <a:pt x="822069" y="228767"/>
                        <a:pt x="732942" y="279553"/>
                      </a:cubicBezTo>
                      <a:cubicBezTo>
                        <a:pt x="664490" y="313411"/>
                        <a:pt x="676130" y="316941"/>
                        <a:pt x="624539" y="350799"/>
                      </a:cubicBezTo>
                      <a:cubicBezTo>
                        <a:pt x="542336" y="382568"/>
                        <a:pt x="448502" y="365557"/>
                        <a:pt x="371465" y="321680"/>
                      </a:cubicBezTo>
                      <a:cubicBezTo>
                        <a:pt x="338975" y="277802"/>
                        <a:pt x="361486" y="288195"/>
                        <a:pt x="277335" y="239151"/>
                      </a:cubicBezTo>
                      <a:cubicBezTo>
                        <a:pt x="0" y="119241"/>
                        <a:pt x="69335" y="64645"/>
                        <a:pt x="10852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307" name="Freeform 121"/>
                <p:cNvSpPr/>
                <p:nvPr/>
              </p:nvSpPr>
              <p:spPr>
                <a:xfrm>
                  <a:off x="2641542" y="1371125"/>
                  <a:ext cx="1983976" cy="1219269"/>
                </a:xfrm>
                <a:custGeom>
                  <a:avLst/>
                  <a:gdLst>
                    <a:gd name="connsiteX0" fmla="*/ 1800664 w 1800664"/>
                    <a:gd name="connsiteY0" fmla="*/ 281354 h 1153551"/>
                    <a:gd name="connsiteX1" fmla="*/ 1477108 w 1800664"/>
                    <a:gd name="connsiteY1" fmla="*/ 534573 h 1153551"/>
                    <a:gd name="connsiteX2" fmla="*/ 661181 w 1800664"/>
                    <a:gd name="connsiteY2" fmla="*/ 478302 h 1153551"/>
                    <a:gd name="connsiteX3" fmla="*/ 0 w 1800664"/>
                    <a:gd name="connsiteY3" fmla="*/ 0 h 1153551"/>
                    <a:gd name="connsiteX4" fmla="*/ 590843 w 1800664"/>
                    <a:gd name="connsiteY4" fmla="*/ 604911 h 1153551"/>
                    <a:gd name="connsiteX5" fmla="*/ 1041009 w 1800664"/>
                    <a:gd name="connsiteY5" fmla="*/ 1153551 h 1153551"/>
                    <a:gd name="connsiteX6" fmla="*/ 1223889 w 1800664"/>
                    <a:gd name="connsiteY6" fmla="*/ 1041010 h 1153551"/>
                    <a:gd name="connsiteX7" fmla="*/ 1012874 w 1800664"/>
                    <a:gd name="connsiteY7" fmla="*/ 717453 h 1153551"/>
                    <a:gd name="connsiteX8" fmla="*/ 1505243 w 1800664"/>
                    <a:gd name="connsiteY8" fmla="*/ 661182 h 1153551"/>
                    <a:gd name="connsiteX9" fmla="*/ 1800664 w 1800664"/>
                    <a:gd name="connsiteY9" fmla="*/ 281354 h 1153551"/>
                    <a:gd name="connsiteX0" fmla="*/ 1800664 w 1800664"/>
                    <a:gd name="connsiteY0" fmla="*/ 281354 h 1153551"/>
                    <a:gd name="connsiteX1" fmla="*/ 1477108 w 1800664"/>
                    <a:gd name="connsiteY1" fmla="*/ 534573 h 1153551"/>
                    <a:gd name="connsiteX2" fmla="*/ 661181 w 1800664"/>
                    <a:gd name="connsiteY2" fmla="*/ 478302 h 1153551"/>
                    <a:gd name="connsiteX3" fmla="*/ 0 w 1800664"/>
                    <a:gd name="connsiteY3" fmla="*/ 0 h 1153551"/>
                    <a:gd name="connsiteX4" fmla="*/ 590843 w 1800664"/>
                    <a:gd name="connsiteY4" fmla="*/ 604911 h 1153551"/>
                    <a:gd name="connsiteX5" fmla="*/ 1041009 w 1800664"/>
                    <a:gd name="connsiteY5" fmla="*/ 1153551 h 1153551"/>
                    <a:gd name="connsiteX6" fmla="*/ 1223889 w 1800664"/>
                    <a:gd name="connsiteY6" fmla="*/ 1041010 h 1153551"/>
                    <a:gd name="connsiteX7" fmla="*/ 1012874 w 1800664"/>
                    <a:gd name="connsiteY7" fmla="*/ 717453 h 1153551"/>
                    <a:gd name="connsiteX8" fmla="*/ 1505243 w 1800664"/>
                    <a:gd name="connsiteY8" fmla="*/ 661182 h 1153551"/>
                    <a:gd name="connsiteX9" fmla="*/ 1800664 w 1800664"/>
                    <a:gd name="connsiteY9" fmla="*/ 281354 h 1153551"/>
                    <a:gd name="connsiteX0" fmla="*/ 1800664 w 1800664"/>
                    <a:gd name="connsiteY0" fmla="*/ 281354 h 1153551"/>
                    <a:gd name="connsiteX1" fmla="*/ 1477108 w 1800664"/>
                    <a:gd name="connsiteY1" fmla="*/ 534573 h 1153551"/>
                    <a:gd name="connsiteX2" fmla="*/ 661181 w 1800664"/>
                    <a:gd name="connsiteY2" fmla="*/ 478302 h 1153551"/>
                    <a:gd name="connsiteX3" fmla="*/ 0 w 1800664"/>
                    <a:gd name="connsiteY3" fmla="*/ 0 h 1153551"/>
                    <a:gd name="connsiteX4" fmla="*/ 590843 w 1800664"/>
                    <a:gd name="connsiteY4" fmla="*/ 604911 h 1153551"/>
                    <a:gd name="connsiteX5" fmla="*/ 1041009 w 1800664"/>
                    <a:gd name="connsiteY5" fmla="*/ 1153551 h 1153551"/>
                    <a:gd name="connsiteX6" fmla="*/ 1223889 w 1800664"/>
                    <a:gd name="connsiteY6" fmla="*/ 1041010 h 1153551"/>
                    <a:gd name="connsiteX7" fmla="*/ 1012874 w 1800664"/>
                    <a:gd name="connsiteY7" fmla="*/ 717453 h 1153551"/>
                    <a:gd name="connsiteX8" fmla="*/ 1505243 w 1800664"/>
                    <a:gd name="connsiteY8" fmla="*/ 661182 h 1153551"/>
                    <a:gd name="connsiteX9" fmla="*/ 1800664 w 1800664"/>
                    <a:gd name="connsiteY9" fmla="*/ 281354 h 1153551"/>
                    <a:gd name="connsiteX0" fmla="*/ 1800664 w 1800664"/>
                    <a:gd name="connsiteY0" fmla="*/ 281354 h 1153551"/>
                    <a:gd name="connsiteX1" fmla="*/ 1477108 w 1800664"/>
                    <a:gd name="connsiteY1" fmla="*/ 534573 h 1153551"/>
                    <a:gd name="connsiteX2" fmla="*/ 661181 w 1800664"/>
                    <a:gd name="connsiteY2" fmla="*/ 478302 h 1153551"/>
                    <a:gd name="connsiteX3" fmla="*/ 0 w 1800664"/>
                    <a:gd name="connsiteY3" fmla="*/ 0 h 1153551"/>
                    <a:gd name="connsiteX4" fmla="*/ 590843 w 1800664"/>
                    <a:gd name="connsiteY4" fmla="*/ 604911 h 1153551"/>
                    <a:gd name="connsiteX5" fmla="*/ 1041009 w 1800664"/>
                    <a:gd name="connsiteY5" fmla="*/ 1153551 h 1153551"/>
                    <a:gd name="connsiteX6" fmla="*/ 1223889 w 1800664"/>
                    <a:gd name="connsiteY6" fmla="*/ 1041010 h 1153551"/>
                    <a:gd name="connsiteX7" fmla="*/ 1012874 w 1800664"/>
                    <a:gd name="connsiteY7" fmla="*/ 717453 h 1153551"/>
                    <a:gd name="connsiteX8" fmla="*/ 1505243 w 1800664"/>
                    <a:gd name="connsiteY8" fmla="*/ 661182 h 1153551"/>
                    <a:gd name="connsiteX9" fmla="*/ 1800664 w 1800664"/>
                    <a:gd name="connsiteY9" fmla="*/ 281354 h 1153551"/>
                    <a:gd name="connsiteX0" fmla="*/ 1852423 w 1852423"/>
                    <a:gd name="connsiteY0" fmla="*/ 177837 h 1153551"/>
                    <a:gd name="connsiteX1" fmla="*/ 1477108 w 1852423"/>
                    <a:gd name="connsiteY1" fmla="*/ 534573 h 1153551"/>
                    <a:gd name="connsiteX2" fmla="*/ 661181 w 1852423"/>
                    <a:gd name="connsiteY2" fmla="*/ 478302 h 1153551"/>
                    <a:gd name="connsiteX3" fmla="*/ 0 w 1852423"/>
                    <a:gd name="connsiteY3" fmla="*/ 0 h 1153551"/>
                    <a:gd name="connsiteX4" fmla="*/ 590843 w 1852423"/>
                    <a:gd name="connsiteY4" fmla="*/ 604911 h 1153551"/>
                    <a:gd name="connsiteX5" fmla="*/ 1041009 w 1852423"/>
                    <a:gd name="connsiteY5" fmla="*/ 1153551 h 1153551"/>
                    <a:gd name="connsiteX6" fmla="*/ 1223889 w 1852423"/>
                    <a:gd name="connsiteY6" fmla="*/ 1041010 h 1153551"/>
                    <a:gd name="connsiteX7" fmla="*/ 1012874 w 1852423"/>
                    <a:gd name="connsiteY7" fmla="*/ 717453 h 1153551"/>
                    <a:gd name="connsiteX8" fmla="*/ 1505243 w 1852423"/>
                    <a:gd name="connsiteY8" fmla="*/ 661182 h 1153551"/>
                    <a:gd name="connsiteX9" fmla="*/ 1852423 w 1852423"/>
                    <a:gd name="connsiteY9" fmla="*/ 177837 h 1153551"/>
                    <a:gd name="connsiteX0" fmla="*/ 1852423 w 1852423"/>
                    <a:gd name="connsiteY0" fmla="*/ 177837 h 1153551"/>
                    <a:gd name="connsiteX1" fmla="*/ 1477108 w 1852423"/>
                    <a:gd name="connsiteY1" fmla="*/ 534573 h 1153551"/>
                    <a:gd name="connsiteX2" fmla="*/ 661181 w 1852423"/>
                    <a:gd name="connsiteY2" fmla="*/ 478302 h 1153551"/>
                    <a:gd name="connsiteX3" fmla="*/ 0 w 1852423"/>
                    <a:gd name="connsiteY3" fmla="*/ 0 h 1153551"/>
                    <a:gd name="connsiteX4" fmla="*/ 590843 w 1852423"/>
                    <a:gd name="connsiteY4" fmla="*/ 604911 h 1153551"/>
                    <a:gd name="connsiteX5" fmla="*/ 1041009 w 1852423"/>
                    <a:gd name="connsiteY5" fmla="*/ 1153551 h 1153551"/>
                    <a:gd name="connsiteX6" fmla="*/ 1223889 w 1852423"/>
                    <a:gd name="connsiteY6" fmla="*/ 1041010 h 1153551"/>
                    <a:gd name="connsiteX7" fmla="*/ 1012874 w 1852423"/>
                    <a:gd name="connsiteY7" fmla="*/ 717453 h 1153551"/>
                    <a:gd name="connsiteX8" fmla="*/ 1505243 w 1852423"/>
                    <a:gd name="connsiteY8" fmla="*/ 661182 h 1153551"/>
                    <a:gd name="connsiteX9" fmla="*/ 1852423 w 1852423"/>
                    <a:gd name="connsiteY9" fmla="*/ 177837 h 1153551"/>
                    <a:gd name="connsiteX0" fmla="*/ 1852423 w 1852423"/>
                    <a:gd name="connsiteY0" fmla="*/ 149082 h 1153551"/>
                    <a:gd name="connsiteX1" fmla="*/ 1477108 w 1852423"/>
                    <a:gd name="connsiteY1" fmla="*/ 534573 h 1153551"/>
                    <a:gd name="connsiteX2" fmla="*/ 661181 w 1852423"/>
                    <a:gd name="connsiteY2" fmla="*/ 478302 h 1153551"/>
                    <a:gd name="connsiteX3" fmla="*/ 0 w 1852423"/>
                    <a:gd name="connsiteY3" fmla="*/ 0 h 1153551"/>
                    <a:gd name="connsiteX4" fmla="*/ 590843 w 1852423"/>
                    <a:gd name="connsiteY4" fmla="*/ 604911 h 1153551"/>
                    <a:gd name="connsiteX5" fmla="*/ 1041009 w 1852423"/>
                    <a:gd name="connsiteY5" fmla="*/ 1153551 h 1153551"/>
                    <a:gd name="connsiteX6" fmla="*/ 1223889 w 1852423"/>
                    <a:gd name="connsiteY6" fmla="*/ 1041010 h 1153551"/>
                    <a:gd name="connsiteX7" fmla="*/ 1012874 w 1852423"/>
                    <a:gd name="connsiteY7" fmla="*/ 717453 h 1153551"/>
                    <a:gd name="connsiteX8" fmla="*/ 1505243 w 1852423"/>
                    <a:gd name="connsiteY8" fmla="*/ 661182 h 1153551"/>
                    <a:gd name="connsiteX9" fmla="*/ 1852423 w 1852423"/>
                    <a:gd name="connsiteY9" fmla="*/ 149082 h 1153551"/>
                    <a:gd name="connsiteX0" fmla="*/ 1852423 w 1852423"/>
                    <a:gd name="connsiteY0" fmla="*/ 149082 h 1153551"/>
                    <a:gd name="connsiteX1" fmla="*/ 1477108 w 1852423"/>
                    <a:gd name="connsiteY1" fmla="*/ 534573 h 1153551"/>
                    <a:gd name="connsiteX2" fmla="*/ 661181 w 1852423"/>
                    <a:gd name="connsiteY2" fmla="*/ 478302 h 1153551"/>
                    <a:gd name="connsiteX3" fmla="*/ 0 w 1852423"/>
                    <a:gd name="connsiteY3" fmla="*/ 0 h 1153551"/>
                    <a:gd name="connsiteX4" fmla="*/ 590843 w 1852423"/>
                    <a:gd name="connsiteY4" fmla="*/ 604911 h 1153551"/>
                    <a:gd name="connsiteX5" fmla="*/ 1041009 w 1852423"/>
                    <a:gd name="connsiteY5" fmla="*/ 1153551 h 1153551"/>
                    <a:gd name="connsiteX6" fmla="*/ 1223889 w 1852423"/>
                    <a:gd name="connsiteY6" fmla="*/ 1041010 h 1153551"/>
                    <a:gd name="connsiteX7" fmla="*/ 1012874 w 1852423"/>
                    <a:gd name="connsiteY7" fmla="*/ 717453 h 1153551"/>
                    <a:gd name="connsiteX8" fmla="*/ 1505243 w 1852423"/>
                    <a:gd name="connsiteY8" fmla="*/ 661182 h 1153551"/>
                    <a:gd name="connsiteX9" fmla="*/ 1852423 w 1852423"/>
                    <a:gd name="connsiteY9" fmla="*/ 149082 h 1153551"/>
                    <a:gd name="connsiteX0" fmla="*/ 1852423 w 1852423"/>
                    <a:gd name="connsiteY0" fmla="*/ 149082 h 1153551"/>
                    <a:gd name="connsiteX1" fmla="*/ 1477108 w 1852423"/>
                    <a:gd name="connsiteY1" fmla="*/ 534573 h 1153551"/>
                    <a:gd name="connsiteX2" fmla="*/ 661181 w 1852423"/>
                    <a:gd name="connsiteY2" fmla="*/ 478302 h 1153551"/>
                    <a:gd name="connsiteX3" fmla="*/ 0 w 1852423"/>
                    <a:gd name="connsiteY3" fmla="*/ 0 h 1153551"/>
                    <a:gd name="connsiteX4" fmla="*/ 590843 w 1852423"/>
                    <a:gd name="connsiteY4" fmla="*/ 604911 h 1153551"/>
                    <a:gd name="connsiteX5" fmla="*/ 1041009 w 1852423"/>
                    <a:gd name="connsiteY5" fmla="*/ 1153551 h 1153551"/>
                    <a:gd name="connsiteX6" fmla="*/ 1223889 w 1852423"/>
                    <a:gd name="connsiteY6" fmla="*/ 1041010 h 1153551"/>
                    <a:gd name="connsiteX7" fmla="*/ 1012874 w 1852423"/>
                    <a:gd name="connsiteY7" fmla="*/ 717453 h 1153551"/>
                    <a:gd name="connsiteX8" fmla="*/ 1505243 w 1852423"/>
                    <a:gd name="connsiteY8" fmla="*/ 661182 h 1153551"/>
                    <a:gd name="connsiteX9" fmla="*/ 1852423 w 1852423"/>
                    <a:gd name="connsiteY9" fmla="*/ 149082 h 1153551"/>
                    <a:gd name="connsiteX0" fmla="*/ 1852423 w 1852423"/>
                    <a:gd name="connsiteY0" fmla="*/ 149082 h 1153551"/>
                    <a:gd name="connsiteX1" fmla="*/ 1477108 w 1852423"/>
                    <a:gd name="connsiteY1" fmla="*/ 534573 h 1153551"/>
                    <a:gd name="connsiteX2" fmla="*/ 661181 w 1852423"/>
                    <a:gd name="connsiteY2" fmla="*/ 478302 h 1153551"/>
                    <a:gd name="connsiteX3" fmla="*/ 0 w 1852423"/>
                    <a:gd name="connsiteY3" fmla="*/ 0 h 1153551"/>
                    <a:gd name="connsiteX4" fmla="*/ 590843 w 1852423"/>
                    <a:gd name="connsiteY4" fmla="*/ 604911 h 1153551"/>
                    <a:gd name="connsiteX5" fmla="*/ 1041009 w 1852423"/>
                    <a:gd name="connsiteY5" fmla="*/ 1153551 h 1153551"/>
                    <a:gd name="connsiteX6" fmla="*/ 1223889 w 1852423"/>
                    <a:gd name="connsiteY6" fmla="*/ 1041010 h 1153551"/>
                    <a:gd name="connsiteX7" fmla="*/ 1012874 w 1852423"/>
                    <a:gd name="connsiteY7" fmla="*/ 717453 h 1153551"/>
                    <a:gd name="connsiteX8" fmla="*/ 1505243 w 1852423"/>
                    <a:gd name="connsiteY8" fmla="*/ 661182 h 1153551"/>
                    <a:gd name="connsiteX9" fmla="*/ 1852423 w 1852423"/>
                    <a:gd name="connsiteY9" fmla="*/ 149082 h 1153551"/>
                    <a:gd name="connsiteX0" fmla="*/ 1852423 w 1852423"/>
                    <a:gd name="connsiteY0" fmla="*/ 149082 h 1153551"/>
                    <a:gd name="connsiteX1" fmla="*/ 1477108 w 1852423"/>
                    <a:gd name="connsiteY1" fmla="*/ 534573 h 1153551"/>
                    <a:gd name="connsiteX2" fmla="*/ 661181 w 1852423"/>
                    <a:gd name="connsiteY2" fmla="*/ 478302 h 1153551"/>
                    <a:gd name="connsiteX3" fmla="*/ 0 w 1852423"/>
                    <a:gd name="connsiteY3" fmla="*/ 0 h 1153551"/>
                    <a:gd name="connsiteX4" fmla="*/ 590843 w 1852423"/>
                    <a:gd name="connsiteY4" fmla="*/ 604911 h 1153551"/>
                    <a:gd name="connsiteX5" fmla="*/ 1041009 w 1852423"/>
                    <a:gd name="connsiteY5" fmla="*/ 1153551 h 1153551"/>
                    <a:gd name="connsiteX6" fmla="*/ 1223889 w 1852423"/>
                    <a:gd name="connsiteY6" fmla="*/ 1041010 h 1153551"/>
                    <a:gd name="connsiteX7" fmla="*/ 1012874 w 1852423"/>
                    <a:gd name="connsiteY7" fmla="*/ 717453 h 1153551"/>
                    <a:gd name="connsiteX8" fmla="*/ 1505243 w 1852423"/>
                    <a:gd name="connsiteY8" fmla="*/ 661182 h 1153551"/>
                    <a:gd name="connsiteX9" fmla="*/ 1852423 w 1852423"/>
                    <a:gd name="connsiteY9" fmla="*/ 149082 h 1153551"/>
                    <a:gd name="connsiteX0" fmla="*/ 1852423 w 1852423"/>
                    <a:gd name="connsiteY0" fmla="*/ 149082 h 1153551"/>
                    <a:gd name="connsiteX1" fmla="*/ 1477108 w 1852423"/>
                    <a:gd name="connsiteY1" fmla="*/ 534573 h 1153551"/>
                    <a:gd name="connsiteX2" fmla="*/ 661181 w 1852423"/>
                    <a:gd name="connsiteY2" fmla="*/ 478302 h 1153551"/>
                    <a:gd name="connsiteX3" fmla="*/ 0 w 1852423"/>
                    <a:gd name="connsiteY3" fmla="*/ 0 h 1153551"/>
                    <a:gd name="connsiteX4" fmla="*/ 590843 w 1852423"/>
                    <a:gd name="connsiteY4" fmla="*/ 604911 h 1153551"/>
                    <a:gd name="connsiteX5" fmla="*/ 1041009 w 1852423"/>
                    <a:gd name="connsiteY5" fmla="*/ 1153551 h 1153551"/>
                    <a:gd name="connsiteX6" fmla="*/ 1223889 w 1852423"/>
                    <a:gd name="connsiteY6" fmla="*/ 1041010 h 1153551"/>
                    <a:gd name="connsiteX7" fmla="*/ 1012874 w 1852423"/>
                    <a:gd name="connsiteY7" fmla="*/ 717453 h 1153551"/>
                    <a:gd name="connsiteX8" fmla="*/ 1505243 w 1852423"/>
                    <a:gd name="connsiteY8" fmla="*/ 661182 h 1153551"/>
                    <a:gd name="connsiteX9" fmla="*/ 1852423 w 1852423"/>
                    <a:gd name="connsiteY9" fmla="*/ 149082 h 1153551"/>
                    <a:gd name="connsiteX0" fmla="*/ 1852423 w 1852423"/>
                    <a:gd name="connsiteY0" fmla="*/ 149082 h 1153551"/>
                    <a:gd name="connsiteX1" fmla="*/ 1477108 w 1852423"/>
                    <a:gd name="connsiteY1" fmla="*/ 534573 h 1153551"/>
                    <a:gd name="connsiteX2" fmla="*/ 661181 w 1852423"/>
                    <a:gd name="connsiteY2" fmla="*/ 478302 h 1153551"/>
                    <a:gd name="connsiteX3" fmla="*/ 0 w 1852423"/>
                    <a:gd name="connsiteY3" fmla="*/ 0 h 1153551"/>
                    <a:gd name="connsiteX4" fmla="*/ 590843 w 1852423"/>
                    <a:gd name="connsiteY4" fmla="*/ 604911 h 1153551"/>
                    <a:gd name="connsiteX5" fmla="*/ 1041009 w 1852423"/>
                    <a:gd name="connsiteY5" fmla="*/ 1153551 h 1153551"/>
                    <a:gd name="connsiteX6" fmla="*/ 1223889 w 1852423"/>
                    <a:gd name="connsiteY6" fmla="*/ 1041010 h 1153551"/>
                    <a:gd name="connsiteX7" fmla="*/ 1012874 w 1852423"/>
                    <a:gd name="connsiteY7" fmla="*/ 717453 h 1153551"/>
                    <a:gd name="connsiteX8" fmla="*/ 1505243 w 1852423"/>
                    <a:gd name="connsiteY8" fmla="*/ 661182 h 1153551"/>
                    <a:gd name="connsiteX9" fmla="*/ 1852423 w 1852423"/>
                    <a:gd name="connsiteY9" fmla="*/ 149082 h 1153551"/>
                    <a:gd name="connsiteX0" fmla="*/ 1852423 w 1852423"/>
                    <a:gd name="connsiteY0" fmla="*/ 149082 h 1153551"/>
                    <a:gd name="connsiteX1" fmla="*/ 1477108 w 1852423"/>
                    <a:gd name="connsiteY1" fmla="*/ 534573 h 1153551"/>
                    <a:gd name="connsiteX2" fmla="*/ 661181 w 1852423"/>
                    <a:gd name="connsiteY2" fmla="*/ 478302 h 1153551"/>
                    <a:gd name="connsiteX3" fmla="*/ 0 w 1852423"/>
                    <a:gd name="connsiteY3" fmla="*/ 0 h 1153551"/>
                    <a:gd name="connsiteX4" fmla="*/ 590843 w 1852423"/>
                    <a:gd name="connsiteY4" fmla="*/ 604911 h 1153551"/>
                    <a:gd name="connsiteX5" fmla="*/ 1041009 w 1852423"/>
                    <a:gd name="connsiteY5" fmla="*/ 1153551 h 1153551"/>
                    <a:gd name="connsiteX6" fmla="*/ 1223889 w 1852423"/>
                    <a:gd name="connsiteY6" fmla="*/ 1041010 h 1153551"/>
                    <a:gd name="connsiteX7" fmla="*/ 1012874 w 1852423"/>
                    <a:gd name="connsiteY7" fmla="*/ 717453 h 1153551"/>
                    <a:gd name="connsiteX8" fmla="*/ 1505243 w 1852423"/>
                    <a:gd name="connsiteY8" fmla="*/ 661182 h 1153551"/>
                    <a:gd name="connsiteX9" fmla="*/ 1852423 w 1852423"/>
                    <a:gd name="connsiteY9" fmla="*/ 149082 h 1153551"/>
                    <a:gd name="connsiteX0" fmla="*/ 1852423 w 1852423"/>
                    <a:gd name="connsiteY0" fmla="*/ 149082 h 1153551"/>
                    <a:gd name="connsiteX1" fmla="*/ 1477108 w 1852423"/>
                    <a:gd name="connsiteY1" fmla="*/ 534573 h 1153551"/>
                    <a:gd name="connsiteX2" fmla="*/ 661181 w 1852423"/>
                    <a:gd name="connsiteY2" fmla="*/ 478302 h 1153551"/>
                    <a:gd name="connsiteX3" fmla="*/ 0 w 1852423"/>
                    <a:gd name="connsiteY3" fmla="*/ 0 h 1153551"/>
                    <a:gd name="connsiteX4" fmla="*/ 590843 w 1852423"/>
                    <a:gd name="connsiteY4" fmla="*/ 604911 h 1153551"/>
                    <a:gd name="connsiteX5" fmla="*/ 1041009 w 1852423"/>
                    <a:gd name="connsiteY5" fmla="*/ 1153551 h 1153551"/>
                    <a:gd name="connsiteX6" fmla="*/ 1223889 w 1852423"/>
                    <a:gd name="connsiteY6" fmla="*/ 1041010 h 1153551"/>
                    <a:gd name="connsiteX7" fmla="*/ 1012874 w 1852423"/>
                    <a:gd name="connsiteY7" fmla="*/ 717453 h 1153551"/>
                    <a:gd name="connsiteX8" fmla="*/ 1505243 w 1852423"/>
                    <a:gd name="connsiteY8" fmla="*/ 661182 h 1153551"/>
                    <a:gd name="connsiteX9" fmla="*/ 1852423 w 1852423"/>
                    <a:gd name="connsiteY9" fmla="*/ 149082 h 1153551"/>
                    <a:gd name="connsiteX0" fmla="*/ 1852423 w 1852423"/>
                    <a:gd name="connsiteY0" fmla="*/ 149082 h 1153551"/>
                    <a:gd name="connsiteX1" fmla="*/ 1477108 w 1852423"/>
                    <a:gd name="connsiteY1" fmla="*/ 534573 h 1153551"/>
                    <a:gd name="connsiteX2" fmla="*/ 661181 w 1852423"/>
                    <a:gd name="connsiteY2" fmla="*/ 478302 h 1153551"/>
                    <a:gd name="connsiteX3" fmla="*/ 0 w 1852423"/>
                    <a:gd name="connsiteY3" fmla="*/ 0 h 1153551"/>
                    <a:gd name="connsiteX4" fmla="*/ 590843 w 1852423"/>
                    <a:gd name="connsiteY4" fmla="*/ 604911 h 1153551"/>
                    <a:gd name="connsiteX5" fmla="*/ 1041009 w 1852423"/>
                    <a:gd name="connsiteY5" fmla="*/ 1153551 h 1153551"/>
                    <a:gd name="connsiteX6" fmla="*/ 1223889 w 1852423"/>
                    <a:gd name="connsiteY6" fmla="*/ 1041010 h 1153551"/>
                    <a:gd name="connsiteX7" fmla="*/ 1012874 w 1852423"/>
                    <a:gd name="connsiteY7" fmla="*/ 717453 h 1153551"/>
                    <a:gd name="connsiteX8" fmla="*/ 1505243 w 1852423"/>
                    <a:gd name="connsiteY8" fmla="*/ 661182 h 1153551"/>
                    <a:gd name="connsiteX9" fmla="*/ 1852423 w 1852423"/>
                    <a:gd name="connsiteY9" fmla="*/ 149082 h 1153551"/>
                    <a:gd name="connsiteX0" fmla="*/ 1852423 w 1852423"/>
                    <a:gd name="connsiteY0" fmla="*/ 149082 h 1153551"/>
                    <a:gd name="connsiteX1" fmla="*/ 1477108 w 1852423"/>
                    <a:gd name="connsiteY1" fmla="*/ 534573 h 1153551"/>
                    <a:gd name="connsiteX2" fmla="*/ 661181 w 1852423"/>
                    <a:gd name="connsiteY2" fmla="*/ 478302 h 1153551"/>
                    <a:gd name="connsiteX3" fmla="*/ 0 w 1852423"/>
                    <a:gd name="connsiteY3" fmla="*/ 0 h 1153551"/>
                    <a:gd name="connsiteX4" fmla="*/ 590843 w 1852423"/>
                    <a:gd name="connsiteY4" fmla="*/ 604911 h 1153551"/>
                    <a:gd name="connsiteX5" fmla="*/ 1041009 w 1852423"/>
                    <a:gd name="connsiteY5" fmla="*/ 1153551 h 1153551"/>
                    <a:gd name="connsiteX6" fmla="*/ 1223889 w 1852423"/>
                    <a:gd name="connsiteY6" fmla="*/ 1041010 h 1153551"/>
                    <a:gd name="connsiteX7" fmla="*/ 1012874 w 1852423"/>
                    <a:gd name="connsiteY7" fmla="*/ 717453 h 1153551"/>
                    <a:gd name="connsiteX8" fmla="*/ 1505243 w 1852423"/>
                    <a:gd name="connsiteY8" fmla="*/ 661182 h 1153551"/>
                    <a:gd name="connsiteX9" fmla="*/ 1852423 w 1852423"/>
                    <a:gd name="connsiteY9" fmla="*/ 149082 h 1153551"/>
                    <a:gd name="connsiteX0" fmla="*/ 1852423 w 1852423"/>
                    <a:gd name="connsiteY0" fmla="*/ 149082 h 1153551"/>
                    <a:gd name="connsiteX1" fmla="*/ 1477108 w 1852423"/>
                    <a:gd name="connsiteY1" fmla="*/ 534573 h 1153551"/>
                    <a:gd name="connsiteX2" fmla="*/ 661181 w 1852423"/>
                    <a:gd name="connsiteY2" fmla="*/ 478302 h 1153551"/>
                    <a:gd name="connsiteX3" fmla="*/ 0 w 1852423"/>
                    <a:gd name="connsiteY3" fmla="*/ 0 h 1153551"/>
                    <a:gd name="connsiteX4" fmla="*/ 590843 w 1852423"/>
                    <a:gd name="connsiteY4" fmla="*/ 604911 h 1153551"/>
                    <a:gd name="connsiteX5" fmla="*/ 1041009 w 1852423"/>
                    <a:gd name="connsiteY5" fmla="*/ 1153551 h 1153551"/>
                    <a:gd name="connsiteX6" fmla="*/ 1223889 w 1852423"/>
                    <a:gd name="connsiteY6" fmla="*/ 1041010 h 1153551"/>
                    <a:gd name="connsiteX7" fmla="*/ 1012874 w 1852423"/>
                    <a:gd name="connsiteY7" fmla="*/ 717453 h 1153551"/>
                    <a:gd name="connsiteX8" fmla="*/ 1505243 w 1852423"/>
                    <a:gd name="connsiteY8" fmla="*/ 661182 h 1153551"/>
                    <a:gd name="connsiteX9" fmla="*/ 1852423 w 1852423"/>
                    <a:gd name="connsiteY9" fmla="*/ 149082 h 1153551"/>
                    <a:gd name="connsiteX0" fmla="*/ 1852423 w 1852423"/>
                    <a:gd name="connsiteY0" fmla="*/ 149082 h 1153551"/>
                    <a:gd name="connsiteX1" fmla="*/ 1477108 w 1852423"/>
                    <a:gd name="connsiteY1" fmla="*/ 534573 h 1153551"/>
                    <a:gd name="connsiteX2" fmla="*/ 661181 w 1852423"/>
                    <a:gd name="connsiteY2" fmla="*/ 478302 h 1153551"/>
                    <a:gd name="connsiteX3" fmla="*/ 0 w 1852423"/>
                    <a:gd name="connsiteY3" fmla="*/ 0 h 1153551"/>
                    <a:gd name="connsiteX4" fmla="*/ 590843 w 1852423"/>
                    <a:gd name="connsiteY4" fmla="*/ 604911 h 1153551"/>
                    <a:gd name="connsiteX5" fmla="*/ 1041009 w 1852423"/>
                    <a:gd name="connsiteY5" fmla="*/ 1153551 h 1153551"/>
                    <a:gd name="connsiteX6" fmla="*/ 1223889 w 1852423"/>
                    <a:gd name="connsiteY6" fmla="*/ 1041010 h 1153551"/>
                    <a:gd name="connsiteX7" fmla="*/ 1012874 w 1852423"/>
                    <a:gd name="connsiteY7" fmla="*/ 717453 h 1153551"/>
                    <a:gd name="connsiteX8" fmla="*/ 1505243 w 1852423"/>
                    <a:gd name="connsiteY8" fmla="*/ 661182 h 1153551"/>
                    <a:gd name="connsiteX9" fmla="*/ 1852423 w 1852423"/>
                    <a:gd name="connsiteY9" fmla="*/ 149082 h 1153551"/>
                    <a:gd name="connsiteX0" fmla="*/ 1852423 w 1852423"/>
                    <a:gd name="connsiteY0" fmla="*/ 149082 h 1153551"/>
                    <a:gd name="connsiteX1" fmla="*/ 1477108 w 1852423"/>
                    <a:gd name="connsiteY1" fmla="*/ 534573 h 1153551"/>
                    <a:gd name="connsiteX2" fmla="*/ 661181 w 1852423"/>
                    <a:gd name="connsiteY2" fmla="*/ 478302 h 1153551"/>
                    <a:gd name="connsiteX3" fmla="*/ 0 w 1852423"/>
                    <a:gd name="connsiteY3" fmla="*/ 0 h 1153551"/>
                    <a:gd name="connsiteX4" fmla="*/ 590843 w 1852423"/>
                    <a:gd name="connsiteY4" fmla="*/ 604911 h 1153551"/>
                    <a:gd name="connsiteX5" fmla="*/ 1041009 w 1852423"/>
                    <a:gd name="connsiteY5" fmla="*/ 1153551 h 1153551"/>
                    <a:gd name="connsiteX6" fmla="*/ 1223889 w 1852423"/>
                    <a:gd name="connsiteY6" fmla="*/ 1041010 h 1153551"/>
                    <a:gd name="connsiteX7" fmla="*/ 1012874 w 1852423"/>
                    <a:gd name="connsiteY7" fmla="*/ 717453 h 1153551"/>
                    <a:gd name="connsiteX8" fmla="*/ 1505243 w 1852423"/>
                    <a:gd name="connsiteY8" fmla="*/ 661182 h 1153551"/>
                    <a:gd name="connsiteX9" fmla="*/ 1852423 w 1852423"/>
                    <a:gd name="connsiteY9" fmla="*/ 149082 h 1153551"/>
                    <a:gd name="connsiteX0" fmla="*/ 1852423 w 1852423"/>
                    <a:gd name="connsiteY0" fmla="*/ 149082 h 1285557"/>
                    <a:gd name="connsiteX1" fmla="*/ 1477108 w 1852423"/>
                    <a:gd name="connsiteY1" fmla="*/ 534573 h 1285557"/>
                    <a:gd name="connsiteX2" fmla="*/ 661181 w 1852423"/>
                    <a:gd name="connsiteY2" fmla="*/ 478302 h 1285557"/>
                    <a:gd name="connsiteX3" fmla="*/ 0 w 1852423"/>
                    <a:gd name="connsiteY3" fmla="*/ 0 h 1285557"/>
                    <a:gd name="connsiteX4" fmla="*/ 590843 w 1852423"/>
                    <a:gd name="connsiteY4" fmla="*/ 604911 h 1285557"/>
                    <a:gd name="connsiteX5" fmla="*/ 1041009 w 1852423"/>
                    <a:gd name="connsiteY5" fmla="*/ 1153551 h 1285557"/>
                    <a:gd name="connsiteX6" fmla="*/ 1223889 w 1852423"/>
                    <a:gd name="connsiteY6" fmla="*/ 1041010 h 1285557"/>
                    <a:gd name="connsiteX7" fmla="*/ 1012874 w 1852423"/>
                    <a:gd name="connsiteY7" fmla="*/ 717453 h 1285557"/>
                    <a:gd name="connsiteX8" fmla="*/ 1505243 w 1852423"/>
                    <a:gd name="connsiteY8" fmla="*/ 661182 h 1285557"/>
                    <a:gd name="connsiteX9" fmla="*/ 1852423 w 1852423"/>
                    <a:gd name="connsiteY9" fmla="*/ 149082 h 1285557"/>
                    <a:gd name="connsiteX0" fmla="*/ 1852423 w 1852423"/>
                    <a:gd name="connsiteY0" fmla="*/ 149082 h 1458086"/>
                    <a:gd name="connsiteX1" fmla="*/ 1477108 w 1852423"/>
                    <a:gd name="connsiteY1" fmla="*/ 534573 h 1458086"/>
                    <a:gd name="connsiteX2" fmla="*/ 661181 w 1852423"/>
                    <a:gd name="connsiteY2" fmla="*/ 478302 h 1458086"/>
                    <a:gd name="connsiteX3" fmla="*/ 0 w 1852423"/>
                    <a:gd name="connsiteY3" fmla="*/ 0 h 1458086"/>
                    <a:gd name="connsiteX4" fmla="*/ 590843 w 1852423"/>
                    <a:gd name="connsiteY4" fmla="*/ 604911 h 1458086"/>
                    <a:gd name="connsiteX5" fmla="*/ 1041009 w 1852423"/>
                    <a:gd name="connsiteY5" fmla="*/ 1153551 h 1458086"/>
                    <a:gd name="connsiteX6" fmla="*/ 1258394 w 1852423"/>
                    <a:gd name="connsiteY6" fmla="*/ 1213539 h 1458086"/>
                    <a:gd name="connsiteX7" fmla="*/ 1012874 w 1852423"/>
                    <a:gd name="connsiteY7" fmla="*/ 717453 h 1458086"/>
                    <a:gd name="connsiteX8" fmla="*/ 1505243 w 1852423"/>
                    <a:gd name="connsiteY8" fmla="*/ 661182 h 1458086"/>
                    <a:gd name="connsiteX9" fmla="*/ 1852423 w 1852423"/>
                    <a:gd name="connsiteY9" fmla="*/ 149082 h 1458086"/>
                    <a:gd name="connsiteX0" fmla="*/ 1852423 w 1852423"/>
                    <a:gd name="connsiteY0" fmla="*/ 149082 h 1458086"/>
                    <a:gd name="connsiteX1" fmla="*/ 1477108 w 1852423"/>
                    <a:gd name="connsiteY1" fmla="*/ 534573 h 1458086"/>
                    <a:gd name="connsiteX2" fmla="*/ 661181 w 1852423"/>
                    <a:gd name="connsiteY2" fmla="*/ 478302 h 1458086"/>
                    <a:gd name="connsiteX3" fmla="*/ 0 w 1852423"/>
                    <a:gd name="connsiteY3" fmla="*/ 0 h 1458086"/>
                    <a:gd name="connsiteX4" fmla="*/ 590843 w 1852423"/>
                    <a:gd name="connsiteY4" fmla="*/ 604911 h 1458086"/>
                    <a:gd name="connsiteX5" fmla="*/ 1041009 w 1852423"/>
                    <a:gd name="connsiteY5" fmla="*/ 1153551 h 1458086"/>
                    <a:gd name="connsiteX6" fmla="*/ 1258394 w 1852423"/>
                    <a:gd name="connsiteY6" fmla="*/ 1213539 h 1458086"/>
                    <a:gd name="connsiteX7" fmla="*/ 1012874 w 1852423"/>
                    <a:gd name="connsiteY7" fmla="*/ 717453 h 1458086"/>
                    <a:gd name="connsiteX8" fmla="*/ 1505243 w 1852423"/>
                    <a:gd name="connsiteY8" fmla="*/ 661182 h 1458086"/>
                    <a:gd name="connsiteX9" fmla="*/ 1852423 w 1852423"/>
                    <a:gd name="connsiteY9" fmla="*/ 149082 h 1458086"/>
                    <a:gd name="connsiteX0" fmla="*/ 1852423 w 1852423"/>
                    <a:gd name="connsiteY0" fmla="*/ 149082 h 1458086"/>
                    <a:gd name="connsiteX1" fmla="*/ 1477108 w 1852423"/>
                    <a:gd name="connsiteY1" fmla="*/ 534573 h 1458086"/>
                    <a:gd name="connsiteX2" fmla="*/ 661181 w 1852423"/>
                    <a:gd name="connsiteY2" fmla="*/ 478302 h 1458086"/>
                    <a:gd name="connsiteX3" fmla="*/ 0 w 1852423"/>
                    <a:gd name="connsiteY3" fmla="*/ 0 h 1458086"/>
                    <a:gd name="connsiteX4" fmla="*/ 590843 w 1852423"/>
                    <a:gd name="connsiteY4" fmla="*/ 604911 h 1458086"/>
                    <a:gd name="connsiteX5" fmla="*/ 1041009 w 1852423"/>
                    <a:gd name="connsiteY5" fmla="*/ 1153551 h 1458086"/>
                    <a:gd name="connsiteX6" fmla="*/ 1258394 w 1852423"/>
                    <a:gd name="connsiteY6" fmla="*/ 1213539 h 1458086"/>
                    <a:gd name="connsiteX7" fmla="*/ 1012874 w 1852423"/>
                    <a:gd name="connsiteY7" fmla="*/ 717453 h 1458086"/>
                    <a:gd name="connsiteX8" fmla="*/ 1505243 w 1852423"/>
                    <a:gd name="connsiteY8" fmla="*/ 661182 h 1458086"/>
                    <a:gd name="connsiteX9" fmla="*/ 1852423 w 1852423"/>
                    <a:gd name="connsiteY9" fmla="*/ 149082 h 1458086"/>
                    <a:gd name="connsiteX0" fmla="*/ 1852423 w 1852423"/>
                    <a:gd name="connsiteY0" fmla="*/ 149082 h 1308562"/>
                    <a:gd name="connsiteX1" fmla="*/ 1477108 w 1852423"/>
                    <a:gd name="connsiteY1" fmla="*/ 534573 h 1308562"/>
                    <a:gd name="connsiteX2" fmla="*/ 661181 w 1852423"/>
                    <a:gd name="connsiteY2" fmla="*/ 478302 h 1308562"/>
                    <a:gd name="connsiteX3" fmla="*/ 0 w 1852423"/>
                    <a:gd name="connsiteY3" fmla="*/ 0 h 1308562"/>
                    <a:gd name="connsiteX4" fmla="*/ 590843 w 1852423"/>
                    <a:gd name="connsiteY4" fmla="*/ 604911 h 1308562"/>
                    <a:gd name="connsiteX5" fmla="*/ 1041009 w 1852423"/>
                    <a:gd name="connsiteY5" fmla="*/ 1153551 h 1308562"/>
                    <a:gd name="connsiteX6" fmla="*/ 1223889 w 1852423"/>
                    <a:gd name="connsiteY6" fmla="*/ 1064015 h 1308562"/>
                    <a:gd name="connsiteX7" fmla="*/ 1012874 w 1852423"/>
                    <a:gd name="connsiteY7" fmla="*/ 717453 h 1308562"/>
                    <a:gd name="connsiteX8" fmla="*/ 1505243 w 1852423"/>
                    <a:gd name="connsiteY8" fmla="*/ 661182 h 1308562"/>
                    <a:gd name="connsiteX9" fmla="*/ 1852423 w 1852423"/>
                    <a:gd name="connsiteY9" fmla="*/ 149082 h 1308562"/>
                    <a:gd name="connsiteX0" fmla="*/ 1852423 w 1852423"/>
                    <a:gd name="connsiteY0" fmla="*/ 149082 h 1308562"/>
                    <a:gd name="connsiteX1" fmla="*/ 1477108 w 1852423"/>
                    <a:gd name="connsiteY1" fmla="*/ 534573 h 1308562"/>
                    <a:gd name="connsiteX2" fmla="*/ 661181 w 1852423"/>
                    <a:gd name="connsiteY2" fmla="*/ 478302 h 1308562"/>
                    <a:gd name="connsiteX3" fmla="*/ 0 w 1852423"/>
                    <a:gd name="connsiteY3" fmla="*/ 0 h 1308562"/>
                    <a:gd name="connsiteX4" fmla="*/ 590843 w 1852423"/>
                    <a:gd name="connsiteY4" fmla="*/ 604911 h 1308562"/>
                    <a:gd name="connsiteX5" fmla="*/ 1041009 w 1852423"/>
                    <a:gd name="connsiteY5" fmla="*/ 1153551 h 1308562"/>
                    <a:gd name="connsiteX6" fmla="*/ 1223889 w 1852423"/>
                    <a:gd name="connsiteY6" fmla="*/ 1064015 h 1308562"/>
                    <a:gd name="connsiteX7" fmla="*/ 1012874 w 1852423"/>
                    <a:gd name="connsiteY7" fmla="*/ 717453 h 1308562"/>
                    <a:gd name="connsiteX8" fmla="*/ 1505243 w 1852423"/>
                    <a:gd name="connsiteY8" fmla="*/ 661182 h 1308562"/>
                    <a:gd name="connsiteX9" fmla="*/ 1852423 w 1852423"/>
                    <a:gd name="connsiteY9" fmla="*/ 149082 h 1308562"/>
                    <a:gd name="connsiteX0" fmla="*/ 1852423 w 1852423"/>
                    <a:gd name="connsiteY0" fmla="*/ 149082 h 1308562"/>
                    <a:gd name="connsiteX1" fmla="*/ 1477108 w 1852423"/>
                    <a:gd name="connsiteY1" fmla="*/ 534573 h 1308562"/>
                    <a:gd name="connsiteX2" fmla="*/ 661181 w 1852423"/>
                    <a:gd name="connsiteY2" fmla="*/ 478302 h 1308562"/>
                    <a:gd name="connsiteX3" fmla="*/ 0 w 1852423"/>
                    <a:gd name="connsiteY3" fmla="*/ 0 h 1308562"/>
                    <a:gd name="connsiteX4" fmla="*/ 590843 w 1852423"/>
                    <a:gd name="connsiteY4" fmla="*/ 604911 h 1308562"/>
                    <a:gd name="connsiteX5" fmla="*/ 1041009 w 1852423"/>
                    <a:gd name="connsiteY5" fmla="*/ 1153551 h 1308562"/>
                    <a:gd name="connsiteX6" fmla="*/ 1223889 w 1852423"/>
                    <a:gd name="connsiteY6" fmla="*/ 1064015 h 1308562"/>
                    <a:gd name="connsiteX7" fmla="*/ 1012874 w 1852423"/>
                    <a:gd name="connsiteY7" fmla="*/ 717453 h 1308562"/>
                    <a:gd name="connsiteX8" fmla="*/ 1505243 w 1852423"/>
                    <a:gd name="connsiteY8" fmla="*/ 661182 h 1308562"/>
                    <a:gd name="connsiteX9" fmla="*/ 1852423 w 1852423"/>
                    <a:gd name="connsiteY9" fmla="*/ 149082 h 1308562"/>
                    <a:gd name="connsiteX0" fmla="*/ 1852423 w 1852423"/>
                    <a:gd name="connsiteY0" fmla="*/ 149082 h 1308562"/>
                    <a:gd name="connsiteX1" fmla="*/ 1477108 w 1852423"/>
                    <a:gd name="connsiteY1" fmla="*/ 534573 h 1308562"/>
                    <a:gd name="connsiteX2" fmla="*/ 661181 w 1852423"/>
                    <a:gd name="connsiteY2" fmla="*/ 478302 h 1308562"/>
                    <a:gd name="connsiteX3" fmla="*/ 0 w 1852423"/>
                    <a:gd name="connsiteY3" fmla="*/ 0 h 1308562"/>
                    <a:gd name="connsiteX4" fmla="*/ 590843 w 1852423"/>
                    <a:gd name="connsiteY4" fmla="*/ 604911 h 1308562"/>
                    <a:gd name="connsiteX5" fmla="*/ 1041009 w 1852423"/>
                    <a:gd name="connsiteY5" fmla="*/ 1153551 h 1308562"/>
                    <a:gd name="connsiteX6" fmla="*/ 1223889 w 1852423"/>
                    <a:gd name="connsiteY6" fmla="*/ 1064015 h 1308562"/>
                    <a:gd name="connsiteX7" fmla="*/ 1012874 w 1852423"/>
                    <a:gd name="connsiteY7" fmla="*/ 717453 h 1308562"/>
                    <a:gd name="connsiteX8" fmla="*/ 1505243 w 1852423"/>
                    <a:gd name="connsiteY8" fmla="*/ 661182 h 1308562"/>
                    <a:gd name="connsiteX9" fmla="*/ 1852423 w 1852423"/>
                    <a:gd name="connsiteY9" fmla="*/ 149082 h 1308562"/>
                    <a:gd name="connsiteX0" fmla="*/ 1852423 w 1852423"/>
                    <a:gd name="connsiteY0" fmla="*/ 149082 h 1308562"/>
                    <a:gd name="connsiteX1" fmla="*/ 1477108 w 1852423"/>
                    <a:gd name="connsiteY1" fmla="*/ 534573 h 1308562"/>
                    <a:gd name="connsiteX2" fmla="*/ 661181 w 1852423"/>
                    <a:gd name="connsiteY2" fmla="*/ 478302 h 1308562"/>
                    <a:gd name="connsiteX3" fmla="*/ 0 w 1852423"/>
                    <a:gd name="connsiteY3" fmla="*/ 0 h 1308562"/>
                    <a:gd name="connsiteX4" fmla="*/ 590843 w 1852423"/>
                    <a:gd name="connsiteY4" fmla="*/ 604911 h 1308562"/>
                    <a:gd name="connsiteX5" fmla="*/ 1041009 w 1852423"/>
                    <a:gd name="connsiteY5" fmla="*/ 1153551 h 1308562"/>
                    <a:gd name="connsiteX6" fmla="*/ 1223889 w 1852423"/>
                    <a:gd name="connsiteY6" fmla="*/ 1064015 h 1308562"/>
                    <a:gd name="connsiteX7" fmla="*/ 1012874 w 1852423"/>
                    <a:gd name="connsiteY7" fmla="*/ 717453 h 1308562"/>
                    <a:gd name="connsiteX8" fmla="*/ 1505243 w 1852423"/>
                    <a:gd name="connsiteY8" fmla="*/ 661182 h 1308562"/>
                    <a:gd name="connsiteX9" fmla="*/ 1852423 w 1852423"/>
                    <a:gd name="connsiteY9" fmla="*/ 149082 h 1308562"/>
                    <a:gd name="connsiteX0" fmla="*/ 1852423 w 1852423"/>
                    <a:gd name="connsiteY0" fmla="*/ 149082 h 1308562"/>
                    <a:gd name="connsiteX1" fmla="*/ 1477108 w 1852423"/>
                    <a:gd name="connsiteY1" fmla="*/ 534573 h 1308562"/>
                    <a:gd name="connsiteX2" fmla="*/ 661181 w 1852423"/>
                    <a:gd name="connsiteY2" fmla="*/ 478302 h 1308562"/>
                    <a:gd name="connsiteX3" fmla="*/ 0 w 1852423"/>
                    <a:gd name="connsiteY3" fmla="*/ 0 h 1308562"/>
                    <a:gd name="connsiteX4" fmla="*/ 590843 w 1852423"/>
                    <a:gd name="connsiteY4" fmla="*/ 604911 h 1308562"/>
                    <a:gd name="connsiteX5" fmla="*/ 1041009 w 1852423"/>
                    <a:gd name="connsiteY5" fmla="*/ 1153551 h 1308562"/>
                    <a:gd name="connsiteX6" fmla="*/ 1223889 w 1852423"/>
                    <a:gd name="connsiteY6" fmla="*/ 1064015 h 1308562"/>
                    <a:gd name="connsiteX7" fmla="*/ 1012874 w 1852423"/>
                    <a:gd name="connsiteY7" fmla="*/ 717453 h 1308562"/>
                    <a:gd name="connsiteX8" fmla="*/ 1505243 w 1852423"/>
                    <a:gd name="connsiteY8" fmla="*/ 661182 h 1308562"/>
                    <a:gd name="connsiteX9" fmla="*/ 1852423 w 1852423"/>
                    <a:gd name="connsiteY9" fmla="*/ 149082 h 1308562"/>
                    <a:gd name="connsiteX0" fmla="*/ 1852423 w 1852423"/>
                    <a:gd name="connsiteY0" fmla="*/ 149082 h 1308562"/>
                    <a:gd name="connsiteX1" fmla="*/ 1477108 w 1852423"/>
                    <a:gd name="connsiteY1" fmla="*/ 534573 h 1308562"/>
                    <a:gd name="connsiteX2" fmla="*/ 661181 w 1852423"/>
                    <a:gd name="connsiteY2" fmla="*/ 478302 h 1308562"/>
                    <a:gd name="connsiteX3" fmla="*/ 0 w 1852423"/>
                    <a:gd name="connsiteY3" fmla="*/ 0 h 1308562"/>
                    <a:gd name="connsiteX4" fmla="*/ 590843 w 1852423"/>
                    <a:gd name="connsiteY4" fmla="*/ 604911 h 1308562"/>
                    <a:gd name="connsiteX5" fmla="*/ 1041009 w 1852423"/>
                    <a:gd name="connsiteY5" fmla="*/ 1153551 h 1308562"/>
                    <a:gd name="connsiteX6" fmla="*/ 1223889 w 1852423"/>
                    <a:gd name="connsiteY6" fmla="*/ 1064015 h 1308562"/>
                    <a:gd name="connsiteX7" fmla="*/ 1012874 w 1852423"/>
                    <a:gd name="connsiteY7" fmla="*/ 717453 h 1308562"/>
                    <a:gd name="connsiteX8" fmla="*/ 1505243 w 1852423"/>
                    <a:gd name="connsiteY8" fmla="*/ 661182 h 1308562"/>
                    <a:gd name="connsiteX9" fmla="*/ 1852423 w 1852423"/>
                    <a:gd name="connsiteY9" fmla="*/ 149082 h 1308562"/>
                    <a:gd name="connsiteX0" fmla="*/ 1898431 w 1898431"/>
                    <a:gd name="connsiteY0" fmla="*/ 218094 h 1377574"/>
                    <a:gd name="connsiteX1" fmla="*/ 1523116 w 1898431"/>
                    <a:gd name="connsiteY1" fmla="*/ 603585 h 1377574"/>
                    <a:gd name="connsiteX2" fmla="*/ 707189 w 1898431"/>
                    <a:gd name="connsiteY2" fmla="*/ 547314 h 1377574"/>
                    <a:gd name="connsiteX3" fmla="*/ 0 w 1898431"/>
                    <a:gd name="connsiteY3" fmla="*/ 0 h 1377574"/>
                    <a:gd name="connsiteX4" fmla="*/ 636851 w 1898431"/>
                    <a:gd name="connsiteY4" fmla="*/ 673923 h 1377574"/>
                    <a:gd name="connsiteX5" fmla="*/ 1087017 w 1898431"/>
                    <a:gd name="connsiteY5" fmla="*/ 1222563 h 1377574"/>
                    <a:gd name="connsiteX6" fmla="*/ 1269897 w 1898431"/>
                    <a:gd name="connsiteY6" fmla="*/ 1133027 h 1377574"/>
                    <a:gd name="connsiteX7" fmla="*/ 1058882 w 1898431"/>
                    <a:gd name="connsiteY7" fmla="*/ 786465 h 1377574"/>
                    <a:gd name="connsiteX8" fmla="*/ 1551251 w 1898431"/>
                    <a:gd name="connsiteY8" fmla="*/ 730194 h 1377574"/>
                    <a:gd name="connsiteX9" fmla="*/ 1898431 w 1898431"/>
                    <a:gd name="connsiteY9" fmla="*/ 218094 h 1377574"/>
                    <a:gd name="connsiteX0" fmla="*/ 1898431 w 1898431"/>
                    <a:gd name="connsiteY0" fmla="*/ 218094 h 1377574"/>
                    <a:gd name="connsiteX1" fmla="*/ 1523116 w 1898431"/>
                    <a:gd name="connsiteY1" fmla="*/ 603585 h 1377574"/>
                    <a:gd name="connsiteX2" fmla="*/ 707189 w 1898431"/>
                    <a:gd name="connsiteY2" fmla="*/ 547314 h 1377574"/>
                    <a:gd name="connsiteX3" fmla="*/ 0 w 1898431"/>
                    <a:gd name="connsiteY3" fmla="*/ 0 h 1377574"/>
                    <a:gd name="connsiteX4" fmla="*/ 636851 w 1898431"/>
                    <a:gd name="connsiteY4" fmla="*/ 673923 h 1377574"/>
                    <a:gd name="connsiteX5" fmla="*/ 1087017 w 1898431"/>
                    <a:gd name="connsiteY5" fmla="*/ 1222563 h 1377574"/>
                    <a:gd name="connsiteX6" fmla="*/ 1269897 w 1898431"/>
                    <a:gd name="connsiteY6" fmla="*/ 1133027 h 1377574"/>
                    <a:gd name="connsiteX7" fmla="*/ 1058882 w 1898431"/>
                    <a:gd name="connsiteY7" fmla="*/ 786465 h 1377574"/>
                    <a:gd name="connsiteX8" fmla="*/ 1551251 w 1898431"/>
                    <a:gd name="connsiteY8" fmla="*/ 730194 h 1377574"/>
                    <a:gd name="connsiteX9" fmla="*/ 1898431 w 1898431"/>
                    <a:gd name="connsiteY9" fmla="*/ 218094 h 1377574"/>
                    <a:gd name="connsiteX0" fmla="*/ 1869676 w 1869676"/>
                    <a:gd name="connsiteY0" fmla="*/ 154833 h 1314313"/>
                    <a:gd name="connsiteX1" fmla="*/ 1494361 w 1869676"/>
                    <a:gd name="connsiteY1" fmla="*/ 540324 h 1314313"/>
                    <a:gd name="connsiteX2" fmla="*/ 678434 w 1869676"/>
                    <a:gd name="connsiteY2" fmla="*/ 484053 h 1314313"/>
                    <a:gd name="connsiteX3" fmla="*/ 0 w 1869676"/>
                    <a:gd name="connsiteY3" fmla="*/ 0 h 1314313"/>
                    <a:gd name="connsiteX4" fmla="*/ 608096 w 1869676"/>
                    <a:gd name="connsiteY4" fmla="*/ 610662 h 1314313"/>
                    <a:gd name="connsiteX5" fmla="*/ 1058262 w 1869676"/>
                    <a:gd name="connsiteY5" fmla="*/ 1159302 h 1314313"/>
                    <a:gd name="connsiteX6" fmla="*/ 1241142 w 1869676"/>
                    <a:gd name="connsiteY6" fmla="*/ 1069766 h 1314313"/>
                    <a:gd name="connsiteX7" fmla="*/ 1030127 w 1869676"/>
                    <a:gd name="connsiteY7" fmla="*/ 723204 h 1314313"/>
                    <a:gd name="connsiteX8" fmla="*/ 1522496 w 1869676"/>
                    <a:gd name="connsiteY8" fmla="*/ 666933 h 1314313"/>
                    <a:gd name="connsiteX9" fmla="*/ 1869676 w 1869676"/>
                    <a:gd name="connsiteY9" fmla="*/ 154833 h 1314313"/>
                    <a:gd name="connsiteX0" fmla="*/ 1869676 w 1869676"/>
                    <a:gd name="connsiteY0" fmla="*/ 154833 h 1314313"/>
                    <a:gd name="connsiteX1" fmla="*/ 1494361 w 1869676"/>
                    <a:gd name="connsiteY1" fmla="*/ 540324 h 1314313"/>
                    <a:gd name="connsiteX2" fmla="*/ 678434 w 1869676"/>
                    <a:gd name="connsiteY2" fmla="*/ 484053 h 1314313"/>
                    <a:gd name="connsiteX3" fmla="*/ 0 w 1869676"/>
                    <a:gd name="connsiteY3" fmla="*/ 0 h 1314313"/>
                    <a:gd name="connsiteX4" fmla="*/ 608096 w 1869676"/>
                    <a:gd name="connsiteY4" fmla="*/ 610662 h 1314313"/>
                    <a:gd name="connsiteX5" fmla="*/ 1058262 w 1869676"/>
                    <a:gd name="connsiteY5" fmla="*/ 1159302 h 1314313"/>
                    <a:gd name="connsiteX6" fmla="*/ 1241142 w 1869676"/>
                    <a:gd name="connsiteY6" fmla="*/ 1069766 h 1314313"/>
                    <a:gd name="connsiteX7" fmla="*/ 1030127 w 1869676"/>
                    <a:gd name="connsiteY7" fmla="*/ 723204 h 1314313"/>
                    <a:gd name="connsiteX8" fmla="*/ 1522496 w 1869676"/>
                    <a:gd name="connsiteY8" fmla="*/ 666933 h 1314313"/>
                    <a:gd name="connsiteX9" fmla="*/ 1869676 w 1869676"/>
                    <a:gd name="connsiteY9" fmla="*/ 154833 h 1314313"/>
                    <a:gd name="connsiteX0" fmla="*/ 1869676 w 1869676"/>
                    <a:gd name="connsiteY0" fmla="*/ 269133 h 1428613"/>
                    <a:gd name="connsiteX1" fmla="*/ 1494361 w 1869676"/>
                    <a:gd name="connsiteY1" fmla="*/ 654624 h 1428613"/>
                    <a:gd name="connsiteX2" fmla="*/ 678434 w 1869676"/>
                    <a:gd name="connsiteY2" fmla="*/ 598353 h 1428613"/>
                    <a:gd name="connsiteX3" fmla="*/ 0 w 1869676"/>
                    <a:gd name="connsiteY3" fmla="*/ 0 h 1428613"/>
                    <a:gd name="connsiteX4" fmla="*/ 608096 w 1869676"/>
                    <a:gd name="connsiteY4" fmla="*/ 724962 h 1428613"/>
                    <a:gd name="connsiteX5" fmla="*/ 1058262 w 1869676"/>
                    <a:gd name="connsiteY5" fmla="*/ 1273602 h 1428613"/>
                    <a:gd name="connsiteX6" fmla="*/ 1241142 w 1869676"/>
                    <a:gd name="connsiteY6" fmla="*/ 1184066 h 1428613"/>
                    <a:gd name="connsiteX7" fmla="*/ 1030127 w 1869676"/>
                    <a:gd name="connsiteY7" fmla="*/ 837504 h 1428613"/>
                    <a:gd name="connsiteX8" fmla="*/ 1522496 w 1869676"/>
                    <a:gd name="connsiteY8" fmla="*/ 781233 h 1428613"/>
                    <a:gd name="connsiteX9" fmla="*/ 1869676 w 1869676"/>
                    <a:gd name="connsiteY9" fmla="*/ 269133 h 1428613"/>
                    <a:gd name="connsiteX0" fmla="*/ 1869676 w 1869676"/>
                    <a:gd name="connsiteY0" fmla="*/ 269133 h 1428613"/>
                    <a:gd name="connsiteX1" fmla="*/ 1494361 w 1869676"/>
                    <a:gd name="connsiteY1" fmla="*/ 654624 h 1428613"/>
                    <a:gd name="connsiteX2" fmla="*/ 678434 w 1869676"/>
                    <a:gd name="connsiteY2" fmla="*/ 598353 h 1428613"/>
                    <a:gd name="connsiteX3" fmla="*/ 0 w 1869676"/>
                    <a:gd name="connsiteY3" fmla="*/ 0 h 1428613"/>
                    <a:gd name="connsiteX4" fmla="*/ 608096 w 1869676"/>
                    <a:gd name="connsiteY4" fmla="*/ 724962 h 1428613"/>
                    <a:gd name="connsiteX5" fmla="*/ 1058262 w 1869676"/>
                    <a:gd name="connsiteY5" fmla="*/ 1273602 h 1428613"/>
                    <a:gd name="connsiteX6" fmla="*/ 1241142 w 1869676"/>
                    <a:gd name="connsiteY6" fmla="*/ 1184066 h 1428613"/>
                    <a:gd name="connsiteX7" fmla="*/ 1030127 w 1869676"/>
                    <a:gd name="connsiteY7" fmla="*/ 837504 h 1428613"/>
                    <a:gd name="connsiteX8" fmla="*/ 1522496 w 1869676"/>
                    <a:gd name="connsiteY8" fmla="*/ 781233 h 1428613"/>
                    <a:gd name="connsiteX9" fmla="*/ 1869676 w 1869676"/>
                    <a:gd name="connsiteY9" fmla="*/ 269133 h 1428613"/>
                    <a:gd name="connsiteX0" fmla="*/ 1869676 w 1869676"/>
                    <a:gd name="connsiteY0" fmla="*/ 269133 h 1428613"/>
                    <a:gd name="connsiteX1" fmla="*/ 1465786 w 1869676"/>
                    <a:gd name="connsiteY1" fmla="*/ 654624 h 1428613"/>
                    <a:gd name="connsiteX2" fmla="*/ 678434 w 1869676"/>
                    <a:gd name="connsiteY2" fmla="*/ 598353 h 1428613"/>
                    <a:gd name="connsiteX3" fmla="*/ 0 w 1869676"/>
                    <a:gd name="connsiteY3" fmla="*/ 0 h 1428613"/>
                    <a:gd name="connsiteX4" fmla="*/ 608096 w 1869676"/>
                    <a:gd name="connsiteY4" fmla="*/ 724962 h 1428613"/>
                    <a:gd name="connsiteX5" fmla="*/ 1058262 w 1869676"/>
                    <a:gd name="connsiteY5" fmla="*/ 1273602 h 1428613"/>
                    <a:gd name="connsiteX6" fmla="*/ 1241142 w 1869676"/>
                    <a:gd name="connsiteY6" fmla="*/ 1184066 h 1428613"/>
                    <a:gd name="connsiteX7" fmla="*/ 1030127 w 1869676"/>
                    <a:gd name="connsiteY7" fmla="*/ 837504 h 1428613"/>
                    <a:gd name="connsiteX8" fmla="*/ 1522496 w 1869676"/>
                    <a:gd name="connsiteY8" fmla="*/ 781233 h 1428613"/>
                    <a:gd name="connsiteX9" fmla="*/ 1869676 w 1869676"/>
                    <a:gd name="connsiteY9" fmla="*/ 269133 h 1428613"/>
                    <a:gd name="connsiteX0" fmla="*/ 1869676 w 1869676"/>
                    <a:gd name="connsiteY0" fmla="*/ 269133 h 1428613"/>
                    <a:gd name="connsiteX1" fmla="*/ 1465786 w 1869676"/>
                    <a:gd name="connsiteY1" fmla="*/ 654624 h 1428613"/>
                    <a:gd name="connsiteX2" fmla="*/ 678434 w 1869676"/>
                    <a:gd name="connsiteY2" fmla="*/ 598353 h 1428613"/>
                    <a:gd name="connsiteX3" fmla="*/ 0 w 1869676"/>
                    <a:gd name="connsiteY3" fmla="*/ 0 h 1428613"/>
                    <a:gd name="connsiteX4" fmla="*/ 608096 w 1869676"/>
                    <a:gd name="connsiteY4" fmla="*/ 724962 h 1428613"/>
                    <a:gd name="connsiteX5" fmla="*/ 1058262 w 1869676"/>
                    <a:gd name="connsiteY5" fmla="*/ 1273602 h 1428613"/>
                    <a:gd name="connsiteX6" fmla="*/ 1241142 w 1869676"/>
                    <a:gd name="connsiteY6" fmla="*/ 1184066 h 1428613"/>
                    <a:gd name="connsiteX7" fmla="*/ 1030127 w 1869676"/>
                    <a:gd name="connsiteY7" fmla="*/ 837504 h 1428613"/>
                    <a:gd name="connsiteX8" fmla="*/ 1522496 w 1869676"/>
                    <a:gd name="connsiteY8" fmla="*/ 781233 h 1428613"/>
                    <a:gd name="connsiteX9" fmla="*/ 1869676 w 1869676"/>
                    <a:gd name="connsiteY9" fmla="*/ 269133 h 1428613"/>
                    <a:gd name="connsiteX0" fmla="*/ 1869676 w 1869676"/>
                    <a:gd name="connsiteY0" fmla="*/ 269133 h 1428613"/>
                    <a:gd name="connsiteX1" fmla="*/ 1418161 w 1869676"/>
                    <a:gd name="connsiteY1" fmla="*/ 654624 h 1428613"/>
                    <a:gd name="connsiteX2" fmla="*/ 678434 w 1869676"/>
                    <a:gd name="connsiteY2" fmla="*/ 598353 h 1428613"/>
                    <a:gd name="connsiteX3" fmla="*/ 0 w 1869676"/>
                    <a:gd name="connsiteY3" fmla="*/ 0 h 1428613"/>
                    <a:gd name="connsiteX4" fmla="*/ 608096 w 1869676"/>
                    <a:gd name="connsiteY4" fmla="*/ 724962 h 1428613"/>
                    <a:gd name="connsiteX5" fmla="*/ 1058262 w 1869676"/>
                    <a:gd name="connsiteY5" fmla="*/ 1273602 h 1428613"/>
                    <a:gd name="connsiteX6" fmla="*/ 1241142 w 1869676"/>
                    <a:gd name="connsiteY6" fmla="*/ 1184066 h 1428613"/>
                    <a:gd name="connsiteX7" fmla="*/ 1030127 w 1869676"/>
                    <a:gd name="connsiteY7" fmla="*/ 837504 h 1428613"/>
                    <a:gd name="connsiteX8" fmla="*/ 1522496 w 1869676"/>
                    <a:gd name="connsiteY8" fmla="*/ 781233 h 1428613"/>
                    <a:gd name="connsiteX9" fmla="*/ 1869676 w 1869676"/>
                    <a:gd name="connsiteY9" fmla="*/ 269133 h 1428613"/>
                    <a:gd name="connsiteX0" fmla="*/ 1869676 w 1869676"/>
                    <a:gd name="connsiteY0" fmla="*/ 240558 h 1428613"/>
                    <a:gd name="connsiteX1" fmla="*/ 1418161 w 1869676"/>
                    <a:gd name="connsiteY1" fmla="*/ 654624 h 1428613"/>
                    <a:gd name="connsiteX2" fmla="*/ 678434 w 1869676"/>
                    <a:gd name="connsiteY2" fmla="*/ 598353 h 1428613"/>
                    <a:gd name="connsiteX3" fmla="*/ 0 w 1869676"/>
                    <a:gd name="connsiteY3" fmla="*/ 0 h 1428613"/>
                    <a:gd name="connsiteX4" fmla="*/ 608096 w 1869676"/>
                    <a:gd name="connsiteY4" fmla="*/ 724962 h 1428613"/>
                    <a:gd name="connsiteX5" fmla="*/ 1058262 w 1869676"/>
                    <a:gd name="connsiteY5" fmla="*/ 1273602 h 1428613"/>
                    <a:gd name="connsiteX6" fmla="*/ 1241142 w 1869676"/>
                    <a:gd name="connsiteY6" fmla="*/ 1184066 h 1428613"/>
                    <a:gd name="connsiteX7" fmla="*/ 1030127 w 1869676"/>
                    <a:gd name="connsiteY7" fmla="*/ 837504 h 1428613"/>
                    <a:gd name="connsiteX8" fmla="*/ 1522496 w 1869676"/>
                    <a:gd name="connsiteY8" fmla="*/ 781233 h 1428613"/>
                    <a:gd name="connsiteX9" fmla="*/ 1869676 w 1869676"/>
                    <a:gd name="connsiteY9" fmla="*/ 240558 h 1428613"/>
                    <a:gd name="connsiteX0" fmla="*/ 1869676 w 1869676"/>
                    <a:gd name="connsiteY0" fmla="*/ 240558 h 1461813"/>
                    <a:gd name="connsiteX1" fmla="*/ 1418161 w 1869676"/>
                    <a:gd name="connsiteY1" fmla="*/ 654624 h 1461813"/>
                    <a:gd name="connsiteX2" fmla="*/ 678434 w 1869676"/>
                    <a:gd name="connsiteY2" fmla="*/ 598353 h 1461813"/>
                    <a:gd name="connsiteX3" fmla="*/ 0 w 1869676"/>
                    <a:gd name="connsiteY3" fmla="*/ 0 h 1461813"/>
                    <a:gd name="connsiteX4" fmla="*/ 608096 w 1869676"/>
                    <a:gd name="connsiteY4" fmla="*/ 724962 h 1461813"/>
                    <a:gd name="connsiteX5" fmla="*/ 1048737 w 1869676"/>
                    <a:gd name="connsiteY5" fmla="*/ 1349802 h 1461813"/>
                    <a:gd name="connsiteX6" fmla="*/ 1241142 w 1869676"/>
                    <a:gd name="connsiteY6" fmla="*/ 1184066 h 1461813"/>
                    <a:gd name="connsiteX7" fmla="*/ 1030127 w 1869676"/>
                    <a:gd name="connsiteY7" fmla="*/ 837504 h 1461813"/>
                    <a:gd name="connsiteX8" fmla="*/ 1522496 w 1869676"/>
                    <a:gd name="connsiteY8" fmla="*/ 781233 h 1461813"/>
                    <a:gd name="connsiteX9" fmla="*/ 1869676 w 1869676"/>
                    <a:gd name="connsiteY9" fmla="*/ 240558 h 1461813"/>
                    <a:gd name="connsiteX0" fmla="*/ 1869676 w 1869676"/>
                    <a:gd name="connsiteY0" fmla="*/ 240558 h 1428613"/>
                    <a:gd name="connsiteX1" fmla="*/ 1418161 w 1869676"/>
                    <a:gd name="connsiteY1" fmla="*/ 654624 h 1428613"/>
                    <a:gd name="connsiteX2" fmla="*/ 678434 w 1869676"/>
                    <a:gd name="connsiteY2" fmla="*/ 598353 h 1428613"/>
                    <a:gd name="connsiteX3" fmla="*/ 0 w 1869676"/>
                    <a:gd name="connsiteY3" fmla="*/ 0 h 1428613"/>
                    <a:gd name="connsiteX4" fmla="*/ 608096 w 1869676"/>
                    <a:gd name="connsiteY4" fmla="*/ 724962 h 1428613"/>
                    <a:gd name="connsiteX5" fmla="*/ 1048737 w 1869676"/>
                    <a:gd name="connsiteY5" fmla="*/ 1349802 h 1428613"/>
                    <a:gd name="connsiteX6" fmla="*/ 1241142 w 1869676"/>
                    <a:gd name="connsiteY6" fmla="*/ 1184066 h 1428613"/>
                    <a:gd name="connsiteX7" fmla="*/ 1030127 w 1869676"/>
                    <a:gd name="connsiteY7" fmla="*/ 837504 h 1428613"/>
                    <a:gd name="connsiteX8" fmla="*/ 1522496 w 1869676"/>
                    <a:gd name="connsiteY8" fmla="*/ 781233 h 1428613"/>
                    <a:gd name="connsiteX9" fmla="*/ 1869676 w 1869676"/>
                    <a:gd name="connsiteY9" fmla="*/ 240558 h 1428613"/>
                    <a:gd name="connsiteX0" fmla="*/ 1869676 w 1869676"/>
                    <a:gd name="connsiteY0" fmla="*/ 240558 h 1504813"/>
                    <a:gd name="connsiteX1" fmla="*/ 1418161 w 1869676"/>
                    <a:gd name="connsiteY1" fmla="*/ 654624 h 1504813"/>
                    <a:gd name="connsiteX2" fmla="*/ 678434 w 1869676"/>
                    <a:gd name="connsiteY2" fmla="*/ 598353 h 1504813"/>
                    <a:gd name="connsiteX3" fmla="*/ 0 w 1869676"/>
                    <a:gd name="connsiteY3" fmla="*/ 0 h 1504813"/>
                    <a:gd name="connsiteX4" fmla="*/ 608096 w 1869676"/>
                    <a:gd name="connsiteY4" fmla="*/ 724962 h 1504813"/>
                    <a:gd name="connsiteX5" fmla="*/ 1048737 w 1869676"/>
                    <a:gd name="connsiteY5" fmla="*/ 1349802 h 1504813"/>
                    <a:gd name="connsiteX6" fmla="*/ 1269717 w 1869676"/>
                    <a:gd name="connsiteY6" fmla="*/ 1260266 h 1504813"/>
                    <a:gd name="connsiteX7" fmla="*/ 1030127 w 1869676"/>
                    <a:gd name="connsiteY7" fmla="*/ 837504 h 1504813"/>
                    <a:gd name="connsiteX8" fmla="*/ 1522496 w 1869676"/>
                    <a:gd name="connsiteY8" fmla="*/ 781233 h 1504813"/>
                    <a:gd name="connsiteX9" fmla="*/ 1869676 w 1869676"/>
                    <a:gd name="connsiteY9" fmla="*/ 240558 h 1504813"/>
                    <a:gd name="connsiteX0" fmla="*/ 1869676 w 1869676"/>
                    <a:gd name="connsiteY0" fmla="*/ 240558 h 1638163"/>
                    <a:gd name="connsiteX1" fmla="*/ 1418161 w 1869676"/>
                    <a:gd name="connsiteY1" fmla="*/ 654624 h 1638163"/>
                    <a:gd name="connsiteX2" fmla="*/ 678434 w 1869676"/>
                    <a:gd name="connsiteY2" fmla="*/ 598353 h 1638163"/>
                    <a:gd name="connsiteX3" fmla="*/ 0 w 1869676"/>
                    <a:gd name="connsiteY3" fmla="*/ 0 h 1638163"/>
                    <a:gd name="connsiteX4" fmla="*/ 608096 w 1869676"/>
                    <a:gd name="connsiteY4" fmla="*/ 724962 h 1638163"/>
                    <a:gd name="connsiteX5" fmla="*/ 1048737 w 1869676"/>
                    <a:gd name="connsiteY5" fmla="*/ 1349802 h 1638163"/>
                    <a:gd name="connsiteX6" fmla="*/ 1269717 w 1869676"/>
                    <a:gd name="connsiteY6" fmla="*/ 1260266 h 1638163"/>
                    <a:gd name="connsiteX7" fmla="*/ 1030127 w 1869676"/>
                    <a:gd name="connsiteY7" fmla="*/ 837504 h 1638163"/>
                    <a:gd name="connsiteX8" fmla="*/ 1522496 w 1869676"/>
                    <a:gd name="connsiteY8" fmla="*/ 781233 h 1638163"/>
                    <a:gd name="connsiteX9" fmla="*/ 1869676 w 1869676"/>
                    <a:gd name="connsiteY9" fmla="*/ 240558 h 1638163"/>
                    <a:gd name="connsiteX0" fmla="*/ 1869676 w 1869676"/>
                    <a:gd name="connsiteY0" fmla="*/ 240558 h 1838188"/>
                    <a:gd name="connsiteX1" fmla="*/ 1418161 w 1869676"/>
                    <a:gd name="connsiteY1" fmla="*/ 654624 h 1838188"/>
                    <a:gd name="connsiteX2" fmla="*/ 678434 w 1869676"/>
                    <a:gd name="connsiteY2" fmla="*/ 598353 h 1838188"/>
                    <a:gd name="connsiteX3" fmla="*/ 0 w 1869676"/>
                    <a:gd name="connsiteY3" fmla="*/ 0 h 1838188"/>
                    <a:gd name="connsiteX4" fmla="*/ 608096 w 1869676"/>
                    <a:gd name="connsiteY4" fmla="*/ 724962 h 1838188"/>
                    <a:gd name="connsiteX5" fmla="*/ 1048737 w 1869676"/>
                    <a:gd name="connsiteY5" fmla="*/ 1349802 h 1838188"/>
                    <a:gd name="connsiteX6" fmla="*/ 1269717 w 1869676"/>
                    <a:gd name="connsiteY6" fmla="*/ 1460291 h 1838188"/>
                    <a:gd name="connsiteX7" fmla="*/ 1030127 w 1869676"/>
                    <a:gd name="connsiteY7" fmla="*/ 837504 h 1838188"/>
                    <a:gd name="connsiteX8" fmla="*/ 1522496 w 1869676"/>
                    <a:gd name="connsiteY8" fmla="*/ 781233 h 1838188"/>
                    <a:gd name="connsiteX9" fmla="*/ 1869676 w 1869676"/>
                    <a:gd name="connsiteY9" fmla="*/ 240558 h 1838188"/>
                    <a:gd name="connsiteX0" fmla="*/ 1869676 w 1869676"/>
                    <a:gd name="connsiteY0" fmla="*/ 240558 h 1495288"/>
                    <a:gd name="connsiteX1" fmla="*/ 1418161 w 1869676"/>
                    <a:gd name="connsiteY1" fmla="*/ 654624 h 1495288"/>
                    <a:gd name="connsiteX2" fmla="*/ 678434 w 1869676"/>
                    <a:gd name="connsiteY2" fmla="*/ 598353 h 1495288"/>
                    <a:gd name="connsiteX3" fmla="*/ 0 w 1869676"/>
                    <a:gd name="connsiteY3" fmla="*/ 0 h 1495288"/>
                    <a:gd name="connsiteX4" fmla="*/ 608096 w 1869676"/>
                    <a:gd name="connsiteY4" fmla="*/ 724962 h 1495288"/>
                    <a:gd name="connsiteX5" fmla="*/ 1048737 w 1869676"/>
                    <a:gd name="connsiteY5" fmla="*/ 1349802 h 1495288"/>
                    <a:gd name="connsiteX6" fmla="*/ 1269717 w 1869676"/>
                    <a:gd name="connsiteY6" fmla="*/ 1460291 h 1495288"/>
                    <a:gd name="connsiteX7" fmla="*/ 1030127 w 1869676"/>
                    <a:gd name="connsiteY7" fmla="*/ 837504 h 1495288"/>
                    <a:gd name="connsiteX8" fmla="*/ 1522496 w 1869676"/>
                    <a:gd name="connsiteY8" fmla="*/ 781233 h 1495288"/>
                    <a:gd name="connsiteX9" fmla="*/ 1869676 w 1869676"/>
                    <a:gd name="connsiteY9" fmla="*/ 240558 h 1495288"/>
                    <a:gd name="connsiteX0" fmla="*/ 1869676 w 1869676"/>
                    <a:gd name="connsiteY0" fmla="*/ 240558 h 1495288"/>
                    <a:gd name="connsiteX1" fmla="*/ 1418161 w 1869676"/>
                    <a:gd name="connsiteY1" fmla="*/ 654624 h 1495288"/>
                    <a:gd name="connsiteX2" fmla="*/ 678434 w 1869676"/>
                    <a:gd name="connsiteY2" fmla="*/ 598353 h 1495288"/>
                    <a:gd name="connsiteX3" fmla="*/ 0 w 1869676"/>
                    <a:gd name="connsiteY3" fmla="*/ 0 h 1495288"/>
                    <a:gd name="connsiteX4" fmla="*/ 608096 w 1869676"/>
                    <a:gd name="connsiteY4" fmla="*/ 724962 h 1495288"/>
                    <a:gd name="connsiteX5" fmla="*/ 1048737 w 1869676"/>
                    <a:gd name="connsiteY5" fmla="*/ 1349802 h 1495288"/>
                    <a:gd name="connsiteX6" fmla="*/ 1269717 w 1869676"/>
                    <a:gd name="connsiteY6" fmla="*/ 1460291 h 1495288"/>
                    <a:gd name="connsiteX7" fmla="*/ 1030127 w 1869676"/>
                    <a:gd name="connsiteY7" fmla="*/ 837504 h 1495288"/>
                    <a:gd name="connsiteX8" fmla="*/ 1522496 w 1869676"/>
                    <a:gd name="connsiteY8" fmla="*/ 781233 h 1495288"/>
                    <a:gd name="connsiteX9" fmla="*/ 1869676 w 1869676"/>
                    <a:gd name="connsiteY9" fmla="*/ 240558 h 1495288"/>
                    <a:gd name="connsiteX0" fmla="*/ 1869676 w 1869676"/>
                    <a:gd name="connsiteY0" fmla="*/ 240558 h 1460291"/>
                    <a:gd name="connsiteX1" fmla="*/ 1418161 w 1869676"/>
                    <a:gd name="connsiteY1" fmla="*/ 654624 h 1460291"/>
                    <a:gd name="connsiteX2" fmla="*/ 678434 w 1869676"/>
                    <a:gd name="connsiteY2" fmla="*/ 598353 h 1460291"/>
                    <a:gd name="connsiteX3" fmla="*/ 0 w 1869676"/>
                    <a:gd name="connsiteY3" fmla="*/ 0 h 1460291"/>
                    <a:gd name="connsiteX4" fmla="*/ 608096 w 1869676"/>
                    <a:gd name="connsiteY4" fmla="*/ 724962 h 1460291"/>
                    <a:gd name="connsiteX5" fmla="*/ 1048737 w 1869676"/>
                    <a:gd name="connsiteY5" fmla="*/ 1349802 h 1460291"/>
                    <a:gd name="connsiteX6" fmla="*/ 1269717 w 1869676"/>
                    <a:gd name="connsiteY6" fmla="*/ 1460291 h 1460291"/>
                    <a:gd name="connsiteX7" fmla="*/ 1030127 w 1869676"/>
                    <a:gd name="connsiteY7" fmla="*/ 837504 h 1460291"/>
                    <a:gd name="connsiteX8" fmla="*/ 1522496 w 1869676"/>
                    <a:gd name="connsiteY8" fmla="*/ 781233 h 1460291"/>
                    <a:gd name="connsiteX9" fmla="*/ 1869676 w 1869676"/>
                    <a:gd name="connsiteY9" fmla="*/ 240558 h 1460291"/>
                    <a:gd name="connsiteX0" fmla="*/ 1869676 w 1869676"/>
                    <a:gd name="connsiteY0" fmla="*/ 240558 h 1460291"/>
                    <a:gd name="connsiteX1" fmla="*/ 1418161 w 1869676"/>
                    <a:gd name="connsiteY1" fmla="*/ 654624 h 1460291"/>
                    <a:gd name="connsiteX2" fmla="*/ 678434 w 1869676"/>
                    <a:gd name="connsiteY2" fmla="*/ 598353 h 1460291"/>
                    <a:gd name="connsiteX3" fmla="*/ 0 w 1869676"/>
                    <a:gd name="connsiteY3" fmla="*/ 0 h 1460291"/>
                    <a:gd name="connsiteX4" fmla="*/ 608096 w 1869676"/>
                    <a:gd name="connsiteY4" fmla="*/ 724962 h 1460291"/>
                    <a:gd name="connsiteX5" fmla="*/ 1048737 w 1869676"/>
                    <a:gd name="connsiteY5" fmla="*/ 1349802 h 1460291"/>
                    <a:gd name="connsiteX6" fmla="*/ 1269717 w 1869676"/>
                    <a:gd name="connsiteY6" fmla="*/ 1460291 h 1460291"/>
                    <a:gd name="connsiteX7" fmla="*/ 1068227 w 1869676"/>
                    <a:gd name="connsiteY7" fmla="*/ 894654 h 1460291"/>
                    <a:gd name="connsiteX8" fmla="*/ 1522496 w 1869676"/>
                    <a:gd name="connsiteY8" fmla="*/ 781233 h 1460291"/>
                    <a:gd name="connsiteX9" fmla="*/ 1869676 w 1869676"/>
                    <a:gd name="connsiteY9" fmla="*/ 240558 h 1460291"/>
                    <a:gd name="connsiteX0" fmla="*/ 1869676 w 1869676"/>
                    <a:gd name="connsiteY0" fmla="*/ 240558 h 1460291"/>
                    <a:gd name="connsiteX1" fmla="*/ 1418161 w 1869676"/>
                    <a:gd name="connsiteY1" fmla="*/ 654624 h 1460291"/>
                    <a:gd name="connsiteX2" fmla="*/ 678434 w 1869676"/>
                    <a:gd name="connsiteY2" fmla="*/ 598353 h 1460291"/>
                    <a:gd name="connsiteX3" fmla="*/ 0 w 1869676"/>
                    <a:gd name="connsiteY3" fmla="*/ 0 h 1460291"/>
                    <a:gd name="connsiteX4" fmla="*/ 608096 w 1869676"/>
                    <a:gd name="connsiteY4" fmla="*/ 724962 h 1460291"/>
                    <a:gd name="connsiteX5" fmla="*/ 1048737 w 1869676"/>
                    <a:gd name="connsiteY5" fmla="*/ 1349802 h 1460291"/>
                    <a:gd name="connsiteX6" fmla="*/ 1269717 w 1869676"/>
                    <a:gd name="connsiteY6" fmla="*/ 1460291 h 1460291"/>
                    <a:gd name="connsiteX7" fmla="*/ 1068227 w 1869676"/>
                    <a:gd name="connsiteY7" fmla="*/ 894654 h 1460291"/>
                    <a:gd name="connsiteX8" fmla="*/ 1522496 w 1869676"/>
                    <a:gd name="connsiteY8" fmla="*/ 781233 h 1460291"/>
                    <a:gd name="connsiteX9" fmla="*/ 1869676 w 1869676"/>
                    <a:gd name="connsiteY9" fmla="*/ 240558 h 1460291"/>
                    <a:gd name="connsiteX0" fmla="*/ 1869676 w 1869676"/>
                    <a:gd name="connsiteY0" fmla="*/ 240558 h 1460291"/>
                    <a:gd name="connsiteX1" fmla="*/ 1418161 w 1869676"/>
                    <a:gd name="connsiteY1" fmla="*/ 654624 h 1460291"/>
                    <a:gd name="connsiteX2" fmla="*/ 678434 w 1869676"/>
                    <a:gd name="connsiteY2" fmla="*/ 598353 h 1460291"/>
                    <a:gd name="connsiteX3" fmla="*/ 0 w 1869676"/>
                    <a:gd name="connsiteY3" fmla="*/ 0 h 1460291"/>
                    <a:gd name="connsiteX4" fmla="*/ 608096 w 1869676"/>
                    <a:gd name="connsiteY4" fmla="*/ 724962 h 1460291"/>
                    <a:gd name="connsiteX5" fmla="*/ 829662 w 1869676"/>
                    <a:gd name="connsiteY5" fmla="*/ 1216452 h 1460291"/>
                    <a:gd name="connsiteX6" fmla="*/ 1269717 w 1869676"/>
                    <a:gd name="connsiteY6" fmla="*/ 1460291 h 1460291"/>
                    <a:gd name="connsiteX7" fmla="*/ 1068227 w 1869676"/>
                    <a:gd name="connsiteY7" fmla="*/ 894654 h 1460291"/>
                    <a:gd name="connsiteX8" fmla="*/ 1522496 w 1869676"/>
                    <a:gd name="connsiteY8" fmla="*/ 781233 h 1460291"/>
                    <a:gd name="connsiteX9" fmla="*/ 1869676 w 1869676"/>
                    <a:gd name="connsiteY9" fmla="*/ 240558 h 1460291"/>
                    <a:gd name="connsiteX0" fmla="*/ 1869676 w 1869676"/>
                    <a:gd name="connsiteY0" fmla="*/ 240558 h 1488866"/>
                    <a:gd name="connsiteX1" fmla="*/ 1418161 w 1869676"/>
                    <a:gd name="connsiteY1" fmla="*/ 654624 h 1488866"/>
                    <a:gd name="connsiteX2" fmla="*/ 678434 w 1869676"/>
                    <a:gd name="connsiteY2" fmla="*/ 598353 h 1488866"/>
                    <a:gd name="connsiteX3" fmla="*/ 0 w 1869676"/>
                    <a:gd name="connsiteY3" fmla="*/ 0 h 1488866"/>
                    <a:gd name="connsiteX4" fmla="*/ 608096 w 1869676"/>
                    <a:gd name="connsiteY4" fmla="*/ 724962 h 1488866"/>
                    <a:gd name="connsiteX5" fmla="*/ 829662 w 1869676"/>
                    <a:gd name="connsiteY5" fmla="*/ 1216452 h 1488866"/>
                    <a:gd name="connsiteX6" fmla="*/ 1260192 w 1869676"/>
                    <a:gd name="connsiteY6" fmla="*/ 1488866 h 1488866"/>
                    <a:gd name="connsiteX7" fmla="*/ 1068227 w 1869676"/>
                    <a:gd name="connsiteY7" fmla="*/ 894654 h 1488866"/>
                    <a:gd name="connsiteX8" fmla="*/ 1522496 w 1869676"/>
                    <a:gd name="connsiteY8" fmla="*/ 781233 h 1488866"/>
                    <a:gd name="connsiteX9" fmla="*/ 1869676 w 1869676"/>
                    <a:gd name="connsiteY9" fmla="*/ 240558 h 1488866"/>
                    <a:gd name="connsiteX0" fmla="*/ 1869676 w 1869676"/>
                    <a:gd name="connsiteY0" fmla="*/ 240558 h 1488866"/>
                    <a:gd name="connsiteX1" fmla="*/ 1418161 w 1869676"/>
                    <a:gd name="connsiteY1" fmla="*/ 654624 h 1488866"/>
                    <a:gd name="connsiteX2" fmla="*/ 678434 w 1869676"/>
                    <a:gd name="connsiteY2" fmla="*/ 598353 h 1488866"/>
                    <a:gd name="connsiteX3" fmla="*/ 0 w 1869676"/>
                    <a:gd name="connsiteY3" fmla="*/ 0 h 1488866"/>
                    <a:gd name="connsiteX4" fmla="*/ 608096 w 1869676"/>
                    <a:gd name="connsiteY4" fmla="*/ 724962 h 1488866"/>
                    <a:gd name="connsiteX5" fmla="*/ 858237 w 1869676"/>
                    <a:gd name="connsiteY5" fmla="*/ 1197402 h 1488866"/>
                    <a:gd name="connsiteX6" fmla="*/ 1260192 w 1869676"/>
                    <a:gd name="connsiteY6" fmla="*/ 1488866 h 1488866"/>
                    <a:gd name="connsiteX7" fmla="*/ 1068227 w 1869676"/>
                    <a:gd name="connsiteY7" fmla="*/ 894654 h 1488866"/>
                    <a:gd name="connsiteX8" fmla="*/ 1522496 w 1869676"/>
                    <a:gd name="connsiteY8" fmla="*/ 781233 h 1488866"/>
                    <a:gd name="connsiteX9" fmla="*/ 1869676 w 1869676"/>
                    <a:gd name="connsiteY9" fmla="*/ 240558 h 1488866"/>
                    <a:gd name="connsiteX0" fmla="*/ 1869676 w 1869676"/>
                    <a:gd name="connsiteY0" fmla="*/ 240558 h 1488866"/>
                    <a:gd name="connsiteX1" fmla="*/ 1418161 w 1869676"/>
                    <a:gd name="connsiteY1" fmla="*/ 654624 h 1488866"/>
                    <a:gd name="connsiteX2" fmla="*/ 678434 w 1869676"/>
                    <a:gd name="connsiteY2" fmla="*/ 598353 h 1488866"/>
                    <a:gd name="connsiteX3" fmla="*/ 0 w 1869676"/>
                    <a:gd name="connsiteY3" fmla="*/ 0 h 1488866"/>
                    <a:gd name="connsiteX4" fmla="*/ 446171 w 1869676"/>
                    <a:gd name="connsiteY4" fmla="*/ 629712 h 1488866"/>
                    <a:gd name="connsiteX5" fmla="*/ 858237 w 1869676"/>
                    <a:gd name="connsiteY5" fmla="*/ 1197402 h 1488866"/>
                    <a:gd name="connsiteX6" fmla="*/ 1260192 w 1869676"/>
                    <a:gd name="connsiteY6" fmla="*/ 1488866 h 1488866"/>
                    <a:gd name="connsiteX7" fmla="*/ 1068227 w 1869676"/>
                    <a:gd name="connsiteY7" fmla="*/ 894654 h 1488866"/>
                    <a:gd name="connsiteX8" fmla="*/ 1522496 w 1869676"/>
                    <a:gd name="connsiteY8" fmla="*/ 781233 h 1488866"/>
                    <a:gd name="connsiteX9" fmla="*/ 1869676 w 1869676"/>
                    <a:gd name="connsiteY9" fmla="*/ 240558 h 1488866"/>
                    <a:gd name="connsiteX0" fmla="*/ 1869676 w 1869676"/>
                    <a:gd name="connsiteY0" fmla="*/ 240558 h 1241559"/>
                    <a:gd name="connsiteX1" fmla="*/ 1418161 w 1869676"/>
                    <a:gd name="connsiteY1" fmla="*/ 654624 h 1241559"/>
                    <a:gd name="connsiteX2" fmla="*/ 678434 w 1869676"/>
                    <a:gd name="connsiteY2" fmla="*/ 598353 h 1241559"/>
                    <a:gd name="connsiteX3" fmla="*/ 0 w 1869676"/>
                    <a:gd name="connsiteY3" fmla="*/ 0 h 1241559"/>
                    <a:gd name="connsiteX4" fmla="*/ 446171 w 1869676"/>
                    <a:gd name="connsiteY4" fmla="*/ 629712 h 1241559"/>
                    <a:gd name="connsiteX5" fmla="*/ 858237 w 1869676"/>
                    <a:gd name="connsiteY5" fmla="*/ 1197402 h 1241559"/>
                    <a:gd name="connsiteX6" fmla="*/ 1068227 w 1869676"/>
                    <a:gd name="connsiteY6" fmla="*/ 894654 h 1241559"/>
                    <a:gd name="connsiteX7" fmla="*/ 1522496 w 1869676"/>
                    <a:gd name="connsiteY7" fmla="*/ 781233 h 1241559"/>
                    <a:gd name="connsiteX8" fmla="*/ 1869676 w 1869676"/>
                    <a:gd name="connsiteY8" fmla="*/ 240558 h 1241559"/>
                    <a:gd name="connsiteX0" fmla="*/ 1869676 w 1869676"/>
                    <a:gd name="connsiteY0" fmla="*/ 240558 h 894654"/>
                    <a:gd name="connsiteX1" fmla="*/ 1418161 w 1869676"/>
                    <a:gd name="connsiteY1" fmla="*/ 654624 h 894654"/>
                    <a:gd name="connsiteX2" fmla="*/ 678434 w 1869676"/>
                    <a:gd name="connsiteY2" fmla="*/ 598353 h 894654"/>
                    <a:gd name="connsiteX3" fmla="*/ 0 w 1869676"/>
                    <a:gd name="connsiteY3" fmla="*/ 0 h 894654"/>
                    <a:gd name="connsiteX4" fmla="*/ 446171 w 1869676"/>
                    <a:gd name="connsiteY4" fmla="*/ 629712 h 894654"/>
                    <a:gd name="connsiteX5" fmla="*/ 1068227 w 1869676"/>
                    <a:gd name="connsiteY5" fmla="*/ 894654 h 894654"/>
                    <a:gd name="connsiteX6" fmla="*/ 1522496 w 1869676"/>
                    <a:gd name="connsiteY6" fmla="*/ 781233 h 894654"/>
                    <a:gd name="connsiteX7" fmla="*/ 1869676 w 1869676"/>
                    <a:gd name="connsiteY7" fmla="*/ 240558 h 894654"/>
                    <a:gd name="connsiteX0" fmla="*/ 1869676 w 1869676"/>
                    <a:gd name="connsiteY0" fmla="*/ 240558 h 894654"/>
                    <a:gd name="connsiteX1" fmla="*/ 1418161 w 1869676"/>
                    <a:gd name="connsiteY1" fmla="*/ 654624 h 894654"/>
                    <a:gd name="connsiteX2" fmla="*/ 678434 w 1869676"/>
                    <a:gd name="connsiteY2" fmla="*/ 598353 h 894654"/>
                    <a:gd name="connsiteX3" fmla="*/ 0 w 1869676"/>
                    <a:gd name="connsiteY3" fmla="*/ 0 h 894654"/>
                    <a:gd name="connsiteX4" fmla="*/ 608096 w 1869676"/>
                    <a:gd name="connsiteY4" fmla="*/ 696387 h 894654"/>
                    <a:gd name="connsiteX5" fmla="*/ 1068227 w 1869676"/>
                    <a:gd name="connsiteY5" fmla="*/ 894654 h 894654"/>
                    <a:gd name="connsiteX6" fmla="*/ 1522496 w 1869676"/>
                    <a:gd name="connsiteY6" fmla="*/ 781233 h 894654"/>
                    <a:gd name="connsiteX7" fmla="*/ 1869676 w 1869676"/>
                    <a:gd name="connsiteY7" fmla="*/ 240558 h 894654"/>
                    <a:gd name="connsiteX0" fmla="*/ 1869676 w 1869676"/>
                    <a:gd name="connsiteY0" fmla="*/ 240558 h 894654"/>
                    <a:gd name="connsiteX1" fmla="*/ 1418161 w 1869676"/>
                    <a:gd name="connsiteY1" fmla="*/ 654624 h 894654"/>
                    <a:gd name="connsiteX2" fmla="*/ 678434 w 1869676"/>
                    <a:gd name="connsiteY2" fmla="*/ 598353 h 894654"/>
                    <a:gd name="connsiteX3" fmla="*/ 0 w 1869676"/>
                    <a:gd name="connsiteY3" fmla="*/ 0 h 894654"/>
                    <a:gd name="connsiteX4" fmla="*/ 608096 w 1869676"/>
                    <a:gd name="connsiteY4" fmla="*/ 696387 h 894654"/>
                    <a:gd name="connsiteX5" fmla="*/ 1068227 w 1869676"/>
                    <a:gd name="connsiteY5" fmla="*/ 894654 h 894654"/>
                    <a:gd name="connsiteX6" fmla="*/ 1522496 w 1869676"/>
                    <a:gd name="connsiteY6" fmla="*/ 781233 h 894654"/>
                    <a:gd name="connsiteX7" fmla="*/ 1869676 w 1869676"/>
                    <a:gd name="connsiteY7" fmla="*/ 240558 h 894654"/>
                    <a:gd name="connsiteX0" fmla="*/ 1869676 w 1869676"/>
                    <a:gd name="connsiteY0" fmla="*/ 240558 h 1104204"/>
                    <a:gd name="connsiteX1" fmla="*/ 1418161 w 1869676"/>
                    <a:gd name="connsiteY1" fmla="*/ 654624 h 1104204"/>
                    <a:gd name="connsiteX2" fmla="*/ 678434 w 1869676"/>
                    <a:gd name="connsiteY2" fmla="*/ 598353 h 1104204"/>
                    <a:gd name="connsiteX3" fmla="*/ 0 w 1869676"/>
                    <a:gd name="connsiteY3" fmla="*/ 0 h 1104204"/>
                    <a:gd name="connsiteX4" fmla="*/ 608096 w 1869676"/>
                    <a:gd name="connsiteY4" fmla="*/ 696387 h 1104204"/>
                    <a:gd name="connsiteX5" fmla="*/ 1153952 w 1869676"/>
                    <a:gd name="connsiteY5" fmla="*/ 1104204 h 1104204"/>
                    <a:gd name="connsiteX6" fmla="*/ 1522496 w 1869676"/>
                    <a:gd name="connsiteY6" fmla="*/ 781233 h 1104204"/>
                    <a:gd name="connsiteX7" fmla="*/ 1869676 w 1869676"/>
                    <a:gd name="connsiteY7" fmla="*/ 240558 h 1104204"/>
                    <a:gd name="connsiteX0" fmla="*/ 1869676 w 1869676"/>
                    <a:gd name="connsiteY0" fmla="*/ 240558 h 1104204"/>
                    <a:gd name="connsiteX1" fmla="*/ 1418161 w 1869676"/>
                    <a:gd name="connsiteY1" fmla="*/ 654624 h 1104204"/>
                    <a:gd name="connsiteX2" fmla="*/ 678434 w 1869676"/>
                    <a:gd name="connsiteY2" fmla="*/ 598353 h 1104204"/>
                    <a:gd name="connsiteX3" fmla="*/ 0 w 1869676"/>
                    <a:gd name="connsiteY3" fmla="*/ 0 h 1104204"/>
                    <a:gd name="connsiteX4" fmla="*/ 608096 w 1869676"/>
                    <a:gd name="connsiteY4" fmla="*/ 696387 h 1104204"/>
                    <a:gd name="connsiteX5" fmla="*/ 1153952 w 1869676"/>
                    <a:gd name="connsiteY5" fmla="*/ 1104204 h 1104204"/>
                    <a:gd name="connsiteX6" fmla="*/ 1617746 w 1869676"/>
                    <a:gd name="connsiteY6" fmla="*/ 933633 h 1104204"/>
                    <a:gd name="connsiteX7" fmla="*/ 1869676 w 1869676"/>
                    <a:gd name="connsiteY7" fmla="*/ 240558 h 1104204"/>
                    <a:gd name="connsiteX0" fmla="*/ 1964926 w 1964926"/>
                    <a:gd name="connsiteY0" fmla="*/ 135783 h 1104204"/>
                    <a:gd name="connsiteX1" fmla="*/ 1418161 w 1964926"/>
                    <a:gd name="connsiteY1" fmla="*/ 654624 h 1104204"/>
                    <a:gd name="connsiteX2" fmla="*/ 678434 w 1964926"/>
                    <a:gd name="connsiteY2" fmla="*/ 598353 h 1104204"/>
                    <a:gd name="connsiteX3" fmla="*/ 0 w 1964926"/>
                    <a:gd name="connsiteY3" fmla="*/ 0 h 1104204"/>
                    <a:gd name="connsiteX4" fmla="*/ 608096 w 1964926"/>
                    <a:gd name="connsiteY4" fmla="*/ 696387 h 1104204"/>
                    <a:gd name="connsiteX5" fmla="*/ 1153952 w 1964926"/>
                    <a:gd name="connsiteY5" fmla="*/ 1104204 h 1104204"/>
                    <a:gd name="connsiteX6" fmla="*/ 1617746 w 1964926"/>
                    <a:gd name="connsiteY6" fmla="*/ 933633 h 1104204"/>
                    <a:gd name="connsiteX7" fmla="*/ 1964926 w 1964926"/>
                    <a:gd name="connsiteY7" fmla="*/ 135783 h 1104204"/>
                    <a:gd name="connsiteX0" fmla="*/ 1964926 w 2054615"/>
                    <a:gd name="connsiteY0" fmla="*/ 135783 h 1104204"/>
                    <a:gd name="connsiteX1" fmla="*/ 1418161 w 2054615"/>
                    <a:gd name="connsiteY1" fmla="*/ 654624 h 1104204"/>
                    <a:gd name="connsiteX2" fmla="*/ 678434 w 2054615"/>
                    <a:gd name="connsiteY2" fmla="*/ 598353 h 1104204"/>
                    <a:gd name="connsiteX3" fmla="*/ 0 w 2054615"/>
                    <a:gd name="connsiteY3" fmla="*/ 0 h 1104204"/>
                    <a:gd name="connsiteX4" fmla="*/ 608096 w 2054615"/>
                    <a:gd name="connsiteY4" fmla="*/ 696387 h 1104204"/>
                    <a:gd name="connsiteX5" fmla="*/ 1153952 w 2054615"/>
                    <a:gd name="connsiteY5" fmla="*/ 1104204 h 1104204"/>
                    <a:gd name="connsiteX6" fmla="*/ 1617746 w 2054615"/>
                    <a:gd name="connsiteY6" fmla="*/ 933633 h 1104204"/>
                    <a:gd name="connsiteX7" fmla="*/ 1964926 w 2054615"/>
                    <a:gd name="connsiteY7" fmla="*/ 135783 h 1104204"/>
                    <a:gd name="connsiteX0" fmla="*/ 1964926 w 2034434"/>
                    <a:gd name="connsiteY0" fmla="*/ 135783 h 1104204"/>
                    <a:gd name="connsiteX1" fmla="*/ 1418161 w 2034434"/>
                    <a:gd name="connsiteY1" fmla="*/ 654624 h 1104204"/>
                    <a:gd name="connsiteX2" fmla="*/ 678434 w 2034434"/>
                    <a:gd name="connsiteY2" fmla="*/ 598353 h 1104204"/>
                    <a:gd name="connsiteX3" fmla="*/ 0 w 2034434"/>
                    <a:gd name="connsiteY3" fmla="*/ 0 h 1104204"/>
                    <a:gd name="connsiteX4" fmla="*/ 608096 w 2034434"/>
                    <a:gd name="connsiteY4" fmla="*/ 696387 h 1104204"/>
                    <a:gd name="connsiteX5" fmla="*/ 1153952 w 2034434"/>
                    <a:gd name="connsiteY5" fmla="*/ 1104204 h 1104204"/>
                    <a:gd name="connsiteX6" fmla="*/ 1617746 w 2034434"/>
                    <a:gd name="connsiteY6" fmla="*/ 933633 h 1104204"/>
                    <a:gd name="connsiteX7" fmla="*/ 1892358 w 2034434"/>
                    <a:gd name="connsiteY7" fmla="*/ 638650 h 1104204"/>
                    <a:gd name="connsiteX8" fmla="*/ 1964926 w 2034434"/>
                    <a:gd name="connsiteY8" fmla="*/ 135783 h 1104204"/>
                    <a:gd name="connsiteX0" fmla="*/ 1964926 w 2064521"/>
                    <a:gd name="connsiteY0" fmla="*/ 135783 h 1104204"/>
                    <a:gd name="connsiteX1" fmla="*/ 1418161 w 2064521"/>
                    <a:gd name="connsiteY1" fmla="*/ 654624 h 1104204"/>
                    <a:gd name="connsiteX2" fmla="*/ 678434 w 2064521"/>
                    <a:gd name="connsiteY2" fmla="*/ 598353 h 1104204"/>
                    <a:gd name="connsiteX3" fmla="*/ 0 w 2064521"/>
                    <a:gd name="connsiteY3" fmla="*/ 0 h 1104204"/>
                    <a:gd name="connsiteX4" fmla="*/ 608096 w 2064521"/>
                    <a:gd name="connsiteY4" fmla="*/ 696387 h 1104204"/>
                    <a:gd name="connsiteX5" fmla="*/ 1153952 w 2064521"/>
                    <a:gd name="connsiteY5" fmla="*/ 1104204 h 1104204"/>
                    <a:gd name="connsiteX6" fmla="*/ 1617746 w 2064521"/>
                    <a:gd name="connsiteY6" fmla="*/ 933633 h 1104204"/>
                    <a:gd name="connsiteX7" fmla="*/ 2006658 w 2064521"/>
                    <a:gd name="connsiteY7" fmla="*/ 410050 h 1104204"/>
                    <a:gd name="connsiteX8" fmla="*/ 1964926 w 2064521"/>
                    <a:gd name="connsiteY8" fmla="*/ 135783 h 1104204"/>
                    <a:gd name="connsiteX0" fmla="*/ 1964926 w 2034434"/>
                    <a:gd name="connsiteY0" fmla="*/ 135783 h 1104204"/>
                    <a:gd name="connsiteX1" fmla="*/ 1418161 w 2034434"/>
                    <a:gd name="connsiteY1" fmla="*/ 654624 h 1104204"/>
                    <a:gd name="connsiteX2" fmla="*/ 678434 w 2034434"/>
                    <a:gd name="connsiteY2" fmla="*/ 598353 h 1104204"/>
                    <a:gd name="connsiteX3" fmla="*/ 0 w 2034434"/>
                    <a:gd name="connsiteY3" fmla="*/ 0 h 1104204"/>
                    <a:gd name="connsiteX4" fmla="*/ 608096 w 2034434"/>
                    <a:gd name="connsiteY4" fmla="*/ 696387 h 1104204"/>
                    <a:gd name="connsiteX5" fmla="*/ 1153952 w 2034434"/>
                    <a:gd name="connsiteY5" fmla="*/ 1104204 h 1104204"/>
                    <a:gd name="connsiteX6" fmla="*/ 1617746 w 2034434"/>
                    <a:gd name="connsiteY6" fmla="*/ 933633 h 1104204"/>
                    <a:gd name="connsiteX7" fmla="*/ 2006658 w 2034434"/>
                    <a:gd name="connsiteY7" fmla="*/ 410050 h 1104204"/>
                    <a:gd name="connsiteX8" fmla="*/ 1964926 w 2034434"/>
                    <a:gd name="connsiteY8" fmla="*/ 135783 h 1104204"/>
                    <a:gd name="connsiteX0" fmla="*/ 1964926 w 2034434"/>
                    <a:gd name="connsiteY0" fmla="*/ 135783 h 1104204"/>
                    <a:gd name="connsiteX1" fmla="*/ 1418161 w 2034434"/>
                    <a:gd name="connsiteY1" fmla="*/ 654624 h 1104204"/>
                    <a:gd name="connsiteX2" fmla="*/ 678434 w 2034434"/>
                    <a:gd name="connsiteY2" fmla="*/ 598353 h 1104204"/>
                    <a:gd name="connsiteX3" fmla="*/ 0 w 2034434"/>
                    <a:gd name="connsiteY3" fmla="*/ 0 h 1104204"/>
                    <a:gd name="connsiteX4" fmla="*/ 608096 w 2034434"/>
                    <a:gd name="connsiteY4" fmla="*/ 696387 h 1104204"/>
                    <a:gd name="connsiteX5" fmla="*/ 1153952 w 2034434"/>
                    <a:gd name="connsiteY5" fmla="*/ 1104204 h 1104204"/>
                    <a:gd name="connsiteX6" fmla="*/ 1617746 w 2034434"/>
                    <a:gd name="connsiteY6" fmla="*/ 933633 h 1104204"/>
                    <a:gd name="connsiteX7" fmla="*/ 1978083 w 2034434"/>
                    <a:gd name="connsiteY7" fmla="*/ 438625 h 1104204"/>
                    <a:gd name="connsiteX8" fmla="*/ 1964926 w 2034434"/>
                    <a:gd name="connsiteY8" fmla="*/ 135783 h 1104204"/>
                    <a:gd name="connsiteX0" fmla="*/ 1964926 w 2015384"/>
                    <a:gd name="connsiteY0" fmla="*/ 135783 h 1104204"/>
                    <a:gd name="connsiteX1" fmla="*/ 1418161 w 2015384"/>
                    <a:gd name="connsiteY1" fmla="*/ 654624 h 1104204"/>
                    <a:gd name="connsiteX2" fmla="*/ 678434 w 2015384"/>
                    <a:gd name="connsiteY2" fmla="*/ 598353 h 1104204"/>
                    <a:gd name="connsiteX3" fmla="*/ 0 w 2015384"/>
                    <a:gd name="connsiteY3" fmla="*/ 0 h 1104204"/>
                    <a:gd name="connsiteX4" fmla="*/ 608096 w 2015384"/>
                    <a:gd name="connsiteY4" fmla="*/ 696387 h 1104204"/>
                    <a:gd name="connsiteX5" fmla="*/ 1153952 w 2015384"/>
                    <a:gd name="connsiteY5" fmla="*/ 1104204 h 1104204"/>
                    <a:gd name="connsiteX6" fmla="*/ 1617746 w 2015384"/>
                    <a:gd name="connsiteY6" fmla="*/ 933633 h 1104204"/>
                    <a:gd name="connsiteX7" fmla="*/ 1978083 w 2015384"/>
                    <a:gd name="connsiteY7" fmla="*/ 438625 h 1104204"/>
                    <a:gd name="connsiteX8" fmla="*/ 1964926 w 2015384"/>
                    <a:gd name="connsiteY8" fmla="*/ 135783 h 1104204"/>
                    <a:gd name="connsiteX0" fmla="*/ 1983976 w 2034434"/>
                    <a:gd name="connsiteY0" fmla="*/ 135783 h 1104204"/>
                    <a:gd name="connsiteX1" fmla="*/ 1418161 w 2034434"/>
                    <a:gd name="connsiteY1" fmla="*/ 654624 h 1104204"/>
                    <a:gd name="connsiteX2" fmla="*/ 678434 w 2034434"/>
                    <a:gd name="connsiteY2" fmla="*/ 598353 h 1104204"/>
                    <a:gd name="connsiteX3" fmla="*/ 0 w 2034434"/>
                    <a:gd name="connsiteY3" fmla="*/ 0 h 1104204"/>
                    <a:gd name="connsiteX4" fmla="*/ 608096 w 2034434"/>
                    <a:gd name="connsiteY4" fmla="*/ 696387 h 1104204"/>
                    <a:gd name="connsiteX5" fmla="*/ 1153952 w 2034434"/>
                    <a:gd name="connsiteY5" fmla="*/ 1104204 h 1104204"/>
                    <a:gd name="connsiteX6" fmla="*/ 1617746 w 2034434"/>
                    <a:gd name="connsiteY6" fmla="*/ 933633 h 1104204"/>
                    <a:gd name="connsiteX7" fmla="*/ 1978083 w 2034434"/>
                    <a:gd name="connsiteY7" fmla="*/ 438625 h 1104204"/>
                    <a:gd name="connsiteX8" fmla="*/ 1983976 w 2034434"/>
                    <a:gd name="connsiteY8" fmla="*/ 135783 h 1104204"/>
                    <a:gd name="connsiteX0" fmla="*/ 1983976 w 2034434"/>
                    <a:gd name="connsiteY0" fmla="*/ 135783 h 1104204"/>
                    <a:gd name="connsiteX1" fmla="*/ 1418161 w 2034434"/>
                    <a:gd name="connsiteY1" fmla="*/ 654624 h 1104204"/>
                    <a:gd name="connsiteX2" fmla="*/ 678434 w 2034434"/>
                    <a:gd name="connsiteY2" fmla="*/ 598353 h 1104204"/>
                    <a:gd name="connsiteX3" fmla="*/ 0 w 2034434"/>
                    <a:gd name="connsiteY3" fmla="*/ 0 h 1104204"/>
                    <a:gd name="connsiteX4" fmla="*/ 608096 w 2034434"/>
                    <a:gd name="connsiteY4" fmla="*/ 696387 h 1104204"/>
                    <a:gd name="connsiteX5" fmla="*/ 1153952 w 2034434"/>
                    <a:gd name="connsiteY5" fmla="*/ 1104204 h 1104204"/>
                    <a:gd name="connsiteX6" fmla="*/ 1617746 w 2034434"/>
                    <a:gd name="connsiteY6" fmla="*/ 933633 h 1104204"/>
                    <a:gd name="connsiteX7" fmla="*/ 1978083 w 2034434"/>
                    <a:gd name="connsiteY7" fmla="*/ 410050 h 1104204"/>
                    <a:gd name="connsiteX8" fmla="*/ 1983976 w 2034434"/>
                    <a:gd name="connsiteY8" fmla="*/ 135783 h 1104204"/>
                    <a:gd name="connsiteX0" fmla="*/ 1983976 w 2034434"/>
                    <a:gd name="connsiteY0" fmla="*/ 135783 h 1104204"/>
                    <a:gd name="connsiteX1" fmla="*/ 1418161 w 2034434"/>
                    <a:gd name="connsiteY1" fmla="*/ 654624 h 1104204"/>
                    <a:gd name="connsiteX2" fmla="*/ 678434 w 2034434"/>
                    <a:gd name="connsiteY2" fmla="*/ 598353 h 1104204"/>
                    <a:gd name="connsiteX3" fmla="*/ 0 w 2034434"/>
                    <a:gd name="connsiteY3" fmla="*/ 0 h 1104204"/>
                    <a:gd name="connsiteX4" fmla="*/ 608096 w 2034434"/>
                    <a:gd name="connsiteY4" fmla="*/ 696387 h 1104204"/>
                    <a:gd name="connsiteX5" fmla="*/ 1153952 w 2034434"/>
                    <a:gd name="connsiteY5" fmla="*/ 1104204 h 1104204"/>
                    <a:gd name="connsiteX6" fmla="*/ 1617746 w 2034434"/>
                    <a:gd name="connsiteY6" fmla="*/ 1000308 h 1104204"/>
                    <a:gd name="connsiteX7" fmla="*/ 1978083 w 2034434"/>
                    <a:gd name="connsiteY7" fmla="*/ 410050 h 1104204"/>
                    <a:gd name="connsiteX8" fmla="*/ 1983976 w 2034434"/>
                    <a:gd name="connsiteY8" fmla="*/ 135783 h 1104204"/>
                    <a:gd name="connsiteX0" fmla="*/ 1983976 w 2034434"/>
                    <a:gd name="connsiteY0" fmla="*/ 135783 h 1162119"/>
                    <a:gd name="connsiteX1" fmla="*/ 1418161 w 2034434"/>
                    <a:gd name="connsiteY1" fmla="*/ 654624 h 1162119"/>
                    <a:gd name="connsiteX2" fmla="*/ 678434 w 2034434"/>
                    <a:gd name="connsiteY2" fmla="*/ 598353 h 1162119"/>
                    <a:gd name="connsiteX3" fmla="*/ 0 w 2034434"/>
                    <a:gd name="connsiteY3" fmla="*/ 0 h 1162119"/>
                    <a:gd name="connsiteX4" fmla="*/ 608096 w 2034434"/>
                    <a:gd name="connsiteY4" fmla="*/ 696387 h 1162119"/>
                    <a:gd name="connsiteX5" fmla="*/ 1153952 w 2034434"/>
                    <a:gd name="connsiteY5" fmla="*/ 1104204 h 1162119"/>
                    <a:gd name="connsiteX6" fmla="*/ 1617746 w 2034434"/>
                    <a:gd name="connsiteY6" fmla="*/ 1000308 h 1162119"/>
                    <a:gd name="connsiteX7" fmla="*/ 1978083 w 2034434"/>
                    <a:gd name="connsiteY7" fmla="*/ 410050 h 1162119"/>
                    <a:gd name="connsiteX8" fmla="*/ 1983976 w 2034434"/>
                    <a:gd name="connsiteY8" fmla="*/ 135783 h 1162119"/>
                    <a:gd name="connsiteX0" fmla="*/ 1983976 w 2034434"/>
                    <a:gd name="connsiteY0" fmla="*/ 135783 h 1162119"/>
                    <a:gd name="connsiteX1" fmla="*/ 1418161 w 2034434"/>
                    <a:gd name="connsiteY1" fmla="*/ 654624 h 1162119"/>
                    <a:gd name="connsiteX2" fmla="*/ 678434 w 2034434"/>
                    <a:gd name="connsiteY2" fmla="*/ 598353 h 1162119"/>
                    <a:gd name="connsiteX3" fmla="*/ 0 w 2034434"/>
                    <a:gd name="connsiteY3" fmla="*/ 0 h 1162119"/>
                    <a:gd name="connsiteX4" fmla="*/ 550946 w 2034434"/>
                    <a:gd name="connsiteY4" fmla="*/ 753537 h 1162119"/>
                    <a:gd name="connsiteX5" fmla="*/ 1153952 w 2034434"/>
                    <a:gd name="connsiteY5" fmla="*/ 1104204 h 1162119"/>
                    <a:gd name="connsiteX6" fmla="*/ 1617746 w 2034434"/>
                    <a:gd name="connsiteY6" fmla="*/ 1000308 h 1162119"/>
                    <a:gd name="connsiteX7" fmla="*/ 1978083 w 2034434"/>
                    <a:gd name="connsiteY7" fmla="*/ 410050 h 1162119"/>
                    <a:gd name="connsiteX8" fmla="*/ 1983976 w 2034434"/>
                    <a:gd name="connsiteY8" fmla="*/ 135783 h 1162119"/>
                    <a:gd name="connsiteX0" fmla="*/ 1983976 w 2034434"/>
                    <a:gd name="connsiteY0" fmla="*/ 135783 h 1162119"/>
                    <a:gd name="connsiteX1" fmla="*/ 1418161 w 2034434"/>
                    <a:gd name="connsiteY1" fmla="*/ 654624 h 1162119"/>
                    <a:gd name="connsiteX2" fmla="*/ 678434 w 2034434"/>
                    <a:gd name="connsiteY2" fmla="*/ 598353 h 1162119"/>
                    <a:gd name="connsiteX3" fmla="*/ 0 w 2034434"/>
                    <a:gd name="connsiteY3" fmla="*/ 0 h 1162119"/>
                    <a:gd name="connsiteX4" fmla="*/ 550946 w 2034434"/>
                    <a:gd name="connsiteY4" fmla="*/ 753537 h 1162119"/>
                    <a:gd name="connsiteX5" fmla="*/ 1096802 w 2034434"/>
                    <a:gd name="connsiteY5" fmla="*/ 1161354 h 1162119"/>
                    <a:gd name="connsiteX6" fmla="*/ 1617746 w 2034434"/>
                    <a:gd name="connsiteY6" fmla="*/ 1000308 h 1162119"/>
                    <a:gd name="connsiteX7" fmla="*/ 1978083 w 2034434"/>
                    <a:gd name="connsiteY7" fmla="*/ 410050 h 1162119"/>
                    <a:gd name="connsiteX8" fmla="*/ 1983976 w 2034434"/>
                    <a:gd name="connsiteY8" fmla="*/ 135783 h 1162119"/>
                    <a:gd name="connsiteX0" fmla="*/ 1983976 w 2034434"/>
                    <a:gd name="connsiteY0" fmla="*/ 135783 h 1219269"/>
                    <a:gd name="connsiteX1" fmla="*/ 1418161 w 2034434"/>
                    <a:gd name="connsiteY1" fmla="*/ 654624 h 1219269"/>
                    <a:gd name="connsiteX2" fmla="*/ 678434 w 2034434"/>
                    <a:gd name="connsiteY2" fmla="*/ 598353 h 1219269"/>
                    <a:gd name="connsiteX3" fmla="*/ 0 w 2034434"/>
                    <a:gd name="connsiteY3" fmla="*/ 0 h 1219269"/>
                    <a:gd name="connsiteX4" fmla="*/ 550946 w 2034434"/>
                    <a:gd name="connsiteY4" fmla="*/ 753537 h 1219269"/>
                    <a:gd name="connsiteX5" fmla="*/ 1096802 w 2034434"/>
                    <a:gd name="connsiteY5" fmla="*/ 1161354 h 1219269"/>
                    <a:gd name="connsiteX6" fmla="*/ 1646321 w 2034434"/>
                    <a:gd name="connsiteY6" fmla="*/ 1057458 h 1219269"/>
                    <a:gd name="connsiteX7" fmla="*/ 1978083 w 2034434"/>
                    <a:gd name="connsiteY7" fmla="*/ 410050 h 1219269"/>
                    <a:gd name="connsiteX8" fmla="*/ 1983976 w 2034434"/>
                    <a:gd name="connsiteY8" fmla="*/ 135783 h 1219269"/>
                    <a:gd name="connsiteX0" fmla="*/ 1983976 w 1983976"/>
                    <a:gd name="connsiteY0" fmla="*/ 135783 h 1219269"/>
                    <a:gd name="connsiteX1" fmla="*/ 1418161 w 1983976"/>
                    <a:gd name="connsiteY1" fmla="*/ 654624 h 1219269"/>
                    <a:gd name="connsiteX2" fmla="*/ 678434 w 1983976"/>
                    <a:gd name="connsiteY2" fmla="*/ 598353 h 1219269"/>
                    <a:gd name="connsiteX3" fmla="*/ 0 w 1983976"/>
                    <a:gd name="connsiteY3" fmla="*/ 0 h 1219269"/>
                    <a:gd name="connsiteX4" fmla="*/ 550946 w 1983976"/>
                    <a:gd name="connsiteY4" fmla="*/ 753537 h 1219269"/>
                    <a:gd name="connsiteX5" fmla="*/ 1096802 w 1983976"/>
                    <a:gd name="connsiteY5" fmla="*/ 1161354 h 1219269"/>
                    <a:gd name="connsiteX6" fmla="*/ 1646321 w 1983976"/>
                    <a:gd name="connsiteY6" fmla="*/ 1057458 h 1219269"/>
                    <a:gd name="connsiteX7" fmla="*/ 1978083 w 1983976"/>
                    <a:gd name="connsiteY7" fmla="*/ 410050 h 1219269"/>
                    <a:gd name="connsiteX8" fmla="*/ 1983976 w 1983976"/>
                    <a:gd name="connsiteY8" fmla="*/ 135783 h 1219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83976" h="1219269">
                      <a:moveTo>
                        <a:pt x="1983976" y="135783"/>
                      </a:moveTo>
                      <a:cubicBezTo>
                        <a:pt x="1847369" y="300702"/>
                        <a:pt x="1581366" y="583337"/>
                        <a:pt x="1418161" y="654624"/>
                      </a:cubicBezTo>
                      <a:cubicBezTo>
                        <a:pt x="1094427" y="658871"/>
                        <a:pt x="1042426" y="663118"/>
                        <a:pt x="678434" y="598353"/>
                      </a:cubicBezTo>
                      <a:cubicBezTo>
                        <a:pt x="458040" y="479176"/>
                        <a:pt x="122628" y="142181"/>
                        <a:pt x="0" y="0"/>
                      </a:cubicBezTo>
                      <a:cubicBezTo>
                        <a:pt x="202580" y="324024"/>
                        <a:pt x="338662" y="528896"/>
                        <a:pt x="550946" y="753537"/>
                      </a:cubicBezTo>
                      <a:cubicBezTo>
                        <a:pt x="728984" y="902646"/>
                        <a:pt x="917415" y="1136101"/>
                        <a:pt x="1096802" y="1161354"/>
                      </a:cubicBezTo>
                      <a:cubicBezTo>
                        <a:pt x="1260925" y="1125345"/>
                        <a:pt x="1487948" y="1219269"/>
                        <a:pt x="1646321" y="1057458"/>
                      </a:cubicBezTo>
                      <a:cubicBezTo>
                        <a:pt x="1759864" y="992566"/>
                        <a:pt x="1920220" y="543025"/>
                        <a:pt x="1978083" y="410050"/>
                      </a:cubicBezTo>
                      <a:cubicBezTo>
                        <a:pt x="1978796" y="353275"/>
                        <a:pt x="1977284" y="231546"/>
                        <a:pt x="1983976" y="13578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nvGrpSpPr>
                <p:cNvPr id="308" name="Group 63"/>
                <p:cNvGrpSpPr/>
                <p:nvPr/>
              </p:nvGrpSpPr>
              <p:grpSpPr>
                <a:xfrm>
                  <a:off x="2947988" y="-778652"/>
                  <a:ext cx="783103" cy="635507"/>
                  <a:chOff x="2947988" y="-778652"/>
                  <a:chExt cx="783103" cy="635507"/>
                </a:xfrm>
                <a:grpFill/>
              </p:grpSpPr>
              <p:sp>
                <p:nvSpPr>
                  <p:cNvPr id="332" name="Freeform 331"/>
                  <p:cNvSpPr/>
                  <p:nvPr/>
                </p:nvSpPr>
                <p:spPr>
                  <a:xfrm rot="21274844">
                    <a:off x="3222652" y="-778652"/>
                    <a:ext cx="499701" cy="376700"/>
                  </a:xfrm>
                  <a:custGeom>
                    <a:avLst/>
                    <a:gdLst>
                      <a:gd name="connsiteX0" fmla="*/ 1041009 w 1041009"/>
                      <a:gd name="connsiteY0" fmla="*/ 281354 h 351693"/>
                      <a:gd name="connsiteX1" fmla="*/ 618978 w 1041009"/>
                      <a:gd name="connsiteY1" fmla="*/ 42203 h 351693"/>
                      <a:gd name="connsiteX2" fmla="*/ 0 w 1041009"/>
                      <a:gd name="connsiteY2" fmla="*/ 0 h 351693"/>
                      <a:gd name="connsiteX3" fmla="*/ 661181 w 1041009"/>
                      <a:gd name="connsiteY3" fmla="*/ 154745 h 351693"/>
                      <a:gd name="connsiteX4" fmla="*/ 1012874 w 1041009"/>
                      <a:gd name="connsiteY4" fmla="*/ 351693 h 351693"/>
                      <a:gd name="connsiteX5" fmla="*/ 1041009 w 1041009"/>
                      <a:gd name="connsiteY5" fmla="*/ 281354 h 351693"/>
                      <a:gd name="connsiteX0" fmla="*/ 831459 w 831459"/>
                      <a:gd name="connsiteY0" fmla="*/ 239151 h 309490"/>
                      <a:gd name="connsiteX1" fmla="*/ 409428 w 831459"/>
                      <a:gd name="connsiteY1" fmla="*/ 0 h 309490"/>
                      <a:gd name="connsiteX2" fmla="*/ 0 w 831459"/>
                      <a:gd name="connsiteY2" fmla="*/ 33997 h 309490"/>
                      <a:gd name="connsiteX3" fmla="*/ 451631 w 831459"/>
                      <a:gd name="connsiteY3" fmla="*/ 112542 h 309490"/>
                      <a:gd name="connsiteX4" fmla="*/ 803324 w 831459"/>
                      <a:gd name="connsiteY4" fmla="*/ 309490 h 309490"/>
                      <a:gd name="connsiteX5" fmla="*/ 831459 w 831459"/>
                      <a:gd name="connsiteY5" fmla="*/ 239151 h 309490"/>
                      <a:gd name="connsiteX0" fmla="*/ 831459 w 831459"/>
                      <a:gd name="connsiteY0" fmla="*/ 239151 h 309490"/>
                      <a:gd name="connsiteX1" fmla="*/ 409428 w 831459"/>
                      <a:gd name="connsiteY1" fmla="*/ 0 h 309490"/>
                      <a:gd name="connsiteX2" fmla="*/ 0 w 831459"/>
                      <a:gd name="connsiteY2" fmla="*/ 33997 h 309490"/>
                      <a:gd name="connsiteX3" fmla="*/ 451631 w 831459"/>
                      <a:gd name="connsiteY3" fmla="*/ 112542 h 309490"/>
                      <a:gd name="connsiteX4" fmla="*/ 803324 w 831459"/>
                      <a:gd name="connsiteY4" fmla="*/ 309490 h 309490"/>
                      <a:gd name="connsiteX5" fmla="*/ 831459 w 831459"/>
                      <a:gd name="connsiteY5" fmla="*/ 239151 h 309490"/>
                      <a:gd name="connsiteX0" fmla="*/ 776752 w 803324"/>
                      <a:gd name="connsiteY0" fmla="*/ 188351 h 309490"/>
                      <a:gd name="connsiteX1" fmla="*/ 409428 w 803324"/>
                      <a:gd name="connsiteY1" fmla="*/ 0 h 309490"/>
                      <a:gd name="connsiteX2" fmla="*/ 0 w 803324"/>
                      <a:gd name="connsiteY2" fmla="*/ 33997 h 309490"/>
                      <a:gd name="connsiteX3" fmla="*/ 451631 w 803324"/>
                      <a:gd name="connsiteY3" fmla="*/ 112542 h 309490"/>
                      <a:gd name="connsiteX4" fmla="*/ 803324 w 803324"/>
                      <a:gd name="connsiteY4" fmla="*/ 309490 h 309490"/>
                      <a:gd name="connsiteX5" fmla="*/ 776752 w 803324"/>
                      <a:gd name="connsiteY5" fmla="*/ 188351 h 309490"/>
                      <a:gd name="connsiteX0" fmla="*/ 776752 w 832502"/>
                      <a:gd name="connsiteY0" fmla="*/ 188351 h 309490"/>
                      <a:gd name="connsiteX1" fmla="*/ 409428 w 832502"/>
                      <a:gd name="connsiteY1" fmla="*/ 0 h 309490"/>
                      <a:gd name="connsiteX2" fmla="*/ 0 w 832502"/>
                      <a:gd name="connsiteY2" fmla="*/ 33997 h 309490"/>
                      <a:gd name="connsiteX3" fmla="*/ 451631 w 832502"/>
                      <a:gd name="connsiteY3" fmla="*/ 112542 h 309490"/>
                      <a:gd name="connsiteX4" fmla="*/ 803324 w 832502"/>
                      <a:gd name="connsiteY4" fmla="*/ 309490 h 309490"/>
                      <a:gd name="connsiteX5" fmla="*/ 776752 w 832502"/>
                      <a:gd name="connsiteY5" fmla="*/ 188351 h 309490"/>
                      <a:gd name="connsiteX0" fmla="*/ 776752 w 832502"/>
                      <a:gd name="connsiteY0" fmla="*/ 188351 h 309490"/>
                      <a:gd name="connsiteX1" fmla="*/ 409428 w 832502"/>
                      <a:gd name="connsiteY1" fmla="*/ 0 h 309490"/>
                      <a:gd name="connsiteX2" fmla="*/ 0 w 832502"/>
                      <a:gd name="connsiteY2" fmla="*/ 33997 h 309490"/>
                      <a:gd name="connsiteX3" fmla="*/ 451631 w 832502"/>
                      <a:gd name="connsiteY3" fmla="*/ 112542 h 309490"/>
                      <a:gd name="connsiteX4" fmla="*/ 803324 w 832502"/>
                      <a:gd name="connsiteY4" fmla="*/ 309490 h 309490"/>
                      <a:gd name="connsiteX5" fmla="*/ 776752 w 832502"/>
                      <a:gd name="connsiteY5" fmla="*/ 188351 h 309490"/>
                      <a:gd name="connsiteX0" fmla="*/ 776752 w 832502"/>
                      <a:gd name="connsiteY0" fmla="*/ 188351 h 332936"/>
                      <a:gd name="connsiteX1" fmla="*/ 409428 w 832502"/>
                      <a:gd name="connsiteY1" fmla="*/ 0 h 332936"/>
                      <a:gd name="connsiteX2" fmla="*/ 0 w 832502"/>
                      <a:gd name="connsiteY2" fmla="*/ 33997 h 332936"/>
                      <a:gd name="connsiteX3" fmla="*/ 451631 w 832502"/>
                      <a:gd name="connsiteY3" fmla="*/ 112542 h 332936"/>
                      <a:gd name="connsiteX4" fmla="*/ 795508 w 832502"/>
                      <a:gd name="connsiteY4" fmla="*/ 332936 h 332936"/>
                      <a:gd name="connsiteX5" fmla="*/ 776752 w 832502"/>
                      <a:gd name="connsiteY5" fmla="*/ 188351 h 332936"/>
                      <a:gd name="connsiteX0" fmla="*/ 776752 w 832502"/>
                      <a:gd name="connsiteY0" fmla="*/ 188351 h 332936"/>
                      <a:gd name="connsiteX1" fmla="*/ 409428 w 832502"/>
                      <a:gd name="connsiteY1" fmla="*/ 0 h 332936"/>
                      <a:gd name="connsiteX2" fmla="*/ 0 w 832502"/>
                      <a:gd name="connsiteY2" fmla="*/ 33997 h 332936"/>
                      <a:gd name="connsiteX3" fmla="*/ 451631 w 832502"/>
                      <a:gd name="connsiteY3" fmla="*/ 112542 h 332936"/>
                      <a:gd name="connsiteX4" fmla="*/ 795508 w 832502"/>
                      <a:gd name="connsiteY4" fmla="*/ 332936 h 332936"/>
                      <a:gd name="connsiteX5" fmla="*/ 776752 w 832502"/>
                      <a:gd name="connsiteY5" fmla="*/ 188351 h 332936"/>
                      <a:gd name="connsiteX0" fmla="*/ 776752 w 832502"/>
                      <a:gd name="connsiteY0" fmla="*/ 188351 h 332936"/>
                      <a:gd name="connsiteX1" fmla="*/ 409428 w 832502"/>
                      <a:gd name="connsiteY1" fmla="*/ 0 h 332936"/>
                      <a:gd name="connsiteX2" fmla="*/ 0 w 832502"/>
                      <a:gd name="connsiteY2" fmla="*/ 33997 h 332936"/>
                      <a:gd name="connsiteX3" fmla="*/ 451631 w 832502"/>
                      <a:gd name="connsiteY3" fmla="*/ 112542 h 332936"/>
                      <a:gd name="connsiteX4" fmla="*/ 795508 w 832502"/>
                      <a:gd name="connsiteY4" fmla="*/ 332936 h 332936"/>
                      <a:gd name="connsiteX5" fmla="*/ 776752 w 832502"/>
                      <a:gd name="connsiteY5" fmla="*/ 188351 h 332936"/>
                      <a:gd name="connsiteX0" fmla="*/ 817685 w 873435"/>
                      <a:gd name="connsiteY0" fmla="*/ 188351 h 332936"/>
                      <a:gd name="connsiteX1" fmla="*/ 450361 w 873435"/>
                      <a:gd name="connsiteY1" fmla="*/ 0 h 332936"/>
                      <a:gd name="connsiteX2" fmla="*/ 40933 w 873435"/>
                      <a:gd name="connsiteY2" fmla="*/ 33997 h 332936"/>
                      <a:gd name="connsiteX3" fmla="*/ 492564 w 873435"/>
                      <a:gd name="connsiteY3" fmla="*/ 112542 h 332936"/>
                      <a:gd name="connsiteX4" fmla="*/ 836441 w 873435"/>
                      <a:gd name="connsiteY4" fmla="*/ 332936 h 332936"/>
                      <a:gd name="connsiteX5" fmla="*/ 817685 w 873435"/>
                      <a:gd name="connsiteY5" fmla="*/ 188351 h 332936"/>
                      <a:gd name="connsiteX0" fmla="*/ 817685 w 873435"/>
                      <a:gd name="connsiteY0" fmla="*/ 196948 h 341533"/>
                      <a:gd name="connsiteX1" fmla="*/ 450361 w 873435"/>
                      <a:gd name="connsiteY1" fmla="*/ 8597 h 341533"/>
                      <a:gd name="connsiteX2" fmla="*/ 40933 w 873435"/>
                      <a:gd name="connsiteY2" fmla="*/ 42594 h 341533"/>
                      <a:gd name="connsiteX3" fmla="*/ 492564 w 873435"/>
                      <a:gd name="connsiteY3" fmla="*/ 121139 h 341533"/>
                      <a:gd name="connsiteX4" fmla="*/ 836441 w 873435"/>
                      <a:gd name="connsiteY4" fmla="*/ 341533 h 341533"/>
                      <a:gd name="connsiteX5" fmla="*/ 817685 w 873435"/>
                      <a:gd name="connsiteY5" fmla="*/ 196948 h 341533"/>
                      <a:gd name="connsiteX0" fmla="*/ 813777 w 869527"/>
                      <a:gd name="connsiteY0" fmla="*/ 188351 h 332936"/>
                      <a:gd name="connsiteX1" fmla="*/ 446453 w 869527"/>
                      <a:gd name="connsiteY1" fmla="*/ 0 h 332936"/>
                      <a:gd name="connsiteX2" fmla="*/ 40933 w 869527"/>
                      <a:gd name="connsiteY2" fmla="*/ 53536 h 332936"/>
                      <a:gd name="connsiteX3" fmla="*/ 488656 w 869527"/>
                      <a:gd name="connsiteY3" fmla="*/ 112542 h 332936"/>
                      <a:gd name="connsiteX4" fmla="*/ 832533 w 869527"/>
                      <a:gd name="connsiteY4" fmla="*/ 332936 h 332936"/>
                      <a:gd name="connsiteX5" fmla="*/ 813777 w 869527"/>
                      <a:gd name="connsiteY5" fmla="*/ 188351 h 332936"/>
                      <a:gd name="connsiteX0" fmla="*/ 813777 w 869527"/>
                      <a:gd name="connsiteY0" fmla="*/ 192650 h 337235"/>
                      <a:gd name="connsiteX1" fmla="*/ 446453 w 869527"/>
                      <a:gd name="connsiteY1" fmla="*/ 4299 h 337235"/>
                      <a:gd name="connsiteX2" fmla="*/ 40933 w 869527"/>
                      <a:gd name="connsiteY2" fmla="*/ 57835 h 337235"/>
                      <a:gd name="connsiteX3" fmla="*/ 488656 w 869527"/>
                      <a:gd name="connsiteY3" fmla="*/ 116841 h 337235"/>
                      <a:gd name="connsiteX4" fmla="*/ 832533 w 869527"/>
                      <a:gd name="connsiteY4" fmla="*/ 337235 h 337235"/>
                      <a:gd name="connsiteX5" fmla="*/ 813777 w 869527"/>
                      <a:gd name="connsiteY5" fmla="*/ 192650 h 337235"/>
                      <a:gd name="connsiteX0" fmla="*/ 813777 w 869527"/>
                      <a:gd name="connsiteY0" fmla="*/ 192650 h 337235"/>
                      <a:gd name="connsiteX1" fmla="*/ 446453 w 869527"/>
                      <a:gd name="connsiteY1" fmla="*/ 4299 h 337235"/>
                      <a:gd name="connsiteX2" fmla="*/ 40933 w 869527"/>
                      <a:gd name="connsiteY2" fmla="*/ 57835 h 337235"/>
                      <a:gd name="connsiteX3" fmla="*/ 488656 w 869527"/>
                      <a:gd name="connsiteY3" fmla="*/ 116841 h 337235"/>
                      <a:gd name="connsiteX4" fmla="*/ 832533 w 869527"/>
                      <a:gd name="connsiteY4" fmla="*/ 337235 h 337235"/>
                      <a:gd name="connsiteX5" fmla="*/ 813777 w 869527"/>
                      <a:gd name="connsiteY5" fmla="*/ 192650 h 337235"/>
                      <a:gd name="connsiteX0" fmla="*/ 813777 w 869527"/>
                      <a:gd name="connsiteY0" fmla="*/ 192650 h 337235"/>
                      <a:gd name="connsiteX1" fmla="*/ 446453 w 869527"/>
                      <a:gd name="connsiteY1" fmla="*/ 4299 h 337235"/>
                      <a:gd name="connsiteX2" fmla="*/ 40933 w 869527"/>
                      <a:gd name="connsiteY2" fmla="*/ 57835 h 337235"/>
                      <a:gd name="connsiteX3" fmla="*/ 445672 w 869527"/>
                      <a:gd name="connsiteY3" fmla="*/ 89487 h 337235"/>
                      <a:gd name="connsiteX4" fmla="*/ 832533 w 869527"/>
                      <a:gd name="connsiteY4" fmla="*/ 337235 h 337235"/>
                      <a:gd name="connsiteX5" fmla="*/ 813777 w 869527"/>
                      <a:gd name="connsiteY5" fmla="*/ 192650 h 337235"/>
                      <a:gd name="connsiteX0" fmla="*/ 813777 w 869527"/>
                      <a:gd name="connsiteY0" fmla="*/ 193039 h 337624"/>
                      <a:gd name="connsiteX1" fmla="*/ 446453 w 869527"/>
                      <a:gd name="connsiteY1" fmla="*/ 4688 h 337624"/>
                      <a:gd name="connsiteX2" fmla="*/ 40933 w 869527"/>
                      <a:gd name="connsiteY2" fmla="*/ 58224 h 337624"/>
                      <a:gd name="connsiteX3" fmla="*/ 445672 w 869527"/>
                      <a:gd name="connsiteY3" fmla="*/ 89876 h 337624"/>
                      <a:gd name="connsiteX4" fmla="*/ 832533 w 869527"/>
                      <a:gd name="connsiteY4" fmla="*/ 337624 h 337624"/>
                      <a:gd name="connsiteX5" fmla="*/ 813777 w 869527"/>
                      <a:gd name="connsiteY5" fmla="*/ 193039 h 337624"/>
                      <a:gd name="connsiteX0" fmla="*/ 772844 w 828594"/>
                      <a:gd name="connsiteY0" fmla="*/ 193039 h 337624"/>
                      <a:gd name="connsiteX1" fmla="*/ 405520 w 828594"/>
                      <a:gd name="connsiteY1" fmla="*/ 4688 h 337624"/>
                      <a:gd name="connsiteX2" fmla="*/ 0 w 828594"/>
                      <a:gd name="connsiteY2" fmla="*/ 58224 h 337624"/>
                      <a:gd name="connsiteX3" fmla="*/ 404739 w 828594"/>
                      <a:gd name="connsiteY3" fmla="*/ 89876 h 337624"/>
                      <a:gd name="connsiteX4" fmla="*/ 791600 w 828594"/>
                      <a:gd name="connsiteY4" fmla="*/ 337624 h 337624"/>
                      <a:gd name="connsiteX5" fmla="*/ 772844 w 828594"/>
                      <a:gd name="connsiteY5" fmla="*/ 193039 h 337624"/>
                      <a:gd name="connsiteX0" fmla="*/ 772844 w 828594"/>
                      <a:gd name="connsiteY0" fmla="*/ 193039 h 337624"/>
                      <a:gd name="connsiteX1" fmla="*/ 405520 w 828594"/>
                      <a:gd name="connsiteY1" fmla="*/ 4688 h 337624"/>
                      <a:gd name="connsiteX2" fmla="*/ 0 w 828594"/>
                      <a:gd name="connsiteY2" fmla="*/ 58224 h 337624"/>
                      <a:gd name="connsiteX3" fmla="*/ 404739 w 828594"/>
                      <a:gd name="connsiteY3" fmla="*/ 89876 h 337624"/>
                      <a:gd name="connsiteX4" fmla="*/ 791600 w 828594"/>
                      <a:gd name="connsiteY4" fmla="*/ 337624 h 337624"/>
                      <a:gd name="connsiteX5" fmla="*/ 772844 w 828594"/>
                      <a:gd name="connsiteY5" fmla="*/ 193039 h 337624"/>
                      <a:gd name="connsiteX0" fmla="*/ 772844 w 828594"/>
                      <a:gd name="connsiteY0" fmla="*/ 193039 h 337624"/>
                      <a:gd name="connsiteX1" fmla="*/ 405520 w 828594"/>
                      <a:gd name="connsiteY1" fmla="*/ 4688 h 337624"/>
                      <a:gd name="connsiteX2" fmla="*/ 0 w 828594"/>
                      <a:gd name="connsiteY2" fmla="*/ 58224 h 337624"/>
                      <a:gd name="connsiteX3" fmla="*/ 404739 w 828594"/>
                      <a:gd name="connsiteY3" fmla="*/ 89876 h 337624"/>
                      <a:gd name="connsiteX4" fmla="*/ 791600 w 828594"/>
                      <a:gd name="connsiteY4" fmla="*/ 337624 h 337624"/>
                      <a:gd name="connsiteX5" fmla="*/ 772844 w 828594"/>
                      <a:gd name="connsiteY5" fmla="*/ 193039 h 337624"/>
                      <a:gd name="connsiteX0" fmla="*/ 772844 w 828594"/>
                      <a:gd name="connsiteY0" fmla="*/ 208281 h 352866"/>
                      <a:gd name="connsiteX1" fmla="*/ 405520 w 828594"/>
                      <a:gd name="connsiteY1" fmla="*/ 4299 h 352866"/>
                      <a:gd name="connsiteX2" fmla="*/ 0 w 828594"/>
                      <a:gd name="connsiteY2" fmla="*/ 73466 h 352866"/>
                      <a:gd name="connsiteX3" fmla="*/ 404739 w 828594"/>
                      <a:gd name="connsiteY3" fmla="*/ 105118 h 352866"/>
                      <a:gd name="connsiteX4" fmla="*/ 791600 w 828594"/>
                      <a:gd name="connsiteY4" fmla="*/ 352866 h 352866"/>
                      <a:gd name="connsiteX5" fmla="*/ 772844 w 828594"/>
                      <a:gd name="connsiteY5" fmla="*/ 208281 h 352866"/>
                      <a:gd name="connsiteX0" fmla="*/ 772844 w 828594"/>
                      <a:gd name="connsiteY0" fmla="*/ 208281 h 352866"/>
                      <a:gd name="connsiteX1" fmla="*/ 405520 w 828594"/>
                      <a:gd name="connsiteY1" fmla="*/ 4299 h 352866"/>
                      <a:gd name="connsiteX2" fmla="*/ 0 w 828594"/>
                      <a:gd name="connsiteY2" fmla="*/ 73466 h 352866"/>
                      <a:gd name="connsiteX3" fmla="*/ 404739 w 828594"/>
                      <a:gd name="connsiteY3" fmla="*/ 105118 h 352866"/>
                      <a:gd name="connsiteX4" fmla="*/ 791600 w 828594"/>
                      <a:gd name="connsiteY4" fmla="*/ 352866 h 352866"/>
                      <a:gd name="connsiteX5" fmla="*/ 772844 w 828594"/>
                      <a:gd name="connsiteY5" fmla="*/ 208281 h 352866"/>
                      <a:gd name="connsiteX0" fmla="*/ 772844 w 828594"/>
                      <a:gd name="connsiteY0" fmla="*/ 220004 h 364589"/>
                      <a:gd name="connsiteX1" fmla="*/ 405520 w 828594"/>
                      <a:gd name="connsiteY1" fmla="*/ 16022 h 364589"/>
                      <a:gd name="connsiteX2" fmla="*/ 0 w 828594"/>
                      <a:gd name="connsiteY2" fmla="*/ 85189 h 364589"/>
                      <a:gd name="connsiteX3" fmla="*/ 404739 w 828594"/>
                      <a:gd name="connsiteY3" fmla="*/ 116841 h 364589"/>
                      <a:gd name="connsiteX4" fmla="*/ 791600 w 828594"/>
                      <a:gd name="connsiteY4" fmla="*/ 364589 h 364589"/>
                      <a:gd name="connsiteX5" fmla="*/ 772844 w 828594"/>
                      <a:gd name="connsiteY5" fmla="*/ 220004 h 364589"/>
                      <a:gd name="connsiteX0" fmla="*/ 772844 w 828594"/>
                      <a:gd name="connsiteY0" fmla="*/ 220004 h 364589"/>
                      <a:gd name="connsiteX1" fmla="*/ 405520 w 828594"/>
                      <a:gd name="connsiteY1" fmla="*/ 16022 h 364589"/>
                      <a:gd name="connsiteX2" fmla="*/ 0 w 828594"/>
                      <a:gd name="connsiteY2" fmla="*/ 85189 h 364589"/>
                      <a:gd name="connsiteX3" fmla="*/ 381293 w 828594"/>
                      <a:gd name="connsiteY3" fmla="*/ 85579 h 364589"/>
                      <a:gd name="connsiteX4" fmla="*/ 791600 w 828594"/>
                      <a:gd name="connsiteY4" fmla="*/ 364589 h 364589"/>
                      <a:gd name="connsiteX5" fmla="*/ 772844 w 828594"/>
                      <a:gd name="connsiteY5" fmla="*/ 220004 h 364589"/>
                      <a:gd name="connsiteX0" fmla="*/ 772844 w 828594"/>
                      <a:gd name="connsiteY0" fmla="*/ 220004 h 364589"/>
                      <a:gd name="connsiteX1" fmla="*/ 405520 w 828594"/>
                      <a:gd name="connsiteY1" fmla="*/ 16022 h 364589"/>
                      <a:gd name="connsiteX2" fmla="*/ 0 w 828594"/>
                      <a:gd name="connsiteY2" fmla="*/ 85189 h 364589"/>
                      <a:gd name="connsiteX3" fmla="*/ 381293 w 828594"/>
                      <a:gd name="connsiteY3" fmla="*/ 101210 h 364589"/>
                      <a:gd name="connsiteX4" fmla="*/ 791600 w 828594"/>
                      <a:gd name="connsiteY4" fmla="*/ 364589 h 364589"/>
                      <a:gd name="connsiteX5" fmla="*/ 772844 w 828594"/>
                      <a:gd name="connsiteY5" fmla="*/ 220004 h 364589"/>
                      <a:gd name="connsiteX0" fmla="*/ 772844 w 828594"/>
                      <a:gd name="connsiteY0" fmla="*/ 220004 h 364589"/>
                      <a:gd name="connsiteX1" fmla="*/ 405520 w 828594"/>
                      <a:gd name="connsiteY1" fmla="*/ 16022 h 364589"/>
                      <a:gd name="connsiteX2" fmla="*/ 0 w 828594"/>
                      <a:gd name="connsiteY2" fmla="*/ 85189 h 364589"/>
                      <a:gd name="connsiteX3" fmla="*/ 381293 w 828594"/>
                      <a:gd name="connsiteY3" fmla="*/ 101210 h 364589"/>
                      <a:gd name="connsiteX4" fmla="*/ 791600 w 828594"/>
                      <a:gd name="connsiteY4" fmla="*/ 364589 h 364589"/>
                      <a:gd name="connsiteX5" fmla="*/ 772844 w 828594"/>
                      <a:gd name="connsiteY5" fmla="*/ 220004 h 364589"/>
                      <a:gd name="connsiteX0" fmla="*/ 772844 w 828594"/>
                      <a:gd name="connsiteY0" fmla="*/ 220004 h 364589"/>
                      <a:gd name="connsiteX1" fmla="*/ 405520 w 828594"/>
                      <a:gd name="connsiteY1" fmla="*/ 16022 h 364589"/>
                      <a:gd name="connsiteX2" fmla="*/ 0 w 828594"/>
                      <a:gd name="connsiteY2" fmla="*/ 85189 h 364589"/>
                      <a:gd name="connsiteX3" fmla="*/ 381293 w 828594"/>
                      <a:gd name="connsiteY3" fmla="*/ 101210 h 364589"/>
                      <a:gd name="connsiteX4" fmla="*/ 791600 w 828594"/>
                      <a:gd name="connsiteY4" fmla="*/ 364589 h 364589"/>
                      <a:gd name="connsiteX5" fmla="*/ 772844 w 828594"/>
                      <a:gd name="connsiteY5" fmla="*/ 220004 h 364589"/>
                      <a:gd name="connsiteX0" fmla="*/ 733767 w 789517"/>
                      <a:gd name="connsiteY0" fmla="*/ 232115 h 376700"/>
                      <a:gd name="connsiteX1" fmla="*/ 366443 w 789517"/>
                      <a:gd name="connsiteY1" fmla="*/ 28133 h 376700"/>
                      <a:gd name="connsiteX2" fmla="*/ 0 w 789517"/>
                      <a:gd name="connsiteY2" fmla="*/ 58224 h 376700"/>
                      <a:gd name="connsiteX3" fmla="*/ 342216 w 789517"/>
                      <a:gd name="connsiteY3" fmla="*/ 113321 h 376700"/>
                      <a:gd name="connsiteX4" fmla="*/ 752523 w 789517"/>
                      <a:gd name="connsiteY4" fmla="*/ 376700 h 376700"/>
                      <a:gd name="connsiteX5" fmla="*/ 733767 w 789517"/>
                      <a:gd name="connsiteY5" fmla="*/ 232115 h 37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9517" h="376700">
                        <a:moveTo>
                          <a:pt x="733767" y="232115"/>
                        </a:moveTo>
                        <a:cubicBezTo>
                          <a:pt x="557921" y="93782"/>
                          <a:pt x="514936" y="64864"/>
                          <a:pt x="366443" y="28133"/>
                        </a:cubicBezTo>
                        <a:cubicBezTo>
                          <a:pt x="206521" y="12111"/>
                          <a:pt x="105214" y="0"/>
                          <a:pt x="0" y="58224"/>
                        </a:cubicBezTo>
                        <a:cubicBezTo>
                          <a:pt x="68483" y="45328"/>
                          <a:pt x="191672" y="87139"/>
                          <a:pt x="342216" y="113321"/>
                        </a:cubicBezTo>
                        <a:cubicBezTo>
                          <a:pt x="507642" y="163340"/>
                          <a:pt x="626173" y="232896"/>
                          <a:pt x="752523" y="376700"/>
                        </a:cubicBezTo>
                        <a:cubicBezTo>
                          <a:pt x="767112" y="363674"/>
                          <a:pt x="789517" y="303756"/>
                          <a:pt x="733767" y="23211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333" name="Freeform 147"/>
                  <p:cNvSpPr/>
                  <p:nvPr/>
                </p:nvSpPr>
                <p:spPr>
                  <a:xfrm rot="12111666" flipV="1">
                    <a:off x="2994243" y="-502078"/>
                    <a:ext cx="602886" cy="257438"/>
                  </a:xfrm>
                  <a:custGeom>
                    <a:avLst/>
                    <a:gdLst>
                      <a:gd name="connsiteX0" fmla="*/ 22085 w 574535"/>
                      <a:gd name="connsiteY0" fmla="*/ 104775 h 229223"/>
                      <a:gd name="connsiteX1" fmla="*/ 193535 w 574535"/>
                      <a:gd name="connsiteY1" fmla="*/ 0 h 229223"/>
                      <a:gd name="connsiteX2" fmla="*/ 545960 w 574535"/>
                      <a:gd name="connsiteY2" fmla="*/ 76200 h 229223"/>
                      <a:gd name="connsiteX3" fmla="*/ 574535 w 574535"/>
                      <a:gd name="connsiteY3" fmla="*/ 190500 h 229223"/>
                      <a:gd name="connsiteX4" fmla="*/ 374510 w 574535"/>
                      <a:gd name="connsiteY4" fmla="*/ 228600 h 229223"/>
                      <a:gd name="connsiteX5" fmla="*/ 22085 w 574535"/>
                      <a:gd name="connsiteY5" fmla="*/ 104775 h 229223"/>
                      <a:gd name="connsiteX0" fmla="*/ 0 w 552450"/>
                      <a:gd name="connsiteY0" fmla="*/ 104775 h 229223"/>
                      <a:gd name="connsiteX1" fmla="*/ 171450 w 552450"/>
                      <a:gd name="connsiteY1" fmla="*/ 0 h 229223"/>
                      <a:gd name="connsiteX2" fmla="*/ 523875 w 552450"/>
                      <a:gd name="connsiteY2" fmla="*/ 76200 h 229223"/>
                      <a:gd name="connsiteX3" fmla="*/ 552450 w 552450"/>
                      <a:gd name="connsiteY3" fmla="*/ 190500 h 229223"/>
                      <a:gd name="connsiteX4" fmla="*/ 387699 w 552450"/>
                      <a:gd name="connsiteY4" fmla="*/ 214688 h 229223"/>
                      <a:gd name="connsiteX5" fmla="*/ 0 w 552450"/>
                      <a:gd name="connsiteY5" fmla="*/ 104775 h 229223"/>
                      <a:gd name="connsiteX0" fmla="*/ 0 w 552450"/>
                      <a:gd name="connsiteY0" fmla="*/ 104775 h 229223"/>
                      <a:gd name="connsiteX1" fmla="*/ 171450 w 552450"/>
                      <a:gd name="connsiteY1" fmla="*/ 0 h 229223"/>
                      <a:gd name="connsiteX2" fmla="*/ 523875 w 552450"/>
                      <a:gd name="connsiteY2" fmla="*/ 76200 h 229223"/>
                      <a:gd name="connsiteX3" fmla="*/ 552450 w 552450"/>
                      <a:gd name="connsiteY3" fmla="*/ 190500 h 229223"/>
                      <a:gd name="connsiteX4" fmla="*/ 387699 w 552450"/>
                      <a:gd name="connsiteY4" fmla="*/ 214688 h 229223"/>
                      <a:gd name="connsiteX5" fmla="*/ 0 w 552450"/>
                      <a:gd name="connsiteY5" fmla="*/ 104775 h 229223"/>
                      <a:gd name="connsiteX0" fmla="*/ 0 w 533951"/>
                      <a:gd name="connsiteY0" fmla="*/ 137518 h 229223"/>
                      <a:gd name="connsiteX1" fmla="*/ 152951 w 533951"/>
                      <a:gd name="connsiteY1" fmla="*/ 0 h 229223"/>
                      <a:gd name="connsiteX2" fmla="*/ 505376 w 533951"/>
                      <a:gd name="connsiteY2" fmla="*/ 76200 h 229223"/>
                      <a:gd name="connsiteX3" fmla="*/ 533951 w 533951"/>
                      <a:gd name="connsiteY3" fmla="*/ 190500 h 229223"/>
                      <a:gd name="connsiteX4" fmla="*/ 369200 w 533951"/>
                      <a:gd name="connsiteY4" fmla="*/ 214688 h 229223"/>
                      <a:gd name="connsiteX5" fmla="*/ 0 w 533951"/>
                      <a:gd name="connsiteY5" fmla="*/ 137518 h 229223"/>
                      <a:gd name="connsiteX0" fmla="*/ 1525 w 535476"/>
                      <a:gd name="connsiteY0" fmla="*/ 137518 h 229223"/>
                      <a:gd name="connsiteX1" fmla="*/ 154476 w 535476"/>
                      <a:gd name="connsiteY1" fmla="*/ 0 h 229223"/>
                      <a:gd name="connsiteX2" fmla="*/ 506901 w 535476"/>
                      <a:gd name="connsiteY2" fmla="*/ 76200 h 229223"/>
                      <a:gd name="connsiteX3" fmla="*/ 535476 w 535476"/>
                      <a:gd name="connsiteY3" fmla="*/ 190500 h 229223"/>
                      <a:gd name="connsiteX4" fmla="*/ 359436 w 535476"/>
                      <a:gd name="connsiteY4" fmla="*/ 219140 h 229223"/>
                      <a:gd name="connsiteX5" fmla="*/ 1525 w 535476"/>
                      <a:gd name="connsiteY5" fmla="*/ 137518 h 229223"/>
                      <a:gd name="connsiteX0" fmla="*/ 0 w 533951"/>
                      <a:gd name="connsiteY0" fmla="*/ 137518 h 229223"/>
                      <a:gd name="connsiteX1" fmla="*/ 152951 w 533951"/>
                      <a:gd name="connsiteY1" fmla="*/ 0 h 229223"/>
                      <a:gd name="connsiteX2" fmla="*/ 505376 w 533951"/>
                      <a:gd name="connsiteY2" fmla="*/ 76200 h 229223"/>
                      <a:gd name="connsiteX3" fmla="*/ 533951 w 533951"/>
                      <a:gd name="connsiteY3" fmla="*/ 190500 h 229223"/>
                      <a:gd name="connsiteX4" fmla="*/ 357911 w 533951"/>
                      <a:gd name="connsiteY4" fmla="*/ 219140 h 229223"/>
                      <a:gd name="connsiteX5" fmla="*/ 0 w 533951"/>
                      <a:gd name="connsiteY5" fmla="*/ 137518 h 229223"/>
                      <a:gd name="connsiteX0" fmla="*/ 0 w 533951"/>
                      <a:gd name="connsiteY0" fmla="*/ 137518 h 229223"/>
                      <a:gd name="connsiteX1" fmla="*/ 152951 w 533951"/>
                      <a:gd name="connsiteY1" fmla="*/ 0 h 229223"/>
                      <a:gd name="connsiteX2" fmla="*/ 505376 w 533951"/>
                      <a:gd name="connsiteY2" fmla="*/ 76200 h 229223"/>
                      <a:gd name="connsiteX3" fmla="*/ 533951 w 533951"/>
                      <a:gd name="connsiteY3" fmla="*/ 190500 h 229223"/>
                      <a:gd name="connsiteX4" fmla="*/ 357911 w 533951"/>
                      <a:gd name="connsiteY4" fmla="*/ 219140 h 229223"/>
                      <a:gd name="connsiteX5" fmla="*/ 0 w 533951"/>
                      <a:gd name="connsiteY5" fmla="*/ 137518 h 229223"/>
                      <a:gd name="connsiteX0" fmla="*/ 0 w 558938"/>
                      <a:gd name="connsiteY0" fmla="*/ 137518 h 225529"/>
                      <a:gd name="connsiteX1" fmla="*/ 152951 w 558938"/>
                      <a:gd name="connsiteY1" fmla="*/ 0 h 225529"/>
                      <a:gd name="connsiteX2" fmla="*/ 505376 w 558938"/>
                      <a:gd name="connsiteY2" fmla="*/ 76200 h 225529"/>
                      <a:gd name="connsiteX3" fmla="*/ 558938 w 558938"/>
                      <a:gd name="connsiteY3" fmla="*/ 186806 h 225529"/>
                      <a:gd name="connsiteX4" fmla="*/ 357911 w 558938"/>
                      <a:gd name="connsiteY4" fmla="*/ 219140 h 225529"/>
                      <a:gd name="connsiteX5" fmla="*/ 0 w 558938"/>
                      <a:gd name="connsiteY5" fmla="*/ 137518 h 225529"/>
                      <a:gd name="connsiteX0" fmla="*/ 0 w 558938"/>
                      <a:gd name="connsiteY0" fmla="*/ 137518 h 225529"/>
                      <a:gd name="connsiteX1" fmla="*/ 152951 w 558938"/>
                      <a:gd name="connsiteY1" fmla="*/ 0 h 225529"/>
                      <a:gd name="connsiteX2" fmla="*/ 477977 w 558938"/>
                      <a:gd name="connsiteY2" fmla="*/ 74686 h 225529"/>
                      <a:gd name="connsiteX3" fmla="*/ 558938 w 558938"/>
                      <a:gd name="connsiteY3" fmla="*/ 186806 h 225529"/>
                      <a:gd name="connsiteX4" fmla="*/ 357911 w 558938"/>
                      <a:gd name="connsiteY4" fmla="*/ 219140 h 225529"/>
                      <a:gd name="connsiteX5" fmla="*/ 0 w 558938"/>
                      <a:gd name="connsiteY5" fmla="*/ 137518 h 225529"/>
                      <a:gd name="connsiteX0" fmla="*/ 13346 w 572284"/>
                      <a:gd name="connsiteY0" fmla="*/ 137518 h 225529"/>
                      <a:gd name="connsiteX1" fmla="*/ 166297 w 572284"/>
                      <a:gd name="connsiteY1" fmla="*/ 0 h 225529"/>
                      <a:gd name="connsiteX2" fmla="*/ 491323 w 572284"/>
                      <a:gd name="connsiteY2" fmla="*/ 74686 h 225529"/>
                      <a:gd name="connsiteX3" fmla="*/ 572284 w 572284"/>
                      <a:gd name="connsiteY3" fmla="*/ 186806 h 225529"/>
                      <a:gd name="connsiteX4" fmla="*/ 371257 w 572284"/>
                      <a:gd name="connsiteY4" fmla="*/ 219140 h 225529"/>
                      <a:gd name="connsiteX5" fmla="*/ 13346 w 572284"/>
                      <a:gd name="connsiteY5" fmla="*/ 137518 h 225529"/>
                      <a:gd name="connsiteX0" fmla="*/ 31261 w 590199"/>
                      <a:gd name="connsiteY0" fmla="*/ 137518 h 225529"/>
                      <a:gd name="connsiteX1" fmla="*/ 184212 w 590199"/>
                      <a:gd name="connsiteY1" fmla="*/ 0 h 225529"/>
                      <a:gd name="connsiteX2" fmla="*/ 509238 w 590199"/>
                      <a:gd name="connsiteY2" fmla="*/ 74686 h 225529"/>
                      <a:gd name="connsiteX3" fmla="*/ 590199 w 590199"/>
                      <a:gd name="connsiteY3" fmla="*/ 186806 h 225529"/>
                      <a:gd name="connsiteX4" fmla="*/ 389172 w 590199"/>
                      <a:gd name="connsiteY4" fmla="*/ 219140 h 225529"/>
                      <a:gd name="connsiteX5" fmla="*/ 31261 w 590199"/>
                      <a:gd name="connsiteY5" fmla="*/ 137518 h 225529"/>
                      <a:gd name="connsiteX0" fmla="*/ 31261 w 574088"/>
                      <a:gd name="connsiteY0" fmla="*/ 143484 h 225529"/>
                      <a:gd name="connsiteX1" fmla="*/ 168101 w 574088"/>
                      <a:gd name="connsiteY1" fmla="*/ 0 h 225529"/>
                      <a:gd name="connsiteX2" fmla="*/ 493127 w 574088"/>
                      <a:gd name="connsiteY2" fmla="*/ 74686 h 225529"/>
                      <a:gd name="connsiteX3" fmla="*/ 574088 w 574088"/>
                      <a:gd name="connsiteY3" fmla="*/ 186806 h 225529"/>
                      <a:gd name="connsiteX4" fmla="*/ 373061 w 574088"/>
                      <a:gd name="connsiteY4" fmla="*/ 219140 h 225529"/>
                      <a:gd name="connsiteX5" fmla="*/ 31261 w 574088"/>
                      <a:gd name="connsiteY5" fmla="*/ 143484 h 225529"/>
                      <a:gd name="connsiteX0" fmla="*/ 29457 w 572284"/>
                      <a:gd name="connsiteY0" fmla="*/ 143484 h 225529"/>
                      <a:gd name="connsiteX1" fmla="*/ 166297 w 572284"/>
                      <a:gd name="connsiteY1" fmla="*/ 0 h 225529"/>
                      <a:gd name="connsiteX2" fmla="*/ 491323 w 572284"/>
                      <a:gd name="connsiteY2" fmla="*/ 74686 h 225529"/>
                      <a:gd name="connsiteX3" fmla="*/ 572284 w 572284"/>
                      <a:gd name="connsiteY3" fmla="*/ 186806 h 225529"/>
                      <a:gd name="connsiteX4" fmla="*/ 371257 w 572284"/>
                      <a:gd name="connsiteY4" fmla="*/ 219140 h 225529"/>
                      <a:gd name="connsiteX5" fmla="*/ 29457 w 572284"/>
                      <a:gd name="connsiteY5" fmla="*/ 143484 h 225529"/>
                      <a:gd name="connsiteX0" fmla="*/ 29457 w 572284"/>
                      <a:gd name="connsiteY0" fmla="*/ 143484 h 225529"/>
                      <a:gd name="connsiteX1" fmla="*/ 166297 w 572284"/>
                      <a:gd name="connsiteY1" fmla="*/ 0 h 225529"/>
                      <a:gd name="connsiteX2" fmla="*/ 491323 w 572284"/>
                      <a:gd name="connsiteY2" fmla="*/ 74686 h 225529"/>
                      <a:gd name="connsiteX3" fmla="*/ 572284 w 572284"/>
                      <a:gd name="connsiteY3" fmla="*/ 186806 h 225529"/>
                      <a:gd name="connsiteX4" fmla="*/ 371257 w 572284"/>
                      <a:gd name="connsiteY4" fmla="*/ 219140 h 225529"/>
                      <a:gd name="connsiteX5" fmla="*/ 29457 w 572284"/>
                      <a:gd name="connsiteY5" fmla="*/ 143484 h 225529"/>
                      <a:gd name="connsiteX0" fmla="*/ 13345 w 572284"/>
                      <a:gd name="connsiteY0" fmla="*/ 137518 h 225529"/>
                      <a:gd name="connsiteX1" fmla="*/ 166297 w 572284"/>
                      <a:gd name="connsiteY1" fmla="*/ 0 h 225529"/>
                      <a:gd name="connsiteX2" fmla="*/ 491323 w 572284"/>
                      <a:gd name="connsiteY2" fmla="*/ 74686 h 225529"/>
                      <a:gd name="connsiteX3" fmla="*/ 572284 w 572284"/>
                      <a:gd name="connsiteY3" fmla="*/ 186806 h 225529"/>
                      <a:gd name="connsiteX4" fmla="*/ 371257 w 572284"/>
                      <a:gd name="connsiteY4" fmla="*/ 219140 h 225529"/>
                      <a:gd name="connsiteX5" fmla="*/ 13345 w 572284"/>
                      <a:gd name="connsiteY5" fmla="*/ 137518 h 225529"/>
                      <a:gd name="connsiteX0" fmla="*/ 13345 w 572284"/>
                      <a:gd name="connsiteY0" fmla="*/ 137518 h 225529"/>
                      <a:gd name="connsiteX1" fmla="*/ 166297 w 572284"/>
                      <a:gd name="connsiteY1" fmla="*/ 0 h 225529"/>
                      <a:gd name="connsiteX2" fmla="*/ 491323 w 572284"/>
                      <a:gd name="connsiteY2" fmla="*/ 74686 h 225529"/>
                      <a:gd name="connsiteX3" fmla="*/ 572284 w 572284"/>
                      <a:gd name="connsiteY3" fmla="*/ 186806 h 225529"/>
                      <a:gd name="connsiteX4" fmla="*/ 371257 w 572284"/>
                      <a:gd name="connsiteY4" fmla="*/ 219140 h 225529"/>
                      <a:gd name="connsiteX5" fmla="*/ 13345 w 572284"/>
                      <a:gd name="connsiteY5" fmla="*/ 137518 h 225529"/>
                      <a:gd name="connsiteX0" fmla="*/ 13345 w 572284"/>
                      <a:gd name="connsiteY0" fmla="*/ 137518 h 225529"/>
                      <a:gd name="connsiteX1" fmla="*/ 166297 w 572284"/>
                      <a:gd name="connsiteY1" fmla="*/ 0 h 225529"/>
                      <a:gd name="connsiteX2" fmla="*/ 491323 w 572284"/>
                      <a:gd name="connsiteY2" fmla="*/ 74686 h 225529"/>
                      <a:gd name="connsiteX3" fmla="*/ 572284 w 572284"/>
                      <a:gd name="connsiteY3" fmla="*/ 186806 h 225529"/>
                      <a:gd name="connsiteX4" fmla="*/ 371257 w 572284"/>
                      <a:gd name="connsiteY4" fmla="*/ 219140 h 225529"/>
                      <a:gd name="connsiteX5" fmla="*/ 13345 w 572284"/>
                      <a:gd name="connsiteY5" fmla="*/ 137518 h 225529"/>
                      <a:gd name="connsiteX0" fmla="*/ 13345 w 572284"/>
                      <a:gd name="connsiteY0" fmla="*/ 137518 h 225529"/>
                      <a:gd name="connsiteX1" fmla="*/ 166297 w 572284"/>
                      <a:gd name="connsiteY1" fmla="*/ 0 h 225529"/>
                      <a:gd name="connsiteX2" fmla="*/ 491323 w 572284"/>
                      <a:gd name="connsiteY2" fmla="*/ 74686 h 225529"/>
                      <a:gd name="connsiteX3" fmla="*/ 572284 w 572284"/>
                      <a:gd name="connsiteY3" fmla="*/ 186806 h 225529"/>
                      <a:gd name="connsiteX4" fmla="*/ 374490 w 572284"/>
                      <a:gd name="connsiteY4" fmla="*/ 211706 h 225529"/>
                      <a:gd name="connsiteX5" fmla="*/ 13345 w 572284"/>
                      <a:gd name="connsiteY5" fmla="*/ 137518 h 225529"/>
                      <a:gd name="connsiteX0" fmla="*/ 13324 w 572284"/>
                      <a:gd name="connsiteY0" fmla="*/ 155953 h 225529"/>
                      <a:gd name="connsiteX1" fmla="*/ 166297 w 572284"/>
                      <a:gd name="connsiteY1" fmla="*/ 0 h 225529"/>
                      <a:gd name="connsiteX2" fmla="*/ 491323 w 572284"/>
                      <a:gd name="connsiteY2" fmla="*/ 74686 h 225529"/>
                      <a:gd name="connsiteX3" fmla="*/ 572284 w 572284"/>
                      <a:gd name="connsiteY3" fmla="*/ 186806 h 225529"/>
                      <a:gd name="connsiteX4" fmla="*/ 374490 w 572284"/>
                      <a:gd name="connsiteY4" fmla="*/ 211706 h 225529"/>
                      <a:gd name="connsiteX5" fmla="*/ 13324 w 572284"/>
                      <a:gd name="connsiteY5" fmla="*/ 155953 h 225529"/>
                      <a:gd name="connsiteX0" fmla="*/ 13324 w 572284"/>
                      <a:gd name="connsiteY0" fmla="*/ 155953 h 225529"/>
                      <a:gd name="connsiteX1" fmla="*/ 166297 w 572284"/>
                      <a:gd name="connsiteY1" fmla="*/ 0 h 225529"/>
                      <a:gd name="connsiteX2" fmla="*/ 491323 w 572284"/>
                      <a:gd name="connsiteY2" fmla="*/ 74686 h 225529"/>
                      <a:gd name="connsiteX3" fmla="*/ 572284 w 572284"/>
                      <a:gd name="connsiteY3" fmla="*/ 186806 h 225529"/>
                      <a:gd name="connsiteX4" fmla="*/ 374490 w 572284"/>
                      <a:gd name="connsiteY4" fmla="*/ 211706 h 225529"/>
                      <a:gd name="connsiteX5" fmla="*/ 13324 w 572284"/>
                      <a:gd name="connsiteY5" fmla="*/ 155953 h 225529"/>
                      <a:gd name="connsiteX0" fmla="*/ 13324 w 572284"/>
                      <a:gd name="connsiteY0" fmla="*/ 155953 h 225529"/>
                      <a:gd name="connsiteX1" fmla="*/ 166297 w 572284"/>
                      <a:gd name="connsiteY1" fmla="*/ 0 h 225529"/>
                      <a:gd name="connsiteX2" fmla="*/ 491323 w 572284"/>
                      <a:gd name="connsiteY2" fmla="*/ 74686 h 225529"/>
                      <a:gd name="connsiteX3" fmla="*/ 572284 w 572284"/>
                      <a:gd name="connsiteY3" fmla="*/ 186806 h 225529"/>
                      <a:gd name="connsiteX4" fmla="*/ 374490 w 572284"/>
                      <a:gd name="connsiteY4" fmla="*/ 211706 h 225529"/>
                      <a:gd name="connsiteX5" fmla="*/ 13324 w 572284"/>
                      <a:gd name="connsiteY5" fmla="*/ 155953 h 225529"/>
                      <a:gd name="connsiteX0" fmla="*/ 13324 w 572284"/>
                      <a:gd name="connsiteY0" fmla="*/ 155953 h 225529"/>
                      <a:gd name="connsiteX1" fmla="*/ 166297 w 572284"/>
                      <a:gd name="connsiteY1" fmla="*/ 0 h 225529"/>
                      <a:gd name="connsiteX2" fmla="*/ 491323 w 572284"/>
                      <a:gd name="connsiteY2" fmla="*/ 74686 h 225529"/>
                      <a:gd name="connsiteX3" fmla="*/ 572284 w 572284"/>
                      <a:gd name="connsiteY3" fmla="*/ 186806 h 225529"/>
                      <a:gd name="connsiteX4" fmla="*/ 374490 w 572284"/>
                      <a:gd name="connsiteY4" fmla="*/ 211706 h 225529"/>
                      <a:gd name="connsiteX5" fmla="*/ 13324 w 572284"/>
                      <a:gd name="connsiteY5" fmla="*/ 155953 h 22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84" h="225529">
                        <a:moveTo>
                          <a:pt x="13324" y="155953"/>
                        </a:moveTo>
                        <a:cubicBezTo>
                          <a:pt x="21201" y="131038"/>
                          <a:pt x="0" y="106717"/>
                          <a:pt x="166297" y="0"/>
                        </a:cubicBezTo>
                        <a:lnTo>
                          <a:pt x="491323" y="74686"/>
                        </a:lnTo>
                        <a:lnTo>
                          <a:pt x="572284" y="186806"/>
                        </a:lnTo>
                        <a:cubicBezTo>
                          <a:pt x="378671" y="225529"/>
                          <a:pt x="518887" y="211773"/>
                          <a:pt x="374490" y="211706"/>
                        </a:cubicBezTo>
                        <a:cubicBezTo>
                          <a:pt x="187456" y="184230"/>
                          <a:pt x="87362" y="129842"/>
                          <a:pt x="13324" y="15595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334" name="Freeform 148"/>
                  <p:cNvSpPr/>
                  <p:nvPr/>
                </p:nvSpPr>
                <p:spPr>
                  <a:xfrm>
                    <a:off x="3162326" y="-466420"/>
                    <a:ext cx="307975" cy="192615"/>
                  </a:xfrm>
                  <a:custGeom>
                    <a:avLst/>
                    <a:gdLst>
                      <a:gd name="connsiteX0" fmla="*/ 266700 w 266700"/>
                      <a:gd name="connsiteY0" fmla="*/ 38100 h 209550"/>
                      <a:gd name="connsiteX1" fmla="*/ 0 w 266700"/>
                      <a:gd name="connsiteY1" fmla="*/ 0 h 209550"/>
                      <a:gd name="connsiteX2" fmla="*/ 28575 w 266700"/>
                      <a:gd name="connsiteY2" fmla="*/ 200025 h 209550"/>
                      <a:gd name="connsiteX3" fmla="*/ 190500 w 266700"/>
                      <a:gd name="connsiteY3" fmla="*/ 209550 h 209550"/>
                      <a:gd name="connsiteX4" fmla="*/ 228600 w 266700"/>
                      <a:gd name="connsiteY4" fmla="*/ 95250 h 209550"/>
                      <a:gd name="connsiteX5" fmla="*/ 266700 w 266700"/>
                      <a:gd name="connsiteY5" fmla="*/ 38100 h 209550"/>
                      <a:gd name="connsiteX0" fmla="*/ 293309 w 293309"/>
                      <a:gd name="connsiteY0" fmla="*/ 64710 h 209550"/>
                      <a:gd name="connsiteX1" fmla="*/ 0 w 293309"/>
                      <a:gd name="connsiteY1" fmla="*/ 0 h 209550"/>
                      <a:gd name="connsiteX2" fmla="*/ 28575 w 293309"/>
                      <a:gd name="connsiteY2" fmla="*/ 200025 h 209550"/>
                      <a:gd name="connsiteX3" fmla="*/ 190500 w 293309"/>
                      <a:gd name="connsiteY3" fmla="*/ 209550 h 209550"/>
                      <a:gd name="connsiteX4" fmla="*/ 228600 w 293309"/>
                      <a:gd name="connsiteY4" fmla="*/ 95250 h 209550"/>
                      <a:gd name="connsiteX5" fmla="*/ 293309 w 293309"/>
                      <a:gd name="connsiteY5" fmla="*/ 64710 h 209550"/>
                      <a:gd name="connsiteX0" fmla="*/ 293309 w 293309"/>
                      <a:gd name="connsiteY0" fmla="*/ 64710 h 209550"/>
                      <a:gd name="connsiteX1" fmla="*/ 0 w 293309"/>
                      <a:gd name="connsiteY1" fmla="*/ 0 h 209550"/>
                      <a:gd name="connsiteX2" fmla="*/ 28575 w 293309"/>
                      <a:gd name="connsiteY2" fmla="*/ 200025 h 209550"/>
                      <a:gd name="connsiteX3" fmla="*/ 190500 w 293309"/>
                      <a:gd name="connsiteY3" fmla="*/ 209550 h 209550"/>
                      <a:gd name="connsiteX4" fmla="*/ 228600 w 293309"/>
                      <a:gd name="connsiteY4" fmla="*/ 95250 h 209550"/>
                      <a:gd name="connsiteX5" fmla="*/ 293309 w 293309"/>
                      <a:gd name="connsiteY5" fmla="*/ 64710 h 209550"/>
                      <a:gd name="connsiteX0" fmla="*/ 293309 w 293309"/>
                      <a:gd name="connsiteY0" fmla="*/ 64710 h 209550"/>
                      <a:gd name="connsiteX1" fmla="*/ 0 w 293309"/>
                      <a:gd name="connsiteY1" fmla="*/ 0 h 209550"/>
                      <a:gd name="connsiteX2" fmla="*/ 28575 w 293309"/>
                      <a:gd name="connsiteY2" fmla="*/ 200025 h 209550"/>
                      <a:gd name="connsiteX3" fmla="*/ 190500 w 293309"/>
                      <a:gd name="connsiteY3" fmla="*/ 209550 h 209550"/>
                      <a:gd name="connsiteX4" fmla="*/ 228600 w 293309"/>
                      <a:gd name="connsiteY4" fmla="*/ 95250 h 209550"/>
                      <a:gd name="connsiteX5" fmla="*/ 293309 w 293309"/>
                      <a:gd name="connsiteY5" fmla="*/ 64710 h 209550"/>
                      <a:gd name="connsiteX0" fmla="*/ 293309 w 293309"/>
                      <a:gd name="connsiteY0" fmla="*/ 64710 h 209550"/>
                      <a:gd name="connsiteX1" fmla="*/ 0 w 293309"/>
                      <a:gd name="connsiteY1" fmla="*/ 0 h 209550"/>
                      <a:gd name="connsiteX2" fmla="*/ 28575 w 293309"/>
                      <a:gd name="connsiteY2" fmla="*/ 200025 h 209550"/>
                      <a:gd name="connsiteX3" fmla="*/ 190500 w 293309"/>
                      <a:gd name="connsiteY3" fmla="*/ 209550 h 209550"/>
                      <a:gd name="connsiteX4" fmla="*/ 233438 w 293309"/>
                      <a:gd name="connsiteY4" fmla="*/ 83155 h 209550"/>
                      <a:gd name="connsiteX5" fmla="*/ 293309 w 293309"/>
                      <a:gd name="connsiteY5" fmla="*/ 64710 h 209550"/>
                      <a:gd name="connsiteX0" fmla="*/ 293309 w 293309"/>
                      <a:gd name="connsiteY0" fmla="*/ 64710 h 211969"/>
                      <a:gd name="connsiteX1" fmla="*/ 0 w 293309"/>
                      <a:gd name="connsiteY1" fmla="*/ 0 h 211969"/>
                      <a:gd name="connsiteX2" fmla="*/ 28575 w 293309"/>
                      <a:gd name="connsiteY2" fmla="*/ 200025 h 211969"/>
                      <a:gd name="connsiteX3" fmla="*/ 178405 w 293309"/>
                      <a:gd name="connsiteY3" fmla="*/ 211969 h 211969"/>
                      <a:gd name="connsiteX4" fmla="*/ 233438 w 293309"/>
                      <a:gd name="connsiteY4" fmla="*/ 83155 h 211969"/>
                      <a:gd name="connsiteX5" fmla="*/ 293309 w 293309"/>
                      <a:gd name="connsiteY5" fmla="*/ 64710 h 211969"/>
                      <a:gd name="connsiteX0" fmla="*/ 293309 w 293309"/>
                      <a:gd name="connsiteY0" fmla="*/ 64710 h 211969"/>
                      <a:gd name="connsiteX1" fmla="*/ 0 w 293309"/>
                      <a:gd name="connsiteY1" fmla="*/ 0 h 211969"/>
                      <a:gd name="connsiteX2" fmla="*/ 28575 w 293309"/>
                      <a:gd name="connsiteY2" fmla="*/ 200025 h 211969"/>
                      <a:gd name="connsiteX3" fmla="*/ 178405 w 293309"/>
                      <a:gd name="connsiteY3" fmla="*/ 211969 h 211969"/>
                      <a:gd name="connsiteX4" fmla="*/ 233438 w 293309"/>
                      <a:gd name="connsiteY4" fmla="*/ 83155 h 211969"/>
                      <a:gd name="connsiteX5" fmla="*/ 293309 w 293309"/>
                      <a:gd name="connsiteY5" fmla="*/ 64710 h 211969"/>
                      <a:gd name="connsiteX0" fmla="*/ 293309 w 293309"/>
                      <a:gd name="connsiteY0" fmla="*/ 64710 h 211969"/>
                      <a:gd name="connsiteX1" fmla="*/ 0 w 293309"/>
                      <a:gd name="connsiteY1" fmla="*/ 0 h 211969"/>
                      <a:gd name="connsiteX2" fmla="*/ 28575 w 293309"/>
                      <a:gd name="connsiteY2" fmla="*/ 200025 h 211969"/>
                      <a:gd name="connsiteX3" fmla="*/ 178405 w 293309"/>
                      <a:gd name="connsiteY3" fmla="*/ 211969 h 211969"/>
                      <a:gd name="connsiteX4" fmla="*/ 247952 w 293309"/>
                      <a:gd name="connsiteY4" fmla="*/ 83155 h 211969"/>
                      <a:gd name="connsiteX5" fmla="*/ 293309 w 293309"/>
                      <a:gd name="connsiteY5" fmla="*/ 64710 h 211969"/>
                      <a:gd name="connsiteX0" fmla="*/ 293309 w 293309"/>
                      <a:gd name="connsiteY0" fmla="*/ 55033 h 202292"/>
                      <a:gd name="connsiteX1" fmla="*/ 0 w 293309"/>
                      <a:gd name="connsiteY1" fmla="*/ 0 h 202292"/>
                      <a:gd name="connsiteX2" fmla="*/ 28575 w 293309"/>
                      <a:gd name="connsiteY2" fmla="*/ 190348 h 202292"/>
                      <a:gd name="connsiteX3" fmla="*/ 178405 w 293309"/>
                      <a:gd name="connsiteY3" fmla="*/ 202292 h 202292"/>
                      <a:gd name="connsiteX4" fmla="*/ 247952 w 293309"/>
                      <a:gd name="connsiteY4" fmla="*/ 73478 h 202292"/>
                      <a:gd name="connsiteX5" fmla="*/ 293309 w 293309"/>
                      <a:gd name="connsiteY5" fmla="*/ 55033 h 202292"/>
                      <a:gd name="connsiteX0" fmla="*/ 298299 w 298299"/>
                      <a:gd name="connsiteY0" fmla="*/ 55033 h 202292"/>
                      <a:gd name="connsiteX1" fmla="*/ 4990 w 298299"/>
                      <a:gd name="connsiteY1" fmla="*/ 0 h 202292"/>
                      <a:gd name="connsiteX2" fmla="*/ 33565 w 298299"/>
                      <a:gd name="connsiteY2" fmla="*/ 190348 h 202292"/>
                      <a:gd name="connsiteX3" fmla="*/ 183395 w 298299"/>
                      <a:gd name="connsiteY3" fmla="*/ 202292 h 202292"/>
                      <a:gd name="connsiteX4" fmla="*/ 252942 w 298299"/>
                      <a:gd name="connsiteY4" fmla="*/ 73478 h 202292"/>
                      <a:gd name="connsiteX5" fmla="*/ 298299 w 298299"/>
                      <a:gd name="connsiteY5" fmla="*/ 55033 h 202292"/>
                      <a:gd name="connsiteX0" fmla="*/ 298299 w 298299"/>
                      <a:gd name="connsiteY0" fmla="*/ 55033 h 202292"/>
                      <a:gd name="connsiteX1" fmla="*/ 4990 w 298299"/>
                      <a:gd name="connsiteY1" fmla="*/ 0 h 202292"/>
                      <a:gd name="connsiteX2" fmla="*/ 33565 w 298299"/>
                      <a:gd name="connsiteY2" fmla="*/ 190348 h 202292"/>
                      <a:gd name="connsiteX3" fmla="*/ 183395 w 298299"/>
                      <a:gd name="connsiteY3" fmla="*/ 202292 h 202292"/>
                      <a:gd name="connsiteX4" fmla="*/ 252942 w 298299"/>
                      <a:gd name="connsiteY4" fmla="*/ 73478 h 202292"/>
                      <a:gd name="connsiteX5" fmla="*/ 298299 w 298299"/>
                      <a:gd name="connsiteY5" fmla="*/ 55033 h 202292"/>
                      <a:gd name="connsiteX0" fmla="*/ 307975 w 307975"/>
                      <a:gd name="connsiteY0" fmla="*/ 45356 h 192615"/>
                      <a:gd name="connsiteX1" fmla="*/ 4990 w 307975"/>
                      <a:gd name="connsiteY1" fmla="*/ 0 h 192615"/>
                      <a:gd name="connsiteX2" fmla="*/ 43241 w 307975"/>
                      <a:gd name="connsiteY2" fmla="*/ 180671 h 192615"/>
                      <a:gd name="connsiteX3" fmla="*/ 193071 w 307975"/>
                      <a:gd name="connsiteY3" fmla="*/ 192615 h 192615"/>
                      <a:gd name="connsiteX4" fmla="*/ 262618 w 307975"/>
                      <a:gd name="connsiteY4" fmla="*/ 63801 h 192615"/>
                      <a:gd name="connsiteX5" fmla="*/ 307975 w 307975"/>
                      <a:gd name="connsiteY5" fmla="*/ 45356 h 192615"/>
                      <a:gd name="connsiteX0" fmla="*/ 307975 w 307975"/>
                      <a:gd name="connsiteY0" fmla="*/ 45356 h 192615"/>
                      <a:gd name="connsiteX1" fmla="*/ 4990 w 307975"/>
                      <a:gd name="connsiteY1" fmla="*/ 0 h 192615"/>
                      <a:gd name="connsiteX2" fmla="*/ 50498 w 307975"/>
                      <a:gd name="connsiteY2" fmla="*/ 173414 h 192615"/>
                      <a:gd name="connsiteX3" fmla="*/ 193071 w 307975"/>
                      <a:gd name="connsiteY3" fmla="*/ 192615 h 192615"/>
                      <a:gd name="connsiteX4" fmla="*/ 262618 w 307975"/>
                      <a:gd name="connsiteY4" fmla="*/ 63801 h 192615"/>
                      <a:gd name="connsiteX5" fmla="*/ 307975 w 307975"/>
                      <a:gd name="connsiteY5" fmla="*/ 45356 h 192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975" h="192615">
                        <a:moveTo>
                          <a:pt x="307975" y="45356"/>
                        </a:moveTo>
                        <a:lnTo>
                          <a:pt x="4990" y="0"/>
                        </a:lnTo>
                        <a:cubicBezTo>
                          <a:pt x="0" y="87639"/>
                          <a:pt x="19201" y="122060"/>
                          <a:pt x="50498" y="173414"/>
                        </a:cubicBezTo>
                        <a:lnTo>
                          <a:pt x="193071" y="192615"/>
                        </a:lnTo>
                        <a:cubicBezTo>
                          <a:pt x="233186" y="149677"/>
                          <a:pt x="244274" y="106739"/>
                          <a:pt x="262618" y="63801"/>
                        </a:cubicBezTo>
                        <a:cubicBezTo>
                          <a:pt x="284188" y="53621"/>
                          <a:pt x="300919" y="57955"/>
                          <a:pt x="307975" y="4535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335" name="Freeform 334"/>
                  <p:cNvSpPr/>
                  <p:nvPr/>
                </p:nvSpPr>
                <p:spPr>
                  <a:xfrm>
                    <a:off x="3257446" y="-455565"/>
                    <a:ext cx="114404" cy="100834"/>
                  </a:xfrm>
                  <a:custGeom>
                    <a:avLst/>
                    <a:gdLst>
                      <a:gd name="connsiteX0" fmla="*/ 0 w 142875"/>
                      <a:gd name="connsiteY0" fmla="*/ 0 h 133350"/>
                      <a:gd name="connsiteX1" fmla="*/ 19050 w 142875"/>
                      <a:gd name="connsiteY1" fmla="*/ 133350 h 133350"/>
                      <a:gd name="connsiteX2" fmla="*/ 95250 w 142875"/>
                      <a:gd name="connsiteY2" fmla="*/ 133350 h 133350"/>
                      <a:gd name="connsiteX3" fmla="*/ 142875 w 142875"/>
                      <a:gd name="connsiteY3" fmla="*/ 28575 h 133350"/>
                      <a:gd name="connsiteX4" fmla="*/ 0 w 142875"/>
                      <a:gd name="connsiteY4" fmla="*/ 0 h 133350"/>
                      <a:gd name="connsiteX0" fmla="*/ 6652 w 149527"/>
                      <a:gd name="connsiteY0" fmla="*/ 0 h 133350"/>
                      <a:gd name="connsiteX1" fmla="*/ 25702 w 149527"/>
                      <a:gd name="connsiteY1" fmla="*/ 133350 h 133350"/>
                      <a:gd name="connsiteX2" fmla="*/ 101902 w 149527"/>
                      <a:gd name="connsiteY2" fmla="*/ 133350 h 133350"/>
                      <a:gd name="connsiteX3" fmla="*/ 149527 w 149527"/>
                      <a:gd name="connsiteY3" fmla="*/ 28575 h 133350"/>
                      <a:gd name="connsiteX4" fmla="*/ 6652 w 149527"/>
                      <a:gd name="connsiteY4" fmla="*/ 0 h 133350"/>
                      <a:gd name="connsiteX0" fmla="*/ 6652 w 149527"/>
                      <a:gd name="connsiteY0" fmla="*/ 0 h 145445"/>
                      <a:gd name="connsiteX1" fmla="*/ 25702 w 149527"/>
                      <a:gd name="connsiteY1" fmla="*/ 133350 h 145445"/>
                      <a:gd name="connsiteX2" fmla="*/ 101902 w 149527"/>
                      <a:gd name="connsiteY2" fmla="*/ 133350 h 145445"/>
                      <a:gd name="connsiteX3" fmla="*/ 149527 w 149527"/>
                      <a:gd name="connsiteY3" fmla="*/ 28575 h 145445"/>
                      <a:gd name="connsiteX4" fmla="*/ 6652 w 149527"/>
                      <a:gd name="connsiteY4" fmla="*/ 0 h 145445"/>
                      <a:gd name="connsiteX0" fmla="*/ 13909 w 156784"/>
                      <a:gd name="connsiteY0" fmla="*/ 0 h 133350"/>
                      <a:gd name="connsiteX1" fmla="*/ 25702 w 156784"/>
                      <a:gd name="connsiteY1" fmla="*/ 116417 h 133350"/>
                      <a:gd name="connsiteX2" fmla="*/ 109159 w 156784"/>
                      <a:gd name="connsiteY2" fmla="*/ 133350 h 133350"/>
                      <a:gd name="connsiteX3" fmla="*/ 156784 w 156784"/>
                      <a:gd name="connsiteY3" fmla="*/ 28575 h 133350"/>
                      <a:gd name="connsiteX4" fmla="*/ 13909 w 156784"/>
                      <a:gd name="connsiteY4" fmla="*/ 0 h 133350"/>
                      <a:gd name="connsiteX0" fmla="*/ 13909 w 156784"/>
                      <a:gd name="connsiteY0" fmla="*/ 0 h 138188"/>
                      <a:gd name="connsiteX1" fmla="*/ 25702 w 156784"/>
                      <a:gd name="connsiteY1" fmla="*/ 116417 h 138188"/>
                      <a:gd name="connsiteX2" fmla="*/ 109159 w 156784"/>
                      <a:gd name="connsiteY2" fmla="*/ 133350 h 138188"/>
                      <a:gd name="connsiteX3" fmla="*/ 156784 w 156784"/>
                      <a:gd name="connsiteY3" fmla="*/ 28575 h 138188"/>
                      <a:gd name="connsiteX4" fmla="*/ 13909 w 156784"/>
                      <a:gd name="connsiteY4" fmla="*/ 0 h 138188"/>
                      <a:gd name="connsiteX0" fmla="*/ 13909 w 156784"/>
                      <a:gd name="connsiteY0" fmla="*/ 0 h 138188"/>
                      <a:gd name="connsiteX1" fmla="*/ 25702 w 156784"/>
                      <a:gd name="connsiteY1" fmla="*/ 116417 h 138188"/>
                      <a:gd name="connsiteX2" fmla="*/ 109159 w 156784"/>
                      <a:gd name="connsiteY2" fmla="*/ 133350 h 138188"/>
                      <a:gd name="connsiteX3" fmla="*/ 156784 w 156784"/>
                      <a:gd name="connsiteY3" fmla="*/ 28575 h 138188"/>
                      <a:gd name="connsiteX4" fmla="*/ 13909 w 156784"/>
                      <a:gd name="connsiteY4" fmla="*/ 0 h 138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784" h="138188">
                        <a:moveTo>
                          <a:pt x="13909" y="0"/>
                        </a:moveTo>
                        <a:cubicBezTo>
                          <a:pt x="20259" y="44450"/>
                          <a:pt x="0" y="64710"/>
                          <a:pt x="25702" y="116417"/>
                        </a:cubicBezTo>
                        <a:cubicBezTo>
                          <a:pt x="58359" y="138188"/>
                          <a:pt x="83759" y="133350"/>
                          <a:pt x="109159" y="133350"/>
                        </a:cubicBezTo>
                        <a:cubicBezTo>
                          <a:pt x="141967" y="98425"/>
                          <a:pt x="140909" y="63500"/>
                          <a:pt x="156784" y="28575"/>
                        </a:cubicBezTo>
                        <a:lnTo>
                          <a:pt x="13909"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336" name="Freeform 157"/>
                  <p:cNvSpPr/>
                  <p:nvPr/>
                </p:nvSpPr>
                <p:spPr>
                  <a:xfrm>
                    <a:off x="2947988" y="-528637"/>
                    <a:ext cx="648581" cy="302558"/>
                  </a:xfrm>
                  <a:custGeom>
                    <a:avLst/>
                    <a:gdLst>
                      <a:gd name="connsiteX0" fmla="*/ 590550 w 590550"/>
                      <a:gd name="connsiteY0" fmla="*/ 323850 h 323850"/>
                      <a:gd name="connsiteX1" fmla="*/ 523875 w 590550"/>
                      <a:gd name="connsiteY1" fmla="*/ 114300 h 323850"/>
                      <a:gd name="connsiteX2" fmla="*/ 133350 w 590550"/>
                      <a:gd name="connsiteY2" fmla="*/ 0 h 323850"/>
                      <a:gd name="connsiteX3" fmla="*/ 0 w 590550"/>
                      <a:gd name="connsiteY3" fmla="*/ 190500 h 323850"/>
                      <a:gd name="connsiteX4" fmla="*/ 152400 w 590550"/>
                      <a:gd name="connsiteY4" fmla="*/ 85725 h 323850"/>
                      <a:gd name="connsiteX5" fmla="*/ 485775 w 590550"/>
                      <a:gd name="connsiteY5" fmla="*/ 171450 h 323850"/>
                      <a:gd name="connsiteX6" fmla="*/ 590550 w 590550"/>
                      <a:gd name="connsiteY6" fmla="*/ 323850 h 323850"/>
                      <a:gd name="connsiteX0" fmla="*/ 590550 w 590550"/>
                      <a:gd name="connsiteY0" fmla="*/ 323850 h 323850"/>
                      <a:gd name="connsiteX1" fmla="*/ 523875 w 590550"/>
                      <a:gd name="connsiteY1" fmla="*/ 114300 h 323850"/>
                      <a:gd name="connsiteX2" fmla="*/ 133350 w 590550"/>
                      <a:gd name="connsiteY2" fmla="*/ 0 h 323850"/>
                      <a:gd name="connsiteX3" fmla="*/ 0 w 590550"/>
                      <a:gd name="connsiteY3" fmla="*/ 190500 h 323850"/>
                      <a:gd name="connsiteX4" fmla="*/ 152400 w 590550"/>
                      <a:gd name="connsiteY4" fmla="*/ 123825 h 323850"/>
                      <a:gd name="connsiteX5" fmla="*/ 485775 w 590550"/>
                      <a:gd name="connsiteY5" fmla="*/ 171450 h 323850"/>
                      <a:gd name="connsiteX6" fmla="*/ 590550 w 590550"/>
                      <a:gd name="connsiteY6" fmla="*/ 323850 h 323850"/>
                      <a:gd name="connsiteX0" fmla="*/ 590550 w 590550"/>
                      <a:gd name="connsiteY0" fmla="*/ 276225 h 276225"/>
                      <a:gd name="connsiteX1" fmla="*/ 523875 w 590550"/>
                      <a:gd name="connsiteY1" fmla="*/ 66675 h 276225"/>
                      <a:gd name="connsiteX2" fmla="*/ 133350 w 590550"/>
                      <a:gd name="connsiteY2" fmla="*/ 0 h 276225"/>
                      <a:gd name="connsiteX3" fmla="*/ 0 w 590550"/>
                      <a:gd name="connsiteY3" fmla="*/ 142875 h 276225"/>
                      <a:gd name="connsiteX4" fmla="*/ 152400 w 590550"/>
                      <a:gd name="connsiteY4" fmla="*/ 76200 h 276225"/>
                      <a:gd name="connsiteX5" fmla="*/ 485775 w 590550"/>
                      <a:gd name="connsiteY5" fmla="*/ 123825 h 276225"/>
                      <a:gd name="connsiteX6" fmla="*/ 590550 w 590550"/>
                      <a:gd name="connsiteY6" fmla="*/ 276225 h 276225"/>
                      <a:gd name="connsiteX0" fmla="*/ 580874 w 580874"/>
                      <a:gd name="connsiteY0" fmla="*/ 307672 h 307672"/>
                      <a:gd name="connsiteX1" fmla="*/ 523875 w 580874"/>
                      <a:gd name="connsiteY1" fmla="*/ 66675 h 307672"/>
                      <a:gd name="connsiteX2" fmla="*/ 133350 w 580874"/>
                      <a:gd name="connsiteY2" fmla="*/ 0 h 307672"/>
                      <a:gd name="connsiteX3" fmla="*/ 0 w 580874"/>
                      <a:gd name="connsiteY3" fmla="*/ 142875 h 307672"/>
                      <a:gd name="connsiteX4" fmla="*/ 152400 w 580874"/>
                      <a:gd name="connsiteY4" fmla="*/ 76200 h 307672"/>
                      <a:gd name="connsiteX5" fmla="*/ 485775 w 580874"/>
                      <a:gd name="connsiteY5" fmla="*/ 123825 h 307672"/>
                      <a:gd name="connsiteX6" fmla="*/ 580874 w 580874"/>
                      <a:gd name="connsiteY6" fmla="*/ 307672 h 307672"/>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52400 w 624769"/>
                      <a:gd name="connsiteY4" fmla="*/ 76200 h 316845"/>
                      <a:gd name="connsiteX5" fmla="*/ 485775 w 624769"/>
                      <a:gd name="connsiteY5" fmla="*/ 123825 h 316845"/>
                      <a:gd name="connsiteX6" fmla="*/ 580874 w 624769"/>
                      <a:gd name="connsiteY6" fmla="*/ 307672 h 316845"/>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52400 w 624769"/>
                      <a:gd name="connsiteY4" fmla="*/ 76200 h 316845"/>
                      <a:gd name="connsiteX5" fmla="*/ 485775 w 624769"/>
                      <a:gd name="connsiteY5" fmla="*/ 123825 h 316845"/>
                      <a:gd name="connsiteX6" fmla="*/ 580874 w 624769"/>
                      <a:gd name="connsiteY6" fmla="*/ 307672 h 316845"/>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52400 w 624769"/>
                      <a:gd name="connsiteY4" fmla="*/ 76200 h 316845"/>
                      <a:gd name="connsiteX5" fmla="*/ 485775 w 624769"/>
                      <a:gd name="connsiteY5" fmla="*/ 123825 h 316845"/>
                      <a:gd name="connsiteX6" fmla="*/ 580874 w 624769"/>
                      <a:gd name="connsiteY6" fmla="*/ 307672 h 316845"/>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52400 w 624769"/>
                      <a:gd name="connsiteY4" fmla="*/ 76200 h 316845"/>
                      <a:gd name="connsiteX5" fmla="*/ 485775 w 624769"/>
                      <a:gd name="connsiteY5" fmla="*/ 123825 h 316845"/>
                      <a:gd name="connsiteX6" fmla="*/ 580874 w 624769"/>
                      <a:gd name="connsiteY6" fmla="*/ 307672 h 316845"/>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52400 w 624769"/>
                      <a:gd name="connsiteY4" fmla="*/ 76200 h 316845"/>
                      <a:gd name="connsiteX5" fmla="*/ 447070 w 624769"/>
                      <a:gd name="connsiteY5" fmla="*/ 116568 h 316845"/>
                      <a:gd name="connsiteX6" fmla="*/ 580874 w 624769"/>
                      <a:gd name="connsiteY6" fmla="*/ 307672 h 316845"/>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52400 w 624769"/>
                      <a:gd name="connsiteY4" fmla="*/ 76200 h 316845"/>
                      <a:gd name="connsiteX5" fmla="*/ 447070 w 624769"/>
                      <a:gd name="connsiteY5" fmla="*/ 116568 h 316845"/>
                      <a:gd name="connsiteX6" fmla="*/ 580874 w 624769"/>
                      <a:gd name="connsiteY6" fmla="*/ 307672 h 316845"/>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52400 w 624769"/>
                      <a:gd name="connsiteY4" fmla="*/ 76200 h 316845"/>
                      <a:gd name="connsiteX5" fmla="*/ 480937 w 624769"/>
                      <a:gd name="connsiteY5" fmla="*/ 126244 h 316845"/>
                      <a:gd name="connsiteX6" fmla="*/ 580874 w 624769"/>
                      <a:gd name="connsiteY6" fmla="*/ 307672 h 316845"/>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54820 w 624769"/>
                      <a:gd name="connsiteY4" fmla="*/ 66524 h 316845"/>
                      <a:gd name="connsiteX5" fmla="*/ 480937 w 624769"/>
                      <a:gd name="connsiteY5" fmla="*/ 126244 h 316845"/>
                      <a:gd name="connsiteX6" fmla="*/ 580874 w 624769"/>
                      <a:gd name="connsiteY6" fmla="*/ 307672 h 316845"/>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54820 w 624769"/>
                      <a:gd name="connsiteY4" fmla="*/ 73781 h 316845"/>
                      <a:gd name="connsiteX5" fmla="*/ 480937 w 624769"/>
                      <a:gd name="connsiteY5" fmla="*/ 126244 h 316845"/>
                      <a:gd name="connsiteX6" fmla="*/ 580874 w 624769"/>
                      <a:gd name="connsiteY6" fmla="*/ 307672 h 316845"/>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54820 w 624769"/>
                      <a:gd name="connsiteY4" fmla="*/ 73781 h 316845"/>
                      <a:gd name="connsiteX5" fmla="*/ 480937 w 624769"/>
                      <a:gd name="connsiteY5" fmla="*/ 126244 h 316845"/>
                      <a:gd name="connsiteX6" fmla="*/ 580874 w 624769"/>
                      <a:gd name="connsiteY6" fmla="*/ 307672 h 316845"/>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54820 w 624769"/>
                      <a:gd name="connsiteY4" fmla="*/ 73781 h 316845"/>
                      <a:gd name="connsiteX5" fmla="*/ 480937 w 624769"/>
                      <a:gd name="connsiteY5" fmla="*/ 126244 h 316845"/>
                      <a:gd name="connsiteX6" fmla="*/ 580874 w 624769"/>
                      <a:gd name="connsiteY6" fmla="*/ 307672 h 316845"/>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86268 w 624769"/>
                      <a:gd name="connsiteY4" fmla="*/ 73781 h 316845"/>
                      <a:gd name="connsiteX5" fmla="*/ 480937 w 624769"/>
                      <a:gd name="connsiteY5" fmla="*/ 126244 h 316845"/>
                      <a:gd name="connsiteX6" fmla="*/ 580874 w 624769"/>
                      <a:gd name="connsiteY6" fmla="*/ 307672 h 316845"/>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86268 w 624769"/>
                      <a:gd name="connsiteY4" fmla="*/ 73781 h 316845"/>
                      <a:gd name="connsiteX5" fmla="*/ 480937 w 624769"/>
                      <a:gd name="connsiteY5" fmla="*/ 126244 h 316845"/>
                      <a:gd name="connsiteX6" fmla="*/ 580874 w 624769"/>
                      <a:gd name="connsiteY6" fmla="*/ 307672 h 316845"/>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79011 w 624769"/>
                      <a:gd name="connsiteY4" fmla="*/ 78619 h 316845"/>
                      <a:gd name="connsiteX5" fmla="*/ 480937 w 624769"/>
                      <a:gd name="connsiteY5" fmla="*/ 126244 h 316845"/>
                      <a:gd name="connsiteX6" fmla="*/ 580874 w 624769"/>
                      <a:gd name="connsiteY6" fmla="*/ 307672 h 316845"/>
                      <a:gd name="connsiteX0" fmla="*/ 580874 w 624769"/>
                      <a:gd name="connsiteY0" fmla="*/ 279972 h 289145"/>
                      <a:gd name="connsiteX1" fmla="*/ 523875 w 624769"/>
                      <a:gd name="connsiteY1" fmla="*/ 38975 h 289145"/>
                      <a:gd name="connsiteX2" fmla="*/ 128588 w 624769"/>
                      <a:gd name="connsiteY2" fmla="*/ 875 h 289145"/>
                      <a:gd name="connsiteX3" fmla="*/ 0 w 624769"/>
                      <a:gd name="connsiteY3" fmla="*/ 115175 h 289145"/>
                      <a:gd name="connsiteX4" fmla="*/ 179011 w 624769"/>
                      <a:gd name="connsiteY4" fmla="*/ 50919 h 289145"/>
                      <a:gd name="connsiteX5" fmla="*/ 480937 w 624769"/>
                      <a:gd name="connsiteY5" fmla="*/ 98544 h 289145"/>
                      <a:gd name="connsiteX6" fmla="*/ 580874 w 624769"/>
                      <a:gd name="connsiteY6" fmla="*/ 279972 h 289145"/>
                      <a:gd name="connsiteX0" fmla="*/ 604686 w 648581"/>
                      <a:gd name="connsiteY0" fmla="*/ 279972 h 289145"/>
                      <a:gd name="connsiteX1" fmla="*/ 547687 w 648581"/>
                      <a:gd name="connsiteY1" fmla="*/ 38975 h 289145"/>
                      <a:gd name="connsiteX2" fmla="*/ 152400 w 648581"/>
                      <a:gd name="connsiteY2" fmla="*/ 875 h 289145"/>
                      <a:gd name="connsiteX3" fmla="*/ 23812 w 648581"/>
                      <a:gd name="connsiteY3" fmla="*/ 115175 h 289145"/>
                      <a:gd name="connsiteX4" fmla="*/ 202823 w 648581"/>
                      <a:gd name="connsiteY4" fmla="*/ 50919 h 289145"/>
                      <a:gd name="connsiteX5" fmla="*/ 504749 w 648581"/>
                      <a:gd name="connsiteY5" fmla="*/ 98544 h 289145"/>
                      <a:gd name="connsiteX6" fmla="*/ 604686 w 648581"/>
                      <a:gd name="connsiteY6" fmla="*/ 279972 h 289145"/>
                      <a:gd name="connsiteX0" fmla="*/ 604686 w 648581"/>
                      <a:gd name="connsiteY0" fmla="*/ 279972 h 289145"/>
                      <a:gd name="connsiteX1" fmla="*/ 547687 w 648581"/>
                      <a:gd name="connsiteY1" fmla="*/ 38975 h 289145"/>
                      <a:gd name="connsiteX2" fmla="*/ 152400 w 648581"/>
                      <a:gd name="connsiteY2" fmla="*/ 875 h 289145"/>
                      <a:gd name="connsiteX3" fmla="*/ 23812 w 648581"/>
                      <a:gd name="connsiteY3" fmla="*/ 115175 h 289145"/>
                      <a:gd name="connsiteX4" fmla="*/ 202823 w 648581"/>
                      <a:gd name="connsiteY4" fmla="*/ 50919 h 289145"/>
                      <a:gd name="connsiteX5" fmla="*/ 504749 w 648581"/>
                      <a:gd name="connsiteY5" fmla="*/ 98544 h 289145"/>
                      <a:gd name="connsiteX6" fmla="*/ 604686 w 648581"/>
                      <a:gd name="connsiteY6" fmla="*/ 279972 h 289145"/>
                      <a:gd name="connsiteX0" fmla="*/ 604686 w 648581"/>
                      <a:gd name="connsiteY0" fmla="*/ 293385 h 302558"/>
                      <a:gd name="connsiteX1" fmla="*/ 547687 w 648581"/>
                      <a:gd name="connsiteY1" fmla="*/ 52388 h 302558"/>
                      <a:gd name="connsiteX2" fmla="*/ 152400 w 648581"/>
                      <a:gd name="connsiteY2" fmla="*/ 14288 h 302558"/>
                      <a:gd name="connsiteX3" fmla="*/ 23812 w 648581"/>
                      <a:gd name="connsiteY3" fmla="*/ 128588 h 302558"/>
                      <a:gd name="connsiteX4" fmla="*/ 202823 w 648581"/>
                      <a:gd name="connsiteY4" fmla="*/ 64332 h 302558"/>
                      <a:gd name="connsiteX5" fmla="*/ 504749 w 648581"/>
                      <a:gd name="connsiteY5" fmla="*/ 111957 h 302558"/>
                      <a:gd name="connsiteX6" fmla="*/ 604686 w 648581"/>
                      <a:gd name="connsiteY6" fmla="*/ 293385 h 302558"/>
                      <a:gd name="connsiteX0" fmla="*/ 604686 w 648581"/>
                      <a:gd name="connsiteY0" fmla="*/ 286241 h 295414"/>
                      <a:gd name="connsiteX1" fmla="*/ 547687 w 648581"/>
                      <a:gd name="connsiteY1" fmla="*/ 45244 h 295414"/>
                      <a:gd name="connsiteX2" fmla="*/ 166688 w 648581"/>
                      <a:gd name="connsiteY2" fmla="*/ 14288 h 295414"/>
                      <a:gd name="connsiteX3" fmla="*/ 23812 w 648581"/>
                      <a:gd name="connsiteY3" fmla="*/ 121444 h 295414"/>
                      <a:gd name="connsiteX4" fmla="*/ 202823 w 648581"/>
                      <a:gd name="connsiteY4" fmla="*/ 57188 h 295414"/>
                      <a:gd name="connsiteX5" fmla="*/ 504749 w 648581"/>
                      <a:gd name="connsiteY5" fmla="*/ 104813 h 295414"/>
                      <a:gd name="connsiteX6" fmla="*/ 604686 w 648581"/>
                      <a:gd name="connsiteY6" fmla="*/ 286241 h 295414"/>
                      <a:gd name="connsiteX0" fmla="*/ 604686 w 648581"/>
                      <a:gd name="connsiteY0" fmla="*/ 293385 h 302558"/>
                      <a:gd name="connsiteX1" fmla="*/ 547687 w 648581"/>
                      <a:gd name="connsiteY1" fmla="*/ 52388 h 302558"/>
                      <a:gd name="connsiteX2" fmla="*/ 161926 w 648581"/>
                      <a:gd name="connsiteY2" fmla="*/ 14288 h 302558"/>
                      <a:gd name="connsiteX3" fmla="*/ 23812 w 648581"/>
                      <a:gd name="connsiteY3" fmla="*/ 128588 h 302558"/>
                      <a:gd name="connsiteX4" fmla="*/ 202823 w 648581"/>
                      <a:gd name="connsiteY4" fmla="*/ 64332 h 302558"/>
                      <a:gd name="connsiteX5" fmla="*/ 504749 w 648581"/>
                      <a:gd name="connsiteY5" fmla="*/ 111957 h 302558"/>
                      <a:gd name="connsiteX6" fmla="*/ 604686 w 648581"/>
                      <a:gd name="connsiteY6" fmla="*/ 293385 h 302558"/>
                      <a:gd name="connsiteX0" fmla="*/ 604686 w 648581"/>
                      <a:gd name="connsiteY0" fmla="*/ 293385 h 302558"/>
                      <a:gd name="connsiteX1" fmla="*/ 547687 w 648581"/>
                      <a:gd name="connsiteY1" fmla="*/ 71438 h 302558"/>
                      <a:gd name="connsiteX2" fmla="*/ 161926 w 648581"/>
                      <a:gd name="connsiteY2" fmla="*/ 14288 h 302558"/>
                      <a:gd name="connsiteX3" fmla="*/ 23812 w 648581"/>
                      <a:gd name="connsiteY3" fmla="*/ 128588 h 302558"/>
                      <a:gd name="connsiteX4" fmla="*/ 202823 w 648581"/>
                      <a:gd name="connsiteY4" fmla="*/ 64332 h 302558"/>
                      <a:gd name="connsiteX5" fmla="*/ 504749 w 648581"/>
                      <a:gd name="connsiteY5" fmla="*/ 111957 h 302558"/>
                      <a:gd name="connsiteX6" fmla="*/ 604686 w 648581"/>
                      <a:gd name="connsiteY6" fmla="*/ 293385 h 302558"/>
                      <a:gd name="connsiteX0" fmla="*/ 604686 w 648581"/>
                      <a:gd name="connsiteY0" fmla="*/ 293385 h 302558"/>
                      <a:gd name="connsiteX1" fmla="*/ 547687 w 648581"/>
                      <a:gd name="connsiteY1" fmla="*/ 71438 h 302558"/>
                      <a:gd name="connsiteX2" fmla="*/ 161926 w 648581"/>
                      <a:gd name="connsiteY2" fmla="*/ 14288 h 302558"/>
                      <a:gd name="connsiteX3" fmla="*/ 23812 w 648581"/>
                      <a:gd name="connsiteY3" fmla="*/ 128588 h 302558"/>
                      <a:gd name="connsiteX4" fmla="*/ 202823 w 648581"/>
                      <a:gd name="connsiteY4" fmla="*/ 64332 h 302558"/>
                      <a:gd name="connsiteX5" fmla="*/ 504749 w 648581"/>
                      <a:gd name="connsiteY5" fmla="*/ 111957 h 302558"/>
                      <a:gd name="connsiteX6" fmla="*/ 604686 w 648581"/>
                      <a:gd name="connsiteY6" fmla="*/ 293385 h 302558"/>
                      <a:gd name="connsiteX0" fmla="*/ 604686 w 648581"/>
                      <a:gd name="connsiteY0" fmla="*/ 293385 h 302558"/>
                      <a:gd name="connsiteX1" fmla="*/ 547687 w 648581"/>
                      <a:gd name="connsiteY1" fmla="*/ 71438 h 302558"/>
                      <a:gd name="connsiteX2" fmla="*/ 161926 w 648581"/>
                      <a:gd name="connsiteY2" fmla="*/ 14288 h 302558"/>
                      <a:gd name="connsiteX3" fmla="*/ 23812 w 648581"/>
                      <a:gd name="connsiteY3" fmla="*/ 128588 h 302558"/>
                      <a:gd name="connsiteX4" fmla="*/ 202823 w 648581"/>
                      <a:gd name="connsiteY4" fmla="*/ 64332 h 302558"/>
                      <a:gd name="connsiteX5" fmla="*/ 504749 w 648581"/>
                      <a:gd name="connsiteY5" fmla="*/ 111957 h 302558"/>
                      <a:gd name="connsiteX6" fmla="*/ 604686 w 648581"/>
                      <a:gd name="connsiteY6" fmla="*/ 293385 h 302558"/>
                      <a:gd name="connsiteX0" fmla="*/ 604686 w 648581"/>
                      <a:gd name="connsiteY0" fmla="*/ 293385 h 302558"/>
                      <a:gd name="connsiteX1" fmla="*/ 547687 w 648581"/>
                      <a:gd name="connsiteY1" fmla="*/ 71438 h 302558"/>
                      <a:gd name="connsiteX2" fmla="*/ 161926 w 648581"/>
                      <a:gd name="connsiteY2" fmla="*/ 14288 h 302558"/>
                      <a:gd name="connsiteX3" fmla="*/ 23812 w 648581"/>
                      <a:gd name="connsiteY3" fmla="*/ 128588 h 302558"/>
                      <a:gd name="connsiteX4" fmla="*/ 202823 w 648581"/>
                      <a:gd name="connsiteY4" fmla="*/ 64332 h 302558"/>
                      <a:gd name="connsiteX5" fmla="*/ 504749 w 648581"/>
                      <a:gd name="connsiteY5" fmla="*/ 111957 h 302558"/>
                      <a:gd name="connsiteX6" fmla="*/ 604686 w 648581"/>
                      <a:gd name="connsiteY6" fmla="*/ 293385 h 302558"/>
                      <a:gd name="connsiteX0" fmla="*/ 604686 w 648581"/>
                      <a:gd name="connsiteY0" fmla="*/ 293385 h 302558"/>
                      <a:gd name="connsiteX1" fmla="*/ 547687 w 648581"/>
                      <a:gd name="connsiteY1" fmla="*/ 71438 h 302558"/>
                      <a:gd name="connsiteX2" fmla="*/ 161926 w 648581"/>
                      <a:gd name="connsiteY2" fmla="*/ 14288 h 302558"/>
                      <a:gd name="connsiteX3" fmla="*/ 23812 w 648581"/>
                      <a:gd name="connsiteY3" fmla="*/ 128588 h 302558"/>
                      <a:gd name="connsiteX4" fmla="*/ 202823 w 648581"/>
                      <a:gd name="connsiteY4" fmla="*/ 64332 h 302558"/>
                      <a:gd name="connsiteX5" fmla="*/ 504749 w 648581"/>
                      <a:gd name="connsiteY5" fmla="*/ 111957 h 302558"/>
                      <a:gd name="connsiteX6" fmla="*/ 604686 w 648581"/>
                      <a:gd name="connsiteY6" fmla="*/ 293385 h 302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8581" h="302558">
                        <a:moveTo>
                          <a:pt x="604686" y="293385"/>
                        </a:moveTo>
                        <a:cubicBezTo>
                          <a:pt x="648581" y="302558"/>
                          <a:pt x="580975" y="151770"/>
                          <a:pt x="547687" y="71438"/>
                        </a:cubicBezTo>
                        <a:cubicBezTo>
                          <a:pt x="398721" y="15795"/>
                          <a:pt x="268987" y="0"/>
                          <a:pt x="161926" y="14288"/>
                        </a:cubicBezTo>
                        <a:cubicBezTo>
                          <a:pt x="119063" y="30957"/>
                          <a:pt x="0" y="92869"/>
                          <a:pt x="23812" y="128588"/>
                        </a:cubicBezTo>
                        <a:cubicBezTo>
                          <a:pt x="75419" y="105557"/>
                          <a:pt x="95577" y="84944"/>
                          <a:pt x="202823" y="64332"/>
                        </a:cubicBezTo>
                        <a:cubicBezTo>
                          <a:pt x="340558" y="80207"/>
                          <a:pt x="354919" y="79149"/>
                          <a:pt x="504749" y="111957"/>
                        </a:cubicBezTo>
                        <a:cubicBezTo>
                          <a:pt x="570316" y="169146"/>
                          <a:pt x="580243" y="230986"/>
                          <a:pt x="604686" y="29338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337" name="Freeform 336"/>
                  <p:cNvSpPr/>
                  <p:nvPr/>
                </p:nvSpPr>
                <p:spPr>
                  <a:xfrm>
                    <a:off x="3423127" y="-700072"/>
                    <a:ext cx="307964" cy="556927"/>
                  </a:xfrm>
                  <a:custGeom>
                    <a:avLst/>
                    <a:gdLst>
                      <a:gd name="connsiteX0" fmla="*/ 168812 w 351692"/>
                      <a:gd name="connsiteY0" fmla="*/ 0 h 253218"/>
                      <a:gd name="connsiteX1" fmla="*/ 351692 w 351692"/>
                      <a:gd name="connsiteY1" fmla="*/ 225083 h 253218"/>
                      <a:gd name="connsiteX2" fmla="*/ 281354 w 351692"/>
                      <a:gd name="connsiteY2" fmla="*/ 253218 h 253218"/>
                      <a:gd name="connsiteX3" fmla="*/ 0 w 351692"/>
                      <a:gd name="connsiteY3" fmla="*/ 98473 h 253218"/>
                      <a:gd name="connsiteX4" fmla="*/ 168812 w 351692"/>
                      <a:gd name="connsiteY4" fmla="*/ 0 h 253218"/>
                      <a:gd name="connsiteX0" fmla="*/ 168812 w 351692"/>
                      <a:gd name="connsiteY0" fmla="*/ 0 h 357237"/>
                      <a:gd name="connsiteX1" fmla="*/ 351692 w 351692"/>
                      <a:gd name="connsiteY1" fmla="*/ 225083 h 357237"/>
                      <a:gd name="connsiteX2" fmla="*/ 216040 w 351692"/>
                      <a:gd name="connsiteY2" fmla="*/ 357237 h 357237"/>
                      <a:gd name="connsiteX3" fmla="*/ 0 w 351692"/>
                      <a:gd name="connsiteY3" fmla="*/ 98473 h 357237"/>
                      <a:gd name="connsiteX4" fmla="*/ 168812 w 351692"/>
                      <a:gd name="connsiteY4" fmla="*/ 0 h 357237"/>
                      <a:gd name="connsiteX0" fmla="*/ 168812 w 332339"/>
                      <a:gd name="connsiteY0" fmla="*/ 0 h 357237"/>
                      <a:gd name="connsiteX1" fmla="*/ 332339 w 332339"/>
                      <a:gd name="connsiteY1" fmla="*/ 333940 h 357237"/>
                      <a:gd name="connsiteX2" fmla="*/ 216040 w 332339"/>
                      <a:gd name="connsiteY2" fmla="*/ 357237 h 357237"/>
                      <a:gd name="connsiteX3" fmla="*/ 0 w 332339"/>
                      <a:gd name="connsiteY3" fmla="*/ 98473 h 357237"/>
                      <a:gd name="connsiteX4" fmla="*/ 168812 w 332339"/>
                      <a:gd name="connsiteY4" fmla="*/ 0 h 357237"/>
                      <a:gd name="connsiteX0" fmla="*/ 168812 w 332339"/>
                      <a:gd name="connsiteY0" fmla="*/ 0 h 433630"/>
                      <a:gd name="connsiteX1" fmla="*/ 332339 w 332339"/>
                      <a:gd name="connsiteY1" fmla="*/ 333940 h 433630"/>
                      <a:gd name="connsiteX2" fmla="*/ 216040 w 332339"/>
                      <a:gd name="connsiteY2" fmla="*/ 357237 h 433630"/>
                      <a:gd name="connsiteX3" fmla="*/ 0 w 332339"/>
                      <a:gd name="connsiteY3" fmla="*/ 98473 h 433630"/>
                      <a:gd name="connsiteX4" fmla="*/ 168812 w 332339"/>
                      <a:gd name="connsiteY4" fmla="*/ 0 h 433630"/>
                      <a:gd name="connsiteX0" fmla="*/ 168812 w 332339"/>
                      <a:gd name="connsiteY0" fmla="*/ 0 h 433630"/>
                      <a:gd name="connsiteX1" fmla="*/ 332339 w 332339"/>
                      <a:gd name="connsiteY1" fmla="*/ 333940 h 433630"/>
                      <a:gd name="connsiteX2" fmla="*/ 216040 w 332339"/>
                      <a:gd name="connsiteY2" fmla="*/ 357237 h 433630"/>
                      <a:gd name="connsiteX3" fmla="*/ 0 w 332339"/>
                      <a:gd name="connsiteY3" fmla="*/ 98473 h 433630"/>
                      <a:gd name="connsiteX4" fmla="*/ 168812 w 332339"/>
                      <a:gd name="connsiteY4" fmla="*/ 0 h 433630"/>
                      <a:gd name="connsiteX0" fmla="*/ 168812 w 332339"/>
                      <a:gd name="connsiteY0" fmla="*/ 0 h 433630"/>
                      <a:gd name="connsiteX1" fmla="*/ 332339 w 332339"/>
                      <a:gd name="connsiteY1" fmla="*/ 333940 h 433630"/>
                      <a:gd name="connsiteX2" fmla="*/ 216040 w 332339"/>
                      <a:gd name="connsiteY2" fmla="*/ 333046 h 433630"/>
                      <a:gd name="connsiteX3" fmla="*/ 0 w 332339"/>
                      <a:gd name="connsiteY3" fmla="*/ 98473 h 433630"/>
                      <a:gd name="connsiteX4" fmla="*/ 168812 w 332339"/>
                      <a:gd name="connsiteY4" fmla="*/ 0 h 433630"/>
                      <a:gd name="connsiteX0" fmla="*/ 168812 w 332339"/>
                      <a:gd name="connsiteY0" fmla="*/ 0 h 433630"/>
                      <a:gd name="connsiteX1" fmla="*/ 332339 w 332339"/>
                      <a:gd name="connsiteY1" fmla="*/ 333940 h 433630"/>
                      <a:gd name="connsiteX2" fmla="*/ 216040 w 332339"/>
                      <a:gd name="connsiteY2" fmla="*/ 333046 h 433630"/>
                      <a:gd name="connsiteX3" fmla="*/ 0 w 332339"/>
                      <a:gd name="connsiteY3" fmla="*/ 98473 h 433630"/>
                      <a:gd name="connsiteX4" fmla="*/ 168812 w 332339"/>
                      <a:gd name="connsiteY4" fmla="*/ 0 h 433630"/>
                      <a:gd name="connsiteX0" fmla="*/ 168812 w 362496"/>
                      <a:gd name="connsiteY0" fmla="*/ 0 h 433630"/>
                      <a:gd name="connsiteX1" fmla="*/ 332339 w 362496"/>
                      <a:gd name="connsiteY1" fmla="*/ 333940 h 433630"/>
                      <a:gd name="connsiteX2" fmla="*/ 216040 w 362496"/>
                      <a:gd name="connsiteY2" fmla="*/ 333046 h 433630"/>
                      <a:gd name="connsiteX3" fmla="*/ 0 w 362496"/>
                      <a:gd name="connsiteY3" fmla="*/ 98473 h 433630"/>
                      <a:gd name="connsiteX4" fmla="*/ 168812 w 362496"/>
                      <a:gd name="connsiteY4" fmla="*/ 0 h 433630"/>
                      <a:gd name="connsiteX0" fmla="*/ 318793 w 373302"/>
                      <a:gd name="connsiteY0" fmla="*/ 3127 h 335157"/>
                      <a:gd name="connsiteX1" fmla="*/ 332339 w 373302"/>
                      <a:gd name="connsiteY1" fmla="*/ 235467 h 335157"/>
                      <a:gd name="connsiteX2" fmla="*/ 216040 w 373302"/>
                      <a:gd name="connsiteY2" fmla="*/ 234573 h 335157"/>
                      <a:gd name="connsiteX3" fmla="*/ 0 w 373302"/>
                      <a:gd name="connsiteY3" fmla="*/ 0 h 335157"/>
                      <a:gd name="connsiteX4" fmla="*/ 318793 w 373302"/>
                      <a:gd name="connsiteY4" fmla="*/ 3127 h 335157"/>
                      <a:gd name="connsiteX0" fmla="*/ 318793 w 387817"/>
                      <a:gd name="connsiteY0" fmla="*/ 3127 h 335157"/>
                      <a:gd name="connsiteX1" fmla="*/ 332339 w 387817"/>
                      <a:gd name="connsiteY1" fmla="*/ 235467 h 335157"/>
                      <a:gd name="connsiteX2" fmla="*/ 216040 w 387817"/>
                      <a:gd name="connsiteY2" fmla="*/ 234573 h 335157"/>
                      <a:gd name="connsiteX3" fmla="*/ 0 w 387817"/>
                      <a:gd name="connsiteY3" fmla="*/ 0 h 335157"/>
                      <a:gd name="connsiteX4" fmla="*/ 318793 w 387817"/>
                      <a:gd name="connsiteY4" fmla="*/ 3127 h 335157"/>
                      <a:gd name="connsiteX0" fmla="*/ 318793 w 387817"/>
                      <a:gd name="connsiteY0" fmla="*/ 148604 h 480634"/>
                      <a:gd name="connsiteX1" fmla="*/ 332339 w 387817"/>
                      <a:gd name="connsiteY1" fmla="*/ 380944 h 480634"/>
                      <a:gd name="connsiteX2" fmla="*/ 216040 w 387817"/>
                      <a:gd name="connsiteY2" fmla="*/ 380050 h 480634"/>
                      <a:gd name="connsiteX3" fmla="*/ 0 w 387817"/>
                      <a:gd name="connsiteY3" fmla="*/ 145477 h 480634"/>
                      <a:gd name="connsiteX4" fmla="*/ 318793 w 387817"/>
                      <a:gd name="connsiteY4" fmla="*/ 148604 h 480634"/>
                      <a:gd name="connsiteX0" fmla="*/ 227216 w 296240"/>
                      <a:gd name="connsiteY0" fmla="*/ 148604 h 480634"/>
                      <a:gd name="connsiteX1" fmla="*/ 240762 w 296240"/>
                      <a:gd name="connsiteY1" fmla="*/ 380944 h 480634"/>
                      <a:gd name="connsiteX2" fmla="*/ 124463 w 296240"/>
                      <a:gd name="connsiteY2" fmla="*/ 380050 h 480634"/>
                      <a:gd name="connsiteX3" fmla="*/ 55985 w 296240"/>
                      <a:gd name="connsiteY3" fmla="*/ 145477 h 480634"/>
                      <a:gd name="connsiteX4" fmla="*/ 227216 w 296240"/>
                      <a:gd name="connsiteY4" fmla="*/ 148604 h 480634"/>
                      <a:gd name="connsiteX0" fmla="*/ 227216 w 296240"/>
                      <a:gd name="connsiteY0" fmla="*/ 148604 h 480634"/>
                      <a:gd name="connsiteX1" fmla="*/ 240762 w 296240"/>
                      <a:gd name="connsiteY1" fmla="*/ 380944 h 480634"/>
                      <a:gd name="connsiteX2" fmla="*/ 124463 w 296240"/>
                      <a:gd name="connsiteY2" fmla="*/ 380050 h 480634"/>
                      <a:gd name="connsiteX3" fmla="*/ 55985 w 296240"/>
                      <a:gd name="connsiteY3" fmla="*/ 145477 h 480634"/>
                      <a:gd name="connsiteX4" fmla="*/ 227216 w 296240"/>
                      <a:gd name="connsiteY4" fmla="*/ 148604 h 480634"/>
                      <a:gd name="connsiteX0" fmla="*/ 227216 w 296240"/>
                      <a:gd name="connsiteY0" fmla="*/ 148604 h 480634"/>
                      <a:gd name="connsiteX1" fmla="*/ 240762 w 296240"/>
                      <a:gd name="connsiteY1" fmla="*/ 380944 h 480634"/>
                      <a:gd name="connsiteX2" fmla="*/ 124463 w 296240"/>
                      <a:gd name="connsiteY2" fmla="*/ 380050 h 480634"/>
                      <a:gd name="connsiteX3" fmla="*/ 55985 w 296240"/>
                      <a:gd name="connsiteY3" fmla="*/ 145477 h 480634"/>
                      <a:gd name="connsiteX4" fmla="*/ 227216 w 296240"/>
                      <a:gd name="connsiteY4" fmla="*/ 148604 h 480634"/>
                      <a:gd name="connsiteX0" fmla="*/ 229462 w 298486"/>
                      <a:gd name="connsiteY0" fmla="*/ 148604 h 480634"/>
                      <a:gd name="connsiteX1" fmla="*/ 243008 w 298486"/>
                      <a:gd name="connsiteY1" fmla="*/ 380944 h 480634"/>
                      <a:gd name="connsiteX2" fmla="*/ 126709 w 298486"/>
                      <a:gd name="connsiteY2" fmla="*/ 380050 h 480634"/>
                      <a:gd name="connsiteX3" fmla="*/ 48555 w 298486"/>
                      <a:gd name="connsiteY3" fmla="*/ 150315 h 480634"/>
                      <a:gd name="connsiteX4" fmla="*/ 229462 w 298486"/>
                      <a:gd name="connsiteY4" fmla="*/ 148604 h 480634"/>
                      <a:gd name="connsiteX0" fmla="*/ 227216 w 296240"/>
                      <a:gd name="connsiteY0" fmla="*/ 148604 h 470958"/>
                      <a:gd name="connsiteX1" fmla="*/ 245600 w 296240"/>
                      <a:gd name="connsiteY1" fmla="*/ 371268 h 470958"/>
                      <a:gd name="connsiteX2" fmla="*/ 129301 w 296240"/>
                      <a:gd name="connsiteY2" fmla="*/ 370374 h 470958"/>
                      <a:gd name="connsiteX3" fmla="*/ 51147 w 296240"/>
                      <a:gd name="connsiteY3" fmla="*/ 140639 h 470958"/>
                      <a:gd name="connsiteX4" fmla="*/ 227216 w 296240"/>
                      <a:gd name="connsiteY4" fmla="*/ 148604 h 470958"/>
                      <a:gd name="connsiteX0" fmla="*/ 235032 w 304056"/>
                      <a:gd name="connsiteY0" fmla="*/ 199404 h 521758"/>
                      <a:gd name="connsiteX1" fmla="*/ 253416 w 304056"/>
                      <a:gd name="connsiteY1" fmla="*/ 422068 h 521758"/>
                      <a:gd name="connsiteX2" fmla="*/ 137117 w 304056"/>
                      <a:gd name="connsiteY2" fmla="*/ 421174 h 521758"/>
                      <a:gd name="connsiteX3" fmla="*/ 58963 w 304056"/>
                      <a:gd name="connsiteY3" fmla="*/ 191439 h 521758"/>
                      <a:gd name="connsiteX4" fmla="*/ 235032 w 304056"/>
                      <a:gd name="connsiteY4" fmla="*/ 199404 h 521758"/>
                      <a:gd name="connsiteX0" fmla="*/ 238940 w 307964"/>
                      <a:gd name="connsiteY0" fmla="*/ 234573 h 556927"/>
                      <a:gd name="connsiteX1" fmla="*/ 257324 w 307964"/>
                      <a:gd name="connsiteY1" fmla="*/ 457237 h 556927"/>
                      <a:gd name="connsiteX2" fmla="*/ 141025 w 307964"/>
                      <a:gd name="connsiteY2" fmla="*/ 456343 h 556927"/>
                      <a:gd name="connsiteX3" fmla="*/ 62871 w 307964"/>
                      <a:gd name="connsiteY3" fmla="*/ 226608 h 556927"/>
                      <a:gd name="connsiteX4" fmla="*/ 238940 w 307964"/>
                      <a:gd name="connsiteY4" fmla="*/ 234573 h 556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964" h="556927">
                        <a:moveTo>
                          <a:pt x="238940" y="234573"/>
                        </a:moveTo>
                        <a:cubicBezTo>
                          <a:pt x="307964" y="275733"/>
                          <a:pt x="287481" y="297543"/>
                          <a:pt x="257324" y="457237"/>
                        </a:cubicBezTo>
                        <a:cubicBezTo>
                          <a:pt x="206462" y="556927"/>
                          <a:pt x="167696" y="513890"/>
                          <a:pt x="141025" y="456343"/>
                        </a:cubicBezTo>
                        <a:cubicBezTo>
                          <a:pt x="118199" y="378152"/>
                          <a:pt x="92954" y="304799"/>
                          <a:pt x="62871" y="226608"/>
                        </a:cubicBezTo>
                        <a:cubicBezTo>
                          <a:pt x="14316" y="135726"/>
                          <a:pt x="0" y="0"/>
                          <a:pt x="238940" y="23457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338" name="Freeform 337"/>
                  <p:cNvSpPr/>
                  <p:nvPr/>
                </p:nvSpPr>
                <p:spPr>
                  <a:xfrm>
                    <a:off x="2959100" y="-469900"/>
                    <a:ext cx="603647" cy="241299"/>
                  </a:xfrm>
                  <a:custGeom>
                    <a:avLst/>
                    <a:gdLst>
                      <a:gd name="connsiteX0" fmla="*/ 591344 w 602456"/>
                      <a:gd name="connsiteY0" fmla="*/ 241300 h 248840"/>
                      <a:gd name="connsiteX1" fmla="*/ 565150 w 602456"/>
                      <a:gd name="connsiteY1" fmla="*/ 138906 h 248840"/>
                      <a:gd name="connsiteX2" fmla="*/ 486569 w 602456"/>
                      <a:gd name="connsiteY2" fmla="*/ 50800 h 248840"/>
                      <a:gd name="connsiteX3" fmla="*/ 186531 w 602456"/>
                      <a:gd name="connsiteY3" fmla="*/ 3175 h 248840"/>
                      <a:gd name="connsiteX4" fmla="*/ 24606 w 602456"/>
                      <a:gd name="connsiteY4" fmla="*/ 69850 h 248840"/>
                      <a:gd name="connsiteX5" fmla="*/ 38894 w 602456"/>
                      <a:gd name="connsiteY5" fmla="*/ 72231 h 248840"/>
                      <a:gd name="connsiteX6" fmla="*/ 86519 w 602456"/>
                      <a:gd name="connsiteY6" fmla="*/ 112713 h 248840"/>
                      <a:gd name="connsiteX7" fmla="*/ 100806 w 602456"/>
                      <a:gd name="connsiteY7" fmla="*/ 60325 h 248840"/>
                      <a:gd name="connsiteX8" fmla="*/ 219869 w 602456"/>
                      <a:gd name="connsiteY8" fmla="*/ 31750 h 248840"/>
                      <a:gd name="connsiteX9" fmla="*/ 498475 w 602456"/>
                      <a:gd name="connsiteY9" fmla="*/ 93663 h 248840"/>
                      <a:gd name="connsiteX10" fmla="*/ 591344 w 602456"/>
                      <a:gd name="connsiteY10" fmla="*/ 241300 h 248840"/>
                      <a:gd name="connsiteX0" fmla="*/ 591344 w 602456"/>
                      <a:gd name="connsiteY0" fmla="*/ 241300 h 248840"/>
                      <a:gd name="connsiteX1" fmla="*/ 565150 w 602456"/>
                      <a:gd name="connsiteY1" fmla="*/ 138906 h 248840"/>
                      <a:gd name="connsiteX2" fmla="*/ 486569 w 602456"/>
                      <a:gd name="connsiteY2" fmla="*/ 50800 h 248840"/>
                      <a:gd name="connsiteX3" fmla="*/ 186531 w 602456"/>
                      <a:gd name="connsiteY3" fmla="*/ 3175 h 248840"/>
                      <a:gd name="connsiteX4" fmla="*/ 24606 w 602456"/>
                      <a:gd name="connsiteY4" fmla="*/ 69850 h 248840"/>
                      <a:gd name="connsiteX5" fmla="*/ 38894 w 602456"/>
                      <a:gd name="connsiteY5" fmla="*/ 72231 h 248840"/>
                      <a:gd name="connsiteX6" fmla="*/ 86519 w 602456"/>
                      <a:gd name="connsiteY6" fmla="*/ 112713 h 248840"/>
                      <a:gd name="connsiteX7" fmla="*/ 100806 w 602456"/>
                      <a:gd name="connsiteY7" fmla="*/ 60325 h 248840"/>
                      <a:gd name="connsiteX8" fmla="*/ 219869 w 602456"/>
                      <a:gd name="connsiteY8" fmla="*/ 46038 h 248840"/>
                      <a:gd name="connsiteX9" fmla="*/ 498475 w 602456"/>
                      <a:gd name="connsiteY9" fmla="*/ 93663 h 248840"/>
                      <a:gd name="connsiteX10" fmla="*/ 591344 w 602456"/>
                      <a:gd name="connsiteY10" fmla="*/ 241300 h 248840"/>
                      <a:gd name="connsiteX0" fmla="*/ 591344 w 602853"/>
                      <a:gd name="connsiteY0" fmla="*/ 241300 h 246856"/>
                      <a:gd name="connsiteX1" fmla="*/ 565150 w 602853"/>
                      <a:gd name="connsiteY1" fmla="*/ 138906 h 246856"/>
                      <a:gd name="connsiteX2" fmla="*/ 486569 w 602853"/>
                      <a:gd name="connsiteY2" fmla="*/ 50800 h 246856"/>
                      <a:gd name="connsiteX3" fmla="*/ 186531 w 602853"/>
                      <a:gd name="connsiteY3" fmla="*/ 3175 h 246856"/>
                      <a:gd name="connsiteX4" fmla="*/ 24606 w 602853"/>
                      <a:gd name="connsiteY4" fmla="*/ 69850 h 246856"/>
                      <a:gd name="connsiteX5" fmla="*/ 38894 w 602853"/>
                      <a:gd name="connsiteY5" fmla="*/ 72231 h 246856"/>
                      <a:gd name="connsiteX6" fmla="*/ 86519 w 602853"/>
                      <a:gd name="connsiteY6" fmla="*/ 112713 h 246856"/>
                      <a:gd name="connsiteX7" fmla="*/ 100806 w 602853"/>
                      <a:gd name="connsiteY7" fmla="*/ 60325 h 246856"/>
                      <a:gd name="connsiteX8" fmla="*/ 219869 w 602853"/>
                      <a:gd name="connsiteY8" fmla="*/ 46038 h 246856"/>
                      <a:gd name="connsiteX9" fmla="*/ 496094 w 602853"/>
                      <a:gd name="connsiteY9" fmla="*/ 105570 h 246856"/>
                      <a:gd name="connsiteX10" fmla="*/ 591344 w 602853"/>
                      <a:gd name="connsiteY10" fmla="*/ 241300 h 246856"/>
                      <a:gd name="connsiteX0" fmla="*/ 591344 w 602853"/>
                      <a:gd name="connsiteY0" fmla="*/ 241300 h 246856"/>
                      <a:gd name="connsiteX1" fmla="*/ 565150 w 602853"/>
                      <a:gd name="connsiteY1" fmla="*/ 138906 h 246856"/>
                      <a:gd name="connsiteX2" fmla="*/ 486569 w 602853"/>
                      <a:gd name="connsiteY2" fmla="*/ 50800 h 246856"/>
                      <a:gd name="connsiteX3" fmla="*/ 186531 w 602853"/>
                      <a:gd name="connsiteY3" fmla="*/ 3175 h 246856"/>
                      <a:gd name="connsiteX4" fmla="*/ 24606 w 602853"/>
                      <a:gd name="connsiteY4" fmla="*/ 69850 h 246856"/>
                      <a:gd name="connsiteX5" fmla="*/ 38894 w 602853"/>
                      <a:gd name="connsiteY5" fmla="*/ 72231 h 246856"/>
                      <a:gd name="connsiteX6" fmla="*/ 86519 w 602853"/>
                      <a:gd name="connsiteY6" fmla="*/ 112713 h 246856"/>
                      <a:gd name="connsiteX7" fmla="*/ 100806 w 602853"/>
                      <a:gd name="connsiteY7" fmla="*/ 60325 h 246856"/>
                      <a:gd name="connsiteX8" fmla="*/ 219869 w 602853"/>
                      <a:gd name="connsiteY8" fmla="*/ 36513 h 246856"/>
                      <a:gd name="connsiteX9" fmla="*/ 496094 w 602853"/>
                      <a:gd name="connsiteY9" fmla="*/ 105570 h 246856"/>
                      <a:gd name="connsiteX10" fmla="*/ 591344 w 602853"/>
                      <a:gd name="connsiteY10" fmla="*/ 241300 h 246856"/>
                      <a:gd name="connsiteX0" fmla="*/ 591344 w 602853"/>
                      <a:gd name="connsiteY0" fmla="*/ 241300 h 246856"/>
                      <a:gd name="connsiteX1" fmla="*/ 565150 w 602853"/>
                      <a:gd name="connsiteY1" fmla="*/ 138906 h 246856"/>
                      <a:gd name="connsiteX2" fmla="*/ 486569 w 602853"/>
                      <a:gd name="connsiteY2" fmla="*/ 50800 h 246856"/>
                      <a:gd name="connsiteX3" fmla="*/ 186531 w 602853"/>
                      <a:gd name="connsiteY3" fmla="*/ 3175 h 246856"/>
                      <a:gd name="connsiteX4" fmla="*/ 24606 w 602853"/>
                      <a:gd name="connsiteY4" fmla="*/ 69850 h 246856"/>
                      <a:gd name="connsiteX5" fmla="*/ 38894 w 602853"/>
                      <a:gd name="connsiteY5" fmla="*/ 72231 h 246856"/>
                      <a:gd name="connsiteX6" fmla="*/ 86519 w 602853"/>
                      <a:gd name="connsiteY6" fmla="*/ 112713 h 246856"/>
                      <a:gd name="connsiteX7" fmla="*/ 100806 w 602853"/>
                      <a:gd name="connsiteY7" fmla="*/ 60325 h 246856"/>
                      <a:gd name="connsiteX8" fmla="*/ 219869 w 602853"/>
                      <a:gd name="connsiteY8" fmla="*/ 36513 h 246856"/>
                      <a:gd name="connsiteX9" fmla="*/ 496094 w 602853"/>
                      <a:gd name="connsiteY9" fmla="*/ 105570 h 246856"/>
                      <a:gd name="connsiteX10" fmla="*/ 591344 w 602853"/>
                      <a:gd name="connsiteY10" fmla="*/ 241300 h 246856"/>
                      <a:gd name="connsiteX0" fmla="*/ 591344 w 603647"/>
                      <a:gd name="connsiteY0" fmla="*/ 241300 h 248443"/>
                      <a:gd name="connsiteX1" fmla="*/ 565150 w 603647"/>
                      <a:gd name="connsiteY1" fmla="*/ 138906 h 248443"/>
                      <a:gd name="connsiteX2" fmla="*/ 486569 w 603647"/>
                      <a:gd name="connsiteY2" fmla="*/ 50800 h 248443"/>
                      <a:gd name="connsiteX3" fmla="*/ 186531 w 603647"/>
                      <a:gd name="connsiteY3" fmla="*/ 3175 h 248443"/>
                      <a:gd name="connsiteX4" fmla="*/ 24606 w 603647"/>
                      <a:gd name="connsiteY4" fmla="*/ 69850 h 248443"/>
                      <a:gd name="connsiteX5" fmla="*/ 38894 w 603647"/>
                      <a:gd name="connsiteY5" fmla="*/ 72231 h 248443"/>
                      <a:gd name="connsiteX6" fmla="*/ 86519 w 603647"/>
                      <a:gd name="connsiteY6" fmla="*/ 112713 h 248443"/>
                      <a:gd name="connsiteX7" fmla="*/ 100806 w 603647"/>
                      <a:gd name="connsiteY7" fmla="*/ 60325 h 248443"/>
                      <a:gd name="connsiteX8" fmla="*/ 219869 w 603647"/>
                      <a:gd name="connsiteY8" fmla="*/ 36513 h 248443"/>
                      <a:gd name="connsiteX9" fmla="*/ 491331 w 603647"/>
                      <a:gd name="connsiteY9" fmla="*/ 96045 h 248443"/>
                      <a:gd name="connsiteX10" fmla="*/ 591344 w 603647"/>
                      <a:gd name="connsiteY10" fmla="*/ 241300 h 248443"/>
                      <a:gd name="connsiteX0" fmla="*/ 591344 w 603647"/>
                      <a:gd name="connsiteY0" fmla="*/ 241300 h 248443"/>
                      <a:gd name="connsiteX1" fmla="*/ 565150 w 603647"/>
                      <a:gd name="connsiteY1" fmla="*/ 138906 h 248443"/>
                      <a:gd name="connsiteX2" fmla="*/ 486569 w 603647"/>
                      <a:gd name="connsiteY2" fmla="*/ 50800 h 248443"/>
                      <a:gd name="connsiteX3" fmla="*/ 186531 w 603647"/>
                      <a:gd name="connsiteY3" fmla="*/ 3175 h 248443"/>
                      <a:gd name="connsiteX4" fmla="*/ 24606 w 603647"/>
                      <a:gd name="connsiteY4" fmla="*/ 69850 h 248443"/>
                      <a:gd name="connsiteX5" fmla="*/ 38894 w 603647"/>
                      <a:gd name="connsiteY5" fmla="*/ 72231 h 248443"/>
                      <a:gd name="connsiteX6" fmla="*/ 107950 w 603647"/>
                      <a:gd name="connsiteY6" fmla="*/ 127001 h 248443"/>
                      <a:gd name="connsiteX7" fmla="*/ 100806 w 603647"/>
                      <a:gd name="connsiteY7" fmla="*/ 60325 h 248443"/>
                      <a:gd name="connsiteX8" fmla="*/ 219869 w 603647"/>
                      <a:gd name="connsiteY8" fmla="*/ 36513 h 248443"/>
                      <a:gd name="connsiteX9" fmla="*/ 491331 w 603647"/>
                      <a:gd name="connsiteY9" fmla="*/ 96045 h 248443"/>
                      <a:gd name="connsiteX10" fmla="*/ 591344 w 603647"/>
                      <a:gd name="connsiteY10" fmla="*/ 241300 h 248443"/>
                      <a:gd name="connsiteX0" fmla="*/ 591344 w 603647"/>
                      <a:gd name="connsiteY0" fmla="*/ 241300 h 248443"/>
                      <a:gd name="connsiteX1" fmla="*/ 565150 w 603647"/>
                      <a:gd name="connsiteY1" fmla="*/ 138906 h 248443"/>
                      <a:gd name="connsiteX2" fmla="*/ 486569 w 603647"/>
                      <a:gd name="connsiteY2" fmla="*/ 50800 h 248443"/>
                      <a:gd name="connsiteX3" fmla="*/ 186531 w 603647"/>
                      <a:gd name="connsiteY3" fmla="*/ 3175 h 248443"/>
                      <a:gd name="connsiteX4" fmla="*/ 24606 w 603647"/>
                      <a:gd name="connsiteY4" fmla="*/ 69850 h 248443"/>
                      <a:gd name="connsiteX5" fmla="*/ 38894 w 603647"/>
                      <a:gd name="connsiteY5" fmla="*/ 72231 h 248443"/>
                      <a:gd name="connsiteX6" fmla="*/ 107950 w 603647"/>
                      <a:gd name="connsiteY6" fmla="*/ 127001 h 248443"/>
                      <a:gd name="connsiteX7" fmla="*/ 115094 w 603647"/>
                      <a:gd name="connsiteY7" fmla="*/ 65088 h 248443"/>
                      <a:gd name="connsiteX8" fmla="*/ 219869 w 603647"/>
                      <a:gd name="connsiteY8" fmla="*/ 36513 h 248443"/>
                      <a:gd name="connsiteX9" fmla="*/ 491331 w 603647"/>
                      <a:gd name="connsiteY9" fmla="*/ 96045 h 248443"/>
                      <a:gd name="connsiteX10" fmla="*/ 591344 w 603647"/>
                      <a:gd name="connsiteY10" fmla="*/ 241300 h 248443"/>
                      <a:gd name="connsiteX0" fmla="*/ 591344 w 603647"/>
                      <a:gd name="connsiteY0" fmla="*/ 241300 h 248443"/>
                      <a:gd name="connsiteX1" fmla="*/ 565150 w 603647"/>
                      <a:gd name="connsiteY1" fmla="*/ 138906 h 248443"/>
                      <a:gd name="connsiteX2" fmla="*/ 486569 w 603647"/>
                      <a:gd name="connsiteY2" fmla="*/ 50800 h 248443"/>
                      <a:gd name="connsiteX3" fmla="*/ 186531 w 603647"/>
                      <a:gd name="connsiteY3" fmla="*/ 3175 h 248443"/>
                      <a:gd name="connsiteX4" fmla="*/ 24606 w 603647"/>
                      <a:gd name="connsiteY4" fmla="*/ 69850 h 248443"/>
                      <a:gd name="connsiteX5" fmla="*/ 38894 w 603647"/>
                      <a:gd name="connsiteY5" fmla="*/ 72231 h 248443"/>
                      <a:gd name="connsiteX6" fmla="*/ 107950 w 603647"/>
                      <a:gd name="connsiteY6" fmla="*/ 127001 h 248443"/>
                      <a:gd name="connsiteX7" fmla="*/ 115094 w 603647"/>
                      <a:gd name="connsiteY7" fmla="*/ 65088 h 248443"/>
                      <a:gd name="connsiteX8" fmla="*/ 219869 w 603647"/>
                      <a:gd name="connsiteY8" fmla="*/ 36513 h 248443"/>
                      <a:gd name="connsiteX9" fmla="*/ 491331 w 603647"/>
                      <a:gd name="connsiteY9" fmla="*/ 96045 h 248443"/>
                      <a:gd name="connsiteX10" fmla="*/ 591344 w 603647"/>
                      <a:gd name="connsiteY10" fmla="*/ 241300 h 248443"/>
                      <a:gd name="connsiteX0" fmla="*/ 591344 w 603647"/>
                      <a:gd name="connsiteY0" fmla="*/ 241300 h 248443"/>
                      <a:gd name="connsiteX1" fmla="*/ 565150 w 603647"/>
                      <a:gd name="connsiteY1" fmla="*/ 138906 h 248443"/>
                      <a:gd name="connsiteX2" fmla="*/ 486569 w 603647"/>
                      <a:gd name="connsiteY2" fmla="*/ 50800 h 248443"/>
                      <a:gd name="connsiteX3" fmla="*/ 186531 w 603647"/>
                      <a:gd name="connsiteY3" fmla="*/ 3175 h 248443"/>
                      <a:gd name="connsiteX4" fmla="*/ 24606 w 603647"/>
                      <a:gd name="connsiteY4" fmla="*/ 69850 h 248443"/>
                      <a:gd name="connsiteX5" fmla="*/ 38894 w 603647"/>
                      <a:gd name="connsiteY5" fmla="*/ 72231 h 248443"/>
                      <a:gd name="connsiteX6" fmla="*/ 107950 w 603647"/>
                      <a:gd name="connsiteY6" fmla="*/ 127001 h 248443"/>
                      <a:gd name="connsiteX7" fmla="*/ 115094 w 603647"/>
                      <a:gd name="connsiteY7" fmla="*/ 65088 h 248443"/>
                      <a:gd name="connsiteX8" fmla="*/ 219869 w 603647"/>
                      <a:gd name="connsiteY8" fmla="*/ 36513 h 248443"/>
                      <a:gd name="connsiteX9" fmla="*/ 491331 w 603647"/>
                      <a:gd name="connsiteY9" fmla="*/ 96045 h 248443"/>
                      <a:gd name="connsiteX10" fmla="*/ 591344 w 603647"/>
                      <a:gd name="connsiteY10" fmla="*/ 241300 h 248443"/>
                      <a:gd name="connsiteX0" fmla="*/ 591344 w 603647"/>
                      <a:gd name="connsiteY0" fmla="*/ 241300 h 248443"/>
                      <a:gd name="connsiteX1" fmla="*/ 565150 w 603647"/>
                      <a:gd name="connsiteY1" fmla="*/ 138906 h 248443"/>
                      <a:gd name="connsiteX2" fmla="*/ 486569 w 603647"/>
                      <a:gd name="connsiteY2" fmla="*/ 50800 h 248443"/>
                      <a:gd name="connsiteX3" fmla="*/ 186531 w 603647"/>
                      <a:gd name="connsiteY3" fmla="*/ 3175 h 248443"/>
                      <a:gd name="connsiteX4" fmla="*/ 24606 w 603647"/>
                      <a:gd name="connsiteY4" fmla="*/ 69850 h 248443"/>
                      <a:gd name="connsiteX5" fmla="*/ 38894 w 603647"/>
                      <a:gd name="connsiteY5" fmla="*/ 72231 h 248443"/>
                      <a:gd name="connsiteX6" fmla="*/ 107950 w 603647"/>
                      <a:gd name="connsiteY6" fmla="*/ 127001 h 248443"/>
                      <a:gd name="connsiteX7" fmla="*/ 115094 w 603647"/>
                      <a:gd name="connsiteY7" fmla="*/ 65088 h 248443"/>
                      <a:gd name="connsiteX8" fmla="*/ 219869 w 603647"/>
                      <a:gd name="connsiteY8" fmla="*/ 36513 h 248443"/>
                      <a:gd name="connsiteX9" fmla="*/ 491331 w 603647"/>
                      <a:gd name="connsiteY9" fmla="*/ 96045 h 248443"/>
                      <a:gd name="connsiteX10" fmla="*/ 591344 w 603647"/>
                      <a:gd name="connsiteY10" fmla="*/ 241300 h 248443"/>
                      <a:gd name="connsiteX0" fmla="*/ 591344 w 603647"/>
                      <a:gd name="connsiteY0" fmla="*/ 241300 h 248443"/>
                      <a:gd name="connsiteX1" fmla="*/ 565150 w 603647"/>
                      <a:gd name="connsiteY1" fmla="*/ 138906 h 248443"/>
                      <a:gd name="connsiteX2" fmla="*/ 486569 w 603647"/>
                      <a:gd name="connsiteY2" fmla="*/ 50800 h 248443"/>
                      <a:gd name="connsiteX3" fmla="*/ 186531 w 603647"/>
                      <a:gd name="connsiteY3" fmla="*/ 3175 h 248443"/>
                      <a:gd name="connsiteX4" fmla="*/ 24606 w 603647"/>
                      <a:gd name="connsiteY4" fmla="*/ 69850 h 248443"/>
                      <a:gd name="connsiteX5" fmla="*/ 38894 w 603647"/>
                      <a:gd name="connsiteY5" fmla="*/ 72231 h 248443"/>
                      <a:gd name="connsiteX6" fmla="*/ 107950 w 603647"/>
                      <a:gd name="connsiteY6" fmla="*/ 127001 h 248443"/>
                      <a:gd name="connsiteX7" fmla="*/ 115094 w 603647"/>
                      <a:gd name="connsiteY7" fmla="*/ 65088 h 248443"/>
                      <a:gd name="connsiteX8" fmla="*/ 219869 w 603647"/>
                      <a:gd name="connsiteY8" fmla="*/ 36513 h 248443"/>
                      <a:gd name="connsiteX9" fmla="*/ 491331 w 603647"/>
                      <a:gd name="connsiteY9" fmla="*/ 96045 h 248443"/>
                      <a:gd name="connsiteX10" fmla="*/ 591344 w 603647"/>
                      <a:gd name="connsiteY10" fmla="*/ 241300 h 248443"/>
                      <a:gd name="connsiteX0" fmla="*/ 591344 w 603647"/>
                      <a:gd name="connsiteY0" fmla="*/ 234156 h 241299"/>
                      <a:gd name="connsiteX1" fmla="*/ 565150 w 603647"/>
                      <a:gd name="connsiteY1" fmla="*/ 131762 h 241299"/>
                      <a:gd name="connsiteX2" fmla="*/ 486569 w 603647"/>
                      <a:gd name="connsiteY2" fmla="*/ 43656 h 241299"/>
                      <a:gd name="connsiteX3" fmla="*/ 186531 w 603647"/>
                      <a:gd name="connsiteY3" fmla="*/ 3175 h 241299"/>
                      <a:gd name="connsiteX4" fmla="*/ 24606 w 603647"/>
                      <a:gd name="connsiteY4" fmla="*/ 62706 h 241299"/>
                      <a:gd name="connsiteX5" fmla="*/ 38894 w 603647"/>
                      <a:gd name="connsiteY5" fmla="*/ 65087 h 241299"/>
                      <a:gd name="connsiteX6" fmla="*/ 107950 w 603647"/>
                      <a:gd name="connsiteY6" fmla="*/ 119857 h 241299"/>
                      <a:gd name="connsiteX7" fmla="*/ 115094 w 603647"/>
                      <a:gd name="connsiteY7" fmla="*/ 57944 h 241299"/>
                      <a:gd name="connsiteX8" fmla="*/ 219869 w 603647"/>
                      <a:gd name="connsiteY8" fmla="*/ 29369 h 241299"/>
                      <a:gd name="connsiteX9" fmla="*/ 491331 w 603647"/>
                      <a:gd name="connsiteY9" fmla="*/ 88901 h 241299"/>
                      <a:gd name="connsiteX10" fmla="*/ 591344 w 603647"/>
                      <a:gd name="connsiteY10" fmla="*/ 234156 h 241299"/>
                      <a:gd name="connsiteX0" fmla="*/ 591344 w 603647"/>
                      <a:gd name="connsiteY0" fmla="*/ 234156 h 241299"/>
                      <a:gd name="connsiteX1" fmla="*/ 565150 w 603647"/>
                      <a:gd name="connsiteY1" fmla="*/ 131762 h 241299"/>
                      <a:gd name="connsiteX2" fmla="*/ 486569 w 603647"/>
                      <a:gd name="connsiteY2" fmla="*/ 43656 h 241299"/>
                      <a:gd name="connsiteX3" fmla="*/ 186531 w 603647"/>
                      <a:gd name="connsiteY3" fmla="*/ 3175 h 241299"/>
                      <a:gd name="connsiteX4" fmla="*/ 24606 w 603647"/>
                      <a:gd name="connsiteY4" fmla="*/ 62706 h 241299"/>
                      <a:gd name="connsiteX5" fmla="*/ 38894 w 603647"/>
                      <a:gd name="connsiteY5" fmla="*/ 65087 h 241299"/>
                      <a:gd name="connsiteX6" fmla="*/ 107950 w 603647"/>
                      <a:gd name="connsiteY6" fmla="*/ 119857 h 241299"/>
                      <a:gd name="connsiteX7" fmla="*/ 115094 w 603647"/>
                      <a:gd name="connsiteY7" fmla="*/ 57944 h 241299"/>
                      <a:gd name="connsiteX8" fmla="*/ 219869 w 603647"/>
                      <a:gd name="connsiteY8" fmla="*/ 29369 h 241299"/>
                      <a:gd name="connsiteX9" fmla="*/ 491331 w 603647"/>
                      <a:gd name="connsiteY9" fmla="*/ 88901 h 241299"/>
                      <a:gd name="connsiteX10" fmla="*/ 591344 w 603647"/>
                      <a:gd name="connsiteY10" fmla="*/ 234156 h 241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3647" h="241299">
                        <a:moveTo>
                          <a:pt x="591344" y="234156"/>
                        </a:moveTo>
                        <a:cubicBezTo>
                          <a:pt x="603647" y="241299"/>
                          <a:pt x="582612" y="163512"/>
                          <a:pt x="565150" y="131762"/>
                        </a:cubicBezTo>
                        <a:cubicBezTo>
                          <a:pt x="547688" y="100012"/>
                          <a:pt x="549672" y="65087"/>
                          <a:pt x="486569" y="43656"/>
                        </a:cubicBezTo>
                        <a:cubicBezTo>
                          <a:pt x="423466" y="22225"/>
                          <a:pt x="263525" y="0"/>
                          <a:pt x="186531" y="3175"/>
                        </a:cubicBezTo>
                        <a:cubicBezTo>
                          <a:pt x="100012" y="13494"/>
                          <a:pt x="49212" y="52387"/>
                          <a:pt x="24606" y="62706"/>
                        </a:cubicBezTo>
                        <a:cubicBezTo>
                          <a:pt x="0" y="73025"/>
                          <a:pt x="25003" y="55562"/>
                          <a:pt x="38894" y="65087"/>
                        </a:cubicBezTo>
                        <a:cubicBezTo>
                          <a:pt x="52785" y="74612"/>
                          <a:pt x="95250" y="121047"/>
                          <a:pt x="107950" y="119857"/>
                        </a:cubicBezTo>
                        <a:cubicBezTo>
                          <a:pt x="120650" y="118667"/>
                          <a:pt x="84535" y="89694"/>
                          <a:pt x="115094" y="57944"/>
                        </a:cubicBezTo>
                        <a:cubicBezTo>
                          <a:pt x="133747" y="42863"/>
                          <a:pt x="192089" y="26590"/>
                          <a:pt x="219869" y="29369"/>
                        </a:cubicBezTo>
                        <a:cubicBezTo>
                          <a:pt x="302419" y="32148"/>
                          <a:pt x="429419" y="54770"/>
                          <a:pt x="491331" y="88901"/>
                        </a:cubicBezTo>
                        <a:cubicBezTo>
                          <a:pt x="553243" y="123032"/>
                          <a:pt x="579041" y="227013"/>
                          <a:pt x="591344" y="23415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339" name="Oval 338"/>
                  <p:cNvSpPr/>
                  <p:nvPr/>
                </p:nvSpPr>
                <p:spPr>
                  <a:xfrm>
                    <a:off x="3267075" y="-430957"/>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309" name="Group 65"/>
                <p:cNvGrpSpPr/>
                <p:nvPr/>
              </p:nvGrpSpPr>
              <p:grpSpPr>
                <a:xfrm rot="1152482" flipH="1">
                  <a:off x="4123555" y="-579956"/>
                  <a:ext cx="798672" cy="619248"/>
                  <a:chOff x="2947988" y="-762393"/>
                  <a:chExt cx="783103" cy="619248"/>
                </a:xfrm>
                <a:grpFill/>
              </p:grpSpPr>
              <p:sp>
                <p:nvSpPr>
                  <p:cNvPr id="324" name="Freeform 145"/>
                  <p:cNvSpPr/>
                  <p:nvPr/>
                </p:nvSpPr>
                <p:spPr>
                  <a:xfrm rot="20783618">
                    <a:off x="3068514" y="-762393"/>
                    <a:ext cx="599140" cy="376700"/>
                  </a:xfrm>
                  <a:custGeom>
                    <a:avLst/>
                    <a:gdLst>
                      <a:gd name="connsiteX0" fmla="*/ 1041009 w 1041009"/>
                      <a:gd name="connsiteY0" fmla="*/ 281354 h 351693"/>
                      <a:gd name="connsiteX1" fmla="*/ 618978 w 1041009"/>
                      <a:gd name="connsiteY1" fmla="*/ 42203 h 351693"/>
                      <a:gd name="connsiteX2" fmla="*/ 0 w 1041009"/>
                      <a:gd name="connsiteY2" fmla="*/ 0 h 351693"/>
                      <a:gd name="connsiteX3" fmla="*/ 661181 w 1041009"/>
                      <a:gd name="connsiteY3" fmla="*/ 154745 h 351693"/>
                      <a:gd name="connsiteX4" fmla="*/ 1012874 w 1041009"/>
                      <a:gd name="connsiteY4" fmla="*/ 351693 h 351693"/>
                      <a:gd name="connsiteX5" fmla="*/ 1041009 w 1041009"/>
                      <a:gd name="connsiteY5" fmla="*/ 281354 h 351693"/>
                      <a:gd name="connsiteX0" fmla="*/ 831459 w 831459"/>
                      <a:gd name="connsiteY0" fmla="*/ 239151 h 309490"/>
                      <a:gd name="connsiteX1" fmla="*/ 409428 w 831459"/>
                      <a:gd name="connsiteY1" fmla="*/ 0 h 309490"/>
                      <a:gd name="connsiteX2" fmla="*/ 0 w 831459"/>
                      <a:gd name="connsiteY2" fmla="*/ 33997 h 309490"/>
                      <a:gd name="connsiteX3" fmla="*/ 451631 w 831459"/>
                      <a:gd name="connsiteY3" fmla="*/ 112542 h 309490"/>
                      <a:gd name="connsiteX4" fmla="*/ 803324 w 831459"/>
                      <a:gd name="connsiteY4" fmla="*/ 309490 h 309490"/>
                      <a:gd name="connsiteX5" fmla="*/ 831459 w 831459"/>
                      <a:gd name="connsiteY5" fmla="*/ 239151 h 309490"/>
                      <a:gd name="connsiteX0" fmla="*/ 831459 w 831459"/>
                      <a:gd name="connsiteY0" fmla="*/ 239151 h 309490"/>
                      <a:gd name="connsiteX1" fmla="*/ 409428 w 831459"/>
                      <a:gd name="connsiteY1" fmla="*/ 0 h 309490"/>
                      <a:gd name="connsiteX2" fmla="*/ 0 w 831459"/>
                      <a:gd name="connsiteY2" fmla="*/ 33997 h 309490"/>
                      <a:gd name="connsiteX3" fmla="*/ 451631 w 831459"/>
                      <a:gd name="connsiteY3" fmla="*/ 112542 h 309490"/>
                      <a:gd name="connsiteX4" fmla="*/ 803324 w 831459"/>
                      <a:gd name="connsiteY4" fmla="*/ 309490 h 309490"/>
                      <a:gd name="connsiteX5" fmla="*/ 831459 w 831459"/>
                      <a:gd name="connsiteY5" fmla="*/ 239151 h 309490"/>
                      <a:gd name="connsiteX0" fmla="*/ 776752 w 803324"/>
                      <a:gd name="connsiteY0" fmla="*/ 188351 h 309490"/>
                      <a:gd name="connsiteX1" fmla="*/ 409428 w 803324"/>
                      <a:gd name="connsiteY1" fmla="*/ 0 h 309490"/>
                      <a:gd name="connsiteX2" fmla="*/ 0 w 803324"/>
                      <a:gd name="connsiteY2" fmla="*/ 33997 h 309490"/>
                      <a:gd name="connsiteX3" fmla="*/ 451631 w 803324"/>
                      <a:gd name="connsiteY3" fmla="*/ 112542 h 309490"/>
                      <a:gd name="connsiteX4" fmla="*/ 803324 w 803324"/>
                      <a:gd name="connsiteY4" fmla="*/ 309490 h 309490"/>
                      <a:gd name="connsiteX5" fmla="*/ 776752 w 803324"/>
                      <a:gd name="connsiteY5" fmla="*/ 188351 h 309490"/>
                      <a:gd name="connsiteX0" fmla="*/ 776752 w 832502"/>
                      <a:gd name="connsiteY0" fmla="*/ 188351 h 309490"/>
                      <a:gd name="connsiteX1" fmla="*/ 409428 w 832502"/>
                      <a:gd name="connsiteY1" fmla="*/ 0 h 309490"/>
                      <a:gd name="connsiteX2" fmla="*/ 0 w 832502"/>
                      <a:gd name="connsiteY2" fmla="*/ 33997 h 309490"/>
                      <a:gd name="connsiteX3" fmla="*/ 451631 w 832502"/>
                      <a:gd name="connsiteY3" fmla="*/ 112542 h 309490"/>
                      <a:gd name="connsiteX4" fmla="*/ 803324 w 832502"/>
                      <a:gd name="connsiteY4" fmla="*/ 309490 h 309490"/>
                      <a:gd name="connsiteX5" fmla="*/ 776752 w 832502"/>
                      <a:gd name="connsiteY5" fmla="*/ 188351 h 309490"/>
                      <a:gd name="connsiteX0" fmla="*/ 776752 w 832502"/>
                      <a:gd name="connsiteY0" fmla="*/ 188351 h 309490"/>
                      <a:gd name="connsiteX1" fmla="*/ 409428 w 832502"/>
                      <a:gd name="connsiteY1" fmla="*/ 0 h 309490"/>
                      <a:gd name="connsiteX2" fmla="*/ 0 w 832502"/>
                      <a:gd name="connsiteY2" fmla="*/ 33997 h 309490"/>
                      <a:gd name="connsiteX3" fmla="*/ 451631 w 832502"/>
                      <a:gd name="connsiteY3" fmla="*/ 112542 h 309490"/>
                      <a:gd name="connsiteX4" fmla="*/ 803324 w 832502"/>
                      <a:gd name="connsiteY4" fmla="*/ 309490 h 309490"/>
                      <a:gd name="connsiteX5" fmla="*/ 776752 w 832502"/>
                      <a:gd name="connsiteY5" fmla="*/ 188351 h 309490"/>
                      <a:gd name="connsiteX0" fmla="*/ 776752 w 832502"/>
                      <a:gd name="connsiteY0" fmla="*/ 188351 h 332936"/>
                      <a:gd name="connsiteX1" fmla="*/ 409428 w 832502"/>
                      <a:gd name="connsiteY1" fmla="*/ 0 h 332936"/>
                      <a:gd name="connsiteX2" fmla="*/ 0 w 832502"/>
                      <a:gd name="connsiteY2" fmla="*/ 33997 h 332936"/>
                      <a:gd name="connsiteX3" fmla="*/ 451631 w 832502"/>
                      <a:gd name="connsiteY3" fmla="*/ 112542 h 332936"/>
                      <a:gd name="connsiteX4" fmla="*/ 795508 w 832502"/>
                      <a:gd name="connsiteY4" fmla="*/ 332936 h 332936"/>
                      <a:gd name="connsiteX5" fmla="*/ 776752 w 832502"/>
                      <a:gd name="connsiteY5" fmla="*/ 188351 h 332936"/>
                      <a:gd name="connsiteX0" fmla="*/ 776752 w 832502"/>
                      <a:gd name="connsiteY0" fmla="*/ 188351 h 332936"/>
                      <a:gd name="connsiteX1" fmla="*/ 409428 w 832502"/>
                      <a:gd name="connsiteY1" fmla="*/ 0 h 332936"/>
                      <a:gd name="connsiteX2" fmla="*/ 0 w 832502"/>
                      <a:gd name="connsiteY2" fmla="*/ 33997 h 332936"/>
                      <a:gd name="connsiteX3" fmla="*/ 451631 w 832502"/>
                      <a:gd name="connsiteY3" fmla="*/ 112542 h 332936"/>
                      <a:gd name="connsiteX4" fmla="*/ 795508 w 832502"/>
                      <a:gd name="connsiteY4" fmla="*/ 332936 h 332936"/>
                      <a:gd name="connsiteX5" fmla="*/ 776752 w 832502"/>
                      <a:gd name="connsiteY5" fmla="*/ 188351 h 332936"/>
                      <a:gd name="connsiteX0" fmla="*/ 776752 w 832502"/>
                      <a:gd name="connsiteY0" fmla="*/ 188351 h 332936"/>
                      <a:gd name="connsiteX1" fmla="*/ 409428 w 832502"/>
                      <a:gd name="connsiteY1" fmla="*/ 0 h 332936"/>
                      <a:gd name="connsiteX2" fmla="*/ 0 w 832502"/>
                      <a:gd name="connsiteY2" fmla="*/ 33997 h 332936"/>
                      <a:gd name="connsiteX3" fmla="*/ 451631 w 832502"/>
                      <a:gd name="connsiteY3" fmla="*/ 112542 h 332936"/>
                      <a:gd name="connsiteX4" fmla="*/ 795508 w 832502"/>
                      <a:gd name="connsiteY4" fmla="*/ 332936 h 332936"/>
                      <a:gd name="connsiteX5" fmla="*/ 776752 w 832502"/>
                      <a:gd name="connsiteY5" fmla="*/ 188351 h 332936"/>
                      <a:gd name="connsiteX0" fmla="*/ 817685 w 873435"/>
                      <a:gd name="connsiteY0" fmla="*/ 188351 h 332936"/>
                      <a:gd name="connsiteX1" fmla="*/ 450361 w 873435"/>
                      <a:gd name="connsiteY1" fmla="*/ 0 h 332936"/>
                      <a:gd name="connsiteX2" fmla="*/ 40933 w 873435"/>
                      <a:gd name="connsiteY2" fmla="*/ 33997 h 332936"/>
                      <a:gd name="connsiteX3" fmla="*/ 492564 w 873435"/>
                      <a:gd name="connsiteY3" fmla="*/ 112542 h 332936"/>
                      <a:gd name="connsiteX4" fmla="*/ 836441 w 873435"/>
                      <a:gd name="connsiteY4" fmla="*/ 332936 h 332936"/>
                      <a:gd name="connsiteX5" fmla="*/ 817685 w 873435"/>
                      <a:gd name="connsiteY5" fmla="*/ 188351 h 332936"/>
                      <a:gd name="connsiteX0" fmla="*/ 817685 w 873435"/>
                      <a:gd name="connsiteY0" fmla="*/ 196948 h 341533"/>
                      <a:gd name="connsiteX1" fmla="*/ 450361 w 873435"/>
                      <a:gd name="connsiteY1" fmla="*/ 8597 h 341533"/>
                      <a:gd name="connsiteX2" fmla="*/ 40933 w 873435"/>
                      <a:gd name="connsiteY2" fmla="*/ 42594 h 341533"/>
                      <a:gd name="connsiteX3" fmla="*/ 492564 w 873435"/>
                      <a:gd name="connsiteY3" fmla="*/ 121139 h 341533"/>
                      <a:gd name="connsiteX4" fmla="*/ 836441 w 873435"/>
                      <a:gd name="connsiteY4" fmla="*/ 341533 h 341533"/>
                      <a:gd name="connsiteX5" fmla="*/ 817685 w 873435"/>
                      <a:gd name="connsiteY5" fmla="*/ 196948 h 341533"/>
                      <a:gd name="connsiteX0" fmla="*/ 813777 w 869527"/>
                      <a:gd name="connsiteY0" fmla="*/ 188351 h 332936"/>
                      <a:gd name="connsiteX1" fmla="*/ 446453 w 869527"/>
                      <a:gd name="connsiteY1" fmla="*/ 0 h 332936"/>
                      <a:gd name="connsiteX2" fmla="*/ 40933 w 869527"/>
                      <a:gd name="connsiteY2" fmla="*/ 53536 h 332936"/>
                      <a:gd name="connsiteX3" fmla="*/ 488656 w 869527"/>
                      <a:gd name="connsiteY3" fmla="*/ 112542 h 332936"/>
                      <a:gd name="connsiteX4" fmla="*/ 832533 w 869527"/>
                      <a:gd name="connsiteY4" fmla="*/ 332936 h 332936"/>
                      <a:gd name="connsiteX5" fmla="*/ 813777 w 869527"/>
                      <a:gd name="connsiteY5" fmla="*/ 188351 h 332936"/>
                      <a:gd name="connsiteX0" fmla="*/ 813777 w 869527"/>
                      <a:gd name="connsiteY0" fmla="*/ 192650 h 337235"/>
                      <a:gd name="connsiteX1" fmla="*/ 446453 w 869527"/>
                      <a:gd name="connsiteY1" fmla="*/ 4299 h 337235"/>
                      <a:gd name="connsiteX2" fmla="*/ 40933 w 869527"/>
                      <a:gd name="connsiteY2" fmla="*/ 57835 h 337235"/>
                      <a:gd name="connsiteX3" fmla="*/ 488656 w 869527"/>
                      <a:gd name="connsiteY3" fmla="*/ 116841 h 337235"/>
                      <a:gd name="connsiteX4" fmla="*/ 832533 w 869527"/>
                      <a:gd name="connsiteY4" fmla="*/ 337235 h 337235"/>
                      <a:gd name="connsiteX5" fmla="*/ 813777 w 869527"/>
                      <a:gd name="connsiteY5" fmla="*/ 192650 h 337235"/>
                      <a:gd name="connsiteX0" fmla="*/ 813777 w 869527"/>
                      <a:gd name="connsiteY0" fmla="*/ 192650 h 337235"/>
                      <a:gd name="connsiteX1" fmla="*/ 446453 w 869527"/>
                      <a:gd name="connsiteY1" fmla="*/ 4299 h 337235"/>
                      <a:gd name="connsiteX2" fmla="*/ 40933 w 869527"/>
                      <a:gd name="connsiteY2" fmla="*/ 57835 h 337235"/>
                      <a:gd name="connsiteX3" fmla="*/ 488656 w 869527"/>
                      <a:gd name="connsiteY3" fmla="*/ 116841 h 337235"/>
                      <a:gd name="connsiteX4" fmla="*/ 832533 w 869527"/>
                      <a:gd name="connsiteY4" fmla="*/ 337235 h 337235"/>
                      <a:gd name="connsiteX5" fmla="*/ 813777 w 869527"/>
                      <a:gd name="connsiteY5" fmla="*/ 192650 h 337235"/>
                      <a:gd name="connsiteX0" fmla="*/ 813777 w 869527"/>
                      <a:gd name="connsiteY0" fmla="*/ 192650 h 337235"/>
                      <a:gd name="connsiteX1" fmla="*/ 446453 w 869527"/>
                      <a:gd name="connsiteY1" fmla="*/ 4299 h 337235"/>
                      <a:gd name="connsiteX2" fmla="*/ 40933 w 869527"/>
                      <a:gd name="connsiteY2" fmla="*/ 57835 h 337235"/>
                      <a:gd name="connsiteX3" fmla="*/ 445672 w 869527"/>
                      <a:gd name="connsiteY3" fmla="*/ 89487 h 337235"/>
                      <a:gd name="connsiteX4" fmla="*/ 832533 w 869527"/>
                      <a:gd name="connsiteY4" fmla="*/ 337235 h 337235"/>
                      <a:gd name="connsiteX5" fmla="*/ 813777 w 869527"/>
                      <a:gd name="connsiteY5" fmla="*/ 192650 h 337235"/>
                      <a:gd name="connsiteX0" fmla="*/ 813777 w 869527"/>
                      <a:gd name="connsiteY0" fmla="*/ 193039 h 337624"/>
                      <a:gd name="connsiteX1" fmla="*/ 446453 w 869527"/>
                      <a:gd name="connsiteY1" fmla="*/ 4688 h 337624"/>
                      <a:gd name="connsiteX2" fmla="*/ 40933 w 869527"/>
                      <a:gd name="connsiteY2" fmla="*/ 58224 h 337624"/>
                      <a:gd name="connsiteX3" fmla="*/ 445672 w 869527"/>
                      <a:gd name="connsiteY3" fmla="*/ 89876 h 337624"/>
                      <a:gd name="connsiteX4" fmla="*/ 832533 w 869527"/>
                      <a:gd name="connsiteY4" fmla="*/ 337624 h 337624"/>
                      <a:gd name="connsiteX5" fmla="*/ 813777 w 869527"/>
                      <a:gd name="connsiteY5" fmla="*/ 193039 h 337624"/>
                      <a:gd name="connsiteX0" fmla="*/ 772844 w 828594"/>
                      <a:gd name="connsiteY0" fmla="*/ 193039 h 337624"/>
                      <a:gd name="connsiteX1" fmla="*/ 405520 w 828594"/>
                      <a:gd name="connsiteY1" fmla="*/ 4688 h 337624"/>
                      <a:gd name="connsiteX2" fmla="*/ 0 w 828594"/>
                      <a:gd name="connsiteY2" fmla="*/ 58224 h 337624"/>
                      <a:gd name="connsiteX3" fmla="*/ 404739 w 828594"/>
                      <a:gd name="connsiteY3" fmla="*/ 89876 h 337624"/>
                      <a:gd name="connsiteX4" fmla="*/ 791600 w 828594"/>
                      <a:gd name="connsiteY4" fmla="*/ 337624 h 337624"/>
                      <a:gd name="connsiteX5" fmla="*/ 772844 w 828594"/>
                      <a:gd name="connsiteY5" fmla="*/ 193039 h 337624"/>
                      <a:gd name="connsiteX0" fmla="*/ 772844 w 828594"/>
                      <a:gd name="connsiteY0" fmla="*/ 193039 h 337624"/>
                      <a:gd name="connsiteX1" fmla="*/ 405520 w 828594"/>
                      <a:gd name="connsiteY1" fmla="*/ 4688 h 337624"/>
                      <a:gd name="connsiteX2" fmla="*/ 0 w 828594"/>
                      <a:gd name="connsiteY2" fmla="*/ 58224 h 337624"/>
                      <a:gd name="connsiteX3" fmla="*/ 404739 w 828594"/>
                      <a:gd name="connsiteY3" fmla="*/ 89876 h 337624"/>
                      <a:gd name="connsiteX4" fmla="*/ 791600 w 828594"/>
                      <a:gd name="connsiteY4" fmla="*/ 337624 h 337624"/>
                      <a:gd name="connsiteX5" fmla="*/ 772844 w 828594"/>
                      <a:gd name="connsiteY5" fmla="*/ 193039 h 337624"/>
                      <a:gd name="connsiteX0" fmla="*/ 772844 w 828594"/>
                      <a:gd name="connsiteY0" fmla="*/ 193039 h 337624"/>
                      <a:gd name="connsiteX1" fmla="*/ 405520 w 828594"/>
                      <a:gd name="connsiteY1" fmla="*/ 4688 h 337624"/>
                      <a:gd name="connsiteX2" fmla="*/ 0 w 828594"/>
                      <a:gd name="connsiteY2" fmla="*/ 58224 h 337624"/>
                      <a:gd name="connsiteX3" fmla="*/ 404739 w 828594"/>
                      <a:gd name="connsiteY3" fmla="*/ 89876 h 337624"/>
                      <a:gd name="connsiteX4" fmla="*/ 791600 w 828594"/>
                      <a:gd name="connsiteY4" fmla="*/ 337624 h 337624"/>
                      <a:gd name="connsiteX5" fmla="*/ 772844 w 828594"/>
                      <a:gd name="connsiteY5" fmla="*/ 193039 h 337624"/>
                      <a:gd name="connsiteX0" fmla="*/ 772844 w 828594"/>
                      <a:gd name="connsiteY0" fmla="*/ 208281 h 352866"/>
                      <a:gd name="connsiteX1" fmla="*/ 405520 w 828594"/>
                      <a:gd name="connsiteY1" fmla="*/ 4299 h 352866"/>
                      <a:gd name="connsiteX2" fmla="*/ 0 w 828594"/>
                      <a:gd name="connsiteY2" fmla="*/ 73466 h 352866"/>
                      <a:gd name="connsiteX3" fmla="*/ 404739 w 828594"/>
                      <a:gd name="connsiteY3" fmla="*/ 105118 h 352866"/>
                      <a:gd name="connsiteX4" fmla="*/ 791600 w 828594"/>
                      <a:gd name="connsiteY4" fmla="*/ 352866 h 352866"/>
                      <a:gd name="connsiteX5" fmla="*/ 772844 w 828594"/>
                      <a:gd name="connsiteY5" fmla="*/ 208281 h 352866"/>
                      <a:gd name="connsiteX0" fmla="*/ 772844 w 828594"/>
                      <a:gd name="connsiteY0" fmla="*/ 208281 h 352866"/>
                      <a:gd name="connsiteX1" fmla="*/ 405520 w 828594"/>
                      <a:gd name="connsiteY1" fmla="*/ 4299 h 352866"/>
                      <a:gd name="connsiteX2" fmla="*/ 0 w 828594"/>
                      <a:gd name="connsiteY2" fmla="*/ 73466 h 352866"/>
                      <a:gd name="connsiteX3" fmla="*/ 404739 w 828594"/>
                      <a:gd name="connsiteY3" fmla="*/ 105118 h 352866"/>
                      <a:gd name="connsiteX4" fmla="*/ 791600 w 828594"/>
                      <a:gd name="connsiteY4" fmla="*/ 352866 h 352866"/>
                      <a:gd name="connsiteX5" fmla="*/ 772844 w 828594"/>
                      <a:gd name="connsiteY5" fmla="*/ 208281 h 352866"/>
                      <a:gd name="connsiteX0" fmla="*/ 772844 w 828594"/>
                      <a:gd name="connsiteY0" fmla="*/ 220004 h 364589"/>
                      <a:gd name="connsiteX1" fmla="*/ 405520 w 828594"/>
                      <a:gd name="connsiteY1" fmla="*/ 16022 h 364589"/>
                      <a:gd name="connsiteX2" fmla="*/ 0 w 828594"/>
                      <a:gd name="connsiteY2" fmla="*/ 85189 h 364589"/>
                      <a:gd name="connsiteX3" fmla="*/ 404739 w 828594"/>
                      <a:gd name="connsiteY3" fmla="*/ 116841 h 364589"/>
                      <a:gd name="connsiteX4" fmla="*/ 791600 w 828594"/>
                      <a:gd name="connsiteY4" fmla="*/ 364589 h 364589"/>
                      <a:gd name="connsiteX5" fmla="*/ 772844 w 828594"/>
                      <a:gd name="connsiteY5" fmla="*/ 220004 h 364589"/>
                      <a:gd name="connsiteX0" fmla="*/ 772844 w 828594"/>
                      <a:gd name="connsiteY0" fmla="*/ 220004 h 364589"/>
                      <a:gd name="connsiteX1" fmla="*/ 405520 w 828594"/>
                      <a:gd name="connsiteY1" fmla="*/ 16022 h 364589"/>
                      <a:gd name="connsiteX2" fmla="*/ 0 w 828594"/>
                      <a:gd name="connsiteY2" fmla="*/ 85189 h 364589"/>
                      <a:gd name="connsiteX3" fmla="*/ 381293 w 828594"/>
                      <a:gd name="connsiteY3" fmla="*/ 85579 h 364589"/>
                      <a:gd name="connsiteX4" fmla="*/ 791600 w 828594"/>
                      <a:gd name="connsiteY4" fmla="*/ 364589 h 364589"/>
                      <a:gd name="connsiteX5" fmla="*/ 772844 w 828594"/>
                      <a:gd name="connsiteY5" fmla="*/ 220004 h 364589"/>
                      <a:gd name="connsiteX0" fmla="*/ 772844 w 828594"/>
                      <a:gd name="connsiteY0" fmla="*/ 220004 h 364589"/>
                      <a:gd name="connsiteX1" fmla="*/ 405520 w 828594"/>
                      <a:gd name="connsiteY1" fmla="*/ 16022 h 364589"/>
                      <a:gd name="connsiteX2" fmla="*/ 0 w 828594"/>
                      <a:gd name="connsiteY2" fmla="*/ 85189 h 364589"/>
                      <a:gd name="connsiteX3" fmla="*/ 381293 w 828594"/>
                      <a:gd name="connsiteY3" fmla="*/ 101210 h 364589"/>
                      <a:gd name="connsiteX4" fmla="*/ 791600 w 828594"/>
                      <a:gd name="connsiteY4" fmla="*/ 364589 h 364589"/>
                      <a:gd name="connsiteX5" fmla="*/ 772844 w 828594"/>
                      <a:gd name="connsiteY5" fmla="*/ 220004 h 364589"/>
                      <a:gd name="connsiteX0" fmla="*/ 772844 w 828594"/>
                      <a:gd name="connsiteY0" fmla="*/ 220004 h 364589"/>
                      <a:gd name="connsiteX1" fmla="*/ 405520 w 828594"/>
                      <a:gd name="connsiteY1" fmla="*/ 16022 h 364589"/>
                      <a:gd name="connsiteX2" fmla="*/ 0 w 828594"/>
                      <a:gd name="connsiteY2" fmla="*/ 85189 h 364589"/>
                      <a:gd name="connsiteX3" fmla="*/ 381293 w 828594"/>
                      <a:gd name="connsiteY3" fmla="*/ 101210 h 364589"/>
                      <a:gd name="connsiteX4" fmla="*/ 791600 w 828594"/>
                      <a:gd name="connsiteY4" fmla="*/ 364589 h 364589"/>
                      <a:gd name="connsiteX5" fmla="*/ 772844 w 828594"/>
                      <a:gd name="connsiteY5" fmla="*/ 220004 h 364589"/>
                      <a:gd name="connsiteX0" fmla="*/ 772844 w 828594"/>
                      <a:gd name="connsiteY0" fmla="*/ 220004 h 364589"/>
                      <a:gd name="connsiteX1" fmla="*/ 405520 w 828594"/>
                      <a:gd name="connsiteY1" fmla="*/ 16022 h 364589"/>
                      <a:gd name="connsiteX2" fmla="*/ 0 w 828594"/>
                      <a:gd name="connsiteY2" fmla="*/ 85189 h 364589"/>
                      <a:gd name="connsiteX3" fmla="*/ 381293 w 828594"/>
                      <a:gd name="connsiteY3" fmla="*/ 101210 h 364589"/>
                      <a:gd name="connsiteX4" fmla="*/ 791600 w 828594"/>
                      <a:gd name="connsiteY4" fmla="*/ 364589 h 364589"/>
                      <a:gd name="connsiteX5" fmla="*/ 772844 w 828594"/>
                      <a:gd name="connsiteY5" fmla="*/ 220004 h 364589"/>
                      <a:gd name="connsiteX0" fmla="*/ 733767 w 789517"/>
                      <a:gd name="connsiteY0" fmla="*/ 232115 h 376700"/>
                      <a:gd name="connsiteX1" fmla="*/ 366443 w 789517"/>
                      <a:gd name="connsiteY1" fmla="*/ 28133 h 376700"/>
                      <a:gd name="connsiteX2" fmla="*/ 0 w 789517"/>
                      <a:gd name="connsiteY2" fmla="*/ 58224 h 376700"/>
                      <a:gd name="connsiteX3" fmla="*/ 342216 w 789517"/>
                      <a:gd name="connsiteY3" fmla="*/ 113321 h 376700"/>
                      <a:gd name="connsiteX4" fmla="*/ 752523 w 789517"/>
                      <a:gd name="connsiteY4" fmla="*/ 376700 h 376700"/>
                      <a:gd name="connsiteX5" fmla="*/ 733767 w 789517"/>
                      <a:gd name="connsiteY5" fmla="*/ 232115 h 37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9517" h="376700">
                        <a:moveTo>
                          <a:pt x="733767" y="232115"/>
                        </a:moveTo>
                        <a:cubicBezTo>
                          <a:pt x="557921" y="93782"/>
                          <a:pt x="514936" y="64864"/>
                          <a:pt x="366443" y="28133"/>
                        </a:cubicBezTo>
                        <a:cubicBezTo>
                          <a:pt x="206521" y="12111"/>
                          <a:pt x="105214" y="0"/>
                          <a:pt x="0" y="58224"/>
                        </a:cubicBezTo>
                        <a:cubicBezTo>
                          <a:pt x="68483" y="45328"/>
                          <a:pt x="191672" y="87139"/>
                          <a:pt x="342216" y="113321"/>
                        </a:cubicBezTo>
                        <a:cubicBezTo>
                          <a:pt x="507642" y="163340"/>
                          <a:pt x="626173" y="232896"/>
                          <a:pt x="752523" y="376700"/>
                        </a:cubicBezTo>
                        <a:cubicBezTo>
                          <a:pt x="767112" y="363674"/>
                          <a:pt x="789517" y="303756"/>
                          <a:pt x="733767" y="23211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325" name="Freeform 324"/>
                  <p:cNvSpPr/>
                  <p:nvPr/>
                </p:nvSpPr>
                <p:spPr>
                  <a:xfrm rot="12111666" flipV="1">
                    <a:off x="2993808" y="-502164"/>
                    <a:ext cx="602886" cy="259823"/>
                  </a:xfrm>
                  <a:custGeom>
                    <a:avLst/>
                    <a:gdLst>
                      <a:gd name="connsiteX0" fmla="*/ 22085 w 574535"/>
                      <a:gd name="connsiteY0" fmla="*/ 104775 h 229223"/>
                      <a:gd name="connsiteX1" fmla="*/ 193535 w 574535"/>
                      <a:gd name="connsiteY1" fmla="*/ 0 h 229223"/>
                      <a:gd name="connsiteX2" fmla="*/ 545960 w 574535"/>
                      <a:gd name="connsiteY2" fmla="*/ 76200 h 229223"/>
                      <a:gd name="connsiteX3" fmla="*/ 574535 w 574535"/>
                      <a:gd name="connsiteY3" fmla="*/ 190500 h 229223"/>
                      <a:gd name="connsiteX4" fmla="*/ 374510 w 574535"/>
                      <a:gd name="connsiteY4" fmla="*/ 228600 h 229223"/>
                      <a:gd name="connsiteX5" fmla="*/ 22085 w 574535"/>
                      <a:gd name="connsiteY5" fmla="*/ 104775 h 229223"/>
                      <a:gd name="connsiteX0" fmla="*/ 0 w 552450"/>
                      <a:gd name="connsiteY0" fmla="*/ 104775 h 229223"/>
                      <a:gd name="connsiteX1" fmla="*/ 171450 w 552450"/>
                      <a:gd name="connsiteY1" fmla="*/ 0 h 229223"/>
                      <a:gd name="connsiteX2" fmla="*/ 523875 w 552450"/>
                      <a:gd name="connsiteY2" fmla="*/ 76200 h 229223"/>
                      <a:gd name="connsiteX3" fmla="*/ 552450 w 552450"/>
                      <a:gd name="connsiteY3" fmla="*/ 190500 h 229223"/>
                      <a:gd name="connsiteX4" fmla="*/ 387699 w 552450"/>
                      <a:gd name="connsiteY4" fmla="*/ 214688 h 229223"/>
                      <a:gd name="connsiteX5" fmla="*/ 0 w 552450"/>
                      <a:gd name="connsiteY5" fmla="*/ 104775 h 229223"/>
                      <a:gd name="connsiteX0" fmla="*/ 0 w 552450"/>
                      <a:gd name="connsiteY0" fmla="*/ 104775 h 229223"/>
                      <a:gd name="connsiteX1" fmla="*/ 171450 w 552450"/>
                      <a:gd name="connsiteY1" fmla="*/ 0 h 229223"/>
                      <a:gd name="connsiteX2" fmla="*/ 523875 w 552450"/>
                      <a:gd name="connsiteY2" fmla="*/ 76200 h 229223"/>
                      <a:gd name="connsiteX3" fmla="*/ 552450 w 552450"/>
                      <a:gd name="connsiteY3" fmla="*/ 190500 h 229223"/>
                      <a:gd name="connsiteX4" fmla="*/ 387699 w 552450"/>
                      <a:gd name="connsiteY4" fmla="*/ 214688 h 229223"/>
                      <a:gd name="connsiteX5" fmla="*/ 0 w 552450"/>
                      <a:gd name="connsiteY5" fmla="*/ 104775 h 229223"/>
                      <a:gd name="connsiteX0" fmla="*/ 0 w 533951"/>
                      <a:gd name="connsiteY0" fmla="*/ 137518 h 229223"/>
                      <a:gd name="connsiteX1" fmla="*/ 152951 w 533951"/>
                      <a:gd name="connsiteY1" fmla="*/ 0 h 229223"/>
                      <a:gd name="connsiteX2" fmla="*/ 505376 w 533951"/>
                      <a:gd name="connsiteY2" fmla="*/ 76200 h 229223"/>
                      <a:gd name="connsiteX3" fmla="*/ 533951 w 533951"/>
                      <a:gd name="connsiteY3" fmla="*/ 190500 h 229223"/>
                      <a:gd name="connsiteX4" fmla="*/ 369200 w 533951"/>
                      <a:gd name="connsiteY4" fmla="*/ 214688 h 229223"/>
                      <a:gd name="connsiteX5" fmla="*/ 0 w 533951"/>
                      <a:gd name="connsiteY5" fmla="*/ 137518 h 229223"/>
                      <a:gd name="connsiteX0" fmla="*/ 1525 w 535476"/>
                      <a:gd name="connsiteY0" fmla="*/ 137518 h 229223"/>
                      <a:gd name="connsiteX1" fmla="*/ 154476 w 535476"/>
                      <a:gd name="connsiteY1" fmla="*/ 0 h 229223"/>
                      <a:gd name="connsiteX2" fmla="*/ 506901 w 535476"/>
                      <a:gd name="connsiteY2" fmla="*/ 76200 h 229223"/>
                      <a:gd name="connsiteX3" fmla="*/ 535476 w 535476"/>
                      <a:gd name="connsiteY3" fmla="*/ 190500 h 229223"/>
                      <a:gd name="connsiteX4" fmla="*/ 359436 w 535476"/>
                      <a:gd name="connsiteY4" fmla="*/ 219140 h 229223"/>
                      <a:gd name="connsiteX5" fmla="*/ 1525 w 535476"/>
                      <a:gd name="connsiteY5" fmla="*/ 137518 h 229223"/>
                      <a:gd name="connsiteX0" fmla="*/ 0 w 533951"/>
                      <a:gd name="connsiteY0" fmla="*/ 137518 h 229223"/>
                      <a:gd name="connsiteX1" fmla="*/ 152951 w 533951"/>
                      <a:gd name="connsiteY1" fmla="*/ 0 h 229223"/>
                      <a:gd name="connsiteX2" fmla="*/ 505376 w 533951"/>
                      <a:gd name="connsiteY2" fmla="*/ 76200 h 229223"/>
                      <a:gd name="connsiteX3" fmla="*/ 533951 w 533951"/>
                      <a:gd name="connsiteY3" fmla="*/ 190500 h 229223"/>
                      <a:gd name="connsiteX4" fmla="*/ 357911 w 533951"/>
                      <a:gd name="connsiteY4" fmla="*/ 219140 h 229223"/>
                      <a:gd name="connsiteX5" fmla="*/ 0 w 533951"/>
                      <a:gd name="connsiteY5" fmla="*/ 137518 h 229223"/>
                      <a:gd name="connsiteX0" fmla="*/ 0 w 533951"/>
                      <a:gd name="connsiteY0" fmla="*/ 137518 h 229223"/>
                      <a:gd name="connsiteX1" fmla="*/ 152951 w 533951"/>
                      <a:gd name="connsiteY1" fmla="*/ 0 h 229223"/>
                      <a:gd name="connsiteX2" fmla="*/ 505376 w 533951"/>
                      <a:gd name="connsiteY2" fmla="*/ 76200 h 229223"/>
                      <a:gd name="connsiteX3" fmla="*/ 533951 w 533951"/>
                      <a:gd name="connsiteY3" fmla="*/ 190500 h 229223"/>
                      <a:gd name="connsiteX4" fmla="*/ 357911 w 533951"/>
                      <a:gd name="connsiteY4" fmla="*/ 219140 h 229223"/>
                      <a:gd name="connsiteX5" fmla="*/ 0 w 533951"/>
                      <a:gd name="connsiteY5" fmla="*/ 137518 h 229223"/>
                      <a:gd name="connsiteX0" fmla="*/ 0 w 558938"/>
                      <a:gd name="connsiteY0" fmla="*/ 137518 h 225529"/>
                      <a:gd name="connsiteX1" fmla="*/ 152951 w 558938"/>
                      <a:gd name="connsiteY1" fmla="*/ 0 h 225529"/>
                      <a:gd name="connsiteX2" fmla="*/ 505376 w 558938"/>
                      <a:gd name="connsiteY2" fmla="*/ 76200 h 225529"/>
                      <a:gd name="connsiteX3" fmla="*/ 558938 w 558938"/>
                      <a:gd name="connsiteY3" fmla="*/ 186806 h 225529"/>
                      <a:gd name="connsiteX4" fmla="*/ 357911 w 558938"/>
                      <a:gd name="connsiteY4" fmla="*/ 219140 h 225529"/>
                      <a:gd name="connsiteX5" fmla="*/ 0 w 558938"/>
                      <a:gd name="connsiteY5" fmla="*/ 137518 h 225529"/>
                      <a:gd name="connsiteX0" fmla="*/ 0 w 558938"/>
                      <a:gd name="connsiteY0" fmla="*/ 137518 h 225529"/>
                      <a:gd name="connsiteX1" fmla="*/ 152951 w 558938"/>
                      <a:gd name="connsiteY1" fmla="*/ 0 h 225529"/>
                      <a:gd name="connsiteX2" fmla="*/ 477977 w 558938"/>
                      <a:gd name="connsiteY2" fmla="*/ 74686 h 225529"/>
                      <a:gd name="connsiteX3" fmla="*/ 558938 w 558938"/>
                      <a:gd name="connsiteY3" fmla="*/ 186806 h 225529"/>
                      <a:gd name="connsiteX4" fmla="*/ 357911 w 558938"/>
                      <a:gd name="connsiteY4" fmla="*/ 219140 h 225529"/>
                      <a:gd name="connsiteX5" fmla="*/ 0 w 558938"/>
                      <a:gd name="connsiteY5" fmla="*/ 137518 h 225529"/>
                      <a:gd name="connsiteX0" fmla="*/ 13346 w 572284"/>
                      <a:gd name="connsiteY0" fmla="*/ 137518 h 225529"/>
                      <a:gd name="connsiteX1" fmla="*/ 166297 w 572284"/>
                      <a:gd name="connsiteY1" fmla="*/ 0 h 225529"/>
                      <a:gd name="connsiteX2" fmla="*/ 491323 w 572284"/>
                      <a:gd name="connsiteY2" fmla="*/ 74686 h 225529"/>
                      <a:gd name="connsiteX3" fmla="*/ 572284 w 572284"/>
                      <a:gd name="connsiteY3" fmla="*/ 186806 h 225529"/>
                      <a:gd name="connsiteX4" fmla="*/ 371257 w 572284"/>
                      <a:gd name="connsiteY4" fmla="*/ 219140 h 225529"/>
                      <a:gd name="connsiteX5" fmla="*/ 13346 w 572284"/>
                      <a:gd name="connsiteY5" fmla="*/ 137518 h 225529"/>
                      <a:gd name="connsiteX0" fmla="*/ 31261 w 590199"/>
                      <a:gd name="connsiteY0" fmla="*/ 137518 h 225529"/>
                      <a:gd name="connsiteX1" fmla="*/ 184212 w 590199"/>
                      <a:gd name="connsiteY1" fmla="*/ 0 h 225529"/>
                      <a:gd name="connsiteX2" fmla="*/ 509238 w 590199"/>
                      <a:gd name="connsiteY2" fmla="*/ 74686 h 225529"/>
                      <a:gd name="connsiteX3" fmla="*/ 590199 w 590199"/>
                      <a:gd name="connsiteY3" fmla="*/ 186806 h 225529"/>
                      <a:gd name="connsiteX4" fmla="*/ 389172 w 590199"/>
                      <a:gd name="connsiteY4" fmla="*/ 219140 h 225529"/>
                      <a:gd name="connsiteX5" fmla="*/ 31261 w 590199"/>
                      <a:gd name="connsiteY5" fmla="*/ 137518 h 225529"/>
                      <a:gd name="connsiteX0" fmla="*/ 31261 w 574088"/>
                      <a:gd name="connsiteY0" fmla="*/ 143484 h 225529"/>
                      <a:gd name="connsiteX1" fmla="*/ 168101 w 574088"/>
                      <a:gd name="connsiteY1" fmla="*/ 0 h 225529"/>
                      <a:gd name="connsiteX2" fmla="*/ 493127 w 574088"/>
                      <a:gd name="connsiteY2" fmla="*/ 74686 h 225529"/>
                      <a:gd name="connsiteX3" fmla="*/ 574088 w 574088"/>
                      <a:gd name="connsiteY3" fmla="*/ 186806 h 225529"/>
                      <a:gd name="connsiteX4" fmla="*/ 373061 w 574088"/>
                      <a:gd name="connsiteY4" fmla="*/ 219140 h 225529"/>
                      <a:gd name="connsiteX5" fmla="*/ 31261 w 574088"/>
                      <a:gd name="connsiteY5" fmla="*/ 143484 h 225529"/>
                      <a:gd name="connsiteX0" fmla="*/ 29457 w 572284"/>
                      <a:gd name="connsiteY0" fmla="*/ 143484 h 225529"/>
                      <a:gd name="connsiteX1" fmla="*/ 166297 w 572284"/>
                      <a:gd name="connsiteY1" fmla="*/ 0 h 225529"/>
                      <a:gd name="connsiteX2" fmla="*/ 491323 w 572284"/>
                      <a:gd name="connsiteY2" fmla="*/ 74686 h 225529"/>
                      <a:gd name="connsiteX3" fmla="*/ 572284 w 572284"/>
                      <a:gd name="connsiteY3" fmla="*/ 186806 h 225529"/>
                      <a:gd name="connsiteX4" fmla="*/ 371257 w 572284"/>
                      <a:gd name="connsiteY4" fmla="*/ 219140 h 225529"/>
                      <a:gd name="connsiteX5" fmla="*/ 29457 w 572284"/>
                      <a:gd name="connsiteY5" fmla="*/ 143484 h 225529"/>
                      <a:gd name="connsiteX0" fmla="*/ 29457 w 572284"/>
                      <a:gd name="connsiteY0" fmla="*/ 143484 h 225529"/>
                      <a:gd name="connsiteX1" fmla="*/ 166297 w 572284"/>
                      <a:gd name="connsiteY1" fmla="*/ 0 h 225529"/>
                      <a:gd name="connsiteX2" fmla="*/ 491323 w 572284"/>
                      <a:gd name="connsiteY2" fmla="*/ 74686 h 225529"/>
                      <a:gd name="connsiteX3" fmla="*/ 572284 w 572284"/>
                      <a:gd name="connsiteY3" fmla="*/ 186806 h 225529"/>
                      <a:gd name="connsiteX4" fmla="*/ 371257 w 572284"/>
                      <a:gd name="connsiteY4" fmla="*/ 219140 h 225529"/>
                      <a:gd name="connsiteX5" fmla="*/ 29457 w 572284"/>
                      <a:gd name="connsiteY5" fmla="*/ 143484 h 225529"/>
                      <a:gd name="connsiteX0" fmla="*/ 13345 w 572284"/>
                      <a:gd name="connsiteY0" fmla="*/ 137518 h 225529"/>
                      <a:gd name="connsiteX1" fmla="*/ 166297 w 572284"/>
                      <a:gd name="connsiteY1" fmla="*/ 0 h 225529"/>
                      <a:gd name="connsiteX2" fmla="*/ 491323 w 572284"/>
                      <a:gd name="connsiteY2" fmla="*/ 74686 h 225529"/>
                      <a:gd name="connsiteX3" fmla="*/ 572284 w 572284"/>
                      <a:gd name="connsiteY3" fmla="*/ 186806 h 225529"/>
                      <a:gd name="connsiteX4" fmla="*/ 371257 w 572284"/>
                      <a:gd name="connsiteY4" fmla="*/ 219140 h 225529"/>
                      <a:gd name="connsiteX5" fmla="*/ 13345 w 572284"/>
                      <a:gd name="connsiteY5" fmla="*/ 137518 h 225529"/>
                      <a:gd name="connsiteX0" fmla="*/ 13345 w 572284"/>
                      <a:gd name="connsiteY0" fmla="*/ 137518 h 225529"/>
                      <a:gd name="connsiteX1" fmla="*/ 166297 w 572284"/>
                      <a:gd name="connsiteY1" fmla="*/ 0 h 225529"/>
                      <a:gd name="connsiteX2" fmla="*/ 491323 w 572284"/>
                      <a:gd name="connsiteY2" fmla="*/ 74686 h 225529"/>
                      <a:gd name="connsiteX3" fmla="*/ 572284 w 572284"/>
                      <a:gd name="connsiteY3" fmla="*/ 186806 h 225529"/>
                      <a:gd name="connsiteX4" fmla="*/ 371257 w 572284"/>
                      <a:gd name="connsiteY4" fmla="*/ 219140 h 225529"/>
                      <a:gd name="connsiteX5" fmla="*/ 13345 w 572284"/>
                      <a:gd name="connsiteY5" fmla="*/ 137518 h 225529"/>
                      <a:gd name="connsiteX0" fmla="*/ 13345 w 572284"/>
                      <a:gd name="connsiteY0" fmla="*/ 137518 h 225529"/>
                      <a:gd name="connsiteX1" fmla="*/ 166297 w 572284"/>
                      <a:gd name="connsiteY1" fmla="*/ 0 h 225529"/>
                      <a:gd name="connsiteX2" fmla="*/ 491323 w 572284"/>
                      <a:gd name="connsiteY2" fmla="*/ 74686 h 225529"/>
                      <a:gd name="connsiteX3" fmla="*/ 572284 w 572284"/>
                      <a:gd name="connsiteY3" fmla="*/ 186806 h 225529"/>
                      <a:gd name="connsiteX4" fmla="*/ 371257 w 572284"/>
                      <a:gd name="connsiteY4" fmla="*/ 219140 h 225529"/>
                      <a:gd name="connsiteX5" fmla="*/ 13345 w 572284"/>
                      <a:gd name="connsiteY5" fmla="*/ 137518 h 225529"/>
                      <a:gd name="connsiteX0" fmla="*/ 13345 w 572284"/>
                      <a:gd name="connsiteY0" fmla="*/ 137518 h 225529"/>
                      <a:gd name="connsiteX1" fmla="*/ 166297 w 572284"/>
                      <a:gd name="connsiteY1" fmla="*/ 0 h 225529"/>
                      <a:gd name="connsiteX2" fmla="*/ 491323 w 572284"/>
                      <a:gd name="connsiteY2" fmla="*/ 74686 h 225529"/>
                      <a:gd name="connsiteX3" fmla="*/ 572284 w 572284"/>
                      <a:gd name="connsiteY3" fmla="*/ 186806 h 225529"/>
                      <a:gd name="connsiteX4" fmla="*/ 374490 w 572284"/>
                      <a:gd name="connsiteY4" fmla="*/ 211706 h 225529"/>
                      <a:gd name="connsiteX5" fmla="*/ 13345 w 572284"/>
                      <a:gd name="connsiteY5" fmla="*/ 137518 h 225529"/>
                      <a:gd name="connsiteX0" fmla="*/ 13324 w 572284"/>
                      <a:gd name="connsiteY0" fmla="*/ 155953 h 225529"/>
                      <a:gd name="connsiteX1" fmla="*/ 166297 w 572284"/>
                      <a:gd name="connsiteY1" fmla="*/ 0 h 225529"/>
                      <a:gd name="connsiteX2" fmla="*/ 491323 w 572284"/>
                      <a:gd name="connsiteY2" fmla="*/ 74686 h 225529"/>
                      <a:gd name="connsiteX3" fmla="*/ 572284 w 572284"/>
                      <a:gd name="connsiteY3" fmla="*/ 186806 h 225529"/>
                      <a:gd name="connsiteX4" fmla="*/ 374490 w 572284"/>
                      <a:gd name="connsiteY4" fmla="*/ 211706 h 225529"/>
                      <a:gd name="connsiteX5" fmla="*/ 13324 w 572284"/>
                      <a:gd name="connsiteY5" fmla="*/ 155953 h 225529"/>
                      <a:gd name="connsiteX0" fmla="*/ 13324 w 572284"/>
                      <a:gd name="connsiteY0" fmla="*/ 155953 h 225529"/>
                      <a:gd name="connsiteX1" fmla="*/ 166297 w 572284"/>
                      <a:gd name="connsiteY1" fmla="*/ 0 h 225529"/>
                      <a:gd name="connsiteX2" fmla="*/ 491323 w 572284"/>
                      <a:gd name="connsiteY2" fmla="*/ 74686 h 225529"/>
                      <a:gd name="connsiteX3" fmla="*/ 572284 w 572284"/>
                      <a:gd name="connsiteY3" fmla="*/ 186806 h 225529"/>
                      <a:gd name="connsiteX4" fmla="*/ 374490 w 572284"/>
                      <a:gd name="connsiteY4" fmla="*/ 211706 h 225529"/>
                      <a:gd name="connsiteX5" fmla="*/ 13324 w 572284"/>
                      <a:gd name="connsiteY5" fmla="*/ 155953 h 225529"/>
                      <a:gd name="connsiteX0" fmla="*/ 13324 w 572284"/>
                      <a:gd name="connsiteY0" fmla="*/ 155953 h 225529"/>
                      <a:gd name="connsiteX1" fmla="*/ 166297 w 572284"/>
                      <a:gd name="connsiteY1" fmla="*/ 0 h 225529"/>
                      <a:gd name="connsiteX2" fmla="*/ 491323 w 572284"/>
                      <a:gd name="connsiteY2" fmla="*/ 74686 h 225529"/>
                      <a:gd name="connsiteX3" fmla="*/ 572284 w 572284"/>
                      <a:gd name="connsiteY3" fmla="*/ 186806 h 225529"/>
                      <a:gd name="connsiteX4" fmla="*/ 374490 w 572284"/>
                      <a:gd name="connsiteY4" fmla="*/ 211706 h 225529"/>
                      <a:gd name="connsiteX5" fmla="*/ 13324 w 572284"/>
                      <a:gd name="connsiteY5" fmla="*/ 155953 h 225529"/>
                      <a:gd name="connsiteX0" fmla="*/ 13324 w 572284"/>
                      <a:gd name="connsiteY0" fmla="*/ 155953 h 225529"/>
                      <a:gd name="connsiteX1" fmla="*/ 166297 w 572284"/>
                      <a:gd name="connsiteY1" fmla="*/ 0 h 225529"/>
                      <a:gd name="connsiteX2" fmla="*/ 491323 w 572284"/>
                      <a:gd name="connsiteY2" fmla="*/ 74686 h 225529"/>
                      <a:gd name="connsiteX3" fmla="*/ 572284 w 572284"/>
                      <a:gd name="connsiteY3" fmla="*/ 186806 h 225529"/>
                      <a:gd name="connsiteX4" fmla="*/ 374490 w 572284"/>
                      <a:gd name="connsiteY4" fmla="*/ 211706 h 225529"/>
                      <a:gd name="connsiteX5" fmla="*/ 13324 w 572284"/>
                      <a:gd name="connsiteY5" fmla="*/ 155953 h 225529"/>
                      <a:gd name="connsiteX0" fmla="*/ 13324 w 572284"/>
                      <a:gd name="connsiteY0" fmla="*/ 155953 h 225529"/>
                      <a:gd name="connsiteX1" fmla="*/ 166297 w 572284"/>
                      <a:gd name="connsiteY1" fmla="*/ 0 h 225529"/>
                      <a:gd name="connsiteX2" fmla="*/ 491323 w 572284"/>
                      <a:gd name="connsiteY2" fmla="*/ 74686 h 225529"/>
                      <a:gd name="connsiteX3" fmla="*/ 572284 w 572284"/>
                      <a:gd name="connsiteY3" fmla="*/ 186806 h 225529"/>
                      <a:gd name="connsiteX4" fmla="*/ 373824 w 572284"/>
                      <a:gd name="connsiteY4" fmla="*/ 225231 h 225529"/>
                      <a:gd name="connsiteX5" fmla="*/ 13324 w 572284"/>
                      <a:gd name="connsiteY5" fmla="*/ 155953 h 225529"/>
                      <a:gd name="connsiteX0" fmla="*/ 13324 w 572284"/>
                      <a:gd name="connsiteY0" fmla="*/ 155953 h 227618"/>
                      <a:gd name="connsiteX1" fmla="*/ 166297 w 572284"/>
                      <a:gd name="connsiteY1" fmla="*/ 0 h 227618"/>
                      <a:gd name="connsiteX2" fmla="*/ 491323 w 572284"/>
                      <a:gd name="connsiteY2" fmla="*/ 74686 h 227618"/>
                      <a:gd name="connsiteX3" fmla="*/ 572284 w 572284"/>
                      <a:gd name="connsiteY3" fmla="*/ 186806 h 227618"/>
                      <a:gd name="connsiteX4" fmla="*/ 373824 w 572284"/>
                      <a:gd name="connsiteY4" fmla="*/ 225231 h 227618"/>
                      <a:gd name="connsiteX5" fmla="*/ 13324 w 572284"/>
                      <a:gd name="connsiteY5" fmla="*/ 155953 h 227618"/>
                      <a:gd name="connsiteX0" fmla="*/ 13324 w 572284"/>
                      <a:gd name="connsiteY0" fmla="*/ 155953 h 227618"/>
                      <a:gd name="connsiteX1" fmla="*/ 166297 w 572284"/>
                      <a:gd name="connsiteY1" fmla="*/ 0 h 227618"/>
                      <a:gd name="connsiteX2" fmla="*/ 491323 w 572284"/>
                      <a:gd name="connsiteY2" fmla="*/ 74686 h 227618"/>
                      <a:gd name="connsiteX3" fmla="*/ 572284 w 572284"/>
                      <a:gd name="connsiteY3" fmla="*/ 186806 h 227618"/>
                      <a:gd name="connsiteX4" fmla="*/ 373824 w 572284"/>
                      <a:gd name="connsiteY4" fmla="*/ 225231 h 227618"/>
                      <a:gd name="connsiteX5" fmla="*/ 13324 w 572284"/>
                      <a:gd name="connsiteY5" fmla="*/ 155953 h 227618"/>
                      <a:gd name="connsiteX0" fmla="*/ 13324 w 572284"/>
                      <a:gd name="connsiteY0" fmla="*/ 155953 h 227618"/>
                      <a:gd name="connsiteX1" fmla="*/ 166297 w 572284"/>
                      <a:gd name="connsiteY1" fmla="*/ 0 h 227618"/>
                      <a:gd name="connsiteX2" fmla="*/ 491323 w 572284"/>
                      <a:gd name="connsiteY2" fmla="*/ 74686 h 227618"/>
                      <a:gd name="connsiteX3" fmla="*/ 572284 w 572284"/>
                      <a:gd name="connsiteY3" fmla="*/ 186806 h 227618"/>
                      <a:gd name="connsiteX4" fmla="*/ 374137 w 572284"/>
                      <a:gd name="connsiteY4" fmla="*/ 218880 h 227618"/>
                      <a:gd name="connsiteX5" fmla="*/ 13324 w 572284"/>
                      <a:gd name="connsiteY5" fmla="*/ 155953 h 227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84" h="227618">
                        <a:moveTo>
                          <a:pt x="13324" y="155953"/>
                        </a:moveTo>
                        <a:cubicBezTo>
                          <a:pt x="21201" y="131038"/>
                          <a:pt x="0" y="106717"/>
                          <a:pt x="166297" y="0"/>
                        </a:cubicBezTo>
                        <a:lnTo>
                          <a:pt x="491323" y="74686"/>
                        </a:lnTo>
                        <a:lnTo>
                          <a:pt x="572284" y="186806"/>
                        </a:lnTo>
                        <a:cubicBezTo>
                          <a:pt x="426568" y="227618"/>
                          <a:pt x="518534" y="218947"/>
                          <a:pt x="374137" y="218880"/>
                        </a:cubicBezTo>
                        <a:cubicBezTo>
                          <a:pt x="187103" y="191404"/>
                          <a:pt x="92173" y="123688"/>
                          <a:pt x="13324" y="15595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326" name="Freeform 325"/>
                  <p:cNvSpPr/>
                  <p:nvPr/>
                </p:nvSpPr>
                <p:spPr>
                  <a:xfrm>
                    <a:off x="3162326" y="-466420"/>
                    <a:ext cx="307975" cy="192615"/>
                  </a:xfrm>
                  <a:custGeom>
                    <a:avLst/>
                    <a:gdLst>
                      <a:gd name="connsiteX0" fmla="*/ 266700 w 266700"/>
                      <a:gd name="connsiteY0" fmla="*/ 38100 h 209550"/>
                      <a:gd name="connsiteX1" fmla="*/ 0 w 266700"/>
                      <a:gd name="connsiteY1" fmla="*/ 0 h 209550"/>
                      <a:gd name="connsiteX2" fmla="*/ 28575 w 266700"/>
                      <a:gd name="connsiteY2" fmla="*/ 200025 h 209550"/>
                      <a:gd name="connsiteX3" fmla="*/ 190500 w 266700"/>
                      <a:gd name="connsiteY3" fmla="*/ 209550 h 209550"/>
                      <a:gd name="connsiteX4" fmla="*/ 228600 w 266700"/>
                      <a:gd name="connsiteY4" fmla="*/ 95250 h 209550"/>
                      <a:gd name="connsiteX5" fmla="*/ 266700 w 266700"/>
                      <a:gd name="connsiteY5" fmla="*/ 38100 h 209550"/>
                      <a:gd name="connsiteX0" fmla="*/ 293309 w 293309"/>
                      <a:gd name="connsiteY0" fmla="*/ 64710 h 209550"/>
                      <a:gd name="connsiteX1" fmla="*/ 0 w 293309"/>
                      <a:gd name="connsiteY1" fmla="*/ 0 h 209550"/>
                      <a:gd name="connsiteX2" fmla="*/ 28575 w 293309"/>
                      <a:gd name="connsiteY2" fmla="*/ 200025 h 209550"/>
                      <a:gd name="connsiteX3" fmla="*/ 190500 w 293309"/>
                      <a:gd name="connsiteY3" fmla="*/ 209550 h 209550"/>
                      <a:gd name="connsiteX4" fmla="*/ 228600 w 293309"/>
                      <a:gd name="connsiteY4" fmla="*/ 95250 h 209550"/>
                      <a:gd name="connsiteX5" fmla="*/ 293309 w 293309"/>
                      <a:gd name="connsiteY5" fmla="*/ 64710 h 209550"/>
                      <a:gd name="connsiteX0" fmla="*/ 293309 w 293309"/>
                      <a:gd name="connsiteY0" fmla="*/ 64710 h 209550"/>
                      <a:gd name="connsiteX1" fmla="*/ 0 w 293309"/>
                      <a:gd name="connsiteY1" fmla="*/ 0 h 209550"/>
                      <a:gd name="connsiteX2" fmla="*/ 28575 w 293309"/>
                      <a:gd name="connsiteY2" fmla="*/ 200025 h 209550"/>
                      <a:gd name="connsiteX3" fmla="*/ 190500 w 293309"/>
                      <a:gd name="connsiteY3" fmla="*/ 209550 h 209550"/>
                      <a:gd name="connsiteX4" fmla="*/ 228600 w 293309"/>
                      <a:gd name="connsiteY4" fmla="*/ 95250 h 209550"/>
                      <a:gd name="connsiteX5" fmla="*/ 293309 w 293309"/>
                      <a:gd name="connsiteY5" fmla="*/ 64710 h 209550"/>
                      <a:gd name="connsiteX0" fmla="*/ 293309 w 293309"/>
                      <a:gd name="connsiteY0" fmla="*/ 64710 h 209550"/>
                      <a:gd name="connsiteX1" fmla="*/ 0 w 293309"/>
                      <a:gd name="connsiteY1" fmla="*/ 0 h 209550"/>
                      <a:gd name="connsiteX2" fmla="*/ 28575 w 293309"/>
                      <a:gd name="connsiteY2" fmla="*/ 200025 h 209550"/>
                      <a:gd name="connsiteX3" fmla="*/ 190500 w 293309"/>
                      <a:gd name="connsiteY3" fmla="*/ 209550 h 209550"/>
                      <a:gd name="connsiteX4" fmla="*/ 228600 w 293309"/>
                      <a:gd name="connsiteY4" fmla="*/ 95250 h 209550"/>
                      <a:gd name="connsiteX5" fmla="*/ 293309 w 293309"/>
                      <a:gd name="connsiteY5" fmla="*/ 64710 h 209550"/>
                      <a:gd name="connsiteX0" fmla="*/ 293309 w 293309"/>
                      <a:gd name="connsiteY0" fmla="*/ 64710 h 209550"/>
                      <a:gd name="connsiteX1" fmla="*/ 0 w 293309"/>
                      <a:gd name="connsiteY1" fmla="*/ 0 h 209550"/>
                      <a:gd name="connsiteX2" fmla="*/ 28575 w 293309"/>
                      <a:gd name="connsiteY2" fmla="*/ 200025 h 209550"/>
                      <a:gd name="connsiteX3" fmla="*/ 190500 w 293309"/>
                      <a:gd name="connsiteY3" fmla="*/ 209550 h 209550"/>
                      <a:gd name="connsiteX4" fmla="*/ 233438 w 293309"/>
                      <a:gd name="connsiteY4" fmla="*/ 83155 h 209550"/>
                      <a:gd name="connsiteX5" fmla="*/ 293309 w 293309"/>
                      <a:gd name="connsiteY5" fmla="*/ 64710 h 209550"/>
                      <a:gd name="connsiteX0" fmla="*/ 293309 w 293309"/>
                      <a:gd name="connsiteY0" fmla="*/ 64710 h 211969"/>
                      <a:gd name="connsiteX1" fmla="*/ 0 w 293309"/>
                      <a:gd name="connsiteY1" fmla="*/ 0 h 211969"/>
                      <a:gd name="connsiteX2" fmla="*/ 28575 w 293309"/>
                      <a:gd name="connsiteY2" fmla="*/ 200025 h 211969"/>
                      <a:gd name="connsiteX3" fmla="*/ 178405 w 293309"/>
                      <a:gd name="connsiteY3" fmla="*/ 211969 h 211969"/>
                      <a:gd name="connsiteX4" fmla="*/ 233438 w 293309"/>
                      <a:gd name="connsiteY4" fmla="*/ 83155 h 211969"/>
                      <a:gd name="connsiteX5" fmla="*/ 293309 w 293309"/>
                      <a:gd name="connsiteY5" fmla="*/ 64710 h 211969"/>
                      <a:gd name="connsiteX0" fmla="*/ 293309 w 293309"/>
                      <a:gd name="connsiteY0" fmla="*/ 64710 h 211969"/>
                      <a:gd name="connsiteX1" fmla="*/ 0 w 293309"/>
                      <a:gd name="connsiteY1" fmla="*/ 0 h 211969"/>
                      <a:gd name="connsiteX2" fmla="*/ 28575 w 293309"/>
                      <a:gd name="connsiteY2" fmla="*/ 200025 h 211969"/>
                      <a:gd name="connsiteX3" fmla="*/ 178405 w 293309"/>
                      <a:gd name="connsiteY3" fmla="*/ 211969 h 211969"/>
                      <a:gd name="connsiteX4" fmla="*/ 233438 w 293309"/>
                      <a:gd name="connsiteY4" fmla="*/ 83155 h 211969"/>
                      <a:gd name="connsiteX5" fmla="*/ 293309 w 293309"/>
                      <a:gd name="connsiteY5" fmla="*/ 64710 h 211969"/>
                      <a:gd name="connsiteX0" fmla="*/ 293309 w 293309"/>
                      <a:gd name="connsiteY0" fmla="*/ 64710 h 211969"/>
                      <a:gd name="connsiteX1" fmla="*/ 0 w 293309"/>
                      <a:gd name="connsiteY1" fmla="*/ 0 h 211969"/>
                      <a:gd name="connsiteX2" fmla="*/ 28575 w 293309"/>
                      <a:gd name="connsiteY2" fmla="*/ 200025 h 211969"/>
                      <a:gd name="connsiteX3" fmla="*/ 178405 w 293309"/>
                      <a:gd name="connsiteY3" fmla="*/ 211969 h 211969"/>
                      <a:gd name="connsiteX4" fmla="*/ 247952 w 293309"/>
                      <a:gd name="connsiteY4" fmla="*/ 83155 h 211969"/>
                      <a:gd name="connsiteX5" fmla="*/ 293309 w 293309"/>
                      <a:gd name="connsiteY5" fmla="*/ 64710 h 211969"/>
                      <a:gd name="connsiteX0" fmla="*/ 293309 w 293309"/>
                      <a:gd name="connsiteY0" fmla="*/ 55033 h 202292"/>
                      <a:gd name="connsiteX1" fmla="*/ 0 w 293309"/>
                      <a:gd name="connsiteY1" fmla="*/ 0 h 202292"/>
                      <a:gd name="connsiteX2" fmla="*/ 28575 w 293309"/>
                      <a:gd name="connsiteY2" fmla="*/ 190348 h 202292"/>
                      <a:gd name="connsiteX3" fmla="*/ 178405 w 293309"/>
                      <a:gd name="connsiteY3" fmla="*/ 202292 h 202292"/>
                      <a:gd name="connsiteX4" fmla="*/ 247952 w 293309"/>
                      <a:gd name="connsiteY4" fmla="*/ 73478 h 202292"/>
                      <a:gd name="connsiteX5" fmla="*/ 293309 w 293309"/>
                      <a:gd name="connsiteY5" fmla="*/ 55033 h 202292"/>
                      <a:gd name="connsiteX0" fmla="*/ 298299 w 298299"/>
                      <a:gd name="connsiteY0" fmla="*/ 55033 h 202292"/>
                      <a:gd name="connsiteX1" fmla="*/ 4990 w 298299"/>
                      <a:gd name="connsiteY1" fmla="*/ 0 h 202292"/>
                      <a:gd name="connsiteX2" fmla="*/ 33565 w 298299"/>
                      <a:gd name="connsiteY2" fmla="*/ 190348 h 202292"/>
                      <a:gd name="connsiteX3" fmla="*/ 183395 w 298299"/>
                      <a:gd name="connsiteY3" fmla="*/ 202292 h 202292"/>
                      <a:gd name="connsiteX4" fmla="*/ 252942 w 298299"/>
                      <a:gd name="connsiteY4" fmla="*/ 73478 h 202292"/>
                      <a:gd name="connsiteX5" fmla="*/ 298299 w 298299"/>
                      <a:gd name="connsiteY5" fmla="*/ 55033 h 202292"/>
                      <a:gd name="connsiteX0" fmla="*/ 298299 w 298299"/>
                      <a:gd name="connsiteY0" fmla="*/ 55033 h 202292"/>
                      <a:gd name="connsiteX1" fmla="*/ 4990 w 298299"/>
                      <a:gd name="connsiteY1" fmla="*/ 0 h 202292"/>
                      <a:gd name="connsiteX2" fmla="*/ 33565 w 298299"/>
                      <a:gd name="connsiteY2" fmla="*/ 190348 h 202292"/>
                      <a:gd name="connsiteX3" fmla="*/ 183395 w 298299"/>
                      <a:gd name="connsiteY3" fmla="*/ 202292 h 202292"/>
                      <a:gd name="connsiteX4" fmla="*/ 252942 w 298299"/>
                      <a:gd name="connsiteY4" fmla="*/ 73478 h 202292"/>
                      <a:gd name="connsiteX5" fmla="*/ 298299 w 298299"/>
                      <a:gd name="connsiteY5" fmla="*/ 55033 h 202292"/>
                      <a:gd name="connsiteX0" fmla="*/ 307975 w 307975"/>
                      <a:gd name="connsiteY0" fmla="*/ 45356 h 192615"/>
                      <a:gd name="connsiteX1" fmla="*/ 4990 w 307975"/>
                      <a:gd name="connsiteY1" fmla="*/ 0 h 192615"/>
                      <a:gd name="connsiteX2" fmla="*/ 43241 w 307975"/>
                      <a:gd name="connsiteY2" fmla="*/ 180671 h 192615"/>
                      <a:gd name="connsiteX3" fmla="*/ 193071 w 307975"/>
                      <a:gd name="connsiteY3" fmla="*/ 192615 h 192615"/>
                      <a:gd name="connsiteX4" fmla="*/ 262618 w 307975"/>
                      <a:gd name="connsiteY4" fmla="*/ 63801 h 192615"/>
                      <a:gd name="connsiteX5" fmla="*/ 307975 w 307975"/>
                      <a:gd name="connsiteY5" fmla="*/ 45356 h 192615"/>
                      <a:gd name="connsiteX0" fmla="*/ 307975 w 307975"/>
                      <a:gd name="connsiteY0" fmla="*/ 45356 h 192615"/>
                      <a:gd name="connsiteX1" fmla="*/ 4990 w 307975"/>
                      <a:gd name="connsiteY1" fmla="*/ 0 h 192615"/>
                      <a:gd name="connsiteX2" fmla="*/ 50498 w 307975"/>
                      <a:gd name="connsiteY2" fmla="*/ 173414 h 192615"/>
                      <a:gd name="connsiteX3" fmla="*/ 193071 w 307975"/>
                      <a:gd name="connsiteY3" fmla="*/ 192615 h 192615"/>
                      <a:gd name="connsiteX4" fmla="*/ 262618 w 307975"/>
                      <a:gd name="connsiteY4" fmla="*/ 63801 h 192615"/>
                      <a:gd name="connsiteX5" fmla="*/ 307975 w 307975"/>
                      <a:gd name="connsiteY5" fmla="*/ 45356 h 192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975" h="192615">
                        <a:moveTo>
                          <a:pt x="307975" y="45356"/>
                        </a:moveTo>
                        <a:lnTo>
                          <a:pt x="4990" y="0"/>
                        </a:lnTo>
                        <a:cubicBezTo>
                          <a:pt x="0" y="87639"/>
                          <a:pt x="19201" y="122060"/>
                          <a:pt x="50498" y="173414"/>
                        </a:cubicBezTo>
                        <a:lnTo>
                          <a:pt x="193071" y="192615"/>
                        </a:lnTo>
                        <a:cubicBezTo>
                          <a:pt x="233186" y="149677"/>
                          <a:pt x="244274" y="106739"/>
                          <a:pt x="262618" y="63801"/>
                        </a:cubicBezTo>
                        <a:cubicBezTo>
                          <a:pt x="284188" y="53621"/>
                          <a:pt x="300919" y="57955"/>
                          <a:pt x="307975" y="4535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327" name="Freeform 148"/>
                  <p:cNvSpPr/>
                  <p:nvPr/>
                </p:nvSpPr>
                <p:spPr>
                  <a:xfrm>
                    <a:off x="3257446" y="-455565"/>
                    <a:ext cx="114404" cy="100834"/>
                  </a:xfrm>
                  <a:custGeom>
                    <a:avLst/>
                    <a:gdLst>
                      <a:gd name="connsiteX0" fmla="*/ 0 w 142875"/>
                      <a:gd name="connsiteY0" fmla="*/ 0 h 133350"/>
                      <a:gd name="connsiteX1" fmla="*/ 19050 w 142875"/>
                      <a:gd name="connsiteY1" fmla="*/ 133350 h 133350"/>
                      <a:gd name="connsiteX2" fmla="*/ 95250 w 142875"/>
                      <a:gd name="connsiteY2" fmla="*/ 133350 h 133350"/>
                      <a:gd name="connsiteX3" fmla="*/ 142875 w 142875"/>
                      <a:gd name="connsiteY3" fmla="*/ 28575 h 133350"/>
                      <a:gd name="connsiteX4" fmla="*/ 0 w 142875"/>
                      <a:gd name="connsiteY4" fmla="*/ 0 h 133350"/>
                      <a:gd name="connsiteX0" fmla="*/ 6652 w 149527"/>
                      <a:gd name="connsiteY0" fmla="*/ 0 h 133350"/>
                      <a:gd name="connsiteX1" fmla="*/ 25702 w 149527"/>
                      <a:gd name="connsiteY1" fmla="*/ 133350 h 133350"/>
                      <a:gd name="connsiteX2" fmla="*/ 101902 w 149527"/>
                      <a:gd name="connsiteY2" fmla="*/ 133350 h 133350"/>
                      <a:gd name="connsiteX3" fmla="*/ 149527 w 149527"/>
                      <a:gd name="connsiteY3" fmla="*/ 28575 h 133350"/>
                      <a:gd name="connsiteX4" fmla="*/ 6652 w 149527"/>
                      <a:gd name="connsiteY4" fmla="*/ 0 h 133350"/>
                      <a:gd name="connsiteX0" fmla="*/ 6652 w 149527"/>
                      <a:gd name="connsiteY0" fmla="*/ 0 h 145445"/>
                      <a:gd name="connsiteX1" fmla="*/ 25702 w 149527"/>
                      <a:gd name="connsiteY1" fmla="*/ 133350 h 145445"/>
                      <a:gd name="connsiteX2" fmla="*/ 101902 w 149527"/>
                      <a:gd name="connsiteY2" fmla="*/ 133350 h 145445"/>
                      <a:gd name="connsiteX3" fmla="*/ 149527 w 149527"/>
                      <a:gd name="connsiteY3" fmla="*/ 28575 h 145445"/>
                      <a:gd name="connsiteX4" fmla="*/ 6652 w 149527"/>
                      <a:gd name="connsiteY4" fmla="*/ 0 h 145445"/>
                      <a:gd name="connsiteX0" fmla="*/ 13909 w 156784"/>
                      <a:gd name="connsiteY0" fmla="*/ 0 h 133350"/>
                      <a:gd name="connsiteX1" fmla="*/ 25702 w 156784"/>
                      <a:gd name="connsiteY1" fmla="*/ 116417 h 133350"/>
                      <a:gd name="connsiteX2" fmla="*/ 109159 w 156784"/>
                      <a:gd name="connsiteY2" fmla="*/ 133350 h 133350"/>
                      <a:gd name="connsiteX3" fmla="*/ 156784 w 156784"/>
                      <a:gd name="connsiteY3" fmla="*/ 28575 h 133350"/>
                      <a:gd name="connsiteX4" fmla="*/ 13909 w 156784"/>
                      <a:gd name="connsiteY4" fmla="*/ 0 h 133350"/>
                      <a:gd name="connsiteX0" fmla="*/ 13909 w 156784"/>
                      <a:gd name="connsiteY0" fmla="*/ 0 h 138188"/>
                      <a:gd name="connsiteX1" fmla="*/ 25702 w 156784"/>
                      <a:gd name="connsiteY1" fmla="*/ 116417 h 138188"/>
                      <a:gd name="connsiteX2" fmla="*/ 109159 w 156784"/>
                      <a:gd name="connsiteY2" fmla="*/ 133350 h 138188"/>
                      <a:gd name="connsiteX3" fmla="*/ 156784 w 156784"/>
                      <a:gd name="connsiteY3" fmla="*/ 28575 h 138188"/>
                      <a:gd name="connsiteX4" fmla="*/ 13909 w 156784"/>
                      <a:gd name="connsiteY4" fmla="*/ 0 h 138188"/>
                      <a:gd name="connsiteX0" fmla="*/ 13909 w 156784"/>
                      <a:gd name="connsiteY0" fmla="*/ 0 h 138188"/>
                      <a:gd name="connsiteX1" fmla="*/ 25702 w 156784"/>
                      <a:gd name="connsiteY1" fmla="*/ 116417 h 138188"/>
                      <a:gd name="connsiteX2" fmla="*/ 109159 w 156784"/>
                      <a:gd name="connsiteY2" fmla="*/ 133350 h 138188"/>
                      <a:gd name="connsiteX3" fmla="*/ 156784 w 156784"/>
                      <a:gd name="connsiteY3" fmla="*/ 28575 h 138188"/>
                      <a:gd name="connsiteX4" fmla="*/ 13909 w 156784"/>
                      <a:gd name="connsiteY4" fmla="*/ 0 h 138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784" h="138188">
                        <a:moveTo>
                          <a:pt x="13909" y="0"/>
                        </a:moveTo>
                        <a:cubicBezTo>
                          <a:pt x="20259" y="44450"/>
                          <a:pt x="0" y="64710"/>
                          <a:pt x="25702" y="116417"/>
                        </a:cubicBezTo>
                        <a:cubicBezTo>
                          <a:pt x="58359" y="138188"/>
                          <a:pt x="83759" y="133350"/>
                          <a:pt x="109159" y="133350"/>
                        </a:cubicBezTo>
                        <a:cubicBezTo>
                          <a:pt x="141967" y="98425"/>
                          <a:pt x="140909" y="63500"/>
                          <a:pt x="156784" y="28575"/>
                        </a:cubicBezTo>
                        <a:lnTo>
                          <a:pt x="13909"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328" name="Freeform 327"/>
                  <p:cNvSpPr/>
                  <p:nvPr/>
                </p:nvSpPr>
                <p:spPr>
                  <a:xfrm>
                    <a:off x="2947988" y="-528637"/>
                    <a:ext cx="648581" cy="302558"/>
                  </a:xfrm>
                  <a:custGeom>
                    <a:avLst/>
                    <a:gdLst>
                      <a:gd name="connsiteX0" fmla="*/ 590550 w 590550"/>
                      <a:gd name="connsiteY0" fmla="*/ 323850 h 323850"/>
                      <a:gd name="connsiteX1" fmla="*/ 523875 w 590550"/>
                      <a:gd name="connsiteY1" fmla="*/ 114300 h 323850"/>
                      <a:gd name="connsiteX2" fmla="*/ 133350 w 590550"/>
                      <a:gd name="connsiteY2" fmla="*/ 0 h 323850"/>
                      <a:gd name="connsiteX3" fmla="*/ 0 w 590550"/>
                      <a:gd name="connsiteY3" fmla="*/ 190500 h 323850"/>
                      <a:gd name="connsiteX4" fmla="*/ 152400 w 590550"/>
                      <a:gd name="connsiteY4" fmla="*/ 85725 h 323850"/>
                      <a:gd name="connsiteX5" fmla="*/ 485775 w 590550"/>
                      <a:gd name="connsiteY5" fmla="*/ 171450 h 323850"/>
                      <a:gd name="connsiteX6" fmla="*/ 590550 w 590550"/>
                      <a:gd name="connsiteY6" fmla="*/ 323850 h 323850"/>
                      <a:gd name="connsiteX0" fmla="*/ 590550 w 590550"/>
                      <a:gd name="connsiteY0" fmla="*/ 323850 h 323850"/>
                      <a:gd name="connsiteX1" fmla="*/ 523875 w 590550"/>
                      <a:gd name="connsiteY1" fmla="*/ 114300 h 323850"/>
                      <a:gd name="connsiteX2" fmla="*/ 133350 w 590550"/>
                      <a:gd name="connsiteY2" fmla="*/ 0 h 323850"/>
                      <a:gd name="connsiteX3" fmla="*/ 0 w 590550"/>
                      <a:gd name="connsiteY3" fmla="*/ 190500 h 323850"/>
                      <a:gd name="connsiteX4" fmla="*/ 152400 w 590550"/>
                      <a:gd name="connsiteY4" fmla="*/ 123825 h 323850"/>
                      <a:gd name="connsiteX5" fmla="*/ 485775 w 590550"/>
                      <a:gd name="connsiteY5" fmla="*/ 171450 h 323850"/>
                      <a:gd name="connsiteX6" fmla="*/ 590550 w 590550"/>
                      <a:gd name="connsiteY6" fmla="*/ 323850 h 323850"/>
                      <a:gd name="connsiteX0" fmla="*/ 590550 w 590550"/>
                      <a:gd name="connsiteY0" fmla="*/ 276225 h 276225"/>
                      <a:gd name="connsiteX1" fmla="*/ 523875 w 590550"/>
                      <a:gd name="connsiteY1" fmla="*/ 66675 h 276225"/>
                      <a:gd name="connsiteX2" fmla="*/ 133350 w 590550"/>
                      <a:gd name="connsiteY2" fmla="*/ 0 h 276225"/>
                      <a:gd name="connsiteX3" fmla="*/ 0 w 590550"/>
                      <a:gd name="connsiteY3" fmla="*/ 142875 h 276225"/>
                      <a:gd name="connsiteX4" fmla="*/ 152400 w 590550"/>
                      <a:gd name="connsiteY4" fmla="*/ 76200 h 276225"/>
                      <a:gd name="connsiteX5" fmla="*/ 485775 w 590550"/>
                      <a:gd name="connsiteY5" fmla="*/ 123825 h 276225"/>
                      <a:gd name="connsiteX6" fmla="*/ 590550 w 590550"/>
                      <a:gd name="connsiteY6" fmla="*/ 276225 h 276225"/>
                      <a:gd name="connsiteX0" fmla="*/ 580874 w 580874"/>
                      <a:gd name="connsiteY0" fmla="*/ 307672 h 307672"/>
                      <a:gd name="connsiteX1" fmla="*/ 523875 w 580874"/>
                      <a:gd name="connsiteY1" fmla="*/ 66675 h 307672"/>
                      <a:gd name="connsiteX2" fmla="*/ 133350 w 580874"/>
                      <a:gd name="connsiteY2" fmla="*/ 0 h 307672"/>
                      <a:gd name="connsiteX3" fmla="*/ 0 w 580874"/>
                      <a:gd name="connsiteY3" fmla="*/ 142875 h 307672"/>
                      <a:gd name="connsiteX4" fmla="*/ 152400 w 580874"/>
                      <a:gd name="connsiteY4" fmla="*/ 76200 h 307672"/>
                      <a:gd name="connsiteX5" fmla="*/ 485775 w 580874"/>
                      <a:gd name="connsiteY5" fmla="*/ 123825 h 307672"/>
                      <a:gd name="connsiteX6" fmla="*/ 580874 w 580874"/>
                      <a:gd name="connsiteY6" fmla="*/ 307672 h 307672"/>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52400 w 624769"/>
                      <a:gd name="connsiteY4" fmla="*/ 76200 h 316845"/>
                      <a:gd name="connsiteX5" fmla="*/ 485775 w 624769"/>
                      <a:gd name="connsiteY5" fmla="*/ 123825 h 316845"/>
                      <a:gd name="connsiteX6" fmla="*/ 580874 w 624769"/>
                      <a:gd name="connsiteY6" fmla="*/ 307672 h 316845"/>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52400 w 624769"/>
                      <a:gd name="connsiteY4" fmla="*/ 76200 h 316845"/>
                      <a:gd name="connsiteX5" fmla="*/ 485775 w 624769"/>
                      <a:gd name="connsiteY5" fmla="*/ 123825 h 316845"/>
                      <a:gd name="connsiteX6" fmla="*/ 580874 w 624769"/>
                      <a:gd name="connsiteY6" fmla="*/ 307672 h 316845"/>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52400 w 624769"/>
                      <a:gd name="connsiteY4" fmla="*/ 76200 h 316845"/>
                      <a:gd name="connsiteX5" fmla="*/ 485775 w 624769"/>
                      <a:gd name="connsiteY5" fmla="*/ 123825 h 316845"/>
                      <a:gd name="connsiteX6" fmla="*/ 580874 w 624769"/>
                      <a:gd name="connsiteY6" fmla="*/ 307672 h 316845"/>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52400 w 624769"/>
                      <a:gd name="connsiteY4" fmla="*/ 76200 h 316845"/>
                      <a:gd name="connsiteX5" fmla="*/ 485775 w 624769"/>
                      <a:gd name="connsiteY5" fmla="*/ 123825 h 316845"/>
                      <a:gd name="connsiteX6" fmla="*/ 580874 w 624769"/>
                      <a:gd name="connsiteY6" fmla="*/ 307672 h 316845"/>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52400 w 624769"/>
                      <a:gd name="connsiteY4" fmla="*/ 76200 h 316845"/>
                      <a:gd name="connsiteX5" fmla="*/ 447070 w 624769"/>
                      <a:gd name="connsiteY5" fmla="*/ 116568 h 316845"/>
                      <a:gd name="connsiteX6" fmla="*/ 580874 w 624769"/>
                      <a:gd name="connsiteY6" fmla="*/ 307672 h 316845"/>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52400 w 624769"/>
                      <a:gd name="connsiteY4" fmla="*/ 76200 h 316845"/>
                      <a:gd name="connsiteX5" fmla="*/ 447070 w 624769"/>
                      <a:gd name="connsiteY5" fmla="*/ 116568 h 316845"/>
                      <a:gd name="connsiteX6" fmla="*/ 580874 w 624769"/>
                      <a:gd name="connsiteY6" fmla="*/ 307672 h 316845"/>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52400 w 624769"/>
                      <a:gd name="connsiteY4" fmla="*/ 76200 h 316845"/>
                      <a:gd name="connsiteX5" fmla="*/ 480937 w 624769"/>
                      <a:gd name="connsiteY5" fmla="*/ 126244 h 316845"/>
                      <a:gd name="connsiteX6" fmla="*/ 580874 w 624769"/>
                      <a:gd name="connsiteY6" fmla="*/ 307672 h 316845"/>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54820 w 624769"/>
                      <a:gd name="connsiteY4" fmla="*/ 66524 h 316845"/>
                      <a:gd name="connsiteX5" fmla="*/ 480937 w 624769"/>
                      <a:gd name="connsiteY5" fmla="*/ 126244 h 316845"/>
                      <a:gd name="connsiteX6" fmla="*/ 580874 w 624769"/>
                      <a:gd name="connsiteY6" fmla="*/ 307672 h 316845"/>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54820 w 624769"/>
                      <a:gd name="connsiteY4" fmla="*/ 73781 h 316845"/>
                      <a:gd name="connsiteX5" fmla="*/ 480937 w 624769"/>
                      <a:gd name="connsiteY5" fmla="*/ 126244 h 316845"/>
                      <a:gd name="connsiteX6" fmla="*/ 580874 w 624769"/>
                      <a:gd name="connsiteY6" fmla="*/ 307672 h 316845"/>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54820 w 624769"/>
                      <a:gd name="connsiteY4" fmla="*/ 73781 h 316845"/>
                      <a:gd name="connsiteX5" fmla="*/ 480937 w 624769"/>
                      <a:gd name="connsiteY5" fmla="*/ 126244 h 316845"/>
                      <a:gd name="connsiteX6" fmla="*/ 580874 w 624769"/>
                      <a:gd name="connsiteY6" fmla="*/ 307672 h 316845"/>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54820 w 624769"/>
                      <a:gd name="connsiteY4" fmla="*/ 73781 h 316845"/>
                      <a:gd name="connsiteX5" fmla="*/ 480937 w 624769"/>
                      <a:gd name="connsiteY5" fmla="*/ 126244 h 316845"/>
                      <a:gd name="connsiteX6" fmla="*/ 580874 w 624769"/>
                      <a:gd name="connsiteY6" fmla="*/ 307672 h 316845"/>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86268 w 624769"/>
                      <a:gd name="connsiteY4" fmla="*/ 73781 h 316845"/>
                      <a:gd name="connsiteX5" fmla="*/ 480937 w 624769"/>
                      <a:gd name="connsiteY5" fmla="*/ 126244 h 316845"/>
                      <a:gd name="connsiteX6" fmla="*/ 580874 w 624769"/>
                      <a:gd name="connsiteY6" fmla="*/ 307672 h 316845"/>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86268 w 624769"/>
                      <a:gd name="connsiteY4" fmla="*/ 73781 h 316845"/>
                      <a:gd name="connsiteX5" fmla="*/ 480937 w 624769"/>
                      <a:gd name="connsiteY5" fmla="*/ 126244 h 316845"/>
                      <a:gd name="connsiteX6" fmla="*/ 580874 w 624769"/>
                      <a:gd name="connsiteY6" fmla="*/ 307672 h 316845"/>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79011 w 624769"/>
                      <a:gd name="connsiteY4" fmla="*/ 78619 h 316845"/>
                      <a:gd name="connsiteX5" fmla="*/ 480937 w 624769"/>
                      <a:gd name="connsiteY5" fmla="*/ 126244 h 316845"/>
                      <a:gd name="connsiteX6" fmla="*/ 580874 w 624769"/>
                      <a:gd name="connsiteY6" fmla="*/ 307672 h 316845"/>
                      <a:gd name="connsiteX0" fmla="*/ 580874 w 624769"/>
                      <a:gd name="connsiteY0" fmla="*/ 279972 h 289145"/>
                      <a:gd name="connsiteX1" fmla="*/ 523875 w 624769"/>
                      <a:gd name="connsiteY1" fmla="*/ 38975 h 289145"/>
                      <a:gd name="connsiteX2" fmla="*/ 128588 w 624769"/>
                      <a:gd name="connsiteY2" fmla="*/ 875 h 289145"/>
                      <a:gd name="connsiteX3" fmla="*/ 0 w 624769"/>
                      <a:gd name="connsiteY3" fmla="*/ 115175 h 289145"/>
                      <a:gd name="connsiteX4" fmla="*/ 179011 w 624769"/>
                      <a:gd name="connsiteY4" fmla="*/ 50919 h 289145"/>
                      <a:gd name="connsiteX5" fmla="*/ 480937 w 624769"/>
                      <a:gd name="connsiteY5" fmla="*/ 98544 h 289145"/>
                      <a:gd name="connsiteX6" fmla="*/ 580874 w 624769"/>
                      <a:gd name="connsiteY6" fmla="*/ 279972 h 289145"/>
                      <a:gd name="connsiteX0" fmla="*/ 604686 w 648581"/>
                      <a:gd name="connsiteY0" fmla="*/ 279972 h 289145"/>
                      <a:gd name="connsiteX1" fmla="*/ 547687 w 648581"/>
                      <a:gd name="connsiteY1" fmla="*/ 38975 h 289145"/>
                      <a:gd name="connsiteX2" fmla="*/ 152400 w 648581"/>
                      <a:gd name="connsiteY2" fmla="*/ 875 h 289145"/>
                      <a:gd name="connsiteX3" fmla="*/ 23812 w 648581"/>
                      <a:gd name="connsiteY3" fmla="*/ 115175 h 289145"/>
                      <a:gd name="connsiteX4" fmla="*/ 202823 w 648581"/>
                      <a:gd name="connsiteY4" fmla="*/ 50919 h 289145"/>
                      <a:gd name="connsiteX5" fmla="*/ 504749 w 648581"/>
                      <a:gd name="connsiteY5" fmla="*/ 98544 h 289145"/>
                      <a:gd name="connsiteX6" fmla="*/ 604686 w 648581"/>
                      <a:gd name="connsiteY6" fmla="*/ 279972 h 289145"/>
                      <a:gd name="connsiteX0" fmla="*/ 604686 w 648581"/>
                      <a:gd name="connsiteY0" fmla="*/ 279972 h 289145"/>
                      <a:gd name="connsiteX1" fmla="*/ 547687 w 648581"/>
                      <a:gd name="connsiteY1" fmla="*/ 38975 h 289145"/>
                      <a:gd name="connsiteX2" fmla="*/ 152400 w 648581"/>
                      <a:gd name="connsiteY2" fmla="*/ 875 h 289145"/>
                      <a:gd name="connsiteX3" fmla="*/ 23812 w 648581"/>
                      <a:gd name="connsiteY3" fmla="*/ 115175 h 289145"/>
                      <a:gd name="connsiteX4" fmla="*/ 202823 w 648581"/>
                      <a:gd name="connsiteY4" fmla="*/ 50919 h 289145"/>
                      <a:gd name="connsiteX5" fmla="*/ 504749 w 648581"/>
                      <a:gd name="connsiteY5" fmla="*/ 98544 h 289145"/>
                      <a:gd name="connsiteX6" fmla="*/ 604686 w 648581"/>
                      <a:gd name="connsiteY6" fmla="*/ 279972 h 289145"/>
                      <a:gd name="connsiteX0" fmla="*/ 604686 w 648581"/>
                      <a:gd name="connsiteY0" fmla="*/ 293385 h 302558"/>
                      <a:gd name="connsiteX1" fmla="*/ 547687 w 648581"/>
                      <a:gd name="connsiteY1" fmla="*/ 52388 h 302558"/>
                      <a:gd name="connsiteX2" fmla="*/ 152400 w 648581"/>
                      <a:gd name="connsiteY2" fmla="*/ 14288 h 302558"/>
                      <a:gd name="connsiteX3" fmla="*/ 23812 w 648581"/>
                      <a:gd name="connsiteY3" fmla="*/ 128588 h 302558"/>
                      <a:gd name="connsiteX4" fmla="*/ 202823 w 648581"/>
                      <a:gd name="connsiteY4" fmla="*/ 64332 h 302558"/>
                      <a:gd name="connsiteX5" fmla="*/ 504749 w 648581"/>
                      <a:gd name="connsiteY5" fmla="*/ 111957 h 302558"/>
                      <a:gd name="connsiteX6" fmla="*/ 604686 w 648581"/>
                      <a:gd name="connsiteY6" fmla="*/ 293385 h 302558"/>
                      <a:gd name="connsiteX0" fmla="*/ 604686 w 648581"/>
                      <a:gd name="connsiteY0" fmla="*/ 286241 h 295414"/>
                      <a:gd name="connsiteX1" fmla="*/ 547687 w 648581"/>
                      <a:gd name="connsiteY1" fmla="*/ 45244 h 295414"/>
                      <a:gd name="connsiteX2" fmla="*/ 166688 w 648581"/>
                      <a:gd name="connsiteY2" fmla="*/ 14288 h 295414"/>
                      <a:gd name="connsiteX3" fmla="*/ 23812 w 648581"/>
                      <a:gd name="connsiteY3" fmla="*/ 121444 h 295414"/>
                      <a:gd name="connsiteX4" fmla="*/ 202823 w 648581"/>
                      <a:gd name="connsiteY4" fmla="*/ 57188 h 295414"/>
                      <a:gd name="connsiteX5" fmla="*/ 504749 w 648581"/>
                      <a:gd name="connsiteY5" fmla="*/ 104813 h 295414"/>
                      <a:gd name="connsiteX6" fmla="*/ 604686 w 648581"/>
                      <a:gd name="connsiteY6" fmla="*/ 286241 h 295414"/>
                      <a:gd name="connsiteX0" fmla="*/ 604686 w 648581"/>
                      <a:gd name="connsiteY0" fmla="*/ 293385 h 302558"/>
                      <a:gd name="connsiteX1" fmla="*/ 547687 w 648581"/>
                      <a:gd name="connsiteY1" fmla="*/ 52388 h 302558"/>
                      <a:gd name="connsiteX2" fmla="*/ 161926 w 648581"/>
                      <a:gd name="connsiteY2" fmla="*/ 14288 h 302558"/>
                      <a:gd name="connsiteX3" fmla="*/ 23812 w 648581"/>
                      <a:gd name="connsiteY3" fmla="*/ 128588 h 302558"/>
                      <a:gd name="connsiteX4" fmla="*/ 202823 w 648581"/>
                      <a:gd name="connsiteY4" fmla="*/ 64332 h 302558"/>
                      <a:gd name="connsiteX5" fmla="*/ 504749 w 648581"/>
                      <a:gd name="connsiteY5" fmla="*/ 111957 h 302558"/>
                      <a:gd name="connsiteX6" fmla="*/ 604686 w 648581"/>
                      <a:gd name="connsiteY6" fmla="*/ 293385 h 302558"/>
                      <a:gd name="connsiteX0" fmla="*/ 604686 w 648581"/>
                      <a:gd name="connsiteY0" fmla="*/ 293385 h 302558"/>
                      <a:gd name="connsiteX1" fmla="*/ 547687 w 648581"/>
                      <a:gd name="connsiteY1" fmla="*/ 71438 h 302558"/>
                      <a:gd name="connsiteX2" fmla="*/ 161926 w 648581"/>
                      <a:gd name="connsiteY2" fmla="*/ 14288 h 302558"/>
                      <a:gd name="connsiteX3" fmla="*/ 23812 w 648581"/>
                      <a:gd name="connsiteY3" fmla="*/ 128588 h 302558"/>
                      <a:gd name="connsiteX4" fmla="*/ 202823 w 648581"/>
                      <a:gd name="connsiteY4" fmla="*/ 64332 h 302558"/>
                      <a:gd name="connsiteX5" fmla="*/ 504749 w 648581"/>
                      <a:gd name="connsiteY5" fmla="*/ 111957 h 302558"/>
                      <a:gd name="connsiteX6" fmla="*/ 604686 w 648581"/>
                      <a:gd name="connsiteY6" fmla="*/ 293385 h 302558"/>
                      <a:gd name="connsiteX0" fmla="*/ 604686 w 648581"/>
                      <a:gd name="connsiteY0" fmla="*/ 293385 h 302558"/>
                      <a:gd name="connsiteX1" fmla="*/ 547687 w 648581"/>
                      <a:gd name="connsiteY1" fmla="*/ 71438 h 302558"/>
                      <a:gd name="connsiteX2" fmla="*/ 161926 w 648581"/>
                      <a:gd name="connsiteY2" fmla="*/ 14288 h 302558"/>
                      <a:gd name="connsiteX3" fmla="*/ 23812 w 648581"/>
                      <a:gd name="connsiteY3" fmla="*/ 128588 h 302558"/>
                      <a:gd name="connsiteX4" fmla="*/ 202823 w 648581"/>
                      <a:gd name="connsiteY4" fmla="*/ 64332 h 302558"/>
                      <a:gd name="connsiteX5" fmla="*/ 504749 w 648581"/>
                      <a:gd name="connsiteY5" fmla="*/ 111957 h 302558"/>
                      <a:gd name="connsiteX6" fmla="*/ 604686 w 648581"/>
                      <a:gd name="connsiteY6" fmla="*/ 293385 h 302558"/>
                      <a:gd name="connsiteX0" fmla="*/ 604686 w 648581"/>
                      <a:gd name="connsiteY0" fmla="*/ 293385 h 302558"/>
                      <a:gd name="connsiteX1" fmla="*/ 547687 w 648581"/>
                      <a:gd name="connsiteY1" fmla="*/ 71438 h 302558"/>
                      <a:gd name="connsiteX2" fmla="*/ 161926 w 648581"/>
                      <a:gd name="connsiteY2" fmla="*/ 14288 h 302558"/>
                      <a:gd name="connsiteX3" fmla="*/ 23812 w 648581"/>
                      <a:gd name="connsiteY3" fmla="*/ 128588 h 302558"/>
                      <a:gd name="connsiteX4" fmla="*/ 202823 w 648581"/>
                      <a:gd name="connsiteY4" fmla="*/ 64332 h 302558"/>
                      <a:gd name="connsiteX5" fmla="*/ 504749 w 648581"/>
                      <a:gd name="connsiteY5" fmla="*/ 111957 h 302558"/>
                      <a:gd name="connsiteX6" fmla="*/ 604686 w 648581"/>
                      <a:gd name="connsiteY6" fmla="*/ 293385 h 302558"/>
                      <a:gd name="connsiteX0" fmla="*/ 604686 w 648581"/>
                      <a:gd name="connsiteY0" fmla="*/ 293385 h 302558"/>
                      <a:gd name="connsiteX1" fmla="*/ 547687 w 648581"/>
                      <a:gd name="connsiteY1" fmla="*/ 71438 h 302558"/>
                      <a:gd name="connsiteX2" fmla="*/ 161926 w 648581"/>
                      <a:gd name="connsiteY2" fmla="*/ 14288 h 302558"/>
                      <a:gd name="connsiteX3" fmla="*/ 23812 w 648581"/>
                      <a:gd name="connsiteY3" fmla="*/ 128588 h 302558"/>
                      <a:gd name="connsiteX4" fmla="*/ 202823 w 648581"/>
                      <a:gd name="connsiteY4" fmla="*/ 64332 h 302558"/>
                      <a:gd name="connsiteX5" fmla="*/ 504749 w 648581"/>
                      <a:gd name="connsiteY5" fmla="*/ 111957 h 302558"/>
                      <a:gd name="connsiteX6" fmla="*/ 604686 w 648581"/>
                      <a:gd name="connsiteY6" fmla="*/ 293385 h 302558"/>
                      <a:gd name="connsiteX0" fmla="*/ 604686 w 648581"/>
                      <a:gd name="connsiteY0" fmla="*/ 293385 h 302558"/>
                      <a:gd name="connsiteX1" fmla="*/ 547687 w 648581"/>
                      <a:gd name="connsiteY1" fmla="*/ 71438 h 302558"/>
                      <a:gd name="connsiteX2" fmla="*/ 161926 w 648581"/>
                      <a:gd name="connsiteY2" fmla="*/ 14288 h 302558"/>
                      <a:gd name="connsiteX3" fmla="*/ 23812 w 648581"/>
                      <a:gd name="connsiteY3" fmla="*/ 128588 h 302558"/>
                      <a:gd name="connsiteX4" fmla="*/ 202823 w 648581"/>
                      <a:gd name="connsiteY4" fmla="*/ 64332 h 302558"/>
                      <a:gd name="connsiteX5" fmla="*/ 504749 w 648581"/>
                      <a:gd name="connsiteY5" fmla="*/ 111957 h 302558"/>
                      <a:gd name="connsiteX6" fmla="*/ 604686 w 648581"/>
                      <a:gd name="connsiteY6" fmla="*/ 293385 h 302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8581" h="302558">
                        <a:moveTo>
                          <a:pt x="604686" y="293385"/>
                        </a:moveTo>
                        <a:cubicBezTo>
                          <a:pt x="648581" y="302558"/>
                          <a:pt x="580975" y="151770"/>
                          <a:pt x="547687" y="71438"/>
                        </a:cubicBezTo>
                        <a:cubicBezTo>
                          <a:pt x="398721" y="15795"/>
                          <a:pt x="268987" y="0"/>
                          <a:pt x="161926" y="14288"/>
                        </a:cubicBezTo>
                        <a:cubicBezTo>
                          <a:pt x="119063" y="30957"/>
                          <a:pt x="0" y="92869"/>
                          <a:pt x="23812" y="128588"/>
                        </a:cubicBezTo>
                        <a:cubicBezTo>
                          <a:pt x="75419" y="105557"/>
                          <a:pt x="95577" y="84944"/>
                          <a:pt x="202823" y="64332"/>
                        </a:cubicBezTo>
                        <a:cubicBezTo>
                          <a:pt x="340558" y="80207"/>
                          <a:pt x="354919" y="79149"/>
                          <a:pt x="504749" y="111957"/>
                        </a:cubicBezTo>
                        <a:cubicBezTo>
                          <a:pt x="570316" y="169146"/>
                          <a:pt x="580243" y="230986"/>
                          <a:pt x="604686" y="29338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329" name="Freeform 328"/>
                  <p:cNvSpPr/>
                  <p:nvPr/>
                </p:nvSpPr>
                <p:spPr>
                  <a:xfrm>
                    <a:off x="3423127" y="-700072"/>
                    <a:ext cx="307964" cy="556927"/>
                  </a:xfrm>
                  <a:custGeom>
                    <a:avLst/>
                    <a:gdLst>
                      <a:gd name="connsiteX0" fmla="*/ 168812 w 351692"/>
                      <a:gd name="connsiteY0" fmla="*/ 0 h 253218"/>
                      <a:gd name="connsiteX1" fmla="*/ 351692 w 351692"/>
                      <a:gd name="connsiteY1" fmla="*/ 225083 h 253218"/>
                      <a:gd name="connsiteX2" fmla="*/ 281354 w 351692"/>
                      <a:gd name="connsiteY2" fmla="*/ 253218 h 253218"/>
                      <a:gd name="connsiteX3" fmla="*/ 0 w 351692"/>
                      <a:gd name="connsiteY3" fmla="*/ 98473 h 253218"/>
                      <a:gd name="connsiteX4" fmla="*/ 168812 w 351692"/>
                      <a:gd name="connsiteY4" fmla="*/ 0 h 253218"/>
                      <a:gd name="connsiteX0" fmla="*/ 168812 w 351692"/>
                      <a:gd name="connsiteY0" fmla="*/ 0 h 357237"/>
                      <a:gd name="connsiteX1" fmla="*/ 351692 w 351692"/>
                      <a:gd name="connsiteY1" fmla="*/ 225083 h 357237"/>
                      <a:gd name="connsiteX2" fmla="*/ 216040 w 351692"/>
                      <a:gd name="connsiteY2" fmla="*/ 357237 h 357237"/>
                      <a:gd name="connsiteX3" fmla="*/ 0 w 351692"/>
                      <a:gd name="connsiteY3" fmla="*/ 98473 h 357237"/>
                      <a:gd name="connsiteX4" fmla="*/ 168812 w 351692"/>
                      <a:gd name="connsiteY4" fmla="*/ 0 h 357237"/>
                      <a:gd name="connsiteX0" fmla="*/ 168812 w 332339"/>
                      <a:gd name="connsiteY0" fmla="*/ 0 h 357237"/>
                      <a:gd name="connsiteX1" fmla="*/ 332339 w 332339"/>
                      <a:gd name="connsiteY1" fmla="*/ 333940 h 357237"/>
                      <a:gd name="connsiteX2" fmla="*/ 216040 w 332339"/>
                      <a:gd name="connsiteY2" fmla="*/ 357237 h 357237"/>
                      <a:gd name="connsiteX3" fmla="*/ 0 w 332339"/>
                      <a:gd name="connsiteY3" fmla="*/ 98473 h 357237"/>
                      <a:gd name="connsiteX4" fmla="*/ 168812 w 332339"/>
                      <a:gd name="connsiteY4" fmla="*/ 0 h 357237"/>
                      <a:gd name="connsiteX0" fmla="*/ 168812 w 332339"/>
                      <a:gd name="connsiteY0" fmla="*/ 0 h 433630"/>
                      <a:gd name="connsiteX1" fmla="*/ 332339 w 332339"/>
                      <a:gd name="connsiteY1" fmla="*/ 333940 h 433630"/>
                      <a:gd name="connsiteX2" fmla="*/ 216040 w 332339"/>
                      <a:gd name="connsiteY2" fmla="*/ 357237 h 433630"/>
                      <a:gd name="connsiteX3" fmla="*/ 0 w 332339"/>
                      <a:gd name="connsiteY3" fmla="*/ 98473 h 433630"/>
                      <a:gd name="connsiteX4" fmla="*/ 168812 w 332339"/>
                      <a:gd name="connsiteY4" fmla="*/ 0 h 433630"/>
                      <a:gd name="connsiteX0" fmla="*/ 168812 w 332339"/>
                      <a:gd name="connsiteY0" fmla="*/ 0 h 433630"/>
                      <a:gd name="connsiteX1" fmla="*/ 332339 w 332339"/>
                      <a:gd name="connsiteY1" fmla="*/ 333940 h 433630"/>
                      <a:gd name="connsiteX2" fmla="*/ 216040 w 332339"/>
                      <a:gd name="connsiteY2" fmla="*/ 357237 h 433630"/>
                      <a:gd name="connsiteX3" fmla="*/ 0 w 332339"/>
                      <a:gd name="connsiteY3" fmla="*/ 98473 h 433630"/>
                      <a:gd name="connsiteX4" fmla="*/ 168812 w 332339"/>
                      <a:gd name="connsiteY4" fmla="*/ 0 h 433630"/>
                      <a:gd name="connsiteX0" fmla="*/ 168812 w 332339"/>
                      <a:gd name="connsiteY0" fmla="*/ 0 h 433630"/>
                      <a:gd name="connsiteX1" fmla="*/ 332339 w 332339"/>
                      <a:gd name="connsiteY1" fmla="*/ 333940 h 433630"/>
                      <a:gd name="connsiteX2" fmla="*/ 216040 w 332339"/>
                      <a:gd name="connsiteY2" fmla="*/ 333046 h 433630"/>
                      <a:gd name="connsiteX3" fmla="*/ 0 w 332339"/>
                      <a:gd name="connsiteY3" fmla="*/ 98473 h 433630"/>
                      <a:gd name="connsiteX4" fmla="*/ 168812 w 332339"/>
                      <a:gd name="connsiteY4" fmla="*/ 0 h 433630"/>
                      <a:gd name="connsiteX0" fmla="*/ 168812 w 332339"/>
                      <a:gd name="connsiteY0" fmla="*/ 0 h 433630"/>
                      <a:gd name="connsiteX1" fmla="*/ 332339 w 332339"/>
                      <a:gd name="connsiteY1" fmla="*/ 333940 h 433630"/>
                      <a:gd name="connsiteX2" fmla="*/ 216040 w 332339"/>
                      <a:gd name="connsiteY2" fmla="*/ 333046 h 433630"/>
                      <a:gd name="connsiteX3" fmla="*/ 0 w 332339"/>
                      <a:gd name="connsiteY3" fmla="*/ 98473 h 433630"/>
                      <a:gd name="connsiteX4" fmla="*/ 168812 w 332339"/>
                      <a:gd name="connsiteY4" fmla="*/ 0 h 433630"/>
                      <a:gd name="connsiteX0" fmla="*/ 168812 w 362496"/>
                      <a:gd name="connsiteY0" fmla="*/ 0 h 433630"/>
                      <a:gd name="connsiteX1" fmla="*/ 332339 w 362496"/>
                      <a:gd name="connsiteY1" fmla="*/ 333940 h 433630"/>
                      <a:gd name="connsiteX2" fmla="*/ 216040 w 362496"/>
                      <a:gd name="connsiteY2" fmla="*/ 333046 h 433630"/>
                      <a:gd name="connsiteX3" fmla="*/ 0 w 362496"/>
                      <a:gd name="connsiteY3" fmla="*/ 98473 h 433630"/>
                      <a:gd name="connsiteX4" fmla="*/ 168812 w 362496"/>
                      <a:gd name="connsiteY4" fmla="*/ 0 h 433630"/>
                      <a:gd name="connsiteX0" fmla="*/ 318793 w 373302"/>
                      <a:gd name="connsiteY0" fmla="*/ 3127 h 335157"/>
                      <a:gd name="connsiteX1" fmla="*/ 332339 w 373302"/>
                      <a:gd name="connsiteY1" fmla="*/ 235467 h 335157"/>
                      <a:gd name="connsiteX2" fmla="*/ 216040 w 373302"/>
                      <a:gd name="connsiteY2" fmla="*/ 234573 h 335157"/>
                      <a:gd name="connsiteX3" fmla="*/ 0 w 373302"/>
                      <a:gd name="connsiteY3" fmla="*/ 0 h 335157"/>
                      <a:gd name="connsiteX4" fmla="*/ 318793 w 373302"/>
                      <a:gd name="connsiteY4" fmla="*/ 3127 h 335157"/>
                      <a:gd name="connsiteX0" fmla="*/ 318793 w 387817"/>
                      <a:gd name="connsiteY0" fmla="*/ 3127 h 335157"/>
                      <a:gd name="connsiteX1" fmla="*/ 332339 w 387817"/>
                      <a:gd name="connsiteY1" fmla="*/ 235467 h 335157"/>
                      <a:gd name="connsiteX2" fmla="*/ 216040 w 387817"/>
                      <a:gd name="connsiteY2" fmla="*/ 234573 h 335157"/>
                      <a:gd name="connsiteX3" fmla="*/ 0 w 387817"/>
                      <a:gd name="connsiteY3" fmla="*/ 0 h 335157"/>
                      <a:gd name="connsiteX4" fmla="*/ 318793 w 387817"/>
                      <a:gd name="connsiteY4" fmla="*/ 3127 h 335157"/>
                      <a:gd name="connsiteX0" fmla="*/ 318793 w 387817"/>
                      <a:gd name="connsiteY0" fmla="*/ 148604 h 480634"/>
                      <a:gd name="connsiteX1" fmla="*/ 332339 w 387817"/>
                      <a:gd name="connsiteY1" fmla="*/ 380944 h 480634"/>
                      <a:gd name="connsiteX2" fmla="*/ 216040 w 387817"/>
                      <a:gd name="connsiteY2" fmla="*/ 380050 h 480634"/>
                      <a:gd name="connsiteX3" fmla="*/ 0 w 387817"/>
                      <a:gd name="connsiteY3" fmla="*/ 145477 h 480634"/>
                      <a:gd name="connsiteX4" fmla="*/ 318793 w 387817"/>
                      <a:gd name="connsiteY4" fmla="*/ 148604 h 480634"/>
                      <a:gd name="connsiteX0" fmla="*/ 227216 w 296240"/>
                      <a:gd name="connsiteY0" fmla="*/ 148604 h 480634"/>
                      <a:gd name="connsiteX1" fmla="*/ 240762 w 296240"/>
                      <a:gd name="connsiteY1" fmla="*/ 380944 h 480634"/>
                      <a:gd name="connsiteX2" fmla="*/ 124463 w 296240"/>
                      <a:gd name="connsiteY2" fmla="*/ 380050 h 480634"/>
                      <a:gd name="connsiteX3" fmla="*/ 55985 w 296240"/>
                      <a:gd name="connsiteY3" fmla="*/ 145477 h 480634"/>
                      <a:gd name="connsiteX4" fmla="*/ 227216 w 296240"/>
                      <a:gd name="connsiteY4" fmla="*/ 148604 h 480634"/>
                      <a:gd name="connsiteX0" fmla="*/ 227216 w 296240"/>
                      <a:gd name="connsiteY0" fmla="*/ 148604 h 480634"/>
                      <a:gd name="connsiteX1" fmla="*/ 240762 w 296240"/>
                      <a:gd name="connsiteY1" fmla="*/ 380944 h 480634"/>
                      <a:gd name="connsiteX2" fmla="*/ 124463 w 296240"/>
                      <a:gd name="connsiteY2" fmla="*/ 380050 h 480634"/>
                      <a:gd name="connsiteX3" fmla="*/ 55985 w 296240"/>
                      <a:gd name="connsiteY3" fmla="*/ 145477 h 480634"/>
                      <a:gd name="connsiteX4" fmla="*/ 227216 w 296240"/>
                      <a:gd name="connsiteY4" fmla="*/ 148604 h 480634"/>
                      <a:gd name="connsiteX0" fmla="*/ 227216 w 296240"/>
                      <a:gd name="connsiteY0" fmla="*/ 148604 h 480634"/>
                      <a:gd name="connsiteX1" fmla="*/ 240762 w 296240"/>
                      <a:gd name="connsiteY1" fmla="*/ 380944 h 480634"/>
                      <a:gd name="connsiteX2" fmla="*/ 124463 w 296240"/>
                      <a:gd name="connsiteY2" fmla="*/ 380050 h 480634"/>
                      <a:gd name="connsiteX3" fmla="*/ 55985 w 296240"/>
                      <a:gd name="connsiteY3" fmla="*/ 145477 h 480634"/>
                      <a:gd name="connsiteX4" fmla="*/ 227216 w 296240"/>
                      <a:gd name="connsiteY4" fmla="*/ 148604 h 480634"/>
                      <a:gd name="connsiteX0" fmla="*/ 229462 w 298486"/>
                      <a:gd name="connsiteY0" fmla="*/ 148604 h 480634"/>
                      <a:gd name="connsiteX1" fmla="*/ 243008 w 298486"/>
                      <a:gd name="connsiteY1" fmla="*/ 380944 h 480634"/>
                      <a:gd name="connsiteX2" fmla="*/ 126709 w 298486"/>
                      <a:gd name="connsiteY2" fmla="*/ 380050 h 480634"/>
                      <a:gd name="connsiteX3" fmla="*/ 48555 w 298486"/>
                      <a:gd name="connsiteY3" fmla="*/ 150315 h 480634"/>
                      <a:gd name="connsiteX4" fmla="*/ 229462 w 298486"/>
                      <a:gd name="connsiteY4" fmla="*/ 148604 h 480634"/>
                      <a:gd name="connsiteX0" fmla="*/ 227216 w 296240"/>
                      <a:gd name="connsiteY0" fmla="*/ 148604 h 470958"/>
                      <a:gd name="connsiteX1" fmla="*/ 245600 w 296240"/>
                      <a:gd name="connsiteY1" fmla="*/ 371268 h 470958"/>
                      <a:gd name="connsiteX2" fmla="*/ 129301 w 296240"/>
                      <a:gd name="connsiteY2" fmla="*/ 370374 h 470958"/>
                      <a:gd name="connsiteX3" fmla="*/ 51147 w 296240"/>
                      <a:gd name="connsiteY3" fmla="*/ 140639 h 470958"/>
                      <a:gd name="connsiteX4" fmla="*/ 227216 w 296240"/>
                      <a:gd name="connsiteY4" fmla="*/ 148604 h 470958"/>
                      <a:gd name="connsiteX0" fmla="*/ 235032 w 304056"/>
                      <a:gd name="connsiteY0" fmla="*/ 199404 h 521758"/>
                      <a:gd name="connsiteX1" fmla="*/ 253416 w 304056"/>
                      <a:gd name="connsiteY1" fmla="*/ 422068 h 521758"/>
                      <a:gd name="connsiteX2" fmla="*/ 137117 w 304056"/>
                      <a:gd name="connsiteY2" fmla="*/ 421174 h 521758"/>
                      <a:gd name="connsiteX3" fmla="*/ 58963 w 304056"/>
                      <a:gd name="connsiteY3" fmla="*/ 191439 h 521758"/>
                      <a:gd name="connsiteX4" fmla="*/ 235032 w 304056"/>
                      <a:gd name="connsiteY4" fmla="*/ 199404 h 521758"/>
                      <a:gd name="connsiteX0" fmla="*/ 238940 w 307964"/>
                      <a:gd name="connsiteY0" fmla="*/ 234573 h 556927"/>
                      <a:gd name="connsiteX1" fmla="*/ 257324 w 307964"/>
                      <a:gd name="connsiteY1" fmla="*/ 457237 h 556927"/>
                      <a:gd name="connsiteX2" fmla="*/ 141025 w 307964"/>
                      <a:gd name="connsiteY2" fmla="*/ 456343 h 556927"/>
                      <a:gd name="connsiteX3" fmla="*/ 62871 w 307964"/>
                      <a:gd name="connsiteY3" fmla="*/ 226608 h 556927"/>
                      <a:gd name="connsiteX4" fmla="*/ 238940 w 307964"/>
                      <a:gd name="connsiteY4" fmla="*/ 234573 h 556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964" h="556927">
                        <a:moveTo>
                          <a:pt x="238940" y="234573"/>
                        </a:moveTo>
                        <a:cubicBezTo>
                          <a:pt x="307964" y="275733"/>
                          <a:pt x="287481" y="297543"/>
                          <a:pt x="257324" y="457237"/>
                        </a:cubicBezTo>
                        <a:cubicBezTo>
                          <a:pt x="206462" y="556927"/>
                          <a:pt x="167696" y="513890"/>
                          <a:pt x="141025" y="456343"/>
                        </a:cubicBezTo>
                        <a:cubicBezTo>
                          <a:pt x="118199" y="378152"/>
                          <a:pt x="92954" y="304799"/>
                          <a:pt x="62871" y="226608"/>
                        </a:cubicBezTo>
                        <a:cubicBezTo>
                          <a:pt x="14316" y="135726"/>
                          <a:pt x="0" y="0"/>
                          <a:pt x="238940" y="23457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330" name="Freeform 329"/>
                  <p:cNvSpPr/>
                  <p:nvPr/>
                </p:nvSpPr>
                <p:spPr>
                  <a:xfrm>
                    <a:off x="2960426" y="-469899"/>
                    <a:ext cx="602322" cy="241299"/>
                  </a:xfrm>
                  <a:custGeom>
                    <a:avLst/>
                    <a:gdLst>
                      <a:gd name="connsiteX0" fmla="*/ 591344 w 602456"/>
                      <a:gd name="connsiteY0" fmla="*/ 241300 h 248840"/>
                      <a:gd name="connsiteX1" fmla="*/ 565150 w 602456"/>
                      <a:gd name="connsiteY1" fmla="*/ 138906 h 248840"/>
                      <a:gd name="connsiteX2" fmla="*/ 486569 w 602456"/>
                      <a:gd name="connsiteY2" fmla="*/ 50800 h 248840"/>
                      <a:gd name="connsiteX3" fmla="*/ 186531 w 602456"/>
                      <a:gd name="connsiteY3" fmla="*/ 3175 h 248840"/>
                      <a:gd name="connsiteX4" fmla="*/ 24606 w 602456"/>
                      <a:gd name="connsiteY4" fmla="*/ 69850 h 248840"/>
                      <a:gd name="connsiteX5" fmla="*/ 38894 w 602456"/>
                      <a:gd name="connsiteY5" fmla="*/ 72231 h 248840"/>
                      <a:gd name="connsiteX6" fmla="*/ 86519 w 602456"/>
                      <a:gd name="connsiteY6" fmla="*/ 112713 h 248840"/>
                      <a:gd name="connsiteX7" fmla="*/ 100806 w 602456"/>
                      <a:gd name="connsiteY7" fmla="*/ 60325 h 248840"/>
                      <a:gd name="connsiteX8" fmla="*/ 219869 w 602456"/>
                      <a:gd name="connsiteY8" fmla="*/ 31750 h 248840"/>
                      <a:gd name="connsiteX9" fmla="*/ 498475 w 602456"/>
                      <a:gd name="connsiteY9" fmla="*/ 93663 h 248840"/>
                      <a:gd name="connsiteX10" fmla="*/ 591344 w 602456"/>
                      <a:gd name="connsiteY10" fmla="*/ 241300 h 248840"/>
                      <a:gd name="connsiteX0" fmla="*/ 591344 w 602456"/>
                      <a:gd name="connsiteY0" fmla="*/ 241300 h 248840"/>
                      <a:gd name="connsiteX1" fmla="*/ 565150 w 602456"/>
                      <a:gd name="connsiteY1" fmla="*/ 138906 h 248840"/>
                      <a:gd name="connsiteX2" fmla="*/ 486569 w 602456"/>
                      <a:gd name="connsiteY2" fmla="*/ 50800 h 248840"/>
                      <a:gd name="connsiteX3" fmla="*/ 186531 w 602456"/>
                      <a:gd name="connsiteY3" fmla="*/ 3175 h 248840"/>
                      <a:gd name="connsiteX4" fmla="*/ 24606 w 602456"/>
                      <a:gd name="connsiteY4" fmla="*/ 69850 h 248840"/>
                      <a:gd name="connsiteX5" fmla="*/ 38894 w 602456"/>
                      <a:gd name="connsiteY5" fmla="*/ 72231 h 248840"/>
                      <a:gd name="connsiteX6" fmla="*/ 86519 w 602456"/>
                      <a:gd name="connsiteY6" fmla="*/ 112713 h 248840"/>
                      <a:gd name="connsiteX7" fmla="*/ 100806 w 602456"/>
                      <a:gd name="connsiteY7" fmla="*/ 60325 h 248840"/>
                      <a:gd name="connsiteX8" fmla="*/ 219869 w 602456"/>
                      <a:gd name="connsiteY8" fmla="*/ 46038 h 248840"/>
                      <a:gd name="connsiteX9" fmla="*/ 498475 w 602456"/>
                      <a:gd name="connsiteY9" fmla="*/ 93663 h 248840"/>
                      <a:gd name="connsiteX10" fmla="*/ 591344 w 602456"/>
                      <a:gd name="connsiteY10" fmla="*/ 241300 h 248840"/>
                      <a:gd name="connsiteX0" fmla="*/ 591344 w 602853"/>
                      <a:gd name="connsiteY0" fmla="*/ 241300 h 246856"/>
                      <a:gd name="connsiteX1" fmla="*/ 565150 w 602853"/>
                      <a:gd name="connsiteY1" fmla="*/ 138906 h 246856"/>
                      <a:gd name="connsiteX2" fmla="*/ 486569 w 602853"/>
                      <a:gd name="connsiteY2" fmla="*/ 50800 h 246856"/>
                      <a:gd name="connsiteX3" fmla="*/ 186531 w 602853"/>
                      <a:gd name="connsiteY3" fmla="*/ 3175 h 246856"/>
                      <a:gd name="connsiteX4" fmla="*/ 24606 w 602853"/>
                      <a:gd name="connsiteY4" fmla="*/ 69850 h 246856"/>
                      <a:gd name="connsiteX5" fmla="*/ 38894 w 602853"/>
                      <a:gd name="connsiteY5" fmla="*/ 72231 h 246856"/>
                      <a:gd name="connsiteX6" fmla="*/ 86519 w 602853"/>
                      <a:gd name="connsiteY6" fmla="*/ 112713 h 246856"/>
                      <a:gd name="connsiteX7" fmla="*/ 100806 w 602853"/>
                      <a:gd name="connsiteY7" fmla="*/ 60325 h 246856"/>
                      <a:gd name="connsiteX8" fmla="*/ 219869 w 602853"/>
                      <a:gd name="connsiteY8" fmla="*/ 46038 h 246856"/>
                      <a:gd name="connsiteX9" fmla="*/ 496094 w 602853"/>
                      <a:gd name="connsiteY9" fmla="*/ 105570 h 246856"/>
                      <a:gd name="connsiteX10" fmla="*/ 591344 w 602853"/>
                      <a:gd name="connsiteY10" fmla="*/ 241300 h 246856"/>
                      <a:gd name="connsiteX0" fmla="*/ 591344 w 602853"/>
                      <a:gd name="connsiteY0" fmla="*/ 241300 h 246856"/>
                      <a:gd name="connsiteX1" fmla="*/ 565150 w 602853"/>
                      <a:gd name="connsiteY1" fmla="*/ 138906 h 246856"/>
                      <a:gd name="connsiteX2" fmla="*/ 486569 w 602853"/>
                      <a:gd name="connsiteY2" fmla="*/ 50800 h 246856"/>
                      <a:gd name="connsiteX3" fmla="*/ 186531 w 602853"/>
                      <a:gd name="connsiteY3" fmla="*/ 3175 h 246856"/>
                      <a:gd name="connsiteX4" fmla="*/ 24606 w 602853"/>
                      <a:gd name="connsiteY4" fmla="*/ 69850 h 246856"/>
                      <a:gd name="connsiteX5" fmla="*/ 38894 w 602853"/>
                      <a:gd name="connsiteY5" fmla="*/ 72231 h 246856"/>
                      <a:gd name="connsiteX6" fmla="*/ 86519 w 602853"/>
                      <a:gd name="connsiteY6" fmla="*/ 112713 h 246856"/>
                      <a:gd name="connsiteX7" fmla="*/ 100806 w 602853"/>
                      <a:gd name="connsiteY7" fmla="*/ 60325 h 246856"/>
                      <a:gd name="connsiteX8" fmla="*/ 219869 w 602853"/>
                      <a:gd name="connsiteY8" fmla="*/ 36513 h 246856"/>
                      <a:gd name="connsiteX9" fmla="*/ 496094 w 602853"/>
                      <a:gd name="connsiteY9" fmla="*/ 105570 h 246856"/>
                      <a:gd name="connsiteX10" fmla="*/ 591344 w 602853"/>
                      <a:gd name="connsiteY10" fmla="*/ 241300 h 246856"/>
                      <a:gd name="connsiteX0" fmla="*/ 591344 w 602853"/>
                      <a:gd name="connsiteY0" fmla="*/ 241300 h 246856"/>
                      <a:gd name="connsiteX1" fmla="*/ 565150 w 602853"/>
                      <a:gd name="connsiteY1" fmla="*/ 138906 h 246856"/>
                      <a:gd name="connsiteX2" fmla="*/ 486569 w 602853"/>
                      <a:gd name="connsiteY2" fmla="*/ 50800 h 246856"/>
                      <a:gd name="connsiteX3" fmla="*/ 186531 w 602853"/>
                      <a:gd name="connsiteY3" fmla="*/ 3175 h 246856"/>
                      <a:gd name="connsiteX4" fmla="*/ 24606 w 602853"/>
                      <a:gd name="connsiteY4" fmla="*/ 69850 h 246856"/>
                      <a:gd name="connsiteX5" fmla="*/ 38894 w 602853"/>
                      <a:gd name="connsiteY5" fmla="*/ 72231 h 246856"/>
                      <a:gd name="connsiteX6" fmla="*/ 86519 w 602853"/>
                      <a:gd name="connsiteY6" fmla="*/ 112713 h 246856"/>
                      <a:gd name="connsiteX7" fmla="*/ 100806 w 602853"/>
                      <a:gd name="connsiteY7" fmla="*/ 60325 h 246856"/>
                      <a:gd name="connsiteX8" fmla="*/ 219869 w 602853"/>
                      <a:gd name="connsiteY8" fmla="*/ 36513 h 246856"/>
                      <a:gd name="connsiteX9" fmla="*/ 496094 w 602853"/>
                      <a:gd name="connsiteY9" fmla="*/ 105570 h 246856"/>
                      <a:gd name="connsiteX10" fmla="*/ 591344 w 602853"/>
                      <a:gd name="connsiteY10" fmla="*/ 241300 h 246856"/>
                      <a:gd name="connsiteX0" fmla="*/ 591344 w 603647"/>
                      <a:gd name="connsiteY0" fmla="*/ 241300 h 248443"/>
                      <a:gd name="connsiteX1" fmla="*/ 565150 w 603647"/>
                      <a:gd name="connsiteY1" fmla="*/ 138906 h 248443"/>
                      <a:gd name="connsiteX2" fmla="*/ 486569 w 603647"/>
                      <a:gd name="connsiteY2" fmla="*/ 50800 h 248443"/>
                      <a:gd name="connsiteX3" fmla="*/ 186531 w 603647"/>
                      <a:gd name="connsiteY3" fmla="*/ 3175 h 248443"/>
                      <a:gd name="connsiteX4" fmla="*/ 24606 w 603647"/>
                      <a:gd name="connsiteY4" fmla="*/ 69850 h 248443"/>
                      <a:gd name="connsiteX5" fmla="*/ 38894 w 603647"/>
                      <a:gd name="connsiteY5" fmla="*/ 72231 h 248443"/>
                      <a:gd name="connsiteX6" fmla="*/ 86519 w 603647"/>
                      <a:gd name="connsiteY6" fmla="*/ 112713 h 248443"/>
                      <a:gd name="connsiteX7" fmla="*/ 100806 w 603647"/>
                      <a:gd name="connsiteY7" fmla="*/ 60325 h 248443"/>
                      <a:gd name="connsiteX8" fmla="*/ 219869 w 603647"/>
                      <a:gd name="connsiteY8" fmla="*/ 36513 h 248443"/>
                      <a:gd name="connsiteX9" fmla="*/ 491331 w 603647"/>
                      <a:gd name="connsiteY9" fmla="*/ 96045 h 248443"/>
                      <a:gd name="connsiteX10" fmla="*/ 591344 w 603647"/>
                      <a:gd name="connsiteY10" fmla="*/ 241300 h 248443"/>
                      <a:gd name="connsiteX0" fmla="*/ 591344 w 603647"/>
                      <a:gd name="connsiteY0" fmla="*/ 241300 h 248443"/>
                      <a:gd name="connsiteX1" fmla="*/ 565150 w 603647"/>
                      <a:gd name="connsiteY1" fmla="*/ 138906 h 248443"/>
                      <a:gd name="connsiteX2" fmla="*/ 486569 w 603647"/>
                      <a:gd name="connsiteY2" fmla="*/ 50800 h 248443"/>
                      <a:gd name="connsiteX3" fmla="*/ 186531 w 603647"/>
                      <a:gd name="connsiteY3" fmla="*/ 3175 h 248443"/>
                      <a:gd name="connsiteX4" fmla="*/ 24606 w 603647"/>
                      <a:gd name="connsiteY4" fmla="*/ 69850 h 248443"/>
                      <a:gd name="connsiteX5" fmla="*/ 38894 w 603647"/>
                      <a:gd name="connsiteY5" fmla="*/ 72231 h 248443"/>
                      <a:gd name="connsiteX6" fmla="*/ 107950 w 603647"/>
                      <a:gd name="connsiteY6" fmla="*/ 127001 h 248443"/>
                      <a:gd name="connsiteX7" fmla="*/ 100806 w 603647"/>
                      <a:gd name="connsiteY7" fmla="*/ 60325 h 248443"/>
                      <a:gd name="connsiteX8" fmla="*/ 219869 w 603647"/>
                      <a:gd name="connsiteY8" fmla="*/ 36513 h 248443"/>
                      <a:gd name="connsiteX9" fmla="*/ 491331 w 603647"/>
                      <a:gd name="connsiteY9" fmla="*/ 96045 h 248443"/>
                      <a:gd name="connsiteX10" fmla="*/ 591344 w 603647"/>
                      <a:gd name="connsiteY10" fmla="*/ 241300 h 248443"/>
                      <a:gd name="connsiteX0" fmla="*/ 591344 w 603647"/>
                      <a:gd name="connsiteY0" fmla="*/ 241300 h 248443"/>
                      <a:gd name="connsiteX1" fmla="*/ 565150 w 603647"/>
                      <a:gd name="connsiteY1" fmla="*/ 138906 h 248443"/>
                      <a:gd name="connsiteX2" fmla="*/ 486569 w 603647"/>
                      <a:gd name="connsiteY2" fmla="*/ 50800 h 248443"/>
                      <a:gd name="connsiteX3" fmla="*/ 186531 w 603647"/>
                      <a:gd name="connsiteY3" fmla="*/ 3175 h 248443"/>
                      <a:gd name="connsiteX4" fmla="*/ 24606 w 603647"/>
                      <a:gd name="connsiteY4" fmla="*/ 69850 h 248443"/>
                      <a:gd name="connsiteX5" fmla="*/ 38894 w 603647"/>
                      <a:gd name="connsiteY5" fmla="*/ 72231 h 248443"/>
                      <a:gd name="connsiteX6" fmla="*/ 107950 w 603647"/>
                      <a:gd name="connsiteY6" fmla="*/ 127001 h 248443"/>
                      <a:gd name="connsiteX7" fmla="*/ 115094 w 603647"/>
                      <a:gd name="connsiteY7" fmla="*/ 65088 h 248443"/>
                      <a:gd name="connsiteX8" fmla="*/ 219869 w 603647"/>
                      <a:gd name="connsiteY8" fmla="*/ 36513 h 248443"/>
                      <a:gd name="connsiteX9" fmla="*/ 491331 w 603647"/>
                      <a:gd name="connsiteY9" fmla="*/ 96045 h 248443"/>
                      <a:gd name="connsiteX10" fmla="*/ 591344 w 603647"/>
                      <a:gd name="connsiteY10" fmla="*/ 241300 h 248443"/>
                      <a:gd name="connsiteX0" fmla="*/ 591344 w 603647"/>
                      <a:gd name="connsiteY0" fmla="*/ 241300 h 248443"/>
                      <a:gd name="connsiteX1" fmla="*/ 565150 w 603647"/>
                      <a:gd name="connsiteY1" fmla="*/ 138906 h 248443"/>
                      <a:gd name="connsiteX2" fmla="*/ 486569 w 603647"/>
                      <a:gd name="connsiteY2" fmla="*/ 50800 h 248443"/>
                      <a:gd name="connsiteX3" fmla="*/ 186531 w 603647"/>
                      <a:gd name="connsiteY3" fmla="*/ 3175 h 248443"/>
                      <a:gd name="connsiteX4" fmla="*/ 24606 w 603647"/>
                      <a:gd name="connsiteY4" fmla="*/ 69850 h 248443"/>
                      <a:gd name="connsiteX5" fmla="*/ 38894 w 603647"/>
                      <a:gd name="connsiteY5" fmla="*/ 72231 h 248443"/>
                      <a:gd name="connsiteX6" fmla="*/ 107950 w 603647"/>
                      <a:gd name="connsiteY6" fmla="*/ 127001 h 248443"/>
                      <a:gd name="connsiteX7" fmla="*/ 115094 w 603647"/>
                      <a:gd name="connsiteY7" fmla="*/ 65088 h 248443"/>
                      <a:gd name="connsiteX8" fmla="*/ 219869 w 603647"/>
                      <a:gd name="connsiteY8" fmla="*/ 36513 h 248443"/>
                      <a:gd name="connsiteX9" fmla="*/ 491331 w 603647"/>
                      <a:gd name="connsiteY9" fmla="*/ 96045 h 248443"/>
                      <a:gd name="connsiteX10" fmla="*/ 591344 w 603647"/>
                      <a:gd name="connsiteY10" fmla="*/ 241300 h 248443"/>
                      <a:gd name="connsiteX0" fmla="*/ 591344 w 603647"/>
                      <a:gd name="connsiteY0" fmla="*/ 241300 h 248443"/>
                      <a:gd name="connsiteX1" fmla="*/ 565150 w 603647"/>
                      <a:gd name="connsiteY1" fmla="*/ 138906 h 248443"/>
                      <a:gd name="connsiteX2" fmla="*/ 486569 w 603647"/>
                      <a:gd name="connsiteY2" fmla="*/ 50800 h 248443"/>
                      <a:gd name="connsiteX3" fmla="*/ 186531 w 603647"/>
                      <a:gd name="connsiteY3" fmla="*/ 3175 h 248443"/>
                      <a:gd name="connsiteX4" fmla="*/ 24606 w 603647"/>
                      <a:gd name="connsiteY4" fmla="*/ 69850 h 248443"/>
                      <a:gd name="connsiteX5" fmla="*/ 38894 w 603647"/>
                      <a:gd name="connsiteY5" fmla="*/ 72231 h 248443"/>
                      <a:gd name="connsiteX6" fmla="*/ 107950 w 603647"/>
                      <a:gd name="connsiteY6" fmla="*/ 127001 h 248443"/>
                      <a:gd name="connsiteX7" fmla="*/ 115094 w 603647"/>
                      <a:gd name="connsiteY7" fmla="*/ 65088 h 248443"/>
                      <a:gd name="connsiteX8" fmla="*/ 219869 w 603647"/>
                      <a:gd name="connsiteY8" fmla="*/ 36513 h 248443"/>
                      <a:gd name="connsiteX9" fmla="*/ 491331 w 603647"/>
                      <a:gd name="connsiteY9" fmla="*/ 96045 h 248443"/>
                      <a:gd name="connsiteX10" fmla="*/ 591344 w 603647"/>
                      <a:gd name="connsiteY10" fmla="*/ 241300 h 248443"/>
                      <a:gd name="connsiteX0" fmla="*/ 591344 w 603647"/>
                      <a:gd name="connsiteY0" fmla="*/ 241300 h 248443"/>
                      <a:gd name="connsiteX1" fmla="*/ 565150 w 603647"/>
                      <a:gd name="connsiteY1" fmla="*/ 138906 h 248443"/>
                      <a:gd name="connsiteX2" fmla="*/ 486569 w 603647"/>
                      <a:gd name="connsiteY2" fmla="*/ 50800 h 248443"/>
                      <a:gd name="connsiteX3" fmla="*/ 186531 w 603647"/>
                      <a:gd name="connsiteY3" fmla="*/ 3175 h 248443"/>
                      <a:gd name="connsiteX4" fmla="*/ 24606 w 603647"/>
                      <a:gd name="connsiteY4" fmla="*/ 69850 h 248443"/>
                      <a:gd name="connsiteX5" fmla="*/ 38894 w 603647"/>
                      <a:gd name="connsiteY5" fmla="*/ 72231 h 248443"/>
                      <a:gd name="connsiteX6" fmla="*/ 107950 w 603647"/>
                      <a:gd name="connsiteY6" fmla="*/ 127001 h 248443"/>
                      <a:gd name="connsiteX7" fmla="*/ 115094 w 603647"/>
                      <a:gd name="connsiteY7" fmla="*/ 65088 h 248443"/>
                      <a:gd name="connsiteX8" fmla="*/ 219869 w 603647"/>
                      <a:gd name="connsiteY8" fmla="*/ 36513 h 248443"/>
                      <a:gd name="connsiteX9" fmla="*/ 491331 w 603647"/>
                      <a:gd name="connsiteY9" fmla="*/ 96045 h 248443"/>
                      <a:gd name="connsiteX10" fmla="*/ 591344 w 603647"/>
                      <a:gd name="connsiteY10" fmla="*/ 241300 h 248443"/>
                      <a:gd name="connsiteX0" fmla="*/ 591344 w 603647"/>
                      <a:gd name="connsiteY0" fmla="*/ 241300 h 248443"/>
                      <a:gd name="connsiteX1" fmla="*/ 565150 w 603647"/>
                      <a:gd name="connsiteY1" fmla="*/ 138906 h 248443"/>
                      <a:gd name="connsiteX2" fmla="*/ 486569 w 603647"/>
                      <a:gd name="connsiteY2" fmla="*/ 50800 h 248443"/>
                      <a:gd name="connsiteX3" fmla="*/ 186531 w 603647"/>
                      <a:gd name="connsiteY3" fmla="*/ 3175 h 248443"/>
                      <a:gd name="connsiteX4" fmla="*/ 24606 w 603647"/>
                      <a:gd name="connsiteY4" fmla="*/ 69850 h 248443"/>
                      <a:gd name="connsiteX5" fmla="*/ 38894 w 603647"/>
                      <a:gd name="connsiteY5" fmla="*/ 72231 h 248443"/>
                      <a:gd name="connsiteX6" fmla="*/ 107950 w 603647"/>
                      <a:gd name="connsiteY6" fmla="*/ 127001 h 248443"/>
                      <a:gd name="connsiteX7" fmla="*/ 115094 w 603647"/>
                      <a:gd name="connsiteY7" fmla="*/ 65088 h 248443"/>
                      <a:gd name="connsiteX8" fmla="*/ 219869 w 603647"/>
                      <a:gd name="connsiteY8" fmla="*/ 36513 h 248443"/>
                      <a:gd name="connsiteX9" fmla="*/ 491331 w 603647"/>
                      <a:gd name="connsiteY9" fmla="*/ 96045 h 248443"/>
                      <a:gd name="connsiteX10" fmla="*/ 591344 w 603647"/>
                      <a:gd name="connsiteY10" fmla="*/ 241300 h 248443"/>
                      <a:gd name="connsiteX0" fmla="*/ 591344 w 603647"/>
                      <a:gd name="connsiteY0" fmla="*/ 234156 h 241299"/>
                      <a:gd name="connsiteX1" fmla="*/ 565150 w 603647"/>
                      <a:gd name="connsiteY1" fmla="*/ 131762 h 241299"/>
                      <a:gd name="connsiteX2" fmla="*/ 486569 w 603647"/>
                      <a:gd name="connsiteY2" fmla="*/ 43656 h 241299"/>
                      <a:gd name="connsiteX3" fmla="*/ 186531 w 603647"/>
                      <a:gd name="connsiteY3" fmla="*/ 3175 h 241299"/>
                      <a:gd name="connsiteX4" fmla="*/ 24606 w 603647"/>
                      <a:gd name="connsiteY4" fmla="*/ 62706 h 241299"/>
                      <a:gd name="connsiteX5" fmla="*/ 38894 w 603647"/>
                      <a:gd name="connsiteY5" fmla="*/ 65087 h 241299"/>
                      <a:gd name="connsiteX6" fmla="*/ 107950 w 603647"/>
                      <a:gd name="connsiteY6" fmla="*/ 119857 h 241299"/>
                      <a:gd name="connsiteX7" fmla="*/ 115094 w 603647"/>
                      <a:gd name="connsiteY7" fmla="*/ 57944 h 241299"/>
                      <a:gd name="connsiteX8" fmla="*/ 219869 w 603647"/>
                      <a:gd name="connsiteY8" fmla="*/ 29369 h 241299"/>
                      <a:gd name="connsiteX9" fmla="*/ 491331 w 603647"/>
                      <a:gd name="connsiteY9" fmla="*/ 88901 h 241299"/>
                      <a:gd name="connsiteX10" fmla="*/ 591344 w 603647"/>
                      <a:gd name="connsiteY10" fmla="*/ 234156 h 241299"/>
                      <a:gd name="connsiteX0" fmla="*/ 591344 w 603647"/>
                      <a:gd name="connsiteY0" fmla="*/ 234156 h 241299"/>
                      <a:gd name="connsiteX1" fmla="*/ 565150 w 603647"/>
                      <a:gd name="connsiteY1" fmla="*/ 131762 h 241299"/>
                      <a:gd name="connsiteX2" fmla="*/ 486569 w 603647"/>
                      <a:gd name="connsiteY2" fmla="*/ 43656 h 241299"/>
                      <a:gd name="connsiteX3" fmla="*/ 186531 w 603647"/>
                      <a:gd name="connsiteY3" fmla="*/ 3175 h 241299"/>
                      <a:gd name="connsiteX4" fmla="*/ 24606 w 603647"/>
                      <a:gd name="connsiteY4" fmla="*/ 62706 h 241299"/>
                      <a:gd name="connsiteX5" fmla="*/ 38894 w 603647"/>
                      <a:gd name="connsiteY5" fmla="*/ 65087 h 241299"/>
                      <a:gd name="connsiteX6" fmla="*/ 107950 w 603647"/>
                      <a:gd name="connsiteY6" fmla="*/ 119857 h 241299"/>
                      <a:gd name="connsiteX7" fmla="*/ 115094 w 603647"/>
                      <a:gd name="connsiteY7" fmla="*/ 57944 h 241299"/>
                      <a:gd name="connsiteX8" fmla="*/ 219869 w 603647"/>
                      <a:gd name="connsiteY8" fmla="*/ 29369 h 241299"/>
                      <a:gd name="connsiteX9" fmla="*/ 491331 w 603647"/>
                      <a:gd name="connsiteY9" fmla="*/ 88901 h 241299"/>
                      <a:gd name="connsiteX10" fmla="*/ 591344 w 603647"/>
                      <a:gd name="connsiteY10" fmla="*/ 234156 h 241299"/>
                      <a:gd name="connsiteX0" fmla="*/ 591344 w 603647"/>
                      <a:gd name="connsiteY0" fmla="*/ 234156 h 241299"/>
                      <a:gd name="connsiteX1" fmla="*/ 565150 w 603647"/>
                      <a:gd name="connsiteY1" fmla="*/ 131762 h 241299"/>
                      <a:gd name="connsiteX2" fmla="*/ 486569 w 603647"/>
                      <a:gd name="connsiteY2" fmla="*/ 43656 h 241299"/>
                      <a:gd name="connsiteX3" fmla="*/ 186531 w 603647"/>
                      <a:gd name="connsiteY3" fmla="*/ 3175 h 241299"/>
                      <a:gd name="connsiteX4" fmla="*/ 24606 w 603647"/>
                      <a:gd name="connsiteY4" fmla="*/ 62706 h 241299"/>
                      <a:gd name="connsiteX5" fmla="*/ 38894 w 603647"/>
                      <a:gd name="connsiteY5" fmla="*/ 65087 h 241299"/>
                      <a:gd name="connsiteX6" fmla="*/ 106314 w 603647"/>
                      <a:gd name="connsiteY6" fmla="*/ 131884 h 241299"/>
                      <a:gd name="connsiteX7" fmla="*/ 115094 w 603647"/>
                      <a:gd name="connsiteY7" fmla="*/ 57944 h 241299"/>
                      <a:gd name="connsiteX8" fmla="*/ 219869 w 603647"/>
                      <a:gd name="connsiteY8" fmla="*/ 29369 h 241299"/>
                      <a:gd name="connsiteX9" fmla="*/ 491331 w 603647"/>
                      <a:gd name="connsiteY9" fmla="*/ 88901 h 241299"/>
                      <a:gd name="connsiteX10" fmla="*/ 591344 w 603647"/>
                      <a:gd name="connsiteY10" fmla="*/ 234156 h 241299"/>
                      <a:gd name="connsiteX0" fmla="*/ 591344 w 603647"/>
                      <a:gd name="connsiteY0" fmla="*/ 234156 h 241299"/>
                      <a:gd name="connsiteX1" fmla="*/ 565150 w 603647"/>
                      <a:gd name="connsiteY1" fmla="*/ 131762 h 241299"/>
                      <a:gd name="connsiteX2" fmla="*/ 486569 w 603647"/>
                      <a:gd name="connsiteY2" fmla="*/ 43656 h 241299"/>
                      <a:gd name="connsiteX3" fmla="*/ 186531 w 603647"/>
                      <a:gd name="connsiteY3" fmla="*/ 3175 h 241299"/>
                      <a:gd name="connsiteX4" fmla="*/ 24606 w 603647"/>
                      <a:gd name="connsiteY4" fmla="*/ 62706 h 241299"/>
                      <a:gd name="connsiteX5" fmla="*/ 38894 w 603647"/>
                      <a:gd name="connsiteY5" fmla="*/ 65087 h 241299"/>
                      <a:gd name="connsiteX6" fmla="*/ 106314 w 603647"/>
                      <a:gd name="connsiteY6" fmla="*/ 131884 h 241299"/>
                      <a:gd name="connsiteX7" fmla="*/ 124781 w 603647"/>
                      <a:gd name="connsiteY7" fmla="*/ 51300 h 241299"/>
                      <a:gd name="connsiteX8" fmla="*/ 219869 w 603647"/>
                      <a:gd name="connsiteY8" fmla="*/ 29369 h 241299"/>
                      <a:gd name="connsiteX9" fmla="*/ 491331 w 603647"/>
                      <a:gd name="connsiteY9" fmla="*/ 88901 h 241299"/>
                      <a:gd name="connsiteX10" fmla="*/ 591344 w 603647"/>
                      <a:gd name="connsiteY10" fmla="*/ 234156 h 241299"/>
                      <a:gd name="connsiteX0" fmla="*/ 591344 w 603647"/>
                      <a:gd name="connsiteY0" fmla="*/ 234156 h 241299"/>
                      <a:gd name="connsiteX1" fmla="*/ 565150 w 603647"/>
                      <a:gd name="connsiteY1" fmla="*/ 131762 h 241299"/>
                      <a:gd name="connsiteX2" fmla="*/ 486569 w 603647"/>
                      <a:gd name="connsiteY2" fmla="*/ 43656 h 241299"/>
                      <a:gd name="connsiteX3" fmla="*/ 186531 w 603647"/>
                      <a:gd name="connsiteY3" fmla="*/ 3175 h 241299"/>
                      <a:gd name="connsiteX4" fmla="*/ 24606 w 603647"/>
                      <a:gd name="connsiteY4" fmla="*/ 62706 h 241299"/>
                      <a:gd name="connsiteX5" fmla="*/ 38894 w 603647"/>
                      <a:gd name="connsiteY5" fmla="*/ 65087 h 241299"/>
                      <a:gd name="connsiteX6" fmla="*/ 106314 w 603647"/>
                      <a:gd name="connsiteY6" fmla="*/ 131884 h 241299"/>
                      <a:gd name="connsiteX7" fmla="*/ 124781 w 603647"/>
                      <a:gd name="connsiteY7" fmla="*/ 51300 h 241299"/>
                      <a:gd name="connsiteX8" fmla="*/ 219869 w 603647"/>
                      <a:gd name="connsiteY8" fmla="*/ 29369 h 241299"/>
                      <a:gd name="connsiteX9" fmla="*/ 491331 w 603647"/>
                      <a:gd name="connsiteY9" fmla="*/ 88901 h 241299"/>
                      <a:gd name="connsiteX10" fmla="*/ 591344 w 603647"/>
                      <a:gd name="connsiteY10" fmla="*/ 234156 h 241299"/>
                      <a:gd name="connsiteX0" fmla="*/ 590019 w 602322"/>
                      <a:gd name="connsiteY0" fmla="*/ 234156 h 241299"/>
                      <a:gd name="connsiteX1" fmla="*/ 563825 w 602322"/>
                      <a:gd name="connsiteY1" fmla="*/ 131762 h 241299"/>
                      <a:gd name="connsiteX2" fmla="*/ 485244 w 602322"/>
                      <a:gd name="connsiteY2" fmla="*/ 43656 h 241299"/>
                      <a:gd name="connsiteX3" fmla="*/ 185206 w 602322"/>
                      <a:gd name="connsiteY3" fmla="*/ 3175 h 241299"/>
                      <a:gd name="connsiteX4" fmla="*/ 23281 w 602322"/>
                      <a:gd name="connsiteY4" fmla="*/ 62706 h 241299"/>
                      <a:gd name="connsiteX5" fmla="*/ 45522 w 602322"/>
                      <a:gd name="connsiteY5" fmla="*/ 77999 h 241299"/>
                      <a:gd name="connsiteX6" fmla="*/ 104989 w 602322"/>
                      <a:gd name="connsiteY6" fmla="*/ 131884 h 241299"/>
                      <a:gd name="connsiteX7" fmla="*/ 123456 w 602322"/>
                      <a:gd name="connsiteY7" fmla="*/ 51300 h 241299"/>
                      <a:gd name="connsiteX8" fmla="*/ 218544 w 602322"/>
                      <a:gd name="connsiteY8" fmla="*/ 29369 h 241299"/>
                      <a:gd name="connsiteX9" fmla="*/ 490006 w 602322"/>
                      <a:gd name="connsiteY9" fmla="*/ 88901 h 241299"/>
                      <a:gd name="connsiteX10" fmla="*/ 590019 w 602322"/>
                      <a:gd name="connsiteY10" fmla="*/ 234156 h 241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2322" h="241299">
                        <a:moveTo>
                          <a:pt x="590019" y="234156"/>
                        </a:moveTo>
                        <a:cubicBezTo>
                          <a:pt x="602322" y="241299"/>
                          <a:pt x="581287" y="163512"/>
                          <a:pt x="563825" y="131762"/>
                        </a:cubicBezTo>
                        <a:cubicBezTo>
                          <a:pt x="546363" y="100012"/>
                          <a:pt x="548347" y="65087"/>
                          <a:pt x="485244" y="43656"/>
                        </a:cubicBezTo>
                        <a:cubicBezTo>
                          <a:pt x="422141" y="22225"/>
                          <a:pt x="262200" y="0"/>
                          <a:pt x="185206" y="3175"/>
                        </a:cubicBezTo>
                        <a:cubicBezTo>
                          <a:pt x="98687" y="13494"/>
                          <a:pt x="46562" y="50235"/>
                          <a:pt x="23281" y="62706"/>
                        </a:cubicBezTo>
                        <a:cubicBezTo>
                          <a:pt x="0" y="75177"/>
                          <a:pt x="31904" y="66469"/>
                          <a:pt x="45522" y="77999"/>
                        </a:cubicBezTo>
                        <a:cubicBezTo>
                          <a:pt x="59140" y="89529"/>
                          <a:pt x="90675" y="134182"/>
                          <a:pt x="104989" y="131884"/>
                        </a:cubicBezTo>
                        <a:cubicBezTo>
                          <a:pt x="98792" y="117254"/>
                          <a:pt x="92897" y="83050"/>
                          <a:pt x="123456" y="51300"/>
                        </a:cubicBezTo>
                        <a:cubicBezTo>
                          <a:pt x="142109" y="36219"/>
                          <a:pt x="190764" y="26590"/>
                          <a:pt x="218544" y="29369"/>
                        </a:cubicBezTo>
                        <a:cubicBezTo>
                          <a:pt x="301094" y="32148"/>
                          <a:pt x="428094" y="54770"/>
                          <a:pt x="490006" y="88901"/>
                        </a:cubicBezTo>
                        <a:cubicBezTo>
                          <a:pt x="551918" y="123032"/>
                          <a:pt x="577716" y="227013"/>
                          <a:pt x="590019" y="23415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331" name="Oval 330"/>
                  <p:cNvSpPr/>
                  <p:nvPr/>
                </p:nvSpPr>
                <p:spPr>
                  <a:xfrm>
                    <a:off x="3267075" y="-430957"/>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sp>
              <p:nvSpPr>
                <p:cNvPr id="310" name="Freeform 309"/>
                <p:cNvSpPr/>
                <p:nvPr/>
              </p:nvSpPr>
              <p:spPr>
                <a:xfrm>
                  <a:off x="4252332" y="-139964"/>
                  <a:ext cx="502425" cy="112705"/>
                </a:xfrm>
                <a:custGeom>
                  <a:avLst/>
                  <a:gdLst>
                    <a:gd name="connsiteX0" fmla="*/ 0 w 502424"/>
                    <a:gd name="connsiteY0" fmla="*/ 22922 h 114609"/>
                    <a:gd name="connsiteX1" fmla="*/ 70624 w 502424"/>
                    <a:gd name="connsiteY1" fmla="*/ 4336 h 114609"/>
                    <a:gd name="connsiteX2" fmla="*/ 193288 w 502424"/>
                    <a:gd name="connsiteY2" fmla="*/ 48941 h 114609"/>
                    <a:gd name="connsiteX3" fmla="*/ 397727 w 502424"/>
                    <a:gd name="connsiteY3" fmla="*/ 78678 h 114609"/>
                    <a:gd name="connsiteX4" fmla="*/ 498088 w 502424"/>
                    <a:gd name="connsiteY4" fmla="*/ 74961 h 114609"/>
                    <a:gd name="connsiteX5" fmla="*/ 423746 w 502424"/>
                    <a:gd name="connsiteY5" fmla="*/ 104697 h 114609"/>
                    <a:gd name="connsiteX6" fmla="*/ 315951 w 502424"/>
                    <a:gd name="connsiteY6" fmla="*/ 108414 h 114609"/>
                    <a:gd name="connsiteX7" fmla="*/ 130097 w 502424"/>
                    <a:gd name="connsiteY7" fmla="*/ 67527 h 114609"/>
                    <a:gd name="connsiteX8" fmla="*/ 70624 w 502424"/>
                    <a:gd name="connsiteY8" fmla="*/ 26639 h 114609"/>
                    <a:gd name="connsiteX9" fmla="*/ 0 w 502424"/>
                    <a:gd name="connsiteY9" fmla="*/ 22922 h 114609"/>
                    <a:gd name="connsiteX0" fmla="*/ 0 w 502424"/>
                    <a:gd name="connsiteY0" fmla="*/ 21018 h 112705"/>
                    <a:gd name="connsiteX1" fmla="*/ 70624 w 502424"/>
                    <a:gd name="connsiteY1" fmla="*/ 2432 h 112705"/>
                    <a:gd name="connsiteX2" fmla="*/ 193288 w 502424"/>
                    <a:gd name="connsiteY2" fmla="*/ 35607 h 112705"/>
                    <a:gd name="connsiteX3" fmla="*/ 397727 w 502424"/>
                    <a:gd name="connsiteY3" fmla="*/ 76774 h 112705"/>
                    <a:gd name="connsiteX4" fmla="*/ 498088 w 502424"/>
                    <a:gd name="connsiteY4" fmla="*/ 73057 h 112705"/>
                    <a:gd name="connsiteX5" fmla="*/ 423746 w 502424"/>
                    <a:gd name="connsiteY5" fmla="*/ 102793 h 112705"/>
                    <a:gd name="connsiteX6" fmla="*/ 315951 w 502424"/>
                    <a:gd name="connsiteY6" fmla="*/ 106510 h 112705"/>
                    <a:gd name="connsiteX7" fmla="*/ 130097 w 502424"/>
                    <a:gd name="connsiteY7" fmla="*/ 65623 h 112705"/>
                    <a:gd name="connsiteX8" fmla="*/ 70624 w 502424"/>
                    <a:gd name="connsiteY8" fmla="*/ 24735 h 112705"/>
                    <a:gd name="connsiteX9" fmla="*/ 0 w 502424"/>
                    <a:gd name="connsiteY9" fmla="*/ 21018 h 112705"/>
                    <a:gd name="connsiteX0" fmla="*/ 0 w 502425"/>
                    <a:gd name="connsiteY0" fmla="*/ 21018 h 112705"/>
                    <a:gd name="connsiteX1" fmla="*/ 70624 w 502425"/>
                    <a:gd name="connsiteY1" fmla="*/ 2432 h 112705"/>
                    <a:gd name="connsiteX2" fmla="*/ 193288 w 502425"/>
                    <a:gd name="connsiteY2" fmla="*/ 35607 h 112705"/>
                    <a:gd name="connsiteX3" fmla="*/ 397727 w 502425"/>
                    <a:gd name="connsiteY3" fmla="*/ 69154 h 112705"/>
                    <a:gd name="connsiteX4" fmla="*/ 498088 w 502425"/>
                    <a:gd name="connsiteY4" fmla="*/ 73057 h 112705"/>
                    <a:gd name="connsiteX5" fmla="*/ 423746 w 502425"/>
                    <a:gd name="connsiteY5" fmla="*/ 102793 h 112705"/>
                    <a:gd name="connsiteX6" fmla="*/ 315951 w 502425"/>
                    <a:gd name="connsiteY6" fmla="*/ 106510 h 112705"/>
                    <a:gd name="connsiteX7" fmla="*/ 130097 w 502425"/>
                    <a:gd name="connsiteY7" fmla="*/ 65623 h 112705"/>
                    <a:gd name="connsiteX8" fmla="*/ 70624 w 502425"/>
                    <a:gd name="connsiteY8" fmla="*/ 24735 h 112705"/>
                    <a:gd name="connsiteX9" fmla="*/ 0 w 502425"/>
                    <a:gd name="connsiteY9" fmla="*/ 21018 h 112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2425" h="112705">
                      <a:moveTo>
                        <a:pt x="0" y="21018"/>
                      </a:moveTo>
                      <a:cubicBezTo>
                        <a:pt x="0" y="17301"/>
                        <a:pt x="38409" y="0"/>
                        <a:pt x="70624" y="2432"/>
                      </a:cubicBezTo>
                      <a:cubicBezTo>
                        <a:pt x="102839" y="4864"/>
                        <a:pt x="138771" y="24487"/>
                        <a:pt x="193288" y="35607"/>
                      </a:cubicBezTo>
                      <a:cubicBezTo>
                        <a:pt x="247805" y="46727"/>
                        <a:pt x="346927" y="62912"/>
                        <a:pt x="397727" y="69154"/>
                      </a:cubicBezTo>
                      <a:cubicBezTo>
                        <a:pt x="448527" y="75396"/>
                        <a:pt x="493751" y="67450"/>
                        <a:pt x="498088" y="73057"/>
                      </a:cubicBezTo>
                      <a:cubicBezTo>
                        <a:pt x="502425" y="78664"/>
                        <a:pt x="454102" y="97218"/>
                        <a:pt x="423746" y="102793"/>
                      </a:cubicBezTo>
                      <a:cubicBezTo>
                        <a:pt x="393390" y="108368"/>
                        <a:pt x="364893" y="112705"/>
                        <a:pt x="315951" y="106510"/>
                      </a:cubicBezTo>
                      <a:cubicBezTo>
                        <a:pt x="267009" y="100315"/>
                        <a:pt x="170985" y="79252"/>
                        <a:pt x="130097" y="65623"/>
                      </a:cubicBezTo>
                      <a:cubicBezTo>
                        <a:pt x="89209" y="51994"/>
                        <a:pt x="92926" y="31550"/>
                        <a:pt x="70624" y="24735"/>
                      </a:cubicBezTo>
                      <a:cubicBezTo>
                        <a:pt x="48322" y="17920"/>
                        <a:pt x="0" y="24735"/>
                        <a:pt x="0" y="2101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311" name="Freeform 310"/>
                <p:cNvSpPr/>
                <p:nvPr/>
              </p:nvSpPr>
              <p:spPr>
                <a:xfrm>
                  <a:off x="3031490" y="-358775"/>
                  <a:ext cx="509270" cy="149860"/>
                </a:xfrm>
                <a:custGeom>
                  <a:avLst/>
                  <a:gdLst>
                    <a:gd name="connsiteX0" fmla="*/ 508000 w 509270"/>
                    <a:gd name="connsiteY0" fmla="*/ 145415 h 149860"/>
                    <a:gd name="connsiteX1" fmla="*/ 439420 w 509270"/>
                    <a:gd name="connsiteY1" fmla="*/ 99695 h 149860"/>
                    <a:gd name="connsiteX2" fmla="*/ 336550 w 509270"/>
                    <a:gd name="connsiteY2" fmla="*/ 88265 h 149860"/>
                    <a:gd name="connsiteX3" fmla="*/ 176530 w 509270"/>
                    <a:gd name="connsiteY3" fmla="*/ 69215 h 149860"/>
                    <a:gd name="connsiteX4" fmla="*/ 16510 w 509270"/>
                    <a:gd name="connsiteY4" fmla="*/ 635 h 149860"/>
                    <a:gd name="connsiteX5" fmla="*/ 77470 w 509270"/>
                    <a:gd name="connsiteY5" fmla="*/ 65405 h 149860"/>
                    <a:gd name="connsiteX6" fmla="*/ 203200 w 509270"/>
                    <a:gd name="connsiteY6" fmla="*/ 118745 h 149860"/>
                    <a:gd name="connsiteX7" fmla="*/ 389890 w 509270"/>
                    <a:gd name="connsiteY7" fmla="*/ 137795 h 149860"/>
                    <a:gd name="connsiteX8" fmla="*/ 431800 w 509270"/>
                    <a:gd name="connsiteY8" fmla="*/ 126365 h 149860"/>
                    <a:gd name="connsiteX9" fmla="*/ 508000 w 509270"/>
                    <a:gd name="connsiteY9" fmla="*/ 145415 h 14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9270" h="149860">
                      <a:moveTo>
                        <a:pt x="508000" y="145415"/>
                      </a:moveTo>
                      <a:cubicBezTo>
                        <a:pt x="509270" y="140970"/>
                        <a:pt x="467995" y="109220"/>
                        <a:pt x="439420" y="99695"/>
                      </a:cubicBezTo>
                      <a:cubicBezTo>
                        <a:pt x="410845" y="90170"/>
                        <a:pt x="336550" y="88265"/>
                        <a:pt x="336550" y="88265"/>
                      </a:cubicBezTo>
                      <a:cubicBezTo>
                        <a:pt x="292735" y="83185"/>
                        <a:pt x="229870" y="83820"/>
                        <a:pt x="176530" y="69215"/>
                      </a:cubicBezTo>
                      <a:cubicBezTo>
                        <a:pt x="123190" y="54610"/>
                        <a:pt x="33020" y="1270"/>
                        <a:pt x="16510" y="635"/>
                      </a:cubicBezTo>
                      <a:cubicBezTo>
                        <a:pt x="0" y="0"/>
                        <a:pt x="46355" y="45720"/>
                        <a:pt x="77470" y="65405"/>
                      </a:cubicBezTo>
                      <a:cubicBezTo>
                        <a:pt x="108585" y="85090"/>
                        <a:pt x="151130" y="106680"/>
                        <a:pt x="203200" y="118745"/>
                      </a:cubicBezTo>
                      <a:cubicBezTo>
                        <a:pt x="255270" y="130810"/>
                        <a:pt x="351790" y="136525"/>
                        <a:pt x="389890" y="137795"/>
                      </a:cubicBezTo>
                      <a:cubicBezTo>
                        <a:pt x="427990" y="139065"/>
                        <a:pt x="412750" y="124460"/>
                        <a:pt x="431800" y="126365"/>
                      </a:cubicBezTo>
                      <a:cubicBezTo>
                        <a:pt x="450850" y="128270"/>
                        <a:pt x="506730" y="149860"/>
                        <a:pt x="508000" y="14541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312" name="Freeform 311"/>
                <p:cNvSpPr/>
                <p:nvPr/>
              </p:nvSpPr>
              <p:spPr>
                <a:xfrm>
                  <a:off x="3547872" y="532638"/>
                  <a:ext cx="160020" cy="132588"/>
                </a:xfrm>
                <a:custGeom>
                  <a:avLst/>
                  <a:gdLst>
                    <a:gd name="connsiteX0" fmla="*/ 155448 w 160020"/>
                    <a:gd name="connsiteY0" fmla="*/ 121158 h 132588"/>
                    <a:gd name="connsiteX1" fmla="*/ 118872 w 160020"/>
                    <a:gd name="connsiteY1" fmla="*/ 20574 h 132588"/>
                    <a:gd name="connsiteX2" fmla="*/ 4572 w 160020"/>
                    <a:gd name="connsiteY2" fmla="*/ 11430 h 132588"/>
                    <a:gd name="connsiteX3" fmla="*/ 91440 w 160020"/>
                    <a:gd name="connsiteY3" fmla="*/ 89154 h 132588"/>
                    <a:gd name="connsiteX4" fmla="*/ 155448 w 160020"/>
                    <a:gd name="connsiteY4" fmla="*/ 121158 h 132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 h="132588">
                      <a:moveTo>
                        <a:pt x="155448" y="121158"/>
                      </a:moveTo>
                      <a:cubicBezTo>
                        <a:pt x="160020" y="109728"/>
                        <a:pt x="144018" y="38862"/>
                        <a:pt x="118872" y="20574"/>
                      </a:cubicBezTo>
                      <a:cubicBezTo>
                        <a:pt x="93726" y="2286"/>
                        <a:pt x="9144" y="0"/>
                        <a:pt x="4572" y="11430"/>
                      </a:cubicBezTo>
                      <a:cubicBezTo>
                        <a:pt x="0" y="22860"/>
                        <a:pt x="67056" y="69342"/>
                        <a:pt x="91440" y="89154"/>
                      </a:cubicBezTo>
                      <a:cubicBezTo>
                        <a:pt x="115824" y="108966"/>
                        <a:pt x="150876" y="132588"/>
                        <a:pt x="155448" y="12115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313" name="Freeform 312"/>
                <p:cNvSpPr/>
                <p:nvPr/>
              </p:nvSpPr>
              <p:spPr>
                <a:xfrm>
                  <a:off x="3961372" y="570678"/>
                  <a:ext cx="161048" cy="162546"/>
                </a:xfrm>
                <a:custGeom>
                  <a:avLst/>
                  <a:gdLst>
                    <a:gd name="connsiteX0" fmla="*/ 9906 w 168402"/>
                    <a:gd name="connsiteY0" fmla="*/ 118872 h 122682"/>
                    <a:gd name="connsiteX1" fmla="*/ 101346 w 168402"/>
                    <a:gd name="connsiteY1" fmla="*/ 13716 h 122682"/>
                    <a:gd name="connsiteX2" fmla="*/ 160782 w 168402"/>
                    <a:gd name="connsiteY2" fmla="*/ 36576 h 122682"/>
                    <a:gd name="connsiteX3" fmla="*/ 9906 w 168402"/>
                    <a:gd name="connsiteY3" fmla="*/ 118872 h 122682"/>
                    <a:gd name="connsiteX0" fmla="*/ 9906 w 168402"/>
                    <a:gd name="connsiteY0" fmla="*/ 118872 h 162546"/>
                    <a:gd name="connsiteX1" fmla="*/ 101346 w 168402"/>
                    <a:gd name="connsiteY1" fmla="*/ 13716 h 162546"/>
                    <a:gd name="connsiteX2" fmla="*/ 160782 w 168402"/>
                    <a:gd name="connsiteY2" fmla="*/ 36576 h 162546"/>
                    <a:gd name="connsiteX3" fmla="*/ 9906 w 168402"/>
                    <a:gd name="connsiteY3" fmla="*/ 118872 h 162546"/>
                    <a:gd name="connsiteX0" fmla="*/ 2552 w 161048"/>
                    <a:gd name="connsiteY0" fmla="*/ 118872 h 162546"/>
                    <a:gd name="connsiteX1" fmla="*/ 93992 w 161048"/>
                    <a:gd name="connsiteY1" fmla="*/ 13716 h 162546"/>
                    <a:gd name="connsiteX2" fmla="*/ 153428 w 161048"/>
                    <a:gd name="connsiteY2" fmla="*/ 36576 h 162546"/>
                    <a:gd name="connsiteX3" fmla="*/ 2552 w 161048"/>
                    <a:gd name="connsiteY3" fmla="*/ 118872 h 162546"/>
                    <a:gd name="connsiteX0" fmla="*/ 2552 w 161048"/>
                    <a:gd name="connsiteY0" fmla="*/ 118872 h 162546"/>
                    <a:gd name="connsiteX1" fmla="*/ 93992 w 161048"/>
                    <a:gd name="connsiteY1" fmla="*/ 13716 h 162546"/>
                    <a:gd name="connsiteX2" fmla="*/ 153428 w 161048"/>
                    <a:gd name="connsiteY2" fmla="*/ 36576 h 162546"/>
                    <a:gd name="connsiteX3" fmla="*/ 2552 w 161048"/>
                    <a:gd name="connsiteY3" fmla="*/ 118872 h 162546"/>
                    <a:gd name="connsiteX0" fmla="*/ 2552 w 161048"/>
                    <a:gd name="connsiteY0" fmla="*/ 118872 h 162546"/>
                    <a:gd name="connsiteX1" fmla="*/ 93992 w 161048"/>
                    <a:gd name="connsiteY1" fmla="*/ 13716 h 162546"/>
                    <a:gd name="connsiteX2" fmla="*/ 153428 w 161048"/>
                    <a:gd name="connsiteY2" fmla="*/ 36576 h 162546"/>
                    <a:gd name="connsiteX3" fmla="*/ 2552 w 161048"/>
                    <a:gd name="connsiteY3" fmla="*/ 118872 h 162546"/>
                    <a:gd name="connsiteX0" fmla="*/ 2552 w 161048"/>
                    <a:gd name="connsiteY0" fmla="*/ 118872 h 162546"/>
                    <a:gd name="connsiteX1" fmla="*/ 93992 w 161048"/>
                    <a:gd name="connsiteY1" fmla="*/ 13716 h 162546"/>
                    <a:gd name="connsiteX2" fmla="*/ 153428 w 161048"/>
                    <a:gd name="connsiteY2" fmla="*/ 36576 h 162546"/>
                    <a:gd name="connsiteX3" fmla="*/ 2552 w 161048"/>
                    <a:gd name="connsiteY3" fmla="*/ 118872 h 162546"/>
                    <a:gd name="connsiteX0" fmla="*/ 2552 w 161048"/>
                    <a:gd name="connsiteY0" fmla="*/ 118872 h 162546"/>
                    <a:gd name="connsiteX1" fmla="*/ 93992 w 161048"/>
                    <a:gd name="connsiteY1" fmla="*/ 13716 h 162546"/>
                    <a:gd name="connsiteX2" fmla="*/ 153428 w 161048"/>
                    <a:gd name="connsiteY2" fmla="*/ 36576 h 162546"/>
                    <a:gd name="connsiteX3" fmla="*/ 2552 w 161048"/>
                    <a:gd name="connsiteY3" fmla="*/ 118872 h 162546"/>
                  </a:gdLst>
                  <a:ahLst/>
                  <a:cxnLst>
                    <a:cxn ang="0">
                      <a:pos x="connsiteX0" y="connsiteY0"/>
                    </a:cxn>
                    <a:cxn ang="0">
                      <a:pos x="connsiteX1" y="connsiteY1"/>
                    </a:cxn>
                    <a:cxn ang="0">
                      <a:pos x="connsiteX2" y="connsiteY2"/>
                    </a:cxn>
                    <a:cxn ang="0">
                      <a:pos x="connsiteX3" y="connsiteY3"/>
                    </a:cxn>
                  </a:cxnLst>
                  <a:rect l="l" t="t" r="r" b="b"/>
                  <a:pathLst>
                    <a:path w="161048" h="162546">
                      <a:moveTo>
                        <a:pt x="2552" y="118872"/>
                      </a:moveTo>
                      <a:cubicBezTo>
                        <a:pt x="20053" y="67722"/>
                        <a:pt x="68846" y="27432"/>
                        <a:pt x="93992" y="13716"/>
                      </a:cubicBezTo>
                      <a:cubicBezTo>
                        <a:pt x="119138" y="0"/>
                        <a:pt x="161048" y="9640"/>
                        <a:pt x="153428" y="36576"/>
                      </a:cubicBezTo>
                      <a:cubicBezTo>
                        <a:pt x="90994" y="63512"/>
                        <a:pt x="0" y="162546"/>
                        <a:pt x="2552" y="11887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314" name="Freeform 313"/>
                <p:cNvSpPr/>
                <p:nvPr/>
              </p:nvSpPr>
              <p:spPr>
                <a:xfrm rot="823561">
                  <a:off x="3640314" y="576374"/>
                  <a:ext cx="357422" cy="150984"/>
                </a:xfrm>
                <a:custGeom>
                  <a:avLst/>
                  <a:gdLst>
                    <a:gd name="connsiteX0" fmla="*/ 683 w 358105"/>
                    <a:gd name="connsiteY0" fmla="*/ 10934 h 148298"/>
                    <a:gd name="connsiteX1" fmla="*/ 78591 w 358105"/>
                    <a:gd name="connsiteY1" fmla="*/ 109344 h 148298"/>
                    <a:gd name="connsiteX2" fmla="*/ 160600 w 358105"/>
                    <a:gd name="connsiteY2" fmla="*/ 146248 h 148298"/>
                    <a:gd name="connsiteX3" fmla="*/ 283614 w 358105"/>
                    <a:gd name="connsiteY3" fmla="*/ 121646 h 148298"/>
                    <a:gd name="connsiteX4" fmla="*/ 357422 w 358105"/>
                    <a:gd name="connsiteY4" fmla="*/ 23235 h 148298"/>
                    <a:gd name="connsiteX5" fmla="*/ 279513 w 358105"/>
                    <a:gd name="connsiteY5" fmla="*/ 15034 h 148298"/>
                    <a:gd name="connsiteX6" fmla="*/ 213906 w 358105"/>
                    <a:gd name="connsiteY6" fmla="*/ 64239 h 148298"/>
                    <a:gd name="connsiteX7" fmla="*/ 74491 w 358105"/>
                    <a:gd name="connsiteY7" fmla="*/ 43737 h 148298"/>
                    <a:gd name="connsiteX8" fmla="*/ 683 w 358105"/>
                    <a:gd name="connsiteY8" fmla="*/ 10934 h 148298"/>
                    <a:gd name="connsiteX0" fmla="*/ 683 w 358105"/>
                    <a:gd name="connsiteY0" fmla="*/ 10934 h 149136"/>
                    <a:gd name="connsiteX1" fmla="*/ 78591 w 358105"/>
                    <a:gd name="connsiteY1" fmla="*/ 109344 h 149136"/>
                    <a:gd name="connsiteX2" fmla="*/ 160600 w 358105"/>
                    <a:gd name="connsiteY2" fmla="*/ 146248 h 149136"/>
                    <a:gd name="connsiteX3" fmla="*/ 283614 w 358105"/>
                    <a:gd name="connsiteY3" fmla="*/ 126670 h 149136"/>
                    <a:gd name="connsiteX4" fmla="*/ 357422 w 358105"/>
                    <a:gd name="connsiteY4" fmla="*/ 23235 h 149136"/>
                    <a:gd name="connsiteX5" fmla="*/ 279513 w 358105"/>
                    <a:gd name="connsiteY5" fmla="*/ 15034 h 149136"/>
                    <a:gd name="connsiteX6" fmla="*/ 213906 w 358105"/>
                    <a:gd name="connsiteY6" fmla="*/ 64239 h 149136"/>
                    <a:gd name="connsiteX7" fmla="*/ 74491 w 358105"/>
                    <a:gd name="connsiteY7" fmla="*/ 43737 h 149136"/>
                    <a:gd name="connsiteX8" fmla="*/ 683 w 358105"/>
                    <a:gd name="connsiteY8" fmla="*/ 10934 h 149136"/>
                    <a:gd name="connsiteX0" fmla="*/ 683 w 358105"/>
                    <a:gd name="connsiteY0" fmla="*/ 10934 h 149136"/>
                    <a:gd name="connsiteX1" fmla="*/ 78591 w 358105"/>
                    <a:gd name="connsiteY1" fmla="*/ 109344 h 149136"/>
                    <a:gd name="connsiteX2" fmla="*/ 160600 w 358105"/>
                    <a:gd name="connsiteY2" fmla="*/ 146248 h 149136"/>
                    <a:gd name="connsiteX3" fmla="*/ 283614 w 358105"/>
                    <a:gd name="connsiteY3" fmla="*/ 126670 h 149136"/>
                    <a:gd name="connsiteX4" fmla="*/ 357422 w 358105"/>
                    <a:gd name="connsiteY4" fmla="*/ 23235 h 149136"/>
                    <a:gd name="connsiteX5" fmla="*/ 279513 w 358105"/>
                    <a:gd name="connsiteY5" fmla="*/ 15034 h 149136"/>
                    <a:gd name="connsiteX6" fmla="*/ 213906 w 358105"/>
                    <a:gd name="connsiteY6" fmla="*/ 64239 h 149136"/>
                    <a:gd name="connsiteX7" fmla="*/ 74491 w 358105"/>
                    <a:gd name="connsiteY7" fmla="*/ 43737 h 149136"/>
                    <a:gd name="connsiteX8" fmla="*/ 683 w 358105"/>
                    <a:gd name="connsiteY8" fmla="*/ 10934 h 149136"/>
                    <a:gd name="connsiteX0" fmla="*/ 683 w 357422"/>
                    <a:gd name="connsiteY0" fmla="*/ 10934 h 149136"/>
                    <a:gd name="connsiteX1" fmla="*/ 78591 w 357422"/>
                    <a:gd name="connsiteY1" fmla="*/ 109344 h 149136"/>
                    <a:gd name="connsiteX2" fmla="*/ 160600 w 357422"/>
                    <a:gd name="connsiteY2" fmla="*/ 146248 h 149136"/>
                    <a:gd name="connsiteX3" fmla="*/ 283614 w 357422"/>
                    <a:gd name="connsiteY3" fmla="*/ 126670 h 149136"/>
                    <a:gd name="connsiteX4" fmla="*/ 357422 w 357422"/>
                    <a:gd name="connsiteY4" fmla="*/ 23235 h 149136"/>
                    <a:gd name="connsiteX5" fmla="*/ 279513 w 357422"/>
                    <a:gd name="connsiteY5" fmla="*/ 15034 h 149136"/>
                    <a:gd name="connsiteX6" fmla="*/ 213906 w 357422"/>
                    <a:gd name="connsiteY6" fmla="*/ 64239 h 149136"/>
                    <a:gd name="connsiteX7" fmla="*/ 74491 w 357422"/>
                    <a:gd name="connsiteY7" fmla="*/ 43737 h 149136"/>
                    <a:gd name="connsiteX8" fmla="*/ 683 w 357422"/>
                    <a:gd name="connsiteY8" fmla="*/ 10934 h 149136"/>
                    <a:gd name="connsiteX0" fmla="*/ 683 w 357422"/>
                    <a:gd name="connsiteY0" fmla="*/ 12782 h 150984"/>
                    <a:gd name="connsiteX1" fmla="*/ 78591 w 357422"/>
                    <a:gd name="connsiteY1" fmla="*/ 111192 h 150984"/>
                    <a:gd name="connsiteX2" fmla="*/ 160600 w 357422"/>
                    <a:gd name="connsiteY2" fmla="*/ 148096 h 150984"/>
                    <a:gd name="connsiteX3" fmla="*/ 283614 w 357422"/>
                    <a:gd name="connsiteY3" fmla="*/ 128518 h 150984"/>
                    <a:gd name="connsiteX4" fmla="*/ 357422 w 357422"/>
                    <a:gd name="connsiteY4" fmla="*/ 25083 h 150984"/>
                    <a:gd name="connsiteX5" fmla="*/ 304634 w 357422"/>
                    <a:gd name="connsiteY5" fmla="*/ 6834 h 150984"/>
                    <a:gd name="connsiteX6" fmla="*/ 213906 w 357422"/>
                    <a:gd name="connsiteY6" fmla="*/ 66087 h 150984"/>
                    <a:gd name="connsiteX7" fmla="*/ 74491 w 357422"/>
                    <a:gd name="connsiteY7" fmla="*/ 45585 h 150984"/>
                    <a:gd name="connsiteX8" fmla="*/ 683 w 357422"/>
                    <a:gd name="connsiteY8" fmla="*/ 12782 h 150984"/>
                    <a:gd name="connsiteX0" fmla="*/ 683 w 357422"/>
                    <a:gd name="connsiteY0" fmla="*/ 12782 h 150984"/>
                    <a:gd name="connsiteX1" fmla="*/ 78591 w 357422"/>
                    <a:gd name="connsiteY1" fmla="*/ 111192 h 150984"/>
                    <a:gd name="connsiteX2" fmla="*/ 160600 w 357422"/>
                    <a:gd name="connsiteY2" fmla="*/ 148096 h 150984"/>
                    <a:gd name="connsiteX3" fmla="*/ 283614 w 357422"/>
                    <a:gd name="connsiteY3" fmla="*/ 128518 h 150984"/>
                    <a:gd name="connsiteX4" fmla="*/ 357422 w 357422"/>
                    <a:gd name="connsiteY4" fmla="*/ 25083 h 150984"/>
                    <a:gd name="connsiteX5" fmla="*/ 304634 w 357422"/>
                    <a:gd name="connsiteY5" fmla="*/ 6834 h 150984"/>
                    <a:gd name="connsiteX6" fmla="*/ 223954 w 357422"/>
                    <a:gd name="connsiteY6" fmla="*/ 66087 h 150984"/>
                    <a:gd name="connsiteX7" fmla="*/ 74491 w 357422"/>
                    <a:gd name="connsiteY7" fmla="*/ 45585 h 150984"/>
                    <a:gd name="connsiteX8" fmla="*/ 683 w 357422"/>
                    <a:gd name="connsiteY8" fmla="*/ 12782 h 150984"/>
                    <a:gd name="connsiteX0" fmla="*/ 683 w 357422"/>
                    <a:gd name="connsiteY0" fmla="*/ 12782 h 150984"/>
                    <a:gd name="connsiteX1" fmla="*/ 78591 w 357422"/>
                    <a:gd name="connsiteY1" fmla="*/ 111192 h 150984"/>
                    <a:gd name="connsiteX2" fmla="*/ 160600 w 357422"/>
                    <a:gd name="connsiteY2" fmla="*/ 148096 h 150984"/>
                    <a:gd name="connsiteX3" fmla="*/ 283614 w 357422"/>
                    <a:gd name="connsiteY3" fmla="*/ 128518 h 150984"/>
                    <a:gd name="connsiteX4" fmla="*/ 357422 w 357422"/>
                    <a:gd name="connsiteY4" fmla="*/ 25083 h 150984"/>
                    <a:gd name="connsiteX5" fmla="*/ 304634 w 357422"/>
                    <a:gd name="connsiteY5" fmla="*/ 6834 h 150984"/>
                    <a:gd name="connsiteX6" fmla="*/ 223954 w 357422"/>
                    <a:gd name="connsiteY6" fmla="*/ 66087 h 150984"/>
                    <a:gd name="connsiteX7" fmla="*/ 74491 w 357422"/>
                    <a:gd name="connsiteY7" fmla="*/ 45585 h 150984"/>
                    <a:gd name="connsiteX8" fmla="*/ 683 w 357422"/>
                    <a:gd name="connsiteY8" fmla="*/ 12782 h 150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7422" h="150984">
                      <a:moveTo>
                        <a:pt x="683" y="12782"/>
                      </a:moveTo>
                      <a:cubicBezTo>
                        <a:pt x="1366" y="23716"/>
                        <a:pt x="51938" y="88640"/>
                        <a:pt x="78591" y="111192"/>
                      </a:cubicBezTo>
                      <a:cubicBezTo>
                        <a:pt x="105244" y="133744"/>
                        <a:pt x="126430" y="145208"/>
                        <a:pt x="160600" y="148096"/>
                      </a:cubicBezTo>
                      <a:cubicBezTo>
                        <a:pt x="194770" y="150984"/>
                        <a:pt x="250810" y="149020"/>
                        <a:pt x="283614" y="128518"/>
                      </a:cubicBezTo>
                      <a:cubicBezTo>
                        <a:pt x="316418" y="108016"/>
                        <a:pt x="353080" y="68810"/>
                        <a:pt x="357422" y="25083"/>
                      </a:cubicBezTo>
                      <a:cubicBezTo>
                        <a:pt x="356739" y="6477"/>
                        <a:pt x="326879" y="0"/>
                        <a:pt x="304634" y="6834"/>
                      </a:cubicBezTo>
                      <a:cubicBezTo>
                        <a:pt x="282389" y="13668"/>
                        <a:pt x="262311" y="59628"/>
                        <a:pt x="223954" y="66087"/>
                      </a:cubicBezTo>
                      <a:cubicBezTo>
                        <a:pt x="165500" y="87618"/>
                        <a:pt x="111703" y="54469"/>
                        <a:pt x="74491" y="45585"/>
                      </a:cubicBezTo>
                      <a:cubicBezTo>
                        <a:pt x="37279" y="36701"/>
                        <a:pt x="0" y="1848"/>
                        <a:pt x="683" y="1278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315" name="Freeform 314"/>
                <p:cNvSpPr/>
                <p:nvPr/>
              </p:nvSpPr>
              <p:spPr>
                <a:xfrm>
                  <a:off x="2993249" y="516106"/>
                  <a:ext cx="289955" cy="490938"/>
                </a:xfrm>
                <a:custGeom>
                  <a:avLst/>
                  <a:gdLst>
                    <a:gd name="connsiteX0" fmla="*/ 265246 w 345518"/>
                    <a:gd name="connsiteY0" fmla="*/ 60495 h 489774"/>
                    <a:gd name="connsiteX1" fmla="*/ 118663 w 345518"/>
                    <a:gd name="connsiteY1" fmla="*/ 241979 h 489774"/>
                    <a:gd name="connsiteX2" fmla="*/ 97723 w 345518"/>
                    <a:gd name="connsiteY2" fmla="*/ 479304 h 489774"/>
                    <a:gd name="connsiteX3" fmla="*/ 34901 w 345518"/>
                    <a:gd name="connsiteY3" fmla="*/ 179157 h 489774"/>
                    <a:gd name="connsiteX4" fmla="*/ 307127 w 345518"/>
                    <a:gd name="connsiteY4" fmla="*/ 18614 h 489774"/>
                    <a:gd name="connsiteX5" fmla="*/ 265246 w 345518"/>
                    <a:gd name="connsiteY5" fmla="*/ 60495 h 489774"/>
                    <a:gd name="connsiteX0" fmla="*/ 217621 w 289955"/>
                    <a:gd name="connsiteY0" fmla="*/ 63246 h 490938"/>
                    <a:gd name="connsiteX1" fmla="*/ 71038 w 289955"/>
                    <a:gd name="connsiteY1" fmla="*/ 244730 h 490938"/>
                    <a:gd name="connsiteX2" fmla="*/ 50098 w 289955"/>
                    <a:gd name="connsiteY2" fmla="*/ 482055 h 490938"/>
                    <a:gd name="connsiteX3" fmla="*/ 34901 w 289955"/>
                    <a:gd name="connsiteY3" fmla="*/ 191433 h 490938"/>
                    <a:gd name="connsiteX4" fmla="*/ 259502 w 289955"/>
                    <a:gd name="connsiteY4" fmla="*/ 21365 h 490938"/>
                    <a:gd name="connsiteX5" fmla="*/ 217621 w 289955"/>
                    <a:gd name="connsiteY5" fmla="*/ 63246 h 490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9955" h="490938">
                      <a:moveTo>
                        <a:pt x="217621" y="63246"/>
                      </a:moveTo>
                      <a:cubicBezTo>
                        <a:pt x="186210" y="100473"/>
                        <a:pt x="98959" y="174928"/>
                        <a:pt x="71038" y="244730"/>
                      </a:cubicBezTo>
                      <a:cubicBezTo>
                        <a:pt x="43117" y="314532"/>
                        <a:pt x="56121" y="490938"/>
                        <a:pt x="50098" y="482055"/>
                      </a:cubicBezTo>
                      <a:cubicBezTo>
                        <a:pt x="44075" y="473172"/>
                        <a:pt x="0" y="268215"/>
                        <a:pt x="34901" y="191433"/>
                      </a:cubicBezTo>
                      <a:cubicBezTo>
                        <a:pt x="69802" y="114651"/>
                        <a:pt x="229049" y="42730"/>
                        <a:pt x="259502" y="21365"/>
                      </a:cubicBezTo>
                      <a:cubicBezTo>
                        <a:pt x="289955" y="0"/>
                        <a:pt x="249032" y="26019"/>
                        <a:pt x="217621" y="632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316" name="Freeform 315"/>
                <p:cNvSpPr/>
                <p:nvPr/>
              </p:nvSpPr>
              <p:spPr>
                <a:xfrm>
                  <a:off x="4252801" y="474723"/>
                  <a:ext cx="303189" cy="728190"/>
                </a:xfrm>
                <a:custGeom>
                  <a:avLst/>
                  <a:gdLst>
                    <a:gd name="connsiteX0" fmla="*/ 2327 w 208241"/>
                    <a:gd name="connsiteY0" fmla="*/ 36064 h 547942"/>
                    <a:gd name="connsiteX1" fmla="*/ 107029 w 208241"/>
                    <a:gd name="connsiteY1" fmla="*/ 301310 h 547942"/>
                    <a:gd name="connsiteX2" fmla="*/ 16287 w 208241"/>
                    <a:gd name="connsiteY2" fmla="*/ 545615 h 547942"/>
                    <a:gd name="connsiteX3" fmla="*/ 190791 w 208241"/>
                    <a:gd name="connsiteY3" fmla="*/ 287349 h 547942"/>
                    <a:gd name="connsiteX4" fmla="*/ 120989 w 208241"/>
                    <a:gd name="connsiteY4" fmla="*/ 84925 h 547942"/>
                    <a:gd name="connsiteX5" fmla="*/ 2327 w 208241"/>
                    <a:gd name="connsiteY5" fmla="*/ 36064 h 547942"/>
                    <a:gd name="connsiteX0" fmla="*/ 13960 w 204751"/>
                    <a:gd name="connsiteY0" fmla="*/ 2327 h 514205"/>
                    <a:gd name="connsiteX1" fmla="*/ 118662 w 204751"/>
                    <a:gd name="connsiteY1" fmla="*/ 267573 h 514205"/>
                    <a:gd name="connsiteX2" fmla="*/ 27920 w 204751"/>
                    <a:gd name="connsiteY2" fmla="*/ 511878 h 514205"/>
                    <a:gd name="connsiteX3" fmla="*/ 202424 w 204751"/>
                    <a:gd name="connsiteY3" fmla="*/ 253612 h 514205"/>
                    <a:gd name="connsiteX4" fmla="*/ 13960 w 204751"/>
                    <a:gd name="connsiteY4" fmla="*/ 2327 h 514205"/>
                    <a:gd name="connsiteX0" fmla="*/ 13960 w 204751"/>
                    <a:gd name="connsiteY0" fmla="*/ 9307 h 528165"/>
                    <a:gd name="connsiteX1" fmla="*/ 118662 w 204751"/>
                    <a:gd name="connsiteY1" fmla="*/ 274553 h 528165"/>
                    <a:gd name="connsiteX2" fmla="*/ 27920 w 204751"/>
                    <a:gd name="connsiteY2" fmla="*/ 518858 h 528165"/>
                    <a:gd name="connsiteX3" fmla="*/ 202424 w 204751"/>
                    <a:gd name="connsiteY3" fmla="*/ 218711 h 528165"/>
                    <a:gd name="connsiteX4" fmla="*/ 13960 w 204751"/>
                    <a:gd name="connsiteY4" fmla="*/ 9307 h 528165"/>
                    <a:gd name="connsiteX0" fmla="*/ 13960 w 388107"/>
                    <a:gd name="connsiteY0" fmla="*/ 9307 h 728190"/>
                    <a:gd name="connsiteX1" fmla="*/ 275825 w 388107"/>
                    <a:gd name="connsiteY1" fmla="*/ 474578 h 728190"/>
                    <a:gd name="connsiteX2" fmla="*/ 185083 w 388107"/>
                    <a:gd name="connsiteY2" fmla="*/ 718883 h 728190"/>
                    <a:gd name="connsiteX3" fmla="*/ 359587 w 388107"/>
                    <a:gd name="connsiteY3" fmla="*/ 418736 h 728190"/>
                    <a:gd name="connsiteX4" fmla="*/ 13960 w 388107"/>
                    <a:gd name="connsiteY4" fmla="*/ 9307 h 728190"/>
                    <a:gd name="connsiteX0" fmla="*/ 21709 w 395856"/>
                    <a:gd name="connsiteY0" fmla="*/ 164 h 709904"/>
                    <a:gd name="connsiteX1" fmla="*/ 237079 w 395856"/>
                    <a:gd name="connsiteY1" fmla="*/ 408607 h 709904"/>
                    <a:gd name="connsiteX2" fmla="*/ 192832 w 395856"/>
                    <a:gd name="connsiteY2" fmla="*/ 709740 h 709904"/>
                    <a:gd name="connsiteX3" fmla="*/ 367336 w 395856"/>
                    <a:gd name="connsiteY3" fmla="*/ 409593 h 709904"/>
                    <a:gd name="connsiteX4" fmla="*/ 21709 w 395856"/>
                    <a:gd name="connsiteY4" fmla="*/ 164 h 709904"/>
                    <a:gd name="connsiteX0" fmla="*/ 21709 w 395856"/>
                    <a:gd name="connsiteY0" fmla="*/ 164 h 709904"/>
                    <a:gd name="connsiteX1" fmla="*/ 237079 w 395856"/>
                    <a:gd name="connsiteY1" fmla="*/ 408607 h 709904"/>
                    <a:gd name="connsiteX2" fmla="*/ 192832 w 395856"/>
                    <a:gd name="connsiteY2" fmla="*/ 709740 h 709904"/>
                    <a:gd name="connsiteX3" fmla="*/ 367336 w 395856"/>
                    <a:gd name="connsiteY3" fmla="*/ 409593 h 709904"/>
                    <a:gd name="connsiteX4" fmla="*/ 21709 w 395856"/>
                    <a:gd name="connsiteY4" fmla="*/ 164 h 709904"/>
                    <a:gd name="connsiteX0" fmla="*/ 21709 w 395856"/>
                    <a:gd name="connsiteY0" fmla="*/ 164 h 709904"/>
                    <a:gd name="connsiteX1" fmla="*/ 237079 w 395856"/>
                    <a:gd name="connsiteY1" fmla="*/ 408607 h 709904"/>
                    <a:gd name="connsiteX2" fmla="*/ 192832 w 395856"/>
                    <a:gd name="connsiteY2" fmla="*/ 709740 h 709904"/>
                    <a:gd name="connsiteX3" fmla="*/ 367336 w 395856"/>
                    <a:gd name="connsiteY3" fmla="*/ 409593 h 709904"/>
                    <a:gd name="connsiteX4" fmla="*/ 21709 w 395856"/>
                    <a:gd name="connsiteY4" fmla="*/ 164 h 709904"/>
                    <a:gd name="connsiteX0" fmla="*/ 14821 w 347639"/>
                    <a:gd name="connsiteY0" fmla="*/ 9307 h 728190"/>
                    <a:gd name="connsiteX1" fmla="*/ 230191 w 347639"/>
                    <a:gd name="connsiteY1" fmla="*/ 417750 h 728190"/>
                    <a:gd name="connsiteX2" fmla="*/ 185944 w 347639"/>
                    <a:gd name="connsiteY2" fmla="*/ 718883 h 728190"/>
                    <a:gd name="connsiteX3" fmla="*/ 319119 w 347639"/>
                    <a:gd name="connsiteY3" fmla="*/ 361909 h 728190"/>
                    <a:gd name="connsiteX4" fmla="*/ 14821 w 347639"/>
                    <a:gd name="connsiteY4" fmla="*/ 9307 h 728190"/>
                    <a:gd name="connsiteX0" fmla="*/ 14821 w 347639"/>
                    <a:gd name="connsiteY0" fmla="*/ 9307 h 728190"/>
                    <a:gd name="connsiteX1" fmla="*/ 230191 w 347639"/>
                    <a:gd name="connsiteY1" fmla="*/ 417750 h 728190"/>
                    <a:gd name="connsiteX2" fmla="*/ 185944 w 347639"/>
                    <a:gd name="connsiteY2" fmla="*/ 718883 h 728190"/>
                    <a:gd name="connsiteX3" fmla="*/ 319119 w 347639"/>
                    <a:gd name="connsiteY3" fmla="*/ 361909 h 728190"/>
                    <a:gd name="connsiteX4" fmla="*/ 14821 w 347639"/>
                    <a:gd name="connsiteY4" fmla="*/ 9307 h 728190"/>
                    <a:gd name="connsiteX0" fmla="*/ 14821 w 347639"/>
                    <a:gd name="connsiteY0" fmla="*/ 9307 h 728190"/>
                    <a:gd name="connsiteX1" fmla="*/ 230191 w 347639"/>
                    <a:gd name="connsiteY1" fmla="*/ 417750 h 728190"/>
                    <a:gd name="connsiteX2" fmla="*/ 185944 w 347639"/>
                    <a:gd name="connsiteY2" fmla="*/ 718883 h 728190"/>
                    <a:gd name="connsiteX3" fmla="*/ 319119 w 347639"/>
                    <a:gd name="connsiteY3" fmla="*/ 361909 h 728190"/>
                    <a:gd name="connsiteX4" fmla="*/ 14821 w 347639"/>
                    <a:gd name="connsiteY4" fmla="*/ 9307 h 728190"/>
                    <a:gd name="connsiteX0" fmla="*/ 14821 w 347639"/>
                    <a:gd name="connsiteY0" fmla="*/ 9307 h 728190"/>
                    <a:gd name="connsiteX1" fmla="*/ 230191 w 347639"/>
                    <a:gd name="connsiteY1" fmla="*/ 417750 h 728190"/>
                    <a:gd name="connsiteX2" fmla="*/ 185944 w 347639"/>
                    <a:gd name="connsiteY2" fmla="*/ 718883 h 728190"/>
                    <a:gd name="connsiteX3" fmla="*/ 319119 w 347639"/>
                    <a:gd name="connsiteY3" fmla="*/ 361909 h 728190"/>
                    <a:gd name="connsiteX4" fmla="*/ 14821 w 347639"/>
                    <a:gd name="connsiteY4" fmla="*/ 9307 h 728190"/>
                    <a:gd name="connsiteX0" fmla="*/ 8471 w 303189"/>
                    <a:gd name="connsiteY0" fmla="*/ 9307 h 728190"/>
                    <a:gd name="connsiteX1" fmla="*/ 223841 w 303189"/>
                    <a:gd name="connsiteY1" fmla="*/ 417750 h 728190"/>
                    <a:gd name="connsiteX2" fmla="*/ 179594 w 303189"/>
                    <a:gd name="connsiteY2" fmla="*/ 718883 h 728190"/>
                    <a:gd name="connsiteX3" fmla="*/ 274669 w 303189"/>
                    <a:gd name="connsiteY3" fmla="*/ 361909 h 728190"/>
                    <a:gd name="connsiteX4" fmla="*/ 8471 w 303189"/>
                    <a:gd name="connsiteY4" fmla="*/ 9307 h 7281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189" h="728190">
                      <a:moveTo>
                        <a:pt x="8471" y="9307"/>
                      </a:moveTo>
                      <a:cubicBezTo>
                        <a:pt x="0" y="18614"/>
                        <a:pt x="200487" y="242660"/>
                        <a:pt x="223841" y="417750"/>
                      </a:cubicBezTo>
                      <a:cubicBezTo>
                        <a:pt x="252361" y="536013"/>
                        <a:pt x="171123" y="728190"/>
                        <a:pt x="179594" y="718883"/>
                      </a:cubicBezTo>
                      <a:cubicBezTo>
                        <a:pt x="188065" y="709576"/>
                        <a:pt x="303189" y="521501"/>
                        <a:pt x="274669" y="361909"/>
                      </a:cubicBezTo>
                      <a:cubicBezTo>
                        <a:pt x="199654" y="177779"/>
                        <a:pt x="16942" y="0"/>
                        <a:pt x="8471" y="930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nvGrpSpPr>
                <p:cNvPr id="317" name="Group 109"/>
                <p:cNvGrpSpPr/>
                <p:nvPr/>
              </p:nvGrpSpPr>
              <p:grpSpPr>
                <a:xfrm>
                  <a:off x="3127174" y="698228"/>
                  <a:ext cx="1269952" cy="677372"/>
                  <a:chOff x="3127287" y="698228"/>
                  <a:chExt cx="1311778" cy="677372"/>
                </a:xfrm>
                <a:grpFill/>
              </p:grpSpPr>
              <p:sp>
                <p:nvSpPr>
                  <p:cNvPr id="320" name="Freeform 319"/>
                  <p:cNvSpPr/>
                  <p:nvPr/>
                </p:nvSpPr>
                <p:spPr>
                  <a:xfrm rot="21191412">
                    <a:off x="3166561" y="698228"/>
                    <a:ext cx="1263693" cy="498371"/>
                  </a:xfrm>
                  <a:custGeom>
                    <a:avLst/>
                    <a:gdLst>
                      <a:gd name="connsiteX0" fmla="*/ 56270 w 1426399"/>
                      <a:gd name="connsiteY0" fmla="*/ 28135 h 427581"/>
                      <a:gd name="connsiteX1" fmla="*/ 604910 w 1426399"/>
                      <a:gd name="connsiteY1" fmla="*/ 211015 h 427581"/>
                      <a:gd name="connsiteX2" fmla="*/ 661181 w 1426399"/>
                      <a:gd name="connsiteY2" fmla="*/ 239150 h 427581"/>
                      <a:gd name="connsiteX3" fmla="*/ 1266092 w 1426399"/>
                      <a:gd name="connsiteY3" fmla="*/ 267286 h 427581"/>
                      <a:gd name="connsiteX4" fmla="*/ 872197 w 1426399"/>
                      <a:gd name="connsiteY4" fmla="*/ 112541 h 427581"/>
                      <a:gd name="connsiteX5" fmla="*/ 647113 w 1426399"/>
                      <a:gd name="connsiteY5" fmla="*/ 126609 h 427581"/>
                      <a:gd name="connsiteX6" fmla="*/ 534572 w 1426399"/>
                      <a:gd name="connsiteY6" fmla="*/ 28135 h 427581"/>
                      <a:gd name="connsiteX7" fmla="*/ 0 w 1426399"/>
                      <a:gd name="connsiteY7" fmla="*/ 0 h 427581"/>
                      <a:gd name="connsiteX8" fmla="*/ 0 w 1426399"/>
                      <a:gd name="connsiteY8" fmla="*/ 42203 h 427581"/>
                      <a:gd name="connsiteX9" fmla="*/ 56270 w 1426399"/>
                      <a:gd name="connsiteY9" fmla="*/ 28135 h 427581"/>
                      <a:gd name="connsiteX0" fmla="*/ 56270 w 1426399"/>
                      <a:gd name="connsiteY0" fmla="*/ 28135 h 427581"/>
                      <a:gd name="connsiteX1" fmla="*/ 600047 w 1426399"/>
                      <a:gd name="connsiteY1" fmla="*/ 293700 h 427581"/>
                      <a:gd name="connsiteX2" fmla="*/ 661181 w 1426399"/>
                      <a:gd name="connsiteY2" fmla="*/ 239150 h 427581"/>
                      <a:gd name="connsiteX3" fmla="*/ 1266092 w 1426399"/>
                      <a:gd name="connsiteY3" fmla="*/ 267286 h 427581"/>
                      <a:gd name="connsiteX4" fmla="*/ 872197 w 1426399"/>
                      <a:gd name="connsiteY4" fmla="*/ 112541 h 427581"/>
                      <a:gd name="connsiteX5" fmla="*/ 647113 w 1426399"/>
                      <a:gd name="connsiteY5" fmla="*/ 126609 h 427581"/>
                      <a:gd name="connsiteX6" fmla="*/ 534572 w 1426399"/>
                      <a:gd name="connsiteY6" fmla="*/ 28135 h 427581"/>
                      <a:gd name="connsiteX7" fmla="*/ 0 w 1426399"/>
                      <a:gd name="connsiteY7" fmla="*/ 0 h 427581"/>
                      <a:gd name="connsiteX8" fmla="*/ 0 w 1426399"/>
                      <a:gd name="connsiteY8" fmla="*/ 42203 h 427581"/>
                      <a:gd name="connsiteX9" fmla="*/ 56270 w 1426399"/>
                      <a:gd name="connsiteY9" fmla="*/ 28135 h 427581"/>
                      <a:gd name="connsiteX0" fmla="*/ 56270 w 1426399"/>
                      <a:gd name="connsiteY0" fmla="*/ 28135 h 427581"/>
                      <a:gd name="connsiteX1" fmla="*/ 600047 w 1426399"/>
                      <a:gd name="connsiteY1" fmla="*/ 293700 h 427581"/>
                      <a:gd name="connsiteX2" fmla="*/ 748730 w 1426399"/>
                      <a:gd name="connsiteY2" fmla="*/ 316971 h 427581"/>
                      <a:gd name="connsiteX3" fmla="*/ 1266092 w 1426399"/>
                      <a:gd name="connsiteY3" fmla="*/ 267286 h 427581"/>
                      <a:gd name="connsiteX4" fmla="*/ 872197 w 1426399"/>
                      <a:gd name="connsiteY4" fmla="*/ 112541 h 427581"/>
                      <a:gd name="connsiteX5" fmla="*/ 647113 w 1426399"/>
                      <a:gd name="connsiteY5" fmla="*/ 126609 h 427581"/>
                      <a:gd name="connsiteX6" fmla="*/ 534572 w 1426399"/>
                      <a:gd name="connsiteY6" fmla="*/ 28135 h 427581"/>
                      <a:gd name="connsiteX7" fmla="*/ 0 w 1426399"/>
                      <a:gd name="connsiteY7" fmla="*/ 0 h 427581"/>
                      <a:gd name="connsiteX8" fmla="*/ 0 w 1426399"/>
                      <a:gd name="connsiteY8" fmla="*/ 42203 h 427581"/>
                      <a:gd name="connsiteX9" fmla="*/ 56270 w 1426399"/>
                      <a:gd name="connsiteY9" fmla="*/ 28135 h 427581"/>
                      <a:gd name="connsiteX0" fmla="*/ 56270 w 1426399"/>
                      <a:gd name="connsiteY0" fmla="*/ 28135 h 427581"/>
                      <a:gd name="connsiteX1" fmla="*/ 600047 w 1426399"/>
                      <a:gd name="connsiteY1" fmla="*/ 293700 h 427581"/>
                      <a:gd name="connsiteX2" fmla="*/ 748730 w 1426399"/>
                      <a:gd name="connsiteY2" fmla="*/ 316971 h 427581"/>
                      <a:gd name="connsiteX3" fmla="*/ 1266092 w 1426399"/>
                      <a:gd name="connsiteY3" fmla="*/ 267286 h 427581"/>
                      <a:gd name="connsiteX4" fmla="*/ 872197 w 1426399"/>
                      <a:gd name="connsiteY4" fmla="*/ 112541 h 427581"/>
                      <a:gd name="connsiteX5" fmla="*/ 647113 w 1426399"/>
                      <a:gd name="connsiteY5" fmla="*/ 126609 h 427581"/>
                      <a:gd name="connsiteX6" fmla="*/ 534572 w 1426399"/>
                      <a:gd name="connsiteY6" fmla="*/ 28135 h 427581"/>
                      <a:gd name="connsiteX7" fmla="*/ 0 w 1426399"/>
                      <a:gd name="connsiteY7" fmla="*/ 0 h 427581"/>
                      <a:gd name="connsiteX8" fmla="*/ 0 w 1426399"/>
                      <a:gd name="connsiteY8" fmla="*/ 42203 h 427581"/>
                      <a:gd name="connsiteX9" fmla="*/ 56270 w 1426399"/>
                      <a:gd name="connsiteY9" fmla="*/ 28135 h 427581"/>
                      <a:gd name="connsiteX0" fmla="*/ 56270 w 1426399"/>
                      <a:gd name="connsiteY0" fmla="*/ 28135 h 427581"/>
                      <a:gd name="connsiteX1" fmla="*/ 546545 w 1426399"/>
                      <a:gd name="connsiteY1" fmla="*/ 254789 h 427581"/>
                      <a:gd name="connsiteX2" fmla="*/ 748730 w 1426399"/>
                      <a:gd name="connsiteY2" fmla="*/ 316971 h 427581"/>
                      <a:gd name="connsiteX3" fmla="*/ 1266092 w 1426399"/>
                      <a:gd name="connsiteY3" fmla="*/ 267286 h 427581"/>
                      <a:gd name="connsiteX4" fmla="*/ 872197 w 1426399"/>
                      <a:gd name="connsiteY4" fmla="*/ 112541 h 427581"/>
                      <a:gd name="connsiteX5" fmla="*/ 647113 w 1426399"/>
                      <a:gd name="connsiteY5" fmla="*/ 126609 h 427581"/>
                      <a:gd name="connsiteX6" fmla="*/ 534572 w 1426399"/>
                      <a:gd name="connsiteY6" fmla="*/ 28135 h 427581"/>
                      <a:gd name="connsiteX7" fmla="*/ 0 w 1426399"/>
                      <a:gd name="connsiteY7" fmla="*/ 0 h 427581"/>
                      <a:gd name="connsiteX8" fmla="*/ 0 w 1426399"/>
                      <a:gd name="connsiteY8" fmla="*/ 42203 h 427581"/>
                      <a:gd name="connsiteX9" fmla="*/ 56270 w 1426399"/>
                      <a:gd name="connsiteY9" fmla="*/ 28135 h 427581"/>
                      <a:gd name="connsiteX0" fmla="*/ 56270 w 1426399"/>
                      <a:gd name="connsiteY0" fmla="*/ 28135 h 427581"/>
                      <a:gd name="connsiteX1" fmla="*/ 546545 w 1426399"/>
                      <a:gd name="connsiteY1" fmla="*/ 254789 h 427581"/>
                      <a:gd name="connsiteX2" fmla="*/ 748730 w 1426399"/>
                      <a:gd name="connsiteY2" fmla="*/ 316971 h 427581"/>
                      <a:gd name="connsiteX3" fmla="*/ 1266092 w 1426399"/>
                      <a:gd name="connsiteY3" fmla="*/ 267286 h 427581"/>
                      <a:gd name="connsiteX4" fmla="*/ 872197 w 1426399"/>
                      <a:gd name="connsiteY4" fmla="*/ 112541 h 427581"/>
                      <a:gd name="connsiteX5" fmla="*/ 647113 w 1426399"/>
                      <a:gd name="connsiteY5" fmla="*/ 126609 h 427581"/>
                      <a:gd name="connsiteX6" fmla="*/ 534572 w 1426399"/>
                      <a:gd name="connsiteY6" fmla="*/ 28135 h 427581"/>
                      <a:gd name="connsiteX7" fmla="*/ 0 w 1426399"/>
                      <a:gd name="connsiteY7" fmla="*/ 0 h 427581"/>
                      <a:gd name="connsiteX8" fmla="*/ 0 w 1426399"/>
                      <a:gd name="connsiteY8" fmla="*/ 42203 h 427581"/>
                      <a:gd name="connsiteX9" fmla="*/ 56270 w 1426399"/>
                      <a:gd name="connsiteY9" fmla="*/ 28135 h 427581"/>
                      <a:gd name="connsiteX0" fmla="*/ 56270 w 1426399"/>
                      <a:gd name="connsiteY0" fmla="*/ 28135 h 427581"/>
                      <a:gd name="connsiteX1" fmla="*/ 546545 w 1426399"/>
                      <a:gd name="connsiteY1" fmla="*/ 254789 h 427581"/>
                      <a:gd name="connsiteX2" fmla="*/ 748730 w 1426399"/>
                      <a:gd name="connsiteY2" fmla="*/ 316971 h 427581"/>
                      <a:gd name="connsiteX3" fmla="*/ 1266092 w 1426399"/>
                      <a:gd name="connsiteY3" fmla="*/ 267286 h 427581"/>
                      <a:gd name="connsiteX4" fmla="*/ 872197 w 1426399"/>
                      <a:gd name="connsiteY4" fmla="*/ 112541 h 427581"/>
                      <a:gd name="connsiteX5" fmla="*/ 700615 w 1426399"/>
                      <a:gd name="connsiteY5" fmla="*/ 150928 h 427581"/>
                      <a:gd name="connsiteX6" fmla="*/ 534572 w 1426399"/>
                      <a:gd name="connsiteY6" fmla="*/ 28135 h 427581"/>
                      <a:gd name="connsiteX7" fmla="*/ 0 w 1426399"/>
                      <a:gd name="connsiteY7" fmla="*/ 0 h 427581"/>
                      <a:gd name="connsiteX8" fmla="*/ 0 w 1426399"/>
                      <a:gd name="connsiteY8" fmla="*/ 42203 h 427581"/>
                      <a:gd name="connsiteX9" fmla="*/ 56270 w 1426399"/>
                      <a:gd name="connsiteY9" fmla="*/ 28135 h 427581"/>
                      <a:gd name="connsiteX0" fmla="*/ 56270 w 1382624"/>
                      <a:gd name="connsiteY0" fmla="*/ 28135 h 427581"/>
                      <a:gd name="connsiteX1" fmla="*/ 546545 w 1382624"/>
                      <a:gd name="connsiteY1" fmla="*/ 254789 h 427581"/>
                      <a:gd name="connsiteX2" fmla="*/ 748730 w 1382624"/>
                      <a:gd name="connsiteY2" fmla="*/ 316971 h 427581"/>
                      <a:gd name="connsiteX3" fmla="*/ 1222317 w 1382624"/>
                      <a:gd name="connsiteY3" fmla="*/ 267286 h 427581"/>
                      <a:gd name="connsiteX4" fmla="*/ 872197 w 1382624"/>
                      <a:gd name="connsiteY4" fmla="*/ 112541 h 427581"/>
                      <a:gd name="connsiteX5" fmla="*/ 700615 w 1382624"/>
                      <a:gd name="connsiteY5" fmla="*/ 150928 h 427581"/>
                      <a:gd name="connsiteX6" fmla="*/ 534572 w 1382624"/>
                      <a:gd name="connsiteY6" fmla="*/ 28135 h 427581"/>
                      <a:gd name="connsiteX7" fmla="*/ 0 w 1382624"/>
                      <a:gd name="connsiteY7" fmla="*/ 0 h 427581"/>
                      <a:gd name="connsiteX8" fmla="*/ 0 w 1382624"/>
                      <a:gd name="connsiteY8" fmla="*/ 42203 h 427581"/>
                      <a:gd name="connsiteX9" fmla="*/ 56270 w 1382624"/>
                      <a:gd name="connsiteY9" fmla="*/ 28135 h 427581"/>
                      <a:gd name="connsiteX0" fmla="*/ 56270 w 1460446"/>
                      <a:gd name="connsiteY0" fmla="*/ 28135 h 359625"/>
                      <a:gd name="connsiteX1" fmla="*/ 546545 w 1460446"/>
                      <a:gd name="connsiteY1" fmla="*/ 254789 h 359625"/>
                      <a:gd name="connsiteX2" fmla="*/ 748730 w 1460446"/>
                      <a:gd name="connsiteY2" fmla="*/ 316971 h 359625"/>
                      <a:gd name="connsiteX3" fmla="*/ 1222317 w 1460446"/>
                      <a:gd name="connsiteY3" fmla="*/ 267286 h 359625"/>
                      <a:gd name="connsiteX4" fmla="*/ 872197 w 1460446"/>
                      <a:gd name="connsiteY4" fmla="*/ 112541 h 359625"/>
                      <a:gd name="connsiteX5" fmla="*/ 700615 w 1460446"/>
                      <a:gd name="connsiteY5" fmla="*/ 150928 h 359625"/>
                      <a:gd name="connsiteX6" fmla="*/ 534572 w 1460446"/>
                      <a:gd name="connsiteY6" fmla="*/ 28135 h 359625"/>
                      <a:gd name="connsiteX7" fmla="*/ 0 w 1460446"/>
                      <a:gd name="connsiteY7" fmla="*/ 0 h 359625"/>
                      <a:gd name="connsiteX8" fmla="*/ 0 w 1460446"/>
                      <a:gd name="connsiteY8" fmla="*/ 42203 h 359625"/>
                      <a:gd name="connsiteX9" fmla="*/ 56270 w 1460446"/>
                      <a:gd name="connsiteY9" fmla="*/ 28135 h 359625"/>
                      <a:gd name="connsiteX0" fmla="*/ 56270 w 1460446"/>
                      <a:gd name="connsiteY0" fmla="*/ 28135 h 359625"/>
                      <a:gd name="connsiteX1" fmla="*/ 546545 w 1460446"/>
                      <a:gd name="connsiteY1" fmla="*/ 254789 h 359625"/>
                      <a:gd name="connsiteX2" fmla="*/ 748730 w 1460446"/>
                      <a:gd name="connsiteY2" fmla="*/ 316971 h 359625"/>
                      <a:gd name="connsiteX3" fmla="*/ 1222317 w 1460446"/>
                      <a:gd name="connsiteY3" fmla="*/ 267286 h 359625"/>
                      <a:gd name="connsiteX4" fmla="*/ 872197 w 1460446"/>
                      <a:gd name="connsiteY4" fmla="*/ 112541 h 359625"/>
                      <a:gd name="connsiteX5" fmla="*/ 700615 w 1460446"/>
                      <a:gd name="connsiteY5" fmla="*/ 150928 h 359625"/>
                      <a:gd name="connsiteX6" fmla="*/ 534572 w 1460446"/>
                      <a:gd name="connsiteY6" fmla="*/ 28135 h 359625"/>
                      <a:gd name="connsiteX7" fmla="*/ 0 w 1460446"/>
                      <a:gd name="connsiteY7" fmla="*/ 0 h 359625"/>
                      <a:gd name="connsiteX8" fmla="*/ 0 w 1460446"/>
                      <a:gd name="connsiteY8" fmla="*/ 42203 h 359625"/>
                      <a:gd name="connsiteX9" fmla="*/ 56270 w 1460446"/>
                      <a:gd name="connsiteY9" fmla="*/ 28135 h 359625"/>
                      <a:gd name="connsiteX0" fmla="*/ 56270 w 1460446"/>
                      <a:gd name="connsiteY0" fmla="*/ 28135 h 359625"/>
                      <a:gd name="connsiteX1" fmla="*/ 546545 w 1460446"/>
                      <a:gd name="connsiteY1" fmla="*/ 254789 h 359625"/>
                      <a:gd name="connsiteX2" fmla="*/ 748730 w 1460446"/>
                      <a:gd name="connsiteY2" fmla="*/ 316971 h 359625"/>
                      <a:gd name="connsiteX3" fmla="*/ 1222317 w 1460446"/>
                      <a:gd name="connsiteY3" fmla="*/ 267286 h 359625"/>
                      <a:gd name="connsiteX4" fmla="*/ 872197 w 1460446"/>
                      <a:gd name="connsiteY4" fmla="*/ 146587 h 359625"/>
                      <a:gd name="connsiteX5" fmla="*/ 700615 w 1460446"/>
                      <a:gd name="connsiteY5" fmla="*/ 150928 h 359625"/>
                      <a:gd name="connsiteX6" fmla="*/ 534572 w 1460446"/>
                      <a:gd name="connsiteY6" fmla="*/ 28135 h 359625"/>
                      <a:gd name="connsiteX7" fmla="*/ 0 w 1460446"/>
                      <a:gd name="connsiteY7" fmla="*/ 0 h 359625"/>
                      <a:gd name="connsiteX8" fmla="*/ 0 w 1460446"/>
                      <a:gd name="connsiteY8" fmla="*/ 42203 h 359625"/>
                      <a:gd name="connsiteX9" fmla="*/ 56270 w 1460446"/>
                      <a:gd name="connsiteY9" fmla="*/ 28135 h 359625"/>
                      <a:gd name="connsiteX0" fmla="*/ 56270 w 1460446"/>
                      <a:gd name="connsiteY0" fmla="*/ 28135 h 359625"/>
                      <a:gd name="connsiteX1" fmla="*/ 546545 w 1460446"/>
                      <a:gd name="connsiteY1" fmla="*/ 254789 h 359625"/>
                      <a:gd name="connsiteX2" fmla="*/ 748730 w 1460446"/>
                      <a:gd name="connsiteY2" fmla="*/ 316971 h 359625"/>
                      <a:gd name="connsiteX3" fmla="*/ 1222317 w 1460446"/>
                      <a:gd name="connsiteY3" fmla="*/ 267286 h 359625"/>
                      <a:gd name="connsiteX4" fmla="*/ 872197 w 1460446"/>
                      <a:gd name="connsiteY4" fmla="*/ 146587 h 359625"/>
                      <a:gd name="connsiteX5" fmla="*/ 705479 w 1460446"/>
                      <a:gd name="connsiteY5" fmla="*/ 180111 h 359625"/>
                      <a:gd name="connsiteX6" fmla="*/ 534572 w 1460446"/>
                      <a:gd name="connsiteY6" fmla="*/ 28135 h 359625"/>
                      <a:gd name="connsiteX7" fmla="*/ 0 w 1460446"/>
                      <a:gd name="connsiteY7" fmla="*/ 0 h 359625"/>
                      <a:gd name="connsiteX8" fmla="*/ 0 w 1460446"/>
                      <a:gd name="connsiteY8" fmla="*/ 42203 h 359625"/>
                      <a:gd name="connsiteX9" fmla="*/ 56270 w 1460446"/>
                      <a:gd name="connsiteY9" fmla="*/ 28135 h 359625"/>
                      <a:gd name="connsiteX0" fmla="*/ 56270 w 1460446"/>
                      <a:gd name="connsiteY0" fmla="*/ 28135 h 359625"/>
                      <a:gd name="connsiteX1" fmla="*/ 546545 w 1460446"/>
                      <a:gd name="connsiteY1" fmla="*/ 254789 h 359625"/>
                      <a:gd name="connsiteX2" fmla="*/ 748730 w 1460446"/>
                      <a:gd name="connsiteY2" fmla="*/ 316971 h 359625"/>
                      <a:gd name="connsiteX3" fmla="*/ 1222317 w 1460446"/>
                      <a:gd name="connsiteY3" fmla="*/ 267286 h 359625"/>
                      <a:gd name="connsiteX4" fmla="*/ 872197 w 1460446"/>
                      <a:gd name="connsiteY4" fmla="*/ 146587 h 359625"/>
                      <a:gd name="connsiteX5" fmla="*/ 705479 w 1460446"/>
                      <a:gd name="connsiteY5" fmla="*/ 180111 h 359625"/>
                      <a:gd name="connsiteX6" fmla="*/ 534572 w 1460446"/>
                      <a:gd name="connsiteY6" fmla="*/ 67046 h 359625"/>
                      <a:gd name="connsiteX7" fmla="*/ 0 w 1460446"/>
                      <a:gd name="connsiteY7" fmla="*/ 0 h 359625"/>
                      <a:gd name="connsiteX8" fmla="*/ 0 w 1460446"/>
                      <a:gd name="connsiteY8" fmla="*/ 42203 h 359625"/>
                      <a:gd name="connsiteX9" fmla="*/ 56270 w 1460446"/>
                      <a:gd name="connsiteY9" fmla="*/ 28135 h 359625"/>
                      <a:gd name="connsiteX0" fmla="*/ 56270 w 1460446"/>
                      <a:gd name="connsiteY0" fmla="*/ 28135 h 359625"/>
                      <a:gd name="connsiteX1" fmla="*/ 546545 w 1460446"/>
                      <a:gd name="connsiteY1" fmla="*/ 254789 h 359625"/>
                      <a:gd name="connsiteX2" fmla="*/ 748730 w 1460446"/>
                      <a:gd name="connsiteY2" fmla="*/ 316971 h 359625"/>
                      <a:gd name="connsiteX3" fmla="*/ 1222317 w 1460446"/>
                      <a:gd name="connsiteY3" fmla="*/ 267286 h 359625"/>
                      <a:gd name="connsiteX4" fmla="*/ 872197 w 1460446"/>
                      <a:gd name="connsiteY4" fmla="*/ 146587 h 359625"/>
                      <a:gd name="connsiteX5" fmla="*/ 705479 w 1460446"/>
                      <a:gd name="connsiteY5" fmla="*/ 180111 h 359625"/>
                      <a:gd name="connsiteX6" fmla="*/ 534572 w 1460446"/>
                      <a:gd name="connsiteY6" fmla="*/ 67046 h 359625"/>
                      <a:gd name="connsiteX7" fmla="*/ 0 w 1460446"/>
                      <a:gd name="connsiteY7" fmla="*/ 0 h 359625"/>
                      <a:gd name="connsiteX8" fmla="*/ 0 w 1460446"/>
                      <a:gd name="connsiteY8" fmla="*/ 42203 h 359625"/>
                      <a:gd name="connsiteX9" fmla="*/ 56270 w 1460446"/>
                      <a:gd name="connsiteY9" fmla="*/ 28135 h 359625"/>
                      <a:gd name="connsiteX0" fmla="*/ 56270 w 1460446"/>
                      <a:gd name="connsiteY0" fmla="*/ 28135 h 359625"/>
                      <a:gd name="connsiteX1" fmla="*/ 546545 w 1460446"/>
                      <a:gd name="connsiteY1" fmla="*/ 254789 h 359625"/>
                      <a:gd name="connsiteX2" fmla="*/ 748730 w 1460446"/>
                      <a:gd name="connsiteY2" fmla="*/ 316971 h 359625"/>
                      <a:gd name="connsiteX3" fmla="*/ 1222317 w 1460446"/>
                      <a:gd name="connsiteY3" fmla="*/ 267286 h 359625"/>
                      <a:gd name="connsiteX4" fmla="*/ 872197 w 1460446"/>
                      <a:gd name="connsiteY4" fmla="*/ 146587 h 359625"/>
                      <a:gd name="connsiteX5" fmla="*/ 705479 w 1460446"/>
                      <a:gd name="connsiteY5" fmla="*/ 180111 h 359625"/>
                      <a:gd name="connsiteX6" fmla="*/ 534572 w 1460446"/>
                      <a:gd name="connsiteY6" fmla="*/ 67046 h 359625"/>
                      <a:gd name="connsiteX7" fmla="*/ 0 w 1460446"/>
                      <a:gd name="connsiteY7" fmla="*/ 0 h 359625"/>
                      <a:gd name="connsiteX8" fmla="*/ 56270 w 1460446"/>
                      <a:gd name="connsiteY8" fmla="*/ 28135 h 359625"/>
                      <a:gd name="connsiteX0" fmla="*/ 0 w 1460446"/>
                      <a:gd name="connsiteY0" fmla="*/ 0 h 359625"/>
                      <a:gd name="connsiteX1" fmla="*/ 546545 w 1460446"/>
                      <a:gd name="connsiteY1" fmla="*/ 254789 h 359625"/>
                      <a:gd name="connsiteX2" fmla="*/ 748730 w 1460446"/>
                      <a:gd name="connsiteY2" fmla="*/ 316971 h 359625"/>
                      <a:gd name="connsiteX3" fmla="*/ 1222317 w 1460446"/>
                      <a:gd name="connsiteY3" fmla="*/ 267286 h 359625"/>
                      <a:gd name="connsiteX4" fmla="*/ 872197 w 1460446"/>
                      <a:gd name="connsiteY4" fmla="*/ 146587 h 359625"/>
                      <a:gd name="connsiteX5" fmla="*/ 705479 w 1460446"/>
                      <a:gd name="connsiteY5" fmla="*/ 180111 h 359625"/>
                      <a:gd name="connsiteX6" fmla="*/ 534572 w 1460446"/>
                      <a:gd name="connsiteY6" fmla="*/ 67046 h 359625"/>
                      <a:gd name="connsiteX7" fmla="*/ 0 w 1460446"/>
                      <a:gd name="connsiteY7" fmla="*/ 0 h 359625"/>
                      <a:gd name="connsiteX0" fmla="*/ 0 w 1460446"/>
                      <a:gd name="connsiteY0" fmla="*/ 0 h 359625"/>
                      <a:gd name="connsiteX1" fmla="*/ 546545 w 1460446"/>
                      <a:gd name="connsiteY1" fmla="*/ 254789 h 359625"/>
                      <a:gd name="connsiteX2" fmla="*/ 748730 w 1460446"/>
                      <a:gd name="connsiteY2" fmla="*/ 316971 h 359625"/>
                      <a:gd name="connsiteX3" fmla="*/ 1222317 w 1460446"/>
                      <a:gd name="connsiteY3" fmla="*/ 267286 h 359625"/>
                      <a:gd name="connsiteX4" fmla="*/ 872197 w 1460446"/>
                      <a:gd name="connsiteY4" fmla="*/ 146587 h 359625"/>
                      <a:gd name="connsiteX5" fmla="*/ 705479 w 1460446"/>
                      <a:gd name="connsiteY5" fmla="*/ 180111 h 359625"/>
                      <a:gd name="connsiteX6" fmla="*/ 534572 w 1460446"/>
                      <a:gd name="connsiteY6" fmla="*/ 67046 h 359625"/>
                      <a:gd name="connsiteX7" fmla="*/ 0 w 1460446"/>
                      <a:gd name="connsiteY7" fmla="*/ 0 h 359625"/>
                      <a:gd name="connsiteX0" fmla="*/ 0 w 1348578"/>
                      <a:gd name="connsiteY0" fmla="*/ 0 h 354761"/>
                      <a:gd name="connsiteX1" fmla="*/ 434677 w 1348578"/>
                      <a:gd name="connsiteY1" fmla="*/ 249925 h 354761"/>
                      <a:gd name="connsiteX2" fmla="*/ 636862 w 1348578"/>
                      <a:gd name="connsiteY2" fmla="*/ 312107 h 354761"/>
                      <a:gd name="connsiteX3" fmla="*/ 1110449 w 1348578"/>
                      <a:gd name="connsiteY3" fmla="*/ 262422 h 354761"/>
                      <a:gd name="connsiteX4" fmla="*/ 760329 w 1348578"/>
                      <a:gd name="connsiteY4" fmla="*/ 141723 h 354761"/>
                      <a:gd name="connsiteX5" fmla="*/ 593611 w 1348578"/>
                      <a:gd name="connsiteY5" fmla="*/ 175247 h 354761"/>
                      <a:gd name="connsiteX6" fmla="*/ 422704 w 1348578"/>
                      <a:gd name="connsiteY6" fmla="*/ 62182 h 354761"/>
                      <a:gd name="connsiteX7" fmla="*/ 0 w 1348578"/>
                      <a:gd name="connsiteY7" fmla="*/ 0 h 354761"/>
                      <a:gd name="connsiteX0" fmla="*/ 119377 w 1467955"/>
                      <a:gd name="connsiteY0" fmla="*/ 12347 h 367108"/>
                      <a:gd name="connsiteX1" fmla="*/ 554054 w 1467955"/>
                      <a:gd name="connsiteY1" fmla="*/ 262272 h 367108"/>
                      <a:gd name="connsiteX2" fmla="*/ 756239 w 1467955"/>
                      <a:gd name="connsiteY2" fmla="*/ 324454 h 367108"/>
                      <a:gd name="connsiteX3" fmla="*/ 1229826 w 1467955"/>
                      <a:gd name="connsiteY3" fmla="*/ 274769 h 367108"/>
                      <a:gd name="connsiteX4" fmla="*/ 879706 w 1467955"/>
                      <a:gd name="connsiteY4" fmla="*/ 154070 h 367108"/>
                      <a:gd name="connsiteX5" fmla="*/ 712988 w 1467955"/>
                      <a:gd name="connsiteY5" fmla="*/ 187594 h 367108"/>
                      <a:gd name="connsiteX6" fmla="*/ 542081 w 1467955"/>
                      <a:gd name="connsiteY6" fmla="*/ 74529 h 367108"/>
                      <a:gd name="connsiteX7" fmla="*/ 119377 w 1467955"/>
                      <a:gd name="connsiteY7" fmla="*/ 12347 h 367108"/>
                      <a:gd name="connsiteX0" fmla="*/ 129104 w 1477682"/>
                      <a:gd name="connsiteY0" fmla="*/ 0 h 354761"/>
                      <a:gd name="connsiteX1" fmla="*/ 563781 w 1477682"/>
                      <a:gd name="connsiteY1" fmla="*/ 249925 h 354761"/>
                      <a:gd name="connsiteX2" fmla="*/ 765966 w 1477682"/>
                      <a:gd name="connsiteY2" fmla="*/ 312107 h 354761"/>
                      <a:gd name="connsiteX3" fmla="*/ 1239553 w 1477682"/>
                      <a:gd name="connsiteY3" fmla="*/ 262422 h 354761"/>
                      <a:gd name="connsiteX4" fmla="*/ 889433 w 1477682"/>
                      <a:gd name="connsiteY4" fmla="*/ 141723 h 354761"/>
                      <a:gd name="connsiteX5" fmla="*/ 722715 w 1477682"/>
                      <a:gd name="connsiteY5" fmla="*/ 175247 h 354761"/>
                      <a:gd name="connsiteX6" fmla="*/ 551808 w 1477682"/>
                      <a:gd name="connsiteY6" fmla="*/ 62182 h 354761"/>
                      <a:gd name="connsiteX7" fmla="*/ 129104 w 1477682"/>
                      <a:gd name="connsiteY7" fmla="*/ 0 h 354761"/>
                      <a:gd name="connsiteX0" fmla="*/ 129104 w 1341494"/>
                      <a:gd name="connsiteY0" fmla="*/ 0 h 340169"/>
                      <a:gd name="connsiteX1" fmla="*/ 427593 w 1341494"/>
                      <a:gd name="connsiteY1" fmla="*/ 235333 h 340169"/>
                      <a:gd name="connsiteX2" fmla="*/ 629778 w 1341494"/>
                      <a:gd name="connsiteY2" fmla="*/ 297515 h 340169"/>
                      <a:gd name="connsiteX3" fmla="*/ 1103365 w 1341494"/>
                      <a:gd name="connsiteY3" fmla="*/ 247830 h 340169"/>
                      <a:gd name="connsiteX4" fmla="*/ 753245 w 1341494"/>
                      <a:gd name="connsiteY4" fmla="*/ 127131 h 340169"/>
                      <a:gd name="connsiteX5" fmla="*/ 586527 w 1341494"/>
                      <a:gd name="connsiteY5" fmla="*/ 160655 h 340169"/>
                      <a:gd name="connsiteX6" fmla="*/ 415620 w 1341494"/>
                      <a:gd name="connsiteY6" fmla="*/ 47590 h 340169"/>
                      <a:gd name="connsiteX7" fmla="*/ 129104 w 1341494"/>
                      <a:gd name="connsiteY7" fmla="*/ 0 h 340169"/>
                      <a:gd name="connsiteX0" fmla="*/ 508482 w 1720872"/>
                      <a:gd name="connsiteY0" fmla="*/ 60985 h 401154"/>
                      <a:gd name="connsiteX1" fmla="*/ 806971 w 1720872"/>
                      <a:gd name="connsiteY1" fmla="*/ 296318 h 401154"/>
                      <a:gd name="connsiteX2" fmla="*/ 1009156 w 1720872"/>
                      <a:gd name="connsiteY2" fmla="*/ 358500 h 401154"/>
                      <a:gd name="connsiteX3" fmla="*/ 1482743 w 1720872"/>
                      <a:gd name="connsiteY3" fmla="*/ 308815 h 401154"/>
                      <a:gd name="connsiteX4" fmla="*/ 1132623 w 1720872"/>
                      <a:gd name="connsiteY4" fmla="*/ 188116 h 401154"/>
                      <a:gd name="connsiteX5" fmla="*/ 965905 w 1720872"/>
                      <a:gd name="connsiteY5" fmla="*/ 221640 h 401154"/>
                      <a:gd name="connsiteX6" fmla="*/ 794998 w 1720872"/>
                      <a:gd name="connsiteY6" fmla="*/ 108575 h 401154"/>
                      <a:gd name="connsiteX7" fmla="*/ 508482 w 1720872"/>
                      <a:gd name="connsiteY7" fmla="*/ 60985 h 401154"/>
                      <a:gd name="connsiteX0" fmla="*/ 508482 w 1720872"/>
                      <a:gd name="connsiteY0" fmla="*/ 60985 h 362244"/>
                      <a:gd name="connsiteX1" fmla="*/ 806971 w 1720872"/>
                      <a:gd name="connsiteY1" fmla="*/ 257408 h 362244"/>
                      <a:gd name="connsiteX2" fmla="*/ 1009156 w 1720872"/>
                      <a:gd name="connsiteY2" fmla="*/ 319590 h 362244"/>
                      <a:gd name="connsiteX3" fmla="*/ 1482743 w 1720872"/>
                      <a:gd name="connsiteY3" fmla="*/ 269905 h 362244"/>
                      <a:gd name="connsiteX4" fmla="*/ 1132623 w 1720872"/>
                      <a:gd name="connsiteY4" fmla="*/ 149206 h 362244"/>
                      <a:gd name="connsiteX5" fmla="*/ 965905 w 1720872"/>
                      <a:gd name="connsiteY5" fmla="*/ 182730 h 362244"/>
                      <a:gd name="connsiteX6" fmla="*/ 794998 w 1720872"/>
                      <a:gd name="connsiteY6" fmla="*/ 69665 h 362244"/>
                      <a:gd name="connsiteX7" fmla="*/ 508482 w 1720872"/>
                      <a:gd name="connsiteY7" fmla="*/ 60985 h 362244"/>
                      <a:gd name="connsiteX0" fmla="*/ 513346 w 1725736"/>
                      <a:gd name="connsiteY0" fmla="*/ 138806 h 440065"/>
                      <a:gd name="connsiteX1" fmla="*/ 811835 w 1725736"/>
                      <a:gd name="connsiteY1" fmla="*/ 335229 h 440065"/>
                      <a:gd name="connsiteX2" fmla="*/ 1014020 w 1725736"/>
                      <a:gd name="connsiteY2" fmla="*/ 397411 h 440065"/>
                      <a:gd name="connsiteX3" fmla="*/ 1487607 w 1725736"/>
                      <a:gd name="connsiteY3" fmla="*/ 347726 h 440065"/>
                      <a:gd name="connsiteX4" fmla="*/ 1137487 w 1725736"/>
                      <a:gd name="connsiteY4" fmla="*/ 227027 h 440065"/>
                      <a:gd name="connsiteX5" fmla="*/ 970769 w 1725736"/>
                      <a:gd name="connsiteY5" fmla="*/ 260551 h 440065"/>
                      <a:gd name="connsiteX6" fmla="*/ 799862 w 1725736"/>
                      <a:gd name="connsiteY6" fmla="*/ 147486 h 440065"/>
                      <a:gd name="connsiteX7" fmla="*/ 513346 w 1725736"/>
                      <a:gd name="connsiteY7" fmla="*/ 138806 h 440065"/>
                      <a:gd name="connsiteX0" fmla="*/ 450116 w 1662506"/>
                      <a:gd name="connsiteY0" fmla="*/ 167989 h 469248"/>
                      <a:gd name="connsiteX1" fmla="*/ 748605 w 1662506"/>
                      <a:gd name="connsiteY1" fmla="*/ 364412 h 469248"/>
                      <a:gd name="connsiteX2" fmla="*/ 950790 w 1662506"/>
                      <a:gd name="connsiteY2" fmla="*/ 426594 h 469248"/>
                      <a:gd name="connsiteX3" fmla="*/ 1424377 w 1662506"/>
                      <a:gd name="connsiteY3" fmla="*/ 376909 h 469248"/>
                      <a:gd name="connsiteX4" fmla="*/ 1074257 w 1662506"/>
                      <a:gd name="connsiteY4" fmla="*/ 256210 h 469248"/>
                      <a:gd name="connsiteX5" fmla="*/ 907539 w 1662506"/>
                      <a:gd name="connsiteY5" fmla="*/ 289734 h 469248"/>
                      <a:gd name="connsiteX6" fmla="*/ 736632 w 1662506"/>
                      <a:gd name="connsiteY6" fmla="*/ 176669 h 469248"/>
                      <a:gd name="connsiteX7" fmla="*/ 450116 w 1662506"/>
                      <a:gd name="connsiteY7" fmla="*/ 167989 h 469248"/>
                      <a:gd name="connsiteX0" fmla="*/ 450116 w 1662506"/>
                      <a:gd name="connsiteY0" fmla="*/ 167989 h 483839"/>
                      <a:gd name="connsiteX1" fmla="*/ 748605 w 1662506"/>
                      <a:gd name="connsiteY1" fmla="*/ 379003 h 483839"/>
                      <a:gd name="connsiteX2" fmla="*/ 950790 w 1662506"/>
                      <a:gd name="connsiteY2" fmla="*/ 441185 h 483839"/>
                      <a:gd name="connsiteX3" fmla="*/ 1424377 w 1662506"/>
                      <a:gd name="connsiteY3" fmla="*/ 391500 h 483839"/>
                      <a:gd name="connsiteX4" fmla="*/ 1074257 w 1662506"/>
                      <a:gd name="connsiteY4" fmla="*/ 270801 h 483839"/>
                      <a:gd name="connsiteX5" fmla="*/ 907539 w 1662506"/>
                      <a:gd name="connsiteY5" fmla="*/ 304325 h 483839"/>
                      <a:gd name="connsiteX6" fmla="*/ 736632 w 1662506"/>
                      <a:gd name="connsiteY6" fmla="*/ 191260 h 483839"/>
                      <a:gd name="connsiteX7" fmla="*/ 450116 w 1662506"/>
                      <a:gd name="connsiteY7" fmla="*/ 167989 h 483839"/>
                      <a:gd name="connsiteX0" fmla="*/ 450116 w 1662506"/>
                      <a:gd name="connsiteY0" fmla="*/ 167989 h 483839"/>
                      <a:gd name="connsiteX1" fmla="*/ 748605 w 1662506"/>
                      <a:gd name="connsiteY1" fmla="*/ 379003 h 483839"/>
                      <a:gd name="connsiteX2" fmla="*/ 950790 w 1662506"/>
                      <a:gd name="connsiteY2" fmla="*/ 441185 h 483839"/>
                      <a:gd name="connsiteX3" fmla="*/ 1424377 w 1662506"/>
                      <a:gd name="connsiteY3" fmla="*/ 391500 h 483839"/>
                      <a:gd name="connsiteX4" fmla="*/ 1074257 w 1662506"/>
                      <a:gd name="connsiteY4" fmla="*/ 270801 h 483839"/>
                      <a:gd name="connsiteX5" fmla="*/ 907539 w 1662506"/>
                      <a:gd name="connsiteY5" fmla="*/ 304325 h 483839"/>
                      <a:gd name="connsiteX6" fmla="*/ 736632 w 1662506"/>
                      <a:gd name="connsiteY6" fmla="*/ 191260 h 483839"/>
                      <a:gd name="connsiteX7" fmla="*/ 450116 w 1662506"/>
                      <a:gd name="connsiteY7" fmla="*/ 167989 h 483839"/>
                      <a:gd name="connsiteX0" fmla="*/ 576575 w 1788965"/>
                      <a:gd name="connsiteY0" fmla="*/ 202035 h 517885"/>
                      <a:gd name="connsiteX1" fmla="*/ 875064 w 1788965"/>
                      <a:gd name="connsiteY1" fmla="*/ 413049 h 517885"/>
                      <a:gd name="connsiteX2" fmla="*/ 1077249 w 1788965"/>
                      <a:gd name="connsiteY2" fmla="*/ 475231 h 517885"/>
                      <a:gd name="connsiteX3" fmla="*/ 1550836 w 1788965"/>
                      <a:gd name="connsiteY3" fmla="*/ 425546 h 517885"/>
                      <a:gd name="connsiteX4" fmla="*/ 1200716 w 1788965"/>
                      <a:gd name="connsiteY4" fmla="*/ 304847 h 517885"/>
                      <a:gd name="connsiteX5" fmla="*/ 1033998 w 1788965"/>
                      <a:gd name="connsiteY5" fmla="*/ 338371 h 517885"/>
                      <a:gd name="connsiteX6" fmla="*/ 863091 w 1788965"/>
                      <a:gd name="connsiteY6" fmla="*/ 225306 h 517885"/>
                      <a:gd name="connsiteX7" fmla="*/ 576575 w 1788965"/>
                      <a:gd name="connsiteY7" fmla="*/ 202035 h 517885"/>
                      <a:gd name="connsiteX0" fmla="*/ 576575 w 1788965"/>
                      <a:gd name="connsiteY0" fmla="*/ 202035 h 517885"/>
                      <a:gd name="connsiteX1" fmla="*/ 855608 w 1788965"/>
                      <a:gd name="connsiteY1" fmla="*/ 408186 h 517885"/>
                      <a:gd name="connsiteX2" fmla="*/ 1077249 w 1788965"/>
                      <a:gd name="connsiteY2" fmla="*/ 475231 h 517885"/>
                      <a:gd name="connsiteX3" fmla="*/ 1550836 w 1788965"/>
                      <a:gd name="connsiteY3" fmla="*/ 425546 h 517885"/>
                      <a:gd name="connsiteX4" fmla="*/ 1200716 w 1788965"/>
                      <a:gd name="connsiteY4" fmla="*/ 304847 h 517885"/>
                      <a:gd name="connsiteX5" fmla="*/ 1033998 w 1788965"/>
                      <a:gd name="connsiteY5" fmla="*/ 338371 h 517885"/>
                      <a:gd name="connsiteX6" fmla="*/ 863091 w 1788965"/>
                      <a:gd name="connsiteY6" fmla="*/ 225306 h 517885"/>
                      <a:gd name="connsiteX7" fmla="*/ 576575 w 1788965"/>
                      <a:gd name="connsiteY7" fmla="*/ 202035 h 517885"/>
                      <a:gd name="connsiteX0" fmla="*/ 576575 w 1788965"/>
                      <a:gd name="connsiteY0" fmla="*/ 202035 h 517885"/>
                      <a:gd name="connsiteX1" fmla="*/ 855608 w 1788965"/>
                      <a:gd name="connsiteY1" fmla="*/ 408186 h 517885"/>
                      <a:gd name="connsiteX2" fmla="*/ 1077249 w 1788965"/>
                      <a:gd name="connsiteY2" fmla="*/ 475231 h 517885"/>
                      <a:gd name="connsiteX3" fmla="*/ 1550836 w 1788965"/>
                      <a:gd name="connsiteY3" fmla="*/ 425546 h 517885"/>
                      <a:gd name="connsiteX4" fmla="*/ 1200716 w 1788965"/>
                      <a:gd name="connsiteY4" fmla="*/ 304847 h 517885"/>
                      <a:gd name="connsiteX5" fmla="*/ 1033998 w 1788965"/>
                      <a:gd name="connsiteY5" fmla="*/ 338371 h 517885"/>
                      <a:gd name="connsiteX6" fmla="*/ 863091 w 1788965"/>
                      <a:gd name="connsiteY6" fmla="*/ 225306 h 517885"/>
                      <a:gd name="connsiteX7" fmla="*/ 576575 w 1788965"/>
                      <a:gd name="connsiteY7" fmla="*/ 202035 h 517885"/>
                      <a:gd name="connsiteX0" fmla="*/ 576575 w 1869482"/>
                      <a:gd name="connsiteY0" fmla="*/ 202035 h 479625"/>
                      <a:gd name="connsiteX1" fmla="*/ 855608 w 1869482"/>
                      <a:gd name="connsiteY1" fmla="*/ 408186 h 479625"/>
                      <a:gd name="connsiteX2" fmla="*/ 1077249 w 1869482"/>
                      <a:gd name="connsiteY2" fmla="*/ 475231 h 479625"/>
                      <a:gd name="connsiteX3" fmla="*/ 1790551 w 1869482"/>
                      <a:gd name="connsiteY3" fmla="*/ 380396 h 479625"/>
                      <a:gd name="connsiteX4" fmla="*/ 1550836 w 1869482"/>
                      <a:gd name="connsiteY4" fmla="*/ 425546 h 479625"/>
                      <a:gd name="connsiteX5" fmla="*/ 1200716 w 1869482"/>
                      <a:gd name="connsiteY5" fmla="*/ 304847 h 479625"/>
                      <a:gd name="connsiteX6" fmla="*/ 1033998 w 1869482"/>
                      <a:gd name="connsiteY6" fmla="*/ 338371 h 479625"/>
                      <a:gd name="connsiteX7" fmla="*/ 863091 w 1869482"/>
                      <a:gd name="connsiteY7" fmla="*/ 225306 h 479625"/>
                      <a:gd name="connsiteX8" fmla="*/ 576575 w 1869482"/>
                      <a:gd name="connsiteY8" fmla="*/ 202035 h 479625"/>
                      <a:gd name="connsiteX0" fmla="*/ 576575 w 1869482"/>
                      <a:gd name="connsiteY0" fmla="*/ 202035 h 479625"/>
                      <a:gd name="connsiteX1" fmla="*/ 855608 w 1869482"/>
                      <a:gd name="connsiteY1" fmla="*/ 408186 h 479625"/>
                      <a:gd name="connsiteX2" fmla="*/ 1077249 w 1869482"/>
                      <a:gd name="connsiteY2" fmla="*/ 475231 h 479625"/>
                      <a:gd name="connsiteX3" fmla="*/ 1790551 w 1869482"/>
                      <a:gd name="connsiteY3" fmla="*/ 380396 h 479625"/>
                      <a:gd name="connsiteX4" fmla="*/ 1550836 w 1869482"/>
                      <a:gd name="connsiteY4" fmla="*/ 425546 h 479625"/>
                      <a:gd name="connsiteX5" fmla="*/ 1200716 w 1869482"/>
                      <a:gd name="connsiteY5" fmla="*/ 304847 h 479625"/>
                      <a:gd name="connsiteX6" fmla="*/ 1033998 w 1869482"/>
                      <a:gd name="connsiteY6" fmla="*/ 338371 h 479625"/>
                      <a:gd name="connsiteX7" fmla="*/ 863091 w 1869482"/>
                      <a:gd name="connsiteY7" fmla="*/ 225306 h 479625"/>
                      <a:gd name="connsiteX8" fmla="*/ 576575 w 1869482"/>
                      <a:gd name="connsiteY8" fmla="*/ 202035 h 479625"/>
                      <a:gd name="connsiteX0" fmla="*/ 576575 w 1869482"/>
                      <a:gd name="connsiteY0" fmla="*/ 202035 h 491953"/>
                      <a:gd name="connsiteX1" fmla="*/ 855608 w 1869482"/>
                      <a:gd name="connsiteY1" fmla="*/ 408186 h 491953"/>
                      <a:gd name="connsiteX2" fmla="*/ 1077249 w 1869482"/>
                      <a:gd name="connsiteY2" fmla="*/ 475231 h 491953"/>
                      <a:gd name="connsiteX3" fmla="*/ 1790551 w 1869482"/>
                      <a:gd name="connsiteY3" fmla="*/ 380396 h 491953"/>
                      <a:gd name="connsiteX4" fmla="*/ 1550836 w 1869482"/>
                      <a:gd name="connsiteY4" fmla="*/ 425546 h 491953"/>
                      <a:gd name="connsiteX5" fmla="*/ 1200716 w 1869482"/>
                      <a:gd name="connsiteY5" fmla="*/ 304847 h 491953"/>
                      <a:gd name="connsiteX6" fmla="*/ 1033998 w 1869482"/>
                      <a:gd name="connsiteY6" fmla="*/ 338371 h 491953"/>
                      <a:gd name="connsiteX7" fmla="*/ 863091 w 1869482"/>
                      <a:gd name="connsiteY7" fmla="*/ 225306 h 491953"/>
                      <a:gd name="connsiteX8" fmla="*/ 576575 w 1869482"/>
                      <a:gd name="connsiteY8" fmla="*/ 202035 h 491953"/>
                      <a:gd name="connsiteX0" fmla="*/ 576575 w 1869482"/>
                      <a:gd name="connsiteY0" fmla="*/ 202035 h 491953"/>
                      <a:gd name="connsiteX1" fmla="*/ 855608 w 1869482"/>
                      <a:gd name="connsiteY1" fmla="*/ 408186 h 491953"/>
                      <a:gd name="connsiteX2" fmla="*/ 1077249 w 1869482"/>
                      <a:gd name="connsiteY2" fmla="*/ 475231 h 491953"/>
                      <a:gd name="connsiteX3" fmla="*/ 1790551 w 1869482"/>
                      <a:gd name="connsiteY3" fmla="*/ 380396 h 491953"/>
                      <a:gd name="connsiteX4" fmla="*/ 1556973 w 1869482"/>
                      <a:gd name="connsiteY4" fmla="*/ 379863 h 491953"/>
                      <a:gd name="connsiteX5" fmla="*/ 1200716 w 1869482"/>
                      <a:gd name="connsiteY5" fmla="*/ 304847 h 491953"/>
                      <a:gd name="connsiteX6" fmla="*/ 1033998 w 1869482"/>
                      <a:gd name="connsiteY6" fmla="*/ 338371 h 491953"/>
                      <a:gd name="connsiteX7" fmla="*/ 863091 w 1869482"/>
                      <a:gd name="connsiteY7" fmla="*/ 225306 h 491953"/>
                      <a:gd name="connsiteX8" fmla="*/ 576575 w 1869482"/>
                      <a:gd name="connsiteY8" fmla="*/ 202035 h 491953"/>
                      <a:gd name="connsiteX0" fmla="*/ 576575 w 1790551"/>
                      <a:gd name="connsiteY0" fmla="*/ 202035 h 491953"/>
                      <a:gd name="connsiteX1" fmla="*/ 855608 w 1790551"/>
                      <a:gd name="connsiteY1" fmla="*/ 408186 h 491953"/>
                      <a:gd name="connsiteX2" fmla="*/ 1077249 w 1790551"/>
                      <a:gd name="connsiteY2" fmla="*/ 475231 h 491953"/>
                      <a:gd name="connsiteX3" fmla="*/ 1790551 w 1790551"/>
                      <a:gd name="connsiteY3" fmla="*/ 380396 h 491953"/>
                      <a:gd name="connsiteX4" fmla="*/ 1556973 w 1790551"/>
                      <a:gd name="connsiteY4" fmla="*/ 379863 h 491953"/>
                      <a:gd name="connsiteX5" fmla="*/ 1200716 w 1790551"/>
                      <a:gd name="connsiteY5" fmla="*/ 304847 h 491953"/>
                      <a:gd name="connsiteX6" fmla="*/ 1033998 w 1790551"/>
                      <a:gd name="connsiteY6" fmla="*/ 338371 h 491953"/>
                      <a:gd name="connsiteX7" fmla="*/ 863091 w 1790551"/>
                      <a:gd name="connsiteY7" fmla="*/ 225306 h 491953"/>
                      <a:gd name="connsiteX8" fmla="*/ 576575 w 1790551"/>
                      <a:gd name="connsiteY8" fmla="*/ 202035 h 491953"/>
                      <a:gd name="connsiteX0" fmla="*/ 576575 w 1790551"/>
                      <a:gd name="connsiteY0" fmla="*/ 202035 h 491953"/>
                      <a:gd name="connsiteX1" fmla="*/ 855608 w 1790551"/>
                      <a:gd name="connsiteY1" fmla="*/ 408186 h 491953"/>
                      <a:gd name="connsiteX2" fmla="*/ 1077249 w 1790551"/>
                      <a:gd name="connsiteY2" fmla="*/ 475231 h 491953"/>
                      <a:gd name="connsiteX3" fmla="*/ 1790551 w 1790551"/>
                      <a:gd name="connsiteY3" fmla="*/ 380396 h 491953"/>
                      <a:gd name="connsiteX4" fmla="*/ 1556973 w 1790551"/>
                      <a:gd name="connsiteY4" fmla="*/ 379863 h 491953"/>
                      <a:gd name="connsiteX5" fmla="*/ 1200716 w 1790551"/>
                      <a:gd name="connsiteY5" fmla="*/ 304847 h 491953"/>
                      <a:gd name="connsiteX6" fmla="*/ 1033998 w 1790551"/>
                      <a:gd name="connsiteY6" fmla="*/ 338371 h 491953"/>
                      <a:gd name="connsiteX7" fmla="*/ 863091 w 1790551"/>
                      <a:gd name="connsiteY7" fmla="*/ 225306 h 491953"/>
                      <a:gd name="connsiteX8" fmla="*/ 576575 w 1790551"/>
                      <a:gd name="connsiteY8" fmla="*/ 202035 h 491953"/>
                      <a:gd name="connsiteX0" fmla="*/ 576575 w 1790551"/>
                      <a:gd name="connsiteY0" fmla="*/ 202035 h 491953"/>
                      <a:gd name="connsiteX1" fmla="*/ 855608 w 1790551"/>
                      <a:gd name="connsiteY1" fmla="*/ 408186 h 491953"/>
                      <a:gd name="connsiteX2" fmla="*/ 1077249 w 1790551"/>
                      <a:gd name="connsiteY2" fmla="*/ 475231 h 491953"/>
                      <a:gd name="connsiteX3" fmla="*/ 1790551 w 1790551"/>
                      <a:gd name="connsiteY3" fmla="*/ 380396 h 491953"/>
                      <a:gd name="connsiteX4" fmla="*/ 1499918 w 1790551"/>
                      <a:gd name="connsiteY4" fmla="*/ 368016 h 491953"/>
                      <a:gd name="connsiteX5" fmla="*/ 1200716 w 1790551"/>
                      <a:gd name="connsiteY5" fmla="*/ 304847 h 491953"/>
                      <a:gd name="connsiteX6" fmla="*/ 1033998 w 1790551"/>
                      <a:gd name="connsiteY6" fmla="*/ 338371 h 491953"/>
                      <a:gd name="connsiteX7" fmla="*/ 863091 w 1790551"/>
                      <a:gd name="connsiteY7" fmla="*/ 225306 h 491953"/>
                      <a:gd name="connsiteX8" fmla="*/ 576575 w 1790551"/>
                      <a:gd name="connsiteY8" fmla="*/ 202035 h 491953"/>
                      <a:gd name="connsiteX0" fmla="*/ 576575 w 1790551"/>
                      <a:gd name="connsiteY0" fmla="*/ 202035 h 491953"/>
                      <a:gd name="connsiteX1" fmla="*/ 855608 w 1790551"/>
                      <a:gd name="connsiteY1" fmla="*/ 408186 h 491953"/>
                      <a:gd name="connsiteX2" fmla="*/ 1077249 w 1790551"/>
                      <a:gd name="connsiteY2" fmla="*/ 475231 h 491953"/>
                      <a:gd name="connsiteX3" fmla="*/ 1790551 w 1790551"/>
                      <a:gd name="connsiteY3" fmla="*/ 380396 h 491953"/>
                      <a:gd name="connsiteX4" fmla="*/ 1499918 w 1790551"/>
                      <a:gd name="connsiteY4" fmla="*/ 368016 h 491953"/>
                      <a:gd name="connsiteX5" fmla="*/ 1200716 w 1790551"/>
                      <a:gd name="connsiteY5" fmla="*/ 304847 h 491953"/>
                      <a:gd name="connsiteX6" fmla="*/ 1033998 w 1790551"/>
                      <a:gd name="connsiteY6" fmla="*/ 338371 h 491953"/>
                      <a:gd name="connsiteX7" fmla="*/ 863091 w 1790551"/>
                      <a:gd name="connsiteY7" fmla="*/ 225306 h 491953"/>
                      <a:gd name="connsiteX8" fmla="*/ 576575 w 1790551"/>
                      <a:gd name="connsiteY8" fmla="*/ 202035 h 491953"/>
                      <a:gd name="connsiteX0" fmla="*/ 576575 w 1790551"/>
                      <a:gd name="connsiteY0" fmla="*/ 202035 h 491953"/>
                      <a:gd name="connsiteX1" fmla="*/ 855608 w 1790551"/>
                      <a:gd name="connsiteY1" fmla="*/ 408186 h 491953"/>
                      <a:gd name="connsiteX2" fmla="*/ 1077249 w 1790551"/>
                      <a:gd name="connsiteY2" fmla="*/ 475231 h 491953"/>
                      <a:gd name="connsiteX3" fmla="*/ 1790551 w 1790551"/>
                      <a:gd name="connsiteY3" fmla="*/ 380396 h 491953"/>
                      <a:gd name="connsiteX4" fmla="*/ 1499918 w 1790551"/>
                      <a:gd name="connsiteY4" fmla="*/ 368016 h 491953"/>
                      <a:gd name="connsiteX5" fmla="*/ 1200716 w 1790551"/>
                      <a:gd name="connsiteY5" fmla="*/ 304847 h 491953"/>
                      <a:gd name="connsiteX6" fmla="*/ 1033998 w 1790551"/>
                      <a:gd name="connsiteY6" fmla="*/ 338371 h 491953"/>
                      <a:gd name="connsiteX7" fmla="*/ 863091 w 1790551"/>
                      <a:gd name="connsiteY7" fmla="*/ 225306 h 491953"/>
                      <a:gd name="connsiteX8" fmla="*/ 576575 w 1790551"/>
                      <a:gd name="connsiteY8" fmla="*/ 202035 h 491953"/>
                      <a:gd name="connsiteX0" fmla="*/ 576575 w 1739154"/>
                      <a:gd name="connsiteY0" fmla="*/ 202035 h 486497"/>
                      <a:gd name="connsiteX1" fmla="*/ 855608 w 1739154"/>
                      <a:gd name="connsiteY1" fmla="*/ 408186 h 486497"/>
                      <a:gd name="connsiteX2" fmla="*/ 1077249 w 1739154"/>
                      <a:gd name="connsiteY2" fmla="*/ 475231 h 486497"/>
                      <a:gd name="connsiteX3" fmla="*/ 1739154 w 1739154"/>
                      <a:gd name="connsiteY3" fmla="*/ 374940 h 486497"/>
                      <a:gd name="connsiteX4" fmla="*/ 1499918 w 1739154"/>
                      <a:gd name="connsiteY4" fmla="*/ 368016 h 486497"/>
                      <a:gd name="connsiteX5" fmla="*/ 1200716 w 1739154"/>
                      <a:gd name="connsiteY5" fmla="*/ 304847 h 486497"/>
                      <a:gd name="connsiteX6" fmla="*/ 1033998 w 1739154"/>
                      <a:gd name="connsiteY6" fmla="*/ 338371 h 486497"/>
                      <a:gd name="connsiteX7" fmla="*/ 863091 w 1739154"/>
                      <a:gd name="connsiteY7" fmla="*/ 225306 h 486497"/>
                      <a:gd name="connsiteX8" fmla="*/ 576575 w 1739154"/>
                      <a:gd name="connsiteY8" fmla="*/ 202035 h 486497"/>
                      <a:gd name="connsiteX0" fmla="*/ 576575 w 1739154"/>
                      <a:gd name="connsiteY0" fmla="*/ 202035 h 479625"/>
                      <a:gd name="connsiteX1" fmla="*/ 855608 w 1739154"/>
                      <a:gd name="connsiteY1" fmla="*/ 408186 h 479625"/>
                      <a:gd name="connsiteX2" fmla="*/ 1077249 w 1739154"/>
                      <a:gd name="connsiteY2" fmla="*/ 475231 h 479625"/>
                      <a:gd name="connsiteX3" fmla="*/ 1739154 w 1739154"/>
                      <a:gd name="connsiteY3" fmla="*/ 374940 h 479625"/>
                      <a:gd name="connsiteX4" fmla="*/ 1499918 w 1739154"/>
                      <a:gd name="connsiteY4" fmla="*/ 368016 h 479625"/>
                      <a:gd name="connsiteX5" fmla="*/ 1200716 w 1739154"/>
                      <a:gd name="connsiteY5" fmla="*/ 304847 h 479625"/>
                      <a:gd name="connsiteX6" fmla="*/ 1033998 w 1739154"/>
                      <a:gd name="connsiteY6" fmla="*/ 338371 h 479625"/>
                      <a:gd name="connsiteX7" fmla="*/ 863091 w 1739154"/>
                      <a:gd name="connsiteY7" fmla="*/ 225306 h 479625"/>
                      <a:gd name="connsiteX8" fmla="*/ 576575 w 1739154"/>
                      <a:gd name="connsiteY8" fmla="*/ 202035 h 479625"/>
                      <a:gd name="connsiteX0" fmla="*/ 298193 w 1460772"/>
                      <a:gd name="connsiteY0" fmla="*/ 150566 h 428156"/>
                      <a:gd name="connsiteX1" fmla="*/ 46505 w 1460772"/>
                      <a:gd name="connsiteY1" fmla="*/ 34358 h 428156"/>
                      <a:gd name="connsiteX2" fmla="*/ 577226 w 1460772"/>
                      <a:gd name="connsiteY2" fmla="*/ 356717 h 428156"/>
                      <a:gd name="connsiteX3" fmla="*/ 798867 w 1460772"/>
                      <a:gd name="connsiteY3" fmla="*/ 423762 h 428156"/>
                      <a:gd name="connsiteX4" fmla="*/ 1460772 w 1460772"/>
                      <a:gd name="connsiteY4" fmla="*/ 323471 h 428156"/>
                      <a:gd name="connsiteX5" fmla="*/ 1221536 w 1460772"/>
                      <a:gd name="connsiteY5" fmla="*/ 316547 h 428156"/>
                      <a:gd name="connsiteX6" fmla="*/ 922334 w 1460772"/>
                      <a:gd name="connsiteY6" fmla="*/ 253378 h 428156"/>
                      <a:gd name="connsiteX7" fmla="*/ 755616 w 1460772"/>
                      <a:gd name="connsiteY7" fmla="*/ 286902 h 428156"/>
                      <a:gd name="connsiteX8" fmla="*/ 584709 w 1460772"/>
                      <a:gd name="connsiteY8" fmla="*/ 173837 h 428156"/>
                      <a:gd name="connsiteX9" fmla="*/ 298193 w 1460772"/>
                      <a:gd name="connsiteY9" fmla="*/ 150566 h 428156"/>
                      <a:gd name="connsiteX0" fmla="*/ 298193 w 1460772"/>
                      <a:gd name="connsiteY0" fmla="*/ 150566 h 428156"/>
                      <a:gd name="connsiteX1" fmla="*/ 46505 w 1460772"/>
                      <a:gd name="connsiteY1" fmla="*/ 34358 h 428156"/>
                      <a:gd name="connsiteX2" fmla="*/ 577226 w 1460772"/>
                      <a:gd name="connsiteY2" fmla="*/ 356717 h 428156"/>
                      <a:gd name="connsiteX3" fmla="*/ 798867 w 1460772"/>
                      <a:gd name="connsiteY3" fmla="*/ 423762 h 428156"/>
                      <a:gd name="connsiteX4" fmla="*/ 1460772 w 1460772"/>
                      <a:gd name="connsiteY4" fmla="*/ 323471 h 428156"/>
                      <a:gd name="connsiteX5" fmla="*/ 1221536 w 1460772"/>
                      <a:gd name="connsiteY5" fmla="*/ 316547 h 428156"/>
                      <a:gd name="connsiteX6" fmla="*/ 922334 w 1460772"/>
                      <a:gd name="connsiteY6" fmla="*/ 253378 h 428156"/>
                      <a:gd name="connsiteX7" fmla="*/ 755616 w 1460772"/>
                      <a:gd name="connsiteY7" fmla="*/ 286902 h 428156"/>
                      <a:gd name="connsiteX8" fmla="*/ 584709 w 1460772"/>
                      <a:gd name="connsiteY8" fmla="*/ 173837 h 428156"/>
                      <a:gd name="connsiteX9" fmla="*/ 298193 w 1460772"/>
                      <a:gd name="connsiteY9" fmla="*/ 150566 h 428156"/>
                      <a:gd name="connsiteX0" fmla="*/ 251688 w 1414267"/>
                      <a:gd name="connsiteY0" fmla="*/ 167526 h 445116"/>
                      <a:gd name="connsiteX1" fmla="*/ 0 w 1414267"/>
                      <a:gd name="connsiteY1" fmla="*/ 51318 h 445116"/>
                      <a:gd name="connsiteX2" fmla="*/ 530721 w 1414267"/>
                      <a:gd name="connsiteY2" fmla="*/ 373677 h 445116"/>
                      <a:gd name="connsiteX3" fmla="*/ 752362 w 1414267"/>
                      <a:gd name="connsiteY3" fmla="*/ 440722 h 445116"/>
                      <a:gd name="connsiteX4" fmla="*/ 1414267 w 1414267"/>
                      <a:gd name="connsiteY4" fmla="*/ 340431 h 445116"/>
                      <a:gd name="connsiteX5" fmla="*/ 1175031 w 1414267"/>
                      <a:gd name="connsiteY5" fmla="*/ 333507 h 445116"/>
                      <a:gd name="connsiteX6" fmla="*/ 875829 w 1414267"/>
                      <a:gd name="connsiteY6" fmla="*/ 270338 h 445116"/>
                      <a:gd name="connsiteX7" fmla="*/ 709111 w 1414267"/>
                      <a:gd name="connsiteY7" fmla="*/ 303862 h 445116"/>
                      <a:gd name="connsiteX8" fmla="*/ 538204 w 1414267"/>
                      <a:gd name="connsiteY8" fmla="*/ 190797 h 445116"/>
                      <a:gd name="connsiteX9" fmla="*/ 251688 w 1414267"/>
                      <a:gd name="connsiteY9" fmla="*/ 167526 h 445116"/>
                      <a:gd name="connsiteX0" fmla="*/ 255523 w 1414267"/>
                      <a:gd name="connsiteY0" fmla="*/ 138974 h 445116"/>
                      <a:gd name="connsiteX1" fmla="*/ 0 w 1414267"/>
                      <a:gd name="connsiteY1" fmla="*/ 51318 h 445116"/>
                      <a:gd name="connsiteX2" fmla="*/ 530721 w 1414267"/>
                      <a:gd name="connsiteY2" fmla="*/ 373677 h 445116"/>
                      <a:gd name="connsiteX3" fmla="*/ 752362 w 1414267"/>
                      <a:gd name="connsiteY3" fmla="*/ 440722 h 445116"/>
                      <a:gd name="connsiteX4" fmla="*/ 1414267 w 1414267"/>
                      <a:gd name="connsiteY4" fmla="*/ 340431 h 445116"/>
                      <a:gd name="connsiteX5" fmla="*/ 1175031 w 1414267"/>
                      <a:gd name="connsiteY5" fmla="*/ 333507 h 445116"/>
                      <a:gd name="connsiteX6" fmla="*/ 875829 w 1414267"/>
                      <a:gd name="connsiteY6" fmla="*/ 270338 h 445116"/>
                      <a:gd name="connsiteX7" fmla="*/ 709111 w 1414267"/>
                      <a:gd name="connsiteY7" fmla="*/ 303862 h 445116"/>
                      <a:gd name="connsiteX8" fmla="*/ 538204 w 1414267"/>
                      <a:gd name="connsiteY8" fmla="*/ 190797 h 445116"/>
                      <a:gd name="connsiteX9" fmla="*/ 255523 w 1414267"/>
                      <a:gd name="connsiteY9" fmla="*/ 138974 h 445116"/>
                      <a:gd name="connsiteX0" fmla="*/ 255523 w 1414267"/>
                      <a:gd name="connsiteY0" fmla="*/ 138974 h 445116"/>
                      <a:gd name="connsiteX1" fmla="*/ 0 w 1414267"/>
                      <a:gd name="connsiteY1" fmla="*/ 51318 h 445116"/>
                      <a:gd name="connsiteX2" fmla="*/ 530721 w 1414267"/>
                      <a:gd name="connsiteY2" fmla="*/ 373677 h 445116"/>
                      <a:gd name="connsiteX3" fmla="*/ 752362 w 1414267"/>
                      <a:gd name="connsiteY3" fmla="*/ 440722 h 445116"/>
                      <a:gd name="connsiteX4" fmla="*/ 1414267 w 1414267"/>
                      <a:gd name="connsiteY4" fmla="*/ 340431 h 445116"/>
                      <a:gd name="connsiteX5" fmla="*/ 1175031 w 1414267"/>
                      <a:gd name="connsiteY5" fmla="*/ 333507 h 445116"/>
                      <a:gd name="connsiteX6" fmla="*/ 875829 w 1414267"/>
                      <a:gd name="connsiteY6" fmla="*/ 270338 h 445116"/>
                      <a:gd name="connsiteX7" fmla="*/ 709111 w 1414267"/>
                      <a:gd name="connsiteY7" fmla="*/ 303862 h 445116"/>
                      <a:gd name="connsiteX8" fmla="*/ 538204 w 1414267"/>
                      <a:gd name="connsiteY8" fmla="*/ 190797 h 445116"/>
                      <a:gd name="connsiteX9" fmla="*/ 255523 w 1414267"/>
                      <a:gd name="connsiteY9" fmla="*/ 138974 h 445116"/>
                      <a:gd name="connsiteX0" fmla="*/ 245262 w 1404006"/>
                      <a:gd name="connsiteY0" fmla="*/ 166844 h 472986"/>
                      <a:gd name="connsiteX1" fmla="*/ 0 w 1404006"/>
                      <a:gd name="connsiteY1" fmla="*/ 51318 h 472986"/>
                      <a:gd name="connsiteX2" fmla="*/ 520460 w 1404006"/>
                      <a:gd name="connsiteY2" fmla="*/ 401547 h 472986"/>
                      <a:gd name="connsiteX3" fmla="*/ 742101 w 1404006"/>
                      <a:gd name="connsiteY3" fmla="*/ 468592 h 472986"/>
                      <a:gd name="connsiteX4" fmla="*/ 1404006 w 1404006"/>
                      <a:gd name="connsiteY4" fmla="*/ 368301 h 472986"/>
                      <a:gd name="connsiteX5" fmla="*/ 1164770 w 1404006"/>
                      <a:gd name="connsiteY5" fmla="*/ 361377 h 472986"/>
                      <a:gd name="connsiteX6" fmla="*/ 865568 w 1404006"/>
                      <a:gd name="connsiteY6" fmla="*/ 298208 h 472986"/>
                      <a:gd name="connsiteX7" fmla="*/ 698850 w 1404006"/>
                      <a:gd name="connsiteY7" fmla="*/ 331732 h 472986"/>
                      <a:gd name="connsiteX8" fmla="*/ 527943 w 1404006"/>
                      <a:gd name="connsiteY8" fmla="*/ 218667 h 472986"/>
                      <a:gd name="connsiteX9" fmla="*/ 245262 w 1404006"/>
                      <a:gd name="connsiteY9" fmla="*/ 166844 h 472986"/>
                      <a:gd name="connsiteX0" fmla="*/ 245262 w 1404006"/>
                      <a:gd name="connsiteY0" fmla="*/ 166844 h 472986"/>
                      <a:gd name="connsiteX1" fmla="*/ 0 w 1404006"/>
                      <a:gd name="connsiteY1" fmla="*/ 51318 h 472986"/>
                      <a:gd name="connsiteX2" fmla="*/ 520460 w 1404006"/>
                      <a:gd name="connsiteY2" fmla="*/ 401547 h 472986"/>
                      <a:gd name="connsiteX3" fmla="*/ 742101 w 1404006"/>
                      <a:gd name="connsiteY3" fmla="*/ 468592 h 472986"/>
                      <a:gd name="connsiteX4" fmla="*/ 1404006 w 1404006"/>
                      <a:gd name="connsiteY4" fmla="*/ 368301 h 472986"/>
                      <a:gd name="connsiteX5" fmla="*/ 1164770 w 1404006"/>
                      <a:gd name="connsiteY5" fmla="*/ 361377 h 472986"/>
                      <a:gd name="connsiteX6" fmla="*/ 865568 w 1404006"/>
                      <a:gd name="connsiteY6" fmla="*/ 298208 h 472986"/>
                      <a:gd name="connsiteX7" fmla="*/ 698850 w 1404006"/>
                      <a:gd name="connsiteY7" fmla="*/ 331732 h 472986"/>
                      <a:gd name="connsiteX8" fmla="*/ 527943 w 1404006"/>
                      <a:gd name="connsiteY8" fmla="*/ 218667 h 472986"/>
                      <a:gd name="connsiteX9" fmla="*/ 245262 w 1404006"/>
                      <a:gd name="connsiteY9" fmla="*/ 166844 h 472986"/>
                      <a:gd name="connsiteX0" fmla="*/ 245262 w 1404006"/>
                      <a:gd name="connsiteY0" fmla="*/ 151760 h 457902"/>
                      <a:gd name="connsiteX1" fmla="*/ 0 w 1404006"/>
                      <a:gd name="connsiteY1" fmla="*/ 36234 h 457902"/>
                      <a:gd name="connsiteX2" fmla="*/ 520460 w 1404006"/>
                      <a:gd name="connsiteY2" fmla="*/ 386463 h 457902"/>
                      <a:gd name="connsiteX3" fmla="*/ 742101 w 1404006"/>
                      <a:gd name="connsiteY3" fmla="*/ 453508 h 457902"/>
                      <a:gd name="connsiteX4" fmla="*/ 1404006 w 1404006"/>
                      <a:gd name="connsiteY4" fmla="*/ 353217 h 457902"/>
                      <a:gd name="connsiteX5" fmla="*/ 1164770 w 1404006"/>
                      <a:gd name="connsiteY5" fmla="*/ 346293 h 457902"/>
                      <a:gd name="connsiteX6" fmla="*/ 865568 w 1404006"/>
                      <a:gd name="connsiteY6" fmla="*/ 283124 h 457902"/>
                      <a:gd name="connsiteX7" fmla="*/ 698850 w 1404006"/>
                      <a:gd name="connsiteY7" fmla="*/ 316648 h 457902"/>
                      <a:gd name="connsiteX8" fmla="*/ 527943 w 1404006"/>
                      <a:gd name="connsiteY8" fmla="*/ 203583 h 457902"/>
                      <a:gd name="connsiteX9" fmla="*/ 245262 w 1404006"/>
                      <a:gd name="connsiteY9" fmla="*/ 151760 h 457902"/>
                      <a:gd name="connsiteX0" fmla="*/ 263768 w 1422512"/>
                      <a:gd name="connsiteY0" fmla="*/ 159516 h 465658"/>
                      <a:gd name="connsiteX1" fmla="*/ 0 w 1422512"/>
                      <a:gd name="connsiteY1" fmla="*/ 36234 h 465658"/>
                      <a:gd name="connsiteX2" fmla="*/ 538966 w 1422512"/>
                      <a:gd name="connsiteY2" fmla="*/ 394219 h 465658"/>
                      <a:gd name="connsiteX3" fmla="*/ 760607 w 1422512"/>
                      <a:gd name="connsiteY3" fmla="*/ 461264 h 465658"/>
                      <a:gd name="connsiteX4" fmla="*/ 1422512 w 1422512"/>
                      <a:gd name="connsiteY4" fmla="*/ 360973 h 465658"/>
                      <a:gd name="connsiteX5" fmla="*/ 1183276 w 1422512"/>
                      <a:gd name="connsiteY5" fmla="*/ 354049 h 465658"/>
                      <a:gd name="connsiteX6" fmla="*/ 884074 w 1422512"/>
                      <a:gd name="connsiteY6" fmla="*/ 290880 h 465658"/>
                      <a:gd name="connsiteX7" fmla="*/ 717356 w 1422512"/>
                      <a:gd name="connsiteY7" fmla="*/ 324404 h 465658"/>
                      <a:gd name="connsiteX8" fmla="*/ 546449 w 1422512"/>
                      <a:gd name="connsiteY8" fmla="*/ 211339 h 465658"/>
                      <a:gd name="connsiteX9" fmla="*/ 263768 w 1422512"/>
                      <a:gd name="connsiteY9" fmla="*/ 159516 h 465658"/>
                      <a:gd name="connsiteX0" fmla="*/ 245261 w 1404005"/>
                      <a:gd name="connsiteY0" fmla="*/ 151759 h 457901"/>
                      <a:gd name="connsiteX1" fmla="*/ 0 w 1404005"/>
                      <a:gd name="connsiteY1" fmla="*/ 36234 h 457901"/>
                      <a:gd name="connsiteX2" fmla="*/ 520459 w 1404005"/>
                      <a:gd name="connsiteY2" fmla="*/ 386462 h 457901"/>
                      <a:gd name="connsiteX3" fmla="*/ 742100 w 1404005"/>
                      <a:gd name="connsiteY3" fmla="*/ 453507 h 457901"/>
                      <a:gd name="connsiteX4" fmla="*/ 1404005 w 1404005"/>
                      <a:gd name="connsiteY4" fmla="*/ 353216 h 457901"/>
                      <a:gd name="connsiteX5" fmla="*/ 1164769 w 1404005"/>
                      <a:gd name="connsiteY5" fmla="*/ 346292 h 457901"/>
                      <a:gd name="connsiteX6" fmla="*/ 865567 w 1404005"/>
                      <a:gd name="connsiteY6" fmla="*/ 283123 h 457901"/>
                      <a:gd name="connsiteX7" fmla="*/ 698849 w 1404005"/>
                      <a:gd name="connsiteY7" fmla="*/ 316647 h 457901"/>
                      <a:gd name="connsiteX8" fmla="*/ 527942 w 1404005"/>
                      <a:gd name="connsiteY8" fmla="*/ 203582 h 457901"/>
                      <a:gd name="connsiteX9" fmla="*/ 245261 w 1404005"/>
                      <a:gd name="connsiteY9" fmla="*/ 151759 h 457901"/>
                      <a:gd name="connsiteX0" fmla="*/ 263000 w 1421744"/>
                      <a:gd name="connsiteY0" fmla="*/ 165226 h 471368"/>
                      <a:gd name="connsiteX1" fmla="*/ 0 w 1421744"/>
                      <a:gd name="connsiteY1" fmla="*/ 36234 h 471368"/>
                      <a:gd name="connsiteX2" fmla="*/ 538198 w 1421744"/>
                      <a:gd name="connsiteY2" fmla="*/ 399929 h 471368"/>
                      <a:gd name="connsiteX3" fmla="*/ 759839 w 1421744"/>
                      <a:gd name="connsiteY3" fmla="*/ 466974 h 471368"/>
                      <a:gd name="connsiteX4" fmla="*/ 1421744 w 1421744"/>
                      <a:gd name="connsiteY4" fmla="*/ 366683 h 471368"/>
                      <a:gd name="connsiteX5" fmla="*/ 1182508 w 1421744"/>
                      <a:gd name="connsiteY5" fmla="*/ 359759 h 471368"/>
                      <a:gd name="connsiteX6" fmla="*/ 883306 w 1421744"/>
                      <a:gd name="connsiteY6" fmla="*/ 296590 h 471368"/>
                      <a:gd name="connsiteX7" fmla="*/ 716588 w 1421744"/>
                      <a:gd name="connsiteY7" fmla="*/ 330114 h 471368"/>
                      <a:gd name="connsiteX8" fmla="*/ 545681 w 1421744"/>
                      <a:gd name="connsiteY8" fmla="*/ 217049 h 471368"/>
                      <a:gd name="connsiteX9" fmla="*/ 263000 w 1421744"/>
                      <a:gd name="connsiteY9" fmla="*/ 165226 h 471368"/>
                      <a:gd name="connsiteX0" fmla="*/ 263000 w 1421744"/>
                      <a:gd name="connsiteY0" fmla="*/ 165226 h 471368"/>
                      <a:gd name="connsiteX1" fmla="*/ 0 w 1421744"/>
                      <a:gd name="connsiteY1" fmla="*/ 36234 h 471368"/>
                      <a:gd name="connsiteX2" fmla="*/ 546816 w 1421744"/>
                      <a:gd name="connsiteY2" fmla="*/ 401256 h 471368"/>
                      <a:gd name="connsiteX3" fmla="*/ 759839 w 1421744"/>
                      <a:gd name="connsiteY3" fmla="*/ 466974 h 471368"/>
                      <a:gd name="connsiteX4" fmla="*/ 1421744 w 1421744"/>
                      <a:gd name="connsiteY4" fmla="*/ 366683 h 471368"/>
                      <a:gd name="connsiteX5" fmla="*/ 1182508 w 1421744"/>
                      <a:gd name="connsiteY5" fmla="*/ 359759 h 471368"/>
                      <a:gd name="connsiteX6" fmla="*/ 883306 w 1421744"/>
                      <a:gd name="connsiteY6" fmla="*/ 296590 h 471368"/>
                      <a:gd name="connsiteX7" fmla="*/ 716588 w 1421744"/>
                      <a:gd name="connsiteY7" fmla="*/ 330114 h 471368"/>
                      <a:gd name="connsiteX8" fmla="*/ 545681 w 1421744"/>
                      <a:gd name="connsiteY8" fmla="*/ 217049 h 471368"/>
                      <a:gd name="connsiteX9" fmla="*/ 263000 w 1421744"/>
                      <a:gd name="connsiteY9" fmla="*/ 165226 h 471368"/>
                      <a:gd name="connsiteX0" fmla="*/ 263000 w 1421744"/>
                      <a:gd name="connsiteY0" fmla="*/ 165226 h 471368"/>
                      <a:gd name="connsiteX1" fmla="*/ 0 w 1421744"/>
                      <a:gd name="connsiteY1" fmla="*/ 36234 h 471368"/>
                      <a:gd name="connsiteX2" fmla="*/ 528452 w 1421744"/>
                      <a:gd name="connsiteY2" fmla="*/ 423271 h 471368"/>
                      <a:gd name="connsiteX3" fmla="*/ 759839 w 1421744"/>
                      <a:gd name="connsiteY3" fmla="*/ 466974 h 471368"/>
                      <a:gd name="connsiteX4" fmla="*/ 1421744 w 1421744"/>
                      <a:gd name="connsiteY4" fmla="*/ 366683 h 471368"/>
                      <a:gd name="connsiteX5" fmla="*/ 1182508 w 1421744"/>
                      <a:gd name="connsiteY5" fmla="*/ 359759 h 471368"/>
                      <a:gd name="connsiteX6" fmla="*/ 883306 w 1421744"/>
                      <a:gd name="connsiteY6" fmla="*/ 296590 h 471368"/>
                      <a:gd name="connsiteX7" fmla="*/ 716588 w 1421744"/>
                      <a:gd name="connsiteY7" fmla="*/ 330114 h 471368"/>
                      <a:gd name="connsiteX8" fmla="*/ 545681 w 1421744"/>
                      <a:gd name="connsiteY8" fmla="*/ 217049 h 471368"/>
                      <a:gd name="connsiteX9" fmla="*/ 263000 w 1421744"/>
                      <a:gd name="connsiteY9" fmla="*/ 165226 h 471368"/>
                      <a:gd name="connsiteX0" fmla="*/ 263000 w 1421744"/>
                      <a:gd name="connsiteY0" fmla="*/ 165226 h 498371"/>
                      <a:gd name="connsiteX1" fmla="*/ 0 w 1421744"/>
                      <a:gd name="connsiteY1" fmla="*/ 36234 h 498371"/>
                      <a:gd name="connsiteX2" fmla="*/ 528452 w 1421744"/>
                      <a:gd name="connsiteY2" fmla="*/ 423271 h 498371"/>
                      <a:gd name="connsiteX3" fmla="*/ 756211 w 1421744"/>
                      <a:gd name="connsiteY3" fmla="*/ 493977 h 498371"/>
                      <a:gd name="connsiteX4" fmla="*/ 1421744 w 1421744"/>
                      <a:gd name="connsiteY4" fmla="*/ 366683 h 498371"/>
                      <a:gd name="connsiteX5" fmla="*/ 1182508 w 1421744"/>
                      <a:gd name="connsiteY5" fmla="*/ 359759 h 498371"/>
                      <a:gd name="connsiteX6" fmla="*/ 883306 w 1421744"/>
                      <a:gd name="connsiteY6" fmla="*/ 296590 h 498371"/>
                      <a:gd name="connsiteX7" fmla="*/ 716588 w 1421744"/>
                      <a:gd name="connsiteY7" fmla="*/ 330114 h 498371"/>
                      <a:gd name="connsiteX8" fmla="*/ 545681 w 1421744"/>
                      <a:gd name="connsiteY8" fmla="*/ 217049 h 498371"/>
                      <a:gd name="connsiteX9" fmla="*/ 263000 w 1421744"/>
                      <a:gd name="connsiteY9" fmla="*/ 165226 h 498371"/>
                      <a:gd name="connsiteX0" fmla="*/ 263000 w 1421744"/>
                      <a:gd name="connsiteY0" fmla="*/ 165226 h 498371"/>
                      <a:gd name="connsiteX1" fmla="*/ 0 w 1421744"/>
                      <a:gd name="connsiteY1" fmla="*/ 36234 h 498371"/>
                      <a:gd name="connsiteX2" fmla="*/ 528452 w 1421744"/>
                      <a:gd name="connsiteY2" fmla="*/ 423271 h 498371"/>
                      <a:gd name="connsiteX3" fmla="*/ 756211 w 1421744"/>
                      <a:gd name="connsiteY3" fmla="*/ 493977 h 498371"/>
                      <a:gd name="connsiteX4" fmla="*/ 1421744 w 1421744"/>
                      <a:gd name="connsiteY4" fmla="*/ 366683 h 498371"/>
                      <a:gd name="connsiteX5" fmla="*/ 1182508 w 1421744"/>
                      <a:gd name="connsiteY5" fmla="*/ 359759 h 498371"/>
                      <a:gd name="connsiteX6" fmla="*/ 883306 w 1421744"/>
                      <a:gd name="connsiteY6" fmla="*/ 296590 h 498371"/>
                      <a:gd name="connsiteX7" fmla="*/ 545681 w 1421744"/>
                      <a:gd name="connsiteY7" fmla="*/ 217049 h 498371"/>
                      <a:gd name="connsiteX8" fmla="*/ 263000 w 1421744"/>
                      <a:gd name="connsiteY8" fmla="*/ 165226 h 498371"/>
                      <a:gd name="connsiteX0" fmla="*/ 263000 w 1421744"/>
                      <a:gd name="connsiteY0" fmla="*/ 165226 h 498371"/>
                      <a:gd name="connsiteX1" fmla="*/ 0 w 1421744"/>
                      <a:gd name="connsiteY1" fmla="*/ 36234 h 498371"/>
                      <a:gd name="connsiteX2" fmla="*/ 528452 w 1421744"/>
                      <a:gd name="connsiteY2" fmla="*/ 423271 h 498371"/>
                      <a:gd name="connsiteX3" fmla="*/ 756211 w 1421744"/>
                      <a:gd name="connsiteY3" fmla="*/ 493977 h 498371"/>
                      <a:gd name="connsiteX4" fmla="*/ 1421744 w 1421744"/>
                      <a:gd name="connsiteY4" fmla="*/ 366683 h 498371"/>
                      <a:gd name="connsiteX5" fmla="*/ 1182508 w 1421744"/>
                      <a:gd name="connsiteY5" fmla="*/ 359759 h 498371"/>
                      <a:gd name="connsiteX6" fmla="*/ 883306 w 1421744"/>
                      <a:gd name="connsiteY6" fmla="*/ 296590 h 498371"/>
                      <a:gd name="connsiteX7" fmla="*/ 545681 w 1421744"/>
                      <a:gd name="connsiteY7" fmla="*/ 217049 h 498371"/>
                      <a:gd name="connsiteX8" fmla="*/ 263000 w 1421744"/>
                      <a:gd name="connsiteY8" fmla="*/ 165226 h 498371"/>
                      <a:gd name="connsiteX0" fmla="*/ 263000 w 1421744"/>
                      <a:gd name="connsiteY0" fmla="*/ 165226 h 498371"/>
                      <a:gd name="connsiteX1" fmla="*/ 0 w 1421744"/>
                      <a:gd name="connsiteY1" fmla="*/ 36234 h 498371"/>
                      <a:gd name="connsiteX2" fmla="*/ 528452 w 1421744"/>
                      <a:gd name="connsiteY2" fmla="*/ 423271 h 498371"/>
                      <a:gd name="connsiteX3" fmla="*/ 756211 w 1421744"/>
                      <a:gd name="connsiteY3" fmla="*/ 493977 h 498371"/>
                      <a:gd name="connsiteX4" fmla="*/ 1421744 w 1421744"/>
                      <a:gd name="connsiteY4" fmla="*/ 366683 h 498371"/>
                      <a:gd name="connsiteX5" fmla="*/ 1182508 w 1421744"/>
                      <a:gd name="connsiteY5" fmla="*/ 359759 h 498371"/>
                      <a:gd name="connsiteX6" fmla="*/ 883306 w 1421744"/>
                      <a:gd name="connsiteY6" fmla="*/ 296590 h 498371"/>
                      <a:gd name="connsiteX7" fmla="*/ 545681 w 1421744"/>
                      <a:gd name="connsiteY7" fmla="*/ 217049 h 498371"/>
                      <a:gd name="connsiteX8" fmla="*/ 263000 w 1421744"/>
                      <a:gd name="connsiteY8" fmla="*/ 165226 h 498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1744" h="498371">
                        <a:moveTo>
                          <a:pt x="263000" y="165226"/>
                        </a:moveTo>
                        <a:cubicBezTo>
                          <a:pt x="83931" y="95812"/>
                          <a:pt x="44974" y="0"/>
                          <a:pt x="0" y="36234"/>
                        </a:cubicBezTo>
                        <a:cubicBezTo>
                          <a:pt x="17739" y="90705"/>
                          <a:pt x="403921" y="368115"/>
                          <a:pt x="528452" y="423271"/>
                        </a:cubicBezTo>
                        <a:cubicBezTo>
                          <a:pt x="589272" y="467392"/>
                          <a:pt x="668662" y="498371"/>
                          <a:pt x="756211" y="493977"/>
                        </a:cubicBezTo>
                        <a:cubicBezTo>
                          <a:pt x="993978" y="462365"/>
                          <a:pt x="1176306" y="455398"/>
                          <a:pt x="1421744" y="366683"/>
                        </a:cubicBezTo>
                        <a:cubicBezTo>
                          <a:pt x="1408142" y="319622"/>
                          <a:pt x="1314519" y="372067"/>
                          <a:pt x="1182508" y="359759"/>
                        </a:cubicBezTo>
                        <a:cubicBezTo>
                          <a:pt x="837913" y="279663"/>
                          <a:pt x="1034087" y="296590"/>
                          <a:pt x="883306" y="296590"/>
                        </a:cubicBezTo>
                        <a:cubicBezTo>
                          <a:pt x="672423" y="359402"/>
                          <a:pt x="658223" y="243563"/>
                          <a:pt x="545681" y="217049"/>
                        </a:cubicBezTo>
                        <a:cubicBezTo>
                          <a:pt x="450176" y="209292"/>
                          <a:pt x="382824" y="187575"/>
                          <a:pt x="263000" y="16522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321" name="Freeform 320"/>
                  <p:cNvSpPr/>
                  <p:nvPr/>
                </p:nvSpPr>
                <p:spPr>
                  <a:xfrm rot="21191412">
                    <a:off x="3253550" y="812946"/>
                    <a:ext cx="1099557" cy="562654"/>
                  </a:xfrm>
                  <a:custGeom>
                    <a:avLst/>
                    <a:gdLst>
                      <a:gd name="connsiteX0" fmla="*/ 19050 w 1085850"/>
                      <a:gd name="connsiteY0" fmla="*/ 0 h 432738"/>
                      <a:gd name="connsiteX1" fmla="*/ 371475 w 1085850"/>
                      <a:gd name="connsiteY1" fmla="*/ 95250 h 432738"/>
                      <a:gd name="connsiteX2" fmla="*/ 571500 w 1085850"/>
                      <a:gd name="connsiteY2" fmla="*/ 200025 h 432738"/>
                      <a:gd name="connsiteX3" fmla="*/ 885825 w 1085850"/>
                      <a:gd name="connsiteY3" fmla="*/ 190500 h 432738"/>
                      <a:gd name="connsiteX4" fmla="*/ 923925 w 1085850"/>
                      <a:gd name="connsiteY4" fmla="*/ 209550 h 432738"/>
                      <a:gd name="connsiteX5" fmla="*/ 933450 w 1085850"/>
                      <a:gd name="connsiteY5" fmla="*/ 209550 h 432738"/>
                      <a:gd name="connsiteX6" fmla="*/ 1085850 w 1085850"/>
                      <a:gd name="connsiteY6" fmla="*/ 266700 h 432738"/>
                      <a:gd name="connsiteX7" fmla="*/ 876300 w 1085850"/>
                      <a:gd name="connsiteY7" fmla="*/ 428625 h 432738"/>
                      <a:gd name="connsiteX8" fmla="*/ 495300 w 1085850"/>
                      <a:gd name="connsiteY8" fmla="*/ 371475 h 432738"/>
                      <a:gd name="connsiteX9" fmla="*/ 76200 w 1085850"/>
                      <a:gd name="connsiteY9" fmla="*/ 209550 h 432738"/>
                      <a:gd name="connsiteX10" fmla="*/ 0 w 1085850"/>
                      <a:gd name="connsiteY10" fmla="*/ 95250 h 432738"/>
                      <a:gd name="connsiteX11" fmla="*/ 19050 w 1085850"/>
                      <a:gd name="connsiteY11" fmla="*/ 0 h 432738"/>
                      <a:gd name="connsiteX0" fmla="*/ 19050 w 1085850"/>
                      <a:gd name="connsiteY0" fmla="*/ 0 h 432738"/>
                      <a:gd name="connsiteX1" fmla="*/ 371475 w 1085850"/>
                      <a:gd name="connsiteY1" fmla="*/ 95250 h 432738"/>
                      <a:gd name="connsiteX2" fmla="*/ 571500 w 1085850"/>
                      <a:gd name="connsiteY2" fmla="*/ 200025 h 432738"/>
                      <a:gd name="connsiteX3" fmla="*/ 885825 w 1085850"/>
                      <a:gd name="connsiteY3" fmla="*/ 190500 h 432738"/>
                      <a:gd name="connsiteX4" fmla="*/ 923925 w 1085850"/>
                      <a:gd name="connsiteY4" fmla="*/ 209550 h 432738"/>
                      <a:gd name="connsiteX5" fmla="*/ 933450 w 1085850"/>
                      <a:gd name="connsiteY5" fmla="*/ 209550 h 432738"/>
                      <a:gd name="connsiteX6" fmla="*/ 1085850 w 1085850"/>
                      <a:gd name="connsiteY6" fmla="*/ 266700 h 432738"/>
                      <a:gd name="connsiteX7" fmla="*/ 876300 w 1085850"/>
                      <a:gd name="connsiteY7" fmla="*/ 428625 h 432738"/>
                      <a:gd name="connsiteX8" fmla="*/ 495300 w 1085850"/>
                      <a:gd name="connsiteY8" fmla="*/ 371475 h 432738"/>
                      <a:gd name="connsiteX9" fmla="*/ 76200 w 1085850"/>
                      <a:gd name="connsiteY9" fmla="*/ 209550 h 432738"/>
                      <a:gd name="connsiteX10" fmla="*/ 0 w 1085850"/>
                      <a:gd name="connsiteY10" fmla="*/ 95250 h 432738"/>
                      <a:gd name="connsiteX11" fmla="*/ 19050 w 1085850"/>
                      <a:gd name="connsiteY11" fmla="*/ 0 h 432738"/>
                      <a:gd name="connsiteX0" fmla="*/ 19050 w 1085850"/>
                      <a:gd name="connsiteY0" fmla="*/ 0 h 432738"/>
                      <a:gd name="connsiteX1" fmla="*/ 371475 w 1085850"/>
                      <a:gd name="connsiteY1" fmla="*/ 95250 h 432738"/>
                      <a:gd name="connsiteX2" fmla="*/ 571500 w 1085850"/>
                      <a:gd name="connsiteY2" fmla="*/ 200025 h 432738"/>
                      <a:gd name="connsiteX3" fmla="*/ 885825 w 1085850"/>
                      <a:gd name="connsiteY3" fmla="*/ 190500 h 432738"/>
                      <a:gd name="connsiteX4" fmla="*/ 923925 w 1085850"/>
                      <a:gd name="connsiteY4" fmla="*/ 209550 h 432738"/>
                      <a:gd name="connsiteX5" fmla="*/ 933450 w 1085850"/>
                      <a:gd name="connsiteY5" fmla="*/ 209550 h 432738"/>
                      <a:gd name="connsiteX6" fmla="*/ 1085850 w 1085850"/>
                      <a:gd name="connsiteY6" fmla="*/ 266700 h 432738"/>
                      <a:gd name="connsiteX7" fmla="*/ 876300 w 1085850"/>
                      <a:gd name="connsiteY7" fmla="*/ 428625 h 432738"/>
                      <a:gd name="connsiteX8" fmla="*/ 495300 w 1085850"/>
                      <a:gd name="connsiteY8" fmla="*/ 371475 h 432738"/>
                      <a:gd name="connsiteX9" fmla="*/ 76200 w 1085850"/>
                      <a:gd name="connsiteY9" fmla="*/ 209550 h 432738"/>
                      <a:gd name="connsiteX10" fmla="*/ 0 w 1085850"/>
                      <a:gd name="connsiteY10" fmla="*/ 95250 h 432738"/>
                      <a:gd name="connsiteX11" fmla="*/ 19050 w 1085850"/>
                      <a:gd name="connsiteY11" fmla="*/ 0 h 432738"/>
                      <a:gd name="connsiteX0" fmla="*/ 19050 w 1085850"/>
                      <a:gd name="connsiteY0" fmla="*/ 0 h 453754"/>
                      <a:gd name="connsiteX1" fmla="*/ 371475 w 1085850"/>
                      <a:gd name="connsiteY1" fmla="*/ 95250 h 453754"/>
                      <a:gd name="connsiteX2" fmla="*/ 571500 w 1085850"/>
                      <a:gd name="connsiteY2" fmla="*/ 200025 h 453754"/>
                      <a:gd name="connsiteX3" fmla="*/ 885825 w 1085850"/>
                      <a:gd name="connsiteY3" fmla="*/ 190500 h 453754"/>
                      <a:gd name="connsiteX4" fmla="*/ 923925 w 1085850"/>
                      <a:gd name="connsiteY4" fmla="*/ 209550 h 453754"/>
                      <a:gd name="connsiteX5" fmla="*/ 933450 w 1085850"/>
                      <a:gd name="connsiteY5" fmla="*/ 209550 h 453754"/>
                      <a:gd name="connsiteX6" fmla="*/ 1085850 w 1085850"/>
                      <a:gd name="connsiteY6" fmla="*/ 266700 h 453754"/>
                      <a:gd name="connsiteX7" fmla="*/ 876300 w 1085850"/>
                      <a:gd name="connsiteY7" fmla="*/ 428625 h 453754"/>
                      <a:gd name="connsiteX8" fmla="*/ 485572 w 1085850"/>
                      <a:gd name="connsiteY8" fmla="*/ 395794 h 453754"/>
                      <a:gd name="connsiteX9" fmla="*/ 76200 w 1085850"/>
                      <a:gd name="connsiteY9" fmla="*/ 209550 h 453754"/>
                      <a:gd name="connsiteX10" fmla="*/ 0 w 1085850"/>
                      <a:gd name="connsiteY10" fmla="*/ 95250 h 453754"/>
                      <a:gd name="connsiteX11" fmla="*/ 19050 w 1085850"/>
                      <a:gd name="connsiteY11" fmla="*/ 0 h 453754"/>
                      <a:gd name="connsiteX0" fmla="*/ 19050 w 1085850"/>
                      <a:gd name="connsiteY0" fmla="*/ 0 h 405319"/>
                      <a:gd name="connsiteX1" fmla="*/ 371475 w 1085850"/>
                      <a:gd name="connsiteY1" fmla="*/ 95250 h 405319"/>
                      <a:gd name="connsiteX2" fmla="*/ 571500 w 1085850"/>
                      <a:gd name="connsiteY2" fmla="*/ 200025 h 405319"/>
                      <a:gd name="connsiteX3" fmla="*/ 885825 w 1085850"/>
                      <a:gd name="connsiteY3" fmla="*/ 190500 h 405319"/>
                      <a:gd name="connsiteX4" fmla="*/ 923925 w 1085850"/>
                      <a:gd name="connsiteY4" fmla="*/ 209550 h 405319"/>
                      <a:gd name="connsiteX5" fmla="*/ 933450 w 1085850"/>
                      <a:gd name="connsiteY5" fmla="*/ 209550 h 405319"/>
                      <a:gd name="connsiteX6" fmla="*/ 1085850 w 1085850"/>
                      <a:gd name="connsiteY6" fmla="*/ 266700 h 405319"/>
                      <a:gd name="connsiteX7" fmla="*/ 485572 w 1085850"/>
                      <a:gd name="connsiteY7" fmla="*/ 395794 h 405319"/>
                      <a:gd name="connsiteX8" fmla="*/ 76200 w 1085850"/>
                      <a:gd name="connsiteY8" fmla="*/ 209550 h 405319"/>
                      <a:gd name="connsiteX9" fmla="*/ 0 w 1085850"/>
                      <a:gd name="connsiteY9" fmla="*/ 95250 h 405319"/>
                      <a:gd name="connsiteX10" fmla="*/ 19050 w 1085850"/>
                      <a:gd name="connsiteY10" fmla="*/ 0 h 405319"/>
                      <a:gd name="connsiteX0" fmla="*/ 19050 w 1085850"/>
                      <a:gd name="connsiteY0" fmla="*/ 0 h 434502"/>
                      <a:gd name="connsiteX1" fmla="*/ 371475 w 1085850"/>
                      <a:gd name="connsiteY1" fmla="*/ 95250 h 434502"/>
                      <a:gd name="connsiteX2" fmla="*/ 571500 w 1085850"/>
                      <a:gd name="connsiteY2" fmla="*/ 200025 h 434502"/>
                      <a:gd name="connsiteX3" fmla="*/ 885825 w 1085850"/>
                      <a:gd name="connsiteY3" fmla="*/ 190500 h 434502"/>
                      <a:gd name="connsiteX4" fmla="*/ 923925 w 1085850"/>
                      <a:gd name="connsiteY4" fmla="*/ 209550 h 434502"/>
                      <a:gd name="connsiteX5" fmla="*/ 933450 w 1085850"/>
                      <a:gd name="connsiteY5" fmla="*/ 209550 h 434502"/>
                      <a:gd name="connsiteX6" fmla="*/ 1085850 w 1085850"/>
                      <a:gd name="connsiteY6" fmla="*/ 266700 h 434502"/>
                      <a:gd name="connsiteX7" fmla="*/ 743355 w 1085850"/>
                      <a:gd name="connsiteY7" fmla="*/ 424977 h 434502"/>
                      <a:gd name="connsiteX8" fmla="*/ 76200 w 1085850"/>
                      <a:gd name="connsiteY8" fmla="*/ 209550 h 434502"/>
                      <a:gd name="connsiteX9" fmla="*/ 0 w 1085850"/>
                      <a:gd name="connsiteY9" fmla="*/ 95250 h 434502"/>
                      <a:gd name="connsiteX10" fmla="*/ 19050 w 1085850"/>
                      <a:gd name="connsiteY10" fmla="*/ 0 h 434502"/>
                      <a:gd name="connsiteX0" fmla="*/ 19050 w 1085850"/>
                      <a:gd name="connsiteY0" fmla="*/ 0 h 434502"/>
                      <a:gd name="connsiteX1" fmla="*/ 371475 w 1085850"/>
                      <a:gd name="connsiteY1" fmla="*/ 95250 h 434502"/>
                      <a:gd name="connsiteX2" fmla="*/ 571500 w 1085850"/>
                      <a:gd name="connsiteY2" fmla="*/ 200025 h 434502"/>
                      <a:gd name="connsiteX3" fmla="*/ 885825 w 1085850"/>
                      <a:gd name="connsiteY3" fmla="*/ 190500 h 434502"/>
                      <a:gd name="connsiteX4" fmla="*/ 923925 w 1085850"/>
                      <a:gd name="connsiteY4" fmla="*/ 209550 h 434502"/>
                      <a:gd name="connsiteX5" fmla="*/ 933450 w 1085850"/>
                      <a:gd name="connsiteY5" fmla="*/ 209550 h 434502"/>
                      <a:gd name="connsiteX6" fmla="*/ 1085850 w 1085850"/>
                      <a:gd name="connsiteY6" fmla="*/ 266700 h 434502"/>
                      <a:gd name="connsiteX7" fmla="*/ 743355 w 1085850"/>
                      <a:gd name="connsiteY7" fmla="*/ 424977 h 434502"/>
                      <a:gd name="connsiteX8" fmla="*/ 76200 w 1085850"/>
                      <a:gd name="connsiteY8" fmla="*/ 209550 h 434502"/>
                      <a:gd name="connsiteX9" fmla="*/ 0 w 1085850"/>
                      <a:gd name="connsiteY9" fmla="*/ 95250 h 434502"/>
                      <a:gd name="connsiteX10" fmla="*/ 19050 w 1085850"/>
                      <a:gd name="connsiteY10" fmla="*/ 0 h 434502"/>
                      <a:gd name="connsiteX0" fmla="*/ 19050 w 1212310"/>
                      <a:gd name="connsiteY0" fmla="*/ 0 h 434502"/>
                      <a:gd name="connsiteX1" fmla="*/ 371475 w 1212310"/>
                      <a:gd name="connsiteY1" fmla="*/ 95250 h 434502"/>
                      <a:gd name="connsiteX2" fmla="*/ 571500 w 1212310"/>
                      <a:gd name="connsiteY2" fmla="*/ 200025 h 434502"/>
                      <a:gd name="connsiteX3" fmla="*/ 885825 w 1212310"/>
                      <a:gd name="connsiteY3" fmla="*/ 190500 h 434502"/>
                      <a:gd name="connsiteX4" fmla="*/ 923925 w 1212310"/>
                      <a:gd name="connsiteY4" fmla="*/ 209550 h 434502"/>
                      <a:gd name="connsiteX5" fmla="*/ 933450 w 1212310"/>
                      <a:gd name="connsiteY5" fmla="*/ 209550 h 434502"/>
                      <a:gd name="connsiteX6" fmla="*/ 1212310 w 1212310"/>
                      <a:gd name="connsiteY6" fmla="*/ 218062 h 434502"/>
                      <a:gd name="connsiteX7" fmla="*/ 743355 w 1212310"/>
                      <a:gd name="connsiteY7" fmla="*/ 424977 h 434502"/>
                      <a:gd name="connsiteX8" fmla="*/ 76200 w 1212310"/>
                      <a:gd name="connsiteY8" fmla="*/ 209550 h 434502"/>
                      <a:gd name="connsiteX9" fmla="*/ 0 w 1212310"/>
                      <a:gd name="connsiteY9" fmla="*/ 95250 h 434502"/>
                      <a:gd name="connsiteX10" fmla="*/ 19050 w 1212310"/>
                      <a:gd name="connsiteY10" fmla="*/ 0 h 434502"/>
                      <a:gd name="connsiteX0" fmla="*/ 19050 w 1212310"/>
                      <a:gd name="connsiteY0" fmla="*/ 0 h 434502"/>
                      <a:gd name="connsiteX1" fmla="*/ 371475 w 1212310"/>
                      <a:gd name="connsiteY1" fmla="*/ 95250 h 434502"/>
                      <a:gd name="connsiteX2" fmla="*/ 571500 w 1212310"/>
                      <a:gd name="connsiteY2" fmla="*/ 200025 h 434502"/>
                      <a:gd name="connsiteX3" fmla="*/ 923925 w 1212310"/>
                      <a:gd name="connsiteY3" fmla="*/ 209550 h 434502"/>
                      <a:gd name="connsiteX4" fmla="*/ 933450 w 1212310"/>
                      <a:gd name="connsiteY4" fmla="*/ 209550 h 434502"/>
                      <a:gd name="connsiteX5" fmla="*/ 1212310 w 1212310"/>
                      <a:gd name="connsiteY5" fmla="*/ 218062 h 434502"/>
                      <a:gd name="connsiteX6" fmla="*/ 743355 w 1212310"/>
                      <a:gd name="connsiteY6" fmla="*/ 424977 h 434502"/>
                      <a:gd name="connsiteX7" fmla="*/ 76200 w 1212310"/>
                      <a:gd name="connsiteY7" fmla="*/ 209550 h 434502"/>
                      <a:gd name="connsiteX8" fmla="*/ 0 w 1212310"/>
                      <a:gd name="connsiteY8" fmla="*/ 95250 h 434502"/>
                      <a:gd name="connsiteX9" fmla="*/ 19050 w 1212310"/>
                      <a:gd name="connsiteY9" fmla="*/ 0 h 434502"/>
                      <a:gd name="connsiteX0" fmla="*/ 19050 w 1242405"/>
                      <a:gd name="connsiteY0" fmla="*/ 0 h 434502"/>
                      <a:gd name="connsiteX1" fmla="*/ 371475 w 1242405"/>
                      <a:gd name="connsiteY1" fmla="*/ 95250 h 434502"/>
                      <a:gd name="connsiteX2" fmla="*/ 571500 w 1242405"/>
                      <a:gd name="connsiteY2" fmla="*/ 200025 h 434502"/>
                      <a:gd name="connsiteX3" fmla="*/ 923925 w 1242405"/>
                      <a:gd name="connsiteY3" fmla="*/ 209550 h 434502"/>
                      <a:gd name="connsiteX4" fmla="*/ 1212310 w 1242405"/>
                      <a:gd name="connsiteY4" fmla="*/ 218062 h 434502"/>
                      <a:gd name="connsiteX5" fmla="*/ 743355 w 1242405"/>
                      <a:gd name="connsiteY5" fmla="*/ 424977 h 434502"/>
                      <a:gd name="connsiteX6" fmla="*/ 76200 w 1242405"/>
                      <a:gd name="connsiteY6" fmla="*/ 209550 h 434502"/>
                      <a:gd name="connsiteX7" fmla="*/ 0 w 1242405"/>
                      <a:gd name="connsiteY7" fmla="*/ 95250 h 434502"/>
                      <a:gd name="connsiteX8" fmla="*/ 19050 w 1242405"/>
                      <a:gd name="connsiteY8" fmla="*/ 0 h 434502"/>
                      <a:gd name="connsiteX0" fmla="*/ 19050 w 1242405"/>
                      <a:gd name="connsiteY0" fmla="*/ 0 h 434502"/>
                      <a:gd name="connsiteX1" fmla="*/ 371475 w 1242405"/>
                      <a:gd name="connsiteY1" fmla="*/ 95250 h 434502"/>
                      <a:gd name="connsiteX2" fmla="*/ 571500 w 1242405"/>
                      <a:gd name="connsiteY2" fmla="*/ 200025 h 434502"/>
                      <a:gd name="connsiteX3" fmla="*/ 967699 w 1242405"/>
                      <a:gd name="connsiteY3" fmla="*/ 233869 h 434502"/>
                      <a:gd name="connsiteX4" fmla="*/ 1212310 w 1242405"/>
                      <a:gd name="connsiteY4" fmla="*/ 218062 h 434502"/>
                      <a:gd name="connsiteX5" fmla="*/ 743355 w 1242405"/>
                      <a:gd name="connsiteY5" fmla="*/ 424977 h 434502"/>
                      <a:gd name="connsiteX6" fmla="*/ 76200 w 1242405"/>
                      <a:gd name="connsiteY6" fmla="*/ 209550 h 434502"/>
                      <a:gd name="connsiteX7" fmla="*/ 0 w 1242405"/>
                      <a:gd name="connsiteY7" fmla="*/ 95250 h 434502"/>
                      <a:gd name="connsiteX8" fmla="*/ 19050 w 1242405"/>
                      <a:gd name="connsiteY8" fmla="*/ 0 h 434502"/>
                      <a:gd name="connsiteX0" fmla="*/ 19050 w 1242405"/>
                      <a:gd name="connsiteY0" fmla="*/ 0 h 449093"/>
                      <a:gd name="connsiteX1" fmla="*/ 371475 w 1242405"/>
                      <a:gd name="connsiteY1" fmla="*/ 95250 h 449093"/>
                      <a:gd name="connsiteX2" fmla="*/ 571500 w 1242405"/>
                      <a:gd name="connsiteY2" fmla="*/ 200025 h 449093"/>
                      <a:gd name="connsiteX3" fmla="*/ 967699 w 1242405"/>
                      <a:gd name="connsiteY3" fmla="*/ 233869 h 449093"/>
                      <a:gd name="connsiteX4" fmla="*/ 1212310 w 1242405"/>
                      <a:gd name="connsiteY4" fmla="*/ 218062 h 449093"/>
                      <a:gd name="connsiteX5" fmla="*/ 796857 w 1242405"/>
                      <a:gd name="connsiteY5" fmla="*/ 439568 h 449093"/>
                      <a:gd name="connsiteX6" fmla="*/ 76200 w 1242405"/>
                      <a:gd name="connsiteY6" fmla="*/ 209550 h 449093"/>
                      <a:gd name="connsiteX7" fmla="*/ 0 w 1242405"/>
                      <a:gd name="connsiteY7" fmla="*/ 95250 h 449093"/>
                      <a:gd name="connsiteX8" fmla="*/ 19050 w 1242405"/>
                      <a:gd name="connsiteY8" fmla="*/ 0 h 449093"/>
                      <a:gd name="connsiteX0" fmla="*/ 19050 w 1242405"/>
                      <a:gd name="connsiteY0" fmla="*/ 0 h 449093"/>
                      <a:gd name="connsiteX1" fmla="*/ 371475 w 1242405"/>
                      <a:gd name="connsiteY1" fmla="*/ 95250 h 449093"/>
                      <a:gd name="connsiteX2" fmla="*/ 571500 w 1242405"/>
                      <a:gd name="connsiteY2" fmla="*/ 200025 h 449093"/>
                      <a:gd name="connsiteX3" fmla="*/ 967699 w 1242405"/>
                      <a:gd name="connsiteY3" fmla="*/ 233869 h 449093"/>
                      <a:gd name="connsiteX4" fmla="*/ 1212310 w 1242405"/>
                      <a:gd name="connsiteY4" fmla="*/ 218062 h 449093"/>
                      <a:gd name="connsiteX5" fmla="*/ 796857 w 1242405"/>
                      <a:gd name="connsiteY5" fmla="*/ 439568 h 449093"/>
                      <a:gd name="connsiteX6" fmla="*/ 76200 w 1242405"/>
                      <a:gd name="connsiteY6" fmla="*/ 209550 h 449093"/>
                      <a:gd name="connsiteX7" fmla="*/ 0 w 1242405"/>
                      <a:gd name="connsiteY7" fmla="*/ 95250 h 449093"/>
                      <a:gd name="connsiteX8" fmla="*/ 19050 w 1242405"/>
                      <a:gd name="connsiteY8" fmla="*/ 0 h 449093"/>
                      <a:gd name="connsiteX0" fmla="*/ 19050 w 1242405"/>
                      <a:gd name="connsiteY0" fmla="*/ 0 h 449093"/>
                      <a:gd name="connsiteX1" fmla="*/ 371475 w 1242405"/>
                      <a:gd name="connsiteY1" fmla="*/ 95250 h 449093"/>
                      <a:gd name="connsiteX2" fmla="*/ 571500 w 1242405"/>
                      <a:gd name="connsiteY2" fmla="*/ 200025 h 449093"/>
                      <a:gd name="connsiteX3" fmla="*/ 967699 w 1242405"/>
                      <a:gd name="connsiteY3" fmla="*/ 233869 h 449093"/>
                      <a:gd name="connsiteX4" fmla="*/ 1212310 w 1242405"/>
                      <a:gd name="connsiteY4" fmla="*/ 218062 h 449093"/>
                      <a:gd name="connsiteX5" fmla="*/ 796857 w 1242405"/>
                      <a:gd name="connsiteY5" fmla="*/ 439568 h 449093"/>
                      <a:gd name="connsiteX6" fmla="*/ 202660 w 1242405"/>
                      <a:gd name="connsiteY6" fmla="*/ 306827 h 449093"/>
                      <a:gd name="connsiteX7" fmla="*/ 0 w 1242405"/>
                      <a:gd name="connsiteY7" fmla="*/ 95250 h 449093"/>
                      <a:gd name="connsiteX8" fmla="*/ 19050 w 1242405"/>
                      <a:gd name="connsiteY8" fmla="*/ 0 h 449093"/>
                      <a:gd name="connsiteX0" fmla="*/ 0 w 1223355"/>
                      <a:gd name="connsiteY0" fmla="*/ 0 h 449093"/>
                      <a:gd name="connsiteX1" fmla="*/ 352425 w 1223355"/>
                      <a:gd name="connsiteY1" fmla="*/ 95250 h 449093"/>
                      <a:gd name="connsiteX2" fmla="*/ 552450 w 1223355"/>
                      <a:gd name="connsiteY2" fmla="*/ 200025 h 449093"/>
                      <a:gd name="connsiteX3" fmla="*/ 948649 w 1223355"/>
                      <a:gd name="connsiteY3" fmla="*/ 233869 h 449093"/>
                      <a:gd name="connsiteX4" fmla="*/ 1193260 w 1223355"/>
                      <a:gd name="connsiteY4" fmla="*/ 218062 h 449093"/>
                      <a:gd name="connsiteX5" fmla="*/ 777807 w 1223355"/>
                      <a:gd name="connsiteY5" fmla="*/ 439568 h 449093"/>
                      <a:gd name="connsiteX6" fmla="*/ 183610 w 1223355"/>
                      <a:gd name="connsiteY6" fmla="*/ 306827 h 449093"/>
                      <a:gd name="connsiteX7" fmla="*/ 0 w 1223355"/>
                      <a:gd name="connsiteY7" fmla="*/ 0 h 449093"/>
                      <a:gd name="connsiteX0" fmla="*/ 0 w 1286585"/>
                      <a:gd name="connsiteY0" fmla="*/ 0 h 522050"/>
                      <a:gd name="connsiteX1" fmla="*/ 415655 w 1286585"/>
                      <a:gd name="connsiteY1" fmla="*/ 168207 h 522050"/>
                      <a:gd name="connsiteX2" fmla="*/ 615680 w 1286585"/>
                      <a:gd name="connsiteY2" fmla="*/ 272982 h 522050"/>
                      <a:gd name="connsiteX3" fmla="*/ 1011879 w 1286585"/>
                      <a:gd name="connsiteY3" fmla="*/ 306826 h 522050"/>
                      <a:gd name="connsiteX4" fmla="*/ 1256490 w 1286585"/>
                      <a:gd name="connsiteY4" fmla="*/ 291019 h 522050"/>
                      <a:gd name="connsiteX5" fmla="*/ 841037 w 1286585"/>
                      <a:gd name="connsiteY5" fmla="*/ 512525 h 522050"/>
                      <a:gd name="connsiteX6" fmla="*/ 246840 w 1286585"/>
                      <a:gd name="connsiteY6" fmla="*/ 379784 h 522050"/>
                      <a:gd name="connsiteX7" fmla="*/ 0 w 1286585"/>
                      <a:gd name="connsiteY7" fmla="*/ 0 h 522050"/>
                      <a:gd name="connsiteX0" fmla="*/ 0 w 1286585"/>
                      <a:gd name="connsiteY0" fmla="*/ 0 h 522050"/>
                      <a:gd name="connsiteX1" fmla="*/ 415655 w 1286585"/>
                      <a:gd name="connsiteY1" fmla="*/ 168207 h 522050"/>
                      <a:gd name="connsiteX2" fmla="*/ 615680 w 1286585"/>
                      <a:gd name="connsiteY2" fmla="*/ 272982 h 522050"/>
                      <a:gd name="connsiteX3" fmla="*/ 1011879 w 1286585"/>
                      <a:gd name="connsiteY3" fmla="*/ 306826 h 522050"/>
                      <a:gd name="connsiteX4" fmla="*/ 1256490 w 1286585"/>
                      <a:gd name="connsiteY4" fmla="*/ 291019 h 522050"/>
                      <a:gd name="connsiteX5" fmla="*/ 841037 w 1286585"/>
                      <a:gd name="connsiteY5" fmla="*/ 512525 h 522050"/>
                      <a:gd name="connsiteX6" fmla="*/ 246840 w 1286585"/>
                      <a:gd name="connsiteY6" fmla="*/ 379784 h 522050"/>
                      <a:gd name="connsiteX7" fmla="*/ 0 w 1286585"/>
                      <a:gd name="connsiteY7" fmla="*/ 0 h 522050"/>
                      <a:gd name="connsiteX0" fmla="*/ 0 w 1286585"/>
                      <a:gd name="connsiteY0" fmla="*/ 0 h 522050"/>
                      <a:gd name="connsiteX1" fmla="*/ 415655 w 1286585"/>
                      <a:gd name="connsiteY1" fmla="*/ 168207 h 522050"/>
                      <a:gd name="connsiteX2" fmla="*/ 615680 w 1286585"/>
                      <a:gd name="connsiteY2" fmla="*/ 272982 h 522050"/>
                      <a:gd name="connsiteX3" fmla="*/ 1011879 w 1286585"/>
                      <a:gd name="connsiteY3" fmla="*/ 306826 h 522050"/>
                      <a:gd name="connsiteX4" fmla="*/ 1256490 w 1286585"/>
                      <a:gd name="connsiteY4" fmla="*/ 291019 h 522050"/>
                      <a:gd name="connsiteX5" fmla="*/ 841037 w 1286585"/>
                      <a:gd name="connsiteY5" fmla="*/ 512525 h 522050"/>
                      <a:gd name="connsiteX6" fmla="*/ 246840 w 1286585"/>
                      <a:gd name="connsiteY6" fmla="*/ 379784 h 522050"/>
                      <a:gd name="connsiteX7" fmla="*/ 0 w 1286585"/>
                      <a:gd name="connsiteY7" fmla="*/ 0 h 522050"/>
                      <a:gd name="connsiteX0" fmla="*/ 0 w 1286585"/>
                      <a:gd name="connsiteY0" fmla="*/ 0 h 522050"/>
                      <a:gd name="connsiteX1" fmla="*/ 415655 w 1286585"/>
                      <a:gd name="connsiteY1" fmla="*/ 168207 h 522050"/>
                      <a:gd name="connsiteX2" fmla="*/ 615680 w 1286585"/>
                      <a:gd name="connsiteY2" fmla="*/ 272982 h 522050"/>
                      <a:gd name="connsiteX3" fmla="*/ 1011879 w 1286585"/>
                      <a:gd name="connsiteY3" fmla="*/ 306826 h 522050"/>
                      <a:gd name="connsiteX4" fmla="*/ 1256490 w 1286585"/>
                      <a:gd name="connsiteY4" fmla="*/ 291019 h 522050"/>
                      <a:gd name="connsiteX5" fmla="*/ 841037 w 1286585"/>
                      <a:gd name="connsiteY5" fmla="*/ 512525 h 522050"/>
                      <a:gd name="connsiteX6" fmla="*/ 246840 w 1286585"/>
                      <a:gd name="connsiteY6" fmla="*/ 379784 h 522050"/>
                      <a:gd name="connsiteX7" fmla="*/ 0 w 1286585"/>
                      <a:gd name="connsiteY7" fmla="*/ 0 h 522050"/>
                      <a:gd name="connsiteX0" fmla="*/ 0 w 1310905"/>
                      <a:gd name="connsiteY0" fmla="*/ 0 h 522050"/>
                      <a:gd name="connsiteX1" fmla="*/ 439975 w 1310905"/>
                      <a:gd name="connsiteY1" fmla="*/ 168207 h 522050"/>
                      <a:gd name="connsiteX2" fmla="*/ 640000 w 1310905"/>
                      <a:gd name="connsiteY2" fmla="*/ 272982 h 522050"/>
                      <a:gd name="connsiteX3" fmla="*/ 1036199 w 1310905"/>
                      <a:gd name="connsiteY3" fmla="*/ 306826 h 522050"/>
                      <a:gd name="connsiteX4" fmla="*/ 1280810 w 1310905"/>
                      <a:gd name="connsiteY4" fmla="*/ 291019 h 522050"/>
                      <a:gd name="connsiteX5" fmla="*/ 865357 w 1310905"/>
                      <a:gd name="connsiteY5" fmla="*/ 512525 h 522050"/>
                      <a:gd name="connsiteX6" fmla="*/ 271160 w 1310905"/>
                      <a:gd name="connsiteY6" fmla="*/ 379784 h 522050"/>
                      <a:gd name="connsiteX7" fmla="*/ 0 w 1310905"/>
                      <a:gd name="connsiteY7" fmla="*/ 0 h 522050"/>
                      <a:gd name="connsiteX0" fmla="*/ 0 w 1296313"/>
                      <a:gd name="connsiteY0" fmla="*/ 0 h 531778"/>
                      <a:gd name="connsiteX1" fmla="*/ 425383 w 1296313"/>
                      <a:gd name="connsiteY1" fmla="*/ 177935 h 531778"/>
                      <a:gd name="connsiteX2" fmla="*/ 625408 w 1296313"/>
                      <a:gd name="connsiteY2" fmla="*/ 282710 h 531778"/>
                      <a:gd name="connsiteX3" fmla="*/ 1021607 w 1296313"/>
                      <a:gd name="connsiteY3" fmla="*/ 316554 h 531778"/>
                      <a:gd name="connsiteX4" fmla="*/ 1266218 w 1296313"/>
                      <a:gd name="connsiteY4" fmla="*/ 300747 h 531778"/>
                      <a:gd name="connsiteX5" fmla="*/ 850765 w 1296313"/>
                      <a:gd name="connsiteY5" fmla="*/ 522253 h 531778"/>
                      <a:gd name="connsiteX6" fmla="*/ 256568 w 1296313"/>
                      <a:gd name="connsiteY6" fmla="*/ 389512 h 531778"/>
                      <a:gd name="connsiteX7" fmla="*/ 0 w 1296313"/>
                      <a:gd name="connsiteY7" fmla="*/ 0 h 531778"/>
                      <a:gd name="connsiteX0" fmla="*/ 0 w 1296313"/>
                      <a:gd name="connsiteY0" fmla="*/ 0 h 531778"/>
                      <a:gd name="connsiteX1" fmla="*/ 425383 w 1296313"/>
                      <a:gd name="connsiteY1" fmla="*/ 177935 h 531778"/>
                      <a:gd name="connsiteX2" fmla="*/ 625408 w 1296313"/>
                      <a:gd name="connsiteY2" fmla="*/ 282710 h 531778"/>
                      <a:gd name="connsiteX3" fmla="*/ 1021607 w 1296313"/>
                      <a:gd name="connsiteY3" fmla="*/ 316554 h 531778"/>
                      <a:gd name="connsiteX4" fmla="*/ 1266218 w 1296313"/>
                      <a:gd name="connsiteY4" fmla="*/ 300747 h 531778"/>
                      <a:gd name="connsiteX5" fmla="*/ 850765 w 1296313"/>
                      <a:gd name="connsiteY5" fmla="*/ 522253 h 531778"/>
                      <a:gd name="connsiteX6" fmla="*/ 256568 w 1296313"/>
                      <a:gd name="connsiteY6" fmla="*/ 389512 h 531778"/>
                      <a:gd name="connsiteX7" fmla="*/ 0 w 1296313"/>
                      <a:gd name="connsiteY7" fmla="*/ 0 h 531778"/>
                      <a:gd name="connsiteX0" fmla="*/ 0 w 1296313"/>
                      <a:gd name="connsiteY0" fmla="*/ 0 h 531778"/>
                      <a:gd name="connsiteX1" fmla="*/ 425383 w 1296313"/>
                      <a:gd name="connsiteY1" fmla="*/ 177935 h 531778"/>
                      <a:gd name="connsiteX2" fmla="*/ 625408 w 1296313"/>
                      <a:gd name="connsiteY2" fmla="*/ 282710 h 531778"/>
                      <a:gd name="connsiteX3" fmla="*/ 1021607 w 1296313"/>
                      <a:gd name="connsiteY3" fmla="*/ 316554 h 531778"/>
                      <a:gd name="connsiteX4" fmla="*/ 1266218 w 1296313"/>
                      <a:gd name="connsiteY4" fmla="*/ 300747 h 531778"/>
                      <a:gd name="connsiteX5" fmla="*/ 850765 w 1296313"/>
                      <a:gd name="connsiteY5" fmla="*/ 522253 h 531778"/>
                      <a:gd name="connsiteX6" fmla="*/ 256568 w 1296313"/>
                      <a:gd name="connsiteY6" fmla="*/ 389512 h 531778"/>
                      <a:gd name="connsiteX7" fmla="*/ 0 w 1296313"/>
                      <a:gd name="connsiteY7" fmla="*/ 0 h 531778"/>
                      <a:gd name="connsiteX0" fmla="*/ 0 w 1296313"/>
                      <a:gd name="connsiteY0" fmla="*/ 0 h 531778"/>
                      <a:gd name="connsiteX1" fmla="*/ 425383 w 1296313"/>
                      <a:gd name="connsiteY1" fmla="*/ 177935 h 531778"/>
                      <a:gd name="connsiteX2" fmla="*/ 625408 w 1296313"/>
                      <a:gd name="connsiteY2" fmla="*/ 282710 h 531778"/>
                      <a:gd name="connsiteX3" fmla="*/ 1021607 w 1296313"/>
                      <a:gd name="connsiteY3" fmla="*/ 316554 h 531778"/>
                      <a:gd name="connsiteX4" fmla="*/ 1266218 w 1296313"/>
                      <a:gd name="connsiteY4" fmla="*/ 300747 h 531778"/>
                      <a:gd name="connsiteX5" fmla="*/ 850765 w 1296313"/>
                      <a:gd name="connsiteY5" fmla="*/ 522253 h 531778"/>
                      <a:gd name="connsiteX6" fmla="*/ 266295 w 1296313"/>
                      <a:gd name="connsiteY6" fmla="*/ 365193 h 531778"/>
                      <a:gd name="connsiteX7" fmla="*/ 0 w 1296313"/>
                      <a:gd name="connsiteY7" fmla="*/ 0 h 531778"/>
                      <a:gd name="connsiteX0" fmla="*/ 0 w 1296313"/>
                      <a:gd name="connsiteY0" fmla="*/ 0 h 531778"/>
                      <a:gd name="connsiteX1" fmla="*/ 425383 w 1296313"/>
                      <a:gd name="connsiteY1" fmla="*/ 177935 h 531778"/>
                      <a:gd name="connsiteX2" fmla="*/ 625408 w 1296313"/>
                      <a:gd name="connsiteY2" fmla="*/ 282710 h 531778"/>
                      <a:gd name="connsiteX3" fmla="*/ 1021607 w 1296313"/>
                      <a:gd name="connsiteY3" fmla="*/ 316554 h 531778"/>
                      <a:gd name="connsiteX4" fmla="*/ 1266218 w 1296313"/>
                      <a:gd name="connsiteY4" fmla="*/ 300747 h 531778"/>
                      <a:gd name="connsiteX5" fmla="*/ 850765 w 1296313"/>
                      <a:gd name="connsiteY5" fmla="*/ 522253 h 531778"/>
                      <a:gd name="connsiteX6" fmla="*/ 266295 w 1296313"/>
                      <a:gd name="connsiteY6" fmla="*/ 365193 h 531778"/>
                      <a:gd name="connsiteX7" fmla="*/ 0 w 1296313"/>
                      <a:gd name="connsiteY7" fmla="*/ 0 h 531778"/>
                      <a:gd name="connsiteX0" fmla="*/ 0 w 1296313"/>
                      <a:gd name="connsiteY0" fmla="*/ 0 h 531778"/>
                      <a:gd name="connsiteX1" fmla="*/ 425383 w 1296313"/>
                      <a:gd name="connsiteY1" fmla="*/ 177935 h 531778"/>
                      <a:gd name="connsiteX2" fmla="*/ 625408 w 1296313"/>
                      <a:gd name="connsiteY2" fmla="*/ 282710 h 531778"/>
                      <a:gd name="connsiteX3" fmla="*/ 1021607 w 1296313"/>
                      <a:gd name="connsiteY3" fmla="*/ 297099 h 531778"/>
                      <a:gd name="connsiteX4" fmla="*/ 1266218 w 1296313"/>
                      <a:gd name="connsiteY4" fmla="*/ 300747 h 531778"/>
                      <a:gd name="connsiteX5" fmla="*/ 850765 w 1296313"/>
                      <a:gd name="connsiteY5" fmla="*/ 522253 h 531778"/>
                      <a:gd name="connsiteX6" fmla="*/ 266295 w 1296313"/>
                      <a:gd name="connsiteY6" fmla="*/ 365193 h 531778"/>
                      <a:gd name="connsiteX7" fmla="*/ 0 w 1296313"/>
                      <a:gd name="connsiteY7" fmla="*/ 0 h 531778"/>
                      <a:gd name="connsiteX0" fmla="*/ 0 w 1296313"/>
                      <a:gd name="connsiteY0" fmla="*/ 0 h 531778"/>
                      <a:gd name="connsiteX1" fmla="*/ 425383 w 1296313"/>
                      <a:gd name="connsiteY1" fmla="*/ 177935 h 531778"/>
                      <a:gd name="connsiteX2" fmla="*/ 625408 w 1296313"/>
                      <a:gd name="connsiteY2" fmla="*/ 282710 h 531778"/>
                      <a:gd name="connsiteX3" fmla="*/ 1021607 w 1296313"/>
                      <a:gd name="connsiteY3" fmla="*/ 297099 h 531778"/>
                      <a:gd name="connsiteX4" fmla="*/ 1266218 w 1296313"/>
                      <a:gd name="connsiteY4" fmla="*/ 300747 h 531778"/>
                      <a:gd name="connsiteX5" fmla="*/ 850765 w 1296313"/>
                      <a:gd name="connsiteY5" fmla="*/ 522253 h 531778"/>
                      <a:gd name="connsiteX6" fmla="*/ 266295 w 1296313"/>
                      <a:gd name="connsiteY6" fmla="*/ 365193 h 531778"/>
                      <a:gd name="connsiteX7" fmla="*/ 0 w 1296313"/>
                      <a:gd name="connsiteY7" fmla="*/ 0 h 531778"/>
                      <a:gd name="connsiteX0" fmla="*/ 0 w 1357685"/>
                      <a:gd name="connsiteY0" fmla="*/ 0 h 531778"/>
                      <a:gd name="connsiteX1" fmla="*/ 425383 w 1357685"/>
                      <a:gd name="connsiteY1" fmla="*/ 177935 h 531778"/>
                      <a:gd name="connsiteX2" fmla="*/ 625408 w 1357685"/>
                      <a:gd name="connsiteY2" fmla="*/ 282710 h 531778"/>
                      <a:gd name="connsiteX3" fmla="*/ 1021607 w 1357685"/>
                      <a:gd name="connsiteY3" fmla="*/ 297099 h 531778"/>
                      <a:gd name="connsiteX4" fmla="*/ 1327589 w 1357685"/>
                      <a:gd name="connsiteY4" fmla="*/ 231968 h 531778"/>
                      <a:gd name="connsiteX5" fmla="*/ 850765 w 1357685"/>
                      <a:gd name="connsiteY5" fmla="*/ 522253 h 531778"/>
                      <a:gd name="connsiteX6" fmla="*/ 266295 w 1357685"/>
                      <a:gd name="connsiteY6" fmla="*/ 365193 h 531778"/>
                      <a:gd name="connsiteX7" fmla="*/ 0 w 1357685"/>
                      <a:gd name="connsiteY7" fmla="*/ 0 h 531778"/>
                      <a:gd name="connsiteX0" fmla="*/ 0 w 1357684"/>
                      <a:gd name="connsiteY0" fmla="*/ 0 h 531778"/>
                      <a:gd name="connsiteX1" fmla="*/ 425383 w 1357684"/>
                      <a:gd name="connsiteY1" fmla="*/ 177935 h 531778"/>
                      <a:gd name="connsiteX2" fmla="*/ 625408 w 1357684"/>
                      <a:gd name="connsiteY2" fmla="*/ 282710 h 531778"/>
                      <a:gd name="connsiteX3" fmla="*/ 1021607 w 1357684"/>
                      <a:gd name="connsiteY3" fmla="*/ 297099 h 531778"/>
                      <a:gd name="connsiteX4" fmla="*/ 1327589 w 1357684"/>
                      <a:gd name="connsiteY4" fmla="*/ 231968 h 531778"/>
                      <a:gd name="connsiteX5" fmla="*/ 850765 w 1357684"/>
                      <a:gd name="connsiteY5" fmla="*/ 522253 h 531778"/>
                      <a:gd name="connsiteX6" fmla="*/ 266295 w 1357684"/>
                      <a:gd name="connsiteY6" fmla="*/ 365193 h 531778"/>
                      <a:gd name="connsiteX7" fmla="*/ 0 w 1357684"/>
                      <a:gd name="connsiteY7" fmla="*/ 0 h 531778"/>
                      <a:gd name="connsiteX0" fmla="*/ 0 w 1348671"/>
                      <a:gd name="connsiteY0" fmla="*/ 0 h 531778"/>
                      <a:gd name="connsiteX1" fmla="*/ 425383 w 1348671"/>
                      <a:gd name="connsiteY1" fmla="*/ 177935 h 531778"/>
                      <a:gd name="connsiteX2" fmla="*/ 625408 w 1348671"/>
                      <a:gd name="connsiteY2" fmla="*/ 282710 h 531778"/>
                      <a:gd name="connsiteX3" fmla="*/ 1021607 w 1348671"/>
                      <a:gd name="connsiteY3" fmla="*/ 297099 h 531778"/>
                      <a:gd name="connsiteX4" fmla="*/ 1327589 w 1348671"/>
                      <a:gd name="connsiteY4" fmla="*/ 231968 h 531778"/>
                      <a:gd name="connsiteX5" fmla="*/ 850765 w 1348671"/>
                      <a:gd name="connsiteY5" fmla="*/ 522253 h 531778"/>
                      <a:gd name="connsiteX6" fmla="*/ 266295 w 1348671"/>
                      <a:gd name="connsiteY6" fmla="*/ 365193 h 531778"/>
                      <a:gd name="connsiteX7" fmla="*/ 0 w 1348671"/>
                      <a:gd name="connsiteY7" fmla="*/ 0 h 531778"/>
                      <a:gd name="connsiteX0" fmla="*/ 0 w 1348671"/>
                      <a:gd name="connsiteY0" fmla="*/ 0 h 531778"/>
                      <a:gd name="connsiteX1" fmla="*/ 425383 w 1348671"/>
                      <a:gd name="connsiteY1" fmla="*/ 177935 h 531778"/>
                      <a:gd name="connsiteX2" fmla="*/ 625408 w 1348671"/>
                      <a:gd name="connsiteY2" fmla="*/ 282710 h 531778"/>
                      <a:gd name="connsiteX3" fmla="*/ 1021607 w 1348671"/>
                      <a:gd name="connsiteY3" fmla="*/ 297099 h 531778"/>
                      <a:gd name="connsiteX4" fmla="*/ 1327589 w 1348671"/>
                      <a:gd name="connsiteY4" fmla="*/ 231968 h 531778"/>
                      <a:gd name="connsiteX5" fmla="*/ 850765 w 1348671"/>
                      <a:gd name="connsiteY5" fmla="*/ 522253 h 531778"/>
                      <a:gd name="connsiteX6" fmla="*/ 266295 w 1348671"/>
                      <a:gd name="connsiteY6" fmla="*/ 365193 h 531778"/>
                      <a:gd name="connsiteX7" fmla="*/ 0 w 1348671"/>
                      <a:gd name="connsiteY7" fmla="*/ 0 h 531778"/>
                      <a:gd name="connsiteX0" fmla="*/ 0 w 1348671"/>
                      <a:gd name="connsiteY0" fmla="*/ 0 h 531778"/>
                      <a:gd name="connsiteX1" fmla="*/ 425383 w 1348671"/>
                      <a:gd name="connsiteY1" fmla="*/ 177935 h 531778"/>
                      <a:gd name="connsiteX2" fmla="*/ 625408 w 1348671"/>
                      <a:gd name="connsiteY2" fmla="*/ 282710 h 531778"/>
                      <a:gd name="connsiteX3" fmla="*/ 1021607 w 1348671"/>
                      <a:gd name="connsiteY3" fmla="*/ 297099 h 531778"/>
                      <a:gd name="connsiteX4" fmla="*/ 1327589 w 1348671"/>
                      <a:gd name="connsiteY4" fmla="*/ 231968 h 531778"/>
                      <a:gd name="connsiteX5" fmla="*/ 850765 w 1348671"/>
                      <a:gd name="connsiteY5" fmla="*/ 522253 h 531778"/>
                      <a:gd name="connsiteX6" fmla="*/ 266295 w 1348671"/>
                      <a:gd name="connsiteY6" fmla="*/ 365193 h 531778"/>
                      <a:gd name="connsiteX7" fmla="*/ 0 w 1348671"/>
                      <a:gd name="connsiteY7" fmla="*/ 0 h 531778"/>
                      <a:gd name="connsiteX0" fmla="*/ 0 w 1348671"/>
                      <a:gd name="connsiteY0" fmla="*/ 0 h 531778"/>
                      <a:gd name="connsiteX1" fmla="*/ 406396 w 1348671"/>
                      <a:gd name="connsiteY1" fmla="*/ 222254 h 531778"/>
                      <a:gd name="connsiteX2" fmla="*/ 625408 w 1348671"/>
                      <a:gd name="connsiteY2" fmla="*/ 282710 h 531778"/>
                      <a:gd name="connsiteX3" fmla="*/ 1021607 w 1348671"/>
                      <a:gd name="connsiteY3" fmla="*/ 297099 h 531778"/>
                      <a:gd name="connsiteX4" fmla="*/ 1327589 w 1348671"/>
                      <a:gd name="connsiteY4" fmla="*/ 231968 h 531778"/>
                      <a:gd name="connsiteX5" fmla="*/ 850765 w 1348671"/>
                      <a:gd name="connsiteY5" fmla="*/ 522253 h 531778"/>
                      <a:gd name="connsiteX6" fmla="*/ 266295 w 1348671"/>
                      <a:gd name="connsiteY6" fmla="*/ 365193 h 531778"/>
                      <a:gd name="connsiteX7" fmla="*/ 0 w 1348671"/>
                      <a:gd name="connsiteY7" fmla="*/ 0 h 531778"/>
                      <a:gd name="connsiteX0" fmla="*/ 0 w 1364683"/>
                      <a:gd name="connsiteY0" fmla="*/ 0 h 655106"/>
                      <a:gd name="connsiteX1" fmla="*/ 422408 w 1364683"/>
                      <a:gd name="connsiteY1" fmla="*/ 345582 h 655106"/>
                      <a:gd name="connsiteX2" fmla="*/ 641420 w 1364683"/>
                      <a:gd name="connsiteY2" fmla="*/ 406038 h 655106"/>
                      <a:gd name="connsiteX3" fmla="*/ 1037619 w 1364683"/>
                      <a:gd name="connsiteY3" fmla="*/ 420427 h 655106"/>
                      <a:gd name="connsiteX4" fmla="*/ 1343601 w 1364683"/>
                      <a:gd name="connsiteY4" fmla="*/ 355296 h 655106"/>
                      <a:gd name="connsiteX5" fmla="*/ 866777 w 1364683"/>
                      <a:gd name="connsiteY5" fmla="*/ 645581 h 655106"/>
                      <a:gd name="connsiteX6" fmla="*/ 282307 w 1364683"/>
                      <a:gd name="connsiteY6" fmla="*/ 488521 h 655106"/>
                      <a:gd name="connsiteX7" fmla="*/ 0 w 1364683"/>
                      <a:gd name="connsiteY7" fmla="*/ 0 h 655106"/>
                      <a:gd name="connsiteX0" fmla="*/ 0 w 1345408"/>
                      <a:gd name="connsiteY0" fmla="*/ 0 h 653060"/>
                      <a:gd name="connsiteX1" fmla="*/ 403133 w 1345408"/>
                      <a:gd name="connsiteY1" fmla="*/ 343536 h 653060"/>
                      <a:gd name="connsiteX2" fmla="*/ 622145 w 1345408"/>
                      <a:gd name="connsiteY2" fmla="*/ 403992 h 653060"/>
                      <a:gd name="connsiteX3" fmla="*/ 1018344 w 1345408"/>
                      <a:gd name="connsiteY3" fmla="*/ 418381 h 653060"/>
                      <a:gd name="connsiteX4" fmla="*/ 1324326 w 1345408"/>
                      <a:gd name="connsiteY4" fmla="*/ 353250 h 653060"/>
                      <a:gd name="connsiteX5" fmla="*/ 847502 w 1345408"/>
                      <a:gd name="connsiteY5" fmla="*/ 643535 h 653060"/>
                      <a:gd name="connsiteX6" fmla="*/ 263032 w 1345408"/>
                      <a:gd name="connsiteY6" fmla="*/ 486475 h 653060"/>
                      <a:gd name="connsiteX7" fmla="*/ 0 w 1345408"/>
                      <a:gd name="connsiteY7" fmla="*/ 0 h 653060"/>
                      <a:gd name="connsiteX0" fmla="*/ 0 w 1345408"/>
                      <a:gd name="connsiteY0" fmla="*/ 0 h 653060"/>
                      <a:gd name="connsiteX1" fmla="*/ 403133 w 1345408"/>
                      <a:gd name="connsiteY1" fmla="*/ 343536 h 653060"/>
                      <a:gd name="connsiteX2" fmla="*/ 622145 w 1345408"/>
                      <a:gd name="connsiteY2" fmla="*/ 403992 h 653060"/>
                      <a:gd name="connsiteX3" fmla="*/ 1018344 w 1345408"/>
                      <a:gd name="connsiteY3" fmla="*/ 418381 h 653060"/>
                      <a:gd name="connsiteX4" fmla="*/ 1324326 w 1345408"/>
                      <a:gd name="connsiteY4" fmla="*/ 353250 h 653060"/>
                      <a:gd name="connsiteX5" fmla="*/ 847502 w 1345408"/>
                      <a:gd name="connsiteY5" fmla="*/ 643535 h 653060"/>
                      <a:gd name="connsiteX6" fmla="*/ 263032 w 1345408"/>
                      <a:gd name="connsiteY6" fmla="*/ 486475 h 653060"/>
                      <a:gd name="connsiteX7" fmla="*/ 0 w 1345408"/>
                      <a:gd name="connsiteY7" fmla="*/ 0 h 653060"/>
                      <a:gd name="connsiteX0" fmla="*/ 0 w 1345408"/>
                      <a:gd name="connsiteY0" fmla="*/ 0 h 653060"/>
                      <a:gd name="connsiteX1" fmla="*/ 403133 w 1345408"/>
                      <a:gd name="connsiteY1" fmla="*/ 343536 h 653060"/>
                      <a:gd name="connsiteX2" fmla="*/ 622145 w 1345408"/>
                      <a:gd name="connsiteY2" fmla="*/ 403992 h 653060"/>
                      <a:gd name="connsiteX3" fmla="*/ 1018344 w 1345408"/>
                      <a:gd name="connsiteY3" fmla="*/ 418381 h 653060"/>
                      <a:gd name="connsiteX4" fmla="*/ 1324326 w 1345408"/>
                      <a:gd name="connsiteY4" fmla="*/ 353250 h 653060"/>
                      <a:gd name="connsiteX5" fmla="*/ 847502 w 1345408"/>
                      <a:gd name="connsiteY5" fmla="*/ 643535 h 653060"/>
                      <a:gd name="connsiteX6" fmla="*/ 263032 w 1345408"/>
                      <a:gd name="connsiteY6" fmla="*/ 486475 h 653060"/>
                      <a:gd name="connsiteX7" fmla="*/ 0 w 1345408"/>
                      <a:gd name="connsiteY7" fmla="*/ 0 h 653060"/>
                      <a:gd name="connsiteX0" fmla="*/ 0 w 1345408"/>
                      <a:gd name="connsiteY0" fmla="*/ 0 h 653060"/>
                      <a:gd name="connsiteX1" fmla="*/ 403133 w 1345408"/>
                      <a:gd name="connsiteY1" fmla="*/ 343536 h 653060"/>
                      <a:gd name="connsiteX2" fmla="*/ 619075 w 1345408"/>
                      <a:gd name="connsiteY2" fmla="*/ 426834 h 653060"/>
                      <a:gd name="connsiteX3" fmla="*/ 1018344 w 1345408"/>
                      <a:gd name="connsiteY3" fmla="*/ 418381 h 653060"/>
                      <a:gd name="connsiteX4" fmla="*/ 1324326 w 1345408"/>
                      <a:gd name="connsiteY4" fmla="*/ 353250 h 653060"/>
                      <a:gd name="connsiteX5" fmla="*/ 847502 w 1345408"/>
                      <a:gd name="connsiteY5" fmla="*/ 643535 h 653060"/>
                      <a:gd name="connsiteX6" fmla="*/ 263032 w 1345408"/>
                      <a:gd name="connsiteY6" fmla="*/ 486475 h 653060"/>
                      <a:gd name="connsiteX7" fmla="*/ 0 w 1345408"/>
                      <a:gd name="connsiteY7" fmla="*/ 0 h 653060"/>
                      <a:gd name="connsiteX0" fmla="*/ 0 w 1345408"/>
                      <a:gd name="connsiteY0" fmla="*/ 0 h 653060"/>
                      <a:gd name="connsiteX1" fmla="*/ 403133 w 1345408"/>
                      <a:gd name="connsiteY1" fmla="*/ 343536 h 653060"/>
                      <a:gd name="connsiteX2" fmla="*/ 619075 w 1345408"/>
                      <a:gd name="connsiteY2" fmla="*/ 426834 h 653060"/>
                      <a:gd name="connsiteX3" fmla="*/ 1018344 w 1345408"/>
                      <a:gd name="connsiteY3" fmla="*/ 418381 h 653060"/>
                      <a:gd name="connsiteX4" fmla="*/ 1324326 w 1345408"/>
                      <a:gd name="connsiteY4" fmla="*/ 353250 h 653060"/>
                      <a:gd name="connsiteX5" fmla="*/ 847502 w 1345408"/>
                      <a:gd name="connsiteY5" fmla="*/ 643535 h 653060"/>
                      <a:gd name="connsiteX6" fmla="*/ 263032 w 1345408"/>
                      <a:gd name="connsiteY6" fmla="*/ 486475 h 653060"/>
                      <a:gd name="connsiteX7" fmla="*/ 0 w 1345408"/>
                      <a:gd name="connsiteY7" fmla="*/ 0 h 653060"/>
                      <a:gd name="connsiteX0" fmla="*/ 0 w 1345408"/>
                      <a:gd name="connsiteY0" fmla="*/ 0 h 653060"/>
                      <a:gd name="connsiteX1" fmla="*/ 347613 w 1345408"/>
                      <a:gd name="connsiteY1" fmla="*/ 320269 h 653060"/>
                      <a:gd name="connsiteX2" fmla="*/ 619075 w 1345408"/>
                      <a:gd name="connsiteY2" fmla="*/ 426834 h 653060"/>
                      <a:gd name="connsiteX3" fmla="*/ 1018344 w 1345408"/>
                      <a:gd name="connsiteY3" fmla="*/ 418381 h 653060"/>
                      <a:gd name="connsiteX4" fmla="*/ 1324326 w 1345408"/>
                      <a:gd name="connsiteY4" fmla="*/ 353250 h 653060"/>
                      <a:gd name="connsiteX5" fmla="*/ 847502 w 1345408"/>
                      <a:gd name="connsiteY5" fmla="*/ 643535 h 653060"/>
                      <a:gd name="connsiteX6" fmla="*/ 263032 w 1345408"/>
                      <a:gd name="connsiteY6" fmla="*/ 486475 h 653060"/>
                      <a:gd name="connsiteX7" fmla="*/ 0 w 1345408"/>
                      <a:gd name="connsiteY7" fmla="*/ 0 h 653060"/>
                      <a:gd name="connsiteX0" fmla="*/ 0 w 1345408"/>
                      <a:gd name="connsiteY0" fmla="*/ 0 h 653060"/>
                      <a:gd name="connsiteX1" fmla="*/ 347613 w 1345408"/>
                      <a:gd name="connsiteY1" fmla="*/ 320269 h 653060"/>
                      <a:gd name="connsiteX2" fmla="*/ 619075 w 1345408"/>
                      <a:gd name="connsiteY2" fmla="*/ 426834 h 653060"/>
                      <a:gd name="connsiteX3" fmla="*/ 1018344 w 1345408"/>
                      <a:gd name="connsiteY3" fmla="*/ 418381 h 653060"/>
                      <a:gd name="connsiteX4" fmla="*/ 1324326 w 1345408"/>
                      <a:gd name="connsiteY4" fmla="*/ 353250 h 653060"/>
                      <a:gd name="connsiteX5" fmla="*/ 847502 w 1345408"/>
                      <a:gd name="connsiteY5" fmla="*/ 643535 h 653060"/>
                      <a:gd name="connsiteX6" fmla="*/ 263032 w 1345408"/>
                      <a:gd name="connsiteY6" fmla="*/ 486475 h 653060"/>
                      <a:gd name="connsiteX7" fmla="*/ 0 w 1345408"/>
                      <a:gd name="connsiteY7" fmla="*/ 0 h 653060"/>
                      <a:gd name="connsiteX0" fmla="*/ 0 w 1345408"/>
                      <a:gd name="connsiteY0" fmla="*/ 0 h 653060"/>
                      <a:gd name="connsiteX1" fmla="*/ 347613 w 1345408"/>
                      <a:gd name="connsiteY1" fmla="*/ 320269 h 653060"/>
                      <a:gd name="connsiteX2" fmla="*/ 619075 w 1345408"/>
                      <a:gd name="connsiteY2" fmla="*/ 426834 h 653060"/>
                      <a:gd name="connsiteX3" fmla="*/ 1013741 w 1345408"/>
                      <a:gd name="connsiteY3" fmla="*/ 452643 h 653060"/>
                      <a:gd name="connsiteX4" fmla="*/ 1324326 w 1345408"/>
                      <a:gd name="connsiteY4" fmla="*/ 353250 h 653060"/>
                      <a:gd name="connsiteX5" fmla="*/ 847502 w 1345408"/>
                      <a:gd name="connsiteY5" fmla="*/ 643535 h 653060"/>
                      <a:gd name="connsiteX6" fmla="*/ 263032 w 1345408"/>
                      <a:gd name="connsiteY6" fmla="*/ 486475 h 653060"/>
                      <a:gd name="connsiteX7" fmla="*/ 0 w 1345408"/>
                      <a:gd name="connsiteY7" fmla="*/ 0 h 653060"/>
                      <a:gd name="connsiteX0" fmla="*/ 0 w 1345408"/>
                      <a:gd name="connsiteY0" fmla="*/ 0 h 653060"/>
                      <a:gd name="connsiteX1" fmla="*/ 347613 w 1345408"/>
                      <a:gd name="connsiteY1" fmla="*/ 320269 h 653060"/>
                      <a:gd name="connsiteX2" fmla="*/ 619075 w 1345408"/>
                      <a:gd name="connsiteY2" fmla="*/ 426834 h 653060"/>
                      <a:gd name="connsiteX3" fmla="*/ 1013741 w 1345408"/>
                      <a:gd name="connsiteY3" fmla="*/ 452643 h 653060"/>
                      <a:gd name="connsiteX4" fmla="*/ 1324326 w 1345408"/>
                      <a:gd name="connsiteY4" fmla="*/ 353250 h 653060"/>
                      <a:gd name="connsiteX5" fmla="*/ 847502 w 1345408"/>
                      <a:gd name="connsiteY5" fmla="*/ 643535 h 653060"/>
                      <a:gd name="connsiteX6" fmla="*/ 263032 w 1345408"/>
                      <a:gd name="connsiteY6" fmla="*/ 486475 h 653060"/>
                      <a:gd name="connsiteX7" fmla="*/ 0 w 1345408"/>
                      <a:gd name="connsiteY7" fmla="*/ 0 h 653060"/>
                      <a:gd name="connsiteX0" fmla="*/ 0 w 1345408"/>
                      <a:gd name="connsiteY0" fmla="*/ 0 h 653060"/>
                      <a:gd name="connsiteX1" fmla="*/ 347613 w 1345408"/>
                      <a:gd name="connsiteY1" fmla="*/ 320269 h 653060"/>
                      <a:gd name="connsiteX2" fmla="*/ 619075 w 1345408"/>
                      <a:gd name="connsiteY2" fmla="*/ 426834 h 653060"/>
                      <a:gd name="connsiteX3" fmla="*/ 967234 w 1345408"/>
                      <a:gd name="connsiteY3" fmla="*/ 459291 h 653060"/>
                      <a:gd name="connsiteX4" fmla="*/ 1324326 w 1345408"/>
                      <a:gd name="connsiteY4" fmla="*/ 353250 h 653060"/>
                      <a:gd name="connsiteX5" fmla="*/ 847502 w 1345408"/>
                      <a:gd name="connsiteY5" fmla="*/ 643535 h 653060"/>
                      <a:gd name="connsiteX6" fmla="*/ 263032 w 1345408"/>
                      <a:gd name="connsiteY6" fmla="*/ 486475 h 653060"/>
                      <a:gd name="connsiteX7" fmla="*/ 0 w 1345408"/>
                      <a:gd name="connsiteY7" fmla="*/ 0 h 653060"/>
                      <a:gd name="connsiteX0" fmla="*/ 0 w 1345408"/>
                      <a:gd name="connsiteY0" fmla="*/ 0 h 653060"/>
                      <a:gd name="connsiteX1" fmla="*/ 347613 w 1345408"/>
                      <a:gd name="connsiteY1" fmla="*/ 320269 h 653060"/>
                      <a:gd name="connsiteX2" fmla="*/ 619075 w 1345408"/>
                      <a:gd name="connsiteY2" fmla="*/ 426834 h 653060"/>
                      <a:gd name="connsiteX3" fmla="*/ 934344 w 1345408"/>
                      <a:gd name="connsiteY3" fmla="*/ 461591 h 653060"/>
                      <a:gd name="connsiteX4" fmla="*/ 1324326 w 1345408"/>
                      <a:gd name="connsiteY4" fmla="*/ 353250 h 653060"/>
                      <a:gd name="connsiteX5" fmla="*/ 847502 w 1345408"/>
                      <a:gd name="connsiteY5" fmla="*/ 643535 h 653060"/>
                      <a:gd name="connsiteX6" fmla="*/ 263032 w 1345408"/>
                      <a:gd name="connsiteY6" fmla="*/ 486475 h 653060"/>
                      <a:gd name="connsiteX7" fmla="*/ 0 w 1345408"/>
                      <a:gd name="connsiteY7" fmla="*/ 0 h 653060"/>
                      <a:gd name="connsiteX0" fmla="*/ 0 w 1374943"/>
                      <a:gd name="connsiteY0" fmla="*/ 0 h 653060"/>
                      <a:gd name="connsiteX1" fmla="*/ 347613 w 1374943"/>
                      <a:gd name="connsiteY1" fmla="*/ 320269 h 653060"/>
                      <a:gd name="connsiteX2" fmla="*/ 619075 w 1374943"/>
                      <a:gd name="connsiteY2" fmla="*/ 426834 h 653060"/>
                      <a:gd name="connsiteX3" fmla="*/ 934344 w 1374943"/>
                      <a:gd name="connsiteY3" fmla="*/ 461591 h 653060"/>
                      <a:gd name="connsiteX4" fmla="*/ 1353861 w 1374943"/>
                      <a:gd name="connsiteY4" fmla="*/ 327427 h 653060"/>
                      <a:gd name="connsiteX5" fmla="*/ 847502 w 1374943"/>
                      <a:gd name="connsiteY5" fmla="*/ 643535 h 653060"/>
                      <a:gd name="connsiteX6" fmla="*/ 263032 w 1374943"/>
                      <a:gd name="connsiteY6" fmla="*/ 486475 h 653060"/>
                      <a:gd name="connsiteX7" fmla="*/ 0 w 1374943"/>
                      <a:gd name="connsiteY7" fmla="*/ 0 h 653060"/>
                      <a:gd name="connsiteX0" fmla="*/ 0 w 1374943"/>
                      <a:gd name="connsiteY0" fmla="*/ 0 h 653060"/>
                      <a:gd name="connsiteX1" fmla="*/ 347613 w 1374943"/>
                      <a:gd name="connsiteY1" fmla="*/ 320269 h 653060"/>
                      <a:gd name="connsiteX2" fmla="*/ 619075 w 1374943"/>
                      <a:gd name="connsiteY2" fmla="*/ 426834 h 653060"/>
                      <a:gd name="connsiteX3" fmla="*/ 934344 w 1374943"/>
                      <a:gd name="connsiteY3" fmla="*/ 461591 h 653060"/>
                      <a:gd name="connsiteX4" fmla="*/ 1353861 w 1374943"/>
                      <a:gd name="connsiteY4" fmla="*/ 327427 h 653060"/>
                      <a:gd name="connsiteX5" fmla="*/ 847502 w 1374943"/>
                      <a:gd name="connsiteY5" fmla="*/ 643535 h 653060"/>
                      <a:gd name="connsiteX6" fmla="*/ 263032 w 1374943"/>
                      <a:gd name="connsiteY6" fmla="*/ 486475 h 653060"/>
                      <a:gd name="connsiteX7" fmla="*/ 0 w 1374943"/>
                      <a:gd name="connsiteY7" fmla="*/ 0 h 653060"/>
                      <a:gd name="connsiteX0" fmla="*/ 0 w 1374943"/>
                      <a:gd name="connsiteY0" fmla="*/ 0 h 687321"/>
                      <a:gd name="connsiteX1" fmla="*/ 347613 w 1374943"/>
                      <a:gd name="connsiteY1" fmla="*/ 320269 h 687321"/>
                      <a:gd name="connsiteX2" fmla="*/ 619075 w 1374943"/>
                      <a:gd name="connsiteY2" fmla="*/ 426834 h 687321"/>
                      <a:gd name="connsiteX3" fmla="*/ 934344 w 1374943"/>
                      <a:gd name="connsiteY3" fmla="*/ 461591 h 687321"/>
                      <a:gd name="connsiteX4" fmla="*/ 1353861 w 1374943"/>
                      <a:gd name="connsiteY4" fmla="*/ 327427 h 687321"/>
                      <a:gd name="connsiteX5" fmla="*/ 842899 w 1374943"/>
                      <a:gd name="connsiteY5" fmla="*/ 677796 h 687321"/>
                      <a:gd name="connsiteX6" fmla="*/ 263032 w 1374943"/>
                      <a:gd name="connsiteY6" fmla="*/ 486475 h 687321"/>
                      <a:gd name="connsiteX7" fmla="*/ 0 w 1374943"/>
                      <a:gd name="connsiteY7" fmla="*/ 0 h 687321"/>
                      <a:gd name="connsiteX0" fmla="*/ 0 w 1374943"/>
                      <a:gd name="connsiteY0" fmla="*/ 0 h 687321"/>
                      <a:gd name="connsiteX1" fmla="*/ 347613 w 1374943"/>
                      <a:gd name="connsiteY1" fmla="*/ 320269 h 687321"/>
                      <a:gd name="connsiteX2" fmla="*/ 619075 w 1374943"/>
                      <a:gd name="connsiteY2" fmla="*/ 426834 h 687321"/>
                      <a:gd name="connsiteX3" fmla="*/ 934344 w 1374943"/>
                      <a:gd name="connsiteY3" fmla="*/ 461591 h 687321"/>
                      <a:gd name="connsiteX4" fmla="*/ 1353861 w 1374943"/>
                      <a:gd name="connsiteY4" fmla="*/ 327427 h 687321"/>
                      <a:gd name="connsiteX5" fmla="*/ 842899 w 1374943"/>
                      <a:gd name="connsiteY5" fmla="*/ 677796 h 687321"/>
                      <a:gd name="connsiteX6" fmla="*/ 263032 w 1374943"/>
                      <a:gd name="connsiteY6" fmla="*/ 486475 h 687321"/>
                      <a:gd name="connsiteX7" fmla="*/ 0 w 1374943"/>
                      <a:gd name="connsiteY7" fmla="*/ 0 h 687321"/>
                      <a:gd name="connsiteX0" fmla="*/ 0 w 1374943"/>
                      <a:gd name="connsiteY0" fmla="*/ 0 h 687321"/>
                      <a:gd name="connsiteX1" fmla="*/ 347613 w 1374943"/>
                      <a:gd name="connsiteY1" fmla="*/ 320269 h 687321"/>
                      <a:gd name="connsiteX2" fmla="*/ 619075 w 1374943"/>
                      <a:gd name="connsiteY2" fmla="*/ 426834 h 687321"/>
                      <a:gd name="connsiteX3" fmla="*/ 934344 w 1374943"/>
                      <a:gd name="connsiteY3" fmla="*/ 461591 h 687321"/>
                      <a:gd name="connsiteX4" fmla="*/ 1353861 w 1374943"/>
                      <a:gd name="connsiteY4" fmla="*/ 327427 h 687321"/>
                      <a:gd name="connsiteX5" fmla="*/ 842899 w 1374943"/>
                      <a:gd name="connsiteY5" fmla="*/ 677796 h 687321"/>
                      <a:gd name="connsiteX6" fmla="*/ 222950 w 1374943"/>
                      <a:gd name="connsiteY6" fmla="*/ 493804 h 687321"/>
                      <a:gd name="connsiteX7" fmla="*/ 0 w 1374943"/>
                      <a:gd name="connsiteY7" fmla="*/ 0 h 687321"/>
                      <a:gd name="connsiteX0" fmla="*/ 0 w 1374943"/>
                      <a:gd name="connsiteY0" fmla="*/ 0 h 687321"/>
                      <a:gd name="connsiteX1" fmla="*/ 347613 w 1374943"/>
                      <a:gd name="connsiteY1" fmla="*/ 320269 h 687321"/>
                      <a:gd name="connsiteX2" fmla="*/ 619075 w 1374943"/>
                      <a:gd name="connsiteY2" fmla="*/ 426834 h 687321"/>
                      <a:gd name="connsiteX3" fmla="*/ 934344 w 1374943"/>
                      <a:gd name="connsiteY3" fmla="*/ 461591 h 687321"/>
                      <a:gd name="connsiteX4" fmla="*/ 1353861 w 1374943"/>
                      <a:gd name="connsiteY4" fmla="*/ 327427 h 687321"/>
                      <a:gd name="connsiteX5" fmla="*/ 842899 w 1374943"/>
                      <a:gd name="connsiteY5" fmla="*/ 677796 h 687321"/>
                      <a:gd name="connsiteX6" fmla="*/ 222950 w 1374943"/>
                      <a:gd name="connsiteY6" fmla="*/ 493804 h 687321"/>
                      <a:gd name="connsiteX7" fmla="*/ 0 w 1374943"/>
                      <a:gd name="connsiteY7" fmla="*/ 0 h 687321"/>
                      <a:gd name="connsiteX0" fmla="*/ 0 w 1374943"/>
                      <a:gd name="connsiteY0" fmla="*/ 0 h 687321"/>
                      <a:gd name="connsiteX1" fmla="*/ 347613 w 1374943"/>
                      <a:gd name="connsiteY1" fmla="*/ 320269 h 687321"/>
                      <a:gd name="connsiteX2" fmla="*/ 619075 w 1374943"/>
                      <a:gd name="connsiteY2" fmla="*/ 426834 h 687321"/>
                      <a:gd name="connsiteX3" fmla="*/ 934344 w 1374943"/>
                      <a:gd name="connsiteY3" fmla="*/ 461591 h 687321"/>
                      <a:gd name="connsiteX4" fmla="*/ 1353861 w 1374943"/>
                      <a:gd name="connsiteY4" fmla="*/ 327427 h 687321"/>
                      <a:gd name="connsiteX5" fmla="*/ 842899 w 1374943"/>
                      <a:gd name="connsiteY5" fmla="*/ 677796 h 687321"/>
                      <a:gd name="connsiteX6" fmla="*/ 222950 w 1374943"/>
                      <a:gd name="connsiteY6" fmla="*/ 493804 h 687321"/>
                      <a:gd name="connsiteX7" fmla="*/ 0 w 1374943"/>
                      <a:gd name="connsiteY7" fmla="*/ 0 h 687321"/>
                      <a:gd name="connsiteX0" fmla="*/ 0 w 1374943"/>
                      <a:gd name="connsiteY0" fmla="*/ 0 h 687321"/>
                      <a:gd name="connsiteX1" fmla="*/ 355946 w 1374943"/>
                      <a:gd name="connsiteY1" fmla="*/ 286918 h 687321"/>
                      <a:gd name="connsiteX2" fmla="*/ 619075 w 1374943"/>
                      <a:gd name="connsiteY2" fmla="*/ 426834 h 687321"/>
                      <a:gd name="connsiteX3" fmla="*/ 934344 w 1374943"/>
                      <a:gd name="connsiteY3" fmla="*/ 461591 h 687321"/>
                      <a:gd name="connsiteX4" fmla="*/ 1353861 w 1374943"/>
                      <a:gd name="connsiteY4" fmla="*/ 327427 h 687321"/>
                      <a:gd name="connsiteX5" fmla="*/ 842899 w 1374943"/>
                      <a:gd name="connsiteY5" fmla="*/ 677796 h 687321"/>
                      <a:gd name="connsiteX6" fmla="*/ 222950 w 1374943"/>
                      <a:gd name="connsiteY6" fmla="*/ 493804 h 687321"/>
                      <a:gd name="connsiteX7" fmla="*/ 0 w 1374943"/>
                      <a:gd name="connsiteY7" fmla="*/ 0 h 687321"/>
                      <a:gd name="connsiteX0" fmla="*/ 0 w 1374943"/>
                      <a:gd name="connsiteY0" fmla="*/ 0 h 687321"/>
                      <a:gd name="connsiteX1" fmla="*/ 355946 w 1374943"/>
                      <a:gd name="connsiteY1" fmla="*/ 286918 h 687321"/>
                      <a:gd name="connsiteX2" fmla="*/ 622249 w 1374943"/>
                      <a:gd name="connsiteY2" fmla="*/ 403208 h 687321"/>
                      <a:gd name="connsiteX3" fmla="*/ 934344 w 1374943"/>
                      <a:gd name="connsiteY3" fmla="*/ 461591 h 687321"/>
                      <a:gd name="connsiteX4" fmla="*/ 1353861 w 1374943"/>
                      <a:gd name="connsiteY4" fmla="*/ 327427 h 687321"/>
                      <a:gd name="connsiteX5" fmla="*/ 842899 w 1374943"/>
                      <a:gd name="connsiteY5" fmla="*/ 677796 h 687321"/>
                      <a:gd name="connsiteX6" fmla="*/ 222950 w 1374943"/>
                      <a:gd name="connsiteY6" fmla="*/ 493804 h 687321"/>
                      <a:gd name="connsiteX7" fmla="*/ 0 w 1374943"/>
                      <a:gd name="connsiteY7" fmla="*/ 0 h 687321"/>
                      <a:gd name="connsiteX0" fmla="*/ 0 w 1374943"/>
                      <a:gd name="connsiteY0" fmla="*/ 0 h 687321"/>
                      <a:gd name="connsiteX1" fmla="*/ 355946 w 1374943"/>
                      <a:gd name="connsiteY1" fmla="*/ 286918 h 687321"/>
                      <a:gd name="connsiteX2" fmla="*/ 622249 w 1374943"/>
                      <a:gd name="connsiteY2" fmla="*/ 403208 h 687321"/>
                      <a:gd name="connsiteX3" fmla="*/ 938425 w 1374943"/>
                      <a:gd name="connsiteY3" fmla="*/ 431214 h 687321"/>
                      <a:gd name="connsiteX4" fmla="*/ 1353861 w 1374943"/>
                      <a:gd name="connsiteY4" fmla="*/ 327427 h 687321"/>
                      <a:gd name="connsiteX5" fmla="*/ 842899 w 1374943"/>
                      <a:gd name="connsiteY5" fmla="*/ 677796 h 687321"/>
                      <a:gd name="connsiteX6" fmla="*/ 222950 w 1374943"/>
                      <a:gd name="connsiteY6" fmla="*/ 493804 h 687321"/>
                      <a:gd name="connsiteX7" fmla="*/ 0 w 1374943"/>
                      <a:gd name="connsiteY7" fmla="*/ 0 h 687321"/>
                      <a:gd name="connsiteX0" fmla="*/ 0 w 1374943"/>
                      <a:gd name="connsiteY0" fmla="*/ 0 h 687321"/>
                      <a:gd name="connsiteX1" fmla="*/ 360481 w 1374943"/>
                      <a:gd name="connsiteY1" fmla="*/ 253166 h 687321"/>
                      <a:gd name="connsiteX2" fmla="*/ 622249 w 1374943"/>
                      <a:gd name="connsiteY2" fmla="*/ 403208 h 687321"/>
                      <a:gd name="connsiteX3" fmla="*/ 938425 w 1374943"/>
                      <a:gd name="connsiteY3" fmla="*/ 431214 h 687321"/>
                      <a:gd name="connsiteX4" fmla="*/ 1353861 w 1374943"/>
                      <a:gd name="connsiteY4" fmla="*/ 327427 h 687321"/>
                      <a:gd name="connsiteX5" fmla="*/ 842899 w 1374943"/>
                      <a:gd name="connsiteY5" fmla="*/ 677796 h 687321"/>
                      <a:gd name="connsiteX6" fmla="*/ 222950 w 1374943"/>
                      <a:gd name="connsiteY6" fmla="*/ 493804 h 687321"/>
                      <a:gd name="connsiteX7" fmla="*/ 0 w 1374943"/>
                      <a:gd name="connsiteY7" fmla="*/ 0 h 687321"/>
                      <a:gd name="connsiteX0" fmla="*/ 0 w 1374943"/>
                      <a:gd name="connsiteY0" fmla="*/ 0 h 687321"/>
                      <a:gd name="connsiteX1" fmla="*/ 360481 w 1374943"/>
                      <a:gd name="connsiteY1" fmla="*/ 253166 h 687321"/>
                      <a:gd name="connsiteX2" fmla="*/ 622249 w 1374943"/>
                      <a:gd name="connsiteY2" fmla="*/ 403208 h 687321"/>
                      <a:gd name="connsiteX3" fmla="*/ 938425 w 1374943"/>
                      <a:gd name="connsiteY3" fmla="*/ 431214 h 687321"/>
                      <a:gd name="connsiteX4" fmla="*/ 1353861 w 1374943"/>
                      <a:gd name="connsiteY4" fmla="*/ 327427 h 687321"/>
                      <a:gd name="connsiteX5" fmla="*/ 842899 w 1374943"/>
                      <a:gd name="connsiteY5" fmla="*/ 677796 h 687321"/>
                      <a:gd name="connsiteX6" fmla="*/ 222950 w 1374943"/>
                      <a:gd name="connsiteY6" fmla="*/ 493804 h 687321"/>
                      <a:gd name="connsiteX7" fmla="*/ 0 w 1374943"/>
                      <a:gd name="connsiteY7" fmla="*/ 0 h 687321"/>
                      <a:gd name="connsiteX0" fmla="*/ 0 w 1374943"/>
                      <a:gd name="connsiteY0" fmla="*/ 0 h 687321"/>
                      <a:gd name="connsiteX1" fmla="*/ 360481 w 1374943"/>
                      <a:gd name="connsiteY1" fmla="*/ 253166 h 687321"/>
                      <a:gd name="connsiteX2" fmla="*/ 622249 w 1374943"/>
                      <a:gd name="connsiteY2" fmla="*/ 403208 h 687321"/>
                      <a:gd name="connsiteX3" fmla="*/ 941599 w 1374943"/>
                      <a:gd name="connsiteY3" fmla="*/ 407587 h 687321"/>
                      <a:gd name="connsiteX4" fmla="*/ 1353861 w 1374943"/>
                      <a:gd name="connsiteY4" fmla="*/ 327427 h 687321"/>
                      <a:gd name="connsiteX5" fmla="*/ 842899 w 1374943"/>
                      <a:gd name="connsiteY5" fmla="*/ 677796 h 687321"/>
                      <a:gd name="connsiteX6" fmla="*/ 222950 w 1374943"/>
                      <a:gd name="connsiteY6" fmla="*/ 493804 h 687321"/>
                      <a:gd name="connsiteX7" fmla="*/ 0 w 1374943"/>
                      <a:gd name="connsiteY7" fmla="*/ 0 h 687321"/>
                      <a:gd name="connsiteX0" fmla="*/ 0 w 1374943"/>
                      <a:gd name="connsiteY0" fmla="*/ 0 h 687321"/>
                      <a:gd name="connsiteX1" fmla="*/ 360481 w 1374943"/>
                      <a:gd name="connsiteY1" fmla="*/ 253166 h 687321"/>
                      <a:gd name="connsiteX2" fmla="*/ 622249 w 1374943"/>
                      <a:gd name="connsiteY2" fmla="*/ 403208 h 687321"/>
                      <a:gd name="connsiteX3" fmla="*/ 941599 w 1374943"/>
                      <a:gd name="connsiteY3" fmla="*/ 407587 h 687321"/>
                      <a:gd name="connsiteX4" fmla="*/ 1353861 w 1374943"/>
                      <a:gd name="connsiteY4" fmla="*/ 327427 h 687321"/>
                      <a:gd name="connsiteX5" fmla="*/ 842899 w 1374943"/>
                      <a:gd name="connsiteY5" fmla="*/ 677796 h 687321"/>
                      <a:gd name="connsiteX6" fmla="*/ 222950 w 1374943"/>
                      <a:gd name="connsiteY6" fmla="*/ 493804 h 687321"/>
                      <a:gd name="connsiteX7" fmla="*/ 0 w 1374943"/>
                      <a:gd name="connsiteY7" fmla="*/ 0 h 687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74943" h="687321">
                        <a:moveTo>
                          <a:pt x="0" y="0"/>
                        </a:moveTo>
                        <a:cubicBezTo>
                          <a:pt x="141794" y="59312"/>
                          <a:pt x="154396" y="53210"/>
                          <a:pt x="360481" y="253166"/>
                        </a:cubicBezTo>
                        <a:cubicBezTo>
                          <a:pt x="430160" y="298063"/>
                          <a:pt x="523035" y="384136"/>
                          <a:pt x="622249" y="403208"/>
                        </a:cubicBezTo>
                        <a:cubicBezTo>
                          <a:pt x="714324" y="422258"/>
                          <a:pt x="780940" y="416526"/>
                          <a:pt x="941599" y="407587"/>
                        </a:cubicBezTo>
                        <a:cubicBezTo>
                          <a:pt x="1067569" y="353913"/>
                          <a:pt x="1374943" y="261607"/>
                          <a:pt x="1353861" y="327427"/>
                        </a:cubicBezTo>
                        <a:cubicBezTo>
                          <a:pt x="1238368" y="371508"/>
                          <a:pt x="1011174" y="687321"/>
                          <a:pt x="842899" y="677796"/>
                        </a:cubicBezTo>
                        <a:cubicBezTo>
                          <a:pt x="486631" y="660193"/>
                          <a:pt x="295739" y="576774"/>
                          <a:pt x="222950" y="493804"/>
                        </a:cubicBezTo>
                        <a:cubicBezTo>
                          <a:pt x="142049" y="350482"/>
                          <a:pt x="84411" y="172154"/>
                          <a:pt x="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322" name="Freeform 321"/>
                  <p:cNvSpPr/>
                  <p:nvPr/>
                </p:nvSpPr>
                <p:spPr>
                  <a:xfrm>
                    <a:off x="3127287" y="784314"/>
                    <a:ext cx="223139" cy="304800"/>
                  </a:xfrm>
                  <a:custGeom>
                    <a:avLst/>
                    <a:gdLst>
                      <a:gd name="connsiteX0" fmla="*/ 191330 w 223139"/>
                      <a:gd name="connsiteY0" fmla="*/ 147178 h 304800"/>
                      <a:gd name="connsiteX1" fmla="*/ 80234 w 223139"/>
                      <a:gd name="connsiteY1" fmla="*/ 70265 h 304800"/>
                      <a:gd name="connsiteX2" fmla="*/ 37506 w 223139"/>
                      <a:gd name="connsiteY2" fmla="*/ 7596 h 304800"/>
                      <a:gd name="connsiteX3" fmla="*/ 20414 w 223139"/>
                      <a:gd name="connsiteY3" fmla="*/ 24688 h 304800"/>
                      <a:gd name="connsiteX4" fmla="*/ 9020 w 223139"/>
                      <a:gd name="connsiteY4" fmla="*/ 95903 h 304800"/>
                      <a:gd name="connsiteX5" fmla="*/ 74537 w 223139"/>
                      <a:gd name="connsiteY5" fmla="*/ 112994 h 304800"/>
                      <a:gd name="connsiteX6" fmla="*/ 137206 w 223139"/>
                      <a:gd name="connsiteY6" fmla="*/ 212695 h 304800"/>
                      <a:gd name="connsiteX7" fmla="*/ 216967 w 223139"/>
                      <a:gd name="connsiteY7" fmla="*/ 303850 h 304800"/>
                      <a:gd name="connsiteX8" fmla="*/ 174238 w 223139"/>
                      <a:gd name="connsiteY8" fmla="*/ 218393 h 304800"/>
                      <a:gd name="connsiteX9" fmla="*/ 191330 w 223139"/>
                      <a:gd name="connsiteY9" fmla="*/ 147178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3139" h="304800">
                        <a:moveTo>
                          <a:pt x="191330" y="147178"/>
                        </a:moveTo>
                        <a:cubicBezTo>
                          <a:pt x="175663" y="122490"/>
                          <a:pt x="105871" y="93529"/>
                          <a:pt x="80234" y="70265"/>
                        </a:cubicBezTo>
                        <a:cubicBezTo>
                          <a:pt x="54597" y="47001"/>
                          <a:pt x="47476" y="15192"/>
                          <a:pt x="37506" y="7596"/>
                        </a:cubicBezTo>
                        <a:cubicBezTo>
                          <a:pt x="27536" y="0"/>
                          <a:pt x="25162" y="9970"/>
                          <a:pt x="20414" y="24688"/>
                        </a:cubicBezTo>
                        <a:cubicBezTo>
                          <a:pt x="15666" y="39406"/>
                          <a:pt x="0" y="81185"/>
                          <a:pt x="9020" y="95903"/>
                        </a:cubicBezTo>
                        <a:cubicBezTo>
                          <a:pt x="18040" y="110621"/>
                          <a:pt x="53173" y="93529"/>
                          <a:pt x="74537" y="112994"/>
                        </a:cubicBezTo>
                        <a:cubicBezTo>
                          <a:pt x="95901" y="132459"/>
                          <a:pt x="113468" y="180886"/>
                          <a:pt x="137206" y="212695"/>
                        </a:cubicBezTo>
                        <a:cubicBezTo>
                          <a:pt x="160944" y="244504"/>
                          <a:pt x="210795" y="302900"/>
                          <a:pt x="216967" y="303850"/>
                        </a:cubicBezTo>
                        <a:cubicBezTo>
                          <a:pt x="223139" y="304800"/>
                          <a:pt x="179935" y="244030"/>
                          <a:pt x="174238" y="218393"/>
                        </a:cubicBezTo>
                        <a:cubicBezTo>
                          <a:pt x="168541" y="192756"/>
                          <a:pt x="206997" y="171866"/>
                          <a:pt x="191330" y="14717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323" name="Freeform 322"/>
                  <p:cNvSpPr/>
                  <p:nvPr/>
                </p:nvSpPr>
                <p:spPr>
                  <a:xfrm>
                    <a:off x="4174621" y="965675"/>
                    <a:ext cx="264444" cy="223139"/>
                  </a:xfrm>
                  <a:custGeom>
                    <a:avLst/>
                    <a:gdLst>
                      <a:gd name="connsiteX0" fmla="*/ 49850 w 264444"/>
                      <a:gd name="connsiteY0" fmla="*/ 99701 h 223139"/>
                      <a:gd name="connsiteX1" fmla="*/ 172340 w 264444"/>
                      <a:gd name="connsiteY1" fmla="*/ 62669 h 223139"/>
                      <a:gd name="connsiteX2" fmla="*/ 246403 w 264444"/>
                      <a:gd name="connsiteY2" fmla="*/ 5697 h 223139"/>
                      <a:gd name="connsiteX3" fmla="*/ 263495 w 264444"/>
                      <a:gd name="connsiteY3" fmla="*/ 28486 h 223139"/>
                      <a:gd name="connsiteX4" fmla="*/ 240706 w 264444"/>
                      <a:gd name="connsiteY4" fmla="*/ 102549 h 223139"/>
                      <a:gd name="connsiteX5" fmla="*/ 215069 w 264444"/>
                      <a:gd name="connsiteY5" fmla="*/ 133884 h 223139"/>
                      <a:gd name="connsiteX6" fmla="*/ 189431 w 264444"/>
                      <a:gd name="connsiteY6" fmla="*/ 96852 h 223139"/>
                      <a:gd name="connsiteX7" fmla="*/ 95428 w 264444"/>
                      <a:gd name="connsiteY7" fmla="*/ 153824 h 223139"/>
                      <a:gd name="connsiteX8" fmla="*/ 7121 w 264444"/>
                      <a:gd name="connsiteY8" fmla="*/ 222190 h 223139"/>
                      <a:gd name="connsiteX9" fmla="*/ 52699 w 264444"/>
                      <a:gd name="connsiteY9" fmla="*/ 159521 h 223139"/>
                      <a:gd name="connsiteX10" fmla="*/ 49850 w 264444"/>
                      <a:gd name="connsiteY10" fmla="*/ 99701 h 223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4444" h="223139">
                        <a:moveTo>
                          <a:pt x="49850" y="99701"/>
                        </a:moveTo>
                        <a:cubicBezTo>
                          <a:pt x="69790" y="83559"/>
                          <a:pt x="139581" y="78336"/>
                          <a:pt x="172340" y="62669"/>
                        </a:cubicBezTo>
                        <a:cubicBezTo>
                          <a:pt x="205099" y="47002"/>
                          <a:pt x="231211" y="11394"/>
                          <a:pt x="246403" y="5697"/>
                        </a:cubicBezTo>
                        <a:cubicBezTo>
                          <a:pt x="261595" y="0"/>
                          <a:pt x="264444" y="12344"/>
                          <a:pt x="263495" y="28486"/>
                        </a:cubicBezTo>
                        <a:cubicBezTo>
                          <a:pt x="262546" y="44628"/>
                          <a:pt x="248777" y="84983"/>
                          <a:pt x="240706" y="102549"/>
                        </a:cubicBezTo>
                        <a:cubicBezTo>
                          <a:pt x="232635" y="120115"/>
                          <a:pt x="223615" y="134834"/>
                          <a:pt x="215069" y="133884"/>
                        </a:cubicBezTo>
                        <a:cubicBezTo>
                          <a:pt x="206523" y="132935"/>
                          <a:pt x="209371" y="93529"/>
                          <a:pt x="189431" y="96852"/>
                        </a:cubicBezTo>
                        <a:cubicBezTo>
                          <a:pt x="169491" y="100175"/>
                          <a:pt x="125813" y="132934"/>
                          <a:pt x="95428" y="153824"/>
                        </a:cubicBezTo>
                        <a:cubicBezTo>
                          <a:pt x="65043" y="174714"/>
                          <a:pt x="14242" y="221241"/>
                          <a:pt x="7121" y="222190"/>
                        </a:cubicBezTo>
                        <a:cubicBezTo>
                          <a:pt x="0" y="223139"/>
                          <a:pt x="45103" y="178986"/>
                          <a:pt x="52699" y="159521"/>
                        </a:cubicBezTo>
                        <a:cubicBezTo>
                          <a:pt x="60295" y="140056"/>
                          <a:pt x="29910" y="115843"/>
                          <a:pt x="49850" y="9970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sp>
              <p:nvSpPr>
                <p:cNvPr id="318" name="Freeform 132"/>
                <p:cNvSpPr/>
                <p:nvPr/>
              </p:nvSpPr>
              <p:spPr>
                <a:xfrm>
                  <a:off x="2207572" y="-375207"/>
                  <a:ext cx="198743" cy="398378"/>
                </a:xfrm>
                <a:custGeom>
                  <a:avLst/>
                  <a:gdLst>
                    <a:gd name="connsiteX0" fmla="*/ 118533 w 198743"/>
                    <a:gd name="connsiteY0" fmla="*/ 155965 h 398378"/>
                    <a:gd name="connsiteX1" fmla="*/ 129228 w 198743"/>
                    <a:gd name="connsiteY1" fmla="*/ 262912 h 398378"/>
                    <a:gd name="connsiteX2" fmla="*/ 145270 w 198743"/>
                    <a:gd name="connsiteY2" fmla="*/ 294996 h 398378"/>
                    <a:gd name="connsiteX3" fmla="*/ 177354 w 198743"/>
                    <a:gd name="connsiteY3" fmla="*/ 396596 h 398378"/>
                    <a:gd name="connsiteX4" fmla="*/ 16933 w 198743"/>
                    <a:gd name="connsiteY4" fmla="*/ 305691 h 398378"/>
                    <a:gd name="connsiteX5" fmla="*/ 75754 w 198743"/>
                    <a:gd name="connsiteY5" fmla="*/ 225481 h 398378"/>
                    <a:gd name="connsiteX6" fmla="*/ 59712 w 198743"/>
                    <a:gd name="connsiteY6" fmla="*/ 11586 h 398378"/>
                    <a:gd name="connsiteX7" fmla="*/ 118533 w 198743"/>
                    <a:gd name="connsiteY7" fmla="*/ 155965 h 398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743" h="398378">
                      <a:moveTo>
                        <a:pt x="118533" y="155965"/>
                      </a:moveTo>
                      <a:cubicBezTo>
                        <a:pt x="130119" y="197853"/>
                        <a:pt x="124772" y="239740"/>
                        <a:pt x="129228" y="262912"/>
                      </a:cubicBezTo>
                      <a:cubicBezTo>
                        <a:pt x="133684" y="286084"/>
                        <a:pt x="137249" y="272715"/>
                        <a:pt x="145270" y="294996"/>
                      </a:cubicBezTo>
                      <a:cubicBezTo>
                        <a:pt x="153291" y="317277"/>
                        <a:pt x="198743" y="394814"/>
                        <a:pt x="177354" y="396596"/>
                      </a:cubicBezTo>
                      <a:cubicBezTo>
                        <a:pt x="155965" y="398378"/>
                        <a:pt x="33866" y="334210"/>
                        <a:pt x="16933" y="305691"/>
                      </a:cubicBezTo>
                      <a:cubicBezTo>
                        <a:pt x="0" y="277172"/>
                        <a:pt x="68624" y="274498"/>
                        <a:pt x="75754" y="225481"/>
                      </a:cubicBezTo>
                      <a:cubicBezTo>
                        <a:pt x="82884" y="176464"/>
                        <a:pt x="51691" y="23172"/>
                        <a:pt x="59712" y="11586"/>
                      </a:cubicBezTo>
                      <a:cubicBezTo>
                        <a:pt x="67733" y="0"/>
                        <a:pt x="106947" y="114077"/>
                        <a:pt x="118533" y="15596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319" name="Freeform 318"/>
                <p:cNvSpPr/>
                <p:nvPr/>
              </p:nvSpPr>
              <p:spPr>
                <a:xfrm>
                  <a:off x="5104955" y="158638"/>
                  <a:ext cx="222806" cy="299453"/>
                </a:xfrm>
                <a:custGeom>
                  <a:avLst/>
                  <a:gdLst>
                    <a:gd name="connsiteX0" fmla="*/ 17824 w 222806"/>
                    <a:gd name="connsiteY0" fmla="*/ 290541 h 299453"/>
                    <a:gd name="connsiteX1" fmla="*/ 17824 w 222806"/>
                    <a:gd name="connsiteY1" fmla="*/ 210330 h 299453"/>
                    <a:gd name="connsiteX2" fmla="*/ 124771 w 222806"/>
                    <a:gd name="connsiteY2" fmla="*/ 33867 h 299453"/>
                    <a:gd name="connsiteX3" fmla="*/ 210329 w 222806"/>
                    <a:gd name="connsiteY3" fmla="*/ 7130 h 299453"/>
                    <a:gd name="connsiteX4" fmla="*/ 199634 w 222806"/>
                    <a:gd name="connsiteY4" fmla="*/ 55257 h 299453"/>
                    <a:gd name="connsiteX5" fmla="*/ 103382 w 222806"/>
                    <a:gd name="connsiteY5" fmla="*/ 140815 h 299453"/>
                    <a:gd name="connsiteX6" fmla="*/ 81992 w 222806"/>
                    <a:gd name="connsiteY6" fmla="*/ 263804 h 299453"/>
                    <a:gd name="connsiteX7" fmla="*/ 17824 w 222806"/>
                    <a:gd name="connsiteY7" fmla="*/ 290541 h 299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2806" h="299453">
                      <a:moveTo>
                        <a:pt x="17824" y="290541"/>
                      </a:moveTo>
                      <a:cubicBezTo>
                        <a:pt x="7129" y="281629"/>
                        <a:pt x="0" y="253109"/>
                        <a:pt x="17824" y="210330"/>
                      </a:cubicBezTo>
                      <a:cubicBezTo>
                        <a:pt x="35648" y="167551"/>
                        <a:pt x="92687" y="67734"/>
                        <a:pt x="124771" y="33867"/>
                      </a:cubicBezTo>
                      <a:cubicBezTo>
                        <a:pt x="156855" y="0"/>
                        <a:pt x="197852" y="3565"/>
                        <a:pt x="210329" y="7130"/>
                      </a:cubicBezTo>
                      <a:cubicBezTo>
                        <a:pt x="222806" y="10695"/>
                        <a:pt x="217459" y="32976"/>
                        <a:pt x="199634" y="55257"/>
                      </a:cubicBezTo>
                      <a:cubicBezTo>
                        <a:pt x="181810" y="77538"/>
                        <a:pt x="122989" y="106057"/>
                        <a:pt x="103382" y="140815"/>
                      </a:cubicBezTo>
                      <a:cubicBezTo>
                        <a:pt x="83775" y="175573"/>
                        <a:pt x="97143" y="237958"/>
                        <a:pt x="81992" y="263804"/>
                      </a:cubicBezTo>
                      <a:cubicBezTo>
                        <a:pt x="66841" y="289650"/>
                        <a:pt x="28519" y="299453"/>
                        <a:pt x="17824" y="29054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83" name="Freeform 282"/>
              <p:cNvSpPr/>
              <p:nvPr/>
            </p:nvSpPr>
            <p:spPr>
              <a:xfrm rot="21114987" flipH="1">
                <a:off x="6671765" y="3624551"/>
                <a:ext cx="743513" cy="471342"/>
              </a:xfrm>
              <a:custGeom>
                <a:avLst/>
                <a:gdLst>
                  <a:gd name="connsiteX0" fmla="*/ 100012 w 6581774"/>
                  <a:gd name="connsiteY0" fmla="*/ 3105150 h 3981450"/>
                  <a:gd name="connsiteX1" fmla="*/ 357187 w 6581774"/>
                  <a:gd name="connsiteY1" fmla="*/ 3905250 h 3981450"/>
                  <a:gd name="connsiteX2" fmla="*/ 728662 w 6581774"/>
                  <a:gd name="connsiteY2" fmla="*/ 3562350 h 3981450"/>
                  <a:gd name="connsiteX3" fmla="*/ 1357312 w 6581774"/>
                  <a:gd name="connsiteY3" fmla="*/ 3305175 h 3981450"/>
                  <a:gd name="connsiteX4" fmla="*/ 2500312 w 6581774"/>
                  <a:gd name="connsiteY4" fmla="*/ 3190875 h 3981450"/>
                  <a:gd name="connsiteX5" fmla="*/ 3357562 w 6581774"/>
                  <a:gd name="connsiteY5" fmla="*/ 2990850 h 3981450"/>
                  <a:gd name="connsiteX6" fmla="*/ 3729037 w 6581774"/>
                  <a:gd name="connsiteY6" fmla="*/ 2847975 h 3981450"/>
                  <a:gd name="connsiteX7" fmla="*/ 4186237 w 6581774"/>
                  <a:gd name="connsiteY7" fmla="*/ 2933700 h 3981450"/>
                  <a:gd name="connsiteX8" fmla="*/ 4443412 w 6581774"/>
                  <a:gd name="connsiteY8" fmla="*/ 2362200 h 3981450"/>
                  <a:gd name="connsiteX9" fmla="*/ 4957762 w 6581774"/>
                  <a:gd name="connsiteY9" fmla="*/ 2705100 h 3981450"/>
                  <a:gd name="connsiteX10" fmla="*/ 5872162 w 6581774"/>
                  <a:gd name="connsiteY10" fmla="*/ 2533650 h 3981450"/>
                  <a:gd name="connsiteX11" fmla="*/ 6443662 w 6581774"/>
                  <a:gd name="connsiteY11" fmla="*/ 2219325 h 3981450"/>
                  <a:gd name="connsiteX12" fmla="*/ 6472237 w 6581774"/>
                  <a:gd name="connsiteY12" fmla="*/ 1733550 h 3981450"/>
                  <a:gd name="connsiteX13" fmla="*/ 6272212 w 6581774"/>
                  <a:gd name="connsiteY13" fmla="*/ 1333500 h 3981450"/>
                  <a:gd name="connsiteX14" fmla="*/ 4614862 w 6581774"/>
                  <a:gd name="connsiteY14" fmla="*/ 1047750 h 3981450"/>
                  <a:gd name="connsiteX15" fmla="*/ 3529012 w 6581774"/>
                  <a:gd name="connsiteY15" fmla="*/ 104775 h 3981450"/>
                  <a:gd name="connsiteX16" fmla="*/ 3128962 w 6581774"/>
                  <a:gd name="connsiteY16" fmla="*/ 419100 h 3981450"/>
                  <a:gd name="connsiteX17" fmla="*/ 2586037 w 6581774"/>
                  <a:gd name="connsiteY17" fmla="*/ 2247900 h 3981450"/>
                  <a:gd name="connsiteX18" fmla="*/ 957262 w 6581774"/>
                  <a:gd name="connsiteY18" fmla="*/ 2619375 h 3981450"/>
                  <a:gd name="connsiteX19" fmla="*/ 100012 w 6581774"/>
                  <a:gd name="connsiteY19" fmla="*/ 3105150 h 3981450"/>
                  <a:gd name="connsiteX0" fmla="*/ 100012 w 6581774"/>
                  <a:gd name="connsiteY0" fmla="*/ 3105150 h 3981450"/>
                  <a:gd name="connsiteX1" fmla="*/ 357187 w 6581774"/>
                  <a:gd name="connsiteY1" fmla="*/ 3905250 h 3981450"/>
                  <a:gd name="connsiteX2" fmla="*/ 728662 w 6581774"/>
                  <a:gd name="connsiteY2" fmla="*/ 3562350 h 3981450"/>
                  <a:gd name="connsiteX3" fmla="*/ 1357312 w 6581774"/>
                  <a:gd name="connsiteY3" fmla="*/ 3305175 h 3981450"/>
                  <a:gd name="connsiteX4" fmla="*/ 2500312 w 6581774"/>
                  <a:gd name="connsiteY4" fmla="*/ 3190875 h 3981450"/>
                  <a:gd name="connsiteX5" fmla="*/ 3357562 w 6581774"/>
                  <a:gd name="connsiteY5" fmla="*/ 2990850 h 3981450"/>
                  <a:gd name="connsiteX6" fmla="*/ 4110037 w 6581774"/>
                  <a:gd name="connsiteY6" fmla="*/ 3390900 h 3981450"/>
                  <a:gd name="connsiteX7" fmla="*/ 4186237 w 6581774"/>
                  <a:gd name="connsiteY7" fmla="*/ 2933700 h 3981450"/>
                  <a:gd name="connsiteX8" fmla="*/ 4443412 w 6581774"/>
                  <a:gd name="connsiteY8" fmla="*/ 2362200 h 3981450"/>
                  <a:gd name="connsiteX9" fmla="*/ 4957762 w 6581774"/>
                  <a:gd name="connsiteY9" fmla="*/ 2705100 h 3981450"/>
                  <a:gd name="connsiteX10" fmla="*/ 5872162 w 6581774"/>
                  <a:gd name="connsiteY10" fmla="*/ 2533650 h 3981450"/>
                  <a:gd name="connsiteX11" fmla="*/ 6443662 w 6581774"/>
                  <a:gd name="connsiteY11" fmla="*/ 2219325 h 3981450"/>
                  <a:gd name="connsiteX12" fmla="*/ 6472237 w 6581774"/>
                  <a:gd name="connsiteY12" fmla="*/ 1733550 h 3981450"/>
                  <a:gd name="connsiteX13" fmla="*/ 6272212 w 6581774"/>
                  <a:gd name="connsiteY13" fmla="*/ 1333500 h 3981450"/>
                  <a:gd name="connsiteX14" fmla="*/ 4614862 w 6581774"/>
                  <a:gd name="connsiteY14" fmla="*/ 1047750 h 3981450"/>
                  <a:gd name="connsiteX15" fmla="*/ 3529012 w 6581774"/>
                  <a:gd name="connsiteY15" fmla="*/ 104775 h 3981450"/>
                  <a:gd name="connsiteX16" fmla="*/ 3128962 w 6581774"/>
                  <a:gd name="connsiteY16" fmla="*/ 419100 h 3981450"/>
                  <a:gd name="connsiteX17" fmla="*/ 2586037 w 6581774"/>
                  <a:gd name="connsiteY17" fmla="*/ 2247900 h 3981450"/>
                  <a:gd name="connsiteX18" fmla="*/ 957262 w 6581774"/>
                  <a:gd name="connsiteY18" fmla="*/ 2619375 h 3981450"/>
                  <a:gd name="connsiteX19" fmla="*/ 100012 w 6581774"/>
                  <a:gd name="connsiteY19" fmla="*/ 3105150 h 3981450"/>
                  <a:gd name="connsiteX0" fmla="*/ 100012 w 6581774"/>
                  <a:gd name="connsiteY0" fmla="*/ 3105150 h 3981450"/>
                  <a:gd name="connsiteX1" fmla="*/ 357187 w 6581774"/>
                  <a:gd name="connsiteY1" fmla="*/ 3905250 h 3981450"/>
                  <a:gd name="connsiteX2" fmla="*/ 728662 w 6581774"/>
                  <a:gd name="connsiteY2" fmla="*/ 3562350 h 3981450"/>
                  <a:gd name="connsiteX3" fmla="*/ 1357312 w 6581774"/>
                  <a:gd name="connsiteY3" fmla="*/ 3305175 h 3981450"/>
                  <a:gd name="connsiteX4" fmla="*/ 2500312 w 6581774"/>
                  <a:gd name="connsiteY4" fmla="*/ 3190875 h 3981450"/>
                  <a:gd name="connsiteX5" fmla="*/ 3357562 w 6581774"/>
                  <a:gd name="connsiteY5" fmla="*/ 2990850 h 3981450"/>
                  <a:gd name="connsiteX6" fmla="*/ 4110037 w 6581774"/>
                  <a:gd name="connsiteY6" fmla="*/ 3390900 h 3981450"/>
                  <a:gd name="connsiteX7" fmla="*/ 3824287 w 6581774"/>
                  <a:gd name="connsiteY7" fmla="*/ 2876550 h 3981450"/>
                  <a:gd name="connsiteX8" fmla="*/ 4443412 w 6581774"/>
                  <a:gd name="connsiteY8" fmla="*/ 2362200 h 3981450"/>
                  <a:gd name="connsiteX9" fmla="*/ 4957762 w 6581774"/>
                  <a:gd name="connsiteY9" fmla="*/ 2705100 h 3981450"/>
                  <a:gd name="connsiteX10" fmla="*/ 5872162 w 6581774"/>
                  <a:gd name="connsiteY10" fmla="*/ 2533650 h 3981450"/>
                  <a:gd name="connsiteX11" fmla="*/ 6443662 w 6581774"/>
                  <a:gd name="connsiteY11" fmla="*/ 2219325 h 3981450"/>
                  <a:gd name="connsiteX12" fmla="*/ 6472237 w 6581774"/>
                  <a:gd name="connsiteY12" fmla="*/ 1733550 h 3981450"/>
                  <a:gd name="connsiteX13" fmla="*/ 6272212 w 6581774"/>
                  <a:gd name="connsiteY13" fmla="*/ 1333500 h 3981450"/>
                  <a:gd name="connsiteX14" fmla="*/ 4614862 w 6581774"/>
                  <a:gd name="connsiteY14" fmla="*/ 1047750 h 3981450"/>
                  <a:gd name="connsiteX15" fmla="*/ 3529012 w 6581774"/>
                  <a:gd name="connsiteY15" fmla="*/ 104775 h 3981450"/>
                  <a:gd name="connsiteX16" fmla="*/ 3128962 w 6581774"/>
                  <a:gd name="connsiteY16" fmla="*/ 419100 h 3981450"/>
                  <a:gd name="connsiteX17" fmla="*/ 2586037 w 6581774"/>
                  <a:gd name="connsiteY17" fmla="*/ 2247900 h 3981450"/>
                  <a:gd name="connsiteX18" fmla="*/ 957262 w 6581774"/>
                  <a:gd name="connsiteY18" fmla="*/ 2619375 h 3981450"/>
                  <a:gd name="connsiteX19" fmla="*/ 100012 w 6581774"/>
                  <a:gd name="connsiteY19" fmla="*/ 3105150 h 3981450"/>
                  <a:gd name="connsiteX0" fmla="*/ 100012 w 6581774"/>
                  <a:gd name="connsiteY0" fmla="*/ 3105150 h 5017168"/>
                  <a:gd name="connsiteX1" fmla="*/ 357187 w 6581774"/>
                  <a:gd name="connsiteY1" fmla="*/ 3905250 h 5017168"/>
                  <a:gd name="connsiteX2" fmla="*/ 728662 w 6581774"/>
                  <a:gd name="connsiteY2" fmla="*/ 3562350 h 5017168"/>
                  <a:gd name="connsiteX3" fmla="*/ 1357312 w 6581774"/>
                  <a:gd name="connsiteY3" fmla="*/ 3305175 h 5017168"/>
                  <a:gd name="connsiteX4" fmla="*/ 2500312 w 6581774"/>
                  <a:gd name="connsiteY4" fmla="*/ 3190875 h 5017168"/>
                  <a:gd name="connsiteX5" fmla="*/ 3357562 w 6581774"/>
                  <a:gd name="connsiteY5" fmla="*/ 2990850 h 5017168"/>
                  <a:gd name="connsiteX6" fmla="*/ 4110037 w 6581774"/>
                  <a:gd name="connsiteY6" fmla="*/ 3390900 h 5017168"/>
                  <a:gd name="connsiteX7" fmla="*/ 3824287 w 6581774"/>
                  <a:gd name="connsiteY7" fmla="*/ 2876550 h 5017168"/>
                  <a:gd name="connsiteX8" fmla="*/ 4443412 w 6581774"/>
                  <a:gd name="connsiteY8" fmla="*/ 2362200 h 5017168"/>
                  <a:gd name="connsiteX9" fmla="*/ 4071436 w 6581774"/>
                  <a:gd name="connsiteY9" fmla="*/ 4960018 h 5017168"/>
                  <a:gd name="connsiteX10" fmla="*/ 4957762 w 6581774"/>
                  <a:gd name="connsiteY10" fmla="*/ 2705100 h 5017168"/>
                  <a:gd name="connsiteX11" fmla="*/ 5872162 w 6581774"/>
                  <a:gd name="connsiteY11" fmla="*/ 2533650 h 5017168"/>
                  <a:gd name="connsiteX12" fmla="*/ 6443662 w 6581774"/>
                  <a:gd name="connsiteY12" fmla="*/ 2219325 h 5017168"/>
                  <a:gd name="connsiteX13" fmla="*/ 6472237 w 6581774"/>
                  <a:gd name="connsiteY13" fmla="*/ 1733550 h 5017168"/>
                  <a:gd name="connsiteX14" fmla="*/ 6272212 w 6581774"/>
                  <a:gd name="connsiteY14" fmla="*/ 1333500 h 5017168"/>
                  <a:gd name="connsiteX15" fmla="*/ 4614862 w 6581774"/>
                  <a:gd name="connsiteY15" fmla="*/ 1047750 h 5017168"/>
                  <a:gd name="connsiteX16" fmla="*/ 3529012 w 6581774"/>
                  <a:gd name="connsiteY16" fmla="*/ 104775 h 5017168"/>
                  <a:gd name="connsiteX17" fmla="*/ 3128962 w 6581774"/>
                  <a:gd name="connsiteY17" fmla="*/ 419100 h 5017168"/>
                  <a:gd name="connsiteX18" fmla="*/ 2586037 w 6581774"/>
                  <a:gd name="connsiteY18" fmla="*/ 2247900 h 5017168"/>
                  <a:gd name="connsiteX19" fmla="*/ 957262 w 6581774"/>
                  <a:gd name="connsiteY19" fmla="*/ 2619375 h 5017168"/>
                  <a:gd name="connsiteX20" fmla="*/ 100012 w 6581774"/>
                  <a:gd name="connsiteY20" fmla="*/ 3105150 h 5017168"/>
                  <a:gd name="connsiteX0" fmla="*/ 100012 w 6581774"/>
                  <a:gd name="connsiteY0" fmla="*/ 3105150 h 5052427"/>
                  <a:gd name="connsiteX1" fmla="*/ 357187 w 6581774"/>
                  <a:gd name="connsiteY1" fmla="*/ 3905250 h 5052427"/>
                  <a:gd name="connsiteX2" fmla="*/ 728662 w 6581774"/>
                  <a:gd name="connsiteY2" fmla="*/ 3562350 h 5052427"/>
                  <a:gd name="connsiteX3" fmla="*/ 1357312 w 6581774"/>
                  <a:gd name="connsiteY3" fmla="*/ 3305175 h 5052427"/>
                  <a:gd name="connsiteX4" fmla="*/ 2500312 w 6581774"/>
                  <a:gd name="connsiteY4" fmla="*/ 3190875 h 5052427"/>
                  <a:gd name="connsiteX5" fmla="*/ 3357562 w 6581774"/>
                  <a:gd name="connsiteY5" fmla="*/ 2990850 h 5052427"/>
                  <a:gd name="connsiteX6" fmla="*/ 4110037 w 6581774"/>
                  <a:gd name="connsiteY6" fmla="*/ 3390900 h 5052427"/>
                  <a:gd name="connsiteX7" fmla="*/ 3824287 w 6581774"/>
                  <a:gd name="connsiteY7" fmla="*/ 2876550 h 5052427"/>
                  <a:gd name="connsiteX8" fmla="*/ 4443412 w 6581774"/>
                  <a:gd name="connsiteY8" fmla="*/ 2362200 h 5052427"/>
                  <a:gd name="connsiteX9" fmla="*/ 4215815 w 6581774"/>
                  <a:gd name="connsiteY9" fmla="*/ 3259555 h 5052427"/>
                  <a:gd name="connsiteX10" fmla="*/ 4071436 w 6581774"/>
                  <a:gd name="connsiteY10" fmla="*/ 4960018 h 5052427"/>
                  <a:gd name="connsiteX11" fmla="*/ 4957762 w 6581774"/>
                  <a:gd name="connsiteY11" fmla="*/ 2705100 h 5052427"/>
                  <a:gd name="connsiteX12" fmla="*/ 5872162 w 6581774"/>
                  <a:gd name="connsiteY12" fmla="*/ 2533650 h 5052427"/>
                  <a:gd name="connsiteX13" fmla="*/ 6443662 w 6581774"/>
                  <a:gd name="connsiteY13" fmla="*/ 2219325 h 5052427"/>
                  <a:gd name="connsiteX14" fmla="*/ 6472237 w 6581774"/>
                  <a:gd name="connsiteY14" fmla="*/ 1733550 h 5052427"/>
                  <a:gd name="connsiteX15" fmla="*/ 6272212 w 6581774"/>
                  <a:gd name="connsiteY15" fmla="*/ 1333500 h 5052427"/>
                  <a:gd name="connsiteX16" fmla="*/ 4614862 w 6581774"/>
                  <a:gd name="connsiteY16" fmla="*/ 1047750 h 5052427"/>
                  <a:gd name="connsiteX17" fmla="*/ 3529012 w 6581774"/>
                  <a:gd name="connsiteY17" fmla="*/ 104775 h 5052427"/>
                  <a:gd name="connsiteX18" fmla="*/ 3128962 w 6581774"/>
                  <a:gd name="connsiteY18" fmla="*/ 419100 h 5052427"/>
                  <a:gd name="connsiteX19" fmla="*/ 2586037 w 6581774"/>
                  <a:gd name="connsiteY19" fmla="*/ 2247900 h 5052427"/>
                  <a:gd name="connsiteX20" fmla="*/ 957262 w 6581774"/>
                  <a:gd name="connsiteY20" fmla="*/ 2619375 h 5052427"/>
                  <a:gd name="connsiteX21" fmla="*/ 100012 w 6581774"/>
                  <a:gd name="connsiteY21" fmla="*/ 3105150 h 5052427"/>
                  <a:gd name="connsiteX0" fmla="*/ 100012 w 6581774"/>
                  <a:gd name="connsiteY0" fmla="*/ 3105150 h 5052427"/>
                  <a:gd name="connsiteX1" fmla="*/ 357187 w 6581774"/>
                  <a:gd name="connsiteY1" fmla="*/ 3905250 h 5052427"/>
                  <a:gd name="connsiteX2" fmla="*/ 728662 w 6581774"/>
                  <a:gd name="connsiteY2" fmla="*/ 3562350 h 5052427"/>
                  <a:gd name="connsiteX3" fmla="*/ 1357312 w 6581774"/>
                  <a:gd name="connsiteY3" fmla="*/ 3305175 h 5052427"/>
                  <a:gd name="connsiteX4" fmla="*/ 2500312 w 6581774"/>
                  <a:gd name="connsiteY4" fmla="*/ 3190875 h 5052427"/>
                  <a:gd name="connsiteX5" fmla="*/ 3357562 w 6581774"/>
                  <a:gd name="connsiteY5" fmla="*/ 2990850 h 5052427"/>
                  <a:gd name="connsiteX6" fmla="*/ 3917532 w 6581774"/>
                  <a:gd name="connsiteY6" fmla="*/ 3390900 h 5052427"/>
                  <a:gd name="connsiteX7" fmla="*/ 3824287 w 6581774"/>
                  <a:gd name="connsiteY7" fmla="*/ 2876550 h 5052427"/>
                  <a:gd name="connsiteX8" fmla="*/ 4443412 w 6581774"/>
                  <a:gd name="connsiteY8" fmla="*/ 2362200 h 5052427"/>
                  <a:gd name="connsiteX9" fmla="*/ 4215815 w 6581774"/>
                  <a:gd name="connsiteY9" fmla="*/ 3259555 h 5052427"/>
                  <a:gd name="connsiteX10" fmla="*/ 4071436 w 6581774"/>
                  <a:gd name="connsiteY10" fmla="*/ 4960018 h 5052427"/>
                  <a:gd name="connsiteX11" fmla="*/ 4957762 w 6581774"/>
                  <a:gd name="connsiteY11" fmla="*/ 2705100 h 5052427"/>
                  <a:gd name="connsiteX12" fmla="*/ 5872162 w 6581774"/>
                  <a:gd name="connsiteY12" fmla="*/ 2533650 h 5052427"/>
                  <a:gd name="connsiteX13" fmla="*/ 6443662 w 6581774"/>
                  <a:gd name="connsiteY13" fmla="*/ 2219325 h 5052427"/>
                  <a:gd name="connsiteX14" fmla="*/ 6472237 w 6581774"/>
                  <a:gd name="connsiteY14" fmla="*/ 1733550 h 5052427"/>
                  <a:gd name="connsiteX15" fmla="*/ 6272212 w 6581774"/>
                  <a:gd name="connsiteY15" fmla="*/ 1333500 h 5052427"/>
                  <a:gd name="connsiteX16" fmla="*/ 4614862 w 6581774"/>
                  <a:gd name="connsiteY16" fmla="*/ 1047750 h 5052427"/>
                  <a:gd name="connsiteX17" fmla="*/ 3529012 w 6581774"/>
                  <a:gd name="connsiteY17" fmla="*/ 104775 h 5052427"/>
                  <a:gd name="connsiteX18" fmla="*/ 3128962 w 6581774"/>
                  <a:gd name="connsiteY18" fmla="*/ 419100 h 5052427"/>
                  <a:gd name="connsiteX19" fmla="*/ 2586037 w 6581774"/>
                  <a:gd name="connsiteY19" fmla="*/ 2247900 h 5052427"/>
                  <a:gd name="connsiteX20" fmla="*/ 957262 w 6581774"/>
                  <a:gd name="connsiteY20" fmla="*/ 2619375 h 5052427"/>
                  <a:gd name="connsiteX21" fmla="*/ 100012 w 6581774"/>
                  <a:gd name="connsiteY21" fmla="*/ 3105150 h 5052427"/>
                  <a:gd name="connsiteX0" fmla="*/ 100012 w 6581774"/>
                  <a:gd name="connsiteY0" fmla="*/ 3105150 h 5485563"/>
                  <a:gd name="connsiteX1" fmla="*/ 357187 w 6581774"/>
                  <a:gd name="connsiteY1" fmla="*/ 3905250 h 5485563"/>
                  <a:gd name="connsiteX2" fmla="*/ 728662 w 6581774"/>
                  <a:gd name="connsiteY2" fmla="*/ 3562350 h 5485563"/>
                  <a:gd name="connsiteX3" fmla="*/ 1357312 w 6581774"/>
                  <a:gd name="connsiteY3" fmla="*/ 3305175 h 5485563"/>
                  <a:gd name="connsiteX4" fmla="*/ 2500312 w 6581774"/>
                  <a:gd name="connsiteY4" fmla="*/ 3190875 h 5485563"/>
                  <a:gd name="connsiteX5" fmla="*/ 3357562 w 6581774"/>
                  <a:gd name="connsiteY5" fmla="*/ 2990850 h 5485563"/>
                  <a:gd name="connsiteX6" fmla="*/ 3917532 w 6581774"/>
                  <a:gd name="connsiteY6" fmla="*/ 3390900 h 5485563"/>
                  <a:gd name="connsiteX7" fmla="*/ 3824287 w 6581774"/>
                  <a:gd name="connsiteY7" fmla="*/ 2876550 h 5485563"/>
                  <a:gd name="connsiteX8" fmla="*/ 4443412 w 6581774"/>
                  <a:gd name="connsiteY8" fmla="*/ 2362200 h 5485563"/>
                  <a:gd name="connsiteX9" fmla="*/ 4215815 w 6581774"/>
                  <a:gd name="connsiteY9" fmla="*/ 3259555 h 5485563"/>
                  <a:gd name="connsiteX10" fmla="*/ 4023310 w 6581774"/>
                  <a:gd name="connsiteY10" fmla="*/ 5393154 h 5485563"/>
                  <a:gd name="connsiteX11" fmla="*/ 4957762 w 6581774"/>
                  <a:gd name="connsiteY11" fmla="*/ 2705100 h 5485563"/>
                  <a:gd name="connsiteX12" fmla="*/ 5872162 w 6581774"/>
                  <a:gd name="connsiteY12" fmla="*/ 2533650 h 5485563"/>
                  <a:gd name="connsiteX13" fmla="*/ 6443662 w 6581774"/>
                  <a:gd name="connsiteY13" fmla="*/ 2219325 h 5485563"/>
                  <a:gd name="connsiteX14" fmla="*/ 6472237 w 6581774"/>
                  <a:gd name="connsiteY14" fmla="*/ 1733550 h 5485563"/>
                  <a:gd name="connsiteX15" fmla="*/ 6272212 w 6581774"/>
                  <a:gd name="connsiteY15" fmla="*/ 1333500 h 5485563"/>
                  <a:gd name="connsiteX16" fmla="*/ 4614862 w 6581774"/>
                  <a:gd name="connsiteY16" fmla="*/ 1047750 h 5485563"/>
                  <a:gd name="connsiteX17" fmla="*/ 3529012 w 6581774"/>
                  <a:gd name="connsiteY17" fmla="*/ 104775 h 5485563"/>
                  <a:gd name="connsiteX18" fmla="*/ 3128962 w 6581774"/>
                  <a:gd name="connsiteY18" fmla="*/ 419100 h 5485563"/>
                  <a:gd name="connsiteX19" fmla="*/ 2586037 w 6581774"/>
                  <a:gd name="connsiteY19" fmla="*/ 2247900 h 5485563"/>
                  <a:gd name="connsiteX20" fmla="*/ 957262 w 6581774"/>
                  <a:gd name="connsiteY20" fmla="*/ 2619375 h 5485563"/>
                  <a:gd name="connsiteX21" fmla="*/ 100012 w 6581774"/>
                  <a:gd name="connsiteY21" fmla="*/ 3105150 h 5485563"/>
                  <a:gd name="connsiteX0" fmla="*/ 100012 w 6581774"/>
                  <a:gd name="connsiteY0" fmla="*/ 3105150 h 5485563"/>
                  <a:gd name="connsiteX1" fmla="*/ 357187 w 6581774"/>
                  <a:gd name="connsiteY1" fmla="*/ 3905250 h 5485563"/>
                  <a:gd name="connsiteX2" fmla="*/ 728662 w 6581774"/>
                  <a:gd name="connsiteY2" fmla="*/ 3562350 h 5485563"/>
                  <a:gd name="connsiteX3" fmla="*/ 1357312 w 6581774"/>
                  <a:gd name="connsiteY3" fmla="*/ 3305175 h 5485563"/>
                  <a:gd name="connsiteX4" fmla="*/ 2500312 w 6581774"/>
                  <a:gd name="connsiteY4" fmla="*/ 3190875 h 5485563"/>
                  <a:gd name="connsiteX5" fmla="*/ 3357562 w 6581774"/>
                  <a:gd name="connsiteY5" fmla="*/ 2990850 h 5485563"/>
                  <a:gd name="connsiteX6" fmla="*/ 3917532 w 6581774"/>
                  <a:gd name="connsiteY6" fmla="*/ 3390900 h 5485563"/>
                  <a:gd name="connsiteX7" fmla="*/ 3824287 w 6581774"/>
                  <a:gd name="connsiteY7" fmla="*/ 2876550 h 5485563"/>
                  <a:gd name="connsiteX8" fmla="*/ 4443412 w 6581774"/>
                  <a:gd name="connsiteY8" fmla="*/ 2362200 h 5485563"/>
                  <a:gd name="connsiteX9" fmla="*/ 4167688 w 6581774"/>
                  <a:gd name="connsiteY9" fmla="*/ 3259555 h 5485563"/>
                  <a:gd name="connsiteX10" fmla="*/ 4023310 w 6581774"/>
                  <a:gd name="connsiteY10" fmla="*/ 5393154 h 5485563"/>
                  <a:gd name="connsiteX11" fmla="*/ 4957762 w 6581774"/>
                  <a:gd name="connsiteY11" fmla="*/ 2705100 h 5485563"/>
                  <a:gd name="connsiteX12" fmla="*/ 5872162 w 6581774"/>
                  <a:gd name="connsiteY12" fmla="*/ 2533650 h 5485563"/>
                  <a:gd name="connsiteX13" fmla="*/ 6443662 w 6581774"/>
                  <a:gd name="connsiteY13" fmla="*/ 2219325 h 5485563"/>
                  <a:gd name="connsiteX14" fmla="*/ 6472237 w 6581774"/>
                  <a:gd name="connsiteY14" fmla="*/ 1733550 h 5485563"/>
                  <a:gd name="connsiteX15" fmla="*/ 6272212 w 6581774"/>
                  <a:gd name="connsiteY15" fmla="*/ 1333500 h 5485563"/>
                  <a:gd name="connsiteX16" fmla="*/ 4614862 w 6581774"/>
                  <a:gd name="connsiteY16" fmla="*/ 1047750 h 5485563"/>
                  <a:gd name="connsiteX17" fmla="*/ 3529012 w 6581774"/>
                  <a:gd name="connsiteY17" fmla="*/ 104775 h 5485563"/>
                  <a:gd name="connsiteX18" fmla="*/ 3128962 w 6581774"/>
                  <a:gd name="connsiteY18" fmla="*/ 419100 h 5485563"/>
                  <a:gd name="connsiteX19" fmla="*/ 2586037 w 6581774"/>
                  <a:gd name="connsiteY19" fmla="*/ 2247900 h 5485563"/>
                  <a:gd name="connsiteX20" fmla="*/ 957262 w 6581774"/>
                  <a:gd name="connsiteY20" fmla="*/ 2619375 h 5485563"/>
                  <a:gd name="connsiteX21" fmla="*/ 100012 w 6581774"/>
                  <a:gd name="connsiteY21" fmla="*/ 3105150 h 5485563"/>
                  <a:gd name="connsiteX0" fmla="*/ 100012 w 6581774"/>
                  <a:gd name="connsiteY0" fmla="*/ 3105150 h 5525669"/>
                  <a:gd name="connsiteX1" fmla="*/ 357187 w 6581774"/>
                  <a:gd name="connsiteY1" fmla="*/ 3905250 h 5525669"/>
                  <a:gd name="connsiteX2" fmla="*/ 728662 w 6581774"/>
                  <a:gd name="connsiteY2" fmla="*/ 3562350 h 5525669"/>
                  <a:gd name="connsiteX3" fmla="*/ 1357312 w 6581774"/>
                  <a:gd name="connsiteY3" fmla="*/ 3305175 h 5525669"/>
                  <a:gd name="connsiteX4" fmla="*/ 2500312 w 6581774"/>
                  <a:gd name="connsiteY4" fmla="*/ 3190875 h 5525669"/>
                  <a:gd name="connsiteX5" fmla="*/ 3357562 w 6581774"/>
                  <a:gd name="connsiteY5" fmla="*/ 2990850 h 5525669"/>
                  <a:gd name="connsiteX6" fmla="*/ 3917532 w 6581774"/>
                  <a:gd name="connsiteY6" fmla="*/ 3390900 h 5525669"/>
                  <a:gd name="connsiteX7" fmla="*/ 3824287 w 6581774"/>
                  <a:gd name="connsiteY7" fmla="*/ 2876550 h 5525669"/>
                  <a:gd name="connsiteX8" fmla="*/ 4443412 w 6581774"/>
                  <a:gd name="connsiteY8" fmla="*/ 2362200 h 5525669"/>
                  <a:gd name="connsiteX9" fmla="*/ 4167688 w 6581774"/>
                  <a:gd name="connsiteY9" fmla="*/ 3500187 h 5525669"/>
                  <a:gd name="connsiteX10" fmla="*/ 4023310 w 6581774"/>
                  <a:gd name="connsiteY10" fmla="*/ 5393154 h 5525669"/>
                  <a:gd name="connsiteX11" fmla="*/ 4957762 w 6581774"/>
                  <a:gd name="connsiteY11" fmla="*/ 2705100 h 5525669"/>
                  <a:gd name="connsiteX12" fmla="*/ 5872162 w 6581774"/>
                  <a:gd name="connsiteY12" fmla="*/ 2533650 h 5525669"/>
                  <a:gd name="connsiteX13" fmla="*/ 6443662 w 6581774"/>
                  <a:gd name="connsiteY13" fmla="*/ 2219325 h 5525669"/>
                  <a:gd name="connsiteX14" fmla="*/ 6472237 w 6581774"/>
                  <a:gd name="connsiteY14" fmla="*/ 1733550 h 5525669"/>
                  <a:gd name="connsiteX15" fmla="*/ 6272212 w 6581774"/>
                  <a:gd name="connsiteY15" fmla="*/ 1333500 h 5525669"/>
                  <a:gd name="connsiteX16" fmla="*/ 4614862 w 6581774"/>
                  <a:gd name="connsiteY16" fmla="*/ 1047750 h 5525669"/>
                  <a:gd name="connsiteX17" fmla="*/ 3529012 w 6581774"/>
                  <a:gd name="connsiteY17" fmla="*/ 104775 h 5525669"/>
                  <a:gd name="connsiteX18" fmla="*/ 3128962 w 6581774"/>
                  <a:gd name="connsiteY18" fmla="*/ 419100 h 5525669"/>
                  <a:gd name="connsiteX19" fmla="*/ 2586037 w 6581774"/>
                  <a:gd name="connsiteY19" fmla="*/ 2247900 h 5525669"/>
                  <a:gd name="connsiteX20" fmla="*/ 957262 w 6581774"/>
                  <a:gd name="connsiteY20" fmla="*/ 2619375 h 5525669"/>
                  <a:gd name="connsiteX21" fmla="*/ 100012 w 6581774"/>
                  <a:gd name="connsiteY21" fmla="*/ 3105150 h 5525669"/>
                  <a:gd name="connsiteX0" fmla="*/ 100012 w 6581774"/>
                  <a:gd name="connsiteY0" fmla="*/ 3105150 h 5525669"/>
                  <a:gd name="connsiteX1" fmla="*/ 357187 w 6581774"/>
                  <a:gd name="connsiteY1" fmla="*/ 3905250 h 5525669"/>
                  <a:gd name="connsiteX2" fmla="*/ 728662 w 6581774"/>
                  <a:gd name="connsiteY2" fmla="*/ 3562350 h 5525669"/>
                  <a:gd name="connsiteX3" fmla="*/ 1357312 w 6581774"/>
                  <a:gd name="connsiteY3" fmla="*/ 3305175 h 5525669"/>
                  <a:gd name="connsiteX4" fmla="*/ 2500312 w 6581774"/>
                  <a:gd name="connsiteY4" fmla="*/ 3190875 h 5525669"/>
                  <a:gd name="connsiteX5" fmla="*/ 3357562 w 6581774"/>
                  <a:gd name="connsiteY5" fmla="*/ 2990850 h 5525669"/>
                  <a:gd name="connsiteX6" fmla="*/ 3917532 w 6581774"/>
                  <a:gd name="connsiteY6" fmla="*/ 3390900 h 5525669"/>
                  <a:gd name="connsiteX7" fmla="*/ 3824287 w 6581774"/>
                  <a:gd name="connsiteY7" fmla="*/ 2876550 h 5525669"/>
                  <a:gd name="connsiteX8" fmla="*/ 4443412 w 6581774"/>
                  <a:gd name="connsiteY8" fmla="*/ 2362200 h 5525669"/>
                  <a:gd name="connsiteX9" fmla="*/ 4167688 w 6581774"/>
                  <a:gd name="connsiteY9" fmla="*/ 3500187 h 5525669"/>
                  <a:gd name="connsiteX10" fmla="*/ 4023310 w 6581774"/>
                  <a:gd name="connsiteY10" fmla="*/ 5393154 h 5525669"/>
                  <a:gd name="connsiteX11" fmla="*/ 4957762 w 6581774"/>
                  <a:gd name="connsiteY11" fmla="*/ 2705100 h 5525669"/>
                  <a:gd name="connsiteX12" fmla="*/ 5872162 w 6581774"/>
                  <a:gd name="connsiteY12" fmla="*/ 2533650 h 5525669"/>
                  <a:gd name="connsiteX13" fmla="*/ 6443662 w 6581774"/>
                  <a:gd name="connsiteY13" fmla="*/ 2219325 h 5525669"/>
                  <a:gd name="connsiteX14" fmla="*/ 6472237 w 6581774"/>
                  <a:gd name="connsiteY14" fmla="*/ 1733550 h 5525669"/>
                  <a:gd name="connsiteX15" fmla="*/ 6272212 w 6581774"/>
                  <a:gd name="connsiteY15" fmla="*/ 1333500 h 5525669"/>
                  <a:gd name="connsiteX16" fmla="*/ 4614862 w 6581774"/>
                  <a:gd name="connsiteY16" fmla="*/ 1047750 h 5525669"/>
                  <a:gd name="connsiteX17" fmla="*/ 3529012 w 6581774"/>
                  <a:gd name="connsiteY17" fmla="*/ 104775 h 5525669"/>
                  <a:gd name="connsiteX18" fmla="*/ 3128962 w 6581774"/>
                  <a:gd name="connsiteY18" fmla="*/ 419100 h 5525669"/>
                  <a:gd name="connsiteX19" fmla="*/ 2586037 w 6581774"/>
                  <a:gd name="connsiteY19" fmla="*/ 2247900 h 5525669"/>
                  <a:gd name="connsiteX20" fmla="*/ 957262 w 6581774"/>
                  <a:gd name="connsiteY20" fmla="*/ 2619375 h 5525669"/>
                  <a:gd name="connsiteX21" fmla="*/ 100012 w 6581774"/>
                  <a:gd name="connsiteY21" fmla="*/ 3105150 h 5525669"/>
                  <a:gd name="connsiteX0" fmla="*/ 100012 w 6581774"/>
                  <a:gd name="connsiteY0" fmla="*/ 3105150 h 5547058"/>
                  <a:gd name="connsiteX1" fmla="*/ 357187 w 6581774"/>
                  <a:gd name="connsiteY1" fmla="*/ 3905250 h 5547058"/>
                  <a:gd name="connsiteX2" fmla="*/ 728662 w 6581774"/>
                  <a:gd name="connsiteY2" fmla="*/ 3562350 h 5547058"/>
                  <a:gd name="connsiteX3" fmla="*/ 1357312 w 6581774"/>
                  <a:gd name="connsiteY3" fmla="*/ 3305175 h 5547058"/>
                  <a:gd name="connsiteX4" fmla="*/ 2500312 w 6581774"/>
                  <a:gd name="connsiteY4" fmla="*/ 3190875 h 5547058"/>
                  <a:gd name="connsiteX5" fmla="*/ 3357562 w 6581774"/>
                  <a:gd name="connsiteY5" fmla="*/ 2990850 h 5547058"/>
                  <a:gd name="connsiteX6" fmla="*/ 3917532 w 6581774"/>
                  <a:gd name="connsiteY6" fmla="*/ 3390900 h 5547058"/>
                  <a:gd name="connsiteX7" fmla="*/ 3824287 w 6581774"/>
                  <a:gd name="connsiteY7" fmla="*/ 2876550 h 5547058"/>
                  <a:gd name="connsiteX8" fmla="*/ 4443412 w 6581774"/>
                  <a:gd name="connsiteY8" fmla="*/ 2362200 h 5547058"/>
                  <a:gd name="connsiteX9" fmla="*/ 4087478 w 6581774"/>
                  <a:gd name="connsiteY9" fmla="*/ 3628524 h 5547058"/>
                  <a:gd name="connsiteX10" fmla="*/ 4023310 w 6581774"/>
                  <a:gd name="connsiteY10" fmla="*/ 5393154 h 5547058"/>
                  <a:gd name="connsiteX11" fmla="*/ 4957762 w 6581774"/>
                  <a:gd name="connsiteY11" fmla="*/ 2705100 h 5547058"/>
                  <a:gd name="connsiteX12" fmla="*/ 5872162 w 6581774"/>
                  <a:gd name="connsiteY12" fmla="*/ 2533650 h 5547058"/>
                  <a:gd name="connsiteX13" fmla="*/ 6443662 w 6581774"/>
                  <a:gd name="connsiteY13" fmla="*/ 2219325 h 5547058"/>
                  <a:gd name="connsiteX14" fmla="*/ 6472237 w 6581774"/>
                  <a:gd name="connsiteY14" fmla="*/ 1733550 h 5547058"/>
                  <a:gd name="connsiteX15" fmla="*/ 6272212 w 6581774"/>
                  <a:gd name="connsiteY15" fmla="*/ 1333500 h 5547058"/>
                  <a:gd name="connsiteX16" fmla="*/ 4614862 w 6581774"/>
                  <a:gd name="connsiteY16" fmla="*/ 1047750 h 5547058"/>
                  <a:gd name="connsiteX17" fmla="*/ 3529012 w 6581774"/>
                  <a:gd name="connsiteY17" fmla="*/ 104775 h 5547058"/>
                  <a:gd name="connsiteX18" fmla="*/ 3128962 w 6581774"/>
                  <a:gd name="connsiteY18" fmla="*/ 419100 h 5547058"/>
                  <a:gd name="connsiteX19" fmla="*/ 2586037 w 6581774"/>
                  <a:gd name="connsiteY19" fmla="*/ 2247900 h 5547058"/>
                  <a:gd name="connsiteX20" fmla="*/ 957262 w 6581774"/>
                  <a:gd name="connsiteY20" fmla="*/ 2619375 h 5547058"/>
                  <a:gd name="connsiteX21" fmla="*/ 100012 w 6581774"/>
                  <a:gd name="connsiteY21" fmla="*/ 3105150 h 5547058"/>
                  <a:gd name="connsiteX0" fmla="*/ 100012 w 6581774"/>
                  <a:gd name="connsiteY0" fmla="*/ 3105150 h 5547058"/>
                  <a:gd name="connsiteX1" fmla="*/ 357187 w 6581774"/>
                  <a:gd name="connsiteY1" fmla="*/ 3905250 h 5547058"/>
                  <a:gd name="connsiteX2" fmla="*/ 728662 w 6581774"/>
                  <a:gd name="connsiteY2" fmla="*/ 3562350 h 5547058"/>
                  <a:gd name="connsiteX3" fmla="*/ 1357312 w 6581774"/>
                  <a:gd name="connsiteY3" fmla="*/ 3305175 h 5547058"/>
                  <a:gd name="connsiteX4" fmla="*/ 2500312 w 6581774"/>
                  <a:gd name="connsiteY4" fmla="*/ 3190875 h 5547058"/>
                  <a:gd name="connsiteX5" fmla="*/ 3357562 w 6581774"/>
                  <a:gd name="connsiteY5" fmla="*/ 2990850 h 5547058"/>
                  <a:gd name="connsiteX6" fmla="*/ 3917532 w 6581774"/>
                  <a:gd name="connsiteY6" fmla="*/ 3390900 h 5547058"/>
                  <a:gd name="connsiteX7" fmla="*/ 3824287 w 6581774"/>
                  <a:gd name="connsiteY7" fmla="*/ 2876550 h 5547058"/>
                  <a:gd name="connsiteX8" fmla="*/ 4443412 w 6581774"/>
                  <a:gd name="connsiteY8" fmla="*/ 2362200 h 5547058"/>
                  <a:gd name="connsiteX9" fmla="*/ 4087478 w 6581774"/>
                  <a:gd name="connsiteY9" fmla="*/ 3628524 h 5547058"/>
                  <a:gd name="connsiteX10" fmla="*/ 4023310 w 6581774"/>
                  <a:gd name="connsiteY10" fmla="*/ 5393154 h 5547058"/>
                  <a:gd name="connsiteX11" fmla="*/ 4957762 w 6581774"/>
                  <a:gd name="connsiteY11" fmla="*/ 2705100 h 5547058"/>
                  <a:gd name="connsiteX12" fmla="*/ 5872162 w 6581774"/>
                  <a:gd name="connsiteY12" fmla="*/ 2533650 h 5547058"/>
                  <a:gd name="connsiteX13" fmla="*/ 6443662 w 6581774"/>
                  <a:gd name="connsiteY13" fmla="*/ 2219325 h 5547058"/>
                  <a:gd name="connsiteX14" fmla="*/ 6472237 w 6581774"/>
                  <a:gd name="connsiteY14" fmla="*/ 1733550 h 5547058"/>
                  <a:gd name="connsiteX15" fmla="*/ 6272212 w 6581774"/>
                  <a:gd name="connsiteY15" fmla="*/ 1333500 h 5547058"/>
                  <a:gd name="connsiteX16" fmla="*/ 4614862 w 6581774"/>
                  <a:gd name="connsiteY16" fmla="*/ 1047750 h 5547058"/>
                  <a:gd name="connsiteX17" fmla="*/ 3529012 w 6581774"/>
                  <a:gd name="connsiteY17" fmla="*/ 104775 h 5547058"/>
                  <a:gd name="connsiteX18" fmla="*/ 3128962 w 6581774"/>
                  <a:gd name="connsiteY18" fmla="*/ 419100 h 5547058"/>
                  <a:gd name="connsiteX19" fmla="*/ 2586037 w 6581774"/>
                  <a:gd name="connsiteY19" fmla="*/ 2247900 h 5547058"/>
                  <a:gd name="connsiteX20" fmla="*/ 957262 w 6581774"/>
                  <a:gd name="connsiteY20" fmla="*/ 2619375 h 5547058"/>
                  <a:gd name="connsiteX21" fmla="*/ 100012 w 6581774"/>
                  <a:gd name="connsiteY21" fmla="*/ 3105150 h 5547058"/>
                  <a:gd name="connsiteX0" fmla="*/ 100012 w 6581774"/>
                  <a:gd name="connsiteY0" fmla="*/ 3105150 h 5547058"/>
                  <a:gd name="connsiteX1" fmla="*/ 357187 w 6581774"/>
                  <a:gd name="connsiteY1" fmla="*/ 3905250 h 5547058"/>
                  <a:gd name="connsiteX2" fmla="*/ 728662 w 6581774"/>
                  <a:gd name="connsiteY2" fmla="*/ 3562350 h 5547058"/>
                  <a:gd name="connsiteX3" fmla="*/ 1357312 w 6581774"/>
                  <a:gd name="connsiteY3" fmla="*/ 3305175 h 5547058"/>
                  <a:gd name="connsiteX4" fmla="*/ 2500312 w 6581774"/>
                  <a:gd name="connsiteY4" fmla="*/ 3190875 h 5547058"/>
                  <a:gd name="connsiteX5" fmla="*/ 3357562 w 6581774"/>
                  <a:gd name="connsiteY5" fmla="*/ 2990850 h 5547058"/>
                  <a:gd name="connsiteX6" fmla="*/ 3917532 w 6581774"/>
                  <a:gd name="connsiteY6" fmla="*/ 3390900 h 5547058"/>
                  <a:gd name="connsiteX7" fmla="*/ 3824287 w 6581774"/>
                  <a:gd name="connsiteY7" fmla="*/ 2876550 h 5547058"/>
                  <a:gd name="connsiteX8" fmla="*/ 4443412 w 6581774"/>
                  <a:gd name="connsiteY8" fmla="*/ 2362200 h 5547058"/>
                  <a:gd name="connsiteX9" fmla="*/ 4087478 w 6581774"/>
                  <a:gd name="connsiteY9" fmla="*/ 3628524 h 5547058"/>
                  <a:gd name="connsiteX10" fmla="*/ 4023310 w 6581774"/>
                  <a:gd name="connsiteY10" fmla="*/ 5393154 h 5547058"/>
                  <a:gd name="connsiteX11" fmla="*/ 4957762 w 6581774"/>
                  <a:gd name="connsiteY11" fmla="*/ 2705100 h 5547058"/>
                  <a:gd name="connsiteX12" fmla="*/ 5872162 w 6581774"/>
                  <a:gd name="connsiteY12" fmla="*/ 2533650 h 5547058"/>
                  <a:gd name="connsiteX13" fmla="*/ 6443662 w 6581774"/>
                  <a:gd name="connsiteY13" fmla="*/ 2219325 h 5547058"/>
                  <a:gd name="connsiteX14" fmla="*/ 6472237 w 6581774"/>
                  <a:gd name="connsiteY14" fmla="*/ 1733550 h 5547058"/>
                  <a:gd name="connsiteX15" fmla="*/ 6272212 w 6581774"/>
                  <a:gd name="connsiteY15" fmla="*/ 1333500 h 5547058"/>
                  <a:gd name="connsiteX16" fmla="*/ 4614862 w 6581774"/>
                  <a:gd name="connsiteY16" fmla="*/ 1047750 h 5547058"/>
                  <a:gd name="connsiteX17" fmla="*/ 3529012 w 6581774"/>
                  <a:gd name="connsiteY17" fmla="*/ 104775 h 5547058"/>
                  <a:gd name="connsiteX18" fmla="*/ 3128962 w 6581774"/>
                  <a:gd name="connsiteY18" fmla="*/ 419100 h 5547058"/>
                  <a:gd name="connsiteX19" fmla="*/ 2586037 w 6581774"/>
                  <a:gd name="connsiteY19" fmla="*/ 2247900 h 5547058"/>
                  <a:gd name="connsiteX20" fmla="*/ 957262 w 6581774"/>
                  <a:gd name="connsiteY20" fmla="*/ 2619375 h 5547058"/>
                  <a:gd name="connsiteX21" fmla="*/ 100012 w 6581774"/>
                  <a:gd name="connsiteY21" fmla="*/ 3105150 h 5547058"/>
                  <a:gd name="connsiteX0" fmla="*/ 100012 w 6581774"/>
                  <a:gd name="connsiteY0" fmla="*/ 3105150 h 5547058"/>
                  <a:gd name="connsiteX1" fmla="*/ 357187 w 6581774"/>
                  <a:gd name="connsiteY1" fmla="*/ 3905250 h 5547058"/>
                  <a:gd name="connsiteX2" fmla="*/ 728662 w 6581774"/>
                  <a:gd name="connsiteY2" fmla="*/ 3562350 h 5547058"/>
                  <a:gd name="connsiteX3" fmla="*/ 1357312 w 6581774"/>
                  <a:gd name="connsiteY3" fmla="*/ 3305175 h 5547058"/>
                  <a:gd name="connsiteX4" fmla="*/ 2500312 w 6581774"/>
                  <a:gd name="connsiteY4" fmla="*/ 3190875 h 5547058"/>
                  <a:gd name="connsiteX5" fmla="*/ 3357562 w 6581774"/>
                  <a:gd name="connsiteY5" fmla="*/ 2990850 h 5547058"/>
                  <a:gd name="connsiteX6" fmla="*/ 3917532 w 6581774"/>
                  <a:gd name="connsiteY6" fmla="*/ 3390900 h 5547058"/>
                  <a:gd name="connsiteX7" fmla="*/ 3824287 w 6581774"/>
                  <a:gd name="connsiteY7" fmla="*/ 2876550 h 5547058"/>
                  <a:gd name="connsiteX8" fmla="*/ 4443412 w 6581774"/>
                  <a:gd name="connsiteY8" fmla="*/ 2362200 h 5547058"/>
                  <a:gd name="connsiteX9" fmla="*/ 4087478 w 6581774"/>
                  <a:gd name="connsiteY9" fmla="*/ 3628524 h 5547058"/>
                  <a:gd name="connsiteX10" fmla="*/ 4023310 w 6581774"/>
                  <a:gd name="connsiteY10" fmla="*/ 5393154 h 5547058"/>
                  <a:gd name="connsiteX11" fmla="*/ 4957762 w 6581774"/>
                  <a:gd name="connsiteY11" fmla="*/ 2705100 h 5547058"/>
                  <a:gd name="connsiteX12" fmla="*/ 5872162 w 6581774"/>
                  <a:gd name="connsiteY12" fmla="*/ 2533650 h 5547058"/>
                  <a:gd name="connsiteX13" fmla="*/ 6443662 w 6581774"/>
                  <a:gd name="connsiteY13" fmla="*/ 2219325 h 5547058"/>
                  <a:gd name="connsiteX14" fmla="*/ 6472237 w 6581774"/>
                  <a:gd name="connsiteY14" fmla="*/ 1733550 h 5547058"/>
                  <a:gd name="connsiteX15" fmla="*/ 6272212 w 6581774"/>
                  <a:gd name="connsiteY15" fmla="*/ 1333500 h 5547058"/>
                  <a:gd name="connsiteX16" fmla="*/ 4614862 w 6581774"/>
                  <a:gd name="connsiteY16" fmla="*/ 1047750 h 5547058"/>
                  <a:gd name="connsiteX17" fmla="*/ 3529012 w 6581774"/>
                  <a:gd name="connsiteY17" fmla="*/ 104775 h 5547058"/>
                  <a:gd name="connsiteX18" fmla="*/ 3128962 w 6581774"/>
                  <a:gd name="connsiteY18" fmla="*/ 419100 h 5547058"/>
                  <a:gd name="connsiteX19" fmla="*/ 2586037 w 6581774"/>
                  <a:gd name="connsiteY19" fmla="*/ 2247900 h 5547058"/>
                  <a:gd name="connsiteX20" fmla="*/ 957262 w 6581774"/>
                  <a:gd name="connsiteY20" fmla="*/ 2619375 h 5547058"/>
                  <a:gd name="connsiteX21" fmla="*/ 100012 w 6581774"/>
                  <a:gd name="connsiteY21" fmla="*/ 3105150 h 5547058"/>
                  <a:gd name="connsiteX0" fmla="*/ 100012 w 6581774"/>
                  <a:gd name="connsiteY0" fmla="*/ 3105150 h 5393154"/>
                  <a:gd name="connsiteX1" fmla="*/ 357187 w 6581774"/>
                  <a:gd name="connsiteY1" fmla="*/ 3905250 h 5393154"/>
                  <a:gd name="connsiteX2" fmla="*/ 728662 w 6581774"/>
                  <a:gd name="connsiteY2" fmla="*/ 3562350 h 5393154"/>
                  <a:gd name="connsiteX3" fmla="*/ 1357312 w 6581774"/>
                  <a:gd name="connsiteY3" fmla="*/ 3305175 h 5393154"/>
                  <a:gd name="connsiteX4" fmla="*/ 2500312 w 6581774"/>
                  <a:gd name="connsiteY4" fmla="*/ 3190875 h 5393154"/>
                  <a:gd name="connsiteX5" fmla="*/ 3357562 w 6581774"/>
                  <a:gd name="connsiteY5" fmla="*/ 2990850 h 5393154"/>
                  <a:gd name="connsiteX6" fmla="*/ 3917532 w 6581774"/>
                  <a:gd name="connsiteY6" fmla="*/ 3390900 h 5393154"/>
                  <a:gd name="connsiteX7" fmla="*/ 3824287 w 6581774"/>
                  <a:gd name="connsiteY7" fmla="*/ 2876550 h 5393154"/>
                  <a:gd name="connsiteX8" fmla="*/ 4443412 w 6581774"/>
                  <a:gd name="connsiteY8" fmla="*/ 2362200 h 5393154"/>
                  <a:gd name="connsiteX9" fmla="*/ 4087478 w 6581774"/>
                  <a:gd name="connsiteY9" fmla="*/ 3628524 h 5393154"/>
                  <a:gd name="connsiteX10" fmla="*/ 4023310 w 6581774"/>
                  <a:gd name="connsiteY10" fmla="*/ 5393154 h 5393154"/>
                  <a:gd name="connsiteX11" fmla="*/ 4957762 w 6581774"/>
                  <a:gd name="connsiteY11" fmla="*/ 2705100 h 5393154"/>
                  <a:gd name="connsiteX12" fmla="*/ 5872162 w 6581774"/>
                  <a:gd name="connsiteY12" fmla="*/ 2533650 h 5393154"/>
                  <a:gd name="connsiteX13" fmla="*/ 6443662 w 6581774"/>
                  <a:gd name="connsiteY13" fmla="*/ 2219325 h 5393154"/>
                  <a:gd name="connsiteX14" fmla="*/ 6472237 w 6581774"/>
                  <a:gd name="connsiteY14" fmla="*/ 1733550 h 5393154"/>
                  <a:gd name="connsiteX15" fmla="*/ 6272212 w 6581774"/>
                  <a:gd name="connsiteY15" fmla="*/ 1333500 h 5393154"/>
                  <a:gd name="connsiteX16" fmla="*/ 4614862 w 6581774"/>
                  <a:gd name="connsiteY16" fmla="*/ 1047750 h 5393154"/>
                  <a:gd name="connsiteX17" fmla="*/ 3529012 w 6581774"/>
                  <a:gd name="connsiteY17" fmla="*/ 104775 h 5393154"/>
                  <a:gd name="connsiteX18" fmla="*/ 3128962 w 6581774"/>
                  <a:gd name="connsiteY18" fmla="*/ 419100 h 5393154"/>
                  <a:gd name="connsiteX19" fmla="*/ 2586037 w 6581774"/>
                  <a:gd name="connsiteY19" fmla="*/ 2247900 h 5393154"/>
                  <a:gd name="connsiteX20" fmla="*/ 957262 w 6581774"/>
                  <a:gd name="connsiteY20" fmla="*/ 2619375 h 5393154"/>
                  <a:gd name="connsiteX21" fmla="*/ 100012 w 6581774"/>
                  <a:gd name="connsiteY21" fmla="*/ 3105150 h 5393154"/>
                  <a:gd name="connsiteX0" fmla="*/ 100012 w 6581774"/>
                  <a:gd name="connsiteY0" fmla="*/ 3105150 h 4639174"/>
                  <a:gd name="connsiteX1" fmla="*/ 357187 w 6581774"/>
                  <a:gd name="connsiteY1" fmla="*/ 3905250 h 4639174"/>
                  <a:gd name="connsiteX2" fmla="*/ 728662 w 6581774"/>
                  <a:gd name="connsiteY2" fmla="*/ 3562350 h 4639174"/>
                  <a:gd name="connsiteX3" fmla="*/ 1357312 w 6581774"/>
                  <a:gd name="connsiteY3" fmla="*/ 3305175 h 4639174"/>
                  <a:gd name="connsiteX4" fmla="*/ 2500312 w 6581774"/>
                  <a:gd name="connsiteY4" fmla="*/ 3190875 h 4639174"/>
                  <a:gd name="connsiteX5" fmla="*/ 3357562 w 6581774"/>
                  <a:gd name="connsiteY5" fmla="*/ 2990850 h 4639174"/>
                  <a:gd name="connsiteX6" fmla="*/ 3917532 w 6581774"/>
                  <a:gd name="connsiteY6" fmla="*/ 3390900 h 4639174"/>
                  <a:gd name="connsiteX7" fmla="*/ 3824287 w 6581774"/>
                  <a:gd name="connsiteY7" fmla="*/ 2876550 h 4639174"/>
                  <a:gd name="connsiteX8" fmla="*/ 4443412 w 6581774"/>
                  <a:gd name="connsiteY8" fmla="*/ 2362200 h 4639174"/>
                  <a:gd name="connsiteX9" fmla="*/ 4087478 w 6581774"/>
                  <a:gd name="connsiteY9" fmla="*/ 3628524 h 4639174"/>
                  <a:gd name="connsiteX10" fmla="*/ 4055394 w 6581774"/>
                  <a:gd name="connsiteY10" fmla="*/ 4639174 h 4639174"/>
                  <a:gd name="connsiteX11" fmla="*/ 4957762 w 6581774"/>
                  <a:gd name="connsiteY11" fmla="*/ 2705100 h 4639174"/>
                  <a:gd name="connsiteX12" fmla="*/ 5872162 w 6581774"/>
                  <a:gd name="connsiteY12" fmla="*/ 2533650 h 4639174"/>
                  <a:gd name="connsiteX13" fmla="*/ 6443662 w 6581774"/>
                  <a:gd name="connsiteY13" fmla="*/ 2219325 h 4639174"/>
                  <a:gd name="connsiteX14" fmla="*/ 6472237 w 6581774"/>
                  <a:gd name="connsiteY14" fmla="*/ 1733550 h 4639174"/>
                  <a:gd name="connsiteX15" fmla="*/ 6272212 w 6581774"/>
                  <a:gd name="connsiteY15" fmla="*/ 1333500 h 4639174"/>
                  <a:gd name="connsiteX16" fmla="*/ 4614862 w 6581774"/>
                  <a:gd name="connsiteY16" fmla="*/ 1047750 h 4639174"/>
                  <a:gd name="connsiteX17" fmla="*/ 3529012 w 6581774"/>
                  <a:gd name="connsiteY17" fmla="*/ 104775 h 4639174"/>
                  <a:gd name="connsiteX18" fmla="*/ 3128962 w 6581774"/>
                  <a:gd name="connsiteY18" fmla="*/ 419100 h 4639174"/>
                  <a:gd name="connsiteX19" fmla="*/ 2586037 w 6581774"/>
                  <a:gd name="connsiteY19" fmla="*/ 2247900 h 4639174"/>
                  <a:gd name="connsiteX20" fmla="*/ 957262 w 6581774"/>
                  <a:gd name="connsiteY20" fmla="*/ 2619375 h 4639174"/>
                  <a:gd name="connsiteX21" fmla="*/ 100012 w 6581774"/>
                  <a:gd name="connsiteY21" fmla="*/ 3105150 h 4639174"/>
                  <a:gd name="connsiteX0" fmla="*/ 100012 w 6581774"/>
                  <a:gd name="connsiteY0" fmla="*/ 3105150 h 4639174"/>
                  <a:gd name="connsiteX1" fmla="*/ 357187 w 6581774"/>
                  <a:gd name="connsiteY1" fmla="*/ 3905250 h 4639174"/>
                  <a:gd name="connsiteX2" fmla="*/ 728662 w 6581774"/>
                  <a:gd name="connsiteY2" fmla="*/ 3562350 h 4639174"/>
                  <a:gd name="connsiteX3" fmla="*/ 1357312 w 6581774"/>
                  <a:gd name="connsiteY3" fmla="*/ 3305175 h 4639174"/>
                  <a:gd name="connsiteX4" fmla="*/ 2500312 w 6581774"/>
                  <a:gd name="connsiteY4" fmla="*/ 3190875 h 4639174"/>
                  <a:gd name="connsiteX5" fmla="*/ 3357562 w 6581774"/>
                  <a:gd name="connsiteY5" fmla="*/ 2990850 h 4639174"/>
                  <a:gd name="connsiteX6" fmla="*/ 3917532 w 6581774"/>
                  <a:gd name="connsiteY6" fmla="*/ 3390900 h 4639174"/>
                  <a:gd name="connsiteX7" fmla="*/ 3824287 w 6581774"/>
                  <a:gd name="connsiteY7" fmla="*/ 2876550 h 4639174"/>
                  <a:gd name="connsiteX8" fmla="*/ 4443412 w 6581774"/>
                  <a:gd name="connsiteY8" fmla="*/ 2362200 h 4639174"/>
                  <a:gd name="connsiteX9" fmla="*/ 4087478 w 6581774"/>
                  <a:gd name="connsiteY9" fmla="*/ 3628524 h 4639174"/>
                  <a:gd name="connsiteX10" fmla="*/ 4055394 w 6581774"/>
                  <a:gd name="connsiteY10" fmla="*/ 4639174 h 4639174"/>
                  <a:gd name="connsiteX11" fmla="*/ 4957762 w 6581774"/>
                  <a:gd name="connsiteY11" fmla="*/ 2705100 h 4639174"/>
                  <a:gd name="connsiteX12" fmla="*/ 5872162 w 6581774"/>
                  <a:gd name="connsiteY12" fmla="*/ 2533650 h 4639174"/>
                  <a:gd name="connsiteX13" fmla="*/ 6443662 w 6581774"/>
                  <a:gd name="connsiteY13" fmla="*/ 2219325 h 4639174"/>
                  <a:gd name="connsiteX14" fmla="*/ 6472237 w 6581774"/>
                  <a:gd name="connsiteY14" fmla="*/ 1733550 h 4639174"/>
                  <a:gd name="connsiteX15" fmla="*/ 6272212 w 6581774"/>
                  <a:gd name="connsiteY15" fmla="*/ 1333500 h 4639174"/>
                  <a:gd name="connsiteX16" fmla="*/ 4614862 w 6581774"/>
                  <a:gd name="connsiteY16" fmla="*/ 1047750 h 4639174"/>
                  <a:gd name="connsiteX17" fmla="*/ 3529012 w 6581774"/>
                  <a:gd name="connsiteY17" fmla="*/ 104775 h 4639174"/>
                  <a:gd name="connsiteX18" fmla="*/ 3128962 w 6581774"/>
                  <a:gd name="connsiteY18" fmla="*/ 419100 h 4639174"/>
                  <a:gd name="connsiteX19" fmla="*/ 2586037 w 6581774"/>
                  <a:gd name="connsiteY19" fmla="*/ 2247900 h 4639174"/>
                  <a:gd name="connsiteX20" fmla="*/ 957262 w 6581774"/>
                  <a:gd name="connsiteY20" fmla="*/ 2619375 h 4639174"/>
                  <a:gd name="connsiteX21" fmla="*/ 100012 w 6581774"/>
                  <a:gd name="connsiteY21" fmla="*/ 3105150 h 4639174"/>
                  <a:gd name="connsiteX0" fmla="*/ 100012 w 6581774"/>
                  <a:gd name="connsiteY0" fmla="*/ 3105150 h 4639174"/>
                  <a:gd name="connsiteX1" fmla="*/ 357187 w 6581774"/>
                  <a:gd name="connsiteY1" fmla="*/ 3905250 h 4639174"/>
                  <a:gd name="connsiteX2" fmla="*/ 728662 w 6581774"/>
                  <a:gd name="connsiteY2" fmla="*/ 3562350 h 4639174"/>
                  <a:gd name="connsiteX3" fmla="*/ 1357312 w 6581774"/>
                  <a:gd name="connsiteY3" fmla="*/ 3305175 h 4639174"/>
                  <a:gd name="connsiteX4" fmla="*/ 2500312 w 6581774"/>
                  <a:gd name="connsiteY4" fmla="*/ 3190875 h 4639174"/>
                  <a:gd name="connsiteX5" fmla="*/ 3357562 w 6581774"/>
                  <a:gd name="connsiteY5" fmla="*/ 2990850 h 4639174"/>
                  <a:gd name="connsiteX6" fmla="*/ 3917532 w 6581774"/>
                  <a:gd name="connsiteY6" fmla="*/ 3390900 h 4639174"/>
                  <a:gd name="connsiteX7" fmla="*/ 3824287 w 6581774"/>
                  <a:gd name="connsiteY7" fmla="*/ 2876550 h 4639174"/>
                  <a:gd name="connsiteX8" fmla="*/ 4443412 w 6581774"/>
                  <a:gd name="connsiteY8" fmla="*/ 2362200 h 4639174"/>
                  <a:gd name="connsiteX9" fmla="*/ 4087478 w 6581774"/>
                  <a:gd name="connsiteY9" fmla="*/ 3628524 h 4639174"/>
                  <a:gd name="connsiteX10" fmla="*/ 4055394 w 6581774"/>
                  <a:gd name="connsiteY10" fmla="*/ 4639174 h 4639174"/>
                  <a:gd name="connsiteX11" fmla="*/ 4957762 w 6581774"/>
                  <a:gd name="connsiteY11" fmla="*/ 2705100 h 4639174"/>
                  <a:gd name="connsiteX12" fmla="*/ 5872162 w 6581774"/>
                  <a:gd name="connsiteY12" fmla="*/ 2533650 h 4639174"/>
                  <a:gd name="connsiteX13" fmla="*/ 6443662 w 6581774"/>
                  <a:gd name="connsiteY13" fmla="*/ 2219325 h 4639174"/>
                  <a:gd name="connsiteX14" fmla="*/ 6472237 w 6581774"/>
                  <a:gd name="connsiteY14" fmla="*/ 1733550 h 4639174"/>
                  <a:gd name="connsiteX15" fmla="*/ 6272212 w 6581774"/>
                  <a:gd name="connsiteY15" fmla="*/ 1333500 h 4639174"/>
                  <a:gd name="connsiteX16" fmla="*/ 4614862 w 6581774"/>
                  <a:gd name="connsiteY16" fmla="*/ 1047750 h 4639174"/>
                  <a:gd name="connsiteX17" fmla="*/ 3529012 w 6581774"/>
                  <a:gd name="connsiteY17" fmla="*/ 104775 h 4639174"/>
                  <a:gd name="connsiteX18" fmla="*/ 3128962 w 6581774"/>
                  <a:gd name="connsiteY18" fmla="*/ 419100 h 4639174"/>
                  <a:gd name="connsiteX19" fmla="*/ 2586037 w 6581774"/>
                  <a:gd name="connsiteY19" fmla="*/ 2247900 h 4639174"/>
                  <a:gd name="connsiteX20" fmla="*/ 957262 w 6581774"/>
                  <a:gd name="connsiteY20" fmla="*/ 2619375 h 4639174"/>
                  <a:gd name="connsiteX21" fmla="*/ 100012 w 6581774"/>
                  <a:gd name="connsiteY21" fmla="*/ 3105150 h 4639174"/>
                  <a:gd name="connsiteX0" fmla="*/ 100012 w 6581774"/>
                  <a:gd name="connsiteY0" fmla="*/ 3105150 h 4639174"/>
                  <a:gd name="connsiteX1" fmla="*/ 357187 w 6581774"/>
                  <a:gd name="connsiteY1" fmla="*/ 3905250 h 4639174"/>
                  <a:gd name="connsiteX2" fmla="*/ 728662 w 6581774"/>
                  <a:gd name="connsiteY2" fmla="*/ 3562350 h 4639174"/>
                  <a:gd name="connsiteX3" fmla="*/ 1357312 w 6581774"/>
                  <a:gd name="connsiteY3" fmla="*/ 3305175 h 4639174"/>
                  <a:gd name="connsiteX4" fmla="*/ 2500312 w 6581774"/>
                  <a:gd name="connsiteY4" fmla="*/ 3190875 h 4639174"/>
                  <a:gd name="connsiteX5" fmla="*/ 3357562 w 6581774"/>
                  <a:gd name="connsiteY5" fmla="*/ 2990850 h 4639174"/>
                  <a:gd name="connsiteX6" fmla="*/ 3901490 w 6581774"/>
                  <a:gd name="connsiteY6" fmla="*/ 3551321 h 4639174"/>
                  <a:gd name="connsiteX7" fmla="*/ 3824287 w 6581774"/>
                  <a:gd name="connsiteY7" fmla="*/ 2876550 h 4639174"/>
                  <a:gd name="connsiteX8" fmla="*/ 4443412 w 6581774"/>
                  <a:gd name="connsiteY8" fmla="*/ 2362200 h 4639174"/>
                  <a:gd name="connsiteX9" fmla="*/ 4087478 w 6581774"/>
                  <a:gd name="connsiteY9" fmla="*/ 3628524 h 4639174"/>
                  <a:gd name="connsiteX10" fmla="*/ 4055394 w 6581774"/>
                  <a:gd name="connsiteY10" fmla="*/ 4639174 h 4639174"/>
                  <a:gd name="connsiteX11" fmla="*/ 4957762 w 6581774"/>
                  <a:gd name="connsiteY11" fmla="*/ 2705100 h 4639174"/>
                  <a:gd name="connsiteX12" fmla="*/ 5872162 w 6581774"/>
                  <a:gd name="connsiteY12" fmla="*/ 2533650 h 4639174"/>
                  <a:gd name="connsiteX13" fmla="*/ 6443662 w 6581774"/>
                  <a:gd name="connsiteY13" fmla="*/ 2219325 h 4639174"/>
                  <a:gd name="connsiteX14" fmla="*/ 6472237 w 6581774"/>
                  <a:gd name="connsiteY14" fmla="*/ 1733550 h 4639174"/>
                  <a:gd name="connsiteX15" fmla="*/ 6272212 w 6581774"/>
                  <a:gd name="connsiteY15" fmla="*/ 1333500 h 4639174"/>
                  <a:gd name="connsiteX16" fmla="*/ 4614862 w 6581774"/>
                  <a:gd name="connsiteY16" fmla="*/ 1047750 h 4639174"/>
                  <a:gd name="connsiteX17" fmla="*/ 3529012 w 6581774"/>
                  <a:gd name="connsiteY17" fmla="*/ 104775 h 4639174"/>
                  <a:gd name="connsiteX18" fmla="*/ 3128962 w 6581774"/>
                  <a:gd name="connsiteY18" fmla="*/ 419100 h 4639174"/>
                  <a:gd name="connsiteX19" fmla="*/ 2586037 w 6581774"/>
                  <a:gd name="connsiteY19" fmla="*/ 2247900 h 4639174"/>
                  <a:gd name="connsiteX20" fmla="*/ 957262 w 6581774"/>
                  <a:gd name="connsiteY20" fmla="*/ 2619375 h 4639174"/>
                  <a:gd name="connsiteX21" fmla="*/ 100012 w 6581774"/>
                  <a:gd name="connsiteY21" fmla="*/ 3105150 h 4639174"/>
                  <a:gd name="connsiteX0" fmla="*/ 100012 w 6581774"/>
                  <a:gd name="connsiteY0" fmla="*/ 3105150 h 4639174"/>
                  <a:gd name="connsiteX1" fmla="*/ 357187 w 6581774"/>
                  <a:gd name="connsiteY1" fmla="*/ 3905250 h 4639174"/>
                  <a:gd name="connsiteX2" fmla="*/ 728662 w 6581774"/>
                  <a:gd name="connsiteY2" fmla="*/ 3562350 h 4639174"/>
                  <a:gd name="connsiteX3" fmla="*/ 1357312 w 6581774"/>
                  <a:gd name="connsiteY3" fmla="*/ 3305175 h 4639174"/>
                  <a:gd name="connsiteX4" fmla="*/ 2500312 w 6581774"/>
                  <a:gd name="connsiteY4" fmla="*/ 3190875 h 4639174"/>
                  <a:gd name="connsiteX5" fmla="*/ 3357562 w 6581774"/>
                  <a:gd name="connsiteY5" fmla="*/ 2990850 h 4639174"/>
                  <a:gd name="connsiteX6" fmla="*/ 3901490 w 6581774"/>
                  <a:gd name="connsiteY6" fmla="*/ 3551321 h 4639174"/>
                  <a:gd name="connsiteX7" fmla="*/ 3824287 w 6581774"/>
                  <a:gd name="connsiteY7" fmla="*/ 2876550 h 4639174"/>
                  <a:gd name="connsiteX8" fmla="*/ 4443412 w 6581774"/>
                  <a:gd name="connsiteY8" fmla="*/ 2362200 h 4639174"/>
                  <a:gd name="connsiteX9" fmla="*/ 4087478 w 6581774"/>
                  <a:gd name="connsiteY9" fmla="*/ 3628524 h 4639174"/>
                  <a:gd name="connsiteX10" fmla="*/ 4055394 w 6581774"/>
                  <a:gd name="connsiteY10" fmla="*/ 4639174 h 4639174"/>
                  <a:gd name="connsiteX11" fmla="*/ 4957762 w 6581774"/>
                  <a:gd name="connsiteY11" fmla="*/ 2705100 h 4639174"/>
                  <a:gd name="connsiteX12" fmla="*/ 5872162 w 6581774"/>
                  <a:gd name="connsiteY12" fmla="*/ 2533650 h 4639174"/>
                  <a:gd name="connsiteX13" fmla="*/ 6443662 w 6581774"/>
                  <a:gd name="connsiteY13" fmla="*/ 2219325 h 4639174"/>
                  <a:gd name="connsiteX14" fmla="*/ 6472237 w 6581774"/>
                  <a:gd name="connsiteY14" fmla="*/ 1733550 h 4639174"/>
                  <a:gd name="connsiteX15" fmla="*/ 6272212 w 6581774"/>
                  <a:gd name="connsiteY15" fmla="*/ 1333500 h 4639174"/>
                  <a:gd name="connsiteX16" fmla="*/ 4614862 w 6581774"/>
                  <a:gd name="connsiteY16" fmla="*/ 1047750 h 4639174"/>
                  <a:gd name="connsiteX17" fmla="*/ 3529012 w 6581774"/>
                  <a:gd name="connsiteY17" fmla="*/ 104775 h 4639174"/>
                  <a:gd name="connsiteX18" fmla="*/ 3128962 w 6581774"/>
                  <a:gd name="connsiteY18" fmla="*/ 419100 h 4639174"/>
                  <a:gd name="connsiteX19" fmla="*/ 2586037 w 6581774"/>
                  <a:gd name="connsiteY19" fmla="*/ 2247900 h 4639174"/>
                  <a:gd name="connsiteX20" fmla="*/ 957262 w 6581774"/>
                  <a:gd name="connsiteY20" fmla="*/ 2619375 h 4639174"/>
                  <a:gd name="connsiteX21" fmla="*/ 100012 w 6581774"/>
                  <a:gd name="connsiteY21" fmla="*/ 3105150 h 4639174"/>
                  <a:gd name="connsiteX0" fmla="*/ 100012 w 6581774"/>
                  <a:gd name="connsiteY0" fmla="*/ 3105150 h 4639174"/>
                  <a:gd name="connsiteX1" fmla="*/ 357187 w 6581774"/>
                  <a:gd name="connsiteY1" fmla="*/ 3905250 h 4639174"/>
                  <a:gd name="connsiteX2" fmla="*/ 728662 w 6581774"/>
                  <a:gd name="connsiteY2" fmla="*/ 3562350 h 4639174"/>
                  <a:gd name="connsiteX3" fmla="*/ 1357312 w 6581774"/>
                  <a:gd name="connsiteY3" fmla="*/ 3305175 h 4639174"/>
                  <a:gd name="connsiteX4" fmla="*/ 2500312 w 6581774"/>
                  <a:gd name="connsiteY4" fmla="*/ 3190875 h 4639174"/>
                  <a:gd name="connsiteX5" fmla="*/ 3357562 w 6581774"/>
                  <a:gd name="connsiteY5" fmla="*/ 2990850 h 4639174"/>
                  <a:gd name="connsiteX6" fmla="*/ 3901490 w 6581774"/>
                  <a:gd name="connsiteY6" fmla="*/ 3551321 h 4639174"/>
                  <a:gd name="connsiteX7" fmla="*/ 3904497 w 6581774"/>
                  <a:gd name="connsiteY7" fmla="*/ 2684044 h 4639174"/>
                  <a:gd name="connsiteX8" fmla="*/ 4443412 w 6581774"/>
                  <a:gd name="connsiteY8" fmla="*/ 2362200 h 4639174"/>
                  <a:gd name="connsiteX9" fmla="*/ 4087478 w 6581774"/>
                  <a:gd name="connsiteY9" fmla="*/ 3628524 h 4639174"/>
                  <a:gd name="connsiteX10" fmla="*/ 4055394 w 6581774"/>
                  <a:gd name="connsiteY10" fmla="*/ 4639174 h 4639174"/>
                  <a:gd name="connsiteX11" fmla="*/ 4957762 w 6581774"/>
                  <a:gd name="connsiteY11" fmla="*/ 2705100 h 4639174"/>
                  <a:gd name="connsiteX12" fmla="*/ 5872162 w 6581774"/>
                  <a:gd name="connsiteY12" fmla="*/ 2533650 h 4639174"/>
                  <a:gd name="connsiteX13" fmla="*/ 6443662 w 6581774"/>
                  <a:gd name="connsiteY13" fmla="*/ 2219325 h 4639174"/>
                  <a:gd name="connsiteX14" fmla="*/ 6472237 w 6581774"/>
                  <a:gd name="connsiteY14" fmla="*/ 1733550 h 4639174"/>
                  <a:gd name="connsiteX15" fmla="*/ 6272212 w 6581774"/>
                  <a:gd name="connsiteY15" fmla="*/ 1333500 h 4639174"/>
                  <a:gd name="connsiteX16" fmla="*/ 4614862 w 6581774"/>
                  <a:gd name="connsiteY16" fmla="*/ 1047750 h 4639174"/>
                  <a:gd name="connsiteX17" fmla="*/ 3529012 w 6581774"/>
                  <a:gd name="connsiteY17" fmla="*/ 104775 h 4639174"/>
                  <a:gd name="connsiteX18" fmla="*/ 3128962 w 6581774"/>
                  <a:gd name="connsiteY18" fmla="*/ 419100 h 4639174"/>
                  <a:gd name="connsiteX19" fmla="*/ 2586037 w 6581774"/>
                  <a:gd name="connsiteY19" fmla="*/ 2247900 h 4639174"/>
                  <a:gd name="connsiteX20" fmla="*/ 957262 w 6581774"/>
                  <a:gd name="connsiteY20" fmla="*/ 2619375 h 4639174"/>
                  <a:gd name="connsiteX21" fmla="*/ 100012 w 6581774"/>
                  <a:gd name="connsiteY21" fmla="*/ 3105150 h 4639174"/>
                  <a:gd name="connsiteX0" fmla="*/ 100012 w 6581774"/>
                  <a:gd name="connsiteY0" fmla="*/ 3105150 h 3981450"/>
                  <a:gd name="connsiteX1" fmla="*/ 357187 w 6581774"/>
                  <a:gd name="connsiteY1" fmla="*/ 3905250 h 3981450"/>
                  <a:gd name="connsiteX2" fmla="*/ 728662 w 6581774"/>
                  <a:gd name="connsiteY2" fmla="*/ 3562350 h 3981450"/>
                  <a:gd name="connsiteX3" fmla="*/ 1357312 w 6581774"/>
                  <a:gd name="connsiteY3" fmla="*/ 3305175 h 3981450"/>
                  <a:gd name="connsiteX4" fmla="*/ 2500312 w 6581774"/>
                  <a:gd name="connsiteY4" fmla="*/ 3190875 h 3981450"/>
                  <a:gd name="connsiteX5" fmla="*/ 3357562 w 6581774"/>
                  <a:gd name="connsiteY5" fmla="*/ 2990850 h 3981450"/>
                  <a:gd name="connsiteX6" fmla="*/ 3901490 w 6581774"/>
                  <a:gd name="connsiteY6" fmla="*/ 3551321 h 3981450"/>
                  <a:gd name="connsiteX7" fmla="*/ 3904497 w 6581774"/>
                  <a:gd name="connsiteY7" fmla="*/ 2684044 h 3981450"/>
                  <a:gd name="connsiteX8" fmla="*/ 4443412 w 6581774"/>
                  <a:gd name="connsiteY8" fmla="*/ 2362200 h 3981450"/>
                  <a:gd name="connsiteX9" fmla="*/ 4087478 w 6581774"/>
                  <a:gd name="connsiteY9" fmla="*/ 3628524 h 3981450"/>
                  <a:gd name="connsiteX10" fmla="*/ 4957762 w 6581774"/>
                  <a:gd name="connsiteY10" fmla="*/ 2705100 h 3981450"/>
                  <a:gd name="connsiteX11" fmla="*/ 5872162 w 6581774"/>
                  <a:gd name="connsiteY11" fmla="*/ 2533650 h 3981450"/>
                  <a:gd name="connsiteX12" fmla="*/ 6443662 w 6581774"/>
                  <a:gd name="connsiteY12" fmla="*/ 2219325 h 3981450"/>
                  <a:gd name="connsiteX13" fmla="*/ 6472237 w 6581774"/>
                  <a:gd name="connsiteY13" fmla="*/ 1733550 h 3981450"/>
                  <a:gd name="connsiteX14" fmla="*/ 6272212 w 6581774"/>
                  <a:gd name="connsiteY14" fmla="*/ 1333500 h 3981450"/>
                  <a:gd name="connsiteX15" fmla="*/ 4614862 w 6581774"/>
                  <a:gd name="connsiteY15" fmla="*/ 1047750 h 3981450"/>
                  <a:gd name="connsiteX16" fmla="*/ 3529012 w 6581774"/>
                  <a:gd name="connsiteY16" fmla="*/ 104775 h 3981450"/>
                  <a:gd name="connsiteX17" fmla="*/ 3128962 w 6581774"/>
                  <a:gd name="connsiteY17" fmla="*/ 419100 h 3981450"/>
                  <a:gd name="connsiteX18" fmla="*/ 2586037 w 6581774"/>
                  <a:gd name="connsiteY18" fmla="*/ 2247900 h 3981450"/>
                  <a:gd name="connsiteX19" fmla="*/ 957262 w 6581774"/>
                  <a:gd name="connsiteY19" fmla="*/ 2619375 h 3981450"/>
                  <a:gd name="connsiteX20" fmla="*/ 100012 w 6581774"/>
                  <a:gd name="connsiteY20" fmla="*/ 3105150 h 3981450"/>
                  <a:gd name="connsiteX0" fmla="*/ 100012 w 6581774"/>
                  <a:gd name="connsiteY0" fmla="*/ 3105150 h 3981450"/>
                  <a:gd name="connsiteX1" fmla="*/ 357187 w 6581774"/>
                  <a:gd name="connsiteY1" fmla="*/ 3905250 h 3981450"/>
                  <a:gd name="connsiteX2" fmla="*/ 728662 w 6581774"/>
                  <a:gd name="connsiteY2" fmla="*/ 3562350 h 3981450"/>
                  <a:gd name="connsiteX3" fmla="*/ 1357312 w 6581774"/>
                  <a:gd name="connsiteY3" fmla="*/ 3305175 h 3981450"/>
                  <a:gd name="connsiteX4" fmla="*/ 2500312 w 6581774"/>
                  <a:gd name="connsiteY4" fmla="*/ 3190875 h 3981450"/>
                  <a:gd name="connsiteX5" fmla="*/ 3357562 w 6581774"/>
                  <a:gd name="connsiteY5" fmla="*/ 2990850 h 3981450"/>
                  <a:gd name="connsiteX6" fmla="*/ 3901490 w 6581774"/>
                  <a:gd name="connsiteY6" fmla="*/ 3551321 h 3981450"/>
                  <a:gd name="connsiteX7" fmla="*/ 3904497 w 6581774"/>
                  <a:gd name="connsiteY7" fmla="*/ 2684044 h 3981450"/>
                  <a:gd name="connsiteX8" fmla="*/ 4443412 w 6581774"/>
                  <a:gd name="connsiteY8" fmla="*/ 2362200 h 3981450"/>
                  <a:gd name="connsiteX9" fmla="*/ 4957762 w 6581774"/>
                  <a:gd name="connsiteY9" fmla="*/ 2705100 h 3981450"/>
                  <a:gd name="connsiteX10" fmla="*/ 5872162 w 6581774"/>
                  <a:gd name="connsiteY10" fmla="*/ 2533650 h 3981450"/>
                  <a:gd name="connsiteX11" fmla="*/ 6443662 w 6581774"/>
                  <a:gd name="connsiteY11" fmla="*/ 2219325 h 3981450"/>
                  <a:gd name="connsiteX12" fmla="*/ 6472237 w 6581774"/>
                  <a:gd name="connsiteY12" fmla="*/ 1733550 h 3981450"/>
                  <a:gd name="connsiteX13" fmla="*/ 6272212 w 6581774"/>
                  <a:gd name="connsiteY13" fmla="*/ 1333500 h 3981450"/>
                  <a:gd name="connsiteX14" fmla="*/ 4614862 w 6581774"/>
                  <a:gd name="connsiteY14" fmla="*/ 1047750 h 3981450"/>
                  <a:gd name="connsiteX15" fmla="*/ 3529012 w 6581774"/>
                  <a:gd name="connsiteY15" fmla="*/ 104775 h 3981450"/>
                  <a:gd name="connsiteX16" fmla="*/ 3128962 w 6581774"/>
                  <a:gd name="connsiteY16" fmla="*/ 419100 h 3981450"/>
                  <a:gd name="connsiteX17" fmla="*/ 2586037 w 6581774"/>
                  <a:gd name="connsiteY17" fmla="*/ 2247900 h 3981450"/>
                  <a:gd name="connsiteX18" fmla="*/ 957262 w 6581774"/>
                  <a:gd name="connsiteY18" fmla="*/ 2619375 h 3981450"/>
                  <a:gd name="connsiteX19" fmla="*/ 100012 w 6581774"/>
                  <a:gd name="connsiteY19" fmla="*/ 3105150 h 3981450"/>
                  <a:gd name="connsiteX0" fmla="*/ 100012 w 6581774"/>
                  <a:gd name="connsiteY0" fmla="*/ 3105150 h 3981450"/>
                  <a:gd name="connsiteX1" fmla="*/ 357187 w 6581774"/>
                  <a:gd name="connsiteY1" fmla="*/ 3905250 h 3981450"/>
                  <a:gd name="connsiteX2" fmla="*/ 728662 w 6581774"/>
                  <a:gd name="connsiteY2" fmla="*/ 3562350 h 3981450"/>
                  <a:gd name="connsiteX3" fmla="*/ 1357312 w 6581774"/>
                  <a:gd name="connsiteY3" fmla="*/ 3305175 h 3981450"/>
                  <a:gd name="connsiteX4" fmla="*/ 2500312 w 6581774"/>
                  <a:gd name="connsiteY4" fmla="*/ 3190875 h 3981450"/>
                  <a:gd name="connsiteX5" fmla="*/ 3357562 w 6581774"/>
                  <a:gd name="connsiteY5" fmla="*/ 2990850 h 3981450"/>
                  <a:gd name="connsiteX6" fmla="*/ 3901490 w 6581774"/>
                  <a:gd name="connsiteY6" fmla="*/ 3551321 h 3981450"/>
                  <a:gd name="connsiteX7" fmla="*/ 3904497 w 6581774"/>
                  <a:gd name="connsiteY7" fmla="*/ 2684044 h 3981450"/>
                  <a:gd name="connsiteX8" fmla="*/ 4443412 w 6581774"/>
                  <a:gd name="connsiteY8" fmla="*/ 2362200 h 3981450"/>
                  <a:gd name="connsiteX9" fmla="*/ 4957762 w 6581774"/>
                  <a:gd name="connsiteY9" fmla="*/ 2705100 h 3981450"/>
                  <a:gd name="connsiteX10" fmla="*/ 5872162 w 6581774"/>
                  <a:gd name="connsiteY10" fmla="*/ 2533650 h 3981450"/>
                  <a:gd name="connsiteX11" fmla="*/ 6237098 w 6581774"/>
                  <a:gd name="connsiteY11" fmla="*/ 2278691 h 3981450"/>
                  <a:gd name="connsiteX12" fmla="*/ 6472237 w 6581774"/>
                  <a:gd name="connsiteY12" fmla="*/ 1733550 h 3981450"/>
                  <a:gd name="connsiteX13" fmla="*/ 6272212 w 6581774"/>
                  <a:gd name="connsiteY13" fmla="*/ 1333500 h 3981450"/>
                  <a:gd name="connsiteX14" fmla="*/ 4614862 w 6581774"/>
                  <a:gd name="connsiteY14" fmla="*/ 1047750 h 3981450"/>
                  <a:gd name="connsiteX15" fmla="*/ 3529012 w 6581774"/>
                  <a:gd name="connsiteY15" fmla="*/ 104775 h 3981450"/>
                  <a:gd name="connsiteX16" fmla="*/ 3128962 w 6581774"/>
                  <a:gd name="connsiteY16" fmla="*/ 419100 h 3981450"/>
                  <a:gd name="connsiteX17" fmla="*/ 2586037 w 6581774"/>
                  <a:gd name="connsiteY17" fmla="*/ 2247900 h 3981450"/>
                  <a:gd name="connsiteX18" fmla="*/ 957262 w 6581774"/>
                  <a:gd name="connsiteY18" fmla="*/ 2619375 h 3981450"/>
                  <a:gd name="connsiteX19" fmla="*/ 100012 w 6581774"/>
                  <a:gd name="connsiteY19" fmla="*/ 3105150 h 3981450"/>
                  <a:gd name="connsiteX0" fmla="*/ 100012 w 6506547"/>
                  <a:gd name="connsiteY0" fmla="*/ 3105150 h 3981450"/>
                  <a:gd name="connsiteX1" fmla="*/ 357187 w 6506547"/>
                  <a:gd name="connsiteY1" fmla="*/ 3905250 h 3981450"/>
                  <a:gd name="connsiteX2" fmla="*/ 728662 w 6506547"/>
                  <a:gd name="connsiteY2" fmla="*/ 3562350 h 3981450"/>
                  <a:gd name="connsiteX3" fmla="*/ 1357312 w 6506547"/>
                  <a:gd name="connsiteY3" fmla="*/ 3305175 h 3981450"/>
                  <a:gd name="connsiteX4" fmla="*/ 2500312 w 6506547"/>
                  <a:gd name="connsiteY4" fmla="*/ 3190875 h 3981450"/>
                  <a:gd name="connsiteX5" fmla="*/ 3357562 w 6506547"/>
                  <a:gd name="connsiteY5" fmla="*/ 2990850 h 3981450"/>
                  <a:gd name="connsiteX6" fmla="*/ 3901490 w 6506547"/>
                  <a:gd name="connsiteY6" fmla="*/ 3551321 h 3981450"/>
                  <a:gd name="connsiteX7" fmla="*/ 3904497 w 6506547"/>
                  <a:gd name="connsiteY7" fmla="*/ 2684044 h 3981450"/>
                  <a:gd name="connsiteX8" fmla="*/ 4443412 w 6506547"/>
                  <a:gd name="connsiteY8" fmla="*/ 2362200 h 3981450"/>
                  <a:gd name="connsiteX9" fmla="*/ 4957762 w 6506547"/>
                  <a:gd name="connsiteY9" fmla="*/ 2705100 h 3981450"/>
                  <a:gd name="connsiteX10" fmla="*/ 5872162 w 6506547"/>
                  <a:gd name="connsiteY10" fmla="*/ 2533650 h 3981450"/>
                  <a:gd name="connsiteX11" fmla="*/ 6237098 w 6506547"/>
                  <a:gd name="connsiteY11" fmla="*/ 2278691 h 3981450"/>
                  <a:gd name="connsiteX12" fmla="*/ 6472237 w 6506547"/>
                  <a:gd name="connsiteY12" fmla="*/ 1733550 h 3981450"/>
                  <a:gd name="connsiteX13" fmla="*/ 6031236 w 6506547"/>
                  <a:gd name="connsiteY13" fmla="*/ 1367320 h 3981450"/>
                  <a:gd name="connsiteX14" fmla="*/ 4614862 w 6506547"/>
                  <a:gd name="connsiteY14" fmla="*/ 1047750 h 3981450"/>
                  <a:gd name="connsiteX15" fmla="*/ 3529012 w 6506547"/>
                  <a:gd name="connsiteY15" fmla="*/ 104775 h 3981450"/>
                  <a:gd name="connsiteX16" fmla="*/ 3128962 w 6506547"/>
                  <a:gd name="connsiteY16" fmla="*/ 419100 h 3981450"/>
                  <a:gd name="connsiteX17" fmla="*/ 2586037 w 6506547"/>
                  <a:gd name="connsiteY17" fmla="*/ 2247900 h 3981450"/>
                  <a:gd name="connsiteX18" fmla="*/ 957262 w 6506547"/>
                  <a:gd name="connsiteY18" fmla="*/ 2619375 h 3981450"/>
                  <a:gd name="connsiteX19" fmla="*/ 100012 w 6506547"/>
                  <a:gd name="connsiteY19" fmla="*/ 3105150 h 3981450"/>
                  <a:gd name="connsiteX0" fmla="*/ 100012 w 6355938"/>
                  <a:gd name="connsiteY0" fmla="*/ 3105150 h 3981450"/>
                  <a:gd name="connsiteX1" fmla="*/ 357187 w 6355938"/>
                  <a:gd name="connsiteY1" fmla="*/ 3905250 h 3981450"/>
                  <a:gd name="connsiteX2" fmla="*/ 728662 w 6355938"/>
                  <a:gd name="connsiteY2" fmla="*/ 3562350 h 3981450"/>
                  <a:gd name="connsiteX3" fmla="*/ 1357312 w 6355938"/>
                  <a:gd name="connsiteY3" fmla="*/ 3305175 h 3981450"/>
                  <a:gd name="connsiteX4" fmla="*/ 2500312 w 6355938"/>
                  <a:gd name="connsiteY4" fmla="*/ 3190875 h 3981450"/>
                  <a:gd name="connsiteX5" fmla="*/ 3357562 w 6355938"/>
                  <a:gd name="connsiteY5" fmla="*/ 2990850 h 3981450"/>
                  <a:gd name="connsiteX6" fmla="*/ 3901490 w 6355938"/>
                  <a:gd name="connsiteY6" fmla="*/ 3551321 h 3981450"/>
                  <a:gd name="connsiteX7" fmla="*/ 3904497 w 6355938"/>
                  <a:gd name="connsiteY7" fmla="*/ 2684044 h 3981450"/>
                  <a:gd name="connsiteX8" fmla="*/ 4443412 w 6355938"/>
                  <a:gd name="connsiteY8" fmla="*/ 2362200 h 3981450"/>
                  <a:gd name="connsiteX9" fmla="*/ 4957762 w 6355938"/>
                  <a:gd name="connsiteY9" fmla="*/ 2705100 h 3981450"/>
                  <a:gd name="connsiteX10" fmla="*/ 5872162 w 6355938"/>
                  <a:gd name="connsiteY10" fmla="*/ 2533650 h 3981450"/>
                  <a:gd name="connsiteX11" fmla="*/ 6237098 w 6355938"/>
                  <a:gd name="connsiteY11" fmla="*/ 2278691 h 3981450"/>
                  <a:gd name="connsiteX12" fmla="*/ 6321632 w 6355938"/>
                  <a:gd name="connsiteY12" fmla="*/ 1754686 h 3981450"/>
                  <a:gd name="connsiteX13" fmla="*/ 6031236 w 6355938"/>
                  <a:gd name="connsiteY13" fmla="*/ 1367320 h 3981450"/>
                  <a:gd name="connsiteX14" fmla="*/ 4614862 w 6355938"/>
                  <a:gd name="connsiteY14" fmla="*/ 1047750 h 3981450"/>
                  <a:gd name="connsiteX15" fmla="*/ 3529012 w 6355938"/>
                  <a:gd name="connsiteY15" fmla="*/ 104775 h 3981450"/>
                  <a:gd name="connsiteX16" fmla="*/ 3128962 w 6355938"/>
                  <a:gd name="connsiteY16" fmla="*/ 419100 h 3981450"/>
                  <a:gd name="connsiteX17" fmla="*/ 2586037 w 6355938"/>
                  <a:gd name="connsiteY17" fmla="*/ 2247900 h 3981450"/>
                  <a:gd name="connsiteX18" fmla="*/ 957262 w 6355938"/>
                  <a:gd name="connsiteY18" fmla="*/ 2619375 h 3981450"/>
                  <a:gd name="connsiteX19" fmla="*/ 100012 w 6355938"/>
                  <a:gd name="connsiteY19" fmla="*/ 3105150 h 398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355938" h="3981450">
                    <a:moveTo>
                      <a:pt x="100012" y="3105150"/>
                    </a:moveTo>
                    <a:cubicBezTo>
                      <a:pt x="0" y="3319463"/>
                      <a:pt x="252412" y="3829050"/>
                      <a:pt x="357187" y="3905250"/>
                    </a:cubicBezTo>
                    <a:cubicBezTo>
                      <a:pt x="461962" y="3981450"/>
                      <a:pt x="561975" y="3662362"/>
                      <a:pt x="728662" y="3562350"/>
                    </a:cubicBezTo>
                    <a:cubicBezTo>
                      <a:pt x="895349" y="3462338"/>
                      <a:pt x="1062037" y="3367087"/>
                      <a:pt x="1357312" y="3305175"/>
                    </a:cubicBezTo>
                    <a:cubicBezTo>
                      <a:pt x="1652587" y="3243263"/>
                      <a:pt x="2166937" y="3243263"/>
                      <a:pt x="2500312" y="3190875"/>
                    </a:cubicBezTo>
                    <a:cubicBezTo>
                      <a:pt x="2833687" y="3138488"/>
                      <a:pt x="3124032" y="2930776"/>
                      <a:pt x="3357562" y="2990850"/>
                    </a:cubicBezTo>
                    <a:cubicBezTo>
                      <a:pt x="3591092" y="3050924"/>
                      <a:pt x="3743492" y="3201403"/>
                      <a:pt x="3901490" y="3551321"/>
                    </a:cubicBezTo>
                    <a:cubicBezTo>
                      <a:pt x="3979277" y="3532271"/>
                      <a:pt x="3814177" y="2882231"/>
                      <a:pt x="3904497" y="2684044"/>
                    </a:cubicBezTo>
                    <a:cubicBezTo>
                      <a:pt x="3994817" y="2485857"/>
                      <a:pt x="4267868" y="2358691"/>
                      <a:pt x="4443412" y="2362200"/>
                    </a:cubicBezTo>
                    <a:cubicBezTo>
                      <a:pt x="4618956" y="2365709"/>
                      <a:pt x="4719637" y="2676525"/>
                      <a:pt x="4957762" y="2705100"/>
                    </a:cubicBezTo>
                    <a:cubicBezTo>
                      <a:pt x="5195887" y="2733675"/>
                      <a:pt x="5658939" y="2604718"/>
                      <a:pt x="5872162" y="2533650"/>
                    </a:cubicBezTo>
                    <a:cubicBezTo>
                      <a:pt x="6085385" y="2462582"/>
                      <a:pt x="6162186" y="2408518"/>
                      <a:pt x="6237098" y="2278691"/>
                    </a:cubicBezTo>
                    <a:cubicBezTo>
                      <a:pt x="6312010" y="2148864"/>
                      <a:pt x="6355942" y="1906581"/>
                      <a:pt x="6321632" y="1754686"/>
                    </a:cubicBezTo>
                    <a:cubicBezTo>
                      <a:pt x="6287322" y="1602791"/>
                      <a:pt x="6315698" y="1485143"/>
                      <a:pt x="6031236" y="1367320"/>
                    </a:cubicBezTo>
                    <a:cubicBezTo>
                      <a:pt x="5746774" y="1249497"/>
                      <a:pt x="5031899" y="1258174"/>
                      <a:pt x="4614862" y="1047750"/>
                    </a:cubicBezTo>
                    <a:cubicBezTo>
                      <a:pt x="4197825" y="837326"/>
                      <a:pt x="3776662" y="209550"/>
                      <a:pt x="3529012" y="104775"/>
                    </a:cubicBezTo>
                    <a:cubicBezTo>
                      <a:pt x="3281362" y="0"/>
                      <a:pt x="3286124" y="61913"/>
                      <a:pt x="3128962" y="419100"/>
                    </a:cubicBezTo>
                    <a:cubicBezTo>
                      <a:pt x="2971800" y="776287"/>
                      <a:pt x="2947987" y="1881188"/>
                      <a:pt x="2586037" y="2247900"/>
                    </a:cubicBezTo>
                    <a:cubicBezTo>
                      <a:pt x="2224087" y="2614612"/>
                      <a:pt x="1366837" y="2476500"/>
                      <a:pt x="957262" y="2619375"/>
                    </a:cubicBezTo>
                    <a:cubicBezTo>
                      <a:pt x="547687" y="2762250"/>
                      <a:pt x="200025" y="2890838"/>
                      <a:pt x="100012" y="310515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84" name="Freeform 283"/>
              <p:cNvSpPr/>
              <p:nvPr/>
            </p:nvSpPr>
            <p:spPr>
              <a:xfrm rot="21114987" flipH="1">
                <a:off x="6465549" y="2459354"/>
                <a:ext cx="1155091" cy="1543372"/>
              </a:xfrm>
              <a:custGeom>
                <a:avLst/>
                <a:gdLst>
                  <a:gd name="connsiteX0" fmla="*/ 4987637 w 9874318"/>
                  <a:gd name="connsiteY0" fmla="*/ 41563 h 12988636"/>
                  <a:gd name="connsiteX1" fmla="*/ 6795655 w 9874318"/>
                  <a:gd name="connsiteY1" fmla="*/ 436418 h 12988636"/>
                  <a:gd name="connsiteX2" fmla="*/ 7502237 w 9874318"/>
                  <a:gd name="connsiteY2" fmla="*/ 727363 h 12988636"/>
                  <a:gd name="connsiteX3" fmla="*/ 7148946 w 9874318"/>
                  <a:gd name="connsiteY3" fmla="*/ 1766454 h 12988636"/>
                  <a:gd name="connsiteX4" fmla="*/ 6754091 w 9874318"/>
                  <a:gd name="connsiteY4" fmla="*/ 3366654 h 12988636"/>
                  <a:gd name="connsiteX5" fmla="*/ 7523018 w 9874318"/>
                  <a:gd name="connsiteY5" fmla="*/ 6380018 h 12988636"/>
                  <a:gd name="connsiteX6" fmla="*/ 7938655 w 9874318"/>
                  <a:gd name="connsiteY6" fmla="*/ 7419109 h 12988636"/>
                  <a:gd name="connsiteX7" fmla="*/ 8458200 w 9874318"/>
                  <a:gd name="connsiteY7" fmla="*/ 8021782 h 12988636"/>
                  <a:gd name="connsiteX8" fmla="*/ 8395855 w 9874318"/>
                  <a:gd name="connsiteY8" fmla="*/ 8146473 h 12988636"/>
                  <a:gd name="connsiteX9" fmla="*/ 9102437 w 9874318"/>
                  <a:gd name="connsiteY9" fmla="*/ 9621982 h 12988636"/>
                  <a:gd name="connsiteX10" fmla="*/ 9164782 w 9874318"/>
                  <a:gd name="connsiteY10" fmla="*/ 9684327 h 12988636"/>
                  <a:gd name="connsiteX11" fmla="*/ 9871364 w 9874318"/>
                  <a:gd name="connsiteY11" fmla="*/ 11139054 h 12988636"/>
                  <a:gd name="connsiteX12" fmla="*/ 9850582 w 9874318"/>
                  <a:gd name="connsiteY12" fmla="*/ 11139054 h 12988636"/>
                  <a:gd name="connsiteX13" fmla="*/ 7917873 w 9874318"/>
                  <a:gd name="connsiteY13" fmla="*/ 12157363 h 12988636"/>
                  <a:gd name="connsiteX14" fmla="*/ 7294418 w 9874318"/>
                  <a:gd name="connsiteY14" fmla="*/ 12178145 h 12988636"/>
                  <a:gd name="connsiteX15" fmla="*/ 6380018 w 9874318"/>
                  <a:gd name="connsiteY15" fmla="*/ 11159836 h 12988636"/>
                  <a:gd name="connsiteX16" fmla="*/ 5943600 w 9874318"/>
                  <a:gd name="connsiteY16" fmla="*/ 9975273 h 12988636"/>
                  <a:gd name="connsiteX17" fmla="*/ 5964382 w 9874318"/>
                  <a:gd name="connsiteY17" fmla="*/ 11263745 h 12988636"/>
                  <a:gd name="connsiteX18" fmla="*/ 5590309 w 9874318"/>
                  <a:gd name="connsiteY18" fmla="*/ 12344400 h 12988636"/>
                  <a:gd name="connsiteX19" fmla="*/ 4987637 w 9874318"/>
                  <a:gd name="connsiteY19" fmla="*/ 12780818 h 12988636"/>
                  <a:gd name="connsiteX20" fmla="*/ 3013364 w 9874318"/>
                  <a:gd name="connsiteY20" fmla="*/ 12988636 h 12988636"/>
                  <a:gd name="connsiteX21" fmla="*/ 1496291 w 9874318"/>
                  <a:gd name="connsiteY21" fmla="*/ 12863945 h 12988636"/>
                  <a:gd name="connsiteX22" fmla="*/ 1745673 w 9874318"/>
                  <a:gd name="connsiteY22" fmla="*/ 11014363 h 12988636"/>
                  <a:gd name="connsiteX23" fmla="*/ 1891146 w 9874318"/>
                  <a:gd name="connsiteY23" fmla="*/ 9393382 h 12988636"/>
                  <a:gd name="connsiteX24" fmla="*/ 1724891 w 9874318"/>
                  <a:gd name="connsiteY24" fmla="*/ 9289473 h 12988636"/>
                  <a:gd name="connsiteX25" fmla="*/ 1911928 w 9874318"/>
                  <a:gd name="connsiteY25" fmla="*/ 8562109 h 12988636"/>
                  <a:gd name="connsiteX26" fmla="*/ 1766455 w 9874318"/>
                  <a:gd name="connsiteY26" fmla="*/ 6629400 h 12988636"/>
                  <a:gd name="connsiteX27" fmla="*/ 0 w 9874318"/>
                  <a:gd name="connsiteY27" fmla="*/ 1330036 h 12988636"/>
                  <a:gd name="connsiteX28" fmla="*/ 477982 w 9874318"/>
                  <a:gd name="connsiteY28" fmla="*/ 1226127 h 12988636"/>
                  <a:gd name="connsiteX29" fmla="*/ 2119746 w 9874318"/>
                  <a:gd name="connsiteY29" fmla="*/ 332509 h 12988636"/>
                  <a:gd name="connsiteX30" fmla="*/ 3408218 w 9874318"/>
                  <a:gd name="connsiteY30" fmla="*/ 2078182 h 12988636"/>
                  <a:gd name="connsiteX31" fmla="*/ 4530437 w 9874318"/>
                  <a:gd name="connsiteY31" fmla="*/ 3283527 h 12988636"/>
                  <a:gd name="connsiteX32" fmla="*/ 5112328 w 9874318"/>
                  <a:gd name="connsiteY32" fmla="*/ 976745 h 12988636"/>
                  <a:gd name="connsiteX33" fmla="*/ 5049982 w 9874318"/>
                  <a:gd name="connsiteY33" fmla="*/ 0 h 12988636"/>
                  <a:gd name="connsiteX34" fmla="*/ 4987637 w 9874318"/>
                  <a:gd name="connsiteY34" fmla="*/ 41563 h 12988636"/>
                  <a:gd name="connsiteX0" fmla="*/ 4987637 w 9874318"/>
                  <a:gd name="connsiteY0" fmla="*/ 41563 h 12988636"/>
                  <a:gd name="connsiteX1" fmla="*/ 6795655 w 9874318"/>
                  <a:gd name="connsiteY1" fmla="*/ 436418 h 12988636"/>
                  <a:gd name="connsiteX2" fmla="*/ 7502237 w 9874318"/>
                  <a:gd name="connsiteY2" fmla="*/ 727363 h 12988636"/>
                  <a:gd name="connsiteX3" fmla="*/ 7148946 w 9874318"/>
                  <a:gd name="connsiteY3" fmla="*/ 1766454 h 12988636"/>
                  <a:gd name="connsiteX4" fmla="*/ 6754091 w 9874318"/>
                  <a:gd name="connsiteY4" fmla="*/ 3366654 h 12988636"/>
                  <a:gd name="connsiteX5" fmla="*/ 7523018 w 9874318"/>
                  <a:gd name="connsiteY5" fmla="*/ 6380018 h 12988636"/>
                  <a:gd name="connsiteX6" fmla="*/ 7938655 w 9874318"/>
                  <a:gd name="connsiteY6" fmla="*/ 7419109 h 12988636"/>
                  <a:gd name="connsiteX7" fmla="*/ 8458200 w 9874318"/>
                  <a:gd name="connsiteY7" fmla="*/ 8021782 h 12988636"/>
                  <a:gd name="connsiteX8" fmla="*/ 8395855 w 9874318"/>
                  <a:gd name="connsiteY8" fmla="*/ 8146473 h 12988636"/>
                  <a:gd name="connsiteX9" fmla="*/ 9102437 w 9874318"/>
                  <a:gd name="connsiteY9" fmla="*/ 9621982 h 12988636"/>
                  <a:gd name="connsiteX10" fmla="*/ 9164782 w 9874318"/>
                  <a:gd name="connsiteY10" fmla="*/ 9684327 h 12988636"/>
                  <a:gd name="connsiteX11" fmla="*/ 9871364 w 9874318"/>
                  <a:gd name="connsiteY11" fmla="*/ 11139054 h 12988636"/>
                  <a:gd name="connsiteX12" fmla="*/ 9850582 w 9874318"/>
                  <a:gd name="connsiteY12" fmla="*/ 11139054 h 12988636"/>
                  <a:gd name="connsiteX13" fmla="*/ 7917873 w 9874318"/>
                  <a:gd name="connsiteY13" fmla="*/ 12157363 h 12988636"/>
                  <a:gd name="connsiteX14" fmla="*/ 7294418 w 9874318"/>
                  <a:gd name="connsiteY14" fmla="*/ 12178145 h 12988636"/>
                  <a:gd name="connsiteX15" fmla="*/ 6380018 w 9874318"/>
                  <a:gd name="connsiteY15" fmla="*/ 11159836 h 12988636"/>
                  <a:gd name="connsiteX16" fmla="*/ 5943600 w 9874318"/>
                  <a:gd name="connsiteY16" fmla="*/ 9975273 h 12988636"/>
                  <a:gd name="connsiteX17" fmla="*/ 5964382 w 9874318"/>
                  <a:gd name="connsiteY17" fmla="*/ 11263745 h 12988636"/>
                  <a:gd name="connsiteX18" fmla="*/ 5590309 w 9874318"/>
                  <a:gd name="connsiteY18" fmla="*/ 12344400 h 12988636"/>
                  <a:gd name="connsiteX19" fmla="*/ 4987637 w 9874318"/>
                  <a:gd name="connsiteY19" fmla="*/ 12780818 h 12988636"/>
                  <a:gd name="connsiteX20" fmla="*/ 3013364 w 9874318"/>
                  <a:gd name="connsiteY20" fmla="*/ 12988636 h 12988636"/>
                  <a:gd name="connsiteX21" fmla="*/ 1496291 w 9874318"/>
                  <a:gd name="connsiteY21" fmla="*/ 12863945 h 12988636"/>
                  <a:gd name="connsiteX22" fmla="*/ 1745673 w 9874318"/>
                  <a:gd name="connsiteY22" fmla="*/ 11014363 h 12988636"/>
                  <a:gd name="connsiteX23" fmla="*/ 1891146 w 9874318"/>
                  <a:gd name="connsiteY23" fmla="*/ 9393382 h 12988636"/>
                  <a:gd name="connsiteX24" fmla="*/ 1724891 w 9874318"/>
                  <a:gd name="connsiteY24" fmla="*/ 9289473 h 12988636"/>
                  <a:gd name="connsiteX25" fmla="*/ 1911928 w 9874318"/>
                  <a:gd name="connsiteY25" fmla="*/ 8562109 h 12988636"/>
                  <a:gd name="connsiteX26" fmla="*/ 1766455 w 9874318"/>
                  <a:gd name="connsiteY26" fmla="*/ 6629400 h 12988636"/>
                  <a:gd name="connsiteX27" fmla="*/ 0 w 9874318"/>
                  <a:gd name="connsiteY27" fmla="*/ 1330036 h 12988636"/>
                  <a:gd name="connsiteX28" fmla="*/ 477982 w 9874318"/>
                  <a:gd name="connsiteY28" fmla="*/ 1226127 h 12988636"/>
                  <a:gd name="connsiteX29" fmla="*/ 2119746 w 9874318"/>
                  <a:gd name="connsiteY29" fmla="*/ 332509 h 12988636"/>
                  <a:gd name="connsiteX30" fmla="*/ 3408218 w 9874318"/>
                  <a:gd name="connsiteY30" fmla="*/ 2078182 h 12988636"/>
                  <a:gd name="connsiteX31" fmla="*/ 4530437 w 9874318"/>
                  <a:gd name="connsiteY31" fmla="*/ 3283527 h 12988636"/>
                  <a:gd name="connsiteX32" fmla="*/ 5112328 w 9874318"/>
                  <a:gd name="connsiteY32" fmla="*/ 976745 h 12988636"/>
                  <a:gd name="connsiteX33" fmla="*/ 5049982 w 9874318"/>
                  <a:gd name="connsiteY33" fmla="*/ 0 h 12988636"/>
                  <a:gd name="connsiteX34" fmla="*/ 4987637 w 9874318"/>
                  <a:gd name="connsiteY34" fmla="*/ 41563 h 12988636"/>
                  <a:gd name="connsiteX0" fmla="*/ 4987637 w 9874318"/>
                  <a:gd name="connsiteY0" fmla="*/ 41563 h 12988636"/>
                  <a:gd name="connsiteX1" fmla="*/ 6795655 w 9874318"/>
                  <a:gd name="connsiteY1" fmla="*/ 436418 h 12988636"/>
                  <a:gd name="connsiteX2" fmla="*/ 7502237 w 9874318"/>
                  <a:gd name="connsiteY2" fmla="*/ 727363 h 12988636"/>
                  <a:gd name="connsiteX3" fmla="*/ 7148946 w 9874318"/>
                  <a:gd name="connsiteY3" fmla="*/ 1766454 h 12988636"/>
                  <a:gd name="connsiteX4" fmla="*/ 6754091 w 9874318"/>
                  <a:gd name="connsiteY4" fmla="*/ 3366654 h 12988636"/>
                  <a:gd name="connsiteX5" fmla="*/ 7523018 w 9874318"/>
                  <a:gd name="connsiteY5" fmla="*/ 6380018 h 12988636"/>
                  <a:gd name="connsiteX6" fmla="*/ 7938655 w 9874318"/>
                  <a:gd name="connsiteY6" fmla="*/ 7419109 h 12988636"/>
                  <a:gd name="connsiteX7" fmla="*/ 8458200 w 9874318"/>
                  <a:gd name="connsiteY7" fmla="*/ 8021782 h 12988636"/>
                  <a:gd name="connsiteX8" fmla="*/ 8395855 w 9874318"/>
                  <a:gd name="connsiteY8" fmla="*/ 8146473 h 12988636"/>
                  <a:gd name="connsiteX9" fmla="*/ 9102437 w 9874318"/>
                  <a:gd name="connsiteY9" fmla="*/ 9621982 h 12988636"/>
                  <a:gd name="connsiteX10" fmla="*/ 9164782 w 9874318"/>
                  <a:gd name="connsiteY10" fmla="*/ 9684327 h 12988636"/>
                  <a:gd name="connsiteX11" fmla="*/ 9871364 w 9874318"/>
                  <a:gd name="connsiteY11" fmla="*/ 11139054 h 12988636"/>
                  <a:gd name="connsiteX12" fmla="*/ 9850582 w 9874318"/>
                  <a:gd name="connsiteY12" fmla="*/ 11139054 h 12988636"/>
                  <a:gd name="connsiteX13" fmla="*/ 7917873 w 9874318"/>
                  <a:gd name="connsiteY13" fmla="*/ 12157363 h 12988636"/>
                  <a:gd name="connsiteX14" fmla="*/ 7294418 w 9874318"/>
                  <a:gd name="connsiteY14" fmla="*/ 12178145 h 12988636"/>
                  <a:gd name="connsiteX15" fmla="*/ 6380018 w 9874318"/>
                  <a:gd name="connsiteY15" fmla="*/ 11159836 h 12988636"/>
                  <a:gd name="connsiteX16" fmla="*/ 5943600 w 9874318"/>
                  <a:gd name="connsiteY16" fmla="*/ 9975273 h 12988636"/>
                  <a:gd name="connsiteX17" fmla="*/ 5964382 w 9874318"/>
                  <a:gd name="connsiteY17" fmla="*/ 11263745 h 12988636"/>
                  <a:gd name="connsiteX18" fmla="*/ 5590309 w 9874318"/>
                  <a:gd name="connsiteY18" fmla="*/ 12344400 h 12988636"/>
                  <a:gd name="connsiteX19" fmla="*/ 4987637 w 9874318"/>
                  <a:gd name="connsiteY19" fmla="*/ 12780818 h 12988636"/>
                  <a:gd name="connsiteX20" fmla="*/ 3013364 w 9874318"/>
                  <a:gd name="connsiteY20" fmla="*/ 12988636 h 12988636"/>
                  <a:gd name="connsiteX21" fmla="*/ 1496291 w 9874318"/>
                  <a:gd name="connsiteY21" fmla="*/ 12863945 h 12988636"/>
                  <a:gd name="connsiteX22" fmla="*/ 1745673 w 9874318"/>
                  <a:gd name="connsiteY22" fmla="*/ 11014363 h 12988636"/>
                  <a:gd name="connsiteX23" fmla="*/ 1891146 w 9874318"/>
                  <a:gd name="connsiteY23" fmla="*/ 9393382 h 12988636"/>
                  <a:gd name="connsiteX24" fmla="*/ 1724891 w 9874318"/>
                  <a:gd name="connsiteY24" fmla="*/ 9289473 h 12988636"/>
                  <a:gd name="connsiteX25" fmla="*/ 1911928 w 9874318"/>
                  <a:gd name="connsiteY25" fmla="*/ 8562109 h 12988636"/>
                  <a:gd name="connsiteX26" fmla="*/ 1766455 w 9874318"/>
                  <a:gd name="connsiteY26" fmla="*/ 6629400 h 12988636"/>
                  <a:gd name="connsiteX27" fmla="*/ 0 w 9874318"/>
                  <a:gd name="connsiteY27" fmla="*/ 1330036 h 12988636"/>
                  <a:gd name="connsiteX28" fmla="*/ 477982 w 9874318"/>
                  <a:gd name="connsiteY28" fmla="*/ 1226127 h 12988636"/>
                  <a:gd name="connsiteX29" fmla="*/ 2119746 w 9874318"/>
                  <a:gd name="connsiteY29" fmla="*/ 332509 h 12988636"/>
                  <a:gd name="connsiteX30" fmla="*/ 3408218 w 9874318"/>
                  <a:gd name="connsiteY30" fmla="*/ 2078182 h 12988636"/>
                  <a:gd name="connsiteX31" fmla="*/ 4530437 w 9874318"/>
                  <a:gd name="connsiteY31" fmla="*/ 3283527 h 12988636"/>
                  <a:gd name="connsiteX32" fmla="*/ 5112328 w 9874318"/>
                  <a:gd name="connsiteY32" fmla="*/ 976745 h 12988636"/>
                  <a:gd name="connsiteX33" fmla="*/ 5049982 w 9874318"/>
                  <a:gd name="connsiteY33" fmla="*/ 0 h 12988636"/>
                  <a:gd name="connsiteX34" fmla="*/ 4987637 w 9874318"/>
                  <a:gd name="connsiteY34" fmla="*/ 41563 h 12988636"/>
                  <a:gd name="connsiteX0" fmla="*/ 4987637 w 9874318"/>
                  <a:gd name="connsiteY0" fmla="*/ 41563 h 12988636"/>
                  <a:gd name="connsiteX1" fmla="*/ 6795655 w 9874318"/>
                  <a:gd name="connsiteY1" fmla="*/ 436418 h 12988636"/>
                  <a:gd name="connsiteX2" fmla="*/ 7502237 w 9874318"/>
                  <a:gd name="connsiteY2" fmla="*/ 727363 h 12988636"/>
                  <a:gd name="connsiteX3" fmla="*/ 7148946 w 9874318"/>
                  <a:gd name="connsiteY3" fmla="*/ 1766454 h 12988636"/>
                  <a:gd name="connsiteX4" fmla="*/ 6754091 w 9874318"/>
                  <a:gd name="connsiteY4" fmla="*/ 3366654 h 12988636"/>
                  <a:gd name="connsiteX5" fmla="*/ 7523018 w 9874318"/>
                  <a:gd name="connsiteY5" fmla="*/ 6380018 h 12988636"/>
                  <a:gd name="connsiteX6" fmla="*/ 7938655 w 9874318"/>
                  <a:gd name="connsiteY6" fmla="*/ 7419109 h 12988636"/>
                  <a:gd name="connsiteX7" fmla="*/ 8458200 w 9874318"/>
                  <a:gd name="connsiteY7" fmla="*/ 8021782 h 12988636"/>
                  <a:gd name="connsiteX8" fmla="*/ 8395855 w 9874318"/>
                  <a:gd name="connsiteY8" fmla="*/ 8146473 h 12988636"/>
                  <a:gd name="connsiteX9" fmla="*/ 9102437 w 9874318"/>
                  <a:gd name="connsiteY9" fmla="*/ 9621982 h 12988636"/>
                  <a:gd name="connsiteX10" fmla="*/ 9164782 w 9874318"/>
                  <a:gd name="connsiteY10" fmla="*/ 9684327 h 12988636"/>
                  <a:gd name="connsiteX11" fmla="*/ 9871364 w 9874318"/>
                  <a:gd name="connsiteY11" fmla="*/ 11139054 h 12988636"/>
                  <a:gd name="connsiteX12" fmla="*/ 9850582 w 9874318"/>
                  <a:gd name="connsiteY12" fmla="*/ 11139054 h 12988636"/>
                  <a:gd name="connsiteX13" fmla="*/ 7917873 w 9874318"/>
                  <a:gd name="connsiteY13" fmla="*/ 12157363 h 12988636"/>
                  <a:gd name="connsiteX14" fmla="*/ 6380018 w 9874318"/>
                  <a:gd name="connsiteY14" fmla="*/ 11159836 h 12988636"/>
                  <a:gd name="connsiteX15" fmla="*/ 5943600 w 9874318"/>
                  <a:gd name="connsiteY15" fmla="*/ 9975273 h 12988636"/>
                  <a:gd name="connsiteX16" fmla="*/ 5964382 w 9874318"/>
                  <a:gd name="connsiteY16" fmla="*/ 11263745 h 12988636"/>
                  <a:gd name="connsiteX17" fmla="*/ 5590309 w 9874318"/>
                  <a:gd name="connsiteY17" fmla="*/ 12344400 h 12988636"/>
                  <a:gd name="connsiteX18" fmla="*/ 4987637 w 9874318"/>
                  <a:gd name="connsiteY18" fmla="*/ 12780818 h 12988636"/>
                  <a:gd name="connsiteX19" fmla="*/ 3013364 w 9874318"/>
                  <a:gd name="connsiteY19" fmla="*/ 12988636 h 12988636"/>
                  <a:gd name="connsiteX20" fmla="*/ 1496291 w 9874318"/>
                  <a:gd name="connsiteY20" fmla="*/ 12863945 h 12988636"/>
                  <a:gd name="connsiteX21" fmla="*/ 1745673 w 9874318"/>
                  <a:gd name="connsiteY21" fmla="*/ 11014363 h 12988636"/>
                  <a:gd name="connsiteX22" fmla="*/ 1891146 w 9874318"/>
                  <a:gd name="connsiteY22" fmla="*/ 9393382 h 12988636"/>
                  <a:gd name="connsiteX23" fmla="*/ 1724891 w 9874318"/>
                  <a:gd name="connsiteY23" fmla="*/ 9289473 h 12988636"/>
                  <a:gd name="connsiteX24" fmla="*/ 1911928 w 9874318"/>
                  <a:gd name="connsiteY24" fmla="*/ 8562109 h 12988636"/>
                  <a:gd name="connsiteX25" fmla="*/ 1766455 w 9874318"/>
                  <a:gd name="connsiteY25" fmla="*/ 6629400 h 12988636"/>
                  <a:gd name="connsiteX26" fmla="*/ 0 w 9874318"/>
                  <a:gd name="connsiteY26" fmla="*/ 1330036 h 12988636"/>
                  <a:gd name="connsiteX27" fmla="*/ 477982 w 9874318"/>
                  <a:gd name="connsiteY27" fmla="*/ 1226127 h 12988636"/>
                  <a:gd name="connsiteX28" fmla="*/ 2119746 w 9874318"/>
                  <a:gd name="connsiteY28" fmla="*/ 332509 h 12988636"/>
                  <a:gd name="connsiteX29" fmla="*/ 3408218 w 9874318"/>
                  <a:gd name="connsiteY29" fmla="*/ 2078182 h 12988636"/>
                  <a:gd name="connsiteX30" fmla="*/ 4530437 w 9874318"/>
                  <a:gd name="connsiteY30" fmla="*/ 3283527 h 12988636"/>
                  <a:gd name="connsiteX31" fmla="*/ 5112328 w 9874318"/>
                  <a:gd name="connsiteY31" fmla="*/ 976745 h 12988636"/>
                  <a:gd name="connsiteX32" fmla="*/ 5049982 w 9874318"/>
                  <a:gd name="connsiteY32" fmla="*/ 0 h 12988636"/>
                  <a:gd name="connsiteX33" fmla="*/ 4987637 w 9874318"/>
                  <a:gd name="connsiteY33" fmla="*/ 41563 h 12988636"/>
                  <a:gd name="connsiteX0" fmla="*/ 4987637 w 9874318"/>
                  <a:gd name="connsiteY0" fmla="*/ 41563 h 12988636"/>
                  <a:gd name="connsiteX1" fmla="*/ 6795655 w 9874318"/>
                  <a:gd name="connsiteY1" fmla="*/ 436418 h 12988636"/>
                  <a:gd name="connsiteX2" fmla="*/ 7502237 w 9874318"/>
                  <a:gd name="connsiteY2" fmla="*/ 727363 h 12988636"/>
                  <a:gd name="connsiteX3" fmla="*/ 7148946 w 9874318"/>
                  <a:gd name="connsiteY3" fmla="*/ 1766454 h 12988636"/>
                  <a:gd name="connsiteX4" fmla="*/ 6754091 w 9874318"/>
                  <a:gd name="connsiteY4" fmla="*/ 3366654 h 12988636"/>
                  <a:gd name="connsiteX5" fmla="*/ 7523018 w 9874318"/>
                  <a:gd name="connsiteY5" fmla="*/ 6380018 h 12988636"/>
                  <a:gd name="connsiteX6" fmla="*/ 7938655 w 9874318"/>
                  <a:gd name="connsiteY6" fmla="*/ 7419109 h 12988636"/>
                  <a:gd name="connsiteX7" fmla="*/ 8458200 w 9874318"/>
                  <a:gd name="connsiteY7" fmla="*/ 8021782 h 12988636"/>
                  <a:gd name="connsiteX8" fmla="*/ 8395855 w 9874318"/>
                  <a:gd name="connsiteY8" fmla="*/ 8146473 h 12988636"/>
                  <a:gd name="connsiteX9" fmla="*/ 9102437 w 9874318"/>
                  <a:gd name="connsiteY9" fmla="*/ 9621982 h 12988636"/>
                  <a:gd name="connsiteX10" fmla="*/ 9164782 w 9874318"/>
                  <a:gd name="connsiteY10" fmla="*/ 9684327 h 12988636"/>
                  <a:gd name="connsiteX11" fmla="*/ 9871364 w 9874318"/>
                  <a:gd name="connsiteY11" fmla="*/ 11139054 h 12988636"/>
                  <a:gd name="connsiteX12" fmla="*/ 9850582 w 9874318"/>
                  <a:gd name="connsiteY12" fmla="*/ 11139054 h 12988636"/>
                  <a:gd name="connsiteX13" fmla="*/ 7917873 w 9874318"/>
                  <a:gd name="connsiteY13" fmla="*/ 12157363 h 12988636"/>
                  <a:gd name="connsiteX14" fmla="*/ 6380018 w 9874318"/>
                  <a:gd name="connsiteY14" fmla="*/ 11159836 h 12988636"/>
                  <a:gd name="connsiteX15" fmla="*/ 5943600 w 9874318"/>
                  <a:gd name="connsiteY15" fmla="*/ 9975273 h 12988636"/>
                  <a:gd name="connsiteX16" fmla="*/ 5964382 w 9874318"/>
                  <a:gd name="connsiteY16" fmla="*/ 11263745 h 12988636"/>
                  <a:gd name="connsiteX17" fmla="*/ 5590309 w 9874318"/>
                  <a:gd name="connsiteY17" fmla="*/ 12344400 h 12988636"/>
                  <a:gd name="connsiteX18" fmla="*/ 4987637 w 9874318"/>
                  <a:gd name="connsiteY18" fmla="*/ 12780818 h 12988636"/>
                  <a:gd name="connsiteX19" fmla="*/ 3013364 w 9874318"/>
                  <a:gd name="connsiteY19" fmla="*/ 12988636 h 12988636"/>
                  <a:gd name="connsiteX20" fmla="*/ 1496291 w 9874318"/>
                  <a:gd name="connsiteY20" fmla="*/ 12863945 h 12988636"/>
                  <a:gd name="connsiteX21" fmla="*/ 1745673 w 9874318"/>
                  <a:gd name="connsiteY21" fmla="*/ 11014363 h 12988636"/>
                  <a:gd name="connsiteX22" fmla="*/ 1891146 w 9874318"/>
                  <a:gd name="connsiteY22" fmla="*/ 9393382 h 12988636"/>
                  <a:gd name="connsiteX23" fmla="*/ 1724891 w 9874318"/>
                  <a:gd name="connsiteY23" fmla="*/ 9289473 h 12988636"/>
                  <a:gd name="connsiteX24" fmla="*/ 1911928 w 9874318"/>
                  <a:gd name="connsiteY24" fmla="*/ 8562109 h 12988636"/>
                  <a:gd name="connsiteX25" fmla="*/ 1766455 w 9874318"/>
                  <a:gd name="connsiteY25" fmla="*/ 6629400 h 12988636"/>
                  <a:gd name="connsiteX26" fmla="*/ 0 w 9874318"/>
                  <a:gd name="connsiteY26" fmla="*/ 1330036 h 12988636"/>
                  <a:gd name="connsiteX27" fmla="*/ 477982 w 9874318"/>
                  <a:gd name="connsiteY27" fmla="*/ 1226127 h 12988636"/>
                  <a:gd name="connsiteX28" fmla="*/ 2119746 w 9874318"/>
                  <a:gd name="connsiteY28" fmla="*/ 332509 h 12988636"/>
                  <a:gd name="connsiteX29" fmla="*/ 3408218 w 9874318"/>
                  <a:gd name="connsiteY29" fmla="*/ 2078182 h 12988636"/>
                  <a:gd name="connsiteX30" fmla="*/ 4530437 w 9874318"/>
                  <a:gd name="connsiteY30" fmla="*/ 3283527 h 12988636"/>
                  <a:gd name="connsiteX31" fmla="*/ 5112328 w 9874318"/>
                  <a:gd name="connsiteY31" fmla="*/ 976745 h 12988636"/>
                  <a:gd name="connsiteX32" fmla="*/ 5049982 w 9874318"/>
                  <a:gd name="connsiteY32" fmla="*/ 0 h 12988636"/>
                  <a:gd name="connsiteX33" fmla="*/ 4987637 w 9874318"/>
                  <a:gd name="connsiteY33" fmla="*/ 41563 h 12988636"/>
                  <a:gd name="connsiteX0" fmla="*/ 4987637 w 9874318"/>
                  <a:gd name="connsiteY0" fmla="*/ 41563 h 12988636"/>
                  <a:gd name="connsiteX1" fmla="*/ 6795655 w 9874318"/>
                  <a:gd name="connsiteY1" fmla="*/ 436418 h 12988636"/>
                  <a:gd name="connsiteX2" fmla="*/ 7502237 w 9874318"/>
                  <a:gd name="connsiteY2" fmla="*/ 727363 h 12988636"/>
                  <a:gd name="connsiteX3" fmla="*/ 7148946 w 9874318"/>
                  <a:gd name="connsiteY3" fmla="*/ 1766454 h 12988636"/>
                  <a:gd name="connsiteX4" fmla="*/ 6754091 w 9874318"/>
                  <a:gd name="connsiteY4" fmla="*/ 3366654 h 12988636"/>
                  <a:gd name="connsiteX5" fmla="*/ 7523018 w 9874318"/>
                  <a:gd name="connsiteY5" fmla="*/ 6380018 h 12988636"/>
                  <a:gd name="connsiteX6" fmla="*/ 7938655 w 9874318"/>
                  <a:gd name="connsiteY6" fmla="*/ 7419109 h 12988636"/>
                  <a:gd name="connsiteX7" fmla="*/ 8458200 w 9874318"/>
                  <a:gd name="connsiteY7" fmla="*/ 8021782 h 12988636"/>
                  <a:gd name="connsiteX8" fmla="*/ 8395855 w 9874318"/>
                  <a:gd name="connsiteY8" fmla="*/ 8146473 h 12988636"/>
                  <a:gd name="connsiteX9" fmla="*/ 9102437 w 9874318"/>
                  <a:gd name="connsiteY9" fmla="*/ 9621982 h 12988636"/>
                  <a:gd name="connsiteX10" fmla="*/ 9164782 w 9874318"/>
                  <a:gd name="connsiteY10" fmla="*/ 9684327 h 12988636"/>
                  <a:gd name="connsiteX11" fmla="*/ 9871364 w 9874318"/>
                  <a:gd name="connsiteY11" fmla="*/ 11139054 h 12988636"/>
                  <a:gd name="connsiteX12" fmla="*/ 9850582 w 9874318"/>
                  <a:gd name="connsiteY12" fmla="*/ 11139054 h 12988636"/>
                  <a:gd name="connsiteX13" fmla="*/ 7917873 w 9874318"/>
                  <a:gd name="connsiteY13" fmla="*/ 12157363 h 12988636"/>
                  <a:gd name="connsiteX14" fmla="*/ 6380018 w 9874318"/>
                  <a:gd name="connsiteY14" fmla="*/ 11159836 h 12988636"/>
                  <a:gd name="connsiteX15" fmla="*/ 5943600 w 9874318"/>
                  <a:gd name="connsiteY15" fmla="*/ 9975273 h 12988636"/>
                  <a:gd name="connsiteX16" fmla="*/ 5964382 w 9874318"/>
                  <a:gd name="connsiteY16" fmla="*/ 11263745 h 12988636"/>
                  <a:gd name="connsiteX17" fmla="*/ 5590309 w 9874318"/>
                  <a:gd name="connsiteY17" fmla="*/ 12344400 h 12988636"/>
                  <a:gd name="connsiteX18" fmla="*/ 4987637 w 9874318"/>
                  <a:gd name="connsiteY18" fmla="*/ 12780818 h 12988636"/>
                  <a:gd name="connsiteX19" fmla="*/ 3013364 w 9874318"/>
                  <a:gd name="connsiteY19" fmla="*/ 12988636 h 12988636"/>
                  <a:gd name="connsiteX20" fmla="*/ 1496291 w 9874318"/>
                  <a:gd name="connsiteY20" fmla="*/ 12863945 h 12988636"/>
                  <a:gd name="connsiteX21" fmla="*/ 1745673 w 9874318"/>
                  <a:gd name="connsiteY21" fmla="*/ 11014363 h 12988636"/>
                  <a:gd name="connsiteX22" fmla="*/ 1891146 w 9874318"/>
                  <a:gd name="connsiteY22" fmla="*/ 9393382 h 12988636"/>
                  <a:gd name="connsiteX23" fmla="*/ 1724891 w 9874318"/>
                  <a:gd name="connsiteY23" fmla="*/ 9289473 h 12988636"/>
                  <a:gd name="connsiteX24" fmla="*/ 1911928 w 9874318"/>
                  <a:gd name="connsiteY24" fmla="*/ 8562109 h 12988636"/>
                  <a:gd name="connsiteX25" fmla="*/ 1766455 w 9874318"/>
                  <a:gd name="connsiteY25" fmla="*/ 6629400 h 12988636"/>
                  <a:gd name="connsiteX26" fmla="*/ 0 w 9874318"/>
                  <a:gd name="connsiteY26" fmla="*/ 1330036 h 12988636"/>
                  <a:gd name="connsiteX27" fmla="*/ 477982 w 9874318"/>
                  <a:gd name="connsiteY27" fmla="*/ 1226127 h 12988636"/>
                  <a:gd name="connsiteX28" fmla="*/ 2119746 w 9874318"/>
                  <a:gd name="connsiteY28" fmla="*/ 332509 h 12988636"/>
                  <a:gd name="connsiteX29" fmla="*/ 3408218 w 9874318"/>
                  <a:gd name="connsiteY29" fmla="*/ 2078182 h 12988636"/>
                  <a:gd name="connsiteX30" fmla="*/ 4530437 w 9874318"/>
                  <a:gd name="connsiteY30" fmla="*/ 3283527 h 12988636"/>
                  <a:gd name="connsiteX31" fmla="*/ 5112328 w 9874318"/>
                  <a:gd name="connsiteY31" fmla="*/ 976745 h 12988636"/>
                  <a:gd name="connsiteX32" fmla="*/ 5049982 w 9874318"/>
                  <a:gd name="connsiteY32" fmla="*/ 0 h 12988636"/>
                  <a:gd name="connsiteX33" fmla="*/ 4987637 w 9874318"/>
                  <a:gd name="connsiteY33" fmla="*/ 41563 h 12988636"/>
                  <a:gd name="connsiteX0" fmla="*/ 4987637 w 9874318"/>
                  <a:gd name="connsiteY0" fmla="*/ 41563 h 12988636"/>
                  <a:gd name="connsiteX1" fmla="*/ 6795655 w 9874318"/>
                  <a:gd name="connsiteY1" fmla="*/ 436418 h 12988636"/>
                  <a:gd name="connsiteX2" fmla="*/ 7502237 w 9874318"/>
                  <a:gd name="connsiteY2" fmla="*/ 727363 h 12988636"/>
                  <a:gd name="connsiteX3" fmla="*/ 7148946 w 9874318"/>
                  <a:gd name="connsiteY3" fmla="*/ 1766454 h 12988636"/>
                  <a:gd name="connsiteX4" fmla="*/ 6754091 w 9874318"/>
                  <a:gd name="connsiteY4" fmla="*/ 3366654 h 12988636"/>
                  <a:gd name="connsiteX5" fmla="*/ 7523018 w 9874318"/>
                  <a:gd name="connsiteY5" fmla="*/ 6380018 h 12988636"/>
                  <a:gd name="connsiteX6" fmla="*/ 7938655 w 9874318"/>
                  <a:gd name="connsiteY6" fmla="*/ 7419109 h 12988636"/>
                  <a:gd name="connsiteX7" fmla="*/ 8458200 w 9874318"/>
                  <a:gd name="connsiteY7" fmla="*/ 8021782 h 12988636"/>
                  <a:gd name="connsiteX8" fmla="*/ 8395855 w 9874318"/>
                  <a:gd name="connsiteY8" fmla="*/ 8146473 h 12988636"/>
                  <a:gd name="connsiteX9" fmla="*/ 9102437 w 9874318"/>
                  <a:gd name="connsiteY9" fmla="*/ 9621982 h 12988636"/>
                  <a:gd name="connsiteX10" fmla="*/ 9164782 w 9874318"/>
                  <a:gd name="connsiteY10" fmla="*/ 9684327 h 12988636"/>
                  <a:gd name="connsiteX11" fmla="*/ 9871364 w 9874318"/>
                  <a:gd name="connsiteY11" fmla="*/ 11139054 h 12988636"/>
                  <a:gd name="connsiteX12" fmla="*/ 9850582 w 9874318"/>
                  <a:gd name="connsiteY12" fmla="*/ 11139054 h 12988636"/>
                  <a:gd name="connsiteX13" fmla="*/ 7917873 w 9874318"/>
                  <a:gd name="connsiteY13" fmla="*/ 12157363 h 12988636"/>
                  <a:gd name="connsiteX14" fmla="*/ 6380018 w 9874318"/>
                  <a:gd name="connsiteY14" fmla="*/ 11159836 h 12988636"/>
                  <a:gd name="connsiteX15" fmla="*/ 5943600 w 9874318"/>
                  <a:gd name="connsiteY15" fmla="*/ 9975273 h 12988636"/>
                  <a:gd name="connsiteX16" fmla="*/ 5964382 w 9874318"/>
                  <a:gd name="connsiteY16" fmla="*/ 11263745 h 12988636"/>
                  <a:gd name="connsiteX17" fmla="*/ 5590309 w 9874318"/>
                  <a:gd name="connsiteY17" fmla="*/ 12344400 h 12988636"/>
                  <a:gd name="connsiteX18" fmla="*/ 4987637 w 9874318"/>
                  <a:gd name="connsiteY18" fmla="*/ 12780818 h 12988636"/>
                  <a:gd name="connsiteX19" fmla="*/ 3013364 w 9874318"/>
                  <a:gd name="connsiteY19" fmla="*/ 12988636 h 12988636"/>
                  <a:gd name="connsiteX20" fmla="*/ 1496291 w 9874318"/>
                  <a:gd name="connsiteY20" fmla="*/ 12863945 h 12988636"/>
                  <a:gd name="connsiteX21" fmla="*/ 1745673 w 9874318"/>
                  <a:gd name="connsiteY21" fmla="*/ 11014363 h 12988636"/>
                  <a:gd name="connsiteX22" fmla="*/ 1891146 w 9874318"/>
                  <a:gd name="connsiteY22" fmla="*/ 9393382 h 12988636"/>
                  <a:gd name="connsiteX23" fmla="*/ 1724891 w 9874318"/>
                  <a:gd name="connsiteY23" fmla="*/ 9289473 h 12988636"/>
                  <a:gd name="connsiteX24" fmla="*/ 1911928 w 9874318"/>
                  <a:gd name="connsiteY24" fmla="*/ 8562109 h 12988636"/>
                  <a:gd name="connsiteX25" fmla="*/ 1766455 w 9874318"/>
                  <a:gd name="connsiteY25" fmla="*/ 6629400 h 12988636"/>
                  <a:gd name="connsiteX26" fmla="*/ 0 w 9874318"/>
                  <a:gd name="connsiteY26" fmla="*/ 1330036 h 12988636"/>
                  <a:gd name="connsiteX27" fmla="*/ 477982 w 9874318"/>
                  <a:gd name="connsiteY27" fmla="*/ 1226127 h 12988636"/>
                  <a:gd name="connsiteX28" fmla="*/ 2119746 w 9874318"/>
                  <a:gd name="connsiteY28" fmla="*/ 332509 h 12988636"/>
                  <a:gd name="connsiteX29" fmla="*/ 3408218 w 9874318"/>
                  <a:gd name="connsiteY29" fmla="*/ 2078182 h 12988636"/>
                  <a:gd name="connsiteX30" fmla="*/ 4530437 w 9874318"/>
                  <a:gd name="connsiteY30" fmla="*/ 3283527 h 12988636"/>
                  <a:gd name="connsiteX31" fmla="*/ 5112328 w 9874318"/>
                  <a:gd name="connsiteY31" fmla="*/ 976745 h 12988636"/>
                  <a:gd name="connsiteX32" fmla="*/ 5049982 w 9874318"/>
                  <a:gd name="connsiteY32" fmla="*/ 0 h 12988636"/>
                  <a:gd name="connsiteX33" fmla="*/ 4987637 w 9874318"/>
                  <a:gd name="connsiteY33" fmla="*/ 41563 h 12988636"/>
                  <a:gd name="connsiteX0" fmla="*/ 4987637 w 9874318"/>
                  <a:gd name="connsiteY0" fmla="*/ 41563 h 12988636"/>
                  <a:gd name="connsiteX1" fmla="*/ 6795655 w 9874318"/>
                  <a:gd name="connsiteY1" fmla="*/ 436418 h 12988636"/>
                  <a:gd name="connsiteX2" fmla="*/ 7502237 w 9874318"/>
                  <a:gd name="connsiteY2" fmla="*/ 727363 h 12988636"/>
                  <a:gd name="connsiteX3" fmla="*/ 7148946 w 9874318"/>
                  <a:gd name="connsiteY3" fmla="*/ 1766454 h 12988636"/>
                  <a:gd name="connsiteX4" fmla="*/ 6754091 w 9874318"/>
                  <a:gd name="connsiteY4" fmla="*/ 3366654 h 12988636"/>
                  <a:gd name="connsiteX5" fmla="*/ 7523018 w 9874318"/>
                  <a:gd name="connsiteY5" fmla="*/ 6380018 h 12988636"/>
                  <a:gd name="connsiteX6" fmla="*/ 7938655 w 9874318"/>
                  <a:gd name="connsiteY6" fmla="*/ 7419109 h 12988636"/>
                  <a:gd name="connsiteX7" fmla="*/ 8458200 w 9874318"/>
                  <a:gd name="connsiteY7" fmla="*/ 8021782 h 12988636"/>
                  <a:gd name="connsiteX8" fmla="*/ 8395855 w 9874318"/>
                  <a:gd name="connsiteY8" fmla="*/ 8146473 h 12988636"/>
                  <a:gd name="connsiteX9" fmla="*/ 9102437 w 9874318"/>
                  <a:gd name="connsiteY9" fmla="*/ 9621982 h 12988636"/>
                  <a:gd name="connsiteX10" fmla="*/ 9164782 w 9874318"/>
                  <a:gd name="connsiteY10" fmla="*/ 9684327 h 12988636"/>
                  <a:gd name="connsiteX11" fmla="*/ 9871364 w 9874318"/>
                  <a:gd name="connsiteY11" fmla="*/ 11139054 h 12988636"/>
                  <a:gd name="connsiteX12" fmla="*/ 9850582 w 9874318"/>
                  <a:gd name="connsiteY12" fmla="*/ 11139054 h 12988636"/>
                  <a:gd name="connsiteX13" fmla="*/ 7917873 w 9874318"/>
                  <a:gd name="connsiteY13" fmla="*/ 12157363 h 12988636"/>
                  <a:gd name="connsiteX14" fmla="*/ 6380018 w 9874318"/>
                  <a:gd name="connsiteY14" fmla="*/ 11159836 h 12988636"/>
                  <a:gd name="connsiteX15" fmla="*/ 5943600 w 9874318"/>
                  <a:gd name="connsiteY15" fmla="*/ 9975273 h 12988636"/>
                  <a:gd name="connsiteX16" fmla="*/ 5964382 w 9874318"/>
                  <a:gd name="connsiteY16" fmla="*/ 11263745 h 12988636"/>
                  <a:gd name="connsiteX17" fmla="*/ 5590309 w 9874318"/>
                  <a:gd name="connsiteY17" fmla="*/ 12344400 h 12988636"/>
                  <a:gd name="connsiteX18" fmla="*/ 4987637 w 9874318"/>
                  <a:gd name="connsiteY18" fmla="*/ 12780818 h 12988636"/>
                  <a:gd name="connsiteX19" fmla="*/ 3013364 w 9874318"/>
                  <a:gd name="connsiteY19" fmla="*/ 12988636 h 12988636"/>
                  <a:gd name="connsiteX20" fmla="*/ 1496291 w 9874318"/>
                  <a:gd name="connsiteY20" fmla="*/ 12863945 h 12988636"/>
                  <a:gd name="connsiteX21" fmla="*/ 1745673 w 9874318"/>
                  <a:gd name="connsiteY21" fmla="*/ 11014363 h 12988636"/>
                  <a:gd name="connsiteX22" fmla="*/ 1891146 w 9874318"/>
                  <a:gd name="connsiteY22" fmla="*/ 9393382 h 12988636"/>
                  <a:gd name="connsiteX23" fmla="*/ 1724891 w 9874318"/>
                  <a:gd name="connsiteY23" fmla="*/ 9289473 h 12988636"/>
                  <a:gd name="connsiteX24" fmla="*/ 1911928 w 9874318"/>
                  <a:gd name="connsiteY24" fmla="*/ 8562109 h 12988636"/>
                  <a:gd name="connsiteX25" fmla="*/ 1766455 w 9874318"/>
                  <a:gd name="connsiteY25" fmla="*/ 6629400 h 12988636"/>
                  <a:gd name="connsiteX26" fmla="*/ 0 w 9874318"/>
                  <a:gd name="connsiteY26" fmla="*/ 1330036 h 12988636"/>
                  <a:gd name="connsiteX27" fmla="*/ 477982 w 9874318"/>
                  <a:gd name="connsiteY27" fmla="*/ 1226127 h 12988636"/>
                  <a:gd name="connsiteX28" fmla="*/ 2119746 w 9874318"/>
                  <a:gd name="connsiteY28" fmla="*/ 332509 h 12988636"/>
                  <a:gd name="connsiteX29" fmla="*/ 3408218 w 9874318"/>
                  <a:gd name="connsiteY29" fmla="*/ 2078182 h 12988636"/>
                  <a:gd name="connsiteX30" fmla="*/ 4530437 w 9874318"/>
                  <a:gd name="connsiteY30" fmla="*/ 3283527 h 12988636"/>
                  <a:gd name="connsiteX31" fmla="*/ 5112328 w 9874318"/>
                  <a:gd name="connsiteY31" fmla="*/ 976745 h 12988636"/>
                  <a:gd name="connsiteX32" fmla="*/ 5049982 w 9874318"/>
                  <a:gd name="connsiteY32" fmla="*/ 0 h 12988636"/>
                  <a:gd name="connsiteX33" fmla="*/ 4987637 w 9874318"/>
                  <a:gd name="connsiteY33" fmla="*/ 41563 h 12988636"/>
                  <a:gd name="connsiteX0" fmla="*/ 4987637 w 9874318"/>
                  <a:gd name="connsiteY0" fmla="*/ 41563 h 12988636"/>
                  <a:gd name="connsiteX1" fmla="*/ 6795655 w 9874318"/>
                  <a:gd name="connsiteY1" fmla="*/ 436418 h 12988636"/>
                  <a:gd name="connsiteX2" fmla="*/ 7502237 w 9874318"/>
                  <a:gd name="connsiteY2" fmla="*/ 727363 h 12988636"/>
                  <a:gd name="connsiteX3" fmla="*/ 7148946 w 9874318"/>
                  <a:gd name="connsiteY3" fmla="*/ 1766454 h 12988636"/>
                  <a:gd name="connsiteX4" fmla="*/ 6754091 w 9874318"/>
                  <a:gd name="connsiteY4" fmla="*/ 3366654 h 12988636"/>
                  <a:gd name="connsiteX5" fmla="*/ 7523018 w 9874318"/>
                  <a:gd name="connsiteY5" fmla="*/ 6380018 h 12988636"/>
                  <a:gd name="connsiteX6" fmla="*/ 7938655 w 9874318"/>
                  <a:gd name="connsiteY6" fmla="*/ 7419109 h 12988636"/>
                  <a:gd name="connsiteX7" fmla="*/ 8458200 w 9874318"/>
                  <a:gd name="connsiteY7" fmla="*/ 8021782 h 12988636"/>
                  <a:gd name="connsiteX8" fmla="*/ 8395855 w 9874318"/>
                  <a:gd name="connsiteY8" fmla="*/ 8146473 h 12988636"/>
                  <a:gd name="connsiteX9" fmla="*/ 9102437 w 9874318"/>
                  <a:gd name="connsiteY9" fmla="*/ 9621982 h 12988636"/>
                  <a:gd name="connsiteX10" fmla="*/ 9164782 w 9874318"/>
                  <a:gd name="connsiteY10" fmla="*/ 9684327 h 12988636"/>
                  <a:gd name="connsiteX11" fmla="*/ 9871364 w 9874318"/>
                  <a:gd name="connsiteY11" fmla="*/ 11139054 h 12988636"/>
                  <a:gd name="connsiteX12" fmla="*/ 9850582 w 9874318"/>
                  <a:gd name="connsiteY12" fmla="*/ 11139054 h 12988636"/>
                  <a:gd name="connsiteX13" fmla="*/ 7917873 w 9874318"/>
                  <a:gd name="connsiteY13" fmla="*/ 12157363 h 12988636"/>
                  <a:gd name="connsiteX14" fmla="*/ 6380018 w 9874318"/>
                  <a:gd name="connsiteY14" fmla="*/ 11159836 h 12988636"/>
                  <a:gd name="connsiteX15" fmla="*/ 5943600 w 9874318"/>
                  <a:gd name="connsiteY15" fmla="*/ 9975273 h 12988636"/>
                  <a:gd name="connsiteX16" fmla="*/ 5964382 w 9874318"/>
                  <a:gd name="connsiteY16" fmla="*/ 11263745 h 12988636"/>
                  <a:gd name="connsiteX17" fmla="*/ 4987637 w 9874318"/>
                  <a:gd name="connsiteY17" fmla="*/ 12780818 h 12988636"/>
                  <a:gd name="connsiteX18" fmla="*/ 3013364 w 9874318"/>
                  <a:gd name="connsiteY18" fmla="*/ 12988636 h 12988636"/>
                  <a:gd name="connsiteX19" fmla="*/ 1496291 w 9874318"/>
                  <a:gd name="connsiteY19" fmla="*/ 12863945 h 12988636"/>
                  <a:gd name="connsiteX20" fmla="*/ 1745673 w 9874318"/>
                  <a:gd name="connsiteY20" fmla="*/ 11014363 h 12988636"/>
                  <a:gd name="connsiteX21" fmla="*/ 1891146 w 9874318"/>
                  <a:gd name="connsiteY21" fmla="*/ 9393382 h 12988636"/>
                  <a:gd name="connsiteX22" fmla="*/ 1724891 w 9874318"/>
                  <a:gd name="connsiteY22" fmla="*/ 9289473 h 12988636"/>
                  <a:gd name="connsiteX23" fmla="*/ 1911928 w 9874318"/>
                  <a:gd name="connsiteY23" fmla="*/ 8562109 h 12988636"/>
                  <a:gd name="connsiteX24" fmla="*/ 1766455 w 9874318"/>
                  <a:gd name="connsiteY24" fmla="*/ 6629400 h 12988636"/>
                  <a:gd name="connsiteX25" fmla="*/ 0 w 9874318"/>
                  <a:gd name="connsiteY25" fmla="*/ 1330036 h 12988636"/>
                  <a:gd name="connsiteX26" fmla="*/ 477982 w 9874318"/>
                  <a:gd name="connsiteY26" fmla="*/ 1226127 h 12988636"/>
                  <a:gd name="connsiteX27" fmla="*/ 2119746 w 9874318"/>
                  <a:gd name="connsiteY27" fmla="*/ 332509 h 12988636"/>
                  <a:gd name="connsiteX28" fmla="*/ 3408218 w 9874318"/>
                  <a:gd name="connsiteY28" fmla="*/ 2078182 h 12988636"/>
                  <a:gd name="connsiteX29" fmla="*/ 4530437 w 9874318"/>
                  <a:gd name="connsiteY29" fmla="*/ 3283527 h 12988636"/>
                  <a:gd name="connsiteX30" fmla="*/ 5112328 w 9874318"/>
                  <a:gd name="connsiteY30" fmla="*/ 976745 h 12988636"/>
                  <a:gd name="connsiteX31" fmla="*/ 5049982 w 9874318"/>
                  <a:gd name="connsiteY31" fmla="*/ 0 h 12988636"/>
                  <a:gd name="connsiteX32" fmla="*/ 4987637 w 9874318"/>
                  <a:gd name="connsiteY32" fmla="*/ 41563 h 12988636"/>
                  <a:gd name="connsiteX0" fmla="*/ 4987637 w 9874318"/>
                  <a:gd name="connsiteY0" fmla="*/ 41563 h 12988636"/>
                  <a:gd name="connsiteX1" fmla="*/ 6795655 w 9874318"/>
                  <a:gd name="connsiteY1" fmla="*/ 436418 h 12988636"/>
                  <a:gd name="connsiteX2" fmla="*/ 7502237 w 9874318"/>
                  <a:gd name="connsiteY2" fmla="*/ 727363 h 12988636"/>
                  <a:gd name="connsiteX3" fmla="*/ 7148946 w 9874318"/>
                  <a:gd name="connsiteY3" fmla="*/ 1766454 h 12988636"/>
                  <a:gd name="connsiteX4" fmla="*/ 6754091 w 9874318"/>
                  <a:gd name="connsiteY4" fmla="*/ 3366654 h 12988636"/>
                  <a:gd name="connsiteX5" fmla="*/ 7523018 w 9874318"/>
                  <a:gd name="connsiteY5" fmla="*/ 6380018 h 12988636"/>
                  <a:gd name="connsiteX6" fmla="*/ 7938655 w 9874318"/>
                  <a:gd name="connsiteY6" fmla="*/ 7419109 h 12988636"/>
                  <a:gd name="connsiteX7" fmla="*/ 8458200 w 9874318"/>
                  <a:gd name="connsiteY7" fmla="*/ 8021782 h 12988636"/>
                  <a:gd name="connsiteX8" fmla="*/ 8395855 w 9874318"/>
                  <a:gd name="connsiteY8" fmla="*/ 8146473 h 12988636"/>
                  <a:gd name="connsiteX9" fmla="*/ 9102437 w 9874318"/>
                  <a:gd name="connsiteY9" fmla="*/ 9621982 h 12988636"/>
                  <a:gd name="connsiteX10" fmla="*/ 9164782 w 9874318"/>
                  <a:gd name="connsiteY10" fmla="*/ 9684327 h 12988636"/>
                  <a:gd name="connsiteX11" fmla="*/ 9871364 w 9874318"/>
                  <a:gd name="connsiteY11" fmla="*/ 11139054 h 12988636"/>
                  <a:gd name="connsiteX12" fmla="*/ 9850582 w 9874318"/>
                  <a:gd name="connsiteY12" fmla="*/ 11139054 h 12988636"/>
                  <a:gd name="connsiteX13" fmla="*/ 7917873 w 9874318"/>
                  <a:gd name="connsiteY13" fmla="*/ 12157363 h 12988636"/>
                  <a:gd name="connsiteX14" fmla="*/ 6380018 w 9874318"/>
                  <a:gd name="connsiteY14" fmla="*/ 11159836 h 12988636"/>
                  <a:gd name="connsiteX15" fmla="*/ 5943600 w 9874318"/>
                  <a:gd name="connsiteY15" fmla="*/ 9975273 h 12988636"/>
                  <a:gd name="connsiteX16" fmla="*/ 5964382 w 9874318"/>
                  <a:gd name="connsiteY16" fmla="*/ 11263745 h 12988636"/>
                  <a:gd name="connsiteX17" fmla="*/ 4987637 w 9874318"/>
                  <a:gd name="connsiteY17" fmla="*/ 12780818 h 12988636"/>
                  <a:gd name="connsiteX18" fmla="*/ 3013364 w 9874318"/>
                  <a:gd name="connsiteY18" fmla="*/ 12988636 h 12988636"/>
                  <a:gd name="connsiteX19" fmla="*/ 1496291 w 9874318"/>
                  <a:gd name="connsiteY19" fmla="*/ 12863945 h 12988636"/>
                  <a:gd name="connsiteX20" fmla="*/ 1745673 w 9874318"/>
                  <a:gd name="connsiteY20" fmla="*/ 11014363 h 12988636"/>
                  <a:gd name="connsiteX21" fmla="*/ 1891146 w 9874318"/>
                  <a:gd name="connsiteY21" fmla="*/ 9393382 h 12988636"/>
                  <a:gd name="connsiteX22" fmla="*/ 1724891 w 9874318"/>
                  <a:gd name="connsiteY22" fmla="*/ 9289473 h 12988636"/>
                  <a:gd name="connsiteX23" fmla="*/ 1911928 w 9874318"/>
                  <a:gd name="connsiteY23" fmla="*/ 8562109 h 12988636"/>
                  <a:gd name="connsiteX24" fmla="*/ 1766455 w 9874318"/>
                  <a:gd name="connsiteY24" fmla="*/ 6629400 h 12988636"/>
                  <a:gd name="connsiteX25" fmla="*/ 0 w 9874318"/>
                  <a:gd name="connsiteY25" fmla="*/ 1330036 h 12988636"/>
                  <a:gd name="connsiteX26" fmla="*/ 477982 w 9874318"/>
                  <a:gd name="connsiteY26" fmla="*/ 1226127 h 12988636"/>
                  <a:gd name="connsiteX27" fmla="*/ 2119746 w 9874318"/>
                  <a:gd name="connsiteY27" fmla="*/ 332509 h 12988636"/>
                  <a:gd name="connsiteX28" fmla="*/ 3408218 w 9874318"/>
                  <a:gd name="connsiteY28" fmla="*/ 2078182 h 12988636"/>
                  <a:gd name="connsiteX29" fmla="*/ 4530437 w 9874318"/>
                  <a:gd name="connsiteY29" fmla="*/ 3283527 h 12988636"/>
                  <a:gd name="connsiteX30" fmla="*/ 5112328 w 9874318"/>
                  <a:gd name="connsiteY30" fmla="*/ 976745 h 12988636"/>
                  <a:gd name="connsiteX31" fmla="*/ 5049982 w 9874318"/>
                  <a:gd name="connsiteY31" fmla="*/ 0 h 12988636"/>
                  <a:gd name="connsiteX32" fmla="*/ 4987637 w 9874318"/>
                  <a:gd name="connsiteY32" fmla="*/ 41563 h 12988636"/>
                  <a:gd name="connsiteX0" fmla="*/ 4987637 w 9874318"/>
                  <a:gd name="connsiteY0" fmla="*/ 41563 h 12988636"/>
                  <a:gd name="connsiteX1" fmla="*/ 6795655 w 9874318"/>
                  <a:gd name="connsiteY1" fmla="*/ 436418 h 12988636"/>
                  <a:gd name="connsiteX2" fmla="*/ 7502237 w 9874318"/>
                  <a:gd name="connsiteY2" fmla="*/ 727363 h 12988636"/>
                  <a:gd name="connsiteX3" fmla="*/ 7148946 w 9874318"/>
                  <a:gd name="connsiteY3" fmla="*/ 1766454 h 12988636"/>
                  <a:gd name="connsiteX4" fmla="*/ 6754091 w 9874318"/>
                  <a:gd name="connsiteY4" fmla="*/ 3366654 h 12988636"/>
                  <a:gd name="connsiteX5" fmla="*/ 7523018 w 9874318"/>
                  <a:gd name="connsiteY5" fmla="*/ 6380018 h 12988636"/>
                  <a:gd name="connsiteX6" fmla="*/ 7938655 w 9874318"/>
                  <a:gd name="connsiteY6" fmla="*/ 7419109 h 12988636"/>
                  <a:gd name="connsiteX7" fmla="*/ 8458200 w 9874318"/>
                  <a:gd name="connsiteY7" fmla="*/ 8021782 h 12988636"/>
                  <a:gd name="connsiteX8" fmla="*/ 8395855 w 9874318"/>
                  <a:gd name="connsiteY8" fmla="*/ 8146473 h 12988636"/>
                  <a:gd name="connsiteX9" fmla="*/ 9102437 w 9874318"/>
                  <a:gd name="connsiteY9" fmla="*/ 9621982 h 12988636"/>
                  <a:gd name="connsiteX10" fmla="*/ 9164782 w 9874318"/>
                  <a:gd name="connsiteY10" fmla="*/ 9684327 h 12988636"/>
                  <a:gd name="connsiteX11" fmla="*/ 9871364 w 9874318"/>
                  <a:gd name="connsiteY11" fmla="*/ 11139054 h 12988636"/>
                  <a:gd name="connsiteX12" fmla="*/ 9850582 w 9874318"/>
                  <a:gd name="connsiteY12" fmla="*/ 11139054 h 12988636"/>
                  <a:gd name="connsiteX13" fmla="*/ 7917873 w 9874318"/>
                  <a:gd name="connsiteY13" fmla="*/ 12157363 h 12988636"/>
                  <a:gd name="connsiteX14" fmla="*/ 6380018 w 9874318"/>
                  <a:gd name="connsiteY14" fmla="*/ 11159836 h 12988636"/>
                  <a:gd name="connsiteX15" fmla="*/ 5943600 w 9874318"/>
                  <a:gd name="connsiteY15" fmla="*/ 9975273 h 12988636"/>
                  <a:gd name="connsiteX16" fmla="*/ 5964382 w 9874318"/>
                  <a:gd name="connsiteY16" fmla="*/ 11263745 h 12988636"/>
                  <a:gd name="connsiteX17" fmla="*/ 4987637 w 9874318"/>
                  <a:gd name="connsiteY17" fmla="*/ 12780818 h 12988636"/>
                  <a:gd name="connsiteX18" fmla="*/ 3013364 w 9874318"/>
                  <a:gd name="connsiteY18" fmla="*/ 12988636 h 12988636"/>
                  <a:gd name="connsiteX19" fmla="*/ 1496291 w 9874318"/>
                  <a:gd name="connsiteY19" fmla="*/ 12863945 h 12988636"/>
                  <a:gd name="connsiteX20" fmla="*/ 1745673 w 9874318"/>
                  <a:gd name="connsiteY20" fmla="*/ 11014363 h 12988636"/>
                  <a:gd name="connsiteX21" fmla="*/ 1891146 w 9874318"/>
                  <a:gd name="connsiteY21" fmla="*/ 9393382 h 12988636"/>
                  <a:gd name="connsiteX22" fmla="*/ 1724891 w 9874318"/>
                  <a:gd name="connsiteY22" fmla="*/ 9289473 h 12988636"/>
                  <a:gd name="connsiteX23" fmla="*/ 1911928 w 9874318"/>
                  <a:gd name="connsiteY23" fmla="*/ 8562109 h 12988636"/>
                  <a:gd name="connsiteX24" fmla="*/ 1766455 w 9874318"/>
                  <a:gd name="connsiteY24" fmla="*/ 6629400 h 12988636"/>
                  <a:gd name="connsiteX25" fmla="*/ 0 w 9874318"/>
                  <a:gd name="connsiteY25" fmla="*/ 1330036 h 12988636"/>
                  <a:gd name="connsiteX26" fmla="*/ 477982 w 9874318"/>
                  <a:gd name="connsiteY26" fmla="*/ 1226127 h 12988636"/>
                  <a:gd name="connsiteX27" fmla="*/ 2119746 w 9874318"/>
                  <a:gd name="connsiteY27" fmla="*/ 332509 h 12988636"/>
                  <a:gd name="connsiteX28" fmla="*/ 3408218 w 9874318"/>
                  <a:gd name="connsiteY28" fmla="*/ 2078182 h 12988636"/>
                  <a:gd name="connsiteX29" fmla="*/ 4530437 w 9874318"/>
                  <a:gd name="connsiteY29" fmla="*/ 3283527 h 12988636"/>
                  <a:gd name="connsiteX30" fmla="*/ 5112328 w 9874318"/>
                  <a:gd name="connsiteY30" fmla="*/ 976745 h 12988636"/>
                  <a:gd name="connsiteX31" fmla="*/ 5049982 w 9874318"/>
                  <a:gd name="connsiteY31" fmla="*/ 0 h 12988636"/>
                  <a:gd name="connsiteX32" fmla="*/ 4987637 w 9874318"/>
                  <a:gd name="connsiteY32" fmla="*/ 41563 h 12988636"/>
                  <a:gd name="connsiteX0" fmla="*/ 4987637 w 9874318"/>
                  <a:gd name="connsiteY0" fmla="*/ 41563 h 12988636"/>
                  <a:gd name="connsiteX1" fmla="*/ 6795655 w 9874318"/>
                  <a:gd name="connsiteY1" fmla="*/ 436418 h 12988636"/>
                  <a:gd name="connsiteX2" fmla="*/ 7502237 w 9874318"/>
                  <a:gd name="connsiteY2" fmla="*/ 727363 h 12988636"/>
                  <a:gd name="connsiteX3" fmla="*/ 7148946 w 9874318"/>
                  <a:gd name="connsiteY3" fmla="*/ 1766454 h 12988636"/>
                  <a:gd name="connsiteX4" fmla="*/ 6754091 w 9874318"/>
                  <a:gd name="connsiteY4" fmla="*/ 3366654 h 12988636"/>
                  <a:gd name="connsiteX5" fmla="*/ 7523018 w 9874318"/>
                  <a:gd name="connsiteY5" fmla="*/ 6380018 h 12988636"/>
                  <a:gd name="connsiteX6" fmla="*/ 7938655 w 9874318"/>
                  <a:gd name="connsiteY6" fmla="*/ 7419109 h 12988636"/>
                  <a:gd name="connsiteX7" fmla="*/ 8458200 w 9874318"/>
                  <a:gd name="connsiteY7" fmla="*/ 8021782 h 12988636"/>
                  <a:gd name="connsiteX8" fmla="*/ 8395855 w 9874318"/>
                  <a:gd name="connsiteY8" fmla="*/ 8146473 h 12988636"/>
                  <a:gd name="connsiteX9" fmla="*/ 9102437 w 9874318"/>
                  <a:gd name="connsiteY9" fmla="*/ 9621982 h 12988636"/>
                  <a:gd name="connsiteX10" fmla="*/ 9164782 w 9874318"/>
                  <a:gd name="connsiteY10" fmla="*/ 9684327 h 12988636"/>
                  <a:gd name="connsiteX11" fmla="*/ 9871364 w 9874318"/>
                  <a:gd name="connsiteY11" fmla="*/ 11139054 h 12988636"/>
                  <a:gd name="connsiteX12" fmla="*/ 9850582 w 9874318"/>
                  <a:gd name="connsiteY12" fmla="*/ 11139054 h 12988636"/>
                  <a:gd name="connsiteX13" fmla="*/ 7917873 w 9874318"/>
                  <a:gd name="connsiteY13" fmla="*/ 12157363 h 12988636"/>
                  <a:gd name="connsiteX14" fmla="*/ 6380018 w 9874318"/>
                  <a:gd name="connsiteY14" fmla="*/ 11159836 h 12988636"/>
                  <a:gd name="connsiteX15" fmla="*/ 5943600 w 9874318"/>
                  <a:gd name="connsiteY15" fmla="*/ 9975273 h 12988636"/>
                  <a:gd name="connsiteX16" fmla="*/ 5964382 w 9874318"/>
                  <a:gd name="connsiteY16" fmla="*/ 11263745 h 12988636"/>
                  <a:gd name="connsiteX17" fmla="*/ 5105625 w 9874318"/>
                  <a:gd name="connsiteY17" fmla="*/ 12839812 h 12988636"/>
                  <a:gd name="connsiteX18" fmla="*/ 3013364 w 9874318"/>
                  <a:gd name="connsiteY18" fmla="*/ 12988636 h 12988636"/>
                  <a:gd name="connsiteX19" fmla="*/ 1496291 w 9874318"/>
                  <a:gd name="connsiteY19" fmla="*/ 12863945 h 12988636"/>
                  <a:gd name="connsiteX20" fmla="*/ 1745673 w 9874318"/>
                  <a:gd name="connsiteY20" fmla="*/ 11014363 h 12988636"/>
                  <a:gd name="connsiteX21" fmla="*/ 1891146 w 9874318"/>
                  <a:gd name="connsiteY21" fmla="*/ 9393382 h 12988636"/>
                  <a:gd name="connsiteX22" fmla="*/ 1724891 w 9874318"/>
                  <a:gd name="connsiteY22" fmla="*/ 9289473 h 12988636"/>
                  <a:gd name="connsiteX23" fmla="*/ 1911928 w 9874318"/>
                  <a:gd name="connsiteY23" fmla="*/ 8562109 h 12988636"/>
                  <a:gd name="connsiteX24" fmla="*/ 1766455 w 9874318"/>
                  <a:gd name="connsiteY24" fmla="*/ 6629400 h 12988636"/>
                  <a:gd name="connsiteX25" fmla="*/ 0 w 9874318"/>
                  <a:gd name="connsiteY25" fmla="*/ 1330036 h 12988636"/>
                  <a:gd name="connsiteX26" fmla="*/ 477982 w 9874318"/>
                  <a:gd name="connsiteY26" fmla="*/ 1226127 h 12988636"/>
                  <a:gd name="connsiteX27" fmla="*/ 2119746 w 9874318"/>
                  <a:gd name="connsiteY27" fmla="*/ 332509 h 12988636"/>
                  <a:gd name="connsiteX28" fmla="*/ 3408218 w 9874318"/>
                  <a:gd name="connsiteY28" fmla="*/ 2078182 h 12988636"/>
                  <a:gd name="connsiteX29" fmla="*/ 4530437 w 9874318"/>
                  <a:gd name="connsiteY29" fmla="*/ 3283527 h 12988636"/>
                  <a:gd name="connsiteX30" fmla="*/ 5112328 w 9874318"/>
                  <a:gd name="connsiteY30" fmla="*/ 976745 h 12988636"/>
                  <a:gd name="connsiteX31" fmla="*/ 5049982 w 9874318"/>
                  <a:gd name="connsiteY31" fmla="*/ 0 h 12988636"/>
                  <a:gd name="connsiteX32" fmla="*/ 4987637 w 9874318"/>
                  <a:gd name="connsiteY32" fmla="*/ 41563 h 12988636"/>
                  <a:gd name="connsiteX0" fmla="*/ 4987637 w 9874318"/>
                  <a:gd name="connsiteY0" fmla="*/ 41563 h 13036904"/>
                  <a:gd name="connsiteX1" fmla="*/ 6795655 w 9874318"/>
                  <a:gd name="connsiteY1" fmla="*/ 436418 h 13036904"/>
                  <a:gd name="connsiteX2" fmla="*/ 7502237 w 9874318"/>
                  <a:gd name="connsiteY2" fmla="*/ 727363 h 13036904"/>
                  <a:gd name="connsiteX3" fmla="*/ 7148946 w 9874318"/>
                  <a:gd name="connsiteY3" fmla="*/ 1766454 h 13036904"/>
                  <a:gd name="connsiteX4" fmla="*/ 6754091 w 9874318"/>
                  <a:gd name="connsiteY4" fmla="*/ 3366654 h 13036904"/>
                  <a:gd name="connsiteX5" fmla="*/ 7523018 w 9874318"/>
                  <a:gd name="connsiteY5" fmla="*/ 6380018 h 13036904"/>
                  <a:gd name="connsiteX6" fmla="*/ 7938655 w 9874318"/>
                  <a:gd name="connsiteY6" fmla="*/ 7419109 h 13036904"/>
                  <a:gd name="connsiteX7" fmla="*/ 8458200 w 9874318"/>
                  <a:gd name="connsiteY7" fmla="*/ 8021782 h 13036904"/>
                  <a:gd name="connsiteX8" fmla="*/ 8395855 w 9874318"/>
                  <a:gd name="connsiteY8" fmla="*/ 8146473 h 13036904"/>
                  <a:gd name="connsiteX9" fmla="*/ 9102437 w 9874318"/>
                  <a:gd name="connsiteY9" fmla="*/ 9621982 h 13036904"/>
                  <a:gd name="connsiteX10" fmla="*/ 9164782 w 9874318"/>
                  <a:gd name="connsiteY10" fmla="*/ 9684327 h 13036904"/>
                  <a:gd name="connsiteX11" fmla="*/ 9871364 w 9874318"/>
                  <a:gd name="connsiteY11" fmla="*/ 11139054 h 13036904"/>
                  <a:gd name="connsiteX12" fmla="*/ 9850582 w 9874318"/>
                  <a:gd name="connsiteY12" fmla="*/ 11139054 h 13036904"/>
                  <a:gd name="connsiteX13" fmla="*/ 7917873 w 9874318"/>
                  <a:gd name="connsiteY13" fmla="*/ 12157363 h 13036904"/>
                  <a:gd name="connsiteX14" fmla="*/ 6380018 w 9874318"/>
                  <a:gd name="connsiteY14" fmla="*/ 11159836 h 13036904"/>
                  <a:gd name="connsiteX15" fmla="*/ 5943600 w 9874318"/>
                  <a:gd name="connsiteY15" fmla="*/ 9975273 h 13036904"/>
                  <a:gd name="connsiteX16" fmla="*/ 5964382 w 9874318"/>
                  <a:gd name="connsiteY16" fmla="*/ 11263745 h 13036904"/>
                  <a:gd name="connsiteX17" fmla="*/ 5105625 w 9874318"/>
                  <a:gd name="connsiteY17" fmla="*/ 12839812 h 13036904"/>
                  <a:gd name="connsiteX18" fmla="*/ 3013364 w 9874318"/>
                  <a:gd name="connsiteY18" fmla="*/ 12988636 h 13036904"/>
                  <a:gd name="connsiteX19" fmla="*/ 1496291 w 9874318"/>
                  <a:gd name="connsiteY19" fmla="*/ 12863945 h 13036904"/>
                  <a:gd name="connsiteX20" fmla="*/ 1745673 w 9874318"/>
                  <a:gd name="connsiteY20" fmla="*/ 11014363 h 13036904"/>
                  <a:gd name="connsiteX21" fmla="*/ 1891146 w 9874318"/>
                  <a:gd name="connsiteY21" fmla="*/ 9393382 h 13036904"/>
                  <a:gd name="connsiteX22" fmla="*/ 1724891 w 9874318"/>
                  <a:gd name="connsiteY22" fmla="*/ 9289473 h 13036904"/>
                  <a:gd name="connsiteX23" fmla="*/ 1911928 w 9874318"/>
                  <a:gd name="connsiteY23" fmla="*/ 8562109 h 13036904"/>
                  <a:gd name="connsiteX24" fmla="*/ 1766455 w 9874318"/>
                  <a:gd name="connsiteY24" fmla="*/ 6629400 h 13036904"/>
                  <a:gd name="connsiteX25" fmla="*/ 0 w 9874318"/>
                  <a:gd name="connsiteY25" fmla="*/ 1330036 h 13036904"/>
                  <a:gd name="connsiteX26" fmla="*/ 477982 w 9874318"/>
                  <a:gd name="connsiteY26" fmla="*/ 1226127 h 13036904"/>
                  <a:gd name="connsiteX27" fmla="*/ 2119746 w 9874318"/>
                  <a:gd name="connsiteY27" fmla="*/ 332509 h 13036904"/>
                  <a:gd name="connsiteX28" fmla="*/ 3408218 w 9874318"/>
                  <a:gd name="connsiteY28" fmla="*/ 2078182 h 13036904"/>
                  <a:gd name="connsiteX29" fmla="*/ 4530437 w 9874318"/>
                  <a:gd name="connsiteY29" fmla="*/ 3283527 h 13036904"/>
                  <a:gd name="connsiteX30" fmla="*/ 5112328 w 9874318"/>
                  <a:gd name="connsiteY30" fmla="*/ 976745 h 13036904"/>
                  <a:gd name="connsiteX31" fmla="*/ 5049982 w 9874318"/>
                  <a:gd name="connsiteY31" fmla="*/ 0 h 13036904"/>
                  <a:gd name="connsiteX32" fmla="*/ 4987637 w 9874318"/>
                  <a:gd name="connsiteY32" fmla="*/ 41563 h 13036904"/>
                  <a:gd name="connsiteX0" fmla="*/ 4987637 w 9874318"/>
                  <a:gd name="connsiteY0" fmla="*/ 41563 h 13036904"/>
                  <a:gd name="connsiteX1" fmla="*/ 6795655 w 9874318"/>
                  <a:gd name="connsiteY1" fmla="*/ 436418 h 13036904"/>
                  <a:gd name="connsiteX2" fmla="*/ 7502237 w 9874318"/>
                  <a:gd name="connsiteY2" fmla="*/ 727363 h 13036904"/>
                  <a:gd name="connsiteX3" fmla="*/ 7148946 w 9874318"/>
                  <a:gd name="connsiteY3" fmla="*/ 1766454 h 13036904"/>
                  <a:gd name="connsiteX4" fmla="*/ 6754091 w 9874318"/>
                  <a:gd name="connsiteY4" fmla="*/ 3366654 h 13036904"/>
                  <a:gd name="connsiteX5" fmla="*/ 7523018 w 9874318"/>
                  <a:gd name="connsiteY5" fmla="*/ 6380018 h 13036904"/>
                  <a:gd name="connsiteX6" fmla="*/ 7938655 w 9874318"/>
                  <a:gd name="connsiteY6" fmla="*/ 7419109 h 13036904"/>
                  <a:gd name="connsiteX7" fmla="*/ 8458200 w 9874318"/>
                  <a:gd name="connsiteY7" fmla="*/ 8021782 h 13036904"/>
                  <a:gd name="connsiteX8" fmla="*/ 8395855 w 9874318"/>
                  <a:gd name="connsiteY8" fmla="*/ 8146473 h 13036904"/>
                  <a:gd name="connsiteX9" fmla="*/ 9102437 w 9874318"/>
                  <a:gd name="connsiteY9" fmla="*/ 9621982 h 13036904"/>
                  <a:gd name="connsiteX10" fmla="*/ 9871364 w 9874318"/>
                  <a:gd name="connsiteY10" fmla="*/ 11139054 h 13036904"/>
                  <a:gd name="connsiteX11" fmla="*/ 9850582 w 9874318"/>
                  <a:gd name="connsiteY11" fmla="*/ 11139054 h 13036904"/>
                  <a:gd name="connsiteX12" fmla="*/ 7917873 w 9874318"/>
                  <a:gd name="connsiteY12" fmla="*/ 12157363 h 13036904"/>
                  <a:gd name="connsiteX13" fmla="*/ 6380018 w 9874318"/>
                  <a:gd name="connsiteY13" fmla="*/ 11159836 h 13036904"/>
                  <a:gd name="connsiteX14" fmla="*/ 5943600 w 9874318"/>
                  <a:gd name="connsiteY14" fmla="*/ 9975273 h 13036904"/>
                  <a:gd name="connsiteX15" fmla="*/ 5964382 w 9874318"/>
                  <a:gd name="connsiteY15" fmla="*/ 11263745 h 13036904"/>
                  <a:gd name="connsiteX16" fmla="*/ 5105625 w 9874318"/>
                  <a:gd name="connsiteY16" fmla="*/ 12839812 h 13036904"/>
                  <a:gd name="connsiteX17" fmla="*/ 3013364 w 9874318"/>
                  <a:gd name="connsiteY17" fmla="*/ 12988636 h 13036904"/>
                  <a:gd name="connsiteX18" fmla="*/ 1496291 w 9874318"/>
                  <a:gd name="connsiteY18" fmla="*/ 12863945 h 13036904"/>
                  <a:gd name="connsiteX19" fmla="*/ 1745673 w 9874318"/>
                  <a:gd name="connsiteY19" fmla="*/ 11014363 h 13036904"/>
                  <a:gd name="connsiteX20" fmla="*/ 1891146 w 9874318"/>
                  <a:gd name="connsiteY20" fmla="*/ 9393382 h 13036904"/>
                  <a:gd name="connsiteX21" fmla="*/ 1724891 w 9874318"/>
                  <a:gd name="connsiteY21" fmla="*/ 9289473 h 13036904"/>
                  <a:gd name="connsiteX22" fmla="*/ 1911928 w 9874318"/>
                  <a:gd name="connsiteY22" fmla="*/ 8562109 h 13036904"/>
                  <a:gd name="connsiteX23" fmla="*/ 1766455 w 9874318"/>
                  <a:gd name="connsiteY23" fmla="*/ 6629400 h 13036904"/>
                  <a:gd name="connsiteX24" fmla="*/ 0 w 9874318"/>
                  <a:gd name="connsiteY24" fmla="*/ 1330036 h 13036904"/>
                  <a:gd name="connsiteX25" fmla="*/ 477982 w 9874318"/>
                  <a:gd name="connsiteY25" fmla="*/ 1226127 h 13036904"/>
                  <a:gd name="connsiteX26" fmla="*/ 2119746 w 9874318"/>
                  <a:gd name="connsiteY26" fmla="*/ 332509 h 13036904"/>
                  <a:gd name="connsiteX27" fmla="*/ 3408218 w 9874318"/>
                  <a:gd name="connsiteY27" fmla="*/ 2078182 h 13036904"/>
                  <a:gd name="connsiteX28" fmla="*/ 4530437 w 9874318"/>
                  <a:gd name="connsiteY28" fmla="*/ 3283527 h 13036904"/>
                  <a:gd name="connsiteX29" fmla="*/ 5112328 w 9874318"/>
                  <a:gd name="connsiteY29" fmla="*/ 976745 h 13036904"/>
                  <a:gd name="connsiteX30" fmla="*/ 5049982 w 9874318"/>
                  <a:gd name="connsiteY30" fmla="*/ 0 h 13036904"/>
                  <a:gd name="connsiteX31" fmla="*/ 4987637 w 9874318"/>
                  <a:gd name="connsiteY31" fmla="*/ 41563 h 13036904"/>
                  <a:gd name="connsiteX0" fmla="*/ 4987637 w 9874318"/>
                  <a:gd name="connsiteY0" fmla="*/ 41563 h 13036904"/>
                  <a:gd name="connsiteX1" fmla="*/ 6795655 w 9874318"/>
                  <a:gd name="connsiteY1" fmla="*/ 436418 h 13036904"/>
                  <a:gd name="connsiteX2" fmla="*/ 7502237 w 9874318"/>
                  <a:gd name="connsiteY2" fmla="*/ 727363 h 13036904"/>
                  <a:gd name="connsiteX3" fmla="*/ 7148946 w 9874318"/>
                  <a:gd name="connsiteY3" fmla="*/ 1766454 h 13036904"/>
                  <a:gd name="connsiteX4" fmla="*/ 6754091 w 9874318"/>
                  <a:gd name="connsiteY4" fmla="*/ 3366654 h 13036904"/>
                  <a:gd name="connsiteX5" fmla="*/ 7523018 w 9874318"/>
                  <a:gd name="connsiteY5" fmla="*/ 6380018 h 13036904"/>
                  <a:gd name="connsiteX6" fmla="*/ 7938655 w 9874318"/>
                  <a:gd name="connsiteY6" fmla="*/ 7419109 h 13036904"/>
                  <a:gd name="connsiteX7" fmla="*/ 8458200 w 9874318"/>
                  <a:gd name="connsiteY7" fmla="*/ 8021782 h 13036904"/>
                  <a:gd name="connsiteX8" fmla="*/ 8395855 w 9874318"/>
                  <a:gd name="connsiteY8" fmla="*/ 8146473 h 13036904"/>
                  <a:gd name="connsiteX9" fmla="*/ 9102437 w 9874318"/>
                  <a:gd name="connsiteY9" fmla="*/ 9621982 h 13036904"/>
                  <a:gd name="connsiteX10" fmla="*/ 9871364 w 9874318"/>
                  <a:gd name="connsiteY10" fmla="*/ 11139054 h 13036904"/>
                  <a:gd name="connsiteX11" fmla="*/ 9850582 w 9874318"/>
                  <a:gd name="connsiteY11" fmla="*/ 11139054 h 13036904"/>
                  <a:gd name="connsiteX12" fmla="*/ 7917873 w 9874318"/>
                  <a:gd name="connsiteY12" fmla="*/ 12157363 h 13036904"/>
                  <a:gd name="connsiteX13" fmla="*/ 6380018 w 9874318"/>
                  <a:gd name="connsiteY13" fmla="*/ 11159836 h 13036904"/>
                  <a:gd name="connsiteX14" fmla="*/ 5943600 w 9874318"/>
                  <a:gd name="connsiteY14" fmla="*/ 9975273 h 13036904"/>
                  <a:gd name="connsiteX15" fmla="*/ 5964382 w 9874318"/>
                  <a:gd name="connsiteY15" fmla="*/ 11263745 h 13036904"/>
                  <a:gd name="connsiteX16" fmla="*/ 5105625 w 9874318"/>
                  <a:gd name="connsiteY16" fmla="*/ 12839812 h 13036904"/>
                  <a:gd name="connsiteX17" fmla="*/ 3013364 w 9874318"/>
                  <a:gd name="connsiteY17" fmla="*/ 12988636 h 13036904"/>
                  <a:gd name="connsiteX18" fmla="*/ 1496291 w 9874318"/>
                  <a:gd name="connsiteY18" fmla="*/ 12863945 h 13036904"/>
                  <a:gd name="connsiteX19" fmla="*/ 1745673 w 9874318"/>
                  <a:gd name="connsiteY19" fmla="*/ 11014363 h 13036904"/>
                  <a:gd name="connsiteX20" fmla="*/ 1891146 w 9874318"/>
                  <a:gd name="connsiteY20" fmla="*/ 9393382 h 13036904"/>
                  <a:gd name="connsiteX21" fmla="*/ 1724891 w 9874318"/>
                  <a:gd name="connsiteY21" fmla="*/ 9289473 h 13036904"/>
                  <a:gd name="connsiteX22" fmla="*/ 1911928 w 9874318"/>
                  <a:gd name="connsiteY22" fmla="*/ 8562109 h 13036904"/>
                  <a:gd name="connsiteX23" fmla="*/ 1766455 w 9874318"/>
                  <a:gd name="connsiteY23" fmla="*/ 6629400 h 13036904"/>
                  <a:gd name="connsiteX24" fmla="*/ 0 w 9874318"/>
                  <a:gd name="connsiteY24" fmla="*/ 1330036 h 13036904"/>
                  <a:gd name="connsiteX25" fmla="*/ 462216 w 9874318"/>
                  <a:gd name="connsiteY25" fmla="*/ 1147299 h 13036904"/>
                  <a:gd name="connsiteX26" fmla="*/ 2119746 w 9874318"/>
                  <a:gd name="connsiteY26" fmla="*/ 332509 h 13036904"/>
                  <a:gd name="connsiteX27" fmla="*/ 3408218 w 9874318"/>
                  <a:gd name="connsiteY27" fmla="*/ 2078182 h 13036904"/>
                  <a:gd name="connsiteX28" fmla="*/ 4530437 w 9874318"/>
                  <a:gd name="connsiteY28" fmla="*/ 3283527 h 13036904"/>
                  <a:gd name="connsiteX29" fmla="*/ 5112328 w 9874318"/>
                  <a:gd name="connsiteY29" fmla="*/ 976745 h 13036904"/>
                  <a:gd name="connsiteX30" fmla="*/ 5049982 w 9874318"/>
                  <a:gd name="connsiteY30" fmla="*/ 0 h 13036904"/>
                  <a:gd name="connsiteX31" fmla="*/ 4987637 w 9874318"/>
                  <a:gd name="connsiteY31" fmla="*/ 41563 h 13036904"/>
                  <a:gd name="connsiteX0" fmla="*/ 4987637 w 9874318"/>
                  <a:gd name="connsiteY0" fmla="*/ 41563 h 13036904"/>
                  <a:gd name="connsiteX1" fmla="*/ 6795655 w 9874318"/>
                  <a:gd name="connsiteY1" fmla="*/ 436418 h 13036904"/>
                  <a:gd name="connsiteX2" fmla="*/ 7502237 w 9874318"/>
                  <a:gd name="connsiteY2" fmla="*/ 727363 h 13036904"/>
                  <a:gd name="connsiteX3" fmla="*/ 7148946 w 9874318"/>
                  <a:gd name="connsiteY3" fmla="*/ 1766454 h 13036904"/>
                  <a:gd name="connsiteX4" fmla="*/ 6754091 w 9874318"/>
                  <a:gd name="connsiteY4" fmla="*/ 3366654 h 13036904"/>
                  <a:gd name="connsiteX5" fmla="*/ 7523018 w 9874318"/>
                  <a:gd name="connsiteY5" fmla="*/ 6380018 h 13036904"/>
                  <a:gd name="connsiteX6" fmla="*/ 7938655 w 9874318"/>
                  <a:gd name="connsiteY6" fmla="*/ 7419109 h 13036904"/>
                  <a:gd name="connsiteX7" fmla="*/ 8458200 w 9874318"/>
                  <a:gd name="connsiteY7" fmla="*/ 8021782 h 13036904"/>
                  <a:gd name="connsiteX8" fmla="*/ 8395855 w 9874318"/>
                  <a:gd name="connsiteY8" fmla="*/ 8146473 h 13036904"/>
                  <a:gd name="connsiteX9" fmla="*/ 9102437 w 9874318"/>
                  <a:gd name="connsiteY9" fmla="*/ 9621982 h 13036904"/>
                  <a:gd name="connsiteX10" fmla="*/ 9871364 w 9874318"/>
                  <a:gd name="connsiteY10" fmla="*/ 11139054 h 13036904"/>
                  <a:gd name="connsiteX11" fmla="*/ 9850582 w 9874318"/>
                  <a:gd name="connsiteY11" fmla="*/ 11139054 h 13036904"/>
                  <a:gd name="connsiteX12" fmla="*/ 7917873 w 9874318"/>
                  <a:gd name="connsiteY12" fmla="*/ 12157363 h 13036904"/>
                  <a:gd name="connsiteX13" fmla="*/ 6380018 w 9874318"/>
                  <a:gd name="connsiteY13" fmla="*/ 11159836 h 13036904"/>
                  <a:gd name="connsiteX14" fmla="*/ 5943600 w 9874318"/>
                  <a:gd name="connsiteY14" fmla="*/ 9975273 h 13036904"/>
                  <a:gd name="connsiteX15" fmla="*/ 5964382 w 9874318"/>
                  <a:gd name="connsiteY15" fmla="*/ 11263745 h 13036904"/>
                  <a:gd name="connsiteX16" fmla="*/ 5105625 w 9874318"/>
                  <a:gd name="connsiteY16" fmla="*/ 12839812 h 13036904"/>
                  <a:gd name="connsiteX17" fmla="*/ 3013364 w 9874318"/>
                  <a:gd name="connsiteY17" fmla="*/ 12988636 h 13036904"/>
                  <a:gd name="connsiteX18" fmla="*/ 1496291 w 9874318"/>
                  <a:gd name="connsiteY18" fmla="*/ 12863945 h 13036904"/>
                  <a:gd name="connsiteX19" fmla="*/ 1745673 w 9874318"/>
                  <a:gd name="connsiteY19" fmla="*/ 11014363 h 13036904"/>
                  <a:gd name="connsiteX20" fmla="*/ 1891146 w 9874318"/>
                  <a:gd name="connsiteY20" fmla="*/ 9393382 h 13036904"/>
                  <a:gd name="connsiteX21" fmla="*/ 1724891 w 9874318"/>
                  <a:gd name="connsiteY21" fmla="*/ 9289473 h 13036904"/>
                  <a:gd name="connsiteX22" fmla="*/ 1911928 w 9874318"/>
                  <a:gd name="connsiteY22" fmla="*/ 8562109 h 13036904"/>
                  <a:gd name="connsiteX23" fmla="*/ 1766455 w 9874318"/>
                  <a:gd name="connsiteY23" fmla="*/ 6629400 h 13036904"/>
                  <a:gd name="connsiteX24" fmla="*/ 0 w 9874318"/>
                  <a:gd name="connsiteY24" fmla="*/ 1330036 h 13036904"/>
                  <a:gd name="connsiteX25" fmla="*/ 462216 w 9874318"/>
                  <a:gd name="connsiteY25" fmla="*/ 1147299 h 13036904"/>
                  <a:gd name="connsiteX26" fmla="*/ 2119746 w 9874318"/>
                  <a:gd name="connsiteY26" fmla="*/ 332509 h 13036904"/>
                  <a:gd name="connsiteX27" fmla="*/ 3408218 w 9874318"/>
                  <a:gd name="connsiteY27" fmla="*/ 2078182 h 13036904"/>
                  <a:gd name="connsiteX28" fmla="*/ 4530437 w 9874318"/>
                  <a:gd name="connsiteY28" fmla="*/ 3283527 h 13036904"/>
                  <a:gd name="connsiteX29" fmla="*/ 5112328 w 9874318"/>
                  <a:gd name="connsiteY29" fmla="*/ 976745 h 13036904"/>
                  <a:gd name="connsiteX30" fmla="*/ 5049982 w 9874318"/>
                  <a:gd name="connsiteY30" fmla="*/ 0 h 13036904"/>
                  <a:gd name="connsiteX31" fmla="*/ 4987637 w 9874318"/>
                  <a:gd name="connsiteY31" fmla="*/ 41563 h 13036904"/>
                  <a:gd name="connsiteX0" fmla="*/ 4987637 w 9874318"/>
                  <a:gd name="connsiteY0" fmla="*/ 41563 h 13036904"/>
                  <a:gd name="connsiteX1" fmla="*/ 6795655 w 9874318"/>
                  <a:gd name="connsiteY1" fmla="*/ 436418 h 13036904"/>
                  <a:gd name="connsiteX2" fmla="*/ 7502237 w 9874318"/>
                  <a:gd name="connsiteY2" fmla="*/ 727363 h 13036904"/>
                  <a:gd name="connsiteX3" fmla="*/ 7148946 w 9874318"/>
                  <a:gd name="connsiteY3" fmla="*/ 1766454 h 13036904"/>
                  <a:gd name="connsiteX4" fmla="*/ 6754091 w 9874318"/>
                  <a:gd name="connsiteY4" fmla="*/ 3366654 h 13036904"/>
                  <a:gd name="connsiteX5" fmla="*/ 7523018 w 9874318"/>
                  <a:gd name="connsiteY5" fmla="*/ 6380018 h 13036904"/>
                  <a:gd name="connsiteX6" fmla="*/ 7938655 w 9874318"/>
                  <a:gd name="connsiteY6" fmla="*/ 7419109 h 13036904"/>
                  <a:gd name="connsiteX7" fmla="*/ 8458200 w 9874318"/>
                  <a:gd name="connsiteY7" fmla="*/ 8021782 h 13036904"/>
                  <a:gd name="connsiteX8" fmla="*/ 8395855 w 9874318"/>
                  <a:gd name="connsiteY8" fmla="*/ 8146473 h 13036904"/>
                  <a:gd name="connsiteX9" fmla="*/ 9102437 w 9874318"/>
                  <a:gd name="connsiteY9" fmla="*/ 9621982 h 13036904"/>
                  <a:gd name="connsiteX10" fmla="*/ 9871364 w 9874318"/>
                  <a:gd name="connsiteY10" fmla="*/ 11139054 h 13036904"/>
                  <a:gd name="connsiteX11" fmla="*/ 9850582 w 9874318"/>
                  <a:gd name="connsiteY11" fmla="*/ 11139054 h 13036904"/>
                  <a:gd name="connsiteX12" fmla="*/ 7917873 w 9874318"/>
                  <a:gd name="connsiteY12" fmla="*/ 12157363 h 13036904"/>
                  <a:gd name="connsiteX13" fmla="*/ 6380018 w 9874318"/>
                  <a:gd name="connsiteY13" fmla="*/ 11159836 h 13036904"/>
                  <a:gd name="connsiteX14" fmla="*/ 5943600 w 9874318"/>
                  <a:gd name="connsiteY14" fmla="*/ 9975273 h 13036904"/>
                  <a:gd name="connsiteX15" fmla="*/ 5964382 w 9874318"/>
                  <a:gd name="connsiteY15" fmla="*/ 11263745 h 13036904"/>
                  <a:gd name="connsiteX16" fmla="*/ 5105625 w 9874318"/>
                  <a:gd name="connsiteY16" fmla="*/ 12839812 h 13036904"/>
                  <a:gd name="connsiteX17" fmla="*/ 3013364 w 9874318"/>
                  <a:gd name="connsiteY17" fmla="*/ 12988636 h 13036904"/>
                  <a:gd name="connsiteX18" fmla="*/ 1496291 w 9874318"/>
                  <a:gd name="connsiteY18" fmla="*/ 12863945 h 13036904"/>
                  <a:gd name="connsiteX19" fmla="*/ 1745673 w 9874318"/>
                  <a:gd name="connsiteY19" fmla="*/ 11014363 h 13036904"/>
                  <a:gd name="connsiteX20" fmla="*/ 1891146 w 9874318"/>
                  <a:gd name="connsiteY20" fmla="*/ 9393382 h 13036904"/>
                  <a:gd name="connsiteX21" fmla="*/ 1724891 w 9874318"/>
                  <a:gd name="connsiteY21" fmla="*/ 9289473 h 13036904"/>
                  <a:gd name="connsiteX22" fmla="*/ 1911928 w 9874318"/>
                  <a:gd name="connsiteY22" fmla="*/ 8562109 h 13036904"/>
                  <a:gd name="connsiteX23" fmla="*/ 1766455 w 9874318"/>
                  <a:gd name="connsiteY23" fmla="*/ 6629400 h 13036904"/>
                  <a:gd name="connsiteX24" fmla="*/ 0 w 9874318"/>
                  <a:gd name="connsiteY24" fmla="*/ 1330036 h 13036904"/>
                  <a:gd name="connsiteX25" fmla="*/ 462216 w 9874318"/>
                  <a:gd name="connsiteY25" fmla="*/ 1147299 h 13036904"/>
                  <a:gd name="connsiteX26" fmla="*/ 2119746 w 9874318"/>
                  <a:gd name="connsiteY26" fmla="*/ 332509 h 13036904"/>
                  <a:gd name="connsiteX27" fmla="*/ 3408218 w 9874318"/>
                  <a:gd name="connsiteY27" fmla="*/ 2078182 h 13036904"/>
                  <a:gd name="connsiteX28" fmla="*/ 4530437 w 9874318"/>
                  <a:gd name="connsiteY28" fmla="*/ 3283527 h 13036904"/>
                  <a:gd name="connsiteX29" fmla="*/ 5112328 w 9874318"/>
                  <a:gd name="connsiteY29" fmla="*/ 976745 h 13036904"/>
                  <a:gd name="connsiteX30" fmla="*/ 5049982 w 9874318"/>
                  <a:gd name="connsiteY30" fmla="*/ 0 h 13036904"/>
                  <a:gd name="connsiteX31" fmla="*/ 4987637 w 9874318"/>
                  <a:gd name="connsiteY31" fmla="*/ 41563 h 13036904"/>
                  <a:gd name="connsiteX0" fmla="*/ 4987637 w 9874318"/>
                  <a:gd name="connsiteY0" fmla="*/ 41563 h 13036904"/>
                  <a:gd name="connsiteX1" fmla="*/ 6795655 w 9874318"/>
                  <a:gd name="connsiteY1" fmla="*/ 436418 h 13036904"/>
                  <a:gd name="connsiteX2" fmla="*/ 7502237 w 9874318"/>
                  <a:gd name="connsiteY2" fmla="*/ 727363 h 13036904"/>
                  <a:gd name="connsiteX3" fmla="*/ 7148946 w 9874318"/>
                  <a:gd name="connsiteY3" fmla="*/ 1766454 h 13036904"/>
                  <a:gd name="connsiteX4" fmla="*/ 6754091 w 9874318"/>
                  <a:gd name="connsiteY4" fmla="*/ 3366654 h 13036904"/>
                  <a:gd name="connsiteX5" fmla="*/ 7523018 w 9874318"/>
                  <a:gd name="connsiteY5" fmla="*/ 6380018 h 13036904"/>
                  <a:gd name="connsiteX6" fmla="*/ 7938655 w 9874318"/>
                  <a:gd name="connsiteY6" fmla="*/ 7419109 h 13036904"/>
                  <a:gd name="connsiteX7" fmla="*/ 8458200 w 9874318"/>
                  <a:gd name="connsiteY7" fmla="*/ 8021782 h 13036904"/>
                  <a:gd name="connsiteX8" fmla="*/ 8395855 w 9874318"/>
                  <a:gd name="connsiteY8" fmla="*/ 8146473 h 13036904"/>
                  <a:gd name="connsiteX9" fmla="*/ 9102437 w 9874318"/>
                  <a:gd name="connsiteY9" fmla="*/ 9621982 h 13036904"/>
                  <a:gd name="connsiteX10" fmla="*/ 9871364 w 9874318"/>
                  <a:gd name="connsiteY10" fmla="*/ 11139054 h 13036904"/>
                  <a:gd name="connsiteX11" fmla="*/ 9850582 w 9874318"/>
                  <a:gd name="connsiteY11" fmla="*/ 11139054 h 13036904"/>
                  <a:gd name="connsiteX12" fmla="*/ 7917873 w 9874318"/>
                  <a:gd name="connsiteY12" fmla="*/ 12157363 h 13036904"/>
                  <a:gd name="connsiteX13" fmla="*/ 6380018 w 9874318"/>
                  <a:gd name="connsiteY13" fmla="*/ 11159836 h 13036904"/>
                  <a:gd name="connsiteX14" fmla="*/ 5943600 w 9874318"/>
                  <a:gd name="connsiteY14" fmla="*/ 9975273 h 13036904"/>
                  <a:gd name="connsiteX15" fmla="*/ 5964382 w 9874318"/>
                  <a:gd name="connsiteY15" fmla="*/ 11263745 h 13036904"/>
                  <a:gd name="connsiteX16" fmla="*/ 5105625 w 9874318"/>
                  <a:gd name="connsiteY16" fmla="*/ 12839812 h 13036904"/>
                  <a:gd name="connsiteX17" fmla="*/ 3013364 w 9874318"/>
                  <a:gd name="connsiteY17" fmla="*/ 12988636 h 13036904"/>
                  <a:gd name="connsiteX18" fmla="*/ 1496291 w 9874318"/>
                  <a:gd name="connsiteY18" fmla="*/ 12863945 h 13036904"/>
                  <a:gd name="connsiteX19" fmla="*/ 1745673 w 9874318"/>
                  <a:gd name="connsiteY19" fmla="*/ 11014363 h 13036904"/>
                  <a:gd name="connsiteX20" fmla="*/ 1891146 w 9874318"/>
                  <a:gd name="connsiteY20" fmla="*/ 9393382 h 13036904"/>
                  <a:gd name="connsiteX21" fmla="*/ 1724891 w 9874318"/>
                  <a:gd name="connsiteY21" fmla="*/ 9289473 h 13036904"/>
                  <a:gd name="connsiteX22" fmla="*/ 1911928 w 9874318"/>
                  <a:gd name="connsiteY22" fmla="*/ 8562109 h 13036904"/>
                  <a:gd name="connsiteX23" fmla="*/ 1766455 w 9874318"/>
                  <a:gd name="connsiteY23" fmla="*/ 6629400 h 13036904"/>
                  <a:gd name="connsiteX24" fmla="*/ 0 w 9874318"/>
                  <a:gd name="connsiteY24" fmla="*/ 1330036 h 13036904"/>
                  <a:gd name="connsiteX25" fmla="*/ 462216 w 9874318"/>
                  <a:gd name="connsiteY25" fmla="*/ 1147299 h 13036904"/>
                  <a:gd name="connsiteX26" fmla="*/ 2119746 w 9874318"/>
                  <a:gd name="connsiteY26" fmla="*/ 332509 h 13036904"/>
                  <a:gd name="connsiteX27" fmla="*/ 3408218 w 9874318"/>
                  <a:gd name="connsiteY27" fmla="*/ 2078182 h 13036904"/>
                  <a:gd name="connsiteX28" fmla="*/ 4530437 w 9874318"/>
                  <a:gd name="connsiteY28" fmla="*/ 3283527 h 13036904"/>
                  <a:gd name="connsiteX29" fmla="*/ 5112328 w 9874318"/>
                  <a:gd name="connsiteY29" fmla="*/ 976745 h 13036904"/>
                  <a:gd name="connsiteX30" fmla="*/ 5049982 w 9874318"/>
                  <a:gd name="connsiteY30" fmla="*/ 0 h 13036904"/>
                  <a:gd name="connsiteX31" fmla="*/ 4987637 w 9874318"/>
                  <a:gd name="connsiteY31" fmla="*/ 41563 h 13036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874318" h="13036904">
                    <a:moveTo>
                      <a:pt x="4987637" y="41563"/>
                    </a:moveTo>
                    <a:lnTo>
                      <a:pt x="6795655" y="436418"/>
                    </a:lnTo>
                    <a:lnTo>
                      <a:pt x="7502237" y="727363"/>
                    </a:lnTo>
                    <a:cubicBezTo>
                      <a:pt x="7166687" y="1754986"/>
                      <a:pt x="7422224" y="1493190"/>
                      <a:pt x="7148946" y="1766454"/>
                    </a:cubicBezTo>
                    <a:cubicBezTo>
                      <a:pt x="7015697" y="2299449"/>
                      <a:pt x="6754091" y="2817255"/>
                      <a:pt x="6754091" y="3366654"/>
                    </a:cubicBezTo>
                    <a:lnTo>
                      <a:pt x="7523018" y="6380018"/>
                    </a:lnTo>
                    <a:lnTo>
                      <a:pt x="7938655" y="7419109"/>
                    </a:lnTo>
                    <a:lnTo>
                      <a:pt x="8458200" y="8021782"/>
                    </a:lnTo>
                    <a:lnTo>
                      <a:pt x="8395855" y="8146473"/>
                    </a:lnTo>
                    <a:cubicBezTo>
                      <a:pt x="8631382" y="8638309"/>
                      <a:pt x="8858562" y="9134231"/>
                      <a:pt x="9102437" y="9621982"/>
                    </a:cubicBezTo>
                    <a:cubicBezTo>
                      <a:pt x="9348355" y="10120745"/>
                      <a:pt x="9746673" y="10886209"/>
                      <a:pt x="9871364" y="11139054"/>
                    </a:cubicBezTo>
                    <a:cubicBezTo>
                      <a:pt x="9874318" y="11145320"/>
                      <a:pt x="9857509" y="11139054"/>
                      <a:pt x="9850582" y="11139054"/>
                    </a:cubicBezTo>
                    <a:cubicBezTo>
                      <a:pt x="9206346" y="11478490"/>
                      <a:pt x="8709592" y="11876920"/>
                      <a:pt x="7917873" y="12157363"/>
                    </a:cubicBezTo>
                    <a:cubicBezTo>
                      <a:pt x="7139784" y="12178815"/>
                      <a:pt x="6863139" y="11964294"/>
                      <a:pt x="6380018" y="11159836"/>
                    </a:cubicBezTo>
                    <a:lnTo>
                      <a:pt x="5943600" y="9975273"/>
                    </a:lnTo>
                    <a:lnTo>
                      <a:pt x="5964382" y="11263745"/>
                    </a:lnTo>
                    <a:cubicBezTo>
                      <a:pt x="6051755" y="12300378"/>
                      <a:pt x="5814666" y="12540598"/>
                      <a:pt x="5105625" y="12839812"/>
                    </a:cubicBezTo>
                    <a:cubicBezTo>
                      <a:pt x="4319714" y="13036904"/>
                      <a:pt x="3710784" y="12939028"/>
                      <a:pt x="3013364" y="12988636"/>
                    </a:cubicBezTo>
                    <a:lnTo>
                      <a:pt x="1496291" y="12863945"/>
                    </a:lnTo>
                    <a:lnTo>
                      <a:pt x="1745673" y="11014363"/>
                    </a:lnTo>
                    <a:lnTo>
                      <a:pt x="1891146" y="9393382"/>
                    </a:lnTo>
                    <a:lnTo>
                      <a:pt x="1724891" y="9289473"/>
                    </a:lnTo>
                    <a:cubicBezTo>
                      <a:pt x="1913701" y="8576194"/>
                      <a:pt x="1911928" y="8826530"/>
                      <a:pt x="1911928" y="8562109"/>
                    </a:cubicBezTo>
                    <a:cubicBezTo>
                      <a:pt x="1862377" y="7917953"/>
                      <a:pt x="1766455" y="7275459"/>
                      <a:pt x="1766455" y="6629400"/>
                    </a:cubicBezTo>
                    <a:lnTo>
                      <a:pt x="0" y="1330036"/>
                    </a:lnTo>
                    <a:cubicBezTo>
                      <a:pt x="472548" y="1265598"/>
                      <a:pt x="293821" y="1231842"/>
                      <a:pt x="462216" y="1147299"/>
                    </a:cubicBezTo>
                    <a:cubicBezTo>
                      <a:pt x="1077788" y="970295"/>
                      <a:pt x="1567236" y="604106"/>
                      <a:pt x="2119746" y="332509"/>
                    </a:cubicBezTo>
                    <a:lnTo>
                      <a:pt x="3408218" y="2078182"/>
                    </a:lnTo>
                    <a:lnTo>
                      <a:pt x="4530437" y="3283527"/>
                    </a:lnTo>
                    <a:cubicBezTo>
                      <a:pt x="4717867" y="2512981"/>
                      <a:pt x="4319314" y="976745"/>
                      <a:pt x="5112328" y="976745"/>
                    </a:cubicBezTo>
                    <a:lnTo>
                      <a:pt x="5049982" y="0"/>
                    </a:lnTo>
                    <a:lnTo>
                      <a:pt x="4987637" y="4156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85" name="Freeform 284"/>
              <p:cNvSpPr/>
              <p:nvPr/>
            </p:nvSpPr>
            <p:spPr>
              <a:xfrm rot="21114987" flipH="1">
                <a:off x="6725588" y="3162482"/>
                <a:ext cx="715204" cy="504640"/>
              </a:xfrm>
              <a:custGeom>
                <a:avLst/>
                <a:gdLst>
                  <a:gd name="connsiteX0" fmla="*/ 147918 w 6113929"/>
                  <a:gd name="connsiteY0" fmla="*/ 1792941 h 4262717"/>
                  <a:gd name="connsiteX1" fmla="*/ 228600 w 6113929"/>
                  <a:gd name="connsiteY1" fmla="*/ 2384612 h 4262717"/>
                  <a:gd name="connsiteX2" fmla="*/ 524435 w 6113929"/>
                  <a:gd name="connsiteY2" fmla="*/ 2465294 h 4262717"/>
                  <a:gd name="connsiteX3" fmla="*/ 2111188 w 6113929"/>
                  <a:gd name="connsiteY3" fmla="*/ 2599765 h 4262717"/>
                  <a:gd name="connsiteX4" fmla="*/ 3321424 w 6113929"/>
                  <a:gd name="connsiteY4" fmla="*/ 2008094 h 4262717"/>
                  <a:gd name="connsiteX5" fmla="*/ 3563471 w 6113929"/>
                  <a:gd name="connsiteY5" fmla="*/ 2303929 h 4262717"/>
                  <a:gd name="connsiteX6" fmla="*/ 4128247 w 6113929"/>
                  <a:gd name="connsiteY6" fmla="*/ 3944470 h 4262717"/>
                  <a:gd name="connsiteX7" fmla="*/ 4208929 w 6113929"/>
                  <a:gd name="connsiteY7" fmla="*/ 4078941 h 4262717"/>
                  <a:gd name="connsiteX8" fmla="*/ 3913094 w 6113929"/>
                  <a:gd name="connsiteY8" fmla="*/ 2841812 h 4262717"/>
                  <a:gd name="connsiteX9" fmla="*/ 3778624 w 6113929"/>
                  <a:gd name="connsiteY9" fmla="*/ 1846729 h 4262717"/>
                  <a:gd name="connsiteX10" fmla="*/ 4235824 w 6113929"/>
                  <a:gd name="connsiteY10" fmla="*/ 1604682 h 4262717"/>
                  <a:gd name="connsiteX11" fmla="*/ 5741894 w 6113929"/>
                  <a:gd name="connsiteY11" fmla="*/ 878541 h 4262717"/>
                  <a:gd name="connsiteX12" fmla="*/ 5768788 w 6113929"/>
                  <a:gd name="connsiteY12" fmla="*/ 609600 h 4262717"/>
                  <a:gd name="connsiteX13" fmla="*/ 5715000 w 6113929"/>
                  <a:gd name="connsiteY13" fmla="*/ 44823 h 4262717"/>
                  <a:gd name="connsiteX14" fmla="*/ 3375212 w 6113929"/>
                  <a:gd name="connsiteY14" fmla="*/ 340659 h 4262717"/>
                  <a:gd name="connsiteX15" fmla="*/ 1116106 w 6113929"/>
                  <a:gd name="connsiteY15" fmla="*/ 1281953 h 4262717"/>
                  <a:gd name="connsiteX16" fmla="*/ 147918 w 6113929"/>
                  <a:gd name="connsiteY16" fmla="*/ 1792941 h 4262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929" h="4262717">
                    <a:moveTo>
                      <a:pt x="147918" y="1792941"/>
                    </a:moveTo>
                    <a:cubicBezTo>
                      <a:pt x="0" y="1976717"/>
                      <a:pt x="165847" y="2272553"/>
                      <a:pt x="228600" y="2384612"/>
                    </a:cubicBezTo>
                    <a:cubicBezTo>
                      <a:pt x="291353" y="2496671"/>
                      <a:pt x="210670" y="2429435"/>
                      <a:pt x="524435" y="2465294"/>
                    </a:cubicBezTo>
                    <a:cubicBezTo>
                      <a:pt x="838200" y="2501153"/>
                      <a:pt x="1645023" y="2675965"/>
                      <a:pt x="2111188" y="2599765"/>
                    </a:cubicBezTo>
                    <a:cubicBezTo>
                      <a:pt x="2577353" y="2523565"/>
                      <a:pt x="3079377" y="2057400"/>
                      <a:pt x="3321424" y="2008094"/>
                    </a:cubicBezTo>
                    <a:cubicBezTo>
                      <a:pt x="3563471" y="1958788"/>
                      <a:pt x="3429001" y="1981200"/>
                      <a:pt x="3563471" y="2303929"/>
                    </a:cubicBezTo>
                    <a:cubicBezTo>
                      <a:pt x="3697942" y="2626658"/>
                      <a:pt x="4020671" y="3648635"/>
                      <a:pt x="4128247" y="3944470"/>
                    </a:cubicBezTo>
                    <a:cubicBezTo>
                      <a:pt x="4235823" y="4240305"/>
                      <a:pt x="4244788" y="4262717"/>
                      <a:pt x="4208929" y="4078941"/>
                    </a:cubicBezTo>
                    <a:cubicBezTo>
                      <a:pt x="4173070" y="3895165"/>
                      <a:pt x="3984811" y="3213847"/>
                      <a:pt x="3913094" y="2841812"/>
                    </a:cubicBezTo>
                    <a:cubicBezTo>
                      <a:pt x="3841377" y="2469777"/>
                      <a:pt x="3724836" y="2052917"/>
                      <a:pt x="3778624" y="1846729"/>
                    </a:cubicBezTo>
                    <a:cubicBezTo>
                      <a:pt x="3832412" y="1640541"/>
                      <a:pt x="3908612" y="1766047"/>
                      <a:pt x="4235824" y="1604682"/>
                    </a:cubicBezTo>
                    <a:cubicBezTo>
                      <a:pt x="4563036" y="1443317"/>
                      <a:pt x="5486400" y="1044388"/>
                      <a:pt x="5741894" y="878541"/>
                    </a:cubicBezTo>
                    <a:cubicBezTo>
                      <a:pt x="5997388" y="712694"/>
                      <a:pt x="5773270" y="748553"/>
                      <a:pt x="5768788" y="609600"/>
                    </a:cubicBezTo>
                    <a:cubicBezTo>
                      <a:pt x="5764306" y="470647"/>
                      <a:pt x="6113929" y="89646"/>
                      <a:pt x="5715000" y="44823"/>
                    </a:cubicBezTo>
                    <a:cubicBezTo>
                      <a:pt x="5316071" y="0"/>
                      <a:pt x="4141694" y="134471"/>
                      <a:pt x="3375212" y="340659"/>
                    </a:cubicBezTo>
                    <a:cubicBezTo>
                      <a:pt x="2608730" y="546847"/>
                      <a:pt x="1658471" y="1044388"/>
                      <a:pt x="1116106" y="1281953"/>
                    </a:cubicBezTo>
                    <a:cubicBezTo>
                      <a:pt x="573741" y="1519518"/>
                      <a:pt x="295836" y="1609165"/>
                      <a:pt x="147918" y="179294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86" name="Freeform 285"/>
              <p:cNvSpPr/>
              <p:nvPr/>
            </p:nvSpPr>
            <p:spPr>
              <a:xfrm rot="21114987" flipH="1">
                <a:off x="7009932" y="2416458"/>
                <a:ext cx="343688" cy="434028"/>
              </a:xfrm>
              <a:custGeom>
                <a:avLst/>
                <a:gdLst>
                  <a:gd name="connsiteX0" fmla="*/ 2680854 w 2680854"/>
                  <a:gd name="connsiteY0" fmla="*/ 3304309 h 3366655"/>
                  <a:gd name="connsiteX1" fmla="*/ 2078182 w 2680854"/>
                  <a:gd name="connsiteY1" fmla="*/ 2639291 h 3366655"/>
                  <a:gd name="connsiteX2" fmla="*/ 436418 w 2680854"/>
                  <a:gd name="connsiteY2" fmla="*/ 1537855 h 3366655"/>
                  <a:gd name="connsiteX3" fmla="*/ 706582 w 2680854"/>
                  <a:gd name="connsiteY3" fmla="*/ 1080655 h 3366655"/>
                  <a:gd name="connsiteX4" fmla="*/ 270164 w 2680854"/>
                  <a:gd name="connsiteY4" fmla="*/ 1184564 h 3366655"/>
                  <a:gd name="connsiteX5" fmla="*/ 0 w 2680854"/>
                  <a:gd name="connsiteY5" fmla="*/ 789709 h 3366655"/>
                  <a:gd name="connsiteX6" fmla="*/ 623454 w 2680854"/>
                  <a:gd name="connsiteY6" fmla="*/ 0 h 3366655"/>
                  <a:gd name="connsiteX7" fmla="*/ 1558636 w 2680854"/>
                  <a:gd name="connsiteY7" fmla="*/ 1080655 h 3366655"/>
                  <a:gd name="connsiteX8" fmla="*/ 2680854 w 2680854"/>
                  <a:gd name="connsiteY8" fmla="*/ 2888673 h 3366655"/>
                  <a:gd name="connsiteX9" fmla="*/ 2680854 w 2680854"/>
                  <a:gd name="connsiteY9" fmla="*/ 3366655 h 3366655"/>
                  <a:gd name="connsiteX10" fmla="*/ 2680854 w 2680854"/>
                  <a:gd name="connsiteY10" fmla="*/ 3304309 h 3366655"/>
                  <a:gd name="connsiteX0" fmla="*/ 2738004 w 2738004"/>
                  <a:gd name="connsiteY0" fmla="*/ 3304309 h 3366655"/>
                  <a:gd name="connsiteX1" fmla="*/ 2135332 w 2738004"/>
                  <a:gd name="connsiteY1" fmla="*/ 2639291 h 3366655"/>
                  <a:gd name="connsiteX2" fmla="*/ 493568 w 2738004"/>
                  <a:gd name="connsiteY2" fmla="*/ 1537855 h 3366655"/>
                  <a:gd name="connsiteX3" fmla="*/ 763732 w 2738004"/>
                  <a:gd name="connsiteY3" fmla="*/ 1080655 h 3366655"/>
                  <a:gd name="connsiteX4" fmla="*/ 327314 w 2738004"/>
                  <a:gd name="connsiteY4" fmla="*/ 1184564 h 3366655"/>
                  <a:gd name="connsiteX5" fmla="*/ 0 w 2738004"/>
                  <a:gd name="connsiteY5" fmla="*/ 713509 h 3366655"/>
                  <a:gd name="connsiteX6" fmla="*/ 680604 w 2738004"/>
                  <a:gd name="connsiteY6" fmla="*/ 0 h 3366655"/>
                  <a:gd name="connsiteX7" fmla="*/ 1615786 w 2738004"/>
                  <a:gd name="connsiteY7" fmla="*/ 1080655 h 3366655"/>
                  <a:gd name="connsiteX8" fmla="*/ 2738004 w 2738004"/>
                  <a:gd name="connsiteY8" fmla="*/ 2888673 h 3366655"/>
                  <a:gd name="connsiteX9" fmla="*/ 2738004 w 2738004"/>
                  <a:gd name="connsiteY9" fmla="*/ 3366655 h 3366655"/>
                  <a:gd name="connsiteX10" fmla="*/ 2738004 w 2738004"/>
                  <a:gd name="connsiteY10" fmla="*/ 3304309 h 3366655"/>
                  <a:gd name="connsiteX0" fmla="*/ 2738004 w 2738004"/>
                  <a:gd name="connsiteY0" fmla="*/ 3304309 h 3366655"/>
                  <a:gd name="connsiteX1" fmla="*/ 2135332 w 2738004"/>
                  <a:gd name="connsiteY1" fmla="*/ 2639291 h 3366655"/>
                  <a:gd name="connsiteX2" fmla="*/ 493568 w 2738004"/>
                  <a:gd name="connsiteY2" fmla="*/ 1537855 h 3366655"/>
                  <a:gd name="connsiteX3" fmla="*/ 763732 w 2738004"/>
                  <a:gd name="connsiteY3" fmla="*/ 1080655 h 3366655"/>
                  <a:gd name="connsiteX4" fmla="*/ 327314 w 2738004"/>
                  <a:gd name="connsiteY4" fmla="*/ 1184564 h 3366655"/>
                  <a:gd name="connsiteX5" fmla="*/ 0 w 2738004"/>
                  <a:gd name="connsiteY5" fmla="*/ 713509 h 3366655"/>
                  <a:gd name="connsiteX6" fmla="*/ 680604 w 2738004"/>
                  <a:gd name="connsiteY6" fmla="*/ 0 h 3366655"/>
                  <a:gd name="connsiteX7" fmla="*/ 1615786 w 2738004"/>
                  <a:gd name="connsiteY7" fmla="*/ 1080655 h 3366655"/>
                  <a:gd name="connsiteX8" fmla="*/ 2738004 w 2738004"/>
                  <a:gd name="connsiteY8" fmla="*/ 2888673 h 3366655"/>
                  <a:gd name="connsiteX9" fmla="*/ 2738004 w 2738004"/>
                  <a:gd name="connsiteY9" fmla="*/ 3366655 h 3366655"/>
                  <a:gd name="connsiteX10" fmla="*/ 2738004 w 2738004"/>
                  <a:gd name="connsiteY10" fmla="*/ 3304309 h 3366655"/>
                  <a:gd name="connsiteX0" fmla="*/ 2738004 w 2738004"/>
                  <a:gd name="connsiteY0" fmla="*/ 3304309 h 3366655"/>
                  <a:gd name="connsiteX1" fmla="*/ 2135332 w 2738004"/>
                  <a:gd name="connsiteY1" fmla="*/ 2639291 h 3366655"/>
                  <a:gd name="connsiteX2" fmla="*/ 493568 w 2738004"/>
                  <a:gd name="connsiteY2" fmla="*/ 1537855 h 3366655"/>
                  <a:gd name="connsiteX3" fmla="*/ 763732 w 2738004"/>
                  <a:gd name="connsiteY3" fmla="*/ 1080655 h 3366655"/>
                  <a:gd name="connsiteX4" fmla="*/ 327314 w 2738004"/>
                  <a:gd name="connsiteY4" fmla="*/ 1184564 h 3366655"/>
                  <a:gd name="connsiteX5" fmla="*/ 0 w 2738004"/>
                  <a:gd name="connsiteY5" fmla="*/ 713509 h 3366655"/>
                  <a:gd name="connsiteX6" fmla="*/ 680604 w 2738004"/>
                  <a:gd name="connsiteY6" fmla="*/ 0 h 3366655"/>
                  <a:gd name="connsiteX7" fmla="*/ 1615786 w 2738004"/>
                  <a:gd name="connsiteY7" fmla="*/ 1080655 h 3366655"/>
                  <a:gd name="connsiteX8" fmla="*/ 2738004 w 2738004"/>
                  <a:gd name="connsiteY8" fmla="*/ 2888673 h 3366655"/>
                  <a:gd name="connsiteX9" fmla="*/ 2738004 w 2738004"/>
                  <a:gd name="connsiteY9" fmla="*/ 3366655 h 3366655"/>
                  <a:gd name="connsiteX10" fmla="*/ 2738004 w 2738004"/>
                  <a:gd name="connsiteY10" fmla="*/ 3304309 h 3366655"/>
                  <a:gd name="connsiteX0" fmla="*/ 2738004 w 2738004"/>
                  <a:gd name="connsiteY0" fmla="*/ 3304309 h 3366655"/>
                  <a:gd name="connsiteX1" fmla="*/ 2116282 w 2738004"/>
                  <a:gd name="connsiteY1" fmla="*/ 2677391 h 3366655"/>
                  <a:gd name="connsiteX2" fmla="*/ 493568 w 2738004"/>
                  <a:gd name="connsiteY2" fmla="*/ 1537855 h 3366655"/>
                  <a:gd name="connsiteX3" fmla="*/ 763732 w 2738004"/>
                  <a:gd name="connsiteY3" fmla="*/ 1080655 h 3366655"/>
                  <a:gd name="connsiteX4" fmla="*/ 327314 w 2738004"/>
                  <a:gd name="connsiteY4" fmla="*/ 1184564 h 3366655"/>
                  <a:gd name="connsiteX5" fmla="*/ 0 w 2738004"/>
                  <a:gd name="connsiteY5" fmla="*/ 713509 h 3366655"/>
                  <a:gd name="connsiteX6" fmla="*/ 680604 w 2738004"/>
                  <a:gd name="connsiteY6" fmla="*/ 0 h 3366655"/>
                  <a:gd name="connsiteX7" fmla="*/ 1615786 w 2738004"/>
                  <a:gd name="connsiteY7" fmla="*/ 1080655 h 3366655"/>
                  <a:gd name="connsiteX8" fmla="*/ 2738004 w 2738004"/>
                  <a:gd name="connsiteY8" fmla="*/ 2888673 h 3366655"/>
                  <a:gd name="connsiteX9" fmla="*/ 2738004 w 2738004"/>
                  <a:gd name="connsiteY9" fmla="*/ 3366655 h 3366655"/>
                  <a:gd name="connsiteX10" fmla="*/ 2738004 w 2738004"/>
                  <a:gd name="connsiteY10" fmla="*/ 3304309 h 3366655"/>
                  <a:gd name="connsiteX0" fmla="*/ 2738004 w 2738004"/>
                  <a:gd name="connsiteY0" fmla="*/ 3304309 h 3366655"/>
                  <a:gd name="connsiteX1" fmla="*/ 2116282 w 2738004"/>
                  <a:gd name="connsiteY1" fmla="*/ 2677391 h 3366655"/>
                  <a:gd name="connsiteX2" fmla="*/ 493568 w 2738004"/>
                  <a:gd name="connsiteY2" fmla="*/ 1537855 h 3366655"/>
                  <a:gd name="connsiteX3" fmla="*/ 763732 w 2738004"/>
                  <a:gd name="connsiteY3" fmla="*/ 1080655 h 3366655"/>
                  <a:gd name="connsiteX4" fmla="*/ 327314 w 2738004"/>
                  <a:gd name="connsiteY4" fmla="*/ 1184564 h 3366655"/>
                  <a:gd name="connsiteX5" fmla="*/ 0 w 2738004"/>
                  <a:gd name="connsiteY5" fmla="*/ 713509 h 3366655"/>
                  <a:gd name="connsiteX6" fmla="*/ 680604 w 2738004"/>
                  <a:gd name="connsiteY6" fmla="*/ 0 h 3366655"/>
                  <a:gd name="connsiteX7" fmla="*/ 1615786 w 2738004"/>
                  <a:gd name="connsiteY7" fmla="*/ 1080655 h 3366655"/>
                  <a:gd name="connsiteX8" fmla="*/ 2738004 w 2738004"/>
                  <a:gd name="connsiteY8" fmla="*/ 2888673 h 3366655"/>
                  <a:gd name="connsiteX9" fmla="*/ 2738004 w 2738004"/>
                  <a:gd name="connsiteY9" fmla="*/ 3366655 h 3366655"/>
                  <a:gd name="connsiteX10" fmla="*/ 2738004 w 2738004"/>
                  <a:gd name="connsiteY10" fmla="*/ 3304309 h 3366655"/>
                  <a:gd name="connsiteX0" fmla="*/ 2738004 w 2738004"/>
                  <a:gd name="connsiteY0" fmla="*/ 3304309 h 3366655"/>
                  <a:gd name="connsiteX1" fmla="*/ 2116282 w 2738004"/>
                  <a:gd name="connsiteY1" fmla="*/ 2677391 h 3366655"/>
                  <a:gd name="connsiteX2" fmla="*/ 493568 w 2738004"/>
                  <a:gd name="connsiteY2" fmla="*/ 1537855 h 3366655"/>
                  <a:gd name="connsiteX3" fmla="*/ 763732 w 2738004"/>
                  <a:gd name="connsiteY3" fmla="*/ 1080655 h 3366655"/>
                  <a:gd name="connsiteX4" fmla="*/ 327314 w 2738004"/>
                  <a:gd name="connsiteY4" fmla="*/ 1184564 h 3366655"/>
                  <a:gd name="connsiteX5" fmla="*/ 0 w 2738004"/>
                  <a:gd name="connsiteY5" fmla="*/ 713509 h 3366655"/>
                  <a:gd name="connsiteX6" fmla="*/ 680604 w 2738004"/>
                  <a:gd name="connsiteY6" fmla="*/ 0 h 3366655"/>
                  <a:gd name="connsiteX7" fmla="*/ 1615786 w 2738004"/>
                  <a:gd name="connsiteY7" fmla="*/ 1080655 h 3366655"/>
                  <a:gd name="connsiteX8" fmla="*/ 2738004 w 2738004"/>
                  <a:gd name="connsiteY8" fmla="*/ 2888673 h 3366655"/>
                  <a:gd name="connsiteX9" fmla="*/ 2738004 w 2738004"/>
                  <a:gd name="connsiteY9" fmla="*/ 3366655 h 3366655"/>
                  <a:gd name="connsiteX10" fmla="*/ 2738004 w 2738004"/>
                  <a:gd name="connsiteY10" fmla="*/ 3304309 h 3366655"/>
                  <a:gd name="connsiteX0" fmla="*/ 2738004 w 2738004"/>
                  <a:gd name="connsiteY0" fmla="*/ 3304309 h 3366655"/>
                  <a:gd name="connsiteX1" fmla="*/ 2116282 w 2738004"/>
                  <a:gd name="connsiteY1" fmla="*/ 2677391 h 3366655"/>
                  <a:gd name="connsiteX2" fmla="*/ 493568 w 2738004"/>
                  <a:gd name="connsiteY2" fmla="*/ 1537855 h 3366655"/>
                  <a:gd name="connsiteX3" fmla="*/ 763732 w 2738004"/>
                  <a:gd name="connsiteY3" fmla="*/ 1080655 h 3366655"/>
                  <a:gd name="connsiteX4" fmla="*/ 327314 w 2738004"/>
                  <a:gd name="connsiteY4" fmla="*/ 1184564 h 3366655"/>
                  <a:gd name="connsiteX5" fmla="*/ 0 w 2738004"/>
                  <a:gd name="connsiteY5" fmla="*/ 713509 h 3366655"/>
                  <a:gd name="connsiteX6" fmla="*/ 680604 w 2738004"/>
                  <a:gd name="connsiteY6" fmla="*/ 0 h 3366655"/>
                  <a:gd name="connsiteX7" fmla="*/ 1615786 w 2738004"/>
                  <a:gd name="connsiteY7" fmla="*/ 1080655 h 3366655"/>
                  <a:gd name="connsiteX8" fmla="*/ 2738004 w 2738004"/>
                  <a:gd name="connsiteY8" fmla="*/ 2888673 h 3366655"/>
                  <a:gd name="connsiteX9" fmla="*/ 2738004 w 2738004"/>
                  <a:gd name="connsiteY9" fmla="*/ 3366655 h 3366655"/>
                  <a:gd name="connsiteX10" fmla="*/ 2738004 w 2738004"/>
                  <a:gd name="connsiteY10" fmla="*/ 3304309 h 3366655"/>
                  <a:gd name="connsiteX0" fmla="*/ 2738004 w 2738004"/>
                  <a:gd name="connsiteY0" fmla="*/ 3304309 h 3366655"/>
                  <a:gd name="connsiteX1" fmla="*/ 2116282 w 2738004"/>
                  <a:gd name="connsiteY1" fmla="*/ 2677391 h 3366655"/>
                  <a:gd name="connsiteX2" fmla="*/ 493568 w 2738004"/>
                  <a:gd name="connsiteY2" fmla="*/ 1537855 h 3366655"/>
                  <a:gd name="connsiteX3" fmla="*/ 763732 w 2738004"/>
                  <a:gd name="connsiteY3" fmla="*/ 1080655 h 3366655"/>
                  <a:gd name="connsiteX4" fmla="*/ 327314 w 2738004"/>
                  <a:gd name="connsiteY4" fmla="*/ 1184564 h 3366655"/>
                  <a:gd name="connsiteX5" fmla="*/ 0 w 2738004"/>
                  <a:gd name="connsiteY5" fmla="*/ 713509 h 3366655"/>
                  <a:gd name="connsiteX6" fmla="*/ 680604 w 2738004"/>
                  <a:gd name="connsiteY6" fmla="*/ 0 h 3366655"/>
                  <a:gd name="connsiteX7" fmla="*/ 1615786 w 2738004"/>
                  <a:gd name="connsiteY7" fmla="*/ 1080655 h 3366655"/>
                  <a:gd name="connsiteX8" fmla="*/ 2738004 w 2738004"/>
                  <a:gd name="connsiteY8" fmla="*/ 2888673 h 3366655"/>
                  <a:gd name="connsiteX9" fmla="*/ 2738004 w 2738004"/>
                  <a:gd name="connsiteY9" fmla="*/ 3366655 h 3366655"/>
                  <a:gd name="connsiteX10" fmla="*/ 2738004 w 2738004"/>
                  <a:gd name="connsiteY10" fmla="*/ 3304309 h 3366655"/>
                  <a:gd name="connsiteX0" fmla="*/ 2738004 w 2738004"/>
                  <a:gd name="connsiteY0" fmla="*/ 3304309 h 3366655"/>
                  <a:gd name="connsiteX1" fmla="*/ 2116282 w 2738004"/>
                  <a:gd name="connsiteY1" fmla="*/ 2677391 h 3366655"/>
                  <a:gd name="connsiteX2" fmla="*/ 493568 w 2738004"/>
                  <a:gd name="connsiteY2" fmla="*/ 1537855 h 3366655"/>
                  <a:gd name="connsiteX3" fmla="*/ 763732 w 2738004"/>
                  <a:gd name="connsiteY3" fmla="*/ 1080655 h 3366655"/>
                  <a:gd name="connsiteX4" fmla="*/ 327314 w 2738004"/>
                  <a:gd name="connsiteY4" fmla="*/ 1184564 h 3366655"/>
                  <a:gd name="connsiteX5" fmla="*/ 0 w 2738004"/>
                  <a:gd name="connsiteY5" fmla="*/ 713509 h 3366655"/>
                  <a:gd name="connsiteX6" fmla="*/ 680604 w 2738004"/>
                  <a:gd name="connsiteY6" fmla="*/ 0 h 3366655"/>
                  <a:gd name="connsiteX7" fmla="*/ 1615786 w 2738004"/>
                  <a:gd name="connsiteY7" fmla="*/ 1080655 h 3366655"/>
                  <a:gd name="connsiteX8" fmla="*/ 2738004 w 2738004"/>
                  <a:gd name="connsiteY8" fmla="*/ 2888673 h 3366655"/>
                  <a:gd name="connsiteX9" fmla="*/ 2738004 w 2738004"/>
                  <a:gd name="connsiteY9" fmla="*/ 3366655 h 3366655"/>
                  <a:gd name="connsiteX10" fmla="*/ 2738004 w 2738004"/>
                  <a:gd name="connsiteY10" fmla="*/ 3304309 h 3366655"/>
                  <a:gd name="connsiteX0" fmla="*/ 2738004 w 2738004"/>
                  <a:gd name="connsiteY0" fmla="*/ 3304309 h 3304309"/>
                  <a:gd name="connsiteX1" fmla="*/ 2116282 w 2738004"/>
                  <a:gd name="connsiteY1" fmla="*/ 2677391 h 3304309"/>
                  <a:gd name="connsiteX2" fmla="*/ 493568 w 2738004"/>
                  <a:gd name="connsiteY2" fmla="*/ 1537855 h 3304309"/>
                  <a:gd name="connsiteX3" fmla="*/ 763732 w 2738004"/>
                  <a:gd name="connsiteY3" fmla="*/ 1080655 h 3304309"/>
                  <a:gd name="connsiteX4" fmla="*/ 327314 w 2738004"/>
                  <a:gd name="connsiteY4" fmla="*/ 1184564 h 3304309"/>
                  <a:gd name="connsiteX5" fmla="*/ 0 w 2738004"/>
                  <a:gd name="connsiteY5" fmla="*/ 713509 h 3304309"/>
                  <a:gd name="connsiteX6" fmla="*/ 680604 w 2738004"/>
                  <a:gd name="connsiteY6" fmla="*/ 0 h 3304309"/>
                  <a:gd name="connsiteX7" fmla="*/ 1615786 w 2738004"/>
                  <a:gd name="connsiteY7" fmla="*/ 1080655 h 3304309"/>
                  <a:gd name="connsiteX8" fmla="*/ 2738004 w 2738004"/>
                  <a:gd name="connsiteY8" fmla="*/ 2888673 h 3304309"/>
                  <a:gd name="connsiteX9" fmla="*/ 2738004 w 2738004"/>
                  <a:gd name="connsiteY9" fmla="*/ 3304309 h 3304309"/>
                  <a:gd name="connsiteX0" fmla="*/ 2785629 w 2785629"/>
                  <a:gd name="connsiteY0" fmla="*/ 3409084 h 3409084"/>
                  <a:gd name="connsiteX1" fmla="*/ 2116282 w 2785629"/>
                  <a:gd name="connsiteY1" fmla="*/ 2677391 h 3409084"/>
                  <a:gd name="connsiteX2" fmla="*/ 493568 w 2785629"/>
                  <a:gd name="connsiteY2" fmla="*/ 1537855 h 3409084"/>
                  <a:gd name="connsiteX3" fmla="*/ 763732 w 2785629"/>
                  <a:gd name="connsiteY3" fmla="*/ 1080655 h 3409084"/>
                  <a:gd name="connsiteX4" fmla="*/ 327314 w 2785629"/>
                  <a:gd name="connsiteY4" fmla="*/ 1184564 h 3409084"/>
                  <a:gd name="connsiteX5" fmla="*/ 0 w 2785629"/>
                  <a:gd name="connsiteY5" fmla="*/ 713509 h 3409084"/>
                  <a:gd name="connsiteX6" fmla="*/ 680604 w 2785629"/>
                  <a:gd name="connsiteY6" fmla="*/ 0 h 3409084"/>
                  <a:gd name="connsiteX7" fmla="*/ 1615786 w 2785629"/>
                  <a:gd name="connsiteY7" fmla="*/ 1080655 h 3409084"/>
                  <a:gd name="connsiteX8" fmla="*/ 2738004 w 2785629"/>
                  <a:gd name="connsiteY8" fmla="*/ 2888673 h 3409084"/>
                  <a:gd name="connsiteX9" fmla="*/ 2785629 w 2785629"/>
                  <a:gd name="connsiteY9" fmla="*/ 3409084 h 3409084"/>
                  <a:gd name="connsiteX0" fmla="*/ 2785629 w 2852304"/>
                  <a:gd name="connsiteY0" fmla="*/ 3409084 h 3409084"/>
                  <a:gd name="connsiteX1" fmla="*/ 2116282 w 2852304"/>
                  <a:gd name="connsiteY1" fmla="*/ 2677391 h 3409084"/>
                  <a:gd name="connsiteX2" fmla="*/ 493568 w 2852304"/>
                  <a:gd name="connsiteY2" fmla="*/ 1537855 h 3409084"/>
                  <a:gd name="connsiteX3" fmla="*/ 763732 w 2852304"/>
                  <a:gd name="connsiteY3" fmla="*/ 1080655 h 3409084"/>
                  <a:gd name="connsiteX4" fmla="*/ 327314 w 2852304"/>
                  <a:gd name="connsiteY4" fmla="*/ 1184564 h 3409084"/>
                  <a:gd name="connsiteX5" fmla="*/ 0 w 2852304"/>
                  <a:gd name="connsiteY5" fmla="*/ 713509 h 3409084"/>
                  <a:gd name="connsiteX6" fmla="*/ 680604 w 2852304"/>
                  <a:gd name="connsiteY6" fmla="*/ 0 h 3409084"/>
                  <a:gd name="connsiteX7" fmla="*/ 1615786 w 2852304"/>
                  <a:gd name="connsiteY7" fmla="*/ 1080655 h 3409084"/>
                  <a:gd name="connsiteX8" fmla="*/ 2852304 w 2852304"/>
                  <a:gd name="connsiteY8" fmla="*/ 3050598 h 3409084"/>
                  <a:gd name="connsiteX9" fmla="*/ 2785629 w 2852304"/>
                  <a:gd name="connsiteY9" fmla="*/ 3409084 h 3409084"/>
                  <a:gd name="connsiteX0" fmla="*/ 2909454 w 2909454"/>
                  <a:gd name="connsiteY0" fmla="*/ 3618634 h 3618634"/>
                  <a:gd name="connsiteX1" fmla="*/ 2116282 w 2909454"/>
                  <a:gd name="connsiteY1" fmla="*/ 2677391 h 3618634"/>
                  <a:gd name="connsiteX2" fmla="*/ 493568 w 2909454"/>
                  <a:gd name="connsiteY2" fmla="*/ 1537855 h 3618634"/>
                  <a:gd name="connsiteX3" fmla="*/ 763732 w 2909454"/>
                  <a:gd name="connsiteY3" fmla="*/ 1080655 h 3618634"/>
                  <a:gd name="connsiteX4" fmla="*/ 327314 w 2909454"/>
                  <a:gd name="connsiteY4" fmla="*/ 1184564 h 3618634"/>
                  <a:gd name="connsiteX5" fmla="*/ 0 w 2909454"/>
                  <a:gd name="connsiteY5" fmla="*/ 713509 h 3618634"/>
                  <a:gd name="connsiteX6" fmla="*/ 680604 w 2909454"/>
                  <a:gd name="connsiteY6" fmla="*/ 0 h 3618634"/>
                  <a:gd name="connsiteX7" fmla="*/ 1615786 w 2909454"/>
                  <a:gd name="connsiteY7" fmla="*/ 1080655 h 3618634"/>
                  <a:gd name="connsiteX8" fmla="*/ 2852304 w 2909454"/>
                  <a:gd name="connsiteY8" fmla="*/ 3050598 h 3618634"/>
                  <a:gd name="connsiteX9" fmla="*/ 2909454 w 2909454"/>
                  <a:gd name="connsiteY9" fmla="*/ 3618634 h 3618634"/>
                  <a:gd name="connsiteX0" fmla="*/ 2909454 w 2909454"/>
                  <a:gd name="connsiteY0" fmla="*/ 3618634 h 3618634"/>
                  <a:gd name="connsiteX1" fmla="*/ 2116282 w 2909454"/>
                  <a:gd name="connsiteY1" fmla="*/ 2677391 h 3618634"/>
                  <a:gd name="connsiteX2" fmla="*/ 493568 w 2909454"/>
                  <a:gd name="connsiteY2" fmla="*/ 1537855 h 3618634"/>
                  <a:gd name="connsiteX3" fmla="*/ 763732 w 2909454"/>
                  <a:gd name="connsiteY3" fmla="*/ 1080655 h 3618634"/>
                  <a:gd name="connsiteX4" fmla="*/ 327314 w 2909454"/>
                  <a:gd name="connsiteY4" fmla="*/ 1184564 h 3618634"/>
                  <a:gd name="connsiteX5" fmla="*/ 0 w 2909454"/>
                  <a:gd name="connsiteY5" fmla="*/ 713509 h 3618634"/>
                  <a:gd name="connsiteX6" fmla="*/ 680604 w 2909454"/>
                  <a:gd name="connsiteY6" fmla="*/ 0 h 3618634"/>
                  <a:gd name="connsiteX7" fmla="*/ 1615786 w 2909454"/>
                  <a:gd name="connsiteY7" fmla="*/ 1080655 h 3618634"/>
                  <a:gd name="connsiteX8" fmla="*/ 2852304 w 2909454"/>
                  <a:gd name="connsiteY8" fmla="*/ 3050598 h 3618634"/>
                  <a:gd name="connsiteX9" fmla="*/ 2909454 w 2909454"/>
                  <a:gd name="connsiteY9" fmla="*/ 3618634 h 3618634"/>
                  <a:gd name="connsiteX0" fmla="*/ 2871354 w 2871354"/>
                  <a:gd name="connsiteY0" fmla="*/ 3666259 h 3666259"/>
                  <a:gd name="connsiteX1" fmla="*/ 2116282 w 2871354"/>
                  <a:gd name="connsiteY1" fmla="*/ 2677391 h 3666259"/>
                  <a:gd name="connsiteX2" fmla="*/ 493568 w 2871354"/>
                  <a:gd name="connsiteY2" fmla="*/ 1537855 h 3666259"/>
                  <a:gd name="connsiteX3" fmla="*/ 763732 w 2871354"/>
                  <a:gd name="connsiteY3" fmla="*/ 1080655 h 3666259"/>
                  <a:gd name="connsiteX4" fmla="*/ 327314 w 2871354"/>
                  <a:gd name="connsiteY4" fmla="*/ 1184564 h 3666259"/>
                  <a:gd name="connsiteX5" fmla="*/ 0 w 2871354"/>
                  <a:gd name="connsiteY5" fmla="*/ 713509 h 3666259"/>
                  <a:gd name="connsiteX6" fmla="*/ 680604 w 2871354"/>
                  <a:gd name="connsiteY6" fmla="*/ 0 h 3666259"/>
                  <a:gd name="connsiteX7" fmla="*/ 1615786 w 2871354"/>
                  <a:gd name="connsiteY7" fmla="*/ 1080655 h 3666259"/>
                  <a:gd name="connsiteX8" fmla="*/ 2852304 w 2871354"/>
                  <a:gd name="connsiteY8" fmla="*/ 3050598 h 3666259"/>
                  <a:gd name="connsiteX9" fmla="*/ 2871354 w 2871354"/>
                  <a:gd name="connsiteY9" fmla="*/ 3666259 h 3666259"/>
                  <a:gd name="connsiteX0" fmla="*/ 2909454 w 2909454"/>
                  <a:gd name="connsiteY0" fmla="*/ 3666259 h 3666259"/>
                  <a:gd name="connsiteX1" fmla="*/ 2116282 w 2909454"/>
                  <a:gd name="connsiteY1" fmla="*/ 2677391 h 3666259"/>
                  <a:gd name="connsiteX2" fmla="*/ 493568 w 2909454"/>
                  <a:gd name="connsiteY2" fmla="*/ 1537855 h 3666259"/>
                  <a:gd name="connsiteX3" fmla="*/ 763732 w 2909454"/>
                  <a:gd name="connsiteY3" fmla="*/ 1080655 h 3666259"/>
                  <a:gd name="connsiteX4" fmla="*/ 327314 w 2909454"/>
                  <a:gd name="connsiteY4" fmla="*/ 1184564 h 3666259"/>
                  <a:gd name="connsiteX5" fmla="*/ 0 w 2909454"/>
                  <a:gd name="connsiteY5" fmla="*/ 713509 h 3666259"/>
                  <a:gd name="connsiteX6" fmla="*/ 680604 w 2909454"/>
                  <a:gd name="connsiteY6" fmla="*/ 0 h 3666259"/>
                  <a:gd name="connsiteX7" fmla="*/ 1615786 w 2909454"/>
                  <a:gd name="connsiteY7" fmla="*/ 1080655 h 3666259"/>
                  <a:gd name="connsiteX8" fmla="*/ 2852304 w 2909454"/>
                  <a:gd name="connsiteY8" fmla="*/ 3050598 h 3666259"/>
                  <a:gd name="connsiteX9" fmla="*/ 2909454 w 2909454"/>
                  <a:gd name="connsiteY9" fmla="*/ 3666259 h 3666259"/>
                  <a:gd name="connsiteX0" fmla="*/ 2909454 w 2909454"/>
                  <a:gd name="connsiteY0" fmla="*/ 3666259 h 3666259"/>
                  <a:gd name="connsiteX1" fmla="*/ 2116282 w 2909454"/>
                  <a:gd name="connsiteY1" fmla="*/ 2677391 h 3666259"/>
                  <a:gd name="connsiteX2" fmla="*/ 493568 w 2909454"/>
                  <a:gd name="connsiteY2" fmla="*/ 1537855 h 3666259"/>
                  <a:gd name="connsiteX3" fmla="*/ 763732 w 2909454"/>
                  <a:gd name="connsiteY3" fmla="*/ 1080655 h 3666259"/>
                  <a:gd name="connsiteX4" fmla="*/ 327314 w 2909454"/>
                  <a:gd name="connsiteY4" fmla="*/ 1184564 h 3666259"/>
                  <a:gd name="connsiteX5" fmla="*/ 0 w 2909454"/>
                  <a:gd name="connsiteY5" fmla="*/ 713509 h 3666259"/>
                  <a:gd name="connsiteX6" fmla="*/ 680604 w 2909454"/>
                  <a:gd name="connsiteY6" fmla="*/ 0 h 3666259"/>
                  <a:gd name="connsiteX7" fmla="*/ 1615786 w 2909454"/>
                  <a:gd name="connsiteY7" fmla="*/ 1080655 h 3666259"/>
                  <a:gd name="connsiteX8" fmla="*/ 2852304 w 2909454"/>
                  <a:gd name="connsiteY8" fmla="*/ 3050598 h 3666259"/>
                  <a:gd name="connsiteX9" fmla="*/ 2909454 w 2909454"/>
                  <a:gd name="connsiteY9" fmla="*/ 3666259 h 3666259"/>
                  <a:gd name="connsiteX0" fmla="*/ 2909454 w 2938029"/>
                  <a:gd name="connsiteY0" fmla="*/ 3666259 h 3666259"/>
                  <a:gd name="connsiteX1" fmla="*/ 2116282 w 2938029"/>
                  <a:gd name="connsiteY1" fmla="*/ 2677391 h 3666259"/>
                  <a:gd name="connsiteX2" fmla="*/ 493568 w 2938029"/>
                  <a:gd name="connsiteY2" fmla="*/ 1537855 h 3666259"/>
                  <a:gd name="connsiteX3" fmla="*/ 763732 w 2938029"/>
                  <a:gd name="connsiteY3" fmla="*/ 1080655 h 3666259"/>
                  <a:gd name="connsiteX4" fmla="*/ 327314 w 2938029"/>
                  <a:gd name="connsiteY4" fmla="*/ 1184564 h 3666259"/>
                  <a:gd name="connsiteX5" fmla="*/ 0 w 2938029"/>
                  <a:gd name="connsiteY5" fmla="*/ 713509 h 3666259"/>
                  <a:gd name="connsiteX6" fmla="*/ 680604 w 2938029"/>
                  <a:gd name="connsiteY6" fmla="*/ 0 h 3666259"/>
                  <a:gd name="connsiteX7" fmla="*/ 1615786 w 2938029"/>
                  <a:gd name="connsiteY7" fmla="*/ 1080655 h 3666259"/>
                  <a:gd name="connsiteX8" fmla="*/ 2938029 w 2938029"/>
                  <a:gd name="connsiteY8" fmla="*/ 3202998 h 3666259"/>
                  <a:gd name="connsiteX9" fmla="*/ 2909454 w 2938029"/>
                  <a:gd name="connsiteY9" fmla="*/ 3666259 h 3666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38029" h="3666259">
                    <a:moveTo>
                      <a:pt x="2909454" y="3666259"/>
                    </a:moveTo>
                    <a:cubicBezTo>
                      <a:pt x="2737138" y="3311236"/>
                      <a:pt x="2402898" y="2899064"/>
                      <a:pt x="2116282" y="2677391"/>
                    </a:cubicBezTo>
                    <a:cubicBezTo>
                      <a:pt x="1511877" y="2214996"/>
                      <a:pt x="555048" y="1724025"/>
                      <a:pt x="493568" y="1537855"/>
                    </a:cubicBezTo>
                    <a:cubicBezTo>
                      <a:pt x="526473" y="1375930"/>
                      <a:pt x="673677" y="1233055"/>
                      <a:pt x="763732" y="1080655"/>
                    </a:cubicBezTo>
                    <a:cubicBezTo>
                      <a:pt x="618259" y="1115291"/>
                      <a:pt x="453737" y="1226128"/>
                      <a:pt x="327314" y="1184564"/>
                    </a:cubicBezTo>
                    <a:cubicBezTo>
                      <a:pt x="218209" y="1103746"/>
                      <a:pt x="109105" y="870527"/>
                      <a:pt x="0" y="713509"/>
                    </a:cubicBezTo>
                    <a:lnTo>
                      <a:pt x="680604" y="0"/>
                    </a:lnTo>
                    <a:lnTo>
                      <a:pt x="1615786" y="1080655"/>
                    </a:lnTo>
                    <a:lnTo>
                      <a:pt x="2938029" y="3202998"/>
                    </a:lnTo>
                    <a:lnTo>
                      <a:pt x="2909454" y="366625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87" name="Freeform 286"/>
              <p:cNvSpPr/>
              <p:nvPr/>
            </p:nvSpPr>
            <p:spPr>
              <a:xfrm rot="21114987" flipH="1">
                <a:off x="6863801" y="2428595"/>
                <a:ext cx="174123" cy="591999"/>
              </a:xfrm>
              <a:custGeom>
                <a:avLst/>
                <a:gdLst>
                  <a:gd name="connsiteX0" fmla="*/ 477982 w 1517073"/>
                  <a:gd name="connsiteY0" fmla="*/ 5029200 h 5029200"/>
                  <a:gd name="connsiteX1" fmla="*/ 0 w 1517073"/>
                  <a:gd name="connsiteY1" fmla="*/ 3678382 h 5029200"/>
                  <a:gd name="connsiteX2" fmla="*/ 249382 w 1517073"/>
                  <a:gd name="connsiteY2" fmla="*/ 1662546 h 5029200"/>
                  <a:gd name="connsiteX3" fmla="*/ 353291 w 1517073"/>
                  <a:gd name="connsiteY3" fmla="*/ 0 h 5029200"/>
                  <a:gd name="connsiteX4" fmla="*/ 955964 w 1517073"/>
                  <a:gd name="connsiteY4" fmla="*/ 519546 h 5029200"/>
                  <a:gd name="connsiteX5" fmla="*/ 1309255 w 1517073"/>
                  <a:gd name="connsiteY5" fmla="*/ 768928 h 5029200"/>
                  <a:gd name="connsiteX6" fmla="*/ 872837 w 1517073"/>
                  <a:gd name="connsiteY6" fmla="*/ 976746 h 5029200"/>
                  <a:gd name="connsiteX7" fmla="*/ 1517073 w 1517073"/>
                  <a:gd name="connsiteY7" fmla="*/ 1101437 h 5029200"/>
                  <a:gd name="connsiteX8" fmla="*/ 311728 w 1517073"/>
                  <a:gd name="connsiteY8" fmla="*/ 3408218 h 5029200"/>
                  <a:gd name="connsiteX9" fmla="*/ 477982 w 1517073"/>
                  <a:gd name="connsiteY9" fmla="*/ 5029200 h 5029200"/>
                  <a:gd name="connsiteX0" fmla="*/ 477982 w 1517073"/>
                  <a:gd name="connsiteY0" fmla="*/ 5029200 h 5029200"/>
                  <a:gd name="connsiteX1" fmla="*/ 0 w 1517073"/>
                  <a:gd name="connsiteY1" fmla="*/ 3678382 h 5029200"/>
                  <a:gd name="connsiteX2" fmla="*/ 249382 w 1517073"/>
                  <a:gd name="connsiteY2" fmla="*/ 1662546 h 5029200"/>
                  <a:gd name="connsiteX3" fmla="*/ 353291 w 1517073"/>
                  <a:gd name="connsiteY3" fmla="*/ 0 h 5029200"/>
                  <a:gd name="connsiteX4" fmla="*/ 955964 w 1517073"/>
                  <a:gd name="connsiteY4" fmla="*/ 519546 h 5029200"/>
                  <a:gd name="connsiteX5" fmla="*/ 1309255 w 1517073"/>
                  <a:gd name="connsiteY5" fmla="*/ 768928 h 5029200"/>
                  <a:gd name="connsiteX6" fmla="*/ 872837 w 1517073"/>
                  <a:gd name="connsiteY6" fmla="*/ 976746 h 5029200"/>
                  <a:gd name="connsiteX7" fmla="*/ 1517073 w 1517073"/>
                  <a:gd name="connsiteY7" fmla="*/ 1101437 h 5029200"/>
                  <a:gd name="connsiteX8" fmla="*/ 311728 w 1517073"/>
                  <a:gd name="connsiteY8" fmla="*/ 3408218 h 5029200"/>
                  <a:gd name="connsiteX9" fmla="*/ 477982 w 1517073"/>
                  <a:gd name="connsiteY9" fmla="*/ 5029200 h 5029200"/>
                  <a:gd name="connsiteX0" fmla="*/ 477982 w 1517073"/>
                  <a:gd name="connsiteY0" fmla="*/ 5029200 h 5029200"/>
                  <a:gd name="connsiteX1" fmla="*/ 0 w 1517073"/>
                  <a:gd name="connsiteY1" fmla="*/ 3678382 h 5029200"/>
                  <a:gd name="connsiteX2" fmla="*/ 249382 w 1517073"/>
                  <a:gd name="connsiteY2" fmla="*/ 1662546 h 5029200"/>
                  <a:gd name="connsiteX3" fmla="*/ 353291 w 1517073"/>
                  <a:gd name="connsiteY3" fmla="*/ 0 h 5029200"/>
                  <a:gd name="connsiteX4" fmla="*/ 955964 w 1517073"/>
                  <a:gd name="connsiteY4" fmla="*/ 519546 h 5029200"/>
                  <a:gd name="connsiteX5" fmla="*/ 1309255 w 1517073"/>
                  <a:gd name="connsiteY5" fmla="*/ 768928 h 5029200"/>
                  <a:gd name="connsiteX6" fmla="*/ 872837 w 1517073"/>
                  <a:gd name="connsiteY6" fmla="*/ 976746 h 5029200"/>
                  <a:gd name="connsiteX7" fmla="*/ 1517073 w 1517073"/>
                  <a:gd name="connsiteY7" fmla="*/ 1101437 h 5029200"/>
                  <a:gd name="connsiteX8" fmla="*/ 311728 w 1517073"/>
                  <a:gd name="connsiteY8" fmla="*/ 3408218 h 5029200"/>
                  <a:gd name="connsiteX9" fmla="*/ 477982 w 1517073"/>
                  <a:gd name="connsiteY9" fmla="*/ 5029200 h 5029200"/>
                  <a:gd name="connsiteX0" fmla="*/ 477982 w 1517073"/>
                  <a:gd name="connsiteY0" fmla="*/ 5029200 h 5029200"/>
                  <a:gd name="connsiteX1" fmla="*/ 0 w 1517073"/>
                  <a:gd name="connsiteY1" fmla="*/ 3678382 h 5029200"/>
                  <a:gd name="connsiteX2" fmla="*/ 249382 w 1517073"/>
                  <a:gd name="connsiteY2" fmla="*/ 1662546 h 5029200"/>
                  <a:gd name="connsiteX3" fmla="*/ 353291 w 1517073"/>
                  <a:gd name="connsiteY3" fmla="*/ 0 h 5029200"/>
                  <a:gd name="connsiteX4" fmla="*/ 889289 w 1517073"/>
                  <a:gd name="connsiteY4" fmla="*/ 471921 h 5029200"/>
                  <a:gd name="connsiteX5" fmla="*/ 1309255 w 1517073"/>
                  <a:gd name="connsiteY5" fmla="*/ 768928 h 5029200"/>
                  <a:gd name="connsiteX6" fmla="*/ 872837 w 1517073"/>
                  <a:gd name="connsiteY6" fmla="*/ 976746 h 5029200"/>
                  <a:gd name="connsiteX7" fmla="*/ 1517073 w 1517073"/>
                  <a:gd name="connsiteY7" fmla="*/ 1101437 h 5029200"/>
                  <a:gd name="connsiteX8" fmla="*/ 311728 w 1517073"/>
                  <a:gd name="connsiteY8" fmla="*/ 3408218 h 5029200"/>
                  <a:gd name="connsiteX9" fmla="*/ 477982 w 1517073"/>
                  <a:gd name="connsiteY9" fmla="*/ 5029200 h 5029200"/>
                  <a:gd name="connsiteX0" fmla="*/ 477982 w 1517073"/>
                  <a:gd name="connsiteY0" fmla="*/ 5029200 h 5029200"/>
                  <a:gd name="connsiteX1" fmla="*/ 0 w 1517073"/>
                  <a:gd name="connsiteY1" fmla="*/ 3678382 h 5029200"/>
                  <a:gd name="connsiteX2" fmla="*/ 249382 w 1517073"/>
                  <a:gd name="connsiteY2" fmla="*/ 1662546 h 5029200"/>
                  <a:gd name="connsiteX3" fmla="*/ 353291 w 1517073"/>
                  <a:gd name="connsiteY3" fmla="*/ 0 h 5029200"/>
                  <a:gd name="connsiteX4" fmla="*/ 889289 w 1517073"/>
                  <a:gd name="connsiteY4" fmla="*/ 471921 h 5029200"/>
                  <a:gd name="connsiteX5" fmla="*/ 1309255 w 1517073"/>
                  <a:gd name="connsiteY5" fmla="*/ 768928 h 5029200"/>
                  <a:gd name="connsiteX6" fmla="*/ 872837 w 1517073"/>
                  <a:gd name="connsiteY6" fmla="*/ 976746 h 5029200"/>
                  <a:gd name="connsiteX7" fmla="*/ 1517073 w 1517073"/>
                  <a:gd name="connsiteY7" fmla="*/ 1101437 h 5029200"/>
                  <a:gd name="connsiteX8" fmla="*/ 311728 w 1517073"/>
                  <a:gd name="connsiteY8" fmla="*/ 3408218 h 5029200"/>
                  <a:gd name="connsiteX9" fmla="*/ 477982 w 1517073"/>
                  <a:gd name="connsiteY9" fmla="*/ 5029200 h 5029200"/>
                  <a:gd name="connsiteX0" fmla="*/ 477982 w 1517073"/>
                  <a:gd name="connsiteY0" fmla="*/ 4962525 h 4962525"/>
                  <a:gd name="connsiteX1" fmla="*/ 0 w 1517073"/>
                  <a:gd name="connsiteY1" fmla="*/ 3611707 h 4962525"/>
                  <a:gd name="connsiteX2" fmla="*/ 249382 w 1517073"/>
                  <a:gd name="connsiteY2" fmla="*/ 1595871 h 4962525"/>
                  <a:gd name="connsiteX3" fmla="*/ 372341 w 1517073"/>
                  <a:gd name="connsiteY3" fmla="*/ 0 h 4962525"/>
                  <a:gd name="connsiteX4" fmla="*/ 889289 w 1517073"/>
                  <a:gd name="connsiteY4" fmla="*/ 405246 h 4962525"/>
                  <a:gd name="connsiteX5" fmla="*/ 1309255 w 1517073"/>
                  <a:gd name="connsiteY5" fmla="*/ 702253 h 4962525"/>
                  <a:gd name="connsiteX6" fmla="*/ 872837 w 1517073"/>
                  <a:gd name="connsiteY6" fmla="*/ 910071 h 4962525"/>
                  <a:gd name="connsiteX7" fmla="*/ 1517073 w 1517073"/>
                  <a:gd name="connsiteY7" fmla="*/ 1034762 h 4962525"/>
                  <a:gd name="connsiteX8" fmla="*/ 311728 w 1517073"/>
                  <a:gd name="connsiteY8" fmla="*/ 3341543 h 4962525"/>
                  <a:gd name="connsiteX9" fmla="*/ 477982 w 1517073"/>
                  <a:gd name="connsiteY9" fmla="*/ 4962525 h 4962525"/>
                  <a:gd name="connsiteX0" fmla="*/ 477982 w 1517073"/>
                  <a:gd name="connsiteY0" fmla="*/ 4962525 h 4962525"/>
                  <a:gd name="connsiteX1" fmla="*/ 0 w 1517073"/>
                  <a:gd name="connsiteY1" fmla="*/ 3611707 h 4962525"/>
                  <a:gd name="connsiteX2" fmla="*/ 249382 w 1517073"/>
                  <a:gd name="connsiteY2" fmla="*/ 1595871 h 4962525"/>
                  <a:gd name="connsiteX3" fmla="*/ 372341 w 1517073"/>
                  <a:gd name="connsiteY3" fmla="*/ 0 h 4962525"/>
                  <a:gd name="connsiteX4" fmla="*/ 889289 w 1517073"/>
                  <a:gd name="connsiteY4" fmla="*/ 405246 h 4962525"/>
                  <a:gd name="connsiteX5" fmla="*/ 1309255 w 1517073"/>
                  <a:gd name="connsiteY5" fmla="*/ 702253 h 4962525"/>
                  <a:gd name="connsiteX6" fmla="*/ 872837 w 1517073"/>
                  <a:gd name="connsiteY6" fmla="*/ 910071 h 4962525"/>
                  <a:gd name="connsiteX7" fmla="*/ 1517073 w 1517073"/>
                  <a:gd name="connsiteY7" fmla="*/ 1034762 h 4962525"/>
                  <a:gd name="connsiteX8" fmla="*/ 311728 w 1517073"/>
                  <a:gd name="connsiteY8" fmla="*/ 3341543 h 4962525"/>
                  <a:gd name="connsiteX9" fmla="*/ 477982 w 1517073"/>
                  <a:gd name="connsiteY9" fmla="*/ 4962525 h 4962525"/>
                  <a:gd name="connsiteX0" fmla="*/ 477982 w 1517073"/>
                  <a:gd name="connsiteY0" fmla="*/ 4962525 h 4962525"/>
                  <a:gd name="connsiteX1" fmla="*/ 0 w 1517073"/>
                  <a:gd name="connsiteY1" fmla="*/ 3611707 h 4962525"/>
                  <a:gd name="connsiteX2" fmla="*/ 249382 w 1517073"/>
                  <a:gd name="connsiteY2" fmla="*/ 1595871 h 4962525"/>
                  <a:gd name="connsiteX3" fmla="*/ 372341 w 1517073"/>
                  <a:gd name="connsiteY3" fmla="*/ 0 h 4962525"/>
                  <a:gd name="connsiteX4" fmla="*/ 889289 w 1517073"/>
                  <a:gd name="connsiteY4" fmla="*/ 405246 h 4962525"/>
                  <a:gd name="connsiteX5" fmla="*/ 1309255 w 1517073"/>
                  <a:gd name="connsiteY5" fmla="*/ 702253 h 4962525"/>
                  <a:gd name="connsiteX6" fmla="*/ 872837 w 1517073"/>
                  <a:gd name="connsiteY6" fmla="*/ 910071 h 4962525"/>
                  <a:gd name="connsiteX7" fmla="*/ 1517073 w 1517073"/>
                  <a:gd name="connsiteY7" fmla="*/ 1034762 h 4962525"/>
                  <a:gd name="connsiteX8" fmla="*/ 311728 w 1517073"/>
                  <a:gd name="connsiteY8" fmla="*/ 3341543 h 4962525"/>
                  <a:gd name="connsiteX9" fmla="*/ 477982 w 1517073"/>
                  <a:gd name="connsiteY9" fmla="*/ 4962525 h 4962525"/>
                  <a:gd name="connsiteX0" fmla="*/ 477982 w 1517073"/>
                  <a:gd name="connsiteY0" fmla="*/ 4962525 h 4962525"/>
                  <a:gd name="connsiteX1" fmla="*/ 0 w 1517073"/>
                  <a:gd name="connsiteY1" fmla="*/ 3611707 h 4962525"/>
                  <a:gd name="connsiteX2" fmla="*/ 249382 w 1517073"/>
                  <a:gd name="connsiteY2" fmla="*/ 1595871 h 4962525"/>
                  <a:gd name="connsiteX3" fmla="*/ 372341 w 1517073"/>
                  <a:gd name="connsiteY3" fmla="*/ 0 h 4962525"/>
                  <a:gd name="connsiteX4" fmla="*/ 889289 w 1517073"/>
                  <a:gd name="connsiteY4" fmla="*/ 405246 h 4962525"/>
                  <a:gd name="connsiteX5" fmla="*/ 1309255 w 1517073"/>
                  <a:gd name="connsiteY5" fmla="*/ 702253 h 4962525"/>
                  <a:gd name="connsiteX6" fmla="*/ 872837 w 1517073"/>
                  <a:gd name="connsiteY6" fmla="*/ 910071 h 4962525"/>
                  <a:gd name="connsiteX7" fmla="*/ 1517073 w 1517073"/>
                  <a:gd name="connsiteY7" fmla="*/ 1034762 h 4962525"/>
                  <a:gd name="connsiteX8" fmla="*/ 340303 w 1517073"/>
                  <a:gd name="connsiteY8" fmla="*/ 3379643 h 4962525"/>
                  <a:gd name="connsiteX9" fmla="*/ 477982 w 1517073"/>
                  <a:gd name="connsiteY9" fmla="*/ 4962525 h 4962525"/>
                  <a:gd name="connsiteX0" fmla="*/ 477982 w 1517073"/>
                  <a:gd name="connsiteY0" fmla="*/ 4962525 h 4962525"/>
                  <a:gd name="connsiteX1" fmla="*/ 0 w 1517073"/>
                  <a:gd name="connsiteY1" fmla="*/ 3611707 h 4962525"/>
                  <a:gd name="connsiteX2" fmla="*/ 249382 w 1517073"/>
                  <a:gd name="connsiteY2" fmla="*/ 1595871 h 4962525"/>
                  <a:gd name="connsiteX3" fmla="*/ 372341 w 1517073"/>
                  <a:gd name="connsiteY3" fmla="*/ 0 h 4962525"/>
                  <a:gd name="connsiteX4" fmla="*/ 889289 w 1517073"/>
                  <a:gd name="connsiteY4" fmla="*/ 405246 h 4962525"/>
                  <a:gd name="connsiteX5" fmla="*/ 1309255 w 1517073"/>
                  <a:gd name="connsiteY5" fmla="*/ 702253 h 4962525"/>
                  <a:gd name="connsiteX6" fmla="*/ 872837 w 1517073"/>
                  <a:gd name="connsiteY6" fmla="*/ 910071 h 4962525"/>
                  <a:gd name="connsiteX7" fmla="*/ 1517073 w 1517073"/>
                  <a:gd name="connsiteY7" fmla="*/ 1034762 h 4962525"/>
                  <a:gd name="connsiteX8" fmla="*/ 340303 w 1517073"/>
                  <a:gd name="connsiteY8" fmla="*/ 3379643 h 4962525"/>
                  <a:gd name="connsiteX9" fmla="*/ 477982 w 1517073"/>
                  <a:gd name="connsiteY9" fmla="*/ 4962525 h 4962525"/>
                  <a:gd name="connsiteX0" fmla="*/ 477982 w 1517073"/>
                  <a:gd name="connsiteY0" fmla="*/ 4962525 h 4962525"/>
                  <a:gd name="connsiteX1" fmla="*/ 0 w 1517073"/>
                  <a:gd name="connsiteY1" fmla="*/ 3611707 h 4962525"/>
                  <a:gd name="connsiteX2" fmla="*/ 249382 w 1517073"/>
                  <a:gd name="connsiteY2" fmla="*/ 1595871 h 4962525"/>
                  <a:gd name="connsiteX3" fmla="*/ 372341 w 1517073"/>
                  <a:gd name="connsiteY3" fmla="*/ 0 h 4962525"/>
                  <a:gd name="connsiteX4" fmla="*/ 889289 w 1517073"/>
                  <a:gd name="connsiteY4" fmla="*/ 405246 h 4962525"/>
                  <a:gd name="connsiteX5" fmla="*/ 1309255 w 1517073"/>
                  <a:gd name="connsiteY5" fmla="*/ 702253 h 4962525"/>
                  <a:gd name="connsiteX6" fmla="*/ 872837 w 1517073"/>
                  <a:gd name="connsiteY6" fmla="*/ 910071 h 4962525"/>
                  <a:gd name="connsiteX7" fmla="*/ 1517073 w 1517073"/>
                  <a:gd name="connsiteY7" fmla="*/ 1034762 h 4962525"/>
                  <a:gd name="connsiteX8" fmla="*/ 340303 w 1517073"/>
                  <a:gd name="connsiteY8" fmla="*/ 3379643 h 4962525"/>
                  <a:gd name="connsiteX9" fmla="*/ 477982 w 1517073"/>
                  <a:gd name="connsiteY9" fmla="*/ 4962525 h 4962525"/>
                  <a:gd name="connsiteX0" fmla="*/ 477982 w 1517073"/>
                  <a:gd name="connsiteY0" fmla="*/ 4962525 h 4962525"/>
                  <a:gd name="connsiteX1" fmla="*/ 0 w 1517073"/>
                  <a:gd name="connsiteY1" fmla="*/ 3611707 h 4962525"/>
                  <a:gd name="connsiteX2" fmla="*/ 249382 w 1517073"/>
                  <a:gd name="connsiteY2" fmla="*/ 1595871 h 4962525"/>
                  <a:gd name="connsiteX3" fmla="*/ 372341 w 1517073"/>
                  <a:gd name="connsiteY3" fmla="*/ 0 h 4962525"/>
                  <a:gd name="connsiteX4" fmla="*/ 889289 w 1517073"/>
                  <a:gd name="connsiteY4" fmla="*/ 405246 h 4962525"/>
                  <a:gd name="connsiteX5" fmla="*/ 1309255 w 1517073"/>
                  <a:gd name="connsiteY5" fmla="*/ 702253 h 4962525"/>
                  <a:gd name="connsiteX6" fmla="*/ 872837 w 1517073"/>
                  <a:gd name="connsiteY6" fmla="*/ 910071 h 4962525"/>
                  <a:gd name="connsiteX7" fmla="*/ 1517073 w 1517073"/>
                  <a:gd name="connsiteY7" fmla="*/ 1034762 h 4962525"/>
                  <a:gd name="connsiteX8" fmla="*/ 340303 w 1517073"/>
                  <a:gd name="connsiteY8" fmla="*/ 3379643 h 4962525"/>
                  <a:gd name="connsiteX9" fmla="*/ 477982 w 1517073"/>
                  <a:gd name="connsiteY9" fmla="*/ 4962525 h 4962525"/>
                  <a:gd name="connsiteX0" fmla="*/ 477982 w 1517073"/>
                  <a:gd name="connsiteY0" fmla="*/ 4962525 h 4962525"/>
                  <a:gd name="connsiteX1" fmla="*/ 0 w 1517073"/>
                  <a:gd name="connsiteY1" fmla="*/ 3611707 h 4962525"/>
                  <a:gd name="connsiteX2" fmla="*/ 249382 w 1517073"/>
                  <a:gd name="connsiteY2" fmla="*/ 1595871 h 4962525"/>
                  <a:gd name="connsiteX3" fmla="*/ 372341 w 1517073"/>
                  <a:gd name="connsiteY3" fmla="*/ 0 h 4962525"/>
                  <a:gd name="connsiteX4" fmla="*/ 889289 w 1517073"/>
                  <a:gd name="connsiteY4" fmla="*/ 405246 h 4962525"/>
                  <a:gd name="connsiteX5" fmla="*/ 1309255 w 1517073"/>
                  <a:gd name="connsiteY5" fmla="*/ 702253 h 4962525"/>
                  <a:gd name="connsiteX6" fmla="*/ 872837 w 1517073"/>
                  <a:gd name="connsiteY6" fmla="*/ 910071 h 4962525"/>
                  <a:gd name="connsiteX7" fmla="*/ 1517073 w 1517073"/>
                  <a:gd name="connsiteY7" fmla="*/ 1034762 h 4962525"/>
                  <a:gd name="connsiteX8" fmla="*/ 340303 w 1517073"/>
                  <a:gd name="connsiteY8" fmla="*/ 3379643 h 4962525"/>
                  <a:gd name="connsiteX9" fmla="*/ 477982 w 1517073"/>
                  <a:gd name="connsiteY9" fmla="*/ 4962525 h 4962525"/>
                  <a:gd name="connsiteX0" fmla="*/ 477982 w 1517073"/>
                  <a:gd name="connsiteY0" fmla="*/ 4962525 h 4962525"/>
                  <a:gd name="connsiteX1" fmla="*/ 0 w 1517073"/>
                  <a:gd name="connsiteY1" fmla="*/ 3611707 h 4962525"/>
                  <a:gd name="connsiteX2" fmla="*/ 249382 w 1517073"/>
                  <a:gd name="connsiteY2" fmla="*/ 1595871 h 4962525"/>
                  <a:gd name="connsiteX3" fmla="*/ 372341 w 1517073"/>
                  <a:gd name="connsiteY3" fmla="*/ 0 h 4962525"/>
                  <a:gd name="connsiteX4" fmla="*/ 889289 w 1517073"/>
                  <a:gd name="connsiteY4" fmla="*/ 405246 h 4962525"/>
                  <a:gd name="connsiteX5" fmla="*/ 1309255 w 1517073"/>
                  <a:gd name="connsiteY5" fmla="*/ 702253 h 4962525"/>
                  <a:gd name="connsiteX6" fmla="*/ 872837 w 1517073"/>
                  <a:gd name="connsiteY6" fmla="*/ 910071 h 4962525"/>
                  <a:gd name="connsiteX7" fmla="*/ 1517073 w 1517073"/>
                  <a:gd name="connsiteY7" fmla="*/ 1034762 h 4962525"/>
                  <a:gd name="connsiteX8" fmla="*/ 368878 w 1517073"/>
                  <a:gd name="connsiteY8" fmla="*/ 3446318 h 4962525"/>
                  <a:gd name="connsiteX9" fmla="*/ 477982 w 1517073"/>
                  <a:gd name="connsiteY9" fmla="*/ 4962525 h 4962525"/>
                  <a:gd name="connsiteX0" fmla="*/ 487507 w 1517073"/>
                  <a:gd name="connsiteY0" fmla="*/ 5000625 h 5000625"/>
                  <a:gd name="connsiteX1" fmla="*/ 0 w 1517073"/>
                  <a:gd name="connsiteY1" fmla="*/ 3611707 h 5000625"/>
                  <a:gd name="connsiteX2" fmla="*/ 249382 w 1517073"/>
                  <a:gd name="connsiteY2" fmla="*/ 1595871 h 5000625"/>
                  <a:gd name="connsiteX3" fmla="*/ 372341 w 1517073"/>
                  <a:gd name="connsiteY3" fmla="*/ 0 h 5000625"/>
                  <a:gd name="connsiteX4" fmla="*/ 889289 w 1517073"/>
                  <a:gd name="connsiteY4" fmla="*/ 405246 h 5000625"/>
                  <a:gd name="connsiteX5" fmla="*/ 1309255 w 1517073"/>
                  <a:gd name="connsiteY5" fmla="*/ 702253 h 5000625"/>
                  <a:gd name="connsiteX6" fmla="*/ 872837 w 1517073"/>
                  <a:gd name="connsiteY6" fmla="*/ 910071 h 5000625"/>
                  <a:gd name="connsiteX7" fmla="*/ 1517073 w 1517073"/>
                  <a:gd name="connsiteY7" fmla="*/ 1034762 h 5000625"/>
                  <a:gd name="connsiteX8" fmla="*/ 368878 w 1517073"/>
                  <a:gd name="connsiteY8" fmla="*/ 3446318 h 5000625"/>
                  <a:gd name="connsiteX9" fmla="*/ 487507 w 1517073"/>
                  <a:gd name="connsiteY9" fmla="*/ 5000625 h 5000625"/>
                  <a:gd name="connsiteX0" fmla="*/ 458932 w 1488498"/>
                  <a:gd name="connsiteY0" fmla="*/ 5000625 h 5000625"/>
                  <a:gd name="connsiteX1" fmla="*/ 0 w 1488498"/>
                  <a:gd name="connsiteY1" fmla="*/ 3592657 h 5000625"/>
                  <a:gd name="connsiteX2" fmla="*/ 220807 w 1488498"/>
                  <a:gd name="connsiteY2" fmla="*/ 1595871 h 5000625"/>
                  <a:gd name="connsiteX3" fmla="*/ 343766 w 1488498"/>
                  <a:gd name="connsiteY3" fmla="*/ 0 h 5000625"/>
                  <a:gd name="connsiteX4" fmla="*/ 860714 w 1488498"/>
                  <a:gd name="connsiteY4" fmla="*/ 405246 h 5000625"/>
                  <a:gd name="connsiteX5" fmla="*/ 1280680 w 1488498"/>
                  <a:gd name="connsiteY5" fmla="*/ 702253 h 5000625"/>
                  <a:gd name="connsiteX6" fmla="*/ 844262 w 1488498"/>
                  <a:gd name="connsiteY6" fmla="*/ 910071 h 5000625"/>
                  <a:gd name="connsiteX7" fmla="*/ 1488498 w 1488498"/>
                  <a:gd name="connsiteY7" fmla="*/ 1034762 h 5000625"/>
                  <a:gd name="connsiteX8" fmla="*/ 340303 w 1488498"/>
                  <a:gd name="connsiteY8" fmla="*/ 3446318 h 5000625"/>
                  <a:gd name="connsiteX9" fmla="*/ 458932 w 1488498"/>
                  <a:gd name="connsiteY9" fmla="*/ 5000625 h 5000625"/>
                  <a:gd name="connsiteX0" fmla="*/ 458932 w 1488498"/>
                  <a:gd name="connsiteY0" fmla="*/ 5000625 h 5000625"/>
                  <a:gd name="connsiteX1" fmla="*/ 0 w 1488498"/>
                  <a:gd name="connsiteY1" fmla="*/ 3592657 h 5000625"/>
                  <a:gd name="connsiteX2" fmla="*/ 220807 w 1488498"/>
                  <a:gd name="connsiteY2" fmla="*/ 1595871 h 5000625"/>
                  <a:gd name="connsiteX3" fmla="*/ 343766 w 1488498"/>
                  <a:gd name="connsiteY3" fmla="*/ 0 h 5000625"/>
                  <a:gd name="connsiteX4" fmla="*/ 860714 w 1488498"/>
                  <a:gd name="connsiteY4" fmla="*/ 405246 h 5000625"/>
                  <a:gd name="connsiteX5" fmla="*/ 1280680 w 1488498"/>
                  <a:gd name="connsiteY5" fmla="*/ 702253 h 5000625"/>
                  <a:gd name="connsiteX6" fmla="*/ 844262 w 1488498"/>
                  <a:gd name="connsiteY6" fmla="*/ 910071 h 5000625"/>
                  <a:gd name="connsiteX7" fmla="*/ 1488498 w 1488498"/>
                  <a:gd name="connsiteY7" fmla="*/ 1034762 h 5000625"/>
                  <a:gd name="connsiteX8" fmla="*/ 340303 w 1488498"/>
                  <a:gd name="connsiteY8" fmla="*/ 3446318 h 5000625"/>
                  <a:gd name="connsiteX9" fmla="*/ 458932 w 1488498"/>
                  <a:gd name="connsiteY9" fmla="*/ 5000625 h 500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88498" h="5000625">
                    <a:moveTo>
                      <a:pt x="458932" y="5000625"/>
                    </a:moveTo>
                    <a:cubicBezTo>
                      <a:pt x="305955" y="4531302"/>
                      <a:pt x="172027" y="3947680"/>
                      <a:pt x="0" y="3592657"/>
                    </a:cubicBezTo>
                    <a:lnTo>
                      <a:pt x="220807" y="1595871"/>
                    </a:lnTo>
                    <a:lnTo>
                      <a:pt x="343766" y="0"/>
                    </a:lnTo>
                    <a:cubicBezTo>
                      <a:pt x="522432" y="157307"/>
                      <a:pt x="634423" y="247939"/>
                      <a:pt x="860714" y="405246"/>
                    </a:cubicBezTo>
                    <a:cubicBezTo>
                      <a:pt x="978478" y="488373"/>
                      <a:pt x="1172441" y="590551"/>
                      <a:pt x="1280680" y="702253"/>
                    </a:cubicBezTo>
                    <a:cubicBezTo>
                      <a:pt x="1211407" y="838201"/>
                      <a:pt x="989735" y="840798"/>
                      <a:pt x="844262" y="910071"/>
                    </a:cubicBezTo>
                    <a:cubicBezTo>
                      <a:pt x="1059007" y="951635"/>
                      <a:pt x="1340428" y="955098"/>
                      <a:pt x="1488498" y="1034762"/>
                    </a:cubicBezTo>
                    <a:cubicBezTo>
                      <a:pt x="1391516" y="1432214"/>
                      <a:pt x="627785" y="2715491"/>
                      <a:pt x="340303" y="3446318"/>
                    </a:cubicBezTo>
                    <a:cubicBezTo>
                      <a:pt x="243321" y="3773920"/>
                      <a:pt x="413039" y="4472998"/>
                      <a:pt x="458932" y="500062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88" name="Freeform 287"/>
              <p:cNvSpPr/>
              <p:nvPr/>
            </p:nvSpPr>
            <p:spPr>
              <a:xfrm rot="21114987" flipH="1">
                <a:off x="6972231" y="2381259"/>
                <a:ext cx="286255" cy="430545"/>
              </a:xfrm>
              <a:custGeom>
                <a:avLst/>
                <a:gdLst>
                  <a:gd name="connsiteX0" fmla="*/ 0 w 2389909"/>
                  <a:gd name="connsiteY0" fmla="*/ 477982 h 3636819"/>
                  <a:gd name="connsiteX1" fmla="*/ 166254 w 2389909"/>
                  <a:gd name="connsiteY1" fmla="*/ 124691 h 3636819"/>
                  <a:gd name="connsiteX2" fmla="*/ 290945 w 2389909"/>
                  <a:gd name="connsiteY2" fmla="*/ 519546 h 3636819"/>
                  <a:gd name="connsiteX3" fmla="*/ 1475509 w 2389909"/>
                  <a:gd name="connsiteY3" fmla="*/ 1309255 h 3636819"/>
                  <a:gd name="connsiteX4" fmla="*/ 1579418 w 2389909"/>
                  <a:gd name="connsiteY4" fmla="*/ 1724891 h 3636819"/>
                  <a:gd name="connsiteX5" fmla="*/ 1620982 w 2389909"/>
                  <a:gd name="connsiteY5" fmla="*/ 2327564 h 3636819"/>
                  <a:gd name="connsiteX6" fmla="*/ 1787236 w 2389909"/>
                  <a:gd name="connsiteY6" fmla="*/ 2389909 h 3636819"/>
                  <a:gd name="connsiteX7" fmla="*/ 1995054 w 2389909"/>
                  <a:gd name="connsiteY7" fmla="*/ 1558637 h 3636819"/>
                  <a:gd name="connsiteX8" fmla="*/ 1745672 w 2389909"/>
                  <a:gd name="connsiteY8" fmla="*/ 1205346 h 3636819"/>
                  <a:gd name="connsiteX9" fmla="*/ 2223654 w 2389909"/>
                  <a:gd name="connsiteY9" fmla="*/ 166255 h 3636819"/>
                  <a:gd name="connsiteX10" fmla="*/ 2244436 w 2389909"/>
                  <a:gd name="connsiteY10" fmla="*/ 0 h 3636819"/>
                  <a:gd name="connsiteX11" fmla="*/ 2389909 w 2389909"/>
                  <a:gd name="connsiteY11" fmla="*/ 207819 h 3636819"/>
                  <a:gd name="connsiteX12" fmla="*/ 2389909 w 2389909"/>
                  <a:gd name="connsiteY12" fmla="*/ 1953491 h 3636819"/>
                  <a:gd name="connsiteX13" fmla="*/ 2119745 w 2389909"/>
                  <a:gd name="connsiteY13" fmla="*/ 3636819 h 3636819"/>
                  <a:gd name="connsiteX14" fmla="*/ 415636 w 2389909"/>
                  <a:gd name="connsiteY14" fmla="*/ 1350819 h 3636819"/>
                  <a:gd name="connsiteX15" fmla="*/ 0 w 2389909"/>
                  <a:gd name="connsiteY15" fmla="*/ 477982 h 3636819"/>
                  <a:gd name="connsiteX0" fmla="*/ 0 w 2389909"/>
                  <a:gd name="connsiteY0" fmla="*/ 477982 h 3636819"/>
                  <a:gd name="connsiteX1" fmla="*/ 166254 w 2389909"/>
                  <a:gd name="connsiteY1" fmla="*/ 124691 h 3636819"/>
                  <a:gd name="connsiteX2" fmla="*/ 290945 w 2389909"/>
                  <a:gd name="connsiteY2" fmla="*/ 519546 h 3636819"/>
                  <a:gd name="connsiteX3" fmla="*/ 1475509 w 2389909"/>
                  <a:gd name="connsiteY3" fmla="*/ 1309255 h 3636819"/>
                  <a:gd name="connsiteX4" fmla="*/ 1579418 w 2389909"/>
                  <a:gd name="connsiteY4" fmla="*/ 1724891 h 3636819"/>
                  <a:gd name="connsiteX5" fmla="*/ 1620982 w 2389909"/>
                  <a:gd name="connsiteY5" fmla="*/ 2327564 h 3636819"/>
                  <a:gd name="connsiteX6" fmla="*/ 1787236 w 2389909"/>
                  <a:gd name="connsiteY6" fmla="*/ 2389909 h 3636819"/>
                  <a:gd name="connsiteX7" fmla="*/ 1995054 w 2389909"/>
                  <a:gd name="connsiteY7" fmla="*/ 1558637 h 3636819"/>
                  <a:gd name="connsiteX8" fmla="*/ 1745672 w 2389909"/>
                  <a:gd name="connsiteY8" fmla="*/ 1205346 h 3636819"/>
                  <a:gd name="connsiteX9" fmla="*/ 2223654 w 2389909"/>
                  <a:gd name="connsiteY9" fmla="*/ 166255 h 3636819"/>
                  <a:gd name="connsiteX10" fmla="*/ 2244436 w 2389909"/>
                  <a:gd name="connsiteY10" fmla="*/ 0 h 3636819"/>
                  <a:gd name="connsiteX11" fmla="*/ 2389909 w 2389909"/>
                  <a:gd name="connsiteY11" fmla="*/ 207819 h 3636819"/>
                  <a:gd name="connsiteX12" fmla="*/ 2389909 w 2389909"/>
                  <a:gd name="connsiteY12" fmla="*/ 1953491 h 3636819"/>
                  <a:gd name="connsiteX13" fmla="*/ 2119745 w 2389909"/>
                  <a:gd name="connsiteY13" fmla="*/ 3636819 h 3636819"/>
                  <a:gd name="connsiteX14" fmla="*/ 415636 w 2389909"/>
                  <a:gd name="connsiteY14" fmla="*/ 1350819 h 3636819"/>
                  <a:gd name="connsiteX15" fmla="*/ 0 w 2389909"/>
                  <a:gd name="connsiteY15" fmla="*/ 477982 h 3636819"/>
                  <a:gd name="connsiteX0" fmla="*/ 0 w 2389909"/>
                  <a:gd name="connsiteY0" fmla="*/ 477982 h 3636819"/>
                  <a:gd name="connsiteX1" fmla="*/ 166254 w 2389909"/>
                  <a:gd name="connsiteY1" fmla="*/ 124691 h 3636819"/>
                  <a:gd name="connsiteX2" fmla="*/ 329045 w 2389909"/>
                  <a:gd name="connsiteY2" fmla="*/ 519546 h 3636819"/>
                  <a:gd name="connsiteX3" fmla="*/ 1475509 w 2389909"/>
                  <a:gd name="connsiteY3" fmla="*/ 1309255 h 3636819"/>
                  <a:gd name="connsiteX4" fmla="*/ 1579418 w 2389909"/>
                  <a:gd name="connsiteY4" fmla="*/ 1724891 h 3636819"/>
                  <a:gd name="connsiteX5" fmla="*/ 1620982 w 2389909"/>
                  <a:gd name="connsiteY5" fmla="*/ 2327564 h 3636819"/>
                  <a:gd name="connsiteX6" fmla="*/ 1787236 w 2389909"/>
                  <a:gd name="connsiteY6" fmla="*/ 2389909 h 3636819"/>
                  <a:gd name="connsiteX7" fmla="*/ 1995054 w 2389909"/>
                  <a:gd name="connsiteY7" fmla="*/ 1558637 h 3636819"/>
                  <a:gd name="connsiteX8" fmla="*/ 1745672 w 2389909"/>
                  <a:gd name="connsiteY8" fmla="*/ 1205346 h 3636819"/>
                  <a:gd name="connsiteX9" fmla="*/ 2223654 w 2389909"/>
                  <a:gd name="connsiteY9" fmla="*/ 166255 h 3636819"/>
                  <a:gd name="connsiteX10" fmla="*/ 2244436 w 2389909"/>
                  <a:gd name="connsiteY10" fmla="*/ 0 h 3636819"/>
                  <a:gd name="connsiteX11" fmla="*/ 2389909 w 2389909"/>
                  <a:gd name="connsiteY11" fmla="*/ 207819 h 3636819"/>
                  <a:gd name="connsiteX12" fmla="*/ 2389909 w 2389909"/>
                  <a:gd name="connsiteY12" fmla="*/ 1953491 h 3636819"/>
                  <a:gd name="connsiteX13" fmla="*/ 2119745 w 2389909"/>
                  <a:gd name="connsiteY13" fmla="*/ 3636819 h 3636819"/>
                  <a:gd name="connsiteX14" fmla="*/ 415636 w 2389909"/>
                  <a:gd name="connsiteY14" fmla="*/ 1350819 h 3636819"/>
                  <a:gd name="connsiteX15" fmla="*/ 0 w 2389909"/>
                  <a:gd name="connsiteY15" fmla="*/ 477982 h 3636819"/>
                  <a:gd name="connsiteX0" fmla="*/ 0 w 2389909"/>
                  <a:gd name="connsiteY0" fmla="*/ 477982 h 3636819"/>
                  <a:gd name="connsiteX1" fmla="*/ 232929 w 2389909"/>
                  <a:gd name="connsiteY1" fmla="*/ 143741 h 3636819"/>
                  <a:gd name="connsiteX2" fmla="*/ 329045 w 2389909"/>
                  <a:gd name="connsiteY2" fmla="*/ 519546 h 3636819"/>
                  <a:gd name="connsiteX3" fmla="*/ 1475509 w 2389909"/>
                  <a:gd name="connsiteY3" fmla="*/ 1309255 h 3636819"/>
                  <a:gd name="connsiteX4" fmla="*/ 1579418 w 2389909"/>
                  <a:gd name="connsiteY4" fmla="*/ 1724891 h 3636819"/>
                  <a:gd name="connsiteX5" fmla="*/ 1620982 w 2389909"/>
                  <a:gd name="connsiteY5" fmla="*/ 2327564 h 3636819"/>
                  <a:gd name="connsiteX6" fmla="*/ 1787236 w 2389909"/>
                  <a:gd name="connsiteY6" fmla="*/ 2389909 h 3636819"/>
                  <a:gd name="connsiteX7" fmla="*/ 1995054 w 2389909"/>
                  <a:gd name="connsiteY7" fmla="*/ 1558637 h 3636819"/>
                  <a:gd name="connsiteX8" fmla="*/ 1745672 w 2389909"/>
                  <a:gd name="connsiteY8" fmla="*/ 1205346 h 3636819"/>
                  <a:gd name="connsiteX9" fmla="*/ 2223654 w 2389909"/>
                  <a:gd name="connsiteY9" fmla="*/ 166255 h 3636819"/>
                  <a:gd name="connsiteX10" fmla="*/ 2244436 w 2389909"/>
                  <a:gd name="connsiteY10" fmla="*/ 0 h 3636819"/>
                  <a:gd name="connsiteX11" fmla="*/ 2389909 w 2389909"/>
                  <a:gd name="connsiteY11" fmla="*/ 207819 h 3636819"/>
                  <a:gd name="connsiteX12" fmla="*/ 2389909 w 2389909"/>
                  <a:gd name="connsiteY12" fmla="*/ 1953491 h 3636819"/>
                  <a:gd name="connsiteX13" fmla="*/ 2119745 w 2389909"/>
                  <a:gd name="connsiteY13" fmla="*/ 3636819 h 3636819"/>
                  <a:gd name="connsiteX14" fmla="*/ 415636 w 2389909"/>
                  <a:gd name="connsiteY14" fmla="*/ 1350819 h 3636819"/>
                  <a:gd name="connsiteX15" fmla="*/ 0 w 2389909"/>
                  <a:gd name="connsiteY15" fmla="*/ 477982 h 3636819"/>
                  <a:gd name="connsiteX0" fmla="*/ 0 w 2389909"/>
                  <a:gd name="connsiteY0" fmla="*/ 477982 h 3636819"/>
                  <a:gd name="connsiteX1" fmla="*/ 185304 w 2389909"/>
                  <a:gd name="connsiteY1" fmla="*/ 143741 h 3636819"/>
                  <a:gd name="connsiteX2" fmla="*/ 329045 w 2389909"/>
                  <a:gd name="connsiteY2" fmla="*/ 519546 h 3636819"/>
                  <a:gd name="connsiteX3" fmla="*/ 1475509 w 2389909"/>
                  <a:gd name="connsiteY3" fmla="*/ 1309255 h 3636819"/>
                  <a:gd name="connsiteX4" fmla="*/ 1579418 w 2389909"/>
                  <a:gd name="connsiteY4" fmla="*/ 1724891 h 3636819"/>
                  <a:gd name="connsiteX5" fmla="*/ 1620982 w 2389909"/>
                  <a:gd name="connsiteY5" fmla="*/ 2327564 h 3636819"/>
                  <a:gd name="connsiteX6" fmla="*/ 1787236 w 2389909"/>
                  <a:gd name="connsiteY6" fmla="*/ 2389909 h 3636819"/>
                  <a:gd name="connsiteX7" fmla="*/ 1995054 w 2389909"/>
                  <a:gd name="connsiteY7" fmla="*/ 1558637 h 3636819"/>
                  <a:gd name="connsiteX8" fmla="*/ 1745672 w 2389909"/>
                  <a:gd name="connsiteY8" fmla="*/ 1205346 h 3636819"/>
                  <a:gd name="connsiteX9" fmla="*/ 2223654 w 2389909"/>
                  <a:gd name="connsiteY9" fmla="*/ 166255 h 3636819"/>
                  <a:gd name="connsiteX10" fmla="*/ 2244436 w 2389909"/>
                  <a:gd name="connsiteY10" fmla="*/ 0 h 3636819"/>
                  <a:gd name="connsiteX11" fmla="*/ 2389909 w 2389909"/>
                  <a:gd name="connsiteY11" fmla="*/ 207819 h 3636819"/>
                  <a:gd name="connsiteX12" fmla="*/ 2389909 w 2389909"/>
                  <a:gd name="connsiteY12" fmla="*/ 1953491 h 3636819"/>
                  <a:gd name="connsiteX13" fmla="*/ 2119745 w 2389909"/>
                  <a:gd name="connsiteY13" fmla="*/ 3636819 h 3636819"/>
                  <a:gd name="connsiteX14" fmla="*/ 415636 w 2389909"/>
                  <a:gd name="connsiteY14" fmla="*/ 1350819 h 3636819"/>
                  <a:gd name="connsiteX15" fmla="*/ 0 w 2389909"/>
                  <a:gd name="connsiteY15" fmla="*/ 477982 h 3636819"/>
                  <a:gd name="connsiteX0" fmla="*/ 0 w 2389909"/>
                  <a:gd name="connsiteY0" fmla="*/ 477982 h 3636819"/>
                  <a:gd name="connsiteX1" fmla="*/ 185304 w 2389909"/>
                  <a:gd name="connsiteY1" fmla="*/ 143741 h 3636819"/>
                  <a:gd name="connsiteX2" fmla="*/ 329045 w 2389909"/>
                  <a:gd name="connsiteY2" fmla="*/ 519546 h 3636819"/>
                  <a:gd name="connsiteX3" fmla="*/ 1475509 w 2389909"/>
                  <a:gd name="connsiteY3" fmla="*/ 1309255 h 3636819"/>
                  <a:gd name="connsiteX4" fmla="*/ 1579418 w 2389909"/>
                  <a:gd name="connsiteY4" fmla="*/ 1724891 h 3636819"/>
                  <a:gd name="connsiteX5" fmla="*/ 1620982 w 2389909"/>
                  <a:gd name="connsiteY5" fmla="*/ 2327564 h 3636819"/>
                  <a:gd name="connsiteX6" fmla="*/ 1787236 w 2389909"/>
                  <a:gd name="connsiteY6" fmla="*/ 2389909 h 3636819"/>
                  <a:gd name="connsiteX7" fmla="*/ 1995054 w 2389909"/>
                  <a:gd name="connsiteY7" fmla="*/ 1558637 h 3636819"/>
                  <a:gd name="connsiteX8" fmla="*/ 1745672 w 2389909"/>
                  <a:gd name="connsiteY8" fmla="*/ 1205346 h 3636819"/>
                  <a:gd name="connsiteX9" fmla="*/ 2223654 w 2389909"/>
                  <a:gd name="connsiteY9" fmla="*/ 166255 h 3636819"/>
                  <a:gd name="connsiteX10" fmla="*/ 2244436 w 2389909"/>
                  <a:gd name="connsiteY10" fmla="*/ 0 h 3636819"/>
                  <a:gd name="connsiteX11" fmla="*/ 2389909 w 2389909"/>
                  <a:gd name="connsiteY11" fmla="*/ 207819 h 3636819"/>
                  <a:gd name="connsiteX12" fmla="*/ 2389909 w 2389909"/>
                  <a:gd name="connsiteY12" fmla="*/ 1953491 h 3636819"/>
                  <a:gd name="connsiteX13" fmla="*/ 2119745 w 2389909"/>
                  <a:gd name="connsiteY13" fmla="*/ 3636819 h 3636819"/>
                  <a:gd name="connsiteX14" fmla="*/ 415636 w 2389909"/>
                  <a:gd name="connsiteY14" fmla="*/ 1350819 h 3636819"/>
                  <a:gd name="connsiteX15" fmla="*/ 0 w 2389909"/>
                  <a:gd name="connsiteY15" fmla="*/ 477982 h 3636819"/>
                  <a:gd name="connsiteX0" fmla="*/ 0 w 2389909"/>
                  <a:gd name="connsiteY0" fmla="*/ 477982 h 3636819"/>
                  <a:gd name="connsiteX1" fmla="*/ 223404 w 2389909"/>
                  <a:gd name="connsiteY1" fmla="*/ 143741 h 3636819"/>
                  <a:gd name="connsiteX2" fmla="*/ 329045 w 2389909"/>
                  <a:gd name="connsiteY2" fmla="*/ 519546 h 3636819"/>
                  <a:gd name="connsiteX3" fmla="*/ 1475509 w 2389909"/>
                  <a:gd name="connsiteY3" fmla="*/ 1309255 h 3636819"/>
                  <a:gd name="connsiteX4" fmla="*/ 1579418 w 2389909"/>
                  <a:gd name="connsiteY4" fmla="*/ 1724891 h 3636819"/>
                  <a:gd name="connsiteX5" fmla="*/ 1620982 w 2389909"/>
                  <a:gd name="connsiteY5" fmla="*/ 2327564 h 3636819"/>
                  <a:gd name="connsiteX6" fmla="*/ 1787236 w 2389909"/>
                  <a:gd name="connsiteY6" fmla="*/ 2389909 h 3636819"/>
                  <a:gd name="connsiteX7" fmla="*/ 1995054 w 2389909"/>
                  <a:gd name="connsiteY7" fmla="*/ 1558637 h 3636819"/>
                  <a:gd name="connsiteX8" fmla="*/ 1745672 w 2389909"/>
                  <a:gd name="connsiteY8" fmla="*/ 1205346 h 3636819"/>
                  <a:gd name="connsiteX9" fmla="*/ 2223654 w 2389909"/>
                  <a:gd name="connsiteY9" fmla="*/ 166255 h 3636819"/>
                  <a:gd name="connsiteX10" fmla="*/ 2244436 w 2389909"/>
                  <a:gd name="connsiteY10" fmla="*/ 0 h 3636819"/>
                  <a:gd name="connsiteX11" fmla="*/ 2389909 w 2389909"/>
                  <a:gd name="connsiteY11" fmla="*/ 207819 h 3636819"/>
                  <a:gd name="connsiteX12" fmla="*/ 2389909 w 2389909"/>
                  <a:gd name="connsiteY12" fmla="*/ 1953491 h 3636819"/>
                  <a:gd name="connsiteX13" fmla="*/ 2119745 w 2389909"/>
                  <a:gd name="connsiteY13" fmla="*/ 3636819 h 3636819"/>
                  <a:gd name="connsiteX14" fmla="*/ 415636 w 2389909"/>
                  <a:gd name="connsiteY14" fmla="*/ 1350819 h 3636819"/>
                  <a:gd name="connsiteX15" fmla="*/ 0 w 2389909"/>
                  <a:gd name="connsiteY15" fmla="*/ 477982 h 3636819"/>
                  <a:gd name="connsiteX0" fmla="*/ 0 w 2389909"/>
                  <a:gd name="connsiteY0" fmla="*/ 477982 h 3636819"/>
                  <a:gd name="connsiteX1" fmla="*/ 223404 w 2389909"/>
                  <a:gd name="connsiteY1" fmla="*/ 143741 h 3636819"/>
                  <a:gd name="connsiteX2" fmla="*/ 329045 w 2389909"/>
                  <a:gd name="connsiteY2" fmla="*/ 519546 h 3636819"/>
                  <a:gd name="connsiteX3" fmla="*/ 1475509 w 2389909"/>
                  <a:gd name="connsiteY3" fmla="*/ 1309255 h 3636819"/>
                  <a:gd name="connsiteX4" fmla="*/ 1579418 w 2389909"/>
                  <a:gd name="connsiteY4" fmla="*/ 1724891 h 3636819"/>
                  <a:gd name="connsiteX5" fmla="*/ 1620982 w 2389909"/>
                  <a:gd name="connsiteY5" fmla="*/ 2327564 h 3636819"/>
                  <a:gd name="connsiteX6" fmla="*/ 1787236 w 2389909"/>
                  <a:gd name="connsiteY6" fmla="*/ 2389909 h 3636819"/>
                  <a:gd name="connsiteX7" fmla="*/ 1995054 w 2389909"/>
                  <a:gd name="connsiteY7" fmla="*/ 1558637 h 3636819"/>
                  <a:gd name="connsiteX8" fmla="*/ 1745672 w 2389909"/>
                  <a:gd name="connsiteY8" fmla="*/ 1205346 h 3636819"/>
                  <a:gd name="connsiteX9" fmla="*/ 2223654 w 2389909"/>
                  <a:gd name="connsiteY9" fmla="*/ 166255 h 3636819"/>
                  <a:gd name="connsiteX10" fmla="*/ 2244436 w 2389909"/>
                  <a:gd name="connsiteY10" fmla="*/ 0 h 3636819"/>
                  <a:gd name="connsiteX11" fmla="*/ 2389909 w 2389909"/>
                  <a:gd name="connsiteY11" fmla="*/ 207819 h 3636819"/>
                  <a:gd name="connsiteX12" fmla="*/ 2389909 w 2389909"/>
                  <a:gd name="connsiteY12" fmla="*/ 1953491 h 3636819"/>
                  <a:gd name="connsiteX13" fmla="*/ 2119745 w 2389909"/>
                  <a:gd name="connsiteY13" fmla="*/ 3636819 h 3636819"/>
                  <a:gd name="connsiteX14" fmla="*/ 415636 w 2389909"/>
                  <a:gd name="connsiteY14" fmla="*/ 1350819 h 3636819"/>
                  <a:gd name="connsiteX15" fmla="*/ 0 w 2389909"/>
                  <a:gd name="connsiteY15" fmla="*/ 477982 h 3636819"/>
                  <a:gd name="connsiteX0" fmla="*/ 0 w 2389909"/>
                  <a:gd name="connsiteY0" fmla="*/ 468457 h 3627294"/>
                  <a:gd name="connsiteX1" fmla="*/ 223404 w 2389909"/>
                  <a:gd name="connsiteY1" fmla="*/ 134216 h 3627294"/>
                  <a:gd name="connsiteX2" fmla="*/ 329045 w 2389909"/>
                  <a:gd name="connsiteY2" fmla="*/ 510021 h 3627294"/>
                  <a:gd name="connsiteX3" fmla="*/ 1475509 w 2389909"/>
                  <a:gd name="connsiteY3" fmla="*/ 1299730 h 3627294"/>
                  <a:gd name="connsiteX4" fmla="*/ 1579418 w 2389909"/>
                  <a:gd name="connsiteY4" fmla="*/ 1715366 h 3627294"/>
                  <a:gd name="connsiteX5" fmla="*/ 1620982 w 2389909"/>
                  <a:gd name="connsiteY5" fmla="*/ 2318039 h 3627294"/>
                  <a:gd name="connsiteX6" fmla="*/ 1787236 w 2389909"/>
                  <a:gd name="connsiteY6" fmla="*/ 2380384 h 3627294"/>
                  <a:gd name="connsiteX7" fmla="*/ 1995054 w 2389909"/>
                  <a:gd name="connsiteY7" fmla="*/ 1549112 h 3627294"/>
                  <a:gd name="connsiteX8" fmla="*/ 1745672 w 2389909"/>
                  <a:gd name="connsiteY8" fmla="*/ 1195821 h 3627294"/>
                  <a:gd name="connsiteX9" fmla="*/ 2223654 w 2389909"/>
                  <a:gd name="connsiteY9" fmla="*/ 156730 h 3627294"/>
                  <a:gd name="connsiteX10" fmla="*/ 2215861 w 2389909"/>
                  <a:gd name="connsiteY10" fmla="*/ 0 h 3627294"/>
                  <a:gd name="connsiteX11" fmla="*/ 2389909 w 2389909"/>
                  <a:gd name="connsiteY11" fmla="*/ 198294 h 3627294"/>
                  <a:gd name="connsiteX12" fmla="*/ 2389909 w 2389909"/>
                  <a:gd name="connsiteY12" fmla="*/ 1943966 h 3627294"/>
                  <a:gd name="connsiteX13" fmla="*/ 2119745 w 2389909"/>
                  <a:gd name="connsiteY13" fmla="*/ 3627294 h 3627294"/>
                  <a:gd name="connsiteX14" fmla="*/ 415636 w 2389909"/>
                  <a:gd name="connsiteY14" fmla="*/ 1341294 h 3627294"/>
                  <a:gd name="connsiteX15" fmla="*/ 0 w 2389909"/>
                  <a:gd name="connsiteY15" fmla="*/ 468457 h 3627294"/>
                  <a:gd name="connsiteX0" fmla="*/ 0 w 2389909"/>
                  <a:gd name="connsiteY0" fmla="*/ 468457 h 3627294"/>
                  <a:gd name="connsiteX1" fmla="*/ 223404 w 2389909"/>
                  <a:gd name="connsiteY1" fmla="*/ 134216 h 3627294"/>
                  <a:gd name="connsiteX2" fmla="*/ 329045 w 2389909"/>
                  <a:gd name="connsiteY2" fmla="*/ 510021 h 3627294"/>
                  <a:gd name="connsiteX3" fmla="*/ 1475509 w 2389909"/>
                  <a:gd name="connsiteY3" fmla="*/ 1299730 h 3627294"/>
                  <a:gd name="connsiteX4" fmla="*/ 1579418 w 2389909"/>
                  <a:gd name="connsiteY4" fmla="*/ 1715366 h 3627294"/>
                  <a:gd name="connsiteX5" fmla="*/ 1620982 w 2389909"/>
                  <a:gd name="connsiteY5" fmla="*/ 2318039 h 3627294"/>
                  <a:gd name="connsiteX6" fmla="*/ 1787236 w 2389909"/>
                  <a:gd name="connsiteY6" fmla="*/ 2380384 h 3627294"/>
                  <a:gd name="connsiteX7" fmla="*/ 1995054 w 2389909"/>
                  <a:gd name="connsiteY7" fmla="*/ 1549112 h 3627294"/>
                  <a:gd name="connsiteX8" fmla="*/ 1745672 w 2389909"/>
                  <a:gd name="connsiteY8" fmla="*/ 1195821 h 3627294"/>
                  <a:gd name="connsiteX9" fmla="*/ 2195079 w 2389909"/>
                  <a:gd name="connsiteY9" fmla="*/ 271030 h 3627294"/>
                  <a:gd name="connsiteX10" fmla="*/ 2215861 w 2389909"/>
                  <a:gd name="connsiteY10" fmla="*/ 0 h 3627294"/>
                  <a:gd name="connsiteX11" fmla="*/ 2389909 w 2389909"/>
                  <a:gd name="connsiteY11" fmla="*/ 198294 h 3627294"/>
                  <a:gd name="connsiteX12" fmla="*/ 2389909 w 2389909"/>
                  <a:gd name="connsiteY12" fmla="*/ 1943966 h 3627294"/>
                  <a:gd name="connsiteX13" fmla="*/ 2119745 w 2389909"/>
                  <a:gd name="connsiteY13" fmla="*/ 3627294 h 3627294"/>
                  <a:gd name="connsiteX14" fmla="*/ 415636 w 2389909"/>
                  <a:gd name="connsiteY14" fmla="*/ 1341294 h 3627294"/>
                  <a:gd name="connsiteX15" fmla="*/ 0 w 2389909"/>
                  <a:gd name="connsiteY15" fmla="*/ 468457 h 3627294"/>
                  <a:gd name="connsiteX0" fmla="*/ 0 w 2389909"/>
                  <a:gd name="connsiteY0" fmla="*/ 468457 h 3627294"/>
                  <a:gd name="connsiteX1" fmla="*/ 223404 w 2389909"/>
                  <a:gd name="connsiteY1" fmla="*/ 134216 h 3627294"/>
                  <a:gd name="connsiteX2" fmla="*/ 329045 w 2389909"/>
                  <a:gd name="connsiteY2" fmla="*/ 510021 h 3627294"/>
                  <a:gd name="connsiteX3" fmla="*/ 1475509 w 2389909"/>
                  <a:gd name="connsiteY3" fmla="*/ 1299730 h 3627294"/>
                  <a:gd name="connsiteX4" fmla="*/ 1579418 w 2389909"/>
                  <a:gd name="connsiteY4" fmla="*/ 1715366 h 3627294"/>
                  <a:gd name="connsiteX5" fmla="*/ 1620982 w 2389909"/>
                  <a:gd name="connsiteY5" fmla="*/ 2318039 h 3627294"/>
                  <a:gd name="connsiteX6" fmla="*/ 1787236 w 2389909"/>
                  <a:gd name="connsiteY6" fmla="*/ 2380384 h 3627294"/>
                  <a:gd name="connsiteX7" fmla="*/ 1995054 w 2389909"/>
                  <a:gd name="connsiteY7" fmla="*/ 1549112 h 3627294"/>
                  <a:gd name="connsiteX8" fmla="*/ 1745672 w 2389909"/>
                  <a:gd name="connsiteY8" fmla="*/ 1195821 h 3627294"/>
                  <a:gd name="connsiteX9" fmla="*/ 2195079 w 2389909"/>
                  <a:gd name="connsiteY9" fmla="*/ 271030 h 3627294"/>
                  <a:gd name="connsiteX10" fmla="*/ 2215861 w 2389909"/>
                  <a:gd name="connsiteY10" fmla="*/ 0 h 3627294"/>
                  <a:gd name="connsiteX11" fmla="*/ 2389909 w 2389909"/>
                  <a:gd name="connsiteY11" fmla="*/ 198294 h 3627294"/>
                  <a:gd name="connsiteX12" fmla="*/ 2389909 w 2389909"/>
                  <a:gd name="connsiteY12" fmla="*/ 1943966 h 3627294"/>
                  <a:gd name="connsiteX13" fmla="*/ 2119745 w 2389909"/>
                  <a:gd name="connsiteY13" fmla="*/ 3627294 h 3627294"/>
                  <a:gd name="connsiteX14" fmla="*/ 415636 w 2389909"/>
                  <a:gd name="connsiteY14" fmla="*/ 1341294 h 3627294"/>
                  <a:gd name="connsiteX15" fmla="*/ 0 w 2389909"/>
                  <a:gd name="connsiteY15" fmla="*/ 468457 h 3627294"/>
                  <a:gd name="connsiteX0" fmla="*/ 0 w 2389909"/>
                  <a:gd name="connsiteY0" fmla="*/ 468457 h 3627294"/>
                  <a:gd name="connsiteX1" fmla="*/ 223404 w 2389909"/>
                  <a:gd name="connsiteY1" fmla="*/ 134216 h 3627294"/>
                  <a:gd name="connsiteX2" fmla="*/ 329045 w 2389909"/>
                  <a:gd name="connsiteY2" fmla="*/ 510021 h 3627294"/>
                  <a:gd name="connsiteX3" fmla="*/ 1475509 w 2389909"/>
                  <a:gd name="connsiteY3" fmla="*/ 1299730 h 3627294"/>
                  <a:gd name="connsiteX4" fmla="*/ 1579418 w 2389909"/>
                  <a:gd name="connsiteY4" fmla="*/ 1715366 h 3627294"/>
                  <a:gd name="connsiteX5" fmla="*/ 1620982 w 2389909"/>
                  <a:gd name="connsiteY5" fmla="*/ 2318039 h 3627294"/>
                  <a:gd name="connsiteX6" fmla="*/ 1787236 w 2389909"/>
                  <a:gd name="connsiteY6" fmla="*/ 2380384 h 3627294"/>
                  <a:gd name="connsiteX7" fmla="*/ 1995054 w 2389909"/>
                  <a:gd name="connsiteY7" fmla="*/ 1549112 h 3627294"/>
                  <a:gd name="connsiteX8" fmla="*/ 1745672 w 2389909"/>
                  <a:gd name="connsiteY8" fmla="*/ 1195821 h 3627294"/>
                  <a:gd name="connsiteX9" fmla="*/ 2185554 w 2389909"/>
                  <a:gd name="connsiteY9" fmla="*/ 242455 h 3627294"/>
                  <a:gd name="connsiteX10" fmla="*/ 2215861 w 2389909"/>
                  <a:gd name="connsiteY10" fmla="*/ 0 h 3627294"/>
                  <a:gd name="connsiteX11" fmla="*/ 2389909 w 2389909"/>
                  <a:gd name="connsiteY11" fmla="*/ 198294 h 3627294"/>
                  <a:gd name="connsiteX12" fmla="*/ 2389909 w 2389909"/>
                  <a:gd name="connsiteY12" fmla="*/ 1943966 h 3627294"/>
                  <a:gd name="connsiteX13" fmla="*/ 2119745 w 2389909"/>
                  <a:gd name="connsiteY13" fmla="*/ 3627294 h 3627294"/>
                  <a:gd name="connsiteX14" fmla="*/ 415636 w 2389909"/>
                  <a:gd name="connsiteY14" fmla="*/ 1341294 h 3627294"/>
                  <a:gd name="connsiteX15" fmla="*/ 0 w 2389909"/>
                  <a:gd name="connsiteY15" fmla="*/ 468457 h 3627294"/>
                  <a:gd name="connsiteX0" fmla="*/ 0 w 2389909"/>
                  <a:gd name="connsiteY0" fmla="*/ 468457 h 3627294"/>
                  <a:gd name="connsiteX1" fmla="*/ 223404 w 2389909"/>
                  <a:gd name="connsiteY1" fmla="*/ 134216 h 3627294"/>
                  <a:gd name="connsiteX2" fmla="*/ 329045 w 2389909"/>
                  <a:gd name="connsiteY2" fmla="*/ 510021 h 3627294"/>
                  <a:gd name="connsiteX3" fmla="*/ 1475509 w 2389909"/>
                  <a:gd name="connsiteY3" fmla="*/ 1299730 h 3627294"/>
                  <a:gd name="connsiteX4" fmla="*/ 1579418 w 2389909"/>
                  <a:gd name="connsiteY4" fmla="*/ 1715366 h 3627294"/>
                  <a:gd name="connsiteX5" fmla="*/ 1620982 w 2389909"/>
                  <a:gd name="connsiteY5" fmla="*/ 2318039 h 3627294"/>
                  <a:gd name="connsiteX6" fmla="*/ 1787236 w 2389909"/>
                  <a:gd name="connsiteY6" fmla="*/ 2380384 h 3627294"/>
                  <a:gd name="connsiteX7" fmla="*/ 1995054 w 2389909"/>
                  <a:gd name="connsiteY7" fmla="*/ 1549112 h 3627294"/>
                  <a:gd name="connsiteX8" fmla="*/ 1745672 w 2389909"/>
                  <a:gd name="connsiteY8" fmla="*/ 1195821 h 3627294"/>
                  <a:gd name="connsiteX9" fmla="*/ 2185554 w 2389909"/>
                  <a:gd name="connsiteY9" fmla="*/ 242455 h 3627294"/>
                  <a:gd name="connsiteX10" fmla="*/ 2215861 w 2389909"/>
                  <a:gd name="connsiteY10" fmla="*/ 0 h 3627294"/>
                  <a:gd name="connsiteX11" fmla="*/ 2389909 w 2389909"/>
                  <a:gd name="connsiteY11" fmla="*/ 198294 h 3627294"/>
                  <a:gd name="connsiteX12" fmla="*/ 2389909 w 2389909"/>
                  <a:gd name="connsiteY12" fmla="*/ 1943966 h 3627294"/>
                  <a:gd name="connsiteX13" fmla="*/ 2119745 w 2389909"/>
                  <a:gd name="connsiteY13" fmla="*/ 3627294 h 3627294"/>
                  <a:gd name="connsiteX14" fmla="*/ 415636 w 2389909"/>
                  <a:gd name="connsiteY14" fmla="*/ 1341294 h 3627294"/>
                  <a:gd name="connsiteX15" fmla="*/ 0 w 2389909"/>
                  <a:gd name="connsiteY15" fmla="*/ 468457 h 3627294"/>
                  <a:gd name="connsiteX0" fmla="*/ 0 w 2389909"/>
                  <a:gd name="connsiteY0" fmla="*/ 468457 h 3627294"/>
                  <a:gd name="connsiteX1" fmla="*/ 223404 w 2389909"/>
                  <a:gd name="connsiteY1" fmla="*/ 134216 h 3627294"/>
                  <a:gd name="connsiteX2" fmla="*/ 329045 w 2389909"/>
                  <a:gd name="connsiteY2" fmla="*/ 510021 h 3627294"/>
                  <a:gd name="connsiteX3" fmla="*/ 1475509 w 2389909"/>
                  <a:gd name="connsiteY3" fmla="*/ 1299730 h 3627294"/>
                  <a:gd name="connsiteX4" fmla="*/ 1579418 w 2389909"/>
                  <a:gd name="connsiteY4" fmla="*/ 1715366 h 3627294"/>
                  <a:gd name="connsiteX5" fmla="*/ 1620982 w 2389909"/>
                  <a:gd name="connsiteY5" fmla="*/ 2318039 h 3627294"/>
                  <a:gd name="connsiteX6" fmla="*/ 1787236 w 2389909"/>
                  <a:gd name="connsiteY6" fmla="*/ 2380384 h 3627294"/>
                  <a:gd name="connsiteX7" fmla="*/ 1995054 w 2389909"/>
                  <a:gd name="connsiteY7" fmla="*/ 1549112 h 3627294"/>
                  <a:gd name="connsiteX8" fmla="*/ 1745672 w 2389909"/>
                  <a:gd name="connsiteY8" fmla="*/ 1195821 h 3627294"/>
                  <a:gd name="connsiteX9" fmla="*/ 2185554 w 2389909"/>
                  <a:gd name="connsiteY9" fmla="*/ 242455 h 3627294"/>
                  <a:gd name="connsiteX10" fmla="*/ 2215861 w 2389909"/>
                  <a:gd name="connsiteY10" fmla="*/ 0 h 3627294"/>
                  <a:gd name="connsiteX11" fmla="*/ 2361334 w 2389909"/>
                  <a:gd name="connsiteY11" fmla="*/ 169719 h 3627294"/>
                  <a:gd name="connsiteX12" fmla="*/ 2389909 w 2389909"/>
                  <a:gd name="connsiteY12" fmla="*/ 1943966 h 3627294"/>
                  <a:gd name="connsiteX13" fmla="*/ 2119745 w 2389909"/>
                  <a:gd name="connsiteY13" fmla="*/ 3627294 h 3627294"/>
                  <a:gd name="connsiteX14" fmla="*/ 415636 w 2389909"/>
                  <a:gd name="connsiteY14" fmla="*/ 1341294 h 3627294"/>
                  <a:gd name="connsiteX15" fmla="*/ 0 w 2389909"/>
                  <a:gd name="connsiteY15" fmla="*/ 468457 h 3627294"/>
                  <a:gd name="connsiteX0" fmla="*/ 0 w 2389909"/>
                  <a:gd name="connsiteY0" fmla="*/ 468457 h 3627294"/>
                  <a:gd name="connsiteX1" fmla="*/ 223404 w 2389909"/>
                  <a:gd name="connsiteY1" fmla="*/ 134216 h 3627294"/>
                  <a:gd name="connsiteX2" fmla="*/ 329045 w 2389909"/>
                  <a:gd name="connsiteY2" fmla="*/ 510021 h 3627294"/>
                  <a:gd name="connsiteX3" fmla="*/ 1475509 w 2389909"/>
                  <a:gd name="connsiteY3" fmla="*/ 1299730 h 3627294"/>
                  <a:gd name="connsiteX4" fmla="*/ 1579418 w 2389909"/>
                  <a:gd name="connsiteY4" fmla="*/ 1715366 h 3627294"/>
                  <a:gd name="connsiteX5" fmla="*/ 1620982 w 2389909"/>
                  <a:gd name="connsiteY5" fmla="*/ 2318039 h 3627294"/>
                  <a:gd name="connsiteX6" fmla="*/ 1787236 w 2389909"/>
                  <a:gd name="connsiteY6" fmla="*/ 2380384 h 3627294"/>
                  <a:gd name="connsiteX7" fmla="*/ 1995054 w 2389909"/>
                  <a:gd name="connsiteY7" fmla="*/ 1549112 h 3627294"/>
                  <a:gd name="connsiteX8" fmla="*/ 1745672 w 2389909"/>
                  <a:gd name="connsiteY8" fmla="*/ 1195821 h 3627294"/>
                  <a:gd name="connsiteX9" fmla="*/ 2185554 w 2389909"/>
                  <a:gd name="connsiteY9" fmla="*/ 242455 h 3627294"/>
                  <a:gd name="connsiteX10" fmla="*/ 2215861 w 2389909"/>
                  <a:gd name="connsiteY10" fmla="*/ 0 h 3627294"/>
                  <a:gd name="connsiteX11" fmla="*/ 2361334 w 2389909"/>
                  <a:gd name="connsiteY11" fmla="*/ 169719 h 3627294"/>
                  <a:gd name="connsiteX12" fmla="*/ 2389909 w 2389909"/>
                  <a:gd name="connsiteY12" fmla="*/ 1943966 h 3627294"/>
                  <a:gd name="connsiteX13" fmla="*/ 2119745 w 2389909"/>
                  <a:gd name="connsiteY13" fmla="*/ 3627294 h 3627294"/>
                  <a:gd name="connsiteX14" fmla="*/ 415636 w 2389909"/>
                  <a:gd name="connsiteY14" fmla="*/ 1341294 h 3627294"/>
                  <a:gd name="connsiteX15" fmla="*/ 0 w 2389909"/>
                  <a:gd name="connsiteY15" fmla="*/ 468457 h 3627294"/>
                  <a:gd name="connsiteX0" fmla="*/ 0 w 2389909"/>
                  <a:gd name="connsiteY0" fmla="*/ 468457 h 3627294"/>
                  <a:gd name="connsiteX1" fmla="*/ 223404 w 2389909"/>
                  <a:gd name="connsiteY1" fmla="*/ 134216 h 3627294"/>
                  <a:gd name="connsiteX2" fmla="*/ 329045 w 2389909"/>
                  <a:gd name="connsiteY2" fmla="*/ 510021 h 3627294"/>
                  <a:gd name="connsiteX3" fmla="*/ 1475509 w 2389909"/>
                  <a:gd name="connsiteY3" fmla="*/ 1299730 h 3627294"/>
                  <a:gd name="connsiteX4" fmla="*/ 1579418 w 2389909"/>
                  <a:gd name="connsiteY4" fmla="*/ 1715366 h 3627294"/>
                  <a:gd name="connsiteX5" fmla="*/ 1620982 w 2389909"/>
                  <a:gd name="connsiteY5" fmla="*/ 2318039 h 3627294"/>
                  <a:gd name="connsiteX6" fmla="*/ 1787236 w 2389909"/>
                  <a:gd name="connsiteY6" fmla="*/ 2380384 h 3627294"/>
                  <a:gd name="connsiteX7" fmla="*/ 1995054 w 2389909"/>
                  <a:gd name="connsiteY7" fmla="*/ 1549112 h 3627294"/>
                  <a:gd name="connsiteX8" fmla="*/ 1745672 w 2389909"/>
                  <a:gd name="connsiteY8" fmla="*/ 1195821 h 3627294"/>
                  <a:gd name="connsiteX9" fmla="*/ 2185554 w 2389909"/>
                  <a:gd name="connsiteY9" fmla="*/ 242455 h 3627294"/>
                  <a:gd name="connsiteX10" fmla="*/ 2215861 w 2389909"/>
                  <a:gd name="connsiteY10" fmla="*/ 0 h 3627294"/>
                  <a:gd name="connsiteX11" fmla="*/ 2361334 w 2389909"/>
                  <a:gd name="connsiteY11" fmla="*/ 169719 h 3627294"/>
                  <a:gd name="connsiteX12" fmla="*/ 2389909 w 2389909"/>
                  <a:gd name="connsiteY12" fmla="*/ 1943966 h 3627294"/>
                  <a:gd name="connsiteX13" fmla="*/ 2119745 w 2389909"/>
                  <a:gd name="connsiteY13" fmla="*/ 3627294 h 3627294"/>
                  <a:gd name="connsiteX14" fmla="*/ 415636 w 2389909"/>
                  <a:gd name="connsiteY14" fmla="*/ 1341294 h 3627294"/>
                  <a:gd name="connsiteX15" fmla="*/ 0 w 2389909"/>
                  <a:gd name="connsiteY15" fmla="*/ 468457 h 3627294"/>
                  <a:gd name="connsiteX0" fmla="*/ 0 w 2437534"/>
                  <a:gd name="connsiteY0" fmla="*/ 468457 h 3627294"/>
                  <a:gd name="connsiteX1" fmla="*/ 223404 w 2437534"/>
                  <a:gd name="connsiteY1" fmla="*/ 134216 h 3627294"/>
                  <a:gd name="connsiteX2" fmla="*/ 329045 w 2437534"/>
                  <a:gd name="connsiteY2" fmla="*/ 510021 h 3627294"/>
                  <a:gd name="connsiteX3" fmla="*/ 1475509 w 2437534"/>
                  <a:gd name="connsiteY3" fmla="*/ 1299730 h 3627294"/>
                  <a:gd name="connsiteX4" fmla="*/ 1579418 w 2437534"/>
                  <a:gd name="connsiteY4" fmla="*/ 1715366 h 3627294"/>
                  <a:gd name="connsiteX5" fmla="*/ 1620982 w 2437534"/>
                  <a:gd name="connsiteY5" fmla="*/ 2318039 h 3627294"/>
                  <a:gd name="connsiteX6" fmla="*/ 1787236 w 2437534"/>
                  <a:gd name="connsiteY6" fmla="*/ 2380384 h 3627294"/>
                  <a:gd name="connsiteX7" fmla="*/ 1995054 w 2437534"/>
                  <a:gd name="connsiteY7" fmla="*/ 1549112 h 3627294"/>
                  <a:gd name="connsiteX8" fmla="*/ 1745672 w 2437534"/>
                  <a:gd name="connsiteY8" fmla="*/ 1195821 h 3627294"/>
                  <a:gd name="connsiteX9" fmla="*/ 2185554 w 2437534"/>
                  <a:gd name="connsiteY9" fmla="*/ 242455 h 3627294"/>
                  <a:gd name="connsiteX10" fmla="*/ 2215861 w 2437534"/>
                  <a:gd name="connsiteY10" fmla="*/ 0 h 3627294"/>
                  <a:gd name="connsiteX11" fmla="*/ 2361334 w 2437534"/>
                  <a:gd name="connsiteY11" fmla="*/ 169719 h 3627294"/>
                  <a:gd name="connsiteX12" fmla="*/ 2389909 w 2437534"/>
                  <a:gd name="connsiteY12" fmla="*/ 1943966 h 3627294"/>
                  <a:gd name="connsiteX13" fmla="*/ 2119745 w 2437534"/>
                  <a:gd name="connsiteY13" fmla="*/ 3627294 h 3627294"/>
                  <a:gd name="connsiteX14" fmla="*/ 415636 w 2437534"/>
                  <a:gd name="connsiteY14" fmla="*/ 1341294 h 3627294"/>
                  <a:gd name="connsiteX15" fmla="*/ 0 w 2437534"/>
                  <a:gd name="connsiteY15" fmla="*/ 468457 h 3627294"/>
                  <a:gd name="connsiteX0" fmla="*/ 0 w 2437534"/>
                  <a:gd name="connsiteY0" fmla="*/ 468457 h 3627294"/>
                  <a:gd name="connsiteX1" fmla="*/ 223404 w 2437534"/>
                  <a:gd name="connsiteY1" fmla="*/ 134216 h 3627294"/>
                  <a:gd name="connsiteX2" fmla="*/ 329045 w 2437534"/>
                  <a:gd name="connsiteY2" fmla="*/ 510021 h 3627294"/>
                  <a:gd name="connsiteX3" fmla="*/ 1475509 w 2437534"/>
                  <a:gd name="connsiteY3" fmla="*/ 1299730 h 3627294"/>
                  <a:gd name="connsiteX4" fmla="*/ 1579418 w 2437534"/>
                  <a:gd name="connsiteY4" fmla="*/ 1715366 h 3627294"/>
                  <a:gd name="connsiteX5" fmla="*/ 1620982 w 2437534"/>
                  <a:gd name="connsiteY5" fmla="*/ 2318039 h 3627294"/>
                  <a:gd name="connsiteX6" fmla="*/ 1787236 w 2437534"/>
                  <a:gd name="connsiteY6" fmla="*/ 2380384 h 3627294"/>
                  <a:gd name="connsiteX7" fmla="*/ 1995054 w 2437534"/>
                  <a:gd name="connsiteY7" fmla="*/ 1549112 h 3627294"/>
                  <a:gd name="connsiteX8" fmla="*/ 1745672 w 2437534"/>
                  <a:gd name="connsiteY8" fmla="*/ 1195821 h 3627294"/>
                  <a:gd name="connsiteX9" fmla="*/ 2185554 w 2437534"/>
                  <a:gd name="connsiteY9" fmla="*/ 242455 h 3627294"/>
                  <a:gd name="connsiteX10" fmla="*/ 2215861 w 2437534"/>
                  <a:gd name="connsiteY10" fmla="*/ 0 h 3627294"/>
                  <a:gd name="connsiteX11" fmla="*/ 2361334 w 2437534"/>
                  <a:gd name="connsiteY11" fmla="*/ 169719 h 3627294"/>
                  <a:gd name="connsiteX12" fmla="*/ 2389909 w 2437534"/>
                  <a:gd name="connsiteY12" fmla="*/ 1943966 h 3627294"/>
                  <a:gd name="connsiteX13" fmla="*/ 2119745 w 2437534"/>
                  <a:gd name="connsiteY13" fmla="*/ 3627294 h 3627294"/>
                  <a:gd name="connsiteX14" fmla="*/ 415636 w 2437534"/>
                  <a:gd name="connsiteY14" fmla="*/ 1341294 h 3627294"/>
                  <a:gd name="connsiteX15" fmla="*/ 0 w 2437534"/>
                  <a:gd name="connsiteY15" fmla="*/ 468457 h 3627294"/>
                  <a:gd name="connsiteX0" fmla="*/ 0 w 2437534"/>
                  <a:gd name="connsiteY0" fmla="*/ 468457 h 3627294"/>
                  <a:gd name="connsiteX1" fmla="*/ 223404 w 2437534"/>
                  <a:gd name="connsiteY1" fmla="*/ 134216 h 3627294"/>
                  <a:gd name="connsiteX2" fmla="*/ 329045 w 2437534"/>
                  <a:gd name="connsiteY2" fmla="*/ 510021 h 3627294"/>
                  <a:gd name="connsiteX3" fmla="*/ 1475509 w 2437534"/>
                  <a:gd name="connsiteY3" fmla="*/ 1299730 h 3627294"/>
                  <a:gd name="connsiteX4" fmla="*/ 1579418 w 2437534"/>
                  <a:gd name="connsiteY4" fmla="*/ 1715366 h 3627294"/>
                  <a:gd name="connsiteX5" fmla="*/ 1620982 w 2437534"/>
                  <a:gd name="connsiteY5" fmla="*/ 2318039 h 3627294"/>
                  <a:gd name="connsiteX6" fmla="*/ 1787236 w 2437534"/>
                  <a:gd name="connsiteY6" fmla="*/ 2380384 h 3627294"/>
                  <a:gd name="connsiteX7" fmla="*/ 1995054 w 2437534"/>
                  <a:gd name="connsiteY7" fmla="*/ 1549112 h 3627294"/>
                  <a:gd name="connsiteX8" fmla="*/ 1745672 w 2437534"/>
                  <a:gd name="connsiteY8" fmla="*/ 1195821 h 3627294"/>
                  <a:gd name="connsiteX9" fmla="*/ 2185554 w 2437534"/>
                  <a:gd name="connsiteY9" fmla="*/ 242455 h 3627294"/>
                  <a:gd name="connsiteX10" fmla="*/ 2215861 w 2437534"/>
                  <a:gd name="connsiteY10" fmla="*/ 0 h 3627294"/>
                  <a:gd name="connsiteX11" fmla="*/ 2361334 w 2437534"/>
                  <a:gd name="connsiteY11" fmla="*/ 169719 h 3627294"/>
                  <a:gd name="connsiteX12" fmla="*/ 2389909 w 2437534"/>
                  <a:gd name="connsiteY12" fmla="*/ 1943966 h 3627294"/>
                  <a:gd name="connsiteX13" fmla="*/ 2119745 w 2437534"/>
                  <a:gd name="connsiteY13" fmla="*/ 3627294 h 3627294"/>
                  <a:gd name="connsiteX14" fmla="*/ 415636 w 2437534"/>
                  <a:gd name="connsiteY14" fmla="*/ 1341294 h 3627294"/>
                  <a:gd name="connsiteX15" fmla="*/ 0 w 2437534"/>
                  <a:gd name="connsiteY15" fmla="*/ 468457 h 3627294"/>
                  <a:gd name="connsiteX0" fmla="*/ 0 w 2437534"/>
                  <a:gd name="connsiteY0" fmla="*/ 468457 h 3627294"/>
                  <a:gd name="connsiteX1" fmla="*/ 223404 w 2437534"/>
                  <a:gd name="connsiteY1" fmla="*/ 134216 h 3627294"/>
                  <a:gd name="connsiteX2" fmla="*/ 329045 w 2437534"/>
                  <a:gd name="connsiteY2" fmla="*/ 510021 h 3627294"/>
                  <a:gd name="connsiteX3" fmla="*/ 1475509 w 2437534"/>
                  <a:gd name="connsiteY3" fmla="*/ 1299730 h 3627294"/>
                  <a:gd name="connsiteX4" fmla="*/ 1579418 w 2437534"/>
                  <a:gd name="connsiteY4" fmla="*/ 1715366 h 3627294"/>
                  <a:gd name="connsiteX5" fmla="*/ 1620982 w 2437534"/>
                  <a:gd name="connsiteY5" fmla="*/ 2318039 h 3627294"/>
                  <a:gd name="connsiteX6" fmla="*/ 1787236 w 2437534"/>
                  <a:gd name="connsiteY6" fmla="*/ 2380384 h 3627294"/>
                  <a:gd name="connsiteX7" fmla="*/ 1995054 w 2437534"/>
                  <a:gd name="connsiteY7" fmla="*/ 1549112 h 3627294"/>
                  <a:gd name="connsiteX8" fmla="*/ 1745672 w 2437534"/>
                  <a:gd name="connsiteY8" fmla="*/ 1195821 h 3627294"/>
                  <a:gd name="connsiteX9" fmla="*/ 2185554 w 2437534"/>
                  <a:gd name="connsiteY9" fmla="*/ 242455 h 3627294"/>
                  <a:gd name="connsiteX10" fmla="*/ 2215861 w 2437534"/>
                  <a:gd name="connsiteY10" fmla="*/ 0 h 3627294"/>
                  <a:gd name="connsiteX11" fmla="*/ 2380384 w 2437534"/>
                  <a:gd name="connsiteY11" fmla="*/ 245919 h 3627294"/>
                  <a:gd name="connsiteX12" fmla="*/ 2389909 w 2437534"/>
                  <a:gd name="connsiteY12" fmla="*/ 1943966 h 3627294"/>
                  <a:gd name="connsiteX13" fmla="*/ 2119745 w 2437534"/>
                  <a:gd name="connsiteY13" fmla="*/ 3627294 h 3627294"/>
                  <a:gd name="connsiteX14" fmla="*/ 415636 w 2437534"/>
                  <a:gd name="connsiteY14" fmla="*/ 1341294 h 3627294"/>
                  <a:gd name="connsiteX15" fmla="*/ 0 w 2437534"/>
                  <a:gd name="connsiteY15" fmla="*/ 468457 h 3627294"/>
                  <a:gd name="connsiteX0" fmla="*/ 0 w 2447059"/>
                  <a:gd name="connsiteY0" fmla="*/ 468457 h 3627294"/>
                  <a:gd name="connsiteX1" fmla="*/ 223404 w 2447059"/>
                  <a:gd name="connsiteY1" fmla="*/ 134216 h 3627294"/>
                  <a:gd name="connsiteX2" fmla="*/ 329045 w 2447059"/>
                  <a:gd name="connsiteY2" fmla="*/ 510021 h 3627294"/>
                  <a:gd name="connsiteX3" fmla="*/ 1475509 w 2447059"/>
                  <a:gd name="connsiteY3" fmla="*/ 1299730 h 3627294"/>
                  <a:gd name="connsiteX4" fmla="*/ 1579418 w 2447059"/>
                  <a:gd name="connsiteY4" fmla="*/ 1715366 h 3627294"/>
                  <a:gd name="connsiteX5" fmla="*/ 1620982 w 2447059"/>
                  <a:gd name="connsiteY5" fmla="*/ 2318039 h 3627294"/>
                  <a:gd name="connsiteX6" fmla="*/ 1787236 w 2447059"/>
                  <a:gd name="connsiteY6" fmla="*/ 2380384 h 3627294"/>
                  <a:gd name="connsiteX7" fmla="*/ 1995054 w 2447059"/>
                  <a:gd name="connsiteY7" fmla="*/ 1549112 h 3627294"/>
                  <a:gd name="connsiteX8" fmla="*/ 1745672 w 2447059"/>
                  <a:gd name="connsiteY8" fmla="*/ 1195821 h 3627294"/>
                  <a:gd name="connsiteX9" fmla="*/ 2185554 w 2447059"/>
                  <a:gd name="connsiteY9" fmla="*/ 242455 h 3627294"/>
                  <a:gd name="connsiteX10" fmla="*/ 2215861 w 2447059"/>
                  <a:gd name="connsiteY10" fmla="*/ 0 h 3627294"/>
                  <a:gd name="connsiteX11" fmla="*/ 2389909 w 2447059"/>
                  <a:gd name="connsiteY11" fmla="*/ 169719 h 3627294"/>
                  <a:gd name="connsiteX12" fmla="*/ 2389909 w 2447059"/>
                  <a:gd name="connsiteY12" fmla="*/ 1943966 h 3627294"/>
                  <a:gd name="connsiteX13" fmla="*/ 2119745 w 2447059"/>
                  <a:gd name="connsiteY13" fmla="*/ 3627294 h 3627294"/>
                  <a:gd name="connsiteX14" fmla="*/ 415636 w 2447059"/>
                  <a:gd name="connsiteY14" fmla="*/ 1341294 h 3627294"/>
                  <a:gd name="connsiteX15" fmla="*/ 0 w 2447059"/>
                  <a:gd name="connsiteY15" fmla="*/ 468457 h 3627294"/>
                  <a:gd name="connsiteX0" fmla="*/ 0 w 2447059"/>
                  <a:gd name="connsiteY0" fmla="*/ 477982 h 3636819"/>
                  <a:gd name="connsiteX1" fmla="*/ 223404 w 2447059"/>
                  <a:gd name="connsiteY1" fmla="*/ 143741 h 3636819"/>
                  <a:gd name="connsiteX2" fmla="*/ 329045 w 2447059"/>
                  <a:gd name="connsiteY2" fmla="*/ 519546 h 3636819"/>
                  <a:gd name="connsiteX3" fmla="*/ 1475509 w 2447059"/>
                  <a:gd name="connsiteY3" fmla="*/ 1309255 h 3636819"/>
                  <a:gd name="connsiteX4" fmla="*/ 1579418 w 2447059"/>
                  <a:gd name="connsiteY4" fmla="*/ 1724891 h 3636819"/>
                  <a:gd name="connsiteX5" fmla="*/ 1620982 w 2447059"/>
                  <a:gd name="connsiteY5" fmla="*/ 2327564 h 3636819"/>
                  <a:gd name="connsiteX6" fmla="*/ 1787236 w 2447059"/>
                  <a:gd name="connsiteY6" fmla="*/ 2389909 h 3636819"/>
                  <a:gd name="connsiteX7" fmla="*/ 1995054 w 2447059"/>
                  <a:gd name="connsiteY7" fmla="*/ 1558637 h 3636819"/>
                  <a:gd name="connsiteX8" fmla="*/ 1745672 w 2447059"/>
                  <a:gd name="connsiteY8" fmla="*/ 1205346 h 3636819"/>
                  <a:gd name="connsiteX9" fmla="*/ 2185554 w 2447059"/>
                  <a:gd name="connsiteY9" fmla="*/ 251980 h 3636819"/>
                  <a:gd name="connsiteX10" fmla="*/ 2187286 w 2447059"/>
                  <a:gd name="connsiteY10" fmla="*/ 0 h 3636819"/>
                  <a:gd name="connsiteX11" fmla="*/ 2389909 w 2447059"/>
                  <a:gd name="connsiteY11" fmla="*/ 179244 h 3636819"/>
                  <a:gd name="connsiteX12" fmla="*/ 2389909 w 2447059"/>
                  <a:gd name="connsiteY12" fmla="*/ 1953491 h 3636819"/>
                  <a:gd name="connsiteX13" fmla="*/ 2119745 w 2447059"/>
                  <a:gd name="connsiteY13" fmla="*/ 3636819 h 3636819"/>
                  <a:gd name="connsiteX14" fmla="*/ 415636 w 2447059"/>
                  <a:gd name="connsiteY14" fmla="*/ 1350819 h 3636819"/>
                  <a:gd name="connsiteX15" fmla="*/ 0 w 2447059"/>
                  <a:gd name="connsiteY15" fmla="*/ 477982 h 3636819"/>
                  <a:gd name="connsiteX0" fmla="*/ 0 w 2447059"/>
                  <a:gd name="connsiteY0" fmla="*/ 477982 h 3636819"/>
                  <a:gd name="connsiteX1" fmla="*/ 297034 w 2447059"/>
                  <a:gd name="connsiteY1" fmla="*/ 133418 h 3636819"/>
                  <a:gd name="connsiteX2" fmla="*/ 329045 w 2447059"/>
                  <a:gd name="connsiteY2" fmla="*/ 519546 h 3636819"/>
                  <a:gd name="connsiteX3" fmla="*/ 1475509 w 2447059"/>
                  <a:gd name="connsiteY3" fmla="*/ 1309255 h 3636819"/>
                  <a:gd name="connsiteX4" fmla="*/ 1579418 w 2447059"/>
                  <a:gd name="connsiteY4" fmla="*/ 1724891 h 3636819"/>
                  <a:gd name="connsiteX5" fmla="*/ 1620982 w 2447059"/>
                  <a:gd name="connsiteY5" fmla="*/ 2327564 h 3636819"/>
                  <a:gd name="connsiteX6" fmla="*/ 1787236 w 2447059"/>
                  <a:gd name="connsiteY6" fmla="*/ 2389909 h 3636819"/>
                  <a:gd name="connsiteX7" fmla="*/ 1995054 w 2447059"/>
                  <a:gd name="connsiteY7" fmla="*/ 1558637 h 3636819"/>
                  <a:gd name="connsiteX8" fmla="*/ 1745672 w 2447059"/>
                  <a:gd name="connsiteY8" fmla="*/ 1205346 h 3636819"/>
                  <a:gd name="connsiteX9" fmla="*/ 2185554 w 2447059"/>
                  <a:gd name="connsiteY9" fmla="*/ 251980 h 3636819"/>
                  <a:gd name="connsiteX10" fmla="*/ 2187286 w 2447059"/>
                  <a:gd name="connsiteY10" fmla="*/ 0 h 3636819"/>
                  <a:gd name="connsiteX11" fmla="*/ 2389909 w 2447059"/>
                  <a:gd name="connsiteY11" fmla="*/ 179244 h 3636819"/>
                  <a:gd name="connsiteX12" fmla="*/ 2389909 w 2447059"/>
                  <a:gd name="connsiteY12" fmla="*/ 1953491 h 3636819"/>
                  <a:gd name="connsiteX13" fmla="*/ 2119745 w 2447059"/>
                  <a:gd name="connsiteY13" fmla="*/ 3636819 h 3636819"/>
                  <a:gd name="connsiteX14" fmla="*/ 415636 w 2447059"/>
                  <a:gd name="connsiteY14" fmla="*/ 1350819 h 3636819"/>
                  <a:gd name="connsiteX15" fmla="*/ 0 w 2447059"/>
                  <a:gd name="connsiteY15" fmla="*/ 477982 h 3636819"/>
                  <a:gd name="connsiteX0" fmla="*/ 0 w 2447059"/>
                  <a:gd name="connsiteY0" fmla="*/ 477982 h 3636819"/>
                  <a:gd name="connsiteX1" fmla="*/ 297034 w 2447059"/>
                  <a:gd name="connsiteY1" fmla="*/ 133418 h 3636819"/>
                  <a:gd name="connsiteX2" fmla="*/ 430692 w 2447059"/>
                  <a:gd name="connsiteY2" fmla="*/ 530030 h 3636819"/>
                  <a:gd name="connsiteX3" fmla="*/ 1475509 w 2447059"/>
                  <a:gd name="connsiteY3" fmla="*/ 1309255 h 3636819"/>
                  <a:gd name="connsiteX4" fmla="*/ 1579418 w 2447059"/>
                  <a:gd name="connsiteY4" fmla="*/ 1724891 h 3636819"/>
                  <a:gd name="connsiteX5" fmla="*/ 1620982 w 2447059"/>
                  <a:gd name="connsiteY5" fmla="*/ 2327564 h 3636819"/>
                  <a:gd name="connsiteX6" fmla="*/ 1787236 w 2447059"/>
                  <a:gd name="connsiteY6" fmla="*/ 2389909 h 3636819"/>
                  <a:gd name="connsiteX7" fmla="*/ 1995054 w 2447059"/>
                  <a:gd name="connsiteY7" fmla="*/ 1558637 h 3636819"/>
                  <a:gd name="connsiteX8" fmla="*/ 1745672 w 2447059"/>
                  <a:gd name="connsiteY8" fmla="*/ 1205346 h 3636819"/>
                  <a:gd name="connsiteX9" fmla="*/ 2185554 w 2447059"/>
                  <a:gd name="connsiteY9" fmla="*/ 251980 h 3636819"/>
                  <a:gd name="connsiteX10" fmla="*/ 2187286 w 2447059"/>
                  <a:gd name="connsiteY10" fmla="*/ 0 h 3636819"/>
                  <a:gd name="connsiteX11" fmla="*/ 2389909 w 2447059"/>
                  <a:gd name="connsiteY11" fmla="*/ 179244 h 3636819"/>
                  <a:gd name="connsiteX12" fmla="*/ 2389909 w 2447059"/>
                  <a:gd name="connsiteY12" fmla="*/ 1953491 h 3636819"/>
                  <a:gd name="connsiteX13" fmla="*/ 2119745 w 2447059"/>
                  <a:gd name="connsiteY13" fmla="*/ 3636819 h 3636819"/>
                  <a:gd name="connsiteX14" fmla="*/ 415636 w 2447059"/>
                  <a:gd name="connsiteY14" fmla="*/ 1350819 h 3636819"/>
                  <a:gd name="connsiteX15" fmla="*/ 0 w 2447059"/>
                  <a:gd name="connsiteY15" fmla="*/ 477982 h 3636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47059" h="3636819">
                    <a:moveTo>
                      <a:pt x="0" y="477982"/>
                    </a:moveTo>
                    <a:cubicBezTo>
                      <a:pt x="61768" y="366568"/>
                      <a:pt x="206691" y="149582"/>
                      <a:pt x="297034" y="133418"/>
                    </a:cubicBezTo>
                    <a:cubicBezTo>
                      <a:pt x="300498" y="265036"/>
                      <a:pt x="322453" y="388887"/>
                      <a:pt x="430692" y="530030"/>
                    </a:cubicBezTo>
                    <a:lnTo>
                      <a:pt x="1475509" y="1309255"/>
                    </a:lnTo>
                    <a:lnTo>
                      <a:pt x="1579418" y="1724891"/>
                    </a:lnTo>
                    <a:lnTo>
                      <a:pt x="1620982" y="2327564"/>
                    </a:lnTo>
                    <a:lnTo>
                      <a:pt x="1787236" y="2389909"/>
                    </a:lnTo>
                    <a:lnTo>
                      <a:pt x="1995054" y="1558637"/>
                    </a:lnTo>
                    <a:lnTo>
                      <a:pt x="1745672" y="1205346"/>
                    </a:lnTo>
                    <a:lnTo>
                      <a:pt x="2185554" y="251980"/>
                    </a:lnTo>
                    <a:cubicBezTo>
                      <a:pt x="2211531" y="104487"/>
                      <a:pt x="2180359" y="90343"/>
                      <a:pt x="2187286" y="0"/>
                    </a:cubicBezTo>
                    <a:cubicBezTo>
                      <a:pt x="2245302" y="66098"/>
                      <a:pt x="2331893" y="36946"/>
                      <a:pt x="2389909" y="179244"/>
                    </a:cubicBezTo>
                    <a:cubicBezTo>
                      <a:pt x="2447059" y="770660"/>
                      <a:pt x="2437534" y="1247775"/>
                      <a:pt x="2389909" y="1953491"/>
                    </a:cubicBezTo>
                    <a:cubicBezTo>
                      <a:pt x="2357004" y="2581275"/>
                      <a:pt x="2209800" y="3075710"/>
                      <a:pt x="2119745" y="3636819"/>
                    </a:cubicBezTo>
                    <a:lnTo>
                      <a:pt x="415636" y="1350819"/>
                    </a:lnTo>
                    <a:cubicBezTo>
                      <a:pt x="134216" y="964623"/>
                      <a:pt x="62345" y="749878"/>
                      <a:pt x="0" y="47798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89" name="Freeform 288"/>
              <p:cNvSpPr/>
              <p:nvPr/>
            </p:nvSpPr>
            <p:spPr>
              <a:xfrm rot="21114987" flipH="1">
                <a:off x="6662885" y="3430272"/>
                <a:ext cx="151434" cy="111293"/>
              </a:xfrm>
              <a:custGeom>
                <a:avLst/>
                <a:gdLst>
                  <a:gd name="connsiteX0" fmla="*/ 0 w 1253371"/>
                  <a:gd name="connsiteY0" fmla="*/ 0 h 748146"/>
                  <a:gd name="connsiteX1" fmla="*/ 311727 w 1253371"/>
                  <a:gd name="connsiteY1" fmla="*/ 623455 h 748146"/>
                  <a:gd name="connsiteX2" fmla="*/ 1246909 w 1253371"/>
                  <a:gd name="connsiteY2" fmla="*/ 270164 h 748146"/>
                  <a:gd name="connsiteX3" fmla="*/ 1226127 w 1253371"/>
                  <a:gd name="connsiteY3" fmla="*/ 270164 h 748146"/>
                  <a:gd name="connsiteX4" fmla="*/ 1226127 w 1253371"/>
                  <a:gd name="connsiteY4" fmla="*/ 457200 h 748146"/>
                  <a:gd name="connsiteX5" fmla="*/ 187036 w 1253371"/>
                  <a:gd name="connsiteY5" fmla="*/ 748146 h 748146"/>
                  <a:gd name="connsiteX6" fmla="*/ 0 w 1253371"/>
                  <a:gd name="connsiteY6" fmla="*/ 0 h 748146"/>
                  <a:gd name="connsiteX0" fmla="*/ 0 w 1253371"/>
                  <a:gd name="connsiteY0" fmla="*/ 0 h 748146"/>
                  <a:gd name="connsiteX1" fmla="*/ 311727 w 1253371"/>
                  <a:gd name="connsiteY1" fmla="*/ 623455 h 748146"/>
                  <a:gd name="connsiteX2" fmla="*/ 1246909 w 1253371"/>
                  <a:gd name="connsiteY2" fmla="*/ 270164 h 748146"/>
                  <a:gd name="connsiteX3" fmla="*/ 1226127 w 1253371"/>
                  <a:gd name="connsiteY3" fmla="*/ 270164 h 748146"/>
                  <a:gd name="connsiteX4" fmla="*/ 1226127 w 1253371"/>
                  <a:gd name="connsiteY4" fmla="*/ 457200 h 748146"/>
                  <a:gd name="connsiteX5" fmla="*/ 187036 w 1253371"/>
                  <a:gd name="connsiteY5" fmla="*/ 748146 h 748146"/>
                  <a:gd name="connsiteX6" fmla="*/ 0 w 1253371"/>
                  <a:gd name="connsiteY6" fmla="*/ 0 h 748146"/>
                  <a:gd name="connsiteX0" fmla="*/ 0 w 1253371"/>
                  <a:gd name="connsiteY0" fmla="*/ 0 h 748146"/>
                  <a:gd name="connsiteX1" fmla="*/ 311727 w 1253371"/>
                  <a:gd name="connsiteY1" fmla="*/ 623455 h 748146"/>
                  <a:gd name="connsiteX2" fmla="*/ 1246909 w 1253371"/>
                  <a:gd name="connsiteY2" fmla="*/ 270164 h 748146"/>
                  <a:gd name="connsiteX3" fmla="*/ 1226127 w 1253371"/>
                  <a:gd name="connsiteY3" fmla="*/ 270164 h 748146"/>
                  <a:gd name="connsiteX4" fmla="*/ 1226127 w 1253371"/>
                  <a:gd name="connsiteY4" fmla="*/ 457200 h 748146"/>
                  <a:gd name="connsiteX5" fmla="*/ 187036 w 1253371"/>
                  <a:gd name="connsiteY5" fmla="*/ 748146 h 748146"/>
                  <a:gd name="connsiteX6" fmla="*/ 0 w 1253371"/>
                  <a:gd name="connsiteY6" fmla="*/ 0 h 748146"/>
                  <a:gd name="connsiteX0" fmla="*/ 0 w 1253371"/>
                  <a:gd name="connsiteY0" fmla="*/ 0 h 795771"/>
                  <a:gd name="connsiteX1" fmla="*/ 311727 w 1253371"/>
                  <a:gd name="connsiteY1" fmla="*/ 623455 h 795771"/>
                  <a:gd name="connsiteX2" fmla="*/ 1246909 w 1253371"/>
                  <a:gd name="connsiteY2" fmla="*/ 270164 h 795771"/>
                  <a:gd name="connsiteX3" fmla="*/ 1226127 w 1253371"/>
                  <a:gd name="connsiteY3" fmla="*/ 270164 h 795771"/>
                  <a:gd name="connsiteX4" fmla="*/ 1226127 w 1253371"/>
                  <a:gd name="connsiteY4" fmla="*/ 457200 h 795771"/>
                  <a:gd name="connsiteX5" fmla="*/ 187036 w 1253371"/>
                  <a:gd name="connsiteY5" fmla="*/ 795771 h 795771"/>
                  <a:gd name="connsiteX6" fmla="*/ 0 w 1253371"/>
                  <a:gd name="connsiteY6" fmla="*/ 0 h 795771"/>
                  <a:gd name="connsiteX0" fmla="*/ 0 w 1253371"/>
                  <a:gd name="connsiteY0" fmla="*/ 0 h 795771"/>
                  <a:gd name="connsiteX1" fmla="*/ 311727 w 1253371"/>
                  <a:gd name="connsiteY1" fmla="*/ 623455 h 795771"/>
                  <a:gd name="connsiteX2" fmla="*/ 1246909 w 1253371"/>
                  <a:gd name="connsiteY2" fmla="*/ 270164 h 795771"/>
                  <a:gd name="connsiteX3" fmla="*/ 1226127 w 1253371"/>
                  <a:gd name="connsiteY3" fmla="*/ 270164 h 795771"/>
                  <a:gd name="connsiteX4" fmla="*/ 1226127 w 1253371"/>
                  <a:gd name="connsiteY4" fmla="*/ 457200 h 795771"/>
                  <a:gd name="connsiteX5" fmla="*/ 187036 w 1253371"/>
                  <a:gd name="connsiteY5" fmla="*/ 795771 h 795771"/>
                  <a:gd name="connsiteX6" fmla="*/ 0 w 1253371"/>
                  <a:gd name="connsiteY6" fmla="*/ 0 h 795771"/>
                  <a:gd name="connsiteX0" fmla="*/ 0 w 1253371"/>
                  <a:gd name="connsiteY0" fmla="*/ 0 h 816264"/>
                  <a:gd name="connsiteX1" fmla="*/ 311727 w 1253371"/>
                  <a:gd name="connsiteY1" fmla="*/ 623455 h 816264"/>
                  <a:gd name="connsiteX2" fmla="*/ 1246909 w 1253371"/>
                  <a:gd name="connsiteY2" fmla="*/ 270164 h 816264"/>
                  <a:gd name="connsiteX3" fmla="*/ 1226127 w 1253371"/>
                  <a:gd name="connsiteY3" fmla="*/ 270164 h 816264"/>
                  <a:gd name="connsiteX4" fmla="*/ 1226127 w 1253371"/>
                  <a:gd name="connsiteY4" fmla="*/ 457200 h 816264"/>
                  <a:gd name="connsiteX5" fmla="*/ 187036 w 1253371"/>
                  <a:gd name="connsiteY5" fmla="*/ 795771 h 816264"/>
                  <a:gd name="connsiteX6" fmla="*/ 0 w 1253371"/>
                  <a:gd name="connsiteY6" fmla="*/ 0 h 816264"/>
                  <a:gd name="connsiteX0" fmla="*/ 0 w 1253371"/>
                  <a:gd name="connsiteY0" fmla="*/ 0 h 940089"/>
                  <a:gd name="connsiteX1" fmla="*/ 311727 w 1253371"/>
                  <a:gd name="connsiteY1" fmla="*/ 623455 h 940089"/>
                  <a:gd name="connsiteX2" fmla="*/ 1246909 w 1253371"/>
                  <a:gd name="connsiteY2" fmla="*/ 270164 h 940089"/>
                  <a:gd name="connsiteX3" fmla="*/ 1226127 w 1253371"/>
                  <a:gd name="connsiteY3" fmla="*/ 270164 h 940089"/>
                  <a:gd name="connsiteX4" fmla="*/ 1226127 w 1253371"/>
                  <a:gd name="connsiteY4" fmla="*/ 457200 h 940089"/>
                  <a:gd name="connsiteX5" fmla="*/ 187036 w 1253371"/>
                  <a:gd name="connsiteY5" fmla="*/ 795771 h 940089"/>
                  <a:gd name="connsiteX6" fmla="*/ 0 w 1253371"/>
                  <a:gd name="connsiteY6" fmla="*/ 0 h 940089"/>
                  <a:gd name="connsiteX0" fmla="*/ 0 w 1402772"/>
                  <a:gd name="connsiteY0" fmla="*/ 0 h 940089"/>
                  <a:gd name="connsiteX1" fmla="*/ 311727 w 1402772"/>
                  <a:gd name="connsiteY1" fmla="*/ 623455 h 940089"/>
                  <a:gd name="connsiteX2" fmla="*/ 1246909 w 1402772"/>
                  <a:gd name="connsiteY2" fmla="*/ 270164 h 940089"/>
                  <a:gd name="connsiteX3" fmla="*/ 1226127 w 1402772"/>
                  <a:gd name="connsiteY3" fmla="*/ 457200 h 940089"/>
                  <a:gd name="connsiteX4" fmla="*/ 187036 w 1402772"/>
                  <a:gd name="connsiteY4" fmla="*/ 795771 h 940089"/>
                  <a:gd name="connsiteX5" fmla="*/ 0 w 1402772"/>
                  <a:gd name="connsiteY5" fmla="*/ 0 h 940089"/>
                  <a:gd name="connsiteX0" fmla="*/ 0 w 1402772"/>
                  <a:gd name="connsiteY0" fmla="*/ 0 h 940089"/>
                  <a:gd name="connsiteX1" fmla="*/ 311727 w 1402772"/>
                  <a:gd name="connsiteY1" fmla="*/ 623455 h 940089"/>
                  <a:gd name="connsiteX2" fmla="*/ 1246909 w 1402772"/>
                  <a:gd name="connsiteY2" fmla="*/ 270164 h 940089"/>
                  <a:gd name="connsiteX3" fmla="*/ 1226127 w 1402772"/>
                  <a:gd name="connsiteY3" fmla="*/ 457200 h 940089"/>
                  <a:gd name="connsiteX4" fmla="*/ 187036 w 1402772"/>
                  <a:gd name="connsiteY4" fmla="*/ 795771 h 940089"/>
                  <a:gd name="connsiteX5" fmla="*/ 0 w 1402772"/>
                  <a:gd name="connsiteY5" fmla="*/ 0 h 940089"/>
                  <a:gd name="connsiteX0" fmla="*/ 0 w 1402772"/>
                  <a:gd name="connsiteY0" fmla="*/ 0 h 940089"/>
                  <a:gd name="connsiteX1" fmla="*/ 311727 w 1402772"/>
                  <a:gd name="connsiteY1" fmla="*/ 623455 h 940089"/>
                  <a:gd name="connsiteX2" fmla="*/ 1285009 w 1402772"/>
                  <a:gd name="connsiteY2" fmla="*/ 232064 h 940089"/>
                  <a:gd name="connsiteX3" fmla="*/ 1226127 w 1402772"/>
                  <a:gd name="connsiteY3" fmla="*/ 457200 h 940089"/>
                  <a:gd name="connsiteX4" fmla="*/ 187036 w 1402772"/>
                  <a:gd name="connsiteY4" fmla="*/ 795771 h 940089"/>
                  <a:gd name="connsiteX5" fmla="*/ 0 w 1402772"/>
                  <a:gd name="connsiteY5" fmla="*/ 0 h 940089"/>
                  <a:gd name="connsiteX0" fmla="*/ 0 w 1285009"/>
                  <a:gd name="connsiteY0" fmla="*/ 0 h 940089"/>
                  <a:gd name="connsiteX1" fmla="*/ 311727 w 1285009"/>
                  <a:gd name="connsiteY1" fmla="*/ 623455 h 940089"/>
                  <a:gd name="connsiteX2" fmla="*/ 1285009 w 1285009"/>
                  <a:gd name="connsiteY2" fmla="*/ 232064 h 940089"/>
                  <a:gd name="connsiteX3" fmla="*/ 1226127 w 1285009"/>
                  <a:gd name="connsiteY3" fmla="*/ 457200 h 940089"/>
                  <a:gd name="connsiteX4" fmla="*/ 187036 w 1285009"/>
                  <a:gd name="connsiteY4" fmla="*/ 795771 h 940089"/>
                  <a:gd name="connsiteX5" fmla="*/ 0 w 1285009"/>
                  <a:gd name="connsiteY5" fmla="*/ 0 h 940089"/>
                  <a:gd name="connsiteX0" fmla="*/ 0 w 1297997"/>
                  <a:gd name="connsiteY0" fmla="*/ 0 h 940089"/>
                  <a:gd name="connsiteX1" fmla="*/ 311727 w 1297997"/>
                  <a:gd name="connsiteY1" fmla="*/ 623455 h 940089"/>
                  <a:gd name="connsiteX2" fmla="*/ 1285009 w 1297997"/>
                  <a:gd name="connsiteY2" fmla="*/ 232064 h 940089"/>
                  <a:gd name="connsiteX3" fmla="*/ 1226127 w 1297997"/>
                  <a:gd name="connsiteY3" fmla="*/ 457200 h 940089"/>
                  <a:gd name="connsiteX4" fmla="*/ 187036 w 1297997"/>
                  <a:gd name="connsiteY4" fmla="*/ 795771 h 940089"/>
                  <a:gd name="connsiteX5" fmla="*/ 0 w 1297997"/>
                  <a:gd name="connsiteY5" fmla="*/ 0 h 940089"/>
                  <a:gd name="connsiteX0" fmla="*/ 0 w 1297997"/>
                  <a:gd name="connsiteY0" fmla="*/ 0 h 940089"/>
                  <a:gd name="connsiteX1" fmla="*/ 311727 w 1297997"/>
                  <a:gd name="connsiteY1" fmla="*/ 623455 h 940089"/>
                  <a:gd name="connsiteX2" fmla="*/ 1294534 w 1297997"/>
                  <a:gd name="connsiteY2" fmla="*/ 193964 h 940089"/>
                  <a:gd name="connsiteX3" fmla="*/ 1226127 w 1297997"/>
                  <a:gd name="connsiteY3" fmla="*/ 457200 h 940089"/>
                  <a:gd name="connsiteX4" fmla="*/ 187036 w 1297997"/>
                  <a:gd name="connsiteY4" fmla="*/ 795771 h 940089"/>
                  <a:gd name="connsiteX5" fmla="*/ 0 w 1297997"/>
                  <a:gd name="connsiteY5" fmla="*/ 0 h 940089"/>
                  <a:gd name="connsiteX0" fmla="*/ 0 w 1294534"/>
                  <a:gd name="connsiteY0" fmla="*/ 0 h 940089"/>
                  <a:gd name="connsiteX1" fmla="*/ 311727 w 1294534"/>
                  <a:gd name="connsiteY1" fmla="*/ 623455 h 940089"/>
                  <a:gd name="connsiteX2" fmla="*/ 1294534 w 1294534"/>
                  <a:gd name="connsiteY2" fmla="*/ 193964 h 940089"/>
                  <a:gd name="connsiteX3" fmla="*/ 1226127 w 1294534"/>
                  <a:gd name="connsiteY3" fmla="*/ 457200 h 940089"/>
                  <a:gd name="connsiteX4" fmla="*/ 187036 w 1294534"/>
                  <a:gd name="connsiteY4" fmla="*/ 795771 h 940089"/>
                  <a:gd name="connsiteX5" fmla="*/ 0 w 1294534"/>
                  <a:gd name="connsiteY5" fmla="*/ 0 h 940089"/>
                  <a:gd name="connsiteX0" fmla="*/ 0 w 1294534"/>
                  <a:gd name="connsiteY0" fmla="*/ 0 h 940089"/>
                  <a:gd name="connsiteX1" fmla="*/ 311727 w 1294534"/>
                  <a:gd name="connsiteY1" fmla="*/ 623455 h 940089"/>
                  <a:gd name="connsiteX2" fmla="*/ 1294534 w 1294534"/>
                  <a:gd name="connsiteY2" fmla="*/ 193964 h 940089"/>
                  <a:gd name="connsiteX3" fmla="*/ 1226127 w 1294534"/>
                  <a:gd name="connsiteY3" fmla="*/ 457200 h 940089"/>
                  <a:gd name="connsiteX4" fmla="*/ 187036 w 1294534"/>
                  <a:gd name="connsiteY4" fmla="*/ 795771 h 940089"/>
                  <a:gd name="connsiteX5" fmla="*/ 0 w 1294534"/>
                  <a:gd name="connsiteY5" fmla="*/ 0 h 940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94534" h="940089">
                    <a:moveTo>
                      <a:pt x="0" y="0"/>
                    </a:moveTo>
                    <a:cubicBezTo>
                      <a:pt x="103909" y="207818"/>
                      <a:pt x="207818" y="577562"/>
                      <a:pt x="311727" y="623455"/>
                    </a:cubicBezTo>
                    <a:cubicBezTo>
                      <a:pt x="452004" y="648566"/>
                      <a:pt x="982807" y="311728"/>
                      <a:pt x="1294534" y="193964"/>
                    </a:cubicBezTo>
                    <a:cubicBezTo>
                      <a:pt x="1275484" y="185305"/>
                      <a:pt x="1174172" y="350549"/>
                      <a:pt x="1226127" y="457200"/>
                    </a:cubicBezTo>
                    <a:cubicBezTo>
                      <a:pt x="879763" y="570057"/>
                      <a:pt x="361950" y="940089"/>
                      <a:pt x="187036" y="795771"/>
                    </a:cubicBezTo>
                    <a:cubicBezTo>
                      <a:pt x="86591" y="692439"/>
                      <a:pt x="62345" y="265257"/>
                      <a:pt x="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90" name="Freeform 289"/>
              <p:cNvSpPr/>
              <p:nvPr/>
            </p:nvSpPr>
            <p:spPr>
              <a:xfrm rot="21114987" flipH="1">
                <a:off x="7175596" y="3420429"/>
                <a:ext cx="277037" cy="129778"/>
              </a:xfrm>
              <a:custGeom>
                <a:avLst/>
                <a:gdLst>
                  <a:gd name="connsiteX0" fmla="*/ 2036619 w 2286000"/>
                  <a:gd name="connsiteY0" fmla="*/ 103909 h 958776"/>
                  <a:gd name="connsiteX1" fmla="*/ 2057400 w 2286000"/>
                  <a:gd name="connsiteY1" fmla="*/ 768927 h 958776"/>
                  <a:gd name="connsiteX2" fmla="*/ 0 w 2286000"/>
                  <a:gd name="connsiteY2" fmla="*/ 872836 h 958776"/>
                  <a:gd name="connsiteX3" fmla="*/ 207819 w 2286000"/>
                  <a:gd name="connsiteY3" fmla="*/ 955963 h 958776"/>
                  <a:gd name="connsiteX4" fmla="*/ 2078182 w 2286000"/>
                  <a:gd name="connsiteY4" fmla="*/ 955963 h 958776"/>
                  <a:gd name="connsiteX5" fmla="*/ 2286000 w 2286000"/>
                  <a:gd name="connsiteY5" fmla="*/ 768927 h 958776"/>
                  <a:gd name="connsiteX6" fmla="*/ 2119746 w 2286000"/>
                  <a:gd name="connsiteY6" fmla="*/ 0 h 958776"/>
                  <a:gd name="connsiteX7" fmla="*/ 2036619 w 2286000"/>
                  <a:gd name="connsiteY7" fmla="*/ 103909 h 958776"/>
                  <a:gd name="connsiteX0" fmla="*/ 2036619 w 2119746"/>
                  <a:gd name="connsiteY0" fmla="*/ 103909 h 958776"/>
                  <a:gd name="connsiteX1" fmla="*/ 2057400 w 2119746"/>
                  <a:gd name="connsiteY1" fmla="*/ 768927 h 958776"/>
                  <a:gd name="connsiteX2" fmla="*/ 0 w 2119746"/>
                  <a:gd name="connsiteY2" fmla="*/ 872836 h 958776"/>
                  <a:gd name="connsiteX3" fmla="*/ 207819 w 2119746"/>
                  <a:gd name="connsiteY3" fmla="*/ 955963 h 958776"/>
                  <a:gd name="connsiteX4" fmla="*/ 2078182 w 2119746"/>
                  <a:gd name="connsiteY4" fmla="*/ 955963 h 958776"/>
                  <a:gd name="connsiteX5" fmla="*/ 2119746 w 2119746"/>
                  <a:gd name="connsiteY5" fmla="*/ 0 h 958776"/>
                  <a:gd name="connsiteX6" fmla="*/ 2036619 w 2119746"/>
                  <a:gd name="connsiteY6" fmla="*/ 103909 h 958776"/>
                  <a:gd name="connsiteX0" fmla="*/ 2036619 w 2311112"/>
                  <a:gd name="connsiteY0" fmla="*/ 103909 h 958776"/>
                  <a:gd name="connsiteX1" fmla="*/ 2057400 w 2311112"/>
                  <a:gd name="connsiteY1" fmla="*/ 768927 h 958776"/>
                  <a:gd name="connsiteX2" fmla="*/ 0 w 2311112"/>
                  <a:gd name="connsiteY2" fmla="*/ 872836 h 958776"/>
                  <a:gd name="connsiteX3" fmla="*/ 207819 w 2311112"/>
                  <a:gd name="connsiteY3" fmla="*/ 955963 h 958776"/>
                  <a:gd name="connsiteX4" fmla="*/ 2078182 w 2311112"/>
                  <a:gd name="connsiteY4" fmla="*/ 955963 h 958776"/>
                  <a:gd name="connsiteX5" fmla="*/ 2119746 w 2311112"/>
                  <a:gd name="connsiteY5" fmla="*/ 0 h 958776"/>
                  <a:gd name="connsiteX6" fmla="*/ 2036619 w 2311112"/>
                  <a:gd name="connsiteY6" fmla="*/ 103909 h 958776"/>
                  <a:gd name="connsiteX0" fmla="*/ 2036619 w 2311112"/>
                  <a:gd name="connsiteY0" fmla="*/ 103909 h 1032163"/>
                  <a:gd name="connsiteX1" fmla="*/ 2057400 w 2311112"/>
                  <a:gd name="connsiteY1" fmla="*/ 768927 h 1032163"/>
                  <a:gd name="connsiteX2" fmla="*/ 0 w 2311112"/>
                  <a:gd name="connsiteY2" fmla="*/ 872836 h 1032163"/>
                  <a:gd name="connsiteX3" fmla="*/ 207819 w 2311112"/>
                  <a:gd name="connsiteY3" fmla="*/ 955963 h 1032163"/>
                  <a:gd name="connsiteX4" fmla="*/ 2078182 w 2311112"/>
                  <a:gd name="connsiteY4" fmla="*/ 955963 h 1032163"/>
                  <a:gd name="connsiteX5" fmla="*/ 2119746 w 2311112"/>
                  <a:gd name="connsiteY5" fmla="*/ 0 h 1032163"/>
                  <a:gd name="connsiteX6" fmla="*/ 2036619 w 2311112"/>
                  <a:gd name="connsiteY6" fmla="*/ 103909 h 1032163"/>
                  <a:gd name="connsiteX0" fmla="*/ 2036619 w 2425412"/>
                  <a:gd name="connsiteY0" fmla="*/ 103909 h 994063"/>
                  <a:gd name="connsiteX1" fmla="*/ 2057400 w 2425412"/>
                  <a:gd name="connsiteY1" fmla="*/ 768927 h 994063"/>
                  <a:gd name="connsiteX2" fmla="*/ 0 w 2425412"/>
                  <a:gd name="connsiteY2" fmla="*/ 872836 h 994063"/>
                  <a:gd name="connsiteX3" fmla="*/ 207819 w 2425412"/>
                  <a:gd name="connsiteY3" fmla="*/ 955963 h 994063"/>
                  <a:gd name="connsiteX4" fmla="*/ 2192482 w 2425412"/>
                  <a:gd name="connsiteY4" fmla="*/ 917863 h 994063"/>
                  <a:gd name="connsiteX5" fmla="*/ 2119746 w 2425412"/>
                  <a:gd name="connsiteY5" fmla="*/ 0 h 994063"/>
                  <a:gd name="connsiteX6" fmla="*/ 2036619 w 2425412"/>
                  <a:gd name="connsiteY6" fmla="*/ 103909 h 994063"/>
                  <a:gd name="connsiteX0" fmla="*/ 2036619 w 2425412"/>
                  <a:gd name="connsiteY0" fmla="*/ 139411 h 1029565"/>
                  <a:gd name="connsiteX1" fmla="*/ 2057400 w 2425412"/>
                  <a:gd name="connsiteY1" fmla="*/ 804429 h 1029565"/>
                  <a:gd name="connsiteX2" fmla="*/ 0 w 2425412"/>
                  <a:gd name="connsiteY2" fmla="*/ 908338 h 1029565"/>
                  <a:gd name="connsiteX3" fmla="*/ 207819 w 2425412"/>
                  <a:gd name="connsiteY3" fmla="*/ 991465 h 1029565"/>
                  <a:gd name="connsiteX4" fmla="*/ 2192482 w 2425412"/>
                  <a:gd name="connsiteY4" fmla="*/ 953365 h 1029565"/>
                  <a:gd name="connsiteX5" fmla="*/ 2119746 w 2425412"/>
                  <a:gd name="connsiteY5" fmla="*/ 35502 h 1029565"/>
                  <a:gd name="connsiteX6" fmla="*/ 2036619 w 2425412"/>
                  <a:gd name="connsiteY6" fmla="*/ 139411 h 1029565"/>
                  <a:gd name="connsiteX0" fmla="*/ 2036619 w 2425412"/>
                  <a:gd name="connsiteY0" fmla="*/ 139411 h 1029565"/>
                  <a:gd name="connsiteX1" fmla="*/ 2057400 w 2425412"/>
                  <a:gd name="connsiteY1" fmla="*/ 804429 h 1029565"/>
                  <a:gd name="connsiteX2" fmla="*/ 0 w 2425412"/>
                  <a:gd name="connsiteY2" fmla="*/ 908338 h 1029565"/>
                  <a:gd name="connsiteX3" fmla="*/ 207819 w 2425412"/>
                  <a:gd name="connsiteY3" fmla="*/ 991465 h 1029565"/>
                  <a:gd name="connsiteX4" fmla="*/ 2192482 w 2425412"/>
                  <a:gd name="connsiteY4" fmla="*/ 953365 h 1029565"/>
                  <a:gd name="connsiteX5" fmla="*/ 2119746 w 2425412"/>
                  <a:gd name="connsiteY5" fmla="*/ 35502 h 1029565"/>
                  <a:gd name="connsiteX6" fmla="*/ 2036619 w 2425412"/>
                  <a:gd name="connsiteY6" fmla="*/ 139411 h 1029565"/>
                  <a:gd name="connsiteX0" fmla="*/ 2036619 w 2425412"/>
                  <a:gd name="connsiteY0" fmla="*/ 139411 h 1029565"/>
                  <a:gd name="connsiteX1" fmla="*/ 2057400 w 2425412"/>
                  <a:gd name="connsiteY1" fmla="*/ 804429 h 1029565"/>
                  <a:gd name="connsiteX2" fmla="*/ 0 w 2425412"/>
                  <a:gd name="connsiteY2" fmla="*/ 908338 h 1029565"/>
                  <a:gd name="connsiteX3" fmla="*/ 207819 w 2425412"/>
                  <a:gd name="connsiteY3" fmla="*/ 991465 h 1029565"/>
                  <a:gd name="connsiteX4" fmla="*/ 2192482 w 2425412"/>
                  <a:gd name="connsiteY4" fmla="*/ 953365 h 1029565"/>
                  <a:gd name="connsiteX5" fmla="*/ 2119746 w 2425412"/>
                  <a:gd name="connsiteY5" fmla="*/ 35502 h 1029565"/>
                  <a:gd name="connsiteX6" fmla="*/ 2036619 w 2425412"/>
                  <a:gd name="connsiteY6" fmla="*/ 139411 h 1029565"/>
                  <a:gd name="connsiteX0" fmla="*/ 2036619 w 2425412"/>
                  <a:gd name="connsiteY0" fmla="*/ 139411 h 1029565"/>
                  <a:gd name="connsiteX1" fmla="*/ 2057400 w 2425412"/>
                  <a:gd name="connsiteY1" fmla="*/ 804429 h 1029565"/>
                  <a:gd name="connsiteX2" fmla="*/ 0 w 2425412"/>
                  <a:gd name="connsiteY2" fmla="*/ 908338 h 1029565"/>
                  <a:gd name="connsiteX3" fmla="*/ 207819 w 2425412"/>
                  <a:gd name="connsiteY3" fmla="*/ 991465 h 1029565"/>
                  <a:gd name="connsiteX4" fmla="*/ 2192482 w 2425412"/>
                  <a:gd name="connsiteY4" fmla="*/ 953365 h 1029565"/>
                  <a:gd name="connsiteX5" fmla="*/ 2119746 w 2425412"/>
                  <a:gd name="connsiteY5" fmla="*/ 35502 h 1029565"/>
                  <a:gd name="connsiteX6" fmla="*/ 2036619 w 2425412"/>
                  <a:gd name="connsiteY6" fmla="*/ 139411 h 1029565"/>
                  <a:gd name="connsiteX0" fmla="*/ 2036619 w 2425412"/>
                  <a:gd name="connsiteY0" fmla="*/ 139411 h 1029565"/>
                  <a:gd name="connsiteX1" fmla="*/ 2057400 w 2425412"/>
                  <a:gd name="connsiteY1" fmla="*/ 804429 h 1029565"/>
                  <a:gd name="connsiteX2" fmla="*/ 0 w 2425412"/>
                  <a:gd name="connsiteY2" fmla="*/ 908338 h 1029565"/>
                  <a:gd name="connsiteX3" fmla="*/ 207819 w 2425412"/>
                  <a:gd name="connsiteY3" fmla="*/ 991465 h 1029565"/>
                  <a:gd name="connsiteX4" fmla="*/ 2192482 w 2425412"/>
                  <a:gd name="connsiteY4" fmla="*/ 953365 h 1029565"/>
                  <a:gd name="connsiteX5" fmla="*/ 2119746 w 2425412"/>
                  <a:gd name="connsiteY5" fmla="*/ 35502 h 1029565"/>
                  <a:gd name="connsiteX6" fmla="*/ 2036619 w 2425412"/>
                  <a:gd name="connsiteY6" fmla="*/ 139411 h 1029565"/>
                  <a:gd name="connsiteX0" fmla="*/ 2036619 w 2425412"/>
                  <a:gd name="connsiteY0" fmla="*/ 139411 h 1096240"/>
                  <a:gd name="connsiteX1" fmla="*/ 2057400 w 2425412"/>
                  <a:gd name="connsiteY1" fmla="*/ 804429 h 1096240"/>
                  <a:gd name="connsiteX2" fmla="*/ 0 w 2425412"/>
                  <a:gd name="connsiteY2" fmla="*/ 908338 h 1096240"/>
                  <a:gd name="connsiteX3" fmla="*/ 207819 w 2425412"/>
                  <a:gd name="connsiteY3" fmla="*/ 991465 h 1096240"/>
                  <a:gd name="connsiteX4" fmla="*/ 2192482 w 2425412"/>
                  <a:gd name="connsiteY4" fmla="*/ 1020040 h 1096240"/>
                  <a:gd name="connsiteX5" fmla="*/ 2119746 w 2425412"/>
                  <a:gd name="connsiteY5" fmla="*/ 35502 h 1096240"/>
                  <a:gd name="connsiteX6" fmla="*/ 2036619 w 2425412"/>
                  <a:gd name="connsiteY6" fmla="*/ 139411 h 1096240"/>
                  <a:gd name="connsiteX0" fmla="*/ 1979469 w 2368262"/>
                  <a:gd name="connsiteY0" fmla="*/ 139411 h 1096240"/>
                  <a:gd name="connsiteX1" fmla="*/ 2000250 w 2368262"/>
                  <a:gd name="connsiteY1" fmla="*/ 804429 h 1096240"/>
                  <a:gd name="connsiteX2" fmla="*/ 0 w 2368262"/>
                  <a:gd name="connsiteY2" fmla="*/ 879763 h 1096240"/>
                  <a:gd name="connsiteX3" fmla="*/ 150669 w 2368262"/>
                  <a:gd name="connsiteY3" fmla="*/ 991465 h 1096240"/>
                  <a:gd name="connsiteX4" fmla="*/ 2135332 w 2368262"/>
                  <a:gd name="connsiteY4" fmla="*/ 1020040 h 1096240"/>
                  <a:gd name="connsiteX5" fmla="*/ 2062596 w 2368262"/>
                  <a:gd name="connsiteY5" fmla="*/ 35502 h 1096240"/>
                  <a:gd name="connsiteX6" fmla="*/ 1979469 w 2368262"/>
                  <a:gd name="connsiteY6" fmla="*/ 139411 h 1096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68262" h="1096240">
                    <a:moveTo>
                      <a:pt x="1979469" y="139411"/>
                    </a:moveTo>
                    <a:cubicBezTo>
                      <a:pt x="1986396" y="361084"/>
                      <a:pt x="2059998" y="639906"/>
                      <a:pt x="2000250" y="804429"/>
                    </a:cubicBezTo>
                    <a:cubicBezTo>
                      <a:pt x="1952625" y="953365"/>
                      <a:pt x="685800" y="845127"/>
                      <a:pt x="0" y="879763"/>
                    </a:cubicBezTo>
                    <a:cubicBezTo>
                      <a:pt x="193367" y="965703"/>
                      <a:pt x="61661" y="991465"/>
                      <a:pt x="150669" y="991465"/>
                    </a:cubicBezTo>
                    <a:cubicBezTo>
                      <a:pt x="774123" y="991465"/>
                      <a:pt x="1902403" y="1096240"/>
                      <a:pt x="2135332" y="1020040"/>
                    </a:cubicBezTo>
                    <a:cubicBezTo>
                      <a:pt x="2368262" y="977611"/>
                      <a:pt x="2048741" y="354156"/>
                      <a:pt x="2062596" y="35502"/>
                    </a:cubicBezTo>
                    <a:cubicBezTo>
                      <a:pt x="2034887" y="70138"/>
                      <a:pt x="1988128" y="0"/>
                      <a:pt x="1979469" y="13941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91" name="Freeform 290"/>
              <p:cNvSpPr/>
              <p:nvPr/>
            </p:nvSpPr>
            <p:spPr>
              <a:xfrm rot="21114987" flipH="1">
                <a:off x="6871286" y="2584269"/>
                <a:ext cx="743900" cy="778117"/>
              </a:xfrm>
              <a:custGeom>
                <a:avLst/>
                <a:gdLst>
                  <a:gd name="connsiteX0" fmla="*/ 6317673 w 6359237"/>
                  <a:gd name="connsiteY0" fmla="*/ 3013364 h 6567055"/>
                  <a:gd name="connsiteX1" fmla="*/ 4717473 w 6359237"/>
                  <a:gd name="connsiteY1" fmla="*/ 3408218 h 6567055"/>
                  <a:gd name="connsiteX2" fmla="*/ 4239491 w 6359237"/>
                  <a:gd name="connsiteY2" fmla="*/ 3366655 h 6567055"/>
                  <a:gd name="connsiteX3" fmla="*/ 3262746 w 6359237"/>
                  <a:gd name="connsiteY3" fmla="*/ 3865418 h 6567055"/>
                  <a:gd name="connsiteX4" fmla="*/ 2888673 w 6359237"/>
                  <a:gd name="connsiteY4" fmla="*/ 3990109 h 6567055"/>
                  <a:gd name="connsiteX5" fmla="*/ 2722418 w 6359237"/>
                  <a:gd name="connsiteY5" fmla="*/ 3366655 h 6567055"/>
                  <a:gd name="connsiteX6" fmla="*/ 2286000 w 6359237"/>
                  <a:gd name="connsiteY6" fmla="*/ 2348346 h 6567055"/>
                  <a:gd name="connsiteX7" fmla="*/ 1662546 w 6359237"/>
                  <a:gd name="connsiteY7" fmla="*/ 1371600 h 6567055"/>
                  <a:gd name="connsiteX8" fmla="*/ 1226128 w 6359237"/>
                  <a:gd name="connsiteY8" fmla="*/ 685800 h 6567055"/>
                  <a:gd name="connsiteX9" fmla="*/ 290946 w 6359237"/>
                  <a:gd name="connsiteY9" fmla="*/ 0 h 6567055"/>
                  <a:gd name="connsiteX10" fmla="*/ 83128 w 6359237"/>
                  <a:gd name="connsiteY10" fmla="*/ 62346 h 6567055"/>
                  <a:gd name="connsiteX11" fmla="*/ 0 w 6359237"/>
                  <a:gd name="connsiteY11" fmla="*/ 1579418 h 6567055"/>
                  <a:gd name="connsiteX12" fmla="*/ 228600 w 6359237"/>
                  <a:gd name="connsiteY12" fmla="*/ 2556164 h 6567055"/>
                  <a:gd name="connsiteX13" fmla="*/ 290946 w 6359237"/>
                  <a:gd name="connsiteY13" fmla="*/ 3408218 h 6567055"/>
                  <a:gd name="connsiteX14" fmla="*/ 1163782 w 6359237"/>
                  <a:gd name="connsiteY14" fmla="*/ 5257800 h 6567055"/>
                  <a:gd name="connsiteX15" fmla="*/ 2223655 w 6359237"/>
                  <a:gd name="connsiteY15" fmla="*/ 6567055 h 6567055"/>
                  <a:gd name="connsiteX16" fmla="*/ 3595255 w 6359237"/>
                  <a:gd name="connsiteY16" fmla="*/ 6151418 h 6567055"/>
                  <a:gd name="connsiteX17" fmla="*/ 4655128 w 6359237"/>
                  <a:gd name="connsiteY17" fmla="*/ 5985164 h 6567055"/>
                  <a:gd name="connsiteX18" fmla="*/ 6359237 w 6359237"/>
                  <a:gd name="connsiteY18" fmla="*/ 4675909 h 6567055"/>
                  <a:gd name="connsiteX19" fmla="*/ 6317673 w 6359237"/>
                  <a:gd name="connsiteY19" fmla="*/ 3013364 h 6567055"/>
                  <a:gd name="connsiteX0" fmla="*/ 6317673 w 6359237"/>
                  <a:gd name="connsiteY0" fmla="*/ 3013364 h 6567055"/>
                  <a:gd name="connsiteX1" fmla="*/ 4717473 w 6359237"/>
                  <a:gd name="connsiteY1" fmla="*/ 3408218 h 6567055"/>
                  <a:gd name="connsiteX2" fmla="*/ 4239491 w 6359237"/>
                  <a:gd name="connsiteY2" fmla="*/ 3366655 h 6567055"/>
                  <a:gd name="connsiteX3" fmla="*/ 3262746 w 6359237"/>
                  <a:gd name="connsiteY3" fmla="*/ 3865418 h 6567055"/>
                  <a:gd name="connsiteX4" fmla="*/ 2888673 w 6359237"/>
                  <a:gd name="connsiteY4" fmla="*/ 3990109 h 6567055"/>
                  <a:gd name="connsiteX5" fmla="*/ 2722418 w 6359237"/>
                  <a:gd name="connsiteY5" fmla="*/ 3366655 h 6567055"/>
                  <a:gd name="connsiteX6" fmla="*/ 2286000 w 6359237"/>
                  <a:gd name="connsiteY6" fmla="*/ 2348346 h 6567055"/>
                  <a:gd name="connsiteX7" fmla="*/ 1662546 w 6359237"/>
                  <a:gd name="connsiteY7" fmla="*/ 1371600 h 6567055"/>
                  <a:gd name="connsiteX8" fmla="*/ 1226128 w 6359237"/>
                  <a:gd name="connsiteY8" fmla="*/ 685800 h 6567055"/>
                  <a:gd name="connsiteX9" fmla="*/ 290946 w 6359237"/>
                  <a:gd name="connsiteY9" fmla="*/ 0 h 6567055"/>
                  <a:gd name="connsiteX10" fmla="*/ 83128 w 6359237"/>
                  <a:gd name="connsiteY10" fmla="*/ 62346 h 6567055"/>
                  <a:gd name="connsiteX11" fmla="*/ 0 w 6359237"/>
                  <a:gd name="connsiteY11" fmla="*/ 1579418 h 6567055"/>
                  <a:gd name="connsiteX12" fmla="*/ 228600 w 6359237"/>
                  <a:gd name="connsiteY12" fmla="*/ 2556164 h 6567055"/>
                  <a:gd name="connsiteX13" fmla="*/ 290946 w 6359237"/>
                  <a:gd name="connsiteY13" fmla="*/ 3408218 h 6567055"/>
                  <a:gd name="connsiteX14" fmla="*/ 1163782 w 6359237"/>
                  <a:gd name="connsiteY14" fmla="*/ 5257800 h 6567055"/>
                  <a:gd name="connsiteX15" fmla="*/ 2223655 w 6359237"/>
                  <a:gd name="connsiteY15" fmla="*/ 6567055 h 6567055"/>
                  <a:gd name="connsiteX16" fmla="*/ 3595255 w 6359237"/>
                  <a:gd name="connsiteY16" fmla="*/ 6151418 h 6567055"/>
                  <a:gd name="connsiteX17" fmla="*/ 4655128 w 6359237"/>
                  <a:gd name="connsiteY17" fmla="*/ 5985164 h 6567055"/>
                  <a:gd name="connsiteX18" fmla="*/ 6359237 w 6359237"/>
                  <a:gd name="connsiteY18" fmla="*/ 4675909 h 6567055"/>
                  <a:gd name="connsiteX19" fmla="*/ 6317673 w 6359237"/>
                  <a:gd name="connsiteY19" fmla="*/ 3013364 h 6567055"/>
                  <a:gd name="connsiteX0" fmla="*/ 6317673 w 6359237"/>
                  <a:gd name="connsiteY0" fmla="*/ 3013364 h 6567055"/>
                  <a:gd name="connsiteX1" fmla="*/ 4717473 w 6359237"/>
                  <a:gd name="connsiteY1" fmla="*/ 3408218 h 6567055"/>
                  <a:gd name="connsiteX2" fmla="*/ 4239491 w 6359237"/>
                  <a:gd name="connsiteY2" fmla="*/ 3366655 h 6567055"/>
                  <a:gd name="connsiteX3" fmla="*/ 3262746 w 6359237"/>
                  <a:gd name="connsiteY3" fmla="*/ 3865418 h 6567055"/>
                  <a:gd name="connsiteX4" fmla="*/ 2888673 w 6359237"/>
                  <a:gd name="connsiteY4" fmla="*/ 3990109 h 6567055"/>
                  <a:gd name="connsiteX5" fmla="*/ 2722418 w 6359237"/>
                  <a:gd name="connsiteY5" fmla="*/ 3366655 h 6567055"/>
                  <a:gd name="connsiteX6" fmla="*/ 2286000 w 6359237"/>
                  <a:gd name="connsiteY6" fmla="*/ 2348346 h 6567055"/>
                  <a:gd name="connsiteX7" fmla="*/ 1662546 w 6359237"/>
                  <a:gd name="connsiteY7" fmla="*/ 1371600 h 6567055"/>
                  <a:gd name="connsiteX8" fmla="*/ 1226128 w 6359237"/>
                  <a:gd name="connsiteY8" fmla="*/ 685800 h 6567055"/>
                  <a:gd name="connsiteX9" fmla="*/ 290946 w 6359237"/>
                  <a:gd name="connsiteY9" fmla="*/ 0 h 6567055"/>
                  <a:gd name="connsiteX10" fmla="*/ 83128 w 6359237"/>
                  <a:gd name="connsiteY10" fmla="*/ 62346 h 6567055"/>
                  <a:gd name="connsiteX11" fmla="*/ 0 w 6359237"/>
                  <a:gd name="connsiteY11" fmla="*/ 1579418 h 6567055"/>
                  <a:gd name="connsiteX12" fmla="*/ 228600 w 6359237"/>
                  <a:gd name="connsiteY12" fmla="*/ 2556164 h 6567055"/>
                  <a:gd name="connsiteX13" fmla="*/ 290946 w 6359237"/>
                  <a:gd name="connsiteY13" fmla="*/ 3408218 h 6567055"/>
                  <a:gd name="connsiteX14" fmla="*/ 1163782 w 6359237"/>
                  <a:gd name="connsiteY14" fmla="*/ 5257800 h 6567055"/>
                  <a:gd name="connsiteX15" fmla="*/ 2223655 w 6359237"/>
                  <a:gd name="connsiteY15" fmla="*/ 6567055 h 6567055"/>
                  <a:gd name="connsiteX16" fmla="*/ 3595255 w 6359237"/>
                  <a:gd name="connsiteY16" fmla="*/ 6151418 h 6567055"/>
                  <a:gd name="connsiteX17" fmla="*/ 4655128 w 6359237"/>
                  <a:gd name="connsiteY17" fmla="*/ 5985164 h 6567055"/>
                  <a:gd name="connsiteX18" fmla="*/ 6359237 w 6359237"/>
                  <a:gd name="connsiteY18" fmla="*/ 4675909 h 6567055"/>
                  <a:gd name="connsiteX19" fmla="*/ 6317673 w 6359237"/>
                  <a:gd name="connsiteY19" fmla="*/ 3013364 h 6567055"/>
                  <a:gd name="connsiteX0" fmla="*/ 6317673 w 6359237"/>
                  <a:gd name="connsiteY0" fmla="*/ 3013364 h 6567055"/>
                  <a:gd name="connsiteX1" fmla="*/ 4717473 w 6359237"/>
                  <a:gd name="connsiteY1" fmla="*/ 3408218 h 6567055"/>
                  <a:gd name="connsiteX2" fmla="*/ 4239491 w 6359237"/>
                  <a:gd name="connsiteY2" fmla="*/ 3366655 h 6567055"/>
                  <a:gd name="connsiteX3" fmla="*/ 3262746 w 6359237"/>
                  <a:gd name="connsiteY3" fmla="*/ 3865418 h 6567055"/>
                  <a:gd name="connsiteX4" fmla="*/ 2888673 w 6359237"/>
                  <a:gd name="connsiteY4" fmla="*/ 3990109 h 6567055"/>
                  <a:gd name="connsiteX5" fmla="*/ 2722418 w 6359237"/>
                  <a:gd name="connsiteY5" fmla="*/ 3366655 h 6567055"/>
                  <a:gd name="connsiteX6" fmla="*/ 2286000 w 6359237"/>
                  <a:gd name="connsiteY6" fmla="*/ 2348346 h 6567055"/>
                  <a:gd name="connsiteX7" fmla="*/ 1662546 w 6359237"/>
                  <a:gd name="connsiteY7" fmla="*/ 1371600 h 6567055"/>
                  <a:gd name="connsiteX8" fmla="*/ 1226128 w 6359237"/>
                  <a:gd name="connsiteY8" fmla="*/ 685800 h 6567055"/>
                  <a:gd name="connsiteX9" fmla="*/ 290946 w 6359237"/>
                  <a:gd name="connsiteY9" fmla="*/ 0 h 6567055"/>
                  <a:gd name="connsiteX10" fmla="*/ 83128 w 6359237"/>
                  <a:gd name="connsiteY10" fmla="*/ 62346 h 6567055"/>
                  <a:gd name="connsiteX11" fmla="*/ 0 w 6359237"/>
                  <a:gd name="connsiteY11" fmla="*/ 1579418 h 6567055"/>
                  <a:gd name="connsiteX12" fmla="*/ 228600 w 6359237"/>
                  <a:gd name="connsiteY12" fmla="*/ 2556164 h 6567055"/>
                  <a:gd name="connsiteX13" fmla="*/ 369774 w 6359237"/>
                  <a:gd name="connsiteY13" fmla="*/ 3502811 h 6567055"/>
                  <a:gd name="connsiteX14" fmla="*/ 1163782 w 6359237"/>
                  <a:gd name="connsiteY14" fmla="*/ 5257800 h 6567055"/>
                  <a:gd name="connsiteX15" fmla="*/ 2223655 w 6359237"/>
                  <a:gd name="connsiteY15" fmla="*/ 6567055 h 6567055"/>
                  <a:gd name="connsiteX16" fmla="*/ 3595255 w 6359237"/>
                  <a:gd name="connsiteY16" fmla="*/ 6151418 h 6567055"/>
                  <a:gd name="connsiteX17" fmla="*/ 4655128 w 6359237"/>
                  <a:gd name="connsiteY17" fmla="*/ 5985164 h 6567055"/>
                  <a:gd name="connsiteX18" fmla="*/ 6359237 w 6359237"/>
                  <a:gd name="connsiteY18" fmla="*/ 4675909 h 6567055"/>
                  <a:gd name="connsiteX19" fmla="*/ 6317673 w 6359237"/>
                  <a:gd name="connsiteY19" fmla="*/ 3013364 h 6567055"/>
                  <a:gd name="connsiteX0" fmla="*/ 6317673 w 6359237"/>
                  <a:gd name="connsiteY0" fmla="*/ 3013364 h 6567055"/>
                  <a:gd name="connsiteX1" fmla="*/ 4717473 w 6359237"/>
                  <a:gd name="connsiteY1" fmla="*/ 3408218 h 6567055"/>
                  <a:gd name="connsiteX2" fmla="*/ 4239491 w 6359237"/>
                  <a:gd name="connsiteY2" fmla="*/ 3366655 h 6567055"/>
                  <a:gd name="connsiteX3" fmla="*/ 3262746 w 6359237"/>
                  <a:gd name="connsiteY3" fmla="*/ 3865418 h 6567055"/>
                  <a:gd name="connsiteX4" fmla="*/ 2888673 w 6359237"/>
                  <a:gd name="connsiteY4" fmla="*/ 3990109 h 6567055"/>
                  <a:gd name="connsiteX5" fmla="*/ 2722418 w 6359237"/>
                  <a:gd name="connsiteY5" fmla="*/ 3366655 h 6567055"/>
                  <a:gd name="connsiteX6" fmla="*/ 2286000 w 6359237"/>
                  <a:gd name="connsiteY6" fmla="*/ 2348346 h 6567055"/>
                  <a:gd name="connsiteX7" fmla="*/ 1662546 w 6359237"/>
                  <a:gd name="connsiteY7" fmla="*/ 1371600 h 6567055"/>
                  <a:gd name="connsiteX8" fmla="*/ 1226128 w 6359237"/>
                  <a:gd name="connsiteY8" fmla="*/ 685800 h 6567055"/>
                  <a:gd name="connsiteX9" fmla="*/ 290946 w 6359237"/>
                  <a:gd name="connsiteY9" fmla="*/ 0 h 6567055"/>
                  <a:gd name="connsiteX10" fmla="*/ 83128 w 6359237"/>
                  <a:gd name="connsiteY10" fmla="*/ 62346 h 6567055"/>
                  <a:gd name="connsiteX11" fmla="*/ 0 w 6359237"/>
                  <a:gd name="connsiteY11" fmla="*/ 1579418 h 6567055"/>
                  <a:gd name="connsiteX12" fmla="*/ 228600 w 6359237"/>
                  <a:gd name="connsiteY12" fmla="*/ 2682289 h 6567055"/>
                  <a:gd name="connsiteX13" fmla="*/ 369774 w 6359237"/>
                  <a:gd name="connsiteY13" fmla="*/ 3502811 h 6567055"/>
                  <a:gd name="connsiteX14" fmla="*/ 1163782 w 6359237"/>
                  <a:gd name="connsiteY14" fmla="*/ 5257800 h 6567055"/>
                  <a:gd name="connsiteX15" fmla="*/ 2223655 w 6359237"/>
                  <a:gd name="connsiteY15" fmla="*/ 6567055 h 6567055"/>
                  <a:gd name="connsiteX16" fmla="*/ 3595255 w 6359237"/>
                  <a:gd name="connsiteY16" fmla="*/ 6151418 h 6567055"/>
                  <a:gd name="connsiteX17" fmla="*/ 4655128 w 6359237"/>
                  <a:gd name="connsiteY17" fmla="*/ 5985164 h 6567055"/>
                  <a:gd name="connsiteX18" fmla="*/ 6359237 w 6359237"/>
                  <a:gd name="connsiteY18" fmla="*/ 4675909 h 6567055"/>
                  <a:gd name="connsiteX19" fmla="*/ 6317673 w 6359237"/>
                  <a:gd name="connsiteY19" fmla="*/ 3013364 h 6567055"/>
                  <a:gd name="connsiteX0" fmla="*/ 6317673 w 6359237"/>
                  <a:gd name="connsiteY0" fmla="*/ 3013364 h 6567055"/>
                  <a:gd name="connsiteX1" fmla="*/ 4717473 w 6359237"/>
                  <a:gd name="connsiteY1" fmla="*/ 3408218 h 6567055"/>
                  <a:gd name="connsiteX2" fmla="*/ 4239491 w 6359237"/>
                  <a:gd name="connsiteY2" fmla="*/ 3366655 h 6567055"/>
                  <a:gd name="connsiteX3" fmla="*/ 3262746 w 6359237"/>
                  <a:gd name="connsiteY3" fmla="*/ 3865418 h 6567055"/>
                  <a:gd name="connsiteX4" fmla="*/ 2888673 w 6359237"/>
                  <a:gd name="connsiteY4" fmla="*/ 3990109 h 6567055"/>
                  <a:gd name="connsiteX5" fmla="*/ 2722418 w 6359237"/>
                  <a:gd name="connsiteY5" fmla="*/ 3366655 h 6567055"/>
                  <a:gd name="connsiteX6" fmla="*/ 2286000 w 6359237"/>
                  <a:gd name="connsiteY6" fmla="*/ 2348346 h 6567055"/>
                  <a:gd name="connsiteX7" fmla="*/ 1662546 w 6359237"/>
                  <a:gd name="connsiteY7" fmla="*/ 1371600 h 6567055"/>
                  <a:gd name="connsiteX8" fmla="*/ 1226128 w 6359237"/>
                  <a:gd name="connsiteY8" fmla="*/ 685800 h 6567055"/>
                  <a:gd name="connsiteX9" fmla="*/ 290946 w 6359237"/>
                  <a:gd name="connsiteY9" fmla="*/ 0 h 6567055"/>
                  <a:gd name="connsiteX10" fmla="*/ 83128 w 6359237"/>
                  <a:gd name="connsiteY10" fmla="*/ 62346 h 6567055"/>
                  <a:gd name="connsiteX11" fmla="*/ 0 w 6359237"/>
                  <a:gd name="connsiteY11" fmla="*/ 1579418 h 6567055"/>
                  <a:gd name="connsiteX12" fmla="*/ 228600 w 6359237"/>
                  <a:gd name="connsiteY12" fmla="*/ 2682289 h 6567055"/>
                  <a:gd name="connsiteX13" fmla="*/ 369774 w 6359237"/>
                  <a:gd name="connsiteY13" fmla="*/ 3502811 h 6567055"/>
                  <a:gd name="connsiteX14" fmla="*/ 1163782 w 6359237"/>
                  <a:gd name="connsiteY14" fmla="*/ 5257800 h 6567055"/>
                  <a:gd name="connsiteX15" fmla="*/ 2223655 w 6359237"/>
                  <a:gd name="connsiteY15" fmla="*/ 6567055 h 6567055"/>
                  <a:gd name="connsiteX16" fmla="*/ 3595255 w 6359237"/>
                  <a:gd name="connsiteY16" fmla="*/ 6151418 h 6567055"/>
                  <a:gd name="connsiteX17" fmla="*/ 4655128 w 6359237"/>
                  <a:gd name="connsiteY17" fmla="*/ 5985164 h 6567055"/>
                  <a:gd name="connsiteX18" fmla="*/ 6359237 w 6359237"/>
                  <a:gd name="connsiteY18" fmla="*/ 4675909 h 6567055"/>
                  <a:gd name="connsiteX19" fmla="*/ 6317673 w 6359237"/>
                  <a:gd name="connsiteY19" fmla="*/ 3013364 h 6567055"/>
                  <a:gd name="connsiteX0" fmla="*/ 6317673 w 6359237"/>
                  <a:gd name="connsiteY0" fmla="*/ 3034862 h 6588553"/>
                  <a:gd name="connsiteX1" fmla="*/ 4717473 w 6359237"/>
                  <a:gd name="connsiteY1" fmla="*/ 3429716 h 6588553"/>
                  <a:gd name="connsiteX2" fmla="*/ 4239491 w 6359237"/>
                  <a:gd name="connsiteY2" fmla="*/ 3388153 h 6588553"/>
                  <a:gd name="connsiteX3" fmla="*/ 3262746 w 6359237"/>
                  <a:gd name="connsiteY3" fmla="*/ 3886916 h 6588553"/>
                  <a:gd name="connsiteX4" fmla="*/ 2888673 w 6359237"/>
                  <a:gd name="connsiteY4" fmla="*/ 4011607 h 6588553"/>
                  <a:gd name="connsiteX5" fmla="*/ 2722418 w 6359237"/>
                  <a:gd name="connsiteY5" fmla="*/ 3388153 h 6588553"/>
                  <a:gd name="connsiteX6" fmla="*/ 2286000 w 6359237"/>
                  <a:gd name="connsiteY6" fmla="*/ 2369844 h 6588553"/>
                  <a:gd name="connsiteX7" fmla="*/ 1662546 w 6359237"/>
                  <a:gd name="connsiteY7" fmla="*/ 1393098 h 6588553"/>
                  <a:gd name="connsiteX8" fmla="*/ 1226128 w 6359237"/>
                  <a:gd name="connsiteY8" fmla="*/ 707298 h 6588553"/>
                  <a:gd name="connsiteX9" fmla="*/ 290946 w 6359237"/>
                  <a:gd name="connsiteY9" fmla="*/ 21498 h 6588553"/>
                  <a:gd name="connsiteX10" fmla="*/ 83128 w 6359237"/>
                  <a:gd name="connsiteY10" fmla="*/ 83844 h 6588553"/>
                  <a:gd name="connsiteX11" fmla="*/ 0 w 6359237"/>
                  <a:gd name="connsiteY11" fmla="*/ 1600916 h 6588553"/>
                  <a:gd name="connsiteX12" fmla="*/ 228600 w 6359237"/>
                  <a:gd name="connsiteY12" fmla="*/ 2703787 h 6588553"/>
                  <a:gd name="connsiteX13" fmla="*/ 369774 w 6359237"/>
                  <a:gd name="connsiteY13" fmla="*/ 3524309 h 6588553"/>
                  <a:gd name="connsiteX14" fmla="*/ 1163782 w 6359237"/>
                  <a:gd name="connsiteY14" fmla="*/ 5279298 h 6588553"/>
                  <a:gd name="connsiteX15" fmla="*/ 2223655 w 6359237"/>
                  <a:gd name="connsiteY15" fmla="*/ 6588553 h 6588553"/>
                  <a:gd name="connsiteX16" fmla="*/ 3595255 w 6359237"/>
                  <a:gd name="connsiteY16" fmla="*/ 6172916 h 6588553"/>
                  <a:gd name="connsiteX17" fmla="*/ 4655128 w 6359237"/>
                  <a:gd name="connsiteY17" fmla="*/ 6006662 h 6588553"/>
                  <a:gd name="connsiteX18" fmla="*/ 6359237 w 6359237"/>
                  <a:gd name="connsiteY18" fmla="*/ 4697407 h 6588553"/>
                  <a:gd name="connsiteX19" fmla="*/ 6317673 w 6359237"/>
                  <a:gd name="connsiteY19" fmla="*/ 3034862 h 6588553"/>
                  <a:gd name="connsiteX0" fmla="*/ 6317673 w 6359237"/>
                  <a:gd name="connsiteY0" fmla="*/ 3013364 h 6567055"/>
                  <a:gd name="connsiteX1" fmla="*/ 4717473 w 6359237"/>
                  <a:gd name="connsiteY1" fmla="*/ 3408218 h 6567055"/>
                  <a:gd name="connsiteX2" fmla="*/ 4239491 w 6359237"/>
                  <a:gd name="connsiteY2" fmla="*/ 3366655 h 6567055"/>
                  <a:gd name="connsiteX3" fmla="*/ 3262746 w 6359237"/>
                  <a:gd name="connsiteY3" fmla="*/ 3865418 h 6567055"/>
                  <a:gd name="connsiteX4" fmla="*/ 2888673 w 6359237"/>
                  <a:gd name="connsiteY4" fmla="*/ 3990109 h 6567055"/>
                  <a:gd name="connsiteX5" fmla="*/ 2722418 w 6359237"/>
                  <a:gd name="connsiteY5" fmla="*/ 3366655 h 6567055"/>
                  <a:gd name="connsiteX6" fmla="*/ 2286000 w 6359237"/>
                  <a:gd name="connsiteY6" fmla="*/ 2348346 h 6567055"/>
                  <a:gd name="connsiteX7" fmla="*/ 1662546 w 6359237"/>
                  <a:gd name="connsiteY7" fmla="*/ 1371600 h 6567055"/>
                  <a:gd name="connsiteX8" fmla="*/ 1226128 w 6359237"/>
                  <a:gd name="connsiteY8" fmla="*/ 685800 h 6567055"/>
                  <a:gd name="connsiteX9" fmla="*/ 290946 w 6359237"/>
                  <a:gd name="connsiteY9" fmla="*/ 0 h 6567055"/>
                  <a:gd name="connsiteX10" fmla="*/ 83128 w 6359237"/>
                  <a:gd name="connsiteY10" fmla="*/ 156939 h 6567055"/>
                  <a:gd name="connsiteX11" fmla="*/ 0 w 6359237"/>
                  <a:gd name="connsiteY11" fmla="*/ 1579418 h 6567055"/>
                  <a:gd name="connsiteX12" fmla="*/ 228600 w 6359237"/>
                  <a:gd name="connsiteY12" fmla="*/ 2682289 h 6567055"/>
                  <a:gd name="connsiteX13" fmla="*/ 369774 w 6359237"/>
                  <a:gd name="connsiteY13" fmla="*/ 3502811 h 6567055"/>
                  <a:gd name="connsiteX14" fmla="*/ 1163782 w 6359237"/>
                  <a:gd name="connsiteY14" fmla="*/ 5257800 h 6567055"/>
                  <a:gd name="connsiteX15" fmla="*/ 2223655 w 6359237"/>
                  <a:gd name="connsiteY15" fmla="*/ 6567055 h 6567055"/>
                  <a:gd name="connsiteX16" fmla="*/ 3595255 w 6359237"/>
                  <a:gd name="connsiteY16" fmla="*/ 6151418 h 6567055"/>
                  <a:gd name="connsiteX17" fmla="*/ 4655128 w 6359237"/>
                  <a:gd name="connsiteY17" fmla="*/ 5985164 h 6567055"/>
                  <a:gd name="connsiteX18" fmla="*/ 6359237 w 6359237"/>
                  <a:gd name="connsiteY18" fmla="*/ 4675909 h 6567055"/>
                  <a:gd name="connsiteX19" fmla="*/ 6317673 w 6359237"/>
                  <a:gd name="connsiteY19" fmla="*/ 3013364 h 6567055"/>
                  <a:gd name="connsiteX0" fmla="*/ 6317673 w 6359237"/>
                  <a:gd name="connsiteY0" fmla="*/ 3013364 h 6567055"/>
                  <a:gd name="connsiteX1" fmla="*/ 4717473 w 6359237"/>
                  <a:gd name="connsiteY1" fmla="*/ 3408218 h 6567055"/>
                  <a:gd name="connsiteX2" fmla="*/ 4239491 w 6359237"/>
                  <a:gd name="connsiteY2" fmla="*/ 3366655 h 6567055"/>
                  <a:gd name="connsiteX3" fmla="*/ 3262746 w 6359237"/>
                  <a:gd name="connsiteY3" fmla="*/ 3865418 h 6567055"/>
                  <a:gd name="connsiteX4" fmla="*/ 2888673 w 6359237"/>
                  <a:gd name="connsiteY4" fmla="*/ 3990109 h 6567055"/>
                  <a:gd name="connsiteX5" fmla="*/ 2722418 w 6359237"/>
                  <a:gd name="connsiteY5" fmla="*/ 3366655 h 6567055"/>
                  <a:gd name="connsiteX6" fmla="*/ 2286000 w 6359237"/>
                  <a:gd name="connsiteY6" fmla="*/ 2348346 h 6567055"/>
                  <a:gd name="connsiteX7" fmla="*/ 1662546 w 6359237"/>
                  <a:gd name="connsiteY7" fmla="*/ 1371600 h 6567055"/>
                  <a:gd name="connsiteX8" fmla="*/ 1226128 w 6359237"/>
                  <a:gd name="connsiteY8" fmla="*/ 685800 h 6567055"/>
                  <a:gd name="connsiteX9" fmla="*/ 290946 w 6359237"/>
                  <a:gd name="connsiteY9" fmla="*/ 0 h 6567055"/>
                  <a:gd name="connsiteX10" fmla="*/ 83128 w 6359237"/>
                  <a:gd name="connsiteY10" fmla="*/ 156939 h 6567055"/>
                  <a:gd name="connsiteX11" fmla="*/ 0 w 6359237"/>
                  <a:gd name="connsiteY11" fmla="*/ 1579418 h 6567055"/>
                  <a:gd name="connsiteX12" fmla="*/ 228600 w 6359237"/>
                  <a:gd name="connsiteY12" fmla="*/ 2682289 h 6567055"/>
                  <a:gd name="connsiteX13" fmla="*/ 369774 w 6359237"/>
                  <a:gd name="connsiteY13" fmla="*/ 3502811 h 6567055"/>
                  <a:gd name="connsiteX14" fmla="*/ 1163782 w 6359237"/>
                  <a:gd name="connsiteY14" fmla="*/ 5257800 h 6567055"/>
                  <a:gd name="connsiteX15" fmla="*/ 2223655 w 6359237"/>
                  <a:gd name="connsiteY15" fmla="*/ 6567055 h 6567055"/>
                  <a:gd name="connsiteX16" fmla="*/ 3595255 w 6359237"/>
                  <a:gd name="connsiteY16" fmla="*/ 6151418 h 6567055"/>
                  <a:gd name="connsiteX17" fmla="*/ 4655128 w 6359237"/>
                  <a:gd name="connsiteY17" fmla="*/ 5985164 h 6567055"/>
                  <a:gd name="connsiteX18" fmla="*/ 6359237 w 6359237"/>
                  <a:gd name="connsiteY18" fmla="*/ 4675909 h 6567055"/>
                  <a:gd name="connsiteX19" fmla="*/ 6317673 w 6359237"/>
                  <a:gd name="connsiteY19" fmla="*/ 3013364 h 6567055"/>
                  <a:gd name="connsiteX0" fmla="*/ 6317673 w 6359237"/>
                  <a:gd name="connsiteY0" fmla="*/ 3019097 h 6572788"/>
                  <a:gd name="connsiteX1" fmla="*/ 4717473 w 6359237"/>
                  <a:gd name="connsiteY1" fmla="*/ 3413951 h 6572788"/>
                  <a:gd name="connsiteX2" fmla="*/ 4239491 w 6359237"/>
                  <a:gd name="connsiteY2" fmla="*/ 3372388 h 6572788"/>
                  <a:gd name="connsiteX3" fmla="*/ 3262746 w 6359237"/>
                  <a:gd name="connsiteY3" fmla="*/ 3871151 h 6572788"/>
                  <a:gd name="connsiteX4" fmla="*/ 2888673 w 6359237"/>
                  <a:gd name="connsiteY4" fmla="*/ 3995842 h 6572788"/>
                  <a:gd name="connsiteX5" fmla="*/ 2722418 w 6359237"/>
                  <a:gd name="connsiteY5" fmla="*/ 3372388 h 6572788"/>
                  <a:gd name="connsiteX6" fmla="*/ 2286000 w 6359237"/>
                  <a:gd name="connsiteY6" fmla="*/ 2354079 h 6572788"/>
                  <a:gd name="connsiteX7" fmla="*/ 1662546 w 6359237"/>
                  <a:gd name="connsiteY7" fmla="*/ 1377333 h 6572788"/>
                  <a:gd name="connsiteX8" fmla="*/ 1226128 w 6359237"/>
                  <a:gd name="connsiteY8" fmla="*/ 691533 h 6572788"/>
                  <a:gd name="connsiteX9" fmla="*/ 290946 w 6359237"/>
                  <a:gd name="connsiteY9" fmla="*/ 5733 h 6572788"/>
                  <a:gd name="connsiteX10" fmla="*/ 83128 w 6359237"/>
                  <a:gd name="connsiteY10" fmla="*/ 162672 h 6572788"/>
                  <a:gd name="connsiteX11" fmla="*/ 0 w 6359237"/>
                  <a:gd name="connsiteY11" fmla="*/ 1585151 h 6572788"/>
                  <a:gd name="connsiteX12" fmla="*/ 228600 w 6359237"/>
                  <a:gd name="connsiteY12" fmla="*/ 2688022 h 6572788"/>
                  <a:gd name="connsiteX13" fmla="*/ 369774 w 6359237"/>
                  <a:gd name="connsiteY13" fmla="*/ 3508544 h 6572788"/>
                  <a:gd name="connsiteX14" fmla="*/ 1163782 w 6359237"/>
                  <a:gd name="connsiteY14" fmla="*/ 5263533 h 6572788"/>
                  <a:gd name="connsiteX15" fmla="*/ 2223655 w 6359237"/>
                  <a:gd name="connsiteY15" fmla="*/ 6572788 h 6572788"/>
                  <a:gd name="connsiteX16" fmla="*/ 3595255 w 6359237"/>
                  <a:gd name="connsiteY16" fmla="*/ 6157151 h 6572788"/>
                  <a:gd name="connsiteX17" fmla="*/ 4655128 w 6359237"/>
                  <a:gd name="connsiteY17" fmla="*/ 5990897 h 6572788"/>
                  <a:gd name="connsiteX18" fmla="*/ 6359237 w 6359237"/>
                  <a:gd name="connsiteY18" fmla="*/ 4681642 h 6572788"/>
                  <a:gd name="connsiteX19" fmla="*/ 6317673 w 6359237"/>
                  <a:gd name="connsiteY19" fmla="*/ 3019097 h 6572788"/>
                  <a:gd name="connsiteX0" fmla="*/ 6317673 w 6359237"/>
                  <a:gd name="connsiteY0" fmla="*/ 3019097 h 6572788"/>
                  <a:gd name="connsiteX1" fmla="*/ 4717473 w 6359237"/>
                  <a:gd name="connsiteY1" fmla="*/ 3413951 h 6572788"/>
                  <a:gd name="connsiteX2" fmla="*/ 4239491 w 6359237"/>
                  <a:gd name="connsiteY2" fmla="*/ 3372388 h 6572788"/>
                  <a:gd name="connsiteX3" fmla="*/ 3262746 w 6359237"/>
                  <a:gd name="connsiteY3" fmla="*/ 3871151 h 6572788"/>
                  <a:gd name="connsiteX4" fmla="*/ 2888673 w 6359237"/>
                  <a:gd name="connsiteY4" fmla="*/ 3995842 h 6572788"/>
                  <a:gd name="connsiteX5" fmla="*/ 2722418 w 6359237"/>
                  <a:gd name="connsiteY5" fmla="*/ 3372388 h 6572788"/>
                  <a:gd name="connsiteX6" fmla="*/ 2286000 w 6359237"/>
                  <a:gd name="connsiteY6" fmla="*/ 2354079 h 6572788"/>
                  <a:gd name="connsiteX7" fmla="*/ 1662546 w 6359237"/>
                  <a:gd name="connsiteY7" fmla="*/ 1377333 h 6572788"/>
                  <a:gd name="connsiteX8" fmla="*/ 1320721 w 6359237"/>
                  <a:gd name="connsiteY8" fmla="*/ 691533 h 6572788"/>
                  <a:gd name="connsiteX9" fmla="*/ 290946 w 6359237"/>
                  <a:gd name="connsiteY9" fmla="*/ 5733 h 6572788"/>
                  <a:gd name="connsiteX10" fmla="*/ 83128 w 6359237"/>
                  <a:gd name="connsiteY10" fmla="*/ 162672 h 6572788"/>
                  <a:gd name="connsiteX11" fmla="*/ 0 w 6359237"/>
                  <a:gd name="connsiteY11" fmla="*/ 1585151 h 6572788"/>
                  <a:gd name="connsiteX12" fmla="*/ 228600 w 6359237"/>
                  <a:gd name="connsiteY12" fmla="*/ 2688022 h 6572788"/>
                  <a:gd name="connsiteX13" fmla="*/ 369774 w 6359237"/>
                  <a:gd name="connsiteY13" fmla="*/ 3508544 h 6572788"/>
                  <a:gd name="connsiteX14" fmla="*/ 1163782 w 6359237"/>
                  <a:gd name="connsiteY14" fmla="*/ 5263533 h 6572788"/>
                  <a:gd name="connsiteX15" fmla="*/ 2223655 w 6359237"/>
                  <a:gd name="connsiteY15" fmla="*/ 6572788 h 6572788"/>
                  <a:gd name="connsiteX16" fmla="*/ 3595255 w 6359237"/>
                  <a:gd name="connsiteY16" fmla="*/ 6157151 h 6572788"/>
                  <a:gd name="connsiteX17" fmla="*/ 4655128 w 6359237"/>
                  <a:gd name="connsiteY17" fmla="*/ 5990897 h 6572788"/>
                  <a:gd name="connsiteX18" fmla="*/ 6359237 w 6359237"/>
                  <a:gd name="connsiteY18" fmla="*/ 4681642 h 6572788"/>
                  <a:gd name="connsiteX19" fmla="*/ 6317673 w 6359237"/>
                  <a:gd name="connsiteY19" fmla="*/ 3019097 h 6572788"/>
                  <a:gd name="connsiteX0" fmla="*/ 6317673 w 6359237"/>
                  <a:gd name="connsiteY0" fmla="*/ 3019097 h 6572788"/>
                  <a:gd name="connsiteX1" fmla="*/ 4717473 w 6359237"/>
                  <a:gd name="connsiteY1" fmla="*/ 3413951 h 6572788"/>
                  <a:gd name="connsiteX2" fmla="*/ 4239491 w 6359237"/>
                  <a:gd name="connsiteY2" fmla="*/ 3372388 h 6572788"/>
                  <a:gd name="connsiteX3" fmla="*/ 3262746 w 6359237"/>
                  <a:gd name="connsiteY3" fmla="*/ 3871151 h 6572788"/>
                  <a:gd name="connsiteX4" fmla="*/ 2888673 w 6359237"/>
                  <a:gd name="connsiteY4" fmla="*/ 3995842 h 6572788"/>
                  <a:gd name="connsiteX5" fmla="*/ 2722418 w 6359237"/>
                  <a:gd name="connsiteY5" fmla="*/ 3372388 h 6572788"/>
                  <a:gd name="connsiteX6" fmla="*/ 2286000 w 6359237"/>
                  <a:gd name="connsiteY6" fmla="*/ 2354079 h 6572788"/>
                  <a:gd name="connsiteX7" fmla="*/ 1757139 w 6359237"/>
                  <a:gd name="connsiteY7" fmla="*/ 1377333 h 6572788"/>
                  <a:gd name="connsiteX8" fmla="*/ 1320721 w 6359237"/>
                  <a:gd name="connsiteY8" fmla="*/ 691533 h 6572788"/>
                  <a:gd name="connsiteX9" fmla="*/ 290946 w 6359237"/>
                  <a:gd name="connsiteY9" fmla="*/ 5733 h 6572788"/>
                  <a:gd name="connsiteX10" fmla="*/ 83128 w 6359237"/>
                  <a:gd name="connsiteY10" fmla="*/ 162672 h 6572788"/>
                  <a:gd name="connsiteX11" fmla="*/ 0 w 6359237"/>
                  <a:gd name="connsiteY11" fmla="*/ 1585151 h 6572788"/>
                  <a:gd name="connsiteX12" fmla="*/ 228600 w 6359237"/>
                  <a:gd name="connsiteY12" fmla="*/ 2688022 h 6572788"/>
                  <a:gd name="connsiteX13" fmla="*/ 369774 w 6359237"/>
                  <a:gd name="connsiteY13" fmla="*/ 3508544 h 6572788"/>
                  <a:gd name="connsiteX14" fmla="*/ 1163782 w 6359237"/>
                  <a:gd name="connsiteY14" fmla="*/ 5263533 h 6572788"/>
                  <a:gd name="connsiteX15" fmla="*/ 2223655 w 6359237"/>
                  <a:gd name="connsiteY15" fmla="*/ 6572788 h 6572788"/>
                  <a:gd name="connsiteX16" fmla="*/ 3595255 w 6359237"/>
                  <a:gd name="connsiteY16" fmla="*/ 6157151 h 6572788"/>
                  <a:gd name="connsiteX17" fmla="*/ 4655128 w 6359237"/>
                  <a:gd name="connsiteY17" fmla="*/ 5990897 h 6572788"/>
                  <a:gd name="connsiteX18" fmla="*/ 6359237 w 6359237"/>
                  <a:gd name="connsiteY18" fmla="*/ 4681642 h 6572788"/>
                  <a:gd name="connsiteX19" fmla="*/ 6317673 w 6359237"/>
                  <a:gd name="connsiteY19" fmla="*/ 3019097 h 6572788"/>
                  <a:gd name="connsiteX0" fmla="*/ 6317673 w 6359237"/>
                  <a:gd name="connsiteY0" fmla="*/ 3019097 h 6572788"/>
                  <a:gd name="connsiteX1" fmla="*/ 4717473 w 6359237"/>
                  <a:gd name="connsiteY1" fmla="*/ 3413951 h 6572788"/>
                  <a:gd name="connsiteX2" fmla="*/ 4239491 w 6359237"/>
                  <a:gd name="connsiteY2" fmla="*/ 3372388 h 6572788"/>
                  <a:gd name="connsiteX3" fmla="*/ 3262746 w 6359237"/>
                  <a:gd name="connsiteY3" fmla="*/ 3871151 h 6572788"/>
                  <a:gd name="connsiteX4" fmla="*/ 2888673 w 6359237"/>
                  <a:gd name="connsiteY4" fmla="*/ 3995842 h 6572788"/>
                  <a:gd name="connsiteX5" fmla="*/ 2722418 w 6359237"/>
                  <a:gd name="connsiteY5" fmla="*/ 3372388 h 6572788"/>
                  <a:gd name="connsiteX6" fmla="*/ 2286000 w 6359237"/>
                  <a:gd name="connsiteY6" fmla="*/ 2354079 h 6572788"/>
                  <a:gd name="connsiteX7" fmla="*/ 1757139 w 6359237"/>
                  <a:gd name="connsiteY7" fmla="*/ 1377333 h 6572788"/>
                  <a:gd name="connsiteX8" fmla="*/ 1320721 w 6359237"/>
                  <a:gd name="connsiteY8" fmla="*/ 691533 h 6572788"/>
                  <a:gd name="connsiteX9" fmla="*/ 290946 w 6359237"/>
                  <a:gd name="connsiteY9" fmla="*/ 5733 h 6572788"/>
                  <a:gd name="connsiteX10" fmla="*/ 83128 w 6359237"/>
                  <a:gd name="connsiteY10" fmla="*/ 162672 h 6572788"/>
                  <a:gd name="connsiteX11" fmla="*/ 0 w 6359237"/>
                  <a:gd name="connsiteY11" fmla="*/ 1585151 h 6572788"/>
                  <a:gd name="connsiteX12" fmla="*/ 228600 w 6359237"/>
                  <a:gd name="connsiteY12" fmla="*/ 2688022 h 6572788"/>
                  <a:gd name="connsiteX13" fmla="*/ 369774 w 6359237"/>
                  <a:gd name="connsiteY13" fmla="*/ 3508544 h 6572788"/>
                  <a:gd name="connsiteX14" fmla="*/ 1163782 w 6359237"/>
                  <a:gd name="connsiteY14" fmla="*/ 5263533 h 6572788"/>
                  <a:gd name="connsiteX15" fmla="*/ 2223655 w 6359237"/>
                  <a:gd name="connsiteY15" fmla="*/ 6572788 h 6572788"/>
                  <a:gd name="connsiteX16" fmla="*/ 3595255 w 6359237"/>
                  <a:gd name="connsiteY16" fmla="*/ 6157151 h 6572788"/>
                  <a:gd name="connsiteX17" fmla="*/ 4655128 w 6359237"/>
                  <a:gd name="connsiteY17" fmla="*/ 5990897 h 6572788"/>
                  <a:gd name="connsiteX18" fmla="*/ 6359237 w 6359237"/>
                  <a:gd name="connsiteY18" fmla="*/ 4681642 h 6572788"/>
                  <a:gd name="connsiteX19" fmla="*/ 6317673 w 6359237"/>
                  <a:gd name="connsiteY19" fmla="*/ 3019097 h 6572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359237" h="6572788">
                    <a:moveTo>
                      <a:pt x="6317673" y="3019097"/>
                    </a:moveTo>
                    <a:lnTo>
                      <a:pt x="4717473" y="3413951"/>
                    </a:lnTo>
                    <a:cubicBezTo>
                      <a:pt x="4232622" y="3350710"/>
                      <a:pt x="4239491" y="3190929"/>
                      <a:pt x="4239491" y="3372388"/>
                    </a:cubicBezTo>
                    <a:lnTo>
                      <a:pt x="3262746" y="3871151"/>
                    </a:lnTo>
                    <a:lnTo>
                      <a:pt x="2888673" y="3995842"/>
                    </a:lnTo>
                    <a:lnTo>
                      <a:pt x="2722418" y="3372388"/>
                    </a:lnTo>
                    <a:lnTo>
                      <a:pt x="2286000" y="2354079"/>
                    </a:lnTo>
                    <a:cubicBezTo>
                      <a:pt x="2075002" y="2030549"/>
                      <a:pt x="1930560" y="1763587"/>
                      <a:pt x="1757139" y="1377333"/>
                    </a:cubicBezTo>
                    <a:lnTo>
                      <a:pt x="1320721" y="691533"/>
                    </a:lnTo>
                    <a:lnTo>
                      <a:pt x="290946" y="5733"/>
                    </a:lnTo>
                    <a:cubicBezTo>
                      <a:pt x="221673" y="26515"/>
                      <a:pt x="105104" y="0"/>
                      <a:pt x="83128" y="162672"/>
                    </a:cubicBezTo>
                    <a:lnTo>
                      <a:pt x="0" y="1585151"/>
                    </a:lnTo>
                    <a:lnTo>
                      <a:pt x="228600" y="2688022"/>
                    </a:lnTo>
                    <a:cubicBezTo>
                      <a:pt x="249382" y="2972040"/>
                      <a:pt x="301695" y="3145699"/>
                      <a:pt x="369774" y="3508544"/>
                    </a:cubicBezTo>
                    <a:cubicBezTo>
                      <a:pt x="597657" y="4235430"/>
                      <a:pt x="809775" y="4678537"/>
                      <a:pt x="1163782" y="5263533"/>
                    </a:cubicBezTo>
                    <a:lnTo>
                      <a:pt x="2223655" y="6572788"/>
                    </a:lnTo>
                    <a:lnTo>
                      <a:pt x="3595255" y="6157151"/>
                    </a:lnTo>
                    <a:cubicBezTo>
                      <a:pt x="3948375" y="6100652"/>
                      <a:pt x="4297517" y="5990897"/>
                      <a:pt x="4655128" y="5990897"/>
                    </a:cubicBezTo>
                    <a:cubicBezTo>
                      <a:pt x="5226514" y="5558873"/>
                      <a:pt x="6359237" y="5397970"/>
                      <a:pt x="6359237" y="4681642"/>
                    </a:cubicBezTo>
                    <a:lnTo>
                      <a:pt x="6317673" y="301909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92" name="Freeform 291"/>
              <p:cNvSpPr/>
              <p:nvPr/>
            </p:nvSpPr>
            <p:spPr>
              <a:xfrm rot="21114987" flipH="1">
                <a:off x="7007505" y="2661795"/>
                <a:ext cx="457847" cy="403598"/>
              </a:xfrm>
              <a:custGeom>
                <a:avLst/>
                <a:gdLst>
                  <a:gd name="connsiteX0" fmla="*/ 101326 w 3821271"/>
                  <a:gd name="connsiteY0" fmla="*/ 0 h 3387437"/>
                  <a:gd name="connsiteX1" fmla="*/ 891035 w 3821271"/>
                  <a:gd name="connsiteY1" fmla="*/ 1143000 h 3387437"/>
                  <a:gd name="connsiteX2" fmla="*/ 1701526 w 3821271"/>
                  <a:gd name="connsiteY2" fmla="*/ 2847109 h 3387437"/>
                  <a:gd name="connsiteX3" fmla="*/ 1743089 w 3821271"/>
                  <a:gd name="connsiteY3" fmla="*/ 3221182 h 3387437"/>
                  <a:gd name="connsiteX4" fmla="*/ 2200289 w 3821271"/>
                  <a:gd name="connsiteY4" fmla="*/ 3054928 h 3387437"/>
                  <a:gd name="connsiteX5" fmla="*/ 2324980 w 3821271"/>
                  <a:gd name="connsiteY5" fmla="*/ 2784764 h 3387437"/>
                  <a:gd name="connsiteX6" fmla="*/ 2221071 w 3821271"/>
                  <a:gd name="connsiteY6" fmla="*/ 2286000 h 3387437"/>
                  <a:gd name="connsiteX7" fmla="*/ 2595144 w 3821271"/>
                  <a:gd name="connsiteY7" fmla="*/ 2722419 h 3387437"/>
                  <a:gd name="connsiteX8" fmla="*/ 3364071 w 3821271"/>
                  <a:gd name="connsiteY8" fmla="*/ 2535382 h 3387437"/>
                  <a:gd name="connsiteX9" fmla="*/ 3779707 w 3821271"/>
                  <a:gd name="connsiteY9" fmla="*/ 2639291 h 3387437"/>
                  <a:gd name="connsiteX10" fmla="*/ 3821271 w 3821271"/>
                  <a:gd name="connsiteY10" fmla="*/ 2701637 h 3387437"/>
                  <a:gd name="connsiteX11" fmla="*/ 3052344 w 3821271"/>
                  <a:gd name="connsiteY11" fmla="*/ 2784764 h 3387437"/>
                  <a:gd name="connsiteX12" fmla="*/ 2470453 w 3821271"/>
                  <a:gd name="connsiteY12" fmla="*/ 3075709 h 3387437"/>
                  <a:gd name="connsiteX13" fmla="*/ 1701526 w 3821271"/>
                  <a:gd name="connsiteY13" fmla="*/ 3387437 h 3387437"/>
                  <a:gd name="connsiteX14" fmla="*/ 1514489 w 3821271"/>
                  <a:gd name="connsiteY14" fmla="*/ 3096491 h 3387437"/>
                  <a:gd name="connsiteX15" fmla="*/ 1493707 w 3821271"/>
                  <a:gd name="connsiteY15" fmla="*/ 2805546 h 3387437"/>
                  <a:gd name="connsiteX16" fmla="*/ 1327453 w 3821271"/>
                  <a:gd name="connsiteY16" fmla="*/ 2618509 h 3387437"/>
                  <a:gd name="connsiteX17" fmla="*/ 1265107 w 3821271"/>
                  <a:gd name="connsiteY17" fmla="*/ 2182091 h 3387437"/>
                  <a:gd name="connsiteX18" fmla="*/ 703998 w 3821271"/>
                  <a:gd name="connsiteY18" fmla="*/ 1226128 h 3387437"/>
                  <a:gd name="connsiteX19" fmla="*/ 38980 w 3821271"/>
                  <a:gd name="connsiteY19" fmla="*/ 935182 h 3387437"/>
                  <a:gd name="connsiteX20" fmla="*/ 496180 w 3821271"/>
                  <a:gd name="connsiteY20" fmla="*/ 914400 h 3387437"/>
                  <a:gd name="connsiteX21" fmla="*/ 205235 w 3821271"/>
                  <a:gd name="connsiteY21" fmla="*/ 457200 h 3387437"/>
                  <a:gd name="connsiteX22" fmla="*/ 101326 w 3821271"/>
                  <a:gd name="connsiteY22" fmla="*/ 0 h 3387437"/>
                  <a:gd name="connsiteX0" fmla="*/ 101326 w 3821271"/>
                  <a:gd name="connsiteY0" fmla="*/ 0 h 3387437"/>
                  <a:gd name="connsiteX1" fmla="*/ 891035 w 3821271"/>
                  <a:gd name="connsiteY1" fmla="*/ 1143000 h 3387437"/>
                  <a:gd name="connsiteX2" fmla="*/ 1701526 w 3821271"/>
                  <a:gd name="connsiteY2" fmla="*/ 2847109 h 3387437"/>
                  <a:gd name="connsiteX3" fmla="*/ 1743089 w 3821271"/>
                  <a:gd name="connsiteY3" fmla="*/ 3221182 h 3387437"/>
                  <a:gd name="connsiteX4" fmla="*/ 2200289 w 3821271"/>
                  <a:gd name="connsiteY4" fmla="*/ 3054928 h 3387437"/>
                  <a:gd name="connsiteX5" fmla="*/ 2324980 w 3821271"/>
                  <a:gd name="connsiteY5" fmla="*/ 2784764 h 3387437"/>
                  <a:gd name="connsiteX6" fmla="*/ 2221071 w 3821271"/>
                  <a:gd name="connsiteY6" fmla="*/ 2286000 h 3387437"/>
                  <a:gd name="connsiteX7" fmla="*/ 2595144 w 3821271"/>
                  <a:gd name="connsiteY7" fmla="*/ 2722419 h 3387437"/>
                  <a:gd name="connsiteX8" fmla="*/ 3364071 w 3821271"/>
                  <a:gd name="connsiteY8" fmla="*/ 2535382 h 3387437"/>
                  <a:gd name="connsiteX9" fmla="*/ 3779707 w 3821271"/>
                  <a:gd name="connsiteY9" fmla="*/ 2639291 h 3387437"/>
                  <a:gd name="connsiteX10" fmla="*/ 3821271 w 3821271"/>
                  <a:gd name="connsiteY10" fmla="*/ 2701637 h 3387437"/>
                  <a:gd name="connsiteX11" fmla="*/ 3052344 w 3821271"/>
                  <a:gd name="connsiteY11" fmla="*/ 2784764 h 3387437"/>
                  <a:gd name="connsiteX12" fmla="*/ 2470453 w 3821271"/>
                  <a:gd name="connsiteY12" fmla="*/ 3075709 h 3387437"/>
                  <a:gd name="connsiteX13" fmla="*/ 1701526 w 3821271"/>
                  <a:gd name="connsiteY13" fmla="*/ 3387437 h 3387437"/>
                  <a:gd name="connsiteX14" fmla="*/ 1514489 w 3821271"/>
                  <a:gd name="connsiteY14" fmla="*/ 3096491 h 3387437"/>
                  <a:gd name="connsiteX15" fmla="*/ 1493707 w 3821271"/>
                  <a:gd name="connsiteY15" fmla="*/ 2805546 h 3387437"/>
                  <a:gd name="connsiteX16" fmla="*/ 1327453 w 3821271"/>
                  <a:gd name="connsiteY16" fmla="*/ 2618509 h 3387437"/>
                  <a:gd name="connsiteX17" fmla="*/ 1265107 w 3821271"/>
                  <a:gd name="connsiteY17" fmla="*/ 2182091 h 3387437"/>
                  <a:gd name="connsiteX18" fmla="*/ 703998 w 3821271"/>
                  <a:gd name="connsiteY18" fmla="*/ 1226128 h 3387437"/>
                  <a:gd name="connsiteX19" fmla="*/ 38980 w 3821271"/>
                  <a:gd name="connsiteY19" fmla="*/ 935182 h 3387437"/>
                  <a:gd name="connsiteX20" fmla="*/ 496180 w 3821271"/>
                  <a:gd name="connsiteY20" fmla="*/ 914400 h 3387437"/>
                  <a:gd name="connsiteX21" fmla="*/ 205235 w 3821271"/>
                  <a:gd name="connsiteY21" fmla="*/ 457200 h 3387437"/>
                  <a:gd name="connsiteX22" fmla="*/ 101326 w 3821271"/>
                  <a:gd name="connsiteY22" fmla="*/ 0 h 3387437"/>
                  <a:gd name="connsiteX0" fmla="*/ 101326 w 3821271"/>
                  <a:gd name="connsiteY0" fmla="*/ 0 h 3387437"/>
                  <a:gd name="connsiteX1" fmla="*/ 891035 w 3821271"/>
                  <a:gd name="connsiteY1" fmla="*/ 1143000 h 3387437"/>
                  <a:gd name="connsiteX2" fmla="*/ 1701526 w 3821271"/>
                  <a:gd name="connsiteY2" fmla="*/ 2847109 h 3387437"/>
                  <a:gd name="connsiteX3" fmla="*/ 1743089 w 3821271"/>
                  <a:gd name="connsiteY3" fmla="*/ 3221182 h 3387437"/>
                  <a:gd name="connsiteX4" fmla="*/ 2200289 w 3821271"/>
                  <a:gd name="connsiteY4" fmla="*/ 3054928 h 3387437"/>
                  <a:gd name="connsiteX5" fmla="*/ 2324980 w 3821271"/>
                  <a:gd name="connsiteY5" fmla="*/ 2784764 h 3387437"/>
                  <a:gd name="connsiteX6" fmla="*/ 2221071 w 3821271"/>
                  <a:gd name="connsiteY6" fmla="*/ 2286000 h 3387437"/>
                  <a:gd name="connsiteX7" fmla="*/ 2595144 w 3821271"/>
                  <a:gd name="connsiteY7" fmla="*/ 2722419 h 3387437"/>
                  <a:gd name="connsiteX8" fmla="*/ 3364071 w 3821271"/>
                  <a:gd name="connsiteY8" fmla="*/ 2535382 h 3387437"/>
                  <a:gd name="connsiteX9" fmla="*/ 3779707 w 3821271"/>
                  <a:gd name="connsiteY9" fmla="*/ 2639291 h 3387437"/>
                  <a:gd name="connsiteX10" fmla="*/ 3821271 w 3821271"/>
                  <a:gd name="connsiteY10" fmla="*/ 2701637 h 3387437"/>
                  <a:gd name="connsiteX11" fmla="*/ 3052344 w 3821271"/>
                  <a:gd name="connsiteY11" fmla="*/ 2784764 h 3387437"/>
                  <a:gd name="connsiteX12" fmla="*/ 2470453 w 3821271"/>
                  <a:gd name="connsiteY12" fmla="*/ 3075709 h 3387437"/>
                  <a:gd name="connsiteX13" fmla="*/ 1701526 w 3821271"/>
                  <a:gd name="connsiteY13" fmla="*/ 3387437 h 3387437"/>
                  <a:gd name="connsiteX14" fmla="*/ 1514489 w 3821271"/>
                  <a:gd name="connsiteY14" fmla="*/ 3096491 h 3387437"/>
                  <a:gd name="connsiteX15" fmla="*/ 1493707 w 3821271"/>
                  <a:gd name="connsiteY15" fmla="*/ 2805546 h 3387437"/>
                  <a:gd name="connsiteX16" fmla="*/ 1327453 w 3821271"/>
                  <a:gd name="connsiteY16" fmla="*/ 2618509 h 3387437"/>
                  <a:gd name="connsiteX17" fmla="*/ 1265107 w 3821271"/>
                  <a:gd name="connsiteY17" fmla="*/ 2182091 h 3387437"/>
                  <a:gd name="connsiteX18" fmla="*/ 703998 w 3821271"/>
                  <a:gd name="connsiteY18" fmla="*/ 1226128 h 3387437"/>
                  <a:gd name="connsiteX19" fmla="*/ 38980 w 3821271"/>
                  <a:gd name="connsiteY19" fmla="*/ 935182 h 3387437"/>
                  <a:gd name="connsiteX20" fmla="*/ 496180 w 3821271"/>
                  <a:gd name="connsiteY20" fmla="*/ 914400 h 3387437"/>
                  <a:gd name="connsiteX21" fmla="*/ 205235 w 3821271"/>
                  <a:gd name="connsiteY21" fmla="*/ 457200 h 3387437"/>
                  <a:gd name="connsiteX22" fmla="*/ 101326 w 3821271"/>
                  <a:gd name="connsiteY22" fmla="*/ 0 h 3387437"/>
                  <a:gd name="connsiteX0" fmla="*/ 101326 w 3821271"/>
                  <a:gd name="connsiteY0" fmla="*/ 0 h 3387437"/>
                  <a:gd name="connsiteX1" fmla="*/ 891035 w 3821271"/>
                  <a:gd name="connsiteY1" fmla="*/ 1143000 h 3387437"/>
                  <a:gd name="connsiteX2" fmla="*/ 1701526 w 3821271"/>
                  <a:gd name="connsiteY2" fmla="*/ 2847109 h 3387437"/>
                  <a:gd name="connsiteX3" fmla="*/ 1743089 w 3821271"/>
                  <a:gd name="connsiteY3" fmla="*/ 3221182 h 3387437"/>
                  <a:gd name="connsiteX4" fmla="*/ 2200289 w 3821271"/>
                  <a:gd name="connsiteY4" fmla="*/ 3054928 h 3387437"/>
                  <a:gd name="connsiteX5" fmla="*/ 2324980 w 3821271"/>
                  <a:gd name="connsiteY5" fmla="*/ 2784764 h 3387437"/>
                  <a:gd name="connsiteX6" fmla="*/ 2221071 w 3821271"/>
                  <a:gd name="connsiteY6" fmla="*/ 2286000 h 3387437"/>
                  <a:gd name="connsiteX7" fmla="*/ 2595144 w 3821271"/>
                  <a:gd name="connsiteY7" fmla="*/ 2722419 h 3387437"/>
                  <a:gd name="connsiteX8" fmla="*/ 3364071 w 3821271"/>
                  <a:gd name="connsiteY8" fmla="*/ 2535382 h 3387437"/>
                  <a:gd name="connsiteX9" fmla="*/ 3779707 w 3821271"/>
                  <a:gd name="connsiteY9" fmla="*/ 2639291 h 3387437"/>
                  <a:gd name="connsiteX10" fmla="*/ 3821271 w 3821271"/>
                  <a:gd name="connsiteY10" fmla="*/ 2701637 h 3387437"/>
                  <a:gd name="connsiteX11" fmla="*/ 3052344 w 3821271"/>
                  <a:gd name="connsiteY11" fmla="*/ 2784764 h 3387437"/>
                  <a:gd name="connsiteX12" fmla="*/ 2470453 w 3821271"/>
                  <a:gd name="connsiteY12" fmla="*/ 3075709 h 3387437"/>
                  <a:gd name="connsiteX13" fmla="*/ 1701526 w 3821271"/>
                  <a:gd name="connsiteY13" fmla="*/ 3387437 h 3387437"/>
                  <a:gd name="connsiteX14" fmla="*/ 1514489 w 3821271"/>
                  <a:gd name="connsiteY14" fmla="*/ 3096491 h 3387437"/>
                  <a:gd name="connsiteX15" fmla="*/ 1493707 w 3821271"/>
                  <a:gd name="connsiteY15" fmla="*/ 2805546 h 3387437"/>
                  <a:gd name="connsiteX16" fmla="*/ 1327453 w 3821271"/>
                  <a:gd name="connsiteY16" fmla="*/ 2618509 h 3387437"/>
                  <a:gd name="connsiteX17" fmla="*/ 1265107 w 3821271"/>
                  <a:gd name="connsiteY17" fmla="*/ 2182091 h 3387437"/>
                  <a:gd name="connsiteX18" fmla="*/ 703998 w 3821271"/>
                  <a:gd name="connsiteY18" fmla="*/ 1226128 h 3387437"/>
                  <a:gd name="connsiteX19" fmla="*/ 38980 w 3821271"/>
                  <a:gd name="connsiteY19" fmla="*/ 935182 h 3387437"/>
                  <a:gd name="connsiteX20" fmla="*/ 496180 w 3821271"/>
                  <a:gd name="connsiteY20" fmla="*/ 914400 h 3387437"/>
                  <a:gd name="connsiteX21" fmla="*/ 205235 w 3821271"/>
                  <a:gd name="connsiteY21" fmla="*/ 457200 h 3387437"/>
                  <a:gd name="connsiteX22" fmla="*/ 101326 w 3821271"/>
                  <a:gd name="connsiteY22" fmla="*/ 0 h 3387437"/>
                  <a:gd name="connsiteX0" fmla="*/ 101326 w 3821271"/>
                  <a:gd name="connsiteY0" fmla="*/ 0 h 3387437"/>
                  <a:gd name="connsiteX1" fmla="*/ 891035 w 3821271"/>
                  <a:gd name="connsiteY1" fmla="*/ 1143000 h 3387437"/>
                  <a:gd name="connsiteX2" fmla="*/ 1701526 w 3821271"/>
                  <a:gd name="connsiteY2" fmla="*/ 2847109 h 3387437"/>
                  <a:gd name="connsiteX3" fmla="*/ 1743089 w 3821271"/>
                  <a:gd name="connsiteY3" fmla="*/ 3221182 h 3387437"/>
                  <a:gd name="connsiteX4" fmla="*/ 2200289 w 3821271"/>
                  <a:gd name="connsiteY4" fmla="*/ 3054928 h 3387437"/>
                  <a:gd name="connsiteX5" fmla="*/ 2324980 w 3821271"/>
                  <a:gd name="connsiteY5" fmla="*/ 2784764 h 3387437"/>
                  <a:gd name="connsiteX6" fmla="*/ 2221071 w 3821271"/>
                  <a:gd name="connsiteY6" fmla="*/ 2286000 h 3387437"/>
                  <a:gd name="connsiteX7" fmla="*/ 2595144 w 3821271"/>
                  <a:gd name="connsiteY7" fmla="*/ 2722419 h 3387437"/>
                  <a:gd name="connsiteX8" fmla="*/ 3364071 w 3821271"/>
                  <a:gd name="connsiteY8" fmla="*/ 2535382 h 3387437"/>
                  <a:gd name="connsiteX9" fmla="*/ 3779707 w 3821271"/>
                  <a:gd name="connsiteY9" fmla="*/ 2639291 h 3387437"/>
                  <a:gd name="connsiteX10" fmla="*/ 3821271 w 3821271"/>
                  <a:gd name="connsiteY10" fmla="*/ 2701637 h 3387437"/>
                  <a:gd name="connsiteX11" fmla="*/ 3052344 w 3821271"/>
                  <a:gd name="connsiteY11" fmla="*/ 2784764 h 3387437"/>
                  <a:gd name="connsiteX12" fmla="*/ 2470453 w 3821271"/>
                  <a:gd name="connsiteY12" fmla="*/ 3075709 h 3387437"/>
                  <a:gd name="connsiteX13" fmla="*/ 1701526 w 3821271"/>
                  <a:gd name="connsiteY13" fmla="*/ 3387437 h 3387437"/>
                  <a:gd name="connsiteX14" fmla="*/ 1514489 w 3821271"/>
                  <a:gd name="connsiteY14" fmla="*/ 3096491 h 3387437"/>
                  <a:gd name="connsiteX15" fmla="*/ 1493707 w 3821271"/>
                  <a:gd name="connsiteY15" fmla="*/ 2805546 h 3387437"/>
                  <a:gd name="connsiteX16" fmla="*/ 1327453 w 3821271"/>
                  <a:gd name="connsiteY16" fmla="*/ 2618509 h 3387437"/>
                  <a:gd name="connsiteX17" fmla="*/ 1265107 w 3821271"/>
                  <a:gd name="connsiteY17" fmla="*/ 2182091 h 3387437"/>
                  <a:gd name="connsiteX18" fmla="*/ 703998 w 3821271"/>
                  <a:gd name="connsiteY18" fmla="*/ 1226128 h 3387437"/>
                  <a:gd name="connsiteX19" fmla="*/ 38980 w 3821271"/>
                  <a:gd name="connsiteY19" fmla="*/ 935182 h 3387437"/>
                  <a:gd name="connsiteX20" fmla="*/ 496180 w 3821271"/>
                  <a:gd name="connsiteY20" fmla="*/ 914400 h 3387437"/>
                  <a:gd name="connsiteX21" fmla="*/ 205235 w 3821271"/>
                  <a:gd name="connsiteY21" fmla="*/ 457200 h 3387437"/>
                  <a:gd name="connsiteX22" fmla="*/ 101326 w 3821271"/>
                  <a:gd name="connsiteY22" fmla="*/ 0 h 3387437"/>
                  <a:gd name="connsiteX0" fmla="*/ 101326 w 3821271"/>
                  <a:gd name="connsiteY0" fmla="*/ 0 h 3387437"/>
                  <a:gd name="connsiteX1" fmla="*/ 891035 w 3821271"/>
                  <a:gd name="connsiteY1" fmla="*/ 1143000 h 3387437"/>
                  <a:gd name="connsiteX2" fmla="*/ 1701526 w 3821271"/>
                  <a:gd name="connsiteY2" fmla="*/ 2847109 h 3387437"/>
                  <a:gd name="connsiteX3" fmla="*/ 1743089 w 3821271"/>
                  <a:gd name="connsiteY3" fmla="*/ 3221182 h 3387437"/>
                  <a:gd name="connsiteX4" fmla="*/ 2200289 w 3821271"/>
                  <a:gd name="connsiteY4" fmla="*/ 3054928 h 3387437"/>
                  <a:gd name="connsiteX5" fmla="*/ 2324980 w 3821271"/>
                  <a:gd name="connsiteY5" fmla="*/ 2784764 h 3387437"/>
                  <a:gd name="connsiteX6" fmla="*/ 2221071 w 3821271"/>
                  <a:gd name="connsiteY6" fmla="*/ 2286000 h 3387437"/>
                  <a:gd name="connsiteX7" fmla="*/ 2595144 w 3821271"/>
                  <a:gd name="connsiteY7" fmla="*/ 2722419 h 3387437"/>
                  <a:gd name="connsiteX8" fmla="*/ 3364071 w 3821271"/>
                  <a:gd name="connsiteY8" fmla="*/ 2535382 h 3387437"/>
                  <a:gd name="connsiteX9" fmla="*/ 3779707 w 3821271"/>
                  <a:gd name="connsiteY9" fmla="*/ 2639291 h 3387437"/>
                  <a:gd name="connsiteX10" fmla="*/ 3821271 w 3821271"/>
                  <a:gd name="connsiteY10" fmla="*/ 2701637 h 3387437"/>
                  <a:gd name="connsiteX11" fmla="*/ 3052344 w 3821271"/>
                  <a:gd name="connsiteY11" fmla="*/ 2784764 h 3387437"/>
                  <a:gd name="connsiteX12" fmla="*/ 2470453 w 3821271"/>
                  <a:gd name="connsiteY12" fmla="*/ 3075709 h 3387437"/>
                  <a:gd name="connsiteX13" fmla="*/ 1701526 w 3821271"/>
                  <a:gd name="connsiteY13" fmla="*/ 3387437 h 3387437"/>
                  <a:gd name="connsiteX14" fmla="*/ 1514489 w 3821271"/>
                  <a:gd name="connsiteY14" fmla="*/ 3096491 h 3387437"/>
                  <a:gd name="connsiteX15" fmla="*/ 1493707 w 3821271"/>
                  <a:gd name="connsiteY15" fmla="*/ 2805546 h 3387437"/>
                  <a:gd name="connsiteX16" fmla="*/ 1327453 w 3821271"/>
                  <a:gd name="connsiteY16" fmla="*/ 2618509 h 3387437"/>
                  <a:gd name="connsiteX17" fmla="*/ 1265107 w 3821271"/>
                  <a:gd name="connsiteY17" fmla="*/ 2182091 h 3387437"/>
                  <a:gd name="connsiteX18" fmla="*/ 703998 w 3821271"/>
                  <a:gd name="connsiteY18" fmla="*/ 1226128 h 3387437"/>
                  <a:gd name="connsiteX19" fmla="*/ 38980 w 3821271"/>
                  <a:gd name="connsiteY19" fmla="*/ 935182 h 3387437"/>
                  <a:gd name="connsiteX20" fmla="*/ 496180 w 3821271"/>
                  <a:gd name="connsiteY20" fmla="*/ 914400 h 3387437"/>
                  <a:gd name="connsiteX21" fmla="*/ 205235 w 3821271"/>
                  <a:gd name="connsiteY21" fmla="*/ 457200 h 3387437"/>
                  <a:gd name="connsiteX22" fmla="*/ 101326 w 3821271"/>
                  <a:gd name="connsiteY22" fmla="*/ 0 h 3387437"/>
                  <a:gd name="connsiteX0" fmla="*/ 101326 w 3821271"/>
                  <a:gd name="connsiteY0" fmla="*/ 0 h 3387437"/>
                  <a:gd name="connsiteX1" fmla="*/ 891035 w 3821271"/>
                  <a:gd name="connsiteY1" fmla="*/ 1143000 h 3387437"/>
                  <a:gd name="connsiteX2" fmla="*/ 1701526 w 3821271"/>
                  <a:gd name="connsiteY2" fmla="*/ 2847109 h 3387437"/>
                  <a:gd name="connsiteX3" fmla="*/ 1743089 w 3821271"/>
                  <a:gd name="connsiteY3" fmla="*/ 3221182 h 3387437"/>
                  <a:gd name="connsiteX4" fmla="*/ 2324980 w 3821271"/>
                  <a:gd name="connsiteY4" fmla="*/ 2784764 h 3387437"/>
                  <a:gd name="connsiteX5" fmla="*/ 2221071 w 3821271"/>
                  <a:gd name="connsiteY5" fmla="*/ 2286000 h 3387437"/>
                  <a:gd name="connsiteX6" fmla="*/ 2595144 w 3821271"/>
                  <a:gd name="connsiteY6" fmla="*/ 2722419 h 3387437"/>
                  <a:gd name="connsiteX7" fmla="*/ 3364071 w 3821271"/>
                  <a:gd name="connsiteY7" fmla="*/ 2535382 h 3387437"/>
                  <a:gd name="connsiteX8" fmla="*/ 3779707 w 3821271"/>
                  <a:gd name="connsiteY8" fmla="*/ 2639291 h 3387437"/>
                  <a:gd name="connsiteX9" fmla="*/ 3821271 w 3821271"/>
                  <a:gd name="connsiteY9" fmla="*/ 2701637 h 3387437"/>
                  <a:gd name="connsiteX10" fmla="*/ 3052344 w 3821271"/>
                  <a:gd name="connsiteY10" fmla="*/ 2784764 h 3387437"/>
                  <a:gd name="connsiteX11" fmla="*/ 2470453 w 3821271"/>
                  <a:gd name="connsiteY11" fmla="*/ 3075709 h 3387437"/>
                  <a:gd name="connsiteX12" fmla="*/ 1701526 w 3821271"/>
                  <a:gd name="connsiteY12" fmla="*/ 3387437 h 3387437"/>
                  <a:gd name="connsiteX13" fmla="*/ 1514489 w 3821271"/>
                  <a:gd name="connsiteY13" fmla="*/ 3096491 h 3387437"/>
                  <a:gd name="connsiteX14" fmla="*/ 1493707 w 3821271"/>
                  <a:gd name="connsiteY14" fmla="*/ 2805546 h 3387437"/>
                  <a:gd name="connsiteX15" fmla="*/ 1327453 w 3821271"/>
                  <a:gd name="connsiteY15" fmla="*/ 2618509 h 3387437"/>
                  <a:gd name="connsiteX16" fmla="*/ 1265107 w 3821271"/>
                  <a:gd name="connsiteY16" fmla="*/ 2182091 h 3387437"/>
                  <a:gd name="connsiteX17" fmla="*/ 703998 w 3821271"/>
                  <a:gd name="connsiteY17" fmla="*/ 1226128 h 3387437"/>
                  <a:gd name="connsiteX18" fmla="*/ 38980 w 3821271"/>
                  <a:gd name="connsiteY18" fmla="*/ 935182 h 3387437"/>
                  <a:gd name="connsiteX19" fmla="*/ 496180 w 3821271"/>
                  <a:gd name="connsiteY19" fmla="*/ 914400 h 3387437"/>
                  <a:gd name="connsiteX20" fmla="*/ 205235 w 3821271"/>
                  <a:gd name="connsiteY20" fmla="*/ 457200 h 3387437"/>
                  <a:gd name="connsiteX21" fmla="*/ 101326 w 3821271"/>
                  <a:gd name="connsiteY21" fmla="*/ 0 h 3387437"/>
                  <a:gd name="connsiteX0" fmla="*/ 101326 w 3821271"/>
                  <a:gd name="connsiteY0" fmla="*/ 0 h 3387437"/>
                  <a:gd name="connsiteX1" fmla="*/ 891035 w 3821271"/>
                  <a:gd name="connsiteY1" fmla="*/ 1143000 h 3387437"/>
                  <a:gd name="connsiteX2" fmla="*/ 1701526 w 3821271"/>
                  <a:gd name="connsiteY2" fmla="*/ 2847109 h 3387437"/>
                  <a:gd name="connsiteX3" fmla="*/ 1743089 w 3821271"/>
                  <a:gd name="connsiteY3" fmla="*/ 3221182 h 3387437"/>
                  <a:gd name="connsiteX4" fmla="*/ 2324980 w 3821271"/>
                  <a:gd name="connsiteY4" fmla="*/ 2784764 h 3387437"/>
                  <a:gd name="connsiteX5" fmla="*/ 2221071 w 3821271"/>
                  <a:gd name="connsiteY5" fmla="*/ 2286000 h 3387437"/>
                  <a:gd name="connsiteX6" fmla="*/ 2595144 w 3821271"/>
                  <a:gd name="connsiteY6" fmla="*/ 2722419 h 3387437"/>
                  <a:gd name="connsiteX7" fmla="*/ 3364071 w 3821271"/>
                  <a:gd name="connsiteY7" fmla="*/ 2535382 h 3387437"/>
                  <a:gd name="connsiteX8" fmla="*/ 3779707 w 3821271"/>
                  <a:gd name="connsiteY8" fmla="*/ 2639291 h 3387437"/>
                  <a:gd name="connsiteX9" fmla="*/ 3821271 w 3821271"/>
                  <a:gd name="connsiteY9" fmla="*/ 2701637 h 3387437"/>
                  <a:gd name="connsiteX10" fmla="*/ 3052344 w 3821271"/>
                  <a:gd name="connsiteY10" fmla="*/ 2784764 h 3387437"/>
                  <a:gd name="connsiteX11" fmla="*/ 2470453 w 3821271"/>
                  <a:gd name="connsiteY11" fmla="*/ 3075709 h 3387437"/>
                  <a:gd name="connsiteX12" fmla="*/ 1701526 w 3821271"/>
                  <a:gd name="connsiteY12" fmla="*/ 3387437 h 3387437"/>
                  <a:gd name="connsiteX13" fmla="*/ 1514489 w 3821271"/>
                  <a:gd name="connsiteY13" fmla="*/ 3096491 h 3387437"/>
                  <a:gd name="connsiteX14" fmla="*/ 1493707 w 3821271"/>
                  <a:gd name="connsiteY14" fmla="*/ 2805546 h 3387437"/>
                  <a:gd name="connsiteX15" fmla="*/ 1327453 w 3821271"/>
                  <a:gd name="connsiteY15" fmla="*/ 2618509 h 3387437"/>
                  <a:gd name="connsiteX16" fmla="*/ 1265107 w 3821271"/>
                  <a:gd name="connsiteY16" fmla="*/ 2182091 h 3387437"/>
                  <a:gd name="connsiteX17" fmla="*/ 703998 w 3821271"/>
                  <a:gd name="connsiteY17" fmla="*/ 1226128 h 3387437"/>
                  <a:gd name="connsiteX18" fmla="*/ 38980 w 3821271"/>
                  <a:gd name="connsiteY18" fmla="*/ 935182 h 3387437"/>
                  <a:gd name="connsiteX19" fmla="*/ 496180 w 3821271"/>
                  <a:gd name="connsiteY19" fmla="*/ 914400 h 3387437"/>
                  <a:gd name="connsiteX20" fmla="*/ 205235 w 3821271"/>
                  <a:gd name="connsiteY20" fmla="*/ 457200 h 3387437"/>
                  <a:gd name="connsiteX21" fmla="*/ 101326 w 3821271"/>
                  <a:gd name="connsiteY21" fmla="*/ 0 h 3387437"/>
                  <a:gd name="connsiteX0" fmla="*/ 101326 w 3821271"/>
                  <a:gd name="connsiteY0" fmla="*/ 0 h 3387437"/>
                  <a:gd name="connsiteX1" fmla="*/ 891035 w 3821271"/>
                  <a:gd name="connsiteY1" fmla="*/ 1143000 h 3387437"/>
                  <a:gd name="connsiteX2" fmla="*/ 1701526 w 3821271"/>
                  <a:gd name="connsiteY2" fmla="*/ 2847109 h 3387437"/>
                  <a:gd name="connsiteX3" fmla="*/ 1743089 w 3821271"/>
                  <a:gd name="connsiteY3" fmla="*/ 3221182 h 3387437"/>
                  <a:gd name="connsiteX4" fmla="*/ 2324980 w 3821271"/>
                  <a:gd name="connsiteY4" fmla="*/ 2784764 h 3387437"/>
                  <a:gd name="connsiteX5" fmla="*/ 2221071 w 3821271"/>
                  <a:gd name="connsiteY5" fmla="*/ 2286000 h 3387437"/>
                  <a:gd name="connsiteX6" fmla="*/ 2595144 w 3821271"/>
                  <a:gd name="connsiteY6" fmla="*/ 2722419 h 3387437"/>
                  <a:gd name="connsiteX7" fmla="*/ 3364071 w 3821271"/>
                  <a:gd name="connsiteY7" fmla="*/ 2535382 h 3387437"/>
                  <a:gd name="connsiteX8" fmla="*/ 3779707 w 3821271"/>
                  <a:gd name="connsiteY8" fmla="*/ 2639291 h 3387437"/>
                  <a:gd name="connsiteX9" fmla="*/ 3821271 w 3821271"/>
                  <a:gd name="connsiteY9" fmla="*/ 2701637 h 3387437"/>
                  <a:gd name="connsiteX10" fmla="*/ 3052344 w 3821271"/>
                  <a:gd name="connsiteY10" fmla="*/ 2784764 h 3387437"/>
                  <a:gd name="connsiteX11" fmla="*/ 2470453 w 3821271"/>
                  <a:gd name="connsiteY11" fmla="*/ 3075709 h 3387437"/>
                  <a:gd name="connsiteX12" fmla="*/ 1701526 w 3821271"/>
                  <a:gd name="connsiteY12" fmla="*/ 3387437 h 3387437"/>
                  <a:gd name="connsiteX13" fmla="*/ 1514489 w 3821271"/>
                  <a:gd name="connsiteY13" fmla="*/ 3096491 h 3387437"/>
                  <a:gd name="connsiteX14" fmla="*/ 1493707 w 3821271"/>
                  <a:gd name="connsiteY14" fmla="*/ 2805546 h 3387437"/>
                  <a:gd name="connsiteX15" fmla="*/ 1327453 w 3821271"/>
                  <a:gd name="connsiteY15" fmla="*/ 2618509 h 3387437"/>
                  <a:gd name="connsiteX16" fmla="*/ 1265107 w 3821271"/>
                  <a:gd name="connsiteY16" fmla="*/ 2182091 h 3387437"/>
                  <a:gd name="connsiteX17" fmla="*/ 703998 w 3821271"/>
                  <a:gd name="connsiteY17" fmla="*/ 1226128 h 3387437"/>
                  <a:gd name="connsiteX18" fmla="*/ 38980 w 3821271"/>
                  <a:gd name="connsiteY18" fmla="*/ 935182 h 3387437"/>
                  <a:gd name="connsiteX19" fmla="*/ 496180 w 3821271"/>
                  <a:gd name="connsiteY19" fmla="*/ 914400 h 3387437"/>
                  <a:gd name="connsiteX20" fmla="*/ 205235 w 3821271"/>
                  <a:gd name="connsiteY20" fmla="*/ 457200 h 3387437"/>
                  <a:gd name="connsiteX21" fmla="*/ 101326 w 3821271"/>
                  <a:gd name="connsiteY21" fmla="*/ 0 h 3387437"/>
                  <a:gd name="connsiteX0" fmla="*/ 101326 w 3821271"/>
                  <a:gd name="connsiteY0" fmla="*/ 0 h 3387437"/>
                  <a:gd name="connsiteX1" fmla="*/ 891035 w 3821271"/>
                  <a:gd name="connsiteY1" fmla="*/ 1143000 h 3387437"/>
                  <a:gd name="connsiteX2" fmla="*/ 1701526 w 3821271"/>
                  <a:gd name="connsiteY2" fmla="*/ 2847109 h 3387437"/>
                  <a:gd name="connsiteX3" fmla="*/ 1743089 w 3821271"/>
                  <a:gd name="connsiteY3" fmla="*/ 3221182 h 3387437"/>
                  <a:gd name="connsiteX4" fmla="*/ 2324980 w 3821271"/>
                  <a:gd name="connsiteY4" fmla="*/ 2784764 h 3387437"/>
                  <a:gd name="connsiteX5" fmla="*/ 2221071 w 3821271"/>
                  <a:gd name="connsiteY5" fmla="*/ 2286000 h 3387437"/>
                  <a:gd name="connsiteX6" fmla="*/ 2595144 w 3821271"/>
                  <a:gd name="connsiteY6" fmla="*/ 2798619 h 3387437"/>
                  <a:gd name="connsiteX7" fmla="*/ 3364071 w 3821271"/>
                  <a:gd name="connsiteY7" fmla="*/ 2535382 h 3387437"/>
                  <a:gd name="connsiteX8" fmla="*/ 3779707 w 3821271"/>
                  <a:gd name="connsiteY8" fmla="*/ 2639291 h 3387437"/>
                  <a:gd name="connsiteX9" fmla="*/ 3821271 w 3821271"/>
                  <a:gd name="connsiteY9" fmla="*/ 2701637 h 3387437"/>
                  <a:gd name="connsiteX10" fmla="*/ 3052344 w 3821271"/>
                  <a:gd name="connsiteY10" fmla="*/ 2784764 h 3387437"/>
                  <a:gd name="connsiteX11" fmla="*/ 2470453 w 3821271"/>
                  <a:gd name="connsiteY11" fmla="*/ 3075709 h 3387437"/>
                  <a:gd name="connsiteX12" fmla="*/ 1701526 w 3821271"/>
                  <a:gd name="connsiteY12" fmla="*/ 3387437 h 3387437"/>
                  <a:gd name="connsiteX13" fmla="*/ 1514489 w 3821271"/>
                  <a:gd name="connsiteY13" fmla="*/ 3096491 h 3387437"/>
                  <a:gd name="connsiteX14" fmla="*/ 1493707 w 3821271"/>
                  <a:gd name="connsiteY14" fmla="*/ 2805546 h 3387437"/>
                  <a:gd name="connsiteX15" fmla="*/ 1327453 w 3821271"/>
                  <a:gd name="connsiteY15" fmla="*/ 2618509 h 3387437"/>
                  <a:gd name="connsiteX16" fmla="*/ 1265107 w 3821271"/>
                  <a:gd name="connsiteY16" fmla="*/ 2182091 h 3387437"/>
                  <a:gd name="connsiteX17" fmla="*/ 703998 w 3821271"/>
                  <a:gd name="connsiteY17" fmla="*/ 1226128 h 3387437"/>
                  <a:gd name="connsiteX18" fmla="*/ 38980 w 3821271"/>
                  <a:gd name="connsiteY18" fmla="*/ 935182 h 3387437"/>
                  <a:gd name="connsiteX19" fmla="*/ 496180 w 3821271"/>
                  <a:gd name="connsiteY19" fmla="*/ 914400 h 3387437"/>
                  <a:gd name="connsiteX20" fmla="*/ 205235 w 3821271"/>
                  <a:gd name="connsiteY20" fmla="*/ 457200 h 3387437"/>
                  <a:gd name="connsiteX21" fmla="*/ 101326 w 3821271"/>
                  <a:gd name="connsiteY21" fmla="*/ 0 h 3387437"/>
                  <a:gd name="connsiteX0" fmla="*/ 101326 w 3821271"/>
                  <a:gd name="connsiteY0" fmla="*/ 0 h 3387437"/>
                  <a:gd name="connsiteX1" fmla="*/ 891035 w 3821271"/>
                  <a:gd name="connsiteY1" fmla="*/ 1143000 h 3387437"/>
                  <a:gd name="connsiteX2" fmla="*/ 1701526 w 3821271"/>
                  <a:gd name="connsiteY2" fmla="*/ 2847109 h 3387437"/>
                  <a:gd name="connsiteX3" fmla="*/ 1743089 w 3821271"/>
                  <a:gd name="connsiteY3" fmla="*/ 3221182 h 3387437"/>
                  <a:gd name="connsiteX4" fmla="*/ 2324980 w 3821271"/>
                  <a:gd name="connsiteY4" fmla="*/ 2784764 h 3387437"/>
                  <a:gd name="connsiteX5" fmla="*/ 2221071 w 3821271"/>
                  <a:gd name="connsiteY5" fmla="*/ 2286000 h 3387437"/>
                  <a:gd name="connsiteX6" fmla="*/ 2595144 w 3821271"/>
                  <a:gd name="connsiteY6" fmla="*/ 2798619 h 3387437"/>
                  <a:gd name="connsiteX7" fmla="*/ 3364071 w 3821271"/>
                  <a:gd name="connsiteY7" fmla="*/ 2535382 h 3387437"/>
                  <a:gd name="connsiteX8" fmla="*/ 3779707 w 3821271"/>
                  <a:gd name="connsiteY8" fmla="*/ 2639291 h 3387437"/>
                  <a:gd name="connsiteX9" fmla="*/ 3821271 w 3821271"/>
                  <a:gd name="connsiteY9" fmla="*/ 2701637 h 3387437"/>
                  <a:gd name="connsiteX10" fmla="*/ 3052344 w 3821271"/>
                  <a:gd name="connsiteY10" fmla="*/ 2784764 h 3387437"/>
                  <a:gd name="connsiteX11" fmla="*/ 2470453 w 3821271"/>
                  <a:gd name="connsiteY11" fmla="*/ 3075709 h 3387437"/>
                  <a:gd name="connsiteX12" fmla="*/ 1701526 w 3821271"/>
                  <a:gd name="connsiteY12" fmla="*/ 3387437 h 3387437"/>
                  <a:gd name="connsiteX13" fmla="*/ 1514489 w 3821271"/>
                  <a:gd name="connsiteY13" fmla="*/ 3096491 h 3387437"/>
                  <a:gd name="connsiteX14" fmla="*/ 1493707 w 3821271"/>
                  <a:gd name="connsiteY14" fmla="*/ 2805546 h 3387437"/>
                  <a:gd name="connsiteX15" fmla="*/ 1327453 w 3821271"/>
                  <a:gd name="connsiteY15" fmla="*/ 2618509 h 3387437"/>
                  <a:gd name="connsiteX16" fmla="*/ 1265107 w 3821271"/>
                  <a:gd name="connsiteY16" fmla="*/ 2182091 h 3387437"/>
                  <a:gd name="connsiteX17" fmla="*/ 703998 w 3821271"/>
                  <a:gd name="connsiteY17" fmla="*/ 1226128 h 3387437"/>
                  <a:gd name="connsiteX18" fmla="*/ 38980 w 3821271"/>
                  <a:gd name="connsiteY18" fmla="*/ 935182 h 3387437"/>
                  <a:gd name="connsiteX19" fmla="*/ 496180 w 3821271"/>
                  <a:gd name="connsiteY19" fmla="*/ 914400 h 3387437"/>
                  <a:gd name="connsiteX20" fmla="*/ 205235 w 3821271"/>
                  <a:gd name="connsiteY20" fmla="*/ 457200 h 3387437"/>
                  <a:gd name="connsiteX21" fmla="*/ 101326 w 3821271"/>
                  <a:gd name="connsiteY21" fmla="*/ 0 h 3387437"/>
                  <a:gd name="connsiteX0" fmla="*/ 101326 w 3821271"/>
                  <a:gd name="connsiteY0" fmla="*/ 0 h 3387437"/>
                  <a:gd name="connsiteX1" fmla="*/ 891035 w 3821271"/>
                  <a:gd name="connsiteY1" fmla="*/ 1143000 h 3387437"/>
                  <a:gd name="connsiteX2" fmla="*/ 1701526 w 3821271"/>
                  <a:gd name="connsiteY2" fmla="*/ 2847109 h 3387437"/>
                  <a:gd name="connsiteX3" fmla="*/ 1743089 w 3821271"/>
                  <a:gd name="connsiteY3" fmla="*/ 3221182 h 3387437"/>
                  <a:gd name="connsiteX4" fmla="*/ 2324980 w 3821271"/>
                  <a:gd name="connsiteY4" fmla="*/ 2784764 h 3387437"/>
                  <a:gd name="connsiteX5" fmla="*/ 2221071 w 3821271"/>
                  <a:gd name="connsiteY5" fmla="*/ 2286000 h 3387437"/>
                  <a:gd name="connsiteX6" fmla="*/ 2595144 w 3821271"/>
                  <a:gd name="connsiteY6" fmla="*/ 2798619 h 3387437"/>
                  <a:gd name="connsiteX7" fmla="*/ 3364071 w 3821271"/>
                  <a:gd name="connsiteY7" fmla="*/ 2535382 h 3387437"/>
                  <a:gd name="connsiteX8" fmla="*/ 3779707 w 3821271"/>
                  <a:gd name="connsiteY8" fmla="*/ 2639291 h 3387437"/>
                  <a:gd name="connsiteX9" fmla="*/ 3821271 w 3821271"/>
                  <a:gd name="connsiteY9" fmla="*/ 2701637 h 3387437"/>
                  <a:gd name="connsiteX10" fmla="*/ 3052344 w 3821271"/>
                  <a:gd name="connsiteY10" fmla="*/ 2784764 h 3387437"/>
                  <a:gd name="connsiteX11" fmla="*/ 2470453 w 3821271"/>
                  <a:gd name="connsiteY11" fmla="*/ 3075709 h 3387437"/>
                  <a:gd name="connsiteX12" fmla="*/ 1701526 w 3821271"/>
                  <a:gd name="connsiteY12" fmla="*/ 3387437 h 3387437"/>
                  <a:gd name="connsiteX13" fmla="*/ 1514489 w 3821271"/>
                  <a:gd name="connsiteY13" fmla="*/ 3096491 h 3387437"/>
                  <a:gd name="connsiteX14" fmla="*/ 1493707 w 3821271"/>
                  <a:gd name="connsiteY14" fmla="*/ 2805546 h 3387437"/>
                  <a:gd name="connsiteX15" fmla="*/ 1327453 w 3821271"/>
                  <a:gd name="connsiteY15" fmla="*/ 2618509 h 3387437"/>
                  <a:gd name="connsiteX16" fmla="*/ 1265107 w 3821271"/>
                  <a:gd name="connsiteY16" fmla="*/ 2182091 h 3387437"/>
                  <a:gd name="connsiteX17" fmla="*/ 703998 w 3821271"/>
                  <a:gd name="connsiteY17" fmla="*/ 1226128 h 3387437"/>
                  <a:gd name="connsiteX18" fmla="*/ 38980 w 3821271"/>
                  <a:gd name="connsiteY18" fmla="*/ 935182 h 3387437"/>
                  <a:gd name="connsiteX19" fmla="*/ 496180 w 3821271"/>
                  <a:gd name="connsiteY19" fmla="*/ 914400 h 3387437"/>
                  <a:gd name="connsiteX20" fmla="*/ 205235 w 3821271"/>
                  <a:gd name="connsiteY20" fmla="*/ 457200 h 3387437"/>
                  <a:gd name="connsiteX21" fmla="*/ 101326 w 3821271"/>
                  <a:gd name="connsiteY21" fmla="*/ 0 h 3387437"/>
                  <a:gd name="connsiteX0" fmla="*/ 101326 w 3821271"/>
                  <a:gd name="connsiteY0" fmla="*/ 0 h 3387437"/>
                  <a:gd name="connsiteX1" fmla="*/ 891035 w 3821271"/>
                  <a:gd name="connsiteY1" fmla="*/ 1143000 h 3387437"/>
                  <a:gd name="connsiteX2" fmla="*/ 1701526 w 3821271"/>
                  <a:gd name="connsiteY2" fmla="*/ 2847109 h 3387437"/>
                  <a:gd name="connsiteX3" fmla="*/ 1743089 w 3821271"/>
                  <a:gd name="connsiteY3" fmla="*/ 3221182 h 3387437"/>
                  <a:gd name="connsiteX4" fmla="*/ 2324980 w 3821271"/>
                  <a:gd name="connsiteY4" fmla="*/ 2784764 h 3387437"/>
                  <a:gd name="connsiteX5" fmla="*/ 2221071 w 3821271"/>
                  <a:gd name="connsiteY5" fmla="*/ 2286000 h 3387437"/>
                  <a:gd name="connsiteX6" fmla="*/ 2595144 w 3821271"/>
                  <a:gd name="connsiteY6" fmla="*/ 2798619 h 3387437"/>
                  <a:gd name="connsiteX7" fmla="*/ 3364071 w 3821271"/>
                  <a:gd name="connsiteY7" fmla="*/ 2535382 h 3387437"/>
                  <a:gd name="connsiteX8" fmla="*/ 3779707 w 3821271"/>
                  <a:gd name="connsiteY8" fmla="*/ 2639291 h 3387437"/>
                  <a:gd name="connsiteX9" fmla="*/ 3821271 w 3821271"/>
                  <a:gd name="connsiteY9" fmla="*/ 2701637 h 3387437"/>
                  <a:gd name="connsiteX10" fmla="*/ 3052344 w 3821271"/>
                  <a:gd name="connsiteY10" fmla="*/ 2784764 h 3387437"/>
                  <a:gd name="connsiteX11" fmla="*/ 2470453 w 3821271"/>
                  <a:gd name="connsiteY11" fmla="*/ 3075709 h 3387437"/>
                  <a:gd name="connsiteX12" fmla="*/ 1701526 w 3821271"/>
                  <a:gd name="connsiteY12" fmla="*/ 3387437 h 3387437"/>
                  <a:gd name="connsiteX13" fmla="*/ 1514489 w 3821271"/>
                  <a:gd name="connsiteY13" fmla="*/ 3096491 h 3387437"/>
                  <a:gd name="connsiteX14" fmla="*/ 1493707 w 3821271"/>
                  <a:gd name="connsiteY14" fmla="*/ 2805546 h 3387437"/>
                  <a:gd name="connsiteX15" fmla="*/ 1327453 w 3821271"/>
                  <a:gd name="connsiteY15" fmla="*/ 2618509 h 3387437"/>
                  <a:gd name="connsiteX16" fmla="*/ 1265107 w 3821271"/>
                  <a:gd name="connsiteY16" fmla="*/ 2182091 h 3387437"/>
                  <a:gd name="connsiteX17" fmla="*/ 703998 w 3821271"/>
                  <a:gd name="connsiteY17" fmla="*/ 1226128 h 3387437"/>
                  <a:gd name="connsiteX18" fmla="*/ 38980 w 3821271"/>
                  <a:gd name="connsiteY18" fmla="*/ 935182 h 3387437"/>
                  <a:gd name="connsiteX19" fmla="*/ 496180 w 3821271"/>
                  <a:gd name="connsiteY19" fmla="*/ 914400 h 3387437"/>
                  <a:gd name="connsiteX20" fmla="*/ 205235 w 3821271"/>
                  <a:gd name="connsiteY20" fmla="*/ 457200 h 3387437"/>
                  <a:gd name="connsiteX21" fmla="*/ 101326 w 3821271"/>
                  <a:gd name="connsiteY21" fmla="*/ 0 h 3387437"/>
                  <a:gd name="connsiteX0" fmla="*/ 101326 w 3821271"/>
                  <a:gd name="connsiteY0" fmla="*/ 0 h 3387437"/>
                  <a:gd name="connsiteX1" fmla="*/ 891035 w 3821271"/>
                  <a:gd name="connsiteY1" fmla="*/ 1143000 h 3387437"/>
                  <a:gd name="connsiteX2" fmla="*/ 1701526 w 3821271"/>
                  <a:gd name="connsiteY2" fmla="*/ 2847109 h 3387437"/>
                  <a:gd name="connsiteX3" fmla="*/ 1743089 w 3821271"/>
                  <a:gd name="connsiteY3" fmla="*/ 3221182 h 3387437"/>
                  <a:gd name="connsiteX4" fmla="*/ 2324980 w 3821271"/>
                  <a:gd name="connsiteY4" fmla="*/ 2784764 h 3387437"/>
                  <a:gd name="connsiteX5" fmla="*/ 2221071 w 3821271"/>
                  <a:gd name="connsiteY5" fmla="*/ 2286000 h 3387437"/>
                  <a:gd name="connsiteX6" fmla="*/ 2595144 w 3821271"/>
                  <a:gd name="connsiteY6" fmla="*/ 2798619 h 3387437"/>
                  <a:gd name="connsiteX7" fmla="*/ 3364071 w 3821271"/>
                  <a:gd name="connsiteY7" fmla="*/ 2535382 h 3387437"/>
                  <a:gd name="connsiteX8" fmla="*/ 3779707 w 3821271"/>
                  <a:gd name="connsiteY8" fmla="*/ 2639291 h 3387437"/>
                  <a:gd name="connsiteX9" fmla="*/ 3821271 w 3821271"/>
                  <a:gd name="connsiteY9" fmla="*/ 2701637 h 3387437"/>
                  <a:gd name="connsiteX10" fmla="*/ 3052344 w 3821271"/>
                  <a:gd name="connsiteY10" fmla="*/ 2784764 h 3387437"/>
                  <a:gd name="connsiteX11" fmla="*/ 2470453 w 3821271"/>
                  <a:gd name="connsiteY11" fmla="*/ 3075709 h 3387437"/>
                  <a:gd name="connsiteX12" fmla="*/ 1701526 w 3821271"/>
                  <a:gd name="connsiteY12" fmla="*/ 3387437 h 3387437"/>
                  <a:gd name="connsiteX13" fmla="*/ 1514489 w 3821271"/>
                  <a:gd name="connsiteY13" fmla="*/ 3096491 h 3387437"/>
                  <a:gd name="connsiteX14" fmla="*/ 1493707 w 3821271"/>
                  <a:gd name="connsiteY14" fmla="*/ 2805546 h 3387437"/>
                  <a:gd name="connsiteX15" fmla="*/ 1327453 w 3821271"/>
                  <a:gd name="connsiteY15" fmla="*/ 2618509 h 3387437"/>
                  <a:gd name="connsiteX16" fmla="*/ 1265107 w 3821271"/>
                  <a:gd name="connsiteY16" fmla="*/ 2182091 h 3387437"/>
                  <a:gd name="connsiteX17" fmla="*/ 703998 w 3821271"/>
                  <a:gd name="connsiteY17" fmla="*/ 1226128 h 3387437"/>
                  <a:gd name="connsiteX18" fmla="*/ 38980 w 3821271"/>
                  <a:gd name="connsiteY18" fmla="*/ 935182 h 3387437"/>
                  <a:gd name="connsiteX19" fmla="*/ 496180 w 3821271"/>
                  <a:gd name="connsiteY19" fmla="*/ 914400 h 3387437"/>
                  <a:gd name="connsiteX20" fmla="*/ 205235 w 3821271"/>
                  <a:gd name="connsiteY20" fmla="*/ 457200 h 3387437"/>
                  <a:gd name="connsiteX21" fmla="*/ 101326 w 3821271"/>
                  <a:gd name="connsiteY21" fmla="*/ 0 h 3387437"/>
                  <a:gd name="connsiteX0" fmla="*/ 101326 w 3821271"/>
                  <a:gd name="connsiteY0" fmla="*/ 0 h 3387437"/>
                  <a:gd name="connsiteX1" fmla="*/ 891035 w 3821271"/>
                  <a:gd name="connsiteY1" fmla="*/ 1143000 h 3387437"/>
                  <a:gd name="connsiteX2" fmla="*/ 1701526 w 3821271"/>
                  <a:gd name="connsiteY2" fmla="*/ 2847109 h 3387437"/>
                  <a:gd name="connsiteX3" fmla="*/ 1743089 w 3821271"/>
                  <a:gd name="connsiteY3" fmla="*/ 3221182 h 3387437"/>
                  <a:gd name="connsiteX4" fmla="*/ 2324980 w 3821271"/>
                  <a:gd name="connsiteY4" fmla="*/ 2784764 h 3387437"/>
                  <a:gd name="connsiteX5" fmla="*/ 2221071 w 3821271"/>
                  <a:gd name="connsiteY5" fmla="*/ 2286000 h 3387437"/>
                  <a:gd name="connsiteX6" fmla="*/ 2595144 w 3821271"/>
                  <a:gd name="connsiteY6" fmla="*/ 2798619 h 3387437"/>
                  <a:gd name="connsiteX7" fmla="*/ 3364071 w 3821271"/>
                  <a:gd name="connsiteY7" fmla="*/ 2535382 h 3387437"/>
                  <a:gd name="connsiteX8" fmla="*/ 3649078 w 3821271"/>
                  <a:gd name="connsiteY8" fmla="*/ 2606633 h 3387437"/>
                  <a:gd name="connsiteX9" fmla="*/ 3821271 w 3821271"/>
                  <a:gd name="connsiteY9" fmla="*/ 2701637 h 3387437"/>
                  <a:gd name="connsiteX10" fmla="*/ 3052344 w 3821271"/>
                  <a:gd name="connsiteY10" fmla="*/ 2784764 h 3387437"/>
                  <a:gd name="connsiteX11" fmla="*/ 2470453 w 3821271"/>
                  <a:gd name="connsiteY11" fmla="*/ 3075709 h 3387437"/>
                  <a:gd name="connsiteX12" fmla="*/ 1701526 w 3821271"/>
                  <a:gd name="connsiteY12" fmla="*/ 3387437 h 3387437"/>
                  <a:gd name="connsiteX13" fmla="*/ 1514489 w 3821271"/>
                  <a:gd name="connsiteY13" fmla="*/ 3096491 h 3387437"/>
                  <a:gd name="connsiteX14" fmla="*/ 1493707 w 3821271"/>
                  <a:gd name="connsiteY14" fmla="*/ 2805546 h 3387437"/>
                  <a:gd name="connsiteX15" fmla="*/ 1327453 w 3821271"/>
                  <a:gd name="connsiteY15" fmla="*/ 2618509 h 3387437"/>
                  <a:gd name="connsiteX16" fmla="*/ 1265107 w 3821271"/>
                  <a:gd name="connsiteY16" fmla="*/ 2182091 h 3387437"/>
                  <a:gd name="connsiteX17" fmla="*/ 703998 w 3821271"/>
                  <a:gd name="connsiteY17" fmla="*/ 1226128 h 3387437"/>
                  <a:gd name="connsiteX18" fmla="*/ 38980 w 3821271"/>
                  <a:gd name="connsiteY18" fmla="*/ 935182 h 3387437"/>
                  <a:gd name="connsiteX19" fmla="*/ 496180 w 3821271"/>
                  <a:gd name="connsiteY19" fmla="*/ 914400 h 3387437"/>
                  <a:gd name="connsiteX20" fmla="*/ 205235 w 3821271"/>
                  <a:gd name="connsiteY20" fmla="*/ 457200 h 3387437"/>
                  <a:gd name="connsiteX21" fmla="*/ 101326 w 3821271"/>
                  <a:gd name="connsiteY21" fmla="*/ 0 h 3387437"/>
                  <a:gd name="connsiteX0" fmla="*/ 101326 w 3821271"/>
                  <a:gd name="connsiteY0" fmla="*/ 0 h 3387437"/>
                  <a:gd name="connsiteX1" fmla="*/ 891035 w 3821271"/>
                  <a:gd name="connsiteY1" fmla="*/ 1143000 h 3387437"/>
                  <a:gd name="connsiteX2" fmla="*/ 1701526 w 3821271"/>
                  <a:gd name="connsiteY2" fmla="*/ 2847109 h 3387437"/>
                  <a:gd name="connsiteX3" fmla="*/ 1743089 w 3821271"/>
                  <a:gd name="connsiteY3" fmla="*/ 3221182 h 3387437"/>
                  <a:gd name="connsiteX4" fmla="*/ 2324980 w 3821271"/>
                  <a:gd name="connsiteY4" fmla="*/ 2784764 h 3387437"/>
                  <a:gd name="connsiteX5" fmla="*/ 2221071 w 3821271"/>
                  <a:gd name="connsiteY5" fmla="*/ 2286000 h 3387437"/>
                  <a:gd name="connsiteX6" fmla="*/ 2595144 w 3821271"/>
                  <a:gd name="connsiteY6" fmla="*/ 2798619 h 3387437"/>
                  <a:gd name="connsiteX7" fmla="*/ 3364071 w 3821271"/>
                  <a:gd name="connsiteY7" fmla="*/ 2535382 h 3387437"/>
                  <a:gd name="connsiteX8" fmla="*/ 3649078 w 3821271"/>
                  <a:gd name="connsiteY8" fmla="*/ 2606633 h 3387437"/>
                  <a:gd name="connsiteX9" fmla="*/ 3821271 w 3821271"/>
                  <a:gd name="connsiteY9" fmla="*/ 2701637 h 3387437"/>
                  <a:gd name="connsiteX10" fmla="*/ 3052344 w 3821271"/>
                  <a:gd name="connsiteY10" fmla="*/ 2784764 h 3387437"/>
                  <a:gd name="connsiteX11" fmla="*/ 2470453 w 3821271"/>
                  <a:gd name="connsiteY11" fmla="*/ 3075709 h 3387437"/>
                  <a:gd name="connsiteX12" fmla="*/ 1701526 w 3821271"/>
                  <a:gd name="connsiteY12" fmla="*/ 3387437 h 3387437"/>
                  <a:gd name="connsiteX13" fmla="*/ 1514489 w 3821271"/>
                  <a:gd name="connsiteY13" fmla="*/ 3096491 h 3387437"/>
                  <a:gd name="connsiteX14" fmla="*/ 1493707 w 3821271"/>
                  <a:gd name="connsiteY14" fmla="*/ 2805546 h 3387437"/>
                  <a:gd name="connsiteX15" fmla="*/ 1327453 w 3821271"/>
                  <a:gd name="connsiteY15" fmla="*/ 2618509 h 3387437"/>
                  <a:gd name="connsiteX16" fmla="*/ 1265107 w 3821271"/>
                  <a:gd name="connsiteY16" fmla="*/ 2182091 h 3387437"/>
                  <a:gd name="connsiteX17" fmla="*/ 703998 w 3821271"/>
                  <a:gd name="connsiteY17" fmla="*/ 1226128 h 3387437"/>
                  <a:gd name="connsiteX18" fmla="*/ 38980 w 3821271"/>
                  <a:gd name="connsiteY18" fmla="*/ 935182 h 3387437"/>
                  <a:gd name="connsiteX19" fmla="*/ 496180 w 3821271"/>
                  <a:gd name="connsiteY19" fmla="*/ 914400 h 3387437"/>
                  <a:gd name="connsiteX20" fmla="*/ 205235 w 3821271"/>
                  <a:gd name="connsiteY20" fmla="*/ 457200 h 3387437"/>
                  <a:gd name="connsiteX21" fmla="*/ 101326 w 3821271"/>
                  <a:gd name="connsiteY21" fmla="*/ 0 h 3387437"/>
                  <a:gd name="connsiteX0" fmla="*/ 101326 w 3821271"/>
                  <a:gd name="connsiteY0" fmla="*/ 0 h 3387437"/>
                  <a:gd name="connsiteX1" fmla="*/ 891035 w 3821271"/>
                  <a:gd name="connsiteY1" fmla="*/ 1143000 h 3387437"/>
                  <a:gd name="connsiteX2" fmla="*/ 1701526 w 3821271"/>
                  <a:gd name="connsiteY2" fmla="*/ 2847109 h 3387437"/>
                  <a:gd name="connsiteX3" fmla="*/ 1743089 w 3821271"/>
                  <a:gd name="connsiteY3" fmla="*/ 3221182 h 3387437"/>
                  <a:gd name="connsiteX4" fmla="*/ 2324980 w 3821271"/>
                  <a:gd name="connsiteY4" fmla="*/ 2784764 h 3387437"/>
                  <a:gd name="connsiteX5" fmla="*/ 2221071 w 3821271"/>
                  <a:gd name="connsiteY5" fmla="*/ 2286000 h 3387437"/>
                  <a:gd name="connsiteX6" fmla="*/ 2595144 w 3821271"/>
                  <a:gd name="connsiteY6" fmla="*/ 2798619 h 3387437"/>
                  <a:gd name="connsiteX7" fmla="*/ 3364071 w 3821271"/>
                  <a:gd name="connsiteY7" fmla="*/ 2535382 h 3387437"/>
                  <a:gd name="connsiteX8" fmla="*/ 3649078 w 3821271"/>
                  <a:gd name="connsiteY8" fmla="*/ 2606633 h 3387437"/>
                  <a:gd name="connsiteX9" fmla="*/ 3821271 w 3821271"/>
                  <a:gd name="connsiteY9" fmla="*/ 2701637 h 3387437"/>
                  <a:gd name="connsiteX10" fmla="*/ 3052344 w 3821271"/>
                  <a:gd name="connsiteY10" fmla="*/ 2828307 h 3387437"/>
                  <a:gd name="connsiteX11" fmla="*/ 2470453 w 3821271"/>
                  <a:gd name="connsiteY11" fmla="*/ 3075709 h 3387437"/>
                  <a:gd name="connsiteX12" fmla="*/ 1701526 w 3821271"/>
                  <a:gd name="connsiteY12" fmla="*/ 3387437 h 3387437"/>
                  <a:gd name="connsiteX13" fmla="*/ 1514489 w 3821271"/>
                  <a:gd name="connsiteY13" fmla="*/ 3096491 h 3387437"/>
                  <a:gd name="connsiteX14" fmla="*/ 1493707 w 3821271"/>
                  <a:gd name="connsiteY14" fmla="*/ 2805546 h 3387437"/>
                  <a:gd name="connsiteX15" fmla="*/ 1327453 w 3821271"/>
                  <a:gd name="connsiteY15" fmla="*/ 2618509 h 3387437"/>
                  <a:gd name="connsiteX16" fmla="*/ 1265107 w 3821271"/>
                  <a:gd name="connsiteY16" fmla="*/ 2182091 h 3387437"/>
                  <a:gd name="connsiteX17" fmla="*/ 703998 w 3821271"/>
                  <a:gd name="connsiteY17" fmla="*/ 1226128 h 3387437"/>
                  <a:gd name="connsiteX18" fmla="*/ 38980 w 3821271"/>
                  <a:gd name="connsiteY18" fmla="*/ 935182 h 3387437"/>
                  <a:gd name="connsiteX19" fmla="*/ 496180 w 3821271"/>
                  <a:gd name="connsiteY19" fmla="*/ 914400 h 3387437"/>
                  <a:gd name="connsiteX20" fmla="*/ 205235 w 3821271"/>
                  <a:gd name="connsiteY20" fmla="*/ 457200 h 3387437"/>
                  <a:gd name="connsiteX21" fmla="*/ 101326 w 3821271"/>
                  <a:gd name="connsiteY21" fmla="*/ 0 h 3387437"/>
                  <a:gd name="connsiteX0" fmla="*/ 101326 w 3821271"/>
                  <a:gd name="connsiteY0" fmla="*/ 0 h 3387437"/>
                  <a:gd name="connsiteX1" fmla="*/ 891035 w 3821271"/>
                  <a:gd name="connsiteY1" fmla="*/ 1143000 h 3387437"/>
                  <a:gd name="connsiteX2" fmla="*/ 1701526 w 3821271"/>
                  <a:gd name="connsiteY2" fmla="*/ 2847109 h 3387437"/>
                  <a:gd name="connsiteX3" fmla="*/ 1743089 w 3821271"/>
                  <a:gd name="connsiteY3" fmla="*/ 3221182 h 3387437"/>
                  <a:gd name="connsiteX4" fmla="*/ 2324980 w 3821271"/>
                  <a:gd name="connsiteY4" fmla="*/ 2784764 h 3387437"/>
                  <a:gd name="connsiteX5" fmla="*/ 2221071 w 3821271"/>
                  <a:gd name="connsiteY5" fmla="*/ 2286000 h 3387437"/>
                  <a:gd name="connsiteX6" fmla="*/ 2595144 w 3821271"/>
                  <a:gd name="connsiteY6" fmla="*/ 2798619 h 3387437"/>
                  <a:gd name="connsiteX7" fmla="*/ 3364071 w 3821271"/>
                  <a:gd name="connsiteY7" fmla="*/ 2535382 h 3387437"/>
                  <a:gd name="connsiteX8" fmla="*/ 3649078 w 3821271"/>
                  <a:gd name="connsiteY8" fmla="*/ 2606633 h 3387437"/>
                  <a:gd name="connsiteX9" fmla="*/ 3821271 w 3821271"/>
                  <a:gd name="connsiteY9" fmla="*/ 2701637 h 3387437"/>
                  <a:gd name="connsiteX10" fmla="*/ 3052344 w 3821271"/>
                  <a:gd name="connsiteY10" fmla="*/ 2828307 h 3387437"/>
                  <a:gd name="connsiteX11" fmla="*/ 2470453 w 3821271"/>
                  <a:gd name="connsiteY11" fmla="*/ 3075709 h 3387437"/>
                  <a:gd name="connsiteX12" fmla="*/ 1701526 w 3821271"/>
                  <a:gd name="connsiteY12" fmla="*/ 3387437 h 3387437"/>
                  <a:gd name="connsiteX13" fmla="*/ 1514489 w 3821271"/>
                  <a:gd name="connsiteY13" fmla="*/ 3096491 h 3387437"/>
                  <a:gd name="connsiteX14" fmla="*/ 1493707 w 3821271"/>
                  <a:gd name="connsiteY14" fmla="*/ 2805546 h 3387437"/>
                  <a:gd name="connsiteX15" fmla="*/ 1327453 w 3821271"/>
                  <a:gd name="connsiteY15" fmla="*/ 2618509 h 3387437"/>
                  <a:gd name="connsiteX16" fmla="*/ 1265107 w 3821271"/>
                  <a:gd name="connsiteY16" fmla="*/ 2182091 h 3387437"/>
                  <a:gd name="connsiteX17" fmla="*/ 703998 w 3821271"/>
                  <a:gd name="connsiteY17" fmla="*/ 1226128 h 3387437"/>
                  <a:gd name="connsiteX18" fmla="*/ 38980 w 3821271"/>
                  <a:gd name="connsiteY18" fmla="*/ 935182 h 3387437"/>
                  <a:gd name="connsiteX19" fmla="*/ 496180 w 3821271"/>
                  <a:gd name="connsiteY19" fmla="*/ 914400 h 3387437"/>
                  <a:gd name="connsiteX20" fmla="*/ 205235 w 3821271"/>
                  <a:gd name="connsiteY20" fmla="*/ 457200 h 3387437"/>
                  <a:gd name="connsiteX21" fmla="*/ 101326 w 3821271"/>
                  <a:gd name="connsiteY21" fmla="*/ 0 h 3387437"/>
                  <a:gd name="connsiteX0" fmla="*/ 101326 w 3821271"/>
                  <a:gd name="connsiteY0" fmla="*/ 0 h 3387437"/>
                  <a:gd name="connsiteX1" fmla="*/ 891035 w 3821271"/>
                  <a:gd name="connsiteY1" fmla="*/ 1143000 h 3387437"/>
                  <a:gd name="connsiteX2" fmla="*/ 1701526 w 3821271"/>
                  <a:gd name="connsiteY2" fmla="*/ 2847109 h 3387437"/>
                  <a:gd name="connsiteX3" fmla="*/ 1743089 w 3821271"/>
                  <a:gd name="connsiteY3" fmla="*/ 3221182 h 3387437"/>
                  <a:gd name="connsiteX4" fmla="*/ 2324980 w 3821271"/>
                  <a:gd name="connsiteY4" fmla="*/ 2784764 h 3387437"/>
                  <a:gd name="connsiteX5" fmla="*/ 2221071 w 3821271"/>
                  <a:gd name="connsiteY5" fmla="*/ 2286000 h 3387437"/>
                  <a:gd name="connsiteX6" fmla="*/ 2595144 w 3821271"/>
                  <a:gd name="connsiteY6" fmla="*/ 2798619 h 3387437"/>
                  <a:gd name="connsiteX7" fmla="*/ 3364071 w 3821271"/>
                  <a:gd name="connsiteY7" fmla="*/ 2535382 h 3387437"/>
                  <a:gd name="connsiteX8" fmla="*/ 3649078 w 3821271"/>
                  <a:gd name="connsiteY8" fmla="*/ 2606633 h 3387437"/>
                  <a:gd name="connsiteX9" fmla="*/ 3821271 w 3821271"/>
                  <a:gd name="connsiteY9" fmla="*/ 2701637 h 3387437"/>
                  <a:gd name="connsiteX10" fmla="*/ 3052344 w 3821271"/>
                  <a:gd name="connsiteY10" fmla="*/ 2828307 h 3387437"/>
                  <a:gd name="connsiteX11" fmla="*/ 2470453 w 3821271"/>
                  <a:gd name="connsiteY11" fmla="*/ 3075709 h 3387437"/>
                  <a:gd name="connsiteX12" fmla="*/ 1701526 w 3821271"/>
                  <a:gd name="connsiteY12" fmla="*/ 3387437 h 3387437"/>
                  <a:gd name="connsiteX13" fmla="*/ 1514489 w 3821271"/>
                  <a:gd name="connsiteY13" fmla="*/ 3096491 h 3387437"/>
                  <a:gd name="connsiteX14" fmla="*/ 1493707 w 3821271"/>
                  <a:gd name="connsiteY14" fmla="*/ 2805546 h 3387437"/>
                  <a:gd name="connsiteX15" fmla="*/ 1327453 w 3821271"/>
                  <a:gd name="connsiteY15" fmla="*/ 2618509 h 3387437"/>
                  <a:gd name="connsiteX16" fmla="*/ 1265107 w 3821271"/>
                  <a:gd name="connsiteY16" fmla="*/ 2182091 h 3387437"/>
                  <a:gd name="connsiteX17" fmla="*/ 703998 w 3821271"/>
                  <a:gd name="connsiteY17" fmla="*/ 1226128 h 3387437"/>
                  <a:gd name="connsiteX18" fmla="*/ 38980 w 3821271"/>
                  <a:gd name="connsiteY18" fmla="*/ 935182 h 3387437"/>
                  <a:gd name="connsiteX19" fmla="*/ 496180 w 3821271"/>
                  <a:gd name="connsiteY19" fmla="*/ 914400 h 3387437"/>
                  <a:gd name="connsiteX20" fmla="*/ 205235 w 3821271"/>
                  <a:gd name="connsiteY20" fmla="*/ 457200 h 3387437"/>
                  <a:gd name="connsiteX21" fmla="*/ 101326 w 3821271"/>
                  <a:gd name="connsiteY21" fmla="*/ 0 h 3387437"/>
                  <a:gd name="connsiteX0" fmla="*/ 101326 w 3821271"/>
                  <a:gd name="connsiteY0" fmla="*/ 0 h 3387437"/>
                  <a:gd name="connsiteX1" fmla="*/ 891035 w 3821271"/>
                  <a:gd name="connsiteY1" fmla="*/ 1143000 h 3387437"/>
                  <a:gd name="connsiteX2" fmla="*/ 1701526 w 3821271"/>
                  <a:gd name="connsiteY2" fmla="*/ 2847109 h 3387437"/>
                  <a:gd name="connsiteX3" fmla="*/ 1743089 w 3821271"/>
                  <a:gd name="connsiteY3" fmla="*/ 3221182 h 3387437"/>
                  <a:gd name="connsiteX4" fmla="*/ 2324980 w 3821271"/>
                  <a:gd name="connsiteY4" fmla="*/ 2784764 h 3387437"/>
                  <a:gd name="connsiteX5" fmla="*/ 2221071 w 3821271"/>
                  <a:gd name="connsiteY5" fmla="*/ 2286000 h 3387437"/>
                  <a:gd name="connsiteX6" fmla="*/ 2595144 w 3821271"/>
                  <a:gd name="connsiteY6" fmla="*/ 2798619 h 3387437"/>
                  <a:gd name="connsiteX7" fmla="*/ 3364071 w 3821271"/>
                  <a:gd name="connsiteY7" fmla="*/ 2535382 h 3387437"/>
                  <a:gd name="connsiteX8" fmla="*/ 3649078 w 3821271"/>
                  <a:gd name="connsiteY8" fmla="*/ 2606633 h 3387437"/>
                  <a:gd name="connsiteX9" fmla="*/ 3821271 w 3821271"/>
                  <a:gd name="connsiteY9" fmla="*/ 2701637 h 3387437"/>
                  <a:gd name="connsiteX10" fmla="*/ 3052344 w 3821271"/>
                  <a:gd name="connsiteY10" fmla="*/ 2828307 h 3387437"/>
                  <a:gd name="connsiteX11" fmla="*/ 2470453 w 3821271"/>
                  <a:gd name="connsiteY11" fmla="*/ 3075709 h 3387437"/>
                  <a:gd name="connsiteX12" fmla="*/ 1701526 w 3821271"/>
                  <a:gd name="connsiteY12" fmla="*/ 3387437 h 3387437"/>
                  <a:gd name="connsiteX13" fmla="*/ 1514489 w 3821271"/>
                  <a:gd name="connsiteY13" fmla="*/ 3096491 h 3387437"/>
                  <a:gd name="connsiteX14" fmla="*/ 1493707 w 3821271"/>
                  <a:gd name="connsiteY14" fmla="*/ 2805546 h 3387437"/>
                  <a:gd name="connsiteX15" fmla="*/ 1327453 w 3821271"/>
                  <a:gd name="connsiteY15" fmla="*/ 2618509 h 3387437"/>
                  <a:gd name="connsiteX16" fmla="*/ 1265107 w 3821271"/>
                  <a:gd name="connsiteY16" fmla="*/ 2182091 h 3387437"/>
                  <a:gd name="connsiteX17" fmla="*/ 703998 w 3821271"/>
                  <a:gd name="connsiteY17" fmla="*/ 1226128 h 3387437"/>
                  <a:gd name="connsiteX18" fmla="*/ 38980 w 3821271"/>
                  <a:gd name="connsiteY18" fmla="*/ 935182 h 3387437"/>
                  <a:gd name="connsiteX19" fmla="*/ 496180 w 3821271"/>
                  <a:gd name="connsiteY19" fmla="*/ 914400 h 3387437"/>
                  <a:gd name="connsiteX20" fmla="*/ 205235 w 3821271"/>
                  <a:gd name="connsiteY20" fmla="*/ 457200 h 3387437"/>
                  <a:gd name="connsiteX21" fmla="*/ 101326 w 3821271"/>
                  <a:gd name="connsiteY21" fmla="*/ 0 h 3387437"/>
                  <a:gd name="connsiteX0" fmla="*/ 101326 w 3821271"/>
                  <a:gd name="connsiteY0" fmla="*/ 0 h 3387437"/>
                  <a:gd name="connsiteX1" fmla="*/ 891035 w 3821271"/>
                  <a:gd name="connsiteY1" fmla="*/ 1143000 h 3387437"/>
                  <a:gd name="connsiteX2" fmla="*/ 1701526 w 3821271"/>
                  <a:gd name="connsiteY2" fmla="*/ 2847109 h 3387437"/>
                  <a:gd name="connsiteX3" fmla="*/ 1743089 w 3821271"/>
                  <a:gd name="connsiteY3" fmla="*/ 3221182 h 3387437"/>
                  <a:gd name="connsiteX4" fmla="*/ 2324980 w 3821271"/>
                  <a:gd name="connsiteY4" fmla="*/ 2784764 h 3387437"/>
                  <a:gd name="connsiteX5" fmla="*/ 2221071 w 3821271"/>
                  <a:gd name="connsiteY5" fmla="*/ 2286000 h 3387437"/>
                  <a:gd name="connsiteX6" fmla="*/ 2595144 w 3821271"/>
                  <a:gd name="connsiteY6" fmla="*/ 2798619 h 3387437"/>
                  <a:gd name="connsiteX7" fmla="*/ 3364071 w 3821271"/>
                  <a:gd name="connsiteY7" fmla="*/ 2535382 h 3387437"/>
                  <a:gd name="connsiteX8" fmla="*/ 3649078 w 3821271"/>
                  <a:gd name="connsiteY8" fmla="*/ 2606633 h 3387437"/>
                  <a:gd name="connsiteX9" fmla="*/ 3821271 w 3821271"/>
                  <a:gd name="connsiteY9" fmla="*/ 2701637 h 3387437"/>
                  <a:gd name="connsiteX10" fmla="*/ 3052344 w 3821271"/>
                  <a:gd name="connsiteY10" fmla="*/ 2828307 h 3387437"/>
                  <a:gd name="connsiteX11" fmla="*/ 2470453 w 3821271"/>
                  <a:gd name="connsiteY11" fmla="*/ 3075709 h 3387437"/>
                  <a:gd name="connsiteX12" fmla="*/ 1701526 w 3821271"/>
                  <a:gd name="connsiteY12" fmla="*/ 3387437 h 3387437"/>
                  <a:gd name="connsiteX13" fmla="*/ 1514489 w 3821271"/>
                  <a:gd name="connsiteY13" fmla="*/ 3096491 h 3387437"/>
                  <a:gd name="connsiteX14" fmla="*/ 1493707 w 3821271"/>
                  <a:gd name="connsiteY14" fmla="*/ 2805546 h 3387437"/>
                  <a:gd name="connsiteX15" fmla="*/ 1327453 w 3821271"/>
                  <a:gd name="connsiteY15" fmla="*/ 2618509 h 3387437"/>
                  <a:gd name="connsiteX16" fmla="*/ 1265107 w 3821271"/>
                  <a:gd name="connsiteY16" fmla="*/ 2182091 h 3387437"/>
                  <a:gd name="connsiteX17" fmla="*/ 703998 w 3821271"/>
                  <a:gd name="connsiteY17" fmla="*/ 1226128 h 3387437"/>
                  <a:gd name="connsiteX18" fmla="*/ 38980 w 3821271"/>
                  <a:gd name="connsiteY18" fmla="*/ 935182 h 3387437"/>
                  <a:gd name="connsiteX19" fmla="*/ 496180 w 3821271"/>
                  <a:gd name="connsiteY19" fmla="*/ 914400 h 3387437"/>
                  <a:gd name="connsiteX20" fmla="*/ 205235 w 3821271"/>
                  <a:gd name="connsiteY20" fmla="*/ 457200 h 3387437"/>
                  <a:gd name="connsiteX21" fmla="*/ 101326 w 3821271"/>
                  <a:gd name="connsiteY21" fmla="*/ 0 h 3387437"/>
                  <a:gd name="connsiteX0" fmla="*/ 101326 w 3821271"/>
                  <a:gd name="connsiteY0" fmla="*/ 0 h 3387437"/>
                  <a:gd name="connsiteX1" fmla="*/ 891035 w 3821271"/>
                  <a:gd name="connsiteY1" fmla="*/ 1143000 h 3387437"/>
                  <a:gd name="connsiteX2" fmla="*/ 1701526 w 3821271"/>
                  <a:gd name="connsiteY2" fmla="*/ 2847109 h 3387437"/>
                  <a:gd name="connsiteX3" fmla="*/ 1743089 w 3821271"/>
                  <a:gd name="connsiteY3" fmla="*/ 3221182 h 3387437"/>
                  <a:gd name="connsiteX4" fmla="*/ 2324980 w 3821271"/>
                  <a:gd name="connsiteY4" fmla="*/ 2784764 h 3387437"/>
                  <a:gd name="connsiteX5" fmla="*/ 2221071 w 3821271"/>
                  <a:gd name="connsiteY5" fmla="*/ 2286000 h 3387437"/>
                  <a:gd name="connsiteX6" fmla="*/ 2595144 w 3821271"/>
                  <a:gd name="connsiteY6" fmla="*/ 2798619 h 3387437"/>
                  <a:gd name="connsiteX7" fmla="*/ 3364071 w 3821271"/>
                  <a:gd name="connsiteY7" fmla="*/ 2535382 h 3387437"/>
                  <a:gd name="connsiteX8" fmla="*/ 3649078 w 3821271"/>
                  <a:gd name="connsiteY8" fmla="*/ 2606633 h 3387437"/>
                  <a:gd name="connsiteX9" fmla="*/ 3821271 w 3821271"/>
                  <a:gd name="connsiteY9" fmla="*/ 2701637 h 3387437"/>
                  <a:gd name="connsiteX10" fmla="*/ 3052344 w 3821271"/>
                  <a:gd name="connsiteY10" fmla="*/ 2828307 h 3387437"/>
                  <a:gd name="connsiteX11" fmla="*/ 2470453 w 3821271"/>
                  <a:gd name="connsiteY11" fmla="*/ 3075709 h 3387437"/>
                  <a:gd name="connsiteX12" fmla="*/ 1701526 w 3821271"/>
                  <a:gd name="connsiteY12" fmla="*/ 3387437 h 3387437"/>
                  <a:gd name="connsiteX13" fmla="*/ 1514489 w 3821271"/>
                  <a:gd name="connsiteY13" fmla="*/ 3096491 h 3387437"/>
                  <a:gd name="connsiteX14" fmla="*/ 1493707 w 3821271"/>
                  <a:gd name="connsiteY14" fmla="*/ 2805546 h 3387437"/>
                  <a:gd name="connsiteX15" fmla="*/ 1327453 w 3821271"/>
                  <a:gd name="connsiteY15" fmla="*/ 2618509 h 3387437"/>
                  <a:gd name="connsiteX16" fmla="*/ 1265107 w 3821271"/>
                  <a:gd name="connsiteY16" fmla="*/ 2182091 h 3387437"/>
                  <a:gd name="connsiteX17" fmla="*/ 703998 w 3821271"/>
                  <a:gd name="connsiteY17" fmla="*/ 1226128 h 3387437"/>
                  <a:gd name="connsiteX18" fmla="*/ 38980 w 3821271"/>
                  <a:gd name="connsiteY18" fmla="*/ 935182 h 3387437"/>
                  <a:gd name="connsiteX19" fmla="*/ 496180 w 3821271"/>
                  <a:gd name="connsiteY19" fmla="*/ 914400 h 3387437"/>
                  <a:gd name="connsiteX20" fmla="*/ 205235 w 3821271"/>
                  <a:gd name="connsiteY20" fmla="*/ 457200 h 3387437"/>
                  <a:gd name="connsiteX21" fmla="*/ 101326 w 3821271"/>
                  <a:gd name="connsiteY21" fmla="*/ 0 h 3387437"/>
                  <a:gd name="connsiteX0" fmla="*/ 101326 w 3821271"/>
                  <a:gd name="connsiteY0" fmla="*/ 0 h 3387437"/>
                  <a:gd name="connsiteX1" fmla="*/ 891035 w 3821271"/>
                  <a:gd name="connsiteY1" fmla="*/ 1143000 h 3387437"/>
                  <a:gd name="connsiteX2" fmla="*/ 1701526 w 3821271"/>
                  <a:gd name="connsiteY2" fmla="*/ 2847109 h 3387437"/>
                  <a:gd name="connsiteX3" fmla="*/ 1743089 w 3821271"/>
                  <a:gd name="connsiteY3" fmla="*/ 3221182 h 3387437"/>
                  <a:gd name="connsiteX4" fmla="*/ 2324980 w 3821271"/>
                  <a:gd name="connsiteY4" fmla="*/ 2784764 h 3387437"/>
                  <a:gd name="connsiteX5" fmla="*/ 2221071 w 3821271"/>
                  <a:gd name="connsiteY5" fmla="*/ 2286000 h 3387437"/>
                  <a:gd name="connsiteX6" fmla="*/ 2595144 w 3821271"/>
                  <a:gd name="connsiteY6" fmla="*/ 2798619 h 3387437"/>
                  <a:gd name="connsiteX7" fmla="*/ 3364071 w 3821271"/>
                  <a:gd name="connsiteY7" fmla="*/ 2535382 h 3387437"/>
                  <a:gd name="connsiteX8" fmla="*/ 3649078 w 3821271"/>
                  <a:gd name="connsiteY8" fmla="*/ 2606633 h 3387437"/>
                  <a:gd name="connsiteX9" fmla="*/ 3821271 w 3821271"/>
                  <a:gd name="connsiteY9" fmla="*/ 2701637 h 3387437"/>
                  <a:gd name="connsiteX10" fmla="*/ 3052344 w 3821271"/>
                  <a:gd name="connsiteY10" fmla="*/ 2828307 h 3387437"/>
                  <a:gd name="connsiteX11" fmla="*/ 2470453 w 3821271"/>
                  <a:gd name="connsiteY11" fmla="*/ 3075709 h 3387437"/>
                  <a:gd name="connsiteX12" fmla="*/ 1701526 w 3821271"/>
                  <a:gd name="connsiteY12" fmla="*/ 3387437 h 3387437"/>
                  <a:gd name="connsiteX13" fmla="*/ 1514489 w 3821271"/>
                  <a:gd name="connsiteY13" fmla="*/ 3096491 h 3387437"/>
                  <a:gd name="connsiteX14" fmla="*/ 1493707 w 3821271"/>
                  <a:gd name="connsiteY14" fmla="*/ 2805546 h 3387437"/>
                  <a:gd name="connsiteX15" fmla="*/ 1327453 w 3821271"/>
                  <a:gd name="connsiteY15" fmla="*/ 2618509 h 3387437"/>
                  <a:gd name="connsiteX16" fmla="*/ 1265107 w 3821271"/>
                  <a:gd name="connsiteY16" fmla="*/ 2182091 h 3387437"/>
                  <a:gd name="connsiteX17" fmla="*/ 703998 w 3821271"/>
                  <a:gd name="connsiteY17" fmla="*/ 1226128 h 3387437"/>
                  <a:gd name="connsiteX18" fmla="*/ 38980 w 3821271"/>
                  <a:gd name="connsiteY18" fmla="*/ 935182 h 3387437"/>
                  <a:gd name="connsiteX19" fmla="*/ 496180 w 3821271"/>
                  <a:gd name="connsiteY19" fmla="*/ 914400 h 3387437"/>
                  <a:gd name="connsiteX20" fmla="*/ 205235 w 3821271"/>
                  <a:gd name="connsiteY20" fmla="*/ 457200 h 3387437"/>
                  <a:gd name="connsiteX21" fmla="*/ 101326 w 3821271"/>
                  <a:gd name="connsiteY21" fmla="*/ 0 h 3387437"/>
                  <a:gd name="connsiteX0" fmla="*/ 101326 w 3821271"/>
                  <a:gd name="connsiteY0" fmla="*/ 0 h 3387437"/>
                  <a:gd name="connsiteX1" fmla="*/ 891035 w 3821271"/>
                  <a:gd name="connsiteY1" fmla="*/ 1143000 h 3387437"/>
                  <a:gd name="connsiteX2" fmla="*/ 1701526 w 3821271"/>
                  <a:gd name="connsiteY2" fmla="*/ 2847109 h 3387437"/>
                  <a:gd name="connsiteX3" fmla="*/ 1743089 w 3821271"/>
                  <a:gd name="connsiteY3" fmla="*/ 3221182 h 3387437"/>
                  <a:gd name="connsiteX4" fmla="*/ 2324980 w 3821271"/>
                  <a:gd name="connsiteY4" fmla="*/ 2784764 h 3387437"/>
                  <a:gd name="connsiteX5" fmla="*/ 2221071 w 3821271"/>
                  <a:gd name="connsiteY5" fmla="*/ 2286000 h 3387437"/>
                  <a:gd name="connsiteX6" fmla="*/ 2595144 w 3821271"/>
                  <a:gd name="connsiteY6" fmla="*/ 2798619 h 3387437"/>
                  <a:gd name="connsiteX7" fmla="*/ 3364071 w 3821271"/>
                  <a:gd name="connsiteY7" fmla="*/ 2535382 h 3387437"/>
                  <a:gd name="connsiteX8" fmla="*/ 3649078 w 3821271"/>
                  <a:gd name="connsiteY8" fmla="*/ 2606633 h 3387437"/>
                  <a:gd name="connsiteX9" fmla="*/ 3821271 w 3821271"/>
                  <a:gd name="connsiteY9" fmla="*/ 2701637 h 3387437"/>
                  <a:gd name="connsiteX10" fmla="*/ 3052344 w 3821271"/>
                  <a:gd name="connsiteY10" fmla="*/ 2828307 h 3387437"/>
                  <a:gd name="connsiteX11" fmla="*/ 2470453 w 3821271"/>
                  <a:gd name="connsiteY11" fmla="*/ 3075709 h 3387437"/>
                  <a:gd name="connsiteX12" fmla="*/ 1701526 w 3821271"/>
                  <a:gd name="connsiteY12" fmla="*/ 3387437 h 3387437"/>
                  <a:gd name="connsiteX13" fmla="*/ 1514489 w 3821271"/>
                  <a:gd name="connsiteY13" fmla="*/ 3096491 h 3387437"/>
                  <a:gd name="connsiteX14" fmla="*/ 1493707 w 3821271"/>
                  <a:gd name="connsiteY14" fmla="*/ 2805546 h 3387437"/>
                  <a:gd name="connsiteX15" fmla="*/ 1327453 w 3821271"/>
                  <a:gd name="connsiteY15" fmla="*/ 2618509 h 3387437"/>
                  <a:gd name="connsiteX16" fmla="*/ 1265107 w 3821271"/>
                  <a:gd name="connsiteY16" fmla="*/ 2182091 h 3387437"/>
                  <a:gd name="connsiteX17" fmla="*/ 703998 w 3821271"/>
                  <a:gd name="connsiteY17" fmla="*/ 1226128 h 3387437"/>
                  <a:gd name="connsiteX18" fmla="*/ 38980 w 3821271"/>
                  <a:gd name="connsiteY18" fmla="*/ 935182 h 3387437"/>
                  <a:gd name="connsiteX19" fmla="*/ 496180 w 3821271"/>
                  <a:gd name="connsiteY19" fmla="*/ 914400 h 3387437"/>
                  <a:gd name="connsiteX20" fmla="*/ 205235 w 3821271"/>
                  <a:gd name="connsiteY20" fmla="*/ 457200 h 3387437"/>
                  <a:gd name="connsiteX21" fmla="*/ 101326 w 3821271"/>
                  <a:gd name="connsiteY21" fmla="*/ 0 h 3387437"/>
                  <a:gd name="connsiteX0" fmla="*/ 101326 w 3821271"/>
                  <a:gd name="connsiteY0" fmla="*/ 0 h 3387437"/>
                  <a:gd name="connsiteX1" fmla="*/ 891035 w 3821271"/>
                  <a:gd name="connsiteY1" fmla="*/ 1143000 h 3387437"/>
                  <a:gd name="connsiteX2" fmla="*/ 1701526 w 3821271"/>
                  <a:gd name="connsiteY2" fmla="*/ 2847109 h 3387437"/>
                  <a:gd name="connsiteX3" fmla="*/ 1743089 w 3821271"/>
                  <a:gd name="connsiteY3" fmla="*/ 3221182 h 3387437"/>
                  <a:gd name="connsiteX4" fmla="*/ 2324980 w 3821271"/>
                  <a:gd name="connsiteY4" fmla="*/ 2784764 h 3387437"/>
                  <a:gd name="connsiteX5" fmla="*/ 2221071 w 3821271"/>
                  <a:gd name="connsiteY5" fmla="*/ 2286000 h 3387437"/>
                  <a:gd name="connsiteX6" fmla="*/ 2595144 w 3821271"/>
                  <a:gd name="connsiteY6" fmla="*/ 2798619 h 3387437"/>
                  <a:gd name="connsiteX7" fmla="*/ 3364071 w 3821271"/>
                  <a:gd name="connsiteY7" fmla="*/ 2535382 h 3387437"/>
                  <a:gd name="connsiteX8" fmla="*/ 3649078 w 3821271"/>
                  <a:gd name="connsiteY8" fmla="*/ 2606633 h 3387437"/>
                  <a:gd name="connsiteX9" fmla="*/ 3821271 w 3821271"/>
                  <a:gd name="connsiteY9" fmla="*/ 2701637 h 3387437"/>
                  <a:gd name="connsiteX10" fmla="*/ 3052344 w 3821271"/>
                  <a:gd name="connsiteY10" fmla="*/ 2828307 h 3387437"/>
                  <a:gd name="connsiteX11" fmla="*/ 2470453 w 3821271"/>
                  <a:gd name="connsiteY11" fmla="*/ 3075709 h 3387437"/>
                  <a:gd name="connsiteX12" fmla="*/ 1701526 w 3821271"/>
                  <a:gd name="connsiteY12" fmla="*/ 3387437 h 3387437"/>
                  <a:gd name="connsiteX13" fmla="*/ 1514489 w 3821271"/>
                  <a:gd name="connsiteY13" fmla="*/ 3096491 h 3387437"/>
                  <a:gd name="connsiteX14" fmla="*/ 1493707 w 3821271"/>
                  <a:gd name="connsiteY14" fmla="*/ 2805546 h 3387437"/>
                  <a:gd name="connsiteX15" fmla="*/ 1327453 w 3821271"/>
                  <a:gd name="connsiteY15" fmla="*/ 2618509 h 3387437"/>
                  <a:gd name="connsiteX16" fmla="*/ 1265107 w 3821271"/>
                  <a:gd name="connsiteY16" fmla="*/ 2182091 h 3387437"/>
                  <a:gd name="connsiteX17" fmla="*/ 703998 w 3821271"/>
                  <a:gd name="connsiteY17" fmla="*/ 1226128 h 3387437"/>
                  <a:gd name="connsiteX18" fmla="*/ 38980 w 3821271"/>
                  <a:gd name="connsiteY18" fmla="*/ 935182 h 3387437"/>
                  <a:gd name="connsiteX19" fmla="*/ 496180 w 3821271"/>
                  <a:gd name="connsiteY19" fmla="*/ 914400 h 3387437"/>
                  <a:gd name="connsiteX20" fmla="*/ 205235 w 3821271"/>
                  <a:gd name="connsiteY20" fmla="*/ 457200 h 3387437"/>
                  <a:gd name="connsiteX21" fmla="*/ 101326 w 3821271"/>
                  <a:gd name="connsiteY21" fmla="*/ 0 h 3387437"/>
                  <a:gd name="connsiteX0" fmla="*/ 116774 w 3836719"/>
                  <a:gd name="connsiteY0" fmla="*/ 0 h 3387437"/>
                  <a:gd name="connsiteX1" fmla="*/ 906483 w 3836719"/>
                  <a:gd name="connsiteY1" fmla="*/ 1143000 h 3387437"/>
                  <a:gd name="connsiteX2" fmla="*/ 1716974 w 3836719"/>
                  <a:gd name="connsiteY2" fmla="*/ 2847109 h 3387437"/>
                  <a:gd name="connsiteX3" fmla="*/ 1758537 w 3836719"/>
                  <a:gd name="connsiteY3" fmla="*/ 3221182 h 3387437"/>
                  <a:gd name="connsiteX4" fmla="*/ 2340428 w 3836719"/>
                  <a:gd name="connsiteY4" fmla="*/ 2784764 h 3387437"/>
                  <a:gd name="connsiteX5" fmla="*/ 2236519 w 3836719"/>
                  <a:gd name="connsiteY5" fmla="*/ 2286000 h 3387437"/>
                  <a:gd name="connsiteX6" fmla="*/ 2610592 w 3836719"/>
                  <a:gd name="connsiteY6" fmla="*/ 2798619 h 3387437"/>
                  <a:gd name="connsiteX7" fmla="*/ 3379519 w 3836719"/>
                  <a:gd name="connsiteY7" fmla="*/ 2535382 h 3387437"/>
                  <a:gd name="connsiteX8" fmla="*/ 3664526 w 3836719"/>
                  <a:gd name="connsiteY8" fmla="*/ 2606633 h 3387437"/>
                  <a:gd name="connsiteX9" fmla="*/ 3836719 w 3836719"/>
                  <a:gd name="connsiteY9" fmla="*/ 2701637 h 3387437"/>
                  <a:gd name="connsiteX10" fmla="*/ 3067792 w 3836719"/>
                  <a:gd name="connsiteY10" fmla="*/ 2828307 h 3387437"/>
                  <a:gd name="connsiteX11" fmla="*/ 2485901 w 3836719"/>
                  <a:gd name="connsiteY11" fmla="*/ 3075709 h 3387437"/>
                  <a:gd name="connsiteX12" fmla="*/ 1716974 w 3836719"/>
                  <a:gd name="connsiteY12" fmla="*/ 3387437 h 3387437"/>
                  <a:gd name="connsiteX13" fmla="*/ 1529937 w 3836719"/>
                  <a:gd name="connsiteY13" fmla="*/ 3096491 h 3387437"/>
                  <a:gd name="connsiteX14" fmla="*/ 1509155 w 3836719"/>
                  <a:gd name="connsiteY14" fmla="*/ 2805546 h 3387437"/>
                  <a:gd name="connsiteX15" fmla="*/ 1342901 w 3836719"/>
                  <a:gd name="connsiteY15" fmla="*/ 2618509 h 3387437"/>
                  <a:gd name="connsiteX16" fmla="*/ 1280555 w 3836719"/>
                  <a:gd name="connsiteY16" fmla="*/ 2182091 h 3387437"/>
                  <a:gd name="connsiteX17" fmla="*/ 719446 w 3836719"/>
                  <a:gd name="connsiteY17" fmla="*/ 1226128 h 3387437"/>
                  <a:gd name="connsiteX18" fmla="*/ 54428 w 3836719"/>
                  <a:gd name="connsiteY18" fmla="*/ 935182 h 3387437"/>
                  <a:gd name="connsiteX19" fmla="*/ 511628 w 3836719"/>
                  <a:gd name="connsiteY19" fmla="*/ 914400 h 3387437"/>
                  <a:gd name="connsiteX20" fmla="*/ 220683 w 3836719"/>
                  <a:gd name="connsiteY20" fmla="*/ 457200 h 3387437"/>
                  <a:gd name="connsiteX21" fmla="*/ 116774 w 3836719"/>
                  <a:gd name="connsiteY21" fmla="*/ 0 h 3387437"/>
                  <a:gd name="connsiteX0" fmla="*/ 182088 w 3902033"/>
                  <a:gd name="connsiteY0" fmla="*/ 0 h 3387437"/>
                  <a:gd name="connsiteX1" fmla="*/ 971797 w 3902033"/>
                  <a:gd name="connsiteY1" fmla="*/ 1143000 h 3387437"/>
                  <a:gd name="connsiteX2" fmla="*/ 1782288 w 3902033"/>
                  <a:gd name="connsiteY2" fmla="*/ 2847109 h 3387437"/>
                  <a:gd name="connsiteX3" fmla="*/ 1823851 w 3902033"/>
                  <a:gd name="connsiteY3" fmla="*/ 3221182 h 3387437"/>
                  <a:gd name="connsiteX4" fmla="*/ 2405742 w 3902033"/>
                  <a:gd name="connsiteY4" fmla="*/ 2784764 h 3387437"/>
                  <a:gd name="connsiteX5" fmla="*/ 2301833 w 3902033"/>
                  <a:gd name="connsiteY5" fmla="*/ 2286000 h 3387437"/>
                  <a:gd name="connsiteX6" fmla="*/ 2675906 w 3902033"/>
                  <a:gd name="connsiteY6" fmla="*/ 2798619 h 3387437"/>
                  <a:gd name="connsiteX7" fmla="*/ 3444833 w 3902033"/>
                  <a:gd name="connsiteY7" fmla="*/ 2535382 h 3387437"/>
                  <a:gd name="connsiteX8" fmla="*/ 3729840 w 3902033"/>
                  <a:gd name="connsiteY8" fmla="*/ 2606633 h 3387437"/>
                  <a:gd name="connsiteX9" fmla="*/ 3902033 w 3902033"/>
                  <a:gd name="connsiteY9" fmla="*/ 2701637 h 3387437"/>
                  <a:gd name="connsiteX10" fmla="*/ 3133106 w 3902033"/>
                  <a:gd name="connsiteY10" fmla="*/ 2828307 h 3387437"/>
                  <a:gd name="connsiteX11" fmla="*/ 2551215 w 3902033"/>
                  <a:gd name="connsiteY11" fmla="*/ 3075709 h 3387437"/>
                  <a:gd name="connsiteX12" fmla="*/ 1782288 w 3902033"/>
                  <a:gd name="connsiteY12" fmla="*/ 3387437 h 3387437"/>
                  <a:gd name="connsiteX13" fmla="*/ 1595251 w 3902033"/>
                  <a:gd name="connsiteY13" fmla="*/ 3096491 h 3387437"/>
                  <a:gd name="connsiteX14" fmla="*/ 1574469 w 3902033"/>
                  <a:gd name="connsiteY14" fmla="*/ 2805546 h 3387437"/>
                  <a:gd name="connsiteX15" fmla="*/ 1408215 w 3902033"/>
                  <a:gd name="connsiteY15" fmla="*/ 2618509 h 3387437"/>
                  <a:gd name="connsiteX16" fmla="*/ 1345869 w 3902033"/>
                  <a:gd name="connsiteY16" fmla="*/ 2182091 h 3387437"/>
                  <a:gd name="connsiteX17" fmla="*/ 784760 w 3902033"/>
                  <a:gd name="connsiteY17" fmla="*/ 1226128 h 3387437"/>
                  <a:gd name="connsiteX18" fmla="*/ 119742 w 3902033"/>
                  <a:gd name="connsiteY18" fmla="*/ 935182 h 3387437"/>
                  <a:gd name="connsiteX19" fmla="*/ 576942 w 3902033"/>
                  <a:gd name="connsiteY19" fmla="*/ 914400 h 3387437"/>
                  <a:gd name="connsiteX20" fmla="*/ 285997 w 3902033"/>
                  <a:gd name="connsiteY20" fmla="*/ 457200 h 3387437"/>
                  <a:gd name="connsiteX21" fmla="*/ 182088 w 3902033"/>
                  <a:gd name="connsiteY21" fmla="*/ 0 h 3387437"/>
                  <a:gd name="connsiteX0" fmla="*/ 193964 w 3913909"/>
                  <a:gd name="connsiteY0" fmla="*/ 21772 h 3409209"/>
                  <a:gd name="connsiteX1" fmla="*/ 983673 w 3913909"/>
                  <a:gd name="connsiteY1" fmla="*/ 1164772 h 3409209"/>
                  <a:gd name="connsiteX2" fmla="*/ 1794164 w 3913909"/>
                  <a:gd name="connsiteY2" fmla="*/ 2868881 h 3409209"/>
                  <a:gd name="connsiteX3" fmla="*/ 1835727 w 3913909"/>
                  <a:gd name="connsiteY3" fmla="*/ 3242954 h 3409209"/>
                  <a:gd name="connsiteX4" fmla="*/ 2417618 w 3913909"/>
                  <a:gd name="connsiteY4" fmla="*/ 2806536 h 3409209"/>
                  <a:gd name="connsiteX5" fmla="*/ 2313709 w 3913909"/>
                  <a:gd name="connsiteY5" fmla="*/ 2307772 h 3409209"/>
                  <a:gd name="connsiteX6" fmla="*/ 2687782 w 3913909"/>
                  <a:gd name="connsiteY6" fmla="*/ 2820391 h 3409209"/>
                  <a:gd name="connsiteX7" fmla="*/ 3456709 w 3913909"/>
                  <a:gd name="connsiteY7" fmla="*/ 2557154 h 3409209"/>
                  <a:gd name="connsiteX8" fmla="*/ 3741716 w 3913909"/>
                  <a:gd name="connsiteY8" fmla="*/ 2628405 h 3409209"/>
                  <a:gd name="connsiteX9" fmla="*/ 3913909 w 3913909"/>
                  <a:gd name="connsiteY9" fmla="*/ 2723409 h 3409209"/>
                  <a:gd name="connsiteX10" fmla="*/ 3144982 w 3913909"/>
                  <a:gd name="connsiteY10" fmla="*/ 2850079 h 3409209"/>
                  <a:gd name="connsiteX11" fmla="*/ 2563091 w 3913909"/>
                  <a:gd name="connsiteY11" fmla="*/ 3097481 h 3409209"/>
                  <a:gd name="connsiteX12" fmla="*/ 1794164 w 3913909"/>
                  <a:gd name="connsiteY12" fmla="*/ 3409209 h 3409209"/>
                  <a:gd name="connsiteX13" fmla="*/ 1607127 w 3913909"/>
                  <a:gd name="connsiteY13" fmla="*/ 3118263 h 3409209"/>
                  <a:gd name="connsiteX14" fmla="*/ 1586345 w 3913909"/>
                  <a:gd name="connsiteY14" fmla="*/ 2827318 h 3409209"/>
                  <a:gd name="connsiteX15" fmla="*/ 1420091 w 3913909"/>
                  <a:gd name="connsiteY15" fmla="*/ 2640281 h 3409209"/>
                  <a:gd name="connsiteX16" fmla="*/ 1357745 w 3913909"/>
                  <a:gd name="connsiteY16" fmla="*/ 2203863 h 3409209"/>
                  <a:gd name="connsiteX17" fmla="*/ 796636 w 3913909"/>
                  <a:gd name="connsiteY17" fmla="*/ 1247900 h 3409209"/>
                  <a:gd name="connsiteX18" fmla="*/ 131618 w 3913909"/>
                  <a:gd name="connsiteY18" fmla="*/ 956954 h 3409209"/>
                  <a:gd name="connsiteX19" fmla="*/ 588818 w 3913909"/>
                  <a:gd name="connsiteY19" fmla="*/ 936172 h 3409209"/>
                  <a:gd name="connsiteX20" fmla="*/ 297873 w 3913909"/>
                  <a:gd name="connsiteY20" fmla="*/ 478972 h 3409209"/>
                  <a:gd name="connsiteX21" fmla="*/ 193964 w 3913909"/>
                  <a:gd name="connsiteY21" fmla="*/ 21772 h 3409209"/>
                  <a:gd name="connsiteX0" fmla="*/ 193964 w 3913909"/>
                  <a:gd name="connsiteY0" fmla="*/ 21772 h 3409209"/>
                  <a:gd name="connsiteX1" fmla="*/ 983673 w 3913909"/>
                  <a:gd name="connsiteY1" fmla="*/ 1164772 h 3409209"/>
                  <a:gd name="connsiteX2" fmla="*/ 1794164 w 3913909"/>
                  <a:gd name="connsiteY2" fmla="*/ 2868881 h 3409209"/>
                  <a:gd name="connsiteX3" fmla="*/ 1835727 w 3913909"/>
                  <a:gd name="connsiteY3" fmla="*/ 3242954 h 3409209"/>
                  <a:gd name="connsiteX4" fmla="*/ 2417618 w 3913909"/>
                  <a:gd name="connsiteY4" fmla="*/ 2806536 h 3409209"/>
                  <a:gd name="connsiteX5" fmla="*/ 2313709 w 3913909"/>
                  <a:gd name="connsiteY5" fmla="*/ 2307772 h 3409209"/>
                  <a:gd name="connsiteX6" fmla="*/ 2687782 w 3913909"/>
                  <a:gd name="connsiteY6" fmla="*/ 2820391 h 3409209"/>
                  <a:gd name="connsiteX7" fmla="*/ 3456709 w 3913909"/>
                  <a:gd name="connsiteY7" fmla="*/ 2557154 h 3409209"/>
                  <a:gd name="connsiteX8" fmla="*/ 3741716 w 3913909"/>
                  <a:gd name="connsiteY8" fmla="*/ 2628405 h 3409209"/>
                  <a:gd name="connsiteX9" fmla="*/ 3913909 w 3913909"/>
                  <a:gd name="connsiteY9" fmla="*/ 2723409 h 3409209"/>
                  <a:gd name="connsiteX10" fmla="*/ 3144982 w 3913909"/>
                  <a:gd name="connsiteY10" fmla="*/ 2850079 h 3409209"/>
                  <a:gd name="connsiteX11" fmla="*/ 2563091 w 3913909"/>
                  <a:gd name="connsiteY11" fmla="*/ 3097481 h 3409209"/>
                  <a:gd name="connsiteX12" fmla="*/ 1794164 w 3913909"/>
                  <a:gd name="connsiteY12" fmla="*/ 3409209 h 3409209"/>
                  <a:gd name="connsiteX13" fmla="*/ 1607127 w 3913909"/>
                  <a:gd name="connsiteY13" fmla="*/ 3118263 h 3409209"/>
                  <a:gd name="connsiteX14" fmla="*/ 1586345 w 3913909"/>
                  <a:gd name="connsiteY14" fmla="*/ 2827318 h 3409209"/>
                  <a:gd name="connsiteX15" fmla="*/ 1420091 w 3913909"/>
                  <a:gd name="connsiteY15" fmla="*/ 2640281 h 3409209"/>
                  <a:gd name="connsiteX16" fmla="*/ 1357745 w 3913909"/>
                  <a:gd name="connsiteY16" fmla="*/ 2203863 h 3409209"/>
                  <a:gd name="connsiteX17" fmla="*/ 796636 w 3913909"/>
                  <a:gd name="connsiteY17" fmla="*/ 1247900 h 3409209"/>
                  <a:gd name="connsiteX18" fmla="*/ 131618 w 3913909"/>
                  <a:gd name="connsiteY18" fmla="*/ 956954 h 3409209"/>
                  <a:gd name="connsiteX19" fmla="*/ 588818 w 3913909"/>
                  <a:gd name="connsiteY19" fmla="*/ 936172 h 3409209"/>
                  <a:gd name="connsiteX20" fmla="*/ 297873 w 3913909"/>
                  <a:gd name="connsiteY20" fmla="*/ 478972 h 3409209"/>
                  <a:gd name="connsiteX21" fmla="*/ 193964 w 3913909"/>
                  <a:gd name="connsiteY21" fmla="*/ 21772 h 3409209"/>
                  <a:gd name="connsiteX0" fmla="*/ 193964 w 3913909"/>
                  <a:gd name="connsiteY0" fmla="*/ 21772 h 3409209"/>
                  <a:gd name="connsiteX1" fmla="*/ 983673 w 3913909"/>
                  <a:gd name="connsiteY1" fmla="*/ 1164772 h 3409209"/>
                  <a:gd name="connsiteX2" fmla="*/ 1794164 w 3913909"/>
                  <a:gd name="connsiteY2" fmla="*/ 2868881 h 3409209"/>
                  <a:gd name="connsiteX3" fmla="*/ 1835727 w 3913909"/>
                  <a:gd name="connsiteY3" fmla="*/ 3242954 h 3409209"/>
                  <a:gd name="connsiteX4" fmla="*/ 2417618 w 3913909"/>
                  <a:gd name="connsiteY4" fmla="*/ 2806536 h 3409209"/>
                  <a:gd name="connsiteX5" fmla="*/ 2313709 w 3913909"/>
                  <a:gd name="connsiteY5" fmla="*/ 2307772 h 3409209"/>
                  <a:gd name="connsiteX6" fmla="*/ 2687782 w 3913909"/>
                  <a:gd name="connsiteY6" fmla="*/ 2820391 h 3409209"/>
                  <a:gd name="connsiteX7" fmla="*/ 3456709 w 3913909"/>
                  <a:gd name="connsiteY7" fmla="*/ 2557154 h 3409209"/>
                  <a:gd name="connsiteX8" fmla="*/ 3741716 w 3913909"/>
                  <a:gd name="connsiteY8" fmla="*/ 2628405 h 3409209"/>
                  <a:gd name="connsiteX9" fmla="*/ 3913909 w 3913909"/>
                  <a:gd name="connsiteY9" fmla="*/ 2723409 h 3409209"/>
                  <a:gd name="connsiteX10" fmla="*/ 3144982 w 3913909"/>
                  <a:gd name="connsiteY10" fmla="*/ 2850079 h 3409209"/>
                  <a:gd name="connsiteX11" fmla="*/ 2563091 w 3913909"/>
                  <a:gd name="connsiteY11" fmla="*/ 3097481 h 3409209"/>
                  <a:gd name="connsiteX12" fmla="*/ 1794164 w 3913909"/>
                  <a:gd name="connsiteY12" fmla="*/ 3409209 h 3409209"/>
                  <a:gd name="connsiteX13" fmla="*/ 1607127 w 3913909"/>
                  <a:gd name="connsiteY13" fmla="*/ 3118263 h 3409209"/>
                  <a:gd name="connsiteX14" fmla="*/ 1586345 w 3913909"/>
                  <a:gd name="connsiteY14" fmla="*/ 2827318 h 3409209"/>
                  <a:gd name="connsiteX15" fmla="*/ 1420091 w 3913909"/>
                  <a:gd name="connsiteY15" fmla="*/ 2640281 h 3409209"/>
                  <a:gd name="connsiteX16" fmla="*/ 1357745 w 3913909"/>
                  <a:gd name="connsiteY16" fmla="*/ 2203863 h 3409209"/>
                  <a:gd name="connsiteX17" fmla="*/ 796636 w 3913909"/>
                  <a:gd name="connsiteY17" fmla="*/ 1247900 h 3409209"/>
                  <a:gd name="connsiteX18" fmla="*/ 131618 w 3913909"/>
                  <a:gd name="connsiteY18" fmla="*/ 956954 h 3409209"/>
                  <a:gd name="connsiteX19" fmla="*/ 588818 w 3913909"/>
                  <a:gd name="connsiteY19" fmla="*/ 936172 h 3409209"/>
                  <a:gd name="connsiteX20" fmla="*/ 297873 w 3913909"/>
                  <a:gd name="connsiteY20" fmla="*/ 478972 h 3409209"/>
                  <a:gd name="connsiteX21" fmla="*/ 193964 w 3913909"/>
                  <a:gd name="connsiteY21" fmla="*/ 21772 h 3409209"/>
                  <a:gd name="connsiteX0" fmla="*/ 193964 w 3913909"/>
                  <a:gd name="connsiteY0" fmla="*/ 21772 h 3409209"/>
                  <a:gd name="connsiteX1" fmla="*/ 983673 w 3913909"/>
                  <a:gd name="connsiteY1" fmla="*/ 1164772 h 3409209"/>
                  <a:gd name="connsiteX2" fmla="*/ 1794164 w 3913909"/>
                  <a:gd name="connsiteY2" fmla="*/ 2868881 h 3409209"/>
                  <a:gd name="connsiteX3" fmla="*/ 1835727 w 3913909"/>
                  <a:gd name="connsiteY3" fmla="*/ 3242954 h 3409209"/>
                  <a:gd name="connsiteX4" fmla="*/ 2417618 w 3913909"/>
                  <a:gd name="connsiteY4" fmla="*/ 2806536 h 3409209"/>
                  <a:gd name="connsiteX5" fmla="*/ 2313709 w 3913909"/>
                  <a:gd name="connsiteY5" fmla="*/ 2307772 h 3409209"/>
                  <a:gd name="connsiteX6" fmla="*/ 2687782 w 3913909"/>
                  <a:gd name="connsiteY6" fmla="*/ 2820391 h 3409209"/>
                  <a:gd name="connsiteX7" fmla="*/ 3456709 w 3913909"/>
                  <a:gd name="connsiteY7" fmla="*/ 2557154 h 3409209"/>
                  <a:gd name="connsiteX8" fmla="*/ 3741716 w 3913909"/>
                  <a:gd name="connsiteY8" fmla="*/ 2628405 h 3409209"/>
                  <a:gd name="connsiteX9" fmla="*/ 3913909 w 3913909"/>
                  <a:gd name="connsiteY9" fmla="*/ 2723409 h 3409209"/>
                  <a:gd name="connsiteX10" fmla="*/ 3144982 w 3913909"/>
                  <a:gd name="connsiteY10" fmla="*/ 2850079 h 3409209"/>
                  <a:gd name="connsiteX11" fmla="*/ 2563091 w 3913909"/>
                  <a:gd name="connsiteY11" fmla="*/ 3097481 h 3409209"/>
                  <a:gd name="connsiteX12" fmla="*/ 1794164 w 3913909"/>
                  <a:gd name="connsiteY12" fmla="*/ 3409209 h 3409209"/>
                  <a:gd name="connsiteX13" fmla="*/ 1607127 w 3913909"/>
                  <a:gd name="connsiteY13" fmla="*/ 3118263 h 3409209"/>
                  <a:gd name="connsiteX14" fmla="*/ 1586345 w 3913909"/>
                  <a:gd name="connsiteY14" fmla="*/ 2827318 h 3409209"/>
                  <a:gd name="connsiteX15" fmla="*/ 1420091 w 3913909"/>
                  <a:gd name="connsiteY15" fmla="*/ 2640281 h 3409209"/>
                  <a:gd name="connsiteX16" fmla="*/ 1357745 w 3913909"/>
                  <a:gd name="connsiteY16" fmla="*/ 2203863 h 3409209"/>
                  <a:gd name="connsiteX17" fmla="*/ 796636 w 3913909"/>
                  <a:gd name="connsiteY17" fmla="*/ 1247900 h 3409209"/>
                  <a:gd name="connsiteX18" fmla="*/ 131618 w 3913909"/>
                  <a:gd name="connsiteY18" fmla="*/ 956954 h 3409209"/>
                  <a:gd name="connsiteX19" fmla="*/ 588818 w 3913909"/>
                  <a:gd name="connsiteY19" fmla="*/ 936172 h 3409209"/>
                  <a:gd name="connsiteX20" fmla="*/ 297873 w 3913909"/>
                  <a:gd name="connsiteY20" fmla="*/ 478972 h 3409209"/>
                  <a:gd name="connsiteX21" fmla="*/ 193964 w 3913909"/>
                  <a:gd name="connsiteY21" fmla="*/ 21772 h 3409209"/>
                  <a:gd name="connsiteX0" fmla="*/ 193964 w 3913909"/>
                  <a:gd name="connsiteY0" fmla="*/ 21772 h 3409209"/>
                  <a:gd name="connsiteX1" fmla="*/ 983673 w 3913909"/>
                  <a:gd name="connsiteY1" fmla="*/ 1164772 h 3409209"/>
                  <a:gd name="connsiteX2" fmla="*/ 1794164 w 3913909"/>
                  <a:gd name="connsiteY2" fmla="*/ 2868881 h 3409209"/>
                  <a:gd name="connsiteX3" fmla="*/ 1835727 w 3913909"/>
                  <a:gd name="connsiteY3" fmla="*/ 3242954 h 3409209"/>
                  <a:gd name="connsiteX4" fmla="*/ 2417618 w 3913909"/>
                  <a:gd name="connsiteY4" fmla="*/ 2806536 h 3409209"/>
                  <a:gd name="connsiteX5" fmla="*/ 2313709 w 3913909"/>
                  <a:gd name="connsiteY5" fmla="*/ 2307772 h 3409209"/>
                  <a:gd name="connsiteX6" fmla="*/ 2687782 w 3913909"/>
                  <a:gd name="connsiteY6" fmla="*/ 2820391 h 3409209"/>
                  <a:gd name="connsiteX7" fmla="*/ 3456709 w 3913909"/>
                  <a:gd name="connsiteY7" fmla="*/ 2557154 h 3409209"/>
                  <a:gd name="connsiteX8" fmla="*/ 3741716 w 3913909"/>
                  <a:gd name="connsiteY8" fmla="*/ 2628405 h 3409209"/>
                  <a:gd name="connsiteX9" fmla="*/ 3913909 w 3913909"/>
                  <a:gd name="connsiteY9" fmla="*/ 2723409 h 3409209"/>
                  <a:gd name="connsiteX10" fmla="*/ 3144982 w 3913909"/>
                  <a:gd name="connsiteY10" fmla="*/ 2850079 h 3409209"/>
                  <a:gd name="connsiteX11" fmla="*/ 2563091 w 3913909"/>
                  <a:gd name="connsiteY11" fmla="*/ 3097481 h 3409209"/>
                  <a:gd name="connsiteX12" fmla="*/ 1794164 w 3913909"/>
                  <a:gd name="connsiteY12" fmla="*/ 3409209 h 3409209"/>
                  <a:gd name="connsiteX13" fmla="*/ 1607127 w 3913909"/>
                  <a:gd name="connsiteY13" fmla="*/ 3118263 h 3409209"/>
                  <a:gd name="connsiteX14" fmla="*/ 1586345 w 3913909"/>
                  <a:gd name="connsiteY14" fmla="*/ 2827318 h 3409209"/>
                  <a:gd name="connsiteX15" fmla="*/ 1420091 w 3913909"/>
                  <a:gd name="connsiteY15" fmla="*/ 2640281 h 3409209"/>
                  <a:gd name="connsiteX16" fmla="*/ 1357745 w 3913909"/>
                  <a:gd name="connsiteY16" fmla="*/ 2203863 h 3409209"/>
                  <a:gd name="connsiteX17" fmla="*/ 796636 w 3913909"/>
                  <a:gd name="connsiteY17" fmla="*/ 1247900 h 3409209"/>
                  <a:gd name="connsiteX18" fmla="*/ 131618 w 3913909"/>
                  <a:gd name="connsiteY18" fmla="*/ 956954 h 3409209"/>
                  <a:gd name="connsiteX19" fmla="*/ 588818 w 3913909"/>
                  <a:gd name="connsiteY19" fmla="*/ 936172 h 3409209"/>
                  <a:gd name="connsiteX20" fmla="*/ 297873 w 3913909"/>
                  <a:gd name="connsiteY20" fmla="*/ 478972 h 3409209"/>
                  <a:gd name="connsiteX21" fmla="*/ 193964 w 3913909"/>
                  <a:gd name="connsiteY21" fmla="*/ 21772 h 3409209"/>
                  <a:gd name="connsiteX0" fmla="*/ 193964 w 3913909"/>
                  <a:gd name="connsiteY0" fmla="*/ 21772 h 3409209"/>
                  <a:gd name="connsiteX1" fmla="*/ 983673 w 3913909"/>
                  <a:gd name="connsiteY1" fmla="*/ 1164772 h 3409209"/>
                  <a:gd name="connsiteX2" fmla="*/ 1794164 w 3913909"/>
                  <a:gd name="connsiteY2" fmla="*/ 2868881 h 3409209"/>
                  <a:gd name="connsiteX3" fmla="*/ 1835727 w 3913909"/>
                  <a:gd name="connsiteY3" fmla="*/ 3242954 h 3409209"/>
                  <a:gd name="connsiteX4" fmla="*/ 2417618 w 3913909"/>
                  <a:gd name="connsiteY4" fmla="*/ 2806536 h 3409209"/>
                  <a:gd name="connsiteX5" fmla="*/ 2313709 w 3913909"/>
                  <a:gd name="connsiteY5" fmla="*/ 2307772 h 3409209"/>
                  <a:gd name="connsiteX6" fmla="*/ 2687782 w 3913909"/>
                  <a:gd name="connsiteY6" fmla="*/ 2820391 h 3409209"/>
                  <a:gd name="connsiteX7" fmla="*/ 3456709 w 3913909"/>
                  <a:gd name="connsiteY7" fmla="*/ 2557154 h 3409209"/>
                  <a:gd name="connsiteX8" fmla="*/ 3741716 w 3913909"/>
                  <a:gd name="connsiteY8" fmla="*/ 2628405 h 3409209"/>
                  <a:gd name="connsiteX9" fmla="*/ 3913909 w 3913909"/>
                  <a:gd name="connsiteY9" fmla="*/ 2723409 h 3409209"/>
                  <a:gd name="connsiteX10" fmla="*/ 3144982 w 3913909"/>
                  <a:gd name="connsiteY10" fmla="*/ 2850079 h 3409209"/>
                  <a:gd name="connsiteX11" fmla="*/ 2563091 w 3913909"/>
                  <a:gd name="connsiteY11" fmla="*/ 3097481 h 3409209"/>
                  <a:gd name="connsiteX12" fmla="*/ 1794164 w 3913909"/>
                  <a:gd name="connsiteY12" fmla="*/ 3409209 h 3409209"/>
                  <a:gd name="connsiteX13" fmla="*/ 1607127 w 3913909"/>
                  <a:gd name="connsiteY13" fmla="*/ 3118263 h 3409209"/>
                  <a:gd name="connsiteX14" fmla="*/ 1586345 w 3913909"/>
                  <a:gd name="connsiteY14" fmla="*/ 2827318 h 3409209"/>
                  <a:gd name="connsiteX15" fmla="*/ 1420091 w 3913909"/>
                  <a:gd name="connsiteY15" fmla="*/ 2640281 h 3409209"/>
                  <a:gd name="connsiteX16" fmla="*/ 1357745 w 3913909"/>
                  <a:gd name="connsiteY16" fmla="*/ 2203863 h 3409209"/>
                  <a:gd name="connsiteX17" fmla="*/ 796636 w 3913909"/>
                  <a:gd name="connsiteY17" fmla="*/ 1247900 h 3409209"/>
                  <a:gd name="connsiteX18" fmla="*/ 131618 w 3913909"/>
                  <a:gd name="connsiteY18" fmla="*/ 956954 h 3409209"/>
                  <a:gd name="connsiteX19" fmla="*/ 588818 w 3913909"/>
                  <a:gd name="connsiteY19" fmla="*/ 936172 h 3409209"/>
                  <a:gd name="connsiteX20" fmla="*/ 297873 w 3913909"/>
                  <a:gd name="connsiteY20" fmla="*/ 478972 h 3409209"/>
                  <a:gd name="connsiteX21" fmla="*/ 193964 w 3913909"/>
                  <a:gd name="connsiteY21" fmla="*/ 21772 h 3409209"/>
                  <a:gd name="connsiteX0" fmla="*/ 193964 w 3913909"/>
                  <a:gd name="connsiteY0" fmla="*/ 21772 h 3409209"/>
                  <a:gd name="connsiteX1" fmla="*/ 983673 w 3913909"/>
                  <a:gd name="connsiteY1" fmla="*/ 1164772 h 3409209"/>
                  <a:gd name="connsiteX2" fmla="*/ 1794164 w 3913909"/>
                  <a:gd name="connsiteY2" fmla="*/ 2868881 h 3409209"/>
                  <a:gd name="connsiteX3" fmla="*/ 1835727 w 3913909"/>
                  <a:gd name="connsiteY3" fmla="*/ 3242954 h 3409209"/>
                  <a:gd name="connsiteX4" fmla="*/ 2417618 w 3913909"/>
                  <a:gd name="connsiteY4" fmla="*/ 2806536 h 3409209"/>
                  <a:gd name="connsiteX5" fmla="*/ 2313709 w 3913909"/>
                  <a:gd name="connsiteY5" fmla="*/ 2307772 h 3409209"/>
                  <a:gd name="connsiteX6" fmla="*/ 2687782 w 3913909"/>
                  <a:gd name="connsiteY6" fmla="*/ 2820391 h 3409209"/>
                  <a:gd name="connsiteX7" fmla="*/ 3456709 w 3913909"/>
                  <a:gd name="connsiteY7" fmla="*/ 2557154 h 3409209"/>
                  <a:gd name="connsiteX8" fmla="*/ 3741716 w 3913909"/>
                  <a:gd name="connsiteY8" fmla="*/ 2628405 h 3409209"/>
                  <a:gd name="connsiteX9" fmla="*/ 3913909 w 3913909"/>
                  <a:gd name="connsiteY9" fmla="*/ 2723409 h 3409209"/>
                  <a:gd name="connsiteX10" fmla="*/ 3144982 w 3913909"/>
                  <a:gd name="connsiteY10" fmla="*/ 2850079 h 3409209"/>
                  <a:gd name="connsiteX11" fmla="*/ 2563091 w 3913909"/>
                  <a:gd name="connsiteY11" fmla="*/ 3097481 h 3409209"/>
                  <a:gd name="connsiteX12" fmla="*/ 1794164 w 3913909"/>
                  <a:gd name="connsiteY12" fmla="*/ 3409209 h 3409209"/>
                  <a:gd name="connsiteX13" fmla="*/ 1607127 w 3913909"/>
                  <a:gd name="connsiteY13" fmla="*/ 3118263 h 3409209"/>
                  <a:gd name="connsiteX14" fmla="*/ 1586345 w 3913909"/>
                  <a:gd name="connsiteY14" fmla="*/ 2827318 h 3409209"/>
                  <a:gd name="connsiteX15" fmla="*/ 1420091 w 3913909"/>
                  <a:gd name="connsiteY15" fmla="*/ 2640281 h 3409209"/>
                  <a:gd name="connsiteX16" fmla="*/ 1357745 w 3913909"/>
                  <a:gd name="connsiteY16" fmla="*/ 2203863 h 3409209"/>
                  <a:gd name="connsiteX17" fmla="*/ 796636 w 3913909"/>
                  <a:gd name="connsiteY17" fmla="*/ 1247900 h 3409209"/>
                  <a:gd name="connsiteX18" fmla="*/ 131618 w 3913909"/>
                  <a:gd name="connsiteY18" fmla="*/ 956954 h 3409209"/>
                  <a:gd name="connsiteX19" fmla="*/ 588818 w 3913909"/>
                  <a:gd name="connsiteY19" fmla="*/ 936172 h 3409209"/>
                  <a:gd name="connsiteX20" fmla="*/ 297873 w 3913909"/>
                  <a:gd name="connsiteY20" fmla="*/ 478972 h 3409209"/>
                  <a:gd name="connsiteX21" fmla="*/ 193964 w 3913909"/>
                  <a:gd name="connsiteY21" fmla="*/ 21772 h 3409209"/>
                  <a:gd name="connsiteX0" fmla="*/ 193964 w 3913909"/>
                  <a:gd name="connsiteY0" fmla="*/ 21772 h 3409209"/>
                  <a:gd name="connsiteX1" fmla="*/ 983673 w 3913909"/>
                  <a:gd name="connsiteY1" fmla="*/ 1164772 h 3409209"/>
                  <a:gd name="connsiteX2" fmla="*/ 1794164 w 3913909"/>
                  <a:gd name="connsiteY2" fmla="*/ 2868881 h 3409209"/>
                  <a:gd name="connsiteX3" fmla="*/ 1835727 w 3913909"/>
                  <a:gd name="connsiteY3" fmla="*/ 3242954 h 3409209"/>
                  <a:gd name="connsiteX4" fmla="*/ 2417618 w 3913909"/>
                  <a:gd name="connsiteY4" fmla="*/ 2806536 h 3409209"/>
                  <a:gd name="connsiteX5" fmla="*/ 2313709 w 3913909"/>
                  <a:gd name="connsiteY5" fmla="*/ 2307772 h 3409209"/>
                  <a:gd name="connsiteX6" fmla="*/ 2687782 w 3913909"/>
                  <a:gd name="connsiteY6" fmla="*/ 2820391 h 3409209"/>
                  <a:gd name="connsiteX7" fmla="*/ 3456709 w 3913909"/>
                  <a:gd name="connsiteY7" fmla="*/ 2557154 h 3409209"/>
                  <a:gd name="connsiteX8" fmla="*/ 3741716 w 3913909"/>
                  <a:gd name="connsiteY8" fmla="*/ 2628405 h 3409209"/>
                  <a:gd name="connsiteX9" fmla="*/ 3913909 w 3913909"/>
                  <a:gd name="connsiteY9" fmla="*/ 2723409 h 3409209"/>
                  <a:gd name="connsiteX10" fmla="*/ 3144982 w 3913909"/>
                  <a:gd name="connsiteY10" fmla="*/ 2850079 h 3409209"/>
                  <a:gd name="connsiteX11" fmla="*/ 2563091 w 3913909"/>
                  <a:gd name="connsiteY11" fmla="*/ 3097481 h 3409209"/>
                  <a:gd name="connsiteX12" fmla="*/ 1794164 w 3913909"/>
                  <a:gd name="connsiteY12" fmla="*/ 3409209 h 3409209"/>
                  <a:gd name="connsiteX13" fmla="*/ 1607127 w 3913909"/>
                  <a:gd name="connsiteY13" fmla="*/ 3118263 h 3409209"/>
                  <a:gd name="connsiteX14" fmla="*/ 1586345 w 3913909"/>
                  <a:gd name="connsiteY14" fmla="*/ 2827318 h 3409209"/>
                  <a:gd name="connsiteX15" fmla="*/ 1420091 w 3913909"/>
                  <a:gd name="connsiteY15" fmla="*/ 2640281 h 3409209"/>
                  <a:gd name="connsiteX16" fmla="*/ 1357745 w 3913909"/>
                  <a:gd name="connsiteY16" fmla="*/ 2203863 h 3409209"/>
                  <a:gd name="connsiteX17" fmla="*/ 796636 w 3913909"/>
                  <a:gd name="connsiteY17" fmla="*/ 1247900 h 3409209"/>
                  <a:gd name="connsiteX18" fmla="*/ 131618 w 3913909"/>
                  <a:gd name="connsiteY18" fmla="*/ 956954 h 3409209"/>
                  <a:gd name="connsiteX19" fmla="*/ 588818 w 3913909"/>
                  <a:gd name="connsiteY19" fmla="*/ 936172 h 3409209"/>
                  <a:gd name="connsiteX20" fmla="*/ 297873 w 3913909"/>
                  <a:gd name="connsiteY20" fmla="*/ 478972 h 3409209"/>
                  <a:gd name="connsiteX21" fmla="*/ 193964 w 3913909"/>
                  <a:gd name="connsiteY21" fmla="*/ 21772 h 3409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913909" h="3409209">
                    <a:moveTo>
                      <a:pt x="193964" y="21772"/>
                    </a:moveTo>
                    <a:cubicBezTo>
                      <a:pt x="435428" y="217715"/>
                      <a:pt x="513607" y="283030"/>
                      <a:pt x="983673" y="1164772"/>
                    </a:cubicBezTo>
                    <a:cubicBezTo>
                      <a:pt x="1297380" y="1732808"/>
                      <a:pt x="1665514" y="2191988"/>
                      <a:pt x="1794164" y="2868881"/>
                    </a:cubicBezTo>
                    <a:lnTo>
                      <a:pt x="1835727" y="3242954"/>
                    </a:lnTo>
                    <a:cubicBezTo>
                      <a:pt x="2029691" y="3206338"/>
                      <a:pt x="2452254" y="3180609"/>
                      <a:pt x="2417618" y="2806536"/>
                    </a:cubicBezTo>
                    <a:cubicBezTo>
                      <a:pt x="2382982" y="2640281"/>
                      <a:pt x="2293916" y="2463141"/>
                      <a:pt x="2313709" y="2307772"/>
                    </a:cubicBezTo>
                    <a:cubicBezTo>
                      <a:pt x="2405743" y="2148445"/>
                      <a:pt x="2541320" y="2381004"/>
                      <a:pt x="2687782" y="2820391"/>
                    </a:cubicBezTo>
                    <a:cubicBezTo>
                      <a:pt x="2944091" y="2656445"/>
                      <a:pt x="3200400" y="2568700"/>
                      <a:pt x="3456709" y="2557154"/>
                    </a:cubicBezTo>
                    <a:cubicBezTo>
                      <a:pt x="3660569" y="2580905"/>
                      <a:pt x="3603171" y="2593769"/>
                      <a:pt x="3741716" y="2628405"/>
                    </a:cubicBezTo>
                    <a:lnTo>
                      <a:pt x="3913909" y="2723409"/>
                    </a:lnTo>
                    <a:cubicBezTo>
                      <a:pt x="3657600" y="2751118"/>
                      <a:pt x="3455720" y="2757055"/>
                      <a:pt x="3144982" y="2850079"/>
                    </a:cubicBezTo>
                    <a:lnTo>
                      <a:pt x="2563091" y="3097481"/>
                    </a:lnTo>
                    <a:lnTo>
                      <a:pt x="1794164" y="3409209"/>
                    </a:lnTo>
                    <a:cubicBezTo>
                      <a:pt x="1655618" y="3312227"/>
                      <a:pt x="1669473" y="3215245"/>
                      <a:pt x="1607127" y="3118263"/>
                    </a:cubicBezTo>
                    <a:cubicBezTo>
                      <a:pt x="1621972" y="2966853"/>
                      <a:pt x="1647700" y="2924300"/>
                      <a:pt x="1586345" y="2827318"/>
                    </a:cubicBezTo>
                    <a:lnTo>
                      <a:pt x="1420091" y="2640281"/>
                    </a:lnTo>
                    <a:cubicBezTo>
                      <a:pt x="1399309" y="2494808"/>
                      <a:pt x="1422070" y="2371107"/>
                      <a:pt x="1357745" y="2203863"/>
                    </a:cubicBezTo>
                    <a:cubicBezTo>
                      <a:pt x="1214252" y="1896094"/>
                      <a:pt x="972786" y="1381497"/>
                      <a:pt x="796636" y="1247900"/>
                    </a:cubicBezTo>
                    <a:cubicBezTo>
                      <a:pt x="509649" y="1063832"/>
                      <a:pt x="353291" y="1053936"/>
                      <a:pt x="131618" y="956954"/>
                    </a:cubicBezTo>
                    <a:cubicBezTo>
                      <a:pt x="11876" y="775856"/>
                      <a:pt x="436418" y="943099"/>
                      <a:pt x="588818" y="936172"/>
                    </a:cubicBezTo>
                    <a:cubicBezTo>
                      <a:pt x="273189" y="473248"/>
                      <a:pt x="5553" y="478972"/>
                      <a:pt x="297873" y="478972"/>
                    </a:cubicBezTo>
                    <a:cubicBezTo>
                      <a:pt x="263237" y="326572"/>
                      <a:pt x="0" y="0"/>
                      <a:pt x="193964" y="2177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nvGrpSpPr>
              <p:cNvPr id="293" name="Group 121"/>
              <p:cNvGrpSpPr/>
              <p:nvPr/>
            </p:nvGrpSpPr>
            <p:grpSpPr>
              <a:xfrm rot="21114987" flipH="1">
                <a:off x="7172917" y="3054556"/>
                <a:ext cx="387252" cy="286598"/>
                <a:chOff x="588090" y="7497497"/>
                <a:chExt cx="3310446" cy="2420900"/>
              </a:xfrm>
              <a:grpFill/>
            </p:grpSpPr>
            <p:sp>
              <p:nvSpPr>
                <p:cNvPr id="300" name="Freeform 107"/>
                <p:cNvSpPr/>
                <p:nvPr/>
              </p:nvSpPr>
              <p:spPr>
                <a:xfrm>
                  <a:off x="588090" y="7497497"/>
                  <a:ext cx="3310446" cy="2420900"/>
                </a:xfrm>
                <a:custGeom>
                  <a:avLst/>
                  <a:gdLst>
                    <a:gd name="connsiteX0" fmla="*/ 2833213 w 3228067"/>
                    <a:gd name="connsiteY0" fmla="*/ 41563 h 2473036"/>
                    <a:gd name="connsiteX1" fmla="*/ 2105849 w 3228067"/>
                    <a:gd name="connsiteY1" fmla="*/ 249381 h 2473036"/>
                    <a:gd name="connsiteX2" fmla="*/ 1191449 w 3228067"/>
                    <a:gd name="connsiteY2" fmla="*/ 0 h 2473036"/>
                    <a:gd name="connsiteX3" fmla="*/ 526431 w 3228067"/>
                    <a:gd name="connsiteY3" fmla="*/ 270163 h 2473036"/>
                    <a:gd name="connsiteX4" fmla="*/ 193922 w 3228067"/>
                    <a:gd name="connsiteY4" fmla="*/ 561109 h 2473036"/>
                    <a:gd name="connsiteX5" fmla="*/ 6885 w 3228067"/>
                    <a:gd name="connsiteY5" fmla="*/ 602672 h 2473036"/>
                    <a:gd name="connsiteX6" fmla="*/ 214704 w 3228067"/>
                    <a:gd name="connsiteY6" fmla="*/ 831272 h 2473036"/>
                    <a:gd name="connsiteX7" fmla="*/ 921285 w 3228067"/>
                    <a:gd name="connsiteY7" fmla="*/ 581890 h 2473036"/>
                    <a:gd name="connsiteX8" fmla="*/ 443304 w 3228067"/>
                    <a:gd name="connsiteY8" fmla="*/ 1080654 h 2473036"/>
                    <a:gd name="connsiteX9" fmla="*/ 214704 w 3228067"/>
                    <a:gd name="connsiteY9" fmla="*/ 1496290 h 2473036"/>
                    <a:gd name="connsiteX10" fmla="*/ 339394 w 3228067"/>
                    <a:gd name="connsiteY10" fmla="*/ 1704109 h 2473036"/>
                    <a:gd name="connsiteX11" fmla="*/ 505649 w 3228067"/>
                    <a:gd name="connsiteY11" fmla="*/ 1704109 h 2473036"/>
                    <a:gd name="connsiteX12" fmla="*/ 547213 w 3228067"/>
                    <a:gd name="connsiteY12" fmla="*/ 1932709 h 2473036"/>
                    <a:gd name="connsiteX13" fmla="*/ 734249 w 3228067"/>
                    <a:gd name="connsiteY13" fmla="*/ 2015836 h 2473036"/>
                    <a:gd name="connsiteX14" fmla="*/ 775813 w 3228067"/>
                    <a:gd name="connsiteY14" fmla="*/ 2244436 h 2473036"/>
                    <a:gd name="connsiteX15" fmla="*/ 1045976 w 3228067"/>
                    <a:gd name="connsiteY15" fmla="*/ 2265218 h 2473036"/>
                    <a:gd name="connsiteX16" fmla="*/ 1212231 w 3228067"/>
                    <a:gd name="connsiteY16" fmla="*/ 2473036 h 2473036"/>
                    <a:gd name="connsiteX17" fmla="*/ 1648649 w 3228067"/>
                    <a:gd name="connsiteY17" fmla="*/ 2202872 h 2473036"/>
                    <a:gd name="connsiteX18" fmla="*/ 2417576 w 3228067"/>
                    <a:gd name="connsiteY18" fmla="*/ 1787236 h 2473036"/>
                    <a:gd name="connsiteX19" fmla="*/ 2708522 w 3228067"/>
                    <a:gd name="connsiteY19" fmla="*/ 1226127 h 2473036"/>
                    <a:gd name="connsiteX20" fmla="*/ 3165722 w 3228067"/>
                    <a:gd name="connsiteY20" fmla="*/ 1205345 h 2473036"/>
                    <a:gd name="connsiteX21" fmla="*/ 3228067 w 3228067"/>
                    <a:gd name="connsiteY21" fmla="*/ 852054 h 2473036"/>
                    <a:gd name="connsiteX22" fmla="*/ 2833213 w 3228067"/>
                    <a:gd name="connsiteY22" fmla="*/ 41563 h 2473036"/>
                    <a:gd name="connsiteX0" fmla="*/ 2833213 w 3228067"/>
                    <a:gd name="connsiteY0" fmla="*/ 41563 h 2473036"/>
                    <a:gd name="connsiteX1" fmla="*/ 2105849 w 3228067"/>
                    <a:gd name="connsiteY1" fmla="*/ 249381 h 2473036"/>
                    <a:gd name="connsiteX2" fmla="*/ 1191449 w 3228067"/>
                    <a:gd name="connsiteY2" fmla="*/ 0 h 2473036"/>
                    <a:gd name="connsiteX3" fmla="*/ 526431 w 3228067"/>
                    <a:gd name="connsiteY3" fmla="*/ 270163 h 2473036"/>
                    <a:gd name="connsiteX4" fmla="*/ 193922 w 3228067"/>
                    <a:gd name="connsiteY4" fmla="*/ 561109 h 2473036"/>
                    <a:gd name="connsiteX5" fmla="*/ 6885 w 3228067"/>
                    <a:gd name="connsiteY5" fmla="*/ 602672 h 2473036"/>
                    <a:gd name="connsiteX6" fmla="*/ 214704 w 3228067"/>
                    <a:gd name="connsiteY6" fmla="*/ 831272 h 2473036"/>
                    <a:gd name="connsiteX7" fmla="*/ 921285 w 3228067"/>
                    <a:gd name="connsiteY7" fmla="*/ 581890 h 2473036"/>
                    <a:gd name="connsiteX8" fmla="*/ 443304 w 3228067"/>
                    <a:gd name="connsiteY8" fmla="*/ 1080654 h 2473036"/>
                    <a:gd name="connsiteX9" fmla="*/ 214704 w 3228067"/>
                    <a:gd name="connsiteY9" fmla="*/ 1496290 h 2473036"/>
                    <a:gd name="connsiteX10" fmla="*/ 339394 w 3228067"/>
                    <a:gd name="connsiteY10" fmla="*/ 1704109 h 2473036"/>
                    <a:gd name="connsiteX11" fmla="*/ 505649 w 3228067"/>
                    <a:gd name="connsiteY11" fmla="*/ 1704109 h 2473036"/>
                    <a:gd name="connsiteX12" fmla="*/ 547213 w 3228067"/>
                    <a:gd name="connsiteY12" fmla="*/ 1932709 h 2473036"/>
                    <a:gd name="connsiteX13" fmla="*/ 734249 w 3228067"/>
                    <a:gd name="connsiteY13" fmla="*/ 2015836 h 2473036"/>
                    <a:gd name="connsiteX14" fmla="*/ 775813 w 3228067"/>
                    <a:gd name="connsiteY14" fmla="*/ 2244436 h 2473036"/>
                    <a:gd name="connsiteX15" fmla="*/ 1045976 w 3228067"/>
                    <a:gd name="connsiteY15" fmla="*/ 2265218 h 2473036"/>
                    <a:gd name="connsiteX16" fmla="*/ 1212231 w 3228067"/>
                    <a:gd name="connsiteY16" fmla="*/ 2473036 h 2473036"/>
                    <a:gd name="connsiteX17" fmla="*/ 1648649 w 3228067"/>
                    <a:gd name="connsiteY17" fmla="*/ 2202872 h 2473036"/>
                    <a:gd name="connsiteX18" fmla="*/ 2417576 w 3228067"/>
                    <a:gd name="connsiteY18" fmla="*/ 1787236 h 2473036"/>
                    <a:gd name="connsiteX19" fmla="*/ 2708522 w 3228067"/>
                    <a:gd name="connsiteY19" fmla="*/ 1226127 h 2473036"/>
                    <a:gd name="connsiteX20" fmla="*/ 3165722 w 3228067"/>
                    <a:gd name="connsiteY20" fmla="*/ 1205345 h 2473036"/>
                    <a:gd name="connsiteX21" fmla="*/ 3228067 w 3228067"/>
                    <a:gd name="connsiteY21" fmla="*/ 852054 h 2473036"/>
                    <a:gd name="connsiteX22" fmla="*/ 2833213 w 3228067"/>
                    <a:gd name="connsiteY22" fmla="*/ 41563 h 2473036"/>
                    <a:gd name="connsiteX0" fmla="*/ 2850391 w 3245245"/>
                    <a:gd name="connsiteY0" fmla="*/ 41563 h 2473036"/>
                    <a:gd name="connsiteX1" fmla="*/ 2123027 w 3245245"/>
                    <a:gd name="connsiteY1" fmla="*/ 249381 h 2473036"/>
                    <a:gd name="connsiteX2" fmla="*/ 1208627 w 3245245"/>
                    <a:gd name="connsiteY2" fmla="*/ 0 h 2473036"/>
                    <a:gd name="connsiteX3" fmla="*/ 543609 w 3245245"/>
                    <a:gd name="connsiteY3" fmla="*/ 270163 h 2473036"/>
                    <a:gd name="connsiteX4" fmla="*/ 211100 w 3245245"/>
                    <a:gd name="connsiteY4" fmla="*/ 561109 h 2473036"/>
                    <a:gd name="connsiteX5" fmla="*/ 0 w 3245245"/>
                    <a:gd name="connsiteY5" fmla="*/ 690903 h 2473036"/>
                    <a:gd name="connsiteX6" fmla="*/ 231882 w 3245245"/>
                    <a:gd name="connsiteY6" fmla="*/ 831272 h 2473036"/>
                    <a:gd name="connsiteX7" fmla="*/ 938463 w 3245245"/>
                    <a:gd name="connsiteY7" fmla="*/ 581890 h 2473036"/>
                    <a:gd name="connsiteX8" fmla="*/ 460482 w 3245245"/>
                    <a:gd name="connsiteY8" fmla="*/ 1080654 h 2473036"/>
                    <a:gd name="connsiteX9" fmla="*/ 231882 w 3245245"/>
                    <a:gd name="connsiteY9" fmla="*/ 1496290 h 2473036"/>
                    <a:gd name="connsiteX10" fmla="*/ 356572 w 3245245"/>
                    <a:gd name="connsiteY10" fmla="*/ 1704109 h 2473036"/>
                    <a:gd name="connsiteX11" fmla="*/ 522827 w 3245245"/>
                    <a:gd name="connsiteY11" fmla="*/ 1704109 h 2473036"/>
                    <a:gd name="connsiteX12" fmla="*/ 564391 w 3245245"/>
                    <a:gd name="connsiteY12" fmla="*/ 1932709 h 2473036"/>
                    <a:gd name="connsiteX13" fmla="*/ 751427 w 3245245"/>
                    <a:gd name="connsiteY13" fmla="*/ 2015836 h 2473036"/>
                    <a:gd name="connsiteX14" fmla="*/ 792991 w 3245245"/>
                    <a:gd name="connsiteY14" fmla="*/ 2244436 h 2473036"/>
                    <a:gd name="connsiteX15" fmla="*/ 1063154 w 3245245"/>
                    <a:gd name="connsiteY15" fmla="*/ 2265218 h 2473036"/>
                    <a:gd name="connsiteX16" fmla="*/ 1229409 w 3245245"/>
                    <a:gd name="connsiteY16" fmla="*/ 2473036 h 2473036"/>
                    <a:gd name="connsiteX17" fmla="*/ 1665827 w 3245245"/>
                    <a:gd name="connsiteY17" fmla="*/ 2202872 h 2473036"/>
                    <a:gd name="connsiteX18" fmla="*/ 2434754 w 3245245"/>
                    <a:gd name="connsiteY18" fmla="*/ 1787236 h 2473036"/>
                    <a:gd name="connsiteX19" fmla="*/ 2725700 w 3245245"/>
                    <a:gd name="connsiteY19" fmla="*/ 1226127 h 2473036"/>
                    <a:gd name="connsiteX20" fmla="*/ 3182900 w 3245245"/>
                    <a:gd name="connsiteY20" fmla="*/ 1205345 h 2473036"/>
                    <a:gd name="connsiteX21" fmla="*/ 3245245 w 3245245"/>
                    <a:gd name="connsiteY21" fmla="*/ 852054 h 2473036"/>
                    <a:gd name="connsiteX22" fmla="*/ 2850391 w 3245245"/>
                    <a:gd name="connsiteY22" fmla="*/ 41563 h 2473036"/>
                    <a:gd name="connsiteX0" fmla="*/ 2850391 w 3245245"/>
                    <a:gd name="connsiteY0" fmla="*/ 41563 h 2473036"/>
                    <a:gd name="connsiteX1" fmla="*/ 2123027 w 3245245"/>
                    <a:gd name="connsiteY1" fmla="*/ 249381 h 2473036"/>
                    <a:gd name="connsiteX2" fmla="*/ 1208627 w 3245245"/>
                    <a:gd name="connsiteY2" fmla="*/ 0 h 2473036"/>
                    <a:gd name="connsiteX3" fmla="*/ 543609 w 3245245"/>
                    <a:gd name="connsiteY3" fmla="*/ 270163 h 2473036"/>
                    <a:gd name="connsiteX4" fmla="*/ 211100 w 3245245"/>
                    <a:gd name="connsiteY4" fmla="*/ 561109 h 2473036"/>
                    <a:gd name="connsiteX5" fmla="*/ 0 w 3245245"/>
                    <a:gd name="connsiteY5" fmla="*/ 690903 h 2473036"/>
                    <a:gd name="connsiteX6" fmla="*/ 231882 w 3245245"/>
                    <a:gd name="connsiteY6" fmla="*/ 831272 h 2473036"/>
                    <a:gd name="connsiteX7" fmla="*/ 938463 w 3245245"/>
                    <a:gd name="connsiteY7" fmla="*/ 581890 h 2473036"/>
                    <a:gd name="connsiteX8" fmla="*/ 460482 w 3245245"/>
                    <a:gd name="connsiteY8" fmla="*/ 1080654 h 2473036"/>
                    <a:gd name="connsiteX9" fmla="*/ 231882 w 3245245"/>
                    <a:gd name="connsiteY9" fmla="*/ 1496290 h 2473036"/>
                    <a:gd name="connsiteX10" fmla="*/ 356572 w 3245245"/>
                    <a:gd name="connsiteY10" fmla="*/ 1704109 h 2473036"/>
                    <a:gd name="connsiteX11" fmla="*/ 522827 w 3245245"/>
                    <a:gd name="connsiteY11" fmla="*/ 1704109 h 2473036"/>
                    <a:gd name="connsiteX12" fmla="*/ 564391 w 3245245"/>
                    <a:gd name="connsiteY12" fmla="*/ 1932709 h 2473036"/>
                    <a:gd name="connsiteX13" fmla="*/ 751427 w 3245245"/>
                    <a:gd name="connsiteY13" fmla="*/ 2015836 h 2473036"/>
                    <a:gd name="connsiteX14" fmla="*/ 792991 w 3245245"/>
                    <a:gd name="connsiteY14" fmla="*/ 2244436 h 2473036"/>
                    <a:gd name="connsiteX15" fmla="*/ 1063154 w 3245245"/>
                    <a:gd name="connsiteY15" fmla="*/ 2265218 h 2473036"/>
                    <a:gd name="connsiteX16" fmla="*/ 1229409 w 3245245"/>
                    <a:gd name="connsiteY16" fmla="*/ 2473036 h 2473036"/>
                    <a:gd name="connsiteX17" fmla="*/ 1665827 w 3245245"/>
                    <a:gd name="connsiteY17" fmla="*/ 2202872 h 2473036"/>
                    <a:gd name="connsiteX18" fmla="*/ 2434754 w 3245245"/>
                    <a:gd name="connsiteY18" fmla="*/ 1787236 h 2473036"/>
                    <a:gd name="connsiteX19" fmla="*/ 2725700 w 3245245"/>
                    <a:gd name="connsiteY19" fmla="*/ 1226127 h 2473036"/>
                    <a:gd name="connsiteX20" fmla="*/ 3182900 w 3245245"/>
                    <a:gd name="connsiteY20" fmla="*/ 1205345 h 2473036"/>
                    <a:gd name="connsiteX21" fmla="*/ 3245245 w 3245245"/>
                    <a:gd name="connsiteY21" fmla="*/ 852054 h 2473036"/>
                    <a:gd name="connsiteX22" fmla="*/ 2850391 w 3245245"/>
                    <a:gd name="connsiteY22" fmla="*/ 41563 h 2473036"/>
                    <a:gd name="connsiteX0" fmla="*/ 2850391 w 3245245"/>
                    <a:gd name="connsiteY0" fmla="*/ 41563 h 2473036"/>
                    <a:gd name="connsiteX1" fmla="*/ 2123027 w 3245245"/>
                    <a:gd name="connsiteY1" fmla="*/ 249381 h 2473036"/>
                    <a:gd name="connsiteX2" fmla="*/ 1208627 w 3245245"/>
                    <a:gd name="connsiteY2" fmla="*/ 0 h 2473036"/>
                    <a:gd name="connsiteX3" fmla="*/ 543609 w 3245245"/>
                    <a:gd name="connsiteY3" fmla="*/ 270163 h 2473036"/>
                    <a:gd name="connsiteX4" fmla="*/ 211100 w 3245245"/>
                    <a:gd name="connsiteY4" fmla="*/ 561109 h 2473036"/>
                    <a:gd name="connsiteX5" fmla="*/ 0 w 3245245"/>
                    <a:gd name="connsiteY5" fmla="*/ 690903 h 2473036"/>
                    <a:gd name="connsiteX6" fmla="*/ 231882 w 3245245"/>
                    <a:gd name="connsiteY6" fmla="*/ 831272 h 2473036"/>
                    <a:gd name="connsiteX7" fmla="*/ 938463 w 3245245"/>
                    <a:gd name="connsiteY7" fmla="*/ 581890 h 2473036"/>
                    <a:gd name="connsiteX8" fmla="*/ 460482 w 3245245"/>
                    <a:gd name="connsiteY8" fmla="*/ 1080654 h 2473036"/>
                    <a:gd name="connsiteX9" fmla="*/ 231882 w 3245245"/>
                    <a:gd name="connsiteY9" fmla="*/ 1496290 h 2473036"/>
                    <a:gd name="connsiteX10" fmla="*/ 356572 w 3245245"/>
                    <a:gd name="connsiteY10" fmla="*/ 1704109 h 2473036"/>
                    <a:gd name="connsiteX11" fmla="*/ 522827 w 3245245"/>
                    <a:gd name="connsiteY11" fmla="*/ 1704109 h 2473036"/>
                    <a:gd name="connsiteX12" fmla="*/ 564391 w 3245245"/>
                    <a:gd name="connsiteY12" fmla="*/ 1932709 h 2473036"/>
                    <a:gd name="connsiteX13" fmla="*/ 751427 w 3245245"/>
                    <a:gd name="connsiteY13" fmla="*/ 2015836 h 2473036"/>
                    <a:gd name="connsiteX14" fmla="*/ 792991 w 3245245"/>
                    <a:gd name="connsiteY14" fmla="*/ 2244436 h 2473036"/>
                    <a:gd name="connsiteX15" fmla="*/ 1063154 w 3245245"/>
                    <a:gd name="connsiteY15" fmla="*/ 2265218 h 2473036"/>
                    <a:gd name="connsiteX16" fmla="*/ 1229409 w 3245245"/>
                    <a:gd name="connsiteY16" fmla="*/ 2473036 h 2473036"/>
                    <a:gd name="connsiteX17" fmla="*/ 1665827 w 3245245"/>
                    <a:gd name="connsiteY17" fmla="*/ 2202872 h 2473036"/>
                    <a:gd name="connsiteX18" fmla="*/ 2434754 w 3245245"/>
                    <a:gd name="connsiteY18" fmla="*/ 1787236 h 2473036"/>
                    <a:gd name="connsiteX19" fmla="*/ 2725700 w 3245245"/>
                    <a:gd name="connsiteY19" fmla="*/ 1226127 h 2473036"/>
                    <a:gd name="connsiteX20" fmla="*/ 3182900 w 3245245"/>
                    <a:gd name="connsiteY20" fmla="*/ 1205345 h 2473036"/>
                    <a:gd name="connsiteX21" fmla="*/ 3245245 w 3245245"/>
                    <a:gd name="connsiteY21" fmla="*/ 852054 h 2473036"/>
                    <a:gd name="connsiteX22" fmla="*/ 2850391 w 3245245"/>
                    <a:gd name="connsiteY22" fmla="*/ 41563 h 2473036"/>
                    <a:gd name="connsiteX0" fmla="*/ 2850391 w 3245245"/>
                    <a:gd name="connsiteY0" fmla="*/ 41563 h 2473036"/>
                    <a:gd name="connsiteX1" fmla="*/ 2123027 w 3245245"/>
                    <a:gd name="connsiteY1" fmla="*/ 249381 h 2473036"/>
                    <a:gd name="connsiteX2" fmla="*/ 1208627 w 3245245"/>
                    <a:gd name="connsiteY2" fmla="*/ 0 h 2473036"/>
                    <a:gd name="connsiteX3" fmla="*/ 543609 w 3245245"/>
                    <a:gd name="connsiteY3" fmla="*/ 270163 h 2473036"/>
                    <a:gd name="connsiteX4" fmla="*/ 211100 w 3245245"/>
                    <a:gd name="connsiteY4" fmla="*/ 561109 h 2473036"/>
                    <a:gd name="connsiteX5" fmla="*/ 0 w 3245245"/>
                    <a:gd name="connsiteY5" fmla="*/ 690903 h 2473036"/>
                    <a:gd name="connsiteX6" fmla="*/ 231882 w 3245245"/>
                    <a:gd name="connsiteY6" fmla="*/ 831272 h 2473036"/>
                    <a:gd name="connsiteX7" fmla="*/ 938463 w 3245245"/>
                    <a:gd name="connsiteY7" fmla="*/ 581890 h 2473036"/>
                    <a:gd name="connsiteX8" fmla="*/ 460482 w 3245245"/>
                    <a:gd name="connsiteY8" fmla="*/ 1080654 h 2473036"/>
                    <a:gd name="connsiteX9" fmla="*/ 231882 w 3245245"/>
                    <a:gd name="connsiteY9" fmla="*/ 1496290 h 2473036"/>
                    <a:gd name="connsiteX10" fmla="*/ 356572 w 3245245"/>
                    <a:gd name="connsiteY10" fmla="*/ 1704109 h 2473036"/>
                    <a:gd name="connsiteX11" fmla="*/ 522827 w 3245245"/>
                    <a:gd name="connsiteY11" fmla="*/ 1704109 h 2473036"/>
                    <a:gd name="connsiteX12" fmla="*/ 564391 w 3245245"/>
                    <a:gd name="connsiteY12" fmla="*/ 1932709 h 2473036"/>
                    <a:gd name="connsiteX13" fmla="*/ 751427 w 3245245"/>
                    <a:gd name="connsiteY13" fmla="*/ 2015836 h 2473036"/>
                    <a:gd name="connsiteX14" fmla="*/ 792991 w 3245245"/>
                    <a:gd name="connsiteY14" fmla="*/ 2244436 h 2473036"/>
                    <a:gd name="connsiteX15" fmla="*/ 1063154 w 3245245"/>
                    <a:gd name="connsiteY15" fmla="*/ 2265218 h 2473036"/>
                    <a:gd name="connsiteX16" fmla="*/ 1229409 w 3245245"/>
                    <a:gd name="connsiteY16" fmla="*/ 2473036 h 2473036"/>
                    <a:gd name="connsiteX17" fmla="*/ 1665827 w 3245245"/>
                    <a:gd name="connsiteY17" fmla="*/ 2202872 h 2473036"/>
                    <a:gd name="connsiteX18" fmla="*/ 2434754 w 3245245"/>
                    <a:gd name="connsiteY18" fmla="*/ 1787236 h 2473036"/>
                    <a:gd name="connsiteX19" fmla="*/ 2725700 w 3245245"/>
                    <a:gd name="connsiteY19" fmla="*/ 1226127 h 2473036"/>
                    <a:gd name="connsiteX20" fmla="*/ 3182900 w 3245245"/>
                    <a:gd name="connsiteY20" fmla="*/ 1205345 h 2473036"/>
                    <a:gd name="connsiteX21" fmla="*/ 3245245 w 3245245"/>
                    <a:gd name="connsiteY21" fmla="*/ 852054 h 2473036"/>
                    <a:gd name="connsiteX22" fmla="*/ 2850391 w 3245245"/>
                    <a:gd name="connsiteY22" fmla="*/ 41563 h 2473036"/>
                    <a:gd name="connsiteX0" fmla="*/ 2850391 w 3245245"/>
                    <a:gd name="connsiteY0" fmla="*/ 41563 h 2473036"/>
                    <a:gd name="connsiteX1" fmla="*/ 2123027 w 3245245"/>
                    <a:gd name="connsiteY1" fmla="*/ 249381 h 2473036"/>
                    <a:gd name="connsiteX2" fmla="*/ 1208627 w 3245245"/>
                    <a:gd name="connsiteY2" fmla="*/ 0 h 2473036"/>
                    <a:gd name="connsiteX3" fmla="*/ 543609 w 3245245"/>
                    <a:gd name="connsiteY3" fmla="*/ 270163 h 2473036"/>
                    <a:gd name="connsiteX4" fmla="*/ 211100 w 3245245"/>
                    <a:gd name="connsiteY4" fmla="*/ 561109 h 2473036"/>
                    <a:gd name="connsiteX5" fmla="*/ 0 w 3245245"/>
                    <a:gd name="connsiteY5" fmla="*/ 690903 h 2473036"/>
                    <a:gd name="connsiteX6" fmla="*/ 231882 w 3245245"/>
                    <a:gd name="connsiteY6" fmla="*/ 831272 h 2473036"/>
                    <a:gd name="connsiteX7" fmla="*/ 938463 w 3245245"/>
                    <a:gd name="connsiteY7" fmla="*/ 581890 h 2473036"/>
                    <a:gd name="connsiteX8" fmla="*/ 460482 w 3245245"/>
                    <a:gd name="connsiteY8" fmla="*/ 1080654 h 2473036"/>
                    <a:gd name="connsiteX9" fmla="*/ 231882 w 3245245"/>
                    <a:gd name="connsiteY9" fmla="*/ 1496290 h 2473036"/>
                    <a:gd name="connsiteX10" fmla="*/ 356572 w 3245245"/>
                    <a:gd name="connsiteY10" fmla="*/ 1704109 h 2473036"/>
                    <a:gd name="connsiteX11" fmla="*/ 522827 w 3245245"/>
                    <a:gd name="connsiteY11" fmla="*/ 1704109 h 2473036"/>
                    <a:gd name="connsiteX12" fmla="*/ 564391 w 3245245"/>
                    <a:gd name="connsiteY12" fmla="*/ 1932709 h 2473036"/>
                    <a:gd name="connsiteX13" fmla="*/ 751427 w 3245245"/>
                    <a:gd name="connsiteY13" fmla="*/ 2015836 h 2473036"/>
                    <a:gd name="connsiteX14" fmla="*/ 792991 w 3245245"/>
                    <a:gd name="connsiteY14" fmla="*/ 2244436 h 2473036"/>
                    <a:gd name="connsiteX15" fmla="*/ 1063154 w 3245245"/>
                    <a:gd name="connsiteY15" fmla="*/ 2265218 h 2473036"/>
                    <a:gd name="connsiteX16" fmla="*/ 1229409 w 3245245"/>
                    <a:gd name="connsiteY16" fmla="*/ 2473036 h 2473036"/>
                    <a:gd name="connsiteX17" fmla="*/ 1665827 w 3245245"/>
                    <a:gd name="connsiteY17" fmla="*/ 2202872 h 2473036"/>
                    <a:gd name="connsiteX18" fmla="*/ 2434754 w 3245245"/>
                    <a:gd name="connsiteY18" fmla="*/ 1787236 h 2473036"/>
                    <a:gd name="connsiteX19" fmla="*/ 2725700 w 3245245"/>
                    <a:gd name="connsiteY19" fmla="*/ 1226127 h 2473036"/>
                    <a:gd name="connsiteX20" fmla="*/ 3182900 w 3245245"/>
                    <a:gd name="connsiteY20" fmla="*/ 1205345 h 2473036"/>
                    <a:gd name="connsiteX21" fmla="*/ 3245245 w 3245245"/>
                    <a:gd name="connsiteY21" fmla="*/ 852054 h 2473036"/>
                    <a:gd name="connsiteX22" fmla="*/ 2850391 w 3245245"/>
                    <a:gd name="connsiteY22" fmla="*/ 41563 h 2473036"/>
                    <a:gd name="connsiteX0" fmla="*/ 2850391 w 3245245"/>
                    <a:gd name="connsiteY0" fmla="*/ 41563 h 2473036"/>
                    <a:gd name="connsiteX1" fmla="*/ 2123027 w 3245245"/>
                    <a:gd name="connsiteY1" fmla="*/ 249381 h 2473036"/>
                    <a:gd name="connsiteX2" fmla="*/ 1208627 w 3245245"/>
                    <a:gd name="connsiteY2" fmla="*/ 0 h 2473036"/>
                    <a:gd name="connsiteX3" fmla="*/ 543609 w 3245245"/>
                    <a:gd name="connsiteY3" fmla="*/ 270163 h 2473036"/>
                    <a:gd name="connsiteX4" fmla="*/ 211100 w 3245245"/>
                    <a:gd name="connsiteY4" fmla="*/ 561109 h 2473036"/>
                    <a:gd name="connsiteX5" fmla="*/ 0 w 3245245"/>
                    <a:gd name="connsiteY5" fmla="*/ 690903 h 2473036"/>
                    <a:gd name="connsiteX6" fmla="*/ 231882 w 3245245"/>
                    <a:gd name="connsiteY6" fmla="*/ 831272 h 2473036"/>
                    <a:gd name="connsiteX7" fmla="*/ 938463 w 3245245"/>
                    <a:gd name="connsiteY7" fmla="*/ 581890 h 2473036"/>
                    <a:gd name="connsiteX8" fmla="*/ 460482 w 3245245"/>
                    <a:gd name="connsiteY8" fmla="*/ 1080654 h 2473036"/>
                    <a:gd name="connsiteX9" fmla="*/ 231882 w 3245245"/>
                    <a:gd name="connsiteY9" fmla="*/ 1496290 h 2473036"/>
                    <a:gd name="connsiteX10" fmla="*/ 356572 w 3245245"/>
                    <a:gd name="connsiteY10" fmla="*/ 1704109 h 2473036"/>
                    <a:gd name="connsiteX11" fmla="*/ 522827 w 3245245"/>
                    <a:gd name="connsiteY11" fmla="*/ 1704109 h 2473036"/>
                    <a:gd name="connsiteX12" fmla="*/ 564391 w 3245245"/>
                    <a:gd name="connsiteY12" fmla="*/ 1932709 h 2473036"/>
                    <a:gd name="connsiteX13" fmla="*/ 751427 w 3245245"/>
                    <a:gd name="connsiteY13" fmla="*/ 2015836 h 2473036"/>
                    <a:gd name="connsiteX14" fmla="*/ 792991 w 3245245"/>
                    <a:gd name="connsiteY14" fmla="*/ 2244436 h 2473036"/>
                    <a:gd name="connsiteX15" fmla="*/ 1063154 w 3245245"/>
                    <a:gd name="connsiteY15" fmla="*/ 2265218 h 2473036"/>
                    <a:gd name="connsiteX16" fmla="*/ 1229409 w 3245245"/>
                    <a:gd name="connsiteY16" fmla="*/ 2473036 h 2473036"/>
                    <a:gd name="connsiteX17" fmla="*/ 1665827 w 3245245"/>
                    <a:gd name="connsiteY17" fmla="*/ 2202872 h 2473036"/>
                    <a:gd name="connsiteX18" fmla="*/ 2434754 w 3245245"/>
                    <a:gd name="connsiteY18" fmla="*/ 1787236 h 2473036"/>
                    <a:gd name="connsiteX19" fmla="*/ 2725700 w 3245245"/>
                    <a:gd name="connsiteY19" fmla="*/ 1226127 h 2473036"/>
                    <a:gd name="connsiteX20" fmla="*/ 3182900 w 3245245"/>
                    <a:gd name="connsiteY20" fmla="*/ 1205345 h 2473036"/>
                    <a:gd name="connsiteX21" fmla="*/ 3245245 w 3245245"/>
                    <a:gd name="connsiteY21" fmla="*/ 852054 h 2473036"/>
                    <a:gd name="connsiteX22" fmla="*/ 2850391 w 3245245"/>
                    <a:gd name="connsiteY22" fmla="*/ 41563 h 2473036"/>
                    <a:gd name="connsiteX0" fmla="*/ 2850391 w 3245245"/>
                    <a:gd name="connsiteY0" fmla="*/ 25521 h 2456994"/>
                    <a:gd name="connsiteX1" fmla="*/ 2123027 w 3245245"/>
                    <a:gd name="connsiteY1" fmla="*/ 233339 h 2456994"/>
                    <a:gd name="connsiteX2" fmla="*/ 1208627 w 3245245"/>
                    <a:gd name="connsiteY2" fmla="*/ 0 h 2456994"/>
                    <a:gd name="connsiteX3" fmla="*/ 543609 w 3245245"/>
                    <a:gd name="connsiteY3" fmla="*/ 254121 h 2456994"/>
                    <a:gd name="connsiteX4" fmla="*/ 211100 w 3245245"/>
                    <a:gd name="connsiteY4" fmla="*/ 545067 h 2456994"/>
                    <a:gd name="connsiteX5" fmla="*/ 0 w 3245245"/>
                    <a:gd name="connsiteY5" fmla="*/ 674861 h 2456994"/>
                    <a:gd name="connsiteX6" fmla="*/ 231882 w 3245245"/>
                    <a:gd name="connsiteY6" fmla="*/ 815230 h 2456994"/>
                    <a:gd name="connsiteX7" fmla="*/ 938463 w 3245245"/>
                    <a:gd name="connsiteY7" fmla="*/ 565848 h 2456994"/>
                    <a:gd name="connsiteX8" fmla="*/ 460482 w 3245245"/>
                    <a:gd name="connsiteY8" fmla="*/ 1064612 h 2456994"/>
                    <a:gd name="connsiteX9" fmla="*/ 231882 w 3245245"/>
                    <a:gd name="connsiteY9" fmla="*/ 1480248 h 2456994"/>
                    <a:gd name="connsiteX10" fmla="*/ 356572 w 3245245"/>
                    <a:gd name="connsiteY10" fmla="*/ 1688067 h 2456994"/>
                    <a:gd name="connsiteX11" fmla="*/ 522827 w 3245245"/>
                    <a:gd name="connsiteY11" fmla="*/ 1688067 h 2456994"/>
                    <a:gd name="connsiteX12" fmla="*/ 564391 w 3245245"/>
                    <a:gd name="connsiteY12" fmla="*/ 1916667 h 2456994"/>
                    <a:gd name="connsiteX13" fmla="*/ 751427 w 3245245"/>
                    <a:gd name="connsiteY13" fmla="*/ 1999794 h 2456994"/>
                    <a:gd name="connsiteX14" fmla="*/ 792991 w 3245245"/>
                    <a:gd name="connsiteY14" fmla="*/ 2228394 h 2456994"/>
                    <a:gd name="connsiteX15" fmla="*/ 1063154 w 3245245"/>
                    <a:gd name="connsiteY15" fmla="*/ 2249176 h 2456994"/>
                    <a:gd name="connsiteX16" fmla="*/ 1229409 w 3245245"/>
                    <a:gd name="connsiteY16" fmla="*/ 2456994 h 2456994"/>
                    <a:gd name="connsiteX17" fmla="*/ 1665827 w 3245245"/>
                    <a:gd name="connsiteY17" fmla="*/ 2186830 h 2456994"/>
                    <a:gd name="connsiteX18" fmla="*/ 2434754 w 3245245"/>
                    <a:gd name="connsiteY18" fmla="*/ 1771194 h 2456994"/>
                    <a:gd name="connsiteX19" fmla="*/ 2725700 w 3245245"/>
                    <a:gd name="connsiteY19" fmla="*/ 1210085 h 2456994"/>
                    <a:gd name="connsiteX20" fmla="*/ 3182900 w 3245245"/>
                    <a:gd name="connsiteY20" fmla="*/ 1189303 h 2456994"/>
                    <a:gd name="connsiteX21" fmla="*/ 3245245 w 3245245"/>
                    <a:gd name="connsiteY21" fmla="*/ 836012 h 2456994"/>
                    <a:gd name="connsiteX22" fmla="*/ 2850391 w 3245245"/>
                    <a:gd name="connsiteY22" fmla="*/ 25521 h 2456994"/>
                    <a:gd name="connsiteX0" fmla="*/ 2850391 w 3245245"/>
                    <a:gd name="connsiteY0" fmla="*/ 25521 h 2456994"/>
                    <a:gd name="connsiteX1" fmla="*/ 2123027 w 3245245"/>
                    <a:gd name="connsiteY1" fmla="*/ 233339 h 2456994"/>
                    <a:gd name="connsiteX2" fmla="*/ 1208627 w 3245245"/>
                    <a:gd name="connsiteY2" fmla="*/ 0 h 2456994"/>
                    <a:gd name="connsiteX3" fmla="*/ 543609 w 3245245"/>
                    <a:gd name="connsiteY3" fmla="*/ 254121 h 2456994"/>
                    <a:gd name="connsiteX4" fmla="*/ 211100 w 3245245"/>
                    <a:gd name="connsiteY4" fmla="*/ 545067 h 2456994"/>
                    <a:gd name="connsiteX5" fmla="*/ 0 w 3245245"/>
                    <a:gd name="connsiteY5" fmla="*/ 674861 h 2456994"/>
                    <a:gd name="connsiteX6" fmla="*/ 231882 w 3245245"/>
                    <a:gd name="connsiteY6" fmla="*/ 815230 h 2456994"/>
                    <a:gd name="connsiteX7" fmla="*/ 938463 w 3245245"/>
                    <a:gd name="connsiteY7" fmla="*/ 565848 h 2456994"/>
                    <a:gd name="connsiteX8" fmla="*/ 460482 w 3245245"/>
                    <a:gd name="connsiteY8" fmla="*/ 1064612 h 2456994"/>
                    <a:gd name="connsiteX9" fmla="*/ 231882 w 3245245"/>
                    <a:gd name="connsiteY9" fmla="*/ 1480248 h 2456994"/>
                    <a:gd name="connsiteX10" fmla="*/ 356572 w 3245245"/>
                    <a:gd name="connsiteY10" fmla="*/ 1688067 h 2456994"/>
                    <a:gd name="connsiteX11" fmla="*/ 522827 w 3245245"/>
                    <a:gd name="connsiteY11" fmla="*/ 1688067 h 2456994"/>
                    <a:gd name="connsiteX12" fmla="*/ 564391 w 3245245"/>
                    <a:gd name="connsiteY12" fmla="*/ 1916667 h 2456994"/>
                    <a:gd name="connsiteX13" fmla="*/ 751427 w 3245245"/>
                    <a:gd name="connsiteY13" fmla="*/ 1999794 h 2456994"/>
                    <a:gd name="connsiteX14" fmla="*/ 792991 w 3245245"/>
                    <a:gd name="connsiteY14" fmla="*/ 2228394 h 2456994"/>
                    <a:gd name="connsiteX15" fmla="*/ 1063154 w 3245245"/>
                    <a:gd name="connsiteY15" fmla="*/ 2249176 h 2456994"/>
                    <a:gd name="connsiteX16" fmla="*/ 1229409 w 3245245"/>
                    <a:gd name="connsiteY16" fmla="*/ 2456994 h 2456994"/>
                    <a:gd name="connsiteX17" fmla="*/ 1665827 w 3245245"/>
                    <a:gd name="connsiteY17" fmla="*/ 2186830 h 2456994"/>
                    <a:gd name="connsiteX18" fmla="*/ 2434754 w 3245245"/>
                    <a:gd name="connsiteY18" fmla="*/ 1771194 h 2456994"/>
                    <a:gd name="connsiteX19" fmla="*/ 2725700 w 3245245"/>
                    <a:gd name="connsiteY19" fmla="*/ 1210085 h 2456994"/>
                    <a:gd name="connsiteX20" fmla="*/ 3182900 w 3245245"/>
                    <a:gd name="connsiteY20" fmla="*/ 1189303 h 2456994"/>
                    <a:gd name="connsiteX21" fmla="*/ 3245245 w 3245245"/>
                    <a:gd name="connsiteY21" fmla="*/ 836012 h 2456994"/>
                    <a:gd name="connsiteX22" fmla="*/ 2850391 w 3245245"/>
                    <a:gd name="connsiteY22" fmla="*/ 25521 h 2456994"/>
                    <a:gd name="connsiteX0" fmla="*/ 2850391 w 3245245"/>
                    <a:gd name="connsiteY0" fmla="*/ 25521 h 2456994"/>
                    <a:gd name="connsiteX1" fmla="*/ 2123027 w 3245245"/>
                    <a:gd name="connsiteY1" fmla="*/ 233339 h 2456994"/>
                    <a:gd name="connsiteX2" fmla="*/ 1208627 w 3245245"/>
                    <a:gd name="connsiteY2" fmla="*/ 0 h 2456994"/>
                    <a:gd name="connsiteX3" fmla="*/ 543609 w 3245245"/>
                    <a:gd name="connsiteY3" fmla="*/ 254121 h 2456994"/>
                    <a:gd name="connsiteX4" fmla="*/ 211100 w 3245245"/>
                    <a:gd name="connsiteY4" fmla="*/ 545067 h 2456994"/>
                    <a:gd name="connsiteX5" fmla="*/ 0 w 3245245"/>
                    <a:gd name="connsiteY5" fmla="*/ 674861 h 2456994"/>
                    <a:gd name="connsiteX6" fmla="*/ 231882 w 3245245"/>
                    <a:gd name="connsiteY6" fmla="*/ 815230 h 2456994"/>
                    <a:gd name="connsiteX7" fmla="*/ 938463 w 3245245"/>
                    <a:gd name="connsiteY7" fmla="*/ 565848 h 2456994"/>
                    <a:gd name="connsiteX8" fmla="*/ 460482 w 3245245"/>
                    <a:gd name="connsiteY8" fmla="*/ 1064612 h 2456994"/>
                    <a:gd name="connsiteX9" fmla="*/ 231882 w 3245245"/>
                    <a:gd name="connsiteY9" fmla="*/ 1480248 h 2456994"/>
                    <a:gd name="connsiteX10" fmla="*/ 356572 w 3245245"/>
                    <a:gd name="connsiteY10" fmla="*/ 1688067 h 2456994"/>
                    <a:gd name="connsiteX11" fmla="*/ 522827 w 3245245"/>
                    <a:gd name="connsiteY11" fmla="*/ 1688067 h 2456994"/>
                    <a:gd name="connsiteX12" fmla="*/ 564391 w 3245245"/>
                    <a:gd name="connsiteY12" fmla="*/ 1916667 h 2456994"/>
                    <a:gd name="connsiteX13" fmla="*/ 751427 w 3245245"/>
                    <a:gd name="connsiteY13" fmla="*/ 1999794 h 2456994"/>
                    <a:gd name="connsiteX14" fmla="*/ 792991 w 3245245"/>
                    <a:gd name="connsiteY14" fmla="*/ 2228394 h 2456994"/>
                    <a:gd name="connsiteX15" fmla="*/ 1063154 w 3245245"/>
                    <a:gd name="connsiteY15" fmla="*/ 2249176 h 2456994"/>
                    <a:gd name="connsiteX16" fmla="*/ 1229409 w 3245245"/>
                    <a:gd name="connsiteY16" fmla="*/ 2456994 h 2456994"/>
                    <a:gd name="connsiteX17" fmla="*/ 1665827 w 3245245"/>
                    <a:gd name="connsiteY17" fmla="*/ 2186830 h 2456994"/>
                    <a:gd name="connsiteX18" fmla="*/ 2434754 w 3245245"/>
                    <a:gd name="connsiteY18" fmla="*/ 1771194 h 2456994"/>
                    <a:gd name="connsiteX19" fmla="*/ 2725700 w 3245245"/>
                    <a:gd name="connsiteY19" fmla="*/ 1210085 h 2456994"/>
                    <a:gd name="connsiteX20" fmla="*/ 3182900 w 3245245"/>
                    <a:gd name="connsiteY20" fmla="*/ 1189303 h 2456994"/>
                    <a:gd name="connsiteX21" fmla="*/ 3245245 w 3245245"/>
                    <a:gd name="connsiteY21" fmla="*/ 836012 h 2456994"/>
                    <a:gd name="connsiteX22" fmla="*/ 2850391 w 3245245"/>
                    <a:gd name="connsiteY22" fmla="*/ 25521 h 2456994"/>
                    <a:gd name="connsiteX0" fmla="*/ 2850391 w 3245245"/>
                    <a:gd name="connsiteY0" fmla="*/ 25521 h 2456994"/>
                    <a:gd name="connsiteX1" fmla="*/ 2123027 w 3245245"/>
                    <a:gd name="connsiteY1" fmla="*/ 233339 h 2456994"/>
                    <a:gd name="connsiteX2" fmla="*/ 1208627 w 3245245"/>
                    <a:gd name="connsiteY2" fmla="*/ 0 h 2456994"/>
                    <a:gd name="connsiteX3" fmla="*/ 543609 w 3245245"/>
                    <a:gd name="connsiteY3" fmla="*/ 254121 h 2456994"/>
                    <a:gd name="connsiteX4" fmla="*/ 211100 w 3245245"/>
                    <a:gd name="connsiteY4" fmla="*/ 545067 h 2456994"/>
                    <a:gd name="connsiteX5" fmla="*/ 0 w 3245245"/>
                    <a:gd name="connsiteY5" fmla="*/ 674861 h 2456994"/>
                    <a:gd name="connsiteX6" fmla="*/ 231882 w 3245245"/>
                    <a:gd name="connsiteY6" fmla="*/ 815230 h 2456994"/>
                    <a:gd name="connsiteX7" fmla="*/ 938463 w 3245245"/>
                    <a:gd name="connsiteY7" fmla="*/ 565848 h 2456994"/>
                    <a:gd name="connsiteX8" fmla="*/ 460482 w 3245245"/>
                    <a:gd name="connsiteY8" fmla="*/ 1064612 h 2456994"/>
                    <a:gd name="connsiteX9" fmla="*/ 231882 w 3245245"/>
                    <a:gd name="connsiteY9" fmla="*/ 1480248 h 2456994"/>
                    <a:gd name="connsiteX10" fmla="*/ 356572 w 3245245"/>
                    <a:gd name="connsiteY10" fmla="*/ 1688067 h 2456994"/>
                    <a:gd name="connsiteX11" fmla="*/ 522827 w 3245245"/>
                    <a:gd name="connsiteY11" fmla="*/ 1688067 h 2456994"/>
                    <a:gd name="connsiteX12" fmla="*/ 564391 w 3245245"/>
                    <a:gd name="connsiteY12" fmla="*/ 1916667 h 2456994"/>
                    <a:gd name="connsiteX13" fmla="*/ 751427 w 3245245"/>
                    <a:gd name="connsiteY13" fmla="*/ 1999794 h 2456994"/>
                    <a:gd name="connsiteX14" fmla="*/ 792991 w 3245245"/>
                    <a:gd name="connsiteY14" fmla="*/ 2228394 h 2456994"/>
                    <a:gd name="connsiteX15" fmla="*/ 1063154 w 3245245"/>
                    <a:gd name="connsiteY15" fmla="*/ 2249176 h 2456994"/>
                    <a:gd name="connsiteX16" fmla="*/ 1229409 w 3245245"/>
                    <a:gd name="connsiteY16" fmla="*/ 2456994 h 2456994"/>
                    <a:gd name="connsiteX17" fmla="*/ 1665827 w 3245245"/>
                    <a:gd name="connsiteY17" fmla="*/ 2186830 h 2456994"/>
                    <a:gd name="connsiteX18" fmla="*/ 2434754 w 3245245"/>
                    <a:gd name="connsiteY18" fmla="*/ 1771194 h 2456994"/>
                    <a:gd name="connsiteX19" fmla="*/ 2725700 w 3245245"/>
                    <a:gd name="connsiteY19" fmla="*/ 1210085 h 2456994"/>
                    <a:gd name="connsiteX20" fmla="*/ 3182900 w 3245245"/>
                    <a:gd name="connsiteY20" fmla="*/ 1189303 h 2456994"/>
                    <a:gd name="connsiteX21" fmla="*/ 3245245 w 3245245"/>
                    <a:gd name="connsiteY21" fmla="*/ 836012 h 2456994"/>
                    <a:gd name="connsiteX22" fmla="*/ 2850391 w 3245245"/>
                    <a:gd name="connsiteY22" fmla="*/ 25521 h 2456994"/>
                    <a:gd name="connsiteX0" fmla="*/ 2850391 w 3245245"/>
                    <a:gd name="connsiteY0" fmla="*/ 25521 h 2456994"/>
                    <a:gd name="connsiteX1" fmla="*/ 2123027 w 3245245"/>
                    <a:gd name="connsiteY1" fmla="*/ 233339 h 2456994"/>
                    <a:gd name="connsiteX2" fmla="*/ 1208627 w 3245245"/>
                    <a:gd name="connsiteY2" fmla="*/ 0 h 2456994"/>
                    <a:gd name="connsiteX3" fmla="*/ 543609 w 3245245"/>
                    <a:gd name="connsiteY3" fmla="*/ 254121 h 2456994"/>
                    <a:gd name="connsiteX4" fmla="*/ 211100 w 3245245"/>
                    <a:gd name="connsiteY4" fmla="*/ 545067 h 2456994"/>
                    <a:gd name="connsiteX5" fmla="*/ 0 w 3245245"/>
                    <a:gd name="connsiteY5" fmla="*/ 674861 h 2456994"/>
                    <a:gd name="connsiteX6" fmla="*/ 231882 w 3245245"/>
                    <a:gd name="connsiteY6" fmla="*/ 815230 h 2456994"/>
                    <a:gd name="connsiteX7" fmla="*/ 938463 w 3245245"/>
                    <a:gd name="connsiteY7" fmla="*/ 565848 h 2456994"/>
                    <a:gd name="connsiteX8" fmla="*/ 460482 w 3245245"/>
                    <a:gd name="connsiteY8" fmla="*/ 1064612 h 2456994"/>
                    <a:gd name="connsiteX9" fmla="*/ 231882 w 3245245"/>
                    <a:gd name="connsiteY9" fmla="*/ 1480248 h 2456994"/>
                    <a:gd name="connsiteX10" fmla="*/ 356572 w 3245245"/>
                    <a:gd name="connsiteY10" fmla="*/ 1688067 h 2456994"/>
                    <a:gd name="connsiteX11" fmla="*/ 522827 w 3245245"/>
                    <a:gd name="connsiteY11" fmla="*/ 1688067 h 2456994"/>
                    <a:gd name="connsiteX12" fmla="*/ 564391 w 3245245"/>
                    <a:gd name="connsiteY12" fmla="*/ 1916667 h 2456994"/>
                    <a:gd name="connsiteX13" fmla="*/ 751427 w 3245245"/>
                    <a:gd name="connsiteY13" fmla="*/ 1999794 h 2456994"/>
                    <a:gd name="connsiteX14" fmla="*/ 792991 w 3245245"/>
                    <a:gd name="connsiteY14" fmla="*/ 2228394 h 2456994"/>
                    <a:gd name="connsiteX15" fmla="*/ 1063154 w 3245245"/>
                    <a:gd name="connsiteY15" fmla="*/ 2249176 h 2456994"/>
                    <a:gd name="connsiteX16" fmla="*/ 1229409 w 3245245"/>
                    <a:gd name="connsiteY16" fmla="*/ 2456994 h 2456994"/>
                    <a:gd name="connsiteX17" fmla="*/ 1665827 w 3245245"/>
                    <a:gd name="connsiteY17" fmla="*/ 2186830 h 2456994"/>
                    <a:gd name="connsiteX18" fmla="*/ 2434754 w 3245245"/>
                    <a:gd name="connsiteY18" fmla="*/ 1771194 h 2456994"/>
                    <a:gd name="connsiteX19" fmla="*/ 2725700 w 3245245"/>
                    <a:gd name="connsiteY19" fmla="*/ 1210085 h 2456994"/>
                    <a:gd name="connsiteX20" fmla="*/ 3182900 w 3245245"/>
                    <a:gd name="connsiteY20" fmla="*/ 1189303 h 2456994"/>
                    <a:gd name="connsiteX21" fmla="*/ 3245245 w 3245245"/>
                    <a:gd name="connsiteY21" fmla="*/ 836012 h 2456994"/>
                    <a:gd name="connsiteX22" fmla="*/ 2850391 w 3245245"/>
                    <a:gd name="connsiteY22" fmla="*/ 25521 h 2456994"/>
                    <a:gd name="connsiteX0" fmla="*/ 2850391 w 3245245"/>
                    <a:gd name="connsiteY0" fmla="*/ 25521 h 2456994"/>
                    <a:gd name="connsiteX1" fmla="*/ 2123027 w 3245245"/>
                    <a:gd name="connsiteY1" fmla="*/ 217297 h 2456994"/>
                    <a:gd name="connsiteX2" fmla="*/ 1208627 w 3245245"/>
                    <a:gd name="connsiteY2" fmla="*/ 0 h 2456994"/>
                    <a:gd name="connsiteX3" fmla="*/ 543609 w 3245245"/>
                    <a:gd name="connsiteY3" fmla="*/ 254121 h 2456994"/>
                    <a:gd name="connsiteX4" fmla="*/ 211100 w 3245245"/>
                    <a:gd name="connsiteY4" fmla="*/ 545067 h 2456994"/>
                    <a:gd name="connsiteX5" fmla="*/ 0 w 3245245"/>
                    <a:gd name="connsiteY5" fmla="*/ 674861 h 2456994"/>
                    <a:gd name="connsiteX6" fmla="*/ 231882 w 3245245"/>
                    <a:gd name="connsiteY6" fmla="*/ 815230 h 2456994"/>
                    <a:gd name="connsiteX7" fmla="*/ 938463 w 3245245"/>
                    <a:gd name="connsiteY7" fmla="*/ 565848 h 2456994"/>
                    <a:gd name="connsiteX8" fmla="*/ 460482 w 3245245"/>
                    <a:gd name="connsiteY8" fmla="*/ 1064612 h 2456994"/>
                    <a:gd name="connsiteX9" fmla="*/ 231882 w 3245245"/>
                    <a:gd name="connsiteY9" fmla="*/ 1480248 h 2456994"/>
                    <a:gd name="connsiteX10" fmla="*/ 356572 w 3245245"/>
                    <a:gd name="connsiteY10" fmla="*/ 1688067 h 2456994"/>
                    <a:gd name="connsiteX11" fmla="*/ 522827 w 3245245"/>
                    <a:gd name="connsiteY11" fmla="*/ 1688067 h 2456994"/>
                    <a:gd name="connsiteX12" fmla="*/ 564391 w 3245245"/>
                    <a:gd name="connsiteY12" fmla="*/ 1916667 h 2456994"/>
                    <a:gd name="connsiteX13" fmla="*/ 751427 w 3245245"/>
                    <a:gd name="connsiteY13" fmla="*/ 1999794 h 2456994"/>
                    <a:gd name="connsiteX14" fmla="*/ 792991 w 3245245"/>
                    <a:gd name="connsiteY14" fmla="*/ 2228394 h 2456994"/>
                    <a:gd name="connsiteX15" fmla="*/ 1063154 w 3245245"/>
                    <a:gd name="connsiteY15" fmla="*/ 2249176 h 2456994"/>
                    <a:gd name="connsiteX16" fmla="*/ 1229409 w 3245245"/>
                    <a:gd name="connsiteY16" fmla="*/ 2456994 h 2456994"/>
                    <a:gd name="connsiteX17" fmla="*/ 1665827 w 3245245"/>
                    <a:gd name="connsiteY17" fmla="*/ 2186830 h 2456994"/>
                    <a:gd name="connsiteX18" fmla="*/ 2434754 w 3245245"/>
                    <a:gd name="connsiteY18" fmla="*/ 1771194 h 2456994"/>
                    <a:gd name="connsiteX19" fmla="*/ 2725700 w 3245245"/>
                    <a:gd name="connsiteY19" fmla="*/ 1210085 h 2456994"/>
                    <a:gd name="connsiteX20" fmla="*/ 3182900 w 3245245"/>
                    <a:gd name="connsiteY20" fmla="*/ 1189303 h 2456994"/>
                    <a:gd name="connsiteX21" fmla="*/ 3245245 w 3245245"/>
                    <a:gd name="connsiteY21" fmla="*/ 836012 h 2456994"/>
                    <a:gd name="connsiteX22" fmla="*/ 2850391 w 3245245"/>
                    <a:gd name="connsiteY22" fmla="*/ 25521 h 2456994"/>
                    <a:gd name="connsiteX0" fmla="*/ 2850391 w 3245245"/>
                    <a:gd name="connsiteY0" fmla="*/ 25521 h 2456994"/>
                    <a:gd name="connsiteX1" fmla="*/ 2123027 w 3245245"/>
                    <a:gd name="connsiteY1" fmla="*/ 217297 h 2456994"/>
                    <a:gd name="connsiteX2" fmla="*/ 1208627 w 3245245"/>
                    <a:gd name="connsiteY2" fmla="*/ 0 h 2456994"/>
                    <a:gd name="connsiteX3" fmla="*/ 543609 w 3245245"/>
                    <a:gd name="connsiteY3" fmla="*/ 254121 h 2456994"/>
                    <a:gd name="connsiteX4" fmla="*/ 211100 w 3245245"/>
                    <a:gd name="connsiteY4" fmla="*/ 545067 h 2456994"/>
                    <a:gd name="connsiteX5" fmla="*/ 0 w 3245245"/>
                    <a:gd name="connsiteY5" fmla="*/ 674861 h 2456994"/>
                    <a:gd name="connsiteX6" fmla="*/ 231882 w 3245245"/>
                    <a:gd name="connsiteY6" fmla="*/ 815230 h 2456994"/>
                    <a:gd name="connsiteX7" fmla="*/ 938463 w 3245245"/>
                    <a:gd name="connsiteY7" fmla="*/ 565848 h 2456994"/>
                    <a:gd name="connsiteX8" fmla="*/ 460482 w 3245245"/>
                    <a:gd name="connsiteY8" fmla="*/ 1064612 h 2456994"/>
                    <a:gd name="connsiteX9" fmla="*/ 231882 w 3245245"/>
                    <a:gd name="connsiteY9" fmla="*/ 1480248 h 2456994"/>
                    <a:gd name="connsiteX10" fmla="*/ 356572 w 3245245"/>
                    <a:gd name="connsiteY10" fmla="*/ 1688067 h 2456994"/>
                    <a:gd name="connsiteX11" fmla="*/ 522827 w 3245245"/>
                    <a:gd name="connsiteY11" fmla="*/ 1688067 h 2456994"/>
                    <a:gd name="connsiteX12" fmla="*/ 564391 w 3245245"/>
                    <a:gd name="connsiteY12" fmla="*/ 1916667 h 2456994"/>
                    <a:gd name="connsiteX13" fmla="*/ 751427 w 3245245"/>
                    <a:gd name="connsiteY13" fmla="*/ 1999794 h 2456994"/>
                    <a:gd name="connsiteX14" fmla="*/ 792991 w 3245245"/>
                    <a:gd name="connsiteY14" fmla="*/ 2228394 h 2456994"/>
                    <a:gd name="connsiteX15" fmla="*/ 1063154 w 3245245"/>
                    <a:gd name="connsiteY15" fmla="*/ 2249176 h 2456994"/>
                    <a:gd name="connsiteX16" fmla="*/ 1229409 w 3245245"/>
                    <a:gd name="connsiteY16" fmla="*/ 2456994 h 2456994"/>
                    <a:gd name="connsiteX17" fmla="*/ 1665827 w 3245245"/>
                    <a:gd name="connsiteY17" fmla="*/ 2186830 h 2456994"/>
                    <a:gd name="connsiteX18" fmla="*/ 2434754 w 3245245"/>
                    <a:gd name="connsiteY18" fmla="*/ 1771194 h 2456994"/>
                    <a:gd name="connsiteX19" fmla="*/ 2725700 w 3245245"/>
                    <a:gd name="connsiteY19" fmla="*/ 1210085 h 2456994"/>
                    <a:gd name="connsiteX20" fmla="*/ 3202953 w 3245245"/>
                    <a:gd name="connsiteY20" fmla="*/ 1153208 h 2456994"/>
                    <a:gd name="connsiteX21" fmla="*/ 3245245 w 3245245"/>
                    <a:gd name="connsiteY21" fmla="*/ 836012 h 2456994"/>
                    <a:gd name="connsiteX22" fmla="*/ 2850391 w 3245245"/>
                    <a:gd name="connsiteY22" fmla="*/ 25521 h 2456994"/>
                    <a:gd name="connsiteX0" fmla="*/ 2850391 w 3281340"/>
                    <a:gd name="connsiteY0" fmla="*/ 25521 h 2456994"/>
                    <a:gd name="connsiteX1" fmla="*/ 2123027 w 3281340"/>
                    <a:gd name="connsiteY1" fmla="*/ 217297 h 2456994"/>
                    <a:gd name="connsiteX2" fmla="*/ 1208627 w 3281340"/>
                    <a:gd name="connsiteY2" fmla="*/ 0 h 2456994"/>
                    <a:gd name="connsiteX3" fmla="*/ 543609 w 3281340"/>
                    <a:gd name="connsiteY3" fmla="*/ 254121 h 2456994"/>
                    <a:gd name="connsiteX4" fmla="*/ 211100 w 3281340"/>
                    <a:gd name="connsiteY4" fmla="*/ 545067 h 2456994"/>
                    <a:gd name="connsiteX5" fmla="*/ 0 w 3281340"/>
                    <a:gd name="connsiteY5" fmla="*/ 674861 h 2456994"/>
                    <a:gd name="connsiteX6" fmla="*/ 231882 w 3281340"/>
                    <a:gd name="connsiteY6" fmla="*/ 815230 h 2456994"/>
                    <a:gd name="connsiteX7" fmla="*/ 938463 w 3281340"/>
                    <a:gd name="connsiteY7" fmla="*/ 565848 h 2456994"/>
                    <a:gd name="connsiteX8" fmla="*/ 460482 w 3281340"/>
                    <a:gd name="connsiteY8" fmla="*/ 1064612 h 2456994"/>
                    <a:gd name="connsiteX9" fmla="*/ 231882 w 3281340"/>
                    <a:gd name="connsiteY9" fmla="*/ 1480248 h 2456994"/>
                    <a:gd name="connsiteX10" fmla="*/ 356572 w 3281340"/>
                    <a:gd name="connsiteY10" fmla="*/ 1688067 h 2456994"/>
                    <a:gd name="connsiteX11" fmla="*/ 522827 w 3281340"/>
                    <a:gd name="connsiteY11" fmla="*/ 1688067 h 2456994"/>
                    <a:gd name="connsiteX12" fmla="*/ 564391 w 3281340"/>
                    <a:gd name="connsiteY12" fmla="*/ 1916667 h 2456994"/>
                    <a:gd name="connsiteX13" fmla="*/ 751427 w 3281340"/>
                    <a:gd name="connsiteY13" fmla="*/ 1999794 h 2456994"/>
                    <a:gd name="connsiteX14" fmla="*/ 792991 w 3281340"/>
                    <a:gd name="connsiteY14" fmla="*/ 2228394 h 2456994"/>
                    <a:gd name="connsiteX15" fmla="*/ 1063154 w 3281340"/>
                    <a:gd name="connsiteY15" fmla="*/ 2249176 h 2456994"/>
                    <a:gd name="connsiteX16" fmla="*/ 1229409 w 3281340"/>
                    <a:gd name="connsiteY16" fmla="*/ 2456994 h 2456994"/>
                    <a:gd name="connsiteX17" fmla="*/ 1665827 w 3281340"/>
                    <a:gd name="connsiteY17" fmla="*/ 2186830 h 2456994"/>
                    <a:gd name="connsiteX18" fmla="*/ 2434754 w 3281340"/>
                    <a:gd name="connsiteY18" fmla="*/ 1771194 h 2456994"/>
                    <a:gd name="connsiteX19" fmla="*/ 2725700 w 3281340"/>
                    <a:gd name="connsiteY19" fmla="*/ 1210085 h 2456994"/>
                    <a:gd name="connsiteX20" fmla="*/ 3202953 w 3281340"/>
                    <a:gd name="connsiteY20" fmla="*/ 1153208 h 2456994"/>
                    <a:gd name="connsiteX21" fmla="*/ 3281340 w 3281340"/>
                    <a:gd name="connsiteY21" fmla="*/ 844033 h 2456994"/>
                    <a:gd name="connsiteX22" fmla="*/ 2850391 w 3281340"/>
                    <a:gd name="connsiteY22" fmla="*/ 25521 h 2456994"/>
                    <a:gd name="connsiteX0" fmla="*/ 2850391 w 3281340"/>
                    <a:gd name="connsiteY0" fmla="*/ 25521 h 2456994"/>
                    <a:gd name="connsiteX1" fmla="*/ 2123027 w 3281340"/>
                    <a:gd name="connsiteY1" fmla="*/ 217297 h 2456994"/>
                    <a:gd name="connsiteX2" fmla="*/ 1208627 w 3281340"/>
                    <a:gd name="connsiteY2" fmla="*/ 0 h 2456994"/>
                    <a:gd name="connsiteX3" fmla="*/ 543609 w 3281340"/>
                    <a:gd name="connsiteY3" fmla="*/ 254121 h 2456994"/>
                    <a:gd name="connsiteX4" fmla="*/ 211100 w 3281340"/>
                    <a:gd name="connsiteY4" fmla="*/ 545067 h 2456994"/>
                    <a:gd name="connsiteX5" fmla="*/ 0 w 3281340"/>
                    <a:gd name="connsiteY5" fmla="*/ 674861 h 2456994"/>
                    <a:gd name="connsiteX6" fmla="*/ 231882 w 3281340"/>
                    <a:gd name="connsiteY6" fmla="*/ 815230 h 2456994"/>
                    <a:gd name="connsiteX7" fmla="*/ 938463 w 3281340"/>
                    <a:gd name="connsiteY7" fmla="*/ 565848 h 2456994"/>
                    <a:gd name="connsiteX8" fmla="*/ 460482 w 3281340"/>
                    <a:gd name="connsiteY8" fmla="*/ 1064612 h 2456994"/>
                    <a:gd name="connsiteX9" fmla="*/ 231882 w 3281340"/>
                    <a:gd name="connsiteY9" fmla="*/ 1480248 h 2456994"/>
                    <a:gd name="connsiteX10" fmla="*/ 356572 w 3281340"/>
                    <a:gd name="connsiteY10" fmla="*/ 1688067 h 2456994"/>
                    <a:gd name="connsiteX11" fmla="*/ 522827 w 3281340"/>
                    <a:gd name="connsiteY11" fmla="*/ 1688067 h 2456994"/>
                    <a:gd name="connsiteX12" fmla="*/ 564391 w 3281340"/>
                    <a:gd name="connsiteY12" fmla="*/ 1916667 h 2456994"/>
                    <a:gd name="connsiteX13" fmla="*/ 751427 w 3281340"/>
                    <a:gd name="connsiteY13" fmla="*/ 1999794 h 2456994"/>
                    <a:gd name="connsiteX14" fmla="*/ 792991 w 3281340"/>
                    <a:gd name="connsiteY14" fmla="*/ 2228394 h 2456994"/>
                    <a:gd name="connsiteX15" fmla="*/ 1063154 w 3281340"/>
                    <a:gd name="connsiteY15" fmla="*/ 2249176 h 2456994"/>
                    <a:gd name="connsiteX16" fmla="*/ 1229409 w 3281340"/>
                    <a:gd name="connsiteY16" fmla="*/ 2456994 h 2456994"/>
                    <a:gd name="connsiteX17" fmla="*/ 1665827 w 3281340"/>
                    <a:gd name="connsiteY17" fmla="*/ 2186830 h 2456994"/>
                    <a:gd name="connsiteX18" fmla="*/ 2434754 w 3281340"/>
                    <a:gd name="connsiteY18" fmla="*/ 1771194 h 2456994"/>
                    <a:gd name="connsiteX19" fmla="*/ 2725700 w 3281340"/>
                    <a:gd name="connsiteY19" fmla="*/ 1210085 h 2456994"/>
                    <a:gd name="connsiteX20" fmla="*/ 3202953 w 3281340"/>
                    <a:gd name="connsiteY20" fmla="*/ 1153208 h 2456994"/>
                    <a:gd name="connsiteX21" fmla="*/ 3281340 w 3281340"/>
                    <a:gd name="connsiteY21" fmla="*/ 844033 h 2456994"/>
                    <a:gd name="connsiteX22" fmla="*/ 2850391 w 3281340"/>
                    <a:gd name="connsiteY22" fmla="*/ 25521 h 2456994"/>
                    <a:gd name="connsiteX0" fmla="*/ 2850391 w 3281340"/>
                    <a:gd name="connsiteY0" fmla="*/ 25521 h 2456994"/>
                    <a:gd name="connsiteX1" fmla="*/ 2123027 w 3281340"/>
                    <a:gd name="connsiteY1" fmla="*/ 217297 h 2456994"/>
                    <a:gd name="connsiteX2" fmla="*/ 1208627 w 3281340"/>
                    <a:gd name="connsiteY2" fmla="*/ 0 h 2456994"/>
                    <a:gd name="connsiteX3" fmla="*/ 543609 w 3281340"/>
                    <a:gd name="connsiteY3" fmla="*/ 254121 h 2456994"/>
                    <a:gd name="connsiteX4" fmla="*/ 211100 w 3281340"/>
                    <a:gd name="connsiteY4" fmla="*/ 545067 h 2456994"/>
                    <a:gd name="connsiteX5" fmla="*/ 0 w 3281340"/>
                    <a:gd name="connsiteY5" fmla="*/ 674861 h 2456994"/>
                    <a:gd name="connsiteX6" fmla="*/ 231882 w 3281340"/>
                    <a:gd name="connsiteY6" fmla="*/ 815230 h 2456994"/>
                    <a:gd name="connsiteX7" fmla="*/ 938463 w 3281340"/>
                    <a:gd name="connsiteY7" fmla="*/ 565848 h 2456994"/>
                    <a:gd name="connsiteX8" fmla="*/ 460482 w 3281340"/>
                    <a:gd name="connsiteY8" fmla="*/ 1064612 h 2456994"/>
                    <a:gd name="connsiteX9" fmla="*/ 231882 w 3281340"/>
                    <a:gd name="connsiteY9" fmla="*/ 1480248 h 2456994"/>
                    <a:gd name="connsiteX10" fmla="*/ 356572 w 3281340"/>
                    <a:gd name="connsiteY10" fmla="*/ 1688067 h 2456994"/>
                    <a:gd name="connsiteX11" fmla="*/ 522827 w 3281340"/>
                    <a:gd name="connsiteY11" fmla="*/ 1688067 h 2456994"/>
                    <a:gd name="connsiteX12" fmla="*/ 564391 w 3281340"/>
                    <a:gd name="connsiteY12" fmla="*/ 1916667 h 2456994"/>
                    <a:gd name="connsiteX13" fmla="*/ 751427 w 3281340"/>
                    <a:gd name="connsiteY13" fmla="*/ 1999794 h 2456994"/>
                    <a:gd name="connsiteX14" fmla="*/ 792991 w 3281340"/>
                    <a:gd name="connsiteY14" fmla="*/ 2228394 h 2456994"/>
                    <a:gd name="connsiteX15" fmla="*/ 1063154 w 3281340"/>
                    <a:gd name="connsiteY15" fmla="*/ 2249176 h 2456994"/>
                    <a:gd name="connsiteX16" fmla="*/ 1229409 w 3281340"/>
                    <a:gd name="connsiteY16" fmla="*/ 2456994 h 2456994"/>
                    <a:gd name="connsiteX17" fmla="*/ 1665827 w 3281340"/>
                    <a:gd name="connsiteY17" fmla="*/ 2186830 h 2456994"/>
                    <a:gd name="connsiteX18" fmla="*/ 2434754 w 3281340"/>
                    <a:gd name="connsiteY18" fmla="*/ 1771194 h 2456994"/>
                    <a:gd name="connsiteX19" fmla="*/ 2725700 w 3281340"/>
                    <a:gd name="connsiteY19" fmla="*/ 1210085 h 2456994"/>
                    <a:gd name="connsiteX20" fmla="*/ 3202953 w 3281340"/>
                    <a:gd name="connsiteY20" fmla="*/ 1153208 h 2456994"/>
                    <a:gd name="connsiteX21" fmla="*/ 3281340 w 3281340"/>
                    <a:gd name="connsiteY21" fmla="*/ 844033 h 2456994"/>
                    <a:gd name="connsiteX22" fmla="*/ 2850391 w 3281340"/>
                    <a:gd name="connsiteY22" fmla="*/ 25521 h 2456994"/>
                    <a:gd name="connsiteX0" fmla="*/ 2850391 w 3281340"/>
                    <a:gd name="connsiteY0" fmla="*/ 25521 h 2456994"/>
                    <a:gd name="connsiteX1" fmla="*/ 2123027 w 3281340"/>
                    <a:gd name="connsiteY1" fmla="*/ 217297 h 2456994"/>
                    <a:gd name="connsiteX2" fmla="*/ 1208627 w 3281340"/>
                    <a:gd name="connsiteY2" fmla="*/ 0 h 2456994"/>
                    <a:gd name="connsiteX3" fmla="*/ 543609 w 3281340"/>
                    <a:gd name="connsiteY3" fmla="*/ 254121 h 2456994"/>
                    <a:gd name="connsiteX4" fmla="*/ 211100 w 3281340"/>
                    <a:gd name="connsiteY4" fmla="*/ 545067 h 2456994"/>
                    <a:gd name="connsiteX5" fmla="*/ 0 w 3281340"/>
                    <a:gd name="connsiteY5" fmla="*/ 674861 h 2456994"/>
                    <a:gd name="connsiteX6" fmla="*/ 231882 w 3281340"/>
                    <a:gd name="connsiteY6" fmla="*/ 815230 h 2456994"/>
                    <a:gd name="connsiteX7" fmla="*/ 938463 w 3281340"/>
                    <a:gd name="connsiteY7" fmla="*/ 565848 h 2456994"/>
                    <a:gd name="connsiteX8" fmla="*/ 460482 w 3281340"/>
                    <a:gd name="connsiteY8" fmla="*/ 1064612 h 2456994"/>
                    <a:gd name="connsiteX9" fmla="*/ 231882 w 3281340"/>
                    <a:gd name="connsiteY9" fmla="*/ 1480248 h 2456994"/>
                    <a:gd name="connsiteX10" fmla="*/ 356572 w 3281340"/>
                    <a:gd name="connsiteY10" fmla="*/ 1688067 h 2456994"/>
                    <a:gd name="connsiteX11" fmla="*/ 522827 w 3281340"/>
                    <a:gd name="connsiteY11" fmla="*/ 1688067 h 2456994"/>
                    <a:gd name="connsiteX12" fmla="*/ 564391 w 3281340"/>
                    <a:gd name="connsiteY12" fmla="*/ 1916667 h 2456994"/>
                    <a:gd name="connsiteX13" fmla="*/ 751427 w 3281340"/>
                    <a:gd name="connsiteY13" fmla="*/ 1999794 h 2456994"/>
                    <a:gd name="connsiteX14" fmla="*/ 792991 w 3281340"/>
                    <a:gd name="connsiteY14" fmla="*/ 2228394 h 2456994"/>
                    <a:gd name="connsiteX15" fmla="*/ 1063154 w 3281340"/>
                    <a:gd name="connsiteY15" fmla="*/ 2249176 h 2456994"/>
                    <a:gd name="connsiteX16" fmla="*/ 1229409 w 3281340"/>
                    <a:gd name="connsiteY16" fmla="*/ 2456994 h 2456994"/>
                    <a:gd name="connsiteX17" fmla="*/ 1665827 w 3281340"/>
                    <a:gd name="connsiteY17" fmla="*/ 2186830 h 2456994"/>
                    <a:gd name="connsiteX18" fmla="*/ 2434754 w 3281340"/>
                    <a:gd name="connsiteY18" fmla="*/ 1771194 h 2456994"/>
                    <a:gd name="connsiteX19" fmla="*/ 2725700 w 3281340"/>
                    <a:gd name="connsiteY19" fmla="*/ 1210085 h 2456994"/>
                    <a:gd name="connsiteX20" fmla="*/ 3202953 w 3281340"/>
                    <a:gd name="connsiteY20" fmla="*/ 1153208 h 2456994"/>
                    <a:gd name="connsiteX21" fmla="*/ 3281340 w 3281340"/>
                    <a:gd name="connsiteY21" fmla="*/ 844033 h 2456994"/>
                    <a:gd name="connsiteX22" fmla="*/ 2850391 w 3281340"/>
                    <a:gd name="connsiteY22" fmla="*/ 25521 h 2456994"/>
                    <a:gd name="connsiteX0" fmla="*/ 2850391 w 3281340"/>
                    <a:gd name="connsiteY0" fmla="*/ 25521 h 2456994"/>
                    <a:gd name="connsiteX1" fmla="*/ 2123027 w 3281340"/>
                    <a:gd name="connsiteY1" fmla="*/ 217297 h 2456994"/>
                    <a:gd name="connsiteX2" fmla="*/ 1208627 w 3281340"/>
                    <a:gd name="connsiteY2" fmla="*/ 0 h 2456994"/>
                    <a:gd name="connsiteX3" fmla="*/ 543609 w 3281340"/>
                    <a:gd name="connsiteY3" fmla="*/ 254121 h 2456994"/>
                    <a:gd name="connsiteX4" fmla="*/ 211100 w 3281340"/>
                    <a:gd name="connsiteY4" fmla="*/ 545067 h 2456994"/>
                    <a:gd name="connsiteX5" fmla="*/ 0 w 3281340"/>
                    <a:gd name="connsiteY5" fmla="*/ 674861 h 2456994"/>
                    <a:gd name="connsiteX6" fmla="*/ 231882 w 3281340"/>
                    <a:gd name="connsiteY6" fmla="*/ 815230 h 2456994"/>
                    <a:gd name="connsiteX7" fmla="*/ 938463 w 3281340"/>
                    <a:gd name="connsiteY7" fmla="*/ 565848 h 2456994"/>
                    <a:gd name="connsiteX8" fmla="*/ 460482 w 3281340"/>
                    <a:gd name="connsiteY8" fmla="*/ 1064612 h 2456994"/>
                    <a:gd name="connsiteX9" fmla="*/ 231882 w 3281340"/>
                    <a:gd name="connsiteY9" fmla="*/ 1480248 h 2456994"/>
                    <a:gd name="connsiteX10" fmla="*/ 356572 w 3281340"/>
                    <a:gd name="connsiteY10" fmla="*/ 1688067 h 2456994"/>
                    <a:gd name="connsiteX11" fmla="*/ 522827 w 3281340"/>
                    <a:gd name="connsiteY11" fmla="*/ 1688067 h 2456994"/>
                    <a:gd name="connsiteX12" fmla="*/ 564391 w 3281340"/>
                    <a:gd name="connsiteY12" fmla="*/ 1916667 h 2456994"/>
                    <a:gd name="connsiteX13" fmla="*/ 751427 w 3281340"/>
                    <a:gd name="connsiteY13" fmla="*/ 1999794 h 2456994"/>
                    <a:gd name="connsiteX14" fmla="*/ 792991 w 3281340"/>
                    <a:gd name="connsiteY14" fmla="*/ 2228394 h 2456994"/>
                    <a:gd name="connsiteX15" fmla="*/ 1063154 w 3281340"/>
                    <a:gd name="connsiteY15" fmla="*/ 2249176 h 2456994"/>
                    <a:gd name="connsiteX16" fmla="*/ 1229409 w 3281340"/>
                    <a:gd name="connsiteY16" fmla="*/ 2456994 h 2456994"/>
                    <a:gd name="connsiteX17" fmla="*/ 1665827 w 3281340"/>
                    <a:gd name="connsiteY17" fmla="*/ 2186830 h 2456994"/>
                    <a:gd name="connsiteX18" fmla="*/ 2434754 w 3281340"/>
                    <a:gd name="connsiteY18" fmla="*/ 1771194 h 2456994"/>
                    <a:gd name="connsiteX19" fmla="*/ 2725700 w 3281340"/>
                    <a:gd name="connsiteY19" fmla="*/ 1210085 h 2456994"/>
                    <a:gd name="connsiteX20" fmla="*/ 3202953 w 3281340"/>
                    <a:gd name="connsiteY20" fmla="*/ 1117113 h 2456994"/>
                    <a:gd name="connsiteX21" fmla="*/ 3281340 w 3281340"/>
                    <a:gd name="connsiteY21" fmla="*/ 844033 h 2456994"/>
                    <a:gd name="connsiteX22" fmla="*/ 2850391 w 3281340"/>
                    <a:gd name="connsiteY22" fmla="*/ 25521 h 2456994"/>
                    <a:gd name="connsiteX0" fmla="*/ 2850391 w 3281340"/>
                    <a:gd name="connsiteY0" fmla="*/ 25521 h 2456994"/>
                    <a:gd name="connsiteX1" fmla="*/ 2123027 w 3281340"/>
                    <a:gd name="connsiteY1" fmla="*/ 217297 h 2456994"/>
                    <a:gd name="connsiteX2" fmla="*/ 1208627 w 3281340"/>
                    <a:gd name="connsiteY2" fmla="*/ 0 h 2456994"/>
                    <a:gd name="connsiteX3" fmla="*/ 543609 w 3281340"/>
                    <a:gd name="connsiteY3" fmla="*/ 254121 h 2456994"/>
                    <a:gd name="connsiteX4" fmla="*/ 211100 w 3281340"/>
                    <a:gd name="connsiteY4" fmla="*/ 545067 h 2456994"/>
                    <a:gd name="connsiteX5" fmla="*/ 0 w 3281340"/>
                    <a:gd name="connsiteY5" fmla="*/ 674861 h 2456994"/>
                    <a:gd name="connsiteX6" fmla="*/ 231882 w 3281340"/>
                    <a:gd name="connsiteY6" fmla="*/ 815230 h 2456994"/>
                    <a:gd name="connsiteX7" fmla="*/ 938463 w 3281340"/>
                    <a:gd name="connsiteY7" fmla="*/ 565848 h 2456994"/>
                    <a:gd name="connsiteX8" fmla="*/ 460482 w 3281340"/>
                    <a:gd name="connsiteY8" fmla="*/ 1064612 h 2456994"/>
                    <a:gd name="connsiteX9" fmla="*/ 231882 w 3281340"/>
                    <a:gd name="connsiteY9" fmla="*/ 1480248 h 2456994"/>
                    <a:gd name="connsiteX10" fmla="*/ 356572 w 3281340"/>
                    <a:gd name="connsiteY10" fmla="*/ 1688067 h 2456994"/>
                    <a:gd name="connsiteX11" fmla="*/ 522827 w 3281340"/>
                    <a:gd name="connsiteY11" fmla="*/ 1688067 h 2456994"/>
                    <a:gd name="connsiteX12" fmla="*/ 564391 w 3281340"/>
                    <a:gd name="connsiteY12" fmla="*/ 1916667 h 2456994"/>
                    <a:gd name="connsiteX13" fmla="*/ 751427 w 3281340"/>
                    <a:gd name="connsiteY13" fmla="*/ 1999794 h 2456994"/>
                    <a:gd name="connsiteX14" fmla="*/ 792991 w 3281340"/>
                    <a:gd name="connsiteY14" fmla="*/ 2228394 h 2456994"/>
                    <a:gd name="connsiteX15" fmla="*/ 1063154 w 3281340"/>
                    <a:gd name="connsiteY15" fmla="*/ 2249176 h 2456994"/>
                    <a:gd name="connsiteX16" fmla="*/ 1229409 w 3281340"/>
                    <a:gd name="connsiteY16" fmla="*/ 2456994 h 2456994"/>
                    <a:gd name="connsiteX17" fmla="*/ 1665827 w 3281340"/>
                    <a:gd name="connsiteY17" fmla="*/ 2186830 h 2456994"/>
                    <a:gd name="connsiteX18" fmla="*/ 2434754 w 3281340"/>
                    <a:gd name="connsiteY18" fmla="*/ 1771194 h 2456994"/>
                    <a:gd name="connsiteX19" fmla="*/ 2725700 w 3281340"/>
                    <a:gd name="connsiteY19" fmla="*/ 1210085 h 2456994"/>
                    <a:gd name="connsiteX20" fmla="*/ 3202953 w 3281340"/>
                    <a:gd name="connsiteY20" fmla="*/ 1117113 h 2456994"/>
                    <a:gd name="connsiteX21" fmla="*/ 3281340 w 3281340"/>
                    <a:gd name="connsiteY21" fmla="*/ 844033 h 2456994"/>
                    <a:gd name="connsiteX22" fmla="*/ 2850391 w 3281340"/>
                    <a:gd name="connsiteY22" fmla="*/ 25521 h 2456994"/>
                    <a:gd name="connsiteX0" fmla="*/ 2850391 w 3281340"/>
                    <a:gd name="connsiteY0" fmla="*/ 25521 h 2456994"/>
                    <a:gd name="connsiteX1" fmla="*/ 2123027 w 3281340"/>
                    <a:gd name="connsiteY1" fmla="*/ 217297 h 2456994"/>
                    <a:gd name="connsiteX2" fmla="*/ 1208627 w 3281340"/>
                    <a:gd name="connsiteY2" fmla="*/ 0 h 2456994"/>
                    <a:gd name="connsiteX3" fmla="*/ 543609 w 3281340"/>
                    <a:gd name="connsiteY3" fmla="*/ 254121 h 2456994"/>
                    <a:gd name="connsiteX4" fmla="*/ 211100 w 3281340"/>
                    <a:gd name="connsiteY4" fmla="*/ 545067 h 2456994"/>
                    <a:gd name="connsiteX5" fmla="*/ 0 w 3281340"/>
                    <a:gd name="connsiteY5" fmla="*/ 674861 h 2456994"/>
                    <a:gd name="connsiteX6" fmla="*/ 231882 w 3281340"/>
                    <a:gd name="connsiteY6" fmla="*/ 815230 h 2456994"/>
                    <a:gd name="connsiteX7" fmla="*/ 938463 w 3281340"/>
                    <a:gd name="connsiteY7" fmla="*/ 565848 h 2456994"/>
                    <a:gd name="connsiteX8" fmla="*/ 460482 w 3281340"/>
                    <a:gd name="connsiteY8" fmla="*/ 1064612 h 2456994"/>
                    <a:gd name="connsiteX9" fmla="*/ 231882 w 3281340"/>
                    <a:gd name="connsiteY9" fmla="*/ 1480248 h 2456994"/>
                    <a:gd name="connsiteX10" fmla="*/ 356572 w 3281340"/>
                    <a:gd name="connsiteY10" fmla="*/ 1688067 h 2456994"/>
                    <a:gd name="connsiteX11" fmla="*/ 522827 w 3281340"/>
                    <a:gd name="connsiteY11" fmla="*/ 1688067 h 2456994"/>
                    <a:gd name="connsiteX12" fmla="*/ 564391 w 3281340"/>
                    <a:gd name="connsiteY12" fmla="*/ 1916667 h 2456994"/>
                    <a:gd name="connsiteX13" fmla="*/ 751427 w 3281340"/>
                    <a:gd name="connsiteY13" fmla="*/ 1999794 h 2456994"/>
                    <a:gd name="connsiteX14" fmla="*/ 792991 w 3281340"/>
                    <a:gd name="connsiteY14" fmla="*/ 2228394 h 2456994"/>
                    <a:gd name="connsiteX15" fmla="*/ 1063154 w 3281340"/>
                    <a:gd name="connsiteY15" fmla="*/ 2249176 h 2456994"/>
                    <a:gd name="connsiteX16" fmla="*/ 1229409 w 3281340"/>
                    <a:gd name="connsiteY16" fmla="*/ 2456994 h 2456994"/>
                    <a:gd name="connsiteX17" fmla="*/ 1665827 w 3281340"/>
                    <a:gd name="connsiteY17" fmla="*/ 2186830 h 2456994"/>
                    <a:gd name="connsiteX18" fmla="*/ 2482880 w 3281340"/>
                    <a:gd name="connsiteY18" fmla="*/ 1634836 h 2456994"/>
                    <a:gd name="connsiteX19" fmla="*/ 2725700 w 3281340"/>
                    <a:gd name="connsiteY19" fmla="*/ 1210085 h 2456994"/>
                    <a:gd name="connsiteX20" fmla="*/ 3202953 w 3281340"/>
                    <a:gd name="connsiteY20" fmla="*/ 1117113 h 2456994"/>
                    <a:gd name="connsiteX21" fmla="*/ 3281340 w 3281340"/>
                    <a:gd name="connsiteY21" fmla="*/ 844033 h 2456994"/>
                    <a:gd name="connsiteX22" fmla="*/ 2850391 w 3281340"/>
                    <a:gd name="connsiteY22" fmla="*/ 25521 h 2456994"/>
                    <a:gd name="connsiteX0" fmla="*/ 2850391 w 3281340"/>
                    <a:gd name="connsiteY0" fmla="*/ 25521 h 2456994"/>
                    <a:gd name="connsiteX1" fmla="*/ 2123027 w 3281340"/>
                    <a:gd name="connsiteY1" fmla="*/ 217297 h 2456994"/>
                    <a:gd name="connsiteX2" fmla="*/ 1208627 w 3281340"/>
                    <a:gd name="connsiteY2" fmla="*/ 0 h 2456994"/>
                    <a:gd name="connsiteX3" fmla="*/ 543609 w 3281340"/>
                    <a:gd name="connsiteY3" fmla="*/ 254121 h 2456994"/>
                    <a:gd name="connsiteX4" fmla="*/ 211100 w 3281340"/>
                    <a:gd name="connsiteY4" fmla="*/ 545067 h 2456994"/>
                    <a:gd name="connsiteX5" fmla="*/ 0 w 3281340"/>
                    <a:gd name="connsiteY5" fmla="*/ 674861 h 2456994"/>
                    <a:gd name="connsiteX6" fmla="*/ 231882 w 3281340"/>
                    <a:gd name="connsiteY6" fmla="*/ 815230 h 2456994"/>
                    <a:gd name="connsiteX7" fmla="*/ 938463 w 3281340"/>
                    <a:gd name="connsiteY7" fmla="*/ 565848 h 2456994"/>
                    <a:gd name="connsiteX8" fmla="*/ 460482 w 3281340"/>
                    <a:gd name="connsiteY8" fmla="*/ 1064612 h 2456994"/>
                    <a:gd name="connsiteX9" fmla="*/ 231882 w 3281340"/>
                    <a:gd name="connsiteY9" fmla="*/ 1480248 h 2456994"/>
                    <a:gd name="connsiteX10" fmla="*/ 356572 w 3281340"/>
                    <a:gd name="connsiteY10" fmla="*/ 1688067 h 2456994"/>
                    <a:gd name="connsiteX11" fmla="*/ 522827 w 3281340"/>
                    <a:gd name="connsiteY11" fmla="*/ 1688067 h 2456994"/>
                    <a:gd name="connsiteX12" fmla="*/ 564391 w 3281340"/>
                    <a:gd name="connsiteY12" fmla="*/ 1916667 h 2456994"/>
                    <a:gd name="connsiteX13" fmla="*/ 751427 w 3281340"/>
                    <a:gd name="connsiteY13" fmla="*/ 1999794 h 2456994"/>
                    <a:gd name="connsiteX14" fmla="*/ 792991 w 3281340"/>
                    <a:gd name="connsiteY14" fmla="*/ 2228394 h 2456994"/>
                    <a:gd name="connsiteX15" fmla="*/ 1063154 w 3281340"/>
                    <a:gd name="connsiteY15" fmla="*/ 2249176 h 2456994"/>
                    <a:gd name="connsiteX16" fmla="*/ 1229409 w 3281340"/>
                    <a:gd name="connsiteY16" fmla="*/ 2456994 h 2456994"/>
                    <a:gd name="connsiteX17" fmla="*/ 1665827 w 3281340"/>
                    <a:gd name="connsiteY17" fmla="*/ 2186830 h 2456994"/>
                    <a:gd name="connsiteX18" fmla="*/ 2482880 w 3281340"/>
                    <a:gd name="connsiteY18" fmla="*/ 1634836 h 2456994"/>
                    <a:gd name="connsiteX19" fmla="*/ 2725700 w 3281340"/>
                    <a:gd name="connsiteY19" fmla="*/ 1210085 h 2456994"/>
                    <a:gd name="connsiteX20" fmla="*/ 3202953 w 3281340"/>
                    <a:gd name="connsiteY20" fmla="*/ 1117113 h 2456994"/>
                    <a:gd name="connsiteX21" fmla="*/ 3281340 w 3281340"/>
                    <a:gd name="connsiteY21" fmla="*/ 844033 h 2456994"/>
                    <a:gd name="connsiteX22" fmla="*/ 2850391 w 3281340"/>
                    <a:gd name="connsiteY22" fmla="*/ 25521 h 2456994"/>
                    <a:gd name="connsiteX0" fmla="*/ 2850391 w 3281340"/>
                    <a:gd name="connsiteY0" fmla="*/ 25521 h 2456994"/>
                    <a:gd name="connsiteX1" fmla="*/ 2123027 w 3281340"/>
                    <a:gd name="connsiteY1" fmla="*/ 217297 h 2456994"/>
                    <a:gd name="connsiteX2" fmla="*/ 1208627 w 3281340"/>
                    <a:gd name="connsiteY2" fmla="*/ 0 h 2456994"/>
                    <a:gd name="connsiteX3" fmla="*/ 543609 w 3281340"/>
                    <a:gd name="connsiteY3" fmla="*/ 254121 h 2456994"/>
                    <a:gd name="connsiteX4" fmla="*/ 211100 w 3281340"/>
                    <a:gd name="connsiteY4" fmla="*/ 545067 h 2456994"/>
                    <a:gd name="connsiteX5" fmla="*/ 0 w 3281340"/>
                    <a:gd name="connsiteY5" fmla="*/ 674861 h 2456994"/>
                    <a:gd name="connsiteX6" fmla="*/ 231882 w 3281340"/>
                    <a:gd name="connsiteY6" fmla="*/ 815230 h 2456994"/>
                    <a:gd name="connsiteX7" fmla="*/ 938463 w 3281340"/>
                    <a:gd name="connsiteY7" fmla="*/ 565848 h 2456994"/>
                    <a:gd name="connsiteX8" fmla="*/ 460482 w 3281340"/>
                    <a:gd name="connsiteY8" fmla="*/ 1064612 h 2456994"/>
                    <a:gd name="connsiteX9" fmla="*/ 231882 w 3281340"/>
                    <a:gd name="connsiteY9" fmla="*/ 1480248 h 2456994"/>
                    <a:gd name="connsiteX10" fmla="*/ 356572 w 3281340"/>
                    <a:gd name="connsiteY10" fmla="*/ 1688067 h 2456994"/>
                    <a:gd name="connsiteX11" fmla="*/ 522827 w 3281340"/>
                    <a:gd name="connsiteY11" fmla="*/ 1688067 h 2456994"/>
                    <a:gd name="connsiteX12" fmla="*/ 564391 w 3281340"/>
                    <a:gd name="connsiteY12" fmla="*/ 1916667 h 2456994"/>
                    <a:gd name="connsiteX13" fmla="*/ 751427 w 3281340"/>
                    <a:gd name="connsiteY13" fmla="*/ 1999794 h 2456994"/>
                    <a:gd name="connsiteX14" fmla="*/ 792991 w 3281340"/>
                    <a:gd name="connsiteY14" fmla="*/ 2228394 h 2456994"/>
                    <a:gd name="connsiteX15" fmla="*/ 1063154 w 3281340"/>
                    <a:gd name="connsiteY15" fmla="*/ 2249176 h 2456994"/>
                    <a:gd name="connsiteX16" fmla="*/ 1229409 w 3281340"/>
                    <a:gd name="connsiteY16" fmla="*/ 2456994 h 2456994"/>
                    <a:gd name="connsiteX17" fmla="*/ 1665827 w 3281340"/>
                    <a:gd name="connsiteY17" fmla="*/ 2186830 h 2456994"/>
                    <a:gd name="connsiteX18" fmla="*/ 2482880 w 3281340"/>
                    <a:gd name="connsiteY18" fmla="*/ 1634836 h 2456994"/>
                    <a:gd name="connsiteX19" fmla="*/ 2725700 w 3281340"/>
                    <a:gd name="connsiteY19" fmla="*/ 1210085 h 2456994"/>
                    <a:gd name="connsiteX20" fmla="*/ 3202953 w 3281340"/>
                    <a:gd name="connsiteY20" fmla="*/ 1117113 h 2456994"/>
                    <a:gd name="connsiteX21" fmla="*/ 3281340 w 3281340"/>
                    <a:gd name="connsiteY21" fmla="*/ 844033 h 2456994"/>
                    <a:gd name="connsiteX22" fmla="*/ 2850391 w 3281340"/>
                    <a:gd name="connsiteY22" fmla="*/ 25521 h 2456994"/>
                    <a:gd name="connsiteX0" fmla="*/ 2850391 w 3281340"/>
                    <a:gd name="connsiteY0" fmla="*/ 25521 h 2456994"/>
                    <a:gd name="connsiteX1" fmla="*/ 2123027 w 3281340"/>
                    <a:gd name="connsiteY1" fmla="*/ 217297 h 2456994"/>
                    <a:gd name="connsiteX2" fmla="*/ 1208627 w 3281340"/>
                    <a:gd name="connsiteY2" fmla="*/ 0 h 2456994"/>
                    <a:gd name="connsiteX3" fmla="*/ 543609 w 3281340"/>
                    <a:gd name="connsiteY3" fmla="*/ 254121 h 2456994"/>
                    <a:gd name="connsiteX4" fmla="*/ 211100 w 3281340"/>
                    <a:gd name="connsiteY4" fmla="*/ 545067 h 2456994"/>
                    <a:gd name="connsiteX5" fmla="*/ 0 w 3281340"/>
                    <a:gd name="connsiteY5" fmla="*/ 674861 h 2456994"/>
                    <a:gd name="connsiteX6" fmla="*/ 231882 w 3281340"/>
                    <a:gd name="connsiteY6" fmla="*/ 815230 h 2456994"/>
                    <a:gd name="connsiteX7" fmla="*/ 938463 w 3281340"/>
                    <a:gd name="connsiteY7" fmla="*/ 565848 h 2456994"/>
                    <a:gd name="connsiteX8" fmla="*/ 460482 w 3281340"/>
                    <a:gd name="connsiteY8" fmla="*/ 1064612 h 2456994"/>
                    <a:gd name="connsiteX9" fmla="*/ 231882 w 3281340"/>
                    <a:gd name="connsiteY9" fmla="*/ 1480248 h 2456994"/>
                    <a:gd name="connsiteX10" fmla="*/ 356572 w 3281340"/>
                    <a:gd name="connsiteY10" fmla="*/ 1688067 h 2456994"/>
                    <a:gd name="connsiteX11" fmla="*/ 522827 w 3281340"/>
                    <a:gd name="connsiteY11" fmla="*/ 1688067 h 2456994"/>
                    <a:gd name="connsiteX12" fmla="*/ 564391 w 3281340"/>
                    <a:gd name="connsiteY12" fmla="*/ 1916667 h 2456994"/>
                    <a:gd name="connsiteX13" fmla="*/ 751427 w 3281340"/>
                    <a:gd name="connsiteY13" fmla="*/ 1999794 h 2456994"/>
                    <a:gd name="connsiteX14" fmla="*/ 792991 w 3281340"/>
                    <a:gd name="connsiteY14" fmla="*/ 2228394 h 2456994"/>
                    <a:gd name="connsiteX15" fmla="*/ 1063154 w 3281340"/>
                    <a:gd name="connsiteY15" fmla="*/ 2249176 h 2456994"/>
                    <a:gd name="connsiteX16" fmla="*/ 1229409 w 3281340"/>
                    <a:gd name="connsiteY16" fmla="*/ 2456994 h 2456994"/>
                    <a:gd name="connsiteX17" fmla="*/ 1665827 w 3281340"/>
                    <a:gd name="connsiteY17" fmla="*/ 2186830 h 2456994"/>
                    <a:gd name="connsiteX18" fmla="*/ 2318448 w 3281340"/>
                    <a:gd name="connsiteY18" fmla="*/ 1707026 h 2456994"/>
                    <a:gd name="connsiteX19" fmla="*/ 2725700 w 3281340"/>
                    <a:gd name="connsiteY19" fmla="*/ 1210085 h 2456994"/>
                    <a:gd name="connsiteX20" fmla="*/ 3202953 w 3281340"/>
                    <a:gd name="connsiteY20" fmla="*/ 1117113 h 2456994"/>
                    <a:gd name="connsiteX21" fmla="*/ 3281340 w 3281340"/>
                    <a:gd name="connsiteY21" fmla="*/ 844033 h 2456994"/>
                    <a:gd name="connsiteX22" fmla="*/ 2850391 w 3281340"/>
                    <a:gd name="connsiteY22" fmla="*/ 25521 h 2456994"/>
                    <a:gd name="connsiteX0" fmla="*/ 2850391 w 3281340"/>
                    <a:gd name="connsiteY0" fmla="*/ 25521 h 2456994"/>
                    <a:gd name="connsiteX1" fmla="*/ 2123027 w 3281340"/>
                    <a:gd name="connsiteY1" fmla="*/ 217297 h 2456994"/>
                    <a:gd name="connsiteX2" fmla="*/ 1208627 w 3281340"/>
                    <a:gd name="connsiteY2" fmla="*/ 0 h 2456994"/>
                    <a:gd name="connsiteX3" fmla="*/ 543609 w 3281340"/>
                    <a:gd name="connsiteY3" fmla="*/ 254121 h 2456994"/>
                    <a:gd name="connsiteX4" fmla="*/ 211100 w 3281340"/>
                    <a:gd name="connsiteY4" fmla="*/ 545067 h 2456994"/>
                    <a:gd name="connsiteX5" fmla="*/ 0 w 3281340"/>
                    <a:gd name="connsiteY5" fmla="*/ 674861 h 2456994"/>
                    <a:gd name="connsiteX6" fmla="*/ 231882 w 3281340"/>
                    <a:gd name="connsiteY6" fmla="*/ 815230 h 2456994"/>
                    <a:gd name="connsiteX7" fmla="*/ 938463 w 3281340"/>
                    <a:gd name="connsiteY7" fmla="*/ 565848 h 2456994"/>
                    <a:gd name="connsiteX8" fmla="*/ 460482 w 3281340"/>
                    <a:gd name="connsiteY8" fmla="*/ 1064612 h 2456994"/>
                    <a:gd name="connsiteX9" fmla="*/ 231882 w 3281340"/>
                    <a:gd name="connsiteY9" fmla="*/ 1480248 h 2456994"/>
                    <a:gd name="connsiteX10" fmla="*/ 356572 w 3281340"/>
                    <a:gd name="connsiteY10" fmla="*/ 1688067 h 2456994"/>
                    <a:gd name="connsiteX11" fmla="*/ 522827 w 3281340"/>
                    <a:gd name="connsiteY11" fmla="*/ 1688067 h 2456994"/>
                    <a:gd name="connsiteX12" fmla="*/ 564391 w 3281340"/>
                    <a:gd name="connsiteY12" fmla="*/ 1916667 h 2456994"/>
                    <a:gd name="connsiteX13" fmla="*/ 751427 w 3281340"/>
                    <a:gd name="connsiteY13" fmla="*/ 1999794 h 2456994"/>
                    <a:gd name="connsiteX14" fmla="*/ 792991 w 3281340"/>
                    <a:gd name="connsiteY14" fmla="*/ 2228394 h 2456994"/>
                    <a:gd name="connsiteX15" fmla="*/ 1063154 w 3281340"/>
                    <a:gd name="connsiteY15" fmla="*/ 2249176 h 2456994"/>
                    <a:gd name="connsiteX16" fmla="*/ 1229409 w 3281340"/>
                    <a:gd name="connsiteY16" fmla="*/ 2456994 h 2456994"/>
                    <a:gd name="connsiteX17" fmla="*/ 1665827 w 3281340"/>
                    <a:gd name="connsiteY17" fmla="*/ 2186830 h 2456994"/>
                    <a:gd name="connsiteX18" fmla="*/ 2085838 w 3281340"/>
                    <a:gd name="connsiteY18" fmla="*/ 1843384 h 2456994"/>
                    <a:gd name="connsiteX19" fmla="*/ 2725700 w 3281340"/>
                    <a:gd name="connsiteY19" fmla="*/ 1210085 h 2456994"/>
                    <a:gd name="connsiteX20" fmla="*/ 3202953 w 3281340"/>
                    <a:gd name="connsiteY20" fmla="*/ 1117113 h 2456994"/>
                    <a:gd name="connsiteX21" fmla="*/ 3281340 w 3281340"/>
                    <a:gd name="connsiteY21" fmla="*/ 844033 h 2456994"/>
                    <a:gd name="connsiteX22" fmla="*/ 2850391 w 3281340"/>
                    <a:gd name="connsiteY22" fmla="*/ 25521 h 2456994"/>
                    <a:gd name="connsiteX0" fmla="*/ 2850391 w 3281340"/>
                    <a:gd name="connsiteY0" fmla="*/ 25521 h 2456994"/>
                    <a:gd name="connsiteX1" fmla="*/ 2123027 w 3281340"/>
                    <a:gd name="connsiteY1" fmla="*/ 217297 h 2456994"/>
                    <a:gd name="connsiteX2" fmla="*/ 1208627 w 3281340"/>
                    <a:gd name="connsiteY2" fmla="*/ 0 h 2456994"/>
                    <a:gd name="connsiteX3" fmla="*/ 543609 w 3281340"/>
                    <a:gd name="connsiteY3" fmla="*/ 254121 h 2456994"/>
                    <a:gd name="connsiteX4" fmla="*/ 211100 w 3281340"/>
                    <a:gd name="connsiteY4" fmla="*/ 545067 h 2456994"/>
                    <a:gd name="connsiteX5" fmla="*/ 0 w 3281340"/>
                    <a:gd name="connsiteY5" fmla="*/ 674861 h 2456994"/>
                    <a:gd name="connsiteX6" fmla="*/ 231882 w 3281340"/>
                    <a:gd name="connsiteY6" fmla="*/ 815230 h 2456994"/>
                    <a:gd name="connsiteX7" fmla="*/ 938463 w 3281340"/>
                    <a:gd name="connsiteY7" fmla="*/ 565848 h 2456994"/>
                    <a:gd name="connsiteX8" fmla="*/ 460482 w 3281340"/>
                    <a:gd name="connsiteY8" fmla="*/ 1064612 h 2456994"/>
                    <a:gd name="connsiteX9" fmla="*/ 231882 w 3281340"/>
                    <a:gd name="connsiteY9" fmla="*/ 1480248 h 2456994"/>
                    <a:gd name="connsiteX10" fmla="*/ 356572 w 3281340"/>
                    <a:gd name="connsiteY10" fmla="*/ 1688067 h 2456994"/>
                    <a:gd name="connsiteX11" fmla="*/ 522827 w 3281340"/>
                    <a:gd name="connsiteY11" fmla="*/ 1688067 h 2456994"/>
                    <a:gd name="connsiteX12" fmla="*/ 564391 w 3281340"/>
                    <a:gd name="connsiteY12" fmla="*/ 1916667 h 2456994"/>
                    <a:gd name="connsiteX13" fmla="*/ 751427 w 3281340"/>
                    <a:gd name="connsiteY13" fmla="*/ 1999794 h 2456994"/>
                    <a:gd name="connsiteX14" fmla="*/ 792991 w 3281340"/>
                    <a:gd name="connsiteY14" fmla="*/ 2228394 h 2456994"/>
                    <a:gd name="connsiteX15" fmla="*/ 1063154 w 3281340"/>
                    <a:gd name="connsiteY15" fmla="*/ 2249176 h 2456994"/>
                    <a:gd name="connsiteX16" fmla="*/ 1229409 w 3281340"/>
                    <a:gd name="connsiteY16" fmla="*/ 2456994 h 2456994"/>
                    <a:gd name="connsiteX17" fmla="*/ 1665827 w 3281340"/>
                    <a:gd name="connsiteY17" fmla="*/ 2186830 h 2456994"/>
                    <a:gd name="connsiteX18" fmla="*/ 2109902 w 3281340"/>
                    <a:gd name="connsiteY18" fmla="*/ 1871457 h 2456994"/>
                    <a:gd name="connsiteX19" fmla="*/ 2725700 w 3281340"/>
                    <a:gd name="connsiteY19" fmla="*/ 1210085 h 2456994"/>
                    <a:gd name="connsiteX20" fmla="*/ 3202953 w 3281340"/>
                    <a:gd name="connsiteY20" fmla="*/ 1117113 h 2456994"/>
                    <a:gd name="connsiteX21" fmla="*/ 3281340 w 3281340"/>
                    <a:gd name="connsiteY21" fmla="*/ 844033 h 2456994"/>
                    <a:gd name="connsiteX22" fmla="*/ 2850391 w 3281340"/>
                    <a:gd name="connsiteY22" fmla="*/ 25521 h 2456994"/>
                    <a:gd name="connsiteX0" fmla="*/ 2850391 w 3281340"/>
                    <a:gd name="connsiteY0" fmla="*/ 25521 h 2456994"/>
                    <a:gd name="connsiteX1" fmla="*/ 2123027 w 3281340"/>
                    <a:gd name="connsiteY1" fmla="*/ 217297 h 2456994"/>
                    <a:gd name="connsiteX2" fmla="*/ 1208627 w 3281340"/>
                    <a:gd name="connsiteY2" fmla="*/ 0 h 2456994"/>
                    <a:gd name="connsiteX3" fmla="*/ 543609 w 3281340"/>
                    <a:gd name="connsiteY3" fmla="*/ 254121 h 2456994"/>
                    <a:gd name="connsiteX4" fmla="*/ 211100 w 3281340"/>
                    <a:gd name="connsiteY4" fmla="*/ 545067 h 2456994"/>
                    <a:gd name="connsiteX5" fmla="*/ 0 w 3281340"/>
                    <a:gd name="connsiteY5" fmla="*/ 674861 h 2456994"/>
                    <a:gd name="connsiteX6" fmla="*/ 231882 w 3281340"/>
                    <a:gd name="connsiteY6" fmla="*/ 815230 h 2456994"/>
                    <a:gd name="connsiteX7" fmla="*/ 938463 w 3281340"/>
                    <a:gd name="connsiteY7" fmla="*/ 565848 h 2456994"/>
                    <a:gd name="connsiteX8" fmla="*/ 460482 w 3281340"/>
                    <a:gd name="connsiteY8" fmla="*/ 1064612 h 2456994"/>
                    <a:gd name="connsiteX9" fmla="*/ 231882 w 3281340"/>
                    <a:gd name="connsiteY9" fmla="*/ 1480248 h 2456994"/>
                    <a:gd name="connsiteX10" fmla="*/ 356572 w 3281340"/>
                    <a:gd name="connsiteY10" fmla="*/ 1688067 h 2456994"/>
                    <a:gd name="connsiteX11" fmla="*/ 522827 w 3281340"/>
                    <a:gd name="connsiteY11" fmla="*/ 1688067 h 2456994"/>
                    <a:gd name="connsiteX12" fmla="*/ 564391 w 3281340"/>
                    <a:gd name="connsiteY12" fmla="*/ 1916667 h 2456994"/>
                    <a:gd name="connsiteX13" fmla="*/ 751427 w 3281340"/>
                    <a:gd name="connsiteY13" fmla="*/ 1999794 h 2456994"/>
                    <a:gd name="connsiteX14" fmla="*/ 792991 w 3281340"/>
                    <a:gd name="connsiteY14" fmla="*/ 2228394 h 2456994"/>
                    <a:gd name="connsiteX15" fmla="*/ 1063154 w 3281340"/>
                    <a:gd name="connsiteY15" fmla="*/ 2249176 h 2456994"/>
                    <a:gd name="connsiteX16" fmla="*/ 1229409 w 3281340"/>
                    <a:gd name="connsiteY16" fmla="*/ 2456994 h 2456994"/>
                    <a:gd name="connsiteX17" fmla="*/ 1665827 w 3281340"/>
                    <a:gd name="connsiteY17" fmla="*/ 2186830 h 2456994"/>
                    <a:gd name="connsiteX18" fmla="*/ 2109902 w 3281340"/>
                    <a:gd name="connsiteY18" fmla="*/ 1871457 h 2456994"/>
                    <a:gd name="connsiteX19" fmla="*/ 2725700 w 3281340"/>
                    <a:gd name="connsiteY19" fmla="*/ 1210085 h 2456994"/>
                    <a:gd name="connsiteX20" fmla="*/ 3202953 w 3281340"/>
                    <a:gd name="connsiteY20" fmla="*/ 1117113 h 2456994"/>
                    <a:gd name="connsiteX21" fmla="*/ 3281340 w 3281340"/>
                    <a:gd name="connsiteY21" fmla="*/ 844033 h 2456994"/>
                    <a:gd name="connsiteX22" fmla="*/ 2850391 w 3281340"/>
                    <a:gd name="connsiteY22" fmla="*/ 25521 h 2456994"/>
                    <a:gd name="connsiteX0" fmla="*/ 2850391 w 3281340"/>
                    <a:gd name="connsiteY0" fmla="*/ 25521 h 2456994"/>
                    <a:gd name="connsiteX1" fmla="*/ 2123027 w 3281340"/>
                    <a:gd name="connsiteY1" fmla="*/ 217297 h 2456994"/>
                    <a:gd name="connsiteX2" fmla="*/ 1208627 w 3281340"/>
                    <a:gd name="connsiteY2" fmla="*/ 0 h 2456994"/>
                    <a:gd name="connsiteX3" fmla="*/ 543609 w 3281340"/>
                    <a:gd name="connsiteY3" fmla="*/ 254121 h 2456994"/>
                    <a:gd name="connsiteX4" fmla="*/ 211100 w 3281340"/>
                    <a:gd name="connsiteY4" fmla="*/ 545067 h 2456994"/>
                    <a:gd name="connsiteX5" fmla="*/ 0 w 3281340"/>
                    <a:gd name="connsiteY5" fmla="*/ 674861 h 2456994"/>
                    <a:gd name="connsiteX6" fmla="*/ 231882 w 3281340"/>
                    <a:gd name="connsiteY6" fmla="*/ 815230 h 2456994"/>
                    <a:gd name="connsiteX7" fmla="*/ 938463 w 3281340"/>
                    <a:gd name="connsiteY7" fmla="*/ 565848 h 2456994"/>
                    <a:gd name="connsiteX8" fmla="*/ 460482 w 3281340"/>
                    <a:gd name="connsiteY8" fmla="*/ 1064612 h 2456994"/>
                    <a:gd name="connsiteX9" fmla="*/ 231882 w 3281340"/>
                    <a:gd name="connsiteY9" fmla="*/ 1480248 h 2456994"/>
                    <a:gd name="connsiteX10" fmla="*/ 356572 w 3281340"/>
                    <a:gd name="connsiteY10" fmla="*/ 1688067 h 2456994"/>
                    <a:gd name="connsiteX11" fmla="*/ 522827 w 3281340"/>
                    <a:gd name="connsiteY11" fmla="*/ 1688067 h 2456994"/>
                    <a:gd name="connsiteX12" fmla="*/ 564391 w 3281340"/>
                    <a:gd name="connsiteY12" fmla="*/ 1916667 h 2456994"/>
                    <a:gd name="connsiteX13" fmla="*/ 751427 w 3281340"/>
                    <a:gd name="connsiteY13" fmla="*/ 1999794 h 2456994"/>
                    <a:gd name="connsiteX14" fmla="*/ 792991 w 3281340"/>
                    <a:gd name="connsiteY14" fmla="*/ 2228394 h 2456994"/>
                    <a:gd name="connsiteX15" fmla="*/ 1063154 w 3281340"/>
                    <a:gd name="connsiteY15" fmla="*/ 2249176 h 2456994"/>
                    <a:gd name="connsiteX16" fmla="*/ 1229409 w 3281340"/>
                    <a:gd name="connsiteY16" fmla="*/ 2456994 h 2456994"/>
                    <a:gd name="connsiteX17" fmla="*/ 1665827 w 3281340"/>
                    <a:gd name="connsiteY17" fmla="*/ 2186830 h 2456994"/>
                    <a:gd name="connsiteX18" fmla="*/ 2109902 w 3281340"/>
                    <a:gd name="connsiteY18" fmla="*/ 1871457 h 2456994"/>
                    <a:gd name="connsiteX19" fmla="*/ 2725700 w 3281340"/>
                    <a:gd name="connsiteY19" fmla="*/ 1210085 h 2456994"/>
                    <a:gd name="connsiteX20" fmla="*/ 3202953 w 3281340"/>
                    <a:gd name="connsiteY20" fmla="*/ 1117113 h 2456994"/>
                    <a:gd name="connsiteX21" fmla="*/ 3281340 w 3281340"/>
                    <a:gd name="connsiteY21" fmla="*/ 844033 h 2456994"/>
                    <a:gd name="connsiteX22" fmla="*/ 2850391 w 3281340"/>
                    <a:gd name="connsiteY22" fmla="*/ 25521 h 2456994"/>
                    <a:gd name="connsiteX0" fmla="*/ 2850391 w 3281340"/>
                    <a:gd name="connsiteY0" fmla="*/ 25521 h 2456994"/>
                    <a:gd name="connsiteX1" fmla="*/ 2123027 w 3281340"/>
                    <a:gd name="connsiteY1" fmla="*/ 217297 h 2456994"/>
                    <a:gd name="connsiteX2" fmla="*/ 1208627 w 3281340"/>
                    <a:gd name="connsiteY2" fmla="*/ 0 h 2456994"/>
                    <a:gd name="connsiteX3" fmla="*/ 543609 w 3281340"/>
                    <a:gd name="connsiteY3" fmla="*/ 254121 h 2456994"/>
                    <a:gd name="connsiteX4" fmla="*/ 211100 w 3281340"/>
                    <a:gd name="connsiteY4" fmla="*/ 545067 h 2456994"/>
                    <a:gd name="connsiteX5" fmla="*/ 0 w 3281340"/>
                    <a:gd name="connsiteY5" fmla="*/ 674861 h 2456994"/>
                    <a:gd name="connsiteX6" fmla="*/ 231882 w 3281340"/>
                    <a:gd name="connsiteY6" fmla="*/ 815230 h 2456994"/>
                    <a:gd name="connsiteX7" fmla="*/ 938463 w 3281340"/>
                    <a:gd name="connsiteY7" fmla="*/ 565848 h 2456994"/>
                    <a:gd name="connsiteX8" fmla="*/ 460482 w 3281340"/>
                    <a:gd name="connsiteY8" fmla="*/ 1064612 h 2456994"/>
                    <a:gd name="connsiteX9" fmla="*/ 231882 w 3281340"/>
                    <a:gd name="connsiteY9" fmla="*/ 1480248 h 2456994"/>
                    <a:gd name="connsiteX10" fmla="*/ 356572 w 3281340"/>
                    <a:gd name="connsiteY10" fmla="*/ 1688067 h 2456994"/>
                    <a:gd name="connsiteX11" fmla="*/ 522827 w 3281340"/>
                    <a:gd name="connsiteY11" fmla="*/ 1688067 h 2456994"/>
                    <a:gd name="connsiteX12" fmla="*/ 564391 w 3281340"/>
                    <a:gd name="connsiteY12" fmla="*/ 1916667 h 2456994"/>
                    <a:gd name="connsiteX13" fmla="*/ 751427 w 3281340"/>
                    <a:gd name="connsiteY13" fmla="*/ 1999794 h 2456994"/>
                    <a:gd name="connsiteX14" fmla="*/ 792991 w 3281340"/>
                    <a:gd name="connsiteY14" fmla="*/ 2228394 h 2456994"/>
                    <a:gd name="connsiteX15" fmla="*/ 1063154 w 3281340"/>
                    <a:gd name="connsiteY15" fmla="*/ 2249176 h 2456994"/>
                    <a:gd name="connsiteX16" fmla="*/ 1229409 w 3281340"/>
                    <a:gd name="connsiteY16" fmla="*/ 2456994 h 2456994"/>
                    <a:gd name="connsiteX17" fmla="*/ 1665827 w 3281340"/>
                    <a:gd name="connsiteY17" fmla="*/ 2186830 h 2456994"/>
                    <a:gd name="connsiteX18" fmla="*/ 2109902 w 3281340"/>
                    <a:gd name="connsiteY18" fmla="*/ 1871457 h 2456994"/>
                    <a:gd name="connsiteX19" fmla="*/ 2725700 w 3281340"/>
                    <a:gd name="connsiteY19" fmla="*/ 1210085 h 2456994"/>
                    <a:gd name="connsiteX20" fmla="*/ 3202953 w 3281340"/>
                    <a:gd name="connsiteY20" fmla="*/ 1117113 h 2456994"/>
                    <a:gd name="connsiteX21" fmla="*/ 3281340 w 3281340"/>
                    <a:gd name="connsiteY21" fmla="*/ 844033 h 2456994"/>
                    <a:gd name="connsiteX22" fmla="*/ 2850391 w 3281340"/>
                    <a:gd name="connsiteY22" fmla="*/ 25521 h 2456994"/>
                    <a:gd name="connsiteX0" fmla="*/ 2850391 w 3281340"/>
                    <a:gd name="connsiteY0" fmla="*/ 25521 h 2420900"/>
                    <a:gd name="connsiteX1" fmla="*/ 2123027 w 3281340"/>
                    <a:gd name="connsiteY1" fmla="*/ 217297 h 2420900"/>
                    <a:gd name="connsiteX2" fmla="*/ 1208627 w 3281340"/>
                    <a:gd name="connsiteY2" fmla="*/ 0 h 2420900"/>
                    <a:gd name="connsiteX3" fmla="*/ 543609 w 3281340"/>
                    <a:gd name="connsiteY3" fmla="*/ 254121 h 2420900"/>
                    <a:gd name="connsiteX4" fmla="*/ 211100 w 3281340"/>
                    <a:gd name="connsiteY4" fmla="*/ 545067 h 2420900"/>
                    <a:gd name="connsiteX5" fmla="*/ 0 w 3281340"/>
                    <a:gd name="connsiteY5" fmla="*/ 674861 h 2420900"/>
                    <a:gd name="connsiteX6" fmla="*/ 231882 w 3281340"/>
                    <a:gd name="connsiteY6" fmla="*/ 815230 h 2420900"/>
                    <a:gd name="connsiteX7" fmla="*/ 938463 w 3281340"/>
                    <a:gd name="connsiteY7" fmla="*/ 565848 h 2420900"/>
                    <a:gd name="connsiteX8" fmla="*/ 460482 w 3281340"/>
                    <a:gd name="connsiteY8" fmla="*/ 1064612 h 2420900"/>
                    <a:gd name="connsiteX9" fmla="*/ 231882 w 3281340"/>
                    <a:gd name="connsiteY9" fmla="*/ 1480248 h 2420900"/>
                    <a:gd name="connsiteX10" fmla="*/ 356572 w 3281340"/>
                    <a:gd name="connsiteY10" fmla="*/ 1688067 h 2420900"/>
                    <a:gd name="connsiteX11" fmla="*/ 522827 w 3281340"/>
                    <a:gd name="connsiteY11" fmla="*/ 1688067 h 2420900"/>
                    <a:gd name="connsiteX12" fmla="*/ 564391 w 3281340"/>
                    <a:gd name="connsiteY12" fmla="*/ 1916667 h 2420900"/>
                    <a:gd name="connsiteX13" fmla="*/ 751427 w 3281340"/>
                    <a:gd name="connsiteY13" fmla="*/ 1999794 h 2420900"/>
                    <a:gd name="connsiteX14" fmla="*/ 792991 w 3281340"/>
                    <a:gd name="connsiteY14" fmla="*/ 2228394 h 2420900"/>
                    <a:gd name="connsiteX15" fmla="*/ 1063154 w 3281340"/>
                    <a:gd name="connsiteY15" fmla="*/ 2249176 h 2420900"/>
                    <a:gd name="connsiteX16" fmla="*/ 1221388 w 3281340"/>
                    <a:gd name="connsiteY16" fmla="*/ 2420900 h 2420900"/>
                    <a:gd name="connsiteX17" fmla="*/ 1665827 w 3281340"/>
                    <a:gd name="connsiteY17" fmla="*/ 2186830 h 2420900"/>
                    <a:gd name="connsiteX18" fmla="*/ 2109902 w 3281340"/>
                    <a:gd name="connsiteY18" fmla="*/ 1871457 h 2420900"/>
                    <a:gd name="connsiteX19" fmla="*/ 2725700 w 3281340"/>
                    <a:gd name="connsiteY19" fmla="*/ 1210085 h 2420900"/>
                    <a:gd name="connsiteX20" fmla="*/ 3202953 w 3281340"/>
                    <a:gd name="connsiteY20" fmla="*/ 1117113 h 2420900"/>
                    <a:gd name="connsiteX21" fmla="*/ 3281340 w 3281340"/>
                    <a:gd name="connsiteY21" fmla="*/ 844033 h 2420900"/>
                    <a:gd name="connsiteX22" fmla="*/ 2850391 w 3281340"/>
                    <a:gd name="connsiteY22" fmla="*/ 25521 h 2420900"/>
                    <a:gd name="connsiteX0" fmla="*/ 2850391 w 3281340"/>
                    <a:gd name="connsiteY0" fmla="*/ 25521 h 2420900"/>
                    <a:gd name="connsiteX1" fmla="*/ 2123027 w 3281340"/>
                    <a:gd name="connsiteY1" fmla="*/ 217297 h 2420900"/>
                    <a:gd name="connsiteX2" fmla="*/ 1208627 w 3281340"/>
                    <a:gd name="connsiteY2" fmla="*/ 0 h 2420900"/>
                    <a:gd name="connsiteX3" fmla="*/ 543609 w 3281340"/>
                    <a:gd name="connsiteY3" fmla="*/ 254121 h 2420900"/>
                    <a:gd name="connsiteX4" fmla="*/ 211100 w 3281340"/>
                    <a:gd name="connsiteY4" fmla="*/ 545067 h 2420900"/>
                    <a:gd name="connsiteX5" fmla="*/ 0 w 3281340"/>
                    <a:gd name="connsiteY5" fmla="*/ 674861 h 2420900"/>
                    <a:gd name="connsiteX6" fmla="*/ 231882 w 3281340"/>
                    <a:gd name="connsiteY6" fmla="*/ 815230 h 2420900"/>
                    <a:gd name="connsiteX7" fmla="*/ 938463 w 3281340"/>
                    <a:gd name="connsiteY7" fmla="*/ 565848 h 2420900"/>
                    <a:gd name="connsiteX8" fmla="*/ 460482 w 3281340"/>
                    <a:gd name="connsiteY8" fmla="*/ 1064612 h 2420900"/>
                    <a:gd name="connsiteX9" fmla="*/ 231882 w 3281340"/>
                    <a:gd name="connsiteY9" fmla="*/ 1480248 h 2420900"/>
                    <a:gd name="connsiteX10" fmla="*/ 356572 w 3281340"/>
                    <a:gd name="connsiteY10" fmla="*/ 1688067 h 2420900"/>
                    <a:gd name="connsiteX11" fmla="*/ 522827 w 3281340"/>
                    <a:gd name="connsiteY11" fmla="*/ 1688067 h 2420900"/>
                    <a:gd name="connsiteX12" fmla="*/ 564391 w 3281340"/>
                    <a:gd name="connsiteY12" fmla="*/ 1916667 h 2420900"/>
                    <a:gd name="connsiteX13" fmla="*/ 751427 w 3281340"/>
                    <a:gd name="connsiteY13" fmla="*/ 1999794 h 2420900"/>
                    <a:gd name="connsiteX14" fmla="*/ 792991 w 3281340"/>
                    <a:gd name="connsiteY14" fmla="*/ 2228394 h 2420900"/>
                    <a:gd name="connsiteX15" fmla="*/ 1063154 w 3281340"/>
                    <a:gd name="connsiteY15" fmla="*/ 2249176 h 2420900"/>
                    <a:gd name="connsiteX16" fmla="*/ 1221388 w 3281340"/>
                    <a:gd name="connsiteY16" fmla="*/ 2420900 h 2420900"/>
                    <a:gd name="connsiteX17" fmla="*/ 1665827 w 3281340"/>
                    <a:gd name="connsiteY17" fmla="*/ 2186830 h 2420900"/>
                    <a:gd name="connsiteX18" fmla="*/ 2109902 w 3281340"/>
                    <a:gd name="connsiteY18" fmla="*/ 1871457 h 2420900"/>
                    <a:gd name="connsiteX19" fmla="*/ 2725700 w 3281340"/>
                    <a:gd name="connsiteY19" fmla="*/ 1210085 h 2420900"/>
                    <a:gd name="connsiteX20" fmla="*/ 3202953 w 3281340"/>
                    <a:gd name="connsiteY20" fmla="*/ 1117113 h 2420900"/>
                    <a:gd name="connsiteX21" fmla="*/ 3281340 w 3281340"/>
                    <a:gd name="connsiteY21" fmla="*/ 844033 h 2420900"/>
                    <a:gd name="connsiteX22" fmla="*/ 2850391 w 3281340"/>
                    <a:gd name="connsiteY22" fmla="*/ 25521 h 2420900"/>
                    <a:gd name="connsiteX0" fmla="*/ 2850391 w 3281340"/>
                    <a:gd name="connsiteY0" fmla="*/ 25521 h 2420900"/>
                    <a:gd name="connsiteX1" fmla="*/ 2123027 w 3281340"/>
                    <a:gd name="connsiteY1" fmla="*/ 217297 h 2420900"/>
                    <a:gd name="connsiteX2" fmla="*/ 1208627 w 3281340"/>
                    <a:gd name="connsiteY2" fmla="*/ 0 h 2420900"/>
                    <a:gd name="connsiteX3" fmla="*/ 543609 w 3281340"/>
                    <a:gd name="connsiteY3" fmla="*/ 254121 h 2420900"/>
                    <a:gd name="connsiteX4" fmla="*/ 211100 w 3281340"/>
                    <a:gd name="connsiteY4" fmla="*/ 545067 h 2420900"/>
                    <a:gd name="connsiteX5" fmla="*/ 0 w 3281340"/>
                    <a:gd name="connsiteY5" fmla="*/ 674861 h 2420900"/>
                    <a:gd name="connsiteX6" fmla="*/ 231882 w 3281340"/>
                    <a:gd name="connsiteY6" fmla="*/ 815230 h 2420900"/>
                    <a:gd name="connsiteX7" fmla="*/ 938463 w 3281340"/>
                    <a:gd name="connsiteY7" fmla="*/ 565848 h 2420900"/>
                    <a:gd name="connsiteX8" fmla="*/ 460482 w 3281340"/>
                    <a:gd name="connsiteY8" fmla="*/ 1064612 h 2420900"/>
                    <a:gd name="connsiteX9" fmla="*/ 231882 w 3281340"/>
                    <a:gd name="connsiteY9" fmla="*/ 1480248 h 2420900"/>
                    <a:gd name="connsiteX10" fmla="*/ 356572 w 3281340"/>
                    <a:gd name="connsiteY10" fmla="*/ 1688067 h 2420900"/>
                    <a:gd name="connsiteX11" fmla="*/ 522827 w 3281340"/>
                    <a:gd name="connsiteY11" fmla="*/ 1688067 h 2420900"/>
                    <a:gd name="connsiteX12" fmla="*/ 564391 w 3281340"/>
                    <a:gd name="connsiteY12" fmla="*/ 1916667 h 2420900"/>
                    <a:gd name="connsiteX13" fmla="*/ 751427 w 3281340"/>
                    <a:gd name="connsiteY13" fmla="*/ 1999794 h 2420900"/>
                    <a:gd name="connsiteX14" fmla="*/ 792991 w 3281340"/>
                    <a:gd name="connsiteY14" fmla="*/ 2228394 h 2420900"/>
                    <a:gd name="connsiteX15" fmla="*/ 1063154 w 3281340"/>
                    <a:gd name="connsiteY15" fmla="*/ 2249176 h 2420900"/>
                    <a:gd name="connsiteX16" fmla="*/ 1221388 w 3281340"/>
                    <a:gd name="connsiteY16" fmla="*/ 2420900 h 2420900"/>
                    <a:gd name="connsiteX17" fmla="*/ 1665827 w 3281340"/>
                    <a:gd name="connsiteY17" fmla="*/ 2186830 h 2420900"/>
                    <a:gd name="connsiteX18" fmla="*/ 2109902 w 3281340"/>
                    <a:gd name="connsiteY18" fmla="*/ 1871457 h 2420900"/>
                    <a:gd name="connsiteX19" fmla="*/ 2725700 w 3281340"/>
                    <a:gd name="connsiteY19" fmla="*/ 1210085 h 2420900"/>
                    <a:gd name="connsiteX20" fmla="*/ 3202953 w 3281340"/>
                    <a:gd name="connsiteY20" fmla="*/ 1117113 h 2420900"/>
                    <a:gd name="connsiteX21" fmla="*/ 3281340 w 3281340"/>
                    <a:gd name="connsiteY21" fmla="*/ 844033 h 2420900"/>
                    <a:gd name="connsiteX22" fmla="*/ 2850391 w 3281340"/>
                    <a:gd name="connsiteY22" fmla="*/ 25521 h 2420900"/>
                    <a:gd name="connsiteX0" fmla="*/ 2850391 w 3281340"/>
                    <a:gd name="connsiteY0" fmla="*/ 25521 h 2420900"/>
                    <a:gd name="connsiteX1" fmla="*/ 2123027 w 3281340"/>
                    <a:gd name="connsiteY1" fmla="*/ 217297 h 2420900"/>
                    <a:gd name="connsiteX2" fmla="*/ 1208627 w 3281340"/>
                    <a:gd name="connsiteY2" fmla="*/ 0 h 2420900"/>
                    <a:gd name="connsiteX3" fmla="*/ 543609 w 3281340"/>
                    <a:gd name="connsiteY3" fmla="*/ 254121 h 2420900"/>
                    <a:gd name="connsiteX4" fmla="*/ 211100 w 3281340"/>
                    <a:gd name="connsiteY4" fmla="*/ 545067 h 2420900"/>
                    <a:gd name="connsiteX5" fmla="*/ 0 w 3281340"/>
                    <a:gd name="connsiteY5" fmla="*/ 674861 h 2420900"/>
                    <a:gd name="connsiteX6" fmla="*/ 231882 w 3281340"/>
                    <a:gd name="connsiteY6" fmla="*/ 815230 h 2420900"/>
                    <a:gd name="connsiteX7" fmla="*/ 938463 w 3281340"/>
                    <a:gd name="connsiteY7" fmla="*/ 565848 h 2420900"/>
                    <a:gd name="connsiteX8" fmla="*/ 460482 w 3281340"/>
                    <a:gd name="connsiteY8" fmla="*/ 1064612 h 2420900"/>
                    <a:gd name="connsiteX9" fmla="*/ 231882 w 3281340"/>
                    <a:gd name="connsiteY9" fmla="*/ 1480248 h 2420900"/>
                    <a:gd name="connsiteX10" fmla="*/ 356572 w 3281340"/>
                    <a:gd name="connsiteY10" fmla="*/ 1688067 h 2420900"/>
                    <a:gd name="connsiteX11" fmla="*/ 522827 w 3281340"/>
                    <a:gd name="connsiteY11" fmla="*/ 1688067 h 2420900"/>
                    <a:gd name="connsiteX12" fmla="*/ 564391 w 3281340"/>
                    <a:gd name="connsiteY12" fmla="*/ 1916667 h 2420900"/>
                    <a:gd name="connsiteX13" fmla="*/ 751427 w 3281340"/>
                    <a:gd name="connsiteY13" fmla="*/ 1999794 h 2420900"/>
                    <a:gd name="connsiteX14" fmla="*/ 792991 w 3281340"/>
                    <a:gd name="connsiteY14" fmla="*/ 2228394 h 2420900"/>
                    <a:gd name="connsiteX15" fmla="*/ 1063154 w 3281340"/>
                    <a:gd name="connsiteY15" fmla="*/ 2249176 h 2420900"/>
                    <a:gd name="connsiteX16" fmla="*/ 1221388 w 3281340"/>
                    <a:gd name="connsiteY16" fmla="*/ 2420900 h 2420900"/>
                    <a:gd name="connsiteX17" fmla="*/ 1665827 w 3281340"/>
                    <a:gd name="connsiteY17" fmla="*/ 2186830 h 2420900"/>
                    <a:gd name="connsiteX18" fmla="*/ 2109902 w 3281340"/>
                    <a:gd name="connsiteY18" fmla="*/ 1871457 h 2420900"/>
                    <a:gd name="connsiteX19" fmla="*/ 2725700 w 3281340"/>
                    <a:gd name="connsiteY19" fmla="*/ 1210085 h 2420900"/>
                    <a:gd name="connsiteX20" fmla="*/ 3202953 w 3281340"/>
                    <a:gd name="connsiteY20" fmla="*/ 1117113 h 2420900"/>
                    <a:gd name="connsiteX21" fmla="*/ 3281340 w 3281340"/>
                    <a:gd name="connsiteY21" fmla="*/ 844033 h 2420900"/>
                    <a:gd name="connsiteX22" fmla="*/ 2850391 w 3281340"/>
                    <a:gd name="connsiteY22" fmla="*/ 25521 h 2420900"/>
                    <a:gd name="connsiteX0" fmla="*/ 2850391 w 3281340"/>
                    <a:gd name="connsiteY0" fmla="*/ 25521 h 2420900"/>
                    <a:gd name="connsiteX1" fmla="*/ 2123027 w 3281340"/>
                    <a:gd name="connsiteY1" fmla="*/ 217297 h 2420900"/>
                    <a:gd name="connsiteX2" fmla="*/ 1208627 w 3281340"/>
                    <a:gd name="connsiteY2" fmla="*/ 0 h 2420900"/>
                    <a:gd name="connsiteX3" fmla="*/ 543609 w 3281340"/>
                    <a:gd name="connsiteY3" fmla="*/ 254121 h 2420900"/>
                    <a:gd name="connsiteX4" fmla="*/ 211100 w 3281340"/>
                    <a:gd name="connsiteY4" fmla="*/ 545067 h 2420900"/>
                    <a:gd name="connsiteX5" fmla="*/ 0 w 3281340"/>
                    <a:gd name="connsiteY5" fmla="*/ 674861 h 2420900"/>
                    <a:gd name="connsiteX6" fmla="*/ 231882 w 3281340"/>
                    <a:gd name="connsiteY6" fmla="*/ 815230 h 2420900"/>
                    <a:gd name="connsiteX7" fmla="*/ 938463 w 3281340"/>
                    <a:gd name="connsiteY7" fmla="*/ 565848 h 2420900"/>
                    <a:gd name="connsiteX8" fmla="*/ 460482 w 3281340"/>
                    <a:gd name="connsiteY8" fmla="*/ 1064612 h 2420900"/>
                    <a:gd name="connsiteX9" fmla="*/ 231882 w 3281340"/>
                    <a:gd name="connsiteY9" fmla="*/ 1480248 h 2420900"/>
                    <a:gd name="connsiteX10" fmla="*/ 356572 w 3281340"/>
                    <a:gd name="connsiteY10" fmla="*/ 1688067 h 2420900"/>
                    <a:gd name="connsiteX11" fmla="*/ 522827 w 3281340"/>
                    <a:gd name="connsiteY11" fmla="*/ 1688067 h 2420900"/>
                    <a:gd name="connsiteX12" fmla="*/ 564391 w 3281340"/>
                    <a:gd name="connsiteY12" fmla="*/ 1916667 h 2420900"/>
                    <a:gd name="connsiteX13" fmla="*/ 751427 w 3281340"/>
                    <a:gd name="connsiteY13" fmla="*/ 1999794 h 2420900"/>
                    <a:gd name="connsiteX14" fmla="*/ 792991 w 3281340"/>
                    <a:gd name="connsiteY14" fmla="*/ 2228394 h 2420900"/>
                    <a:gd name="connsiteX15" fmla="*/ 1063154 w 3281340"/>
                    <a:gd name="connsiteY15" fmla="*/ 2249176 h 2420900"/>
                    <a:gd name="connsiteX16" fmla="*/ 1221388 w 3281340"/>
                    <a:gd name="connsiteY16" fmla="*/ 2420900 h 2420900"/>
                    <a:gd name="connsiteX17" fmla="*/ 1665827 w 3281340"/>
                    <a:gd name="connsiteY17" fmla="*/ 2186830 h 2420900"/>
                    <a:gd name="connsiteX18" fmla="*/ 2109902 w 3281340"/>
                    <a:gd name="connsiteY18" fmla="*/ 1871457 h 2420900"/>
                    <a:gd name="connsiteX19" fmla="*/ 2725700 w 3281340"/>
                    <a:gd name="connsiteY19" fmla="*/ 1210085 h 2420900"/>
                    <a:gd name="connsiteX20" fmla="*/ 3202953 w 3281340"/>
                    <a:gd name="connsiteY20" fmla="*/ 1117113 h 2420900"/>
                    <a:gd name="connsiteX21" fmla="*/ 3281340 w 3281340"/>
                    <a:gd name="connsiteY21" fmla="*/ 844033 h 2420900"/>
                    <a:gd name="connsiteX22" fmla="*/ 2850391 w 3281340"/>
                    <a:gd name="connsiteY22" fmla="*/ 25521 h 2420900"/>
                    <a:gd name="connsiteX0" fmla="*/ 2850391 w 3281340"/>
                    <a:gd name="connsiteY0" fmla="*/ 25521 h 2420900"/>
                    <a:gd name="connsiteX1" fmla="*/ 2123027 w 3281340"/>
                    <a:gd name="connsiteY1" fmla="*/ 217297 h 2420900"/>
                    <a:gd name="connsiteX2" fmla="*/ 1208627 w 3281340"/>
                    <a:gd name="connsiteY2" fmla="*/ 0 h 2420900"/>
                    <a:gd name="connsiteX3" fmla="*/ 543609 w 3281340"/>
                    <a:gd name="connsiteY3" fmla="*/ 254121 h 2420900"/>
                    <a:gd name="connsiteX4" fmla="*/ 211100 w 3281340"/>
                    <a:gd name="connsiteY4" fmla="*/ 545067 h 2420900"/>
                    <a:gd name="connsiteX5" fmla="*/ 0 w 3281340"/>
                    <a:gd name="connsiteY5" fmla="*/ 674861 h 2420900"/>
                    <a:gd name="connsiteX6" fmla="*/ 231882 w 3281340"/>
                    <a:gd name="connsiteY6" fmla="*/ 815230 h 2420900"/>
                    <a:gd name="connsiteX7" fmla="*/ 938463 w 3281340"/>
                    <a:gd name="connsiteY7" fmla="*/ 565848 h 2420900"/>
                    <a:gd name="connsiteX8" fmla="*/ 460482 w 3281340"/>
                    <a:gd name="connsiteY8" fmla="*/ 1064612 h 2420900"/>
                    <a:gd name="connsiteX9" fmla="*/ 231882 w 3281340"/>
                    <a:gd name="connsiteY9" fmla="*/ 1480248 h 2420900"/>
                    <a:gd name="connsiteX10" fmla="*/ 356572 w 3281340"/>
                    <a:gd name="connsiteY10" fmla="*/ 1688067 h 2420900"/>
                    <a:gd name="connsiteX11" fmla="*/ 522827 w 3281340"/>
                    <a:gd name="connsiteY11" fmla="*/ 1688067 h 2420900"/>
                    <a:gd name="connsiteX12" fmla="*/ 564391 w 3281340"/>
                    <a:gd name="connsiteY12" fmla="*/ 1916667 h 2420900"/>
                    <a:gd name="connsiteX13" fmla="*/ 751427 w 3281340"/>
                    <a:gd name="connsiteY13" fmla="*/ 1999794 h 2420900"/>
                    <a:gd name="connsiteX14" fmla="*/ 792991 w 3281340"/>
                    <a:gd name="connsiteY14" fmla="*/ 2228394 h 2420900"/>
                    <a:gd name="connsiteX15" fmla="*/ 1063154 w 3281340"/>
                    <a:gd name="connsiteY15" fmla="*/ 2249176 h 2420900"/>
                    <a:gd name="connsiteX16" fmla="*/ 1221388 w 3281340"/>
                    <a:gd name="connsiteY16" fmla="*/ 2420900 h 2420900"/>
                    <a:gd name="connsiteX17" fmla="*/ 1665827 w 3281340"/>
                    <a:gd name="connsiteY17" fmla="*/ 2186830 h 2420900"/>
                    <a:gd name="connsiteX18" fmla="*/ 2109902 w 3281340"/>
                    <a:gd name="connsiteY18" fmla="*/ 1871457 h 2420900"/>
                    <a:gd name="connsiteX19" fmla="*/ 2725700 w 3281340"/>
                    <a:gd name="connsiteY19" fmla="*/ 1210085 h 2420900"/>
                    <a:gd name="connsiteX20" fmla="*/ 3202953 w 3281340"/>
                    <a:gd name="connsiteY20" fmla="*/ 1117113 h 2420900"/>
                    <a:gd name="connsiteX21" fmla="*/ 3281340 w 3281340"/>
                    <a:gd name="connsiteY21" fmla="*/ 844033 h 2420900"/>
                    <a:gd name="connsiteX22" fmla="*/ 2850391 w 3281340"/>
                    <a:gd name="connsiteY22" fmla="*/ 25521 h 2420900"/>
                    <a:gd name="connsiteX0" fmla="*/ 2850391 w 3281340"/>
                    <a:gd name="connsiteY0" fmla="*/ 25521 h 2420900"/>
                    <a:gd name="connsiteX1" fmla="*/ 2123027 w 3281340"/>
                    <a:gd name="connsiteY1" fmla="*/ 217297 h 2420900"/>
                    <a:gd name="connsiteX2" fmla="*/ 1208627 w 3281340"/>
                    <a:gd name="connsiteY2" fmla="*/ 0 h 2420900"/>
                    <a:gd name="connsiteX3" fmla="*/ 543609 w 3281340"/>
                    <a:gd name="connsiteY3" fmla="*/ 254121 h 2420900"/>
                    <a:gd name="connsiteX4" fmla="*/ 211100 w 3281340"/>
                    <a:gd name="connsiteY4" fmla="*/ 545067 h 2420900"/>
                    <a:gd name="connsiteX5" fmla="*/ 0 w 3281340"/>
                    <a:gd name="connsiteY5" fmla="*/ 674861 h 2420900"/>
                    <a:gd name="connsiteX6" fmla="*/ 231882 w 3281340"/>
                    <a:gd name="connsiteY6" fmla="*/ 815230 h 2420900"/>
                    <a:gd name="connsiteX7" fmla="*/ 938463 w 3281340"/>
                    <a:gd name="connsiteY7" fmla="*/ 565848 h 2420900"/>
                    <a:gd name="connsiteX8" fmla="*/ 460482 w 3281340"/>
                    <a:gd name="connsiteY8" fmla="*/ 1064612 h 2420900"/>
                    <a:gd name="connsiteX9" fmla="*/ 231882 w 3281340"/>
                    <a:gd name="connsiteY9" fmla="*/ 1480248 h 2420900"/>
                    <a:gd name="connsiteX10" fmla="*/ 356572 w 3281340"/>
                    <a:gd name="connsiteY10" fmla="*/ 1688067 h 2420900"/>
                    <a:gd name="connsiteX11" fmla="*/ 522827 w 3281340"/>
                    <a:gd name="connsiteY11" fmla="*/ 1688067 h 2420900"/>
                    <a:gd name="connsiteX12" fmla="*/ 564391 w 3281340"/>
                    <a:gd name="connsiteY12" fmla="*/ 1916667 h 2420900"/>
                    <a:gd name="connsiteX13" fmla="*/ 751427 w 3281340"/>
                    <a:gd name="connsiteY13" fmla="*/ 1999794 h 2420900"/>
                    <a:gd name="connsiteX14" fmla="*/ 817054 w 3281340"/>
                    <a:gd name="connsiteY14" fmla="*/ 2188289 h 2420900"/>
                    <a:gd name="connsiteX15" fmla="*/ 1063154 w 3281340"/>
                    <a:gd name="connsiteY15" fmla="*/ 2249176 h 2420900"/>
                    <a:gd name="connsiteX16" fmla="*/ 1221388 w 3281340"/>
                    <a:gd name="connsiteY16" fmla="*/ 2420900 h 2420900"/>
                    <a:gd name="connsiteX17" fmla="*/ 1665827 w 3281340"/>
                    <a:gd name="connsiteY17" fmla="*/ 2186830 h 2420900"/>
                    <a:gd name="connsiteX18" fmla="*/ 2109902 w 3281340"/>
                    <a:gd name="connsiteY18" fmla="*/ 1871457 h 2420900"/>
                    <a:gd name="connsiteX19" fmla="*/ 2725700 w 3281340"/>
                    <a:gd name="connsiteY19" fmla="*/ 1210085 h 2420900"/>
                    <a:gd name="connsiteX20" fmla="*/ 3202953 w 3281340"/>
                    <a:gd name="connsiteY20" fmla="*/ 1117113 h 2420900"/>
                    <a:gd name="connsiteX21" fmla="*/ 3281340 w 3281340"/>
                    <a:gd name="connsiteY21" fmla="*/ 844033 h 2420900"/>
                    <a:gd name="connsiteX22" fmla="*/ 2850391 w 3281340"/>
                    <a:gd name="connsiteY22" fmla="*/ 25521 h 2420900"/>
                    <a:gd name="connsiteX0" fmla="*/ 2850391 w 3281340"/>
                    <a:gd name="connsiteY0" fmla="*/ 25521 h 2420900"/>
                    <a:gd name="connsiteX1" fmla="*/ 2123027 w 3281340"/>
                    <a:gd name="connsiteY1" fmla="*/ 217297 h 2420900"/>
                    <a:gd name="connsiteX2" fmla="*/ 1208627 w 3281340"/>
                    <a:gd name="connsiteY2" fmla="*/ 0 h 2420900"/>
                    <a:gd name="connsiteX3" fmla="*/ 543609 w 3281340"/>
                    <a:gd name="connsiteY3" fmla="*/ 254121 h 2420900"/>
                    <a:gd name="connsiteX4" fmla="*/ 211100 w 3281340"/>
                    <a:gd name="connsiteY4" fmla="*/ 545067 h 2420900"/>
                    <a:gd name="connsiteX5" fmla="*/ 0 w 3281340"/>
                    <a:gd name="connsiteY5" fmla="*/ 674861 h 2420900"/>
                    <a:gd name="connsiteX6" fmla="*/ 231882 w 3281340"/>
                    <a:gd name="connsiteY6" fmla="*/ 815230 h 2420900"/>
                    <a:gd name="connsiteX7" fmla="*/ 938463 w 3281340"/>
                    <a:gd name="connsiteY7" fmla="*/ 565848 h 2420900"/>
                    <a:gd name="connsiteX8" fmla="*/ 460482 w 3281340"/>
                    <a:gd name="connsiteY8" fmla="*/ 1064612 h 2420900"/>
                    <a:gd name="connsiteX9" fmla="*/ 231882 w 3281340"/>
                    <a:gd name="connsiteY9" fmla="*/ 1480248 h 2420900"/>
                    <a:gd name="connsiteX10" fmla="*/ 356572 w 3281340"/>
                    <a:gd name="connsiteY10" fmla="*/ 1688067 h 2420900"/>
                    <a:gd name="connsiteX11" fmla="*/ 522827 w 3281340"/>
                    <a:gd name="connsiteY11" fmla="*/ 1688067 h 2420900"/>
                    <a:gd name="connsiteX12" fmla="*/ 564391 w 3281340"/>
                    <a:gd name="connsiteY12" fmla="*/ 1916667 h 2420900"/>
                    <a:gd name="connsiteX13" fmla="*/ 751427 w 3281340"/>
                    <a:gd name="connsiteY13" fmla="*/ 1999794 h 2420900"/>
                    <a:gd name="connsiteX14" fmla="*/ 817054 w 3281340"/>
                    <a:gd name="connsiteY14" fmla="*/ 2188289 h 2420900"/>
                    <a:gd name="connsiteX15" fmla="*/ 1063154 w 3281340"/>
                    <a:gd name="connsiteY15" fmla="*/ 2249176 h 2420900"/>
                    <a:gd name="connsiteX16" fmla="*/ 1221388 w 3281340"/>
                    <a:gd name="connsiteY16" fmla="*/ 2420900 h 2420900"/>
                    <a:gd name="connsiteX17" fmla="*/ 1665827 w 3281340"/>
                    <a:gd name="connsiteY17" fmla="*/ 2186830 h 2420900"/>
                    <a:gd name="connsiteX18" fmla="*/ 2109902 w 3281340"/>
                    <a:gd name="connsiteY18" fmla="*/ 1871457 h 2420900"/>
                    <a:gd name="connsiteX19" fmla="*/ 2725700 w 3281340"/>
                    <a:gd name="connsiteY19" fmla="*/ 1210085 h 2420900"/>
                    <a:gd name="connsiteX20" fmla="*/ 3202953 w 3281340"/>
                    <a:gd name="connsiteY20" fmla="*/ 1117113 h 2420900"/>
                    <a:gd name="connsiteX21" fmla="*/ 3281340 w 3281340"/>
                    <a:gd name="connsiteY21" fmla="*/ 844033 h 2420900"/>
                    <a:gd name="connsiteX22" fmla="*/ 2850391 w 3281340"/>
                    <a:gd name="connsiteY22" fmla="*/ 25521 h 2420900"/>
                    <a:gd name="connsiteX0" fmla="*/ 2850391 w 3281340"/>
                    <a:gd name="connsiteY0" fmla="*/ 25521 h 2420900"/>
                    <a:gd name="connsiteX1" fmla="*/ 2123027 w 3281340"/>
                    <a:gd name="connsiteY1" fmla="*/ 217297 h 2420900"/>
                    <a:gd name="connsiteX2" fmla="*/ 1208627 w 3281340"/>
                    <a:gd name="connsiteY2" fmla="*/ 0 h 2420900"/>
                    <a:gd name="connsiteX3" fmla="*/ 543609 w 3281340"/>
                    <a:gd name="connsiteY3" fmla="*/ 254121 h 2420900"/>
                    <a:gd name="connsiteX4" fmla="*/ 211100 w 3281340"/>
                    <a:gd name="connsiteY4" fmla="*/ 545067 h 2420900"/>
                    <a:gd name="connsiteX5" fmla="*/ 0 w 3281340"/>
                    <a:gd name="connsiteY5" fmla="*/ 674861 h 2420900"/>
                    <a:gd name="connsiteX6" fmla="*/ 231882 w 3281340"/>
                    <a:gd name="connsiteY6" fmla="*/ 815230 h 2420900"/>
                    <a:gd name="connsiteX7" fmla="*/ 938463 w 3281340"/>
                    <a:gd name="connsiteY7" fmla="*/ 565848 h 2420900"/>
                    <a:gd name="connsiteX8" fmla="*/ 460482 w 3281340"/>
                    <a:gd name="connsiteY8" fmla="*/ 1064612 h 2420900"/>
                    <a:gd name="connsiteX9" fmla="*/ 231882 w 3281340"/>
                    <a:gd name="connsiteY9" fmla="*/ 1480248 h 2420900"/>
                    <a:gd name="connsiteX10" fmla="*/ 356572 w 3281340"/>
                    <a:gd name="connsiteY10" fmla="*/ 1688067 h 2420900"/>
                    <a:gd name="connsiteX11" fmla="*/ 522827 w 3281340"/>
                    <a:gd name="connsiteY11" fmla="*/ 1688067 h 2420900"/>
                    <a:gd name="connsiteX12" fmla="*/ 564391 w 3281340"/>
                    <a:gd name="connsiteY12" fmla="*/ 1916667 h 2420900"/>
                    <a:gd name="connsiteX13" fmla="*/ 751427 w 3281340"/>
                    <a:gd name="connsiteY13" fmla="*/ 1999794 h 2420900"/>
                    <a:gd name="connsiteX14" fmla="*/ 1063154 w 3281340"/>
                    <a:gd name="connsiteY14" fmla="*/ 2249176 h 2420900"/>
                    <a:gd name="connsiteX15" fmla="*/ 1221388 w 3281340"/>
                    <a:gd name="connsiteY15" fmla="*/ 2420900 h 2420900"/>
                    <a:gd name="connsiteX16" fmla="*/ 1665827 w 3281340"/>
                    <a:gd name="connsiteY16" fmla="*/ 2186830 h 2420900"/>
                    <a:gd name="connsiteX17" fmla="*/ 2109902 w 3281340"/>
                    <a:gd name="connsiteY17" fmla="*/ 1871457 h 2420900"/>
                    <a:gd name="connsiteX18" fmla="*/ 2725700 w 3281340"/>
                    <a:gd name="connsiteY18" fmla="*/ 1210085 h 2420900"/>
                    <a:gd name="connsiteX19" fmla="*/ 3202953 w 3281340"/>
                    <a:gd name="connsiteY19" fmla="*/ 1117113 h 2420900"/>
                    <a:gd name="connsiteX20" fmla="*/ 3281340 w 3281340"/>
                    <a:gd name="connsiteY20" fmla="*/ 844033 h 2420900"/>
                    <a:gd name="connsiteX21" fmla="*/ 2850391 w 3281340"/>
                    <a:gd name="connsiteY21" fmla="*/ 25521 h 2420900"/>
                    <a:gd name="connsiteX0" fmla="*/ 2850391 w 3281340"/>
                    <a:gd name="connsiteY0" fmla="*/ 25521 h 2420900"/>
                    <a:gd name="connsiteX1" fmla="*/ 2123027 w 3281340"/>
                    <a:gd name="connsiteY1" fmla="*/ 217297 h 2420900"/>
                    <a:gd name="connsiteX2" fmla="*/ 1208627 w 3281340"/>
                    <a:gd name="connsiteY2" fmla="*/ 0 h 2420900"/>
                    <a:gd name="connsiteX3" fmla="*/ 543609 w 3281340"/>
                    <a:gd name="connsiteY3" fmla="*/ 254121 h 2420900"/>
                    <a:gd name="connsiteX4" fmla="*/ 211100 w 3281340"/>
                    <a:gd name="connsiteY4" fmla="*/ 545067 h 2420900"/>
                    <a:gd name="connsiteX5" fmla="*/ 0 w 3281340"/>
                    <a:gd name="connsiteY5" fmla="*/ 674861 h 2420900"/>
                    <a:gd name="connsiteX6" fmla="*/ 231882 w 3281340"/>
                    <a:gd name="connsiteY6" fmla="*/ 815230 h 2420900"/>
                    <a:gd name="connsiteX7" fmla="*/ 938463 w 3281340"/>
                    <a:gd name="connsiteY7" fmla="*/ 565848 h 2420900"/>
                    <a:gd name="connsiteX8" fmla="*/ 460482 w 3281340"/>
                    <a:gd name="connsiteY8" fmla="*/ 1064612 h 2420900"/>
                    <a:gd name="connsiteX9" fmla="*/ 231882 w 3281340"/>
                    <a:gd name="connsiteY9" fmla="*/ 1480248 h 2420900"/>
                    <a:gd name="connsiteX10" fmla="*/ 356572 w 3281340"/>
                    <a:gd name="connsiteY10" fmla="*/ 1688067 h 2420900"/>
                    <a:gd name="connsiteX11" fmla="*/ 522827 w 3281340"/>
                    <a:gd name="connsiteY11" fmla="*/ 1688067 h 2420900"/>
                    <a:gd name="connsiteX12" fmla="*/ 564391 w 3281340"/>
                    <a:gd name="connsiteY12" fmla="*/ 1916667 h 2420900"/>
                    <a:gd name="connsiteX13" fmla="*/ 751427 w 3281340"/>
                    <a:gd name="connsiteY13" fmla="*/ 1999794 h 2420900"/>
                    <a:gd name="connsiteX14" fmla="*/ 1063154 w 3281340"/>
                    <a:gd name="connsiteY14" fmla="*/ 2249176 h 2420900"/>
                    <a:gd name="connsiteX15" fmla="*/ 1221388 w 3281340"/>
                    <a:gd name="connsiteY15" fmla="*/ 2420900 h 2420900"/>
                    <a:gd name="connsiteX16" fmla="*/ 1665827 w 3281340"/>
                    <a:gd name="connsiteY16" fmla="*/ 2186830 h 2420900"/>
                    <a:gd name="connsiteX17" fmla="*/ 2109902 w 3281340"/>
                    <a:gd name="connsiteY17" fmla="*/ 1871457 h 2420900"/>
                    <a:gd name="connsiteX18" fmla="*/ 2725700 w 3281340"/>
                    <a:gd name="connsiteY18" fmla="*/ 1210085 h 2420900"/>
                    <a:gd name="connsiteX19" fmla="*/ 3202953 w 3281340"/>
                    <a:gd name="connsiteY19" fmla="*/ 1117113 h 2420900"/>
                    <a:gd name="connsiteX20" fmla="*/ 3281340 w 3281340"/>
                    <a:gd name="connsiteY20" fmla="*/ 844033 h 2420900"/>
                    <a:gd name="connsiteX21" fmla="*/ 2850391 w 3281340"/>
                    <a:gd name="connsiteY21" fmla="*/ 25521 h 2420900"/>
                    <a:gd name="connsiteX0" fmla="*/ 2850391 w 3281340"/>
                    <a:gd name="connsiteY0" fmla="*/ 25521 h 2420900"/>
                    <a:gd name="connsiteX1" fmla="*/ 2123027 w 3281340"/>
                    <a:gd name="connsiteY1" fmla="*/ 217297 h 2420900"/>
                    <a:gd name="connsiteX2" fmla="*/ 1208627 w 3281340"/>
                    <a:gd name="connsiteY2" fmla="*/ 0 h 2420900"/>
                    <a:gd name="connsiteX3" fmla="*/ 543609 w 3281340"/>
                    <a:gd name="connsiteY3" fmla="*/ 254121 h 2420900"/>
                    <a:gd name="connsiteX4" fmla="*/ 211100 w 3281340"/>
                    <a:gd name="connsiteY4" fmla="*/ 545067 h 2420900"/>
                    <a:gd name="connsiteX5" fmla="*/ 0 w 3281340"/>
                    <a:gd name="connsiteY5" fmla="*/ 674861 h 2420900"/>
                    <a:gd name="connsiteX6" fmla="*/ 231882 w 3281340"/>
                    <a:gd name="connsiteY6" fmla="*/ 815230 h 2420900"/>
                    <a:gd name="connsiteX7" fmla="*/ 938463 w 3281340"/>
                    <a:gd name="connsiteY7" fmla="*/ 565848 h 2420900"/>
                    <a:gd name="connsiteX8" fmla="*/ 460482 w 3281340"/>
                    <a:gd name="connsiteY8" fmla="*/ 1064612 h 2420900"/>
                    <a:gd name="connsiteX9" fmla="*/ 231882 w 3281340"/>
                    <a:gd name="connsiteY9" fmla="*/ 1480248 h 2420900"/>
                    <a:gd name="connsiteX10" fmla="*/ 356572 w 3281340"/>
                    <a:gd name="connsiteY10" fmla="*/ 1688067 h 2420900"/>
                    <a:gd name="connsiteX11" fmla="*/ 522827 w 3281340"/>
                    <a:gd name="connsiteY11" fmla="*/ 1688067 h 2420900"/>
                    <a:gd name="connsiteX12" fmla="*/ 564391 w 3281340"/>
                    <a:gd name="connsiteY12" fmla="*/ 1916667 h 2420900"/>
                    <a:gd name="connsiteX13" fmla="*/ 751427 w 3281340"/>
                    <a:gd name="connsiteY13" fmla="*/ 1999794 h 2420900"/>
                    <a:gd name="connsiteX14" fmla="*/ 1063154 w 3281340"/>
                    <a:gd name="connsiteY14" fmla="*/ 2249176 h 2420900"/>
                    <a:gd name="connsiteX15" fmla="*/ 1221388 w 3281340"/>
                    <a:gd name="connsiteY15" fmla="*/ 2420900 h 2420900"/>
                    <a:gd name="connsiteX16" fmla="*/ 1665827 w 3281340"/>
                    <a:gd name="connsiteY16" fmla="*/ 2186830 h 2420900"/>
                    <a:gd name="connsiteX17" fmla="*/ 2109902 w 3281340"/>
                    <a:gd name="connsiteY17" fmla="*/ 1871457 h 2420900"/>
                    <a:gd name="connsiteX18" fmla="*/ 2725700 w 3281340"/>
                    <a:gd name="connsiteY18" fmla="*/ 1210085 h 2420900"/>
                    <a:gd name="connsiteX19" fmla="*/ 3202953 w 3281340"/>
                    <a:gd name="connsiteY19" fmla="*/ 1117113 h 2420900"/>
                    <a:gd name="connsiteX20" fmla="*/ 3281340 w 3281340"/>
                    <a:gd name="connsiteY20" fmla="*/ 844033 h 2420900"/>
                    <a:gd name="connsiteX21" fmla="*/ 2850391 w 3281340"/>
                    <a:gd name="connsiteY21" fmla="*/ 25521 h 2420900"/>
                    <a:gd name="connsiteX0" fmla="*/ 2850391 w 3281340"/>
                    <a:gd name="connsiteY0" fmla="*/ 25521 h 2420900"/>
                    <a:gd name="connsiteX1" fmla="*/ 2123027 w 3281340"/>
                    <a:gd name="connsiteY1" fmla="*/ 217297 h 2420900"/>
                    <a:gd name="connsiteX2" fmla="*/ 1208627 w 3281340"/>
                    <a:gd name="connsiteY2" fmla="*/ 0 h 2420900"/>
                    <a:gd name="connsiteX3" fmla="*/ 543609 w 3281340"/>
                    <a:gd name="connsiteY3" fmla="*/ 254121 h 2420900"/>
                    <a:gd name="connsiteX4" fmla="*/ 211100 w 3281340"/>
                    <a:gd name="connsiteY4" fmla="*/ 545067 h 2420900"/>
                    <a:gd name="connsiteX5" fmla="*/ 0 w 3281340"/>
                    <a:gd name="connsiteY5" fmla="*/ 674861 h 2420900"/>
                    <a:gd name="connsiteX6" fmla="*/ 231882 w 3281340"/>
                    <a:gd name="connsiteY6" fmla="*/ 815230 h 2420900"/>
                    <a:gd name="connsiteX7" fmla="*/ 938463 w 3281340"/>
                    <a:gd name="connsiteY7" fmla="*/ 565848 h 2420900"/>
                    <a:gd name="connsiteX8" fmla="*/ 460482 w 3281340"/>
                    <a:gd name="connsiteY8" fmla="*/ 1064612 h 2420900"/>
                    <a:gd name="connsiteX9" fmla="*/ 231882 w 3281340"/>
                    <a:gd name="connsiteY9" fmla="*/ 1480248 h 2420900"/>
                    <a:gd name="connsiteX10" fmla="*/ 356572 w 3281340"/>
                    <a:gd name="connsiteY10" fmla="*/ 1688067 h 2420900"/>
                    <a:gd name="connsiteX11" fmla="*/ 522827 w 3281340"/>
                    <a:gd name="connsiteY11" fmla="*/ 1688067 h 2420900"/>
                    <a:gd name="connsiteX12" fmla="*/ 564391 w 3281340"/>
                    <a:gd name="connsiteY12" fmla="*/ 1916667 h 2420900"/>
                    <a:gd name="connsiteX13" fmla="*/ 751427 w 3281340"/>
                    <a:gd name="connsiteY13" fmla="*/ 1999794 h 2420900"/>
                    <a:gd name="connsiteX14" fmla="*/ 1063154 w 3281340"/>
                    <a:gd name="connsiteY14" fmla="*/ 2249176 h 2420900"/>
                    <a:gd name="connsiteX15" fmla="*/ 1221388 w 3281340"/>
                    <a:gd name="connsiteY15" fmla="*/ 2420900 h 2420900"/>
                    <a:gd name="connsiteX16" fmla="*/ 1665827 w 3281340"/>
                    <a:gd name="connsiteY16" fmla="*/ 2186830 h 2420900"/>
                    <a:gd name="connsiteX17" fmla="*/ 2109902 w 3281340"/>
                    <a:gd name="connsiteY17" fmla="*/ 1871457 h 2420900"/>
                    <a:gd name="connsiteX18" fmla="*/ 2725700 w 3281340"/>
                    <a:gd name="connsiteY18" fmla="*/ 1210085 h 2420900"/>
                    <a:gd name="connsiteX19" fmla="*/ 3202953 w 3281340"/>
                    <a:gd name="connsiteY19" fmla="*/ 1117113 h 2420900"/>
                    <a:gd name="connsiteX20" fmla="*/ 3281340 w 3281340"/>
                    <a:gd name="connsiteY20" fmla="*/ 844033 h 2420900"/>
                    <a:gd name="connsiteX21" fmla="*/ 2850391 w 3281340"/>
                    <a:gd name="connsiteY21" fmla="*/ 25521 h 2420900"/>
                    <a:gd name="connsiteX0" fmla="*/ 2850391 w 3281340"/>
                    <a:gd name="connsiteY0" fmla="*/ 25521 h 2420900"/>
                    <a:gd name="connsiteX1" fmla="*/ 2123027 w 3281340"/>
                    <a:gd name="connsiteY1" fmla="*/ 217297 h 2420900"/>
                    <a:gd name="connsiteX2" fmla="*/ 1208627 w 3281340"/>
                    <a:gd name="connsiteY2" fmla="*/ 0 h 2420900"/>
                    <a:gd name="connsiteX3" fmla="*/ 543609 w 3281340"/>
                    <a:gd name="connsiteY3" fmla="*/ 254121 h 2420900"/>
                    <a:gd name="connsiteX4" fmla="*/ 211100 w 3281340"/>
                    <a:gd name="connsiteY4" fmla="*/ 545067 h 2420900"/>
                    <a:gd name="connsiteX5" fmla="*/ 0 w 3281340"/>
                    <a:gd name="connsiteY5" fmla="*/ 674861 h 2420900"/>
                    <a:gd name="connsiteX6" fmla="*/ 231882 w 3281340"/>
                    <a:gd name="connsiteY6" fmla="*/ 815230 h 2420900"/>
                    <a:gd name="connsiteX7" fmla="*/ 938463 w 3281340"/>
                    <a:gd name="connsiteY7" fmla="*/ 565848 h 2420900"/>
                    <a:gd name="connsiteX8" fmla="*/ 460482 w 3281340"/>
                    <a:gd name="connsiteY8" fmla="*/ 1064612 h 2420900"/>
                    <a:gd name="connsiteX9" fmla="*/ 231882 w 3281340"/>
                    <a:gd name="connsiteY9" fmla="*/ 1480248 h 2420900"/>
                    <a:gd name="connsiteX10" fmla="*/ 356572 w 3281340"/>
                    <a:gd name="connsiteY10" fmla="*/ 1688067 h 2420900"/>
                    <a:gd name="connsiteX11" fmla="*/ 522827 w 3281340"/>
                    <a:gd name="connsiteY11" fmla="*/ 1688067 h 2420900"/>
                    <a:gd name="connsiteX12" fmla="*/ 564391 w 3281340"/>
                    <a:gd name="connsiteY12" fmla="*/ 1916667 h 2420900"/>
                    <a:gd name="connsiteX13" fmla="*/ 751427 w 3281340"/>
                    <a:gd name="connsiteY13" fmla="*/ 1999794 h 2420900"/>
                    <a:gd name="connsiteX14" fmla="*/ 1063154 w 3281340"/>
                    <a:gd name="connsiteY14" fmla="*/ 2249176 h 2420900"/>
                    <a:gd name="connsiteX15" fmla="*/ 1221388 w 3281340"/>
                    <a:gd name="connsiteY15" fmla="*/ 2420900 h 2420900"/>
                    <a:gd name="connsiteX16" fmla="*/ 1665827 w 3281340"/>
                    <a:gd name="connsiteY16" fmla="*/ 2186830 h 2420900"/>
                    <a:gd name="connsiteX17" fmla="*/ 2109902 w 3281340"/>
                    <a:gd name="connsiteY17" fmla="*/ 1871457 h 2420900"/>
                    <a:gd name="connsiteX18" fmla="*/ 2725700 w 3281340"/>
                    <a:gd name="connsiteY18" fmla="*/ 1210085 h 2420900"/>
                    <a:gd name="connsiteX19" fmla="*/ 3202953 w 3281340"/>
                    <a:gd name="connsiteY19" fmla="*/ 1117113 h 2420900"/>
                    <a:gd name="connsiteX20" fmla="*/ 3281340 w 3281340"/>
                    <a:gd name="connsiteY20" fmla="*/ 844033 h 2420900"/>
                    <a:gd name="connsiteX21" fmla="*/ 2850391 w 3281340"/>
                    <a:gd name="connsiteY21" fmla="*/ 25521 h 2420900"/>
                    <a:gd name="connsiteX0" fmla="*/ 2850391 w 3281340"/>
                    <a:gd name="connsiteY0" fmla="*/ 25521 h 2420900"/>
                    <a:gd name="connsiteX1" fmla="*/ 2123027 w 3281340"/>
                    <a:gd name="connsiteY1" fmla="*/ 217297 h 2420900"/>
                    <a:gd name="connsiteX2" fmla="*/ 1208627 w 3281340"/>
                    <a:gd name="connsiteY2" fmla="*/ 0 h 2420900"/>
                    <a:gd name="connsiteX3" fmla="*/ 543609 w 3281340"/>
                    <a:gd name="connsiteY3" fmla="*/ 254121 h 2420900"/>
                    <a:gd name="connsiteX4" fmla="*/ 211100 w 3281340"/>
                    <a:gd name="connsiteY4" fmla="*/ 545067 h 2420900"/>
                    <a:gd name="connsiteX5" fmla="*/ 0 w 3281340"/>
                    <a:gd name="connsiteY5" fmla="*/ 674861 h 2420900"/>
                    <a:gd name="connsiteX6" fmla="*/ 231882 w 3281340"/>
                    <a:gd name="connsiteY6" fmla="*/ 815230 h 2420900"/>
                    <a:gd name="connsiteX7" fmla="*/ 938463 w 3281340"/>
                    <a:gd name="connsiteY7" fmla="*/ 565848 h 2420900"/>
                    <a:gd name="connsiteX8" fmla="*/ 460482 w 3281340"/>
                    <a:gd name="connsiteY8" fmla="*/ 1064612 h 2420900"/>
                    <a:gd name="connsiteX9" fmla="*/ 231882 w 3281340"/>
                    <a:gd name="connsiteY9" fmla="*/ 1480248 h 2420900"/>
                    <a:gd name="connsiteX10" fmla="*/ 356572 w 3281340"/>
                    <a:gd name="connsiteY10" fmla="*/ 1688067 h 2420900"/>
                    <a:gd name="connsiteX11" fmla="*/ 522827 w 3281340"/>
                    <a:gd name="connsiteY11" fmla="*/ 1688067 h 2420900"/>
                    <a:gd name="connsiteX12" fmla="*/ 751427 w 3281340"/>
                    <a:gd name="connsiteY12" fmla="*/ 1999794 h 2420900"/>
                    <a:gd name="connsiteX13" fmla="*/ 1063154 w 3281340"/>
                    <a:gd name="connsiteY13" fmla="*/ 2249176 h 2420900"/>
                    <a:gd name="connsiteX14" fmla="*/ 1221388 w 3281340"/>
                    <a:gd name="connsiteY14" fmla="*/ 2420900 h 2420900"/>
                    <a:gd name="connsiteX15" fmla="*/ 1665827 w 3281340"/>
                    <a:gd name="connsiteY15" fmla="*/ 2186830 h 2420900"/>
                    <a:gd name="connsiteX16" fmla="*/ 2109902 w 3281340"/>
                    <a:gd name="connsiteY16" fmla="*/ 1871457 h 2420900"/>
                    <a:gd name="connsiteX17" fmla="*/ 2725700 w 3281340"/>
                    <a:gd name="connsiteY17" fmla="*/ 1210085 h 2420900"/>
                    <a:gd name="connsiteX18" fmla="*/ 3202953 w 3281340"/>
                    <a:gd name="connsiteY18" fmla="*/ 1117113 h 2420900"/>
                    <a:gd name="connsiteX19" fmla="*/ 3281340 w 3281340"/>
                    <a:gd name="connsiteY19" fmla="*/ 844033 h 2420900"/>
                    <a:gd name="connsiteX20" fmla="*/ 2850391 w 3281340"/>
                    <a:gd name="connsiteY20" fmla="*/ 25521 h 2420900"/>
                    <a:gd name="connsiteX0" fmla="*/ 2850391 w 3281340"/>
                    <a:gd name="connsiteY0" fmla="*/ 25521 h 2420900"/>
                    <a:gd name="connsiteX1" fmla="*/ 2123027 w 3281340"/>
                    <a:gd name="connsiteY1" fmla="*/ 217297 h 2420900"/>
                    <a:gd name="connsiteX2" fmla="*/ 1208627 w 3281340"/>
                    <a:gd name="connsiteY2" fmla="*/ 0 h 2420900"/>
                    <a:gd name="connsiteX3" fmla="*/ 543609 w 3281340"/>
                    <a:gd name="connsiteY3" fmla="*/ 254121 h 2420900"/>
                    <a:gd name="connsiteX4" fmla="*/ 211100 w 3281340"/>
                    <a:gd name="connsiteY4" fmla="*/ 545067 h 2420900"/>
                    <a:gd name="connsiteX5" fmla="*/ 0 w 3281340"/>
                    <a:gd name="connsiteY5" fmla="*/ 674861 h 2420900"/>
                    <a:gd name="connsiteX6" fmla="*/ 231882 w 3281340"/>
                    <a:gd name="connsiteY6" fmla="*/ 815230 h 2420900"/>
                    <a:gd name="connsiteX7" fmla="*/ 938463 w 3281340"/>
                    <a:gd name="connsiteY7" fmla="*/ 565848 h 2420900"/>
                    <a:gd name="connsiteX8" fmla="*/ 460482 w 3281340"/>
                    <a:gd name="connsiteY8" fmla="*/ 1064612 h 2420900"/>
                    <a:gd name="connsiteX9" fmla="*/ 231882 w 3281340"/>
                    <a:gd name="connsiteY9" fmla="*/ 1480248 h 2420900"/>
                    <a:gd name="connsiteX10" fmla="*/ 356572 w 3281340"/>
                    <a:gd name="connsiteY10" fmla="*/ 1688067 h 2420900"/>
                    <a:gd name="connsiteX11" fmla="*/ 522827 w 3281340"/>
                    <a:gd name="connsiteY11" fmla="*/ 1688067 h 2420900"/>
                    <a:gd name="connsiteX12" fmla="*/ 751427 w 3281340"/>
                    <a:gd name="connsiteY12" fmla="*/ 1999794 h 2420900"/>
                    <a:gd name="connsiteX13" fmla="*/ 1063154 w 3281340"/>
                    <a:gd name="connsiteY13" fmla="*/ 2249176 h 2420900"/>
                    <a:gd name="connsiteX14" fmla="*/ 1221388 w 3281340"/>
                    <a:gd name="connsiteY14" fmla="*/ 2420900 h 2420900"/>
                    <a:gd name="connsiteX15" fmla="*/ 1665827 w 3281340"/>
                    <a:gd name="connsiteY15" fmla="*/ 2186830 h 2420900"/>
                    <a:gd name="connsiteX16" fmla="*/ 2109902 w 3281340"/>
                    <a:gd name="connsiteY16" fmla="*/ 1871457 h 2420900"/>
                    <a:gd name="connsiteX17" fmla="*/ 2725700 w 3281340"/>
                    <a:gd name="connsiteY17" fmla="*/ 1210085 h 2420900"/>
                    <a:gd name="connsiteX18" fmla="*/ 3202953 w 3281340"/>
                    <a:gd name="connsiteY18" fmla="*/ 1117113 h 2420900"/>
                    <a:gd name="connsiteX19" fmla="*/ 3281340 w 3281340"/>
                    <a:gd name="connsiteY19" fmla="*/ 844033 h 2420900"/>
                    <a:gd name="connsiteX20" fmla="*/ 2850391 w 3281340"/>
                    <a:gd name="connsiteY20" fmla="*/ 25521 h 2420900"/>
                    <a:gd name="connsiteX0" fmla="*/ 2850391 w 3281340"/>
                    <a:gd name="connsiteY0" fmla="*/ 25521 h 2420900"/>
                    <a:gd name="connsiteX1" fmla="*/ 2123027 w 3281340"/>
                    <a:gd name="connsiteY1" fmla="*/ 217297 h 2420900"/>
                    <a:gd name="connsiteX2" fmla="*/ 1208627 w 3281340"/>
                    <a:gd name="connsiteY2" fmla="*/ 0 h 2420900"/>
                    <a:gd name="connsiteX3" fmla="*/ 543609 w 3281340"/>
                    <a:gd name="connsiteY3" fmla="*/ 254121 h 2420900"/>
                    <a:gd name="connsiteX4" fmla="*/ 211100 w 3281340"/>
                    <a:gd name="connsiteY4" fmla="*/ 545067 h 2420900"/>
                    <a:gd name="connsiteX5" fmla="*/ 0 w 3281340"/>
                    <a:gd name="connsiteY5" fmla="*/ 674861 h 2420900"/>
                    <a:gd name="connsiteX6" fmla="*/ 231882 w 3281340"/>
                    <a:gd name="connsiteY6" fmla="*/ 815230 h 2420900"/>
                    <a:gd name="connsiteX7" fmla="*/ 938463 w 3281340"/>
                    <a:gd name="connsiteY7" fmla="*/ 565848 h 2420900"/>
                    <a:gd name="connsiteX8" fmla="*/ 460482 w 3281340"/>
                    <a:gd name="connsiteY8" fmla="*/ 1064612 h 2420900"/>
                    <a:gd name="connsiteX9" fmla="*/ 231882 w 3281340"/>
                    <a:gd name="connsiteY9" fmla="*/ 1480248 h 2420900"/>
                    <a:gd name="connsiteX10" fmla="*/ 356572 w 3281340"/>
                    <a:gd name="connsiteY10" fmla="*/ 1688067 h 2420900"/>
                    <a:gd name="connsiteX11" fmla="*/ 522827 w 3281340"/>
                    <a:gd name="connsiteY11" fmla="*/ 1688067 h 2420900"/>
                    <a:gd name="connsiteX12" fmla="*/ 751427 w 3281340"/>
                    <a:gd name="connsiteY12" fmla="*/ 1999794 h 2420900"/>
                    <a:gd name="connsiteX13" fmla="*/ 1063154 w 3281340"/>
                    <a:gd name="connsiteY13" fmla="*/ 2249176 h 2420900"/>
                    <a:gd name="connsiteX14" fmla="*/ 1221388 w 3281340"/>
                    <a:gd name="connsiteY14" fmla="*/ 2420900 h 2420900"/>
                    <a:gd name="connsiteX15" fmla="*/ 1665827 w 3281340"/>
                    <a:gd name="connsiteY15" fmla="*/ 2186830 h 2420900"/>
                    <a:gd name="connsiteX16" fmla="*/ 2109902 w 3281340"/>
                    <a:gd name="connsiteY16" fmla="*/ 1871457 h 2420900"/>
                    <a:gd name="connsiteX17" fmla="*/ 2725700 w 3281340"/>
                    <a:gd name="connsiteY17" fmla="*/ 1210085 h 2420900"/>
                    <a:gd name="connsiteX18" fmla="*/ 3202953 w 3281340"/>
                    <a:gd name="connsiteY18" fmla="*/ 1117113 h 2420900"/>
                    <a:gd name="connsiteX19" fmla="*/ 3281340 w 3281340"/>
                    <a:gd name="connsiteY19" fmla="*/ 844033 h 2420900"/>
                    <a:gd name="connsiteX20" fmla="*/ 2850391 w 3281340"/>
                    <a:gd name="connsiteY20" fmla="*/ 25521 h 2420900"/>
                    <a:gd name="connsiteX0" fmla="*/ 2850391 w 3281340"/>
                    <a:gd name="connsiteY0" fmla="*/ 25521 h 2420900"/>
                    <a:gd name="connsiteX1" fmla="*/ 2123027 w 3281340"/>
                    <a:gd name="connsiteY1" fmla="*/ 217297 h 2420900"/>
                    <a:gd name="connsiteX2" fmla="*/ 1208627 w 3281340"/>
                    <a:gd name="connsiteY2" fmla="*/ 0 h 2420900"/>
                    <a:gd name="connsiteX3" fmla="*/ 543609 w 3281340"/>
                    <a:gd name="connsiteY3" fmla="*/ 254121 h 2420900"/>
                    <a:gd name="connsiteX4" fmla="*/ 211100 w 3281340"/>
                    <a:gd name="connsiteY4" fmla="*/ 545067 h 2420900"/>
                    <a:gd name="connsiteX5" fmla="*/ 0 w 3281340"/>
                    <a:gd name="connsiteY5" fmla="*/ 674861 h 2420900"/>
                    <a:gd name="connsiteX6" fmla="*/ 231882 w 3281340"/>
                    <a:gd name="connsiteY6" fmla="*/ 815230 h 2420900"/>
                    <a:gd name="connsiteX7" fmla="*/ 938463 w 3281340"/>
                    <a:gd name="connsiteY7" fmla="*/ 565848 h 2420900"/>
                    <a:gd name="connsiteX8" fmla="*/ 460482 w 3281340"/>
                    <a:gd name="connsiteY8" fmla="*/ 1064612 h 2420900"/>
                    <a:gd name="connsiteX9" fmla="*/ 231882 w 3281340"/>
                    <a:gd name="connsiteY9" fmla="*/ 1480248 h 2420900"/>
                    <a:gd name="connsiteX10" fmla="*/ 356572 w 3281340"/>
                    <a:gd name="connsiteY10" fmla="*/ 1688067 h 2420900"/>
                    <a:gd name="connsiteX11" fmla="*/ 522827 w 3281340"/>
                    <a:gd name="connsiteY11" fmla="*/ 1688067 h 2420900"/>
                    <a:gd name="connsiteX12" fmla="*/ 751427 w 3281340"/>
                    <a:gd name="connsiteY12" fmla="*/ 1999794 h 2420900"/>
                    <a:gd name="connsiteX13" fmla="*/ 1063154 w 3281340"/>
                    <a:gd name="connsiteY13" fmla="*/ 2249176 h 2420900"/>
                    <a:gd name="connsiteX14" fmla="*/ 1221388 w 3281340"/>
                    <a:gd name="connsiteY14" fmla="*/ 2420900 h 2420900"/>
                    <a:gd name="connsiteX15" fmla="*/ 1665827 w 3281340"/>
                    <a:gd name="connsiteY15" fmla="*/ 2186830 h 2420900"/>
                    <a:gd name="connsiteX16" fmla="*/ 2109902 w 3281340"/>
                    <a:gd name="connsiteY16" fmla="*/ 1871457 h 2420900"/>
                    <a:gd name="connsiteX17" fmla="*/ 2725700 w 3281340"/>
                    <a:gd name="connsiteY17" fmla="*/ 1210085 h 2420900"/>
                    <a:gd name="connsiteX18" fmla="*/ 3202953 w 3281340"/>
                    <a:gd name="connsiteY18" fmla="*/ 1117113 h 2420900"/>
                    <a:gd name="connsiteX19" fmla="*/ 3281340 w 3281340"/>
                    <a:gd name="connsiteY19" fmla="*/ 844033 h 2420900"/>
                    <a:gd name="connsiteX20" fmla="*/ 2850391 w 3281340"/>
                    <a:gd name="connsiteY20" fmla="*/ 25521 h 2420900"/>
                    <a:gd name="connsiteX0" fmla="*/ 2850391 w 3281340"/>
                    <a:gd name="connsiteY0" fmla="*/ 25521 h 2420900"/>
                    <a:gd name="connsiteX1" fmla="*/ 2123027 w 3281340"/>
                    <a:gd name="connsiteY1" fmla="*/ 217297 h 2420900"/>
                    <a:gd name="connsiteX2" fmla="*/ 1208627 w 3281340"/>
                    <a:gd name="connsiteY2" fmla="*/ 0 h 2420900"/>
                    <a:gd name="connsiteX3" fmla="*/ 543609 w 3281340"/>
                    <a:gd name="connsiteY3" fmla="*/ 254121 h 2420900"/>
                    <a:gd name="connsiteX4" fmla="*/ 211100 w 3281340"/>
                    <a:gd name="connsiteY4" fmla="*/ 545067 h 2420900"/>
                    <a:gd name="connsiteX5" fmla="*/ 0 w 3281340"/>
                    <a:gd name="connsiteY5" fmla="*/ 674861 h 2420900"/>
                    <a:gd name="connsiteX6" fmla="*/ 231882 w 3281340"/>
                    <a:gd name="connsiteY6" fmla="*/ 815230 h 2420900"/>
                    <a:gd name="connsiteX7" fmla="*/ 938463 w 3281340"/>
                    <a:gd name="connsiteY7" fmla="*/ 565848 h 2420900"/>
                    <a:gd name="connsiteX8" fmla="*/ 460482 w 3281340"/>
                    <a:gd name="connsiteY8" fmla="*/ 1064612 h 2420900"/>
                    <a:gd name="connsiteX9" fmla="*/ 231882 w 3281340"/>
                    <a:gd name="connsiteY9" fmla="*/ 1480248 h 2420900"/>
                    <a:gd name="connsiteX10" fmla="*/ 356572 w 3281340"/>
                    <a:gd name="connsiteY10" fmla="*/ 1688067 h 2420900"/>
                    <a:gd name="connsiteX11" fmla="*/ 490743 w 3281340"/>
                    <a:gd name="connsiteY11" fmla="*/ 1720151 h 2420900"/>
                    <a:gd name="connsiteX12" fmla="*/ 751427 w 3281340"/>
                    <a:gd name="connsiteY12" fmla="*/ 1999794 h 2420900"/>
                    <a:gd name="connsiteX13" fmla="*/ 1063154 w 3281340"/>
                    <a:gd name="connsiteY13" fmla="*/ 2249176 h 2420900"/>
                    <a:gd name="connsiteX14" fmla="*/ 1221388 w 3281340"/>
                    <a:gd name="connsiteY14" fmla="*/ 2420900 h 2420900"/>
                    <a:gd name="connsiteX15" fmla="*/ 1665827 w 3281340"/>
                    <a:gd name="connsiteY15" fmla="*/ 2186830 h 2420900"/>
                    <a:gd name="connsiteX16" fmla="*/ 2109902 w 3281340"/>
                    <a:gd name="connsiteY16" fmla="*/ 1871457 h 2420900"/>
                    <a:gd name="connsiteX17" fmla="*/ 2725700 w 3281340"/>
                    <a:gd name="connsiteY17" fmla="*/ 1210085 h 2420900"/>
                    <a:gd name="connsiteX18" fmla="*/ 3202953 w 3281340"/>
                    <a:gd name="connsiteY18" fmla="*/ 1117113 h 2420900"/>
                    <a:gd name="connsiteX19" fmla="*/ 3281340 w 3281340"/>
                    <a:gd name="connsiteY19" fmla="*/ 844033 h 2420900"/>
                    <a:gd name="connsiteX20" fmla="*/ 2850391 w 3281340"/>
                    <a:gd name="connsiteY20" fmla="*/ 25521 h 2420900"/>
                    <a:gd name="connsiteX0" fmla="*/ 2850391 w 3281340"/>
                    <a:gd name="connsiteY0" fmla="*/ 25521 h 2420900"/>
                    <a:gd name="connsiteX1" fmla="*/ 2123027 w 3281340"/>
                    <a:gd name="connsiteY1" fmla="*/ 217297 h 2420900"/>
                    <a:gd name="connsiteX2" fmla="*/ 1208627 w 3281340"/>
                    <a:gd name="connsiteY2" fmla="*/ 0 h 2420900"/>
                    <a:gd name="connsiteX3" fmla="*/ 543609 w 3281340"/>
                    <a:gd name="connsiteY3" fmla="*/ 254121 h 2420900"/>
                    <a:gd name="connsiteX4" fmla="*/ 211100 w 3281340"/>
                    <a:gd name="connsiteY4" fmla="*/ 545067 h 2420900"/>
                    <a:gd name="connsiteX5" fmla="*/ 0 w 3281340"/>
                    <a:gd name="connsiteY5" fmla="*/ 674861 h 2420900"/>
                    <a:gd name="connsiteX6" fmla="*/ 231882 w 3281340"/>
                    <a:gd name="connsiteY6" fmla="*/ 815230 h 2420900"/>
                    <a:gd name="connsiteX7" fmla="*/ 938463 w 3281340"/>
                    <a:gd name="connsiteY7" fmla="*/ 565848 h 2420900"/>
                    <a:gd name="connsiteX8" fmla="*/ 460482 w 3281340"/>
                    <a:gd name="connsiteY8" fmla="*/ 1064612 h 2420900"/>
                    <a:gd name="connsiteX9" fmla="*/ 231882 w 3281340"/>
                    <a:gd name="connsiteY9" fmla="*/ 1480248 h 2420900"/>
                    <a:gd name="connsiteX10" fmla="*/ 332509 w 3281340"/>
                    <a:gd name="connsiteY10" fmla="*/ 1643951 h 2420900"/>
                    <a:gd name="connsiteX11" fmla="*/ 490743 w 3281340"/>
                    <a:gd name="connsiteY11" fmla="*/ 1720151 h 2420900"/>
                    <a:gd name="connsiteX12" fmla="*/ 751427 w 3281340"/>
                    <a:gd name="connsiteY12" fmla="*/ 1999794 h 2420900"/>
                    <a:gd name="connsiteX13" fmla="*/ 1063154 w 3281340"/>
                    <a:gd name="connsiteY13" fmla="*/ 2249176 h 2420900"/>
                    <a:gd name="connsiteX14" fmla="*/ 1221388 w 3281340"/>
                    <a:gd name="connsiteY14" fmla="*/ 2420900 h 2420900"/>
                    <a:gd name="connsiteX15" fmla="*/ 1665827 w 3281340"/>
                    <a:gd name="connsiteY15" fmla="*/ 2186830 h 2420900"/>
                    <a:gd name="connsiteX16" fmla="*/ 2109902 w 3281340"/>
                    <a:gd name="connsiteY16" fmla="*/ 1871457 h 2420900"/>
                    <a:gd name="connsiteX17" fmla="*/ 2725700 w 3281340"/>
                    <a:gd name="connsiteY17" fmla="*/ 1210085 h 2420900"/>
                    <a:gd name="connsiteX18" fmla="*/ 3202953 w 3281340"/>
                    <a:gd name="connsiteY18" fmla="*/ 1117113 h 2420900"/>
                    <a:gd name="connsiteX19" fmla="*/ 3281340 w 3281340"/>
                    <a:gd name="connsiteY19" fmla="*/ 844033 h 2420900"/>
                    <a:gd name="connsiteX20" fmla="*/ 2850391 w 3281340"/>
                    <a:gd name="connsiteY20" fmla="*/ 25521 h 2420900"/>
                    <a:gd name="connsiteX0" fmla="*/ 2850391 w 3281340"/>
                    <a:gd name="connsiteY0" fmla="*/ 25521 h 2420900"/>
                    <a:gd name="connsiteX1" fmla="*/ 2123027 w 3281340"/>
                    <a:gd name="connsiteY1" fmla="*/ 217297 h 2420900"/>
                    <a:gd name="connsiteX2" fmla="*/ 1208627 w 3281340"/>
                    <a:gd name="connsiteY2" fmla="*/ 0 h 2420900"/>
                    <a:gd name="connsiteX3" fmla="*/ 543609 w 3281340"/>
                    <a:gd name="connsiteY3" fmla="*/ 254121 h 2420900"/>
                    <a:gd name="connsiteX4" fmla="*/ 211100 w 3281340"/>
                    <a:gd name="connsiteY4" fmla="*/ 545067 h 2420900"/>
                    <a:gd name="connsiteX5" fmla="*/ 0 w 3281340"/>
                    <a:gd name="connsiteY5" fmla="*/ 674861 h 2420900"/>
                    <a:gd name="connsiteX6" fmla="*/ 231882 w 3281340"/>
                    <a:gd name="connsiteY6" fmla="*/ 815230 h 2420900"/>
                    <a:gd name="connsiteX7" fmla="*/ 938463 w 3281340"/>
                    <a:gd name="connsiteY7" fmla="*/ 565848 h 2420900"/>
                    <a:gd name="connsiteX8" fmla="*/ 460482 w 3281340"/>
                    <a:gd name="connsiteY8" fmla="*/ 1064612 h 2420900"/>
                    <a:gd name="connsiteX9" fmla="*/ 271987 w 3281340"/>
                    <a:gd name="connsiteY9" fmla="*/ 1396027 h 2420900"/>
                    <a:gd name="connsiteX10" fmla="*/ 332509 w 3281340"/>
                    <a:gd name="connsiteY10" fmla="*/ 1643951 h 2420900"/>
                    <a:gd name="connsiteX11" fmla="*/ 490743 w 3281340"/>
                    <a:gd name="connsiteY11" fmla="*/ 1720151 h 2420900"/>
                    <a:gd name="connsiteX12" fmla="*/ 751427 w 3281340"/>
                    <a:gd name="connsiteY12" fmla="*/ 1999794 h 2420900"/>
                    <a:gd name="connsiteX13" fmla="*/ 1063154 w 3281340"/>
                    <a:gd name="connsiteY13" fmla="*/ 2249176 h 2420900"/>
                    <a:gd name="connsiteX14" fmla="*/ 1221388 w 3281340"/>
                    <a:gd name="connsiteY14" fmla="*/ 2420900 h 2420900"/>
                    <a:gd name="connsiteX15" fmla="*/ 1665827 w 3281340"/>
                    <a:gd name="connsiteY15" fmla="*/ 2186830 h 2420900"/>
                    <a:gd name="connsiteX16" fmla="*/ 2109902 w 3281340"/>
                    <a:gd name="connsiteY16" fmla="*/ 1871457 h 2420900"/>
                    <a:gd name="connsiteX17" fmla="*/ 2725700 w 3281340"/>
                    <a:gd name="connsiteY17" fmla="*/ 1210085 h 2420900"/>
                    <a:gd name="connsiteX18" fmla="*/ 3202953 w 3281340"/>
                    <a:gd name="connsiteY18" fmla="*/ 1117113 h 2420900"/>
                    <a:gd name="connsiteX19" fmla="*/ 3281340 w 3281340"/>
                    <a:gd name="connsiteY19" fmla="*/ 844033 h 2420900"/>
                    <a:gd name="connsiteX20" fmla="*/ 2850391 w 3281340"/>
                    <a:gd name="connsiteY20" fmla="*/ 25521 h 2420900"/>
                    <a:gd name="connsiteX0" fmla="*/ 2850391 w 3281340"/>
                    <a:gd name="connsiteY0" fmla="*/ 25521 h 2420900"/>
                    <a:gd name="connsiteX1" fmla="*/ 2123027 w 3281340"/>
                    <a:gd name="connsiteY1" fmla="*/ 217297 h 2420900"/>
                    <a:gd name="connsiteX2" fmla="*/ 1208627 w 3281340"/>
                    <a:gd name="connsiteY2" fmla="*/ 0 h 2420900"/>
                    <a:gd name="connsiteX3" fmla="*/ 543609 w 3281340"/>
                    <a:gd name="connsiteY3" fmla="*/ 254121 h 2420900"/>
                    <a:gd name="connsiteX4" fmla="*/ 211100 w 3281340"/>
                    <a:gd name="connsiteY4" fmla="*/ 545067 h 2420900"/>
                    <a:gd name="connsiteX5" fmla="*/ 0 w 3281340"/>
                    <a:gd name="connsiteY5" fmla="*/ 674861 h 2420900"/>
                    <a:gd name="connsiteX6" fmla="*/ 231882 w 3281340"/>
                    <a:gd name="connsiteY6" fmla="*/ 815230 h 2420900"/>
                    <a:gd name="connsiteX7" fmla="*/ 938463 w 3281340"/>
                    <a:gd name="connsiteY7" fmla="*/ 565848 h 2420900"/>
                    <a:gd name="connsiteX8" fmla="*/ 460482 w 3281340"/>
                    <a:gd name="connsiteY8" fmla="*/ 1064612 h 2420900"/>
                    <a:gd name="connsiteX9" fmla="*/ 271987 w 3281340"/>
                    <a:gd name="connsiteY9" fmla="*/ 1396027 h 2420900"/>
                    <a:gd name="connsiteX10" fmla="*/ 332509 w 3281340"/>
                    <a:gd name="connsiteY10" fmla="*/ 1643951 h 2420900"/>
                    <a:gd name="connsiteX11" fmla="*/ 490743 w 3281340"/>
                    <a:gd name="connsiteY11" fmla="*/ 1720151 h 2420900"/>
                    <a:gd name="connsiteX12" fmla="*/ 751427 w 3281340"/>
                    <a:gd name="connsiteY12" fmla="*/ 1999794 h 2420900"/>
                    <a:gd name="connsiteX13" fmla="*/ 1063154 w 3281340"/>
                    <a:gd name="connsiteY13" fmla="*/ 2249176 h 2420900"/>
                    <a:gd name="connsiteX14" fmla="*/ 1221388 w 3281340"/>
                    <a:gd name="connsiteY14" fmla="*/ 2420900 h 2420900"/>
                    <a:gd name="connsiteX15" fmla="*/ 1665827 w 3281340"/>
                    <a:gd name="connsiteY15" fmla="*/ 2186830 h 2420900"/>
                    <a:gd name="connsiteX16" fmla="*/ 2109902 w 3281340"/>
                    <a:gd name="connsiteY16" fmla="*/ 1871457 h 2420900"/>
                    <a:gd name="connsiteX17" fmla="*/ 2725700 w 3281340"/>
                    <a:gd name="connsiteY17" fmla="*/ 1210085 h 2420900"/>
                    <a:gd name="connsiteX18" fmla="*/ 3202953 w 3281340"/>
                    <a:gd name="connsiteY18" fmla="*/ 1117113 h 2420900"/>
                    <a:gd name="connsiteX19" fmla="*/ 3281340 w 3281340"/>
                    <a:gd name="connsiteY19" fmla="*/ 844033 h 2420900"/>
                    <a:gd name="connsiteX20" fmla="*/ 2850391 w 3281340"/>
                    <a:gd name="connsiteY20" fmla="*/ 25521 h 2420900"/>
                    <a:gd name="connsiteX0" fmla="*/ 2850391 w 3281340"/>
                    <a:gd name="connsiteY0" fmla="*/ 25521 h 2420900"/>
                    <a:gd name="connsiteX1" fmla="*/ 2123027 w 3281340"/>
                    <a:gd name="connsiteY1" fmla="*/ 217297 h 2420900"/>
                    <a:gd name="connsiteX2" fmla="*/ 1208627 w 3281340"/>
                    <a:gd name="connsiteY2" fmla="*/ 0 h 2420900"/>
                    <a:gd name="connsiteX3" fmla="*/ 543609 w 3281340"/>
                    <a:gd name="connsiteY3" fmla="*/ 254121 h 2420900"/>
                    <a:gd name="connsiteX4" fmla="*/ 211100 w 3281340"/>
                    <a:gd name="connsiteY4" fmla="*/ 545067 h 2420900"/>
                    <a:gd name="connsiteX5" fmla="*/ 0 w 3281340"/>
                    <a:gd name="connsiteY5" fmla="*/ 674861 h 2420900"/>
                    <a:gd name="connsiteX6" fmla="*/ 231882 w 3281340"/>
                    <a:gd name="connsiteY6" fmla="*/ 815230 h 2420900"/>
                    <a:gd name="connsiteX7" fmla="*/ 938463 w 3281340"/>
                    <a:gd name="connsiteY7" fmla="*/ 565848 h 2420900"/>
                    <a:gd name="connsiteX8" fmla="*/ 460482 w 3281340"/>
                    <a:gd name="connsiteY8" fmla="*/ 1064612 h 2420900"/>
                    <a:gd name="connsiteX9" fmla="*/ 271987 w 3281340"/>
                    <a:gd name="connsiteY9" fmla="*/ 1396027 h 2420900"/>
                    <a:gd name="connsiteX10" fmla="*/ 332509 w 3281340"/>
                    <a:gd name="connsiteY10" fmla="*/ 1643951 h 2420900"/>
                    <a:gd name="connsiteX11" fmla="*/ 490743 w 3281340"/>
                    <a:gd name="connsiteY11" fmla="*/ 1720151 h 2420900"/>
                    <a:gd name="connsiteX12" fmla="*/ 751427 w 3281340"/>
                    <a:gd name="connsiteY12" fmla="*/ 1999794 h 2420900"/>
                    <a:gd name="connsiteX13" fmla="*/ 1063154 w 3281340"/>
                    <a:gd name="connsiteY13" fmla="*/ 2249176 h 2420900"/>
                    <a:gd name="connsiteX14" fmla="*/ 1221388 w 3281340"/>
                    <a:gd name="connsiteY14" fmla="*/ 2420900 h 2420900"/>
                    <a:gd name="connsiteX15" fmla="*/ 1665827 w 3281340"/>
                    <a:gd name="connsiteY15" fmla="*/ 2186830 h 2420900"/>
                    <a:gd name="connsiteX16" fmla="*/ 2109902 w 3281340"/>
                    <a:gd name="connsiteY16" fmla="*/ 1871457 h 2420900"/>
                    <a:gd name="connsiteX17" fmla="*/ 2725700 w 3281340"/>
                    <a:gd name="connsiteY17" fmla="*/ 1210085 h 2420900"/>
                    <a:gd name="connsiteX18" fmla="*/ 3202953 w 3281340"/>
                    <a:gd name="connsiteY18" fmla="*/ 1117113 h 2420900"/>
                    <a:gd name="connsiteX19" fmla="*/ 3281340 w 3281340"/>
                    <a:gd name="connsiteY19" fmla="*/ 844033 h 2420900"/>
                    <a:gd name="connsiteX20" fmla="*/ 2850391 w 3281340"/>
                    <a:gd name="connsiteY20" fmla="*/ 25521 h 2420900"/>
                    <a:gd name="connsiteX0" fmla="*/ 2850391 w 3281340"/>
                    <a:gd name="connsiteY0" fmla="*/ 25521 h 2420900"/>
                    <a:gd name="connsiteX1" fmla="*/ 2123027 w 3281340"/>
                    <a:gd name="connsiteY1" fmla="*/ 217297 h 2420900"/>
                    <a:gd name="connsiteX2" fmla="*/ 1208627 w 3281340"/>
                    <a:gd name="connsiteY2" fmla="*/ 0 h 2420900"/>
                    <a:gd name="connsiteX3" fmla="*/ 543609 w 3281340"/>
                    <a:gd name="connsiteY3" fmla="*/ 254121 h 2420900"/>
                    <a:gd name="connsiteX4" fmla="*/ 211100 w 3281340"/>
                    <a:gd name="connsiteY4" fmla="*/ 545067 h 2420900"/>
                    <a:gd name="connsiteX5" fmla="*/ 0 w 3281340"/>
                    <a:gd name="connsiteY5" fmla="*/ 674861 h 2420900"/>
                    <a:gd name="connsiteX6" fmla="*/ 231882 w 3281340"/>
                    <a:gd name="connsiteY6" fmla="*/ 815230 h 2420900"/>
                    <a:gd name="connsiteX7" fmla="*/ 938463 w 3281340"/>
                    <a:gd name="connsiteY7" fmla="*/ 565848 h 2420900"/>
                    <a:gd name="connsiteX8" fmla="*/ 460482 w 3281340"/>
                    <a:gd name="connsiteY8" fmla="*/ 1064612 h 2420900"/>
                    <a:gd name="connsiteX9" fmla="*/ 271987 w 3281340"/>
                    <a:gd name="connsiteY9" fmla="*/ 1396027 h 2420900"/>
                    <a:gd name="connsiteX10" fmla="*/ 312456 w 3281340"/>
                    <a:gd name="connsiteY10" fmla="*/ 1611866 h 2420900"/>
                    <a:gd name="connsiteX11" fmla="*/ 490743 w 3281340"/>
                    <a:gd name="connsiteY11" fmla="*/ 1720151 h 2420900"/>
                    <a:gd name="connsiteX12" fmla="*/ 751427 w 3281340"/>
                    <a:gd name="connsiteY12" fmla="*/ 1999794 h 2420900"/>
                    <a:gd name="connsiteX13" fmla="*/ 1063154 w 3281340"/>
                    <a:gd name="connsiteY13" fmla="*/ 2249176 h 2420900"/>
                    <a:gd name="connsiteX14" fmla="*/ 1221388 w 3281340"/>
                    <a:gd name="connsiteY14" fmla="*/ 2420900 h 2420900"/>
                    <a:gd name="connsiteX15" fmla="*/ 1665827 w 3281340"/>
                    <a:gd name="connsiteY15" fmla="*/ 2186830 h 2420900"/>
                    <a:gd name="connsiteX16" fmla="*/ 2109902 w 3281340"/>
                    <a:gd name="connsiteY16" fmla="*/ 1871457 h 2420900"/>
                    <a:gd name="connsiteX17" fmla="*/ 2725700 w 3281340"/>
                    <a:gd name="connsiteY17" fmla="*/ 1210085 h 2420900"/>
                    <a:gd name="connsiteX18" fmla="*/ 3202953 w 3281340"/>
                    <a:gd name="connsiteY18" fmla="*/ 1117113 h 2420900"/>
                    <a:gd name="connsiteX19" fmla="*/ 3281340 w 3281340"/>
                    <a:gd name="connsiteY19" fmla="*/ 844033 h 2420900"/>
                    <a:gd name="connsiteX20" fmla="*/ 2850391 w 3281340"/>
                    <a:gd name="connsiteY20" fmla="*/ 25521 h 2420900"/>
                    <a:gd name="connsiteX0" fmla="*/ 2850391 w 3281340"/>
                    <a:gd name="connsiteY0" fmla="*/ 25521 h 2420900"/>
                    <a:gd name="connsiteX1" fmla="*/ 2123027 w 3281340"/>
                    <a:gd name="connsiteY1" fmla="*/ 217297 h 2420900"/>
                    <a:gd name="connsiteX2" fmla="*/ 1208627 w 3281340"/>
                    <a:gd name="connsiteY2" fmla="*/ 0 h 2420900"/>
                    <a:gd name="connsiteX3" fmla="*/ 543609 w 3281340"/>
                    <a:gd name="connsiteY3" fmla="*/ 254121 h 2420900"/>
                    <a:gd name="connsiteX4" fmla="*/ 211100 w 3281340"/>
                    <a:gd name="connsiteY4" fmla="*/ 545067 h 2420900"/>
                    <a:gd name="connsiteX5" fmla="*/ 0 w 3281340"/>
                    <a:gd name="connsiteY5" fmla="*/ 674861 h 2420900"/>
                    <a:gd name="connsiteX6" fmla="*/ 231882 w 3281340"/>
                    <a:gd name="connsiteY6" fmla="*/ 815230 h 2420900"/>
                    <a:gd name="connsiteX7" fmla="*/ 938463 w 3281340"/>
                    <a:gd name="connsiteY7" fmla="*/ 565848 h 2420900"/>
                    <a:gd name="connsiteX8" fmla="*/ 460482 w 3281340"/>
                    <a:gd name="connsiteY8" fmla="*/ 1064612 h 2420900"/>
                    <a:gd name="connsiteX9" fmla="*/ 271987 w 3281340"/>
                    <a:gd name="connsiteY9" fmla="*/ 1396027 h 2420900"/>
                    <a:gd name="connsiteX10" fmla="*/ 312456 w 3281340"/>
                    <a:gd name="connsiteY10" fmla="*/ 1611866 h 2420900"/>
                    <a:gd name="connsiteX11" fmla="*/ 490743 w 3281340"/>
                    <a:gd name="connsiteY11" fmla="*/ 1720151 h 2420900"/>
                    <a:gd name="connsiteX12" fmla="*/ 751427 w 3281340"/>
                    <a:gd name="connsiteY12" fmla="*/ 1999794 h 2420900"/>
                    <a:gd name="connsiteX13" fmla="*/ 1063154 w 3281340"/>
                    <a:gd name="connsiteY13" fmla="*/ 2249176 h 2420900"/>
                    <a:gd name="connsiteX14" fmla="*/ 1221388 w 3281340"/>
                    <a:gd name="connsiteY14" fmla="*/ 2420900 h 2420900"/>
                    <a:gd name="connsiteX15" fmla="*/ 1665827 w 3281340"/>
                    <a:gd name="connsiteY15" fmla="*/ 2186830 h 2420900"/>
                    <a:gd name="connsiteX16" fmla="*/ 2109902 w 3281340"/>
                    <a:gd name="connsiteY16" fmla="*/ 1871457 h 2420900"/>
                    <a:gd name="connsiteX17" fmla="*/ 2725700 w 3281340"/>
                    <a:gd name="connsiteY17" fmla="*/ 1210085 h 2420900"/>
                    <a:gd name="connsiteX18" fmla="*/ 3249775 w 3281340"/>
                    <a:gd name="connsiteY18" fmla="*/ 1075800 h 2420900"/>
                    <a:gd name="connsiteX19" fmla="*/ 3281340 w 3281340"/>
                    <a:gd name="connsiteY19" fmla="*/ 844033 h 2420900"/>
                    <a:gd name="connsiteX20" fmla="*/ 2850391 w 3281340"/>
                    <a:gd name="connsiteY20" fmla="*/ 25521 h 2420900"/>
                    <a:gd name="connsiteX0" fmla="*/ 2850391 w 3281340"/>
                    <a:gd name="connsiteY0" fmla="*/ 25521 h 2420900"/>
                    <a:gd name="connsiteX1" fmla="*/ 2123027 w 3281340"/>
                    <a:gd name="connsiteY1" fmla="*/ 217297 h 2420900"/>
                    <a:gd name="connsiteX2" fmla="*/ 1208627 w 3281340"/>
                    <a:gd name="connsiteY2" fmla="*/ 0 h 2420900"/>
                    <a:gd name="connsiteX3" fmla="*/ 543609 w 3281340"/>
                    <a:gd name="connsiteY3" fmla="*/ 254121 h 2420900"/>
                    <a:gd name="connsiteX4" fmla="*/ 211100 w 3281340"/>
                    <a:gd name="connsiteY4" fmla="*/ 545067 h 2420900"/>
                    <a:gd name="connsiteX5" fmla="*/ 0 w 3281340"/>
                    <a:gd name="connsiteY5" fmla="*/ 674861 h 2420900"/>
                    <a:gd name="connsiteX6" fmla="*/ 231882 w 3281340"/>
                    <a:gd name="connsiteY6" fmla="*/ 815230 h 2420900"/>
                    <a:gd name="connsiteX7" fmla="*/ 938463 w 3281340"/>
                    <a:gd name="connsiteY7" fmla="*/ 565848 h 2420900"/>
                    <a:gd name="connsiteX8" fmla="*/ 460482 w 3281340"/>
                    <a:gd name="connsiteY8" fmla="*/ 1064612 h 2420900"/>
                    <a:gd name="connsiteX9" fmla="*/ 271987 w 3281340"/>
                    <a:gd name="connsiteY9" fmla="*/ 1396027 h 2420900"/>
                    <a:gd name="connsiteX10" fmla="*/ 312456 w 3281340"/>
                    <a:gd name="connsiteY10" fmla="*/ 1611866 h 2420900"/>
                    <a:gd name="connsiteX11" fmla="*/ 490743 w 3281340"/>
                    <a:gd name="connsiteY11" fmla="*/ 1720151 h 2420900"/>
                    <a:gd name="connsiteX12" fmla="*/ 751427 w 3281340"/>
                    <a:gd name="connsiteY12" fmla="*/ 1999794 h 2420900"/>
                    <a:gd name="connsiteX13" fmla="*/ 1063154 w 3281340"/>
                    <a:gd name="connsiteY13" fmla="*/ 2249176 h 2420900"/>
                    <a:gd name="connsiteX14" fmla="*/ 1221388 w 3281340"/>
                    <a:gd name="connsiteY14" fmla="*/ 2420900 h 2420900"/>
                    <a:gd name="connsiteX15" fmla="*/ 1665827 w 3281340"/>
                    <a:gd name="connsiteY15" fmla="*/ 2186830 h 2420900"/>
                    <a:gd name="connsiteX16" fmla="*/ 2109902 w 3281340"/>
                    <a:gd name="connsiteY16" fmla="*/ 1871457 h 2420900"/>
                    <a:gd name="connsiteX17" fmla="*/ 2725700 w 3281340"/>
                    <a:gd name="connsiteY17" fmla="*/ 1210085 h 2420900"/>
                    <a:gd name="connsiteX18" fmla="*/ 3249775 w 3281340"/>
                    <a:gd name="connsiteY18" fmla="*/ 1075800 h 2420900"/>
                    <a:gd name="connsiteX19" fmla="*/ 3281340 w 3281340"/>
                    <a:gd name="connsiteY19" fmla="*/ 844033 h 2420900"/>
                    <a:gd name="connsiteX20" fmla="*/ 2850391 w 3281340"/>
                    <a:gd name="connsiteY20" fmla="*/ 25521 h 2420900"/>
                    <a:gd name="connsiteX0" fmla="*/ 2850391 w 3310446"/>
                    <a:gd name="connsiteY0" fmla="*/ 25521 h 2420900"/>
                    <a:gd name="connsiteX1" fmla="*/ 2123027 w 3310446"/>
                    <a:gd name="connsiteY1" fmla="*/ 217297 h 2420900"/>
                    <a:gd name="connsiteX2" fmla="*/ 1208627 w 3310446"/>
                    <a:gd name="connsiteY2" fmla="*/ 0 h 2420900"/>
                    <a:gd name="connsiteX3" fmla="*/ 543609 w 3310446"/>
                    <a:gd name="connsiteY3" fmla="*/ 254121 h 2420900"/>
                    <a:gd name="connsiteX4" fmla="*/ 211100 w 3310446"/>
                    <a:gd name="connsiteY4" fmla="*/ 545067 h 2420900"/>
                    <a:gd name="connsiteX5" fmla="*/ 0 w 3310446"/>
                    <a:gd name="connsiteY5" fmla="*/ 674861 h 2420900"/>
                    <a:gd name="connsiteX6" fmla="*/ 231882 w 3310446"/>
                    <a:gd name="connsiteY6" fmla="*/ 815230 h 2420900"/>
                    <a:gd name="connsiteX7" fmla="*/ 938463 w 3310446"/>
                    <a:gd name="connsiteY7" fmla="*/ 565848 h 2420900"/>
                    <a:gd name="connsiteX8" fmla="*/ 460482 w 3310446"/>
                    <a:gd name="connsiteY8" fmla="*/ 1064612 h 2420900"/>
                    <a:gd name="connsiteX9" fmla="*/ 271987 w 3310446"/>
                    <a:gd name="connsiteY9" fmla="*/ 1396027 h 2420900"/>
                    <a:gd name="connsiteX10" fmla="*/ 312456 w 3310446"/>
                    <a:gd name="connsiteY10" fmla="*/ 1611866 h 2420900"/>
                    <a:gd name="connsiteX11" fmla="*/ 490743 w 3310446"/>
                    <a:gd name="connsiteY11" fmla="*/ 1720151 h 2420900"/>
                    <a:gd name="connsiteX12" fmla="*/ 751427 w 3310446"/>
                    <a:gd name="connsiteY12" fmla="*/ 1999794 h 2420900"/>
                    <a:gd name="connsiteX13" fmla="*/ 1063154 w 3310446"/>
                    <a:gd name="connsiteY13" fmla="*/ 2249176 h 2420900"/>
                    <a:gd name="connsiteX14" fmla="*/ 1221388 w 3310446"/>
                    <a:gd name="connsiteY14" fmla="*/ 2420900 h 2420900"/>
                    <a:gd name="connsiteX15" fmla="*/ 1665827 w 3310446"/>
                    <a:gd name="connsiteY15" fmla="*/ 2186830 h 2420900"/>
                    <a:gd name="connsiteX16" fmla="*/ 2109902 w 3310446"/>
                    <a:gd name="connsiteY16" fmla="*/ 1871457 h 2420900"/>
                    <a:gd name="connsiteX17" fmla="*/ 2725700 w 3310446"/>
                    <a:gd name="connsiteY17" fmla="*/ 1210085 h 2420900"/>
                    <a:gd name="connsiteX18" fmla="*/ 3310446 w 3310446"/>
                    <a:gd name="connsiteY18" fmla="*/ 1049798 h 2420900"/>
                    <a:gd name="connsiteX19" fmla="*/ 3281340 w 3310446"/>
                    <a:gd name="connsiteY19" fmla="*/ 844033 h 2420900"/>
                    <a:gd name="connsiteX20" fmla="*/ 2850391 w 3310446"/>
                    <a:gd name="connsiteY20" fmla="*/ 25521 h 2420900"/>
                    <a:gd name="connsiteX0" fmla="*/ 2850391 w 3310446"/>
                    <a:gd name="connsiteY0" fmla="*/ 25521 h 2420900"/>
                    <a:gd name="connsiteX1" fmla="*/ 2123027 w 3310446"/>
                    <a:gd name="connsiteY1" fmla="*/ 217297 h 2420900"/>
                    <a:gd name="connsiteX2" fmla="*/ 1208627 w 3310446"/>
                    <a:gd name="connsiteY2" fmla="*/ 0 h 2420900"/>
                    <a:gd name="connsiteX3" fmla="*/ 543609 w 3310446"/>
                    <a:gd name="connsiteY3" fmla="*/ 254121 h 2420900"/>
                    <a:gd name="connsiteX4" fmla="*/ 211100 w 3310446"/>
                    <a:gd name="connsiteY4" fmla="*/ 545067 h 2420900"/>
                    <a:gd name="connsiteX5" fmla="*/ 0 w 3310446"/>
                    <a:gd name="connsiteY5" fmla="*/ 674861 h 2420900"/>
                    <a:gd name="connsiteX6" fmla="*/ 231882 w 3310446"/>
                    <a:gd name="connsiteY6" fmla="*/ 815230 h 2420900"/>
                    <a:gd name="connsiteX7" fmla="*/ 938463 w 3310446"/>
                    <a:gd name="connsiteY7" fmla="*/ 565848 h 2420900"/>
                    <a:gd name="connsiteX8" fmla="*/ 460482 w 3310446"/>
                    <a:gd name="connsiteY8" fmla="*/ 1064612 h 2420900"/>
                    <a:gd name="connsiteX9" fmla="*/ 271987 w 3310446"/>
                    <a:gd name="connsiteY9" fmla="*/ 1396027 h 2420900"/>
                    <a:gd name="connsiteX10" fmla="*/ 312456 w 3310446"/>
                    <a:gd name="connsiteY10" fmla="*/ 1611866 h 2420900"/>
                    <a:gd name="connsiteX11" fmla="*/ 490743 w 3310446"/>
                    <a:gd name="connsiteY11" fmla="*/ 1720151 h 2420900"/>
                    <a:gd name="connsiteX12" fmla="*/ 751427 w 3310446"/>
                    <a:gd name="connsiteY12" fmla="*/ 1999794 h 2420900"/>
                    <a:gd name="connsiteX13" fmla="*/ 1063154 w 3310446"/>
                    <a:gd name="connsiteY13" fmla="*/ 2249176 h 2420900"/>
                    <a:gd name="connsiteX14" fmla="*/ 1221388 w 3310446"/>
                    <a:gd name="connsiteY14" fmla="*/ 2420900 h 2420900"/>
                    <a:gd name="connsiteX15" fmla="*/ 1665827 w 3310446"/>
                    <a:gd name="connsiteY15" fmla="*/ 2186830 h 2420900"/>
                    <a:gd name="connsiteX16" fmla="*/ 2109902 w 3310446"/>
                    <a:gd name="connsiteY16" fmla="*/ 1871457 h 2420900"/>
                    <a:gd name="connsiteX17" fmla="*/ 2725700 w 3310446"/>
                    <a:gd name="connsiteY17" fmla="*/ 1210085 h 2420900"/>
                    <a:gd name="connsiteX18" fmla="*/ 3310446 w 3310446"/>
                    <a:gd name="connsiteY18" fmla="*/ 1023796 h 2420900"/>
                    <a:gd name="connsiteX19" fmla="*/ 3281340 w 3310446"/>
                    <a:gd name="connsiteY19" fmla="*/ 844033 h 2420900"/>
                    <a:gd name="connsiteX20" fmla="*/ 2850391 w 3310446"/>
                    <a:gd name="connsiteY20" fmla="*/ 25521 h 2420900"/>
                    <a:gd name="connsiteX0" fmla="*/ 2850391 w 3310446"/>
                    <a:gd name="connsiteY0" fmla="*/ 25521 h 2420900"/>
                    <a:gd name="connsiteX1" fmla="*/ 2123027 w 3310446"/>
                    <a:gd name="connsiteY1" fmla="*/ 217297 h 2420900"/>
                    <a:gd name="connsiteX2" fmla="*/ 1208627 w 3310446"/>
                    <a:gd name="connsiteY2" fmla="*/ 0 h 2420900"/>
                    <a:gd name="connsiteX3" fmla="*/ 543609 w 3310446"/>
                    <a:gd name="connsiteY3" fmla="*/ 254121 h 2420900"/>
                    <a:gd name="connsiteX4" fmla="*/ 211100 w 3310446"/>
                    <a:gd name="connsiteY4" fmla="*/ 545067 h 2420900"/>
                    <a:gd name="connsiteX5" fmla="*/ 0 w 3310446"/>
                    <a:gd name="connsiteY5" fmla="*/ 674861 h 2420900"/>
                    <a:gd name="connsiteX6" fmla="*/ 231882 w 3310446"/>
                    <a:gd name="connsiteY6" fmla="*/ 815230 h 2420900"/>
                    <a:gd name="connsiteX7" fmla="*/ 938463 w 3310446"/>
                    <a:gd name="connsiteY7" fmla="*/ 565848 h 2420900"/>
                    <a:gd name="connsiteX8" fmla="*/ 460482 w 3310446"/>
                    <a:gd name="connsiteY8" fmla="*/ 1064612 h 2420900"/>
                    <a:gd name="connsiteX9" fmla="*/ 271987 w 3310446"/>
                    <a:gd name="connsiteY9" fmla="*/ 1396027 h 2420900"/>
                    <a:gd name="connsiteX10" fmla="*/ 312456 w 3310446"/>
                    <a:gd name="connsiteY10" fmla="*/ 1611866 h 2420900"/>
                    <a:gd name="connsiteX11" fmla="*/ 490743 w 3310446"/>
                    <a:gd name="connsiteY11" fmla="*/ 1720151 h 2420900"/>
                    <a:gd name="connsiteX12" fmla="*/ 751427 w 3310446"/>
                    <a:gd name="connsiteY12" fmla="*/ 1999794 h 2420900"/>
                    <a:gd name="connsiteX13" fmla="*/ 1063154 w 3310446"/>
                    <a:gd name="connsiteY13" fmla="*/ 2249176 h 2420900"/>
                    <a:gd name="connsiteX14" fmla="*/ 1221388 w 3310446"/>
                    <a:gd name="connsiteY14" fmla="*/ 2420900 h 2420900"/>
                    <a:gd name="connsiteX15" fmla="*/ 1665827 w 3310446"/>
                    <a:gd name="connsiteY15" fmla="*/ 2186830 h 2420900"/>
                    <a:gd name="connsiteX16" fmla="*/ 2109902 w 3310446"/>
                    <a:gd name="connsiteY16" fmla="*/ 1871457 h 2420900"/>
                    <a:gd name="connsiteX17" fmla="*/ 2725700 w 3310446"/>
                    <a:gd name="connsiteY17" fmla="*/ 1210085 h 2420900"/>
                    <a:gd name="connsiteX18" fmla="*/ 3310446 w 3310446"/>
                    <a:gd name="connsiteY18" fmla="*/ 1023796 h 2420900"/>
                    <a:gd name="connsiteX19" fmla="*/ 3281340 w 3310446"/>
                    <a:gd name="connsiteY19" fmla="*/ 844033 h 2420900"/>
                    <a:gd name="connsiteX20" fmla="*/ 2850391 w 3310446"/>
                    <a:gd name="connsiteY20" fmla="*/ 25521 h 2420900"/>
                    <a:gd name="connsiteX0" fmla="*/ 2850391 w 3310446"/>
                    <a:gd name="connsiteY0" fmla="*/ 25521 h 2420900"/>
                    <a:gd name="connsiteX1" fmla="*/ 2123027 w 3310446"/>
                    <a:gd name="connsiteY1" fmla="*/ 217297 h 2420900"/>
                    <a:gd name="connsiteX2" fmla="*/ 1208627 w 3310446"/>
                    <a:gd name="connsiteY2" fmla="*/ 0 h 2420900"/>
                    <a:gd name="connsiteX3" fmla="*/ 543609 w 3310446"/>
                    <a:gd name="connsiteY3" fmla="*/ 254121 h 2420900"/>
                    <a:gd name="connsiteX4" fmla="*/ 211100 w 3310446"/>
                    <a:gd name="connsiteY4" fmla="*/ 545067 h 2420900"/>
                    <a:gd name="connsiteX5" fmla="*/ 0 w 3310446"/>
                    <a:gd name="connsiteY5" fmla="*/ 674861 h 2420900"/>
                    <a:gd name="connsiteX6" fmla="*/ 231882 w 3310446"/>
                    <a:gd name="connsiteY6" fmla="*/ 815230 h 2420900"/>
                    <a:gd name="connsiteX7" fmla="*/ 938463 w 3310446"/>
                    <a:gd name="connsiteY7" fmla="*/ 565848 h 2420900"/>
                    <a:gd name="connsiteX8" fmla="*/ 460482 w 3310446"/>
                    <a:gd name="connsiteY8" fmla="*/ 1064612 h 2420900"/>
                    <a:gd name="connsiteX9" fmla="*/ 271987 w 3310446"/>
                    <a:gd name="connsiteY9" fmla="*/ 1396027 h 2420900"/>
                    <a:gd name="connsiteX10" fmla="*/ 312456 w 3310446"/>
                    <a:gd name="connsiteY10" fmla="*/ 1611866 h 2420900"/>
                    <a:gd name="connsiteX11" fmla="*/ 490743 w 3310446"/>
                    <a:gd name="connsiteY11" fmla="*/ 1720151 h 2420900"/>
                    <a:gd name="connsiteX12" fmla="*/ 751427 w 3310446"/>
                    <a:gd name="connsiteY12" fmla="*/ 1999794 h 2420900"/>
                    <a:gd name="connsiteX13" fmla="*/ 1063154 w 3310446"/>
                    <a:gd name="connsiteY13" fmla="*/ 2249176 h 2420900"/>
                    <a:gd name="connsiteX14" fmla="*/ 1221388 w 3310446"/>
                    <a:gd name="connsiteY14" fmla="*/ 2420900 h 2420900"/>
                    <a:gd name="connsiteX15" fmla="*/ 1665827 w 3310446"/>
                    <a:gd name="connsiteY15" fmla="*/ 2186830 h 2420900"/>
                    <a:gd name="connsiteX16" fmla="*/ 2109902 w 3310446"/>
                    <a:gd name="connsiteY16" fmla="*/ 1871457 h 2420900"/>
                    <a:gd name="connsiteX17" fmla="*/ 2725700 w 3310446"/>
                    <a:gd name="connsiteY17" fmla="*/ 1210085 h 2420900"/>
                    <a:gd name="connsiteX18" fmla="*/ 3310446 w 3310446"/>
                    <a:gd name="connsiteY18" fmla="*/ 1049798 h 2420900"/>
                    <a:gd name="connsiteX19" fmla="*/ 3281340 w 3310446"/>
                    <a:gd name="connsiteY19" fmla="*/ 844033 h 2420900"/>
                    <a:gd name="connsiteX20" fmla="*/ 2850391 w 3310446"/>
                    <a:gd name="connsiteY20" fmla="*/ 25521 h 2420900"/>
                    <a:gd name="connsiteX0" fmla="*/ 2850391 w 3310446"/>
                    <a:gd name="connsiteY0" fmla="*/ 25521 h 2420900"/>
                    <a:gd name="connsiteX1" fmla="*/ 2123027 w 3310446"/>
                    <a:gd name="connsiteY1" fmla="*/ 217297 h 2420900"/>
                    <a:gd name="connsiteX2" fmla="*/ 1208627 w 3310446"/>
                    <a:gd name="connsiteY2" fmla="*/ 0 h 2420900"/>
                    <a:gd name="connsiteX3" fmla="*/ 543609 w 3310446"/>
                    <a:gd name="connsiteY3" fmla="*/ 254121 h 2420900"/>
                    <a:gd name="connsiteX4" fmla="*/ 211100 w 3310446"/>
                    <a:gd name="connsiteY4" fmla="*/ 545067 h 2420900"/>
                    <a:gd name="connsiteX5" fmla="*/ 0 w 3310446"/>
                    <a:gd name="connsiteY5" fmla="*/ 674861 h 2420900"/>
                    <a:gd name="connsiteX6" fmla="*/ 231882 w 3310446"/>
                    <a:gd name="connsiteY6" fmla="*/ 815230 h 2420900"/>
                    <a:gd name="connsiteX7" fmla="*/ 938463 w 3310446"/>
                    <a:gd name="connsiteY7" fmla="*/ 565848 h 2420900"/>
                    <a:gd name="connsiteX8" fmla="*/ 460482 w 3310446"/>
                    <a:gd name="connsiteY8" fmla="*/ 1064612 h 2420900"/>
                    <a:gd name="connsiteX9" fmla="*/ 271987 w 3310446"/>
                    <a:gd name="connsiteY9" fmla="*/ 1396027 h 2420900"/>
                    <a:gd name="connsiteX10" fmla="*/ 312456 w 3310446"/>
                    <a:gd name="connsiteY10" fmla="*/ 1611866 h 2420900"/>
                    <a:gd name="connsiteX11" fmla="*/ 490743 w 3310446"/>
                    <a:gd name="connsiteY11" fmla="*/ 1720151 h 2420900"/>
                    <a:gd name="connsiteX12" fmla="*/ 751427 w 3310446"/>
                    <a:gd name="connsiteY12" fmla="*/ 1999794 h 2420900"/>
                    <a:gd name="connsiteX13" fmla="*/ 1063154 w 3310446"/>
                    <a:gd name="connsiteY13" fmla="*/ 2249176 h 2420900"/>
                    <a:gd name="connsiteX14" fmla="*/ 1221388 w 3310446"/>
                    <a:gd name="connsiteY14" fmla="*/ 2420900 h 2420900"/>
                    <a:gd name="connsiteX15" fmla="*/ 1665827 w 3310446"/>
                    <a:gd name="connsiteY15" fmla="*/ 2186830 h 2420900"/>
                    <a:gd name="connsiteX16" fmla="*/ 2109902 w 3310446"/>
                    <a:gd name="connsiteY16" fmla="*/ 1871457 h 2420900"/>
                    <a:gd name="connsiteX17" fmla="*/ 2725700 w 3310446"/>
                    <a:gd name="connsiteY17" fmla="*/ 1210085 h 2420900"/>
                    <a:gd name="connsiteX18" fmla="*/ 3310446 w 3310446"/>
                    <a:gd name="connsiteY18" fmla="*/ 1049798 h 2420900"/>
                    <a:gd name="connsiteX19" fmla="*/ 3281340 w 3310446"/>
                    <a:gd name="connsiteY19" fmla="*/ 844033 h 2420900"/>
                    <a:gd name="connsiteX20" fmla="*/ 2850391 w 3310446"/>
                    <a:gd name="connsiteY20" fmla="*/ 25521 h 2420900"/>
                    <a:gd name="connsiteX0" fmla="*/ 2850391 w 3310446"/>
                    <a:gd name="connsiteY0" fmla="*/ 25521 h 2420900"/>
                    <a:gd name="connsiteX1" fmla="*/ 2123027 w 3310446"/>
                    <a:gd name="connsiteY1" fmla="*/ 217297 h 2420900"/>
                    <a:gd name="connsiteX2" fmla="*/ 1208627 w 3310446"/>
                    <a:gd name="connsiteY2" fmla="*/ 0 h 2420900"/>
                    <a:gd name="connsiteX3" fmla="*/ 543609 w 3310446"/>
                    <a:gd name="connsiteY3" fmla="*/ 254121 h 2420900"/>
                    <a:gd name="connsiteX4" fmla="*/ 211100 w 3310446"/>
                    <a:gd name="connsiteY4" fmla="*/ 545067 h 2420900"/>
                    <a:gd name="connsiteX5" fmla="*/ 0 w 3310446"/>
                    <a:gd name="connsiteY5" fmla="*/ 674861 h 2420900"/>
                    <a:gd name="connsiteX6" fmla="*/ 231882 w 3310446"/>
                    <a:gd name="connsiteY6" fmla="*/ 815230 h 2420900"/>
                    <a:gd name="connsiteX7" fmla="*/ 938463 w 3310446"/>
                    <a:gd name="connsiteY7" fmla="*/ 565848 h 2420900"/>
                    <a:gd name="connsiteX8" fmla="*/ 460482 w 3310446"/>
                    <a:gd name="connsiteY8" fmla="*/ 1064612 h 2420900"/>
                    <a:gd name="connsiteX9" fmla="*/ 271987 w 3310446"/>
                    <a:gd name="connsiteY9" fmla="*/ 1396027 h 2420900"/>
                    <a:gd name="connsiteX10" fmla="*/ 312456 w 3310446"/>
                    <a:gd name="connsiteY10" fmla="*/ 1611866 h 2420900"/>
                    <a:gd name="connsiteX11" fmla="*/ 490743 w 3310446"/>
                    <a:gd name="connsiteY11" fmla="*/ 1720151 h 2420900"/>
                    <a:gd name="connsiteX12" fmla="*/ 751427 w 3310446"/>
                    <a:gd name="connsiteY12" fmla="*/ 1999794 h 2420900"/>
                    <a:gd name="connsiteX13" fmla="*/ 1063154 w 3310446"/>
                    <a:gd name="connsiteY13" fmla="*/ 2249176 h 2420900"/>
                    <a:gd name="connsiteX14" fmla="*/ 1221388 w 3310446"/>
                    <a:gd name="connsiteY14" fmla="*/ 2420900 h 2420900"/>
                    <a:gd name="connsiteX15" fmla="*/ 1665827 w 3310446"/>
                    <a:gd name="connsiteY15" fmla="*/ 2186830 h 2420900"/>
                    <a:gd name="connsiteX16" fmla="*/ 2098400 w 3310446"/>
                    <a:gd name="connsiteY16" fmla="*/ 1842702 h 2420900"/>
                    <a:gd name="connsiteX17" fmla="*/ 2725700 w 3310446"/>
                    <a:gd name="connsiteY17" fmla="*/ 1210085 h 2420900"/>
                    <a:gd name="connsiteX18" fmla="*/ 3310446 w 3310446"/>
                    <a:gd name="connsiteY18" fmla="*/ 1049798 h 2420900"/>
                    <a:gd name="connsiteX19" fmla="*/ 3281340 w 3310446"/>
                    <a:gd name="connsiteY19" fmla="*/ 844033 h 2420900"/>
                    <a:gd name="connsiteX20" fmla="*/ 2850391 w 3310446"/>
                    <a:gd name="connsiteY20" fmla="*/ 25521 h 2420900"/>
                    <a:gd name="connsiteX0" fmla="*/ 2850391 w 3310446"/>
                    <a:gd name="connsiteY0" fmla="*/ 25521 h 2420900"/>
                    <a:gd name="connsiteX1" fmla="*/ 2123027 w 3310446"/>
                    <a:gd name="connsiteY1" fmla="*/ 217297 h 2420900"/>
                    <a:gd name="connsiteX2" fmla="*/ 1208627 w 3310446"/>
                    <a:gd name="connsiteY2" fmla="*/ 0 h 2420900"/>
                    <a:gd name="connsiteX3" fmla="*/ 543609 w 3310446"/>
                    <a:gd name="connsiteY3" fmla="*/ 254121 h 2420900"/>
                    <a:gd name="connsiteX4" fmla="*/ 211100 w 3310446"/>
                    <a:gd name="connsiteY4" fmla="*/ 545067 h 2420900"/>
                    <a:gd name="connsiteX5" fmla="*/ 0 w 3310446"/>
                    <a:gd name="connsiteY5" fmla="*/ 674861 h 2420900"/>
                    <a:gd name="connsiteX6" fmla="*/ 231882 w 3310446"/>
                    <a:gd name="connsiteY6" fmla="*/ 815230 h 2420900"/>
                    <a:gd name="connsiteX7" fmla="*/ 938463 w 3310446"/>
                    <a:gd name="connsiteY7" fmla="*/ 565848 h 2420900"/>
                    <a:gd name="connsiteX8" fmla="*/ 460482 w 3310446"/>
                    <a:gd name="connsiteY8" fmla="*/ 1064612 h 2420900"/>
                    <a:gd name="connsiteX9" fmla="*/ 271987 w 3310446"/>
                    <a:gd name="connsiteY9" fmla="*/ 1396027 h 2420900"/>
                    <a:gd name="connsiteX10" fmla="*/ 312456 w 3310446"/>
                    <a:gd name="connsiteY10" fmla="*/ 1611866 h 2420900"/>
                    <a:gd name="connsiteX11" fmla="*/ 490743 w 3310446"/>
                    <a:gd name="connsiteY11" fmla="*/ 1720151 h 2420900"/>
                    <a:gd name="connsiteX12" fmla="*/ 751427 w 3310446"/>
                    <a:gd name="connsiteY12" fmla="*/ 1999794 h 2420900"/>
                    <a:gd name="connsiteX13" fmla="*/ 1063154 w 3310446"/>
                    <a:gd name="connsiteY13" fmla="*/ 2249176 h 2420900"/>
                    <a:gd name="connsiteX14" fmla="*/ 1221388 w 3310446"/>
                    <a:gd name="connsiteY14" fmla="*/ 2420900 h 2420900"/>
                    <a:gd name="connsiteX15" fmla="*/ 1665827 w 3310446"/>
                    <a:gd name="connsiteY15" fmla="*/ 2186830 h 2420900"/>
                    <a:gd name="connsiteX16" fmla="*/ 2098400 w 3310446"/>
                    <a:gd name="connsiteY16" fmla="*/ 1842702 h 2420900"/>
                    <a:gd name="connsiteX17" fmla="*/ 2702696 w 3310446"/>
                    <a:gd name="connsiteY17" fmla="*/ 1210085 h 2420900"/>
                    <a:gd name="connsiteX18" fmla="*/ 3310446 w 3310446"/>
                    <a:gd name="connsiteY18" fmla="*/ 1049798 h 2420900"/>
                    <a:gd name="connsiteX19" fmla="*/ 3281340 w 3310446"/>
                    <a:gd name="connsiteY19" fmla="*/ 844033 h 2420900"/>
                    <a:gd name="connsiteX20" fmla="*/ 2850391 w 3310446"/>
                    <a:gd name="connsiteY20" fmla="*/ 25521 h 2420900"/>
                    <a:gd name="connsiteX0" fmla="*/ 2850391 w 3310446"/>
                    <a:gd name="connsiteY0" fmla="*/ 25521 h 2420900"/>
                    <a:gd name="connsiteX1" fmla="*/ 2123027 w 3310446"/>
                    <a:gd name="connsiteY1" fmla="*/ 217297 h 2420900"/>
                    <a:gd name="connsiteX2" fmla="*/ 1208627 w 3310446"/>
                    <a:gd name="connsiteY2" fmla="*/ 0 h 2420900"/>
                    <a:gd name="connsiteX3" fmla="*/ 543609 w 3310446"/>
                    <a:gd name="connsiteY3" fmla="*/ 254121 h 2420900"/>
                    <a:gd name="connsiteX4" fmla="*/ 211100 w 3310446"/>
                    <a:gd name="connsiteY4" fmla="*/ 545067 h 2420900"/>
                    <a:gd name="connsiteX5" fmla="*/ 0 w 3310446"/>
                    <a:gd name="connsiteY5" fmla="*/ 674861 h 2420900"/>
                    <a:gd name="connsiteX6" fmla="*/ 231882 w 3310446"/>
                    <a:gd name="connsiteY6" fmla="*/ 815230 h 2420900"/>
                    <a:gd name="connsiteX7" fmla="*/ 938463 w 3310446"/>
                    <a:gd name="connsiteY7" fmla="*/ 565848 h 2420900"/>
                    <a:gd name="connsiteX8" fmla="*/ 460482 w 3310446"/>
                    <a:gd name="connsiteY8" fmla="*/ 1064612 h 2420900"/>
                    <a:gd name="connsiteX9" fmla="*/ 271987 w 3310446"/>
                    <a:gd name="connsiteY9" fmla="*/ 1396027 h 2420900"/>
                    <a:gd name="connsiteX10" fmla="*/ 312456 w 3310446"/>
                    <a:gd name="connsiteY10" fmla="*/ 1611866 h 2420900"/>
                    <a:gd name="connsiteX11" fmla="*/ 490743 w 3310446"/>
                    <a:gd name="connsiteY11" fmla="*/ 1720151 h 2420900"/>
                    <a:gd name="connsiteX12" fmla="*/ 751427 w 3310446"/>
                    <a:gd name="connsiteY12" fmla="*/ 1999794 h 2420900"/>
                    <a:gd name="connsiteX13" fmla="*/ 1063154 w 3310446"/>
                    <a:gd name="connsiteY13" fmla="*/ 2249176 h 2420900"/>
                    <a:gd name="connsiteX14" fmla="*/ 1221388 w 3310446"/>
                    <a:gd name="connsiteY14" fmla="*/ 2420900 h 2420900"/>
                    <a:gd name="connsiteX15" fmla="*/ 1665827 w 3310446"/>
                    <a:gd name="connsiteY15" fmla="*/ 2186830 h 2420900"/>
                    <a:gd name="connsiteX16" fmla="*/ 2098400 w 3310446"/>
                    <a:gd name="connsiteY16" fmla="*/ 1842702 h 2420900"/>
                    <a:gd name="connsiteX17" fmla="*/ 2702696 w 3310446"/>
                    <a:gd name="connsiteY17" fmla="*/ 1210085 h 2420900"/>
                    <a:gd name="connsiteX18" fmla="*/ 3310446 w 3310446"/>
                    <a:gd name="connsiteY18" fmla="*/ 1049798 h 2420900"/>
                    <a:gd name="connsiteX19" fmla="*/ 3281340 w 3310446"/>
                    <a:gd name="connsiteY19" fmla="*/ 844033 h 2420900"/>
                    <a:gd name="connsiteX20" fmla="*/ 2850391 w 3310446"/>
                    <a:gd name="connsiteY20" fmla="*/ 25521 h 2420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10446" h="2420900">
                      <a:moveTo>
                        <a:pt x="2850391" y="25521"/>
                      </a:moveTo>
                      <a:cubicBezTo>
                        <a:pt x="2607936" y="94794"/>
                        <a:pt x="2405587" y="176097"/>
                        <a:pt x="2123027" y="217297"/>
                      </a:cubicBezTo>
                      <a:cubicBezTo>
                        <a:pt x="1790153" y="155559"/>
                        <a:pt x="1393111" y="5591"/>
                        <a:pt x="1208627" y="0"/>
                      </a:cubicBezTo>
                      <a:cubicBezTo>
                        <a:pt x="1027059" y="57970"/>
                        <a:pt x="705124" y="152036"/>
                        <a:pt x="543609" y="254121"/>
                      </a:cubicBezTo>
                      <a:cubicBezTo>
                        <a:pt x="432773" y="351103"/>
                        <a:pt x="386105" y="448085"/>
                        <a:pt x="211100" y="545067"/>
                      </a:cubicBezTo>
                      <a:cubicBezTo>
                        <a:pt x="17178" y="566613"/>
                        <a:pt x="0" y="591350"/>
                        <a:pt x="0" y="674861"/>
                      </a:cubicBezTo>
                      <a:cubicBezTo>
                        <a:pt x="54088" y="786329"/>
                        <a:pt x="96097" y="815230"/>
                        <a:pt x="231882" y="815230"/>
                      </a:cubicBezTo>
                      <a:cubicBezTo>
                        <a:pt x="483451" y="756166"/>
                        <a:pt x="586631" y="476522"/>
                        <a:pt x="938463" y="565848"/>
                      </a:cubicBezTo>
                      <a:cubicBezTo>
                        <a:pt x="813642" y="743605"/>
                        <a:pt x="619809" y="898357"/>
                        <a:pt x="460482" y="1064612"/>
                      </a:cubicBezTo>
                      <a:lnTo>
                        <a:pt x="271987" y="1396027"/>
                      </a:lnTo>
                      <a:cubicBezTo>
                        <a:pt x="264087" y="1526794"/>
                        <a:pt x="292282" y="1529225"/>
                        <a:pt x="312456" y="1611866"/>
                      </a:cubicBezTo>
                      <a:cubicBezTo>
                        <a:pt x="371885" y="1655982"/>
                        <a:pt x="403241" y="1688067"/>
                        <a:pt x="490743" y="1720151"/>
                      </a:cubicBezTo>
                      <a:cubicBezTo>
                        <a:pt x="548531" y="1852315"/>
                        <a:pt x="525016" y="1926328"/>
                        <a:pt x="751427" y="1999794"/>
                      </a:cubicBezTo>
                      <a:cubicBezTo>
                        <a:pt x="814501" y="2207612"/>
                        <a:pt x="880553" y="2199045"/>
                        <a:pt x="1063154" y="2249176"/>
                      </a:cubicBezTo>
                      <a:cubicBezTo>
                        <a:pt x="1094510" y="2382618"/>
                        <a:pt x="1109823" y="2351627"/>
                        <a:pt x="1221388" y="2420900"/>
                      </a:cubicBezTo>
                      <a:cubicBezTo>
                        <a:pt x="1350819" y="2386992"/>
                        <a:pt x="1520354" y="2276885"/>
                        <a:pt x="1665827" y="2186830"/>
                      </a:cubicBezTo>
                      <a:cubicBezTo>
                        <a:pt x="1938178" y="2002832"/>
                        <a:pt x="1902249" y="2026700"/>
                        <a:pt x="2098400" y="1842702"/>
                      </a:cubicBezTo>
                      <a:cubicBezTo>
                        <a:pt x="2191372" y="1715824"/>
                        <a:pt x="2589672" y="1397121"/>
                        <a:pt x="2702696" y="1210085"/>
                      </a:cubicBezTo>
                      <a:cubicBezTo>
                        <a:pt x="2809150" y="1164910"/>
                        <a:pt x="3135359" y="1114802"/>
                        <a:pt x="3310446" y="1049798"/>
                      </a:cubicBezTo>
                      <a:lnTo>
                        <a:pt x="3281340" y="844033"/>
                      </a:lnTo>
                      <a:lnTo>
                        <a:pt x="2850391" y="2552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301" name="Freeform 115"/>
                <p:cNvSpPr/>
                <p:nvPr/>
              </p:nvSpPr>
              <p:spPr>
                <a:xfrm>
                  <a:off x="846533" y="8678600"/>
                  <a:ext cx="1385360" cy="1234054"/>
                </a:xfrm>
                <a:custGeom>
                  <a:avLst/>
                  <a:gdLst>
                    <a:gd name="connsiteX0" fmla="*/ 150349 w 1134457"/>
                    <a:gd name="connsiteY0" fmla="*/ 2050 h 1236969"/>
                    <a:gd name="connsiteX1" fmla="*/ 199555 w 1134457"/>
                    <a:gd name="connsiteY1" fmla="*/ 202972 h 1236969"/>
                    <a:gd name="connsiteX2" fmla="*/ 359472 w 1134457"/>
                    <a:gd name="connsiteY2" fmla="*/ 330086 h 1236969"/>
                    <a:gd name="connsiteX3" fmla="*/ 363573 w 1134457"/>
                    <a:gd name="connsiteY3" fmla="*/ 416196 h 1236969"/>
                    <a:gd name="connsiteX4" fmla="*/ 400477 w 1134457"/>
                    <a:gd name="connsiteY4" fmla="*/ 543310 h 1236969"/>
                    <a:gd name="connsiteX5" fmla="*/ 572696 w 1134457"/>
                    <a:gd name="connsiteY5" fmla="*/ 621218 h 1236969"/>
                    <a:gd name="connsiteX6" fmla="*/ 601399 w 1134457"/>
                    <a:gd name="connsiteY6" fmla="*/ 703227 h 1236969"/>
                    <a:gd name="connsiteX7" fmla="*/ 687508 w 1134457"/>
                    <a:gd name="connsiteY7" fmla="*/ 850843 h 1236969"/>
                    <a:gd name="connsiteX8" fmla="*/ 851526 w 1134457"/>
                    <a:gd name="connsiteY8" fmla="*/ 867245 h 1236969"/>
                    <a:gd name="connsiteX9" fmla="*/ 908932 w 1134457"/>
                    <a:gd name="connsiteY9" fmla="*/ 977957 h 1236969"/>
                    <a:gd name="connsiteX10" fmla="*/ 1077051 w 1134457"/>
                    <a:gd name="connsiteY10" fmla="*/ 1031263 h 1236969"/>
                    <a:gd name="connsiteX11" fmla="*/ 1126256 w 1134457"/>
                    <a:gd name="connsiteY11" fmla="*/ 1031263 h 1236969"/>
                    <a:gd name="connsiteX12" fmla="*/ 1027845 w 1134457"/>
                    <a:gd name="connsiteY12" fmla="*/ 1141975 h 1236969"/>
                    <a:gd name="connsiteX13" fmla="*/ 962238 w 1134457"/>
                    <a:gd name="connsiteY13" fmla="*/ 1232185 h 1236969"/>
                    <a:gd name="connsiteX14" fmla="*/ 835124 w 1134457"/>
                    <a:gd name="connsiteY14" fmla="*/ 1170678 h 1236969"/>
                    <a:gd name="connsiteX15" fmla="*/ 798220 w 1134457"/>
                    <a:gd name="connsiteY15" fmla="*/ 1064066 h 1236969"/>
                    <a:gd name="connsiteX16" fmla="*/ 695709 w 1134457"/>
                    <a:gd name="connsiteY16" fmla="*/ 1035363 h 1236969"/>
                    <a:gd name="connsiteX17" fmla="*/ 552193 w 1134457"/>
                    <a:gd name="connsiteY17" fmla="*/ 965656 h 1236969"/>
                    <a:gd name="connsiteX18" fmla="*/ 474285 w 1134457"/>
                    <a:gd name="connsiteY18" fmla="*/ 801638 h 1236969"/>
                    <a:gd name="connsiteX19" fmla="*/ 232358 w 1134457"/>
                    <a:gd name="connsiteY19" fmla="*/ 531008 h 1236969"/>
                    <a:gd name="connsiteX20" fmla="*/ 64240 w 1134457"/>
                    <a:gd name="connsiteY20" fmla="*/ 424397 h 1236969"/>
                    <a:gd name="connsiteX21" fmla="*/ 15035 w 1134457"/>
                    <a:gd name="connsiteY21" fmla="*/ 215274 h 1236969"/>
                    <a:gd name="connsiteX22" fmla="*/ 150349 w 1134457"/>
                    <a:gd name="connsiteY22" fmla="*/ 2050 h 1236969"/>
                    <a:gd name="connsiteX0" fmla="*/ 150349 w 1134457"/>
                    <a:gd name="connsiteY0" fmla="*/ 2050 h 1236969"/>
                    <a:gd name="connsiteX1" fmla="*/ 199555 w 1134457"/>
                    <a:gd name="connsiteY1" fmla="*/ 202972 h 1236969"/>
                    <a:gd name="connsiteX2" fmla="*/ 359472 w 1134457"/>
                    <a:gd name="connsiteY2" fmla="*/ 330086 h 1236969"/>
                    <a:gd name="connsiteX3" fmla="*/ 363573 w 1134457"/>
                    <a:gd name="connsiteY3" fmla="*/ 416196 h 1236969"/>
                    <a:gd name="connsiteX4" fmla="*/ 400477 w 1134457"/>
                    <a:gd name="connsiteY4" fmla="*/ 543310 h 1236969"/>
                    <a:gd name="connsiteX5" fmla="*/ 572696 w 1134457"/>
                    <a:gd name="connsiteY5" fmla="*/ 621218 h 1236969"/>
                    <a:gd name="connsiteX6" fmla="*/ 601399 w 1134457"/>
                    <a:gd name="connsiteY6" fmla="*/ 703227 h 1236969"/>
                    <a:gd name="connsiteX7" fmla="*/ 687508 w 1134457"/>
                    <a:gd name="connsiteY7" fmla="*/ 850843 h 1236969"/>
                    <a:gd name="connsiteX8" fmla="*/ 851526 w 1134457"/>
                    <a:gd name="connsiteY8" fmla="*/ 867245 h 1236969"/>
                    <a:gd name="connsiteX9" fmla="*/ 908932 w 1134457"/>
                    <a:gd name="connsiteY9" fmla="*/ 977957 h 1236969"/>
                    <a:gd name="connsiteX10" fmla="*/ 1077051 w 1134457"/>
                    <a:gd name="connsiteY10" fmla="*/ 1031263 h 1236969"/>
                    <a:gd name="connsiteX11" fmla="*/ 1126256 w 1134457"/>
                    <a:gd name="connsiteY11" fmla="*/ 1031263 h 1236969"/>
                    <a:gd name="connsiteX12" fmla="*/ 1027845 w 1134457"/>
                    <a:gd name="connsiteY12" fmla="*/ 1141975 h 1236969"/>
                    <a:gd name="connsiteX13" fmla="*/ 962238 w 1134457"/>
                    <a:gd name="connsiteY13" fmla="*/ 1232185 h 1236969"/>
                    <a:gd name="connsiteX14" fmla="*/ 835124 w 1134457"/>
                    <a:gd name="connsiteY14" fmla="*/ 1170678 h 1236969"/>
                    <a:gd name="connsiteX15" fmla="*/ 798220 w 1134457"/>
                    <a:gd name="connsiteY15" fmla="*/ 1064066 h 1236969"/>
                    <a:gd name="connsiteX16" fmla="*/ 695709 w 1134457"/>
                    <a:gd name="connsiteY16" fmla="*/ 1035363 h 1236969"/>
                    <a:gd name="connsiteX17" fmla="*/ 552193 w 1134457"/>
                    <a:gd name="connsiteY17" fmla="*/ 965656 h 1236969"/>
                    <a:gd name="connsiteX18" fmla="*/ 474285 w 1134457"/>
                    <a:gd name="connsiteY18" fmla="*/ 801638 h 1236969"/>
                    <a:gd name="connsiteX19" fmla="*/ 232358 w 1134457"/>
                    <a:gd name="connsiteY19" fmla="*/ 531008 h 1236969"/>
                    <a:gd name="connsiteX20" fmla="*/ 64240 w 1134457"/>
                    <a:gd name="connsiteY20" fmla="*/ 424397 h 1236969"/>
                    <a:gd name="connsiteX21" fmla="*/ 15035 w 1134457"/>
                    <a:gd name="connsiteY21" fmla="*/ 215274 h 1236969"/>
                    <a:gd name="connsiteX22" fmla="*/ 150349 w 1134457"/>
                    <a:gd name="connsiteY22" fmla="*/ 2050 h 1236969"/>
                    <a:gd name="connsiteX0" fmla="*/ 150349 w 1134457"/>
                    <a:gd name="connsiteY0" fmla="*/ 2050 h 1236969"/>
                    <a:gd name="connsiteX1" fmla="*/ 199555 w 1134457"/>
                    <a:gd name="connsiteY1" fmla="*/ 202972 h 1236969"/>
                    <a:gd name="connsiteX2" fmla="*/ 359472 w 1134457"/>
                    <a:gd name="connsiteY2" fmla="*/ 330086 h 1236969"/>
                    <a:gd name="connsiteX3" fmla="*/ 363573 w 1134457"/>
                    <a:gd name="connsiteY3" fmla="*/ 416196 h 1236969"/>
                    <a:gd name="connsiteX4" fmla="*/ 400477 w 1134457"/>
                    <a:gd name="connsiteY4" fmla="*/ 543310 h 1236969"/>
                    <a:gd name="connsiteX5" fmla="*/ 572696 w 1134457"/>
                    <a:gd name="connsiteY5" fmla="*/ 621218 h 1236969"/>
                    <a:gd name="connsiteX6" fmla="*/ 601399 w 1134457"/>
                    <a:gd name="connsiteY6" fmla="*/ 703227 h 1236969"/>
                    <a:gd name="connsiteX7" fmla="*/ 687508 w 1134457"/>
                    <a:gd name="connsiteY7" fmla="*/ 850843 h 1236969"/>
                    <a:gd name="connsiteX8" fmla="*/ 851526 w 1134457"/>
                    <a:gd name="connsiteY8" fmla="*/ 867245 h 1236969"/>
                    <a:gd name="connsiteX9" fmla="*/ 908932 w 1134457"/>
                    <a:gd name="connsiteY9" fmla="*/ 977957 h 1236969"/>
                    <a:gd name="connsiteX10" fmla="*/ 1077051 w 1134457"/>
                    <a:gd name="connsiteY10" fmla="*/ 1031263 h 1236969"/>
                    <a:gd name="connsiteX11" fmla="*/ 1126256 w 1134457"/>
                    <a:gd name="connsiteY11" fmla="*/ 1031263 h 1236969"/>
                    <a:gd name="connsiteX12" fmla="*/ 1027845 w 1134457"/>
                    <a:gd name="connsiteY12" fmla="*/ 1141975 h 1236969"/>
                    <a:gd name="connsiteX13" fmla="*/ 962238 w 1134457"/>
                    <a:gd name="connsiteY13" fmla="*/ 1232185 h 1236969"/>
                    <a:gd name="connsiteX14" fmla="*/ 835124 w 1134457"/>
                    <a:gd name="connsiteY14" fmla="*/ 1170678 h 1236969"/>
                    <a:gd name="connsiteX15" fmla="*/ 798220 w 1134457"/>
                    <a:gd name="connsiteY15" fmla="*/ 1064066 h 1236969"/>
                    <a:gd name="connsiteX16" fmla="*/ 695709 w 1134457"/>
                    <a:gd name="connsiteY16" fmla="*/ 1035363 h 1236969"/>
                    <a:gd name="connsiteX17" fmla="*/ 552193 w 1134457"/>
                    <a:gd name="connsiteY17" fmla="*/ 965656 h 1236969"/>
                    <a:gd name="connsiteX18" fmla="*/ 474285 w 1134457"/>
                    <a:gd name="connsiteY18" fmla="*/ 801638 h 1236969"/>
                    <a:gd name="connsiteX19" fmla="*/ 232358 w 1134457"/>
                    <a:gd name="connsiteY19" fmla="*/ 531008 h 1236969"/>
                    <a:gd name="connsiteX20" fmla="*/ 64240 w 1134457"/>
                    <a:gd name="connsiteY20" fmla="*/ 424397 h 1236969"/>
                    <a:gd name="connsiteX21" fmla="*/ 15035 w 1134457"/>
                    <a:gd name="connsiteY21" fmla="*/ 215274 h 1236969"/>
                    <a:gd name="connsiteX22" fmla="*/ 150349 w 1134457"/>
                    <a:gd name="connsiteY22" fmla="*/ 2050 h 1236969"/>
                    <a:gd name="connsiteX0" fmla="*/ 150349 w 1129546"/>
                    <a:gd name="connsiteY0" fmla="*/ 2050 h 1232239"/>
                    <a:gd name="connsiteX1" fmla="*/ 199555 w 1129546"/>
                    <a:gd name="connsiteY1" fmla="*/ 202972 h 1232239"/>
                    <a:gd name="connsiteX2" fmla="*/ 359472 w 1129546"/>
                    <a:gd name="connsiteY2" fmla="*/ 330086 h 1232239"/>
                    <a:gd name="connsiteX3" fmla="*/ 363573 w 1129546"/>
                    <a:gd name="connsiteY3" fmla="*/ 416196 h 1232239"/>
                    <a:gd name="connsiteX4" fmla="*/ 400477 w 1129546"/>
                    <a:gd name="connsiteY4" fmla="*/ 543310 h 1232239"/>
                    <a:gd name="connsiteX5" fmla="*/ 572696 w 1129546"/>
                    <a:gd name="connsiteY5" fmla="*/ 621218 h 1232239"/>
                    <a:gd name="connsiteX6" fmla="*/ 601399 w 1129546"/>
                    <a:gd name="connsiteY6" fmla="*/ 703227 h 1232239"/>
                    <a:gd name="connsiteX7" fmla="*/ 687508 w 1129546"/>
                    <a:gd name="connsiteY7" fmla="*/ 850843 h 1232239"/>
                    <a:gd name="connsiteX8" fmla="*/ 851526 w 1129546"/>
                    <a:gd name="connsiteY8" fmla="*/ 867245 h 1232239"/>
                    <a:gd name="connsiteX9" fmla="*/ 908932 w 1129546"/>
                    <a:gd name="connsiteY9" fmla="*/ 977957 h 1232239"/>
                    <a:gd name="connsiteX10" fmla="*/ 1077051 w 1129546"/>
                    <a:gd name="connsiteY10" fmla="*/ 1031263 h 1232239"/>
                    <a:gd name="connsiteX11" fmla="*/ 1126256 w 1129546"/>
                    <a:gd name="connsiteY11" fmla="*/ 1031263 h 1232239"/>
                    <a:gd name="connsiteX12" fmla="*/ 1096788 w 1129546"/>
                    <a:gd name="connsiteY12" fmla="*/ 1171004 h 1232239"/>
                    <a:gd name="connsiteX13" fmla="*/ 962238 w 1129546"/>
                    <a:gd name="connsiteY13" fmla="*/ 1232185 h 1232239"/>
                    <a:gd name="connsiteX14" fmla="*/ 835124 w 1129546"/>
                    <a:gd name="connsiteY14" fmla="*/ 1170678 h 1232239"/>
                    <a:gd name="connsiteX15" fmla="*/ 798220 w 1129546"/>
                    <a:gd name="connsiteY15" fmla="*/ 1064066 h 1232239"/>
                    <a:gd name="connsiteX16" fmla="*/ 695709 w 1129546"/>
                    <a:gd name="connsiteY16" fmla="*/ 1035363 h 1232239"/>
                    <a:gd name="connsiteX17" fmla="*/ 552193 w 1129546"/>
                    <a:gd name="connsiteY17" fmla="*/ 965656 h 1232239"/>
                    <a:gd name="connsiteX18" fmla="*/ 474285 w 1129546"/>
                    <a:gd name="connsiteY18" fmla="*/ 801638 h 1232239"/>
                    <a:gd name="connsiteX19" fmla="*/ 232358 w 1129546"/>
                    <a:gd name="connsiteY19" fmla="*/ 531008 h 1232239"/>
                    <a:gd name="connsiteX20" fmla="*/ 64240 w 1129546"/>
                    <a:gd name="connsiteY20" fmla="*/ 424397 h 1232239"/>
                    <a:gd name="connsiteX21" fmla="*/ 15035 w 1129546"/>
                    <a:gd name="connsiteY21" fmla="*/ 215274 h 1232239"/>
                    <a:gd name="connsiteX22" fmla="*/ 150349 w 1129546"/>
                    <a:gd name="connsiteY22" fmla="*/ 2050 h 1232239"/>
                    <a:gd name="connsiteX0" fmla="*/ 150349 w 1129546"/>
                    <a:gd name="connsiteY0" fmla="*/ 2050 h 1232239"/>
                    <a:gd name="connsiteX1" fmla="*/ 199555 w 1129546"/>
                    <a:gd name="connsiteY1" fmla="*/ 202972 h 1232239"/>
                    <a:gd name="connsiteX2" fmla="*/ 359472 w 1129546"/>
                    <a:gd name="connsiteY2" fmla="*/ 330086 h 1232239"/>
                    <a:gd name="connsiteX3" fmla="*/ 363573 w 1129546"/>
                    <a:gd name="connsiteY3" fmla="*/ 416196 h 1232239"/>
                    <a:gd name="connsiteX4" fmla="*/ 400477 w 1129546"/>
                    <a:gd name="connsiteY4" fmla="*/ 543310 h 1232239"/>
                    <a:gd name="connsiteX5" fmla="*/ 572696 w 1129546"/>
                    <a:gd name="connsiteY5" fmla="*/ 621218 h 1232239"/>
                    <a:gd name="connsiteX6" fmla="*/ 601399 w 1129546"/>
                    <a:gd name="connsiteY6" fmla="*/ 703227 h 1232239"/>
                    <a:gd name="connsiteX7" fmla="*/ 687508 w 1129546"/>
                    <a:gd name="connsiteY7" fmla="*/ 850843 h 1232239"/>
                    <a:gd name="connsiteX8" fmla="*/ 851526 w 1129546"/>
                    <a:gd name="connsiteY8" fmla="*/ 867245 h 1232239"/>
                    <a:gd name="connsiteX9" fmla="*/ 908932 w 1129546"/>
                    <a:gd name="connsiteY9" fmla="*/ 977957 h 1232239"/>
                    <a:gd name="connsiteX10" fmla="*/ 1077051 w 1129546"/>
                    <a:gd name="connsiteY10" fmla="*/ 1031263 h 1232239"/>
                    <a:gd name="connsiteX11" fmla="*/ 1126256 w 1129546"/>
                    <a:gd name="connsiteY11" fmla="*/ 1031263 h 1232239"/>
                    <a:gd name="connsiteX12" fmla="*/ 1096788 w 1129546"/>
                    <a:gd name="connsiteY12" fmla="*/ 1171004 h 1232239"/>
                    <a:gd name="connsiteX13" fmla="*/ 962238 w 1129546"/>
                    <a:gd name="connsiteY13" fmla="*/ 1232185 h 1232239"/>
                    <a:gd name="connsiteX14" fmla="*/ 835124 w 1129546"/>
                    <a:gd name="connsiteY14" fmla="*/ 1170678 h 1232239"/>
                    <a:gd name="connsiteX15" fmla="*/ 798220 w 1129546"/>
                    <a:gd name="connsiteY15" fmla="*/ 1064066 h 1232239"/>
                    <a:gd name="connsiteX16" fmla="*/ 695709 w 1129546"/>
                    <a:gd name="connsiteY16" fmla="*/ 1035363 h 1232239"/>
                    <a:gd name="connsiteX17" fmla="*/ 552193 w 1129546"/>
                    <a:gd name="connsiteY17" fmla="*/ 965656 h 1232239"/>
                    <a:gd name="connsiteX18" fmla="*/ 474285 w 1129546"/>
                    <a:gd name="connsiteY18" fmla="*/ 801638 h 1232239"/>
                    <a:gd name="connsiteX19" fmla="*/ 232358 w 1129546"/>
                    <a:gd name="connsiteY19" fmla="*/ 531008 h 1232239"/>
                    <a:gd name="connsiteX20" fmla="*/ 64240 w 1129546"/>
                    <a:gd name="connsiteY20" fmla="*/ 424397 h 1232239"/>
                    <a:gd name="connsiteX21" fmla="*/ 15035 w 1129546"/>
                    <a:gd name="connsiteY21" fmla="*/ 215274 h 1232239"/>
                    <a:gd name="connsiteX22" fmla="*/ 150349 w 1129546"/>
                    <a:gd name="connsiteY22" fmla="*/ 2050 h 1232239"/>
                    <a:gd name="connsiteX0" fmla="*/ 150349 w 1135010"/>
                    <a:gd name="connsiteY0" fmla="*/ 2050 h 1234054"/>
                    <a:gd name="connsiteX1" fmla="*/ 199555 w 1135010"/>
                    <a:gd name="connsiteY1" fmla="*/ 202972 h 1234054"/>
                    <a:gd name="connsiteX2" fmla="*/ 359472 w 1135010"/>
                    <a:gd name="connsiteY2" fmla="*/ 330086 h 1234054"/>
                    <a:gd name="connsiteX3" fmla="*/ 363573 w 1135010"/>
                    <a:gd name="connsiteY3" fmla="*/ 416196 h 1234054"/>
                    <a:gd name="connsiteX4" fmla="*/ 400477 w 1135010"/>
                    <a:gd name="connsiteY4" fmla="*/ 543310 h 1234054"/>
                    <a:gd name="connsiteX5" fmla="*/ 572696 w 1135010"/>
                    <a:gd name="connsiteY5" fmla="*/ 621218 h 1234054"/>
                    <a:gd name="connsiteX6" fmla="*/ 601399 w 1135010"/>
                    <a:gd name="connsiteY6" fmla="*/ 703227 h 1234054"/>
                    <a:gd name="connsiteX7" fmla="*/ 687508 w 1135010"/>
                    <a:gd name="connsiteY7" fmla="*/ 850843 h 1234054"/>
                    <a:gd name="connsiteX8" fmla="*/ 851526 w 1135010"/>
                    <a:gd name="connsiteY8" fmla="*/ 867245 h 1234054"/>
                    <a:gd name="connsiteX9" fmla="*/ 908932 w 1135010"/>
                    <a:gd name="connsiteY9" fmla="*/ 977957 h 1234054"/>
                    <a:gd name="connsiteX10" fmla="*/ 1077051 w 1135010"/>
                    <a:gd name="connsiteY10" fmla="*/ 1031263 h 1234054"/>
                    <a:gd name="connsiteX11" fmla="*/ 1126256 w 1135010"/>
                    <a:gd name="connsiteY11" fmla="*/ 1031263 h 1234054"/>
                    <a:gd name="connsiteX12" fmla="*/ 1107674 w 1135010"/>
                    <a:gd name="connsiteY12" fmla="*/ 1181890 h 1234054"/>
                    <a:gd name="connsiteX13" fmla="*/ 962238 w 1135010"/>
                    <a:gd name="connsiteY13" fmla="*/ 1232185 h 1234054"/>
                    <a:gd name="connsiteX14" fmla="*/ 835124 w 1135010"/>
                    <a:gd name="connsiteY14" fmla="*/ 1170678 h 1234054"/>
                    <a:gd name="connsiteX15" fmla="*/ 798220 w 1135010"/>
                    <a:gd name="connsiteY15" fmla="*/ 1064066 h 1234054"/>
                    <a:gd name="connsiteX16" fmla="*/ 695709 w 1135010"/>
                    <a:gd name="connsiteY16" fmla="*/ 1035363 h 1234054"/>
                    <a:gd name="connsiteX17" fmla="*/ 552193 w 1135010"/>
                    <a:gd name="connsiteY17" fmla="*/ 965656 h 1234054"/>
                    <a:gd name="connsiteX18" fmla="*/ 474285 w 1135010"/>
                    <a:gd name="connsiteY18" fmla="*/ 801638 h 1234054"/>
                    <a:gd name="connsiteX19" fmla="*/ 232358 w 1135010"/>
                    <a:gd name="connsiteY19" fmla="*/ 531008 h 1234054"/>
                    <a:gd name="connsiteX20" fmla="*/ 64240 w 1135010"/>
                    <a:gd name="connsiteY20" fmla="*/ 424397 h 1234054"/>
                    <a:gd name="connsiteX21" fmla="*/ 15035 w 1135010"/>
                    <a:gd name="connsiteY21" fmla="*/ 215274 h 1234054"/>
                    <a:gd name="connsiteX22" fmla="*/ 150349 w 1135010"/>
                    <a:gd name="connsiteY22" fmla="*/ 2050 h 1234054"/>
                    <a:gd name="connsiteX0" fmla="*/ 150349 w 1182181"/>
                    <a:gd name="connsiteY0" fmla="*/ 2050 h 1234054"/>
                    <a:gd name="connsiteX1" fmla="*/ 199555 w 1182181"/>
                    <a:gd name="connsiteY1" fmla="*/ 202972 h 1234054"/>
                    <a:gd name="connsiteX2" fmla="*/ 359472 w 1182181"/>
                    <a:gd name="connsiteY2" fmla="*/ 330086 h 1234054"/>
                    <a:gd name="connsiteX3" fmla="*/ 363573 w 1182181"/>
                    <a:gd name="connsiteY3" fmla="*/ 416196 h 1234054"/>
                    <a:gd name="connsiteX4" fmla="*/ 400477 w 1182181"/>
                    <a:gd name="connsiteY4" fmla="*/ 543310 h 1234054"/>
                    <a:gd name="connsiteX5" fmla="*/ 572696 w 1182181"/>
                    <a:gd name="connsiteY5" fmla="*/ 621218 h 1234054"/>
                    <a:gd name="connsiteX6" fmla="*/ 601399 w 1182181"/>
                    <a:gd name="connsiteY6" fmla="*/ 703227 h 1234054"/>
                    <a:gd name="connsiteX7" fmla="*/ 687508 w 1182181"/>
                    <a:gd name="connsiteY7" fmla="*/ 850843 h 1234054"/>
                    <a:gd name="connsiteX8" fmla="*/ 851526 w 1182181"/>
                    <a:gd name="connsiteY8" fmla="*/ 867245 h 1234054"/>
                    <a:gd name="connsiteX9" fmla="*/ 908932 w 1182181"/>
                    <a:gd name="connsiteY9" fmla="*/ 977957 h 1234054"/>
                    <a:gd name="connsiteX10" fmla="*/ 1077051 w 1182181"/>
                    <a:gd name="connsiteY10" fmla="*/ 1031263 h 1234054"/>
                    <a:gd name="connsiteX11" fmla="*/ 1126256 w 1182181"/>
                    <a:gd name="connsiteY11" fmla="*/ 1031263 h 1234054"/>
                    <a:gd name="connsiteX12" fmla="*/ 1107674 w 1182181"/>
                    <a:gd name="connsiteY12" fmla="*/ 1181890 h 1234054"/>
                    <a:gd name="connsiteX13" fmla="*/ 962238 w 1182181"/>
                    <a:gd name="connsiteY13" fmla="*/ 1232185 h 1234054"/>
                    <a:gd name="connsiteX14" fmla="*/ 835124 w 1182181"/>
                    <a:gd name="connsiteY14" fmla="*/ 1170678 h 1234054"/>
                    <a:gd name="connsiteX15" fmla="*/ 798220 w 1182181"/>
                    <a:gd name="connsiteY15" fmla="*/ 1064066 h 1234054"/>
                    <a:gd name="connsiteX16" fmla="*/ 695709 w 1182181"/>
                    <a:gd name="connsiteY16" fmla="*/ 1035363 h 1234054"/>
                    <a:gd name="connsiteX17" fmla="*/ 552193 w 1182181"/>
                    <a:gd name="connsiteY17" fmla="*/ 965656 h 1234054"/>
                    <a:gd name="connsiteX18" fmla="*/ 474285 w 1182181"/>
                    <a:gd name="connsiteY18" fmla="*/ 801638 h 1234054"/>
                    <a:gd name="connsiteX19" fmla="*/ 232358 w 1182181"/>
                    <a:gd name="connsiteY19" fmla="*/ 531008 h 1234054"/>
                    <a:gd name="connsiteX20" fmla="*/ 64240 w 1182181"/>
                    <a:gd name="connsiteY20" fmla="*/ 424397 h 1234054"/>
                    <a:gd name="connsiteX21" fmla="*/ 15035 w 1182181"/>
                    <a:gd name="connsiteY21" fmla="*/ 215274 h 1234054"/>
                    <a:gd name="connsiteX22" fmla="*/ 150349 w 1182181"/>
                    <a:gd name="connsiteY22" fmla="*/ 2050 h 1234054"/>
                    <a:gd name="connsiteX0" fmla="*/ 150349 w 1530524"/>
                    <a:gd name="connsiteY0" fmla="*/ 2050 h 1234054"/>
                    <a:gd name="connsiteX1" fmla="*/ 199555 w 1530524"/>
                    <a:gd name="connsiteY1" fmla="*/ 202972 h 1234054"/>
                    <a:gd name="connsiteX2" fmla="*/ 359472 w 1530524"/>
                    <a:gd name="connsiteY2" fmla="*/ 330086 h 1234054"/>
                    <a:gd name="connsiteX3" fmla="*/ 363573 w 1530524"/>
                    <a:gd name="connsiteY3" fmla="*/ 416196 h 1234054"/>
                    <a:gd name="connsiteX4" fmla="*/ 400477 w 1530524"/>
                    <a:gd name="connsiteY4" fmla="*/ 543310 h 1234054"/>
                    <a:gd name="connsiteX5" fmla="*/ 572696 w 1530524"/>
                    <a:gd name="connsiteY5" fmla="*/ 621218 h 1234054"/>
                    <a:gd name="connsiteX6" fmla="*/ 601399 w 1530524"/>
                    <a:gd name="connsiteY6" fmla="*/ 703227 h 1234054"/>
                    <a:gd name="connsiteX7" fmla="*/ 687508 w 1530524"/>
                    <a:gd name="connsiteY7" fmla="*/ 850843 h 1234054"/>
                    <a:gd name="connsiteX8" fmla="*/ 851526 w 1530524"/>
                    <a:gd name="connsiteY8" fmla="*/ 867245 h 1234054"/>
                    <a:gd name="connsiteX9" fmla="*/ 908932 w 1530524"/>
                    <a:gd name="connsiteY9" fmla="*/ 977957 h 1234054"/>
                    <a:gd name="connsiteX10" fmla="*/ 1077051 w 1530524"/>
                    <a:gd name="connsiteY10" fmla="*/ 1031263 h 1234054"/>
                    <a:gd name="connsiteX11" fmla="*/ 1126256 w 1530524"/>
                    <a:gd name="connsiteY11" fmla="*/ 1031263 h 1234054"/>
                    <a:gd name="connsiteX12" fmla="*/ 1107674 w 1530524"/>
                    <a:gd name="connsiteY12" fmla="*/ 1181890 h 1234054"/>
                    <a:gd name="connsiteX13" fmla="*/ 962238 w 1530524"/>
                    <a:gd name="connsiteY13" fmla="*/ 1232185 h 1234054"/>
                    <a:gd name="connsiteX14" fmla="*/ 835124 w 1530524"/>
                    <a:gd name="connsiteY14" fmla="*/ 1170678 h 1234054"/>
                    <a:gd name="connsiteX15" fmla="*/ 798220 w 1530524"/>
                    <a:gd name="connsiteY15" fmla="*/ 1064066 h 1234054"/>
                    <a:gd name="connsiteX16" fmla="*/ 695709 w 1530524"/>
                    <a:gd name="connsiteY16" fmla="*/ 1035363 h 1234054"/>
                    <a:gd name="connsiteX17" fmla="*/ 552193 w 1530524"/>
                    <a:gd name="connsiteY17" fmla="*/ 965656 h 1234054"/>
                    <a:gd name="connsiteX18" fmla="*/ 474285 w 1530524"/>
                    <a:gd name="connsiteY18" fmla="*/ 801638 h 1234054"/>
                    <a:gd name="connsiteX19" fmla="*/ 232358 w 1530524"/>
                    <a:gd name="connsiteY19" fmla="*/ 531008 h 1234054"/>
                    <a:gd name="connsiteX20" fmla="*/ 64240 w 1530524"/>
                    <a:gd name="connsiteY20" fmla="*/ 424397 h 1234054"/>
                    <a:gd name="connsiteX21" fmla="*/ 15035 w 1530524"/>
                    <a:gd name="connsiteY21" fmla="*/ 215274 h 1234054"/>
                    <a:gd name="connsiteX22" fmla="*/ 150349 w 1530524"/>
                    <a:gd name="connsiteY22" fmla="*/ 2050 h 1234054"/>
                    <a:gd name="connsiteX0" fmla="*/ 150349 w 1530524"/>
                    <a:gd name="connsiteY0" fmla="*/ 2050 h 1234054"/>
                    <a:gd name="connsiteX1" fmla="*/ 199555 w 1530524"/>
                    <a:gd name="connsiteY1" fmla="*/ 202972 h 1234054"/>
                    <a:gd name="connsiteX2" fmla="*/ 359472 w 1530524"/>
                    <a:gd name="connsiteY2" fmla="*/ 330086 h 1234054"/>
                    <a:gd name="connsiteX3" fmla="*/ 363573 w 1530524"/>
                    <a:gd name="connsiteY3" fmla="*/ 416196 h 1234054"/>
                    <a:gd name="connsiteX4" fmla="*/ 400477 w 1530524"/>
                    <a:gd name="connsiteY4" fmla="*/ 543310 h 1234054"/>
                    <a:gd name="connsiteX5" fmla="*/ 572696 w 1530524"/>
                    <a:gd name="connsiteY5" fmla="*/ 621218 h 1234054"/>
                    <a:gd name="connsiteX6" fmla="*/ 601399 w 1530524"/>
                    <a:gd name="connsiteY6" fmla="*/ 703227 h 1234054"/>
                    <a:gd name="connsiteX7" fmla="*/ 687508 w 1530524"/>
                    <a:gd name="connsiteY7" fmla="*/ 850843 h 1234054"/>
                    <a:gd name="connsiteX8" fmla="*/ 851526 w 1530524"/>
                    <a:gd name="connsiteY8" fmla="*/ 867245 h 1234054"/>
                    <a:gd name="connsiteX9" fmla="*/ 908932 w 1530524"/>
                    <a:gd name="connsiteY9" fmla="*/ 977957 h 1234054"/>
                    <a:gd name="connsiteX10" fmla="*/ 1077051 w 1530524"/>
                    <a:gd name="connsiteY10" fmla="*/ 1031263 h 1234054"/>
                    <a:gd name="connsiteX11" fmla="*/ 1376628 w 1530524"/>
                    <a:gd name="connsiteY11" fmla="*/ 1009492 h 1234054"/>
                    <a:gd name="connsiteX12" fmla="*/ 1107674 w 1530524"/>
                    <a:gd name="connsiteY12" fmla="*/ 1181890 h 1234054"/>
                    <a:gd name="connsiteX13" fmla="*/ 962238 w 1530524"/>
                    <a:gd name="connsiteY13" fmla="*/ 1232185 h 1234054"/>
                    <a:gd name="connsiteX14" fmla="*/ 835124 w 1530524"/>
                    <a:gd name="connsiteY14" fmla="*/ 1170678 h 1234054"/>
                    <a:gd name="connsiteX15" fmla="*/ 798220 w 1530524"/>
                    <a:gd name="connsiteY15" fmla="*/ 1064066 h 1234054"/>
                    <a:gd name="connsiteX16" fmla="*/ 695709 w 1530524"/>
                    <a:gd name="connsiteY16" fmla="*/ 1035363 h 1234054"/>
                    <a:gd name="connsiteX17" fmla="*/ 552193 w 1530524"/>
                    <a:gd name="connsiteY17" fmla="*/ 965656 h 1234054"/>
                    <a:gd name="connsiteX18" fmla="*/ 474285 w 1530524"/>
                    <a:gd name="connsiteY18" fmla="*/ 801638 h 1234054"/>
                    <a:gd name="connsiteX19" fmla="*/ 232358 w 1530524"/>
                    <a:gd name="connsiteY19" fmla="*/ 531008 h 1234054"/>
                    <a:gd name="connsiteX20" fmla="*/ 64240 w 1530524"/>
                    <a:gd name="connsiteY20" fmla="*/ 424397 h 1234054"/>
                    <a:gd name="connsiteX21" fmla="*/ 15035 w 1530524"/>
                    <a:gd name="connsiteY21" fmla="*/ 215274 h 1234054"/>
                    <a:gd name="connsiteX22" fmla="*/ 150349 w 1530524"/>
                    <a:gd name="connsiteY22" fmla="*/ 2050 h 1234054"/>
                    <a:gd name="connsiteX0" fmla="*/ 150349 w 1381732"/>
                    <a:gd name="connsiteY0" fmla="*/ 2050 h 1234054"/>
                    <a:gd name="connsiteX1" fmla="*/ 199555 w 1381732"/>
                    <a:gd name="connsiteY1" fmla="*/ 202972 h 1234054"/>
                    <a:gd name="connsiteX2" fmla="*/ 359472 w 1381732"/>
                    <a:gd name="connsiteY2" fmla="*/ 330086 h 1234054"/>
                    <a:gd name="connsiteX3" fmla="*/ 363573 w 1381732"/>
                    <a:gd name="connsiteY3" fmla="*/ 416196 h 1234054"/>
                    <a:gd name="connsiteX4" fmla="*/ 400477 w 1381732"/>
                    <a:gd name="connsiteY4" fmla="*/ 543310 h 1234054"/>
                    <a:gd name="connsiteX5" fmla="*/ 572696 w 1381732"/>
                    <a:gd name="connsiteY5" fmla="*/ 621218 h 1234054"/>
                    <a:gd name="connsiteX6" fmla="*/ 601399 w 1381732"/>
                    <a:gd name="connsiteY6" fmla="*/ 703227 h 1234054"/>
                    <a:gd name="connsiteX7" fmla="*/ 687508 w 1381732"/>
                    <a:gd name="connsiteY7" fmla="*/ 850843 h 1234054"/>
                    <a:gd name="connsiteX8" fmla="*/ 851526 w 1381732"/>
                    <a:gd name="connsiteY8" fmla="*/ 867245 h 1234054"/>
                    <a:gd name="connsiteX9" fmla="*/ 908932 w 1381732"/>
                    <a:gd name="connsiteY9" fmla="*/ 977957 h 1234054"/>
                    <a:gd name="connsiteX10" fmla="*/ 1077051 w 1381732"/>
                    <a:gd name="connsiteY10" fmla="*/ 1031263 h 1234054"/>
                    <a:gd name="connsiteX11" fmla="*/ 1376628 w 1381732"/>
                    <a:gd name="connsiteY11" fmla="*/ 1009492 h 1234054"/>
                    <a:gd name="connsiteX12" fmla="*/ 1107674 w 1381732"/>
                    <a:gd name="connsiteY12" fmla="*/ 1181890 h 1234054"/>
                    <a:gd name="connsiteX13" fmla="*/ 962238 w 1381732"/>
                    <a:gd name="connsiteY13" fmla="*/ 1232185 h 1234054"/>
                    <a:gd name="connsiteX14" fmla="*/ 835124 w 1381732"/>
                    <a:gd name="connsiteY14" fmla="*/ 1170678 h 1234054"/>
                    <a:gd name="connsiteX15" fmla="*/ 798220 w 1381732"/>
                    <a:gd name="connsiteY15" fmla="*/ 1064066 h 1234054"/>
                    <a:gd name="connsiteX16" fmla="*/ 695709 w 1381732"/>
                    <a:gd name="connsiteY16" fmla="*/ 1035363 h 1234054"/>
                    <a:gd name="connsiteX17" fmla="*/ 552193 w 1381732"/>
                    <a:gd name="connsiteY17" fmla="*/ 965656 h 1234054"/>
                    <a:gd name="connsiteX18" fmla="*/ 474285 w 1381732"/>
                    <a:gd name="connsiteY18" fmla="*/ 801638 h 1234054"/>
                    <a:gd name="connsiteX19" fmla="*/ 232358 w 1381732"/>
                    <a:gd name="connsiteY19" fmla="*/ 531008 h 1234054"/>
                    <a:gd name="connsiteX20" fmla="*/ 64240 w 1381732"/>
                    <a:gd name="connsiteY20" fmla="*/ 424397 h 1234054"/>
                    <a:gd name="connsiteX21" fmla="*/ 15035 w 1381732"/>
                    <a:gd name="connsiteY21" fmla="*/ 215274 h 1234054"/>
                    <a:gd name="connsiteX22" fmla="*/ 150349 w 1381732"/>
                    <a:gd name="connsiteY22" fmla="*/ 2050 h 1234054"/>
                    <a:gd name="connsiteX0" fmla="*/ 150349 w 1381732"/>
                    <a:gd name="connsiteY0" fmla="*/ 2050 h 1234054"/>
                    <a:gd name="connsiteX1" fmla="*/ 199555 w 1381732"/>
                    <a:gd name="connsiteY1" fmla="*/ 202972 h 1234054"/>
                    <a:gd name="connsiteX2" fmla="*/ 359472 w 1381732"/>
                    <a:gd name="connsiteY2" fmla="*/ 330086 h 1234054"/>
                    <a:gd name="connsiteX3" fmla="*/ 363573 w 1381732"/>
                    <a:gd name="connsiteY3" fmla="*/ 416196 h 1234054"/>
                    <a:gd name="connsiteX4" fmla="*/ 400477 w 1381732"/>
                    <a:gd name="connsiteY4" fmla="*/ 543310 h 1234054"/>
                    <a:gd name="connsiteX5" fmla="*/ 572696 w 1381732"/>
                    <a:gd name="connsiteY5" fmla="*/ 621218 h 1234054"/>
                    <a:gd name="connsiteX6" fmla="*/ 601399 w 1381732"/>
                    <a:gd name="connsiteY6" fmla="*/ 703227 h 1234054"/>
                    <a:gd name="connsiteX7" fmla="*/ 687508 w 1381732"/>
                    <a:gd name="connsiteY7" fmla="*/ 850843 h 1234054"/>
                    <a:gd name="connsiteX8" fmla="*/ 851526 w 1381732"/>
                    <a:gd name="connsiteY8" fmla="*/ 867245 h 1234054"/>
                    <a:gd name="connsiteX9" fmla="*/ 908932 w 1381732"/>
                    <a:gd name="connsiteY9" fmla="*/ 977957 h 1234054"/>
                    <a:gd name="connsiteX10" fmla="*/ 1077051 w 1381732"/>
                    <a:gd name="connsiteY10" fmla="*/ 1031263 h 1234054"/>
                    <a:gd name="connsiteX11" fmla="*/ 1376628 w 1381732"/>
                    <a:gd name="connsiteY11" fmla="*/ 1009492 h 1234054"/>
                    <a:gd name="connsiteX12" fmla="*/ 1107674 w 1381732"/>
                    <a:gd name="connsiteY12" fmla="*/ 1181890 h 1234054"/>
                    <a:gd name="connsiteX13" fmla="*/ 962238 w 1381732"/>
                    <a:gd name="connsiteY13" fmla="*/ 1232185 h 1234054"/>
                    <a:gd name="connsiteX14" fmla="*/ 835124 w 1381732"/>
                    <a:gd name="connsiteY14" fmla="*/ 1170678 h 1234054"/>
                    <a:gd name="connsiteX15" fmla="*/ 798220 w 1381732"/>
                    <a:gd name="connsiteY15" fmla="*/ 1064066 h 1234054"/>
                    <a:gd name="connsiteX16" fmla="*/ 695709 w 1381732"/>
                    <a:gd name="connsiteY16" fmla="*/ 1035363 h 1234054"/>
                    <a:gd name="connsiteX17" fmla="*/ 552193 w 1381732"/>
                    <a:gd name="connsiteY17" fmla="*/ 965656 h 1234054"/>
                    <a:gd name="connsiteX18" fmla="*/ 474285 w 1381732"/>
                    <a:gd name="connsiteY18" fmla="*/ 801638 h 1234054"/>
                    <a:gd name="connsiteX19" fmla="*/ 232358 w 1381732"/>
                    <a:gd name="connsiteY19" fmla="*/ 531008 h 1234054"/>
                    <a:gd name="connsiteX20" fmla="*/ 64240 w 1381732"/>
                    <a:gd name="connsiteY20" fmla="*/ 424397 h 1234054"/>
                    <a:gd name="connsiteX21" fmla="*/ 15035 w 1381732"/>
                    <a:gd name="connsiteY21" fmla="*/ 215274 h 1234054"/>
                    <a:gd name="connsiteX22" fmla="*/ 150349 w 1381732"/>
                    <a:gd name="connsiteY22" fmla="*/ 2050 h 1234054"/>
                    <a:gd name="connsiteX0" fmla="*/ 150349 w 1381732"/>
                    <a:gd name="connsiteY0" fmla="*/ 2050 h 1234054"/>
                    <a:gd name="connsiteX1" fmla="*/ 199555 w 1381732"/>
                    <a:gd name="connsiteY1" fmla="*/ 202972 h 1234054"/>
                    <a:gd name="connsiteX2" fmla="*/ 359472 w 1381732"/>
                    <a:gd name="connsiteY2" fmla="*/ 330086 h 1234054"/>
                    <a:gd name="connsiteX3" fmla="*/ 363573 w 1381732"/>
                    <a:gd name="connsiteY3" fmla="*/ 416196 h 1234054"/>
                    <a:gd name="connsiteX4" fmla="*/ 400477 w 1381732"/>
                    <a:gd name="connsiteY4" fmla="*/ 543310 h 1234054"/>
                    <a:gd name="connsiteX5" fmla="*/ 572696 w 1381732"/>
                    <a:gd name="connsiteY5" fmla="*/ 621218 h 1234054"/>
                    <a:gd name="connsiteX6" fmla="*/ 601399 w 1381732"/>
                    <a:gd name="connsiteY6" fmla="*/ 703227 h 1234054"/>
                    <a:gd name="connsiteX7" fmla="*/ 687508 w 1381732"/>
                    <a:gd name="connsiteY7" fmla="*/ 850843 h 1234054"/>
                    <a:gd name="connsiteX8" fmla="*/ 851526 w 1381732"/>
                    <a:gd name="connsiteY8" fmla="*/ 867245 h 1234054"/>
                    <a:gd name="connsiteX9" fmla="*/ 908932 w 1381732"/>
                    <a:gd name="connsiteY9" fmla="*/ 977957 h 1234054"/>
                    <a:gd name="connsiteX10" fmla="*/ 1077051 w 1381732"/>
                    <a:gd name="connsiteY10" fmla="*/ 1031263 h 1234054"/>
                    <a:gd name="connsiteX11" fmla="*/ 1376628 w 1381732"/>
                    <a:gd name="connsiteY11" fmla="*/ 1009492 h 1234054"/>
                    <a:gd name="connsiteX12" fmla="*/ 1107674 w 1381732"/>
                    <a:gd name="connsiteY12" fmla="*/ 1181890 h 1234054"/>
                    <a:gd name="connsiteX13" fmla="*/ 962238 w 1381732"/>
                    <a:gd name="connsiteY13" fmla="*/ 1232185 h 1234054"/>
                    <a:gd name="connsiteX14" fmla="*/ 835124 w 1381732"/>
                    <a:gd name="connsiteY14" fmla="*/ 1170678 h 1234054"/>
                    <a:gd name="connsiteX15" fmla="*/ 798220 w 1381732"/>
                    <a:gd name="connsiteY15" fmla="*/ 1064066 h 1234054"/>
                    <a:gd name="connsiteX16" fmla="*/ 695709 w 1381732"/>
                    <a:gd name="connsiteY16" fmla="*/ 1035363 h 1234054"/>
                    <a:gd name="connsiteX17" fmla="*/ 552193 w 1381732"/>
                    <a:gd name="connsiteY17" fmla="*/ 965656 h 1234054"/>
                    <a:gd name="connsiteX18" fmla="*/ 474285 w 1381732"/>
                    <a:gd name="connsiteY18" fmla="*/ 801638 h 1234054"/>
                    <a:gd name="connsiteX19" fmla="*/ 232358 w 1381732"/>
                    <a:gd name="connsiteY19" fmla="*/ 531008 h 1234054"/>
                    <a:gd name="connsiteX20" fmla="*/ 64240 w 1381732"/>
                    <a:gd name="connsiteY20" fmla="*/ 424397 h 1234054"/>
                    <a:gd name="connsiteX21" fmla="*/ 15035 w 1381732"/>
                    <a:gd name="connsiteY21" fmla="*/ 215274 h 1234054"/>
                    <a:gd name="connsiteX22" fmla="*/ 150349 w 1381732"/>
                    <a:gd name="connsiteY22" fmla="*/ 2050 h 1234054"/>
                    <a:gd name="connsiteX0" fmla="*/ 150349 w 1381732"/>
                    <a:gd name="connsiteY0" fmla="*/ 2050 h 1234054"/>
                    <a:gd name="connsiteX1" fmla="*/ 199555 w 1381732"/>
                    <a:gd name="connsiteY1" fmla="*/ 202972 h 1234054"/>
                    <a:gd name="connsiteX2" fmla="*/ 359472 w 1381732"/>
                    <a:gd name="connsiteY2" fmla="*/ 330086 h 1234054"/>
                    <a:gd name="connsiteX3" fmla="*/ 363573 w 1381732"/>
                    <a:gd name="connsiteY3" fmla="*/ 416196 h 1234054"/>
                    <a:gd name="connsiteX4" fmla="*/ 400477 w 1381732"/>
                    <a:gd name="connsiteY4" fmla="*/ 543310 h 1234054"/>
                    <a:gd name="connsiteX5" fmla="*/ 572696 w 1381732"/>
                    <a:gd name="connsiteY5" fmla="*/ 621218 h 1234054"/>
                    <a:gd name="connsiteX6" fmla="*/ 601399 w 1381732"/>
                    <a:gd name="connsiteY6" fmla="*/ 703227 h 1234054"/>
                    <a:gd name="connsiteX7" fmla="*/ 687508 w 1381732"/>
                    <a:gd name="connsiteY7" fmla="*/ 850843 h 1234054"/>
                    <a:gd name="connsiteX8" fmla="*/ 851526 w 1381732"/>
                    <a:gd name="connsiteY8" fmla="*/ 867245 h 1234054"/>
                    <a:gd name="connsiteX9" fmla="*/ 908932 w 1381732"/>
                    <a:gd name="connsiteY9" fmla="*/ 977957 h 1234054"/>
                    <a:gd name="connsiteX10" fmla="*/ 1062537 w 1381732"/>
                    <a:gd name="connsiteY10" fmla="*/ 1063920 h 1234054"/>
                    <a:gd name="connsiteX11" fmla="*/ 1376628 w 1381732"/>
                    <a:gd name="connsiteY11" fmla="*/ 1009492 h 1234054"/>
                    <a:gd name="connsiteX12" fmla="*/ 1107674 w 1381732"/>
                    <a:gd name="connsiteY12" fmla="*/ 1181890 h 1234054"/>
                    <a:gd name="connsiteX13" fmla="*/ 962238 w 1381732"/>
                    <a:gd name="connsiteY13" fmla="*/ 1232185 h 1234054"/>
                    <a:gd name="connsiteX14" fmla="*/ 835124 w 1381732"/>
                    <a:gd name="connsiteY14" fmla="*/ 1170678 h 1234054"/>
                    <a:gd name="connsiteX15" fmla="*/ 798220 w 1381732"/>
                    <a:gd name="connsiteY15" fmla="*/ 1064066 h 1234054"/>
                    <a:gd name="connsiteX16" fmla="*/ 695709 w 1381732"/>
                    <a:gd name="connsiteY16" fmla="*/ 1035363 h 1234054"/>
                    <a:gd name="connsiteX17" fmla="*/ 552193 w 1381732"/>
                    <a:gd name="connsiteY17" fmla="*/ 965656 h 1234054"/>
                    <a:gd name="connsiteX18" fmla="*/ 474285 w 1381732"/>
                    <a:gd name="connsiteY18" fmla="*/ 801638 h 1234054"/>
                    <a:gd name="connsiteX19" fmla="*/ 232358 w 1381732"/>
                    <a:gd name="connsiteY19" fmla="*/ 531008 h 1234054"/>
                    <a:gd name="connsiteX20" fmla="*/ 64240 w 1381732"/>
                    <a:gd name="connsiteY20" fmla="*/ 424397 h 1234054"/>
                    <a:gd name="connsiteX21" fmla="*/ 15035 w 1381732"/>
                    <a:gd name="connsiteY21" fmla="*/ 215274 h 1234054"/>
                    <a:gd name="connsiteX22" fmla="*/ 150349 w 1381732"/>
                    <a:gd name="connsiteY22" fmla="*/ 2050 h 1234054"/>
                    <a:gd name="connsiteX0" fmla="*/ 150349 w 1381732"/>
                    <a:gd name="connsiteY0" fmla="*/ 2050 h 1234054"/>
                    <a:gd name="connsiteX1" fmla="*/ 199555 w 1381732"/>
                    <a:gd name="connsiteY1" fmla="*/ 202972 h 1234054"/>
                    <a:gd name="connsiteX2" fmla="*/ 359472 w 1381732"/>
                    <a:gd name="connsiteY2" fmla="*/ 330086 h 1234054"/>
                    <a:gd name="connsiteX3" fmla="*/ 363573 w 1381732"/>
                    <a:gd name="connsiteY3" fmla="*/ 416196 h 1234054"/>
                    <a:gd name="connsiteX4" fmla="*/ 400477 w 1381732"/>
                    <a:gd name="connsiteY4" fmla="*/ 543310 h 1234054"/>
                    <a:gd name="connsiteX5" fmla="*/ 572696 w 1381732"/>
                    <a:gd name="connsiteY5" fmla="*/ 621218 h 1234054"/>
                    <a:gd name="connsiteX6" fmla="*/ 601399 w 1381732"/>
                    <a:gd name="connsiteY6" fmla="*/ 703227 h 1234054"/>
                    <a:gd name="connsiteX7" fmla="*/ 687508 w 1381732"/>
                    <a:gd name="connsiteY7" fmla="*/ 850843 h 1234054"/>
                    <a:gd name="connsiteX8" fmla="*/ 851526 w 1381732"/>
                    <a:gd name="connsiteY8" fmla="*/ 867245 h 1234054"/>
                    <a:gd name="connsiteX9" fmla="*/ 908932 w 1381732"/>
                    <a:gd name="connsiteY9" fmla="*/ 977957 h 1234054"/>
                    <a:gd name="connsiteX10" fmla="*/ 1062537 w 1381732"/>
                    <a:gd name="connsiteY10" fmla="*/ 1063920 h 1234054"/>
                    <a:gd name="connsiteX11" fmla="*/ 1376628 w 1381732"/>
                    <a:gd name="connsiteY11" fmla="*/ 1009492 h 1234054"/>
                    <a:gd name="connsiteX12" fmla="*/ 1107674 w 1381732"/>
                    <a:gd name="connsiteY12" fmla="*/ 1181890 h 1234054"/>
                    <a:gd name="connsiteX13" fmla="*/ 962238 w 1381732"/>
                    <a:gd name="connsiteY13" fmla="*/ 1232185 h 1234054"/>
                    <a:gd name="connsiteX14" fmla="*/ 835124 w 1381732"/>
                    <a:gd name="connsiteY14" fmla="*/ 1170678 h 1234054"/>
                    <a:gd name="connsiteX15" fmla="*/ 798220 w 1381732"/>
                    <a:gd name="connsiteY15" fmla="*/ 1064066 h 1234054"/>
                    <a:gd name="connsiteX16" fmla="*/ 695709 w 1381732"/>
                    <a:gd name="connsiteY16" fmla="*/ 1035363 h 1234054"/>
                    <a:gd name="connsiteX17" fmla="*/ 552193 w 1381732"/>
                    <a:gd name="connsiteY17" fmla="*/ 965656 h 1234054"/>
                    <a:gd name="connsiteX18" fmla="*/ 474285 w 1381732"/>
                    <a:gd name="connsiteY18" fmla="*/ 801638 h 1234054"/>
                    <a:gd name="connsiteX19" fmla="*/ 232358 w 1381732"/>
                    <a:gd name="connsiteY19" fmla="*/ 531008 h 1234054"/>
                    <a:gd name="connsiteX20" fmla="*/ 64240 w 1381732"/>
                    <a:gd name="connsiteY20" fmla="*/ 424397 h 1234054"/>
                    <a:gd name="connsiteX21" fmla="*/ 15035 w 1381732"/>
                    <a:gd name="connsiteY21" fmla="*/ 215274 h 1234054"/>
                    <a:gd name="connsiteX22" fmla="*/ 150349 w 1381732"/>
                    <a:gd name="connsiteY22" fmla="*/ 2050 h 1234054"/>
                    <a:gd name="connsiteX0" fmla="*/ 150349 w 1381732"/>
                    <a:gd name="connsiteY0" fmla="*/ 2050 h 1234054"/>
                    <a:gd name="connsiteX1" fmla="*/ 199555 w 1381732"/>
                    <a:gd name="connsiteY1" fmla="*/ 202972 h 1234054"/>
                    <a:gd name="connsiteX2" fmla="*/ 359472 w 1381732"/>
                    <a:gd name="connsiteY2" fmla="*/ 330086 h 1234054"/>
                    <a:gd name="connsiteX3" fmla="*/ 363573 w 1381732"/>
                    <a:gd name="connsiteY3" fmla="*/ 416196 h 1234054"/>
                    <a:gd name="connsiteX4" fmla="*/ 400477 w 1381732"/>
                    <a:gd name="connsiteY4" fmla="*/ 543310 h 1234054"/>
                    <a:gd name="connsiteX5" fmla="*/ 572696 w 1381732"/>
                    <a:gd name="connsiteY5" fmla="*/ 621218 h 1234054"/>
                    <a:gd name="connsiteX6" fmla="*/ 601399 w 1381732"/>
                    <a:gd name="connsiteY6" fmla="*/ 703227 h 1234054"/>
                    <a:gd name="connsiteX7" fmla="*/ 676623 w 1381732"/>
                    <a:gd name="connsiteY7" fmla="*/ 825443 h 1234054"/>
                    <a:gd name="connsiteX8" fmla="*/ 851526 w 1381732"/>
                    <a:gd name="connsiteY8" fmla="*/ 867245 h 1234054"/>
                    <a:gd name="connsiteX9" fmla="*/ 908932 w 1381732"/>
                    <a:gd name="connsiteY9" fmla="*/ 977957 h 1234054"/>
                    <a:gd name="connsiteX10" fmla="*/ 1062537 w 1381732"/>
                    <a:gd name="connsiteY10" fmla="*/ 1063920 h 1234054"/>
                    <a:gd name="connsiteX11" fmla="*/ 1376628 w 1381732"/>
                    <a:gd name="connsiteY11" fmla="*/ 1009492 h 1234054"/>
                    <a:gd name="connsiteX12" fmla="*/ 1107674 w 1381732"/>
                    <a:gd name="connsiteY12" fmla="*/ 1181890 h 1234054"/>
                    <a:gd name="connsiteX13" fmla="*/ 962238 w 1381732"/>
                    <a:gd name="connsiteY13" fmla="*/ 1232185 h 1234054"/>
                    <a:gd name="connsiteX14" fmla="*/ 835124 w 1381732"/>
                    <a:gd name="connsiteY14" fmla="*/ 1170678 h 1234054"/>
                    <a:gd name="connsiteX15" fmla="*/ 798220 w 1381732"/>
                    <a:gd name="connsiteY15" fmla="*/ 1064066 h 1234054"/>
                    <a:gd name="connsiteX16" fmla="*/ 695709 w 1381732"/>
                    <a:gd name="connsiteY16" fmla="*/ 1035363 h 1234054"/>
                    <a:gd name="connsiteX17" fmla="*/ 552193 w 1381732"/>
                    <a:gd name="connsiteY17" fmla="*/ 965656 h 1234054"/>
                    <a:gd name="connsiteX18" fmla="*/ 474285 w 1381732"/>
                    <a:gd name="connsiteY18" fmla="*/ 801638 h 1234054"/>
                    <a:gd name="connsiteX19" fmla="*/ 232358 w 1381732"/>
                    <a:gd name="connsiteY19" fmla="*/ 531008 h 1234054"/>
                    <a:gd name="connsiteX20" fmla="*/ 64240 w 1381732"/>
                    <a:gd name="connsiteY20" fmla="*/ 424397 h 1234054"/>
                    <a:gd name="connsiteX21" fmla="*/ 15035 w 1381732"/>
                    <a:gd name="connsiteY21" fmla="*/ 215274 h 1234054"/>
                    <a:gd name="connsiteX22" fmla="*/ 150349 w 1381732"/>
                    <a:gd name="connsiteY22" fmla="*/ 2050 h 1234054"/>
                    <a:gd name="connsiteX0" fmla="*/ 150349 w 1381732"/>
                    <a:gd name="connsiteY0" fmla="*/ 2050 h 1234054"/>
                    <a:gd name="connsiteX1" fmla="*/ 199555 w 1381732"/>
                    <a:gd name="connsiteY1" fmla="*/ 202972 h 1234054"/>
                    <a:gd name="connsiteX2" fmla="*/ 359472 w 1381732"/>
                    <a:gd name="connsiteY2" fmla="*/ 330086 h 1234054"/>
                    <a:gd name="connsiteX3" fmla="*/ 363573 w 1381732"/>
                    <a:gd name="connsiteY3" fmla="*/ 416196 h 1234054"/>
                    <a:gd name="connsiteX4" fmla="*/ 400477 w 1381732"/>
                    <a:gd name="connsiteY4" fmla="*/ 543310 h 1234054"/>
                    <a:gd name="connsiteX5" fmla="*/ 572696 w 1381732"/>
                    <a:gd name="connsiteY5" fmla="*/ 621218 h 1234054"/>
                    <a:gd name="connsiteX6" fmla="*/ 601399 w 1381732"/>
                    <a:gd name="connsiteY6" fmla="*/ 703227 h 1234054"/>
                    <a:gd name="connsiteX7" fmla="*/ 676623 w 1381732"/>
                    <a:gd name="connsiteY7" fmla="*/ 825443 h 1234054"/>
                    <a:gd name="connsiteX8" fmla="*/ 884183 w 1381732"/>
                    <a:gd name="connsiteY8" fmla="*/ 863617 h 1234054"/>
                    <a:gd name="connsiteX9" fmla="*/ 908932 w 1381732"/>
                    <a:gd name="connsiteY9" fmla="*/ 977957 h 1234054"/>
                    <a:gd name="connsiteX10" fmla="*/ 1062537 w 1381732"/>
                    <a:gd name="connsiteY10" fmla="*/ 1063920 h 1234054"/>
                    <a:gd name="connsiteX11" fmla="*/ 1376628 w 1381732"/>
                    <a:gd name="connsiteY11" fmla="*/ 1009492 h 1234054"/>
                    <a:gd name="connsiteX12" fmla="*/ 1107674 w 1381732"/>
                    <a:gd name="connsiteY12" fmla="*/ 1181890 h 1234054"/>
                    <a:gd name="connsiteX13" fmla="*/ 962238 w 1381732"/>
                    <a:gd name="connsiteY13" fmla="*/ 1232185 h 1234054"/>
                    <a:gd name="connsiteX14" fmla="*/ 835124 w 1381732"/>
                    <a:gd name="connsiteY14" fmla="*/ 1170678 h 1234054"/>
                    <a:gd name="connsiteX15" fmla="*/ 798220 w 1381732"/>
                    <a:gd name="connsiteY15" fmla="*/ 1064066 h 1234054"/>
                    <a:gd name="connsiteX16" fmla="*/ 695709 w 1381732"/>
                    <a:gd name="connsiteY16" fmla="*/ 1035363 h 1234054"/>
                    <a:gd name="connsiteX17" fmla="*/ 552193 w 1381732"/>
                    <a:gd name="connsiteY17" fmla="*/ 965656 h 1234054"/>
                    <a:gd name="connsiteX18" fmla="*/ 474285 w 1381732"/>
                    <a:gd name="connsiteY18" fmla="*/ 801638 h 1234054"/>
                    <a:gd name="connsiteX19" fmla="*/ 232358 w 1381732"/>
                    <a:gd name="connsiteY19" fmla="*/ 531008 h 1234054"/>
                    <a:gd name="connsiteX20" fmla="*/ 64240 w 1381732"/>
                    <a:gd name="connsiteY20" fmla="*/ 424397 h 1234054"/>
                    <a:gd name="connsiteX21" fmla="*/ 15035 w 1381732"/>
                    <a:gd name="connsiteY21" fmla="*/ 215274 h 1234054"/>
                    <a:gd name="connsiteX22" fmla="*/ 150349 w 1381732"/>
                    <a:gd name="connsiteY22" fmla="*/ 2050 h 1234054"/>
                    <a:gd name="connsiteX0" fmla="*/ 150349 w 1381732"/>
                    <a:gd name="connsiteY0" fmla="*/ 2050 h 1234054"/>
                    <a:gd name="connsiteX1" fmla="*/ 199555 w 1381732"/>
                    <a:gd name="connsiteY1" fmla="*/ 202972 h 1234054"/>
                    <a:gd name="connsiteX2" fmla="*/ 359472 w 1381732"/>
                    <a:gd name="connsiteY2" fmla="*/ 330086 h 1234054"/>
                    <a:gd name="connsiteX3" fmla="*/ 363573 w 1381732"/>
                    <a:gd name="connsiteY3" fmla="*/ 416196 h 1234054"/>
                    <a:gd name="connsiteX4" fmla="*/ 400477 w 1381732"/>
                    <a:gd name="connsiteY4" fmla="*/ 543310 h 1234054"/>
                    <a:gd name="connsiteX5" fmla="*/ 572696 w 1381732"/>
                    <a:gd name="connsiteY5" fmla="*/ 621218 h 1234054"/>
                    <a:gd name="connsiteX6" fmla="*/ 601399 w 1381732"/>
                    <a:gd name="connsiteY6" fmla="*/ 703227 h 1234054"/>
                    <a:gd name="connsiteX7" fmla="*/ 676623 w 1381732"/>
                    <a:gd name="connsiteY7" fmla="*/ 825443 h 1234054"/>
                    <a:gd name="connsiteX8" fmla="*/ 884183 w 1381732"/>
                    <a:gd name="connsiteY8" fmla="*/ 863617 h 1234054"/>
                    <a:gd name="connsiteX9" fmla="*/ 945218 w 1381732"/>
                    <a:gd name="connsiteY9" fmla="*/ 977957 h 1234054"/>
                    <a:gd name="connsiteX10" fmla="*/ 1062537 w 1381732"/>
                    <a:gd name="connsiteY10" fmla="*/ 1063920 h 1234054"/>
                    <a:gd name="connsiteX11" fmla="*/ 1376628 w 1381732"/>
                    <a:gd name="connsiteY11" fmla="*/ 1009492 h 1234054"/>
                    <a:gd name="connsiteX12" fmla="*/ 1107674 w 1381732"/>
                    <a:gd name="connsiteY12" fmla="*/ 1181890 h 1234054"/>
                    <a:gd name="connsiteX13" fmla="*/ 962238 w 1381732"/>
                    <a:gd name="connsiteY13" fmla="*/ 1232185 h 1234054"/>
                    <a:gd name="connsiteX14" fmla="*/ 835124 w 1381732"/>
                    <a:gd name="connsiteY14" fmla="*/ 1170678 h 1234054"/>
                    <a:gd name="connsiteX15" fmla="*/ 798220 w 1381732"/>
                    <a:gd name="connsiteY15" fmla="*/ 1064066 h 1234054"/>
                    <a:gd name="connsiteX16" fmla="*/ 695709 w 1381732"/>
                    <a:gd name="connsiteY16" fmla="*/ 1035363 h 1234054"/>
                    <a:gd name="connsiteX17" fmla="*/ 552193 w 1381732"/>
                    <a:gd name="connsiteY17" fmla="*/ 965656 h 1234054"/>
                    <a:gd name="connsiteX18" fmla="*/ 474285 w 1381732"/>
                    <a:gd name="connsiteY18" fmla="*/ 801638 h 1234054"/>
                    <a:gd name="connsiteX19" fmla="*/ 232358 w 1381732"/>
                    <a:gd name="connsiteY19" fmla="*/ 531008 h 1234054"/>
                    <a:gd name="connsiteX20" fmla="*/ 64240 w 1381732"/>
                    <a:gd name="connsiteY20" fmla="*/ 424397 h 1234054"/>
                    <a:gd name="connsiteX21" fmla="*/ 15035 w 1381732"/>
                    <a:gd name="connsiteY21" fmla="*/ 215274 h 1234054"/>
                    <a:gd name="connsiteX22" fmla="*/ 150349 w 1381732"/>
                    <a:gd name="connsiteY22" fmla="*/ 2050 h 1234054"/>
                    <a:gd name="connsiteX0" fmla="*/ 150349 w 1381732"/>
                    <a:gd name="connsiteY0" fmla="*/ 2050 h 1234054"/>
                    <a:gd name="connsiteX1" fmla="*/ 199555 w 1381732"/>
                    <a:gd name="connsiteY1" fmla="*/ 202972 h 1234054"/>
                    <a:gd name="connsiteX2" fmla="*/ 359472 w 1381732"/>
                    <a:gd name="connsiteY2" fmla="*/ 330086 h 1234054"/>
                    <a:gd name="connsiteX3" fmla="*/ 363573 w 1381732"/>
                    <a:gd name="connsiteY3" fmla="*/ 416196 h 1234054"/>
                    <a:gd name="connsiteX4" fmla="*/ 400477 w 1381732"/>
                    <a:gd name="connsiteY4" fmla="*/ 543310 h 1234054"/>
                    <a:gd name="connsiteX5" fmla="*/ 572696 w 1381732"/>
                    <a:gd name="connsiteY5" fmla="*/ 621218 h 1234054"/>
                    <a:gd name="connsiteX6" fmla="*/ 601399 w 1381732"/>
                    <a:gd name="connsiteY6" fmla="*/ 703227 h 1234054"/>
                    <a:gd name="connsiteX7" fmla="*/ 676623 w 1381732"/>
                    <a:gd name="connsiteY7" fmla="*/ 825443 h 1234054"/>
                    <a:gd name="connsiteX8" fmla="*/ 884183 w 1381732"/>
                    <a:gd name="connsiteY8" fmla="*/ 863617 h 1234054"/>
                    <a:gd name="connsiteX9" fmla="*/ 945218 w 1381732"/>
                    <a:gd name="connsiteY9" fmla="*/ 977957 h 1234054"/>
                    <a:gd name="connsiteX10" fmla="*/ 1062537 w 1381732"/>
                    <a:gd name="connsiteY10" fmla="*/ 1063920 h 1234054"/>
                    <a:gd name="connsiteX11" fmla="*/ 1376628 w 1381732"/>
                    <a:gd name="connsiteY11" fmla="*/ 1009492 h 1234054"/>
                    <a:gd name="connsiteX12" fmla="*/ 1107674 w 1381732"/>
                    <a:gd name="connsiteY12" fmla="*/ 1181890 h 1234054"/>
                    <a:gd name="connsiteX13" fmla="*/ 962238 w 1381732"/>
                    <a:gd name="connsiteY13" fmla="*/ 1232185 h 1234054"/>
                    <a:gd name="connsiteX14" fmla="*/ 835124 w 1381732"/>
                    <a:gd name="connsiteY14" fmla="*/ 1170678 h 1234054"/>
                    <a:gd name="connsiteX15" fmla="*/ 798220 w 1381732"/>
                    <a:gd name="connsiteY15" fmla="*/ 1064066 h 1234054"/>
                    <a:gd name="connsiteX16" fmla="*/ 695709 w 1381732"/>
                    <a:gd name="connsiteY16" fmla="*/ 1035363 h 1234054"/>
                    <a:gd name="connsiteX17" fmla="*/ 552193 w 1381732"/>
                    <a:gd name="connsiteY17" fmla="*/ 965656 h 1234054"/>
                    <a:gd name="connsiteX18" fmla="*/ 474285 w 1381732"/>
                    <a:gd name="connsiteY18" fmla="*/ 801638 h 1234054"/>
                    <a:gd name="connsiteX19" fmla="*/ 232358 w 1381732"/>
                    <a:gd name="connsiteY19" fmla="*/ 531008 h 1234054"/>
                    <a:gd name="connsiteX20" fmla="*/ 64240 w 1381732"/>
                    <a:gd name="connsiteY20" fmla="*/ 424397 h 1234054"/>
                    <a:gd name="connsiteX21" fmla="*/ 15035 w 1381732"/>
                    <a:gd name="connsiteY21" fmla="*/ 215274 h 1234054"/>
                    <a:gd name="connsiteX22" fmla="*/ 150349 w 1381732"/>
                    <a:gd name="connsiteY22" fmla="*/ 2050 h 1234054"/>
                    <a:gd name="connsiteX0" fmla="*/ 150349 w 1381732"/>
                    <a:gd name="connsiteY0" fmla="*/ 2050 h 1234054"/>
                    <a:gd name="connsiteX1" fmla="*/ 199555 w 1381732"/>
                    <a:gd name="connsiteY1" fmla="*/ 202972 h 1234054"/>
                    <a:gd name="connsiteX2" fmla="*/ 359472 w 1381732"/>
                    <a:gd name="connsiteY2" fmla="*/ 330086 h 1234054"/>
                    <a:gd name="connsiteX3" fmla="*/ 363573 w 1381732"/>
                    <a:gd name="connsiteY3" fmla="*/ 416196 h 1234054"/>
                    <a:gd name="connsiteX4" fmla="*/ 400477 w 1381732"/>
                    <a:gd name="connsiteY4" fmla="*/ 543310 h 1234054"/>
                    <a:gd name="connsiteX5" fmla="*/ 572696 w 1381732"/>
                    <a:gd name="connsiteY5" fmla="*/ 621218 h 1234054"/>
                    <a:gd name="connsiteX6" fmla="*/ 601399 w 1381732"/>
                    <a:gd name="connsiteY6" fmla="*/ 703227 h 1234054"/>
                    <a:gd name="connsiteX7" fmla="*/ 676623 w 1381732"/>
                    <a:gd name="connsiteY7" fmla="*/ 825443 h 1234054"/>
                    <a:gd name="connsiteX8" fmla="*/ 884183 w 1381732"/>
                    <a:gd name="connsiteY8" fmla="*/ 863617 h 1234054"/>
                    <a:gd name="connsiteX9" fmla="*/ 945218 w 1381732"/>
                    <a:gd name="connsiteY9" fmla="*/ 977957 h 1234054"/>
                    <a:gd name="connsiteX10" fmla="*/ 1062537 w 1381732"/>
                    <a:gd name="connsiteY10" fmla="*/ 1063920 h 1234054"/>
                    <a:gd name="connsiteX11" fmla="*/ 1376628 w 1381732"/>
                    <a:gd name="connsiteY11" fmla="*/ 1009492 h 1234054"/>
                    <a:gd name="connsiteX12" fmla="*/ 1107674 w 1381732"/>
                    <a:gd name="connsiteY12" fmla="*/ 1181890 h 1234054"/>
                    <a:gd name="connsiteX13" fmla="*/ 962238 w 1381732"/>
                    <a:gd name="connsiteY13" fmla="*/ 1232185 h 1234054"/>
                    <a:gd name="connsiteX14" fmla="*/ 835124 w 1381732"/>
                    <a:gd name="connsiteY14" fmla="*/ 1170678 h 1234054"/>
                    <a:gd name="connsiteX15" fmla="*/ 798220 w 1381732"/>
                    <a:gd name="connsiteY15" fmla="*/ 1064066 h 1234054"/>
                    <a:gd name="connsiteX16" fmla="*/ 695709 w 1381732"/>
                    <a:gd name="connsiteY16" fmla="*/ 1035363 h 1234054"/>
                    <a:gd name="connsiteX17" fmla="*/ 552193 w 1381732"/>
                    <a:gd name="connsiteY17" fmla="*/ 965656 h 1234054"/>
                    <a:gd name="connsiteX18" fmla="*/ 474285 w 1381732"/>
                    <a:gd name="connsiteY18" fmla="*/ 801638 h 1234054"/>
                    <a:gd name="connsiteX19" fmla="*/ 232358 w 1381732"/>
                    <a:gd name="connsiteY19" fmla="*/ 531008 h 1234054"/>
                    <a:gd name="connsiteX20" fmla="*/ 64240 w 1381732"/>
                    <a:gd name="connsiteY20" fmla="*/ 424397 h 1234054"/>
                    <a:gd name="connsiteX21" fmla="*/ 15035 w 1381732"/>
                    <a:gd name="connsiteY21" fmla="*/ 215274 h 1234054"/>
                    <a:gd name="connsiteX22" fmla="*/ 150349 w 1381732"/>
                    <a:gd name="connsiteY22" fmla="*/ 2050 h 1234054"/>
                    <a:gd name="connsiteX0" fmla="*/ 150349 w 1381732"/>
                    <a:gd name="connsiteY0" fmla="*/ 2050 h 1234054"/>
                    <a:gd name="connsiteX1" fmla="*/ 199555 w 1381732"/>
                    <a:gd name="connsiteY1" fmla="*/ 202972 h 1234054"/>
                    <a:gd name="connsiteX2" fmla="*/ 359472 w 1381732"/>
                    <a:gd name="connsiteY2" fmla="*/ 330086 h 1234054"/>
                    <a:gd name="connsiteX3" fmla="*/ 363573 w 1381732"/>
                    <a:gd name="connsiteY3" fmla="*/ 416196 h 1234054"/>
                    <a:gd name="connsiteX4" fmla="*/ 400477 w 1381732"/>
                    <a:gd name="connsiteY4" fmla="*/ 543310 h 1234054"/>
                    <a:gd name="connsiteX5" fmla="*/ 572696 w 1381732"/>
                    <a:gd name="connsiteY5" fmla="*/ 621218 h 1234054"/>
                    <a:gd name="connsiteX6" fmla="*/ 601399 w 1381732"/>
                    <a:gd name="connsiteY6" fmla="*/ 703227 h 1234054"/>
                    <a:gd name="connsiteX7" fmla="*/ 676623 w 1381732"/>
                    <a:gd name="connsiteY7" fmla="*/ 825443 h 1234054"/>
                    <a:gd name="connsiteX8" fmla="*/ 884183 w 1381732"/>
                    <a:gd name="connsiteY8" fmla="*/ 863617 h 1234054"/>
                    <a:gd name="connsiteX9" fmla="*/ 945218 w 1381732"/>
                    <a:gd name="connsiteY9" fmla="*/ 977957 h 1234054"/>
                    <a:gd name="connsiteX10" fmla="*/ 1062537 w 1381732"/>
                    <a:gd name="connsiteY10" fmla="*/ 1063920 h 1234054"/>
                    <a:gd name="connsiteX11" fmla="*/ 1376628 w 1381732"/>
                    <a:gd name="connsiteY11" fmla="*/ 1009492 h 1234054"/>
                    <a:gd name="connsiteX12" fmla="*/ 1107674 w 1381732"/>
                    <a:gd name="connsiteY12" fmla="*/ 1181890 h 1234054"/>
                    <a:gd name="connsiteX13" fmla="*/ 962238 w 1381732"/>
                    <a:gd name="connsiteY13" fmla="*/ 1232185 h 1234054"/>
                    <a:gd name="connsiteX14" fmla="*/ 835124 w 1381732"/>
                    <a:gd name="connsiteY14" fmla="*/ 1170678 h 1234054"/>
                    <a:gd name="connsiteX15" fmla="*/ 798220 w 1381732"/>
                    <a:gd name="connsiteY15" fmla="*/ 1064066 h 1234054"/>
                    <a:gd name="connsiteX16" fmla="*/ 695709 w 1381732"/>
                    <a:gd name="connsiteY16" fmla="*/ 1035363 h 1234054"/>
                    <a:gd name="connsiteX17" fmla="*/ 552193 w 1381732"/>
                    <a:gd name="connsiteY17" fmla="*/ 965656 h 1234054"/>
                    <a:gd name="connsiteX18" fmla="*/ 474285 w 1381732"/>
                    <a:gd name="connsiteY18" fmla="*/ 801638 h 1234054"/>
                    <a:gd name="connsiteX19" fmla="*/ 232358 w 1381732"/>
                    <a:gd name="connsiteY19" fmla="*/ 531008 h 1234054"/>
                    <a:gd name="connsiteX20" fmla="*/ 64240 w 1381732"/>
                    <a:gd name="connsiteY20" fmla="*/ 424397 h 1234054"/>
                    <a:gd name="connsiteX21" fmla="*/ 15035 w 1381732"/>
                    <a:gd name="connsiteY21" fmla="*/ 215274 h 1234054"/>
                    <a:gd name="connsiteX22" fmla="*/ 150349 w 1381732"/>
                    <a:gd name="connsiteY22" fmla="*/ 2050 h 1234054"/>
                    <a:gd name="connsiteX0" fmla="*/ 150349 w 1381732"/>
                    <a:gd name="connsiteY0" fmla="*/ 2050 h 1234054"/>
                    <a:gd name="connsiteX1" fmla="*/ 199555 w 1381732"/>
                    <a:gd name="connsiteY1" fmla="*/ 202972 h 1234054"/>
                    <a:gd name="connsiteX2" fmla="*/ 359472 w 1381732"/>
                    <a:gd name="connsiteY2" fmla="*/ 330086 h 1234054"/>
                    <a:gd name="connsiteX3" fmla="*/ 363573 w 1381732"/>
                    <a:gd name="connsiteY3" fmla="*/ 416196 h 1234054"/>
                    <a:gd name="connsiteX4" fmla="*/ 400477 w 1381732"/>
                    <a:gd name="connsiteY4" fmla="*/ 543310 h 1234054"/>
                    <a:gd name="connsiteX5" fmla="*/ 572696 w 1381732"/>
                    <a:gd name="connsiteY5" fmla="*/ 621218 h 1234054"/>
                    <a:gd name="connsiteX6" fmla="*/ 601399 w 1381732"/>
                    <a:gd name="connsiteY6" fmla="*/ 703227 h 1234054"/>
                    <a:gd name="connsiteX7" fmla="*/ 676623 w 1381732"/>
                    <a:gd name="connsiteY7" fmla="*/ 825443 h 1234054"/>
                    <a:gd name="connsiteX8" fmla="*/ 884183 w 1381732"/>
                    <a:gd name="connsiteY8" fmla="*/ 863617 h 1234054"/>
                    <a:gd name="connsiteX9" fmla="*/ 945218 w 1381732"/>
                    <a:gd name="connsiteY9" fmla="*/ 977957 h 1234054"/>
                    <a:gd name="connsiteX10" fmla="*/ 1062537 w 1381732"/>
                    <a:gd name="connsiteY10" fmla="*/ 1063920 h 1234054"/>
                    <a:gd name="connsiteX11" fmla="*/ 1376628 w 1381732"/>
                    <a:gd name="connsiteY11" fmla="*/ 1009492 h 1234054"/>
                    <a:gd name="connsiteX12" fmla="*/ 1107674 w 1381732"/>
                    <a:gd name="connsiteY12" fmla="*/ 1181890 h 1234054"/>
                    <a:gd name="connsiteX13" fmla="*/ 962238 w 1381732"/>
                    <a:gd name="connsiteY13" fmla="*/ 1232185 h 1234054"/>
                    <a:gd name="connsiteX14" fmla="*/ 835124 w 1381732"/>
                    <a:gd name="connsiteY14" fmla="*/ 1170678 h 1234054"/>
                    <a:gd name="connsiteX15" fmla="*/ 798220 w 1381732"/>
                    <a:gd name="connsiteY15" fmla="*/ 1064066 h 1234054"/>
                    <a:gd name="connsiteX16" fmla="*/ 695709 w 1381732"/>
                    <a:gd name="connsiteY16" fmla="*/ 1035363 h 1234054"/>
                    <a:gd name="connsiteX17" fmla="*/ 552193 w 1381732"/>
                    <a:gd name="connsiteY17" fmla="*/ 965656 h 1234054"/>
                    <a:gd name="connsiteX18" fmla="*/ 474285 w 1381732"/>
                    <a:gd name="connsiteY18" fmla="*/ 801638 h 1234054"/>
                    <a:gd name="connsiteX19" fmla="*/ 232358 w 1381732"/>
                    <a:gd name="connsiteY19" fmla="*/ 531008 h 1234054"/>
                    <a:gd name="connsiteX20" fmla="*/ 64240 w 1381732"/>
                    <a:gd name="connsiteY20" fmla="*/ 424397 h 1234054"/>
                    <a:gd name="connsiteX21" fmla="*/ 15035 w 1381732"/>
                    <a:gd name="connsiteY21" fmla="*/ 215274 h 1234054"/>
                    <a:gd name="connsiteX22" fmla="*/ 150349 w 1381732"/>
                    <a:gd name="connsiteY22" fmla="*/ 2050 h 1234054"/>
                    <a:gd name="connsiteX0" fmla="*/ 150349 w 1381732"/>
                    <a:gd name="connsiteY0" fmla="*/ 2050 h 1234054"/>
                    <a:gd name="connsiteX1" fmla="*/ 199555 w 1381732"/>
                    <a:gd name="connsiteY1" fmla="*/ 202972 h 1234054"/>
                    <a:gd name="connsiteX2" fmla="*/ 359472 w 1381732"/>
                    <a:gd name="connsiteY2" fmla="*/ 330086 h 1234054"/>
                    <a:gd name="connsiteX3" fmla="*/ 363573 w 1381732"/>
                    <a:gd name="connsiteY3" fmla="*/ 416196 h 1234054"/>
                    <a:gd name="connsiteX4" fmla="*/ 400477 w 1381732"/>
                    <a:gd name="connsiteY4" fmla="*/ 543310 h 1234054"/>
                    <a:gd name="connsiteX5" fmla="*/ 572696 w 1381732"/>
                    <a:gd name="connsiteY5" fmla="*/ 621218 h 1234054"/>
                    <a:gd name="connsiteX6" fmla="*/ 601399 w 1381732"/>
                    <a:gd name="connsiteY6" fmla="*/ 703227 h 1234054"/>
                    <a:gd name="connsiteX7" fmla="*/ 676623 w 1381732"/>
                    <a:gd name="connsiteY7" fmla="*/ 825443 h 1234054"/>
                    <a:gd name="connsiteX8" fmla="*/ 884183 w 1381732"/>
                    <a:gd name="connsiteY8" fmla="*/ 863617 h 1234054"/>
                    <a:gd name="connsiteX9" fmla="*/ 945218 w 1381732"/>
                    <a:gd name="connsiteY9" fmla="*/ 977957 h 1234054"/>
                    <a:gd name="connsiteX10" fmla="*/ 1062537 w 1381732"/>
                    <a:gd name="connsiteY10" fmla="*/ 1063920 h 1234054"/>
                    <a:gd name="connsiteX11" fmla="*/ 1376628 w 1381732"/>
                    <a:gd name="connsiteY11" fmla="*/ 1009492 h 1234054"/>
                    <a:gd name="connsiteX12" fmla="*/ 1107674 w 1381732"/>
                    <a:gd name="connsiteY12" fmla="*/ 1181890 h 1234054"/>
                    <a:gd name="connsiteX13" fmla="*/ 962238 w 1381732"/>
                    <a:gd name="connsiteY13" fmla="*/ 1232185 h 1234054"/>
                    <a:gd name="connsiteX14" fmla="*/ 835124 w 1381732"/>
                    <a:gd name="connsiteY14" fmla="*/ 1170678 h 1234054"/>
                    <a:gd name="connsiteX15" fmla="*/ 798220 w 1381732"/>
                    <a:gd name="connsiteY15" fmla="*/ 1064066 h 1234054"/>
                    <a:gd name="connsiteX16" fmla="*/ 695709 w 1381732"/>
                    <a:gd name="connsiteY16" fmla="*/ 1035363 h 1234054"/>
                    <a:gd name="connsiteX17" fmla="*/ 552193 w 1381732"/>
                    <a:gd name="connsiteY17" fmla="*/ 965656 h 1234054"/>
                    <a:gd name="connsiteX18" fmla="*/ 474285 w 1381732"/>
                    <a:gd name="connsiteY18" fmla="*/ 801638 h 1234054"/>
                    <a:gd name="connsiteX19" fmla="*/ 232358 w 1381732"/>
                    <a:gd name="connsiteY19" fmla="*/ 531008 h 1234054"/>
                    <a:gd name="connsiteX20" fmla="*/ 64240 w 1381732"/>
                    <a:gd name="connsiteY20" fmla="*/ 424397 h 1234054"/>
                    <a:gd name="connsiteX21" fmla="*/ 15035 w 1381732"/>
                    <a:gd name="connsiteY21" fmla="*/ 215274 h 1234054"/>
                    <a:gd name="connsiteX22" fmla="*/ 150349 w 1381732"/>
                    <a:gd name="connsiteY22" fmla="*/ 2050 h 1234054"/>
                    <a:gd name="connsiteX0" fmla="*/ 150349 w 1381732"/>
                    <a:gd name="connsiteY0" fmla="*/ 2050 h 1234054"/>
                    <a:gd name="connsiteX1" fmla="*/ 199555 w 1381732"/>
                    <a:gd name="connsiteY1" fmla="*/ 202972 h 1234054"/>
                    <a:gd name="connsiteX2" fmla="*/ 359472 w 1381732"/>
                    <a:gd name="connsiteY2" fmla="*/ 330086 h 1234054"/>
                    <a:gd name="connsiteX3" fmla="*/ 363573 w 1381732"/>
                    <a:gd name="connsiteY3" fmla="*/ 416196 h 1234054"/>
                    <a:gd name="connsiteX4" fmla="*/ 400477 w 1381732"/>
                    <a:gd name="connsiteY4" fmla="*/ 543310 h 1234054"/>
                    <a:gd name="connsiteX5" fmla="*/ 572696 w 1381732"/>
                    <a:gd name="connsiteY5" fmla="*/ 621218 h 1234054"/>
                    <a:gd name="connsiteX6" fmla="*/ 601399 w 1381732"/>
                    <a:gd name="connsiteY6" fmla="*/ 703227 h 1234054"/>
                    <a:gd name="connsiteX7" fmla="*/ 702023 w 1381732"/>
                    <a:gd name="connsiteY7" fmla="*/ 814557 h 1234054"/>
                    <a:gd name="connsiteX8" fmla="*/ 884183 w 1381732"/>
                    <a:gd name="connsiteY8" fmla="*/ 863617 h 1234054"/>
                    <a:gd name="connsiteX9" fmla="*/ 945218 w 1381732"/>
                    <a:gd name="connsiteY9" fmla="*/ 977957 h 1234054"/>
                    <a:gd name="connsiteX10" fmla="*/ 1062537 w 1381732"/>
                    <a:gd name="connsiteY10" fmla="*/ 1063920 h 1234054"/>
                    <a:gd name="connsiteX11" fmla="*/ 1376628 w 1381732"/>
                    <a:gd name="connsiteY11" fmla="*/ 1009492 h 1234054"/>
                    <a:gd name="connsiteX12" fmla="*/ 1107674 w 1381732"/>
                    <a:gd name="connsiteY12" fmla="*/ 1181890 h 1234054"/>
                    <a:gd name="connsiteX13" fmla="*/ 962238 w 1381732"/>
                    <a:gd name="connsiteY13" fmla="*/ 1232185 h 1234054"/>
                    <a:gd name="connsiteX14" fmla="*/ 835124 w 1381732"/>
                    <a:gd name="connsiteY14" fmla="*/ 1170678 h 1234054"/>
                    <a:gd name="connsiteX15" fmla="*/ 798220 w 1381732"/>
                    <a:gd name="connsiteY15" fmla="*/ 1064066 h 1234054"/>
                    <a:gd name="connsiteX16" fmla="*/ 695709 w 1381732"/>
                    <a:gd name="connsiteY16" fmla="*/ 1035363 h 1234054"/>
                    <a:gd name="connsiteX17" fmla="*/ 552193 w 1381732"/>
                    <a:gd name="connsiteY17" fmla="*/ 965656 h 1234054"/>
                    <a:gd name="connsiteX18" fmla="*/ 474285 w 1381732"/>
                    <a:gd name="connsiteY18" fmla="*/ 801638 h 1234054"/>
                    <a:gd name="connsiteX19" fmla="*/ 232358 w 1381732"/>
                    <a:gd name="connsiteY19" fmla="*/ 531008 h 1234054"/>
                    <a:gd name="connsiteX20" fmla="*/ 64240 w 1381732"/>
                    <a:gd name="connsiteY20" fmla="*/ 424397 h 1234054"/>
                    <a:gd name="connsiteX21" fmla="*/ 15035 w 1381732"/>
                    <a:gd name="connsiteY21" fmla="*/ 215274 h 1234054"/>
                    <a:gd name="connsiteX22" fmla="*/ 150349 w 1381732"/>
                    <a:gd name="connsiteY22" fmla="*/ 2050 h 1234054"/>
                    <a:gd name="connsiteX0" fmla="*/ 150349 w 1381732"/>
                    <a:gd name="connsiteY0" fmla="*/ 2050 h 1234054"/>
                    <a:gd name="connsiteX1" fmla="*/ 199555 w 1381732"/>
                    <a:gd name="connsiteY1" fmla="*/ 202972 h 1234054"/>
                    <a:gd name="connsiteX2" fmla="*/ 359472 w 1381732"/>
                    <a:gd name="connsiteY2" fmla="*/ 330086 h 1234054"/>
                    <a:gd name="connsiteX3" fmla="*/ 363573 w 1381732"/>
                    <a:gd name="connsiteY3" fmla="*/ 416196 h 1234054"/>
                    <a:gd name="connsiteX4" fmla="*/ 400477 w 1381732"/>
                    <a:gd name="connsiteY4" fmla="*/ 543310 h 1234054"/>
                    <a:gd name="connsiteX5" fmla="*/ 572696 w 1381732"/>
                    <a:gd name="connsiteY5" fmla="*/ 621218 h 1234054"/>
                    <a:gd name="connsiteX6" fmla="*/ 601399 w 1381732"/>
                    <a:gd name="connsiteY6" fmla="*/ 703227 h 1234054"/>
                    <a:gd name="connsiteX7" fmla="*/ 691137 w 1381732"/>
                    <a:gd name="connsiteY7" fmla="*/ 825443 h 1234054"/>
                    <a:gd name="connsiteX8" fmla="*/ 884183 w 1381732"/>
                    <a:gd name="connsiteY8" fmla="*/ 863617 h 1234054"/>
                    <a:gd name="connsiteX9" fmla="*/ 945218 w 1381732"/>
                    <a:gd name="connsiteY9" fmla="*/ 977957 h 1234054"/>
                    <a:gd name="connsiteX10" fmla="*/ 1062537 w 1381732"/>
                    <a:gd name="connsiteY10" fmla="*/ 1063920 h 1234054"/>
                    <a:gd name="connsiteX11" fmla="*/ 1376628 w 1381732"/>
                    <a:gd name="connsiteY11" fmla="*/ 1009492 h 1234054"/>
                    <a:gd name="connsiteX12" fmla="*/ 1107674 w 1381732"/>
                    <a:gd name="connsiteY12" fmla="*/ 1181890 h 1234054"/>
                    <a:gd name="connsiteX13" fmla="*/ 962238 w 1381732"/>
                    <a:gd name="connsiteY13" fmla="*/ 1232185 h 1234054"/>
                    <a:gd name="connsiteX14" fmla="*/ 835124 w 1381732"/>
                    <a:gd name="connsiteY14" fmla="*/ 1170678 h 1234054"/>
                    <a:gd name="connsiteX15" fmla="*/ 798220 w 1381732"/>
                    <a:gd name="connsiteY15" fmla="*/ 1064066 h 1234054"/>
                    <a:gd name="connsiteX16" fmla="*/ 695709 w 1381732"/>
                    <a:gd name="connsiteY16" fmla="*/ 1035363 h 1234054"/>
                    <a:gd name="connsiteX17" fmla="*/ 552193 w 1381732"/>
                    <a:gd name="connsiteY17" fmla="*/ 965656 h 1234054"/>
                    <a:gd name="connsiteX18" fmla="*/ 474285 w 1381732"/>
                    <a:gd name="connsiteY18" fmla="*/ 801638 h 1234054"/>
                    <a:gd name="connsiteX19" fmla="*/ 232358 w 1381732"/>
                    <a:gd name="connsiteY19" fmla="*/ 531008 h 1234054"/>
                    <a:gd name="connsiteX20" fmla="*/ 64240 w 1381732"/>
                    <a:gd name="connsiteY20" fmla="*/ 424397 h 1234054"/>
                    <a:gd name="connsiteX21" fmla="*/ 15035 w 1381732"/>
                    <a:gd name="connsiteY21" fmla="*/ 215274 h 1234054"/>
                    <a:gd name="connsiteX22" fmla="*/ 150349 w 1381732"/>
                    <a:gd name="connsiteY22" fmla="*/ 2050 h 1234054"/>
                    <a:gd name="connsiteX0" fmla="*/ 150349 w 1381732"/>
                    <a:gd name="connsiteY0" fmla="*/ 2050 h 1234054"/>
                    <a:gd name="connsiteX1" fmla="*/ 199555 w 1381732"/>
                    <a:gd name="connsiteY1" fmla="*/ 202972 h 1234054"/>
                    <a:gd name="connsiteX2" fmla="*/ 359472 w 1381732"/>
                    <a:gd name="connsiteY2" fmla="*/ 330086 h 1234054"/>
                    <a:gd name="connsiteX3" fmla="*/ 363573 w 1381732"/>
                    <a:gd name="connsiteY3" fmla="*/ 416196 h 1234054"/>
                    <a:gd name="connsiteX4" fmla="*/ 400477 w 1381732"/>
                    <a:gd name="connsiteY4" fmla="*/ 543310 h 1234054"/>
                    <a:gd name="connsiteX5" fmla="*/ 572696 w 1381732"/>
                    <a:gd name="connsiteY5" fmla="*/ 621218 h 1234054"/>
                    <a:gd name="connsiteX6" fmla="*/ 623171 w 1381732"/>
                    <a:gd name="connsiteY6" fmla="*/ 703227 h 1234054"/>
                    <a:gd name="connsiteX7" fmla="*/ 691137 w 1381732"/>
                    <a:gd name="connsiteY7" fmla="*/ 825443 h 1234054"/>
                    <a:gd name="connsiteX8" fmla="*/ 884183 w 1381732"/>
                    <a:gd name="connsiteY8" fmla="*/ 863617 h 1234054"/>
                    <a:gd name="connsiteX9" fmla="*/ 945218 w 1381732"/>
                    <a:gd name="connsiteY9" fmla="*/ 977957 h 1234054"/>
                    <a:gd name="connsiteX10" fmla="*/ 1062537 w 1381732"/>
                    <a:gd name="connsiteY10" fmla="*/ 1063920 h 1234054"/>
                    <a:gd name="connsiteX11" fmla="*/ 1376628 w 1381732"/>
                    <a:gd name="connsiteY11" fmla="*/ 1009492 h 1234054"/>
                    <a:gd name="connsiteX12" fmla="*/ 1107674 w 1381732"/>
                    <a:gd name="connsiteY12" fmla="*/ 1181890 h 1234054"/>
                    <a:gd name="connsiteX13" fmla="*/ 962238 w 1381732"/>
                    <a:gd name="connsiteY13" fmla="*/ 1232185 h 1234054"/>
                    <a:gd name="connsiteX14" fmla="*/ 835124 w 1381732"/>
                    <a:gd name="connsiteY14" fmla="*/ 1170678 h 1234054"/>
                    <a:gd name="connsiteX15" fmla="*/ 798220 w 1381732"/>
                    <a:gd name="connsiteY15" fmla="*/ 1064066 h 1234054"/>
                    <a:gd name="connsiteX16" fmla="*/ 695709 w 1381732"/>
                    <a:gd name="connsiteY16" fmla="*/ 1035363 h 1234054"/>
                    <a:gd name="connsiteX17" fmla="*/ 552193 w 1381732"/>
                    <a:gd name="connsiteY17" fmla="*/ 965656 h 1234054"/>
                    <a:gd name="connsiteX18" fmla="*/ 474285 w 1381732"/>
                    <a:gd name="connsiteY18" fmla="*/ 801638 h 1234054"/>
                    <a:gd name="connsiteX19" fmla="*/ 232358 w 1381732"/>
                    <a:gd name="connsiteY19" fmla="*/ 531008 h 1234054"/>
                    <a:gd name="connsiteX20" fmla="*/ 64240 w 1381732"/>
                    <a:gd name="connsiteY20" fmla="*/ 424397 h 1234054"/>
                    <a:gd name="connsiteX21" fmla="*/ 15035 w 1381732"/>
                    <a:gd name="connsiteY21" fmla="*/ 215274 h 1234054"/>
                    <a:gd name="connsiteX22" fmla="*/ 150349 w 1381732"/>
                    <a:gd name="connsiteY22" fmla="*/ 2050 h 1234054"/>
                    <a:gd name="connsiteX0" fmla="*/ 150349 w 1381732"/>
                    <a:gd name="connsiteY0" fmla="*/ 2050 h 1234054"/>
                    <a:gd name="connsiteX1" fmla="*/ 199555 w 1381732"/>
                    <a:gd name="connsiteY1" fmla="*/ 202972 h 1234054"/>
                    <a:gd name="connsiteX2" fmla="*/ 359472 w 1381732"/>
                    <a:gd name="connsiteY2" fmla="*/ 330086 h 1234054"/>
                    <a:gd name="connsiteX3" fmla="*/ 363573 w 1381732"/>
                    <a:gd name="connsiteY3" fmla="*/ 416196 h 1234054"/>
                    <a:gd name="connsiteX4" fmla="*/ 400477 w 1381732"/>
                    <a:gd name="connsiteY4" fmla="*/ 543310 h 1234054"/>
                    <a:gd name="connsiteX5" fmla="*/ 572696 w 1381732"/>
                    <a:gd name="connsiteY5" fmla="*/ 621218 h 1234054"/>
                    <a:gd name="connsiteX6" fmla="*/ 623171 w 1381732"/>
                    <a:gd name="connsiteY6" fmla="*/ 703227 h 1234054"/>
                    <a:gd name="connsiteX7" fmla="*/ 691137 w 1381732"/>
                    <a:gd name="connsiteY7" fmla="*/ 825443 h 1234054"/>
                    <a:gd name="connsiteX8" fmla="*/ 884183 w 1381732"/>
                    <a:gd name="connsiteY8" fmla="*/ 863617 h 1234054"/>
                    <a:gd name="connsiteX9" fmla="*/ 945218 w 1381732"/>
                    <a:gd name="connsiteY9" fmla="*/ 977957 h 1234054"/>
                    <a:gd name="connsiteX10" fmla="*/ 1062537 w 1381732"/>
                    <a:gd name="connsiteY10" fmla="*/ 1063920 h 1234054"/>
                    <a:gd name="connsiteX11" fmla="*/ 1376628 w 1381732"/>
                    <a:gd name="connsiteY11" fmla="*/ 1009492 h 1234054"/>
                    <a:gd name="connsiteX12" fmla="*/ 1107674 w 1381732"/>
                    <a:gd name="connsiteY12" fmla="*/ 1181890 h 1234054"/>
                    <a:gd name="connsiteX13" fmla="*/ 962238 w 1381732"/>
                    <a:gd name="connsiteY13" fmla="*/ 1232185 h 1234054"/>
                    <a:gd name="connsiteX14" fmla="*/ 835124 w 1381732"/>
                    <a:gd name="connsiteY14" fmla="*/ 1170678 h 1234054"/>
                    <a:gd name="connsiteX15" fmla="*/ 798220 w 1381732"/>
                    <a:gd name="connsiteY15" fmla="*/ 1064066 h 1234054"/>
                    <a:gd name="connsiteX16" fmla="*/ 695709 w 1381732"/>
                    <a:gd name="connsiteY16" fmla="*/ 1035363 h 1234054"/>
                    <a:gd name="connsiteX17" fmla="*/ 552193 w 1381732"/>
                    <a:gd name="connsiteY17" fmla="*/ 965656 h 1234054"/>
                    <a:gd name="connsiteX18" fmla="*/ 474285 w 1381732"/>
                    <a:gd name="connsiteY18" fmla="*/ 801638 h 1234054"/>
                    <a:gd name="connsiteX19" fmla="*/ 232358 w 1381732"/>
                    <a:gd name="connsiteY19" fmla="*/ 531008 h 1234054"/>
                    <a:gd name="connsiteX20" fmla="*/ 64240 w 1381732"/>
                    <a:gd name="connsiteY20" fmla="*/ 424397 h 1234054"/>
                    <a:gd name="connsiteX21" fmla="*/ 15035 w 1381732"/>
                    <a:gd name="connsiteY21" fmla="*/ 215274 h 1234054"/>
                    <a:gd name="connsiteX22" fmla="*/ 150349 w 1381732"/>
                    <a:gd name="connsiteY22" fmla="*/ 2050 h 1234054"/>
                    <a:gd name="connsiteX0" fmla="*/ 150349 w 1381732"/>
                    <a:gd name="connsiteY0" fmla="*/ 2050 h 1234054"/>
                    <a:gd name="connsiteX1" fmla="*/ 199555 w 1381732"/>
                    <a:gd name="connsiteY1" fmla="*/ 202972 h 1234054"/>
                    <a:gd name="connsiteX2" fmla="*/ 359472 w 1381732"/>
                    <a:gd name="connsiteY2" fmla="*/ 330086 h 1234054"/>
                    <a:gd name="connsiteX3" fmla="*/ 363573 w 1381732"/>
                    <a:gd name="connsiteY3" fmla="*/ 416196 h 1234054"/>
                    <a:gd name="connsiteX4" fmla="*/ 400477 w 1381732"/>
                    <a:gd name="connsiteY4" fmla="*/ 543310 h 1234054"/>
                    <a:gd name="connsiteX5" fmla="*/ 572696 w 1381732"/>
                    <a:gd name="connsiteY5" fmla="*/ 621218 h 1234054"/>
                    <a:gd name="connsiteX6" fmla="*/ 623171 w 1381732"/>
                    <a:gd name="connsiteY6" fmla="*/ 703227 h 1234054"/>
                    <a:gd name="connsiteX7" fmla="*/ 691137 w 1381732"/>
                    <a:gd name="connsiteY7" fmla="*/ 825443 h 1234054"/>
                    <a:gd name="connsiteX8" fmla="*/ 884183 w 1381732"/>
                    <a:gd name="connsiteY8" fmla="*/ 863617 h 1234054"/>
                    <a:gd name="connsiteX9" fmla="*/ 945218 w 1381732"/>
                    <a:gd name="connsiteY9" fmla="*/ 977957 h 1234054"/>
                    <a:gd name="connsiteX10" fmla="*/ 1062537 w 1381732"/>
                    <a:gd name="connsiteY10" fmla="*/ 1063920 h 1234054"/>
                    <a:gd name="connsiteX11" fmla="*/ 1376628 w 1381732"/>
                    <a:gd name="connsiteY11" fmla="*/ 1009492 h 1234054"/>
                    <a:gd name="connsiteX12" fmla="*/ 1107674 w 1381732"/>
                    <a:gd name="connsiteY12" fmla="*/ 1181890 h 1234054"/>
                    <a:gd name="connsiteX13" fmla="*/ 962238 w 1381732"/>
                    <a:gd name="connsiteY13" fmla="*/ 1232185 h 1234054"/>
                    <a:gd name="connsiteX14" fmla="*/ 835124 w 1381732"/>
                    <a:gd name="connsiteY14" fmla="*/ 1170678 h 1234054"/>
                    <a:gd name="connsiteX15" fmla="*/ 798220 w 1381732"/>
                    <a:gd name="connsiteY15" fmla="*/ 1064066 h 1234054"/>
                    <a:gd name="connsiteX16" fmla="*/ 695709 w 1381732"/>
                    <a:gd name="connsiteY16" fmla="*/ 1035363 h 1234054"/>
                    <a:gd name="connsiteX17" fmla="*/ 552193 w 1381732"/>
                    <a:gd name="connsiteY17" fmla="*/ 965656 h 1234054"/>
                    <a:gd name="connsiteX18" fmla="*/ 474285 w 1381732"/>
                    <a:gd name="connsiteY18" fmla="*/ 801638 h 1234054"/>
                    <a:gd name="connsiteX19" fmla="*/ 232358 w 1381732"/>
                    <a:gd name="connsiteY19" fmla="*/ 531008 h 1234054"/>
                    <a:gd name="connsiteX20" fmla="*/ 64240 w 1381732"/>
                    <a:gd name="connsiteY20" fmla="*/ 424397 h 1234054"/>
                    <a:gd name="connsiteX21" fmla="*/ 15035 w 1381732"/>
                    <a:gd name="connsiteY21" fmla="*/ 215274 h 1234054"/>
                    <a:gd name="connsiteX22" fmla="*/ 150349 w 1381732"/>
                    <a:gd name="connsiteY22" fmla="*/ 2050 h 1234054"/>
                    <a:gd name="connsiteX0" fmla="*/ 150349 w 1381732"/>
                    <a:gd name="connsiteY0" fmla="*/ 2050 h 1234054"/>
                    <a:gd name="connsiteX1" fmla="*/ 199555 w 1381732"/>
                    <a:gd name="connsiteY1" fmla="*/ 202972 h 1234054"/>
                    <a:gd name="connsiteX2" fmla="*/ 334072 w 1381732"/>
                    <a:gd name="connsiteY2" fmla="*/ 301058 h 1234054"/>
                    <a:gd name="connsiteX3" fmla="*/ 363573 w 1381732"/>
                    <a:gd name="connsiteY3" fmla="*/ 416196 h 1234054"/>
                    <a:gd name="connsiteX4" fmla="*/ 400477 w 1381732"/>
                    <a:gd name="connsiteY4" fmla="*/ 543310 h 1234054"/>
                    <a:gd name="connsiteX5" fmla="*/ 572696 w 1381732"/>
                    <a:gd name="connsiteY5" fmla="*/ 621218 h 1234054"/>
                    <a:gd name="connsiteX6" fmla="*/ 623171 w 1381732"/>
                    <a:gd name="connsiteY6" fmla="*/ 703227 h 1234054"/>
                    <a:gd name="connsiteX7" fmla="*/ 691137 w 1381732"/>
                    <a:gd name="connsiteY7" fmla="*/ 825443 h 1234054"/>
                    <a:gd name="connsiteX8" fmla="*/ 884183 w 1381732"/>
                    <a:gd name="connsiteY8" fmla="*/ 863617 h 1234054"/>
                    <a:gd name="connsiteX9" fmla="*/ 945218 w 1381732"/>
                    <a:gd name="connsiteY9" fmla="*/ 977957 h 1234054"/>
                    <a:gd name="connsiteX10" fmla="*/ 1062537 w 1381732"/>
                    <a:gd name="connsiteY10" fmla="*/ 1063920 h 1234054"/>
                    <a:gd name="connsiteX11" fmla="*/ 1376628 w 1381732"/>
                    <a:gd name="connsiteY11" fmla="*/ 1009492 h 1234054"/>
                    <a:gd name="connsiteX12" fmla="*/ 1107674 w 1381732"/>
                    <a:gd name="connsiteY12" fmla="*/ 1181890 h 1234054"/>
                    <a:gd name="connsiteX13" fmla="*/ 962238 w 1381732"/>
                    <a:gd name="connsiteY13" fmla="*/ 1232185 h 1234054"/>
                    <a:gd name="connsiteX14" fmla="*/ 835124 w 1381732"/>
                    <a:gd name="connsiteY14" fmla="*/ 1170678 h 1234054"/>
                    <a:gd name="connsiteX15" fmla="*/ 798220 w 1381732"/>
                    <a:gd name="connsiteY15" fmla="*/ 1064066 h 1234054"/>
                    <a:gd name="connsiteX16" fmla="*/ 695709 w 1381732"/>
                    <a:gd name="connsiteY16" fmla="*/ 1035363 h 1234054"/>
                    <a:gd name="connsiteX17" fmla="*/ 552193 w 1381732"/>
                    <a:gd name="connsiteY17" fmla="*/ 965656 h 1234054"/>
                    <a:gd name="connsiteX18" fmla="*/ 474285 w 1381732"/>
                    <a:gd name="connsiteY18" fmla="*/ 801638 h 1234054"/>
                    <a:gd name="connsiteX19" fmla="*/ 232358 w 1381732"/>
                    <a:gd name="connsiteY19" fmla="*/ 531008 h 1234054"/>
                    <a:gd name="connsiteX20" fmla="*/ 64240 w 1381732"/>
                    <a:gd name="connsiteY20" fmla="*/ 424397 h 1234054"/>
                    <a:gd name="connsiteX21" fmla="*/ 15035 w 1381732"/>
                    <a:gd name="connsiteY21" fmla="*/ 215274 h 1234054"/>
                    <a:gd name="connsiteX22" fmla="*/ 150349 w 1381732"/>
                    <a:gd name="connsiteY22" fmla="*/ 2050 h 1234054"/>
                    <a:gd name="connsiteX0" fmla="*/ 150349 w 1381732"/>
                    <a:gd name="connsiteY0" fmla="*/ 2050 h 1234054"/>
                    <a:gd name="connsiteX1" fmla="*/ 199555 w 1381732"/>
                    <a:gd name="connsiteY1" fmla="*/ 202972 h 1234054"/>
                    <a:gd name="connsiteX2" fmla="*/ 334072 w 1381732"/>
                    <a:gd name="connsiteY2" fmla="*/ 301058 h 1234054"/>
                    <a:gd name="connsiteX3" fmla="*/ 341802 w 1381732"/>
                    <a:gd name="connsiteY3" fmla="*/ 390796 h 1234054"/>
                    <a:gd name="connsiteX4" fmla="*/ 400477 w 1381732"/>
                    <a:gd name="connsiteY4" fmla="*/ 543310 h 1234054"/>
                    <a:gd name="connsiteX5" fmla="*/ 572696 w 1381732"/>
                    <a:gd name="connsiteY5" fmla="*/ 621218 h 1234054"/>
                    <a:gd name="connsiteX6" fmla="*/ 623171 w 1381732"/>
                    <a:gd name="connsiteY6" fmla="*/ 703227 h 1234054"/>
                    <a:gd name="connsiteX7" fmla="*/ 691137 w 1381732"/>
                    <a:gd name="connsiteY7" fmla="*/ 825443 h 1234054"/>
                    <a:gd name="connsiteX8" fmla="*/ 884183 w 1381732"/>
                    <a:gd name="connsiteY8" fmla="*/ 863617 h 1234054"/>
                    <a:gd name="connsiteX9" fmla="*/ 945218 w 1381732"/>
                    <a:gd name="connsiteY9" fmla="*/ 977957 h 1234054"/>
                    <a:gd name="connsiteX10" fmla="*/ 1062537 w 1381732"/>
                    <a:gd name="connsiteY10" fmla="*/ 1063920 h 1234054"/>
                    <a:gd name="connsiteX11" fmla="*/ 1376628 w 1381732"/>
                    <a:gd name="connsiteY11" fmla="*/ 1009492 h 1234054"/>
                    <a:gd name="connsiteX12" fmla="*/ 1107674 w 1381732"/>
                    <a:gd name="connsiteY12" fmla="*/ 1181890 h 1234054"/>
                    <a:gd name="connsiteX13" fmla="*/ 962238 w 1381732"/>
                    <a:gd name="connsiteY13" fmla="*/ 1232185 h 1234054"/>
                    <a:gd name="connsiteX14" fmla="*/ 835124 w 1381732"/>
                    <a:gd name="connsiteY14" fmla="*/ 1170678 h 1234054"/>
                    <a:gd name="connsiteX15" fmla="*/ 798220 w 1381732"/>
                    <a:gd name="connsiteY15" fmla="*/ 1064066 h 1234054"/>
                    <a:gd name="connsiteX16" fmla="*/ 695709 w 1381732"/>
                    <a:gd name="connsiteY16" fmla="*/ 1035363 h 1234054"/>
                    <a:gd name="connsiteX17" fmla="*/ 552193 w 1381732"/>
                    <a:gd name="connsiteY17" fmla="*/ 965656 h 1234054"/>
                    <a:gd name="connsiteX18" fmla="*/ 474285 w 1381732"/>
                    <a:gd name="connsiteY18" fmla="*/ 801638 h 1234054"/>
                    <a:gd name="connsiteX19" fmla="*/ 232358 w 1381732"/>
                    <a:gd name="connsiteY19" fmla="*/ 531008 h 1234054"/>
                    <a:gd name="connsiteX20" fmla="*/ 64240 w 1381732"/>
                    <a:gd name="connsiteY20" fmla="*/ 424397 h 1234054"/>
                    <a:gd name="connsiteX21" fmla="*/ 15035 w 1381732"/>
                    <a:gd name="connsiteY21" fmla="*/ 215274 h 1234054"/>
                    <a:gd name="connsiteX22" fmla="*/ 150349 w 1381732"/>
                    <a:gd name="connsiteY22" fmla="*/ 2050 h 1234054"/>
                    <a:gd name="connsiteX0" fmla="*/ 150349 w 1381732"/>
                    <a:gd name="connsiteY0" fmla="*/ 2050 h 1234054"/>
                    <a:gd name="connsiteX1" fmla="*/ 199555 w 1381732"/>
                    <a:gd name="connsiteY1" fmla="*/ 202972 h 1234054"/>
                    <a:gd name="connsiteX2" fmla="*/ 334072 w 1381732"/>
                    <a:gd name="connsiteY2" fmla="*/ 301058 h 1234054"/>
                    <a:gd name="connsiteX3" fmla="*/ 341802 w 1381732"/>
                    <a:gd name="connsiteY3" fmla="*/ 390796 h 1234054"/>
                    <a:gd name="connsiteX4" fmla="*/ 433134 w 1381732"/>
                    <a:gd name="connsiteY4" fmla="*/ 536053 h 1234054"/>
                    <a:gd name="connsiteX5" fmla="*/ 572696 w 1381732"/>
                    <a:gd name="connsiteY5" fmla="*/ 621218 h 1234054"/>
                    <a:gd name="connsiteX6" fmla="*/ 623171 w 1381732"/>
                    <a:gd name="connsiteY6" fmla="*/ 703227 h 1234054"/>
                    <a:gd name="connsiteX7" fmla="*/ 691137 w 1381732"/>
                    <a:gd name="connsiteY7" fmla="*/ 825443 h 1234054"/>
                    <a:gd name="connsiteX8" fmla="*/ 884183 w 1381732"/>
                    <a:gd name="connsiteY8" fmla="*/ 863617 h 1234054"/>
                    <a:gd name="connsiteX9" fmla="*/ 945218 w 1381732"/>
                    <a:gd name="connsiteY9" fmla="*/ 977957 h 1234054"/>
                    <a:gd name="connsiteX10" fmla="*/ 1062537 w 1381732"/>
                    <a:gd name="connsiteY10" fmla="*/ 1063920 h 1234054"/>
                    <a:gd name="connsiteX11" fmla="*/ 1376628 w 1381732"/>
                    <a:gd name="connsiteY11" fmla="*/ 1009492 h 1234054"/>
                    <a:gd name="connsiteX12" fmla="*/ 1107674 w 1381732"/>
                    <a:gd name="connsiteY12" fmla="*/ 1181890 h 1234054"/>
                    <a:gd name="connsiteX13" fmla="*/ 962238 w 1381732"/>
                    <a:gd name="connsiteY13" fmla="*/ 1232185 h 1234054"/>
                    <a:gd name="connsiteX14" fmla="*/ 835124 w 1381732"/>
                    <a:gd name="connsiteY14" fmla="*/ 1170678 h 1234054"/>
                    <a:gd name="connsiteX15" fmla="*/ 798220 w 1381732"/>
                    <a:gd name="connsiteY15" fmla="*/ 1064066 h 1234054"/>
                    <a:gd name="connsiteX16" fmla="*/ 695709 w 1381732"/>
                    <a:gd name="connsiteY16" fmla="*/ 1035363 h 1234054"/>
                    <a:gd name="connsiteX17" fmla="*/ 552193 w 1381732"/>
                    <a:gd name="connsiteY17" fmla="*/ 965656 h 1234054"/>
                    <a:gd name="connsiteX18" fmla="*/ 474285 w 1381732"/>
                    <a:gd name="connsiteY18" fmla="*/ 801638 h 1234054"/>
                    <a:gd name="connsiteX19" fmla="*/ 232358 w 1381732"/>
                    <a:gd name="connsiteY19" fmla="*/ 531008 h 1234054"/>
                    <a:gd name="connsiteX20" fmla="*/ 64240 w 1381732"/>
                    <a:gd name="connsiteY20" fmla="*/ 424397 h 1234054"/>
                    <a:gd name="connsiteX21" fmla="*/ 15035 w 1381732"/>
                    <a:gd name="connsiteY21" fmla="*/ 215274 h 1234054"/>
                    <a:gd name="connsiteX22" fmla="*/ 150349 w 1381732"/>
                    <a:gd name="connsiteY22" fmla="*/ 2050 h 1234054"/>
                    <a:gd name="connsiteX0" fmla="*/ 150349 w 1381732"/>
                    <a:gd name="connsiteY0" fmla="*/ 2050 h 1234054"/>
                    <a:gd name="connsiteX1" fmla="*/ 199555 w 1381732"/>
                    <a:gd name="connsiteY1" fmla="*/ 202972 h 1234054"/>
                    <a:gd name="connsiteX2" fmla="*/ 334072 w 1381732"/>
                    <a:gd name="connsiteY2" fmla="*/ 301058 h 1234054"/>
                    <a:gd name="connsiteX3" fmla="*/ 341802 w 1381732"/>
                    <a:gd name="connsiteY3" fmla="*/ 390796 h 1234054"/>
                    <a:gd name="connsiteX4" fmla="*/ 433134 w 1381732"/>
                    <a:gd name="connsiteY4" fmla="*/ 536053 h 1234054"/>
                    <a:gd name="connsiteX5" fmla="*/ 572696 w 1381732"/>
                    <a:gd name="connsiteY5" fmla="*/ 621218 h 1234054"/>
                    <a:gd name="connsiteX6" fmla="*/ 623171 w 1381732"/>
                    <a:gd name="connsiteY6" fmla="*/ 703227 h 1234054"/>
                    <a:gd name="connsiteX7" fmla="*/ 691137 w 1381732"/>
                    <a:gd name="connsiteY7" fmla="*/ 825443 h 1234054"/>
                    <a:gd name="connsiteX8" fmla="*/ 884183 w 1381732"/>
                    <a:gd name="connsiteY8" fmla="*/ 863617 h 1234054"/>
                    <a:gd name="connsiteX9" fmla="*/ 945218 w 1381732"/>
                    <a:gd name="connsiteY9" fmla="*/ 977957 h 1234054"/>
                    <a:gd name="connsiteX10" fmla="*/ 1062537 w 1381732"/>
                    <a:gd name="connsiteY10" fmla="*/ 1063920 h 1234054"/>
                    <a:gd name="connsiteX11" fmla="*/ 1376628 w 1381732"/>
                    <a:gd name="connsiteY11" fmla="*/ 1009492 h 1234054"/>
                    <a:gd name="connsiteX12" fmla="*/ 1107674 w 1381732"/>
                    <a:gd name="connsiteY12" fmla="*/ 1181890 h 1234054"/>
                    <a:gd name="connsiteX13" fmla="*/ 962238 w 1381732"/>
                    <a:gd name="connsiteY13" fmla="*/ 1232185 h 1234054"/>
                    <a:gd name="connsiteX14" fmla="*/ 835124 w 1381732"/>
                    <a:gd name="connsiteY14" fmla="*/ 1170678 h 1234054"/>
                    <a:gd name="connsiteX15" fmla="*/ 798220 w 1381732"/>
                    <a:gd name="connsiteY15" fmla="*/ 1064066 h 1234054"/>
                    <a:gd name="connsiteX16" fmla="*/ 695709 w 1381732"/>
                    <a:gd name="connsiteY16" fmla="*/ 1035363 h 1234054"/>
                    <a:gd name="connsiteX17" fmla="*/ 552193 w 1381732"/>
                    <a:gd name="connsiteY17" fmla="*/ 965656 h 1234054"/>
                    <a:gd name="connsiteX18" fmla="*/ 474285 w 1381732"/>
                    <a:gd name="connsiteY18" fmla="*/ 801638 h 1234054"/>
                    <a:gd name="connsiteX19" fmla="*/ 232358 w 1381732"/>
                    <a:gd name="connsiteY19" fmla="*/ 531008 h 1234054"/>
                    <a:gd name="connsiteX20" fmla="*/ 64240 w 1381732"/>
                    <a:gd name="connsiteY20" fmla="*/ 424397 h 1234054"/>
                    <a:gd name="connsiteX21" fmla="*/ 15035 w 1381732"/>
                    <a:gd name="connsiteY21" fmla="*/ 215274 h 1234054"/>
                    <a:gd name="connsiteX22" fmla="*/ 150349 w 1381732"/>
                    <a:gd name="connsiteY22" fmla="*/ 2050 h 1234054"/>
                    <a:gd name="connsiteX0" fmla="*/ 150349 w 1381732"/>
                    <a:gd name="connsiteY0" fmla="*/ 2050 h 1234054"/>
                    <a:gd name="connsiteX1" fmla="*/ 199555 w 1381732"/>
                    <a:gd name="connsiteY1" fmla="*/ 202972 h 1234054"/>
                    <a:gd name="connsiteX2" fmla="*/ 334072 w 1381732"/>
                    <a:gd name="connsiteY2" fmla="*/ 301058 h 1234054"/>
                    <a:gd name="connsiteX3" fmla="*/ 433134 w 1381732"/>
                    <a:gd name="connsiteY3" fmla="*/ 536053 h 1234054"/>
                    <a:gd name="connsiteX4" fmla="*/ 572696 w 1381732"/>
                    <a:gd name="connsiteY4" fmla="*/ 621218 h 1234054"/>
                    <a:gd name="connsiteX5" fmla="*/ 623171 w 1381732"/>
                    <a:gd name="connsiteY5" fmla="*/ 703227 h 1234054"/>
                    <a:gd name="connsiteX6" fmla="*/ 691137 w 1381732"/>
                    <a:gd name="connsiteY6" fmla="*/ 825443 h 1234054"/>
                    <a:gd name="connsiteX7" fmla="*/ 884183 w 1381732"/>
                    <a:gd name="connsiteY7" fmla="*/ 863617 h 1234054"/>
                    <a:gd name="connsiteX8" fmla="*/ 945218 w 1381732"/>
                    <a:gd name="connsiteY8" fmla="*/ 977957 h 1234054"/>
                    <a:gd name="connsiteX9" fmla="*/ 1062537 w 1381732"/>
                    <a:gd name="connsiteY9" fmla="*/ 1063920 h 1234054"/>
                    <a:gd name="connsiteX10" fmla="*/ 1376628 w 1381732"/>
                    <a:gd name="connsiteY10" fmla="*/ 1009492 h 1234054"/>
                    <a:gd name="connsiteX11" fmla="*/ 1107674 w 1381732"/>
                    <a:gd name="connsiteY11" fmla="*/ 1181890 h 1234054"/>
                    <a:gd name="connsiteX12" fmla="*/ 962238 w 1381732"/>
                    <a:gd name="connsiteY12" fmla="*/ 1232185 h 1234054"/>
                    <a:gd name="connsiteX13" fmla="*/ 835124 w 1381732"/>
                    <a:gd name="connsiteY13" fmla="*/ 1170678 h 1234054"/>
                    <a:gd name="connsiteX14" fmla="*/ 798220 w 1381732"/>
                    <a:gd name="connsiteY14" fmla="*/ 1064066 h 1234054"/>
                    <a:gd name="connsiteX15" fmla="*/ 695709 w 1381732"/>
                    <a:gd name="connsiteY15" fmla="*/ 1035363 h 1234054"/>
                    <a:gd name="connsiteX16" fmla="*/ 552193 w 1381732"/>
                    <a:gd name="connsiteY16" fmla="*/ 965656 h 1234054"/>
                    <a:gd name="connsiteX17" fmla="*/ 474285 w 1381732"/>
                    <a:gd name="connsiteY17" fmla="*/ 801638 h 1234054"/>
                    <a:gd name="connsiteX18" fmla="*/ 232358 w 1381732"/>
                    <a:gd name="connsiteY18" fmla="*/ 531008 h 1234054"/>
                    <a:gd name="connsiteX19" fmla="*/ 64240 w 1381732"/>
                    <a:gd name="connsiteY19" fmla="*/ 424397 h 1234054"/>
                    <a:gd name="connsiteX20" fmla="*/ 15035 w 1381732"/>
                    <a:gd name="connsiteY20" fmla="*/ 215274 h 1234054"/>
                    <a:gd name="connsiteX21" fmla="*/ 150349 w 1381732"/>
                    <a:gd name="connsiteY21" fmla="*/ 2050 h 1234054"/>
                    <a:gd name="connsiteX0" fmla="*/ 150349 w 1381732"/>
                    <a:gd name="connsiteY0" fmla="*/ 2050 h 1234054"/>
                    <a:gd name="connsiteX1" fmla="*/ 199555 w 1381732"/>
                    <a:gd name="connsiteY1" fmla="*/ 202972 h 1234054"/>
                    <a:gd name="connsiteX2" fmla="*/ 334072 w 1381732"/>
                    <a:gd name="connsiteY2" fmla="*/ 301058 h 1234054"/>
                    <a:gd name="connsiteX3" fmla="*/ 433134 w 1381732"/>
                    <a:gd name="connsiteY3" fmla="*/ 536053 h 1234054"/>
                    <a:gd name="connsiteX4" fmla="*/ 572696 w 1381732"/>
                    <a:gd name="connsiteY4" fmla="*/ 621218 h 1234054"/>
                    <a:gd name="connsiteX5" fmla="*/ 623171 w 1381732"/>
                    <a:gd name="connsiteY5" fmla="*/ 703227 h 1234054"/>
                    <a:gd name="connsiteX6" fmla="*/ 691137 w 1381732"/>
                    <a:gd name="connsiteY6" fmla="*/ 825443 h 1234054"/>
                    <a:gd name="connsiteX7" fmla="*/ 884183 w 1381732"/>
                    <a:gd name="connsiteY7" fmla="*/ 863617 h 1234054"/>
                    <a:gd name="connsiteX8" fmla="*/ 945218 w 1381732"/>
                    <a:gd name="connsiteY8" fmla="*/ 977957 h 1234054"/>
                    <a:gd name="connsiteX9" fmla="*/ 1062537 w 1381732"/>
                    <a:gd name="connsiteY9" fmla="*/ 1063920 h 1234054"/>
                    <a:gd name="connsiteX10" fmla="*/ 1376628 w 1381732"/>
                    <a:gd name="connsiteY10" fmla="*/ 1009492 h 1234054"/>
                    <a:gd name="connsiteX11" fmla="*/ 1107674 w 1381732"/>
                    <a:gd name="connsiteY11" fmla="*/ 1181890 h 1234054"/>
                    <a:gd name="connsiteX12" fmla="*/ 962238 w 1381732"/>
                    <a:gd name="connsiteY12" fmla="*/ 1232185 h 1234054"/>
                    <a:gd name="connsiteX13" fmla="*/ 835124 w 1381732"/>
                    <a:gd name="connsiteY13" fmla="*/ 1170678 h 1234054"/>
                    <a:gd name="connsiteX14" fmla="*/ 798220 w 1381732"/>
                    <a:gd name="connsiteY14" fmla="*/ 1064066 h 1234054"/>
                    <a:gd name="connsiteX15" fmla="*/ 695709 w 1381732"/>
                    <a:gd name="connsiteY15" fmla="*/ 1035363 h 1234054"/>
                    <a:gd name="connsiteX16" fmla="*/ 552193 w 1381732"/>
                    <a:gd name="connsiteY16" fmla="*/ 965656 h 1234054"/>
                    <a:gd name="connsiteX17" fmla="*/ 474285 w 1381732"/>
                    <a:gd name="connsiteY17" fmla="*/ 801638 h 1234054"/>
                    <a:gd name="connsiteX18" fmla="*/ 232358 w 1381732"/>
                    <a:gd name="connsiteY18" fmla="*/ 531008 h 1234054"/>
                    <a:gd name="connsiteX19" fmla="*/ 64240 w 1381732"/>
                    <a:gd name="connsiteY19" fmla="*/ 424397 h 1234054"/>
                    <a:gd name="connsiteX20" fmla="*/ 15035 w 1381732"/>
                    <a:gd name="connsiteY20" fmla="*/ 215274 h 1234054"/>
                    <a:gd name="connsiteX21" fmla="*/ 150349 w 1381732"/>
                    <a:gd name="connsiteY21" fmla="*/ 2050 h 1234054"/>
                    <a:gd name="connsiteX0" fmla="*/ 150349 w 1381732"/>
                    <a:gd name="connsiteY0" fmla="*/ 2050 h 1234054"/>
                    <a:gd name="connsiteX1" fmla="*/ 199555 w 1381732"/>
                    <a:gd name="connsiteY1" fmla="*/ 202972 h 1234054"/>
                    <a:gd name="connsiteX2" fmla="*/ 334072 w 1381732"/>
                    <a:gd name="connsiteY2" fmla="*/ 301058 h 1234054"/>
                    <a:gd name="connsiteX3" fmla="*/ 433134 w 1381732"/>
                    <a:gd name="connsiteY3" fmla="*/ 536053 h 1234054"/>
                    <a:gd name="connsiteX4" fmla="*/ 572696 w 1381732"/>
                    <a:gd name="connsiteY4" fmla="*/ 621218 h 1234054"/>
                    <a:gd name="connsiteX5" fmla="*/ 623171 w 1381732"/>
                    <a:gd name="connsiteY5" fmla="*/ 703227 h 1234054"/>
                    <a:gd name="connsiteX6" fmla="*/ 691137 w 1381732"/>
                    <a:gd name="connsiteY6" fmla="*/ 825443 h 1234054"/>
                    <a:gd name="connsiteX7" fmla="*/ 884183 w 1381732"/>
                    <a:gd name="connsiteY7" fmla="*/ 863617 h 1234054"/>
                    <a:gd name="connsiteX8" fmla="*/ 945218 w 1381732"/>
                    <a:gd name="connsiteY8" fmla="*/ 977957 h 1234054"/>
                    <a:gd name="connsiteX9" fmla="*/ 1062537 w 1381732"/>
                    <a:gd name="connsiteY9" fmla="*/ 1063920 h 1234054"/>
                    <a:gd name="connsiteX10" fmla="*/ 1376628 w 1381732"/>
                    <a:gd name="connsiteY10" fmla="*/ 1009492 h 1234054"/>
                    <a:gd name="connsiteX11" fmla="*/ 1107674 w 1381732"/>
                    <a:gd name="connsiteY11" fmla="*/ 1181890 h 1234054"/>
                    <a:gd name="connsiteX12" fmla="*/ 962238 w 1381732"/>
                    <a:gd name="connsiteY12" fmla="*/ 1232185 h 1234054"/>
                    <a:gd name="connsiteX13" fmla="*/ 835124 w 1381732"/>
                    <a:gd name="connsiteY13" fmla="*/ 1170678 h 1234054"/>
                    <a:gd name="connsiteX14" fmla="*/ 798220 w 1381732"/>
                    <a:gd name="connsiteY14" fmla="*/ 1064066 h 1234054"/>
                    <a:gd name="connsiteX15" fmla="*/ 695709 w 1381732"/>
                    <a:gd name="connsiteY15" fmla="*/ 1035363 h 1234054"/>
                    <a:gd name="connsiteX16" fmla="*/ 552193 w 1381732"/>
                    <a:gd name="connsiteY16" fmla="*/ 965656 h 1234054"/>
                    <a:gd name="connsiteX17" fmla="*/ 474285 w 1381732"/>
                    <a:gd name="connsiteY17" fmla="*/ 801638 h 1234054"/>
                    <a:gd name="connsiteX18" fmla="*/ 232358 w 1381732"/>
                    <a:gd name="connsiteY18" fmla="*/ 531008 h 1234054"/>
                    <a:gd name="connsiteX19" fmla="*/ 64240 w 1381732"/>
                    <a:gd name="connsiteY19" fmla="*/ 424397 h 1234054"/>
                    <a:gd name="connsiteX20" fmla="*/ 15035 w 1381732"/>
                    <a:gd name="connsiteY20" fmla="*/ 215274 h 1234054"/>
                    <a:gd name="connsiteX21" fmla="*/ 150349 w 1381732"/>
                    <a:gd name="connsiteY21" fmla="*/ 2050 h 1234054"/>
                    <a:gd name="connsiteX0" fmla="*/ 150349 w 1381732"/>
                    <a:gd name="connsiteY0" fmla="*/ 2050 h 1234054"/>
                    <a:gd name="connsiteX1" fmla="*/ 199555 w 1381732"/>
                    <a:gd name="connsiteY1" fmla="*/ 202972 h 1234054"/>
                    <a:gd name="connsiteX2" fmla="*/ 334072 w 1381732"/>
                    <a:gd name="connsiteY2" fmla="*/ 301058 h 1234054"/>
                    <a:gd name="connsiteX3" fmla="*/ 433134 w 1381732"/>
                    <a:gd name="connsiteY3" fmla="*/ 536053 h 1234054"/>
                    <a:gd name="connsiteX4" fmla="*/ 554554 w 1381732"/>
                    <a:gd name="connsiteY4" fmla="*/ 606704 h 1234054"/>
                    <a:gd name="connsiteX5" fmla="*/ 623171 w 1381732"/>
                    <a:gd name="connsiteY5" fmla="*/ 703227 h 1234054"/>
                    <a:gd name="connsiteX6" fmla="*/ 691137 w 1381732"/>
                    <a:gd name="connsiteY6" fmla="*/ 825443 h 1234054"/>
                    <a:gd name="connsiteX7" fmla="*/ 884183 w 1381732"/>
                    <a:gd name="connsiteY7" fmla="*/ 863617 h 1234054"/>
                    <a:gd name="connsiteX8" fmla="*/ 945218 w 1381732"/>
                    <a:gd name="connsiteY8" fmla="*/ 977957 h 1234054"/>
                    <a:gd name="connsiteX9" fmla="*/ 1062537 w 1381732"/>
                    <a:gd name="connsiteY9" fmla="*/ 1063920 h 1234054"/>
                    <a:gd name="connsiteX10" fmla="*/ 1376628 w 1381732"/>
                    <a:gd name="connsiteY10" fmla="*/ 1009492 h 1234054"/>
                    <a:gd name="connsiteX11" fmla="*/ 1107674 w 1381732"/>
                    <a:gd name="connsiteY11" fmla="*/ 1181890 h 1234054"/>
                    <a:gd name="connsiteX12" fmla="*/ 962238 w 1381732"/>
                    <a:gd name="connsiteY12" fmla="*/ 1232185 h 1234054"/>
                    <a:gd name="connsiteX13" fmla="*/ 835124 w 1381732"/>
                    <a:gd name="connsiteY13" fmla="*/ 1170678 h 1234054"/>
                    <a:gd name="connsiteX14" fmla="*/ 798220 w 1381732"/>
                    <a:gd name="connsiteY14" fmla="*/ 1064066 h 1234054"/>
                    <a:gd name="connsiteX15" fmla="*/ 695709 w 1381732"/>
                    <a:gd name="connsiteY15" fmla="*/ 1035363 h 1234054"/>
                    <a:gd name="connsiteX16" fmla="*/ 552193 w 1381732"/>
                    <a:gd name="connsiteY16" fmla="*/ 965656 h 1234054"/>
                    <a:gd name="connsiteX17" fmla="*/ 474285 w 1381732"/>
                    <a:gd name="connsiteY17" fmla="*/ 801638 h 1234054"/>
                    <a:gd name="connsiteX18" fmla="*/ 232358 w 1381732"/>
                    <a:gd name="connsiteY18" fmla="*/ 531008 h 1234054"/>
                    <a:gd name="connsiteX19" fmla="*/ 64240 w 1381732"/>
                    <a:gd name="connsiteY19" fmla="*/ 424397 h 1234054"/>
                    <a:gd name="connsiteX20" fmla="*/ 15035 w 1381732"/>
                    <a:gd name="connsiteY20" fmla="*/ 215274 h 1234054"/>
                    <a:gd name="connsiteX21" fmla="*/ 150349 w 1381732"/>
                    <a:gd name="connsiteY21" fmla="*/ 2050 h 1234054"/>
                    <a:gd name="connsiteX0" fmla="*/ 150349 w 1381732"/>
                    <a:gd name="connsiteY0" fmla="*/ 2050 h 1234054"/>
                    <a:gd name="connsiteX1" fmla="*/ 199555 w 1381732"/>
                    <a:gd name="connsiteY1" fmla="*/ 202972 h 1234054"/>
                    <a:gd name="connsiteX2" fmla="*/ 334072 w 1381732"/>
                    <a:gd name="connsiteY2" fmla="*/ 301058 h 1234054"/>
                    <a:gd name="connsiteX3" fmla="*/ 433134 w 1381732"/>
                    <a:gd name="connsiteY3" fmla="*/ 536053 h 1234054"/>
                    <a:gd name="connsiteX4" fmla="*/ 554554 w 1381732"/>
                    <a:gd name="connsiteY4" fmla="*/ 606704 h 1234054"/>
                    <a:gd name="connsiteX5" fmla="*/ 623171 w 1381732"/>
                    <a:gd name="connsiteY5" fmla="*/ 703227 h 1234054"/>
                    <a:gd name="connsiteX6" fmla="*/ 691137 w 1381732"/>
                    <a:gd name="connsiteY6" fmla="*/ 825443 h 1234054"/>
                    <a:gd name="connsiteX7" fmla="*/ 884183 w 1381732"/>
                    <a:gd name="connsiteY7" fmla="*/ 863617 h 1234054"/>
                    <a:gd name="connsiteX8" fmla="*/ 945218 w 1381732"/>
                    <a:gd name="connsiteY8" fmla="*/ 977957 h 1234054"/>
                    <a:gd name="connsiteX9" fmla="*/ 1062537 w 1381732"/>
                    <a:gd name="connsiteY9" fmla="*/ 1063920 h 1234054"/>
                    <a:gd name="connsiteX10" fmla="*/ 1376628 w 1381732"/>
                    <a:gd name="connsiteY10" fmla="*/ 1009492 h 1234054"/>
                    <a:gd name="connsiteX11" fmla="*/ 1107674 w 1381732"/>
                    <a:gd name="connsiteY11" fmla="*/ 1181890 h 1234054"/>
                    <a:gd name="connsiteX12" fmla="*/ 962238 w 1381732"/>
                    <a:gd name="connsiteY12" fmla="*/ 1232185 h 1234054"/>
                    <a:gd name="connsiteX13" fmla="*/ 835124 w 1381732"/>
                    <a:gd name="connsiteY13" fmla="*/ 1170678 h 1234054"/>
                    <a:gd name="connsiteX14" fmla="*/ 798220 w 1381732"/>
                    <a:gd name="connsiteY14" fmla="*/ 1064066 h 1234054"/>
                    <a:gd name="connsiteX15" fmla="*/ 695709 w 1381732"/>
                    <a:gd name="connsiteY15" fmla="*/ 1035363 h 1234054"/>
                    <a:gd name="connsiteX16" fmla="*/ 552193 w 1381732"/>
                    <a:gd name="connsiteY16" fmla="*/ 965656 h 1234054"/>
                    <a:gd name="connsiteX17" fmla="*/ 474285 w 1381732"/>
                    <a:gd name="connsiteY17" fmla="*/ 801638 h 1234054"/>
                    <a:gd name="connsiteX18" fmla="*/ 232358 w 1381732"/>
                    <a:gd name="connsiteY18" fmla="*/ 531008 h 1234054"/>
                    <a:gd name="connsiteX19" fmla="*/ 64240 w 1381732"/>
                    <a:gd name="connsiteY19" fmla="*/ 424397 h 1234054"/>
                    <a:gd name="connsiteX20" fmla="*/ 15035 w 1381732"/>
                    <a:gd name="connsiteY20" fmla="*/ 215274 h 1234054"/>
                    <a:gd name="connsiteX21" fmla="*/ 150349 w 1381732"/>
                    <a:gd name="connsiteY21" fmla="*/ 2050 h 1234054"/>
                    <a:gd name="connsiteX0" fmla="*/ 139463 w 1370846"/>
                    <a:gd name="connsiteY0" fmla="*/ 2050 h 1234054"/>
                    <a:gd name="connsiteX1" fmla="*/ 188669 w 1370846"/>
                    <a:gd name="connsiteY1" fmla="*/ 202972 h 1234054"/>
                    <a:gd name="connsiteX2" fmla="*/ 323186 w 1370846"/>
                    <a:gd name="connsiteY2" fmla="*/ 301058 h 1234054"/>
                    <a:gd name="connsiteX3" fmla="*/ 422248 w 1370846"/>
                    <a:gd name="connsiteY3" fmla="*/ 536053 h 1234054"/>
                    <a:gd name="connsiteX4" fmla="*/ 543668 w 1370846"/>
                    <a:gd name="connsiteY4" fmla="*/ 606704 h 1234054"/>
                    <a:gd name="connsiteX5" fmla="*/ 612285 w 1370846"/>
                    <a:gd name="connsiteY5" fmla="*/ 703227 h 1234054"/>
                    <a:gd name="connsiteX6" fmla="*/ 680251 w 1370846"/>
                    <a:gd name="connsiteY6" fmla="*/ 825443 h 1234054"/>
                    <a:gd name="connsiteX7" fmla="*/ 873297 w 1370846"/>
                    <a:gd name="connsiteY7" fmla="*/ 863617 h 1234054"/>
                    <a:gd name="connsiteX8" fmla="*/ 934332 w 1370846"/>
                    <a:gd name="connsiteY8" fmla="*/ 977957 h 1234054"/>
                    <a:gd name="connsiteX9" fmla="*/ 1051651 w 1370846"/>
                    <a:gd name="connsiteY9" fmla="*/ 1063920 h 1234054"/>
                    <a:gd name="connsiteX10" fmla="*/ 1365742 w 1370846"/>
                    <a:gd name="connsiteY10" fmla="*/ 1009492 h 1234054"/>
                    <a:gd name="connsiteX11" fmla="*/ 1096788 w 1370846"/>
                    <a:gd name="connsiteY11" fmla="*/ 1181890 h 1234054"/>
                    <a:gd name="connsiteX12" fmla="*/ 951352 w 1370846"/>
                    <a:gd name="connsiteY12" fmla="*/ 1232185 h 1234054"/>
                    <a:gd name="connsiteX13" fmla="*/ 824238 w 1370846"/>
                    <a:gd name="connsiteY13" fmla="*/ 1170678 h 1234054"/>
                    <a:gd name="connsiteX14" fmla="*/ 787334 w 1370846"/>
                    <a:gd name="connsiteY14" fmla="*/ 1064066 h 1234054"/>
                    <a:gd name="connsiteX15" fmla="*/ 684823 w 1370846"/>
                    <a:gd name="connsiteY15" fmla="*/ 1035363 h 1234054"/>
                    <a:gd name="connsiteX16" fmla="*/ 541307 w 1370846"/>
                    <a:gd name="connsiteY16" fmla="*/ 965656 h 1234054"/>
                    <a:gd name="connsiteX17" fmla="*/ 463399 w 1370846"/>
                    <a:gd name="connsiteY17" fmla="*/ 801638 h 1234054"/>
                    <a:gd name="connsiteX18" fmla="*/ 221472 w 1370846"/>
                    <a:gd name="connsiteY18" fmla="*/ 531008 h 1234054"/>
                    <a:gd name="connsiteX19" fmla="*/ 53354 w 1370846"/>
                    <a:gd name="connsiteY19" fmla="*/ 424397 h 1234054"/>
                    <a:gd name="connsiteX20" fmla="*/ 15035 w 1370846"/>
                    <a:gd name="connsiteY20" fmla="*/ 247931 h 1234054"/>
                    <a:gd name="connsiteX21" fmla="*/ 139463 w 1370846"/>
                    <a:gd name="connsiteY21" fmla="*/ 2050 h 1234054"/>
                    <a:gd name="connsiteX0" fmla="*/ 139463 w 1370846"/>
                    <a:gd name="connsiteY0" fmla="*/ 2050 h 1234054"/>
                    <a:gd name="connsiteX1" fmla="*/ 188669 w 1370846"/>
                    <a:gd name="connsiteY1" fmla="*/ 202972 h 1234054"/>
                    <a:gd name="connsiteX2" fmla="*/ 323186 w 1370846"/>
                    <a:gd name="connsiteY2" fmla="*/ 301058 h 1234054"/>
                    <a:gd name="connsiteX3" fmla="*/ 422248 w 1370846"/>
                    <a:gd name="connsiteY3" fmla="*/ 536053 h 1234054"/>
                    <a:gd name="connsiteX4" fmla="*/ 543668 w 1370846"/>
                    <a:gd name="connsiteY4" fmla="*/ 606704 h 1234054"/>
                    <a:gd name="connsiteX5" fmla="*/ 612285 w 1370846"/>
                    <a:gd name="connsiteY5" fmla="*/ 703227 h 1234054"/>
                    <a:gd name="connsiteX6" fmla="*/ 680251 w 1370846"/>
                    <a:gd name="connsiteY6" fmla="*/ 825443 h 1234054"/>
                    <a:gd name="connsiteX7" fmla="*/ 873297 w 1370846"/>
                    <a:gd name="connsiteY7" fmla="*/ 863617 h 1234054"/>
                    <a:gd name="connsiteX8" fmla="*/ 934332 w 1370846"/>
                    <a:gd name="connsiteY8" fmla="*/ 977957 h 1234054"/>
                    <a:gd name="connsiteX9" fmla="*/ 1051651 w 1370846"/>
                    <a:gd name="connsiteY9" fmla="*/ 1063920 h 1234054"/>
                    <a:gd name="connsiteX10" fmla="*/ 1365742 w 1370846"/>
                    <a:gd name="connsiteY10" fmla="*/ 1009492 h 1234054"/>
                    <a:gd name="connsiteX11" fmla="*/ 1096788 w 1370846"/>
                    <a:gd name="connsiteY11" fmla="*/ 1181890 h 1234054"/>
                    <a:gd name="connsiteX12" fmla="*/ 951352 w 1370846"/>
                    <a:gd name="connsiteY12" fmla="*/ 1232185 h 1234054"/>
                    <a:gd name="connsiteX13" fmla="*/ 824238 w 1370846"/>
                    <a:gd name="connsiteY13" fmla="*/ 1170678 h 1234054"/>
                    <a:gd name="connsiteX14" fmla="*/ 787334 w 1370846"/>
                    <a:gd name="connsiteY14" fmla="*/ 1064066 h 1234054"/>
                    <a:gd name="connsiteX15" fmla="*/ 684823 w 1370846"/>
                    <a:gd name="connsiteY15" fmla="*/ 1035363 h 1234054"/>
                    <a:gd name="connsiteX16" fmla="*/ 541307 w 1370846"/>
                    <a:gd name="connsiteY16" fmla="*/ 965656 h 1234054"/>
                    <a:gd name="connsiteX17" fmla="*/ 463399 w 1370846"/>
                    <a:gd name="connsiteY17" fmla="*/ 801638 h 1234054"/>
                    <a:gd name="connsiteX18" fmla="*/ 221472 w 1370846"/>
                    <a:gd name="connsiteY18" fmla="*/ 531008 h 1234054"/>
                    <a:gd name="connsiteX19" fmla="*/ 53354 w 1370846"/>
                    <a:gd name="connsiteY19" fmla="*/ 424397 h 1234054"/>
                    <a:gd name="connsiteX20" fmla="*/ 15035 w 1370846"/>
                    <a:gd name="connsiteY20" fmla="*/ 247931 h 1234054"/>
                    <a:gd name="connsiteX21" fmla="*/ 139463 w 1370846"/>
                    <a:gd name="connsiteY21" fmla="*/ 2050 h 1234054"/>
                    <a:gd name="connsiteX0" fmla="*/ 153977 w 1385360"/>
                    <a:gd name="connsiteY0" fmla="*/ 2050 h 1234054"/>
                    <a:gd name="connsiteX1" fmla="*/ 203183 w 1385360"/>
                    <a:gd name="connsiteY1" fmla="*/ 202972 h 1234054"/>
                    <a:gd name="connsiteX2" fmla="*/ 337700 w 1385360"/>
                    <a:gd name="connsiteY2" fmla="*/ 301058 h 1234054"/>
                    <a:gd name="connsiteX3" fmla="*/ 436762 w 1385360"/>
                    <a:gd name="connsiteY3" fmla="*/ 536053 h 1234054"/>
                    <a:gd name="connsiteX4" fmla="*/ 558182 w 1385360"/>
                    <a:gd name="connsiteY4" fmla="*/ 606704 h 1234054"/>
                    <a:gd name="connsiteX5" fmla="*/ 626799 w 1385360"/>
                    <a:gd name="connsiteY5" fmla="*/ 703227 h 1234054"/>
                    <a:gd name="connsiteX6" fmla="*/ 694765 w 1385360"/>
                    <a:gd name="connsiteY6" fmla="*/ 825443 h 1234054"/>
                    <a:gd name="connsiteX7" fmla="*/ 887811 w 1385360"/>
                    <a:gd name="connsiteY7" fmla="*/ 863617 h 1234054"/>
                    <a:gd name="connsiteX8" fmla="*/ 948846 w 1385360"/>
                    <a:gd name="connsiteY8" fmla="*/ 977957 h 1234054"/>
                    <a:gd name="connsiteX9" fmla="*/ 1066165 w 1385360"/>
                    <a:gd name="connsiteY9" fmla="*/ 1063920 h 1234054"/>
                    <a:gd name="connsiteX10" fmla="*/ 1380256 w 1385360"/>
                    <a:gd name="connsiteY10" fmla="*/ 1009492 h 1234054"/>
                    <a:gd name="connsiteX11" fmla="*/ 1111302 w 1385360"/>
                    <a:gd name="connsiteY11" fmla="*/ 1181890 h 1234054"/>
                    <a:gd name="connsiteX12" fmla="*/ 965866 w 1385360"/>
                    <a:gd name="connsiteY12" fmla="*/ 1232185 h 1234054"/>
                    <a:gd name="connsiteX13" fmla="*/ 838752 w 1385360"/>
                    <a:gd name="connsiteY13" fmla="*/ 1170678 h 1234054"/>
                    <a:gd name="connsiteX14" fmla="*/ 801848 w 1385360"/>
                    <a:gd name="connsiteY14" fmla="*/ 1064066 h 1234054"/>
                    <a:gd name="connsiteX15" fmla="*/ 699337 w 1385360"/>
                    <a:gd name="connsiteY15" fmla="*/ 1035363 h 1234054"/>
                    <a:gd name="connsiteX16" fmla="*/ 555821 w 1385360"/>
                    <a:gd name="connsiteY16" fmla="*/ 965656 h 1234054"/>
                    <a:gd name="connsiteX17" fmla="*/ 477913 w 1385360"/>
                    <a:gd name="connsiteY17" fmla="*/ 801638 h 1234054"/>
                    <a:gd name="connsiteX18" fmla="*/ 235986 w 1385360"/>
                    <a:gd name="connsiteY18" fmla="*/ 531008 h 1234054"/>
                    <a:gd name="connsiteX19" fmla="*/ 67868 w 1385360"/>
                    <a:gd name="connsiteY19" fmla="*/ 424397 h 1234054"/>
                    <a:gd name="connsiteX20" fmla="*/ 15035 w 1385360"/>
                    <a:gd name="connsiteY20" fmla="*/ 215274 h 1234054"/>
                    <a:gd name="connsiteX21" fmla="*/ 153977 w 1385360"/>
                    <a:gd name="connsiteY21" fmla="*/ 2050 h 1234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85360" h="1234054">
                      <a:moveTo>
                        <a:pt x="153977" y="2050"/>
                      </a:moveTo>
                      <a:cubicBezTo>
                        <a:pt x="184730" y="0"/>
                        <a:pt x="172563" y="153137"/>
                        <a:pt x="203183" y="202972"/>
                      </a:cubicBezTo>
                      <a:cubicBezTo>
                        <a:pt x="233803" y="252807"/>
                        <a:pt x="298770" y="245545"/>
                        <a:pt x="337700" y="301058"/>
                      </a:cubicBezTo>
                      <a:cubicBezTo>
                        <a:pt x="354858" y="363830"/>
                        <a:pt x="338934" y="460921"/>
                        <a:pt x="436762" y="536053"/>
                      </a:cubicBezTo>
                      <a:cubicBezTo>
                        <a:pt x="476533" y="589413"/>
                        <a:pt x="526509" y="578842"/>
                        <a:pt x="558182" y="606704"/>
                      </a:cubicBezTo>
                      <a:cubicBezTo>
                        <a:pt x="589855" y="634566"/>
                        <a:pt x="617945" y="661933"/>
                        <a:pt x="626799" y="703227"/>
                      </a:cubicBezTo>
                      <a:cubicBezTo>
                        <a:pt x="639282" y="766292"/>
                        <a:pt x="651263" y="798711"/>
                        <a:pt x="694765" y="825443"/>
                      </a:cubicBezTo>
                      <a:cubicBezTo>
                        <a:pt x="738267" y="852175"/>
                        <a:pt x="845464" y="838198"/>
                        <a:pt x="887811" y="863617"/>
                      </a:cubicBezTo>
                      <a:cubicBezTo>
                        <a:pt x="930158" y="889036"/>
                        <a:pt x="940892" y="940944"/>
                        <a:pt x="948846" y="977957"/>
                      </a:cubicBezTo>
                      <a:cubicBezTo>
                        <a:pt x="964058" y="1014970"/>
                        <a:pt x="1006359" y="1055036"/>
                        <a:pt x="1066165" y="1063920"/>
                      </a:cubicBezTo>
                      <a:cubicBezTo>
                        <a:pt x="1133228" y="1098205"/>
                        <a:pt x="1371524" y="998902"/>
                        <a:pt x="1380256" y="1009492"/>
                      </a:cubicBezTo>
                      <a:cubicBezTo>
                        <a:pt x="1385360" y="1034597"/>
                        <a:pt x="1323696" y="1061319"/>
                        <a:pt x="1111302" y="1181890"/>
                      </a:cubicBezTo>
                      <a:cubicBezTo>
                        <a:pt x="1073081" y="1208119"/>
                        <a:pt x="1011291" y="1234054"/>
                        <a:pt x="965866" y="1232185"/>
                      </a:cubicBezTo>
                      <a:cubicBezTo>
                        <a:pt x="920441" y="1230316"/>
                        <a:pt x="866088" y="1198698"/>
                        <a:pt x="838752" y="1170678"/>
                      </a:cubicBezTo>
                      <a:cubicBezTo>
                        <a:pt x="811416" y="1142658"/>
                        <a:pt x="825084" y="1086619"/>
                        <a:pt x="801848" y="1064066"/>
                      </a:cubicBezTo>
                      <a:cubicBezTo>
                        <a:pt x="778612" y="1041514"/>
                        <a:pt x="740342" y="1051765"/>
                        <a:pt x="699337" y="1035363"/>
                      </a:cubicBezTo>
                      <a:cubicBezTo>
                        <a:pt x="658332" y="1018961"/>
                        <a:pt x="592725" y="1004610"/>
                        <a:pt x="555821" y="965656"/>
                      </a:cubicBezTo>
                      <a:cubicBezTo>
                        <a:pt x="518917" y="926702"/>
                        <a:pt x="531219" y="874079"/>
                        <a:pt x="477913" y="801638"/>
                      </a:cubicBezTo>
                      <a:cubicBezTo>
                        <a:pt x="322096" y="766101"/>
                        <a:pt x="283825" y="684092"/>
                        <a:pt x="235986" y="531008"/>
                      </a:cubicBezTo>
                      <a:cubicBezTo>
                        <a:pt x="167645" y="468135"/>
                        <a:pt x="104693" y="477019"/>
                        <a:pt x="67868" y="424397"/>
                      </a:cubicBezTo>
                      <a:cubicBezTo>
                        <a:pt x="31043" y="371775"/>
                        <a:pt x="0" y="288399"/>
                        <a:pt x="15035" y="215274"/>
                      </a:cubicBezTo>
                      <a:cubicBezTo>
                        <a:pt x="51841" y="142149"/>
                        <a:pt x="115967" y="58528"/>
                        <a:pt x="153977" y="205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302" name="Freeform 116"/>
                <p:cNvSpPr/>
                <p:nvPr/>
              </p:nvSpPr>
              <p:spPr>
                <a:xfrm>
                  <a:off x="1011162" y="7885490"/>
                  <a:ext cx="697895" cy="328991"/>
                </a:xfrm>
                <a:custGeom>
                  <a:avLst/>
                  <a:gdLst>
                    <a:gd name="connsiteX0" fmla="*/ 509209 w 697895"/>
                    <a:gd name="connsiteY0" fmla="*/ 177196 h 328991"/>
                    <a:gd name="connsiteX1" fmla="*/ 683381 w 697895"/>
                    <a:gd name="connsiteY1" fmla="*/ 57453 h 328991"/>
                    <a:gd name="connsiteX2" fmla="*/ 596295 w 697895"/>
                    <a:gd name="connsiteY2" fmla="*/ 3024 h 328991"/>
                    <a:gd name="connsiteX3" fmla="*/ 440267 w 697895"/>
                    <a:gd name="connsiteY3" fmla="*/ 75596 h 328991"/>
                    <a:gd name="connsiteX4" fmla="*/ 215295 w 697895"/>
                    <a:gd name="connsiteY4" fmla="*/ 122767 h 328991"/>
                    <a:gd name="connsiteX5" fmla="*/ 77409 w 697895"/>
                    <a:gd name="connsiteY5" fmla="*/ 267910 h 328991"/>
                    <a:gd name="connsiteX6" fmla="*/ 12095 w 697895"/>
                    <a:gd name="connsiteY6" fmla="*/ 322339 h 328991"/>
                    <a:gd name="connsiteX7" fmla="*/ 149981 w 697895"/>
                    <a:gd name="connsiteY7" fmla="*/ 227996 h 328991"/>
                    <a:gd name="connsiteX8" fmla="*/ 320524 w 697895"/>
                    <a:gd name="connsiteY8" fmla="*/ 166310 h 328991"/>
                    <a:gd name="connsiteX9" fmla="*/ 509209 w 697895"/>
                    <a:gd name="connsiteY9" fmla="*/ 177196 h 328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7895" h="328991">
                      <a:moveTo>
                        <a:pt x="509209" y="177196"/>
                      </a:moveTo>
                      <a:cubicBezTo>
                        <a:pt x="569685" y="159053"/>
                        <a:pt x="668867" y="86482"/>
                        <a:pt x="683381" y="57453"/>
                      </a:cubicBezTo>
                      <a:cubicBezTo>
                        <a:pt x="697895" y="28424"/>
                        <a:pt x="636814" y="0"/>
                        <a:pt x="596295" y="3024"/>
                      </a:cubicBezTo>
                      <a:cubicBezTo>
                        <a:pt x="555776" y="6048"/>
                        <a:pt x="503767" y="55639"/>
                        <a:pt x="440267" y="75596"/>
                      </a:cubicBezTo>
                      <a:cubicBezTo>
                        <a:pt x="376767" y="95553"/>
                        <a:pt x="275771" y="90715"/>
                        <a:pt x="215295" y="122767"/>
                      </a:cubicBezTo>
                      <a:cubicBezTo>
                        <a:pt x="154819" y="154819"/>
                        <a:pt x="111276" y="234648"/>
                        <a:pt x="77409" y="267910"/>
                      </a:cubicBezTo>
                      <a:cubicBezTo>
                        <a:pt x="43542" y="301172"/>
                        <a:pt x="0" y="328991"/>
                        <a:pt x="12095" y="322339"/>
                      </a:cubicBezTo>
                      <a:cubicBezTo>
                        <a:pt x="24190" y="315687"/>
                        <a:pt x="98576" y="254001"/>
                        <a:pt x="149981" y="227996"/>
                      </a:cubicBezTo>
                      <a:cubicBezTo>
                        <a:pt x="201386" y="201991"/>
                        <a:pt x="260653" y="174777"/>
                        <a:pt x="320524" y="166310"/>
                      </a:cubicBezTo>
                      <a:cubicBezTo>
                        <a:pt x="380395" y="157843"/>
                        <a:pt x="448733" y="195339"/>
                        <a:pt x="509209" y="17719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94" name="Freeform 293"/>
              <p:cNvSpPr/>
              <p:nvPr/>
            </p:nvSpPr>
            <p:spPr>
              <a:xfrm rot="21114987" flipH="1">
                <a:off x="7099270" y="3072451"/>
                <a:ext cx="132001" cy="212053"/>
              </a:xfrm>
              <a:custGeom>
                <a:avLst/>
                <a:gdLst>
                  <a:gd name="connsiteX0" fmla="*/ 498764 w 1198756"/>
                  <a:gd name="connsiteY0" fmla="*/ 0 h 2098964"/>
                  <a:gd name="connsiteX1" fmla="*/ 0 w 1198756"/>
                  <a:gd name="connsiteY1" fmla="*/ 41564 h 2098964"/>
                  <a:gd name="connsiteX2" fmla="*/ 457200 w 1198756"/>
                  <a:gd name="connsiteY2" fmla="*/ 1039091 h 2098964"/>
                  <a:gd name="connsiteX3" fmla="*/ 374073 w 1198756"/>
                  <a:gd name="connsiteY3" fmla="*/ 1309254 h 2098964"/>
                  <a:gd name="connsiteX4" fmla="*/ 103909 w 1198756"/>
                  <a:gd name="connsiteY4" fmla="*/ 1246909 h 2098964"/>
                  <a:gd name="connsiteX5" fmla="*/ 519546 w 1198756"/>
                  <a:gd name="connsiteY5" fmla="*/ 2098964 h 2098964"/>
                  <a:gd name="connsiteX6" fmla="*/ 1143000 w 1198756"/>
                  <a:gd name="connsiteY6" fmla="*/ 1849582 h 2098964"/>
                  <a:gd name="connsiteX7" fmla="*/ 893618 w 1198756"/>
                  <a:gd name="connsiteY7" fmla="*/ 644236 h 2098964"/>
                  <a:gd name="connsiteX8" fmla="*/ 498764 w 1198756"/>
                  <a:gd name="connsiteY8" fmla="*/ 0 h 2098964"/>
                  <a:gd name="connsiteX0" fmla="*/ 498764 w 1198756"/>
                  <a:gd name="connsiteY0" fmla="*/ 0 h 2098964"/>
                  <a:gd name="connsiteX1" fmla="*/ 0 w 1198756"/>
                  <a:gd name="connsiteY1" fmla="*/ 41564 h 2098964"/>
                  <a:gd name="connsiteX2" fmla="*/ 457200 w 1198756"/>
                  <a:gd name="connsiteY2" fmla="*/ 1039091 h 2098964"/>
                  <a:gd name="connsiteX3" fmla="*/ 374073 w 1198756"/>
                  <a:gd name="connsiteY3" fmla="*/ 1309254 h 2098964"/>
                  <a:gd name="connsiteX4" fmla="*/ 93577 w 1198756"/>
                  <a:gd name="connsiteY4" fmla="*/ 1215912 h 2098964"/>
                  <a:gd name="connsiteX5" fmla="*/ 519546 w 1198756"/>
                  <a:gd name="connsiteY5" fmla="*/ 2098964 h 2098964"/>
                  <a:gd name="connsiteX6" fmla="*/ 1143000 w 1198756"/>
                  <a:gd name="connsiteY6" fmla="*/ 1849582 h 2098964"/>
                  <a:gd name="connsiteX7" fmla="*/ 893618 w 1198756"/>
                  <a:gd name="connsiteY7" fmla="*/ 644236 h 2098964"/>
                  <a:gd name="connsiteX8" fmla="*/ 498764 w 1198756"/>
                  <a:gd name="connsiteY8" fmla="*/ 0 h 2098964"/>
                  <a:gd name="connsiteX0" fmla="*/ 498764 w 1198756"/>
                  <a:gd name="connsiteY0" fmla="*/ 0 h 2098964"/>
                  <a:gd name="connsiteX1" fmla="*/ 0 w 1198756"/>
                  <a:gd name="connsiteY1" fmla="*/ 41564 h 2098964"/>
                  <a:gd name="connsiteX2" fmla="*/ 457200 w 1198756"/>
                  <a:gd name="connsiteY2" fmla="*/ 1039091 h 2098964"/>
                  <a:gd name="connsiteX3" fmla="*/ 363741 w 1198756"/>
                  <a:gd name="connsiteY3" fmla="*/ 1138772 h 2098964"/>
                  <a:gd name="connsiteX4" fmla="*/ 93577 w 1198756"/>
                  <a:gd name="connsiteY4" fmla="*/ 1215912 h 2098964"/>
                  <a:gd name="connsiteX5" fmla="*/ 519546 w 1198756"/>
                  <a:gd name="connsiteY5" fmla="*/ 2098964 h 2098964"/>
                  <a:gd name="connsiteX6" fmla="*/ 1143000 w 1198756"/>
                  <a:gd name="connsiteY6" fmla="*/ 1849582 h 2098964"/>
                  <a:gd name="connsiteX7" fmla="*/ 893618 w 1198756"/>
                  <a:gd name="connsiteY7" fmla="*/ 644236 h 2098964"/>
                  <a:gd name="connsiteX8" fmla="*/ 498764 w 1198756"/>
                  <a:gd name="connsiteY8" fmla="*/ 0 h 2098964"/>
                  <a:gd name="connsiteX0" fmla="*/ 498764 w 1198756"/>
                  <a:gd name="connsiteY0" fmla="*/ 0 h 2098964"/>
                  <a:gd name="connsiteX1" fmla="*/ 0 w 1198756"/>
                  <a:gd name="connsiteY1" fmla="*/ 41564 h 2098964"/>
                  <a:gd name="connsiteX2" fmla="*/ 400373 w 1198756"/>
                  <a:gd name="connsiteY2" fmla="*/ 946101 h 2098964"/>
                  <a:gd name="connsiteX3" fmla="*/ 363741 w 1198756"/>
                  <a:gd name="connsiteY3" fmla="*/ 1138772 h 2098964"/>
                  <a:gd name="connsiteX4" fmla="*/ 93577 w 1198756"/>
                  <a:gd name="connsiteY4" fmla="*/ 1215912 h 2098964"/>
                  <a:gd name="connsiteX5" fmla="*/ 519546 w 1198756"/>
                  <a:gd name="connsiteY5" fmla="*/ 2098964 h 2098964"/>
                  <a:gd name="connsiteX6" fmla="*/ 1143000 w 1198756"/>
                  <a:gd name="connsiteY6" fmla="*/ 1849582 h 2098964"/>
                  <a:gd name="connsiteX7" fmla="*/ 893618 w 1198756"/>
                  <a:gd name="connsiteY7" fmla="*/ 644236 h 2098964"/>
                  <a:gd name="connsiteX8" fmla="*/ 498764 w 1198756"/>
                  <a:gd name="connsiteY8" fmla="*/ 0 h 2098964"/>
                  <a:gd name="connsiteX0" fmla="*/ 498764 w 1198756"/>
                  <a:gd name="connsiteY0" fmla="*/ 0 h 2098964"/>
                  <a:gd name="connsiteX1" fmla="*/ 0 w 1198756"/>
                  <a:gd name="connsiteY1" fmla="*/ 41564 h 2098964"/>
                  <a:gd name="connsiteX2" fmla="*/ 400373 w 1198756"/>
                  <a:gd name="connsiteY2" fmla="*/ 946101 h 2098964"/>
                  <a:gd name="connsiteX3" fmla="*/ 363741 w 1198756"/>
                  <a:gd name="connsiteY3" fmla="*/ 1138772 h 2098964"/>
                  <a:gd name="connsiteX4" fmla="*/ 93577 w 1198756"/>
                  <a:gd name="connsiteY4" fmla="*/ 1215912 h 2098964"/>
                  <a:gd name="connsiteX5" fmla="*/ 519546 w 1198756"/>
                  <a:gd name="connsiteY5" fmla="*/ 2098964 h 2098964"/>
                  <a:gd name="connsiteX6" fmla="*/ 1143000 w 1198756"/>
                  <a:gd name="connsiteY6" fmla="*/ 1849582 h 2098964"/>
                  <a:gd name="connsiteX7" fmla="*/ 893618 w 1198756"/>
                  <a:gd name="connsiteY7" fmla="*/ 644236 h 2098964"/>
                  <a:gd name="connsiteX8" fmla="*/ 498764 w 1198756"/>
                  <a:gd name="connsiteY8" fmla="*/ 0 h 2098964"/>
                  <a:gd name="connsiteX0" fmla="*/ 498764 w 1198756"/>
                  <a:gd name="connsiteY0" fmla="*/ 0 h 2098964"/>
                  <a:gd name="connsiteX1" fmla="*/ 0 w 1198756"/>
                  <a:gd name="connsiteY1" fmla="*/ 41564 h 2098964"/>
                  <a:gd name="connsiteX2" fmla="*/ 400373 w 1198756"/>
                  <a:gd name="connsiteY2" fmla="*/ 946101 h 2098964"/>
                  <a:gd name="connsiteX3" fmla="*/ 363741 w 1198756"/>
                  <a:gd name="connsiteY3" fmla="*/ 1138772 h 2098964"/>
                  <a:gd name="connsiteX4" fmla="*/ 93577 w 1198756"/>
                  <a:gd name="connsiteY4" fmla="*/ 1215912 h 2098964"/>
                  <a:gd name="connsiteX5" fmla="*/ 519546 w 1198756"/>
                  <a:gd name="connsiteY5" fmla="*/ 2098964 h 2098964"/>
                  <a:gd name="connsiteX6" fmla="*/ 1143000 w 1198756"/>
                  <a:gd name="connsiteY6" fmla="*/ 1849582 h 2098964"/>
                  <a:gd name="connsiteX7" fmla="*/ 893618 w 1198756"/>
                  <a:gd name="connsiteY7" fmla="*/ 644236 h 2098964"/>
                  <a:gd name="connsiteX8" fmla="*/ 498764 w 1198756"/>
                  <a:gd name="connsiteY8" fmla="*/ 0 h 2098964"/>
                  <a:gd name="connsiteX0" fmla="*/ 498764 w 1198756"/>
                  <a:gd name="connsiteY0" fmla="*/ 0 h 2091712"/>
                  <a:gd name="connsiteX1" fmla="*/ 0 w 1198756"/>
                  <a:gd name="connsiteY1" fmla="*/ 41564 h 2091712"/>
                  <a:gd name="connsiteX2" fmla="*/ 400373 w 1198756"/>
                  <a:gd name="connsiteY2" fmla="*/ 946101 h 2091712"/>
                  <a:gd name="connsiteX3" fmla="*/ 363741 w 1198756"/>
                  <a:gd name="connsiteY3" fmla="*/ 1138772 h 2091712"/>
                  <a:gd name="connsiteX4" fmla="*/ 93577 w 1198756"/>
                  <a:gd name="connsiteY4" fmla="*/ 1215912 h 2091712"/>
                  <a:gd name="connsiteX5" fmla="*/ 400726 w 1198756"/>
                  <a:gd name="connsiteY5" fmla="*/ 1840659 h 2091712"/>
                  <a:gd name="connsiteX6" fmla="*/ 1143000 w 1198756"/>
                  <a:gd name="connsiteY6" fmla="*/ 1849582 h 2091712"/>
                  <a:gd name="connsiteX7" fmla="*/ 893618 w 1198756"/>
                  <a:gd name="connsiteY7" fmla="*/ 644236 h 2091712"/>
                  <a:gd name="connsiteX8" fmla="*/ 498764 w 1198756"/>
                  <a:gd name="connsiteY8" fmla="*/ 0 h 2091712"/>
                  <a:gd name="connsiteX0" fmla="*/ 498764 w 1198756"/>
                  <a:gd name="connsiteY0" fmla="*/ 0 h 2167613"/>
                  <a:gd name="connsiteX1" fmla="*/ 0 w 1198756"/>
                  <a:gd name="connsiteY1" fmla="*/ 41564 h 2167613"/>
                  <a:gd name="connsiteX2" fmla="*/ 400373 w 1198756"/>
                  <a:gd name="connsiteY2" fmla="*/ 946101 h 2167613"/>
                  <a:gd name="connsiteX3" fmla="*/ 363741 w 1198756"/>
                  <a:gd name="connsiteY3" fmla="*/ 1138772 h 2167613"/>
                  <a:gd name="connsiteX4" fmla="*/ 93577 w 1198756"/>
                  <a:gd name="connsiteY4" fmla="*/ 1215912 h 2167613"/>
                  <a:gd name="connsiteX5" fmla="*/ 400726 w 1198756"/>
                  <a:gd name="connsiteY5" fmla="*/ 1840659 h 2167613"/>
                  <a:gd name="connsiteX6" fmla="*/ 1143000 w 1198756"/>
                  <a:gd name="connsiteY6" fmla="*/ 1849582 h 2167613"/>
                  <a:gd name="connsiteX7" fmla="*/ 893618 w 1198756"/>
                  <a:gd name="connsiteY7" fmla="*/ 644236 h 2167613"/>
                  <a:gd name="connsiteX8" fmla="*/ 498764 w 1198756"/>
                  <a:gd name="connsiteY8" fmla="*/ 0 h 2167613"/>
                  <a:gd name="connsiteX0" fmla="*/ 498764 w 1198756"/>
                  <a:gd name="connsiteY0" fmla="*/ 0 h 2167613"/>
                  <a:gd name="connsiteX1" fmla="*/ 0 w 1198756"/>
                  <a:gd name="connsiteY1" fmla="*/ 41564 h 2167613"/>
                  <a:gd name="connsiteX2" fmla="*/ 400373 w 1198756"/>
                  <a:gd name="connsiteY2" fmla="*/ 946101 h 2167613"/>
                  <a:gd name="connsiteX3" fmla="*/ 363741 w 1198756"/>
                  <a:gd name="connsiteY3" fmla="*/ 1138772 h 2167613"/>
                  <a:gd name="connsiteX4" fmla="*/ 93577 w 1198756"/>
                  <a:gd name="connsiteY4" fmla="*/ 1215912 h 2167613"/>
                  <a:gd name="connsiteX5" fmla="*/ 400726 w 1198756"/>
                  <a:gd name="connsiteY5" fmla="*/ 1840659 h 2167613"/>
                  <a:gd name="connsiteX6" fmla="*/ 1143000 w 1198756"/>
                  <a:gd name="connsiteY6" fmla="*/ 1849582 h 2167613"/>
                  <a:gd name="connsiteX7" fmla="*/ 893618 w 1198756"/>
                  <a:gd name="connsiteY7" fmla="*/ 644236 h 2167613"/>
                  <a:gd name="connsiteX8" fmla="*/ 498764 w 1198756"/>
                  <a:gd name="connsiteY8" fmla="*/ 0 h 2167613"/>
                  <a:gd name="connsiteX0" fmla="*/ 498764 w 1198756"/>
                  <a:gd name="connsiteY0" fmla="*/ 0 h 2141782"/>
                  <a:gd name="connsiteX1" fmla="*/ 0 w 1198756"/>
                  <a:gd name="connsiteY1" fmla="*/ 41564 h 2141782"/>
                  <a:gd name="connsiteX2" fmla="*/ 400373 w 1198756"/>
                  <a:gd name="connsiteY2" fmla="*/ 946101 h 2141782"/>
                  <a:gd name="connsiteX3" fmla="*/ 363741 w 1198756"/>
                  <a:gd name="connsiteY3" fmla="*/ 1138772 h 2141782"/>
                  <a:gd name="connsiteX4" fmla="*/ 93577 w 1198756"/>
                  <a:gd name="connsiteY4" fmla="*/ 1215912 h 2141782"/>
                  <a:gd name="connsiteX5" fmla="*/ 442055 w 1198756"/>
                  <a:gd name="connsiteY5" fmla="*/ 1814828 h 2141782"/>
                  <a:gd name="connsiteX6" fmla="*/ 1143000 w 1198756"/>
                  <a:gd name="connsiteY6" fmla="*/ 1849582 h 2141782"/>
                  <a:gd name="connsiteX7" fmla="*/ 893618 w 1198756"/>
                  <a:gd name="connsiteY7" fmla="*/ 644236 h 2141782"/>
                  <a:gd name="connsiteX8" fmla="*/ 498764 w 1198756"/>
                  <a:gd name="connsiteY8" fmla="*/ 0 h 2141782"/>
                  <a:gd name="connsiteX0" fmla="*/ 498764 w 1198756"/>
                  <a:gd name="connsiteY0" fmla="*/ 0 h 2141782"/>
                  <a:gd name="connsiteX1" fmla="*/ 0 w 1198756"/>
                  <a:gd name="connsiteY1" fmla="*/ 41564 h 2141782"/>
                  <a:gd name="connsiteX2" fmla="*/ 400373 w 1198756"/>
                  <a:gd name="connsiteY2" fmla="*/ 946101 h 2141782"/>
                  <a:gd name="connsiteX3" fmla="*/ 363741 w 1198756"/>
                  <a:gd name="connsiteY3" fmla="*/ 1138772 h 2141782"/>
                  <a:gd name="connsiteX4" fmla="*/ 93577 w 1198756"/>
                  <a:gd name="connsiteY4" fmla="*/ 1215912 h 2141782"/>
                  <a:gd name="connsiteX5" fmla="*/ 442055 w 1198756"/>
                  <a:gd name="connsiteY5" fmla="*/ 1814828 h 2141782"/>
                  <a:gd name="connsiteX6" fmla="*/ 1143000 w 1198756"/>
                  <a:gd name="connsiteY6" fmla="*/ 1849582 h 2141782"/>
                  <a:gd name="connsiteX7" fmla="*/ 893618 w 1198756"/>
                  <a:gd name="connsiteY7" fmla="*/ 644236 h 2141782"/>
                  <a:gd name="connsiteX8" fmla="*/ 498764 w 1198756"/>
                  <a:gd name="connsiteY8" fmla="*/ 0 h 2141782"/>
                  <a:gd name="connsiteX0" fmla="*/ 498764 w 1198756"/>
                  <a:gd name="connsiteY0" fmla="*/ 0 h 2141782"/>
                  <a:gd name="connsiteX1" fmla="*/ 0 w 1198756"/>
                  <a:gd name="connsiteY1" fmla="*/ 41564 h 2141782"/>
                  <a:gd name="connsiteX2" fmla="*/ 400373 w 1198756"/>
                  <a:gd name="connsiteY2" fmla="*/ 946101 h 2141782"/>
                  <a:gd name="connsiteX3" fmla="*/ 363741 w 1198756"/>
                  <a:gd name="connsiteY3" fmla="*/ 1138772 h 2141782"/>
                  <a:gd name="connsiteX4" fmla="*/ 93577 w 1198756"/>
                  <a:gd name="connsiteY4" fmla="*/ 1215912 h 2141782"/>
                  <a:gd name="connsiteX5" fmla="*/ 442055 w 1198756"/>
                  <a:gd name="connsiteY5" fmla="*/ 1814828 h 2141782"/>
                  <a:gd name="connsiteX6" fmla="*/ 1143000 w 1198756"/>
                  <a:gd name="connsiteY6" fmla="*/ 1849582 h 2141782"/>
                  <a:gd name="connsiteX7" fmla="*/ 893618 w 1198756"/>
                  <a:gd name="connsiteY7" fmla="*/ 644236 h 2141782"/>
                  <a:gd name="connsiteX8" fmla="*/ 498764 w 1198756"/>
                  <a:gd name="connsiteY8" fmla="*/ 0 h 2141782"/>
                  <a:gd name="connsiteX0" fmla="*/ 498764 w 1198756"/>
                  <a:gd name="connsiteY0" fmla="*/ 0 h 2177944"/>
                  <a:gd name="connsiteX1" fmla="*/ 0 w 1198756"/>
                  <a:gd name="connsiteY1" fmla="*/ 41564 h 2177944"/>
                  <a:gd name="connsiteX2" fmla="*/ 400373 w 1198756"/>
                  <a:gd name="connsiteY2" fmla="*/ 946101 h 2177944"/>
                  <a:gd name="connsiteX3" fmla="*/ 363741 w 1198756"/>
                  <a:gd name="connsiteY3" fmla="*/ 1138772 h 2177944"/>
                  <a:gd name="connsiteX4" fmla="*/ 93577 w 1198756"/>
                  <a:gd name="connsiteY4" fmla="*/ 1215912 h 2177944"/>
                  <a:gd name="connsiteX5" fmla="*/ 442055 w 1198756"/>
                  <a:gd name="connsiteY5" fmla="*/ 1814828 h 2177944"/>
                  <a:gd name="connsiteX6" fmla="*/ 1143000 w 1198756"/>
                  <a:gd name="connsiteY6" fmla="*/ 1849582 h 2177944"/>
                  <a:gd name="connsiteX7" fmla="*/ 893618 w 1198756"/>
                  <a:gd name="connsiteY7" fmla="*/ 644236 h 2177944"/>
                  <a:gd name="connsiteX8" fmla="*/ 498764 w 1198756"/>
                  <a:gd name="connsiteY8" fmla="*/ 0 h 2177944"/>
                  <a:gd name="connsiteX0" fmla="*/ 498764 w 1198756"/>
                  <a:gd name="connsiteY0" fmla="*/ 0 h 2177944"/>
                  <a:gd name="connsiteX1" fmla="*/ 0 w 1198756"/>
                  <a:gd name="connsiteY1" fmla="*/ 41564 h 2177944"/>
                  <a:gd name="connsiteX2" fmla="*/ 400373 w 1198756"/>
                  <a:gd name="connsiteY2" fmla="*/ 946101 h 2177944"/>
                  <a:gd name="connsiteX3" fmla="*/ 363741 w 1198756"/>
                  <a:gd name="connsiteY3" fmla="*/ 1138772 h 2177944"/>
                  <a:gd name="connsiteX4" fmla="*/ 93577 w 1198756"/>
                  <a:gd name="connsiteY4" fmla="*/ 1215912 h 2177944"/>
                  <a:gd name="connsiteX5" fmla="*/ 442055 w 1198756"/>
                  <a:gd name="connsiteY5" fmla="*/ 1814828 h 2177944"/>
                  <a:gd name="connsiteX6" fmla="*/ 1143000 w 1198756"/>
                  <a:gd name="connsiteY6" fmla="*/ 1849582 h 2177944"/>
                  <a:gd name="connsiteX7" fmla="*/ 893618 w 1198756"/>
                  <a:gd name="connsiteY7" fmla="*/ 644236 h 2177944"/>
                  <a:gd name="connsiteX8" fmla="*/ 498764 w 1198756"/>
                  <a:gd name="connsiteY8" fmla="*/ 0 h 2177944"/>
                  <a:gd name="connsiteX0" fmla="*/ 498764 w 1198756"/>
                  <a:gd name="connsiteY0" fmla="*/ 0 h 2024553"/>
                  <a:gd name="connsiteX1" fmla="*/ 0 w 1198756"/>
                  <a:gd name="connsiteY1" fmla="*/ 41564 h 2024553"/>
                  <a:gd name="connsiteX2" fmla="*/ 400373 w 1198756"/>
                  <a:gd name="connsiteY2" fmla="*/ 946101 h 2024553"/>
                  <a:gd name="connsiteX3" fmla="*/ 363741 w 1198756"/>
                  <a:gd name="connsiteY3" fmla="*/ 1138772 h 2024553"/>
                  <a:gd name="connsiteX4" fmla="*/ 93577 w 1198756"/>
                  <a:gd name="connsiteY4" fmla="*/ 1215912 h 2024553"/>
                  <a:gd name="connsiteX5" fmla="*/ 247502 w 1198756"/>
                  <a:gd name="connsiteY5" fmla="*/ 1484088 h 2024553"/>
                  <a:gd name="connsiteX6" fmla="*/ 1143000 w 1198756"/>
                  <a:gd name="connsiteY6" fmla="*/ 1849582 h 2024553"/>
                  <a:gd name="connsiteX7" fmla="*/ 893618 w 1198756"/>
                  <a:gd name="connsiteY7" fmla="*/ 644236 h 2024553"/>
                  <a:gd name="connsiteX8" fmla="*/ 498764 w 1198756"/>
                  <a:gd name="connsiteY8" fmla="*/ 0 h 2024553"/>
                  <a:gd name="connsiteX0" fmla="*/ 498764 w 1198756"/>
                  <a:gd name="connsiteY0" fmla="*/ 0 h 2024553"/>
                  <a:gd name="connsiteX1" fmla="*/ 0 w 1198756"/>
                  <a:gd name="connsiteY1" fmla="*/ 41564 h 2024553"/>
                  <a:gd name="connsiteX2" fmla="*/ 400373 w 1198756"/>
                  <a:gd name="connsiteY2" fmla="*/ 946101 h 2024553"/>
                  <a:gd name="connsiteX3" fmla="*/ 363741 w 1198756"/>
                  <a:gd name="connsiteY3" fmla="*/ 1138772 h 2024553"/>
                  <a:gd name="connsiteX4" fmla="*/ 93577 w 1198756"/>
                  <a:gd name="connsiteY4" fmla="*/ 1215912 h 2024553"/>
                  <a:gd name="connsiteX5" fmla="*/ 247502 w 1198756"/>
                  <a:gd name="connsiteY5" fmla="*/ 1484088 h 2024553"/>
                  <a:gd name="connsiteX6" fmla="*/ 1143000 w 1198756"/>
                  <a:gd name="connsiteY6" fmla="*/ 1849582 h 2024553"/>
                  <a:gd name="connsiteX7" fmla="*/ 893618 w 1198756"/>
                  <a:gd name="connsiteY7" fmla="*/ 644236 h 2024553"/>
                  <a:gd name="connsiteX8" fmla="*/ 498764 w 1198756"/>
                  <a:gd name="connsiteY8" fmla="*/ 0 h 2024553"/>
                  <a:gd name="connsiteX0" fmla="*/ 498764 w 1198756"/>
                  <a:gd name="connsiteY0" fmla="*/ 0 h 2024553"/>
                  <a:gd name="connsiteX1" fmla="*/ 0 w 1198756"/>
                  <a:gd name="connsiteY1" fmla="*/ 41564 h 2024553"/>
                  <a:gd name="connsiteX2" fmla="*/ 400373 w 1198756"/>
                  <a:gd name="connsiteY2" fmla="*/ 946101 h 2024553"/>
                  <a:gd name="connsiteX3" fmla="*/ 363741 w 1198756"/>
                  <a:gd name="connsiteY3" fmla="*/ 1138772 h 2024553"/>
                  <a:gd name="connsiteX4" fmla="*/ 93577 w 1198756"/>
                  <a:gd name="connsiteY4" fmla="*/ 1215912 h 2024553"/>
                  <a:gd name="connsiteX5" fmla="*/ 266958 w 1198756"/>
                  <a:gd name="connsiteY5" fmla="*/ 1493815 h 2024553"/>
                  <a:gd name="connsiteX6" fmla="*/ 1143000 w 1198756"/>
                  <a:gd name="connsiteY6" fmla="*/ 1849582 h 2024553"/>
                  <a:gd name="connsiteX7" fmla="*/ 893618 w 1198756"/>
                  <a:gd name="connsiteY7" fmla="*/ 644236 h 2024553"/>
                  <a:gd name="connsiteX8" fmla="*/ 498764 w 1198756"/>
                  <a:gd name="connsiteY8" fmla="*/ 0 h 2024553"/>
                  <a:gd name="connsiteX0" fmla="*/ 498764 w 1198756"/>
                  <a:gd name="connsiteY0" fmla="*/ 0 h 2024553"/>
                  <a:gd name="connsiteX1" fmla="*/ 0 w 1198756"/>
                  <a:gd name="connsiteY1" fmla="*/ 41564 h 2024553"/>
                  <a:gd name="connsiteX2" fmla="*/ 400373 w 1198756"/>
                  <a:gd name="connsiteY2" fmla="*/ 946101 h 2024553"/>
                  <a:gd name="connsiteX3" fmla="*/ 363741 w 1198756"/>
                  <a:gd name="connsiteY3" fmla="*/ 1138772 h 2024553"/>
                  <a:gd name="connsiteX4" fmla="*/ 64394 w 1198756"/>
                  <a:gd name="connsiteY4" fmla="*/ 1215912 h 2024553"/>
                  <a:gd name="connsiteX5" fmla="*/ 266958 w 1198756"/>
                  <a:gd name="connsiteY5" fmla="*/ 1493815 h 2024553"/>
                  <a:gd name="connsiteX6" fmla="*/ 1143000 w 1198756"/>
                  <a:gd name="connsiteY6" fmla="*/ 1849582 h 2024553"/>
                  <a:gd name="connsiteX7" fmla="*/ 893618 w 1198756"/>
                  <a:gd name="connsiteY7" fmla="*/ 644236 h 2024553"/>
                  <a:gd name="connsiteX8" fmla="*/ 498764 w 1198756"/>
                  <a:gd name="connsiteY8" fmla="*/ 0 h 2024553"/>
                  <a:gd name="connsiteX0" fmla="*/ 498764 w 1198756"/>
                  <a:gd name="connsiteY0" fmla="*/ 0 h 1856931"/>
                  <a:gd name="connsiteX1" fmla="*/ 0 w 1198756"/>
                  <a:gd name="connsiteY1" fmla="*/ 41564 h 1856931"/>
                  <a:gd name="connsiteX2" fmla="*/ 400373 w 1198756"/>
                  <a:gd name="connsiteY2" fmla="*/ 946101 h 1856931"/>
                  <a:gd name="connsiteX3" fmla="*/ 363741 w 1198756"/>
                  <a:gd name="connsiteY3" fmla="*/ 1138772 h 1856931"/>
                  <a:gd name="connsiteX4" fmla="*/ 64394 w 1198756"/>
                  <a:gd name="connsiteY4" fmla="*/ 1215912 h 1856931"/>
                  <a:gd name="connsiteX5" fmla="*/ 266958 w 1198756"/>
                  <a:gd name="connsiteY5" fmla="*/ 1493815 h 1856931"/>
                  <a:gd name="connsiteX6" fmla="*/ 1084634 w 1198756"/>
                  <a:gd name="connsiteY6" fmla="*/ 1465339 h 1856931"/>
                  <a:gd name="connsiteX7" fmla="*/ 893618 w 1198756"/>
                  <a:gd name="connsiteY7" fmla="*/ 644236 h 1856931"/>
                  <a:gd name="connsiteX8" fmla="*/ 498764 w 1198756"/>
                  <a:gd name="connsiteY8" fmla="*/ 0 h 1856931"/>
                  <a:gd name="connsiteX0" fmla="*/ 498764 w 1198756"/>
                  <a:gd name="connsiteY0" fmla="*/ 0 h 1856931"/>
                  <a:gd name="connsiteX1" fmla="*/ 0 w 1198756"/>
                  <a:gd name="connsiteY1" fmla="*/ 41564 h 1856931"/>
                  <a:gd name="connsiteX2" fmla="*/ 400373 w 1198756"/>
                  <a:gd name="connsiteY2" fmla="*/ 946101 h 1856931"/>
                  <a:gd name="connsiteX3" fmla="*/ 363741 w 1198756"/>
                  <a:gd name="connsiteY3" fmla="*/ 1138772 h 1856931"/>
                  <a:gd name="connsiteX4" fmla="*/ 64394 w 1198756"/>
                  <a:gd name="connsiteY4" fmla="*/ 1215912 h 1856931"/>
                  <a:gd name="connsiteX5" fmla="*/ 266958 w 1198756"/>
                  <a:gd name="connsiteY5" fmla="*/ 1493815 h 1856931"/>
                  <a:gd name="connsiteX6" fmla="*/ 1084634 w 1198756"/>
                  <a:gd name="connsiteY6" fmla="*/ 1465339 h 1856931"/>
                  <a:gd name="connsiteX7" fmla="*/ 893618 w 1198756"/>
                  <a:gd name="connsiteY7" fmla="*/ 644236 h 1856931"/>
                  <a:gd name="connsiteX8" fmla="*/ 498764 w 1198756"/>
                  <a:gd name="connsiteY8" fmla="*/ 0 h 1856931"/>
                  <a:gd name="connsiteX0" fmla="*/ 498764 w 1198756"/>
                  <a:gd name="connsiteY0" fmla="*/ 0 h 1783974"/>
                  <a:gd name="connsiteX1" fmla="*/ 0 w 1198756"/>
                  <a:gd name="connsiteY1" fmla="*/ 41564 h 1783974"/>
                  <a:gd name="connsiteX2" fmla="*/ 400373 w 1198756"/>
                  <a:gd name="connsiteY2" fmla="*/ 946101 h 1783974"/>
                  <a:gd name="connsiteX3" fmla="*/ 363741 w 1198756"/>
                  <a:gd name="connsiteY3" fmla="*/ 1138772 h 1783974"/>
                  <a:gd name="connsiteX4" fmla="*/ 64394 w 1198756"/>
                  <a:gd name="connsiteY4" fmla="*/ 1215912 h 1783974"/>
                  <a:gd name="connsiteX5" fmla="*/ 266958 w 1198756"/>
                  <a:gd name="connsiteY5" fmla="*/ 1493815 h 1783974"/>
                  <a:gd name="connsiteX6" fmla="*/ 1084634 w 1198756"/>
                  <a:gd name="connsiteY6" fmla="*/ 1465339 h 1783974"/>
                  <a:gd name="connsiteX7" fmla="*/ 893618 w 1198756"/>
                  <a:gd name="connsiteY7" fmla="*/ 644236 h 1783974"/>
                  <a:gd name="connsiteX8" fmla="*/ 498764 w 1198756"/>
                  <a:gd name="connsiteY8" fmla="*/ 0 h 1783974"/>
                  <a:gd name="connsiteX0" fmla="*/ 498764 w 1198756"/>
                  <a:gd name="connsiteY0" fmla="*/ 0 h 1783974"/>
                  <a:gd name="connsiteX1" fmla="*/ 0 w 1198756"/>
                  <a:gd name="connsiteY1" fmla="*/ 41564 h 1783974"/>
                  <a:gd name="connsiteX2" fmla="*/ 400373 w 1198756"/>
                  <a:gd name="connsiteY2" fmla="*/ 946101 h 1783974"/>
                  <a:gd name="connsiteX3" fmla="*/ 363741 w 1198756"/>
                  <a:gd name="connsiteY3" fmla="*/ 1138772 h 1783974"/>
                  <a:gd name="connsiteX4" fmla="*/ 64394 w 1198756"/>
                  <a:gd name="connsiteY4" fmla="*/ 1215912 h 1783974"/>
                  <a:gd name="connsiteX5" fmla="*/ 266958 w 1198756"/>
                  <a:gd name="connsiteY5" fmla="*/ 1493815 h 1783974"/>
                  <a:gd name="connsiteX6" fmla="*/ 1084634 w 1198756"/>
                  <a:gd name="connsiteY6" fmla="*/ 1465339 h 1783974"/>
                  <a:gd name="connsiteX7" fmla="*/ 893618 w 1198756"/>
                  <a:gd name="connsiteY7" fmla="*/ 644236 h 1783974"/>
                  <a:gd name="connsiteX8" fmla="*/ 498764 w 1198756"/>
                  <a:gd name="connsiteY8" fmla="*/ 0 h 1783974"/>
                  <a:gd name="connsiteX0" fmla="*/ 498764 w 1198756"/>
                  <a:gd name="connsiteY0" fmla="*/ 0 h 1783974"/>
                  <a:gd name="connsiteX1" fmla="*/ 0 w 1198756"/>
                  <a:gd name="connsiteY1" fmla="*/ 41564 h 1783974"/>
                  <a:gd name="connsiteX2" fmla="*/ 400373 w 1198756"/>
                  <a:gd name="connsiteY2" fmla="*/ 946101 h 1783974"/>
                  <a:gd name="connsiteX3" fmla="*/ 363741 w 1198756"/>
                  <a:gd name="connsiteY3" fmla="*/ 1138772 h 1783974"/>
                  <a:gd name="connsiteX4" fmla="*/ 64394 w 1198756"/>
                  <a:gd name="connsiteY4" fmla="*/ 1215912 h 1783974"/>
                  <a:gd name="connsiteX5" fmla="*/ 266958 w 1198756"/>
                  <a:gd name="connsiteY5" fmla="*/ 1493815 h 1783974"/>
                  <a:gd name="connsiteX6" fmla="*/ 1084634 w 1198756"/>
                  <a:gd name="connsiteY6" fmla="*/ 1465339 h 1783974"/>
                  <a:gd name="connsiteX7" fmla="*/ 893618 w 1198756"/>
                  <a:gd name="connsiteY7" fmla="*/ 644236 h 1783974"/>
                  <a:gd name="connsiteX8" fmla="*/ 498764 w 1198756"/>
                  <a:gd name="connsiteY8" fmla="*/ 0 h 1783974"/>
                  <a:gd name="connsiteX0" fmla="*/ 498764 w 1198756"/>
                  <a:gd name="connsiteY0" fmla="*/ 0 h 1783974"/>
                  <a:gd name="connsiteX1" fmla="*/ 0 w 1198756"/>
                  <a:gd name="connsiteY1" fmla="*/ 41564 h 1783974"/>
                  <a:gd name="connsiteX2" fmla="*/ 400373 w 1198756"/>
                  <a:gd name="connsiteY2" fmla="*/ 946101 h 1783974"/>
                  <a:gd name="connsiteX3" fmla="*/ 363741 w 1198756"/>
                  <a:gd name="connsiteY3" fmla="*/ 1138772 h 1783974"/>
                  <a:gd name="connsiteX4" fmla="*/ 64394 w 1198756"/>
                  <a:gd name="connsiteY4" fmla="*/ 1215912 h 1783974"/>
                  <a:gd name="connsiteX5" fmla="*/ 266958 w 1198756"/>
                  <a:gd name="connsiteY5" fmla="*/ 1493815 h 1783974"/>
                  <a:gd name="connsiteX6" fmla="*/ 1084634 w 1198756"/>
                  <a:gd name="connsiteY6" fmla="*/ 1465339 h 1783974"/>
                  <a:gd name="connsiteX7" fmla="*/ 893618 w 1198756"/>
                  <a:gd name="connsiteY7" fmla="*/ 644236 h 1783974"/>
                  <a:gd name="connsiteX8" fmla="*/ 498764 w 1198756"/>
                  <a:gd name="connsiteY8" fmla="*/ 0 h 1783974"/>
                  <a:gd name="connsiteX0" fmla="*/ 498764 w 1198756"/>
                  <a:gd name="connsiteY0" fmla="*/ 0 h 1764519"/>
                  <a:gd name="connsiteX1" fmla="*/ 0 w 1198756"/>
                  <a:gd name="connsiteY1" fmla="*/ 41564 h 1764519"/>
                  <a:gd name="connsiteX2" fmla="*/ 400373 w 1198756"/>
                  <a:gd name="connsiteY2" fmla="*/ 946101 h 1764519"/>
                  <a:gd name="connsiteX3" fmla="*/ 363741 w 1198756"/>
                  <a:gd name="connsiteY3" fmla="*/ 1138772 h 1764519"/>
                  <a:gd name="connsiteX4" fmla="*/ 64394 w 1198756"/>
                  <a:gd name="connsiteY4" fmla="*/ 1215912 h 1764519"/>
                  <a:gd name="connsiteX5" fmla="*/ 266958 w 1198756"/>
                  <a:gd name="connsiteY5" fmla="*/ 1493815 h 1764519"/>
                  <a:gd name="connsiteX6" fmla="*/ 1084634 w 1198756"/>
                  <a:gd name="connsiteY6" fmla="*/ 1465339 h 1764519"/>
                  <a:gd name="connsiteX7" fmla="*/ 893618 w 1198756"/>
                  <a:gd name="connsiteY7" fmla="*/ 644236 h 1764519"/>
                  <a:gd name="connsiteX8" fmla="*/ 498764 w 1198756"/>
                  <a:gd name="connsiteY8" fmla="*/ 0 h 1764519"/>
                  <a:gd name="connsiteX0" fmla="*/ 498764 w 1198756"/>
                  <a:gd name="connsiteY0" fmla="*/ 0 h 1759655"/>
                  <a:gd name="connsiteX1" fmla="*/ 0 w 1198756"/>
                  <a:gd name="connsiteY1" fmla="*/ 41564 h 1759655"/>
                  <a:gd name="connsiteX2" fmla="*/ 400373 w 1198756"/>
                  <a:gd name="connsiteY2" fmla="*/ 946101 h 1759655"/>
                  <a:gd name="connsiteX3" fmla="*/ 363741 w 1198756"/>
                  <a:gd name="connsiteY3" fmla="*/ 1138772 h 1759655"/>
                  <a:gd name="connsiteX4" fmla="*/ 64394 w 1198756"/>
                  <a:gd name="connsiteY4" fmla="*/ 1215912 h 1759655"/>
                  <a:gd name="connsiteX5" fmla="*/ 266958 w 1198756"/>
                  <a:gd name="connsiteY5" fmla="*/ 1493815 h 1759655"/>
                  <a:gd name="connsiteX6" fmla="*/ 1084634 w 1198756"/>
                  <a:gd name="connsiteY6" fmla="*/ 1465339 h 1759655"/>
                  <a:gd name="connsiteX7" fmla="*/ 893618 w 1198756"/>
                  <a:gd name="connsiteY7" fmla="*/ 644236 h 1759655"/>
                  <a:gd name="connsiteX8" fmla="*/ 498764 w 1198756"/>
                  <a:gd name="connsiteY8" fmla="*/ 0 h 1759655"/>
                  <a:gd name="connsiteX0" fmla="*/ 498764 w 1084634"/>
                  <a:gd name="connsiteY0" fmla="*/ 0 h 1759655"/>
                  <a:gd name="connsiteX1" fmla="*/ 0 w 1084634"/>
                  <a:gd name="connsiteY1" fmla="*/ 41564 h 1759655"/>
                  <a:gd name="connsiteX2" fmla="*/ 400373 w 1084634"/>
                  <a:gd name="connsiteY2" fmla="*/ 946101 h 1759655"/>
                  <a:gd name="connsiteX3" fmla="*/ 363741 w 1084634"/>
                  <a:gd name="connsiteY3" fmla="*/ 1138772 h 1759655"/>
                  <a:gd name="connsiteX4" fmla="*/ 64394 w 1084634"/>
                  <a:gd name="connsiteY4" fmla="*/ 1215912 h 1759655"/>
                  <a:gd name="connsiteX5" fmla="*/ 266958 w 1084634"/>
                  <a:gd name="connsiteY5" fmla="*/ 1493815 h 1759655"/>
                  <a:gd name="connsiteX6" fmla="*/ 1084634 w 1084634"/>
                  <a:gd name="connsiteY6" fmla="*/ 1465339 h 1759655"/>
                  <a:gd name="connsiteX7" fmla="*/ 893618 w 1084634"/>
                  <a:gd name="connsiteY7" fmla="*/ 644236 h 1759655"/>
                  <a:gd name="connsiteX8" fmla="*/ 498764 w 1084634"/>
                  <a:gd name="connsiteY8" fmla="*/ 0 h 1759655"/>
                  <a:gd name="connsiteX0" fmla="*/ 498764 w 1079770"/>
                  <a:gd name="connsiteY0" fmla="*/ 0 h 1759655"/>
                  <a:gd name="connsiteX1" fmla="*/ 0 w 1079770"/>
                  <a:gd name="connsiteY1" fmla="*/ 41564 h 1759655"/>
                  <a:gd name="connsiteX2" fmla="*/ 400373 w 1079770"/>
                  <a:gd name="connsiteY2" fmla="*/ 946101 h 1759655"/>
                  <a:gd name="connsiteX3" fmla="*/ 363741 w 1079770"/>
                  <a:gd name="connsiteY3" fmla="*/ 1138772 h 1759655"/>
                  <a:gd name="connsiteX4" fmla="*/ 64394 w 1079770"/>
                  <a:gd name="connsiteY4" fmla="*/ 1215912 h 1759655"/>
                  <a:gd name="connsiteX5" fmla="*/ 266958 w 1079770"/>
                  <a:gd name="connsiteY5" fmla="*/ 1493815 h 1759655"/>
                  <a:gd name="connsiteX6" fmla="*/ 1079770 w 1079770"/>
                  <a:gd name="connsiteY6" fmla="*/ 1450747 h 1759655"/>
                  <a:gd name="connsiteX7" fmla="*/ 893618 w 1079770"/>
                  <a:gd name="connsiteY7" fmla="*/ 644236 h 1759655"/>
                  <a:gd name="connsiteX8" fmla="*/ 498764 w 1079770"/>
                  <a:gd name="connsiteY8" fmla="*/ 0 h 1759655"/>
                  <a:gd name="connsiteX0" fmla="*/ 498764 w 1079770"/>
                  <a:gd name="connsiteY0" fmla="*/ 0 h 1759655"/>
                  <a:gd name="connsiteX1" fmla="*/ 0 w 1079770"/>
                  <a:gd name="connsiteY1" fmla="*/ 41564 h 1759655"/>
                  <a:gd name="connsiteX2" fmla="*/ 400373 w 1079770"/>
                  <a:gd name="connsiteY2" fmla="*/ 946101 h 1759655"/>
                  <a:gd name="connsiteX3" fmla="*/ 363741 w 1079770"/>
                  <a:gd name="connsiteY3" fmla="*/ 1138772 h 1759655"/>
                  <a:gd name="connsiteX4" fmla="*/ 64394 w 1079770"/>
                  <a:gd name="connsiteY4" fmla="*/ 1215912 h 1759655"/>
                  <a:gd name="connsiteX5" fmla="*/ 266958 w 1079770"/>
                  <a:gd name="connsiteY5" fmla="*/ 1493815 h 1759655"/>
                  <a:gd name="connsiteX6" fmla="*/ 1079770 w 1079770"/>
                  <a:gd name="connsiteY6" fmla="*/ 1450747 h 1759655"/>
                  <a:gd name="connsiteX7" fmla="*/ 893618 w 1079770"/>
                  <a:gd name="connsiteY7" fmla="*/ 644236 h 1759655"/>
                  <a:gd name="connsiteX8" fmla="*/ 498764 w 1079770"/>
                  <a:gd name="connsiteY8" fmla="*/ 0 h 1759655"/>
                  <a:gd name="connsiteX0" fmla="*/ 498764 w 1079770"/>
                  <a:gd name="connsiteY0" fmla="*/ 0 h 1759655"/>
                  <a:gd name="connsiteX1" fmla="*/ 0 w 1079770"/>
                  <a:gd name="connsiteY1" fmla="*/ 41564 h 1759655"/>
                  <a:gd name="connsiteX2" fmla="*/ 400373 w 1079770"/>
                  <a:gd name="connsiteY2" fmla="*/ 946101 h 1759655"/>
                  <a:gd name="connsiteX3" fmla="*/ 363741 w 1079770"/>
                  <a:gd name="connsiteY3" fmla="*/ 1138772 h 1759655"/>
                  <a:gd name="connsiteX4" fmla="*/ 64394 w 1079770"/>
                  <a:gd name="connsiteY4" fmla="*/ 1215912 h 1759655"/>
                  <a:gd name="connsiteX5" fmla="*/ 266958 w 1079770"/>
                  <a:gd name="connsiteY5" fmla="*/ 1493815 h 1759655"/>
                  <a:gd name="connsiteX6" fmla="*/ 1079770 w 1079770"/>
                  <a:gd name="connsiteY6" fmla="*/ 1450747 h 1759655"/>
                  <a:gd name="connsiteX7" fmla="*/ 893618 w 1079770"/>
                  <a:gd name="connsiteY7" fmla="*/ 644236 h 1759655"/>
                  <a:gd name="connsiteX8" fmla="*/ 498764 w 1079770"/>
                  <a:gd name="connsiteY8" fmla="*/ 0 h 1759655"/>
                  <a:gd name="connsiteX0" fmla="*/ 498764 w 1079770"/>
                  <a:gd name="connsiteY0" fmla="*/ 0 h 1759655"/>
                  <a:gd name="connsiteX1" fmla="*/ 0 w 1079770"/>
                  <a:gd name="connsiteY1" fmla="*/ 41564 h 1759655"/>
                  <a:gd name="connsiteX2" fmla="*/ 400373 w 1079770"/>
                  <a:gd name="connsiteY2" fmla="*/ 946101 h 1759655"/>
                  <a:gd name="connsiteX3" fmla="*/ 363741 w 1079770"/>
                  <a:gd name="connsiteY3" fmla="*/ 1138772 h 1759655"/>
                  <a:gd name="connsiteX4" fmla="*/ 64394 w 1079770"/>
                  <a:gd name="connsiteY4" fmla="*/ 1215912 h 1759655"/>
                  <a:gd name="connsiteX5" fmla="*/ 266958 w 1079770"/>
                  <a:gd name="connsiteY5" fmla="*/ 1493815 h 1759655"/>
                  <a:gd name="connsiteX6" fmla="*/ 1079770 w 1079770"/>
                  <a:gd name="connsiteY6" fmla="*/ 1450747 h 1759655"/>
                  <a:gd name="connsiteX7" fmla="*/ 893618 w 1079770"/>
                  <a:gd name="connsiteY7" fmla="*/ 644236 h 1759655"/>
                  <a:gd name="connsiteX8" fmla="*/ 498764 w 1079770"/>
                  <a:gd name="connsiteY8" fmla="*/ 0 h 1759655"/>
                  <a:gd name="connsiteX0" fmla="*/ 498764 w 1079770"/>
                  <a:gd name="connsiteY0" fmla="*/ 0 h 1759655"/>
                  <a:gd name="connsiteX1" fmla="*/ 0 w 1079770"/>
                  <a:gd name="connsiteY1" fmla="*/ 41564 h 1759655"/>
                  <a:gd name="connsiteX2" fmla="*/ 400373 w 1079770"/>
                  <a:gd name="connsiteY2" fmla="*/ 946101 h 1759655"/>
                  <a:gd name="connsiteX3" fmla="*/ 363741 w 1079770"/>
                  <a:gd name="connsiteY3" fmla="*/ 1138772 h 1759655"/>
                  <a:gd name="connsiteX4" fmla="*/ 64394 w 1079770"/>
                  <a:gd name="connsiteY4" fmla="*/ 1215912 h 1759655"/>
                  <a:gd name="connsiteX5" fmla="*/ 266958 w 1079770"/>
                  <a:gd name="connsiteY5" fmla="*/ 1493815 h 1759655"/>
                  <a:gd name="connsiteX6" fmla="*/ 1079770 w 1079770"/>
                  <a:gd name="connsiteY6" fmla="*/ 1450747 h 1759655"/>
                  <a:gd name="connsiteX7" fmla="*/ 893618 w 1079770"/>
                  <a:gd name="connsiteY7" fmla="*/ 644236 h 1759655"/>
                  <a:gd name="connsiteX8" fmla="*/ 498764 w 1079770"/>
                  <a:gd name="connsiteY8" fmla="*/ 0 h 1759655"/>
                  <a:gd name="connsiteX0" fmla="*/ 498764 w 1079770"/>
                  <a:gd name="connsiteY0" fmla="*/ 0 h 1759655"/>
                  <a:gd name="connsiteX1" fmla="*/ 0 w 1079770"/>
                  <a:gd name="connsiteY1" fmla="*/ 41564 h 1759655"/>
                  <a:gd name="connsiteX2" fmla="*/ 35373 w 1079770"/>
                  <a:gd name="connsiteY2" fmla="*/ 99047 h 1759655"/>
                  <a:gd name="connsiteX3" fmla="*/ 400373 w 1079770"/>
                  <a:gd name="connsiteY3" fmla="*/ 946101 h 1759655"/>
                  <a:gd name="connsiteX4" fmla="*/ 363741 w 1079770"/>
                  <a:gd name="connsiteY4" fmla="*/ 1138772 h 1759655"/>
                  <a:gd name="connsiteX5" fmla="*/ 64394 w 1079770"/>
                  <a:gd name="connsiteY5" fmla="*/ 1215912 h 1759655"/>
                  <a:gd name="connsiteX6" fmla="*/ 266958 w 1079770"/>
                  <a:gd name="connsiteY6" fmla="*/ 1493815 h 1759655"/>
                  <a:gd name="connsiteX7" fmla="*/ 1079770 w 1079770"/>
                  <a:gd name="connsiteY7" fmla="*/ 1450747 h 1759655"/>
                  <a:gd name="connsiteX8" fmla="*/ 893618 w 1079770"/>
                  <a:gd name="connsiteY8" fmla="*/ 644236 h 1759655"/>
                  <a:gd name="connsiteX9" fmla="*/ 498764 w 1079770"/>
                  <a:gd name="connsiteY9" fmla="*/ 0 h 1759655"/>
                  <a:gd name="connsiteX0" fmla="*/ 537675 w 1118681"/>
                  <a:gd name="connsiteY0" fmla="*/ 0 h 1759655"/>
                  <a:gd name="connsiteX1" fmla="*/ 0 w 1118681"/>
                  <a:gd name="connsiteY1" fmla="*/ 90203 h 1759655"/>
                  <a:gd name="connsiteX2" fmla="*/ 74284 w 1118681"/>
                  <a:gd name="connsiteY2" fmla="*/ 99047 h 1759655"/>
                  <a:gd name="connsiteX3" fmla="*/ 439284 w 1118681"/>
                  <a:gd name="connsiteY3" fmla="*/ 946101 h 1759655"/>
                  <a:gd name="connsiteX4" fmla="*/ 402652 w 1118681"/>
                  <a:gd name="connsiteY4" fmla="*/ 1138772 h 1759655"/>
                  <a:gd name="connsiteX5" fmla="*/ 103305 w 1118681"/>
                  <a:gd name="connsiteY5" fmla="*/ 1215912 h 1759655"/>
                  <a:gd name="connsiteX6" fmla="*/ 305869 w 1118681"/>
                  <a:gd name="connsiteY6" fmla="*/ 1493815 h 1759655"/>
                  <a:gd name="connsiteX7" fmla="*/ 1118681 w 1118681"/>
                  <a:gd name="connsiteY7" fmla="*/ 1450747 h 1759655"/>
                  <a:gd name="connsiteX8" fmla="*/ 932529 w 1118681"/>
                  <a:gd name="connsiteY8" fmla="*/ 644236 h 1759655"/>
                  <a:gd name="connsiteX9" fmla="*/ 537675 w 1118681"/>
                  <a:gd name="connsiteY9" fmla="*/ 0 h 1759655"/>
                  <a:gd name="connsiteX0" fmla="*/ 537675 w 1118681"/>
                  <a:gd name="connsiteY0" fmla="*/ 31562 h 1791217"/>
                  <a:gd name="connsiteX1" fmla="*/ 0 w 1118681"/>
                  <a:gd name="connsiteY1" fmla="*/ 121765 h 1791217"/>
                  <a:gd name="connsiteX2" fmla="*/ 74284 w 1118681"/>
                  <a:gd name="connsiteY2" fmla="*/ 130609 h 1791217"/>
                  <a:gd name="connsiteX3" fmla="*/ 439284 w 1118681"/>
                  <a:gd name="connsiteY3" fmla="*/ 977663 h 1791217"/>
                  <a:gd name="connsiteX4" fmla="*/ 402652 w 1118681"/>
                  <a:gd name="connsiteY4" fmla="*/ 1170334 h 1791217"/>
                  <a:gd name="connsiteX5" fmla="*/ 103305 w 1118681"/>
                  <a:gd name="connsiteY5" fmla="*/ 1247474 h 1791217"/>
                  <a:gd name="connsiteX6" fmla="*/ 305869 w 1118681"/>
                  <a:gd name="connsiteY6" fmla="*/ 1525377 h 1791217"/>
                  <a:gd name="connsiteX7" fmla="*/ 1118681 w 1118681"/>
                  <a:gd name="connsiteY7" fmla="*/ 1482309 h 1791217"/>
                  <a:gd name="connsiteX8" fmla="*/ 932529 w 1118681"/>
                  <a:gd name="connsiteY8" fmla="*/ 675798 h 1791217"/>
                  <a:gd name="connsiteX9" fmla="*/ 537675 w 1118681"/>
                  <a:gd name="connsiteY9" fmla="*/ 31562 h 1791217"/>
                  <a:gd name="connsiteX0" fmla="*/ 537675 w 1118681"/>
                  <a:gd name="connsiteY0" fmla="*/ 31562 h 1791217"/>
                  <a:gd name="connsiteX1" fmla="*/ 0 w 1118681"/>
                  <a:gd name="connsiteY1" fmla="*/ 121765 h 1791217"/>
                  <a:gd name="connsiteX2" fmla="*/ 74284 w 1118681"/>
                  <a:gd name="connsiteY2" fmla="*/ 130609 h 1791217"/>
                  <a:gd name="connsiteX3" fmla="*/ 439284 w 1118681"/>
                  <a:gd name="connsiteY3" fmla="*/ 977663 h 1791217"/>
                  <a:gd name="connsiteX4" fmla="*/ 402652 w 1118681"/>
                  <a:gd name="connsiteY4" fmla="*/ 1170334 h 1791217"/>
                  <a:gd name="connsiteX5" fmla="*/ 103305 w 1118681"/>
                  <a:gd name="connsiteY5" fmla="*/ 1247474 h 1791217"/>
                  <a:gd name="connsiteX6" fmla="*/ 305869 w 1118681"/>
                  <a:gd name="connsiteY6" fmla="*/ 1525377 h 1791217"/>
                  <a:gd name="connsiteX7" fmla="*/ 1118681 w 1118681"/>
                  <a:gd name="connsiteY7" fmla="*/ 1482309 h 1791217"/>
                  <a:gd name="connsiteX8" fmla="*/ 932529 w 1118681"/>
                  <a:gd name="connsiteY8" fmla="*/ 675798 h 1791217"/>
                  <a:gd name="connsiteX9" fmla="*/ 537675 w 1118681"/>
                  <a:gd name="connsiteY9" fmla="*/ 31562 h 1791217"/>
                  <a:gd name="connsiteX0" fmla="*/ 537675 w 1118681"/>
                  <a:gd name="connsiteY0" fmla="*/ 16971 h 1776626"/>
                  <a:gd name="connsiteX1" fmla="*/ 0 w 1118681"/>
                  <a:gd name="connsiteY1" fmla="*/ 121765 h 1776626"/>
                  <a:gd name="connsiteX2" fmla="*/ 74284 w 1118681"/>
                  <a:gd name="connsiteY2" fmla="*/ 116018 h 1776626"/>
                  <a:gd name="connsiteX3" fmla="*/ 439284 w 1118681"/>
                  <a:gd name="connsiteY3" fmla="*/ 963072 h 1776626"/>
                  <a:gd name="connsiteX4" fmla="*/ 402652 w 1118681"/>
                  <a:gd name="connsiteY4" fmla="*/ 1155743 h 1776626"/>
                  <a:gd name="connsiteX5" fmla="*/ 103305 w 1118681"/>
                  <a:gd name="connsiteY5" fmla="*/ 1232883 h 1776626"/>
                  <a:gd name="connsiteX6" fmla="*/ 305869 w 1118681"/>
                  <a:gd name="connsiteY6" fmla="*/ 1510786 h 1776626"/>
                  <a:gd name="connsiteX7" fmla="*/ 1118681 w 1118681"/>
                  <a:gd name="connsiteY7" fmla="*/ 1467718 h 1776626"/>
                  <a:gd name="connsiteX8" fmla="*/ 932529 w 1118681"/>
                  <a:gd name="connsiteY8" fmla="*/ 661207 h 1776626"/>
                  <a:gd name="connsiteX9" fmla="*/ 537675 w 1118681"/>
                  <a:gd name="connsiteY9" fmla="*/ 16971 h 1776626"/>
                  <a:gd name="connsiteX0" fmla="*/ 537675 w 1118681"/>
                  <a:gd name="connsiteY0" fmla="*/ 16971 h 1776626"/>
                  <a:gd name="connsiteX1" fmla="*/ 0 w 1118681"/>
                  <a:gd name="connsiteY1" fmla="*/ 121765 h 1776626"/>
                  <a:gd name="connsiteX2" fmla="*/ 74284 w 1118681"/>
                  <a:gd name="connsiteY2" fmla="*/ 116018 h 1776626"/>
                  <a:gd name="connsiteX3" fmla="*/ 439284 w 1118681"/>
                  <a:gd name="connsiteY3" fmla="*/ 963072 h 1776626"/>
                  <a:gd name="connsiteX4" fmla="*/ 402652 w 1118681"/>
                  <a:gd name="connsiteY4" fmla="*/ 1155743 h 1776626"/>
                  <a:gd name="connsiteX5" fmla="*/ 103305 w 1118681"/>
                  <a:gd name="connsiteY5" fmla="*/ 1232883 h 1776626"/>
                  <a:gd name="connsiteX6" fmla="*/ 305869 w 1118681"/>
                  <a:gd name="connsiteY6" fmla="*/ 1510786 h 1776626"/>
                  <a:gd name="connsiteX7" fmla="*/ 1118681 w 1118681"/>
                  <a:gd name="connsiteY7" fmla="*/ 1467718 h 1776626"/>
                  <a:gd name="connsiteX8" fmla="*/ 932529 w 1118681"/>
                  <a:gd name="connsiteY8" fmla="*/ 661207 h 1776626"/>
                  <a:gd name="connsiteX9" fmla="*/ 537675 w 1118681"/>
                  <a:gd name="connsiteY9" fmla="*/ 16971 h 1776626"/>
                  <a:gd name="connsiteX0" fmla="*/ 537675 w 1118681"/>
                  <a:gd name="connsiteY0" fmla="*/ 16971 h 1776626"/>
                  <a:gd name="connsiteX1" fmla="*/ 0 w 1118681"/>
                  <a:gd name="connsiteY1" fmla="*/ 121765 h 1776626"/>
                  <a:gd name="connsiteX2" fmla="*/ 74284 w 1118681"/>
                  <a:gd name="connsiteY2" fmla="*/ 116018 h 1776626"/>
                  <a:gd name="connsiteX3" fmla="*/ 439284 w 1118681"/>
                  <a:gd name="connsiteY3" fmla="*/ 963072 h 1776626"/>
                  <a:gd name="connsiteX4" fmla="*/ 402652 w 1118681"/>
                  <a:gd name="connsiteY4" fmla="*/ 1155743 h 1776626"/>
                  <a:gd name="connsiteX5" fmla="*/ 103305 w 1118681"/>
                  <a:gd name="connsiteY5" fmla="*/ 1232883 h 1776626"/>
                  <a:gd name="connsiteX6" fmla="*/ 305869 w 1118681"/>
                  <a:gd name="connsiteY6" fmla="*/ 1510786 h 1776626"/>
                  <a:gd name="connsiteX7" fmla="*/ 1118681 w 1118681"/>
                  <a:gd name="connsiteY7" fmla="*/ 1467718 h 1776626"/>
                  <a:gd name="connsiteX8" fmla="*/ 932529 w 1118681"/>
                  <a:gd name="connsiteY8" fmla="*/ 661207 h 1776626"/>
                  <a:gd name="connsiteX9" fmla="*/ 537675 w 1118681"/>
                  <a:gd name="connsiteY9" fmla="*/ 16971 h 1776626"/>
                  <a:gd name="connsiteX0" fmla="*/ 547403 w 1128409"/>
                  <a:gd name="connsiteY0" fmla="*/ 31563 h 1791218"/>
                  <a:gd name="connsiteX1" fmla="*/ 0 w 1128409"/>
                  <a:gd name="connsiteY1" fmla="*/ 121765 h 1791218"/>
                  <a:gd name="connsiteX2" fmla="*/ 84012 w 1128409"/>
                  <a:gd name="connsiteY2" fmla="*/ 130610 h 1791218"/>
                  <a:gd name="connsiteX3" fmla="*/ 449012 w 1128409"/>
                  <a:gd name="connsiteY3" fmla="*/ 977664 h 1791218"/>
                  <a:gd name="connsiteX4" fmla="*/ 412380 w 1128409"/>
                  <a:gd name="connsiteY4" fmla="*/ 1170335 h 1791218"/>
                  <a:gd name="connsiteX5" fmla="*/ 113033 w 1128409"/>
                  <a:gd name="connsiteY5" fmla="*/ 1247475 h 1791218"/>
                  <a:gd name="connsiteX6" fmla="*/ 315597 w 1128409"/>
                  <a:gd name="connsiteY6" fmla="*/ 1525378 h 1791218"/>
                  <a:gd name="connsiteX7" fmla="*/ 1128409 w 1128409"/>
                  <a:gd name="connsiteY7" fmla="*/ 1482310 h 1791218"/>
                  <a:gd name="connsiteX8" fmla="*/ 942257 w 1128409"/>
                  <a:gd name="connsiteY8" fmla="*/ 675799 h 1791218"/>
                  <a:gd name="connsiteX9" fmla="*/ 547403 w 1128409"/>
                  <a:gd name="connsiteY9" fmla="*/ 31563 h 1791218"/>
                  <a:gd name="connsiteX0" fmla="*/ 547403 w 1128409"/>
                  <a:gd name="connsiteY0" fmla="*/ 31563 h 1791218"/>
                  <a:gd name="connsiteX1" fmla="*/ 0 w 1128409"/>
                  <a:gd name="connsiteY1" fmla="*/ 121765 h 1791218"/>
                  <a:gd name="connsiteX2" fmla="*/ 84012 w 1128409"/>
                  <a:gd name="connsiteY2" fmla="*/ 130610 h 1791218"/>
                  <a:gd name="connsiteX3" fmla="*/ 449012 w 1128409"/>
                  <a:gd name="connsiteY3" fmla="*/ 977664 h 1791218"/>
                  <a:gd name="connsiteX4" fmla="*/ 486052 w 1128409"/>
                  <a:gd name="connsiteY4" fmla="*/ 1153000 h 1791218"/>
                  <a:gd name="connsiteX5" fmla="*/ 113033 w 1128409"/>
                  <a:gd name="connsiteY5" fmla="*/ 1247475 h 1791218"/>
                  <a:gd name="connsiteX6" fmla="*/ 315597 w 1128409"/>
                  <a:gd name="connsiteY6" fmla="*/ 1525378 h 1791218"/>
                  <a:gd name="connsiteX7" fmla="*/ 1128409 w 1128409"/>
                  <a:gd name="connsiteY7" fmla="*/ 1482310 h 1791218"/>
                  <a:gd name="connsiteX8" fmla="*/ 942257 w 1128409"/>
                  <a:gd name="connsiteY8" fmla="*/ 675799 h 1791218"/>
                  <a:gd name="connsiteX9" fmla="*/ 547403 w 1128409"/>
                  <a:gd name="connsiteY9" fmla="*/ 31563 h 1791218"/>
                  <a:gd name="connsiteX0" fmla="*/ 547403 w 1128409"/>
                  <a:gd name="connsiteY0" fmla="*/ 31563 h 1791218"/>
                  <a:gd name="connsiteX1" fmla="*/ 0 w 1128409"/>
                  <a:gd name="connsiteY1" fmla="*/ 121765 h 1791218"/>
                  <a:gd name="connsiteX2" fmla="*/ 84012 w 1128409"/>
                  <a:gd name="connsiteY2" fmla="*/ 130610 h 1791218"/>
                  <a:gd name="connsiteX3" fmla="*/ 449012 w 1128409"/>
                  <a:gd name="connsiteY3" fmla="*/ 977664 h 1791218"/>
                  <a:gd name="connsiteX4" fmla="*/ 525055 w 1128409"/>
                  <a:gd name="connsiteY4" fmla="*/ 1144333 h 1791218"/>
                  <a:gd name="connsiteX5" fmla="*/ 113033 w 1128409"/>
                  <a:gd name="connsiteY5" fmla="*/ 1247475 h 1791218"/>
                  <a:gd name="connsiteX6" fmla="*/ 315597 w 1128409"/>
                  <a:gd name="connsiteY6" fmla="*/ 1525378 h 1791218"/>
                  <a:gd name="connsiteX7" fmla="*/ 1128409 w 1128409"/>
                  <a:gd name="connsiteY7" fmla="*/ 1482310 h 1791218"/>
                  <a:gd name="connsiteX8" fmla="*/ 942257 w 1128409"/>
                  <a:gd name="connsiteY8" fmla="*/ 675799 h 1791218"/>
                  <a:gd name="connsiteX9" fmla="*/ 547403 w 1128409"/>
                  <a:gd name="connsiteY9" fmla="*/ 31563 h 1791218"/>
                  <a:gd name="connsiteX0" fmla="*/ 547403 w 1128409"/>
                  <a:gd name="connsiteY0" fmla="*/ 31563 h 1791218"/>
                  <a:gd name="connsiteX1" fmla="*/ 0 w 1128409"/>
                  <a:gd name="connsiteY1" fmla="*/ 121765 h 1791218"/>
                  <a:gd name="connsiteX2" fmla="*/ 84012 w 1128409"/>
                  <a:gd name="connsiteY2" fmla="*/ 130610 h 1791218"/>
                  <a:gd name="connsiteX3" fmla="*/ 462013 w 1128409"/>
                  <a:gd name="connsiteY3" fmla="*/ 968997 h 1791218"/>
                  <a:gd name="connsiteX4" fmla="*/ 525055 w 1128409"/>
                  <a:gd name="connsiteY4" fmla="*/ 1144333 h 1791218"/>
                  <a:gd name="connsiteX5" fmla="*/ 113033 w 1128409"/>
                  <a:gd name="connsiteY5" fmla="*/ 1247475 h 1791218"/>
                  <a:gd name="connsiteX6" fmla="*/ 315597 w 1128409"/>
                  <a:gd name="connsiteY6" fmla="*/ 1525378 h 1791218"/>
                  <a:gd name="connsiteX7" fmla="*/ 1128409 w 1128409"/>
                  <a:gd name="connsiteY7" fmla="*/ 1482310 h 1791218"/>
                  <a:gd name="connsiteX8" fmla="*/ 942257 w 1128409"/>
                  <a:gd name="connsiteY8" fmla="*/ 675799 h 1791218"/>
                  <a:gd name="connsiteX9" fmla="*/ 547403 w 1128409"/>
                  <a:gd name="connsiteY9" fmla="*/ 31563 h 1791218"/>
                  <a:gd name="connsiteX0" fmla="*/ 547403 w 1128409"/>
                  <a:gd name="connsiteY0" fmla="*/ 31563 h 1791218"/>
                  <a:gd name="connsiteX1" fmla="*/ 0 w 1128409"/>
                  <a:gd name="connsiteY1" fmla="*/ 121765 h 1791218"/>
                  <a:gd name="connsiteX2" fmla="*/ 84012 w 1128409"/>
                  <a:gd name="connsiteY2" fmla="*/ 130610 h 1791218"/>
                  <a:gd name="connsiteX3" fmla="*/ 462013 w 1128409"/>
                  <a:gd name="connsiteY3" fmla="*/ 968997 h 1791218"/>
                  <a:gd name="connsiteX4" fmla="*/ 525055 w 1128409"/>
                  <a:gd name="connsiteY4" fmla="*/ 1144333 h 1791218"/>
                  <a:gd name="connsiteX5" fmla="*/ 113033 w 1128409"/>
                  <a:gd name="connsiteY5" fmla="*/ 1247475 h 1791218"/>
                  <a:gd name="connsiteX6" fmla="*/ 315597 w 1128409"/>
                  <a:gd name="connsiteY6" fmla="*/ 1525378 h 1791218"/>
                  <a:gd name="connsiteX7" fmla="*/ 1128409 w 1128409"/>
                  <a:gd name="connsiteY7" fmla="*/ 1482310 h 1791218"/>
                  <a:gd name="connsiteX8" fmla="*/ 942257 w 1128409"/>
                  <a:gd name="connsiteY8" fmla="*/ 675799 h 1791218"/>
                  <a:gd name="connsiteX9" fmla="*/ 547403 w 1128409"/>
                  <a:gd name="connsiteY9" fmla="*/ 31563 h 1791218"/>
                  <a:gd name="connsiteX0" fmla="*/ 547403 w 1128409"/>
                  <a:gd name="connsiteY0" fmla="*/ 31563 h 1791218"/>
                  <a:gd name="connsiteX1" fmla="*/ 0 w 1128409"/>
                  <a:gd name="connsiteY1" fmla="*/ 121765 h 1791218"/>
                  <a:gd name="connsiteX2" fmla="*/ 84012 w 1128409"/>
                  <a:gd name="connsiteY2" fmla="*/ 130610 h 1791218"/>
                  <a:gd name="connsiteX3" fmla="*/ 462013 w 1128409"/>
                  <a:gd name="connsiteY3" fmla="*/ 968997 h 1791218"/>
                  <a:gd name="connsiteX4" fmla="*/ 525055 w 1128409"/>
                  <a:gd name="connsiteY4" fmla="*/ 1144333 h 1791218"/>
                  <a:gd name="connsiteX5" fmla="*/ 113033 w 1128409"/>
                  <a:gd name="connsiteY5" fmla="*/ 1247475 h 1791218"/>
                  <a:gd name="connsiteX6" fmla="*/ 315597 w 1128409"/>
                  <a:gd name="connsiteY6" fmla="*/ 1525378 h 1791218"/>
                  <a:gd name="connsiteX7" fmla="*/ 1128409 w 1128409"/>
                  <a:gd name="connsiteY7" fmla="*/ 1482310 h 1791218"/>
                  <a:gd name="connsiteX8" fmla="*/ 942257 w 1128409"/>
                  <a:gd name="connsiteY8" fmla="*/ 675799 h 1791218"/>
                  <a:gd name="connsiteX9" fmla="*/ 547403 w 1128409"/>
                  <a:gd name="connsiteY9" fmla="*/ 31563 h 1791218"/>
                  <a:gd name="connsiteX0" fmla="*/ 547403 w 1128409"/>
                  <a:gd name="connsiteY0" fmla="*/ 31563 h 1791218"/>
                  <a:gd name="connsiteX1" fmla="*/ 0 w 1128409"/>
                  <a:gd name="connsiteY1" fmla="*/ 121765 h 1791218"/>
                  <a:gd name="connsiteX2" fmla="*/ 84012 w 1128409"/>
                  <a:gd name="connsiteY2" fmla="*/ 130610 h 1791218"/>
                  <a:gd name="connsiteX3" fmla="*/ 462013 w 1128409"/>
                  <a:gd name="connsiteY3" fmla="*/ 968997 h 1791218"/>
                  <a:gd name="connsiteX4" fmla="*/ 525055 w 1128409"/>
                  <a:gd name="connsiteY4" fmla="*/ 1144333 h 1791218"/>
                  <a:gd name="connsiteX5" fmla="*/ 113033 w 1128409"/>
                  <a:gd name="connsiteY5" fmla="*/ 1247475 h 1791218"/>
                  <a:gd name="connsiteX6" fmla="*/ 315597 w 1128409"/>
                  <a:gd name="connsiteY6" fmla="*/ 1525378 h 1791218"/>
                  <a:gd name="connsiteX7" fmla="*/ 1128409 w 1128409"/>
                  <a:gd name="connsiteY7" fmla="*/ 1482310 h 1791218"/>
                  <a:gd name="connsiteX8" fmla="*/ 942257 w 1128409"/>
                  <a:gd name="connsiteY8" fmla="*/ 675799 h 1791218"/>
                  <a:gd name="connsiteX9" fmla="*/ 547403 w 1128409"/>
                  <a:gd name="connsiteY9" fmla="*/ 31563 h 1791218"/>
                  <a:gd name="connsiteX0" fmla="*/ 547403 w 1128409"/>
                  <a:gd name="connsiteY0" fmla="*/ 31563 h 1791218"/>
                  <a:gd name="connsiteX1" fmla="*/ 0 w 1128409"/>
                  <a:gd name="connsiteY1" fmla="*/ 121765 h 1791218"/>
                  <a:gd name="connsiteX2" fmla="*/ 84012 w 1128409"/>
                  <a:gd name="connsiteY2" fmla="*/ 130610 h 1791218"/>
                  <a:gd name="connsiteX3" fmla="*/ 462013 w 1128409"/>
                  <a:gd name="connsiteY3" fmla="*/ 968997 h 1791218"/>
                  <a:gd name="connsiteX4" fmla="*/ 512054 w 1128409"/>
                  <a:gd name="connsiteY4" fmla="*/ 1144333 h 1791218"/>
                  <a:gd name="connsiteX5" fmla="*/ 113033 w 1128409"/>
                  <a:gd name="connsiteY5" fmla="*/ 1247475 h 1791218"/>
                  <a:gd name="connsiteX6" fmla="*/ 315597 w 1128409"/>
                  <a:gd name="connsiteY6" fmla="*/ 1525378 h 1791218"/>
                  <a:gd name="connsiteX7" fmla="*/ 1128409 w 1128409"/>
                  <a:gd name="connsiteY7" fmla="*/ 1482310 h 1791218"/>
                  <a:gd name="connsiteX8" fmla="*/ 942257 w 1128409"/>
                  <a:gd name="connsiteY8" fmla="*/ 675799 h 1791218"/>
                  <a:gd name="connsiteX9" fmla="*/ 547403 w 1128409"/>
                  <a:gd name="connsiteY9" fmla="*/ 31563 h 179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8409" h="1791218">
                    <a:moveTo>
                      <a:pt x="547403" y="31563"/>
                    </a:moveTo>
                    <a:cubicBezTo>
                      <a:pt x="381148" y="45418"/>
                      <a:pt x="309" y="0"/>
                      <a:pt x="0" y="121765"/>
                    </a:cubicBezTo>
                    <a:cubicBezTo>
                      <a:pt x="39354" y="119849"/>
                      <a:pt x="44659" y="98479"/>
                      <a:pt x="84012" y="130610"/>
                    </a:cubicBezTo>
                    <a:lnTo>
                      <a:pt x="462013" y="968997"/>
                    </a:lnTo>
                    <a:cubicBezTo>
                      <a:pt x="498967" y="1051044"/>
                      <a:pt x="519932" y="1123446"/>
                      <a:pt x="512054" y="1144333"/>
                    </a:cubicBezTo>
                    <a:lnTo>
                      <a:pt x="113033" y="1247475"/>
                    </a:lnTo>
                    <a:cubicBezTo>
                      <a:pt x="215416" y="1455724"/>
                      <a:pt x="250943" y="1456998"/>
                      <a:pt x="315597" y="1525378"/>
                    </a:cubicBezTo>
                    <a:cubicBezTo>
                      <a:pt x="674526" y="1791218"/>
                      <a:pt x="680937" y="1564867"/>
                      <a:pt x="1128409" y="1482310"/>
                    </a:cubicBezTo>
                    <a:cubicBezTo>
                      <a:pt x="1082778" y="1090659"/>
                      <a:pt x="994476" y="786383"/>
                      <a:pt x="942257" y="675799"/>
                    </a:cubicBezTo>
                    <a:cubicBezTo>
                      <a:pt x="805775" y="339458"/>
                      <a:pt x="703341" y="217125"/>
                      <a:pt x="547403" y="3156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95" name="Freeform 294"/>
              <p:cNvSpPr/>
              <p:nvPr/>
            </p:nvSpPr>
            <p:spPr>
              <a:xfrm rot="21114987" flipH="1">
                <a:off x="7157238" y="3074373"/>
                <a:ext cx="74987" cy="190247"/>
              </a:xfrm>
              <a:custGeom>
                <a:avLst/>
                <a:gdLst>
                  <a:gd name="connsiteX0" fmla="*/ 28414 w 813662"/>
                  <a:gd name="connsiteY0" fmla="*/ 90406 h 1995837"/>
                  <a:gd name="connsiteX1" fmla="*/ 235058 w 813662"/>
                  <a:gd name="connsiteY1" fmla="*/ 524359 h 1995837"/>
                  <a:gd name="connsiteX2" fmla="*/ 431370 w 813662"/>
                  <a:gd name="connsiteY2" fmla="*/ 984142 h 1995837"/>
                  <a:gd name="connsiteX3" fmla="*/ 312550 w 813662"/>
                  <a:gd name="connsiteY3" fmla="*/ 1149457 h 1995837"/>
                  <a:gd name="connsiteX4" fmla="*/ 178231 w 813662"/>
                  <a:gd name="connsiteY4" fmla="*/ 1195952 h 1995837"/>
                  <a:gd name="connsiteX5" fmla="*/ 638014 w 813662"/>
                  <a:gd name="connsiteY5" fmla="*/ 1898542 h 1995837"/>
                  <a:gd name="connsiteX6" fmla="*/ 808496 w 813662"/>
                  <a:gd name="connsiteY6" fmla="*/ 1779722 h 1995837"/>
                  <a:gd name="connsiteX7" fmla="*/ 607018 w 813662"/>
                  <a:gd name="connsiteY7" fmla="*/ 1139125 h 1995837"/>
                  <a:gd name="connsiteX8" fmla="*/ 488197 w 813662"/>
                  <a:gd name="connsiteY8" fmla="*/ 885986 h 1995837"/>
                  <a:gd name="connsiteX9" fmla="*/ 281553 w 813662"/>
                  <a:gd name="connsiteY9" fmla="*/ 364210 h 1995837"/>
                  <a:gd name="connsiteX10" fmla="*/ 131736 w 813662"/>
                  <a:gd name="connsiteY10" fmla="*/ 54244 h 1995837"/>
                  <a:gd name="connsiteX11" fmla="*/ 64577 w 813662"/>
                  <a:gd name="connsiteY11" fmla="*/ 38745 h 1995837"/>
                  <a:gd name="connsiteX12" fmla="*/ 28414 w 813662"/>
                  <a:gd name="connsiteY12" fmla="*/ 90406 h 1995837"/>
                  <a:gd name="connsiteX0" fmla="*/ 28414 w 855211"/>
                  <a:gd name="connsiteY0" fmla="*/ 90406 h 1834955"/>
                  <a:gd name="connsiteX1" fmla="*/ 235058 w 855211"/>
                  <a:gd name="connsiteY1" fmla="*/ 524359 h 1834955"/>
                  <a:gd name="connsiteX2" fmla="*/ 431370 w 855211"/>
                  <a:gd name="connsiteY2" fmla="*/ 984142 h 1834955"/>
                  <a:gd name="connsiteX3" fmla="*/ 312550 w 855211"/>
                  <a:gd name="connsiteY3" fmla="*/ 1149457 h 1834955"/>
                  <a:gd name="connsiteX4" fmla="*/ 178231 w 855211"/>
                  <a:gd name="connsiteY4" fmla="*/ 1195952 h 1834955"/>
                  <a:gd name="connsiteX5" fmla="*/ 326729 w 855211"/>
                  <a:gd name="connsiteY5" fmla="*/ 1470525 h 1834955"/>
                  <a:gd name="connsiteX6" fmla="*/ 808496 w 855211"/>
                  <a:gd name="connsiteY6" fmla="*/ 1779722 h 1834955"/>
                  <a:gd name="connsiteX7" fmla="*/ 607018 w 855211"/>
                  <a:gd name="connsiteY7" fmla="*/ 1139125 h 1834955"/>
                  <a:gd name="connsiteX8" fmla="*/ 488197 w 855211"/>
                  <a:gd name="connsiteY8" fmla="*/ 885986 h 1834955"/>
                  <a:gd name="connsiteX9" fmla="*/ 281553 w 855211"/>
                  <a:gd name="connsiteY9" fmla="*/ 364210 h 1834955"/>
                  <a:gd name="connsiteX10" fmla="*/ 131736 w 855211"/>
                  <a:gd name="connsiteY10" fmla="*/ 54244 h 1834955"/>
                  <a:gd name="connsiteX11" fmla="*/ 64577 w 855211"/>
                  <a:gd name="connsiteY11" fmla="*/ 38745 h 1834955"/>
                  <a:gd name="connsiteX12" fmla="*/ 28414 w 855211"/>
                  <a:gd name="connsiteY12" fmla="*/ 90406 h 1834955"/>
                  <a:gd name="connsiteX0" fmla="*/ 28414 w 621747"/>
                  <a:gd name="connsiteY0" fmla="*/ 90406 h 1502969"/>
                  <a:gd name="connsiteX1" fmla="*/ 235058 w 621747"/>
                  <a:gd name="connsiteY1" fmla="*/ 524359 h 1502969"/>
                  <a:gd name="connsiteX2" fmla="*/ 431370 w 621747"/>
                  <a:gd name="connsiteY2" fmla="*/ 984142 h 1502969"/>
                  <a:gd name="connsiteX3" fmla="*/ 312550 w 621747"/>
                  <a:gd name="connsiteY3" fmla="*/ 1149457 h 1502969"/>
                  <a:gd name="connsiteX4" fmla="*/ 178231 w 621747"/>
                  <a:gd name="connsiteY4" fmla="*/ 1195952 h 1502969"/>
                  <a:gd name="connsiteX5" fmla="*/ 326729 w 621747"/>
                  <a:gd name="connsiteY5" fmla="*/ 1470525 h 1502969"/>
                  <a:gd name="connsiteX6" fmla="*/ 575032 w 621747"/>
                  <a:gd name="connsiteY6" fmla="*/ 1390616 h 1502969"/>
                  <a:gd name="connsiteX7" fmla="*/ 607018 w 621747"/>
                  <a:gd name="connsiteY7" fmla="*/ 1139125 h 1502969"/>
                  <a:gd name="connsiteX8" fmla="*/ 488197 w 621747"/>
                  <a:gd name="connsiteY8" fmla="*/ 885986 h 1502969"/>
                  <a:gd name="connsiteX9" fmla="*/ 281553 w 621747"/>
                  <a:gd name="connsiteY9" fmla="*/ 364210 h 1502969"/>
                  <a:gd name="connsiteX10" fmla="*/ 131736 w 621747"/>
                  <a:gd name="connsiteY10" fmla="*/ 54244 h 1502969"/>
                  <a:gd name="connsiteX11" fmla="*/ 64577 w 621747"/>
                  <a:gd name="connsiteY11" fmla="*/ 38745 h 1502969"/>
                  <a:gd name="connsiteX12" fmla="*/ 28414 w 621747"/>
                  <a:gd name="connsiteY12" fmla="*/ 90406 h 1502969"/>
                  <a:gd name="connsiteX0" fmla="*/ 28414 w 614451"/>
                  <a:gd name="connsiteY0" fmla="*/ 90406 h 1502969"/>
                  <a:gd name="connsiteX1" fmla="*/ 235058 w 614451"/>
                  <a:gd name="connsiteY1" fmla="*/ 524359 h 1502969"/>
                  <a:gd name="connsiteX2" fmla="*/ 431370 w 614451"/>
                  <a:gd name="connsiteY2" fmla="*/ 984142 h 1502969"/>
                  <a:gd name="connsiteX3" fmla="*/ 312550 w 614451"/>
                  <a:gd name="connsiteY3" fmla="*/ 1149457 h 1502969"/>
                  <a:gd name="connsiteX4" fmla="*/ 178231 w 614451"/>
                  <a:gd name="connsiteY4" fmla="*/ 1195952 h 1502969"/>
                  <a:gd name="connsiteX5" fmla="*/ 326729 w 614451"/>
                  <a:gd name="connsiteY5" fmla="*/ 1470525 h 1502969"/>
                  <a:gd name="connsiteX6" fmla="*/ 575032 w 614451"/>
                  <a:gd name="connsiteY6" fmla="*/ 1390616 h 1502969"/>
                  <a:gd name="connsiteX7" fmla="*/ 563244 w 614451"/>
                  <a:gd name="connsiteY7" fmla="*/ 1143989 h 1502969"/>
                  <a:gd name="connsiteX8" fmla="*/ 488197 w 614451"/>
                  <a:gd name="connsiteY8" fmla="*/ 885986 h 1502969"/>
                  <a:gd name="connsiteX9" fmla="*/ 281553 w 614451"/>
                  <a:gd name="connsiteY9" fmla="*/ 364210 h 1502969"/>
                  <a:gd name="connsiteX10" fmla="*/ 131736 w 614451"/>
                  <a:gd name="connsiteY10" fmla="*/ 54244 h 1502969"/>
                  <a:gd name="connsiteX11" fmla="*/ 64577 w 614451"/>
                  <a:gd name="connsiteY11" fmla="*/ 38745 h 1502969"/>
                  <a:gd name="connsiteX12" fmla="*/ 28414 w 614451"/>
                  <a:gd name="connsiteY12" fmla="*/ 90406 h 1502969"/>
                  <a:gd name="connsiteX0" fmla="*/ 28414 w 612830"/>
                  <a:gd name="connsiteY0" fmla="*/ 90406 h 1459195"/>
                  <a:gd name="connsiteX1" fmla="*/ 235058 w 612830"/>
                  <a:gd name="connsiteY1" fmla="*/ 524359 h 1459195"/>
                  <a:gd name="connsiteX2" fmla="*/ 431370 w 612830"/>
                  <a:gd name="connsiteY2" fmla="*/ 984142 h 1459195"/>
                  <a:gd name="connsiteX3" fmla="*/ 312550 w 612830"/>
                  <a:gd name="connsiteY3" fmla="*/ 1149457 h 1459195"/>
                  <a:gd name="connsiteX4" fmla="*/ 178231 w 612830"/>
                  <a:gd name="connsiteY4" fmla="*/ 1195952 h 1459195"/>
                  <a:gd name="connsiteX5" fmla="*/ 336456 w 612830"/>
                  <a:gd name="connsiteY5" fmla="*/ 1426751 h 1459195"/>
                  <a:gd name="connsiteX6" fmla="*/ 575032 w 612830"/>
                  <a:gd name="connsiteY6" fmla="*/ 1390616 h 1459195"/>
                  <a:gd name="connsiteX7" fmla="*/ 563244 w 612830"/>
                  <a:gd name="connsiteY7" fmla="*/ 1143989 h 1459195"/>
                  <a:gd name="connsiteX8" fmla="*/ 488197 w 612830"/>
                  <a:gd name="connsiteY8" fmla="*/ 885986 h 1459195"/>
                  <a:gd name="connsiteX9" fmla="*/ 281553 w 612830"/>
                  <a:gd name="connsiteY9" fmla="*/ 364210 h 1459195"/>
                  <a:gd name="connsiteX10" fmla="*/ 131736 w 612830"/>
                  <a:gd name="connsiteY10" fmla="*/ 54244 h 1459195"/>
                  <a:gd name="connsiteX11" fmla="*/ 64577 w 612830"/>
                  <a:gd name="connsiteY11" fmla="*/ 38745 h 1459195"/>
                  <a:gd name="connsiteX12" fmla="*/ 28414 w 612830"/>
                  <a:gd name="connsiteY12" fmla="*/ 90406 h 1459195"/>
                  <a:gd name="connsiteX0" fmla="*/ 28414 w 612830"/>
                  <a:gd name="connsiteY0" fmla="*/ 90406 h 1459195"/>
                  <a:gd name="connsiteX1" fmla="*/ 235058 w 612830"/>
                  <a:gd name="connsiteY1" fmla="*/ 524359 h 1459195"/>
                  <a:gd name="connsiteX2" fmla="*/ 431370 w 612830"/>
                  <a:gd name="connsiteY2" fmla="*/ 984142 h 1459195"/>
                  <a:gd name="connsiteX3" fmla="*/ 312550 w 612830"/>
                  <a:gd name="connsiteY3" fmla="*/ 1149457 h 1459195"/>
                  <a:gd name="connsiteX4" fmla="*/ 178231 w 612830"/>
                  <a:gd name="connsiteY4" fmla="*/ 1195952 h 1459195"/>
                  <a:gd name="connsiteX5" fmla="*/ 336456 w 612830"/>
                  <a:gd name="connsiteY5" fmla="*/ 1426751 h 1459195"/>
                  <a:gd name="connsiteX6" fmla="*/ 575032 w 612830"/>
                  <a:gd name="connsiteY6" fmla="*/ 1390616 h 1459195"/>
                  <a:gd name="connsiteX7" fmla="*/ 563244 w 612830"/>
                  <a:gd name="connsiteY7" fmla="*/ 1143989 h 1459195"/>
                  <a:gd name="connsiteX8" fmla="*/ 488197 w 612830"/>
                  <a:gd name="connsiteY8" fmla="*/ 885986 h 1459195"/>
                  <a:gd name="connsiteX9" fmla="*/ 281553 w 612830"/>
                  <a:gd name="connsiteY9" fmla="*/ 364210 h 1459195"/>
                  <a:gd name="connsiteX10" fmla="*/ 131736 w 612830"/>
                  <a:gd name="connsiteY10" fmla="*/ 54244 h 1459195"/>
                  <a:gd name="connsiteX11" fmla="*/ 64577 w 612830"/>
                  <a:gd name="connsiteY11" fmla="*/ 38745 h 1459195"/>
                  <a:gd name="connsiteX12" fmla="*/ 28414 w 612830"/>
                  <a:gd name="connsiteY12" fmla="*/ 90406 h 1459195"/>
                  <a:gd name="connsiteX0" fmla="*/ 28414 w 612830"/>
                  <a:gd name="connsiteY0" fmla="*/ 90406 h 1478650"/>
                  <a:gd name="connsiteX1" fmla="*/ 235058 w 612830"/>
                  <a:gd name="connsiteY1" fmla="*/ 524359 h 1478650"/>
                  <a:gd name="connsiteX2" fmla="*/ 431370 w 612830"/>
                  <a:gd name="connsiteY2" fmla="*/ 984142 h 1478650"/>
                  <a:gd name="connsiteX3" fmla="*/ 312550 w 612830"/>
                  <a:gd name="connsiteY3" fmla="*/ 1149457 h 1478650"/>
                  <a:gd name="connsiteX4" fmla="*/ 178231 w 612830"/>
                  <a:gd name="connsiteY4" fmla="*/ 1195952 h 1478650"/>
                  <a:gd name="connsiteX5" fmla="*/ 336456 w 612830"/>
                  <a:gd name="connsiteY5" fmla="*/ 1426751 h 1478650"/>
                  <a:gd name="connsiteX6" fmla="*/ 575032 w 612830"/>
                  <a:gd name="connsiteY6" fmla="*/ 1390616 h 1478650"/>
                  <a:gd name="connsiteX7" fmla="*/ 563244 w 612830"/>
                  <a:gd name="connsiteY7" fmla="*/ 1143989 h 1478650"/>
                  <a:gd name="connsiteX8" fmla="*/ 488197 w 612830"/>
                  <a:gd name="connsiteY8" fmla="*/ 885986 h 1478650"/>
                  <a:gd name="connsiteX9" fmla="*/ 281553 w 612830"/>
                  <a:gd name="connsiteY9" fmla="*/ 364210 h 1478650"/>
                  <a:gd name="connsiteX10" fmla="*/ 131736 w 612830"/>
                  <a:gd name="connsiteY10" fmla="*/ 54244 h 1478650"/>
                  <a:gd name="connsiteX11" fmla="*/ 64577 w 612830"/>
                  <a:gd name="connsiteY11" fmla="*/ 38745 h 1478650"/>
                  <a:gd name="connsiteX12" fmla="*/ 28414 w 612830"/>
                  <a:gd name="connsiteY12" fmla="*/ 90406 h 1478650"/>
                  <a:gd name="connsiteX0" fmla="*/ 28414 w 583647"/>
                  <a:gd name="connsiteY0" fmla="*/ 90406 h 1478650"/>
                  <a:gd name="connsiteX1" fmla="*/ 235058 w 583647"/>
                  <a:gd name="connsiteY1" fmla="*/ 524359 h 1478650"/>
                  <a:gd name="connsiteX2" fmla="*/ 431370 w 583647"/>
                  <a:gd name="connsiteY2" fmla="*/ 984142 h 1478650"/>
                  <a:gd name="connsiteX3" fmla="*/ 312550 w 583647"/>
                  <a:gd name="connsiteY3" fmla="*/ 1149457 h 1478650"/>
                  <a:gd name="connsiteX4" fmla="*/ 178231 w 583647"/>
                  <a:gd name="connsiteY4" fmla="*/ 1195952 h 1478650"/>
                  <a:gd name="connsiteX5" fmla="*/ 336456 w 583647"/>
                  <a:gd name="connsiteY5" fmla="*/ 1426751 h 1478650"/>
                  <a:gd name="connsiteX6" fmla="*/ 545849 w 583647"/>
                  <a:gd name="connsiteY6" fmla="*/ 1390616 h 1478650"/>
                  <a:gd name="connsiteX7" fmla="*/ 563244 w 583647"/>
                  <a:gd name="connsiteY7" fmla="*/ 1143989 h 1478650"/>
                  <a:gd name="connsiteX8" fmla="*/ 488197 w 583647"/>
                  <a:gd name="connsiteY8" fmla="*/ 885986 h 1478650"/>
                  <a:gd name="connsiteX9" fmla="*/ 281553 w 583647"/>
                  <a:gd name="connsiteY9" fmla="*/ 364210 h 1478650"/>
                  <a:gd name="connsiteX10" fmla="*/ 131736 w 583647"/>
                  <a:gd name="connsiteY10" fmla="*/ 54244 h 1478650"/>
                  <a:gd name="connsiteX11" fmla="*/ 64577 w 583647"/>
                  <a:gd name="connsiteY11" fmla="*/ 38745 h 1478650"/>
                  <a:gd name="connsiteX12" fmla="*/ 28414 w 583647"/>
                  <a:gd name="connsiteY12" fmla="*/ 90406 h 1478650"/>
                  <a:gd name="connsiteX0" fmla="*/ 28414 w 578783"/>
                  <a:gd name="connsiteY0" fmla="*/ 90406 h 1478650"/>
                  <a:gd name="connsiteX1" fmla="*/ 235058 w 578783"/>
                  <a:gd name="connsiteY1" fmla="*/ 524359 h 1478650"/>
                  <a:gd name="connsiteX2" fmla="*/ 431370 w 578783"/>
                  <a:gd name="connsiteY2" fmla="*/ 984142 h 1478650"/>
                  <a:gd name="connsiteX3" fmla="*/ 312550 w 578783"/>
                  <a:gd name="connsiteY3" fmla="*/ 1149457 h 1478650"/>
                  <a:gd name="connsiteX4" fmla="*/ 178231 w 578783"/>
                  <a:gd name="connsiteY4" fmla="*/ 1195952 h 1478650"/>
                  <a:gd name="connsiteX5" fmla="*/ 336456 w 578783"/>
                  <a:gd name="connsiteY5" fmla="*/ 1426751 h 1478650"/>
                  <a:gd name="connsiteX6" fmla="*/ 545849 w 578783"/>
                  <a:gd name="connsiteY6" fmla="*/ 1390616 h 1478650"/>
                  <a:gd name="connsiteX7" fmla="*/ 563244 w 578783"/>
                  <a:gd name="connsiteY7" fmla="*/ 1143989 h 1478650"/>
                  <a:gd name="connsiteX8" fmla="*/ 488197 w 578783"/>
                  <a:gd name="connsiteY8" fmla="*/ 885986 h 1478650"/>
                  <a:gd name="connsiteX9" fmla="*/ 281553 w 578783"/>
                  <a:gd name="connsiteY9" fmla="*/ 364210 h 1478650"/>
                  <a:gd name="connsiteX10" fmla="*/ 131736 w 578783"/>
                  <a:gd name="connsiteY10" fmla="*/ 54244 h 1478650"/>
                  <a:gd name="connsiteX11" fmla="*/ 64577 w 578783"/>
                  <a:gd name="connsiteY11" fmla="*/ 38745 h 1478650"/>
                  <a:gd name="connsiteX12" fmla="*/ 28414 w 578783"/>
                  <a:gd name="connsiteY12" fmla="*/ 90406 h 1478650"/>
                  <a:gd name="connsiteX0" fmla="*/ 28414 w 578783"/>
                  <a:gd name="connsiteY0" fmla="*/ 90406 h 1478650"/>
                  <a:gd name="connsiteX1" fmla="*/ 235058 w 578783"/>
                  <a:gd name="connsiteY1" fmla="*/ 524359 h 1478650"/>
                  <a:gd name="connsiteX2" fmla="*/ 431370 w 578783"/>
                  <a:gd name="connsiteY2" fmla="*/ 984142 h 1478650"/>
                  <a:gd name="connsiteX3" fmla="*/ 312550 w 578783"/>
                  <a:gd name="connsiteY3" fmla="*/ 1149457 h 1478650"/>
                  <a:gd name="connsiteX4" fmla="*/ 178231 w 578783"/>
                  <a:gd name="connsiteY4" fmla="*/ 1195952 h 1478650"/>
                  <a:gd name="connsiteX5" fmla="*/ 336456 w 578783"/>
                  <a:gd name="connsiteY5" fmla="*/ 1426751 h 1478650"/>
                  <a:gd name="connsiteX6" fmla="*/ 545849 w 578783"/>
                  <a:gd name="connsiteY6" fmla="*/ 1390616 h 1478650"/>
                  <a:gd name="connsiteX7" fmla="*/ 563244 w 578783"/>
                  <a:gd name="connsiteY7" fmla="*/ 1143989 h 1478650"/>
                  <a:gd name="connsiteX8" fmla="*/ 488197 w 578783"/>
                  <a:gd name="connsiteY8" fmla="*/ 885986 h 1478650"/>
                  <a:gd name="connsiteX9" fmla="*/ 281553 w 578783"/>
                  <a:gd name="connsiteY9" fmla="*/ 364210 h 1478650"/>
                  <a:gd name="connsiteX10" fmla="*/ 131736 w 578783"/>
                  <a:gd name="connsiteY10" fmla="*/ 54244 h 1478650"/>
                  <a:gd name="connsiteX11" fmla="*/ 64577 w 578783"/>
                  <a:gd name="connsiteY11" fmla="*/ 38745 h 1478650"/>
                  <a:gd name="connsiteX12" fmla="*/ 28414 w 578783"/>
                  <a:gd name="connsiteY12" fmla="*/ 90406 h 1478650"/>
                  <a:gd name="connsiteX0" fmla="*/ 28414 w 578783"/>
                  <a:gd name="connsiteY0" fmla="*/ 90406 h 1478650"/>
                  <a:gd name="connsiteX1" fmla="*/ 235058 w 578783"/>
                  <a:gd name="connsiteY1" fmla="*/ 524359 h 1478650"/>
                  <a:gd name="connsiteX2" fmla="*/ 431370 w 578783"/>
                  <a:gd name="connsiteY2" fmla="*/ 984142 h 1478650"/>
                  <a:gd name="connsiteX3" fmla="*/ 312550 w 578783"/>
                  <a:gd name="connsiteY3" fmla="*/ 1149457 h 1478650"/>
                  <a:gd name="connsiteX4" fmla="*/ 178231 w 578783"/>
                  <a:gd name="connsiteY4" fmla="*/ 1195952 h 1478650"/>
                  <a:gd name="connsiteX5" fmla="*/ 336456 w 578783"/>
                  <a:gd name="connsiteY5" fmla="*/ 1426751 h 1478650"/>
                  <a:gd name="connsiteX6" fmla="*/ 545849 w 578783"/>
                  <a:gd name="connsiteY6" fmla="*/ 1390616 h 1478650"/>
                  <a:gd name="connsiteX7" fmla="*/ 563244 w 578783"/>
                  <a:gd name="connsiteY7" fmla="*/ 1143989 h 1478650"/>
                  <a:gd name="connsiteX8" fmla="*/ 488197 w 578783"/>
                  <a:gd name="connsiteY8" fmla="*/ 885986 h 1478650"/>
                  <a:gd name="connsiteX9" fmla="*/ 281553 w 578783"/>
                  <a:gd name="connsiteY9" fmla="*/ 364210 h 1478650"/>
                  <a:gd name="connsiteX10" fmla="*/ 131736 w 578783"/>
                  <a:gd name="connsiteY10" fmla="*/ 54244 h 1478650"/>
                  <a:gd name="connsiteX11" fmla="*/ 64577 w 578783"/>
                  <a:gd name="connsiteY11" fmla="*/ 38745 h 1478650"/>
                  <a:gd name="connsiteX12" fmla="*/ 28414 w 578783"/>
                  <a:gd name="connsiteY12" fmla="*/ 90406 h 1478650"/>
                  <a:gd name="connsiteX0" fmla="*/ 17220 w 567589"/>
                  <a:gd name="connsiteY0" fmla="*/ 81796 h 1470040"/>
                  <a:gd name="connsiteX1" fmla="*/ 223864 w 567589"/>
                  <a:gd name="connsiteY1" fmla="*/ 515749 h 1470040"/>
                  <a:gd name="connsiteX2" fmla="*/ 420176 w 567589"/>
                  <a:gd name="connsiteY2" fmla="*/ 975532 h 1470040"/>
                  <a:gd name="connsiteX3" fmla="*/ 301356 w 567589"/>
                  <a:gd name="connsiteY3" fmla="*/ 1140847 h 1470040"/>
                  <a:gd name="connsiteX4" fmla="*/ 167037 w 567589"/>
                  <a:gd name="connsiteY4" fmla="*/ 1187342 h 1470040"/>
                  <a:gd name="connsiteX5" fmla="*/ 325262 w 567589"/>
                  <a:gd name="connsiteY5" fmla="*/ 1418141 h 1470040"/>
                  <a:gd name="connsiteX6" fmla="*/ 534655 w 567589"/>
                  <a:gd name="connsiteY6" fmla="*/ 1382006 h 1470040"/>
                  <a:gd name="connsiteX7" fmla="*/ 552050 w 567589"/>
                  <a:gd name="connsiteY7" fmla="*/ 1135379 h 1470040"/>
                  <a:gd name="connsiteX8" fmla="*/ 477003 w 567589"/>
                  <a:gd name="connsiteY8" fmla="*/ 877376 h 1470040"/>
                  <a:gd name="connsiteX9" fmla="*/ 270359 w 567589"/>
                  <a:gd name="connsiteY9" fmla="*/ 355600 h 1470040"/>
                  <a:gd name="connsiteX10" fmla="*/ 120542 w 567589"/>
                  <a:gd name="connsiteY10" fmla="*/ 45634 h 1470040"/>
                  <a:gd name="connsiteX11" fmla="*/ 17220 w 567589"/>
                  <a:gd name="connsiteY11" fmla="*/ 81796 h 1470040"/>
                  <a:gd name="connsiteX0" fmla="*/ 17220 w 552997"/>
                  <a:gd name="connsiteY0" fmla="*/ 81796 h 1470040"/>
                  <a:gd name="connsiteX1" fmla="*/ 209272 w 552997"/>
                  <a:gd name="connsiteY1" fmla="*/ 515749 h 1470040"/>
                  <a:gd name="connsiteX2" fmla="*/ 405584 w 552997"/>
                  <a:gd name="connsiteY2" fmla="*/ 975532 h 1470040"/>
                  <a:gd name="connsiteX3" fmla="*/ 286764 w 552997"/>
                  <a:gd name="connsiteY3" fmla="*/ 1140847 h 1470040"/>
                  <a:gd name="connsiteX4" fmla="*/ 152445 w 552997"/>
                  <a:gd name="connsiteY4" fmla="*/ 1187342 h 1470040"/>
                  <a:gd name="connsiteX5" fmla="*/ 310670 w 552997"/>
                  <a:gd name="connsiteY5" fmla="*/ 1418141 h 1470040"/>
                  <a:gd name="connsiteX6" fmla="*/ 520063 w 552997"/>
                  <a:gd name="connsiteY6" fmla="*/ 1382006 h 1470040"/>
                  <a:gd name="connsiteX7" fmla="*/ 537458 w 552997"/>
                  <a:gd name="connsiteY7" fmla="*/ 1135379 h 1470040"/>
                  <a:gd name="connsiteX8" fmla="*/ 462411 w 552997"/>
                  <a:gd name="connsiteY8" fmla="*/ 877376 h 1470040"/>
                  <a:gd name="connsiteX9" fmla="*/ 255767 w 552997"/>
                  <a:gd name="connsiteY9" fmla="*/ 355600 h 1470040"/>
                  <a:gd name="connsiteX10" fmla="*/ 105950 w 552997"/>
                  <a:gd name="connsiteY10" fmla="*/ 45634 h 1470040"/>
                  <a:gd name="connsiteX11" fmla="*/ 17220 w 552997"/>
                  <a:gd name="connsiteY11" fmla="*/ 81796 h 1470040"/>
                  <a:gd name="connsiteX0" fmla="*/ 17220 w 613483"/>
                  <a:gd name="connsiteY0" fmla="*/ 81796 h 1607032"/>
                  <a:gd name="connsiteX1" fmla="*/ 209272 w 613483"/>
                  <a:gd name="connsiteY1" fmla="*/ 515749 h 1607032"/>
                  <a:gd name="connsiteX2" fmla="*/ 405584 w 613483"/>
                  <a:gd name="connsiteY2" fmla="*/ 975532 h 1607032"/>
                  <a:gd name="connsiteX3" fmla="*/ 286764 w 613483"/>
                  <a:gd name="connsiteY3" fmla="*/ 1140847 h 1607032"/>
                  <a:gd name="connsiteX4" fmla="*/ 152445 w 613483"/>
                  <a:gd name="connsiteY4" fmla="*/ 1187342 h 1607032"/>
                  <a:gd name="connsiteX5" fmla="*/ 310670 w 613483"/>
                  <a:gd name="connsiteY5" fmla="*/ 1418141 h 1607032"/>
                  <a:gd name="connsiteX6" fmla="*/ 580549 w 613483"/>
                  <a:gd name="connsiteY6" fmla="*/ 1559905 h 1607032"/>
                  <a:gd name="connsiteX7" fmla="*/ 537458 w 613483"/>
                  <a:gd name="connsiteY7" fmla="*/ 1135379 h 1607032"/>
                  <a:gd name="connsiteX8" fmla="*/ 462411 w 613483"/>
                  <a:gd name="connsiteY8" fmla="*/ 877376 h 1607032"/>
                  <a:gd name="connsiteX9" fmla="*/ 255767 w 613483"/>
                  <a:gd name="connsiteY9" fmla="*/ 355600 h 1607032"/>
                  <a:gd name="connsiteX10" fmla="*/ 105950 w 613483"/>
                  <a:gd name="connsiteY10" fmla="*/ 45634 h 1607032"/>
                  <a:gd name="connsiteX11" fmla="*/ 17220 w 613483"/>
                  <a:gd name="connsiteY11" fmla="*/ 81796 h 1607032"/>
                  <a:gd name="connsiteX0" fmla="*/ 17220 w 613483"/>
                  <a:gd name="connsiteY0" fmla="*/ 81796 h 1607032"/>
                  <a:gd name="connsiteX1" fmla="*/ 209272 w 613483"/>
                  <a:gd name="connsiteY1" fmla="*/ 515749 h 1607032"/>
                  <a:gd name="connsiteX2" fmla="*/ 405584 w 613483"/>
                  <a:gd name="connsiteY2" fmla="*/ 975532 h 1607032"/>
                  <a:gd name="connsiteX3" fmla="*/ 286764 w 613483"/>
                  <a:gd name="connsiteY3" fmla="*/ 1140847 h 1607032"/>
                  <a:gd name="connsiteX4" fmla="*/ 152445 w 613483"/>
                  <a:gd name="connsiteY4" fmla="*/ 1187342 h 1607032"/>
                  <a:gd name="connsiteX5" fmla="*/ 310670 w 613483"/>
                  <a:gd name="connsiteY5" fmla="*/ 1432373 h 1607032"/>
                  <a:gd name="connsiteX6" fmla="*/ 580549 w 613483"/>
                  <a:gd name="connsiteY6" fmla="*/ 1559905 h 1607032"/>
                  <a:gd name="connsiteX7" fmla="*/ 537458 w 613483"/>
                  <a:gd name="connsiteY7" fmla="*/ 1135379 h 1607032"/>
                  <a:gd name="connsiteX8" fmla="*/ 462411 w 613483"/>
                  <a:gd name="connsiteY8" fmla="*/ 877376 h 1607032"/>
                  <a:gd name="connsiteX9" fmla="*/ 255767 w 613483"/>
                  <a:gd name="connsiteY9" fmla="*/ 355600 h 1607032"/>
                  <a:gd name="connsiteX10" fmla="*/ 105950 w 613483"/>
                  <a:gd name="connsiteY10" fmla="*/ 45634 h 1607032"/>
                  <a:gd name="connsiteX11" fmla="*/ 17220 w 613483"/>
                  <a:gd name="connsiteY11" fmla="*/ 81796 h 1607032"/>
                  <a:gd name="connsiteX0" fmla="*/ 17220 w 613483"/>
                  <a:gd name="connsiteY0" fmla="*/ 81796 h 1607032"/>
                  <a:gd name="connsiteX1" fmla="*/ 209272 w 613483"/>
                  <a:gd name="connsiteY1" fmla="*/ 515749 h 1607032"/>
                  <a:gd name="connsiteX2" fmla="*/ 405584 w 613483"/>
                  <a:gd name="connsiteY2" fmla="*/ 975532 h 1607032"/>
                  <a:gd name="connsiteX3" fmla="*/ 286764 w 613483"/>
                  <a:gd name="connsiteY3" fmla="*/ 1140847 h 1607032"/>
                  <a:gd name="connsiteX4" fmla="*/ 152445 w 613483"/>
                  <a:gd name="connsiteY4" fmla="*/ 1187342 h 1607032"/>
                  <a:gd name="connsiteX5" fmla="*/ 310670 w 613483"/>
                  <a:gd name="connsiteY5" fmla="*/ 1432373 h 1607032"/>
                  <a:gd name="connsiteX6" fmla="*/ 580549 w 613483"/>
                  <a:gd name="connsiteY6" fmla="*/ 1559905 h 1607032"/>
                  <a:gd name="connsiteX7" fmla="*/ 537458 w 613483"/>
                  <a:gd name="connsiteY7" fmla="*/ 1135379 h 1607032"/>
                  <a:gd name="connsiteX8" fmla="*/ 462411 w 613483"/>
                  <a:gd name="connsiteY8" fmla="*/ 877376 h 1607032"/>
                  <a:gd name="connsiteX9" fmla="*/ 255767 w 613483"/>
                  <a:gd name="connsiteY9" fmla="*/ 355600 h 1607032"/>
                  <a:gd name="connsiteX10" fmla="*/ 105950 w 613483"/>
                  <a:gd name="connsiteY10" fmla="*/ 45634 h 1607032"/>
                  <a:gd name="connsiteX11" fmla="*/ 17220 w 613483"/>
                  <a:gd name="connsiteY11" fmla="*/ 81796 h 1607032"/>
                  <a:gd name="connsiteX0" fmla="*/ 17220 w 613483"/>
                  <a:gd name="connsiteY0" fmla="*/ 81796 h 1607032"/>
                  <a:gd name="connsiteX1" fmla="*/ 209272 w 613483"/>
                  <a:gd name="connsiteY1" fmla="*/ 515749 h 1607032"/>
                  <a:gd name="connsiteX2" fmla="*/ 405584 w 613483"/>
                  <a:gd name="connsiteY2" fmla="*/ 975532 h 1607032"/>
                  <a:gd name="connsiteX3" fmla="*/ 286764 w 613483"/>
                  <a:gd name="connsiteY3" fmla="*/ 1140847 h 1607032"/>
                  <a:gd name="connsiteX4" fmla="*/ 113307 w 613483"/>
                  <a:gd name="connsiteY4" fmla="*/ 1190900 h 1607032"/>
                  <a:gd name="connsiteX5" fmla="*/ 310670 w 613483"/>
                  <a:gd name="connsiteY5" fmla="*/ 1432373 h 1607032"/>
                  <a:gd name="connsiteX6" fmla="*/ 580549 w 613483"/>
                  <a:gd name="connsiteY6" fmla="*/ 1559905 h 1607032"/>
                  <a:gd name="connsiteX7" fmla="*/ 537458 w 613483"/>
                  <a:gd name="connsiteY7" fmla="*/ 1135379 h 1607032"/>
                  <a:gd name="connsiteX8" fmla="*/ 462411 w 613483"/>
                  <a:gd name="connsiteY8" fmla="*/ 877376 h 1607032"/>
                  <a:gd name="connsiteX9" fmla="*/ 255767 w 613483"/>
                  <a:gd name="connsiteY9" fmla="*/ 355600 h 1607032"/>
                  <a:gd name="connsiteX10" fmla="*/ 105950 w 613483"/>
                  <a:gd name="connsiteY10" fmla="*/ 45634 h 1607032"/>
                  <a:gd name="connsiteX11" fmla="*/ 17220 w 613483"/>
                  <a:gd name="connsiteY11" fmla="*/ 81796 h 1607032"/>
                  <a:gd name="connsiteX0" fmla="*/ 17220 w 613483"/>
                  <a:gd name="connsiteY0" fmla="*/ 81796 h 1607032"/>
                  <a:gd name="connsiteX1" fmla="*/ 209272 w 613483"/>
                  <a:gd name="connsiteY1" fmla="*/ 515749 h 1607032"/>
                  <a:gd name="connsiteX2" fmla="*/ 405584 w 613483"/>
                  <a:gd name="connsiteY2" fmla="*/ 975532 h 1607032"/>
                  <a:gd name="connsiteX3" fmla="*/ 286764 w 613483"/>
                  <a:gd name="connsiteY3" fmla="*/ 1140847 h 1607032"/>
                  <a:gd name="connsiteX4" fmla="*/ 113307 w 613483"/>
                  <a:gd name="connsiteY4" fmla="*/ 1190900 h 1607032"/>
                  <a:gd name="connsiteX5" fmla="*/ 285764 w 613483"/>
                  <a:gd name="connsiteY5" fmla="*/ 1443046 h 1607032"/>
                  <a:gd name="connsiteX6" fmla="*/ 580549 w 613483"/>
                  <a:gd name="connsiteY6" fmla="*/ 1559905 h 1607032"/>
                  <a:gd name="connsiteX7" fmla="*/ 537458 w 613483"/>
                  <a:gd name="connsiteY7" fmla="*/ 1135379 h 1607032"/>
                  <a:gd name="connsiteX8" fmla="*/ 462411 w 613483"/>
                  <a:gd name="connsiteY8" fmla="*/ 877376 h 1607032"/>
                  <a:gd name="connsiteX9" fmla="*/ 255767 w 613483"/>
                  <a:gd name="connsiteY9" fmla="*/ 355600 h 1607032"/>
                  <a:gd name="connsiteX10" fmla="*/ 105950 w 613483"/>
                  <a:gd name="connsiteY10" fmla="*/ 45634 h 1607032"/>
                  <a:gd name="connsiteX11" fmla="*/ 17220 w 613483"/>
                  <a:gd name="connsiteY11" fmla="*/ 81796 h 1607032"/>
                  <a:gd name="connsiteX0" fmla="*/ 17220 w 613483"/>
                  <a:gd name="connsiteY0" fmla="*/ 81796 h 1607032"/>
                  <a:gd name="connsiteX1" fmla="*/ 209272 w 613483"/>
                  <a:gd name="connsiteY1" fmla="*/ 515749 h 1607032"/>
                  <a:gd name="connsiteX2" fmla="*/ 405584 w 613483"/>
                  <a:gd name="connsiteY2" fmla="*/ 975532 h 1607032"/>
                  <a:gd name="connsiteX3" fmla="*/ 286764 w 613483"/>
                  <a:gd name="connsiteY3" fmla="*/ 1140847 h 1607032"/>
                  <a:gd name="connsiteX4" fmla="*/ 113307 w 613483"/>
                  <a:gd name="connsiteY4" fmla="*/ 1190900 h 1607032"/>
                  <a:gd name="connsiteX5" fmla="*/ 285764 w 613483"/>
                  <a:gd name="connsiteY5" fmla="*/ 1443046 h 1607032"/>
                  <a:gd name="connsiteX6" fmla="*/ 580549 w 613483"/>
                  <a:gd name="connsiteY6" fmla="*/ 1559905 h 1607032"/>
                  <a:gd name="connsiteX7" fmla="*/ 537458 w 613483"/>
                  <a:gd name="connsiteY7" fmla="*/ 1135379 h 1607032"/>
                  <a:gd name="connsiteX8" fmla="*/ 462411 w 613483"/>
                  <a:gd name="connsiteY8" fmla="*/ 877376 h 1607032"/>
                  <a:gd name="connsiteX9" fmla="*/ 255767 w 613483"/>
                  <a:gd name="connsiteY9" fmla="*/ 355600 h 1607032"/>
                  <a:gd name="connsiteX10" fmla="*/ 105950 w 613483"/>
                  <a:gd name="connsiteY10" fmla="*/ 45634 h 1607032"/>
                  <a:gd name="connsiteX11" fmla="*/ 17220 w 613483"/>
                  <a:gd name="connsiteY11" fmla="*/ 81796 h 1607032"/>
                  <a:gd name="connsiteX0" fmla="*/ 17220 w 613483"/>
                  <a:gd name="connsiteY0" fmla="*/ 81796 h 1607032"/>
                  <a:gd name="connsiteX1" fmla="*/ 209272 w 613483"/>
                  <a:gd name="connsiteY1" fmla="*/ 515749 h 1607032"/>
                  <a:gd name="connsiteX2" fmla="*/ 405584 w 613483"/>
                  <a:gd name="connsiteY2" fmla="*/ 975532 h 1607032"/>
                  <a:gd name="connsiteX3" fmla="*/ 113307 w 613483"/>
                  <a:gd name="connsiteY3" fmla="*/ 1190900 h 1607032"/>
                  <a:gd name="connsiteX4" fmla="*/ 285764 w 613483"/>
                  <a:gd name="connsiteY4" fmla="*/ 1443046 h 1607032"/>
                  <a:gd name="connsiteX5" fmla="*/ 580549 w 613483"/>
                  <a:gd name="connsiteY5" fmla="*/ 1559905 h 1607032"/>
                  <a:gd name="connsiteX6" fmla="*/ 537458 w 613483"/>
                  <a:gd name="connsiteY6" fmla="*/ 1135379 h 1607032"/>
                  <a:gd name="connsiteX7" fmla="*/ 462411 w 613483"/>
                  <a:gd name="connsiteY7" fmla="*/ 877376 h 1607032"/>
                  <a:gd name="connsiteX8" fmla="*/ 255767 w 613483"/>
                  <a:gd name="connsiteY8" fmla="*/ 355600 h 1607032"/>
                  <a:gd name="connsiteX9" fmla="*/ 105950 w 613483"/>
                  <a:gd name="connsiteY9" fmla="*/ 45634 h 1607032"/>
                  <a:gd name="connsiteX10" fmla="*/ 17220 w 613483"/>
                  <a:gd name="connsiteY10" fmla="*/ 81796 h 1607032"/>
                  <a:gd name="connsiteX0" fmla="*/ 17220 w 613483"/>
                  <a:gd name="connsiteY0" fmla="*/ 81796 h 1607032"/>
                  <a:gd name="connsiteX1" fmla="*/ 209272 w 613483"/>
                  <a:gd name="connsiteY1" fmla="*/ 515749 h 1607032"/>
                  <a:gd name="connsiteX2" fmla="*/ 405584 w 613483"/>
                  <a:gd name="connsiteY2" fmla="*/ 975532 h 1607032"/>
                  <a:gd name="connsiteX3" fmla="*/ 113307 w 613483"/>
                  <a:gd name="connsiteY3" fmla="*/ 1190900 h 1607032"/>
                  <a:gd name="connsiteX4" fmla="*/ 285764 w 613483"/>
                  <a:gd name="connsiteY4" fmla="*/ 1443046 h 1607032"/>
                  <a:gd name="connsiteX5" fmla="*/ 580549 w 613483"/>
                  <a:gd name="connsiteY5" fmla="*/ 1559905 h 1607032"/>
                  <a:gd name="connsiteX6" fmla="*/ 537458 w 613483"/>
                  <a:gd name="connsiteY6" fmla="*/ 1135379 h 1607032"/>
                  <a:gd name="connsiteX7" fmla="*/ 462411 w 613483"/>
                  <a:gd name="connsiteY7" fmla="*/ 877376 h 1607032"/>
                  <a:gd name="connsiteX8" fmla="*/ 255767 w 613483"/>
                  <a:gd name="connsiteY8" fmla="*/ 355600 h 1607032"/>
                  <a:gd name="connsiteX9" fmla="*/ 105950 w 613483"/>
                  <a:gd name="connsiteY9" fmla="*/ 45634 h 1607032"/>
                  <a:gd name="connsiteX10" fmla="*/ 17220 w 613483"/>
                  <a:gd name="connsiteY10" fmla="*/ 81796 h 1607032"/>
                  <a:gd name="connsiteX0" fmla="*/ 17220 w 613483"/>
                  <a:gd name="connsiteY0" fmla="*/ 81796 h 1607032"/>
                  <a:gd name="connsiteX1" fmla="*/ 209272 w 613483"/>
                  <a:gd name="connsiteY1" fmla="*/ 515749 h 1607032"/>
                  <a:gd name="connsiteX2" fmla="*/ 405584 w 613483"/>
                  <a:gd name="connsiteY2" fmla="*/ 975532 h 1607032"/>
                  <a:gd name="connsiteX3" fmla="*/ 113307 w 613483"/>
                  <a:gd name="connsiteY3" fmla="*/ 1190900 h 1607032"/>
                  <a:gd name="connsiteX4" fmla="*/ 285764 w 613483"/>
                  <a:gd name="connsiteY4" fmla="*/ 1443046 h 1607032"/>
                  <a:gd name="connsiteX5" fmla="*/ 580549 w 613483"/>
                  <a:gd name="connsiteY5" fmla="*/ 1559905 h 1607032"/>
                  <a:gd name="connsiteX6" fmla="*/ 558806 w 613483"/>
                  <a:gd name="connsiteY6" fmla="*/ 1181632 h 1607032"/>
                  <a:gd name="connsiteX7" fmla="*/ 462411 w 613483"/>
                  <a:gd name="connsiteY7" fmla="*/ 877376 h 1607032"/>
                  <a:gd name="connsiteX8" fmla="*/ 255767 w 613483"/>
                  <a:gd name="connsiteY8" fmla="*/ 355600 h 1607032"/>
                  <a:gd name="connsiteX9" fmla="*/ 105950 w 613483"/>
                  <a:gd name="connsiteY9" fmla="*/ 45634 h 1607032"/>
                  <a:gd name="connsiteX10" fmla="*/ 17220 w 613483"/>
                  <a:gd name="connsiteY10" fmla="*/ 81796 h 1607032"/>
                  <a:gd name="connsiteX0" fmla="*/ 17220 w 613483"/>
                  <a:gd name="connsiteY0" fmla="*/ 81796 h 1607032"/>
                  <a:gd name="connsiteX1" fmla="*/ 209272 w 613483"/>
                  <a:gd name="connsiteY1" fmla="*/ 515749 h 1607032"/>
                  <a:gd name="connsiteX2" fmla="*/ 405584 w 613483"/>
                  <a:gd name="connsiteY2" fmla="*/ 975532 h 1607032"/>
                  <a:gd name="connsiteX3" fmla="*/ 113307 w 613483"/>
                  <a:gd name="connsiteY3" fmla="*/ 1190900 h 1607032"/>
                  <a:gd name="connsiteX4" fmla="*/ 285764 w 613483"/>
                  <a:gd name="connsiteY4" fmla="*/ 1443046 h 1607032"/>
                  <a:gd name="connsiteX5" fmla="*/ 580549 w 613483"/>
                  <a:gd name="connsiteY5" fmla="*/ 1559905 h 1607032"/>
                  <a:gd name="connsiteX6" fmla="*/ 558806 w 613483"/>
                  <a:gd name="connsiteY6" fmla="*/ 1181632 h 1607032"/>
                  <a:gd name="connsiteX7" fmla="*/ 462411 w 613483"/>
                  <a:gd name="connsiteY7" fmla="*/ 877376 h 1607032"/>
                  <a:gd name="connsiteX8" fmla="*/ 255767 w 613483"/>
                  <a:gd name="connsiteY8" fmla="*/ 355600 h 1607032"/>
                  <a:gd name="connsiteX9" fmla="*/ 105950 w 613483"/>
                  <a:gd name="connsiteY9" fmla="*/ 45634 h 1607032"/>
                  <a:gd name="connsiteX10" fmla="*/ 17220 w 613483"/>
                  <a:gd name="connsiteY10" fmla="*/ 81796 h 1607032"/>
                  <a:gd name="connsiteX0" fmla="*/ 17220 w 613483"/>
                  <a:gd name="connsiteY0" fmla="*/ 81796 h 1607032"/>
                  <a:gd name="connsiteX1" fmla="*/ 209272 w 613483"/>
                  <a:gd name="connsiteY1" fmla="*/ 515749 h 1607032"/>
                  <a:gd name="connsiteX2" fmla="*/ 405584 w 613483"/>
                  <a:gd name="connsiteY2" fmla="*/ 975532 h 1607032"/>
                  <a:gd name="connsiteX3" fmla="*/ 113307 w 613483"/>
                  <a:gd name="connsiteY3" fmla="*/ 1190900 h 1607032"/>
                  <a:gd name="connsiteX4" fmla="*/ 285764 w 613483"/>
                  <a:gd name="connsiteY4" fmla="*/ 1443046 h 1607032"/>
                  <a:gd name="connsiteX5" fmla="*/ 580549 w 613483"/>
                  <a:gd name="connsiteY5" fmla="*/ 1559905 h 1607032"/>
                  <a:gd name="connsiteX6" fmla="*/ 558806 w 613483"/>
                  <a:gd name="connsiteY6" fmla="*/ 1181632 h 1607032"/>
                  <a:gd name="connsiteX7" fmla="*/ 462411 w 613483"/>
                  <a:gd name="connsiteY7" fmla="*/ 877376 h 1607032"/>
                  <a:gd name="connsiteX8" fmla="*/ 255767 w 613483"/>
                  <a:gd name="connsiteY8" fmla="*/ 355600 h 1607032"/>
                  <a:gd name="connsiteX9" fmla="*/ 105950 w 613483"/>
                  <a:gd name="connsiteY9" fmla="*/ 45634 h 1607032"/>
                  <a:gd name="connsiteX10" fmla="*/ 17220 w 613483"/>
                  <a:gd name="connsiteY10" fmla="*/ 81796 h 1607032"/>
                  <a:gd name="connsiteX0" fmla="*/ 22729 w 618992"/>
                  <a:gd name="connsiteY0" fmla="*/ 81796 h 1607032"/>
                  <a:gd name="connsiteX1" fmla="*/ 247831 w 618992"/>
                  <a:gd name="connsiteY1" fmla="*/ 515749 h 1607032"/>
                  <a:gd name="connsiteX2" fmla="*/ 411093 w 618992"/>
                  <a:gd name="connsiteY2" fmla="*/ 975532 h 1607032"/>
                  <a:gd name="connsiteX3" fmla="*/ 118816 w 618992"/>
                  <a:gd name="connsiteY3" fmla="*/ 1190900 h 1607032"/>
                  <a:gd name="connsiteX4" fmla="*/ 291273 w 618992"/>
                  <a:gd name="connsiteY4" fmla="*/ 1443046 h 1607032"/>
                  <a:gd name="connsiteX5" fmla="*/ 586058 w 618992"/>
                  <a:gd name="connsiteY5" fmla="*/ 1559905 h 1607032"/>
                  <a:gd name="connsiteX6" fmla="*/ 564315 w 618992"/>
                  <a:gd name="connsiteY6" fmla="*/ 1181632 h 1607032"/>
                  <a:gd name="connsiteX7" fmla="*/ 467920 w 618992"/>
                  <a:gd name="connsiteY7" fmla="*/ 877376 h 1607032"/>
                  <a:gd name="connsiteX8" fmla="*/ 261276 w 618992"/>
                  <a:gd name="connsiteY8" fmla="*/ 355600 h 1607032"/>
                  <a:gd name="connsiteX9" fmla="*/ 111459 w 618992"/>
                  <a:gd name="connsiteY9" fmla="*/ 45634 h 1607032"/>
                  <a:gd name="connsiteX10" fmla="*/ 22729 w 618992"/>
                  <a:gd name="connsiteY10" fmla="*/ 81796 h 1607032"/>
                  <a:gd name="connsiteX0" fmla="*/ 22729 w 641025"/>
                  <a:gd name="connsiteY0" fmla="*/ 81796 h 1607032"/>
                  <a:gd name="connsiteX1" fmla="*/ 269864 w 641025"/>
                  <a:gd name="connsiteY1" fmla="*/ 515749 h 1607032"/>
                  <a:gd name="connsiteX2" fmla="*/ 433126 w 641025"/>
                  <a:gd name="connsiteY2" fmla="*/ 975532 h 1607032"/>
                  <a:gd name="connsiteX3" fmla="*/ 140849 w 641025"/>
                  <a:gd name="connsiteY3" fmla="*/ 1190900 h 1607032"/>
                  <a:gd name="connsiteX4" fmla="*/ 313306 w 641025"/>
                  <a:gd name="connsiteY4" fmla="*/ 1443046 h 1607032"/>
                  <a:gd name="connsiteX5" fmla="*/ 608091 w 641025"/>
                  <a:gd name="connsiteY5" fmla="*/ 1559905 h 1607032"/>
                  <a:gd name="connsiteX6" fmla="*/ 586348 w 641025"/>
                  <a:gd name="connsiteY6" fmla="*/ 1181632 h 1607032"/>
                  <a:gd name="connsiteX7" fmla="*/ 489953 w 641025"/>
                  <a:gd name="connsiteY7" fmla="*/ 877376 h 1607032"/>
                  <a:gd name="connsiteX8" fmla="*/ 283309 w 641025"/>
                  <a:gd name="connsiteY8" fmla="*/ 355600 h 1607032"/>
                  <a:gd name="connsiteX9" fmla="*/ 133492 w 641025"/>
                  <a:gd name="connsiteY9" fmla="*/ 45634 h 1607032"/>
                  <a:gd name="connsiteX10" fmla="*/ 22729 w 641025"/>
                  <a:gd name="connsiteY10" fmla="*/ 81796 h 1607032"/>
                  <a:gd name="connsiteX0" fmla="*/ 22729 w 641025"/>
                  <a:gd name="connsiteY0" fmla="*/ 81796 h 1607032"/>
                  <a:gd name="connsiteX1" fmla="*/ 269864 w 641025"/>
                  <a:gd name="connsiteY1" fmla="*/ 515749 h 1607032"/>
                  <a:gd name="connsiteX2" fmla="*/ 433126 w 641025"/>
                  <a:gd name="connsiteY2" fmla="*/ 975532 h 1607032"/>
                  <a:gd name="connsiteX3" fmla="*/ 140849 w 641025"/>
                  <a:gd name="connsiteY3" fmla="*/ 1190900 h 1607032"/>
                  <a:gd name="connsiteX4" fmla="*/ 313306 w 641025"/>
                  <a:gd name="connsiteY4" fmla="*/ 1443046 h 1607032"/>
                  <a:gd name="connsiteX5" fmla="*/ 608091 w 641025"/>
                  <a:gd name="connsiteY5" fmla="*/ 1559905 h 1607032"/>
                  <a:gd name="connsiteX6" fmla="*/ 586348 w 641025"/>
                  <a:gd name="connsiteY6" fmla="*/ 1181632 h 1607032"/>
                  <a:gd name="connsiteX7" fmla="*/ 489953 w 641025"/>
                  <a:gd name="connsiteY7" fmla="*/ 877376 h 1607032"/>
                  <a:gd name="connsiteX8" fmla="*/ 283309 w 641025"/>
                  <a:gd name="connsiteY8" fmla="*/ 355600 h 1607032"/>
                  <a:gd name="connsiteX9" fmla="*/ 133492 w 641025"/>
                  <a:gd name="connsiteY9" fmla="*/ 45634 h 1607032"/>
                  <a:gd name="connsiteX10" fmla="*/ 22729 w 641025"/>
                  <a:gd name="connsiteY10" fmla="*/ 81796 h 1607032"/>
                  <a:gd name="connsiteX0" fmla="*/ 22729 w 641025"/>
                  <a:gd name="connsiteY0" fmla="*/ 81796 h 1607032"/>
                  <a:gd name="connsiteX1" fmla="*/ 269864 w 641025"/>
                  <a:gd name="connsiteY1" fmla="*/ 515749 h 1607032"/>
                  <a:gd name="connsiteX2" fmla="*/ 433126 w 641025"/>
                  <a:gd name="connsiteY2" fmla="*/ 975532 h 1607032"/>
                  <a:gd name="connsiteX3" fmla="*/ 140849 w 641025"/>
                  <a:gd name="connsiteY3" fmla="*/ 1190900 h 1607032"/>
                  <a:gd name="connsiteX4" fmla="*/ 313306 w 641025"/>
                  <a:gd name="connsiteY4" fmla="*/ 1443046 h 1607032"/>
                  <a:gd name="connsiteX5" fmla="*/ 608091 w 641025"/>
                  <a:gd name="connsiteY5" fmla="*/ 1559905 h 1607032"/>
                  <a:gd name="connsiteX6" fmla="*/ 586348 w 641025"/>
                  <a:gd name="connsiteY6" fmla="*/ 1181632 h 1607032"/>
                  <a:gd name="connsiteX7" fmla="*/ 489953 w 641025"/>
                  <a:gd name="connsiteY7" fmla="*/ 877376 h 1607032"/>
                  <a:gd name="connsiteX8" fmla="*/ 283309 w 641025"/>
                  <a:gd name="connsiteY8" fmla="*/ 355600 h 1607032"/>
                  <a:gd name="connsiteX9" fmla="*/ 133492 w 641025"/>
                  <a:gd name="connsiteY9" fmla="*/ 45634 h 1607032"/>
                  <a:gd name="connsiteX10" fmla="*/ 22729 w 641025"/>
                  <a:gd name="connsiteY10" fmla="*/ 81796 h 1607032"/>
                  <a:gd name="connsiteX0" fmla="*/ 22729 w 641025"/>
                  <a:gd name="connsiteY0" fmla="*/ 81796 h 1607032"/>
                  <a:gd name="connsiteX1" fmla="*/ 269864 w 641025"/>
                  <a:gd name="connsiteY1" fmla="*/ 515749 h 1607032"/>
                  <a:gd name="connsiteX2" fmla="*/ 452406 w 641025"/>
                  <a:gd name="connsiteY2" fmla="*/ 1008583 h 1607032"/>
                  <a:gd name="connsiteX3" fmla="*/ 140849 w 641025"/>
                  <a:gd name="connsiteY3" fmla="*/ 1190900 h 1607032"/>
                  <a:gd name="connsiteX4" fmla="*/ 313306 w 641025"/>
                  <a:gd name="connsiteY4" fmla="*/ 1443046 h 1607032"/>
                  <a:gd name="connsiteX5" fmla="*/ 608091 w 641025"/>
                  <a:gd name="connsiteY5" fmla="*/ 1559905 h 1607032"/>
                  <a:gd name="connsiteX6" fmla="*/ 586348 w 641025"/>
                  <a:gd name="connsiteY6" fmla="*/ 1181632 h 1607032"/>
                  <a:gd name="connsiteX7" fmla="*/ 489953 w 641025"/>
                  <a:gd name="connsiteY7" fmla="*/ 877376 h 1607032"/>
                  <a:gd name="connsiteX8" fmla="*/ 283309 w 641025"/>
                  <a:gd name="connsiteY8" fmla="*/ 355600 h 1607032"/>
                  <a:gd name="connsiteX9" fmla="*/ 133492 w 641025"/>
                  <a:gd name="connsiteY9" fmla="*/ 45634 h 1607032"/>
                  <a:gd name="connsiteX10" fmla="*/ 22729 w 641025"/>
                  <a:gd name="connsiteY10" fmla="*/ 81796 h 1607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1025" h="1607032">
                    <a:moveTo>
                      <a:pt x="22729" y="81796"/>
                    </a:moveTo>
                    <a:cubicBezTo>
                      <a:pt x="100542" y="69259"/>
                      <a:pt x="198251" y="361285"/>
                      <a:pt x="269864" y="515749"/>
                    </a:cubicBezTo>
                    <a:cubicBezTo>
                      <a:pt x="341477" y="670214"/>
                      <a:pt x="451876" y="907075"/>
                      <a:pt x="452406" y="1008583"/>
                    </a:cubicBezTo>
                    <a:cubicBezTo>
                      <a:pt x="430903" y="1121108"/>
                      <a:pt x="317370" y="1145003"/>
                      <a:pt x="140849" y="1190900"/>
                    </a:cubicBezTo>
                    <a:cubicBezTo>
                      <a:pt x="144833" y="1237116"/>
                      <a:pt x="236499" y="1375250"/>
                      <a:pt x="313306" y="1443046"/>
                    </a:cubicBezTo>
                    <a:cubicBezTo>
                      <a:pt x="408623" y="1530525"/>
                      <a:pt x="570293" y="1607032"/>
                      <a:pt x="608091" y="1559905"/>
                    </a:cubicBezTo>
                    <a:cubicBezTo>
                      <a:pt x="641025" y="1469003"/>
                      <a:pt x="620270" y="1316734"/>
                      <a:pt x="586348" y="1181632"/>
                    </a:cubicBezTo>
                    <a:cubicBezTo>
                      <a:pt x="548868" y="1067877"/>
                      <a:pt x="540460" y="1015048"/>
                      <a:pt x="489953" y="877376"/>
                    </a:cubicBezTo>
                    <a:cubicBezTo>
                      <a:pt x="439446" y="739704"/>
                      <a:pt x="342719" y="494224"/>
                      <a:pt x="283309" y="355600"/>
                    </a:cubicBezTo>
                    <a:cubicBezTo>
                      <a:pt x="223899" y="216976"/>
                      <a:pt x="176922" y="91268"/>
                      <a:pt x="133492" y="45634"/>
                    </a:cubicBezTo>
                    <a:cubicBezTo>
                      <a:pt x="90062" y="0"/>
                      <a:pt x="0" y="3444"/>
                      <a:pt x="22729" y="8179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96" name="Freeform 295"/>
              <p:cNvSpPr/>
              <p:nvPr/>
            </p:nvSpPr>
            <p:spPr>
              <a:xfrm rot="21114987" flipH="1">
                <a:off x="6586147" y="2568459"/>
                <a:ext cx="565527" cy="828422"/>
              </a:xfrm>
              <a:custGeom>
                <a:avLst/>
                <a:gdLst>
                  <a:gd name="connsiteX0" fmla="*/ 0 w 5120162"/>
                  <a:gd name="connsiteY0" fmla="*/ 4613563 h 7045036"/>
                  <a:gd name="connsiteX1" fmla="*/ 685800 w 5120162"/>
                  <a:gd name="connsiteY1" fmla="*/ 4260273 h 7045036"/>
                  <a:gd name="connsiteX2" fmla="*/ 1433945 w 5120162"/>
                  <a:gd name="connsiteY2" fmla="*/ 3990109 h 7045036"/>
                  <a:gd name="connsiteX3" fmla="*/ 1974273 w 5120162"/>
                  <a:gd name="connsiteY3" fmla="*/ 3969327 h 7045036"/>
                  <a:gd name="connsiteX4" fmla="*/ 2556164 w 5120162"/>
                  <a:gd name="connsiteY4" fmla="*/ 3532909 h 7045036"/>
                  <a:gd name="connsiteX5" fmla="*/ 2805545 w 5120162"/>
                  <a:gd name="connsiteY5" fmla="*/ 3574473 h 7045036"/>
                  <a:gd name="connsiteX6" fmla="*/ 2847109 w 5120162"/>
                  <a:gd name="connsiteY6" fmla="*/ 1808018 h 7045036"/>
                  <a:gd name="connsiteX7" fmla="*/ 3221182 w 5120162"/>
                  <a:gd name="connsiteY7" fmla="*/ 1413163 h 7045036"/>
                  <a:gd name="connsiteX8" fmla="*/ 3449782 w 5120162"/>
                  <a:gd name="connsiteY8" fmla="*/ 394854 h 7045036"/>
                  <a:gd name="connsiteX9" fmla="*/ 3823854 w 5120162"/>
                  <a:gd name="connsiteY9" fmla="*/ 0 h 7045036"/>
                  <a:gd name="connsiteX10" fmla="*/ 3906982 w 5120162"/>
                  <a:gd name="connsiteY10" fmla="*/ 332509 h 7045036"/>
                  <a:gd name="connsiteX11" fmla="*/ 4073236 w 5120162"/>
                  <a:gd name="connsiteY11" fmla="*/ 789709 h 7045036"/>
                  <a:gd name="connsiteX12" fmla="*/ 4094018 w 5120162"/>
                  <a:gd name="connsiteY12" fmla="*/ 1101436 h 7045036"/>
                  <a:gd name="connsiteX13" fmla="*/ 4239491 w 5120162"/>
                  <a:gd name="connsiteY13" fmla="*/ 1288473 h 7045036"/>
                  <a:gd name="connsiteX14" fmla="*/ 4177145 w 5120162"/>
                  <a:gd name="connsiteY14" fmla="*/ 1475509 h 7045036"/>
                  <a:gd name="connsiteX15" fmla="*/ 4405745 w 5120162"/>
                  <a:gd name="connsiteY15" fmla="*/ 1683327 h 7045036"/>
                  <a:gd name="connsiteX16" fmla="*/ 4447309 w 5120162"/>
                  <a:gd name="connsiteY16" fmla="*/ 2119745 h 7045036"/>
                  <a:gd name="connsiteX17" fmla="*/ 4779818 w 5120162"/>
                  <a:gd name="connsiteY17" fmla="*/ 3075709 h 7045036"/>
                  <a:gd name="connsiteX18" fmla="*/ 4675909 w 5120162"/>
                  <a:gd name="connsiteY18" fmla="*/ 4343400 h 7045036"/>
                  <a:gd name="connsiteX19" fmla="*/ 4572000 w 5120162"/>
                  <a:gd name="connsiteY19" fmla="*/ 5091545 h 7045036"/>
                  <a:gd name="connsiteX20" fmla="*/ 4281054 w 5120162"/>
                  <a:gd name="connsiteY20" fmla="*/ 5403273 h 7045036"/>
                  <a:gd name="connsiteX21" fmla="*/ 2680854 w 5120162"/>
                  <a:gd name="connsiteY21" fmla="*/ 6047509 h 7045036"/>
                  <a:gd name="connsiteX22" fmla="*/ 852054 w 5120162"/>
                  <a:gd name="connsiteY22" fmla="*/ 7045036 h 7045036"/>
                  <a:gd name="connsiteX23" fmla="*/ 644236 w 5120162"/>
                  <a:gd name="connsiteY23" fmla="*/ 5881254 h 7045036"/>
                  <a:gd name="connsiteX24" fmla="*/ 0 w 5120162"/>
                  <a:gd name="connsiteY24" fmla="*/ 4613563 h 7045036"/>
                  <a:gd name="connsiteX0" fmla="*/ 0 w 5120162"/>
                  <a:gd name="connsiteY0" fmla="*/ 4613563 h 7045036"/>
                  <a:gd name="connsiteX1" fmla="*/ 685800 w 5120162"/>
                  <a:gd name="connsiteY1" fmla="*/ 4260273 h 7045036"/>
                  <a:gd name="connsiteX2" fmla="*/ 1433945 w 5120162"/>
                  <a:gd name="connsiteY2" fmla="*/ 3990109 h 7045036"/>
                  <a:gd name="connsiteX3" fmla="*/ 1974273 w 5120162"/>
                  <a:gd name="connsiteY3" fmla="*/ 3969327 h 7045036"/>
                  <a:gd name="connsiteX4" fmla="*/ 2556164 w 5120162"/>
                  <a:gd name="connsiteY4" fmla="*/ 3532909 h 7045036"/>
                  <a:gd name="connsiteX5" fmla="*/ 2805545 w 5120162"/>
                  <a:gd name="connsiteY5" fmla="*/ 3574473 h 7045036"/>
                  <a:gd name="connsiteX6" fmla="*/ 2894734 w 5120162"/>
                  <a:gd name="connsiteY6" fmla="*/ 1836593 h 7045036"/>
                  <a:gd name="connsiteX7" fmla="*/ 3221182 w 5120162"/>
                  <a:gd name="connsiteY7" fmla="*/ 1413163 h 7045036"/>
                  <a:gd name="connsiteX8" fmla="*/ 3449782 w 5120162"/>
                  <a:gd name="connsiteY8" fmla="*/ 394854 h 7045036"/>
                  <a:gd name="connsiteX9" fmla="*/ 3823854 w 5120162"/>
                  <a:gd name="connsiteY9" fmla="*/ 0 h 7045036"/>
                  <a:gd name="connsiteX10" fmla="*/ 3906982 w 5120162"/>
                  <a:gd name="connsiteY10" fmla="*/ 332509 h 7045036"/>
                  <a:gd name="connsiteX11" fmla="*/ 4073236 w 5120162"/>
                  <a:gd name="connsiteY11" fmla="*/ 789709 h 7045036"/>
                  <a:gd name="connsiteX12" fmla="*/ 4094018 w 5120162"/>
                  <a:gd name="connsiteY12" fmla="*/ 1101436 h 7045036"/>
                  <a:gd name="connsiteX13" fmla="*/ 4239491 w 5120162"/>
                  <a:gd name="connsiteY13" fmla="*/ 1288473 h 7045036"/>
                  <a:gd name="connsiteX14" fmla="*/ 4177145 w 5120162"/>
                  <a:gd name="connsiteY14" fmla="*/ 1475509 h 7045036"/>
                  <a:gd name="connsiteX15" fmla="*/ 4405745 w 5120162"/>
                  <a:gd name="connsiteY15" fmla="*/ 1683327 h 7045036"/>
                  <a:gd name="connsiteX16" fmla="*/ 4447309 w 5120162"/>
                  <a:gd name="connsiteY16" fmla="*/ 2119745 h 7045036"/>
                  <a:gd name="connsiteX17" fmla="*/ 4779818 w 5120162"/>
                  <a:gd name="connsiteY17" fmla="*/ 3075709 h 7045036"/>
                  <a:gd name="connsiteX18" fmla="*/ 4675909 w 5120162"/>
                  <a:gd name="connsiteY18" fmla="*/ 4343400 h 7045036"/>
                  <a:gd name="connsiteX19" fmla="*/ 4572000 w 5120162"/>
                  <a:gd name="connsiteY19" fmla="*/ 5091545 h 7045036"/>
                  <a:gd name="connsiteX20" fmla="*/ 4281054 w 5120162"/>
                  <a:gd name="connsiteY20" fmla="*/ 5403273 h 7045036"/>
                  <a:gd name="connsiteX21" fmla="*/ 2680854 w 5120162"/>
                  <a:gd name="connsiteY21" fmla="*/ 6047509 h 7045036"/>
                  <a:gd name="connsiteX22" fmla="*/ 852054 w 5120162"/>
                  <a:gd name="connsiteY22" fmla="*/ 7045036 h 7045036"/>
                  <a:gd name="connsiteX23" fmla="*/ 644236 w 5120162"/>
                  <a:gd name="connsiteY23" fmla="*/ 5881254 h 7045036"/>
                  <a:gd name="connsiteX24" fmla="*/ 0 w 5120162"/>
                  <a:gd name="connsiteY24" fmla="*/ 4613563 h 7045036"/>
                  <a:gd name="connsiteX0" fmla="*/ 0 w 5120162"/>
                  <a:gd name="connsiteY0" fmla="*/ 4613563 h 7045036"/>
                  <a:gd name="connsiteX1" fmla="*/ 685800 w 5120162"/>
                  <a:gd name="connsiteY1" fmla="*/ 4260273 h 7045036"/>
                  <a:gd name="connsiteX2" fmla="*/ 1433945 w 5120162"/>
                  <a:gd name="connsiteY2" fmla="*/ 3990109 h 7045036"/>
                  <a:gd name="connsiteX3" fmla="*/ 1974273 w 5120162"/>
                  <a:gd name="connsiteY3" fmla="*/ 3969327 h 7045036"/>
                  <a:gd name="connsiteX4" fmla="*/ 2556164 w 5120162"/>
                  <a:gd name="connsiteY4" fmla="*/ 3532909 h 7045036"/>
                  <a:gd name="connsiteX5" fmla="*/ 2805545 w 5120162"/>
                  <a:gd name="connsiteY5" fmla="*/ 3574473 h 7045036"/>
                  <a:gd name="connsiteX6" fmla="*/ 2894734 w 5120162"/>
                  <a:gd name="connsiteY6" fmla="*/ 1836593 h 7045036"/>
                  <a:gd name="connsiteX7" fmla="*/ 3249757 w 5120162"/>
                  <a:gd name="connsiteY7" fmla="*/ 1451263 h 7045036"/>
                  <a:gd name="connsiteX8" fmla="*/ 3449782 w 5120162"/>
                  <a:gd name="connsiteY8" fmla="*/ 394854 h 7045036"/>
                  <a:gd name="connsiteX9" fmla="*/ 3823854 w 5120162"/>
                  <a:gd name="connsiteY9" fmla="*/ 0 h 7045036"/>
                  <a:gd name="connsiteX10" fmla="*/ 3906982 w 5120162"/>
                  <a:gd name="connsiteY10" fmla="*/ 332509 h 7045036"/>
                  <a:gd name="connsiteX11" fmla="*/ 4073236 w 5120162"/>
                  <a:gd name="connsiteY11" fmla="*/ 789709 h 7045036"/>
                  <a:gd name="connsiteX12" fmla="*/ 4094018 w 5120162"/>
                  <a:gd name="connsiteY12" fmla="*/ 1101436 h 7045036"/>
                  <a:gd name="connsiteX13" fmla="*/ 4239491 w 5120162"/>
                  <a:gd name="connsiteY13" fmla="*/ 1288473 h 7045036"/>
                  <a:gd name="connsiteX14" fmla="*/ 4177145 w 5120162"/>
                  <a:gd name="connsiteY14" fmla="*/ 1475509 h 7045036"/>
                  <a:gd name="connsiteX15" fmla="*/ 4405745 w 5120162"/>
                  <a:gd name="connsiteY15" fmla="*/ 1683327 h 7045036"/>
                  <a:gd name="connsiteX16" fmla="*/ 4447309 w 5120162"/>
                  <a:gd name="connsiteY16" fmla="*/ 2119745 h 7045036"/>
                  <a:gd name="connsiteX17" fmla="*/ 4779818 w 5120162"/>
                  <a:gd name="connsiteY17" fmla="*/ 3075709 h 7045036"/>
                  <a:gd name="connsiteX18" fmla="*/ 4675909 w 5120162"/>
                  <a:gd name="connsiteY18" fmla="*/ 4343400 h 7045036"/>
                  <a:gd name="connsiteX19" fmla="*/ 4572000 w 5120162"/>
                  <a:gd name="connsiteY19" fmla="*/ 5091545 h 7045036"/>
                  <a:gd name="connsiteX20" fmla="*/ 4281054 w 5120162"/>
                  <a:gd name="connsiteY20" fmla="*/ 5403273 h 7045036"/>
                  <a:gd name="connsiteX21" fmla="*/ 2680854 w 5120162"/>
                  <a:gd name="connsiteY21" fmla="*/ 6047509 h 7045036"/>
                  <a:gd name="connsiteX22" fmla="*/ 852054 w 5120162"/>
                  <a:gd name="connsiteY22" fmla="*/ 7045036 h 7045036"/>
                  <a:gd name="connsiteX23" fmla="*/ 644236 w 5120162"/>
                  <a:gd name="connsiteY23" fmla="*/ 5881254 h 7045036"/>
                  <a:gd name="connsiteX24" fmla="*/ 0 w 5120162"/>
                  <a:gd name="connsiteY24" fmla="*/ 4613563 h 7045036"/>
                  <a:gd name="connsiteX0" fmla="*/ 0 w 5120162"/>
                  <a:gd name="connsiteY0" fmla="*/ 4613563 h 7045036"/>
                  <a:gd name="connsiteX1" fmla="*/ 685800 w 5120162"/>
                  <a:gd name="connsiteY1" fmla="*/ 4260273 h 7045036"/>
                  <a:gd name="connsiteX2" fmla="*/ 1433945 w 5120162"/>
                  <a:gd name="connsiteY2" fmla="*/ 3990109 h 7045036"/>
                  <a:gd name="connsiteX3" fmla="*/ 1974273 w 5120162"/>
                  <a:gd name="connsiteY3" fmla="*/ 3969327 h 7045036"/>
                  <a:gd name="connsiteX4" fmla="*/ 2556164 w 5120162"/>
                  <a:gd name="connsiteY4" fmla="*/ 3532909 h 7045036"/>
                  <a:gd name="connsiteX5" fmla="*/ 2805545 w 5120162"/>
                  <a:gd name="connsiteY5" fmla="*/ 3574473 h 7045036"/>
                  <a:gd name="connsiteX6" fmla="*/ 2894734 w 5120162"/>
                  <a:gd name="connsiteY6" fmla="*/ 1836593 h 7045036"/>
                  <a:gd name="connsiteX7" fmla="*/ 3249757 w 5120162"/>
                  <a:gd name="connsiteY7" fmla="*/ 1451263 h 7045036"/>
                  <a:gd name="connsiteX8" fmla="*/ 3449782 w 5120162"/>
                  <a:gd name="connsiteY8" fmla="*/ 394854 h 7045036"/>
                  <a:gd name="connsiteX9" fmla="*/ 3823854 w 5120162"/>
                  <a:gd name="connsiteY9" fmla="*/ 0 h 7045036"/>
                  <a:gd name="connsiteX10" fmla="*/ 3906982 w 5120162"/>
                  <a:gd name="connsiteY10" fmla="*/ 332509 h 7045036"/>
                  <a:gd name="connsiteX11" fmla="*/ 4073236 w 5120162"/>
                  <a:gd name="connsiteY11" fmla="*/ 789709 h 7045036"/>
                  <a:gd name="connsiteX12" fmla="*/ 4094018 w 5120162"/>
                  <a:gd name="connsiteY12" fmla="*/ 1101436 h 7045036"/>
                  <a:gd name="connsiteX13" fmla="*/ 4239491 w 5120162"/>
                  <a:gd name="connsiteY13" fmla="*/ 1288473 h 7045036"/>
                  <a:gd name="connsiteX14" fmla="*/ 4177145 w 5120162"/>
                  <a:gd name="connsiteY14" fmla="*/ 1475509 h 7045036"/>
                  <a:gd name="connsiteX15" fmla="*/ 4415270 w 5120162"/>
                  <a:gd name="connsiteY15" fmla="*/ 1769052 h 7045036"/>
                  <a:gd name="connsiteX16" fmla="*/ 4447309 w 5120162"/>
                  <a:gd name="connsiteY16" fmla="*/ 2119745 h 7045036"/>
                  <a:gd name="connsiteX17" fmla="*/ 4779818 w 5120162"/>
                  <a:gd name="connsiteY17" fmla="*/ 3075709 h 7045036"/>
                  <a:gd name="connsiteX18" fmla="*/ 4675909 w 5120162"/>
                  <a:gd name="connsiteY18" fmla="*/ 4343400 h 7045036"/>
                  <a:gd name="connsiteX19" fmla="*/ 4572000 w 5120162"/>
                  <a:gd name="connsiteY19" fmla="*/ 5091545 h 7045036"/>
                  <a:gd name="connsiteX20" fmla="*/ 4281054 w 5120162"/>
                  <a:gd name="connsiteY20" fmla="*/ 5403273 h 7045036"/>
                  <a:gd name="connsiteX21" fmla="*/ 2680854 w 5120162"/>
                  <a:gd name="connsiteY21" fmla="*/ 6047509 h 7045036"/>
                  <a:gd name="connsiteX22" fmla="*/ 852054 w 5120162"/>
                  <a:gd name="connsiteY22" fmla="*/ 7045036 h 7045036"/>
                  <a:gd name="connsiteX23" fmla="*/ 644236 w 5120162"/>
                  <a:gd name="connsiteY23" fmla="*/ 5881254 h 7045036"/>
                  <a:gd name="connsiteX24" fmla="*/ 0 w 5120162"/>
                  <a:gd name="connsiteY24" fmla="*/ 4613563 h 7045036"/>
                  <a:gd name="connsiteX0" fmla="*/ 0 w 5120162"/>
                  <a:gd name="connsiteY0" fmla="*/ 4613563 h 7045036"/>
                  <a:gd name="connsiteX1" fmla="*/ 685800 w 5120162"/>
                  <a:gd name="connsiteY1" fmla="*/ 4260273 h 7045036"/>
                  <a:gd name="connsiteX2" fmla="*/ 1433945 w 5120162"/>
                  <a:gd name="connsiteY2" fmla="*/ 3990109 h 7045036"/>
                  <a:gd name="connsiteX3" fmla="*/ 1974273 w 5120162"/>
                  <a:gd name="connsiteY3" fmla="*/ 3969327 h 7045036"/>
                  <a:gd name="connsiteX4" fmla="*/ 2556164 w 5120162"/>
                  <a:gd name="connsiteY4" fmla="*/ 3532909 h 7045036"/>
                  <a:gd name="connsiteX5" fmla="*/ 2805545 w 5120162"/>
                  <a:gd name="connsiteY5" fmla="*/ 3574473 h 7045036"/>
                  <a:gd name="connsiteX6" fmla="*/ 2894734 w 5120162"/>
                  <a:gd name="connsiteY6" fmla="*/ 1836593 h 7045036"/>
                  <a:gd name="connsiteX7" fmla="*/ 3249757 w 5120162"/>
                  <a:gd name="connsiteY7" fmla="*/ 1451263 h 7045036"/>
                  <a:gd name="connsiteX8" fmla="*/ 3449782 w 5120162"/>
                  <a:gd name="connsiteY8" fmla="*/ 394854 h 7045036"/>
                  <a:gd name="connsiteX9" fmla="*/ 3823854 w 5120162"/>
                  <a:gd name="connsiteY9" fmla="*/ 0 h 7045036"/>
                  <a:gd name="connsiteX10" fmla="*/ 3906982 w 5120162"/>
                  <a:gd name="connsiteY10" fmla="*/ 332509 h 7045036"/>
                  <a:gd name="connsiteX11" fmla="*/ 4073236 w 5120162"/>
                  <a:gd name="connsiteY11" fmla="*/ 789709 h 7045036"/>
                  <a:gd name="connsiteX12" fmla="*/ 4094018 w 5120162"/>
                  <a:gd name="connsiteY12" fmla="*/ 1101436 h 7045036"/>
                  <a:gd name="connsiteX13" fmla="*/ 4239491 w 5120162"/>
                  <a:gd name="connsiteY13" fmla="*/ 1288473 h 7045036"/>
                  <a:gd name="connsiteX14" fmla="*/ 4177145 w 5120162"/>
                  <a:gd name="connsiteY14" fmla="*/ 1475509 h 7045036"/>
                  <a:gd name="connsiteX15" fmla="*/ 4415270 w 5120162"/>
                  <a:gd name="connsiteY15" fmla="*/ 1769052 h 7045036"/>
                  <a:gd name="connsiteX16" fmla="*/ 4447309 w 5120162"/>
                  <a:gd name="connsiteY16" fmla="*/ 2119745 h 7045036"/>
                  <a:gd name="connsiteX17" fmla="*/ 4779818 w 5120162"/>
                  <a:gd name="connsiteY17" fmla="*/ 3075709 h 7045036"/>
                  <a:gd name="connsiteX18" fmla="*/ 4675909 w 5120162"/>
                  <a:gd name="connsiteY18" fmla="*/ 4343400 h 7045036"/>
                  <a:gd name="connsiteX19" fmla="*/ 4572000 w 5120162"/>
                  <a:gd name="connsiteY19" fmla="*/ 5091545 h 7045036"/>
                  <a:gd name="connsiteX20" fmla="*/ 4281054 w 5120162"/>
                  <a:gd name="connsiteY20" fmla="*/ 5403273 h 7045036"/>
                  <a:gd name="connsiteX21" fmla="*/ 2680854 w 5120162"/>
                  <a:gd name="connsiteY21" fmla="*/ 6047509 h 7045036"/>
                  <a:gd name="connsiteX22" fmla="*/ 852054 w 5120162"/>
                  <a:gd name="connsiteY22" fmla="*/ 7045036 h 7045036"/>
                  <a:gd name="connsiteX23" fmla="*/ 644236 w 5120162"/>
                  <a:gd name="connsiteY23" fmla="*/ 5881254 h 7045036"/>
                  <a:gd name="connsiteX24" fmla="*/ 0 w 5120162"/>
                  <a:gd name="connsiteY24" fmla="*/ 4613563 h 7045036"/>
                  <a:gd name="connsiteX0" fmla="*/ 0 w 5120162"/>
                  <a:gd name="connsiteY0" fmla="*/ 4613563 h 7045036"/>
                  <a:gd name="connsiteX1" fmla="*/ 685800 w 5120162"/>
                  <a:gd name="connsiteY1" fmla="*/ 4260273 h 7045036"/>
                  <a:gd name="connsiteX2" fmla="*/ 1433945 w 5120162"/>
                  <a:gd name="connsiteY2" fmla="*/ 3990109 h 7045036"/>
                  <a:gd name="connsiteX3" fmla="*/ 1974273 w 5120162"/>
                  <a:gd name="connsiteY3" fmla="*/ 3969327 h 7045036"/>
                  <a:gd name="connsiteX4" fmla="*/ 2556164 w 5120162"/>
                  <a:gd name="connsiteY4" fmla="*/ 3532909 h 7045036"/>
                  <a:gd name="connsiteX5" fmla="*/ 2805545 w 5120162"/>
                  <a:gd name="connsiteY5" fmla="*/ 3574473 h 7045036"/>
                  <a:gd name="connsiteX6" fmla="*/ 2894734 w 5120162"/>
                  <a:gd name="connsiteY6" fmla="*/ 1836593 h 7045036"/>
                  <a:gd name="connsiteX7" fmla="*/ 3249757 w 5120162"/>
                  <a:gd name="connsiteY7" fmla="*/ 1451263 h 7045036"/>
                  <a:gd name="connsiteX8" fmla="*/ 3449782 w 5120162"/>
                  <a:gd name="connsiteY8" fmla="*/ 394854 h 7045036"/>
                  <a:gd name="connsiteX9" fmla="*/ 3823854 w 5120162"/>
                  <a:gd name="connsiteY9" fmla="*/ 0 h 7045036"/>
                  <a:gd name="connsiteX10" fmla="*/ 4073236 w 5120162"/>
                  <a:gd name="connsiteY10" fmla="*/ 789709 h 7045036"/>
                  <a:gd name="connsiteX11" fmla="*/ 4094018 w 5120162"/>
                  <a:gd name="connsiteY11" fmla="*/ 1101436 h 7045036"/>
                  <a:gd name="connsiteX12" fmla="*/ 4239491 w 5120162"/>
                  <a:gd name="connsiteY12" fmla="*/ 1288473 h 7045036"/>
                  <a:gd name="connsiteX13" fmla="*/ 4177145 w 5120162"/>
                  <a:gd name="connsiteY13" fmla="*/ 1475509 h 7045036"/>
                  <a:gd name="connsiteX14" fmla="*/ 4415270 w 5120162"/>
                  <a:gd name="connsiteY14" fmla="*/ 1769052 h 7045036"/>
                  <a:gd name="connsiteX15" fmla="*/ 4447309 w 5120162"/>
                  <a:gd name="connsiteY15" fmla="*/ 2119745 h 7045036"/>
                  <a:gd name="connsiteX16" fmla="*/ 4779818 w 5120162"/>
                  <a:gd name="connsiteY16" fmla="*/ 3075709 h 7045036"/>
                  <a:gd name="connsiteX17" fmla="*/ 4675909 w 5120162"/>
                  <a:gd name="connsiteY17" fmla="*/ 4343400 h 7045036"/>
                  <a:gd name="connsiteX18" fmla="*/ 4572000 w 5120162"/>
                  <a:gd name="connsiteY18" fmla="*/ 5091545 h 7045036"/>
                  <a:gd name="connsiteX19" fmla="*/ 4281054 w 5120162"/>
                  <a:gd name="connsiteY19" fmla="*/ 5403273 h 7045036"/>
                  <a:gd name="connsiteX20" fmla="*/ 2680854 w 5120162"/>
                  <a:gd name="connsiteY20" fmla="*/ 6047509 h 7045036"/>
                  <a:gd name="connsiteX21" fmla="*/ 852054 w 5120162"/>
                  <a:gd name="connsiteY21" fmla="*/ 7045036 h 7045036"/>
                  <a:gd name="connsiteX22" fmla="*/ 644236 w 5120162"/>
                  <a:gd name="connsiteY22" fmla="*/ 5881254 h 7045036"/>
                  <a:gd name="connsiteX23" fmla="*/ 0 w 5120162"/>
                  <a:gd name="connsiteY23" fmla="*/ 4613563 h 7045036"/>
                  <a:gd name="connsiteX0" fmla="*/ 0 w 5120162"/>
                  <a:gd name="connsiteY0" fmla="*/ 4565938 h 6997411"/>
                  <a:gd name="connsiteX1" fmla="*/ 685800 w 5120162"/>
                  <a:gd name="connsiteY1" fmla="*/ 4212648 h 6997411"/>
                  <a:gd name="connsiteX2" fmla="*/ 1433945 w 5120162"/>
                  <a:gd name="connsiteY2" fmla="*/ 3942484 h 6997411"/>
                  <a:gd name="connsiteX3" fmla="*/ 1974273 w 5120162"/>
                  <a:gd name="connsiteY3" fmla="*/ 3921702 h 6997411"/>
                  <a:gd name="connsiteX4" fmla="*/ 2556164 w 5120162"/>
                  <a:gd name="connsiteY4" fmla="*/ 3485284 h 6997411"/>
                  <a:gd name="connsiteX5" fmla="*/ 2805545 w 5120162"/>
                  <a:gd name="connsiteY5" fmla="*/ 3526848 h 6997411"/>
                  <a:gd name="connsiteX6" fmla="*/ 2894734 w 5120162"/>
                  <a:gd name="connsiteY6" fmla="*/ 1788968 h 6997411"/>
                  <a:gd name="connsiteX7" fmla="*/ 3249757 w 5120162"/>
                  <a:gd name="connsiteY7" fmla="*/ 1403638 h 6997411"/>
                  <a:gd name="connsiteX8" fmla="*/ 3449782 w 5120162"/>
                  <a:gd name="connsiteY8" fmla="*/ 347229 h 6997411"/>
                  <a:gd name="connsiteX9" fmla="*/ 3776229 w 5120162"/>
                  <a:gd name="connsiteY9" fmla="*/ 0 h 6997411"/>
                  <a:gd name="connsiteX10" fmla="*/ 4073236 w 5120162"/>
                  <a:gd name="connsiteY10" fmla="*/ 742084 h 6997411"/>
                  <a:gd name="connsiteX11" fmla="*/ 4094018 w 5120162"/>
                  <a:gd name="connsiteY11" fmla="*/ 1053811 h 6997411"/>
                  <a:gd name="connsiteX12" fmla="*/ 4239491 w 5120162"/>
                  <a:gd name="connsiteY12" fmla="*/ 1240848 h 6997411"/>
                  <a:gd name="connsiteX13" fmla="*/ 4177145 w 5120162"/>
                  <a:gd name="connsiteY13" fmla="*/ 1427884 h 6997411"/>
                  <a:gd name="connsiteX14" fmla="*/ 4415270 w 5120162"/>
                  <a:gd name="connsiteY14" fmla="*/ 1721427 h 6997411"/>
                  <a:gd name="connsiteX15" fmla="*/ 4447309 w 5120162"/>
                  <a:gd name="connsiteY15" fmla="*/ 2072120 h 6997411"/>
                  <a:gd name="connsiteX16" fmla="*/ 4779818 w 5120162"/>
                  <a:gd name="connsiteY16" fmla="*/ 3028084 h 6997411"/>
                  <a:gd name="connsiteX17" fmla="*/ 4675909 w 5120162"/>
                  <a:gd name="connsiteY17" fmla="*/ 4295775 h 6997411"/>
                  <a:gd name="connsiteX18" fmla="*/ 4572000 w 5120162"/>
                  <a:gd name="connsiteY18" fmla="*/ 5043920 h 6997411"/>
                  <a:gd name="connsiteX19" fmla="*/ 4281054 w 5120162"/>
                  <a:gd name="connsiteY19" fmla="*/ 5355648 h 6997411"/>
                  <a:gd name="connsiteX20" fmla="*/ 2680854 w 5120162"/>
                  <a:gd name="connsiteY20" fmla="*/ 5999884 h 6997411"/>
                  <a:gd name="connsiteX21" fmla="*/ 852054 w 5120162"/>
                  <a:gd name="connsiteY21" fmla="*/ 6997411 h 6997411"/>
                  <a:gd name="connsiteX22" fmla="*/ 644236 w 5120162"/>
                  <a:gd name="connsiteY22" fmla="*/ 5833629 h 6997411"/>
                  <a:gd name="connsiteX23" fmla="*/ 0 w 5120162"/>
                  <a:gd name="connsiteY23" fmla="*/ 4565938 h 6997411"/>
                  <a:gd name="connsiteX0" fmla="*/ 0 w 5120162"/>
                  <a:gd name="connsiteY0" fmla="*/ 4566227 h 6997700"/>
                  <a:gd name="connsiteX1" fmla="*/ 685800 w 5120162"/>
                  <a:gd name="connsiteY1" fmla="*/ 4212937 h 6997700"/>
                  <a:gd name="connsiteX2" fmla="*/ 1433945 w 5120162"/>
                  <a:gd name="connsiteY2" fmla="*/ 3942773 h 6997700"/>
                  <a:gd name="connsiteX3" fmla="*/ 1974273 w 5120162"/>
                  <a:gd name="connsiteY3" fmla="*/ 3921991 h 6997700"/>
                  <a:gd name="connsiteX4" fmla="*/ 2556164 w 5120162"/>
                  <a:gd name="connsiteY4" fmla="*/ 3485573 h 6997700"/>
                  <a:gd name="connsiteX5" fmla="*/ 2805545 w 5120162"/>
                  <a:gd name="connsiteY5" fmla="*/ 3527137 h 6997700"/>
                  <a:gd name="connsiteX6" fmla="*/ 2894734 w 5120162"/>
                  <a:gd name="connsiteY6" fmla="*/ 1789257 h 6997700"/>
                  <a:gd name="connsiteX7" fmla="*/ 3249757 w 5120162"/>
                  <a:gd name="connsiteY7" fmla="*/ 1403927 h 6997700"/>
                  <a:gd name="connsiteX8" fmla="*/ 3449782 w 5120162"/>
                  <a:gd name="connsiteY8" fmla="*/ 347518 h 6997700"/>
                  <a:gd name="connsiteX9" fmla="*/ 3776229 w 5120162"/>
                  <a:gd name="connsiteY9" fmla="*/ 289 h 6997700"/>
                  <a:gd name="connsiteX10" fmla="*/ 4073236 w 5120162"/>
                  <a:gd name="connsiteY10" fmla="*/ 742373 h 6997700"/>
                  <a:gd name="connsiteX11" fmla="*/ 4094018 w 5120162"/>
                  <a:gd name="connsiteY11" fmla="*/ 1054100 h 6997700"/>
                  <a:gd name="connsiteX12" fmla="*/ 4239491 w 5120162"/>
                  <a:gd name="connsiteY12" fmla="*/ 1241137 h 6997700"/>
                  <a:gd name="connsiteX13" fmla="*/ 4177145 w 5120162"/>
                  <a:gd name="connsiteY13" fmla="*/ 1428173 h 6997700"/>
                  <a:gd name="connsiteX14" fmla="*/ 4415270 w 5120162"/>
                  <a:gd name="connsiteY14" fmla="*/ 1721716 h 6997700"/>
                  <a:gd name="connsiteX15" fmla="*/ 4447309 w 5120162"/>
                  <a:gd name="connsiteY15" fmla="*/ 2072409 h 6997700"/>
                  <a:gd name="connsiteX16" fmla="*/ 4779818 w 5120162"/>
                  <a:gd name="connsiteY16" fmla="*/ 3028373 h 6997700"/>
                  <a:gd name="connsiteX17" fmla="*/ 4675909 w 5120162"/>
                  <a:gd name="connsiteY17" fmla="*/ 4296064 h 6997700"/>
                  <a:gd name="connsiteX18" fmla="*/ 4572000 w 5120162"/>
                  <a:gd name="connsiteY18" fmla="*/ 5044209 h 6997700"/>
                  <a:gd name="connsiteX19" fmla="*/ 4281054 w 5120162"/>
                  <a:gd name="connsiteY19" fmla="*/ 5355937 h 6997700"/>
                  <a:gd name="connsiteX20" fmla="*/ 2680854 w 5120162"/>
                  <a:gd name="connsiteY20" fmla="*/ 6000173 h 6997700"/>
                  <a:gd name="connsiteX21" fmla="*/ 852054 w 5120162"/>
                  <a:gd name="connsiteY21" fmla="*/ 6997700 h 6997700"/>
                  <a:gd name="connsiteX22" fmla="*/ 644236 w 5120162"/>
                  <a:gd name="connsiteY22" fmla="*/ 5833918 h 6997700"/>
                  <a:gd name="connsiteX23" fmla="*/ 0 w 5120162"/>
                  <a:gd name="connsiteY23" fmla="*/ 4566227 h 6997700"/>
                  <a:gd name="connsiteX0" fmla="*/ 0 w 5120162"/>
                  <a:gd name="connsiteY0" fmla="*/ 4566227 h 6997700"/>
                  <a:gd name="connsiteX1" fmla="*/ 685800 w 5120162"/>
                  <a:gd name="connsiteY1" fmla="*/ 4212937 h 6997700"/>
                  <a:gd name="connsiteX2" fmla="*/ 1433945 w 5120162"/>
                  <a:gd name="connsiteY2" fmla="*/ 3942773 h 6997700"/>
                  <a:gd name="connsiteX3" fmla="*/ 1974273 w 5120162"/>
                  <a:gd name="connsiteY3" fmla="*/ 3921991 h 6997700"/>
                  <a:gd name="connsiteX4" fmla="*/ 2556164 w 5120162"/>
                  <a:gd name="connsiteY4" fmla="*/ 3485573 h 6997700"/>
                  <a:gd name="connsiteX5" fmla="*/ 2805545 w 5120162"/>
                  <a:gd name="connsiteY5" fmla="*/ 3527137 h 6997700"/>
                  <a:gd name="connsiteX6" fmla="*/ 2894734 w 5120162"/>
                  <a:gd name="connsiteY6" fmla="*/ 1789257 h 6997700"/>
                  <a:gd name="connsiteX7" fmla="*/ 3249757 w 5120162"/>
                  <a:gd name="connsiteY7" fmla="*/ 1403927 h 6997700"/>
                  <a:gd name="connsiteX8" fmla="*/ 3449782 w 5120162"/>
                  <a:gd name="connsiteY8" fmla="*/ 347518 h 6997700"/>
                  <a:gd name="connsiteX9" fmla="*/ 3776229 w 5120162"/>
                  <a:gd name="connsiteY9" fmla="*/ 289 h 6997700"/>
                  <a:gd name="connsiteX10" fmla="*/ 4073236 w 5120162"/>
                  <a:gd name="connsiteY10" fmla="*/ 742373 h 6997700"/>
                  <a:gd name="connsiteX11" fmla="*/ 4094018 w 5120162"/>
                  <a:gd name="connsiteY11" fmla="*/ 1054100 h 6997700"/>
                  <a:gd name="connsiteX12" fmla="*/ 4239491 w 5120162"/>
                  <a:gd name="connsiteY12" fmla="*/ 1241137 h 6997700"/>
                  <a:gd name="connsiteX13" fmla="*/ 4177145 w 5120162"/>
                  <a:gd name="connsiteY13" fmla="*/ 1428173 h 6997700"/>
                  <a:gd name="connsiteX14" fmla="*/ 4415270 w 5120162"/>
                  <a:gd name="connsiteY14" fmla="*/ 1721716 h 6997700"/>
                  <a:gd name="connsiteX15" fmla="*/ 4447309 w 5120162"/>
                  <a:gd name="connsiteY15" fmla="*/ 2072409 h 6997700"/>
                  <a:gd name="connsiteX16" fmla="*/ 4779818 w 5120162"/>
                  <a:gd name="connsiteY16" fmla="*/ 3028373 h 6997700"/>
                  <a:gd name="connsiteX17" fmla="*/ 4675909 w 5120162"/>
                  <a:gd name="connsiteY17" fmla="*/ 4296064 h 6997700"/>
                  <a:gd name="connsiteX18" fmla="*/ 4572000 w 5120162"/>
                  <a:gd name="connsiteY18" fmla="*/ 5044209 h 6997700"/>
                  <a:gd name="connsiteX19" fmla="*/ 4281054 w 5120162"/>
                  <a:gd name="connsiteY19" fmla="*/ 5355937 h 6997700"/>
                  <a:gd name="connsiteX20" fmla="*/ 2680854 w 5120162"/>
                  <a:gd name="connsiteY20" fmla="*/ 6000173 h 6997700"/>
                  <a:gd name="connsiteX21" fmla="*/ 852054 w 5120162"/>
                  <a:gd name="connsiteY21" fmla="*/ 6997700 h 6997700"/>
                  <a:gd name="connsiteX22" fmla="*/ 644236 w 5120162"/>
                  <a:gd name="connsiteY22" fmla="*/ 5833918 h 6997700"/>
                  <a:gd name="connsiteX23" fmla="*/ 0 w 5120162"/>
                  <a:gd name="connsiteY23" fmla="*/ 4566227 h 6997700"/>
                  <a:gd name="connsiteX0" fmla="*/ 0 w 5120162"/>
                  <a:gd name="connsiteY0" fmla="*/ 4566227 h 6997700"/>
                  <a:gd name="connsiteX1" fmla="*/ 685800 w 5120162"/>
                  <a:gd name="connsiteY1" fmla="*/ 4212937 h 6997700"/>
                  <a:gd name="connsiteX2" fmla="*/ 1433945 w 5120162"/>
                  <a:gd name="connsiteY2" fmla="*/ 3942773 h 6997700"/>
                  <a:gd name="connsiteX3" fmla="*/ 1974273 w 5120162"/>
                  <a:gd name="connsiteY3" fmla="*/ 3921991 h 6997700"/>
                  <a:gd name="connsiteX4" fmla="*/ 2556164 w 5120162"/>
                  <a:gd name="connsiteY4" fmla="*/ 3485573 h 6997700"/>
                  <a:gd name="connsiteX5" fmla="*/ 2805545 w 5120162"/>
                  <a:gd name="connsiteY5" fmla="*/ 3527137 h 6997700"/>
                  <a:gd name="connsiteX6" fmla="*/ 2894734 w 5120162"/>
                  <a:gd name="connsiteY6" fmla="*/ 1789257 h 6997700"/>
                  <a:gd name="connsiteX7" fmla="*/ 3249757 w 5120162"/>
                  <a:gd name="connsiteY7" fmla="*/ 1403927 h 6997700"/>
                  <a:gd name="connsiteX8" fmla="*/ 3449782 w 5120162"/>
                  <a:gd name="connsiteY8" fmla="*/ 347518 h 6997700"/>
                  <a:gd name="connsiteX9" fmla="*/ 3776229 w 5120162"/>
                  <a:gd name="connsiteY9" fmla="*/ 289 h 6997700"/>
                  <a:gd name="connsiteX10" fmla="*/ 4073236 w 5120162"/>
                  <a:gd name="connsiteY10" fmla="*/ 742373 h 6997700"/>
                  <a:gd name="connsiteX11" fmla="*/ 4094018 w 5120162"/>
                  <a:gd name="connsiteY11" fmla="*/ 1054100 h 6997700"/>
                  <a:gd name="connsiteX12" fmla="*/ 4239491 w 5120162"/>
                  <a:gd name="connsiteY12" fmla="*/ 1241137 h 6997700"/>
                  <a:gd name="connsiteX13" fmla="*/ 4177145 w 5120162"/>
                  <a:gd name="connsiteY13" fmla="*/ 1428173 h 6997700"/>
                  <a:gd name="connsiteX14" fmla="*/ 4415270 w 5120162"/>
                  <a:gd name="connsiteY14" fmla="*/ 1721716 h 6997700"/>
                  <a:gd name="connsiteX15" fmla="*/ 4447309 w 5120162"/>
                  <a:gd name="connsiteY15" fmla="*/ 2072409 h 6997700"/>
                  <a:gd name="connsiteX16" fmla="*/ 4779818 w 5120162"/>
                  <a:gd name="connsiteY16" fmla="*/ 3028373 h 6997700"/>
                  <a:gd name="connsiteX17" fmla="*/ 4675909 w 5120162"/>
                  <a:gd name="connsiteY17" fmla="*/ 4296064 h 6997700"/>
                  <a:gd name="connsiteX18" fmla="*/ 4572000 w 5120162"/>
                  <a:gd name="connsiteY18" fmla="*/ 5044209 h 6997700"/>
                  <a:gd name="connsiteX19" fmla="*/ 4281054 w 5120162"/>
                  <a:gd name="connsiteY19" fmla="*/ 5355937 h 6997700"/>
                  <a:gd name="connsiteX20" fmla="*/ 2680854 w 5120162"/>
                  <a:gd name="connsiteY20" fmla="*/ 6000173 h 6997700"/>
                  <a:gd name="connsiteX21" fmla="*/ 852054 w 5120162"/>
                  <a:gd name="connsiteY21" fmla="*/ 6997700 h 6997700"/>
                  <a:gd name="connsiteX22" fmla="*/ 644236 w 5120162"/>
                  <a:gd name="connsiteY22" fmla="*/ 5833918 h 6997700"/>
                  <a:gd name="connsiteX23" fmla="*/ 0 w 5120162"/>
                  <a:gd name="connsiteY23" fmla="*/ 4566227 h 6997700"/>
                  <a:gd name="connsiteX0" fmla="*/ 0 w 5120162"/>
                  <a:gd name="connsiteY0" fmla="*/ 4566227 h 6997700"/>
                  <a:gd name="connsiteX1" fmla="*/ 685800 w 5120162"/>
                  <a:gd name="connsiteY1" fmla="*/ 4212937 h 6997700"/>
                  <a:gd name="connsiteX2" fmla="*/ 1433945 w 5120162"/>
                  <a:gd name="connsiteY2" fmla="*/ 3942773 h 6997700"/>
                  <a:gd name="connsiteX3" fmla="*/ 1974273 w 5120162"/>
                  <a:gd name="connsiteY3" fmla="*/ 3921991 h 6997700"/>
                  <a:gd name="connsiteX4" fmla="*/ 2556164 w 5120162"/>
                  <a:gd name="connsiteY4" fmla="*/ 3485573 h 6997700"/>
                  <a:gd name="connsiteX5" fmla="*/ 2805545 w 5120162"/>
                  <a:gd name="connsiteY5" fmla="*/ 3527137 h 6997700"/>
                  <a:gd name="connsiteX6" fmla="*/ 2894734 w 5120162"/>
                  <a:gd name="connsiteY6" fmla="*/ 1789257 h 6997700"/>
                  <a:gd name="connsiteX7" fmla="*/ 3249757 w 5120162"/>
                  <a:gd name="connsiteY7" fmla="*/ 1403927 h 6997700"/>
                  <a:gd name="connsiteX8" fmla="*/ 3449782 w 5120162"/>
                  <a:gd name="connsiteY8" fmla="*/ 347518 h 6997700"/>
                  <a:gd name="connsiteX9" fmla="*/ 3776229 w 5120162"/>
                  <a:gd name="connsiteY9" fmla="*/ 289 h 6997700"/>
                  <a:gd name="connsiteX10" fmla="*/ 4073236 w 5120162"/>
                  <a:gd name="connsiteY10" fmla="*/ 742373 h 6997700"/>
                  <a:gd name="connsiteX11" fmla="*/ 4094018 w 5120162"/>
                  <a:gd name="connsiteY11" fmla="*/ 1054100 h 6997700"/>
                  <a:gd name="connsiteX12" fmla="*/ 4239491 w 5120162"/>
                  <a:gd name="connsiteY12" fmla="*/ 1241137 h 6997700"/>
                  <a:gd name="connsiteX13" fmla="*/ 4177145 w 5120162"/>
                  <a:gd name="connsiteY13" fmla="*/ 1428173 h 6997700"/>
                  <a:gd name="connsiteX14" fmla="*/ 4415270 w 5120162"/>
                  <a:gd name="connsiteY14" fmla="*/ 1721716 h 6997700"/>
                  <a:gd name="connsiteX15" fmla="*/ 4447309 w 5120162"/>
                  <a:gd name="connsiteY15" fmla="*/ 2072409 h 6997700"/>
                  <a:gd name="connsiteX16" fmla="*/ 4779818 w 5120162"/>
                  <a:gd name="connsiteY16" fmla="*/ 3028373 h 6997700"/>
                  <a:gd name="connsiteX17" fmla="*/ 4675909 w 5120162"/>
                  <a:gd name="connsiteY17" fmla="*/ 4296064 h 6997700"/>
                  <a:gd name="connsiteX18" fmla="*/ 4572000 w 5120162"/>
                  <a:gd name="connsiteY18" fmla="*/ 5044209 h 6997700"/>
                  <a:gd name="connsiteX19" fmla="*/ 4281054 w 5120162"/>
                  <a:gd name="connsiteY19" fmla="*/ 5355937 h 6997700"/>
                  <a:gd name="connsiteX20" fmla="*/ 2680854 w 5120162"/>
                  <a:gd name="connsiteY20" fmla="*/ 6000173 h 6997700"/>
                  <a:gd name="connsiteX21" fmla="*/ 852054 w 5120162"/>
                  <a:gd name="connsiteY21" fmla="*/ 6997700 h 6997700"/>
                  <a:gd name="connsiteX22" fmla="*/ 644236 w 5120162"/>
                  <a:gd name="connsiteY22" fmla="*/ 5833918 h 6997700"/>
                  <a:gd name="connsiteX23" fmla="*/ 0 w 5120162"/>
                  <a:gd name="connsiteY23" fmla="*/ 4566227 h 6997700"/>
                  <a:gd name="connsiteX0" fmla="*/ 0 w 5120162"/>
                  <a:gd name="connsiteY0" fmla="*/ 4566227 h 6997700"/>
                  <a:gd name="connsiteX1" fmla="*/ 685800 w 5120162"/>
                  <a:gd name="connsiteY1" fmla="*/ 4212937 h 6997700"/>
                  <a:gd name="connsiteX2" fmla="*/ 1433945 w 5120162"/>
                  <a:gd name="connsiteY2" fmla="*/ 3942773 h 6997700"/>
                  <a:gd name="connsiteX3" fmla="*/ 1974273 w 5120162"/>
                  <a:gd name="connsiteY3" fmla="*/ 3921991 h 6997700"/>
                  <a:gd name="connsiteX4" fmla="*/ 2556164 w 5120162"/>
                  <a:gd name="connsiteY4" fmla="*/ 3485573 h 6997700"/>
                  <a:gd name="connsiteX5" fmla="*/ 2805545 w 5120162"/>
                  <a:gd name="connsiteY5" fmla="*/ 3527137 h 6997700"/>
                  <a:gd name="connsiteX6" fmla="*/ 2894734 w 5120162"/>
                  <a:gd name="connsiteY6" fmla="*/ 1789257 h 6997700"/>
                  <a:gd name="connsiteX7" fmla="*/ 3249757 w 5120162"/>
                  <a:gd name="connsiteY7" fmla="*/ 1403927 h 6997700"/>
                  <a:gd name="connsiteX8" fmla="*/ 3449782 w 5120162"/>
                  <a:gd name="connsiteY8" fmla="*/ 347518 h 6997700"/>
                  <a:gd name="connsiteX9" fmla="*/ 3776229 w 5120162"/>
                  <a:gd name="connsiteY9" fmla="*/ 289 h 6997700"/>
                  <a:gd name="connsiteX10" fmla="*/ 4073236 w 5120162"/>
                  <a:gd name="connsiteY10" fmla="*/ 742373 h 6997700"/>
                  <a:gd name="connsiteX11" fmla="*/ 4094018 w 5120162"/>
                  <a:gd name="connsiteY11" fmla="*/ 1054100 h 6997700"/>
                  <a:gd name="connsiteX12" fmla="*/ 4239491 w 5120162"/>
                  <a:gd name="connsiteY12" fmla="*/ 1241137 h 6997700"/>
                  <a:gd name="connsiteX13" fmla="*/ 4177145 w 5120162"/>
                  <a:gd name="connsiteY13" fmla="*/ 1428173 h 6997700"/>
                  <a:gd name="connsiteX14" fmla="*/ 4415270 w 5120162"/>
                  <a:gd name="connsiteY14" fmla="*/ 1721716 h 6997700"/>
                  <a:gd name="connsiteX15" fmla="*/ 4447309 w 5120162"/>
                  <a:gd name="connsiteY15" fmla="*/ 2072409 h 6997700"/>
                  <a:gd name="connsiteX16" fmla="*/ 4779818 w 5120162"/>
                  <a:gd name="connsiteY16" fmla="*/ 3028373 h 6997700"/>
                  <a:gd name="connsiteX17" fmla="*/ 4675909 w 5120162"/>
                  <a:gd name="connsiteY17" fmla="*/ 4296064 h 6997700"/>
                  <a:gd name="connsiteX18" fmla="*/ 4572000 w 5120162"/>
                  <a:gd name="connsiteY18" fmla="*/ 5044209 h 6997700"/>
                  <a:gd name="connsiteX19" fmla="*/ 4281054 w 5120162"/>
                  <a:gd name="connsiteY19" fmla="*/ 5355937 h 6997700"/>
                  <a:gd name="connsiteX20" fmla="*/ 2680854 w 5120162"/>
                  <a:gd name="connsiteY20" fmla="*/ 6000173 h 6997700"/>
                  <a:gd name="connsiteX21" fmla="*/ 852054 w 5120162"/>
                  <a:gd name="connsiteY21" fmla="*/ 6997700 h 6997700"/>
                  <a:gd name="connsiteX22" fmla="*/ 644236 w 5120162"/>
                  <a:gd name="connsiteY22" fmla="*/ 5833918 h 6997700"/>
                  <a:gd name="connsiteX23" fmla="*/ 0 w 5120162"/>
                  <a:gd name="connsiteY23" fmla="*/ 4566227 h 6997700"/>
                  <a:gd name="connsiteX0" fmla="*/ 0 w 5120162"/>
                  <a:gd name="connsiteY0" fmla="*/ 4566227 h 6997700"/>
                  <a:gd name="connsiteX1" fmla="*/ 685800 w 5120162"/>
                  <a:gd name="connsiteY1" fmla="*/ 4212937 h 6997700"/>
                  <a:gd name="connsiteX2" fmla="*/ 1433945 w 5120162"/>
                  <a:gd name="connsiteY2" fmla="*/ 3942773 h 6997700"/>
                  <a:gd name="connsiteX3" fmla="*/ 1974273 w 5120162"/>
                  <a:gd name="connsiteY3" fmla="*/ 3921991 h 6997700"/>
                  <a:gd name="connsiteX4" fmla="*/ 2556164 w 5120162"/>
                  <a:gd name="connsiteY4" fmla="*/ 3485573 h 6997700"/>
                  <a:gd name="connsiteX5" fmla="*/ 2805545 w 5120162"/>
                  <a:gd name="connsiteY5" fmla="*/ 3527137 h 6997700"/>
                  <a:gd name="connsiteX6" fmla="*/ 2894734 w 5120162"/>
                  <a:gd name="connsiteY6" fmla="*/ 1789257 h 6997700"/>
                  <a:gd name="connsiteX7" fmla="*/ 3249757 w 5120162"/>
                  <a:gd name="connsiteY7" fmla="*/ 1403927 h 6997700"/>
                  <a:gd name="connsiteX8" fmla="*/ 3449782 w 5120162"/>
                  <a:gd name="connsiteY8" fmla="*/ 347518 h 6997700"/>
                  <a:gd name="connsiteX9" fmla="*/ 3776229 w 5120162"/>
                  <a:gd name="connsiteY9" fmla="*/ 289 h 6997700"/>
                  <a:gd name="connsiteX10" fmla="*/ 4073236 w 5120162"/>
                  <a:gd name="connsiteY10" fmla="*/ 742373 h 6997700"/>
                  <a:gd name="connsiteX11" fmla="*/ 4094018 w 5120162"/>
                  <a:gd name="connsiteY11" fmla="*/ 1054100 h 6997700"/>
                  <a:gd name="connsiteX12" fmla="*/ 4239491 w 5120162"/>
                  <a:gd name="connsiteY12" fmla="*/ 1241137 h 6997700"/>
                  <a:gd name="connsiteX13" fmla="*/ 4177145 w 5120162"/>
                  <a:gd name="connsiteY13" fmla="*/ 1428173 h 6997700"/>
                  <a:gd name="connsiteX14" fmla="*/ 4415270 w 5120162"/>
                  <a:gd name="connsiteY14" fmla="*/ 1721716 h 6997700"/>
                  <a:gd name="connsiteX15" fmla="*/ 4447309 w 5120162"/>
                  <a:gd name="connsiteY15" fmla="*/ 2072409 h 6997700"/>
                  <a:gd name="connsiteX16" fmla="*/ 4779818 w 5120162"/>
                  <a:gd name="connsiteY16" fmla="*/ 3028373 h 6997700"/>
                  <a:gd name="connsiteX17" fmla="*/ 4675909 w 5120162"/>
                  <a:gd name="connsiteY17" fmla="*/ 4296064 h 6997700"/>
                  <a:gd name="connsiteX18" fmla="*/ 4572000 w 5120162"/>
                  <a:gd name="connsiteY18" fmla="*/ 5044209 h 6997700"/>
                  <a:gd name="connsiteX19" fmla="*/ 4281054 w 5120162"/>
                  <a:gd name="connsiteY19" fmla="*/ 5355937 h 6997700"/>
                  <a:gd name="connsiteX20" fmla="*/ 2680854 w 5120162"/>
                  <a:gd name="connsiteY20" fmla="*/ 6000173 h 6997700"/>
                  <a:gd name="connsiteX21" fmla="*/ 852054 w 5120162"/>
                  <a:gd name="connsiteY21" fmla="*/ 6997700 h 6997700"/>
                  <a:gd name="connsiteX22" fmla="*/ 644236 w 5120162"/>
                  <a:gd name="connsiteY22" fmla="*/ 5833918 h 6997700"/>
                  <a:gd name="connsiteX23" fmla="*/ 0 w 5120162"/>
                  <a:gd name="connsiteY23" fmla="*/ 4566227 h 6997700"/>
                  <a:gd name="connsiteX0" fmla="*/ 0 w 5120162"/>
                  <a:gd name="connsiteY0" fmla="*/ 4566227 h 6997700"/>
                  <a:gd name="connsiteX1" fmla="*/ 685800 w 5120162"/>
                  <a:gd name="connsiteY1" fmla="*/ 4212937 h 6997700"/>
                  <a:gd name="connsiteX2" fmla="*/ 1433945 w 5120162"/>
                  <a:gd name="connsiteY2" fmla="*/ 3942773 h 6997700"/>
                  <a:gd name="connsiteX3" fmla="*/ 1974273 w 5120162"/>
                  <a:gd name="connsiteY3" fmla="*/ 3921991 h 6997700"/>
                  <a:gd name="connsiteX4" fmla="*/ 2556164 w 5120162"/>
                  <a:gd name="connsiteY4" fmla="*/ 3485573 h 6997700"/>
                  <a:gd name="connsiteX5" fmla="*/ 2805545 w 5120162"/>
                  <a:gd name="connsiteY5" fmla="*/ 3527137 h 6997700"/>
                  <a:gd name="connsiteX6" fmla="*/ 2894734 w 5120162"/>
                  <a:gd name="connsiteY6" fmla="*/ 1789257 h 6997700"/>
                  <a:gd name="connsiteX7" fmla="*/ 3249757 w 5120162"/>
                  <a:gd name="connsiteY7" fmla="*/ 1403927 h 6997700"/>
                  <a:gd name="connsiteX8" fmla="*/ 3449782 w 5120162"/>
                  <a:gd name="connsiteY8" fmla="*/ 347518 h 6997700"/>
                  <a:gd name="connsiteX9" fmla="*/ 3776229 w 5120162"/>
                  <a:gd name="connsiteY9" fmla="*/ 289 h 6997700"/>
                  <a:gd name="connsiteX10" fmla="*/ 4073236 w 5120162"/>
                  <a:gd name="connsiteY10" fmla="*/ 742373 h 6997700"/>
                  <a:gd name="connsiteX11" fmla="*/ 4094018 w 5120162"/>
                  <a:gd name="connsiteY11" fmla="*/ 1054100 h 6997700"/>
                  <a:gd name="connsiteX12" fmla="*/ 4239491 w 5120162"/>
                  <a:gd name="connsiteY12" fmla="*/ 1241137 h 6997700"/>
                  <a:gd name="connsiteX13" fmla="*/ 4177145 w 5120162"/>
                  <a:gd name="connsiteY13" fmla="*/ 1428173 h 6997700"/>
                  <a:gd name="connsiteX14" fmla="*/ 4415270 w 5120162"/>
                  <a:gd name="connsiteY14" fmla="*/ 1721716 h 6997700"/>
                  <a:gd name="connsiteX15" fmla="*/ 4447309 w 5120162"/>
                  <a:gd name="connsiteY15" fmla="*/ 2072409 h 6997700"/>
                  <a:gd name="connsiteX16" fmla="*/ 4779818 w 5120162"/>
                  <a:gd name="connsiteY16" fmla="*/ 3028373 h 6997700"/>
                  <a:gd name="connsiteX17" fmla="*/ 4675909 w 5120162"/>
                  <a:gd name="connsiteY17" fmla="*/ 4296064 h 6997700"/>
                  <a:gd name="connsiteX18" fmla="*/ 4572000 w 5120162"/>
                  <a:gd name="connsiteY18" fmla="*/ 5044209 h 6997700"/>
                  <a:gd name="connsiteX19" fmla="*/ 4281054 w 5120162"/>
                  <a:gd name="connsiteY19" fmla="*/ 5355937 h 6997700"/>
                  <a:gd name="connsiteX20" fmla="*/ 2680854 w 5120162"/>
                  <a:gd name="connsiteY20" fmla="*/ 6000173 h 6997700"/>
                  <a:gd name="connsiteX21" fmla="*/ 852054 w 5120162"/>
                  <a:gd name="connsiteY21" fmla="*/ 6997700 h 6997700"/>
                  <a:gd name="connsiteX22" fmla="*/ 644236 w 5120162"/>
                  <a:gd name="connsiteY22" fmla="*/ 5833918 h 6997700"/>
                  <a:gd name="connsiteX23" fmla="*/ 0 w 5120162"/>
                  <a:gd name="connsiteY23" fmla="*/ 4566227 h 6997700"/>
                  <a:gd name="connsiteX0" fmla="*/ 0 w 4843937"/>
                  <a:gd name="connsiteY0" fmla="*/ 4566227 h 6997700"/>
                  <a:gd name="connsiteX1" fmla="*/ 685800 w 4843937"/>
                  <a:gd name="connsiteY1" fmla="*/ 4212937 h 6997700"/>
                  <a:gd name="connsiteX2" fmla="*/ 1433945 w 4843937"/>
                  <a:gd name="connsiteY2" fmla="*/ 3942773 h 6997700"/>
                  <a:gd name="connsiteX3" fmla="*/ 1974273 w 4843937"/>
                  <a:gd name="connsiteY3" fmla="*/ 3921991 h 6997700"/>
                  <a:gd name="connsiteX4" fmla="*/ 2556164 w 4843937"/>
                  <a:gd name="connsiteY4" fmla="*/ 3485573 h 6997700"/>
                  <a:gd name="connsiteX5" fmla="*/ 2805545 w 4843937"/>
                  <a:gd name="connsiteY5" fmla="*/ 3527137 h 6997700"/>
                  <a:gd name="connsiteX6" fmla="*/ 2894734 w 4843937"/>
                  <a:gd name="connsiteY6" fmla="*/ 1789257 h 6997700"/>
                  <a:gd name="connsiteX7" fmla="*/ 3249757 w 4843937"/>
                  <a:gd name="connsiteY7" fmla="*/ 1403927 h 6997700"/>
                  <a:gd name="connsiteX8" fmla="*/ 3449782 w 4843937"/>
                  <a:gd name="connsiteY8" fmla="*/ 347518 h 6997700"/>
                  <a:gd name="connsiteX9" fmla="*/ 3776229 w 4843937"/>
                  <a:gd name="connsiteY9" fmla="*/ 289 h 6997700"/>
                  <a:gd name="connsiteX10" fmla="*/ 4073236 w 4843937"/>
                  <a:gd name="connsiteY10" fmla="*/ 742373 h 6997700"/>
                  <a:gd name="connsiteX11" fmla="*/ 4094018 w 4843937"/>
                  <a:gd name="connsiteY11" fmla="*/ 1054100 h 6997700"/>
                  <a:gd name="connsiteX12" fmla="*/ 4239491 w 4843937"/>
                  <a:gd name="connsiteY12" fmla="*/ 1241137 h 6997700"/>
                  <a:gd name="connsiteX13" fmla="*/ 4177145 w 4843937"/>
                  <a:gd name="connsiteY13" fmla="*/ 1428173 h 6997700"/>
                  <a:gd name="connsiteX14" fmla="*/ 4415270 w 4843937"/>
                  <a:gd name="connsiteY14" fmla="*/ 1721716 h 6997700"/>
                  <a:gd name="connsiteX15" fmla="*/ 4447309 w 4843937"/>
                  <a:gd name="connsiteY15" fmla="*/ 2072409 h 6997700"/>
                  <a:gd name="connsiteX16" fmla="*/ 4779818 w 4843937"/>
                  <a:gd name="connsiteY16" fmla="*/ 3028373 h 6997700"/>
                  <a:gd name="connsiteX17" fmla="*/ 4675909 w 4843937"/>
                  <a:gd name="connsiteY17" fmla="*/ 4296064 h 6997700"/>
                  <a:gd name="connsiteX18" fmla="*/ 4572000 w 4843937"/>
                  <a:gd name="connsiteY18" fmla="*/ 5044209 h 6997700"/>
                  <a:gd name="connsiteX19" fmla="*/ 4281054 w 4843937"/>
                  <a:gd name="connsiteY19" fmla="*/ 5355937 h 6997700"/>
                  <a:gd name="connsiteX20" fmla="*/ 2680854 w 4843937"/>
                  <a:gd name="connsiteY20" fmla="*/ 6000173 h 6997700"/>
                  <a:gd name="connsiteX21" fmla="*/ 852054 w 4843937"/>
                  <a:gd name="connsiteY21" fmla="*/ 6997700 h 6997700"/>
                  <a:gd name="connsiteX22" fmla="*/ 644236 w 4843937"/>
                  <a:gd name="connsiteY22" fmla="*/ 5833918 h 6997700"/>
                  <a:gd name="connsiteX23" fmla="*/ 0 w 4843937"/>
                  <a:gd name="connsiteY23" fmla="*/ 4566227 h 6997700"/>
                  <a:gd name="connsiteX0" fmla="*/ 0 w 4843698"/>
                  <a:gd name="connsiteY0" fmla="*/ 4566227 h 6997700"/>
                  <a:gd name="connsiteX1" fmla="*/ 685800 w 4843698"/>
                  <a:gd name="connsiteY1" fmla="*/ 4212937 h 6997700"/>
                  <a:gd name="connsiteX2" fmla="*/ 1433945 w 4843698"/>
                  <a:gd name="connsiteY2" fmla="*/ 3942773 h 6997700"/>
                  <a:gd name="connsiteX3" fmla="*/ 1974273 w 4843698"/>
                  <a:gd name="connsiteY3" fmla="*/ 3921991 h 6997700"/>
                  <a:gd name="connsiteX4" fmla="*/ 2556164 w 4843698"/>
                  <a:gd name="connsiteY4" fmla="*/ 3485573 h 6997700"/>
                  <a:gd name="connsiteX5" fmla="*/ 2805545 w 4843698"/>
                  <a:gd name="connsiteY5" fmla="*/ 3527137 h 6997700"/>
                  <a:gd name="connsiteX6" fmla="*/ 2894734 w 4843698"/>
                  <a:gd name="connsiteY6" fmla="*/ 1789257 h 6997700"/>
                  <a:gd name="connsiteX7" fmla="*/ 3249757 w 4843698"/>
                  <a:gd name="connsiteY7" fmla="*/ 1403927 h 6997700"/>
                  <a:gd name="connsiteX8" fmla="*/ 3449782 w 4843698"/>
                  <a:gd name="connsiteY8" fmla="*/ 347518 h 6997700"/>
                  <a:gd name="connsiteX9" fmla="*/ 3776229 w 4843698"/>
                  <a:gd name="connsiteY9" fmla="*/ 289 h 6997700"/>
                  <a:gd name="connsiteX10" fmla="*/ 4073236 w 4843698"/>
                  <a:gd name="connsiteY10" fmla="*/ 742373 h 6997700"/>
                  <a:gd name="connsiteX11" fmla="*/ 4094018 w 4843698"/>
                  <a:gd name="connsiteY11" fmla="*/ 1054100 h 6997700"/>
                  <a:gd name="connsiteX12" fmla="*/ 4239491 w 4843698"/>
                  <a:gd name="connsiteY12" fmla="*/ 1241137 h 6997700"/>
                  <a:gd name="connsiteX13" fmla="*/ 4177145 w 4843698"/>
                  <a:gd name="connsiteY13" fmla="*/ 1428173 h 6997700"/>
                  <a:gd name="connsiteX14" fmla="*/ 4415270 w 4843698"/>
                  <a:gd name="connsiteY14" fmla="*/ 1721716 h 6997700"/>
                  <a:gd name="connsiteX15" fmla="*/ 4447309 w 4843698"/>
                  <a:gd name="connsiteY15" fmla="*/ 2072409 h 6997700"/>
                  <a:gd name="connsiteX16" fmla="*/ 4779818 w 4843698"/>
                  <a:gd name="connsiteY16" fmla="*/ 3028373 h 6997700"/>
                  <a:gd name="connsiteX17" fmla="*/ 4675909 w 4843698"/>
                  <a:gd name="connsiteY17" fmla="*/ 4296064 h 6997700"/>
                  <a:gd name="connsiteX18" fmla="*/ 4572000 w 4843698"/>
                  <a:gd name="connsiteY18" fmla="*/ 5044209 h 6997700"/>
                  <a:gd name="connsiteX19" fmla="*/ 4281054 w 4843698"/>
                  <a:gd name="connsiteY19" fmla="*/ 5355937 h 6997700"/>
                  <a:gd name="connsiteX20" fmla="*/ 2680854 w 4843698"/>
                  <a:gd name="connsiteY20" fmla="*/ 6000173 h 6997700"/>
                  <a:gd name="connsiteX21" fmla="*/ 852054 w 4843698"/>
                  <a:gd name="connsiteY21" fmla="*/ 6997700 h 6997700"/>
                  <a:gd name="connsiteX22" fmla="*/ 644236 w 4843698"/>
                  <a:gd name="connsiteY22" fmla="*/ 5833918 h 6997700"/>
                  <a:gd name="connsiteX23" fmla="*/ 0 w 4843698"/>
                  <a:gd name="connsiteY23" fmla="*/ 4566227 h 6997700"/>
                  <a:gd name="connsiteX0" fmla="*/ 0 w 4843698"/>
                  <a:gd name="connsiteY0" fmla="*/ 4566227 h 6997700"/>
                  <a:gd name="connsiteX1" fmla="*/ 685800 w 4843698"/>
                  <a:gd name="connsiteY1" fmla="*/ 4212937 h 6997700"/>
                  <a:gd name="connsiteX2" fmla="*/ 1433945 w 4843698"/>
                  <a:gd name="connsiteY2" fmla="*/ 3942773 h 6997700"/>
                  <a:gd name="connsiteX3" fmla="*/ 1974273 w 4843698"/>
                  <a:gd name="connsiteY3" fmla="*/ 3921991 h 6997700"/>
                  <a:gd name="connsiteX4" fmla="*/ 2556164 w 4843698"/>
                  <a:gd name="connsiteY4" fmla="*/ 3485573 h 6997700"/>
                  <a:gd name="connsiteX5" fmla="*/ 2805545 w 4843698"/>
                  <a:gd name="connsiteY5" fmla="*/ 3527137 h 6997700"/>
                  <a:gd name="connsiteX6" fmla="*/ 2894734 w 4843698"/>
                  <a:gd name="connsiteY6" fmla="*/ 1789257 h 6997700"/>
                  <a:gd name="connsiteX7" fmla="*/ 3249757 w 4843698"/>
                  <a:gd name="connsiteY7" fmla="*/ 1403927 h 6997700"/>
                  <a:gd name="connsiteX8" fmla="*/ 3449782 w 4843698"/>
                  <a:gd name="connsiteY8" fmla="*/ 347518 h 6997700"/>
                  <a:gd name="connsiteX9" fmla="*/ 3776229 w 4843698"/>
                  <a:gd name="connsiteY9" fmla="*/ 289 h 6997700"/>
                  <a:gd name="connsiteX10" fmla="*/ 4073236 w 4843698"/>
                  <a:gd name="connsiteY10" fmla="*/ 742373 h 6997700"/>
                  <a:gd name="connsiteX11" fmla="*/ 4094018 w 4843698"/>
                  <a:gd name="connsiteY11" fmla="*/ 1054100 h 6997700"/>
                  <a:gd name="connsiteX12" fmla="*/ 4239491 w 4843698"/>
                  <a:gd name="connsiteY12" fmla="*/ 1241137 h 6997700"/>
                  <a:gd name="connsiteX13" fmla="*/ 4177145 w 4843698"/>
                  <a:gd name="connsiteY13" fmla="*/ 1428173 h 6997700"/>
                  <a:gd name="connsiteX14" fmla="*/ 4415270 w 4843698"/>
                  <a:gd name="connsiteY14" fmla="*/ 1721716 h 6997700"/>
                  <a:gd name="connsiteX15" fmla="*/ 4447309 w 4843698"/>
                  <a:gd name="connsiteY15" fmla="*/ 2072409 h 6997700"/>
                  <a:gd name="connsiteX16" fmla="*/ 4779818 w 4843698"/>
                  <a:gd name="connsiteY16" fmla="*/ 3028373 h 6997700"/>
                  <a:gd name="connsiteX17" fmla="*/ 4675909 w 4843698"/>
                  <a:gd name="connsiteY17" fmla="*/ 4296064 h 6997700"/>
                  <a:gd name="connsiteX18" fmla="*/ 4572000 w 4843698"/>
                  <a:gd name="connsiteY18" fmla="*/ 5044209 h 6997700"/>
                  <a:gd name="connsiteX19" fmla="*/ 4281054 w 4843698"/>
                  <a:gd name="connsiteY19" fmla="*/ 5355937 h 6997700"/>
                  <a:gd name="connsiteX20" fmla="*/ 2680854 w 4843698"/>
                  <a:gd name="connsiteY20" fmla="*/ 6000173 h 6997700"/>
                  <a:gd name="connsiteX21" fmla="*/ 852054 w 4843698"/>
                  <a:gd name="connsiteY21" fmla="*/ 6997700 h 6997700"/>
                  <a:gd name="connsiteX22" fmla="*/ 644236 w 4843698"/>
                  <a:gd name="connsiteY22" fmla="*/ 5833918 h 6997700"/>
                  <a:gd name="connsiteX23" fmla="*/ 0 w 4843698"/>
                  <a:gd name="connsiteY23" fmla="*/ 4566227 h 6997700"/>
                  <a:gd name="connsiteX0" fmla="*/ 0 w 4843698"/>
                  <a:gd name="connsiteY0" fmla="*/ 4566227 h 6997700"/>
                  <a:gd name="connsiteX1" fmla="*/ 685800 w 4843698"/>
                  <a:gd name="connsiteY1" fmla="*/ 4212937 h 6997700"/>
                  <a:gd name="connsiteX2" fmla="*/ 1433945 w 4843698"/>
                  <a:gd name="connsiteY2" fmla="*/ 3942773 h 6997700"/>
                  <a:gd name="connsiteX3" fmla="*/ 1974273 w 4843698"/>
                  <a:gd name="connsiteY3" fmla="*/ 3921991 h 6997700"/>
                  <a:gd name="connsiteX4" fmla="*/ 2556164 w 4843698"/>
                  <a:gd name="connsiteY4" fmla="*/ 3485573 h 6997700"/>
                  <a:gd name="connsiteX5" fmla="*/ 2805545 w 4843698"/>
                  <a:gd name="connsiteY5" fmla="*/ 3527137 h 6997700"/>
                  <a:gd name="connsiteX6" fmla="*/ 2894734 w 4843698"/>
                  <a:gd name="connsiteY6" fmla="*/ 1789257 h 6997700"/>
                  <a:gd name="connsiteX7" fmla="*/ 3249757 w 4843698"/>
                  <a:gd name="connsiteY7" fmla="*/ 1403927 h 6997700"/>
                  <a:gd name="connsiteX8" fmla="*/ 3449782 w 4843698"/>
                  <a:gd name="connsiteY8" fmla="*/ 347518 h 6997700"/>
                  <a:gd name="connsiteX9" fmla="*/ 3776229 w 4843698"/>
                  <a:gd name="connsiteY9" fmla="*/ 289 h 6997700"/>
                  <a:gd name="connsiteX10" fmla="*/ 4073236 w 4843698"/>
                  <a:gd name="connsiteY10" fmla="*/ 742373 h 6997700"/>
                  <a:gd name="connsiteX11" fmla="*/ 4094018 w 4843698"/>
                  <a:gd name="connsiteY11" fmla="*/ 1054100 h 6997700"/>
                  <a:gd name="connsiteX12" fmla="*/ 4239491 w 4843698"/>
                  <a:gd name="connsiteY12" fmla="*/ 1241137 h 6997700"/>
                  <a:gd name="connsiteX13" fmla="*/ 4177145 w 4843698"/>
                  <a:gd name="connsiteY13" fmla="*/ 1428173 h 6997700"/>
                  <a:gd name="connsiteX14" fmla="*/ 4415270 w 4843698"/>
                  <a:gd name="connsiteY14" fmla="*/ 1721716 h 6997700"/>
                  <a:gd name="connsiteX15" fmla="*/ 4447309 w 4843698"/>
                  <a:gd name="connsiteY15" fmla="*/ 2072409 h 6997700"/>
                  <a:gd name="connsiteX16" fmla="*/ 4779818 w 4843698"/>
                  <a:gd name="connsiteY16" fmla="*/ 3028373 h 6997700"/>
                  <a:gd name="connsiteX17" fmla="*/ 4675909 w 4843698"/>
                  <a:gd name="connsiteY17" fmla="*/ 4296064 h 6997700"/>
                  <a:gd name="connsiteX18" fmla="*/ 4572000 w 4843698"/>
                  <a:gd name="connsiteY18" fmla="*/ 5044209 h 6997700"/>
                  <a:gd name="connsiteX19" fmla="*/ 4281054 w 4843698"/>
                  <a:gd name="connsiteY19" fmla="*/ 5355937 h 6997700"/>
                  <a:gd name="connsiteX20" fmla="*/ 2680854 w 4843698"/>
                  <a:gd name="connsiteY20" fmla="*/ 6000173 h 6997700"/>
                  <a:gd name="connsiteX21" fmla="*/ 852054 w 4843698"/>
                  <a:gd name="connsiteY21" fmla="*/ 6997700 h 6997700"/>
                  <a:gd name="connsiteX22" fmla="*/ 644236 w 4843698"/>
                  <a:gd name="connsiteY22" fmla="*/ 5833918 h 6997700"/>
                  <a:gd name="connsiteX23" fmla="*/ 0 w 4843698"/>
                  <a:gd name="connsiteY23" fmla="*/ 4566227 h 6997700"/>
                  <a:gd name="connsiteX0" fmla="*/ 0 w 4834412"/>
                  <a:gd name="connsiteY0" fmla="*/ 4566227 h 6997700"/>
                  <a:gd name="connsiteX1" fmla="*/ 685800 w 4834412"/>
                  <a:gd name="connsiteY1" fmla="*/ 4212937 h 6997700"/>
                  <a:gd name="connsiteX2" fmla="*/ 1433945 w 4834412"/>
                  <a:gd name="connsiteY2" fmla="*/ 3942773 h 6997700"/>
                  <a:gd name="connsiteX3" fmla="*/ 1974273 w 4834412"/>
                  <a:gd name="connsiteY3" fmla="*/ 3921991 h 6997700"/>
                  <a:gd name="connsiteX4" fmla="*/ 2556164 w 4834412"/>
                  <a:gd name="connsiteY4" fmla="*/ 3485573 h 6997700"/>
                  <a:gd name="connsiteX5" fmla="*/ 2805545 w 4834412"/>
                  <a:gd name="connsiteY5" fmla="*/ 3527137 h 6997700"/>
                  <a:gd name="connsiteX6" fmla="*/ 2894734 w 4834412"/>
                  <a:gd name="connsiteY6" fmla="*/ 1789257 h 6997700"/>
                  <a:gd name="connsiteX7" fmla="*/ 3249757 w 4834412"/>
                  <a:gd name="connsiteY7" fmla="*/ 1403927 h 6997700"/>
                  <a:gd name="connsiteX8" fmla="*/ 3449782 w 4834412"/>
                  <a:gd name="connsiteY8" fmla="*/ 347518 h 6997700"/>
                  <a:gd name="connsiteX9" fmla="*/ 3776229 w 4834412"/>
                  <a:gd name="connsiteY9" fmla="*/ 289 h 6997700"/>
                  <a:gd name="connsiteX10" fmla="*/ 4073236 w 4834412"/>
                  <a:gd name="connsiteY10" fmla="*/ 742373 h 6997700"/>
                  <a:gd name="connsiteX11" fmla="*/ 4094018 w 4834412"/>
                  <a:gd name="connsiteY11" fmla="*/ 1054100 h 6997700"/>
                  <a:gd name="connsiteX12" fmla="*/ 4239491 w 4834412"/>
                  <a:gd name="connsiteY12" fmla="*/ 1241137 h 6997700"/>
                  <a:gd name="connsiteX13" fmla="*/ 4177145 w 4834412"/>
                  <a:gd name="connsiteY13" fmla="*/ 1428173 h 6997700"/>
                  <a:gd name="connsiteX14" fmla="*/ 4415270 w 4834412"/>
                  <a:gd name="connsiteY14" fmla="*/ 1721716 h 6997700"/>
                  <a:gd name="connsiteX15" fmla="*/ 4447309 w 4834412"/>
                  <a:gd name="connsiteY15" fmla="*/ 2072409 h 6997700"/>
                  <a:gd name="connsiteX16" fmla="*/ 4779818 w 4834412"/>
                  <a:gd name="connsiteY16" fmla="*/ 3028373 h 6997700"/>
                  <a:gd name="connsiteX17" fmla="*/ 4675909 w 4834412"/>
                  <a:gd name="connsiteY17" fmla="*/ 4296064 h 6997700"/>
                  <a:gd name="connsiteX18" fmla="*/ 4572000 w 4834412"/>
                  <a:gd name="connsiteY18" fmla="*/ 5044209 h 6997700"/>
                  <a:gd name="connsiteX19" fmla="*/ 4281054 w 4834412"/>
                  <a:gd name="connsiteY19" fmla="*/ 5355937 h 6997700"/>
                  <a:gd name="connsiteX20" fmla="*/ 2680854 w 4834412"/>
                  <a:gd name="connsiteY20" fmla="*/ 6000173 h 6997700"/>
                  <a:gd name="connsiteX21" fmla="*/ 852054 w 4834412"/>
                  <a:gd name="connsiteY21" fmla="*/ 6997700 h 6997700"/>
                  <a:gd name="connsiteX22" fmla="*/ 644236 w 4834412"/>
                  <a:gd name="connsiteY22" fmla="*/ 5833918 h 6997700"/>
                  <a:gd name="connsiteX23" fmla="*/ 0 w 4834412"/>
                  <a:gd name="connsiteY23" fmla="*/ 4566227 h 6997700"/>
                  <a:gd name="connsiteX0" fmla="*/ 0 w 4834412"/>
                  <a:gd name="connsiteY0" fmla="*/ 4566227 h 6997700"/>
                  <a:gd name="connsiteX1" fmla="*/ 685800 w 4834412"/>
                  <a:gd name="connsiteY1" fmla="*/ 4212937 h 6997700"/>
                  <a:gd name="connsiteX2" fmla="*/ 1433945 w 4834412"/>
                  <a:gd name="connsiteY2" fmla="*/ 3942773 h 6997700"/>
                  <a:gd name="connsiteX3" fmla="*/ 1974273 w 4834412"/>
                  <a:gd name="connsiteY3" fmla="*/ 3921991 h 6997700"/>
                  <a:gd name="connsiteX4" fmla="*/ 2556164 w 4834412"/>
                  <a:gd name="connsiteY4" fmla="*/ 3485573 h 6997700"/>
                  <a:gd name="connsiteX5" fmla="*/ 2805545 w 4834412"/>
                  <a:gd name="connsiteY5" fmla="*/ 3527137 h 6997700"/>
                  <a:gd name="connsiteX6" fmla="*/ 2894734 w 4834412"/>
                  <a:gd name="connsiteY6" fmla="*/ 1789257 h 6997700"/>
                  <a:gd name="connsiteX7" fmla="*/ 3249757 w 4834412"/>
                  <a:gd name="connsiteY7" fmla="*/ 1403927 h 6997700"/>
                  <a:gd name="connsiteX8" fmla="*/ 3449782 w 4834412"/>
                  <a:gd name="connsiteY8" fmla="*/ 347518 h 6997700"/>
                  <a:gd name="connsiteX9" fmla="*/ 3776229 w 4834412"/>
                  <a:gd name="connsiteY9" fmla="*/ 289 h 6997700"/>
                  <a:gd name="connsiteX10" fmla="*/ 4073236 w 4834412"/>
                  <a:gd name="connsiteY10" fmla="*/ 742373 h 6997700"/>
                  <a:gd name="connsiteX11" fmla="*/ 4094018 w 4834412"/>
                  <a:gd name="connsiteY11" fmla="*/ 1054100 h 6997700"/>
                  <a:gd name="connsiteX12" fmla="*/ 4239491 w 4834412"/>
                  <a:gd name="connsiteY12" fmla="*/ 1241137 h 6997700"/>
                  <a:gd name="connsiteX13" fmla="*/ 4177145 w 4834412"/>
                  <a:gd name="connsiteY13" fmla="*/ 1428173 h 6997700"/>
                  <a:gd name="connsiteX14" fmla="*/ 4415270 w 4834412"/>
                  <a:gd name="connsiteY14" fmla="*/ 1721716 h 6997700"/>
                  <a:gd name="connsiteX15" fmla="*/ 4447309 w 4834412"/>
                  <a:gd name="connsiteY15" fmla="*/ 2072409 h 6997700"/>
                  <a:gd name="connsiteX16" fmla="*/ 4779818 w 4834412"/>
                  <a:gd name="connsiteY16" fmla="*/ 3028373 h 6997700"/>
                  <a:gd name="connsiteX17" fmla="*/ 4675909 w 4834412"/>
                  <a:gd name="connsiteY17" fmla="*/ 4296064 h 6997700"/>
                  <a:gd name="connsiteX18" fmla="*/ 4572000 w 4834412"/>
                  <a:gd name="connsiteY18" fmla="*/ 5044209 h 6997700"/>
                  <a:gd name="connsiteX19" fmla="*/ 4281054 w 4834412"/>
                  <a:gd name="connsiteY19" fmla="*/ 5355937 h 6997700"/>
                  <a:gd name="connsiteX20" fmla="*/ 2680854 w 4834412"/>
                  <a:gd name="connsiteY20" fmla="*/ 6000173 h 6997700"/>
                  <a:gd name="connsiteX21" fmla="*/ 852054 w 4834412"/>
                  <a:gd name="connsiteY21" fmla="*/ 6997700 h 6997700"/>
                  <a:gd name="connsiteX22" fmla="*/ 644236 w 4834412"/>
                  <a:gd name="connsiteY22" fmla="*/ 5833918 h 6997700"/>
                  <a:gd name="connsiteX23" fmla="*/ 0 w 4834412"/>
                  <a:gd name="connsiteY23" fmla="*/ 4566227 h 6997700"/>
                  <a:gd name="connsiteX0" fmla="*/ 0 w 4862987"/>
                  <a:gd name="connsiteY0" fmla="*/ 4566227 h 6997700"/>
                  <a:gd name="connsiteX1" fmla="*/ 685800 w 4862987"/>
                  <a:gd name="connsiteY1" fmla="*/ 4212937 h 6997700"/>
                  <a:gd name="connsiteX2" fmla="*/ 1433945 w 4862987"/>
                  <a:gd name="connsiteY2" fmla="*/ 3942773 h 6997700"/>
                  <a:gd name="connsiteX3" fmla="*/ 1974273 w 4862987"/>
                  <a:gd name="connsiteY3" fmla="*/ 3921991 h 6997700"/>
                  <a:gd name="connsiteX4" fmla="*/ 2556164 w 4862987"/>
                  <a:gd name="connsiteY4" fmla="*/ 3485573 h 6997700"/>
                  <a:gd name="connsiteX5" fmla="*/ 2805545 w 4862987"/>
                  <a:gd name="connsiteY5" fmla="*/ 3527137 h 6997700"/>
                  <a:gd name="connsiteX6" fmla="*/ 2894734 w 4862987"/>
                  <a:gd name="connsiteY6" fmla="*/ 1789257 h 6997700"/>
                  <a:gd name="connsiteX7" fmla="*/ 3249757 w 4862987"/>
                  <a:gd name="connsiteY7" fmla="*/ 1403927 h 6997700"/>
                  <a:gd name="connsiteX8" fmla="*/ 3449782 w 4862987"/>
                  <a:gd name="connsiteY8" fmla="*/ 347518 h 6997700"/>
                  <a:gd name="connsiteX9" fmla="*/ 3776229 w 4862987"/>
                  <a:gd name="connsiteY9" fmla="*/ 289 h 6997700"/>
                  <a:gd name="connsiteX10" fmla="*/ 4073236 w 4862987"/>
                  <a:gd name="connsiteY10" fmla="*/ 742373 h 6997700"/>
                  <a:gd name="connsiteX11" fmla="*/ 4094018 w 4862987"/>
                  <a:gd name="connsiteY11" fmla="*/ 1054100 h 6997700"/>
                  <a:gd name="connsiteX12" fmla="*/ 4239491 w 4862987"/>
                  <a:gd name="connsiteY12" fmla="*/ 1241137 h 6997700"/>
                  <a:gd name="connsiteX13" fmla="*/ 4177145 w 4862987"/>
                  <a:gd name="connsiteY13" fmla="*/ 1428173 h 6997700"/>
                  <a:gd name="connsiteX14" fmla="*/ 4415270 w 4862987"/>
                  <a:gd name="connsiteY14" fmla="*/ 1721716 h 6997700"/>
                  <a:gd name="connsiteX15" fmla="*/ 4447309 w 4862987"/>
                  <a:gd name="connsiteY15" fmla="*/ 2072409 h 6997700"/>
                  <a:gd name="connsiteX16" fmla="*/ 4779818 w 4862987"/>
                  <a:gd name="connsiteY16" fmla="*/ 3028373 h 6997700"/>
                  <a:gd name="connsiteX17" fmla="*/ 4704484 w 4862987"/>
                  <a:gd name="connsiteY17" fmla="*/ 4229389 h 6997700"/>
                  <a:gd name="connsiteX18" fmla="*/ 4572000 w 4862987"/>
                  <a:gd name="connsiteY18" fmla="*/ 5044209 h 6997700"/>
                  <a:gd name="connsiteX19" fmla="*/ 4281054 w 4862987"/>
                  <a:gd name="connsiteY19" fmla="*/ 5355937 h 6997700"/>
                  <a:gd name="connsiteX20" fmla="*/ 2680854 w 4862987"/>
                  <a:gd name="connsiteY20" fmla="*/ 6000173 h 6997700"/>
                  <a:gd name="connsiteX21" fmla="*/ 852054 w 4862987"/>
                  <a:gd name="connsiteY21" fmla="*/ 6997700 h 6997700"/>
                  <a:gd name="connsiteX22" fmla="*/ 644236 w 4862987"/>
                  <a:gd name="connsiteY22" fmla="*/ 5833918 h 6997700"/>
                  <a:gd name="connsiteX23" fmla="*/ 0 w 4862987"/>
                  <a:gd name="connsiteY23" fmla="*/ 4566227 h 6997700"/>
                  <a:gd name="connsiteX0" fmla="*/ 0 w 4834412"/>
                  <a:gd name="connsiteY0" fmla="*/ 4566227 h 6997700"/>
                  <a:gd name="connsiteX1" fmla="*/ 685800 w 4834412"/>
                  <a:gd name="connsiteY1" fmla="*/ 4212937 h 6997700"/>
                  <a:gd name="connsiteX2" fmla="*/ 1433945 w 4834412"/>
                  <a:gd name="connsiteY2" fmla="*/ 3942773 h 6997700"/>
                  <a:gd name="connsiteX3" fmla="*/ 1974273 w 4834412"/>
                  <a:gd name="connsiteY3" fmla="*/ 3921991 h 6997700"/>
                  <a:gd name="connsiteX4" fmla="*/ 2556164 w 4834412"/>
                  <a:gd name="connsiteY4" fmla="*/ 3485573 h 6997700"/>
                  <a:gd name="connsiteX5" fmla="*/ 2805545 w 4834412"/>
                  <a:gd name="connsiteY5" fmla="*/ 3527137 h 6997700"/>
                  <a:gd name="connsiteX6" fmla="*/ 2894734 w 4834412"/>
                  <a:gd name="connsiteY6" fmla="*/ 1789257 h 6997700"/>
                  <a:gd name="connsiteX7" fmla="*/ 3249757 w 4834412"/>
                  <a:gd name="connsiteY7" fmla="*/ 1403927 h 6997700"/>
                  <a:gd name="connsiteX8" fmla="*/ 3449782 w 4834412"/>
                  <a:gd name="connsiteY8" fmla="*/ 347518 h 6997700"/>
                  <a:gd name="connsiteX9" fmla="*/ 3776229 w 4834412"/>
                  <a:gd name="connsiteY9" fmla="*/ 289 h 6997700"/>
                  <a:gd name="connsiteX10" fmla="*/ 4073236 w 4834412"/>
                  <a:gd name="connsiteY10" fmla="*/ 742373 h 6997700"/>
                  <a:gd name="connsiteX11" fmla="*/ 4094018 w 4834412"/>
                  <a:gd name="connsiteY11" fmla="*/ 1054100 h 6997700"/>
                  <a:gd name="connsiteX12" fmla="*/ 4239491 w 4834412"/>
                  <a:gd name="connsiteY12" fmla="*/ 1241137 h 6997700"/>
                  <a:gd name="connsiteX13" fmla="*/ 4177145 w 4834412"/>
                  <a:gd name="connsiteY13" fmla="*/ 1428173 h 6997700"/>
                  <a:gd name="connsiteX14" fmla="*/ 4415270 w 4834412"/>
                  <a:gd name="connsiteY14" fmla="*/ 1721716 h 6997700"/>
                  <a:gd name="connsiteX15" fmla="*/ 4447309 w 4834412"/>
                  <a:gd name="connsiteY15" fmla="*/ 2072409 h 6997700"/>
                  <a:gd name="connsiteX16" fmla="*/ 4779818 w 4834412"/>
                  <a:gd name="connsiteY16" fmla="*/ 3028373 h 6997700"/>
                  <a:gd name="connsiteX17" fmla="*/ 4704484 w 4834412"/>
                  <a:gd name="connsiteY17" fmla="*/ 4229389 h 6997700"/>
                  <a:gd name="connsiteX18" fmla="*/ 4572000 w 4834412"/>
                  <a:gd name="connsiteY18" fmla="*/ 5044209 h 6997700"/>
                  <a:gd name="connsiteX19" fmla="*/ 4281054 w 4834412"/>
                  <a:gd name="connsiteY19" fmla="*/ 5355937 h 6997700"/>
                  <a:gd name="connsiteX20" fmla="*/ 2680854 w 4834412"/>
                  <a:gd name="connsiteY20" fmla="*/ 6000173 h 6997700"/>
                  <a:gd name="connsiteX21" fmla="*/ 852054 w 4834412"/>
                  <a:gd name="connsiteY21" fmla="*/ 6997700 h 6997700"/>
                  <a:gd name="connsiteX22" fmla="*/ 644236 w 4834412"/>
                  <a:gd name="connsiteY22" fmla="*/ 5833918 h 6997700"/>
                  <a:gd name="connsiteX23" fmla="*/ 0 w 4834412"/>
                  <a:gd name="connsiteY23" fmla="*/ 4566227 h 6997700"/>
                  <a:gd name="connsiteX0" fmla="*/ 0 w 4834412"/>
                  <a:gd name="connsiteY0" fmla="*/ 4566227 h 6997700"/>
                  <a:gd name="connsiteX1" fmla="*/ 685800 w 4834412"/>
                  <a:gd name="connsiteY1" fmla="*/ 4212937 h 6997700"/>
                  <a:gd name="connsiteX2" fmla="*/ 1433945 w 4834412"/>
                  <a:gd name="connsiteY2" fmla="*/ 3942773 h 6997700"/>
                  <a:gd name="connsiteX3" fmla="*/ 1974273 w 4834412"/>
                  <a:gd name="connsiteY3" fmla="*/ 3921991 h 6997700"/>
                  <a:gd name="connsiteX4" fmla="*/ 2556164 w 4834412"/>
                  <a:gd name="connsiteY4" fmla="*/ 3485573 h 6997700"/>
                  <a:gd name="connsiteX5" fmla="*/ 2805545 w 4834412"/>
                  <a:gd name="connsiteY5" fmla="*/ 3527137 h 6997700"/>
                  <a:gd name="connsiteX6" fmla="*/ 2894734 w 4834412"/>
                  <a:gd name="connsiteY6" fmla="*/ 1789257 h 6997700"/>
                  <a:gd name="connsiteX7" fmla="*/ 3249757 w 4834412"/>
                  <a:gd name="connsiteY7" fmla="*/ 1403927 h 6997700"/>
                  <a:gd name="connsiteX8" fmla="*/ 3449782 w 4834412"/>
                  <a:gd name="connsiteY8" fmla="*/ 347518 h 6997700"/>
                  <a:gd name="connsiteX9" fmla="*/ 3776229 w 4834412"/>
                  <a:gd name="connsiteY9" fmla="*/ 289 h 6997700"/>
                  <a:gd name="connsiteX10" fmla="*/ 4073236 w 4834412"/>
                  <a:gd name="connsiteY10" fmla="*/ 742373 h 6997700"/>
                  <a:gd name="connsiteX11" fmla="*/ 4094018 w 4834412"/>
                  <a:gd name="connsiteY11" fmla="*/ 1054100 h 6997700"/>
                  <a:gd name="connsiteX12" fmla="*/ 4239491 w 4834412"/>
                  <a:gd name="connsiteY12" fmla="*/ 1241137 h 6997700"/>
                  <a:gd name="connsiteX13" fmla="*/ 4177145 w 4834412"/>
                  <a:gd name="connsiteY13" fmla="*/ 1428173 h 6997700"/>
                  <a:gd name="connsiteX14" fmla="*/ 4415270 w 4834412"/>
                  <a:gd name="connsiteY14" fmla="*/ 1721716 h 6997700"/>
                  <a:gd name="connsiteX15" fmla="*/ 4447309 w 4834412"/>
                  <a:gd name="connsiteY15" fmla="*/ 2072409 h 6997700"/>
                  <a:gd name="connsiteX16" fmla="*/ 4779818 w 4834412"/>
                  <a:gd name="connsiteY16" fmla="*/ 3028373 h 6997700"/>
                  <a:gd name="connsiteX17" fmla="*/ 4704484 w 4834412"/>
                  <a:gd name="connsiteY17" fmla="*/ 4229389 h 6997700"/>
                  <a:gd name="connsiteX18" fmla="*/ 4572000 w 4834412"/>
                  <a:gd name="connsiteY18" fmla="*/ 5044209 h 6997700"/>
                  <a:gd name="connsiteX19" fmla="*/ 4281054 w 4834412"/>
                  <a:gd name="connsiteY19" fmla="*/ 5355937 h 6997700"/>
                  <a:gd name="connsiteX20" fmla="*/ 2680854 w 4834412"/>
                  <a:gd name="connsiteY20" fmla="*/ 6000173 h 6997700"/>
                  <a:gd name="connsiteX21" fmla="*/ 852054 w 4834412"/>
                  <a:gd name="connsiteY21" fmla="*/ 6997700 h 6997700"/>
                  <a:gd name="connsiteX22" fmla="*/ 644236 w 4834412"/>
                  <a:gd name="connsiteY22" fmla="*/ 5833918 h 6997700"/>
                  <a:gd name="connsiteX23" fmla="*/ 0 w 4834412"/>
                  <a:gd name="connsiteY23" fmla="*/ 4566227 h 6997700"/>
                  <a:gd name="connsiteX0" fmla="*/ 0 w 4834412"/>
                  <a:gd name="connsiteY0" fmla="*/ 4566227 h 6997700"/>
                  <a:gd name="connsiteX1" fmla="*/ 685800 w 4834412"/>
                  <a:gd name="connsiteY1" fmla="*/ 4212937 h 6997700"/>
                  <a:gd name="connsiteX2" fmla="*/ 1433945 w 4834412"/>
                  <a:gd name="connsiteY2" fmla="*/ 3942773 h 6997700"/>
                  <a:gd name="connsiteX3" fmla="*/ 1974273 w 4834412"/>
                  <a:gd name="connsiteY3" fmla="*/ 3921991 h 6997700"/>
                  <a:gd name="connsiteX4" fmla="*/ 2556164 w 4834412"/>
                  <a:gd name="connsiteY4" fmla="*/ 3485573 h 6997700"/>
                  <a:gd name="connsiteX5" fmla="*/ 2805545 w 4834412"/>
                  <a:gd name="connsiteY5" fmla="*/ 3527137 h 6997700"/>
                  <a:gd name="connsiteX6" fmla="*/ 2894734 w 4834412"/>
                  <a:gd name="connsiteY6" fmla="*/ 1789257 h 6997700"/>
                  <a:gd name="connsiteX7" fmla="*/ 3249757 w 4834412"/>
                  <a:gd name="connsiteY7" fmla="*/ 1403927 h 6997700"/>
                  <a:gd name="connsiteX8" fmla="*/ 3449782 w 4834412"/>
                  <a:gd name="connsiteY8" fmla="*/ 347518 h 6997700"/>
                  <a:gd name="connsiteX9" fmla="*/ 3776229 w 4834412"/>
                  <a:gd name="connsiteY9" fmla="*/ 289 h 6997700"/>
                  <a:gd name="connsiteX10" fmla="*/ 4073236 w 4834412"/>
                  <a:gd name="connsiteY10" fmla="*/ 742373 h 6997700"/>
                  <a:gd name="connsiteX11" fmla="*/ 4094018 w 4834412"/>
                  <a:gd name="connsiteY11" fmla="*/ 1054100 h 6997700"/>
                  <a:gd name="connsiteX12" fmla="*/ 4239491 w 4834412"/>
                  <a:gd name="connsiteY12" fmla="*/ 1241137 h 6997700"/>
                  <a:gd name="connsiteX13" fmla="*/ 4177145 w 4834412"/>
                  <a:gd name="connsiteY13" fmla="*/ 1428173 h 6997700"/>
                  <a:gd name="connsiteX14" fmla="*/ 4415270 w 4834412"/>
                  <a:gd name="connsiteY14" fmla="*/ 1721716 h 6997700"/>
                  <a:gd name="connsiteX15" fmla="*/ 4447309 w 4834412"/>
                  <a:gd name="connsiteY15" fmla="*/ 2072409 h 6997700"/>
                  <a:gd name="connsiteX16" fmla="*/ 4779818 w 4834412"/>
                  <a:gd name="connsiteY16" fmla="*/ 3028373 h 6997700"/>
                  <a:gd name="connsiteX17" fmla="*/ 4704484 w 4834412"/>
                  <a:gd name="connsiteY17" fmla="*/ 4229389 h 6997700"/>
                  <a:gd name="connsiteX18" fmla="*/ 4572000 w 4834412"/>
                  <a:gd name="connsiteY18" fmla="*/ 5044209 h 6997700"/>
                  <a:gd name="connsiteX19" fmla="*/ 4281054 w 4834412"/>
                  <a:gd name="connsiteY19" fmla="*/ 5355937 h 6997700"/>
                  <a:gd name="connsiteX20" fmla="*/ 2680854 w 4834412"/>
                  <a:gd name="connsiteY20" fmla="*/ 6000173 h 6997700"/>
                  <a:gd name="connsiteX21" fmla="*/ 852054 w 4834412"/>
                  <a:gd name="connsiteY21" fmla="*/ 6997700 h 6997700"/>
                  <a:gd name="connsiteX22" fmla="*/ 644236 w 4834412"/>
                  <a:gd name="connsiteY22" fmla="*/ 5833918 h 6997700"/>
                  <a:gd name="connsiteX23" fmla="*/ 0 w 4834412"/>
                  <a:gd name="connsiteY23" fmla="*/ 4566227 h 6997700"/>
                  <a:gd name="connsiteX0" fmla="*/ 0 w 4834412"/>
                  <a:gd name="connsiteY0" fmla="*/ 4566227 h 6997700"/>
                  <a:gd name="connsiteX1" fmla="*/ 685800 w 4834412"/>
                  <a:gd name="connsiteY1" fmla="*/ 4212937 h 6997700"/>
                  <a:gd name="connsiteX2" fmla="*/ 1433945 w 4834412"/>
                  <a:gd name="connsiteY2" fmla="*/ 3942773 h 6997700"/>
                  <a:gd name="connsiteX3" fmla="*/ 1974273 w 4834412"/>
                  <a:gd name="connsiteY3" fmla="*/ 3921991 h 6997700"/>
                  <a:gd name="connsiteX4" fmla="*/ 2556164 w 4834412"/>
                  <a:gd name="connsiteY4" fmla="*/ 3485573 h 6997700"/>
                  <a:gd name="connsiteX5" fmla="*/ 2805545 w 4834412"/>
                  <a:gd name="connsiteY5" fmla="*/ 3527137 h 6997700"/>
                  <a:gd name="connsiteX6" fmla="*/ 2894734 w 4834412"/>
                  <a:gd name="connsiteY6" fmla="*/ 1789257 h 6997700"/>
                  <a:gd name="connsiteX7" fmla="*/ 3249757 w 4834412"/>
                  <a:gd name="connsiteY7" fmla="*/ 1403927 h 6997700"/>
                  <a:gd name="connsiteX8" fmla="*/ 3449782 w 4834412"/>
                  <a:gd name="connsiteY8" fmla="*/ 347518 h 6997700"/>
                  <a:gd name="connsiteX9" fmla="*/ 3776229 w 4834412"/>
                  <a:gd name="connsiteY9" fmla="*/ 289 h 6997700"/>
                  <a:gd name="connsiteX10" fmla="*/ 4073236 w 4834412"/>
                  <a:gd name="connsiteY10" fmla="*/ 742373 h 6997700"/>
                  <a:gd name="connsiteX11" fmla="*/ 4094018 w 4834412"/>
                  <a:gd name="connsiteY11" fmla="*/ 1054100 h 6997700"/>
                  <a:gd name="connsiteX12" fmla="*/ 4239491 w 4834412"/>
                  <a:gd name="connsiteY12" fmla="*/ 1241137 h 6997700"/>
                  <a:gd name="connsiteX13" fmla="*/ 4177145 w 4834412"/>
                  <a:gd name="connsiteY13" fmla="*/ 1428173 h 6997700"/>
                  <a:gd name="connsiteX14" fmla="*/ 4415270 w 4834412"/>
                  <a:gd name="connsiteY14" fmla="*/ 1721716 h 6997700"/>
                  <a:gd name="connsiteX15" fmla="*/ 4447309 w 4834412"/>
                  <a:gd name="connsiteY15" fmla="*/ 2072409 h 6997700"/>
                  <a:gd name="connsiteX16" fmla="*/ 4779818 w 4834412"/>
                  <a:gd name="connsiteY16" fmla="*/ 3028373 h 6997700"/>
                  <a:gd name="connsiteX17" fmla="*/ 4704484 w 4834412"/>
                  <a:gd name="connsiteY17" fmla="*/ 4229389 h 6997700"/>
                  <a:gd name="connsiteX18" fmla="*/ 4581525 w 4834412"/>
                  <a:gd name="connsiteY18" fmla="*/ 5072784 h 6997700"/>
                  <a:gd name="connsiteX19" fmla="*/ 4281054 w 4834412"/>
                  <a:gd name="connsiteY19" fmla="*/ 5355937 h 6997700"/>
                  <a:gd name="connsiteX20" fmla="*/ 2680854 w 4834412"/>
                  <a:gd name="connsiteY20" fmla="*/ 6000173 h 6997700"/>
                  <a:gd name="connsiteX21" fmla="*/ 852054 w 4834412"/>
                  <a:gd name="connsiteY21" fmla="*/ 6997700 h 6997700"/>
                  <a:gd name="connsiteX22" fmla="*/ 644236 w 4834412"/>
                  <a:gd name="connsiteY22" fmla="*/ 5833918 h 6997700"/>
                  <a:gd name="connsiteX23" fmla="*/ 0 w 4834412"/>
                  <a:gd name="connsiteY23" fmla="*/ 4566227 h 6997700"/>
                  <a:gd name="connsiteX0" fmla="*/ 0 w 4834412"/>
                  <a:gd name="connsiteY0" fmla="*/ 4566227 h 6997700"/>
                  <a:gd name="connsiteX1" fmla="*/ 685800 w 4834412"/>
                  <a:gd name="connsiteY1" fmla="*/ 4212937 h 6997700"/>
                  <a:gd name="connsiteX2" fmla="*/ 1433945 w 4834412"/>
                  <a:gd name="connsiteY2" fmla="*/ 3942773 h 6997700"/>
                  <a:gd name="connsiteX3" fmla="*/ 1974273 w 4834412"/>
                  <a:gd name="connsiteY3" fmla="*/ 3921991 h 6997700"/>
                  <a:gd name="connsiteX4" fmla="*/ 2556164 w 4834412"/>
                  <a:gd name="connsiteY4" fmla="*/ 3485573 h 6997700"/>
                  <a:gd name="connsiteX5" fmla="*/ 2805545 w 4834412"/>
                  <a:gd name="connsiteY5" fmla="*/ 3527137 h 6997700"/>
                  <a:gd name="connsiteX6" fmla="*/ 2894734 w 4834412"/>
                  <a:gd name="connsiteY6" fmla="*/ 1789257 h 6997700"/>
                  <a:gd name="connsiteX7" fmla="*/ 3249757 w 4834412"/>
                  <a:gd name="connsiteY7" fmla="*/ 1403927 h 6997700"/>
                  <a:gd name="connsiteX8" fmla="*/ 3449782 w 4834412"/>
                  <a:gd name="connsiteY8" fmla="*/ 347518 h 6997700"/>
                  <a:gd name="connsiteX9" fmla="*/ 3776229 w 4834412"/>
                  <a:gd name="connsiteY9" fmla="*/ 289 h 6997700"/>
                  <a:gd name="connsiteX10" fmla="*/ 4073236 w 4834412"/>
                  <a:gd name="connsiteY10" fmla="*/ 742373 h 6997700"/>
                  <a:gd name="connsiteX11" fmla="*/ 4094018 w 4834412"/>
                  <a:gd name="connsiteY11" fmla="*/ 1054100 h 6997700"/>
                  <a:gd name="connsiteX12" fmla="*/ 4239491 w 4834412"/>
                  <a:gd name="connsiteY12" fmla="*/ 1241137 h 6997700"/>
                  <a:gd name="connsiteX13" fmla="*/ 4177145 w 4834412"/>
                  <a:gd name="connsiteY13" fmla="*/ 1428173 h 6997700"/>
                  <a:gd name="connsiteX14" fmla="*/ 4415270 w 4834412"/>
                  <a:gd name="connsiteY14" fmla="*/ 1721716 h 6997700"/>
                  <a:gd name="connsiteX15" fmla="*/ 4447309 w 4834412"/>
                  <a:gd name="connsiteY15" fmla="*/ 2072409 h 6997700"/>
                  <a:gd name="connsiteX16" fmla="*/ 4779818 w 4834412"/>
                  <a:gd name="connsiteY16" fmla="*/ 3028373 h 6997700"/>
                  <a:gd name="connsiteX17" fmla="*/ 4704484 w 4834412"/>
                  <a:gd name="connsiteY17" fmla="*/ 4229389 h 6997700"/>
                  <a:gd name="connsiteX18" fmla="*/ 4581525 w 4834412"/>
                  <a:gd name="connsiteY18" fmla="*/ 5072784 h 6997700"/>
                  <a:gd name="connsiteX19" fmla="*/ 4281054 w 4834412"/>
                  <a:gd name="connsiteY19" fmla="*/ 5355937 h 6997700"/>
                  <a:gd name="connsiteX20" fmla="*/ 2680854 w 4834412"/>
                  <a:gd name="connsiteY20" fmla="*/ 6000173 h 6997700"/>
                  <a:gd name="connsiteX21" fmla="*/ 852054 w 4834412"/>
                  <a:gd name="connsiteY21" fmla="*/ 6997700 h 6997700"/>
                  <a:gd name="connsiteX22" fmla="*/ 644236 w 4834412"/>
                  <a:gd name="connsiteY22" fmla="*/ 5833918 h 6997700"/>
                  <a:gd name="connsiteX23" fmla="*/ 0 w 4834412"/>
                  <a:gd name="connsiteY23" fmla="*/ 4566227 h 6997700"/>
                  <a:gd name="connsiteX0" fmla="*/ 0 w 4834412"/>
                  <a:gd name="connsiteY0" fmla="*/ 4566227 h 6997700"/>
                  <a:gd name="connsiteX1" fmla="*/ 685800 w 4834412"/>
                  <a:gd name="connsiteY1" fmla="*/ 4212937 h 6997700"/>
                  <a:gd name="connsiteX2" fmla="*/ 1433945 w 4834412"/>
                  <a:gd name="connsiteY2" fmla="*/ 3942773 h 6997700"/>
                  <a:gd name="connsiteX3" fmla="*/ 1974273 w 4834412"/>
                  <a:gd name="connsiteY3" fmla="*/ 3921991 h 6997700"/>
                  <a:gd name="connsiteX4" fmla="*/ 2556164 w 4834412"/>
                  <a:gd name="connsiteY4" fmla="*/ 3485573 h 6997700"/>
                  <a:gd name="connsiteX5" fmla="*/ 2805545 w 4834412"/>
                  <a:gd name="connsiteY5" fmla="*/ 3527137 h 6997700"/>
                  <a:gd name="connsiteX6" fmla="*/ 2894734 w 4834412"/>
                  <a:gd name="connsiteY6" fmla="*/ 1789257 h 6997700"/>
                  <a:gd name="connsiteX7" fmla="*/ 3249757 w 4834412"/>
                  <a:gd name="connsiteY7" fmla="*/ 1403927 h 6997700"/>
                  <a:gd name="connsiteX8" fmla="*/ 3449782 w 4834412"/>
                  <a:gd name="connsiteY8" fmla="*/ 347518 h 6997700"/>
                  <a:gd name="connsiteX9" fmla="*/ 3776229 w 4834412"/>
                  <a:gd name="connsiteY9" fmla="*/ 289 h 6997700"/>
                  <a:gd name="connsiteX10" fmla="*/ 4073236 w 4834412"/>
                  <a:gd name="connsiteY10" fmla="*/ 742373 h 6997700"/>
                  <a:gd name="connsiteX11" fmla="*/ 4094018 w 4834412"/>
                  <a:gd name="connsiteY11" fmla="*/ 1054100 h 6997700"/>
                  <a:gd name="connsiteX12" fmla="*/ 4239491 w 4834412"/>
                  <a:gd name="connsiteY12" fmla="*/ 1241137 h 6997700"/>
                  <a:gd name="connsiteX13" fmla="*/ 4177145 w 4834412"/>
                  <a:gd name="connsiteY13" fmla="*/ 1428173 h 6997700"/>
                  <a:gd name="connsiteX14" fmla="*/ 4415270 w 4834412"/>
                  <a:gd name="connsiteY14" fmla="*/ 1721716 h 6997700"/>
                  <a:gd name="connsiteX15" fmla="*/ 4447309 w 4834412"/>
                  <a:gd name="connsiteY15" fmla="*/ 2072409 h 6997700"/>
                  <a:gd name="connsiteX16" fmla="*/ 4779818 w 4834412"/>
                  <a:gd name="connsiteY16" fmla="*/ 3028373 h 6997700"/>
                  <a:gd name="connsiteX17" fmla="*/ 4704484 w 4834412"/>
                  <a:gd name="connsiteY17" fmla="*/ 4229389 h 6997700"/>
                  <a:gd name="connsiteX18" fmla="*/ 4581525 w 4834412"/>
                  <a:gd name="connsiteY18" fmla="*/ 5072784 h 6997700"/>
                  <a:gd name="connsiteX19" fmla="*/ 4223904 w 4834412"/>
                  <a:gd name="connsiteY19" fmla="*/ 5327362 h 6997700"/>
                  <a:gd name="connsiteX20" fmla="*/ 2680854 w 4834412"/>
                  <a:gd name="connsiteY20" fmla="*/ 6000173 h 6997700"/>
                  <a:gd name="connsiteX21" fmla="*/ 852054 w 4834412"/>
                  <a:gd name="connsiteY21" fmla="*/ 6997700 h 6997700"/>
                  <a:gd name="connsiteX22" fmla="*/ 644236 w 4834412"/>
                  <a:gd name="connsiteY22" fmla="*/ 5833918 h 6997700"/>
                  <a:gd name="connsiteX23" fmla="*/ 0 w 4834412"/>
                  <a:gd name="connsiteY23" fmla="*/ 4566227 h 6997700"/>
                  <a:gd name="connsiteX0" fmla="*/ 0 w 4834412"/>
                  <a:gd name="connsiteY0" fmla="*/ 4566227 h 6997700"/>
                  <a:gd name="connsiteX1" fmla="*/ 685800 w 4834412"/>
                  <a:gd name="connsiteY1" fmla="*/ 4212937 h 6997700"/>
                  <a:gd name="connsiteX2" fmla="*/ 1433945 w 4834412"/>
                  <a:gd name="connsiteY2" fmla="*/ 3942773 h 6997700"/>
                  <a:gd name="connsiteX3" fmla="*/ 1974273 w 4834412"/>
                  <a:gd name="connsiteY3" fmla="*/ 3921991 h 6997700"/>
                  <a:gd name="connsiteX4" fmla="*/ 2556164 w 4834412"/>
                  <a:gd name="connsiteY4" fmla="*/ 3485573 h 6997700"/>
                  <a:gd name="connsiteX5" fmla="*/ 2805545 w 4834412"/>
                  <a:gd name="connsiteY5" fmla="*/ 3527137 h 6997700"/>
                  <a:gd name="connsiteX6" fmla="*/ 2894734 w 4834412"/>
                  <a:gd name="connsiteY6" fmla="*/ 1789257 h 6997700"/>
                  <a:gd name="connsiteX7" fmla="*/ 3249757 w 4834412"/>
                  <a:gd name="connsiteY7" fmla="*/ 1403927 h 6997700"/>
                  <a:gd name="connsiteX8" fmla="*/ 3449782 w 4834412"/>
                  <a:gd name="connsiteY8" fmla="*/ 347518 h 6997700"/>
                  <a:gd name="connsiteX9" fmla="*/ 3776229 w 4834412"/>
                  <a:gd name="connsiteY9" fmla="*/ 289 h 6997700"/>
                  <a:gd name="connsiteX10" fmla="*/ 4073236 w 4834412"/>
                  <a:gd name="connsiteY10" fmla="*/ 742373 h 6997700"/>
                  <a:gd name="connsiteX11" fmla="*/ 4094018 w 4834412"/>
                  <a:gd name="connsiteY11" fmla="*/ 1054100 h 6997700"/>
                  <a:gd name="connsiteX12" fmla="*/ 4239491 w 4834412"/>
                  <a:gd name="connsiteY12" fmla="*/ 1241137 h 6997700"/>
                  <a:gd name="connsiteX13" fmla="*/ 4177145 w 4834412"/>
                  <a:gd name="connsiteY13" fmla="*/ 1428173 h 6997700"/>
                  <a:gd name="connsiteX14" fmla="*/ 4415270 w 4834412"/>
                  <a:gd name="connsiteY14" fmla="*/ 1721716 h 6997700"/>
                  <a:gd name="connsiteX15" fmla="*/ 4447309 w 4834412"/>
                  <a:gd name="connsiteY15" fmla="*/ 2072409 h 6997700"/>
                  <a:gd name="connsiteX16" fmla="*/ 4779818 w 4834412"/>
                  <a:gd name="connsiteY16" fmla="*/ 3028373 h 6997700"/>
                  <a:gd name="connsiteX17" fmla="*/ 4704484 w 4834412"/>
                  <a:gd name="connsiteY17" fmla="*/ 4229389 h 6997700"/>
                  <a:gd name="connsiteX18" fmla="*/ 4581525 w 4834412"/>
                  <a:gd name="connsiteY18" fmla="*/ 5072784 h 6997700"/>
                  <a:gd name="connsiteX19" fmla="*/ 4223904 w 4834412"/>
                  <a:gd name="connsiteY19" fmla="*/ 5327362 h 6997700"/>
                  <a:gd name="connsiteX20" fmla="*/ 2680854 w 4834412"/>
                  <a:gd name="connsiteY20" fmla="*/ 6000173 h 6997700"/>
                  <a:gd name="connsiteX21" fmla="*/ 852054 w 4834412"/>
                  <a:gd name="connsiteY21" fmla="*/ 6997700 h 6997700"/>
                  <a:gd name="connsiteX22" fmla="*/ 644236 w 4834412"/>
                  <a:gd name="connsiteY22" fmla="*/ 5833918 h 6997700"/>
                  <a:gd name="connsiteX23" fmla="*/ 0 w 4834412"/>
                  <a:gd name="connsiteY23" fmla="*/ 4566227 h 6997700"/>
                  <a:gd name="connsiteX0" fmla="*/ 0 w 4834412"/>
                  <a:gd name="connsiteY0" fmla="*/ 4566227 h 6997700"/>
                  <a:gd name="connsiteX1" fmla="*/ 685800 w 4834412"/>
                  <a:gd name="connsiteY1" fmla="*/ 4212937 h 6997700"/>
                  <a:gd name="connsiteX2" fmla="*/ 1433945 w 4834412"/>
                  <a:gd name="connsiteY2" fmla="*/ 3942773 h 6997700"/>
                  <a:gd name="connsiteX3" fmla="*/ 1974273 w 4834412"/>
                  <a:gd name="connsiteY3" fmla="*/ 3921991 h 6997700"/>
                  <a:gd name="connsiteX4" fmla="*/ 2556164 w 4834412"/>
                  <a:gd name="connsiteY4" fmla="*/ 3485573 h 6997700"/>
                  <a:gd name="connsiteX5" fmla="*/ 2805545 w 4834412"/>
                  <a:gd name="connsiteY5" fmla="*/ 3527137 h 6997700"/>
                  <a:gd name="connsiteX6" fmla="*/ 2894734 w 4834412"/>
                  <a:gd name="connsiteY6" fmla="*/ 1789257 h 6997700"/>
                  <a:gd name="connsiteX7" fmla="*/ 3249757 w 4834412"/>
                  <a:gd name="connsiteY7" fmla="*/ 1403927 h 6997700"/>
                  <a:gd name="connsiteX8" fmla="*/ 3449782 w 4834412"/>
                  <a:gd name="connsiteY8" fmla="*/ 347518 h 6997700"/>
                  <a:gd name="connsiteX9" fmla="*/ 3776229 w 4834412"/>
                  <a:gd name="connsiteY9" fmla="*/ 289 h 6997700"/>
                  <a:gd name="connsiteX10" fmla="*/ 4073236 w 4834412"/>
                  <a:gd name="connsiteY10" fmla="*/ 742373 h 6997700"/>
                  <a:gd name="connsiteX11" fmla="*/ 4094018 w 4834412"/>
                  <a:gd name="connsiteY11" fmla="*/ 1054100 h 6997700"/>
                  <a:gd name="connsiteX12" fmla="*/ 4239491 w 4834412"/>
                  <a:gd name="connsiteY12" fmla="*/ 1241137 h 6997700"/>
                  <a:gd name="connsiteX13" fmla="*/ 4177145 w 4834412"/>
                  <a:gd name="connsiteY13" fmla="*/ 1428173 h 6997700"/>
                  <a:gd name="connsiteX14" fmla="*/ 4415270 w 4834412"/>
                  <a:gd name="connsiteY14" fmla="*/ 1721716 h 6997700"/>
                  <a:gd name="connsiteX15" fmla="*/ 4447309 w 4834412"/>
                  <a:gd name="connsiteY15" fmla="*/ 2072409 h 6997700"/>
                  <a:gd name="connsiteX16" fmla="*/ 4779818 w 4834412"/>
                  <a:gd name="connsiteY16" fmla="*/ 3028373 h 6997700"/>
                  <a:gd name="connsiteX17" fmla="*/ 4704484 w 4834412"/>
                  <a:gd name="connsiteY17" fmla="*/ 4229389 h 6997700"/>
                  <a:gd name="connsiteX18" fmla="*/ 4581525 w 4834412"/>
                  <a:gd name="connsiteY18" fmla="*/ 5072784 h 6997700"/>
                  <a:gd name="connsiteX19" fmla="*/ 4223904 w 4834412"/>
                  <a:gd name="connsiteY19" fmla="*/ 5327362 h 6997700"/>
                  <a:gd name="connsiteX20" fmla="*/ 2680854 w 4834412"/>
                  <a:gd name="connsiteY20" fmla="*/ 6000173 h 6997700"/>
                  <a:gd name="connsiteX21" fmla="*/ 852054 w 4834412"/>
                  <a:gd name="connsiteY21" fmla="*/ 6997700 h 6997700"/>
                  <a:gd name="connsiteX22" fmla="*/ 644236 w 4834412"/>
                  <a:gd name="connsiteY22" fmla="*/ 5833918 h 6997700"/>
                  <a:gd name="connsiteX23" fmla="*/ 0 w 4834412"/>
                  <a:gd name="connsiteY23" fmla="*/ 4566227 h 6997700"/>
                  <a:gd name="connsiteX0" fmla="*/ 0 w 4834412"/>
                  <a:gd name="connsiteY0" fmla="*/ 4566227 h 6997700"/>
                  <a:gd name="connsiteX1" fmla="*/ 685800 w 4834412"/>
                  <a:gd name="connsiteY1" fmla="*/ 4212937 h 6997700"/>
                  <a:gd name="connsiteX2" fmla="*/ 1433945 w 4834412"/>
                  <a:gd name="connsiteY2" fmla="*/ 3942773 h 6997700"/>
                  <a:gd name="connsiteX3" fmla="*/ 1974273 w 4834412"/>
                  <a:gd name="connsiteY3" fmla="*/ 3921991 h 6997700"/>
                  <a:gd name="connsiteX4" fmla="*/ 2556164 w 4834412"/>
                  <a:gd name="connsiteY4" fmla="*/ 3542723 h 6997700"/>
                  <a:gd name="connsiteX5" fmla="*/ 2805545 w 4834412"/>
                  <a:gd name="connsiteY5" fmla="*/ 3527137 h 6997700"/>
                  <a:gd name="connsiteX6" fmla="*/ 2894734 w 4834412"/>
                  <a:gd name="connsiteY6" fmla="*/ 1789257 h 6997700"/>
                  <a:gd name="connsiteX7" fmla="*/ 3249757 w 4834412"/>
                  <a:gd name="connsiteY7" fmla="*/ 1403927 h 6997700"/>
                  <a:gd name="connsiteX8" fmla="*/ 3449782 w 4834412"/>
                  <a:gd name="connsiteY8" fmla="*/ 347518 h 6997700"/>
                  <a:gd name="connsiteX9" fmla="*/ 3776229 w 4834412"/>
                  <a:gd name="connsiteY9" fmla="*/ 289 h 6997700"/>
                  <a:gd name="connsiteX10" fmla="*/ 4073236 w 4834412"/>
                  <a:gd name="connsiteY10" fmla="*/ 742373 h 6997700"/>
                  <a:gd name="connsiteX11" fmla="*/ 4094018 w 4834412"/>
                  <a:gd name="connsiteY11" fmla="*/ 1054100 h 6997700"/>
                  <a:gd name="connsiteX12" fmla="*/ 4239491 w 4834412"/>
                  <a:gd name="connsiteY12" fmla="*/ 1241137 h 6997700"/>
                  <a:gd name="connsiteX13" fmla="*/ 4177145 w 4834412"/>
                  <a:gd name="connsiteY13" fmla="*/ 1428173 h 6997700"/>
                  <a:gd name="connsiteX14" fmla="*/ 4415270 w 4834412"/>
                  <a:gd name="connsiteY14" fmla="*/ 1721716 h 6997700"/>
                  <a:gd name="connsiteX15" fmla="*/ 4447309 w 4834412"/>
                  <a:gd name="connsiteY15" fmla="*/ 2072409 h 6997700"/>
                  <a:gd name="connsiteX16" fmla="*/ 4779818 w 4834412"/>
                  <a:gd name="connsiteY16" fmla="*/ 3028373 h 6997700"/>
                  <a:gd name="connsiteX17" fmla="*/ 4704484 w 4834412"/>
                  <a:gd name="connsiteY17" fmla="*/ 4229389 h 6997700"/>
                  <a:gd name="connsiteX18" fmla="*/ 4581525 w 4834412"/>
                  <a:gd name="connsiteY18" fmla="*/ 5072784 h 6997700"/>
                  <a:gd name="connsiteX19" fmla="*/ 4223904 w 4834412"/>
                  <a:gd name="connsiteY19" fmla="*/ 5327362 h 6997700"/>
                  <a:gd name="connsiteX20" fmla="*/ 2680854 w 4834412"/>
                  <a:gd name="connsiteY20" fmla="*/ 6000173 h 6997700"/>
                  <a:gd name="connsiteX21" fmla="*/ 852054 w 4834412"/>
                  <a:gd name="connsiteY21" fmla="*/ 6997700 h 6997700"/>
                  <a:gd name="connsiteX22" fmla="*/ 644236 w 4834412"/>
                  <a:gd name="connsiteY22" fmla="*/ 5833918 h 6997700"/>
                  <a:gd name="connsiteX23" fmla="*/ 0 w 4834412"/>
                  <a:gd name="connsiteY23" fmla="*/ 4566227 h 6997700"/>
                  <a:gd name="connsiteX0" fmla="*/ 0 w 4834412"/>
                  <a:gd name="connsiteY0" fmla="*/ 4566227 h 6997700"/>
                  <a:gd name="connsiteX1" fmla="*/ 685800 w 4834412"/>
                  <a:gd name="connsiteY1" fmla="*/ 4212937 h 6997700"/>
                  <a:gd name="connsiteX2" fmla="*/ 1433945 w 4834412"/>
                  <a:gd name="connsiteY2" fmla="*/ 3942773 h 6997700"/>
                  <a:gd name="connsiteX3" fmla="*/ 1993323 w 4834412"/>
                  <a:gd name="connsiteY3" fmla="*/ 3883891 h 6997700"/>
                  <a:gd name="connsiteX4" fmla="*/ 2556164 w 4834412"/>
                  <a:gd name="connsiteY4" fmla="*/ 3542723 h 6997700"/>
                  <a:gd name="connsiteX5" fmla="*/ 2805545 w 4834412"/>
                  <a:gd name="connsiteY5" fmla="*/ 3527137 h 6997700"/>
                  <a:gd name="connsiteX6" fmla="*/ 2894734 w 4834412"/>
                  <a:gd name="connsiteY6" fmla="*/ 1789257 h 6997700"/>
                  <a:gd name="connsiteX7" fmla="*/ 3249757 w 4834412"/>
                  <a:gd name="connsiteY7" fmla="*/ 1403927 h 6997700"/>
                  <a:gd name="connsiteX8" fmla="*/ 3449782 w 4834412"/>
                  <a:gd name="connsiteY8" fmla="*/ 347518 h 6997700"/>
                  <a:gd name="connsiteX9" fmla="*/ 3776229 w 4834412"/>
                  <a:gd name="connsiteY9" fmla="*/ 289 h 6997700"/>
                  <a:gd name="connsiteX10" fmla="*/ 4073236 w 4834412"/>
                  <a:gd name="connsiteY10" fmla="*/ 742373 h 6997700"/>
                  <a:gd name="connsiteX11" fmla="*/ 4094018 w 4834412"/>
                  <a:gd name="connsiteY11" fmla="*/ 1054100 h 6997700"/>
                  <a:gd name="connsiteX12" fmla="*/ 4239491 w 4834412"/>
                  <a:gd name="connsiteY12" fmla="*/ 1241137 h 6997700"/>
                  <a:gd name="connsiteX13" fmla="*/ 4177145 w 4834412"/>
                  <a:gd name="connsiteY13" fmla="*/ 1428173 h 6997700"/>
                  <a:gd name="connsiteX14" fmla="*/ 4415270 w 4834412"/>
                  <a:gd name="connsiteY14" fmla="*/ 1721716 h 6997700"/>
                  <a:gd name="connsiteX15" fmla="*/ 4447309 w 4834412"/>
                  <a:gd name="connsiteY15" fmla="*/ 2072409 h 6997700"/>
                  <a:gd name="connsiteX16" fmla="*/ 4779818 w 4834412"/>
                  <a:gd name="connsiteY16" fmla="*/ 3028373 h 6997700"/>
                  <a:gd name="connsiteX17" fmla="*/ 4704484 w 4834412"/>
                  <a:gd name="connsiteY17" fmla="*/ 4229389 h 6997700"/>
                  <a:gd name="connsiteX18" fmla="*/ 4581525 w 4834412"/>
                  <a:gd name="connsiteY18" fmla="*/ 5072784 h 6997700"/>
                  <a:gd name="connsiteX19" fmla="*/ 4223904 w 4834412"/>
                  <a:gd name="connsiteY19" fmla="*/ 5327362 h 6997700"/>
                  <a:gd name="connsiteX20" fmla="*/ 2680854 w 4834412"/>
                  <a:gd name="connsiteY20" fmla="*/ 6000173 h 6997700"/>
                  <a:gd name="connsiteX21" fmla="*/ 852054 w 4834412"/>
                  <a:gd name="connsiteY21" fmla="*/ 6997700 h 6997700"/>
                  <a:gd name="connsiteX22" fmla="*/ 644236 w 4834412"/>
                  <a:gd name="connsiteY22" fmla="*/ 5833918 h 6997700"/>
                  <a:gd name="connsiteX23" fmla="*/ 0 w 4834412"/>
                  <a:gd name="connsiteY23" fmla="*/ 4566227 h 6997700"/>
                  <a:gd name="connsiteX0" fmla="*/ 0 w 4834412"/>
                  <a:gd name="connsiteY0" fmla="*/ 4566227 h 6997700"/>
                  <a:gd name="connsiteX1" fmla="*/ 685800 w 4834412"/>
                  <a:gd name="connsiteY1" fmla="*/ 4212937 h 6997700"/>
                  <a:gd name="connsiteX2" fmla="*/ 1433945 w 4834412"/>
                  <a:gd name="connsiteY2" fmla="*/ 3942773 h 6997700"/>
                  <a:gd name="connsiteX3" fmla="*/ 1993323 w 4834412"/>
                  <a:gd name="connsiteY3" fmla="*/ 3883891 h 6997700"/>
                  <a:gd name="connsiteX4" fmla="*/ 2556164 w 4834412"/>
                  <a:gd name="connsiteY4" fmla="*/ 3542723 h 6997700"/>
                  <a:gd name="connsiteX5" fmla="*/ 2805545 w 4834412"/>
                  <a:gd name="connsiteY5" fmla="*/ 3527137 h 6997700"/>
                  <a:gd name="connsiteX6" fmla="*/ 2894734 w 4834412"/>
                  <a:gd name="connsiteY6" fmla="*/ 1789257 h 6997700"/>
                  <a:gd name="connsiteX7" fmla="*/ 3249757 w 4834412"/>
                  <a:gd name="connsiteY7" fmla="*/ 1403927 h 6997700"/>
                  <a:gd name="connsiteX8" fmla="*/ 3449782 w 4834412"/>
                  <a:gd name="connsiteY8" fmla="*/ 347518 h 6997700"/>
                  <a:gd name="connsiteX9" fmla="*/ 3776229 w 4834412"/>
                  <a:gd name="connsiteY9" fmla="*/ 289 h 6997700"/>
                  <a:gd name="connsiteX10" fmla="*/ 4073236 w 4834412"/>
                  <a:gd name="connsiteY10" fmla="*/ 742373 h 6997700"/>
                  <a:gd name="connsiteX11" fmla="*/ 4094018 w 4834412"/>
                  <a:gd name="connsiteY11" fmla="*/ 1054100 h 6997700"/>
                  <a:gd name="connsiteX12" fmla="*/ 4239491 w 4834412"/>
                  <a:gd name="connsiteY12" fmla="*/ 1241137 h 6997700"/>
                  <a:gd name="connsiteX13" fmla="*/ 4177145 w 4834412"/>
                  <a:gd name="connsiteY13" fmla="*/ 1428173 h 6997700"/>
                  <a:gd name="connsiteX14" fmla="*/ 4415270 w 4834412"/>
                  <a:gd name="connsiteY14" fmla="*/ 1721716 h 6997700"/>
                  <a:gd name="connsiteX15" fmla="*/ 4447309 w 4834412"/>
                  <a:gd name="connsiteY15" fmla="*/ 2072409 h 6997700"/>
                  <a:gd name="connsiteX16" fmla="*/ 4779818 w 4834412"/>
                  <a:gd name="connsiteY16" fmla="*/ 3028373 h 6997700"/>
                  <a:gd name="connsiteX17" fmla="*/ 4704484 w 4834412"/>
                  <a:gd name="connsiteY17" fmla="*/ 4229389 h 6997700"/>
                  <a:gd name="connsiteX18" fmla="*/ 4581525 w 4834412"/>
                  <a:gd name="connsiteY18" fmla="*/ 5072784 h 6997700"/>
                  <a:gd name="connsiteX19" fmla="*/ 4223904 w 4834412"/>
                  <a:gd name="connsiteY19" fmla="*/ 5327362 h 6997700"/>
                  <a:gd name="connsiteX20" fmla="*/ 2680854 w 4834412"/>
                  <a:gd name="connsiteY20" fmla="*/ 6000173 h 6997700"/>
                  <a:gd name="connsiteX21" fmla="*/ 852054 w 4834412"/>
                  <a:gd name="connsiteY21" fmla="*/ 6997700 h 6997700"/>
                  <a:gd name="connsiteX22" fmla="*/ 644236 w 4834412"/>
                  <a:gd name="connsiteY22" fmla="*/ 5833918 h 6997700"/>
                  <a:gd name="connsiteX23" fmla="*/ 0 w 4834412"/>
                  <a:gd name="connsiteY23" fmla="*/ 4566227 h 6997700"/>
                  <a:gd name="connsiteX0" fmla="*/ 0 w 4834412"/>
                  <a:gd name="connsiteY0" fmla="*/ 4566227 h 6997700"/>
                  <a:gd name="connsiteX1" fmla="*/ 685800 w 4834412"/>
                  <a:gd name="connsiteY1" fmla="*/ 4212937 h 6997700"/>
                  <a:gd name="connsiteX2" fmla="*/ 1348220 w 4834412"/>
                  <a:gd name="connsiteY2" fmla="*/ 3980873 h 6997700"/>
                  <a:gd name="connsiteX3" fmla="*/ 1993323 w 4834412"/>
                  <a:gd name="connsiteY3" fmla="*/ 3883891 h 6997700"/>
                  <a:gd name="connsiteX4" fmla="*/ 2556164 w 4834412"/>
                  <a:gd name="connsiteY4" fmla="*/ 3542723 h 6997700"/>
                  <a:gd name="connsiteX5" fmla="*/ 2805545 w 4834412"/>
                  <a:gd name="connsiteY5" fmla="*/ 3527137 h 6997700"/>
                  <a:gd name="connsiteX6" fmla="*/ 2894734 w 4834412"/>
                  <a:gd name="connsiteY6" fmla="*/ 1789257 h 6997700"/>
                  <a:gd name="connsiteX7" fmla="*/ 3249757 w 4834412"/>
                  <a:gd name="connsiteY7" fmla="*/ 1403927 h 6997700"/>
                  <a:gd name="connsiteX8" fmla="*/ 3449782 w 4834412"/>
                  <a:gd name="connsiteY8" fmla="*/ 347518 h 6997700"/>
                  <a:gd name="connsiteX9" fmla="*/ 3776229 w 4834412"/>
                  <a:gd name="connsiteY9" fmla="*/ 289 h 6997700"/>
                  <a:gd name="connsiteX10" fmla="*/ 4073236 w 4834412"/>
                  <a:gd name="connsiteY10" fmla="*/ 742373 h 6997700"/>
                  <a:gd name="connsiteX11" fmla="*/ 4094018 w 4834412"/>
                  <a:gd name="connsiteY11" fmla="*/ 1054100 h 6997700"/>
                  <a:gd name="connsiteX12" fmla="*/ 4239491 w 4834412"/>
                  <a:gd name="connsiteY12" fmla="*/ 1241137 h 6997700"/>
                  <a:gd name="connsiteX13" fmla="*/ 4177145 w 4834412"/>
                  <a:gd name="connsiteY13" fmla="*/ 1428173 h 6997700"/>
                  <a:gd name="connsiteX14" fmla="*/ 4415270 w 4834412"/>
                  <a:gd name="connsiteY14" fmla="*/ 1721716 h 6997700"/>
                  <a:gd name="connsiteX15" fmla="*/ 4447309 w 4834412"/>
                  <a:gd name="connsiteY15" fmla="*/ 2072409 h 6997700"/>
                  <a:gd name="connsiteX16" fmla="*/ 4779818 w 4834412"/>
                  <a:gd name="connsiteY16" fmla="*/ 3028373 h 6997700"/>
                  <a:gd name="connsiteX17" fmla="*/ 4704484 w 4834412"/>
                  <a:gd name="connsiteY17" fmla="*/ 4229389 h 6997700"/>
                  <a:gd name="connsiteX18" fmla="*/ 4581525 w 4834412"/>
                  <a:gd name="connsiteY18" fmla="*/ 5072784 h 6997700"/>
                  <a:gd name="connsiteX19" fmla="*/ 4223904 w 4834412"/>
                  <a:gd name="connsiteY19" fmla="*/ 5327362 h 6997700"/>
                  <a:gd name="connsiteX20" fmla="*/ 2680854 w 4834412"/>
                  <a:gd name="connsiteY20" fmla="*/ 6000173 h 6997700"/>
                  <a:gd name="connsiteX21" fmla="*/ 852054 w 4834412"/>
                  <a:gd name="connsiteY21" fmla="*/ 6997700 h 6997700"/>
                  <a:gd name="connsiteX22" fmla="*/ 644236 w 4834412"/>
                  <a:gd name="connsiteY22" fmla="*/ 5833918 h 6997700"/>
                  <a:gd name="connsiteX23" fmla="*/ 0 w 4834412"/>
                  <a:gd name="connsiteY23" fmla="*/ 4566227 h 6997700"/>
                  <a:gd name="connsiteX0" fmla="*/ 0 w 4834412"/>
                  <a:gd name="connsiteY0" fmla="*/ 4566227 h 6997700"/>
                  <a:gd name="connsiteX1" fmla="*/ 685800 w 4834412"/>
                  <a:gd name="connsiteY1" fmla="*/ 4212937 h 6997700"/>
                  <a:gd name="connsiteX2" fmla="*/ 1348220 w 4834412"/>
                  <a:gd name="connsiteY2" fmla="*/ 3980873 h 6997700"/>
                  <a:gd name="connsiteX3" fmla="*/ 1993323 w 4834412"/>
                  <a:gd name="connsiteY3" fmla="*/ 3883891 h 6997700"/>
                  <a:gd name="connsiteX4" fmla="*/ 2556164 w 4834412"/>
                  <a:gd name="connsiteY4" fmla="*/ 3542723 h 6997700"/>
                  <a:gd name="connsiteX5" fmla="*/ 2805545 w 4834412"/>
                  <a:gd name="connsiteY5" fmla="*/ 3527137 h 6997700"/>
                  <a:gd name="connsiteX6" fmla="*/ 2894734 w 4834412"/>
                  <a:gd name="connsiteY6" fmla="*/ 1789257 h 6997700"/>
                  <a:gd name="connsiteX7" fmla="*/ 3249757 w 4834412"/>
                  <a:gd name="connsiteY7" fmla="*/ 1403927 h 6997700"/>
                  <a:gd name="connsiteX8" fmla="*/ 3449782 w 4834412"/>
                  <a:gd name="connsiteY8" fmla="*/ 347518 h 6997700"/>
                  <a:gd name="connsiteX9" fmla="*/ 3776229 w 4834412"/>
                  <a:gd name="connsiteY9" fmla="*/ 289 h 6997700"/>
                  <a:gd name="connsiteX10" fmla="*/ 4073236 w 4834412"/>
                  <a:gd name="connsiteY10" fmla="*/ 742373 h 6997700"/>
                  <a:gd name="connsiteX11" fmla="*/ 4094018 w 4834412"/>
                  <a:gd name="connsiteY11" fmla="*/ 1054100 h 6997700"/>
                  <a:gd name="connsiteX12" fmla="*/ 4239491 w 4834412"/>
                  <a:gd name="connsiteY12" fmla="*/ 1241137 h 6997700"/>
                  <a:gd name="connsiteX13" fmla="*/ 4177145 w 4834412"/>
                  <a:gd name="connsiteY13" fmla="*/ 1428173 h 6997700"/>
                  <a:gd name="connsiteX14" fmla="*/ 4415270 w 4834412"/>
                  <a:gd name="connsiteY14" fmla="*/ 1721716 h 6997700"/>
                  <a:gd name="connsiteX15" fmla="*/ 4447309 w 4834412"/>
                  <a:gd name="connsiteY15" fmla="*/ 2072409 h 6997700"/>
                  <a:gd name="connsiteX16" fmla="*/ 4779818 w 4834412"/>
                  <a:gd name="connsiteY16" fmla="*/ 3028373 h 6997700"/>
                  <a:gd name="connsiteX17" fmla="*/ 4704484 w 4834412"/>
                  <a:gd name="connsiteY17" fmla="*/ 4229389 h 6997700"/>
                  <a:gd name="connsiteX18" fmla="*/ 4581525 w 4834412"/>
                  <a:gd name="connsiteY18" fmla="*/ 5072784 h 6997700"/>
                  <a:gd name="connsiteX19" fmla="*/ 4223904 w 4834412"/>
                  <a:gd name="connsiteY19" fmla="*/ 5327362 h 6997700"/>
                  <a:gd name="connsiteX20" fmla="*/ 2680854 w 4834412"/>
                  <a:gd name="connsiteY20" fmla="*/ 6000173 h 6997700"/>
                  <a:gd name="connsiteX21" fmla="*/ 852054 w 4834412"/>
                  <a:gd name="connsiteY21" fmla="*/ 6997700 h 6997700"/>
                  <a:gd name="connsiteX22" fmla="*/ 644236 w 4834412"/>
                  <a:gd name="connsiteY22" fmla="*/ 5833918 h 6997700"/>
                  <a:gd name="connsiteX23" fmla="*/ 0 w 4834412"/>
                  <a:gd name="connsiteY23" fmla="*/ 4566227 h 6997700"/>
                  <a:gd name="connsiteX0" fmla="*/ 0 w 4834412"/>
                  <a:gd name="connsiteY0" fmla="*/ 4566227 h 6997700"/>
                  <a:gd name="connsiteX1" fmla="*/ 685800 w 4834412"/>
                  <a:gd name="connsiteY1" fmla="*/ 4212937 h 6997700"/>
                  <a:gd name="connsiteX2" fmla="*/ 1348220 w 4834412"/>
                  <a:gd name="connsiteY2" fmla="*/ 3980873 h 6997700"/>
                  <a:gd name="connsiteX3" fmla="*/ 2002848 w 4834412"/>
                  <a:gd name="connsiteY3" fmla="*/ 3826741 h 6997700"/>
                  <a:gd name="connsiteX4" fmla="*/ 2556164 w 4834412"/>
                  <a:gd name="connsiteY4" fmla="*/ 3542723 h 6997700"/>
                  <a:gd name="connsiteX5" fmla="*/ 2805545 w 4834412"/>
                  <a:gd name="connsiteY5" fmla="*/ 3527137 h 6997700"/>
                  <a:gd name="connsiteX6" fmla="*/ 2894734 w 4834412"/>
                  <a:gd name="connsiteY6" fmla="*/ 1789257 h 6997700"/>
                  <a:gd name="connsiteX7" fmla="*/ 3249757 w 4834412"/>
                  <a:gd name="connsiteY7" fmla="*/ 1403927 h 6997700"/>
                  <a:gd name="connsiteX8" fmla="*/ 3449782 w 4834412"/>
                  <a:gd name="connsiteY8" fmla="*/ 347518 h 6997700"/>
                  <a:gd name="connsiteX9" fmla="*/ 3776229 w 4834412"/>
                  <a:gd name="connsiteY9" fmla="*/ 289 h 6997700"/>
                  <a:gd name="connsiteX10" fmla="*/ 4073236 w 4834412"/>
                  <a:gd name="connsiteY10" fmla="*/ 742373 h 6997700"/>
                  <a:gd name="connsiteX11" fmla="*/ 4094018 w 4834412"/>
                  <a:gd name="connsiteY11" fmla="*/ 1054100 h 6997700"/>
                  <a:gd name="connsiteX12" fmla="*/ 4239491 w 4834412"/>
                  <a:gd name="connsiteY12" fmla="*/ 1241137 h 6997700"/>
                  <a:gd name="connsiteX13" fmla="*/ 4177145 w 4834412"/>
                  <a:gd name="connsiteY13" fmla="*/ 1428173 h 6997700"/>
                  <a:gd name="connsiteX14" fmla="*/ 4415270 w 4834412"/>
                  <a:gd name="connsiteY14" fmla="*/ 1721716 h 6997700"/>
                  <a:gd name="connsiteX15" fmla="*/ 4447309 w 4834412"/>
                  <a:gd name="connsiteY15" fmla="*/ 2072409 h 6997700"/>
                  <a:gd name="connsiteX16" fmla="*/ 4779818 w 4834412"/>
                  <a:gd name="connsiteY16" fmla="*/ 3028373 h 6997700"/>
                  <a:gd name="connsiteX17" fmla="*/ 4704484 w 4834412"/>
                  <a:gd name="connsiteY17" fmla="*/ 4229389 h 6997700"/>
                  <a:gd name="connsiteX18" fmla="*/ 4581525 w 4834412"/>
                  <a:gd name="connsiteY18" fmla="*/ 5072784 h 6997700"/>
                  <a:gd name="connsiteX19" fmla="*/ 4223904 w 4834412"/>
                  <a:gd name="connsiteY19" fmla="*/ 5327362 h 6997700"/>
                  <a:gd name="connsiteX20" fmla="*/ 2680854 w 4834412"/>
                  <a:gd name="connsiteY20" fmla="*/ 6000173 h 6997700"/>
                  <a:gd name="connsiteX21" fmla="*/ 852054 w 4834412"/>
                  <a:gd name="connsiteY21" fmla="*/ 6997700 h 6997700"/>
                  <a:gd name="connsiteX22" fmla="*/ 644236 w 4834412"/>
                  <a:gd name="connsiteY22" fmla="*/ 5833918 h 6997700"/>
                  <a:gd name="connsiteX23" fmla="*/ 0 w 4834412"/>
                  <a:gd name="connsiteY23" fmla="*/ 4566227 h 6997700"/>
                  <a:gd name="connsiteX0" fmla="*/ 0 w 4834412"/>
                  <a:gd name="connsiteY0" fmla="*/ 4566227 h 6997700"/>
                  <a:gd name="connsiteX1" fmla="*/ 685800 w 4834412"/>
                  <a:gd name="connsiteY1" fmla="*/ 4212937 h 6997700"/>
                  <a:gd name="connsiteX2" fmla="*/ 1348220 w 4834412"/>
                  <a:gd name="connsiteY2" fmla="*/ 3980873 h 6997700"/>
                  <a:gd name="connsiteX3" fmla="*/ 2002848 w 4834412"/>
                  <a:gd name="connsiteY3" fmla="*/ 3826741 h 6997700"/>
                  <a:gd name="connsiteX4" fmla="*/ 2556164 w 4834412"/>
                  <a:gd name="connsiteY4" fmla="*/ 3542723 h 6997700"/>
                  <a:gd name="connsiteX5" fmla="*/ 2805545 w 4834412"/>
                  <a:gd name="connsiteY5" fmla="*/ 3527137 h 6997700"/>
                  <a:gd name="connsiteX6" fmla="*/ 2894734 w 4834412"/>
                  <a:gd name="connsiteY6" fmla="*/ 1789257 h 6997700"/>
                  <a:gd name="connsiteX7" fmla="*/ 3249757 w 4834412"/>
                  <a:gd name="connsiteY7" fmla="*/ 1403927 h 6997700"/>
                  <a:gd name="connsiteX8" fmla="*/ 3449782 w 4834412"/>
                  <a:gd name="connsiteY8" fmla="*/ 347518 h 6997700"/>
                  <a:gd name="connsiteX9" fmla="*/ 3776229 w 4834412"/>
                  <a:gd name="connsiteY9" fmla="*/ 289 h 6997700"/>
                  <a:gd name="connsiteX10" fmla="*/ 4073236 w 4834412"/>
                  <a:gd name="connsiteY10" fmla="*/ 742373 h 6997700"/>
                  <a:gd name="connsiteX11" fmla="*/ 4094018 w 4834412"/>
                  <a:gd name="connsiteY11" fmla="*/ 1054100 h 6997700"/>
                  <a:gd name="connsiteX12" fmla="*/ 4239491 w 4834412"/>
                  <a:gd name="connsiteY12" fmla="*/ 1241137 h 6997700"/>
                  <a:gd name="connsiteX13" fmla="*/ 4177145 w 4834412"/>
                  <a:gd name="connsiteY13" fmla="*/ 1428173 h 6997700"/>
                  <a:gd name="connsiteX14" fmla="*/ 4415270 w 4834412"/>
                  <a:gd name="connsiteY14" fmla="*/ 1721716 h 6997700"/>
                  <a:gd name="connsiteX15" fmla="*/ 4447309 w 4834412"/>
                  <a:gd name="connsiteY15" fmla="*/ 2072409 h 6997700"/>
                  <a:gd name="connsiteX16" fmla="*/ 4779818 w 4834412"/>
                  <a:gd name="connsiteY16" fmla="*/ 3028373 h 6997700"/>
                  <a:gd name="connsiteX17" fmla="*/ 4704484 w 4834412"/>
                  <a:gd name="connsiteY17" fmla="*/ 4229389 h 6997700"/>
                  <a:gd name="connsiteX18" fmla="*/ 4581525 w 4834412"/>
                  <a:gd name="connsiteY18" fmla="*/ 5072784 h 6997700"/>
                  <a:gd name="connsiteX19" fmla="*/ 4223904 w 4834412"/>
                  <a:gd name="connsiteY19" fmla="*/ 5327362 h 6997700"/>
                  <a:gd name="connsiteX20" fmla="*/ 2680854 w 4834412"/>
                  <a:gd name="connsiteY20" fmla="*/ 6000173 h 6997700"/>
                  <a:gd name="connsiteX21" fmla="*/ 852054 w 4834412"/>
                  <a:gd name="connsiteY21" fmla="*/ 6997700 h 6997700"/>
                  <a:gd name="connsiteX22" fmla="*/ 644236 w 4834412"/>
                  <a:gd name="connsiteY22" fmla="*/ 5833918 h 6997700"/>
                  <a:gd name="connsiteX23" fmla="*/ 0 w 4834412"/>
                  <a:gd name="connsiteY23" fmla="*/ 4566227 h 6997700"/>
                  <a:gd name="connsiteX0" fmla="*/ 0 w 4834412"/>
                  <a:gd name="connsiteY0" fmla="*/ 4566227 h 6997700"/>
                  <a:gd name="connsiteX1" fmla="*/ 685800 w 4834412"/>
                  <a:gd name="connsiteY1" fmla="*/ 4212937 h 6997700"/>
                  <a:gd name="connsiteX2" fmla="*/ 1348220 w 4834412"/>
                  <a:gd name="connsiteY2" fmla="*/ 3980873 h 6997700"/>
                  <a:gd name="connsiteX3" fmla="*/ 2002848 w 4834412"/>
                  <a:gd name="connsiteY3" fmla="*/ 3826741 h 6997700"/>
                  <a:gd name="connsiteX4" fmla="*/ 2556164 w 4834412"/>
                  <a:gd name="connsiteY4" fmla="*/ 3542723 h 6997700"/>
                  <a:gd name="connsiteX5" fmla="*/ 2805545 w 4834412"/>
                  <a:gd name="connsiteY5" fmla="*/ 3527137 h 6997700"/>
                  <a:gd name="connsiteX6" fmla="*/ 2894734 w 4834412"/>
                  <a:gd name="connsiteY6" fmla="*/ 1789257 h 6997700"/>
                  <a:gd name="connsiteX7" fmla="*/ 3249757 w 4834412"/>
                  <a:gd name="connsiteY7" fmla="*/ 1403927 h 6997700"/>
                  <a:gd name="connsiteX8" fmla="*/ 3449782 w 4834412"/>
                  <a:gd name="connsiteY8" fmla="*/ 347518 h 6997700"/>
                  <a:gd name="connsiteX9" fmla="*/ 3776229 w 4834412"/>
                  <a:gd name="connsiteY9" fmla="*/ 289 h 6997700"/>
                  <a:gd name="connsiteX10" fmla="*/ 4073236 w 4834412"/>
                  <a:gd name="connsiteY10" fmla="*/ 742373 h 6997700"/>
                  <a:gd name="connsiteX11" fmla="*/ 4094018 w 4834412"/>
                  <a:gd name="connsiteY11" fmla="*/ 1054100 h 6997700"/>
                  <a:gd name="connsiteX12" fmla="*/ 4239491 w 4834412"/>
                  <a:gd name="connsiteY12" fmla="*/ 1241137 h 6997700"/>
                  <a:gd name="connsiteX13" fmla="*/ 4177145 w 4834412"/>
                  <a:gd name="connsiteY13" fmla="*/ 1428173 h 6997700"/>
                  <a:gd name="connsiteX14" fmla="*/ 4415270 w 4834412"/>
                  <a:gd name="connsiteY14" fmla="*/ 1721716 h 6997700"/>
                  <a:gd name="connsiteX15" fmla="*/ 4447309 w 4834412"/>
                  <a:gd name="connsiteY15" fmla="*/ 2072409 h 6997700"/>
                  <a:gd name="connsiteX16" fmla="*/ 4779818 w 4834412"/>
                  <a:gd name="connsiteY16" fmla="*/ 3028373 h 6997700"/>
                  <a:gd name="connsiteX17" fmla="*/ 4704484 w 4834412"/>
                  <a:gd name="connsiteY17" fmla="*/ 4229389 h 6997700"/>
                  <a:gd name="connsiteX18" fmla="*/ 4581525 w 4834412"/>
                  <a:gd name="connsiteY18" fmla="*/ 5072784 h 6997700"/>
                  <a:gd name="connsiteX19" fmla="*/ 4223904 w 4834412"/>
                  <a:gd name="connsiteY19" fmla="*/ 5327362 h 6997700"/>
                  <a:gd name="connsiteX20" fmla="*/ 2680854 w 4834412"/>
                  <a:gd name="connsiteY20" fmla="*/ 6000173 h 6997700"/>
                  <a:gd name="connsiteX21" fmla="*/ 852054 w 4834412"/>
                  <a:gd name="connsiteY21" fmla="*/ 6997700 h 6997700"/>
                  <a:gd name="connsiteX22" fmla="*/ 644236 w 4834412"/>
                  <a:gd name="connsiteY22" fmla="*/ 5833918 h 6997700"/>
                  <a:gd name="connsiteX23" fmla="*/ 0 w 4834412"/>
                  <a:gd name="connsiteY23" fmla="*/ 4566227 h 6997700"/>
                  <a:gd name="connsiteX0" fmla="*/ 0 w 4834412"/>
                  <a:gd name="connsiteY0" fmla="*/ 4566227 h 6997700"/>
                  <a:gd name="connsiteX1" fmla="*/ 685800 w 4834412"/>
                  <a:gd name="connsiteY1" fmla="*/ 4212937 h 6997700"/>
                  <a:gd name="connsiteX2" fmla="*/ 1348220 w 4834412"/>
                  <a:gd name="connsiteY2" fmla="*/ 3980873 h 6997700"/>
                  <a:gd name="connsiteX3" fmla="*/ 2002848 w 4834412"/>
                  <a:gd name="connsiteY3" fmla="*/ 3826741 h 6997700"/>
                  <a:gd name="connsiteX4" fmla="*/ 2556164 w 4834412"/>
                  <a:gd name="connsiteY4" fmla="*/ 3542723 h 6997700"/>
                  <a:gd name="connsiteX5" fmla="*/ 2805545 w 4834412"/>
                  <a:gd name="connsiteY5" fmla="*/ 3527137 h 6997700"/>
                  <a:gd name="connsiteX6" fmla="*/ 2894734 w 4834412"/>
                  <a:gd name="connsiteY6" fmla="*/ 1789257 h 6997700"/>
                  <a:gd name="connsiteX7" fmla="*/ 3249757 w 4834412"/>
                  <a:gd name="connsiteY7" fmla="*/ 1403927 h 6997700"/>
                  <a:gd name="connsiteX8" fmla="*/ 3449782 w 4834412"/>
                  <a:gd name="connsiteY8" fmla="*/ 347518 h 6997700"/>
                  <a:gd name="connsiteX9" fmla="*/ 3776229 w 4834412"/>
                  <a:gd name="connsiteY9" fmla="*/ 289 h 6997700"/>
                  <a:gd name="connsiteX10" fmla="*/ 4073236 w 4834412"/>
                  <a:gd name="connsiteY10" fmla="*/ 742373 h 6997700"/>
                  <a:gd name="connsiteX11" fmla="*/ 4094018 w 4834412"/>
                  <a:gd name="connsiteY11" fmla="*/ 1054100 h 6997700"/>
                  <a:gd name="connsiteX12" fmla="*/ 4239491 w 4834412"/>
                  <a:gd name="connsiteY12" fmla="*/ 1241137 h 6997700"/>
                  <a:gd name="connsiteX13" fmla="*/ 4177145 w 4834412"/>
                  <a:gd name="connsiteY13" fmla="*/ 1428173 h 6997700"/>
                  <a:gd name="connsiteX14" fmla="*/ 4415270 w 4834412"/>
                  <a:gd name="connsiteY14" fmla="*/ 1721716 h 6997700"/>
                  <a:gd name="connsiteX15" fmla="*/ 4447309 w 4834412"/>
                  <a:gd name="connsiteY15" fmla="*/ 2072409 h 6997700"/>
                  <a:gd name="connsiteX16" fmla="*/ 4779818 w 4834412"/>
                  <a:gd name="connsiteY16" fmla="*/ 3028373 h 6997700"/>
                  <a:gd name="connsiteX17" fmla="*/ 4704484 w 4834412"/>
                  <a:gd name="connsiteY17" fmla="*/ 4229389 h 6997700"/>
                  <a:gd name="connsiteX18" fmla="*/ 4581525 w 4834412"/>
                  <a:gd name="connsiteY18" fmla="*/ 5072784 h 6997700"/>
                  <a:gd name="connsiteX19" fmla="*/ 4223904 w 4834412"/>
                  <a:gd name="connsiteY19" fmla="*/ 5327362 h 6997700"/>
                  <a:gd name="connsiteX20" fmla="*/ 2680854 w 4834412"/>
                  <a:gd name="connsiteY20" fmla="*/ 6000173 h 6997700"/>
                  <a:gd name="connsiteX21" fmla="*/ 852054 w 4834412"/>
                  <a:gd name="connsiteY21" fmla="*/ 6997700 h 6997700"/>
                  <a:gd name="connsiteX22" fmla="*/ 644236 w 4834412"/>
                  <a:gd name="connsiteY22" fmla="*/ 5833918 h 6997700"/>
                  <a:gd name="connsiteX23" fmla="*/ 0 w 4834412"/>
                  <a:gd name="connsiteY23" fmla="*/ 4566227 h 6997700"/>
                  <a:gd name="connsiteX0" fmla="*/ 0 w 4834412"/>
                  <a:gd name="connsiteY0" fmla="*/ 4566227 h 6997700"/>
                  <a:gd name="connsiteX1" fmla="*/ 781050 w 4834412"/>
                  <a:gd name="connsiteY1" fmla="*/ 4231987 h 6997700"/>
                  <a:gd name="connsiteX2" fmla="*/ 1348220 w 4834412"/>
                  <a:gd name="connsiteY2" fmla="*/ 3980873 h 6997700"/>
                  <a:gd name="connsiteX3" fmla="*/ 2002848 w 4834412"/>
                  <a:gd name="connsiteY3" fmla="*/ 3826741 h 6997700"/>
                  <a:gd name="connsiteX4" fmla="*/ 2556164 w 4834412"/>
                  <a:gd name="connsiteY4" fmla="*/ 3542723 h 6997700"/>
                  <a:gd name="connsiteX5" fmla="*/ 2805545 w 4834412"/>
                  <a:gd name="connsiteY5" fmla="*/ 3527137 h 6997700"/>
                  <a:gd name="connsiteX6" fmla="*/ 2894734 w 4834412"/>
                  <a:gd name="connsiteY6" fmla="*/ 1789257 h 6997700"/>
                  <a:gd name="connsiteX7" fmla="*/ 3249757 w 4834412"/>
                  <a:gd name="connsiteY7" fmla="*/ 1403927 h 6997700"/>
                  <a:gd name="connsiteX8" fmla="*/ 3449782 w 4834412"/>
                  <a:gd name="connsiteY8" fmla="*/ 347518 h 6997700"/>
                  <a:gd name="connsiteX9" fmla="*/ 3776229 w 4834412"/>
                  <a:gd name="connsiteY9" fmla="*/ 289 h 6997700"/>
                  <a:gd name="connsiteX10" fmla="*/ 4073236 w 4834412"/>
                  <a:gd name="connsiteY10" fmla="*/ 742373 h 6997700"/>
                  <a:gd name="connsiteX11" fmla="*/ 4094018 w 4834412"/>
                  <a:gd name="connsiteY11" fmla="*/ 1054100 h 6997700"/>
                  <a:gd name="connsiteX12" fmla="*/ 4239491 w 4834412"/>
                  <a:gd name="connsiteY12" fmla="*/ 1241137 h 6997700"/>
                  <a:gd name="connsiteX13" fmla="*/ 4177145 w 4834412"/>
                  <a:gd name="connsiteY13" fmla="*/ 1428173 h 6997700"/>
                  <a:gd name="connsiteX14" fmla="*/ 4415270 w 4834412"/>
                  <a:gd name="connsiteY14" fmla="*/ 1721716 h 6997700"/>
                  <a:gd name="connsiteX15" fmla="*/ 4447309 w 4834412"/>
                  <a:gd name="connsiteY15" fmla="*/ 2072409 h 6997700"/>
                  <a:gd name="connsiteX16" fmla="*/ 4779818 w 4834412"/>
                  <a:gd name="connsiteY16" fmla="*/ 3028373 h 6997700"/>
                  <a:gd name="connsiteX17" fmla="*/ 4704484 w 4834412"/>
                  <a:gd name="connsiteY17" fmla="*/ 4229389 h 6997700"/>
                  <a:gd name="connsiteX18" fmla="*/ 4581525 w 4834412"/>
                  <a:gd name="connsiteY18" fmla="*/ 5072784 h 6997700"/>
                  <a:gd name="connsiteX19" fmla="*/ 4223904 w 4834412"/>
                  <a:gd name="connsiteY19" fmla="*/ 5327362 h 6997700"/>
                  <a:gd name="connsiteX20" fmla="*/ 2680854 w 4834412"/>
                  <a:gd name="connsiteY20" fmla="*/ 6000173 h 6997700"/>
                  <a:gd name="connsiteX21" fmla="*/ 852054 w 4834412"/>
                  <a:gd name="connsiteY21" fmla="*/ 6997700 h 6997700"/>
                  <a:gd name="connsiteX22" fmla="*/ 644236 w 4834412"/>
                  <a:gd name="connsiteY22" fmla="*/ 5833918 h 6997700"/>
                  <a:gd name="connsiteX23" fmla="*/ 0 w 4834412"/>
                  <a:gd name="connsiteY23" fmla="*/ 4566227 h 6997700"/>
                  <a:gd name="connsiteX0" fmla="*/ 0 w 4834412"/>
                  <a:gd name="connsiteY0" fmla="*/ 4566227 h 6997700"/>
                  <a:gd name="connsiteX1" fmla="*/ 781050 w 4834412"/>
                  <a:gd name="connsiteY1" fmla="*/ 4231987 h 6997700"/>
                  <a:gd name="connsiteX2" fmla="*/ 1348220 w 4834412"/>
                  <a:gd name="connsiteY2" fmla="*/ 3980873 h 6997700"/>
                  <a:gd name="connsiteX3" fmla="*/ 2002848 w 4834412"/>
                  <a:gd name="connsiteY3" fmla="*/ 3826741 h 6997700"/>
                  <a:gd name="connsiteX4" fmla="*/ 2556164 w 4834412"/>
                  <a:gd name="connsiteY4" fmla="*/ 3542723 h 6997700"/>
                  <a:gd name="connsiteX5" fmla="*/ 2805545 w 4834412"/>
                  <a:gd name="connsiteY5" fmla="*/ 3527137 h 6997700"/>
                  <a:gd name="connsiteX6" fmla="*/ 2894734 w 4834412"/>
                  <a:gd name="connsiteY6" fmla="*/ 1789257 h 6997700"/>
                  <a:gd name="connsiteX7" fmla="*/ 3249757 w 4834412"/>
                  <a:gd name="connsiteY7" fmla="*/ 1403927 h 6997700"/>
                  <a:gd name="connsiteX8" fmla="*/ 3449782 w 4834412"/>
                  <a:gd name="connsiteY8" fmla="*/ 347518 h 6997700"/>
                  <a:gd name="connsiteX9" fmla="*/ 3776229 w 4834412"/>
                  <a:gd name="connsiteY9" fmla="*/ 289 h 6997700"/>
                  <a:gd name="connsiteX10" fmla="*/ 4073236 w 4834412"/>
                  <a:gd name="connsiteY10" fmla="*/ 742373 h 6997700"/>
                  <a:gd name="connsiteX11" fmla="*/ 4094018 w 4834412"/>
                  <a:gd name="connsiteY11" fmla="*/ 1054100 h 6997700"/>
                  <a:gd name="connsiteX12" fmla="*/ 4239491 w 4834412"/>
                  <a:gd name="connsiteY12" fmla="*/ 1241137 h 6997700"/>
                  <a:gd name="connsiteX13" fmla="*/ 4177145 w 4834412"/>
                  <a:gd name="connsiteY13" fmla="*/ 1428173 h 6997700"/>
                  <a:gd name="connsiteX14" fmla="*/ 4415270 w 4834412"/>
                  <a:gd name="connsiteY14" fmla="*/ 1721716 h 6997700"/>
                  <a:gd name="connsiteX15" fmla="*/ 4447309 w 4834412"/>
                  <a:gd name="connsiteY15" fmla="*/ 2072409 h 6997700"/>
                  <a:gd name="connsiteX16" fmla="*/ 4779818 w 4834412"/>
                  <a:gd name="connsiteY16" fmla="*/ 3028373 h 6997700"/>
                  <a:gd name="connsiteX17" fmla="*/ 4704484 w 4834412"/>
                  <a:gd name="connsiteY17" fmla="*/ 4229389 h 6997700"/>
                  <a:gd name="connsiteX18" fmla="*/ 4581525 w 4834412"/>
                  <a:gd name="connsiteY18" fmla="*/ 5072784 h 6997700"/>
                  <a:gd name="connsiteX19" fmla="*/ 4223904 w 4834412"/>
                  <a:gd name="connsiteY19" fmla="*/ 5327362 h 6997700"/>
                  <a:gd name="connsiteX20" fmla="*/ 2680854 w 4834412"/>
                  <a:gd name="connsiteY20" fmla="*/ 6000173 h 6997700"/>
                  <a:gd name="connsiteX21" fmla="*/ 852054 w 4834412"/>
                  <a:gd name="connsiteY21" fmla="*/ 6997700 h 6997700"/>
                  <a:gd name="connsiteX22" fmla="*/ 644236 w 4834412"/>
                  <a:gd name="connsiteY22" fmla="*/ 5833918 h 6997700"/>
                  <a:gd name="connsiteX23" fmla="*/ 0 w 4834412"/>
                  <a:gd name="connsiteY23" fmla="*/ 4566227 h 6997700"/>
                  <a:gd name="connsiteX0" fmla="*/ 0 w 4834412"/>
                  <a:gd name="connsiteY0" fmla="*/ 4566227 h 6997700"/>
                  <a:gd name="connsiteX1" fmla="*/ 781050 w 4834412"/>
                  <a:gd name="connsiteY1" fmla="*/ 4231987 h 6997700"/>
                  <a:gd name="connsiteX2" fmla="*/ 1348220 w 4834412"/>
                  <a:gd name="connsiteY2" fmla="*/ 3980873 h 6997700"/>
                  <a:gd name="connsiteX3" fmla="*/ 2002848 w 4834412"/>
                  <a:gd name="connsiteY3" fmla="*/ 3826741 h 6997700"/>
                  <a:gd name="connsiteX4" fmla="*/ 2556164 w 4834412"/>
                  <a:gd name="connsiteY4" fmla="*/ 3599873 h 6997700"/>
                  <a:gd name="connsiteX5" fmla="*/ 2805545 w 4834412"/>
                  <a:gd name="connsiteY5" fmla="*/ 3527137 h 6997700"/>
                  <a:gd name="connsiteX6" fmla="*/ 2894734 w 4834412"/>
                  <a:gd name="connsiteY6" fmla="*/ 1789257 h 6997700"/>
                  <a:gd name="connsiteX7" fmla="*/ 3249757 w 4834412"/>
                  <a:gd name="connsiteY7" fmla="*/ 1403927 h 6997700"/>
                  <a:gd name="connsiteX8" fmla="*/ 3449782 w 4834412"/>
                  <a:gd name="connsiteY8" fmla="*/ 347518 h 6997700"/>
                  <a:gd name="connsiteX9" fmla="*/ 3776229 w 4834412"/>
                  <a:gd name="connsiteY9" fmla="*/ 289 h 6997700"/>
                  <a:gd name="connsiteX10" fmla="*/ 4073236 w 4834412"/>
                  <a:gd name="connsiteY10" fmla="*/ 742373 h 6997700"/>
                  <a:gd name="connsiteX11" fmla="*/ 4094018 w 4834412"/>
                  <a:gd name="connsiteY11" fmla="*/ 1054100 h 6997700"/>
                  <a:gd name="connsiteX12" fmla="*/ 4239491 w 4834412"/>
                  <a:gd name="connsiteY12" fmla="*/ 1241137 h 6997700"/>
                  <a:gd name="connsiteX13" fmla="*/ 4177145 w 4834412"/>
                  <a:gd name="connsiteY13" fmla="*/ 1428173 h 6997700"/>
                  <a:gd name="connsiteX14" fmla="*/ 4415270 w 4834412"/>
                  <a:gd name="connsiteY14" fmla="*/ 1721716 h 6997700"/>
                  <a:gd name="connsiteX15" fmla="*/ 4447309 w 4834412"/>
                  <a:gd name="connsiteY15" fmla="*/ 2072409 h 6997700"/>
                  <a:gd name="connsiteX16" fmla="*/ 4779818 w 4834412"/>
                  <a:gd name="connsiteY16" fmla="*/ 3028373 h 6997700"/>
                  <a:gd name="connsiteX17" fmla="*/ 4704484 w 4834412"/>
                  <a:gd name="connsiteY17" fmla="*/ 4229389 h 6997700"/>
                  <a:gd name="connsiteX18" fmla="*/ 4581525 w 4834412"/>
                  <a:gd name="connsiteY18" fmla="*/ 5072784 h 6997700"/>
                  <a:gd name="connsiteX19" fmla="*/ 4223904 w 4834412"/>
                  <a:gd name="connsiteY19" fmla="*/ 5327362 h 6997700"/>
                  <a:gd name="connsiteX20" fmla="*/ 2680854 w 4834412"/>
                  <a:gd name="connsiteY20" fmla="*/ 6000173 h 6997700"/>
                  <a:gd name="connsiteX21" fmla="*/ 852054 w 4834412"/>
                  <a:gd name="connsiteY21" fmla="*/ 6997700 h 6997700"/>
                  <a:gd name="connsiteX22" fmla="*/ 644236 w 4834412"/>
                  <a:gd name="connsiteY22" fmla="*/ 5833918 h 6997700"/>
                  <a:gd name="connsiteX23" fmla="*/ 0 w 4834412"/>
                  <a:gd name="connsiteY23" fmla="*/ 4566227 h 6997700"/>
                  <a:gd name="connsiteX0" fmla="*/ 0 w 4834412"/>
                  <a:gd name="connsiteY0" fmla="*/ 4566227 h 6997700"/>
                  <a:gd name="connsiteX1" fmla="*/ 781050 w 4834412"/>
                  <a:gd name="connsiteY1" fmla="*/ 4231987 h 6997700"/>
                  <a:gd name="connsiteX2" fmla="*/ 1348220 w 4834412"/>
                  <a:gd name="connsiteY2" fmla="*/ 3980873 h 6997700"/>
                  <a:gd name="connsiteX3" fmla="*/ 2002848 w 4834412"/>
                  <a:gd name="connsiteY3" fmla="*/ 3826741 h 6997700"/>
                  <a:gd name="connsiteX4" fmla="*/ 2556164 w 4834412"/>
                  <a:gd name="connsiteY4" fmla="*/ 3599873 h 6997700"/>
                  <a:gd name="connsiteX5" fmla="*/ 2805545 w 4834412"/>
                  <a:gd name="connsiteY5" fmla="*/ 3527137 h 6997700"/>
                  <a:gd name="connsiteX6" fmla="*/ 2894734 w 4834412"/>
                  <a:gd name="connsiteY6" fmla="*/ 1789257 h 6997700"/>
                  <a:gd name="connsiteX7" fmla="*/ 3249757 w 4834412"/>
                  <a:gd name="connsiteY7" fmla="*/ 1403927 h 6997700"/>
                  <a:gd name="connsiteX8" fmla="*/ 3449782 w 4834412"/>
                  <a:gd name="connsiteY8" fmla="*/ 347518 h 6997700"/>
                  <a:gd name="connsiteX9" fmla="*/ 3776229 w 4834412"/>
                  <a:gd name="connsiteY9" fmla="*/ 289 h 6997700"/>
                  <a:gd name="connsiteX10" fmla="*/ 4073236 w 4834412"/>
                  <a:gd name="connsiteY10" fmla="*/ 742373 h 6997700"/>
                  <a:gd name="connsiteX11" fmla="*/ 4094018 w 4834412"/>
                  <a:gd name="connsiteY11" fmla="*/ 1054100 h 6997700"/>
                  <a:gd name="connsiteX12" fmla="*/ 4239491 w 4834412"/>
                  <a:gd name="connsiteY12" fmla="*/ 1241137 h 6997700"/>
                  <a:gd name="connsiteX13" fmla="*/ 4177145 w 4834412"/>
                  <a:gd name="connsiteY13" fmla="*/ 1428173 h 6997700"/>
                  <a:gd name="connsiteX14" fmla="*/ 4415270 w 4834412"/>
                  <a:gd name="connsiteY14" fmla="*/ 1721716 h 6997700"/>
                  <a:gd name="connsiteX15" fmla="*/ 4447309 w 4834412"/>
                  <a:gd name="connsiteY15" fmla="*/ 2072409 h 6997700"/>
                  <a:gd name="connsiteX16" fmla="*/ 4779818 w 4834412"/>
                  <a:gd name="connsiteY16" fmla="*/ 3028373 h 6997700"/>
                  <a:gd name="connsiteX17" fmla="*/ 4704484 w 4834412"/>
                  <a:gd name="connsiteY17" fmla="*/ 4229389 h 6997700"/>
                  <a:gd name="connsiteX18" fmla="*/ 4581525 w 4834412"/>
                  <a:gd name="connsiteY18" fmla="*/ 5072784 h 6997700"/>
                  <a:gd name="connsiteX19" fmla="*/ 4223904 w 4834412"/>
                  <a:gd name="connsiteY19" fmla="*/ 5327362 h 6997700"/>
                  <a:gd name="connsiteX20" fmla="*/ 2680854 w 4834412"/>
                  <a:gd name="connsiteY20" fmla="*/ 6000173 h 6997700"/>
                  <a:gd name="connsiteX21" fmla="*/ 852054 w 4834412"/>
                  <a:gd name="connsiteY21" fmla="*/ 6997700 h 6997700"/>
                  <a:gd name="connsiteX22" fmla="*/ 644236 w 4834412"/>
                  <a:gd name="connsiteY22" fmla="*/ 5833918 h 6997700"/>
                  <a:gd name="connsiteX23" fmla="*/ 0 w 4834412"/>
                  <a:gd name="connsiteY23" fmla="*/ 4566227 h 6997700"/>
                  <a:gd name="connsiteX0" fmla="*/ 0 w 4834412"/>
                  <a:gd name="connsiteY0" fmla="*/ 4566227 h 6997700"/>
                  <a:gd name="connsiteX1" fmla="*/ 781050 w 4834412"/>
                  <a:gd name="connsiteY1" fmla="*/ 4231987 h 6997700"/>
                  <a:gd name="connsiteX2" fmla="*/ 1348220 w 4834412"/>
                  <a:gd name="connsiteY2" fmla="*/ 3980873 h 6997700"/>
                  <a:gd name="connsiteX3" fmla="*/ 2002848 w 4834412"/>
                  <a:gd name="connsiteY3" fmla="*/ 3826741 h 6997700"/>
                  <a:gd name="connsiteX4" fmla="*/ 2556164 w 4834412"/>
                  <a:gd name="connsiteY4" fmla="*/ 3542723 h 6997700"/>
                  <a:gd name="connsiteX5" fmla="*/ 2805545 w 4834412"/>
                  <a:gd name="connsiteY5" fmla="*/ 3527137 h 6997700"/>
                  <a:gd name="connsiteX6" fmla="*/ 2894734 w 4834412"/>
                  <a:gd name="connsiteY6" fmla="*/ 1789257 h 6997700"/>
                  <a:gd name="connsiteX7" fmla="*/ 3249757 w 4834412"/>
                  <a:gd name="connsiteY7" fmla="*/ 1403927 h 6997700"/>
                  <a:gd name="connsiteX8" fmla="*/ 3449782 w 4834412"/>
                  <a:gd name="connsiteY8" fmla="*/ 347518 h 6997700"/>
                  <a:gd name="connsiteX9" fmla="*/ 3776229 w 4834412"/>
                  <a:gd name="connsiteY9" fmla="*/ 289 h 6997700"/>
                  <a:gd name="connsiteX10" fmla="*/ 4073236 w 4834412"/>
                  <a:gd name="connsiteY10" fmla="*/ 742373 h 6997700"/>
                  <a:gd name="connsiteX11" fmla="*/ 4094018 w 4834412"/>
                  <a:gd name="connsiteY11" fmla="*/ 1054100 h 6997700"/>
                  <a:gd name="connsiteX12" fmla="*/ 4239491 w 4834412"/>
                  <a:gd name="connsiteY12" fmla="*/ 1241137 h 6997700"/>
                  <a:gd name="connsiteX13" fmla="*/ 4177145 w 4834412"/>
                  <a:gd name="connsiteY13" fmla="*/ 1428173 h 6997700"/>
                  <a:gd name="connsiteX14" fmla="*/ 4415270 w 4834412"/>
                  <a:gd name="connsiteY14" fmla="*/ 1721716 h 6997700"/>
                  <a:gd name="connsiteX15" fmla="*/ 4447309 w 4834412"/>
                  <a:gd name="connsiteY15" fmla="*/ 2072409 h 6997700"/>
                  <a:gd name="connsiteX16" fmla="*/ 4779818 w 4834412"/>
                  <a:gd name="connsiteY16" fmla="*/ 3028373 h 6997700"/>
                  <a:gd name="connsiteX17" fmla="*/ 4704484 w 4834412"/>
                  <a:gd name="connsiteY17" fmla="*/ 4229389 h 6997700"/>
                  <a:gd name="connsiteX18" fmla="*/ 4581525 w 4834412"/>
                  <a:gd name="connsiteY18" fmla="*/ 5072784 h 6997700"/>
                  <a:gd name="connsiteX19" fmla="*/ 4223904 w 4834412"/>
                  <a:gd name="connsiteY19" fmla="*/ 5327362 h 6997700"/>
                  <a:gd name="connsiteX20" fmla="*/ 2680854 w 4834412"/>
                  <a:gd name="connsiteY20" fmla="*/ 6000173 h 6997700"/>
                  <a:gd name="connsiteX21" fmla="*/ 852054 w 4834412"/>
                  <a:gd name="connsiteY21" fmla="*/ 6997700 h 6997700"/>
                  <a:gd name="connsiteX22" fmla="*/ 644236 w 4834412"/>
                  <a:gd name="connsiteY22" fmla="*/ 5833918 h 6997700"/>
                  <a:gd name="connsiteX23" fmla="*/ 0 w 4834412"/>
                  <a:gd name="connsiteY23" fmla="*/ 4566227 h 699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834412" h="6997700">
                    <a:moveTo>
                      <a:pt x="0" y="4566227"/>
                    </a:moveTo>
                    <a:cubicBezTo>
                      <a:pt x="692033" y="4230696"/>
                      <a:pt x="609600" y="4487770"/>
                      <a:pt x="781050" y="4231987"/>
                    </a:cubicBezTo>
                    <a:cubicBezTo>
                      <a:pt x="973282" y="4087957"/>
                      <a:pt x="1127413" y="4058228"/>
                      <a:pt x="1348220" y="3980873"/>
                    </a:cubicBezTo>
                    <a:cubicBezTo>
                      <a:pt x="1620404" y="3900921"/>
                      <a:pt x="1787814" y="3906693"/>
                      <a:pt x="2002848" y="3826741"/>
                    </a:cubicBezTo>
                    <a:cubicBezTo>
                      <a:pt x="2199987" y="3655868"/>
                      <a:pt x="2368550" y="3608821"/>
                      <a:pt x="2556164" y="3542723"/>
                    </a:cubicBezTo>
                    <a:lnTo>
                      <a:pt x="2805545" y="3527137"/>
                    </a:lnTo>
                    <a:lnTo>
                      <a:pt x="2894734" y="1789257"/>
                    </a:lnTo>
                    <a:lnTo>
                      <a:pt x="3249757" y="1403927"/>
                    </a:lnTo>
                    <a:lnTo>
                      <a:pt x="3449782" y="347518"/>
                    </a:lnTo>
                    <a:lnTo>
                      <a:pt x="3776229" y="289"/>
                    </a:lnTo>
                    <a:cubicBezTo>
                      <a:pt x="3894281" y="0"/>
                      <a:pt x="3878984" y="409287"/>
                      <a:pt x="4073236" y="742373"/>
                    </a:cubicBezTo>
                    <a:cubicBezTo>
                      <a:pt x="4137313" y="846282"/>
                      <a:pt x="4087091" y="950191"/>
                      <a:pt x="4094018" y="1054100"/>
                    </a:cubicBezTo>
                    <a:cubicBezTo>
                      <a:pt x="4132984" y="1154546"/>
                      <a:pt x="4191000" y="1140691"/>
                      <a:pt x="4239491" y="1241137"/>
                    </a:cubicBezTo>
                    <a:lnTo>
                      <a:pt x="4177145" y="1428173"/>
                    </a:lnTo>
                    <a:cubicBezTo>
                      <a:pt x="4434364" y="1621087"/>
                      <a:pt x="4433327" y="1475059"/>
                      <a:pt x="4415270" y="1721716"/>
                    </a:cubicBezTo>
                    <a:lnTo>
                      <a:pt x="4447309" y="2072409"/>
                    </a:lnTo>
                    <a:cubicBezTo>
                      <a:pt x="4558145" y="2486314"/>
                      <a:pt x="4668982" y="2652568"/>
                      <a:pt x="4779818" y="3028373"/>
                    </a:cubicBezTo>
                    <a:cubicBezTo>
                      <a:pt x="4781963" y="3455251"/>
                      <a:pt x="4834412" y="3791239"/>
                      <a:pt x="4704484" y="4229389"/>
                    </a:cubicBezTo>
                    <a:cubicBezTo>
                      <a:pt x="4620592" y="4689144"/>
                      <a:pt x="4643673" y="4929909"/>
                      <a:pt x="4581525" y="5072784"/>
                    </a:cubicBezTo>
                    <a:cubicBezTo>
                      <a:pt x="4481368" y="5252893"/>
                      <a:pt x="4324061" y="5232978"/>
                      <a:pt x="4223904" y="5327362"/>
                    </a:cubicBezTo>
                    <a:cubicBezTo>
                      <a:pt x="3709554" y="5523057"/>
                      <a:pt x="3195204" y="5775903"/>
                      <a:pt x="2680854" y="6000173"/>
                    </a:cubicBezTo>
                    <a:cubicBezTo>
                      <a:pt x="1985529" y="6332682"/>
                      <a:pt x="1461654" y="6665191"/>
                      <a:pt x="852054" y="6997700"/>
                    </a:cubicBezTo>
                    <a:cubicBezTo>
                      <a:pt x="640383" y="5875842"/>
                      <a:pt x="644236" y="6269887"/>
                      <a:pt x="644236" y="5833918"/>
                    </a:cubicBezTo>
                    <a:lnTo>
                      <a:pt x="0" y="456622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97" name="Freeform 296"/>
              <p:cNvSpPr/>
              <p:nvPr/>
            </p:nvSpPr>
            <p:spPr>
              <a:xfrm rot="21114987" flipH="1">
                <a:off x="6667339" y="2715370"/>
                <a:ext cx="176552" cy="297896"/>
              </a:xfrm>
              <a:custGeom>
                <a:avLst/>
                <a:gdLst>
                  <a:gd name="connsiteX0" fmla="*/ 0 w 1537855"/>
                  <a:gd name="connsiteY0" fmla="*/ 2410691 h 2493819"/>
                  <a:gd name="connsiteX1" fmla="*/ 436419 w 1537855"/>
                  <a:gd name="connsiteY1" fmla="*/ 0 h 2493819"/>
                  <a:gd name="connsiteX2" fmla="*/ 498764 w 1537855"/>
                  <a:gd name="connsiteY2" fmla="*/ 561110 h 2493819"/>
                  <a:gd name="connsiteX3" fmla="*/ 1059873 w 1537855"/>
                  <a:gd name="connsiteY3" fmla="*/ 145473 h 2493819"/>
                  <a:gd name="connsiteX4" fmla="*/ 561110 w 1537855"/>
                  <a:gd name="connsiteY4" fmla="*/ 748146 h 2493819"/>
                  <a:gd name="connsiteX5" fmla="*/ 519546 w 1537855"/>
                  <a:gd name="connsiteY5" fmla="*/ 955964 h 2493819"/>
                  <a:gd name="connsiteX6" fmla="*/ 955964 w 1537855"/>
                  <a:gd name="connsiteY6" fmla="*/ 768928 h 2493819"/>
                  <a:gd name="connsiteX7" fmla="*/ 436419 w 1537855"/>
                  <a:gd name="connsiteY7" fmla="*/ 1330037 h 2493819"/>
                  <a:gd name="connsiteX8" fmla="*/ 415637 w 1537855"/>
                  <a:gd name="connsiteY8" fmla="*/ 2098964 h 2493819"/>
                  <a:gd name="connsiteX9" fmla="*/ 498764 w 1537855"/>
                  <a:gd name="connsiteY9" fmla="*/ 2348346 h 2493819"/>
                  <a:gd name="connsiteX10" fmla="*/ 1122219 w 1537855"/>
                  <a:gd name="connsiteY10" fmla="*/ 1787237 h 2493819"/>
                  <a:gd name="connsiteX11" fmla="*/ 1537855 w 1537855"/>
                  <a:gd name="connsiteY11" fmla="*/ 1808019 h 2493819"/>
                  <a:gd name="connsiteX12" fmla="*/ 831273 w 1537855"/>
                  <a:gd name="connsiteY12" fmla="*/ 2223655 h 2493819"/>
                  <a:gd name="connsiteX13" fmla="*/ 436419 w 1537855"/>
                  <a:gd name="connsiteY13" fmla="*/ 2493819 h 2493819"/>
                  <a:gd name="connsiteX14" fmla="*/ 0 w 1537855"/>
                  <a:gd name="connsiteY14" fmla="*/ 2410691 h 2493819"/>
                  <a:gd name="connsiteX0" fmla="*/ 0 w 1537855"/>
                  <a:gd name="connsiteY0" fmla="*/ 2410691 h 2493819"/>
                  <a:gd name="connsiteX1" fmla="*/ 436419 w 1537855"/>
                  <a:gd name="connsiteY1" fmla="*/ 0 h 2493819"/>
                  <a:gd name="connsiteX2" fmla="*/ 498764 w 1537855"/>
                  <a:gd name="connsiteY2" fmla="*/ 561110 h 2493819"/>
                  <a:gd name="connsiteX3" fmla="*/ 1059873 w 1537855"/>
                  <a:gd name="connsiteY3" fmla="*/ 145473 h 2493819"/>
                  <a:gd name="connsiteX4" fmla="*/ 561110 w 1537855"/>
                  <a:gd name="connsiteY4" fmla="*/ 748146 h 2493819"/>
                  <a:gd name="connsiteX5" fmla="*/ 519546 w 1537855"/>
                  <a:gd name="connsiteY5" fmla="*/ 955964 h 2493819"/>
                  <a:gd name="connsiteX6" fmla="*/ 955964 w 1537855"/>
                  <a:gd name="connsiteY6" fmla="*/ 768928 h 2493819"/>
                  <a:gd name="connsiteX7" fmla="*/ 436419 w 1537855"/>
                  <a:gd name="connsiteY7" fmla="*/ 1330037 h 2493819"/>
                  <a:gd name="connsiteX8" fmla="*/ 415637 w 1537855"/>
                  <a:gd name="connsiteY8" fmla="*/ 2098964 h 2493819"/>
                  <a:gd name="connsiteX9" fmla="*/ 498764 w 1537855"/>
                  <a:gd name="connsiteY9" fmla="*/ 2348346 h 2493819"/>
                  <a:gd name="connsiteX10" fmla="*/ 1122219 w 1537855"/>
                  <a:gd name="connsiteY10" fmla="*/ 1787237 h 2493819"/>
                  <a:gd name="connsiteX11" fmla="*/ 1537855 w 1537855"/>
                  <a:gd name="connsiteY11" fmla="*/ 1808019 h 2493819"/>
                  <a:gd name="connsiteX12" fmla="*/ 831273 w 1537855"/>
                  <a:gd name="connsiteY12" fmla="*/ 2223655 h 2493819"/>
                  <a:gd name="connsiteX13" fmla="*/ 436419 w 1537855"/>
                  <a:gd name="connsiteY13" fmla="*/ 2493819 h 2493819"/>
                  <a:gd name="connsiteX14" fmla="*/ 0 w 1537855"/>
                  <a:gd name="connsiteY14" fmla="*/ 2410691 h 2493819"/>
                  <a:gd name="connsiteX0" fmla="*/ 0 w 1537855"/>
                  <a:gd name="connsiteY0" fmla="*/ 2410691 h 2493819"/>
                  <a:gd name="connsiteX1" fmla="*/ 436419 w 1537855"/>
                  <a:gd name="connsiteY1" fmla="*/ 0 h 2493819"/>
                  <a:gd name="connsiteX2" fmla="*/ 498764 w 1537855"/>
                  <a:gd name="connsiteY2" fmla="*/ 561110 h 2493819"/>
                  <a:gd name="connsiteX3" fmla="*/ 1059873 w 1537855"/>
                  <a:gd name="connsiteY3" fmla="*/ 145473 h 2493819"/>
                  <a:gd name="connsiteX4" fmla="*/ 561110 w 1537855"/>
                  <a:gd name="connsiteY4" fmla="*/ 748146 h 2493819"/>
                  <a:gd name="connsiteX5" fmla="*/ 519546 w 1537855"/>
                  <a:gd name="connsiteY5" fmla="*/ 955964 h 2493819"/>
                  <a:gd name="connsiteX6" fmla="*/ 955964 w 1537855"/>
                  <a:gd name="connsiteY6" fmla="*/ 768928 h 2493819"/>
                  <a:gd name="connsiteX7" fmla="*/ 436419 w 1537855"/>
                  <a:gd name="connsiteY7" fmla="*/ 1330037 h 2493819"/>
                  <a:gd name="connsiteX8" fmla="*/ 415637 w 1537855"/>
                  <a:gd name="connsiteY8" fmla="*/ 2098964 h 2493819"/>
                  <a:gd name="connsiteX9" fmla="*/ 498764 w 1537855"/>
                  <a:gd name="connsiteY9" fmla="*/ 2348346 h 2493819"/>
                  <a:gd name="connsiteX10" fmla="*/ 1122219 w 1537855"/>
                  <a:gd name="connsiteY10" fmla="*/ 1787237 h 2493819"/>
                  <a:gd name="connsiteX11" fmla="*/ 1537855 w 1537855"/>
                  <a:gd name="connsiteY11" fmla="*/ 1808019 h 2493819"/>
                  <a:gd name="connsiteX12" fmla="*/ 831273 w 1537855"/>
                  <a:gd name="connsiteY12" fmla="*/ 2223655 h 2493819"/>
                  <a:gd name="connsiteX13" fmla="*/ 436419 w 1537855"/>
                  <a:gd name="connsiteY13" fmla="*/ 2493819 h 2493819"/>
                  <a:gd name="connsiteX14" fmla="*/ 0 w 1537855"/>
                  <a:gd name="connsiteY14" fmla="*/ 2410691 h 2493819"/>
                  <a:gd name="connsiteX0" fmla="*/ 0 w 1537855"/>
                  <a:gd name="connsiteY0" fmla="*/ 2410691 h 2493819"/>
                  <a:gd name="connsiteX1" fmla="*/ 436419 w 1537855"/>
                  <a:gd name="connsiteY1" fmla="*/ 0 h 2493819"/>
                  <a:gd name="connsiteX2" fmla="*/ 498764 w 1537855"/>
                  <a:gd name="connsiteY2" fmla="*/ 561110 h 2493819"/>
                  <a:gd name="connsiteX3" fmla="*/ 1059873 w 1537855"/>
                  <a:gd name="connsiteY3" fmla="*/ 145473 h 2493819"/>
                  <a:gd name="connsiteX4" fmla="*/ 561110 w 1537855"/>
                  <a:gd name="connsiteY4" fmla="*/ 748146 h 2493819"/>
                  <a:gd name="connsiteX5" fmla="*/ 519546 w 1537855"/>
                  <a:gd name="connsiteY5" fmla="*/ 955964 h 2493819"/>
                  <a:gd name="connsiteX6" fmla="*/ 955964 w 1537855"/>
                  <a:gd name="connsiteY6" fmla="*/ 768928 h 2493819"/>
                  <a:gd name="connsiteX7" fmla="*/ 436419 w 1537855"/>
                  <a:gd name="connsiteY7" fmla="*/ 1330037 h 2493819"/>
                  <a:gd name="connsiteX8" fmla="*/ 415637 w 1537855"/>
                  <a:gd name="connsiteY8" fmla="*/ 2098964 h 2493819"/>
                  <a:gd name="connsiteX9" fmla="*/ 498764 w 1537855"/>
                  <a:gd name="connsiteY9" fmla="*/ 2348346 h 2493819"/>
                  <a:gd name="connsiteX10" fmla="*/ 1122219 w 1537855"/>
                  <a:gd name="connsiteY10" fmla="*/ 1787237 h 2493819"/>
                  <a:gd name="connsiteX11" fmla="*/ 1537855 w 1537855"/>
                  <a:gd name="connsiteY11" fmla="*/ 1808019 h 2493819"/>
                  <a:gd name="connsiteX12" fmla="*/ 831273 w 1537855"/>
                  <a:gd name="connsiteY12" fmla="*/ 2223655 h 2493819"/>
                  <a:gd name="connsiteX13" fmla="*/ 436419 w 1537855"/>
                  <a:gd name="connsiteY13" fmla="*/ 2493819 h 2493819"/>
                  <a:gd name="connsiteX14" fmla="*/ 0 w 1537855"/>
                  <a:gd name="connsiteY14" fmla="*/ 2410691 h 2493819"/>
                  <a:gd name="connsiteX0" fmla="*/ 0 w 1537855"/>
                  <a:gd name="connsiteY0" fmla="*/ 2410691 h 2493819"/>
                  <a:gd name="connsiteX1" fmla="*/ 436419 w 1537855"/>
                  <a:gd name="connsiteY1" fmla="*/ 0 h 2493819"/>
                  <a:gd name="connsiteX2" fmla="*/ 498764 w 1537855"/>
                  <a:gd name="connsiteY2" fmla="*/ 561110 h 2493819"/>
                  <a:gd name="connsiteX3" fmla="*/ 1059873 w 1537855"/>
                  <a:gd name="connsiteY3" fmla="*/ 145473 h 2493819"/>
                  <a:gd name="connsiteX4" fmla="*/ 561110 w 1537855"/>
                  <a:gd name="connsiteY4" fmla="*/ 748146 h 2493819"/>
                  <a:gd name="connsiteX5" fmla="*/ 519546 w 1537855"/>
                  <a:gd name="connsiteY5" fmla="*/ 955964 h 2493819"/>
                  <a:gd name="connsiteX6" fmla="*/ 955964 w 1537855"/>
                  <a:gd name="connsiteY6" fmla="*/ 768928 h 2493819"/>
                  <a:gd name="connsiteX7" fmla="*/ 474519 w 1537855"/>
                  <a:gd name="connsiteY7" fmla="*/ 1301462 h 2493819"/>
                  <a:gd name="connsiteX8" fmla="*/ 415637 w 1537855"/>
                  <a:gd name="connsiteY8" fmla="*/ 2098964 h 2493819"/>
                  <a:gd name="connsiteX9" fmla="*/ 498764 w 1537855"/>
                  <a:gd name="connsiteY9" fmla="*/ 2348346 h 2493819"/>
                  <a:gd name="connsiteX10" fmla="*/ 1122219 w 1537855"/>
                  <a:gd name="connsiteY10" fmla="*/ 1787237 h 2493819"/>
                  <a:gd name="connsiteX11" fmla="*/ 1537855 w 1537855"/>
                  <a:gd name="connsiteY11" fmla="*/ 1808019 h 2493819"/>
                  <a:gd name="connsiteX12" fmla="*/ 831273 w 1537855"/>
                  <a:gd name="connsiteY12" fmla="*/ 2223655 h 2493819"/>
                  <a:gd name="connsiteX13" fmla="*/ 436419 w 1537855"/>
                  <a:gd name="connsiteY13" fmla="*/ 2493819 h 2493819"/>
                  <a:gd name="connsiteX14" fmla="*/ 0 w 1537855"/>
                  <a:gd name="connsiteY14" fmla="*/ 2410691 h 2493819"/>
                  <a:gd name="connsiteX0" fmla="*/ 0 w 1537855"/>
                  <a:gd name="connsiteY0" fmla="*/ 2410691 h 2493819"/>
                  <a:gd name="connsiteX1" fmla="*/ 436419 w 1537855"/>
                  <a:gd name="connsiteY1" fmla="*/ 0 h 2493819"/>
                  <a:gd name="connsiteX2" fmla="*/ 498764 w 1537855"/>
                  <a:gd name="connsiteY2" fmla="*/ 561110 h 2493819"/>
                  <a:gd name="connsiteX3" fmla="*/ 1059873 w 1537855"/>
                  <a:gd name="connsiteY3" fmla="*/ 145473 h 2493819"/>
                  <a:gd name="connsiteX4" fmla="*/ 561110 w 1537855"/>
                  <a:gd name="connsiteY4" fmla="*/ 748146 h 2493819"/>
                  <a:gd name="connsiteX5" fmla="*/ 519546 w 1537855"/>
                  <a:gd name="connsiteY5" fmla="*/ 955964 h 2493819"/>
                  <a:gd name="connsiteX6" fmla="*/ 955964 w 1537855"/>
                  <a:gd name="connsiteY6" fmla="*/ 768928 h 2493819"/>
                  <a:gd name="connsiteX7" fmla="*/ 474519 w 1537855"/>
                  <a:gd name="connsiteY7" fmla="*/ 1301462 h 2493819"/>
                  <a:gd name="connsiteX8" fmla="*/ 415637 w 1537855"/>
                  <a:gd name="connsiteY8" fmla="*/ 2098964 h 2493819"/>
                  <a:gd name="connsiteX9" fmla="*/ 498764 w 1537855"/>
                  <a:gd name="connsiteY9" fmla="*/ 2348346 h 2493819"/>
                  <a:gd name="connsiteX10" fmla="*/ 1122219 w 1537855"/>
                  <a:gd name="connsiteY10" fmla="*/ 1787237 h 2493819"/>
                  <a:gd name="connsiteX11" fmla="*/ 1537855 w 1537855"/>
                  <a:gd name="connsiteY11" fmla="*/ 1808019 h 2493819"/>
                  <a:gd name="connsiteX12" fmla="*/ 831273 w 1537855"/>
                  <a:gd name="connsiteY12" fmla="*/ 2223655 h 2493819"/>
                  <a:gd name="connsiteX13" fmla="*/ 436419 w 1537855"/>
                  <a:gd name="connsiteY13" fmla="*/ 2493819 h 2493819"/>
                  <a:gd name="connsiteX14" fmla="*/ 0 w 1537855"/>
                  <a:gd name="connsiteY14" fmla="*/ 2410691 h 2493819"/>
                  <a:gd name="connsiteX0" fmla="*/ 0 w 1537855"/>
                  <a:gd name="connsiteY0" fmla="*/ 2410691 h 2493819"/>
                  <a:gd name="connsiteX1" fmla="*/ 436419 w 1537855"/>
                  <a:gd name="connsiteY1" fmla="*/ 0 h 2493819"/>
                  <a:gd name="connsiteX2" fmla="*/ 498764 w 1537855"/>
                  <a:gd name="connsiteY2" fmla="*/ 561110 h 2493819"/>
                  <a:gd name="connsiteX3" fmla="*/ 1059873 w 1537855"/>
                  <a:gd name="connsiteY3" fmla="*/ 145473 h 2493819"/>
                  <a:gd name="connsiteX4" fmla="*/ 561110 w 1537855"/>
                  <a:gd name="connsiteY4" fmla="*/ 748146 h 2493819"/>
                  <a:gd name="connsiteX5" fmla="*/ 519546 w 1537855"/>
                  <a:gd name="connsiteY5" fmla="*/ 955964 h 2493819"/>
                  <a:gd name="connsiteX6" fmla="*/ 955964 w 1537855"/>
                  <a:gd name="connsiteY6" fmla="*/ 768928 h 2493819"/>
                  <a:gd name="connsiteX7" fmla="*/ 474519 w 1537855"/>
                  <a:gd name="connsiteY7" fmla="*/ 1301462 h 2493819"/>
                  <a:gd name="connsiteX8" fmla="*/ 415637 w 1537855"/>
                  <a:gd name="connsiteY8" fmla="*/ 2098964 h 2493819"/>
                  <a:gd name="connsiteX9" fmla="*/ 498764 w 1537855"/>
                  <a:gd name="connsiteY9" fmla="*/ 2348346 h 2493819"/>
                  <a:gd name="connsiteX10" fmla="*/ 1122219 w 1537855"/>
                  <a:gd name="connsiteY10" fmla="*/ 1787237 h 2493819"/>
                  <a:gd name="connsiteX11" fmla="*/ 1537855 w 1537855"/>
                  <a:gd name="connsiteY11" fmla="*/ 1808019 h 2493819"/>
                  <a:gd name="connsiteX12" fmla="*/ 831273 w 1537855"/>
                  <a:gd name="connsiteY12" fmla="*/ 2223655 h 2493819"/>
                  <a:gd name="connsiteX13" fmla="*/ 436419 w 1537855"/>
                  <a:gd name="connsiteY13" fmla="*/ 2493819 h 2493819"/>
                  <a:gd name="connsiteX14" fmla="*/ 0 w 1537855"/>
                  <a:gd name="connsiteY14" fmla="*/ 2410691 h 2493819"/>
                  <a:gd name="connsiteX0" fmla="*/ 0 w 1537855"/>
                  <a:gd name="connsiteY0" fmla="*/ 2410691 h 2493819"/>
                  <a:gd name="connsiteX1" fmla="*/ 436419 w 1537855"/>
                  <a:gd name="connsiteY1" fmla="*/ 0 h 2493819"/>
                  <a:gd name="connsiteX2" fmla="*/ 498764 w 1537855"/>
                  <a:gd name="connsiteY2" fmla="*/ 561110 h 2493819"/>
                  <a:gd name="connsiteX3" fmla="*/ 1059873 w 1537855"/>
                  <a:gd name="connsiteY3" fmla="*/ 145473 h 2493819"/>
                  <a:gd name="connsiteX4" fmla="*/ 561110 w 1537855"/>
                  <a:gd name="connsiteY4" fmla="*/ 748146 h 2493819"/>
                  <a:gd name="connsiteX5" fmla="*/ 519546 w 1537855"/>
                  <a:gd name="connsiteY5" fmla="*/ 955964 h 2493819"/>
                  <a:gd name="connsiteX6" fmla="*/ 955964 w 1537855"/>
                  <a:gd name="connsiteY6" fmla="*/ 768928 h 2493819"/>
                  <a:gd name="connsiteX7" fmla="*/ 474519 w 1537855"/>
                  <a:gd name="connsiteY7" fmla="*/ 1301462 h 2493819"/>
                  <a:gd name="connsiteX8" fmla="*/ 415637 w 1537855"/>
                  <a:gd name="connsiteY8" fmla="*/ 2098964 h 2493819"/>
                  <a:gd name="connsiteX9" fmla="*/ 498764 w 1537855"/>
                  <a:gd name="connsiteY9" fmla="*/ 2348346 h 2493819"/>
                  <a:gd name="connsiteX10" fmla="*/ 1122219 w 1537855"/>
                  <a:gd name="connsiteY10" fmla="*/ 1787237 h 2493819"/>
                  <a:gd name="connsiteX11" fmla="*/ 1537855 w 1537855"/>
                  <a:gd name="connsiteY11" fmla="*/ 1808019 h 2493819"/>
                  <a:gd name="connsiteX12" fmla="*/ 831273 w 1537855"/>
                  <a:gd name="connsiteY12" fmla="*/ 2223655 h 2493819"/>
                  <a:gd name="connsiteX13" fmla="*/ 436419 w 1537855"/>
                  <a:gd name="connsiteY13" fmla="*/ 2493819 h 2493819"/>
                  <a:gd name="connsiteX14" fmla="*/ 0 w 1537855"/>
                  <a:gd name="connsiteY14" fmla="*/ 2410691 h 2493819"/>
                  <a:gd name="connsiteX0" fmla="*/ 0 w 1537855"/>
                  <a:gd name="connsiteY0" fmla="*/ 2410691 h 2493819"/>
                  <a:gd name="connsiteX1" fmla="*/ 436419 w 1537855"/>
                  <a:gd name="connsiteY1" fmla="*/ 0 h 2493819"/>
                  <a:gd name="connsiteX2" fmla="*/ 498764 w 1537855"/>
                  <a:gd name="connsiteY2" fmla="*/ 561110 h 2493819"/>
                  <a:gd name="connsiteX3" fmla="*/ 1059873 w 1537855"/>
                  <a:gd name="connsiteY3" fmla="*/ 145473 h 2493819"/>
                  <a:gd name="connsiteX4" fmla="*/ 561110 w 1537855"/>
                  <a:gd name="connsiteY4" fmla="*/ 748146 h 2493819"/>
                  <a:gd name="connsiteX5" fmla="*/ 519546 w 1537855"/>
                  <a:gd name="connsiteY5" fmla="*/ 955964 h 2493819"/>
                  <a:gd name="connsiteX6" fmla="*/ 955964 w 1537855"/>
                  <a:gd name="connsiteY6" fmla="*/ 768928 h 2493819"/>
                  <a:gd name="connsiteX7" fmla="*/ 474519 w 1537855"/>
                  <a:gd name="connsiteY7" fmla="*/ 1301462 h 2493819"/>
                  <a:gd name="connsiteX8" fmla="*/ 415637 w 1537855"/>
                  <a:gd name="connsiteY8" fmla="*/ 2098964 h 2493819"/>
                  <a:gd name="connsiteX9" fmla="*/ 498764 w 1537855"/>
                  <a:gd name="connsiteY9" fmla="*/ 2348346 h 2493819"/>
                  <a:gd name="connsiteX10" fmla="*/ 1122219 w 1537855"/>
                  <a:gd name="connsiteY10" fmla="*/ 1787237 h 2493819"/>
                  <a:gd name="connsiteX11" fmla="*/ 1537855 w 1537855"/>
                  <a:gd name="connsiteY11" fmla="*/ 1808019 h 2493819"/>
                  <a:gd name="connsiteX12" fmla="*/ 831273 w 1537855"/>
                  <a:gd name="connsiteY12" fmla="*/ 2223655 h 2493819"/>
                  <a:gd name="connsiteX13" fmla="*/ 436419 w 1537855"/>
                  <a:gd name="connsiteY13" fmla="*/ 2493819 h 2493819"/>
                  <a:gd name="connsiteX14" fmla="*/ 0 w 1537855"/>
                  <a:gd name="connsiteY14" fmla="*/ 2410691 h 2493819"/>
                  <a:gd name="connsiteX0" fmla="*/ 0 w 1537855"/>
                  <a:gd name="connsiteY0" fmla="*/ 2410691 h 2493819"/>
                  <a:gd name="connsiteX1" fmla="*/ 436419 w 1537855"/>
                  <a:gd name="connsiteY1" fmla="*/ 0 h 2493819"/>
                  <a:gd name="connsiteX2" fmla="*/ 498764 w 1537855"/>
                  <a:gd name="connsiteY2" fmla="*/ 561110 h 2493819"/>
                  <a:gd name="connsiteX3" fmla="*/ 1059873 w 1537855"/>
                  <a:gd name="connsiteY3" fmla="*/ 145473 h 2493819"/>
                  <a:gd name="connsiteX4" fmla="*/ 561110 w 1537855"/>
                  <a:gd name="connsiteY4" fmla="*/ 748146 h 2493819"/>
                  <a:gd name="connsiteX5" fmla="*/ 519546 w 1537855"/>
                  <a:gd name="connsiteY5" fmla="*/ 955964 h 2493819"/>
                  <a:gd name="connsiteX6" fmla="*/ 955964 w 1537855"/>
                  <a:gd name="connsiteY6" fmla="*/ 768928 h 2493819"/>
                  <a:gd name="connsiteX7" fmla="*/ 474519 w 1537855"/>
                  <a:gd name="connsiteY7" fmla="*/ 1301462 h 2493819"/>
                  <a:gd name="connsiteX8" fmla="*/ 415637 w 1537855"/>
                  <a:gd name="connsiteY8" fmla="*/ 2098964 h 2493819"/>
                  <a:gd name="connsiteX9" fmla="*/ 498764 w 1537855"/>
                  <a:gd name="connsiteY9" fmla="*/ 2348346 h 2493819"/>
                  <a:gd name="connsiteX10" fmla="*/ 1122219 w 1537855"/>
                  <a:gd name="connsiteY10" fmla="*/ 1787237 h 2493819"/>
                  <a:gd name="connsiteX11" fmla="*/ 1537855 w 1537855"/>
                  <a:gd name="connsiteY11" fmla="*/ 1808019 h 2493819"/>
                  <a:gd name="connsiteX12" fmla="*/ 831273 w 1537855"/>
                  <a:gd name="connsiteY12" fmla="*/ 2223655 h 2493819"/>
                  <a:gd name="connsiteX13" fmla="*/ 436419 w 1537855"/>
                  <a:gd name="connsiteY13" fmla="*/ 2493819 h 2493819"/>
                  <a:gd name="connsiteX14" fmla="*/ 0 w 1537855"/>
                  <a:gd name="connsiteY14" fmla="*/ 2410691 h 2493819"/>
                  <a:gd name="connsiteX0" fmla="*/ 0 w 1537855"/>
                  <a:gd name="connsiteY0" fmla="*/ 2410691 h 2493819"/>
                  <a:gd name="connsiteX1" fmla="*/ 436419 w 1537855"/>
                  <a:gd name="connsiteY1" fmla="*/ 0 h 2493819"/>
                  <a:gd name="connsiteX2" fmla="*/ 498764 w 1537855"/>
                  <a:gd name="connsiteY2" fmla="*/ 561110 h 2493819"/>
                  <a:gd name="connsiteX3" fmla="*/ 1059873 w 1537855"/>
                  <a:gd name="connsiteY3" fmla="*/ 145473 h 2493819"/>
                  <a:gd name="connsiteX4" fmla="*/ 561110 w 1537855"/>
                  <a:gd name="connsiteY4" fmla="*/ 748146 h 2493819"/>
                  <a:gd name="connsiteX5" fmla="*/ 519546 w 1537855"/>
                  <a:gd name="connsiteY5" fmla="*/ 955964 h 2493819"/>
                  <a:gd name="connsiteX6" fmla="*/ 955964 w 1537855"/>
                  <a:gd name="connsiteY6" fmla="*/ 768928 h 2493819"/>
                  <a:gd name="connsiteX7" fmla="*/ 474519 w 1537855"/>
                  <a:gd name="connsiteY7" fmla="*/ 1301462 h 2493819"/>
                  <a:gd name="connsiteX8" fmla="*/ 415637 w 1537855"/>
                  <a:gd name="connsiteY8" fmla="*/ 2098964 h 2493819"/>
                  <a:gd name="connsiteX9" fmla="*/ 498764 w 1537855"/>
                  <a:gd name="connsiteY9" fmla="*/ 2348346 h 2493819"/>
                  <a:gd name="connsiteX10" fmla="*/ 1122219 w 1537855"/>
                  <a:gd name="connsiteY10" fmla="*/ 1787237 h 2493819"/>
                  <a:gd name="connsiteX11" fmla="*/ 1537855 w 1537855"/>
                  <a:gd name="connsiteY11" fmla="*/ 1808019 h 2493819"/>
                  <a:gd name="connsiteX12" fmla="*/ 831273 w 1537855"/>
                  <a:gd name="connsiteY12" fmla="*/ 2223655 h 2493819"/>
                  <a:gd name="connsiteX13" fmla="*/ 436419 w 1537855"/>
                  <a:gd name="connsiteY13" fmla="*/ 2493819 h 2493819"/>
                  <a:gd name="connsiteX14" fmla="*/ 0 w 1537855"/>
                  <a:gd name="connsiteY14" fmla="*/ 2410691 h 2493819"/>
                  <a:gd name="connsiteX0" fmla="*/ 0 w 1537855"/>
                  <a:gd name="connsiteY0" fmla="*/ 2410691 h 2493819"/>
                  <a:gd name="connsiteX1" fmla="*/ 436419 w 1537855"/>
                  <a:gd name="connsiteY1" fmla="*/ 0 h 2493819"/>
                  <a:gd name="connsiteX2" fmla="*/ 498764 w 1537855"/>
                  <a:gd name="connsiteY2" fmla="*/ 561110 h 2493819"/>
                  <a:gd name="connsiteX3" fmla="*/ 1059873 w 1537855"/>
                  <a:gd name="connsiteY3" fmla="*/ 145473 h 2493819"/>
                  <a:gd name="connsiteX4" fmla="*/ 561110 w 1537855"/>
                  <a:gd name="connsiteY4" fmla="*/ 748146 h 2493819"/>
                  <a:gd name="connsiteX5" fmla="*/ 519546 w 1537855"/>
                  <a:gd name="connsiteY5" fmla="*/ 955964 h 2493819"/>
                  <a:gd name="connsiteX6" fmla="*/ 955964 w 1537855"/>
                  <a:gd name="connsiteY6" fmla="*/ 768928 h 2493819"/>
                  <a:gd name="connsiteX7" fmla="*/ 474519 w 1537855"/>
                  <a:gd name="connsiteY7" fmla="*/ 1301462 h 2493819"/>
                  <a:gd name="connsiteX8" fmla="*/ 415637 w 1537855"/>
                  <a:gd name="connsiteY8" fmla="*/ 2098964 h 2493819"/>
                  <a:gd name="connsiteX9" fmla="*/ 498764 w 1537855"/>
                  <a:gd name="connsiteY9" fmla="*/ 2348346 h 2493819"/>
                  <a:gd name="connsiteX10" fmla="*/ 1122219 w 1537855"/>
                  <a:gd name="connsiteY10" fmla="*/ 1787237 h 2493819"/>
                  <a:gd name="connsiteX11" fmla="*/ 1537855 w 1537855"/>
                  <a:gd name="connsiteY11" fmla="*/ 1808019 h 2493819"/>
                  <a:gd name="connsiteX12" fmla="*/ 831273 w 1537855"/>
                  <a:gd name="connsiteY12" fmla="*/ 2223655 h 2493819"/>
                  <a:gd name="connsiteX13" fmla="*/ 436419 w 1537855"/>
                  <a:gd name="connsiteY13" fmla="*/ 2493819 h 2493819"/>
                  <a:gd name="connsiteX14" fmla="*/ 0 w 1537855"/>
                  <a:gd name="connsiteY14" fmla="*/ 2410691 h 2493819"/>
                  <a:gd name="connsiteX0" fmla="*/ 0 w 1537855"/>
                  <a:gd name="connsiteY0" fmla="*/ 2410691 h 2493819"/>
                  <a:gd name="connsiteX1" fmla="*/ 436419 w 1537855"/>
                  <a:gd name="connsiteY1" fmla="*/ 0 h 2493819"/>
                  <a:gd name="connsiteX2" fmla="*/ 498764 w 1537855"/>
                  <a:gd name="connsiteY2" fmla="*/ 561110 h 2493819"/>
                  <a:gd name="connsiteX3" fmla="*/ 1059873 w 1537855"/>
                  <a:gd name="connsiteY3" fmla="*/ 145473 h 2493819"/>
                  <a:gd name="connsiteX4" fmla="*/ 561110 w 1537855"/>
                  <a:gd name="connsiteY4" fmla="*/ 748146 h 2493819"/>
                  <a:gd name="connsiteX5" fmla="*/ 519546 w 1537855"/>
                  <a:gd name="connsiteY5" fmla="*/ 955964 h 2493819"/>
                  <a:gd name="connsiteX6" fmla="*/ 955964 w 1537855"/>
                  <a:gd name="connsiteY6" fmla="*/ 768928 h 2493819"/>
                  <a:gd name="connsiteX7" fmla="*/ 474519 w 1537855"/>
                  <a:gd name="connsiteY7" fmla="*/ 1301462 h 2493819"/>
                  <a:gd name="connsiteX8" fmla="*/ 415637 w 1537855"/>
                  <a:gd name="connsiteY8" fmla="*/ 2098964 h 2493819"/>
                  <a:gd name="connsiteX9" fmla="*/ 498764 w 1537855"/>
                  <a:gd name="connsiteY9" fmla="*/ 2348346 h 2493819"/>
                  <a:gd name="connsiteX10" fmla="*/ 1122219 w 1537855"/>
                  <a:gd name="connsiteY10" fmla="*/ 1787237 h 2493819"/>
                  <a:gd name="connsiteX11" fmla="*/ 1537855 w 1537855"/>
                  <a:gd name="connsiteY11" fmla="*/ 1808019 h 2493819"/>
                  <a:gd name="connsiteX12" fmla="*/ 831273 w 1537855"/>
                  <a:gd name="connsiteY12" fmla="*/ 2223655 h 2493819"/>
                  <a:gd name="connsiteX13" fmla="*/ 436419 w 1537855"/>
                  <a:gd name="connsiteY13" fmla="*/ 2493819 h 2493819"/>
                  <a:gd name="connsiteX14" fmla="*/ 0 w 1537855"/>
                  <a:gd name="connsiteY14" fmla="*/ 2410691 h 2493819"/>
                  <a:gd name="connsiteX0" fmla="*/ 0 w 1509280"/>
                  <a:gd name="connsiteY0" fmla="*/ 2439266 h 2493819"/>
                  <a:gd name="connsiteX1" fmla="*/ 407844 w 1509280"/>
                  <a:gd name="connsiteY1" fmla="*/ 0 h 2493819"/>
                  <a:gd name="connsiteX2" fmla="*/ 470189 w 1509280"/>
                  <a:gd name="connsiteY2" fmla="*/ 561110 h 2493819"/>
                  <a:gd name="connsiteX3" fmla="*/ 1031298 w 1509280"/>
                  <a:gd name="connsiteY3" fmla="*/ 145473 h 2493819"/>
                  <a:gd name="connsiteX4" fmla="*/ 532535 w 1509280"/>
                  <a:gd name="connsiteY4" fmla="*/ 748146 h 2493819"/>
                  <a:gd name="connsiteX5" fmla="*/ 490971 w 1509280"/>
                  <a:gd name="connsiteY5" fmla="*/ 955964 h 2493819"/>
                  <a:gd name="connsiteX6" fmla="*/ 927389 w 1509280"/>
                  <a:gd name="connsiteY6" fmla="*/ 768928 h 2493819"/>
                  <a:gd name="connsiteX7" fmla="*/ 445944 w 1509280"/>
                  <a:gd name="connsiteY7" fmla="*/ 1301462 h 2493819"/>
                  <a:gd name="connsiteX8" fmla="*/ 387062 w 1509280"/>
                  <a:gd name="connsiteY8" fmla="*/ 2098964 h 2493819"/>
                  <a:gd name="connsiteX9" fmla="*/ 470189 w 1509280"/>
                  <a:gd name="connsiteY9" fmla="*/ 2348346 h 2493819"/>
                  <a:gd name="connsiteX10" fmla="*/ 1093644 w 1509280"/>
                  <a:gd name="connsiteY10" fmla="*/ 1787237 h 2493819"/>
                  <a:gd name="connsiteX11" fmla="*/ 1509280 w 1509280"/>
                  <a:gd name="connsiteY11" fmla="*/ 1808019 h 2493819"/>
                  <a:gd name="connsiteX12" fmla="*/ 802698 w 1509280"/>
                  <a:gd name="connsiteY12" fmla="*/ 2223655 h 2493819"/>
                  <a:gd name="connsiteX13" fmla="*/ 407844 w 1509280"/>
                  <a:gd name="connsiteY13" fmla="*/ 2493819 h 2493819"/>
                  <a:gd name="connsiteX14" fmla="*/ 0 w 1509280"/>
                  <a:gd name="connsiteY14" fmla="*/ 2439266 h 2493819"/>
                  <a:gd name="connsiteX0" fmla="*/ 0 w 1509280"/>
                  <a:gd name="connsiteY0" fmla="*/ 2439266 h 2493819"/>
                  <a:gd name="connsiteX1" fmla="*/ 407844 w 1509280"/>
                  <a:gd name="connsiteY1" fmla="*/ 0 h 2493819"/>
                  <a:gd name="connsiteX2" fmla="*/ 470189 w 1509280"/>
                  <a:gd name="connsiteY2" fmla="*/ 561110 h 2493819"/>
                  <a:gd name="connsiteX3" fmla="*/ 1031298 w 1509280"/>
                  <a:gd name="connsiteY3" fmla="*/ 145473 h 2493819"/>
                  <a:gd name="connsiteX4" fmla="*/ 532535 w 1509280"/>
                  <a:gd name="connsiteY4" fmla="*/ 748146 h 2493819"/>
                  <a:gd name="connsiteX5" fmla="*/ 490971 w 1509280"/>
                  <a:gd name="connsiteY5" fmla="*/ 955964 h 2493819"/>
                  <a:gd name="connsiteX6" fmla="*/ 927389 w 1509280"/>
                  <a:gd name="connsiteY6" fmla="*/ 768928 h 2493819"/>
                  <a:gd name="connsiteX7" fmla="*/ 445944 w 1509280"/>
                  <a:gd name="connsiteY7" fmla="*/ 1301462 h 2493819"/>
                  <a:gd name="connsiteX8" fmla="*/ 387062 w 1509280"/>
                  <a:gd name="connsiteY8" fmla="*/ 2098964 h 2493819"/>
                  <a:gd name="connsiteX9" fmla="*/ 470189 w 1509280"/>
                  <a:gd name="connsiteY9" fmla="*/ 2348346 h 2493819"/>
                  <a:gd name="connsiteX10" fmla="*/ 1093644 w 1509280"/>
                  <a:gd name="connsiteY10" fmla="*/ 1787237 h 2493819"/>
                  <a:gd name="connsiteX11" fmla="*/ 1509280 w 1509280"/>
                  <a:gd name="connsiteY11" fmla="*/ 1808019 h 2493819"/>
                  <a:gd name="connsiteX12" fmla="*/ 802698 w 1509280"/>
                  <a:gd name="connsiteY12" fmla="*/ 2223655 h 2493819"/>
                  <a:gd name="connsiteX13" fmla="*/ 407844 w 1509280"/>
                  <a:gd name="connsiteY13" fmla="*/ 2493819 h 2493819"/>
                  <a:gd name="connsiteX14" fmla="*/ 0 w 1509280"/>
                  <a:gd name="connsiteY14" fmla="*/ 2439266 h 2493819"/>
                  <a:gd name="connsiteX0" fmla="*/ 0 w 1518805"/>
                  <a:gd name="connsiteY0" fmla="*/ 2391641 h 2493819"/>
                  <a:gd name="connsiteX1" fmla="*/ 417369 w 1518805"/>
                  <a:gd name="connsiteY1" fmla="*/ 0 h 2493819"/>
                  <a:gd name="connsiteX2" fmla="*/ 479714 w 1518805"/>
                  <a:gd name="connsiteY2" fmla="*/ 561110 h 2493819"/>
                  <a:gd name="connsiteX3" fmla="*/ 1040823 w 1518805"/>
                  <a:gd name="connsiteY3" fmla="*/ 145473 h 2493819"/>
                  <a:gd name="connsiteX4" fmla="*/ 542060 w 1518805"/>
                  <a:gd name="connsiteY4" fmla="*/ 748146 h 2493819"/>
                  <a:gd name="connsiteX5" fmla="*/ 500496 w 1518805"/>
                  <a:gd name="connsiteY5" fmla="*/ 955964 h 2493819"/>
                  <a:gd name="connsiteX6" fmla="*/ 936914 w 1518805"/>
                  <a:gd name="connsiteY6" fmla="*/ 768928 h 2493819"/>
                  <a:gd name="connsiteX7" fmla="*/ 455469 w 1518805"/>
                  <a:gd name="connsiteY7" fmla="*/ 1301462 h 2493819"/>
                  <a:gd name="connsiteX8" fmla="*/ 396587 w 1518805"/>
                  <a:gd name="connsiteY8" fmla="*/ 2098964 h 2493819"/>
                  <a:gd name="connsiteX9" fmla="*/ 479714 w 1518805"/>
                  <a:gd name="connsiteY9" fmla="*/ 2348346 h 2493819"/>
                  <a:gd name="connsiteX10" fmla="*/ 1103169 w 1518805"/>
                  <a:gd name="connsiteY10" fmla="*/ 1787237 h 2493819"/>
                  <a:gd name="connsiteX11" fmla="*/ 1518805 w 1518805"/>
                  <a:gd name="connsiteY11" fmla="*/ 1808019 h 2493819"/>
                  <a:gd name="connsiteX12" fmla="*/ 812223 w 1518805"/>
                  <a:gd name="connsiteY12" fmla="*/ 2223655 h 2493819"/>
                  <a:gd name="connsiteX13" fmla="*/ 417369 w 1518805"/>
                  <a:gd name="connsiteY13" fmla="*/ 2493819 h 2493819"/>
                  <a:gd name="connsiteX14" fmla="*/ 0 w 1518805"/>
                  <a:gd name="connsiteY14" fmla="*/ 2391641 h 2493819"/>
                  <a:gd name="connsiteX0" fmla="*/ 0 w 1509280"/>
                  <a:gd name="connsiteY0" fmla="*/ 2429741 h 2493819"/>
                  <a:gd name="connsiteX1" fmla="*/ 407844 w 1509280"/>
                  <a:gd name="connsiteY1" fmla="*/ 0 h 2493819"/>
                  <a:gd name="connsiteX2" fmla="*/ 470189 w 1509280"/>
                  <a:gd name="connsiteY2" fmla="*/ 561110 h 2493819"/>
                  <a:gd name="connsiteX3" fmla="*/ 1031298 w 1509280"/>
                  <a:gd name="connsiteY3" fmla="*/ 145473 h 2493819"/>
                  <a:gd name="connsiteX4" fmla="*/ 532535 w 1509280"/>
                  <a:gd name="connsiteY4" fmla="*/ 748146 h 2493819"/>
                  <a:gd name="connsiteX5" fmla="*/ 490971 w 1509280"/>
                  <a:gd name="connsiteY5" fmla="*/ 955964 h 2493819"/>
                  <a:gd name="connsiteX6" fmla="*/ 927389 w 1509280"/>
                  <a:gd name="connsiteY6" fmla="*/ 768928 h 2493819"/>
                  <a:gd name="connsiteX7" fmla="*/ 445944 w 1509280"/>
                  <a:gd name="connsiteY7" fmla="*/ 1301462 h 2493819"/>
                  <a:gd name="connsiteX8" fmla="*/ 387062 w 1509280"/>
                  <a:gd name="connsiteY8" fmla="*/ 2098964 h 2493819"/>
                  <a:gd name="connsiteX9" fmla="*/ 470189 w 1509280"/>
                  <a:gd name="connsiteY9" fmla="*/ 2348346 h 2493819"/>
                  <a:gd name="connsiteX10" fmla="*/ 1093644 w 1509280"/>
                  <a:gd name="connsiteY10" fmla="*/ 1787237 h 2493819"/>
                  <a:gd name="connsiteX11" fmla="*/ 1509280 w 1509280"/>
                  <a:gd name="connsiteY11" fmla="*/ 1808019 h 2493819"/>
                  <a:gd name="connsiteX12" fmla="*/ 802698 w 1509280"/>
                  <a:gd name="connsiteY12" fmla="*/ 2223655 h 2493819"/>
                  <a:gd name="connsiteX13" fmla="*/ 407844 w 1509280"/>
                  <a:gd name="connsiteY13" fmla="*/ 2493819 h 2493819"/>
                  <a:gd name="connsiteX14" fmla="*/ 0 w 1509280"/>
                  <a:gd name="connsiteY14" fmla="*/ 2429741 h 2493819"/>
                  <a:gd name="connsiteX0" fmla="*/ 0 w 1509280"/>
                  <a:gd name="connsiteY0" fmla="*/ 2429741 h 2493819"/>
                  <a:gd name="connsiteX1" fmla="*/ 407844 w 1509280"/>
                  <a:gd name="connsiteY1" fmla="*/ 0 h 2493819"/>
                  <a:gd name="connsiteX2" fmla="*/ 470189 w 1509280"/>
                  <a:gd name="connsiteY2" fmla="*/ 561110 h 2493819"/>
                  <a:gd name="connsiteX3" fmla="*/ 1031298 w 1509280"/>
                  <a:gd name="connsiteY3" fmla="*/ 145473 h 2493819"/>
                  <a:gd name="connsiteX4" fmla="*/ 532535 w 1509280"/>
                  <a:gd name="connsiteY4" fmla="*/ 748146 h 2493819"/>
                  <a:gd name="connsiteX5" fmla="*/ 490971 w 1509280"/>
                  <a:gd name="connsiteY5" fmla="*/ 955964 h 2493819"/>
                  <a:gd name="connsiteX6" fmla="*/ 927389 w 1509280"/>
                  <a:gd name="connsiteY6" fmla="*/ 768928 h 2493819"/>
                  <a:gd name="connsiteX7" fmla="*/ 445944 w 1509280"/>
                  <a:gd name="connsiteY7" fmla="*/ 1301462 h 2493819"/>
                  <a:gd name="connsiteX8" fmla="*/ 387062 w 1509280"/>
                  <a:gd name="connsiteY8" fmla="*/ 2098964 h 2493819"/>
                  <a:gd name="connsiteX9" fmla="*/ 470189 w 1509280"/>
                  <a:gd name="connsiteY9" fmla="*/ 2348346 h 2493819"/>
                  <a:gd name="connsiteX10" fmla="*/ 1093644 w 1509280"/>
                  <a:gd name="connsiteY10" fmla="*/ 1787237 h 2493819"/>
                  <a:gd name="connsiteX11" fmla="*/ 1509280 w 1509280"/>
                  <a:gd name="connsiteY11" fmla="*/ 1808019 h 2493819"/>
                  <a:gd name="connsiteX12" fmla="*/ 802698 w 1509280"/>
                  <a:gd name="connsiteY12" fmla="*/ 2223655 h 2493819"/>
                  <a:gd name="connsiteX13" fmla="*/ 407844 w 1509280"/>
                  <a:gd name="connsiteY13" fmla="*/ 2493819 h 2493819"/>
                  <a:gd name="connsiteX14" fmla="*/ 0 w 1509280"/>
                  <a:gd name="connsiteY14" fmla="*/ 2429741 h 2493819"/>
                  <a:gd name="connsiteX0" fmla="*/ 0 w 1509280"/>
                  <a:gd name="connsiteY0" fmla="*/ 2429741 h 2493819"/>
                  <a:gd name="connsiteX1" fmla="*/ 407844 w 1509280"/>
                  <a:gd name="connsiteY1" fmla="*/ 0 h 2493819"/>
                  <a:gd name="connsiteX2" fmla="*/ 470189 w 1509280"/>
                  <a:gd name="connsiteY2" fmla="*/ 561110 h 2493819"/>
                  <a:gd name="connsiteX3" fmla="*/ 1031298 w 1509280"/>
                  <a:gd name="connsiteY3" fmla="*/ 145473 h 2493819"/>
                  <a:gd name="connsiteX4" fmla="*/ 532535 w 1509280"/>
                  <a:gd name="connsiteY4" fmla="*/ 748146 h 2493819"/>
                  <a:gd name="connsiteX5" fmla="*/ 490971 w 1509280"/>
                  <a:gd name="connsiteY5" fmla="*/ 955964 h 2493819"/>
                  <a:gd name="connsiteX6" fmla="*/ 927389 w 1509280"/>
                  <a:gd name="connsiteY6" fmla="*/ 768928 h 2493819"/>
                  <a:gd name="connsiteX7" fmla="*/ 445944 w 1509280"/>
                  <a:gd name="connsiteY7" fmla="*/ 1301462 h 2493819"/>
                  <a:gd name="connsiteX8" fmla="*/ 387062 w 1509280"/>
                  <a:gd name="connsiteY8" fmla="*/ 2098964 h 2493819"/>
                  <a:gd name="connsiteX9" fmla="*/ 470189 w 1509280"/>
                  <a:gd name="connsiteY9" fmla="*/ 2348346 h 2493819"/>
                  <a:gd name="connsiteX10" fmla="*/ 1093644 w 1509280"/>
                  <a:gd name="connsiteY10" fmla="*/ 1787237 h 2493819"/>
                  <a:gd name="connsiteX11" fmla="*/ 1509280 w 1509280"/>
                  <a:gd name="connsiteY11" fmla="*/ 1808019 h 2493819"/>
                  <a:gd name="connsiteX12" fmla="*/ 802698 w 1509280"/>
                  <a:gd name="connsiteY12" fmla="*/ 2223655 h 2493819"/>
                  <a:gd name="connsiteX13" fmla="*/ 407844 w 1509280"/>
                  <a:gd name="connsiteY13" fmla="*/ 2493819 h 2493819"/>
                  <a:gd name="connsiteX14" fmla="*/ 0 w 1509280"/>
                  <a:gd name="connsiteY14" fmla="*/ 2429741 h 2493819"/>
                  <a:gd name="connsiteX0" fmla="*/ 0 w 1509280"/>
                  <a:gd name="connsiteY0" fmla="*/ 2429741 h 2493819"/>
                  <a:gd name="connsiteX1" fmla="*/ 407844 w 1509280"/>
                  <a:gd name="connsiteY1" fmla="*/ 0 h 2493819"/>
                  <a:gd name="connsiteX2" fmla="*/ 470189 w 1509280"/>
                  <a:gd name="connsiteY2" fmla="*/ 561110 h 2493819"/>
                  <a:gd name="connsiteX3" fmla="*/ 1031298 w 1509280"/>
                  <a:gd name="connsiteY3" fmla="*/ 145473 h 2493819"/>
                  <a:gd name="connsiteX4" fmla="*/ 532535 w 1509280"/>
                  <a:gd name="connsiteY4" fmla="*/ 748146 h 2493819"/>
                  <a:gd name="connsiteX5" fmla="*/ 490971 w 1509280"/>
                  <a:gd name="connsiteY5" fmla="*/ 955964 h 2493819"/>
                  <a:gd name="connsiteX6" fmla="*/ 927389 w 1509280"/>
                  <a:gd name="connsiteY6" fmla="*/ 768928 h 2493819"/>
                  <a:gd name="connsiteX7" fmla="*/ 445944 w 1509280"/>
                  <a:gd name="connsiteY7" fmla="*/ 1301462 h 2493819"/>
                  <a:gd name="connsiteX8" fmla="*/ 387062 w 1509280"/>
                  <a:gd name="connsiteY8" fmla="*/ 2098964 h 2493819"/>
                  <a:gd name="connsiteX9" fmla="*/ 470189 w 1509280"/>
                  <a:gd name="connsiteY9" fmla="*/ 2348346 h 2493819"/>
                  <a:gd name="connsiteX10" fmla="*/ 1093644 w 1509280"/>
                  <a:gd name="connsiteY10" fmla="*/ 1787237 h 2493819"/>
                  <a:gd name="connsiteX11" fmla="*/ 1509280 w 1509280"/>
                  <a:gd name="connsiteY11" fmla="*/ 1808019 h 2493819"/>
                  <a:gd name="connsiteX12" fmla="*/ 802698 w 1509280"/>
                  <a:gd name="connsiteY12" fmla="*/ 2223655 h 2493819"/>
                  <a:gd name="connsiteX13" fmla="*/ 407844 w 1509280"/>
                  <a:gd name="connsiteY13" fmla="*/ 2493819 h 2493819"/>
                  <a:gd name="connsiteX14" fmla="*/ 0 w 1509280"/>
                  <a:gd name="connsiteY14" fmla="*/ 2429741 h 2493819"/>
                  <a:gd name="connsiteX0" fmla="*/ 0 w 1509280"/>
                  <a:gd name="connsiteY0" fmla="*/ 2429741 h 2493819"/>
                  <a:gd name="connsiteX1" fmla="*/ 407844 w 1509280"/>
                  <a:gd name="connsiteY1" fmla="*/ 0 h 2493819"/>
                  <a:gd name="connsiteX2" fmla="*/ 470189 w 1509280"/>
                  <a:gd name="connsiteY2" fmla="*/ 561110 h 2493819"/>
                  <a:gd name="connsiteX3" fmla="*/ 1031298 w 1509280"/>
                  <a:gd name="connsiteY3" fmla="*/ 145473 h 2493819"/>
                  <a:gd name="connsiteX4" fmla="*/ 532535 w 1509280"/>
                  <a:gd name="connsiteY4" fmla="*/ 748146 h 2493819"/>
                  <a:gd name="connsiteX5" fmla="*/ 490971 w 1509280"/>
                  <a:gd name="connsiteY5" fmla="*/ 955964 h 2493819"/>
                  <a:gd name="connsiteX6" fmla="*/ 927389 w 1509280"/>
                  <a:gd name="connsiteY6" fmla="*/ 768928 h 2493819"/>
                  <a:gd name="connsiteX7" fmla="*/ 445944 w 1509280"/>
                  <a:gd name="connsiteY7" fmla="*/ 1301462 h 2493819"/>
                  <a:gd name="connsiteX8" fmla="*/ 387062 w 1509280"/>
                  <a:gd name="connsiteY8" fmla="*/ 2098964 h 2493819"/>
                  <a:gd name="connsiteX9" fmla="*/ 470189 w 1509280"/>
                  <a:gd name="connsiteY9" fmla="*/ 2348346 h 2493819"/>
                  <a:gd name="connsiteX10" fmla="*/ 1093644 w 1509280"/>
                  <a:gd name="connsiteY10" fmla="*/ 1787237 h 2493819"/>
                  <a:gd name="connsiteX11" fmla="*/ 1509280 w 1509280"/>
                  <a:gd name="connsiteY11" fmla="*/ 1808019 h 2493819"/>
                  <a:gd name="connsiteX12" fmla="*/ 802698 w 1509280"/>
                  <a:gd name="connsiteY12" fmla="*/ 2223655 h 2493819"/>
                  <a:gd name="connsiteX13" fmla="*/ 407844 w 1509280"/>
                  <a:gd name="connsiteY13" fmla="*/ 2493819 h 2493819"/>
                  <a:gd name="connsiteX14" fmla="*/ 0 w 1509280"/>
                  <a:gd name="connsiteY14" fmla="*/ 2429741 h 2493819"/>
                  <a:gd name="connsiteX0" fmla="*/ 0 w 1509280"/>
                  <a:gd name="connsiteY0" fmla="*/ 2429741 h 2493819"/>
                  <a:gd name="connsiteX1" fmla="*/ 407844 w 1509280"/>
                  <a:gd name="connsiteY1" fmla="*/ 0 h 2493819"/>
                  <a:gd name="connsiteX2" fmla="*/ 470189 w 1509280"/>
                  <a:gd name="connsiteY2" fmla="*/ 561110 h 2493819"/>
                  <a:gd name="connsiteX3" fmla="*/ 1031298 w 1509280"/>
                  <a:gd name="connsiteY3" fmla="*/ 145473 h 2493819"/>
                  <a:gd name="connsiteX4" fmla="*/ 532535 w 1509280"/>
                  <a:gd name="connsiteY4" fmla="*/ 748146 h 2493819"/>
                  <a:gd name="connsiteX5" fmla="*/ 490971 w 1509280"/>
                  <a:gd name="connsiteY5" fmla="*/ 955964 h 2493819"/>
                  <a:gd name="connsiteX6" fmla="*/ 927389 w 1509280"/>
                  <a:gd name="connsiteY6" fmla="*/ 768928 h 2493819"/>
                  <a:gd name="connsiteX7" fmla="*/ 445944 w 1509280"/>
                  <a:gd name="connsiteY7" fmla="*/ 1301462 h 2493819"/>
                  <a:gd name="connsiteX8" fmla="*/ 387062 w 1509280"/>
                  <a:gd name="connsiteY8" fmla="*/ 2098964 h 2493819"/>
                  <a:gd name="connsiteX9" fmla="*/ 470189 w 1509280"/>
                  <a:gd name="connsiteY9" fmla="*/ 2348346 h 2493819"/>
                  <a:gd name="connsiteX10" fmla="*/ 1093644 w 1509280"/>
                  <a:gd name="connsiteY10" fmla="*/ 1787237 h 2493819"/>
                  <a:gd name="connsiteX11" fmla="*/ 1509280 w 1509280"/>
                  <a:gd name="connsiteY11" fmla="*/ 1808019 h 2493819"/>
                  <a:gd name="connsiteX12" fmla="*/ 802698 w 1509280"/>
                  <a:gd name="connsiteY12" fmla="*/ 2223655 h 2493819"/>
                  <a:gd name="connsiteX13" fmla="*/ 407844 w 1509280"/>
                  <a:gd name="connsiteY13" fmla="*/ 2493819 h 2493819"/>
                  <a:gd name="connsiteX14" fmla="*/ 0 w 1509280"/>
                  <a:gd name="connsiteY14" fmla="*/ 2429741 h 2493819"/>
                  <a:gd name="connsiteX0" fmla="*/ 0 w 1509280"/>
                  <a:gd name="connsiteY0" fmla="*/ 2429741 h 2493819"/>
                  <a:gd name="connsiteX1" fmla="*/ 407844 w 1509280"/>
                  <a:gd name="connsiteY1" fmla="*/ 0 h 2493819"/>
                  <a:gd name="connsiteX2" fmla="*/ 470189 w 1509280"/>
                  <a:gd name="connsiteY2" fmla="*/ 561110 h 2493819"/>
                  <a:gd name="connsiteX3" fmla="*/ 1031298 w 1509280"/>
                  <a:gd name="connsiteY3" fmla="*/ 145473 h 2493819"/>
                  <a:gd name="connsiteX4" fmla="*/ 532535 w 1509280"/>
                  <a:gd name="connsiteY4" fmla="*/ 748146 h 2493819"/>
                  <a:gd name="connsiteX5" fmla="*/ 490971 w 1509280"/>
                  <a:gd name="connsiteY5" fmla="*/ 955964 h 2493819"/>
                  <a:gd name="connsiteX6" fmla="*/ 927389 w 1509280"/>
                  <a:gd name="connsiteY6" fmla="*/ 768928 h 2493819"/>
                  <a:gd name="connsiteX7" fmla="*/ 445944 w 1509280"/>
                  <a:gd name="connsiteY7" fmla="*/ 1301462 h 2493819"/>
                  <a:gd name="connsiteX8" fmla="*/ 387062 w 1509280"/>
                  <a:gd name="connsiteY8" fmla="*/ 2098964 h 2493819"/>
                  <a:gd name="connsiteX9" fmla="*/ 470189 w 1509280"/>
                  <a:gd name="connsiteY9" fmla="*/ 2348346 h 2493819"/>
                  <a:gd name="connsiteX10" fmla="*/ 1093644 w 1509280"/>
                  <a:gd name="connsiteY10" fmla="*/ 1787237 h 2493819"/>
                  <a:gd name="connsiteX11" fmla="*/ 1509280 w 1509280"/>
                  <a:gd name="connsiteY11" fmla="*/ 1808019 h 2493819"/>
                  <a:gd name="connsiteX12" fmla="*/ 802698 w 1509280"/>
                  <a:gd name="connsiteY12" fmla="*/ 2223655 h 2493819"/>
                  <a:gd name="connsiteX13" fmla="*/ 407844 w 1509280"/>
                  <a:gd name="connsiteY13" fmla="*/ 2493819 h 2493819"/>
                  <a:gd name="connsiteX14" fmla="*/ 0 w 1509280"/>
                  <a:gd name="connsiteY14" fmla="*/ 2429741 h 2493819"/>
                  <a:gd name="connsiteX0" fmla="*/ 0 w 1509280"/>
                  <a:gd name="connsiteY0" fmla="*/ 2429741 h 2493819"/>
                  <a:gd name="connsiteX1" fmla="*/ 407844 w 1509280"/>
                  <a:gd name="connsiteY1" fmla="*/ 0 h 2493819"/>
                  <a:gd name="connsiteX2" fmla="*/ 470189 w 1509280"/>
                  <a:gd name="connsiteY2" fmla="*/ 561110 h 2493819"/>
                  <a:gd name="connsiteX3" fmla="*/ 1031298 w 1509280"/>
                  <a:gd name="connsiteY3" fmla="*/ 145473 h 2493819"/>
                  <a:gd name="connsiteX4" fmla="*/ 532535 w 1509280"/>
                  <a:gd name="connsiteY4" fmla="*/ 748146 h 2493819"/>
                  <a:gd name="connsiteX5" fmla="*/ 490971 w 1509280"/>
                  <a:gd name="connsiteY5" fmla="*/ 955964 h 2493819"/>
                  <a:gd name="connsiteX6" fmla="*/ 927389 w 1509280"/>
                  <a:gd name="connsiteY6" fmla="*/ 768928 h 2493819"/>
                  <a:gd name="connsiteX7" fmla="*/ 445944 w 1509280"/>
                  <a:gd name="connsiteY7" fmla="*/ 1301462 h 2493819"/>
                  <a:gd name="connsiteX8" fmla="*/ 387062 w 1509280"/>
                  <a:gd name="connsiteY8" fmla="*/ 2098964 h 2493819"/>
                  <a:gd name="connsiteX9" fmla="*/ 470189 w 1509280"/>
                  <a:gd name="connsiteY9" fmla="*/ 2348346 h 2493819"/>
                  <a:gd name="connsiteX10" fmla="*/ 1093644 w 1509280"/>
                  <a:gd name="connsiteY10" fmla="*/ 1787237 h 2493819"/>
                  <a:gd name="connsiteX11" fmla="*/ 1509280 w 1509280"/>
                  <a:gd name="connsiteY11" fmla="*/ 1808019 h 2493819"/>
                  <a:gd name="connsiteX12" fmla="*/ 802698 w 1509280"/>
                  <a:gd name="connsiteY12" fmla="*/ 2223655 h 2493819"/>
                  <a:gd name="connsiteX13" fmla="*/ 407844 w 1509280"/>
                  <a:gd name="connsiteY13" fmla="*/ 2493819 h 2493819"/>
                  <a:gd name="connsiteX14" fmla="*/ 0 w 1509280"/>
                  <a:gd name="connsiteY14" fmla="*/ 2429741 h 2493819"/>
                  <a:gd name="connsiteX0" fmla="*/ 0 w 1509280"/>
                  <a:gd name="connsiteY0" fmla="*/ 2429741 h 2493819"/>
                  <a:gd name="connsiteX1" fmla="*/ 407844 w 1509280"/>
                  <a:gd name="connsiteY1" fmla="*/ 0 h 2493819"/>
                  <a:gd name="connsiteX2" fmla="*/ 470189 w 1509280"/>
                  <a:gd name="connsiteY2" fmla="*/ 561110 h 2493819"/>
                  <a:gd name="connsiteX3" fmla="*/ 1031298 w 1509280"/>
                  <a:gd name="connsiteY3" fmla="*/ 145473 h 2493819"/>
                  <a:gd name="connsiteX4" fmla="*/ 532535 w 1509280"/>
                  <a:gd name="connsiteY4" fmla="*/ 748146 h 2493819"/>
                  <a:gd name="connsiteX5" fmla="*/ 490971 w 1509280"/>
                  <a:gd name="connsiteY5" fmla="*/ 955964 h 2493819"/>
                  <a:gd name="connsiteX6" fmla="*/ 927389 w 1509280"/>
                  <a:gd name="connsiteY6" fmla="*/ 768928 h 2493819"/>
                  <a:gd name="connsiteX7" fmla="*/ 445944 w 1509280"/>
                  <a:gd name="connsiteY7" fmla="*/ 1301462 h 2493819"/>
                  <a:gd name="connsiteX8" fmla="*/ 387062 w 1509280"/>
                  <a:gd name="connsiteY8" fmla="*/ 2098964 h 2493819"/>
                  <a:gd name="connsiteX9" fmla="*/ 470189 w 1509280"/>
                  <a:gd name="connsiteY9" fmla="*/ 2348346 h 2493819"/>
                  <a:gd name="connsiteX10" fmla="*/ 1093644 w 1509280"/>
                  <a:gd name="connsiteY10" fmla="*/ 1787237 h 2493819"/>
                  <a:gd name="connsiteX11" fmla="*/ 1509280 w 1509280"/>
                  <a:gd name="connsiteY11" fmla="*/ 1808019 h 2493819"/>
                  <a:gd name="connsiteX12" fmla="*/ 802698 w 1509280"/>
                  <a:gd name="connsiteY12" fmla="*/ 2223655 h 2493819"/>
                  <a:gd name="connsiteX13" fmla="*/ 407844 w 1509280"/>
                  <a:gd name="connsiteY13" fmla="*/ 2493819 h 2493819"/>
                  <a:gd name="connsiteX14" fmla="*/ 0 w 1509280"/>
                  <a:gd name="connsiteY14" fmla="*/ 2429741 h 2493819"/>
                  <a:gd name="connsiteX0" fmla="*/ 0 w 1509280"/>
                  <a:gd name="connsiteY0" fmla="*/ 2429741 h 2493819"/>
                  <a:gd name="connsiteX1" fmla="*/ 407844 w 1509280"/>
                  <a:gd name="connsiteY1" fmla="*/ 0 h 2493819"/>
                  <a:gd name="connsiteX2" fmla="*/ 470189 w 1509280"/>
                  <a:gd name="connsiteY2" fmla="*/ 561110 h 2493819"/>
                  <a:gd name="connsiteX3" fmla="*/ 1031298 w 1509280"/>
                  <a:gd name="connsiteY3" fmla="*/ 145473 h 2493819"/>
                  <a:gd name="connsiteX4" fmla="*/ 532535 w 1509280"/>
                  <a:gd name="connsiteY4" fmla="*/ 748146 h 2493819"/>
                  <a:gd name="connsiteX5" fmla="*/ 490971 w 1509280"/>
                  <a:gd name="connsiteY5" fmla="*/ 955964 h 2493819"/>
                  <a:gd name="connsiteX6" fmla="*/ 927389 w 1509280"/>
                  <a:gd name="connsiteY6" fmla="*/ 768928 h 2493819"/>
                  <a:gd name="connsiteX7" fmla="*/ 445944 w 1509280"/>
                  <a:gd name="connsiteY7" fmla="*/ 1301462 h 2493819"/>
                  <a:gd name="connsiteX8" fmla="*/ 387062 w 1509280"/>
                  <a:gd name="connsiteY8" fmla="*/ 2098964 h 2493819"/>
                  <a:gd name="connsiteX9" fmla="*/ 470189 w 1509280"/>
                  <a:gd name="connsiteY9" fmla="*/ 2348346 h 2493819"/>
                  <a:gd name="connsiteX10" fmla="*/ 1093644 w 1509280"/>
                  <a:gd name="connsiteY10" fmla="*/ 1787237 h 2493819"/>
                  <a:gd name="connsiteX11" fmla="*/ 1509280 w 1509280"/>
                  <a:gd name="connsiteY11" fmla="*/ 1808019 h 2493819"/>
                  <a:gd name="connsiteX12" fmla="*/ 802698 w 1509280"/>
                  <a:gd name="connsiteY12" fmla="*/ 2223655 h 2493819"/>
                  <a:gd name="connsiteX13" fmla="*/ 407844 w 1509280"/>
                  <a:gd name="connsiteY13" fmla="*/ 2493819 h 2493819"/>
                  <a:gd name="connsiteX14" fmla="*/ 0 w 1509280"/>
                  <a:gd name="connsiteY14" fmla="*/ 2429741 h 2493819"/>
                  <a:gd name="connsiteX0" fmla="*/ 0 w 1509280"/>
                  <a:gd name="connsiteY0" fmla="*/ 2452254 h 2516332"/>
                  <a:gd name="connsiteX1" fmla="*/ 407844 w 1509280"/>
                  <a:gd name="connsiteY1" fmla="*/ 22513 h 2516332"/>
                  <a:gd name="connsiteX2" fmla="*/ 470189 w 1509280"/>
                  <a:gd name="connsiteY2" fmla="*/ 583623 h 2516332"/>
                  <a:gd name="connsiteX3" fmla="*/ 1031298 w 1509280"/>
                  <a:gd name="connsiteY3" fmla="*/ 167986 h 2516332"/>
                  <a:gd name="connsiteX4" fmla="*/ 532535 w 1509280"/>
                  <a:gd name="connsiteY4" fmla="*/ 770659 h 2516332"/>
                  <a:gd name="connsiteX5" fmla="*/ 490971 w 1509280"/>
                  <a:gd name="connsiteY5" fmla="*/ 978477 h 2516332"/>
                  <a:gd name="connsiteX6" fmla="*/ 927389 w 1509280"/>
                  <a:gd name="connsiteY6" fmla="*/ 791441 h 2516332"/>
                  <a:gd name="connsiteX7" fmla="*/ 445944 w 1509280"/>
                  <a:gd name="connsiteY7" fmla="*/ 1323975 h 2516332"/>
                  <a:gd name="connsiteX8" fmla="*/ 387062 w 1509280"/>
                  <a:gd name="connsiteY8" fmla="*/ 2121477 h 2516332"/>
                  <a:gd name="connsiteX9" fmla="*/ 470189 w 1509280"/>
                  <a:gd name="connsiteY9" fmla="*/ 2370859 h 2516332"/>
                  <a:gd name="connsiteX10" fmla="*/ 1093644 w 1509280"/>
                  <a:gd name="connsiteY10" fmla="*/ 1809750 h 2516332"/>
                  <a:gd name="connsiteX11" fmla="*/ 1509280 w 1509280"/>
                  <a:gd name="connsiteY11" fmla="*/ 1830532 h 2516332"/>
                  <a:gd name="connsiteX12" fmla="*/ 802698 w 1509280"/>
                  <a:gd name="connsiteY12" fmla="*/ 2246168 h 2516332"/>
                  <a:gd name="connsiteX13" fmla="*/ 407844 w 1509280"/>
                  <a:gd name="connsiteY13" fmla="*/ 2516332 h 2516332"/>
                  <a:gd name="connsiteX14" fmla="*/ 0 w 1509280"/>
                  <a:gd name="connsiteY14" fmla="*/ 2452254 h 2516332"/>
                  <a:gd name="connsiteX0" fmla="*/ 0 w 1509280"/>
                  <a:gd name="connsiteY0" fmla="*/ 2452254 h 2516332"/>
                  <a:gd name="connsiteX1" fmla="*/ 407844 w 1509280"/>
                  <a:gd name="connsiteY1" fmla="*/ 22513 h 2516332"/>
                  <a:gd name="connsiteX2" fmla="*/ 470189 w 1509280"/>
                  <a:gd name="connsiteY2" fmla="*/ 583623 h 2516332"/>
                  <a:gd name="connsiteX3" fmla="*/ 1031298 w 1509280"/>
                  <a:gd name="connsiteY3" fmla="*/ 167986 h 2516332"/>
                  <a:gd name="connsiteX4" fmla="*/ 532535 w 1509280"/>
                  <a:gd name="connsiteY4" fmla="*/ 770659 h 2516332"/>
                  <a:gd name="connsiteX5" fmla="*/ 490971 w 1509280"/>
                  <a:gd name="connsiteY5" fmla="*/ 978477 h 2516332"/>
                  <a:gd name="connsiteX6" fmla="*/ 927389 w 1509280"/>
                  <a:gd name="connsiteY6" fmla="*/ 791441 h 2516332"/>
                  <a:gd name="connsiteX7" fmla="*/ 445944 w 1509280"/>
                  <a:gd name="connsiteY7" fmla="*/ 1323975 h 2516332"/>
                  <a:gd name="connsiteX8" fmla="*/ 387062 w 1509280"/>
                  <a:gd name="connsiteY8" fmla="*/ 2121477 h 2516332"/>
                  <a:gd name="connsiteX9" fmla="*/ 470189 w 1509280"/>
                  <a:gd name="connsiteY9" fmla="*/ 2370859 h 2516332"/>
                  <a:gd name="connsiteX10" fmla="*/ 1093644 w 1509280"/>
                  <a:gd name="connsiteY10" fmla="*/ 1809750 h 2516332"/>
                  <a:gd name="connsiteX11" fmla="*/ 1509280 w 1509280"/>
                  <a:gd name="connsiteY11" fmla="*/ 1830532 h 2516332"/>
                  <a:gd name="connsiteX12" fmla="*/ 802698 w 1509280"/>
                  <a:gd name="connsiteY12" fmla="*/ 2246168 h 2516332"/>
                  <a:gd name="connsiteX13" fmla="*/ 407844 w 1509280"/>
                  <a:gd name="connsiteY13" fmla="*/ 2516332 h 2516332"/>
                  <a:gd name="connsiteX14" fmla="*/ 0 w 1509280"/>
                  <a:gd name="connsiteY14" fmla="*/ 2452254 h 2516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09280" h="2516332">
                    <a:moveTo>
                      <a:pt x="0" y="2452254"/>
                    </a:moveTo>
                    <a:cubicBezTo>
                      <a:pt x="259773" y="1934440"/>
                      <a:pt x="367146" y="749877"/>
                      <a:pt x="407844" y="22513"/>
                    </a:cubicBezTo>
                    <a:cubicBezTo>
                      <a:pt x="495301" y="0"/>
                      <a:pt x="449407" y="396586"/>
                      <a:pt x="470189" y="583623"/>
                    </a:cubicBezTo>
                    <a:cubicBezTo>
                      <a:pt x="657225" y="445077"/>
                      <a:pt x="949037" y="30307"/>
                      <a:pt x="1031298" y="167986"/>
                    </a:cubicBezTo>
                    <a:cubicBezTo>
                      <a:pt x="798369" y="330777"/>
                      <a:pt x="698789" y="569768"/>
                      <a:pt x="532535" y="770659"/>
                    </a:cubicBezTo>
                    <a:cubicBezTo>
                      <a:pt x="471055" y="887557"/>
                      <a:pt x="447676" y="899679"/>
                      <a:pt x="490971" y="978477"/>
                    </a:cubicBezTo>
                    <a:cubicBezTo>
                      <a:pt x="636444" y="916132"/>
                      <a:pt x="924791" y="672811"/>
                      <a:pt x="927389" y="791441"/>
                    </a:cubicBezTo>
                    <a:cubicBezTo>
                      <a:pt x="916132" y="930852"/>
                      <a:pt x="514351" y="1051214"/>
                      <a:pt x="445944" y="1323975"/>
                    </a:cubicBezTo>
                    <a:cubicBezTo>
                      <a:pt x="410442" y="1589809"/>
                      <a:pt x="393989" y="1865168"/>
                      <a:pt x="387062" y="2121477"/>
                    </a:cubicBezTo>
                    <a:cubicBezTo>
                      <a:pt x="414771" y="2204604"/>
                      <a:pt x="385330" y="2306782"/>
                      <a:pt x="470189" y="2370859"/>
                    </a:cubicBezTo>
                    <a:cubicBezTo>
                      <a:pt x="658957" y="2307648"/>
                      <a:pt x="819151" y="1987261"/>
                      <a:pt x="1093644" y="1809750"/>
                    </a:cubicBezTo>
                    <a:cubicBezTo>
                      <a:pt x="1356014" y="1702377"/>
                      <a:pt x="1485035" y="1737880"/>
                      <a:pt x="1509280" y="1830532"/>
                    </a:cubicBezTo>
                    <a:cubicBezTo>
                      <a:pt x="1435678" y="1978602"/>
                      <a:pt x="1038225" y="2107623"/>
                      <a:pt x="802698" y="2246168"/>
                    </a:cubicBezTo>
                    <a:cubicBezTo>
                      <a:pt x="632980" y="2336223"/>
                      <a:pt x="539462" y="2426277"/>
                      <a:pt x="407844" y="2516332"/>
                    </a:cubicBezTo>
                    <a:cubicBezTo>
                      <a:pt x="252846" y="2374323"/>
                      <a:pt x="145473" y="2479963"/>
                      <a:pt x="0" y="245225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98" name="Freeform 297"/>
              <p:cNvSpPr/>
              <p:nvPr/>
            </p:nvSpPr>
            <p:spPr>
              <a:xfrm rot="21114987" flipH="1">
                <a:off x="7015982" y="2546090"/>
                <a:ext cx="150302" cy="349405"/>
              </a:xfrm>
              <a:custGeom>
                <a:avLst/>
                <a:gdLst>
                  <a:gd name="connsiteX0" fmla="*/ 58737 w 954087"/>
                  <a:gd name="connsiteY0" fmla="*/ 746125 h 2005012"/>
                  <a:gd name="connsiteX1" fmla="*/ 173037 w 954087"/>
                  <a:gd name="connsiteY1" fmla="*/ 765175 h 2005012"/>
                  <a:gd name="connsiteX2" fmla="*/ 277812 w 954087"/>
                  <a:gd name="connsiteY2" fmla="*/ 612775 h 2005012"/>
                  <a:gd name="connsiteX3" fmla="*/ 515937 w 954087"/>
                  <a:gd name="connsiteY3" fmla="*/ 79375 h 2005012"/>
                  <a:gd name="connsiteX4" fmla="*/ 544512 w 954087"/>
                  <a:gd name="connsiteY4" fmla="*/ 136525 h 2005012"/>
                  <a:gd name="connsiteX5" fmla="*/ 611187 w 954087"/>
                  <a:gd name="connsiteY5" fmla="*/ 374650 h 2005012"/>
                  <a:gd name="connsiteX6" fmla="*/ 649287 w 954087"/>
                  <a:gd name="connsiteY6" fmla="*/ 984250 h 2005012"/>
                  <a:gd name="connsiteX7" fmla="*/ 696912 w 954087"/>
                  <a:gd name="connsiteY7" fmla="*/ 1050925 h 2005012"/>
                  <a:gd name="connsiteX8" fmla="*/ 868362 w 954087"/>
                  <a:gd name="connsiteY8" fmla="*/ 1108075 h 2005012"/>
                  <a:gd name="connsiteX9" fmla="*/ 858837 w 954087"/>
                  <a:gd name="connsiteY9" fmla="*/ 1450975 h 2005012"/>
                  <a:gd name="connsiteX10" fmla="*/ 954087 w 954087"/>
                  <a:gd name="connsiteY10" fmla="*/ 1946275 h 2005012"/>
                  <a:gd name="connsiteX11" fmla="*/ 858837 w 954087"/>
                  <a:gd name="connsiteY11" fmla="*/ 1803400 h 2005012"/>
                  <a:gd name="connsiteX12" fmla="*/ 525462 w 954087"/>
                  <a:gd name="connsiteY12" fmla="*/ 1365250 h 2005012"/>
                  <a:gd name="connsiteX13" fmla="*/ 58737 w 954087"/>
                  <a:gd name="connsiteY13" fmla="*/ 746125 h 2005012"/>
                  <a:gd name="connsiteX0" fmla="*/ 58737 w 1009650"/>
                  <a:gd name="connsiteY0" fmla="*/ 746125 h 1960563"/>
                  <a:gd name="connsiteX1" fmla="*/ 173037 w 1009650"/>
                  <a:gd name="connsiteY1" fmla="*/ 765175 h 1960563"/>
                  <a:gd name="connsiteX2" fmla="*/ 277812 w 1009650"/>
                  <a:gd name="connsiteY2" fmla="*/ 612775 h 1960563"/>
                  <a:gd name="connsiteX3" fmla="*/ 515937 w 1009650"/>
                  <a:gd name="connsiteY3" fmla="*/ 79375 h 1960563"/>
                  <a:gd name="connsiteX4" fmla="*/ 544512 w 1009650"/>
                  <a:gd name="connsiteY4" fmla="*/ 136525 h 1960563"/>
                  <a:gd name="connsiteX5" fmla="*/ 611187 w 1009650"/>
                  <a:gd name="connsiteY5" fmla="*/ 374650 h 1960563"/>
                  <a:gd name="connsiteX6" fmla="*/ 649287 w 1009650"/>
                  <a:gd name="connsiteY6" fmla="*/ 984250 h 1960563"/>
                  <a:gd name="connsiteX7" fmla="*/ 696912 w 1009650"/>
                  <a:gd name="connsiteY7" fmla="*/ 1050925 h 1960563"/>
                  <a:gd name="connsiteX8" fmla="*/ 868362 w 1009650"/>
                  <a:gd name="connsiteY8" fmla="*/ 1108075 h 1960563"/>
                  <a:gd name="connsiteX9" fmla="*/ 858837 w 1009650"/>
                  <a:gd name="connsiteY9" fmla="*/ 1450975 h 1960563"/>
                  <a:gd name="connsiteX10" fmla="*/ 954087 w 1009650"/>
                  <a:gd name="connsiteY10" fmla="*/ 1946275 h 1960563"/>
                  <a:gd name="connsiteX11" fmla="*/ 525462 w 1009650"/>
                  <a:gd name="connsiteY11" fmla="*/ 1365250 h 1960563"/>
                  <a:gd name="connsiteX12" fmla="*/ 58737 w 1009650"/>
                  <a:gd name="connsiteY12" fmla="*/ 746125 h 1960563"/>
                  <a:gd name="connsiteX0" fmla="*/ 58737 w 1009650"/>
                  <a:gd name="connsiteY0" fmla="*/ 746125 h 1960563"/>
                  <a:gd name="connsiteX1" fmla="*/ 173037 w 1009650"/>
                  <a:gd name="connsiteY1" fmla="*/ 765175 h 1960563"/>
                  <a:gd name="connsiteX2" fmla="*/ 277812 w 1009650"/>
                  <a:gd name="connsiteY2" fmla="*/ 612775 h 1960563"/>
                  <a:gd name="connsiteX3" fmla="*/ 515937 w 1009650"/>
                  <a:gd name="connsiteY3" fmla="*/ 79375 h 1960563"/>
                  <a:gd name="connsiteX4" fmla="*/ 544512 w 1009650"/>
                  <a:gd name="connsiteY4" fmla="*/ 136525 h 1960563"/>
                  <a:gd name="connsiteX5" fmla="*/ 611187 w 1009650"/>
                  <a:gd name="connsiteY5" fmla="*/ 374650 h 1960563"/>
                  <a:gd name="connsiteX6" fmla="*/ 649287 w 1009650"/>
                  <a:gd name="connsiteY6" fmla="*/ 984250 h 1960563"/>
                  <a:gd name="connsiteX7" fmla="*/ 696912 w 1009650"/>
                  <a:gd name="connsiteY7" fmla="*/ 1050925 h 1960563"/>
                  <a:gd name="connsiteX8" fmla="*/ 868362 w 1009650"/>
                  <a:gd name="connsiteY8" fmla="*/ 1108075 h 1960563"/>
                  <a:gd name="connsiteX9" fmla="*/ 858837 w 1009650"/>
                  <a:gd name="connsiteY9" fmla="*/ 1450975 h 1960563"/>
                  <a:gd name="connsiteX10" fmla="*/ 954087 w 1009650"/>
                  <a:gd name="connsiteY10" fmla="*/ 1946275 h 1960563"/>
                  <a:gd name="connsiteX11" fmla="*/ 525462 w 1009650"/>
                  <a:gd name="connsiteY11" fmla="*/ 1365250 h 1960563"/>
                  <a:gd name="connsiteX12" fmla="*/ 58737 w 1009650"/>
                  <a:gd name="connsiteY12" fmla="*/ 746125 h 1960563"/>
                  <a:gd name="connsiteX0" fmla="*/ 58737 w 1009650"/>
                  <a:gd name="connsiteY0" fmla="*/ 746125 h 1960563"/>
                  <a:gd name="connsiteX1" fmla="*/ 173037 w 1009650"/>
                  <a:gd name="connsiteY1" fmla="*/ 765175 h 1960563"/>
                  <a:gd name="connsiteX2" fmla="*/ 277812 w 1009650"/>
                  <a:gd name="connsiteY2" fmla="*/ 612775 h 1960563"/>
                  <a:gd name="connsiteX3" fmla="*/ 515937 w 1009650"/>
                  <a:gd name="connsiteY3" fmla="*/ 79375 h 1960563"/>
                  <a:gd name="connsiteX4" fmla="*/ 544512 w 1009650"/>
                  <a:gd name="connsiteY4" fmla="*/ 136525 h 1960563"/>
                  <a:gd name="connsiteX5" fmla="*/ 611187 w 1009650"/>
                  <a:gd name="connsiteY5" fmla="*/ 374650 h 1960563"/>
                  <a:gd name="connsiteX6" fmla="*/ 649287 w 1009650"/>
                  <a:gd name="connsiteY6" fmla="*/ 984250 h 1960563"/>
                  <a:gd name="connsiteX7" fmla="*/ 696912 w 1009650"/>
                  <a:gd name="connsiteY7" fmla="*/ 1050925 h 1960563"/>
                  <a:gd name="connsiteX8" fmla="*/ 868362 w 1009650"/>
                  <a:gd name="connsiteY8" fmla="*/ 1108075 h 1960563"/>
                  <a:gd name="connsiteX9" fmla="*/ 858837 w 1009650"/>
                  <a:gd name="connsiteY9" fmla="*/ 1450975 h 1960563"/>
                  <a:gd name="connsiteX10" fmla="*/ 954087 w 1009650"/>
                  <a:gd name="connsiteY10" fmla="*/ 1946275 h 1960563"/>
                  <a:gd name="connsiteX11" fmla="*/ 525462 w 1009650"/>
                  <a:gd name="connsiteY11" fmla="*/ 1365250 h 1960563"/>
                  <a:gd name="connsiteX12" fmla="*/ 58737 w 1009650"/>
                  <a:gd name="connsiteY12" fmla="*/ 746125 h 1960563"/>
                  <a:gd name="connsiteX0" fmla="*/ 58737 w 1009650"/>
                  <a:gd name="connsiteY0" fmla="*/ 746125 h 2008188"/>
                  <a:gd name="connsiteX1" fmla="*/ 173037 w 1009650"/>
                  <a:gd name="connsiteY1" fmla="*/ 765175 h 2008188"/>
                  <a:gd name="connsiteX2" fmla="*/ 277812 w 1009650"/>
                  <a:gd name="connsiteY2" fmla="*/ 612775 h 2008188"/>
                  <a:gd name="connsiteX3" fmla="*/ 515937 w 1009650"/>
                  <a:gd name="connsiteY3" fmla="*/ 79375 h 2008188"/>
                  <a:gd name="connsiteX4" fmla="*/ 544512 w 1009650"/>
                  <a:gd name="connsiteY4" fmla="*/ 136525 h 2008188"/>
                  <a:gd name="connsiteX5" fmla="*/ 611187 w 1009650"/>
                  <a:gd name="connsiteY5" fmla="*/ 374650 h 2008188"/>
                  <a:gd name="connsiteX6" fmla="*/ 649287 w 1009650"/>
                  <a:gd name="connsiteY6" fmla="*/ 984250 h 2008188"/>
                  <a:gd name="connsiteX7" fmla="*/ 696912 w 1009650"/>
                  <a:gd name="connsiteY7" fmla="*/ 1050925 h 2008188"/>
                  <a:gd name="connsiteX8" fmla="*/ 868362 w 1009650"/>
                  <a:gd name="connsiteY8" fmla="*/ 1108075 h 2008188"/>
                  <a:gd name="connsiteX9" fmla="*/ 858837 w 1009650"/>
                  <a:gd name="connsiteY9" fmla="*/ 1450975 h 2008188"/>
                  <a:gd name="connsiteX10" fmla="*/ 954087 w 1009650"/>
                  <a:gd name="connsiteY10" fmla="*/ 1946275 h 2008188"/>
                  <a:gd name="connsiteX11" fmla="*/ 525462 w 1009650"/>
                  <a:gd name="connsiteY11" fmla="*/ 1365250 h 2008188"/>
                  <a:gd name="connsiteX12" fmla="*/ 58737 w 1009650"/>
                  <a:gd name="connsiteY12" fmla="*/ 746125 h 2008188"/>
                  <a:gd name="connsiteX0" fmla="*/ 58737 w 915987"/>
                  <a:gd name="connsiteY0" fmla="*/ 746125 h 1493838"/>
                  <a:gd name="connsiteX1" fmla="*/ 173037 w 915987"/>
                  <a:gd name="connsiteY1" fmla="*/ 765175 h 1493838"/>
                  <a:gd name="connsiteX2" fmla="*/ 277812 w 915987"/>
                  <a:gd name="connsiteY2" fmla="*/ 612775 h 1493838"/>
                  <a:gd name="connsiteX3" fmla="*/ 515937 w 915987"/>
                  <a:gd name="connsiteY3" fmla="*/ 79375 h 1493838"/>
                  <a:gd name="connsiteX4" fmla="*/ 544512 w 915987"/>
                  <a:gd name="connsiteY4" fmla="*/ 136525 h 1493838"/>
                  <a:gd name="connsiteX5" fmla="*/ 611187 w 915987"/>
                  <a:gd name="connsiteY5" fmla="*/ 374650 h 1493838"/>
                  <a:gd name="connsiteX6" fmla="*/ 649287 w 915987"/>
                  <a:gd name="connsiteY6" fmla="*/ 984250 h 1493838"/>
                  <a:gd name="connsiteX7" fmla="*/ 696912 w 915987"/>
                  <a:gd name="connsiteY7" fmla="*/ 1050925 h 1493838"/>
                  <a:gd name="connsiteX8" fmla="*/ 868362 w 915987"/>
                  <a:gd name="connsiteY8" fmla="*/ 1108075 h 1493838"/>
                  <a:gd name="connsiteX9" fmla="*/ 858837 w 915987"/>
                  <a:gd name="connsiteY9" fmla="*/ 1450975 h 1493838"/>
                  <a:gd name="connsiteX10" fmla="*/ 525462 w 915987"/>
                  <a:gd name="connsiteY10" fmla="*/ 1365250 h 1493838"/>
                  <a:gd name="connsiteX11" fmla="*/ 58737 w 915987"/>
                  <a:gd name="connsiteY11" fmla="*/ 746125 h 1493838"/>
                  <a:gd name="connsiteX0" fmla="*/ 58737 w 884617"/>
                  <a:gd name="connsiteY0" fmla="*/ 746125 h 1444088"/>
                  <a:gd name="connsiteX1" fmla="*/ 173037 w 884617"/>
                  <a:gd name="connsiteY1" fmla="*/ 765175 h 1444088"/>
                  <a:gd name="connsiteX2" fmla="*/ 277812 w 884617"/>
                  <a:gd name="connsiteY2" fmla="*/ 612775 h 1444088"/>
                  <a:gd name="connsiteX3" fmla="*/ 515937 w 884617"/>
                  <a:gd name="connsiteY3" fmla="*/ 79375 h 1444088"/>
                  <a:gd name="connsiteX4" fmla="*/ 544512 w 884617"/>
                  <a:gd name="connsiteY4" fmla="*/ 136525 h 1444088"/>
                  <a:gd name="connsiteX5" fmla="*/ 611187 w 884617"/>
                  <a:gd name="connsiteY5" fmla="*/ 374650 h 1444088"/>
                  <a:gd name="connsiteX6" fmla="*/ 649287 w 884617"/>
                  <a:gd name="connsiteY6" fmla="*/ 984250 h 1444088"/>
                  <a:gd name="connsiteX7" fmla="*/ 696912 w 884617"/>
                  <a:gd name="connsiteY7" fmla="*/ 1050925 h 1444088"/>
                  <a:gd name="connsiteX8" fmla="*/ 868362 w 884617"/>
                  <a:gd name="connsiteY8" fmla="*/ 1108075 h 1444088"/>
                  <a:gd name="connsiteX9" fmla="*/ 794443 w 884617"/>
                  <a:gd name="connsiteY9" fmla="*/ 1219155 h 1444088"/>
                  <a:gd name="connsiteX10" fmla="*/ 525462 w 884617"/>
                  <a:gd name="connsiteY10" fmla="*/ 1365250 h 1444088"/>
                  <a:gd name="connsiteX11" fmla="*/ 58737 w 884617"/>
                  <a:gd name="connsiteY11" fmla="*/ 746125 h 1444088"/>
                  <a:gd name="connsiteX0" fmla="*/ 58737 w 1186443"/>
                  <a:gd name="connsiteY0" fmla="*/ 746125 h 3017971"/>
                  <a:gd name="connsiteX1" fmla="*/ 173037 w 1186443"/>
                  <a:gd name="connsiteY1" fmla="*/ 765175 h 3017971"/>
                  <a:gd name="connsiteX2" fmla="*/ 277812 w 1186443"/>
                  <a:gd name="connsiteY2" fmla="*/ 612775 h 3017971"/>
                  <a:gd name="connsiteX3" fmla="*/ 515937 w 1186443"/>
                  <a:gd name="connsiteY3" fmla="*/ 79375 h 3017971"/>
                  <a:gd name="connsiteX4" fmla="*/ 544512 w 1186443"/>
                  <a:gd name="connsiteY4" fmla="*/ 136525 h 3017971"/>
                  <a:gd name="connsiteX5" fmla="*/ 611187 w 1186443"/>
                  <a:gd name="connsiteY5" fmla="*/ 374650 h 3017971"/>
                  <a:gd name="connsiteX6" fmla="*/ 649287 w 1186443"/>
                  <a:gd name="connsiteY6" fmla="*/ 984250 h 3017971"/>
                  <a:gd name="connsiteX7" fmla="*/ 696912 w 1186443"/>
                  <a:gd name="connsiteY7" fmla="*/ 1050925 h 3017971"/>
                  <a:gd name="connsiteX8" fmla="*/ 868362 w 1186443"/>
                  <a:gd name="connsiteY8" fmla="*/ 1108075 h 3017971"/>
                  <a:gd name="connsiteX9" fmla="*/ 794443 w 1186443"/>
                  <a:gd name="connsiteY9" fmla="*/ 1219155 h 3017971"/>
                  <a:gd name="connsiteX10" fmla="*/ 525462 w 1186443"/>
                  <a:gd name="connsiteY10" fmla="*/ 1365250 h 3017971"/>
                  <a:gd name="connsiteX11" fmla="*/ 58737 w 1186443"/>
                  <a:gd name="connsiteY11" fmla="*/ 746125 h 3017971"/>
                  <a:gd name="connsiteX0" fmla="*/ 58737 w 1186443"/>
                  <a:gd name="connsiteY0" fmla="*/ 746125 h 3017971"/>
                  <a:gd name="connsiteX1" fmla="*/ 173037 w 1186443"/>
                  <a:gd name="connsiteY1" fmla="*/ 765175 h 3017971"/>
                  <a:gd name="connsiteX2" fmla="*/ 277812 w 1186443"/>
                  <a:gd name="connsiteY2" fmla="*/ 612775 h 3017971"/>
                  <a:gd name="connsiteX3" fmla="*/ 515937 w 1186443"/>
                  <a:gd name="connsiteY3" fmla="*/ 79375 h 3017971"/>
                  <a:gd name="connsiteX4" fmla="*/ 544512 w 1186443"/>
                  <a:gd name="connsiteY4" fmla="*/ 136525 h 3017971"/>
                  <a:gd name="connsiteX5" fmla="*/ 611187 w 1186443"/>
                  <a:gd name="connsiteY5" fmla="*/ 374650 h 3017971"/>
                  <a:gd name="connsiteX6" fmla="*/ 649287 w 1186443"/>
                  <a:gd name="connsiteY6" fmla="*/ 984250 h 3017971"/>
                  <a:gd name="connsiteX7" fmla="*/ 696912 w 1186443"/>
                  <a:gd name="connsiteY7" fmla="*/ 1050925 h 3017971"/>
                  <a:gd name="connsiteX8" fmla="*/ 868362 w 1186443"/>
                  <a:gd name="connsiteY8" fmla="*/ 1108075 h 3017971"/>
                  <a:gd name="connsiteX9" fmla="*/ 794443 w 1186443"/>
                  <a:gd name="connsiteY9" fmla="*/ 1219155 h 3017971"/>
                  <a:gd name="connsiteX10" fmla="*/ 525462 w 1186443"/>
                  <a:gd name="connsiteY10" fmla="*/ 1365250 h 3017971"/>
                  <a:gd name="connsiteX11" fmla="*/ 58737 w 1186443"/>
                  <a:gd name="connsiteY11" fmla="*/ 746125 h 3017971"/>
                  <a:gd name="connsiteX0" fmla="*/ 58737 w 1186443"/>
                  <a:gd name="connsiteY0" fmla="*/ 746125 h 3017971"/>
                  <a:gd name="connsiteX1" fmla="*/ 173037 w 1186443"/>
                  <a:gd name="connsiteY1" fmla="*/ 765175 h 3017971"/>
                  <a:gd name="connsiteX2" fmla="*/ 277812 w 1186443"/>
                  <a:gd name="connsiteY2" fmla="*/ 612775 h 3017971"/>
                  <a:gd name="connsiteX3" fmla="*/ 515937 w 1186443"/>
                  <a:gd name="connsiteY3" fmla="*/ 79375 h 3017971"/>
                  <a:gd name="connsiteX4" fmla="*/ 544512 w 1186443"/>
                  <a:gd name="connsiteY4" fmla="*/ 136525 h 3017971"/>
                  <a:gd name="connsiteX5" fmla="*/ 611187 w 1186443"/>
                  <a:gd name="connsiteY5" fmla="*/ 374650 h 3017971"/>
                  <a:gd name="connsiteX6" fmla="*/ 649287 w 1186443"/>
                  <a:gd name="connsiteY6" fmla="*/ 984250 h 3017971"/>
                  <a:gd name="connsiteX7" fmla="*/ 696912 w 1186443"/>
                  <a:gd name="connsiteY7" fmla="*/ 1050925 h 3017971"/>
                  <a:gd name="connsiteX8" fmla="*/ 868362 w 1186443"/>
                  <a:gd name="connsiteY8" fmla="*/ 1108075 h 3017971"/>
                  <a:gd name="connsiteX9" fmla="*/ 794443 w 1186443"/>
                  <a:gd name="connsiteY9" fmla="*/ 1219155 h 3017971"/>
                  <a:gd name="connsiteX10" fmla="*/ 525462 w 1186443"/>
                  <a:gd name="connsiteY10" fmla="*/ 1365250 h 3017971"/>
                  <a:gd name="connsiteX11" fmla="*/ 58737 w 1186443"/>
                  <a:gd name="connsiteY11" fmla="*/ 746125 h 3017971"/>
                  <a:gd name="connsiteX0" fmla="*/ 35126 w 1162832"/>
                  <a:gd name="connsiteY0" fmla="*/ 746125 h 3017971"/>
                  <a:gd name="connsiteX1" fmla="*/ 149426 w 1162832"/>
                  <a:gd name="connsiteY1" fmla="*/ 765175 h 3017971"/>
                  <a:gd name="connsiteX2" fmla="*/ 254201 w 1162832"/>
                  <a:gd name="connsiteY2" fmla="*/ 612775 h 3017971"/>
                  <a:gd name="connsiteX3" fmla="*/ 492326 w 1162832"/>
                  <a:gd name="connsiteY3" fmla="*/ 79375 h 3017971"/>
                  <a:gd name="connsiteX4" fmla="*/ 520901 w 1162832"/>
                  <a:gd name="connsiteY4" fmla="*/ 136525 h 3017971"/>
                  <a:gd name="connsiteX5" fmla="*/ 587576 w 1162832"/>
                  <a:gd name="connsiteY5" fmla="*/ 374650 h 3017971"/>
                  <a:gd name="connsiteX6" fmla="*/ 625676 w 1162832"/>
                  <a:gd name="connsiteY6" fmla="*/ 984250 h 3017971"/>
                  <a:gd name="connsiteX7" fmla="*/ 673301 w 1162832"/>
                  <a:gd name="connsiteY7" fmla="*/ 1050925 h 3017971"/>
                  <a:gd name="connsiteX8" fmla="*/ 844751 w 1162832"/>
                  <a:gd name="connsiteY8" fmla="*/ 1108075 h 3017971"/>
                  <a:gd name="connsiteX9" fmla="*/ 770832 w 1162832"/>
                  <a:gd name="connsiteY9" fmla="*/ 1219155 h 3017971"/>
                  <a:gd name="connsiteX10" fmla="*/ 360184 w 1162832"/>
                  <a:gd name="connsiteY10" fmla="*/ 1197824 h 3017971"/>
                  <a:gd name="connsiteX11" fmla="*/ 35126 w 1162832"/>
                  <a:gd name="connsiteY11" fmla="*/ 746125 h 3017971"/>
                  <a:gd name="connsiteX0" fmla="*/ 35126 w 1162832"/>
                  <a:gd name="connsiteY0" fmla="*/ 746125 h 3017971"/>
                  <a:gd name="connsiteX1" fmla="*/ 149426 w 1162832"/>
                  <a:gd name="connsiteY1" fmla="*/ 765175 h 3017971"/>
                  <a:gd name="connsiteX2" fmla="*/ 254201 w 1162832"/>
                  <a:gd name="connsiteY2" fmla="*/ 612775 h 3017971"/>
                  <a:gd name="connsiteX3" fmla="*/ 492326 w 1162832"/>
                  <a:gd name="connsiteY3" fmla="*/ 79375 h 3017971"/>
                  <a:gd name="connsiteX4" fmla="*/ 520901 w 1162832"/>
                  <a:gd name="connsiteY4" fmla="*/ 136525 h 3017971"/>
                  <a:gd name="connsiteX5" fmla="*/ 587576 w 1162832"/>
                  <a:gd name="connsiteY5" fmla="*/ 374650 h 3017971"/>
                  <a:gd name="connsiteX6" fmla="*/ 625676 w 1162832"/>
                  <a:gd name="connsiteY6" fmla="*/ 984250 h 3017971"/>
                  <a:gd name="connsiteX7" fmla="*/ 673301 w 1162832"/>
                  <a:gd name="connsiteY7" fmla="*/ 1050925 h 3017971"/>
                  <a:gd name="connsiteX8" fmla="*/ 844751 w 1162832"/>
                  <a:gd name="connsiteY8" fmla="*/ 1108075 h 3017971"/>
                  <a:gd name="connsiteX9" fmla="*/ 770832 w 1162832"/>
                  <a:gd name="connsiteY9" fmla="*/ 1219155 h 3017971"/>
                  <a:gd name="connsiteX10" fmla="*/ 360184 w 1162832"/>
                  <a:gd name="connsiteY10" fmla="*/ 1197824 h 3017971"/>
                  <a:gd name="connsiteX11" fmla="*/ 35126 w 1162832"/>
                  <a:gd name="connsiteY11" fmla="*/ 746125 h 3017971"/>
                  <a:gd name="connsiteX0" fmla="*/ 35126 w 1162832"/>
                  <a:gd name="connsiteY0" fmla="*/ 746125 h 3017971"/>
                  <a:gd name="connsiteX1" fmla="*/ 149426 w 1162832"/>
                  <a:gd name="connsiteY1" fmla="*/ 765175 h 3017971"/>
                  <a:gd name="connsiteX2" fmla="*/ 254201 w 1162832"/>
                  <a:gd name="connsiteY2" fmla="*/ 612775 h 3017971"/>
                  <a:gd name="connsiteX3" fmla="*/ 492326 w 1162832"/>
                  <a:gd name="connsiteY3" fmla="*/ 79375 h 3017971"/>
                  <a:gd name="connsiteX4" fmla="*/ 520901 w 1162832"/>
                  <a:gd name="connsiteY4" fmla="*/ 136525 h 3017971"/>
                  <a:gd name="connsiteX5" fmla="*/ 587576 w 1162832"/>
                  <a:gd name="connsiteY5" fmla="*/ 374650 h 3017971"/>
                  <a:gd name="connsiteX6" fmla="*/ 625676 w 1162832"/>
                  <a:gd name="connsiteY6" fmla="*/ 984250 h 3017971"/>
                  <a:gd name="connsiteX7" fmla="*/ 673301 w 1162832"/>
                  <a:gd name="connsiteY7" fmla="*/ 1050925 h 3017971"/>
                  <a:gd name="connsiteX8" fmla="*/ 844751 w 1162832"/>
                  <a:gd name="connsiteY8" fmla="*/ 1108075 h 3017971"/>
                  <a:gd name="connsiteX9" fmla="*/ 770832 w 1162832"/>
                  <a:gd name="connsiteY9" fmla="*/ 1219155 h 3017971"/>
                  <a:gd name="connsiteX10" fmla="*/ 360184 w 1162832"/>
                  <a:gd name="connsiteY10" fmla="*/ 1197824 h 3017971"/>
                  <a:gd name="connsiteX11" fmla="*/ 35126 w 1162832"/>
                  <a:gd name="connsiteY11" fmla="*/ 746125 h 3017971"/>
                  <a:gd name="connsiteX0" fmla="*/ 35126 w 1162832"/>
                  <a:gd name="connsiteY0" fmla="*/ 746125 h 3017971"/>
                  <a:gd name="connsiteX1" fmla="*/ 149426 w 1162832"/>
                  <a:gd name="connsiteY1" fmla="*/ 765175 h 3017971"/>
                  <a:gd name="connsiteX2" fmla="*/ 254201 w 1162832"/>
                  <a:gd name="connsiteY2" fmla="*/ 612775 h 3017971"/>
                  <a:gd name="connsiteX3" fmla="*/ 492326 w 1162832"/>
                  <a:gd name="connsiteY3" fmla="*/ 79375 h 3017971"/>
                  <a:gd name="connsiteX4" fmla="*/ 520901 w 1162832"/>
                  <a:gd name="connsiteY4" fmla="*/ 136525 h 3017971"/>
                  <a:gd name="connsiteX5" fmla="*/ 587576 w 1162832"/>
                  <a:gd name="connsiteY5" fmla="*/ 374650 h 3017971"/>
                  <a:gd name="connsiteX6" fmla="*/ 625676 w 1162832"/>
                  <a:gd name="connsiteY6" fmla="*/ 984250 h 3017971"/>
                  <a:gd name="connsiteX7" fmla="*/ 673301 w 1162832"/>
                  <a:gd name="connsiteY7" fmla="*/ 1050925 h 3017971"/>
                  <a:gd name="connsiteX8" fmla="*/ 844751 w 1162832"/>
                  <a:gd name="connsiteY8" fmla="*/ 1108075 h 3017971"/>
                  <a:gd name="connsiteX9" fmla="*/ 770832 w 1162832"/>
                  <a:gd name="connsiteY9" fmla="*/ 1219155 h 3017971"/>
                  <a:gd name="connsiteX10" fmla="*/ 360184 w 1162832"/>
                  <a:gd name="connsiteY10" fmla="*/ 1197824 h 3017971"/>
                  <a:gd name="connsiteX11" fmla="*/ 35126 w 1162832"/>
                  <a:gd name="connsiteY11" fmla="*/ 746125 h 3017971"/>
                  <a:gd name="connsiteX0" fmla="*/ 35126 w 1162832"/>
                  <a:gd name="connsiteY0" fmla="*/ 746125 h 3017971"/>
                  <a:gd name="connsiteX1" fmla="*/ 149426 w 1162832"/>
                  <a:gd name="connsiteY1" fmla="*/ 765175 h 3017971"/>
                  <a:gd name="connsiteX2" fmla="*/ 254201 w 1162832"/>
                  <a:gd name="connsiteY2" fmla="*/ 612775 h 3017971"/>
                  <a:gd name="connsiteX3" fmla="*/ 492326 w 1162832"/>
                  <a:gd name="connsiteY3" fmla="*/ 79375 h 3017971"/>
                  <a:gd name="connsiteX4" fmla="*/ 520901 w 1162832"/>
                  <a:gd name="connsiteY4" fmla="*/ 136525 h 3017971"/>
                  <a:gd name="connsiteX5" fmla="*/ 587576 w 1162832"/>
                  <a:gd name="connsiteY5" fmla="*/ 374650 h 3017971"/>
                  <a:gd name="connsiteX6" fmla="*/ 625676 w 1162832"/>
                  <a:gd name="connsiteY6" fmla="*/ 984250 h 3017971"/>
                  <a:gd name="connsiteX7" fmla="*/ 673301 w 1162832"/>
                  <a:gd name="connsiteY7" fmla="*/ 1050925 h 3017971"/>
                  <a:gd name="connsiteX8" fmla="*/ 844751 w 1162832"/>
                  <a:gd name="connsiteY8" fmla="*/ 1108075 h 3017971"/>
                  <a:gd name="connsiteX9" fmla="*/ 770832 w 1162832"/>
                  <a:gd name="connsiteY9" fmla="*/ 1219155 h 3017971"/>
                  <a:gd name="connsiteX10" fmla="*/ 360184 w 1162832"/>
                  <a:gd name="connsiteY10" fmla="*/ 1197824 h 3017971"/>
                  <a:gd name="connsiteX11" fmla="*/ 35126 w 1162832"/>
                  <a:gd name="connsiteY11" fmla="*/ 746125 h 3017971"/>
                  <a:gd name="connsiteX0" fmla="*/ 35126 w 1301821"/>
                  <a:gd name="connsiteY0" fmla="*/ 746125 h 2937504"/>
                  <a:gd name="connsiteX1" fmla="*/ 149426 w 1301821"/>
                  <a:gd name="connsiteY1" fmla="*/ 765175 h 2937504"/>
                  <a:gd name="connsiteX2" fmla="*/ 254201 w 1301821"/>
                  <a:gd name="connsiteY2" fmla="*/ 612775 h 2937504"/>
                  <a:gd name="connsiteX3" fmla="*/ 492326 w 1301821"/>
                  <a:gd name="connsiteY3" fmla="*/ 79375 h 2937504"/>
                  <a:gd name="connsiteX4" fmla="*/ 520901 w 1301821"/>
                  <a:gd name="connsiteY4" fmla="*/ 136525 h 2937504"/>
                  <a:gd name="connsiteX5" fmla="*/ 587576 w 1301821"/>
                  <a:gd name="connsiteY5" fmla="*/ 374650 h 2937504"/>
                  <a:gd name="connsiteX6" fmla="*/ 625676 w 1301821"/>
                  <a:gd name="connsiteY6" fmla="*/ 984250 h 2937504"/>
                  <a:gd name="connsiteX7" fmla="*/ 673301 w 1301821"/>
                  <a:gd name="connsiteY7" fmla="*/ 1050925 h 2937504"/>
                  <a:gd name="connsiteX8" fmla="*/ 844751 w 1301821"/>
                  <a:gd name="connsiteY8" fmla="*/ 1108075 h 2937504"/>
                  <a:gd name="connsiteX9" fmla="*/ 770832 w 1301821"/>
                  <a:gd name="connsiteY9" fmla="*/ 1219155 h 2937504"/>
                  <a:gd name="connsiteX10" fmla="*/ 360184 w 1301821"/>
                  <a:gd name="connsiteY10" fmla="*/ 1197824 h 2937504"/>
                  <a:gd name="connsiteX11" fmla="*/ 35126 w 1301821"/>
                  <a:gd name="connsiteY11" fmla="*/ 746125 h 2937504"/>
                  <a:gd name="connsiteX0" fmla="*/ 35126 w 970303"/>
                  <a:gd name="connsiteY0" fmla="*/ 746125 h 1671723"/>
                  <a:gd name="connsiteX1" fmla="*/ 149426 w 970303"/>
                  <a:gd name="connsiteY1" fmla="*/ 765175 h 1671723"/>
                  <a:gd name="connsiteX2" fmla="*/ 254201 w 970303"/>
                  <a:gd name="connsiteY2" fmla="*/ 612775 h 1671723"/>
                  <a:gd name="connsiteX3" fmla="*/ 492326 w 970303"/>
                  <a:gd name="connsiteY3" fmla="*/ 79375 h 1671723"/>
                  <a:gd name="connsiteX4" fmla="*/ 520901 w 970303"/>
                  <a:gd name="connsiteY4" fmla="*/ 136525 h 1671723"/>
                  <a:gd name="connsiteX5" fmla="*/ 587576 w 970303"/>
                  <a:gd name="connsiteY5" fmla="*/ 374650 h 1671723"/>
                  <a:gd name="connsiteX6" fmla="*/ 625676 w 970303"/>
                  <a:gd name="connsiteY6" fmla="*/ 984250 h 1671723"/>
                  <a:gd name="connsiteX7" fmla="*/ 673301 w 970303"/>
                  <a:gd name="connsiteY7" fmla="*/ 1050925 h 1671723"/>
                  <a:gd name="connsiteX8" fmla="*/ 844751 w 970303"/>
                  <a:gd name="connsiteY8" fmla="*/ 1108075 h 1671723"/>
                  <a:gd name="connsiteX9" fmla="*/ 957983 w 970303"/>
                  <a:gd name="connsiteY9" fmla="*/ 1653210 h 1671723"/>
                  <a:gd name="connsiteX10" fmla="*/ 770832 w 970303"/>
                  <a:gd name="connsiteY10" fmla="*/ 1219155 h 1671723"/>
                  <a:gd name="connsiteX11" fmla="*/ 360184 w 970303"/>
                  <a:gd name="connsiteY11" fmla="*/ 1197824 h 1671723"/>
                  <a:gd name="connsiteX12" fmla="*/ 35126 w 970303"/>
                  <a:gd name="connsiteY12" fmla="*/ 746125 h 1671723"/>
                  <a:gd name="connsiteX0" fmla="*/ 35126 w 1087346"/>
                  <a:gd name="connsiteY0" fmla="*/ 746125 h 2388163"/>
                  <a:gd name="connsiteX1" fmla="*/ 149426 w 1087346"/>
                  <a:gd name="connsiteY1" fmla="*/ 765175 h 2388163"/>
                  <a:gd name="connsiteX2" fmla="*/ 254201 w 1087346"/>
                  <a:gd name="connsiteY2" fmla="*/ 612775 h 2388163"/>
                  <a:gd name="connsiteX3" fmla="*/ 492326 w 1087346"/>
                  <a:gd name="connsiteY3" fmla="*/ 79375 h 2388163"/>
                  <a:gd name="connsiteX4" fmla="*/ 520901 w 1087346"/>
                  <a:gd name="connsiteY4" fmla="*/ 136525 h 2388163"/>
                  <a:gd name="connsiteX5" fmla="*/ 587576 w 1087346"/>
                  <a:gd name="connsiteY5" fmla="*/ 374650 h 2388163"/>
                  <a:gd name="connsiteX6" fmla="*/ 625676 w 1087346"/>
                  <a:gd name="connsiteY6" fmla="*/ 984250 h 2388163"/>
                  <a:gd name="connsiteX7" fmla="*/ 673301 w 1087346"/>
                  <a:gd name="connsiteY7" fmla="*/ 1050925 h 2388163"/>
                  <a:gd name="connsiteX8" fmla="*/ 844751 w 1087346"/>
                  <a:gd name="connsiteY8" fmla="*/ 1108075 h 2388163"/>
                  <a:gd name="connsiteX9" fmla="*/ 957983 w 1087346"/>
                  <a:gd name="connsiteY9" fmla="*/ 1653210 h 2388163"/>
                  <a:gd name="connsiteX10" fmla="*/ 770832 w 1087346"/>
                  <a:gd name="connsiteY10" fmla="*/ 1219155 h 2388163"/>
                  <a:gd name="connsiteX11" fmla="*/ 360184 w 1087346"/>
                  <a:gd name="connsiteY11" fmla="*/ 1197824 h 2388163"/>
                  <a:gd name="connsiteX12" fmla="*/ 35126 w 1087346"/>
                  <a:gd name="connsiteY12" fmla="*/ 746125 h 2388163"/>
                  <a:gd name="connsiteX0" fmla="*/ 35126 w 1097023"/>
                  <a:gd name="connsiteY0" fmla="*/ 746125 h 2388163"/>
                  <a:gd name="connsiteX1" fmla="*/ 149426 w 1097023"/>
                  <a:gd name="connsiteY1" fmla="*/ 765175 h 2388163"/>
                  <a:gd name="connsiteX2" fmla="*/ 254201 w 1097023"/>
                  <a:gd name="connsiteY2" fmla="*/ 612775 h 2388163"/>
                  <a:gd name="connsiteX3" fmla="*/ 492326 w 1097023"/>
                  <a:gd name="connsiteY3" fmla="*/ 79375 h 2388163"/>
                  <a:gd name="connsiteX4" fmla="*/ 520901 w 1097023"/>
                  <a:gd name="connsiteY4" fmla="*/ 136525 h 2388163"/>
                  <a:gd name="connsiteX5" fmla="*/ 587576 w 1097023"/>
                  <a:gd name="connsiteY5" fmla="*/ 374650 h 2388163"/>
                  <a:gd name="connsiteX6" fmla="*/ 625676 w 1097023"/>
                  <a:gd name="connsiteY6" fmla="*/ 984250 h 2388163"/>
                  <a:gd name="connsiteX7" fmla="*/ 673301 w 1097023"/>
                  <a:gd name="connsiteY7" fmla="*/ 1050925 h 2388163"/>
                  <a:gd name="connsiteX8" fmla="*/ 844751 w 1097023"/>
                  <a:gd name="connsiteY8" fmla="*/ 1108075 h 2388163"/>
                  <a:gd name="connsiteX9" fmla="*/ 957983 w 1097023"/>
                  <a:gd name="connsiteY9" fmla="*/ 1653210 h 2388163"/>
                  <a:gd name="connsiteX10" fmla="*/ 770832 w 1097023"/>
                  <a:gd name="connsiteY10" fmla="*/ 1219155 h 2388163"/>
                  <a:gd name="connsiteX11" fmla="*/ 360184 w 1097023"/>
                  <a:gd name="connsiteY11" fmla="*/ 1197824 h 2388163"/>
                  <a:gd name="connsiteX12" fmla="*/ 35126 w 1097023"/>
                  <a:gd name="connsiteY12" fmla="*/ 746125 h 2388163"/>
                  <a:gd name="connsiteX0" fmla="*/ 35126 w 1087346"/>
                  <a:gd name="connsiteY0" fmla="*/ 746125 h 2388163"/>
                  <a:gd name="connsiteX1" fmla="*/ 149426 w 1087346"/>
                  <a:gd name="connsiteY1" fmla="*/ 765175 h 2388163"/>
                  <a:gd name="connsiteX2" fmla="*/ 254201 w 1087346"/>
                  <a:gd name="connsiteY2" fmla="*/ 612775 h 2388163"/>
                  <a:gd name="connsiteX3" fmla="*/ 492326 w 1087346"/>
                  <a:gd name="connsiteY3" fmla="*/ 79375 h 2388163"/>
                  <a:gd name="connsiteX4" fmla="*/ 520901 w 1087346"/>
                  <a:gd name="connsiteY4" fmla="*/ 136525 h 2388163"/>
                  <a:gd name="connsiteX5" fmla="*/ 587576 w 1087346"/>
                  <a:gd name="connsiteY5" fmla="*/ 374650 h 2388163"/>
                  <a:gd name="connsiteX6" fmla="*/ 625676 w 1087346"/>
                  <a:gd name="connsiteY6" fmla="*/ 984250 h 2388163"/>
                  <a:gd name="connsiteX7" fmla="*/ 673301 w 1087346"/>
                  <a:gd name="connsiteY7" fmla="*/ 1050925 h 2388163"/>
                  <a:gd name="connsiteX8" fmla="*/ 844751 w 1087346"/>
                  <a:gd name="connsiteY8" fmla="*/ 1108075 h 2388163"/>
                  <a:gd name="connsiteX9" fmla="*/ 957983 w 1087346"/>
                  <a:gd name="connsiteY9" fmla="*/ 1653210 h 2388163"/>
                  <a:gd name="connsiteX10" fmla="*/ 770832 w 1087346"/>
                  <a:gd name="connsiteY10" fmla="*/ 1219155 h 2388163"/>
                  <a:gd name="connsiteX11" fmla="*/ 360184 w 1087346"/>
                  <a:gd name="connsiteY11" fmla="*/ 1197824 h 2388163"/>
                  <a:gd name="connsiteX12" fmla="*/ 35126 w 1087346"/>
                  <a:gd name="connsiteY12" fmla="*/ 746125 h 2388163"/>
                  <a:gd name="connsiteX0" fmla="*/ 35126 w 1284857"/>
                  <a:gd name="connsiteY0" fmla="*/ 746125 h 2951433"/>
                  <a:gd name="connsiteX1" fmla="*/ 149426 w 1284857"/>
                  <a:gd name="connsiteY1" fmla="*/ 765175 h 2951433"/>
                  <a:gd name="connsiteX2" fmla="*/ 254201 w 1284857"/>
                  <a:gd name="connsiteY2" fmla="*/ 612775 h 2951433"/>
                  <a:gd name="connsiteX3" fmla="*/ 492326 w 1284857"/>
                  <a:gd name="connsiteY3" fmla="*/ 79375 h 2951433"/>
                  <a:gd name="connsiteX4" fmla="*/ 520901 w 1284857"/>
                  <a:gd name="connsiteY4" fmla="*/ 136525 h 2951433"/>
                  <a:gd name="connsiteX5" fmla="*/ 587576 w 1284857"/>
                  <a:gd name="connsiteY5" fmla="*/ 374650 h 2951433"/>
                  <a:gd name="connsiteX6" fmla="*/ 625676 w 1284857"/>
                  <a:gd name="connsiteY6" fmla="*/ 984250 h 2951433"/>
                  <a:gd name="connsiteX7" fmla="*/ 673301 w 1284857"/>
                  <a:gd name="connsiteY7" fmla="*/ 1050925 h 2951433"/>
                  <a:gd name="connsiteX8" fmla="*/ 844751 w 1284857"/>
                  <a:gd name="connsiteY8" fmla="*/ 1108075 h 2951433"/>
                  <a:gd name="connsiteX9" fmla="*/ 957983 w 1284857"/>
                  <a:gd name="connsiteY9" fmla="*/ 1653210 h 2951433"/>
                  <a:gd name="connsiteX10" fmla="*/ 770832 w 1284857"/>
                  <a:gd name="connsiteY10" fmla="*/ 1219155 h 2951433"/>
                  <a:gd name="connsiteX11" fmla="*/ 360184 w 1284857"/>
                  <a:gd name="connsiteY11" fmla="*/ 1197824 h 2951433"/>
                  <a:gd name="connsiteX12" fmla="*/ 35126 w 1284857"/>
                  <a:gd name="connsiteY12" fmla="*/ 746125 h 295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84857" h="2951433">
                    <a:moveTo>
                      <a:pt x="35126" y="746125"/>
                    </a:moveTo>
                    <a:cubicBezTo>
                      <a:pt x="0" y="674017"/>
                      <a:pt x="112914" y="787400"/>
                      <a:pt x="149426" y="765175"/>
                    </a:cubicBezTo>
                    <a:cubicBezTo>
                      <a:pt x="185938" y="742950"/>
                      <a:pt x="197051" y="727075"/>
                      <a:pt x="254201" y="612775"/>
                    </a:cubicBezTo>
                    <a:cubicBezTo>
                      <a:pt x="311351" y="498475"/>
                      <a:pt x="447876" y="158750"/>
                      <a:pt x="492326" y="79375"/>
                    </a:cubicBezTo>
                    <a:cubicBezTo>
                      <a:pt x="536776" y="0"/>
                      <a:pt x="505026" y="87313"/>
                      <a:pt x="520901" y="136525"/>
                    </a:cubicBezTo>
                    <a:cubicBezTo>
                      <a:pt x="536776" y="185737"/>
                      <a:pt x="570113" y="233362"/>
                      <a:pt x="587576" y="374650"/>
                    </a:cubicBezTo>
                    <a:cubicBezTo>
                      <a:pt x="605039" y="515938"/>
                      <a:pt x="611389" y="871538"/>
                      <a:pt x="625676" y="984250"/>
                    </a:cubicBezTo>
                    <a:cubicBezTo>
                      <a:pt x="639963" y="1096962"/>
                      <a:pt x="636789" y="1030288"/>
                      <a:pt x="673301" y="1050925"/>
                    </a:cubicBezTo>
                    <a:cubicBezTo>
                      <a:pt x="709814" y="1071563"/>
                      <a:pt x="797304" y="1007694"/>
                      <a:pt x="844751" y="1108075"/>
                    </a:cubicBezTo>
                    <a:cubicBezTo>
                      <a:pt x="1045817" y="1566901"/>
                      <a:pt x="1284857" y="2951433"/>
                      <a:pt x="957983" y="1653210"/>
                    </a:cubicBezTo>
                    <a:cubicBezTo>
                      <a:pt x="945663" y="1671723"/>
                      <a:pt x="861931" y="1295053"/>
                      <a:pt x="770832" y="1219155"/>
                    </a:cubicBezTo>
                    <a:cubicBezTo>
                      <a:pt x="526939" y="1146108"/>
                      <a:pt x="482803" y="1270223"/>
                      <a:pt x="360184" y="1197824"/>
                    </a:cubicBezTo>
                    <a:cubicBezTo>
                      <a:pt x="295521" y="1118986"/>
                      <a:pt x="70252" y="818233"/>
                      <a:pt x="35126" y="74612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99" name="Freeform 298"/>
              <p:cNvSpPr/>
              <p:nvPr/>
            </p:nvSpPr>
            <p:spPr>
              <a:xfrm rot="21114987" flipH="1">
                <a:off x="6977906" y="2526773"/>
                <a:ext cx="72873" cy="157261"/>
              </a:xfrm>
              <a:custGeom>
                <a:avLst/>
                <a:gdLst>
                  <a:gd name="connsiteX0" fmla="*/ 631825 w 649287"/>
                  <a:gd name="connsiteY0" fmla="*/ 693737 h 1338262"/>
                  <a:gd name="connsiteX1" fmla="*/ 508000 w 649287"/>
                  <a:gd name="connsiteY1" fmla="*/ 617537 h 1338262"/>
                  <a:gd name="connsiteX2" fmla="*/ 107950 w 649287"/>
                  <a:gd name="connsiteY2" fmla="*/ 84137 h 1338262"/>
                  <a:gd name="connsiteX3" fmla="*/ 3175 w 649287"/>
                  <a:gd name="connsiteY3" fmla="*/ 112712 h 1338262"/>
                  <a:gd name="connsiteX4" fmla="*/ 127000 w 649287"/>
                  <a:gd name="connsiteY4" fmla="*/ 227012 h 1338262"/>
                  <a:gd name="connsiteX5" fmla="*/ 288925 w 649287"/>
                  <a:gd name="connsiteY5" fmla="*/ 474662 h 1338262"/>
                  <a:gd name="connsiteX6" fmla="*/ 250825 w 649287"/>
                  <a:gd name="connsiteY6" fmla="*/ 531812 h 1338262"/>
                  <a:gd name="connsiteX7" fmla="*/ 127000 w 649287"/>
                  <a:gd name="connsiteY7" fmla="*/ 998537 h 1338262"/>
                  <a:gd name="connsiteX8" fmla="*/ 79375 w 649287"/>
                  <a:gd name="connsiteY8" fmla="*/ 1265237 h 1338262"/>
                  <a:gd name="connsiteX9" fmla="*/ 203200 w 649287"/>
                  <a:gd name="connsiteY9" fmla="*/ 1284287 h 1338262"/>
                  <a:gd name="connsiteX10" fmla="*/ 346075 w 649287"/>
                  <a:gd name="connsiteY10" fmla="*/ 941387 h 1338262"/>
                  <a:gd name="connsiteX11" fmla="*/ 441325 w 649287"/>
                  <a:gd name="connsiteY11" fmla="*/ 912812 h 1338262"/>
                  <a:gd name="connsiteX12" fmla="*/ 612775 w 649287"/>
                  <a:gd name="connsiteY12" fmla="*/ 998537 h 1338262"/>
                  <a:gd name="connsiteX13" fmla="*/ 631825 w 649287"/>
                  <a:gd name="connsiteY13" fmla="*/ 693737 h 1338262"/>
                  <a:gd name="connsiteX0" fmla="*/ 631825 w 649287"/>
                  <a:gd name="connsiteY0" fmla="*/ 693737 h 1338262"/>
                  <a:gd name="connsiteX1" fmla="*/ 508000 w 649287"/>
                  <a:gd name="connsiteY1" fmla="*/ 617537 h 1338262"/>
                  <a:gd name="connsiteX2" fmla="*/ 107950 w 649287"/>
                  <a:gd name="connsiteY2" fmla="*/ 84137 h 1338262"/>
                  <a:gd name="connsiteX3" fmla="*/ 3175 w 649287"/>
                  <a:gd name="connsiteY3" fmla="*/ 112712 h 1338262"/>
                  <a:gd name="connsiteX4" fmla="*/ 127000 w 649287"/>
                  <a:gd name="connsiteY4" fmla="*/ 227012 h 1338262"/>
                  <a:gd name="connsiteX5" fmla="*/ 255440 w 649287"/>
                  <a:gd name="connsiteY5" fmla="*/ 428298 h 1338262"/>
                  <a:gd name="connsiteX6" fmla="*/ 250825 w 649287"/>
                  <a:gd name="connsiteY6" fmla="*/ 531812 h 1338262"/>
                  <a:gd name="connsiteX7" fmla="*/ 127000 w 649287"/>
                  <a:gd name="connsiteY7" fmla="*/ 998537 h 1338262"/>
                  <a:gd name="connsiteX8" fmla="*/ 79375 w 649287"/>
                  <a:gd name="connsiteY8" fmla="*/ 1265237 h 1338262"/>
                  <a:gd name="connsiteX9" fmla="*/ 203200 w 649287"/>
                  <a:gd name="connsiteY9" fmla="*/ 1284287 h 1338262"/>
                  <a:gd name="connsiteX10" fmla="*/ 346075 w 649287"/>
                  <a:gd name="connsiteY10" fmla="*/ 941387 h 1338262"/>
                  <a:gd name="connsiteX11" fmla="*/ 441325 w 649287"/>
                  <a:gd name="connsiteY11" fmla="*/ 912812 h 1338262"/>
                  <a:gd name="connsiteX12" fmla="*/ 612775 w 649287"/>
                  <a:gd name="connsiteY12" fmla="*/ 998537 h 1338262"/>
                  <a:gd name="connsiteX13" fmla="*/ 631825 w 649287"/>
                  <a:gd name="connsiteY13" fmla="*/ 693737 h 1338262"/>
                  <a:gd name="connsiteX0" fmla="*/ 631825 w 649287"/>
                  <a:gd name="connsiteY0" fmla="*/ 693737 h 1338262"/>
                  <a:gd name="connsiteX1" fmla="*/ 508000 w 649287"/>
                  <a:gd name="connsiteY1" fmla="*/ 617537 h 1338262"/>
                  <a:gd name="connsiteX2" fmla="*/ 107950 w 649287"/>
                  <a:gd name="connsiteY2" fmla="*/ 84137 h 1338262"/>
                  <a:gd name="connsiteX3" fmla="*/ 3175 w 649287"/>
                  <a:gd name="connsiteY3" fmla="*/ 112712 h 1338262"/>
                  <a:gd name="connsiteX4" fmla="*/ 127000 w 649287"/>
                  <a:gd name="connsiteY4" fmla="*/ 227012 h 1338262"/>
                  <a:gd name="connsiteX5" fmla="*/ 255440 w 649287"/>
                  <a:gd name="connsiteY5" fmla="*/ 428298 h 1338262"/>
                  <a:gd name="connsiteX6" fmla="*/ 235370 w 649287"/>
                  <a:gd name="connsiteY6" fmla="*/ 531812 h 1338262"/>
                  <a:gd name="connsiteX7" fmla="*/ 127000 w 649287"/>
                  <a:gd name="connsiteY7" fmla="*/ 998537 h 1338262"/>
                  <a:gd name="connsiteX8" fmla="*/ 79375 w 649287"/>
                  <a:gd name="connsiteY8" fmla="*/ 1265237 h 1338262"/>
                  <a:gd name="connsiteX9" fmla="*/ 203200 w 649287"/>
                  <a:gd name="connsiteY9" fmla="*/ 1284287 h 1338262"/>
                  <a:gd name="connsiteX10" fmla="*/ 346075 w 649287"/>
                  <a:gd name="connsiteY10" fmla="*/ 941387 h 1338262"/>
                  <a:gd name="connsiteX11" fmla="*/ 441325 w 649287"/>
                  <a:gd name="connsiteY11" fmla="*/ 912812 h 1338262"/>
                  <a:gd name="connsiteX12" fmla="*/ 612775 w 649287"/>
                  <a:gd name="connsiteY12" fmla="*/ 998537 h 1338262"/>
                  <a:gd name="connsiteX13" fmla="*/ 631825 w 649287"/>
                  <a:gd name="connsiteY13" fmla="*/ 693737 h 1338262"/>
                  <a:gd name="connsiteX0" fmla="*/ 631825 w 649287"/>
                  <a:gd name="connsiteY0" fmla="*/ 693737 h 1338262"/>
                  <a:gd name="connsiteX1" fmla="*/ 508000 w 649287"/>
                  <a:gd name="connsiteY1" fmla="*/ 617537 h 1338262"/>
                  <a:gd name="connsiteX2" fmla="*/ 107950 w 649287"/>
                  <a:gd name="connsiteY2" fmla="*/ 84137 h 1338262"/>
                  <a:gd name="connsiteX3" fmla="*/ 3175 w 649287"/>
                  <a:gd name="connsiteY3" fmla="*/ 112712 h 1338262"/>
                  <a:gd name="connsiteX4" fmla="*/ 127000 w 649287"/>
                  <a:gd name="connsiteY4" fmla="*/ 227012 h 1338262"/>
                  <a:gd name="connsiteX5" fmla="*/ 229682 w 649287"/>
                  <a:gd name="connsiteY5" fmla="*/ 415419 h 1338262"/>
                  <a:gd name="connsiteX6" fmla="*/ 235370 w 649287"/>
                  <a:gd name="connsiteY6" fmla="*/ 531812 h 1338262"/>
                  <a:gd name="connsiteX7" fmla="*/ 127000 w 649287"/>
                  <a:gd name="connsiteY7" fmla="*/ 998537 h 1338262"/>
                  <a:gd name="connsiteX8" fmla="*/ 79375 w 649287"/>
                  <a:gd name="connsiteY8" fmla="*/ 1265237 h 1338262"/>
                  <a:gd name="connsiteX9" fmla="*/ 203200 w 649287"/>
                  <a:gd name="connsiteY9" fmla="*/ 1284287 h 1338262"/>
                  <a:gd name="connsiteX10" fmla="*/ 346075 w 649287"/>
                  <a:gd name="connsiteY10" fmla="*/ 941387 h 1338262"/>
                  <a:gd name="connsiteX11" fmla="*/ 441325 w 649287"/>
                  <a:gd name="connsiteY11" fmla="*/ 912812 h 1338262"/>
                  <a:gd name="connsiteX12" fmla="*/ 612775 w 649287"/>
                  <a:gd name="connsiteY12" fmla="*/ 998537 h 1338262"/>
                  <a:gd name="connsiteX13" fmla="*/ 631825 w 649287"/>
                  <a:gd name="connsiteY13" fmla="*/ 693737 h 1338262"/>
                  <a:gd name="connsiteX0" fmla="*/ 630108 w 647570"/>
                  <a:gd name="connsiteY0" fmla="*/ 693737 h 1338262"/>
                  <a:gd name="connsiteX1" fmla="*/ 506283 w 647570"/>
                  <a:gd name="connsiteY1" fmla="*/ 617537 h 1338262"/>
                  <a:gd name="connsiteX2" fmla="*/ 106233 w 647570"/>
                  <a:gd name="connsiteY2" fmla="*/ 84137 h 1338262"/>
                  <a:gd name="connsiteX3" fmla="*/ 1458 w 647570"/>
                  <a:gd name="connsiteY3" fmla="*/ 112712 h 1338262"/>
                  <a:gd name="connsiteX4" fmla="*/ 114980 w 647570"/>
                  <a:gd name="connsiteY4" fmla="*/ 242467 h 1338262"/>
                  <a:gd name="connsiteX5" fmla="*/ 227965 w 647570"/>
                  <a:gd name="connsiteY5" fmla="*/ 415419 h 1338262"/>
                  <a:gd name="connsiteX6" fmla="*/ 233653 w 647570"/>
                  <a:gd name="connsiteY6" fmla="*/ 531812 h 1338262"/>
                  <a:gd name="connsiteX7" fmla="*/ 125283 w 647570"/>
                  <a:gd name="connsiteY7" fmla="*/ 998537 h 1338262"/>
                  <a:gd name="connsiteX8" fmla="*/ 77658 w 647570"/>
                  <a:gd name="connsiteY8" fmla="*/ 1265237 h 1338262"/>
                  <a:gd name="connsiteX9" fmla="*/ 201483 w 647570"/>
                  <a:gd name="connsiteY9" fmla="*/ 1284287 h 1338262"/>
                  <a:gd name="connsiteX10" fmla="*/ 344358 w 647570"/>
                  <a:gd name="connsiteY10" fmla="*/ 941387 h 1338262"/>
                  <a:gd name="connsiteX11" fmla="*/ 439608 w 647570"/>
                  <a:gd name="connsiteY11" fmla="*/ 912812 h 1338262"/>
                  <a:gd name="connsiteX12" fmla="*/ 611058 w 647570"/>
                  <a:gd name="connsiteY12" fmla="*/ 998537 h 1338262"/>
                  <a:gd name="connsiteX13" fmla="*/ 630108 w 647570"/>
                  <a:gd name="connsiteY13" fmla="*/ 693737 h 1338262"/>
                  <a:gd name="connsiteX0" fmla="*/ 630108 w 647570"/>
                  <a:gd name="connsiteY0" fmla="*/ 693737 h 1338262"/>
                  <a:gd name="connsiteX1" fmla="*/ 506283 w 647570"/>
                  <a:gd name="connsiteY1" fmla="*/ 617537 h 1338262"/>
                  <a:gd name="connsiteX2" fmla="*/ 106233 w 647570"/>
                  <a:gd name="connsiteY2" fmla="*/ 84137 h 1338262"/>
                  <a:gd name="connsiteX3" fmla="*/ 1458 w 647570"/>
                  <a:gd name="connsiteY3" fmla="*/ 112712 h 1338262"/>
                  <a:gd name="connsiteX4" fmla="*/ 114980 w 647570"/>
                  <a:gd name="connsiteY4" fmla="*/ 242467 h 1338262"/>
                  <a:gd name="connsiteX5" fmla="*/ 227965 w 647570"/>
                  <a:gd name="connsiteY5" fmla="*/ 415419 h 1338262"/>
                  <a:gd name="connsiteX6" fmla="*/ 233653 w 647570"/>
                  <a:gd name="connsiteY6" fmla="*/ 531812 h 1338262"/>
                  <a:gd name="connsiteX7" fmla="*/ 125283 w 647570"/>
                  <a:gd name="connsiteY7" fmla="*/ 998537 h 1338262"/>
                  <a:gd name="connsiteX8" fmla="*/ 77658 w 647570"/>
                  <a:gd name="connsiteY8" fmla="*/ 1265237 h 1338262"/>
                  <a:gd name="connsiteX9" fmla="*/ 201483 w 647570"/>
                  <a:gd name="connsiteY9" fmla="*/ 1284287 h 1338262"/>
                  <a:gd name="connsiteX10" fmla="*/ 344358 w 647570"/>
                  <a:gd name="connsiteY10" fmla="*/ 941387 h 1338262"/>
                  <a:gd name="connsiteX11" fmla="*/ 439608 w 647570"/>
                  <a:gd name="connsiteY11" fmla="*/ 912812 h 1338262"/>
                  <a:gd name="connsiteX12" fmla="*/ 611058 w 647570"/>
                  <a:gd name="connsiteY12" fmla="*/ 998537 h 1338262"/>
                  <a:gd name="connsiteX13" fmla="*/ 630108 w 647570"/>
                  <a:gd name="connsiteY13" fmla="*/ 693737 h 1338262"/>
                  <a:gd name="connsiteX0" fmla="*/ 630108 w 647570"/>
                  <a:gd name="connsiteY0" fmla="*/ 693737 h 1338262"/>
                  <a:gd name="connsiteX1" fmla="*/ 506283 w 647570"/>
                  <a:gd name="connsiteY1" fmla="*/ 617537 h 1338262"/>
                  <a:gd name="connsiteX2" fmla="*/ 106233 w 647570"/>
                  <a:gd name="connsiteY2" fmla="*/ 84137 h 1338262"/>
                  <a:gd name="connsiteX3" fmla="*/ 1458 w 647570"/>
                  <a:gd name="connsiteY3" fmla="*/ 112712 h 1338262"/>
                  <a:gd name="connsiteX4" fmla="*/ 114980 w 647570"/>
                  <a:gd name="connsiteY4" fmla="*/ 242467 h 1338262"/>
                  <a:gd name="connsiteX5" fmla="*/ 227965 w 647570"/>
                  <a:gd name="connsiteY5" fmla="*/ 415419 h 1338262"/>
                  <a:gd name="connsiteX6" fmla="*/ 233653 w 647570"/>
                  <a:gd name="connsiteY6" fmla="*/ 531812 h 1338262"/>
                  <a:gd name="connsiteX7" fmla="*/ 125283 w 647570"/>
                  <a:gd name="connsiteY7" fmla="*/ 998537 h 1338262"/>
                  <a:gd name="connsiteX8" fmla="*/ 77658 w 647570"/>
                  <a:gd name="connsiteY8" fmla="*/ 1265237 h 1338262"/>
                  <a:gd name="connsiteX9" fmla="*/ 201483 w 647570"/>
                  <a:gd name="connsiteY9" fmla="*/ 1284287 h 1338262"/>
                  <a:gd name="connsiteX10" fmla="*/ 344358 w 647570"/>
                  <a:gd name="connsiteY10" fmla="*/ 941387 h 1338262"/>
                  <a:gd name="connsiteX11" fmla="*/ 439608 w 647570"/>
                  <a:gd name="connsiteY11" fmla="*/ 912812 h 1338262"/>
                  <a:gd name="connsiteX12" fmla="*/ 611058 w 647570"/>
                  <a:gd name="connsiteY12" fmla="*/ 998537 h 1338262"/>
                  <a:gd name="connsiteX13" fmla="*/ 630108 w 647570"/>
                  <a:gd name="connsiteY13" fmla="*/ 693737 h 1338262"/>
                  <a:gd name="connsiteX0" fmla="*/ 619804 w 637266"/>
                  <a:gd name="connsiteY0" fmla="*/ 696742 h 1341267"/>
                  <a:gd name="connsiteX1" fmla="*/ 495979 w 637266"/>
                  <a:gd name="connsiteY1" fmla="*/ 620542 h 1341267"/>
                  <a:gd name="connsiteX2" fmla="*/ 95929 w 637266"/>
                  <a:gd name="connsiteY2" fmla="*/ 87142 h 1341267"/>
                  <a:gd name="connsiteX3" fmla="*/ 1458 w 637266"/>
                  <a:gd name="connsiteY3" fmla="*/ 97687 h 1341267"/>
                  <a:gd name="connsiteX4" fmla="*/ 104676 w 637266"/>
                  <a:gd name="connsiteY4" fmla="*/ 245472 h 1341267"/>
                  <a:gd name="connsiteX5" fmla="*/ 217661 w 637266"/>
                  <a:gd name="connsiteY5" fmla="*/ 418424 h 1341267"/>
                  <a:gd name="connsiteX6" fmla="*/ 223349 w 637266"/>
                  <a:gd name="connsiteY6" fmla="*/ 534817 h 1341267"/>
                  <a:gd name="connsiteX7" fmla="*/ 114979 w 637266"/>
                  <a:gd name="connsiteY7" fmla="*/ 1001542 h 1341267"/>
                  <a:gd name="connsiteX8" fmla="*/ 67354 w 637266"/>
                  <a:gd name="connsiteY8" fmla="*/ 1268242 h 1341267"/>
                  <a:gd name="connsiteX9" fmla="*/ 191179 w 637266"/>
                  <a:gd name="connsiteY9" fmla="*/ 1287292 h 1341267"/>
                  <a:gd name="connsiteX10" fmla="*/ 334054 w 637266"/>
                  <a:gd name="connsiteY10" fmla="*/ 944392 h 1341267"/>
                  <a:gd name="connsiteX11" fmla="*/ 429304 w 637266"/>
                  <a:gd name="connsiteY11" fmla="*/ 915817 h 1341267"/>
                  <a:gd name="connsiteX12" fmla="*/ 600754 w 637266"/>
                  <a:gd name="connsiteY12" fmla="*/ 1001542 h 1341267"/>
                  <a:gd name="connsiteX13" fmla="*/ 619804 w 637266"/>
                  <a:gd name="connsiteY13" fmla="*/ 696742 h 1341267"/>
                  <a:gd name="connsiteX0" fmla="*/ 619804 w 637266"/>
                  <a:gd name="connsiteY0" fmla="*/ 696742 h 1341267"/>
                  <a:gd name="connsiteX1" fmla="*/ 495979 w 637266"/>
                  <a:gd name="connsiteY1" fmla="*/ 620542 h 1341267"/>
                  <a:gd name="connsiteX2" fmla="*/ 95929 w 637266"/>
                  <a:gd name="connsiteY2" fmla="*/ 87142 h 1341267"/>
                  <a:gd name="connsiteX3" fmla="*/ 1458 w 637266"/>
                  <a:gd name="connsiteY3" fmla="*/ 97687 h 1341267"/>
                  <a:gd name="connsiteX4" fmla="*/ 104676 w 637266"/>
                  <a:gd name="connsiteY4" fmla="*/ 245472 h 1341267"/>
                  <a:gd name="connsiteX5" fmla="*/ 217661 w 637266"/>
                  <a:gd name="connsiteY5" fmla="*/ 418424 h 1341267"/>
                  <a:gd name="connsiteX6" fmla="*/ 223349 w 637266"/>
                  <a:gd name="connsiteY6" fmla="*/ 534817 h 1341267"/>
                  <a:gd name="connsiteX7" fmla="*/ 114979 w 637266"/>
                  <a:gd name="connsiteY7" fmla="*/ 1001542 h 1341267"/>
                  <a:gd name="connsiteX8" fmla="*/ 67354 w 637266"/>
                  <a:gd name="connsiteY8" fmla="*/ 1268242 h 1341267"/>
                  <a:gd name="connsiteX9" fmla="*/ 191179 w 637266"/>
                  <a:gd name="connsiteY9" fmla="*/ 1287292 h 1341267"/>
                  <a:gd name="connsiteX10" fmla="*/ 334054 w 637266"/>
                  <a:gd name="connsiteY10" fmla="*/ 944392 h 1341267"/>
                  <a:gd name="connsiteX11" fmla="*/ 429304 w 637266"/>
                  <a:gd name="connsiteY11" fmla="*/ 915817 h 1341267"/>
                  <a:gd name="connsiteX12" fmla="*/ 600754 w 637266"/>
                  <a:gd name="connsiteY12" fmla="*/ 1001542 h 1341267"/>
                  <a:gd name="connsiteX13" fmla="*/ 619804 w 637266"/>
                  <a:gd name="connsiteY13" fmla="*/ 696742 h 1341267"/>
                  <a:gd name="connsiteX0" fmla="*/ 619804 w 637266"/>
                  <a:gd name="connsiteY0" fmla="*/ 696742 h 1341267"/>
                  <a:gd name="connsiteX1" fmla="*/ 495979 w 637266"/>
                  <a:gd name="connsiteY1" fmla="*/ 620542 h 1341267"/>
                  <a:gd name="connsiteX2" fmla="*/ 95929 w 637266"/>
                  <a:gd name="connsiteY2" fmla="*/ 87142 h 1341267"/>
                  <a:gd name="connsiteX3" fmla="*/ 1458 w 637266"/>
                  <a:gd name="connsiteY3" fmla="*/ 97687 h 1341267"/>
                  <a:gd name="connsiteX4" fmla="*/ 104676 w 637266"/>
                  <a:gd name="connsiteY4" fmla="*/ 245472 h 1341267"/>
                  <a:gd name="connsiteX5" fmla="*/ 217661 w 637266"/>
                  <a:gd name="connsiteY5" fmla="*/ 418424 h 1341267"/>
                  <a:gd name="connsiteX6" fmla="*/ 223349 w 637266"/>
                  <a:gd name="connsiteY6" fmla="*/ 534817 h 1341267"/>
                  <a:gd name="connsiteX7" fmla="*/ 96949 w 637266"/>
                  <a:gd name="connsiteY7" fmla="*/ 1001542 h 1341267"/>
                  <a:gd name="connsiteX8" fmla="*/ 67354 w 637266"/>
                  <a:gd name="connsiteY8" fmla="*/ 1268242 h 1341267"/>
                  <a:gd name="connsiteX9" fmla="*/ 191179 w 637266"/>
                  <a:gd name="connsiteY9" fmla="*/ 1287292 h 1341267"/>
                  <a:gd name="connsiteX10" fmla="*/ 334054 w 637266"/>
                  <a:gd name="connsiteY10" fmla="*/ 944392 h 1341267"/>
                  <a:gd name="connsiteX11" fmla="*/ 429304 w 637266"/>
                  <a:gd name="connsiteY11" fmla="*/ 915817 h 1341267"/>
                  <a:gd name="connsiteX12" fmla="*/ 600754 w 637266"/>
                  <a:gd name="connsiteY12" fmla="*/ 1001542 h 1341267"/>
                  <a:gd name="connsiteX13" fmla="*/ 619804 w 637266"/>
                  <a:gd name="connsiteY13" fmla="*/ 696742 h 1341267"/>
                  <a:gd name="connsiteX0" fmla="*/ 619804 w 637266"/>
                  <a:gd name="connsiteY0" fmla="*/ 696742 h 1341267"/>
                  <a:gd name="connsiteX1" fmla="*/ 495979 w 637266"/>
                  <a:gd name="connsiteY1" fmla="*/ 620542 h 1341267"/>
                  <a:gd name="connsiteX2" fmla="*/ 95929 w 637266"/>
                  <a:gd name="connsiteY2" fmla="*/ 87142 h 1341267"/>
                  <a:gd name="connsiteX3" fmla="*/ 1458 w 637266"/>
                  <a:gd name="connsiteY3" fmla="*/ 97687 h 1341267"/>
                  <a:gd name="connsiteX4" fmla="*/ 104676 w 637266"/>
                  <a:gd name="connsiteY4" fmla="*/ 245472 h 1341267"/>
                  <a:gd name="connsiteX5" fmla="*/ 217661 w 637266"/>
                  <a:gd name="connsiteY5" fmla="*/ 418424 h 1341267"/>
                  <a:gd name="connsiteX6" fmla="*/ 213046 w 637266"/>
                  <a:gd name="connsiteY6" fmla="*/ 534817 h 1341267"/>
                  <a:gd name="connsiteX7" fmla="*/ 96949 w 637266"/>
                  <a:gd name="connsiteY7" fmla="*/ 1001542 h 1341267"/>
                  <a:gd name="connsiteX8" fmla="*/ 67354 w 637266"/>
                  <a:gd name="connsiteY8" fmla="*/ 1268242 h 1341267"/>
                  <a:gd name="connsiteX9" fmla="*/ 191179 w 637266"/>
                  <a:gd name="connsiteY9" fmla="*/ 1287292 h 1341267"/>
                  <a:gd name="connsiteX10" fmla="*/ 334054 w 637266"/>
                  <a:gd name="connsiteY10" fmla="*/ 944392 h 1341267"/>
                  <a:gd name="connsiteX11" fmla="*/ 429304 w 637266"/>
                  <a:gd name="connsiteY11" fmla="*/ 915817 h 1341267"/>
                  <a:gd name="connsiteX12" fmla="*/ 600754 w 637266"/>
                  <a:gd name="connsiteY12" fmla="*/ 1001542 h 1341267"/>
                  <a:gd name="connsiteX13" fmla="*/ 619804 w 637266"/>
                  <a:gd name="connsiteY13" fmla="*/ 696742 h 1341267"/>
                  <a:gd name="connsiteX0" fmla="*/ 619804 w 637266"/>
                  <a:gd name="connsiteY0" fmla="*/ 696742 h 1341267"/>
                  <a:gd name="connsiteX1" fmla="*/ 495979 w 637266"/>
                  <a:gd name="connsiteY1" fmla="*/ 620542 h 1341267"/>
                  <a:gd name="connsiteX2" fmla="*/ 95929 w 637266"/>
                  <a:gd name="connsiteY2" fmla="*/ 87142 h 1341267"/>
                  <a:gd name="connsiteX3" fmla="*/ 1458 w 637266"/>
                  <a:gd name="connsiteY3" fmla="*/ 97687 h 1341267"/>
                  <a:gd name="connsiteX4" fmla="*/ 104676 w 637266"/>
                  <a:gd name="connsiteY4" fmla="*/ 245472 h 1341267"/>
                  <a:gd name="connsiteX5" fmla="*/ 217661 w 637266"/>
                  <a:gd name="connsiteY5" fmla="*/ 418424 h 1341267"/>
                  <a:gd name="connsiteX6" fmla="*/ 213046 w 637266"/>
                  <a:gd name="connsiteY6" fmla="*/ 534817 h 1341267"/>
                  <a:gd name="connsiteX7" fmla="*/ 107252 w 637266"/>
                  <a:gd name="connsiteY7" fmla="*/ 1001542 h 1341267"/>
                  <a:gd name="connsiteX8" fmla="*/ 67354 w 637266"/>
                  <a:gd name="connsiteY8" fmla="*/ 1268242 h 1341267"/>
                  <a:gd name="connsiteX9" fmla="*/ 191179 w 637266"/>
                  <a:gd name="connsiteY9" fmla="*/ 1287292 h 1341267"/>
                  <a:gd name="connsiteX10" fmla="*/ 334054 w 637266"/>
                  <a:gd name="connsiteY10" fmla="*/ 944392 h 1341267"/>
                  <a:gd name="connsiteX11" fmla="*/ 429304 w 637266"/>
                  <a:gd name="connsiteY11" fmla="*/ 915817 h 1341267"/>
                  <a:gd name="connsiteX12" fmla="*/ 600754 w 637266"/>
                  <a:gd name="connsiteY12" fmla="*/ 1001542 h 1341267"/>
                  <a:gd name="connsiteX13" fmla="*/ 619804 w 637266"/>
                  <a:gd name="connsiteY13" fmla="*/ 696742 h 1341267"/>
                  <a:gd name="connsiteX0" fmla="*/ 619804 w 637266"/>
                  <a:gd name="connsiteY0" fmla="*/ 696742 h 1341267"/>
                  <a:gd name="connsiteX1" fmla="*/ 495979 w 637266"/>
                  <a:gd name="connsiteY1" fmla="*/ 620542 h 1341267"/>
                  <a:gd name="connsiteX2" fmla="*/ 95929 w 637266"/>
                  <a:gd name="connsiteY2" fmla="*/ 87142 h 1341267"/>
                  <a:gd name="connsiteX3" fmla="*/ 1458 w 637266"/>
                  <a:gd name="connsiteY3" fmla="*/ 97687 h 1341267"/>
                  <a:gd name="connsiteX4" fmla="*/ 104676 w 637266"/>
                  <a:gd name="connsiteY4" fmla="*/ 245472 h 1341267"/>
                  <a:gd name="connsiteX5" fmla="*/ 217661 w 637266"/>
                  <a:gd name="connsiteY5" fmla="*/ 418424 h 1341267"/>
                  <a:gd name="connsiteX6" fmla="*/ 213046 w 637266"/>
                  <a:gd name="connsiteY6" fmla="*/ 534817 h 1341267"/>
                  <a:gd name="connsiteX7" fmla="*/ 107252 w 637266"/>
                  <a:gd name="connsiteY7" fmla="*/ 1001542 h 1341267"/>
                  <a:gd name="connsiteX8" fmla="*/ 44172 w 637266"/>
                  <a:gd name="connsiteY8" fmla="*/ 1268242 h 1341267"/>
                  <a:gd name="connsiteX9" fmla="*/ 191179 w 637266"/>
                  <a:gd name="connsiteY9" fmla="*/ 1287292 h 1341267"/>
                  <a:gd name="connsiteX10" fmla="*/ 334054 w 637266"/>
                  <a:gd name="connsiteY10" fmla="*/ 944392 h 1341267"/>
                  <a:gd name="connsiteX11" fmla="*/ 429304 w 637266"/>
                  <a:gd name="connsiteY11" fmla="*/ 915817 h 1341267"/>
                  <a:gd name="connsiteX12" fmla="*/ 600754 w 637266"/>
                  <a:gd name="connsiteY12" fmla="*/ 1001542 h 1341267"/>
                  <a:gd name="connsiteX13" fmla="*/ 619804 w 637266"/>
                  <a:gd name="connsiteY13" fmla="*/ 696742 h 1341267"/>
                  <a:gd name="connsiteX0" fmla="*/ 619804 w 637266"/>
                  <a:gd name="connsiteY0" fmla="*/ 696742 h 1341267"/>
                  <a:gd name="connsiteX1" fmla="*/ 495979 w 637266"/>
                  <a:gd name="connsiteY1" fmla="*/ 620542 h 1341267"/>
                  <a:gd name="connsiteX2" fmla="*/ 95929 w 637266"/>
                  <a:gd name="connsiteY2" fmla="*/ 87142 h 1341267"/>
                  <a:gd name="connsiteX3" fmla="*/ 1458 w 637266"/>
                  <a:gd name="connsiteY3" fmla="*/ 97687 h 1341267"/>
                  <a:gd name="connsiteX4" fmla="*/ 104676 w 637266"/>
                  <a:gd name="connsiteY4" fmla="*/ 245472 h 1341267"/>
                  <a:gd name="connsiteX5" fmla="*/ 217661 w 637266"/>
                  <a:gd name="connsiteY5" fmla="*/ 418424 h 1341267"/>
                  <a:gd name="connsiteX6" fmla="*/ 213046 w 637266"/>
                  <a:gd name="connsiteY6" fmla="*/ 534817 h 1341267"/>
                  <a:gd name="connsiteX7" fmla="*/ 107252 w 637266"/>
                  <a:gd name="connsiteY7" fmla="*/ 1001542 h 1341267"/>
                  <a:gd name="connsiteX8" fmla="*/ 44172 w 637266"/>
                  <a:gd name="connsiteY8" fmla="*/ 1268242 h 1341267"/>
                  <a:gd name="connsiteX9" fmla="*/ 191179 w 637266"/>
                  <a:gd name="connsiteY9" fmla="*/ 1287292 h 1341267"/>
                  <a:gd name="connsiteX10" fmla="*/ 334054 w 637266"/>
                  <a:gd name="connsiteY10" fmla="*/ 944392 h 1341267"/>
                  <a:gd name="connsiteX11" fmla="*/ 429304 w 637266"/>
                  <a:gd name="connsiteY11" fmla="*/ 915817 h 1341267"/>
                  <a:gd name="connsiteX12" fmla="*/ 600754 w 637266"/>
                  <a:gd name="connsiteY12" fmla="*/ 1001542 h 1341267"/>
                  <a:gd name="connsiteX13" fmla="*/ 619804 w 637266"/>
                  <a:gd name="connsiteY13" fmla="*/ 696742 h 1341267"/>
                  <a:gd name="connsiteX0" fmla="*/ 619804 w 637266"/>
                  <a:gd name="connsiteY0" fmla="*/ 696742 h 1328388"/>
                  <a:gd name="connsiteX1" fmla="*/ 495979 w 637266"/>
                  <a:gd name="connsiteY1" fmla="*/ 620542 h 1328388"/>
                  <a:gd name="connsiteX2" fmla="*/ 95929 w 637266"/>
                  <a:gd name="connsiteY2" fmla="*/ 87142 h 1328388"/>
                  <a:gd name="connsiteX3" fmla="*/ 1458 w 637266"/>
                  <a:gd name="connsiteY3" fmla="*/ 97687 h 1328388"/>
                  <a:gd name="connsiteX4" fmla="*/ 104676 w 637266"/>
                  <a:gd name="connsiteY4" fmla="*/ 245472 h 1328388"/>
                  <a:gd name="connsiteX5" fmla="*/ 217661 w 637266"/>
                  <a:gd name="connsiteY5" fmla="*/ 418424 h 1328388"/>
                  <a:gd name="connsiteX6" fmla="*/ 213046 w 637266"/>
                  <a:gd name="connsiteY6" fmla="*/ 534817 h 1328388"/>
                  <a:gd name="connsiteX7" fmla="*/ 107252 w 637266"/>
                  <a:gd name="connsiteY7" fmla="*/ 1001542 h 1328388"/>
                  <a:gd name="connsiteX8" fmla="*/ 44172 w 637266"/>
                  <a:gd name="connsiteY8" fmla="*/ 1268242 h 1328388"/>
                  <a:gd name="connsiteX9" fmla="*/ 191179 w 637266"/>
                  <a:gd name="connsiteY9" fmla="*/ 1287292 h 1328388"/>
                  <a:gd name="connsiteX10" fmla="*/ 334054 w 637266"/>
                  <a:gd name="connsiteY10" fmla="*/ 944392 h 1328388"/>
                  <a:gd name="connsiteX11" fmla="*/ 429304 w 637266"/>
                  <a:gd name="connsiteY11" fmla="*/ 915817 h 1328388"/>
                  <a:gd name="connsiteX12" fmla="*/ 600754 w 637266"/>
                  <a:gd name="connsiteY12" fmla="*/ 1001542 h 1328388"/>
                  <a:gd name="connsiteX13" fmla="*/ 619804 w 637266"/>
                  <a:gd name="connsiteY13" fmla="*/ 696742 h 1328388"/>
                  <a:gd name="connsiteX0" fmla="*/ 619804 w 637266"/>
                  <a:gd name="connsiteY0" fmla="*/ 696742 h 1328388"/>
                  <a:gd name="connsiteX1" fmla="*/ 495979 w 637266"/>
                  <a:gd name="connsiteY1" fmla="*/ 620542 h 1328388"/>
                  <a:gd name="connsiteX2" fmla="*/ 95929 w 637266"/>
                  <a:gd name="connsiteY2" fmla="*/ 87142 h 1328388"/>
                  <a:gd name="connsiteX3" fmla="*/ 1458 w 637266"/>
                  <a:gd name="connsiteY3" fmla="*/ 97687 h 1328388"/>
                  <a:gd name="connsiteX4" fmla="*/ 104676 w 637266"/>
                  <a:gd name="connsiteY4" fmla="*/ 245472 h 1328388"/>
                  <a:gd name="connsiteX5" fmla="*/ 217661 w 637266"/>
                  <a:gd name="connsiteY5" fmla="*/ 418424 h 1328388"/>
                  <a:gd name="connsiteX6" fmla="*/ 213046 w 637266"/>
                  <a:gd name="connsiteY6" fmla="*/ 534817 h 1328388"/>
                  <a:gd name="connsiteX7" fmla="*/ 107252 w 637266"/>
                  <a:gd name="connsiteY7" fmla="*/ 1001542 h 1328388"/>
                  <a:gd name="connsiteX8" fmla="*/ 44172 w 637266"/>
                  <a:gd name="connsiteY8" fmla="*/ 1268242 h 1328388"/>
                  <a:gd name="connsiteX9" fmla="*/ 191179 w 637266"/>
                  <a:gd name="connsiteY9" fmla="*/ 1287292 h 1328388"/>
                  <a:gd name="connsiteX10" fmla="*/ 334054 w 637266"/>
                  <a:gd name="connsiteY10" fmla="*/ 944392 h 1328388"/>
                  <a:gd name="connsiteX11" fmla="*/ 429304 w 637266"/>
                  <a:gd name="connsiteY11" fmla="*/ 915817 h 1328388"/>
                  <a:gd name="connsiteX12" fmla="*/ 600754 w 637266"/>
                  <a:gd name="connsiteY12" fmla="*/ 1001542 h 1328388"/>
                  <a:gd name="connsiteX13" fmla="*/ 619804 w 637266"/>
                  <a:gd name="connsiteY13" fmla="*/ 696742 h 1328388"/>
                  <a:gd name="connsiteX0" fmla="*/ 619804 w 637266"/>
                  <a:gd name="connsiteY0" fmla="*/ 696742 h 1328388"/>
                  <a:gd name="connsiteX1" fmla="*/ 495979 w 637266"/>
                  <a:gd name="connsiteY1" fmla="*/ 620542 h 1328388"/>
                  <a:gd name="connsiteX2" fmla="*/ 95929 w 637266"/>
                  <a:gd name="connsiteY2" fmla="*/ 87142 h 1328388"/>
                  <a:gd name="connsiteX3" fmla="*/ 1458 w 637266"/>
                  <a:gd name="connsiteY3" fmla="*/ 97687 h 1328388"/>
                  <a:gd name="connsiteX4" fmla="*/ 104676 w 637266"/>
                  <a:gd name="connsiteY4" fmla="*/ 245472 h 1328388"/>
                  <a:gd name="connsiteX5" fmla="*/ 217661 w 637266"/>
                  <a:gd name="connsiteY5" fmla="*/ 418424 h 1328388"/>
                  <a:gd name="connsiteX6" fmla="*/ 213046 w 637266"/>
                  <a:gd name="connsiteY6" fmla="*/ 534817 h 1328388"/>
                  <a:gd name="connsiteX7" fmla="*/ 107252 w 637266"/>
                  <a:gd name="connsiteY7" fmla="*/ 1001542 h 1328388"/>
                  <a:gd name="connsiteX8" fmla="*/ 44172 w 637266"/>
                  <a:gd name="connsiteY8" fmla="*/ 1268242 h 1328388"/>
                  <a:gd name="connsiteX9" fmla="*/ 191179 w 637266"/>
                  <a:gd name="connsiteY9" fmla="*/ 1287292 h 1328388"/>
                  <a:gd name="connsiteX10" fmla="*/ 334054 w 637266"/>
                  <a:gd name="connsiteY10" fmla="*/ 944392 h 1328388"/>
                  <a:gd name="connsiteX11" fmla="*/ 429304 w 637266"/>
                  <a:gd name="connsiteY11" fmla="*/ 915817 h 1328388"/>
                  <a:gd name="connsiteX12" fmla="*/ 600754 w 637266"/>
                  <a:gd name="connsiteY12" fmla="*/ 1001542 h 1328388"/>
                  <a:gd name="connsiteX13" fmla="*/ 619804 w 637266"/>
                  <a:gd name="connsiteY13" fmla="*/ 696742 h 1328388"/>
                  <a:gd name="connsiteX0" fmla="*/ 619804 w 629538"/>
                  <a:gd name="connsiteY0" fmla="*/ 696742 h 1328388"/>
                  <a:gd name="connsiteX1" fmla="*/ 495979 w 629538"/>
                  <a:gd name="connsiteY1" fmla="*/ 620542 h 1328388"/>
                  <a:gd name="connsiteX2" fmla="*/ 95929 w 629538"/>
                  <a:gd name="connsiteY2" fmla="*/ 87142 h 1328388"/>
                  <a:gd name="connsiteX3" fmla="*/ 1458 w 629538"/>
                  <a:gd name="connsiteY3" fmla="*/ 97687 h 1328388"/>
                  <a:gd name="connsiteX4" fmla="*/ 104676 w 629538"/>
                  <a:gd name="connsiteY4" fmla="*/ 245472 h 1328388"/>
                  <a:gd name="connsiteX5" fmla="*/ 217661 w 629538"/>
                  <a:gd name="connsiteY5" fmla="*/ 418424 h 1328388"/>
                  <a:gd name="connsiteX6" fmla="*/ 213046 w 629538"/>
                  <a:gd name="connsiteY6" fmla="*/ 534817 h 1328388"/>
                  <a:gd name="connsiteX7" fmla="*/ 107252 w 629538"/>
                  <a:gd name="connsiteY7" fmla="*/ 1001542 h 1328388"/>
                  <a:gd name="connsiteX8" fmla="*/ 44172 w 629538"/>
                  <a:gd name="connsiteY8" fmla="*/ 1268242 h 1328388"/>
                  <a:gd name="connsiteX9" fmla="*/ 191179 w 629538"/>
                  <a:gd name="connsiteY9" fmla="*/ 1287292 h 1328388"/>
                  <a:gd name="connsiteX10" fmla="*/ 334054 w 629538"/>
                  <a:gd name="connsiteY10" fmla="*/ 944392 h 1328388"/>
                  <a:gd name="connsiteX11" fmla="*/ 429304 w 629538"/>
                  <a:gd name="connsiteY11" fmla="*/ 915817 h 1328388"/>
                  <a:gd name="connsiteX12" fmla="*/ 600754 w 629538"/>
                  <a:gd name="connsiteY12" fmla="*/ 1001542 h 1328388"/>
                  <a:gd name="connsiteX13" fmla="*/ 619804 w 629538"/>
                  <a:gd name="connsiteY13" fmla="*/ 696742 h 1328388"/>
                  <a:gd name="connsiteX0" fmla="*/ 619804 w 629538"/>
                  <a:gd name="connsiteY0" fmla="*/ 696742 h 1328388"/>
                  <a:gd name="connsiteX1" fmla="*/ 495979 w 629538"/>
                  <a:gd name="connsiteY1" fmla="*/ 620542 h 1328388"/>
                  <a:gd name="connsiteX2" fmla="*/ 95929 w 629538"/>
                  <a:gd name="connsiteY2" fmla="*/ 87142 h 1328388"/>
                  <a:gd name="connsiteX3" fmla="*/ 1458 w 629538"/>
                  <a:gd name="connsiteY3" fmla="*/ 97687 h 1328388"/>
                  <a:gd name="connsiteX4" fmla="*/ 104676 w 629538"/>
                  <a:gd name="connsiteY4" fmla="*/ 245472 h 1328388"/>
                  <a:gd name="connsiteX5" fmla="*/ 217661 w 629538"/>
                  <a:gd name="connsiteY5" fmla="*/ 418424 h 1328388"/>
                  <a:gd name="connsiteX6" fmla="*/ 213046 w 629538"/>
                  <a:gd name="connsiteY6" fmla="*/ 534817 h 1328388"/>
                  <a:gd name="connsiteX7" fmla="*/ 107252 w 629538"/>
                  <a:gd name="connsiteY7" fmla="*/ 1001542 h 1328388"/>
                  <a:gd name="connsiteX8" fmla="*/ 44172 w 629538"/>
                  <a:gd name="connsiteY8" fmla="*/ 1268242 h 1328388"/>
                  <a:gd name="connsiteX9" fmla="*/ 191179 w 629538"/>
                  <a:gd name="connsiteY9" fmla="*/ 1287292 h 1328388"/>
                  <a:gd name="connsiteX10" fmla="*/ 334054 w 629538"/>
                  <a:gd name="connsiteY10" fmla="*/ 944392 h 1328388"/>
                  <a:gd name="connsiteX11" fmla="*/ 429304 w 629538"/>
                  <a:gd name="connsiteY11" fmla="*/ 915817 h 1328388"/>
                  <a:gd name="connsiteX12" fmla="*/ 600754 w 629538"/>
                  <a:gd name="connsiteY12" fmla="*/ 1001542 h 1328388"/>
                  <a:gd name="connsiteX13" fmla="*/ 619804 w 629538"/>
                  <a:gd name="connsiteY13" fmla="*/ 696742 h 1328388"/>
                  <a:gd name="connsiteX0" fmla="*/ 619804 w 622948"/>
                  <a:gd name="connsiteY0" fmla="*/ 696742 h 1328388"/>
                  <a:gd name="connsiteX1" fmla="*/ 495979 w 622948"/>
                  <a:gd name="connsiteY1" fmla="*/ 620542 h 1328388"/>
                  <a:gd name="connsiteX2" fmla="*/ 95929 w 622948"/>
                  <a:gd name="connsiteY2" fmla="*/ 87142 h 1328388"/>
                  <a:gd name="connsiteX3" fmla="*/ 1458 w 622948"/>
                  <a:gd name="connsiteY3" fmla="*/ 97687 h 1328388"/>
                  <a:gd name="connsiteX4" fmla="*/ 104676 w 622948"/>
                  <a:gd name="connsiteY4" fmla="*/ 245472 h 1328388"/>
                  <a:gd name="connsiteX5" fmla="*/ 217661 w 622948"/>
                  <a:gd name="connsiteY5" fmla="*/ 418424 h 1328388"/>
                  <a:gd name="connsiteX6" fmla="*/ 213046 w 622948"/>
                  <a:gd name="connsiteY6" fmla="*/ 534817 h 1328388"/>
                  <a:gd name="connsiteX7" fmla="*/ 107252 w 622948"/>
                  <a:gd name="connsiteY7" fmla="*/ 1001542 h 1328388"/>
                  <a:gd name="connsiteX8" fmla="*/ 44172 w 622948"/>
                  <a:gd name="connsiteY8" fmla="*/ 1268242 h 1328388"/>
                  <a:gd name="connsiteX9" fmla="*/ 191179 w 622948"/>
                  <a:gd name="connsiteY9" fmla="*/ 1287292 h 1328388"/>
                  <a:gd name="connsiteX10" fmla="*/ 334054 w 622948"/>
                  <a:gd name="connsiteY10" fmla="*/ 944392 h 1328388"/>
                  <a:gd name="connsiteX11" fmla="*/ 429304 w 622948"/>
                  <a:gd name="connsiteY11" fmla="*/ 915817 h 1328388"/>
                  <a:gd name="connsiteX12" fmla="*/ 600754 w 622948"/>
                  <a:gd name="connsiteY12" fmla="*/ 1001542 h 1328388"/>
                  <a:gd name="connsiteX13" fmla="*/ 619804 w 622948"/>
                  <a:gd name="connsiteY13" fmla="*/ 696742 h 132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2948" h="1328388">
                    <a:moveTo>
                      <a:pt x="619804" y="696742"/>
                    </a:moveTo>
                    <a:cubicBezTo>
                      <a:pt x="622948" y="674454"/>
                      <a:pt x="583291" y="722142"/>
                      <a:pt x="495979" y="620542"/>
                    </a:cubicBezTo>
                    <a:cubicBezTo>
                      <a:pt x="408667" y="518942"/>
                      <a:pt x="178349" y="174284"/>
                      <a:pt x="95929" y="87142"/>
                    </a:cubicBezTo>
                    <a:cubicBezTo>
                      <a:pt x="13509" y="0"/>
                      <a:pt x="0" y="71299"/>
                      <a:pt x="1458" y="97687"/>
                    </a:cubicBezTo>
                    <a:cubicBezTo>
                      <a:pt x="10644" y="124075"/>
                      <a:pt x="66925" y="202748"/>
                      <a:pt x="104676" y="245472"/>
                    </a:cubicBezTo>
                    <a:cubicBezTo>
                      <a:pt x="139851" y="306226"/>
                      <a:pt x="199599" y="370200"/>
                      <a:pt x="217661" y="418424"/>
                    </a:cubicBezTo>
                    <a:cubicBezTo>
                      <a:pt x="235723" y="466648"/>
                      <a:pt x="231448" y="437631"/>
                      <a:pt x="213046" y="534817"/>
                    </a:cubicBezTo>
                    <a:cubicBezTo>
                      <a:pt x="194645" y="632003"/>
                      <a:pt x="135398" y="879305"/>
                      <a:pt x="107252" y="1001542"/>
                    </a:cubicBezTo>
                    <a:cubicBezTo>
                      <a:pt x="79106" y="1123780"/>
                      <a:pt x="45639" y="1228344"/>
                      <a:pt x="44172" y="1268242"/>
                    </a:cubicBezTo>
                    <a:cubicBezTo>
                      <a:pt x="58160" y="1315867"/>
                      <a:pt x="155744" y="1328388"/>
                      <a:pt x="191179" y="1287292"/>
                    </a:cubicBezTo>
                    <a:cubicBezTo>
                      <a:pt x="239493" y="1233317"/>
                      <a:pt x="294366" y="1006305"/>
                      <a:pt x="334054" y="944392"/>
                    </a:cubicBezTo>
                    <a:cubicBezTo>
                      <a:pt x="373742" y="882479"/>
                      <a:pt x="384854" y="906292"/>
                      <a:pt x="429304" y="915817"/>
                    </a:cubicBezTo>
                    <a:cubicBezTo>
                      <a:pt x="473754" y="925342"/>
                      <a:pt x="570591" y="1038055"/>
                      <a:pt x="600754" y="1001542"/>
                    </a:cubicBezTo>
                    <a:cubicBezTo>
                      <a:pt x="605159" y="972757"/>
                      <a:pt x="616659" y="796303"/>
                      <a:pt x="619804" y="69674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83" name="Group 182"/>
            <p:cNvGrpSpPr/>
            <p:nvPr/>
          </p:nvGrpSpPr>
          <p:grpSpPr>
            <a:xfrm>
              <a:off x="4732609" y="4117531"/>
              <a:ext cx="527616" cy="1643774"/>
              <a:chOff x="3505201" y="381000"/>
              <a:chExt cx="2054508" cy="6400800"/>
            </a:xfrm>
            <a:grpFill/>
            <a:effectLst/>
          </p:grpSpPr>
          <p:grpSp>
            <p:nvGrpSpPr>
              <p:cNvPr id="187" name="Group 169"/>
              <p:cNvGrpSpPr/>
              <p:nvPr/>
            </p:nvGrpSpPr>
            <p:grpSpPr>
              <a:xfrm>
                <a:off x="4468856" y="381000"/>
                <a:ext cx="590846" cy="1239869"/>
                <a:chOff x="4468856" y="381000"/>
                <a:chExt cx="590846" cy="1239869"/>
              </a:xfrm>
              <a:grpFill/>
            </p:grpSpPr>
            <p:sp>
              <p:nvSpPr>
                <p:cNvPr id="240" name="Freeform 239"/>
                <p:cNvSpPr/>
                <p:nvPr/>
              </p:nvSpPr>
              <p:spPr>
                <a:xfrm>
                  <a:off x="4736264" y="762823"/>
                  <a:ext cx="95848" cy="42217"/>
                </a:xfrm>
                <a:custGeom>
                  <a:avLst/>
                  <a:gdLst>
                    <a:gd name="connsiteX0" fmla="*/ 57150 w 504825"/>
                    <a:gd name="connsiteY0" fmla="*/ 203200 h 222353"/>
                    <a:gd name="connsiteX1" fmla="*/ 0 w 504825"/>
                    <a:gd name="connsiteY1" fmla="*/ 187325 h 222353"/>
                    <a:gd name="connsiteX2" fmla="*/ 47625 w 504825"/>
                    <a:gd name="connsiteY2" fmla="*/ 82550 h 222353"/>
                    <a:gd name="connsiteX3" fmla="*/ 155575 w 504825"/>
                    <a:gd name="connsiteY3" fmla="*/ 9525 h 222353"/>
                    <a:gd name="connsiteX4" fmla="*/ 320675 w 504825"/>
                    <a:gd name="connsiteY4" fmla="*/ 0 h 222353"/>
                    <a:gd name="connsiteX5" fmla="*/ 482600 w 504825"/>
                    <a:gd name="connsiteY5" fmla="*/ 66675 h 222353"/>
                    <a:gd name="connsiteX6" fmla="*/ 504825 w 504825"/>
                    <a:gd name="connsiteY6" fmla="*/ 123825 h 222353"/>
                    <a:gd name="connsiteX7" fmla="*/ 438150 w 504825"/>
                    <a:gd name="connsiteY7" fmla="*/ 187325 h 222353"/>
                    <a:gd name="connsiteX8" fmla="*/ 317500 w 504825"/>
                    <a:gd name="connsiteY8" fmla="*/ 219075 h 222353"/>
                    <a:gd name="connsiteX9" fmla="*/ 174625 w 504825"/>
                    <a:gd name="connsiteY9" fmla="*/ 222250 h 222353"/>
                    <a:gd name="connsiteX10" fmla="*/ 57150 w 504825"/>
                    <a:gd name="connsiteY10" fmla="*/ 203200 h 222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4825" h="222353">
                      <a:moveTo>
                        <a:pt x="57150" y="203200"/>
                      </a:moveTo>
                      <a:lnTo>
                        <a:pt x="0" y="187325"/>
                      </a:lnTo>
                      <a:cubicBezTo>
                        <a:pt x="48074" y="84767"/>
                        <a:pt x="47625" y="123128"/>
                        <a:pt x="47625" y="82550"/>
                      </a:cubicBezTo>
                      <a:lnTo>
                        <a:pt x="155575" y="9525"/>
                      </a:lnTo>
                      <a:cubicBezTo>
                        <a:pt x="210605" y="6288"/>
                        <a:pt x="265550" y="0"/>
                        <a:pt x="320675" y="0"/>
                      </a:cubicBezTo>
                      <a:lnTo>
                        <a:pt x="482600" y="66675"/>
                      </a:lnTo>
                      <a:lnTo>
                        <a:pt x="504825" y="123825"/>
                      </a:lnTo>
                      <a:lnTo>
                        <a:pt x="438150" y="187325"/>
                      </a:lnTo>
                      <a:cubicBezTo>
                        <a:pt x="319653" y="219351"/>
                        <a:pt x="361238" y="219075"/>
                        <a:pt x="317500" y="219075"/>
                      </a:cubicBezTo>
                      <a:cubicBezTo>
                        <a:pt x="183093" y="222353"/>
                        <a:pt x="230730" y="222250"/>
                        <a:pt x="174625" y="222250"/>
                      </a:cubicBezTo>
                      <a:lnTo>
                        <a:pt x="57150" y="2032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41" name="Freeform 240"/>
                <p:cNvSpPr/>
                <p:nvPr/>
              </p:nvSpPr>
              <p:spPr>
                <a:xfrm>
                  <a:off x="4741087" y="781510"/>
                  <a:ext cx="93436" cy="25921"/>
                </a:xfrm>
                <a:custGeom>
                  <a:avLst/>
                  <a:gdLst>
                    <a:gd name="connsiteX0" fmla="*/ 0 w 492125"/>
                    <a:gd name="connsiteY0" fmla="*/ 98425 h 136525"/>
                    <a:gd name="connsiteX1" fmla="*/ 73025 w 492125"/>
                    <a:gd name="connsiteY1" fmla="*/ 98425 h 136525"/>
                    <a:gd name="connsiteX2" fmla="*/ 165100 w 492125"/>
                    <a:gd name="connsiteY2" fmla="*/ 111125 h 136525"/>
                    <a:gd name="connsiteX3" fmla="*/ 295275 w 492125"/>
                    <a:gd name="connsiteY3" fmla="*/ 98425 h 136525"/>
                    <a:gd name="connsiteX4" fmla="*/ 396875 w 492125"/>
                    <a:gd name="connsiteY4" fmla="*/ 69850 h 136525"/>
                    <a:gd name="connsiteX5" fmla="*/ 473075 w 492125"/>
                    <a:gd name="connsiteY5" fmla="*/ 0 h 136525"/>
                    <a:gd name="connsiteX6" fmla="*/ 492125 w 492125"/>
                    <a:gd name="connsiteY6" fmla="*/ 25400 h 136525"/>
                    <a:gd name="connsiteX7" fmla="*/ 482600 w 492125"/>
                    <a:gd name="connsiteY7" fmla="*/ 60325 h 136525"/>
                    <a:gd name="connsiteX8" fmla="*/ 419100 w 492125"/>
                    <a:gd name="connsiteY8" fmla="*/ 111125 h 136525"/>
                    <a:gd name="connsiteX9" fmla="*/ 311150 w 492125"/>
                    <a:gd name="connsiteY9" fmla="*/ 133350 h 136525"/>
                    <a:gd name="connsiteX10" fmla="*/ 149225 w 492125"/>
                    <a:gd name="connsiteY10" fmla="*/ 136525 h 136525"/>
                    <a:gd name="connsiteX11" fmla="*/ 53975 w 492125"/>
                    <a:gd name="connsiteY11" fmla="*/ 120650 h 136525"/>
                    <a:gd name="connsiteX12" fmla="*/ 0 w 492125"/>
                    <a:gd name="connsiteY12" fmla="*/ 98425 h 13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2125" h="136525">
                      <a:moveTo>
                        <a:pt x="0" y="98425"/>
                      </a:moveTo>
                      <a:lnTo>
                        <a:pt x="73025" y="98425"/>
                      </a:lnTo>
                      <a:lnTo>
                        <a:pt x="165100" y="111125"/>
                      </a:lnTo>
                      <a:lnTo>
                        <a:pt x="295275" y="98425"/>
                      </a:lnTo>
                      <a:lnTo>
                        <a:pt x="396875" y="69850"/>
                      </a:lnTo>
                      <a:cubicBezTo>
                        <a:pt x="473871" y="2478"/>
                        <a:pt x="473075" y="36926"/>
                        <a:pt x="473075" y="0"/>
                      </a:cubicBezTo>
                      <a:lnTo>
                        <a:pt x="492125" y="25400"/>
                      </a:lnTo>
                      <a:lnTo>
                        <a:pt x="482600" y="60325"/>
                      </a:lnTo>
                      <a:cubicBezTo>
                        <a:pt x="421465" y="111807"/>
                        <a:pt x="448563" y="111125"/>
                        <a:pt x="419100" y="111125"/>
                      </a:cubicBezTo>
                      <a:lnTo>
                        <a:pt x="311150" y="133350"/>
                      </a:lnTo>
                      <a:lnTo>
                        <a:pt x="149225" y="136525"/>
                      </a:lnTo>
                      <a:cubicBezTo>
                        <a:pt x="56107" y="120470"/>
                        <a:pt x="88295" y="120650"/>
                        <a:pt x="53975" y="120650"/>
                      </a:cubicBezTo>
                      <a:lnTo>
                        <a:pt x="0" y="9842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nvGrpSpPr>
                <p:cNvPr id="242" name="Group 168"/>
                <p:cNvGrpSpPr/>
                <p:nvPr/>
              </p:nvGrpSpPr>
              <p:grpSpPr>
                <a:xfrm>
                  <a:off x="4468856" y="381000"/>
                  <a:ext cx="590846" cy="1239869"/>
                  <a:chOff x="4468856" y="381000"/>
                  <a:chExt cx="590846" cy="1239869"/>
                </a:xfrm>
                <a:grpFill/>
              </p:grpSpPr>
              <p:sp>
                <p:nvSpPr>
                  <p:cNvPr id="243" name="Freeform 242"/>
                  <p:cNvSpPr/>
                  <p:nvPr/>
                </p:nvSpPr>
                <p:spPr>
                  <a:xfrm>
                    <a:off x="4606298" y="968383"/>
                    <a:ext cx="392071" cy="652486"/>
                  </a:xfrm>
                  <a:custGeom>
                    <a:avLst/>
                    <a:gdLst>
                      <a:gd name="connsiteX0" fmla="*/ 160020 w 2065020"/>
                      <a:gd name="connsiteY0" fmla="*/ 937260 h 3436620"/>
                      <a:gd name="connsiteX1" fmla="*/ 259080 w 2065020"/>
                      <a:gd name="connsiteY1" fmla="*/ 1028700 h 3436620"/>
                      <a:gd name="connsiteX2" fmla="*/ 373380 w 2065020"/>
                      <a:gd name="connsiteY2" fmla="*/ 1089660 h 3436620"/>
                      <a:gd name="connsiteX3" fmla="*/ 449580 w 2065020"/>
                      <a:gd name="connsiteY3" fmla="*/ 1120140 h 3436620"/>
                      <a:gd name="connsiteX4" fmla="*/ 617220 w 2065020"/>
                      <a:gd name="connsiteY4" fmla="*/ 1120140 h 3436620"/>
                      <a:gd name="connsiteX5" fmla="*/ 754380 w 2065020"/>
                      <a:gd name="connsiteY5" fmla="*/ 1120140 h 3436620"/>
                      <a:gd name="connsiteX6" fmla="*/ 975360 w 2065020"/>
                      <a:gd name="connsiteY6" fmla="*/ 1036320 h 3436620"/>
                      <a:gd name="connsiteX7" fmla="*/ 1203960 w 2065020"/>
                      <a:gd name="connsiteY7" fmla="*/ 906780 h 3436620"/>
                      <a:gd name="connsiteX8" fmla="*/ 1463040 w 2065020"/>
                      <a:gd name="connsiteY8" fmla="*/ 693420 h 3436620"/>
                      <a:gd name="connsiteX9" fmla="*/ 1645920 w 2065020"/>
                      <a:gd name="connsiteY9" fmla="*/ 495300 h 3436620"/>
                      <a:gd name="connsiteX10" fmla="*/ 1775460 w 2065020"/>
                      <a:gd name="connsiteY10" fmla="*/ 304800 h 3436620"/>
                      <a:gd name="connsiteX11" fmla="*/ 1897380 w 2065020"/>
                      <a:gd name="connsiteY11" fmla="*/ 0 h 3436620"/>
                      <a:gd name="connsiteX12" fmla="*/ 1882140 w 2065020"/>
                      <a:gd name="connsiteY12" fmla="*/ 281940 h 3436620"/>
                      <a:gd name="connsiteX13" fmla="*/ 1882140 w 2065020"/>
                      <a:gd name="connsiteY13" fmla="*/ 556260 h 3436620"/>
                      <a:gd name="connsiteX14" fmla="*/ 1920240 w 2065020"/>
                      <a:gd name="connsiteY14" fmla="*/ 830580 h 3436620"/>
                      <a:gd name="connsiteX15" fmla="*/ 1996440 w 2065020"/>
                      <a:gd name="connsiteY15" fmla="*/ 1059180 h 3436620"/>
                      <a:gd name="connsiteX16" fmla="*/ 2065020 w 2065020"/>
                      <a:gd name="connsiteY16" fmla="*/ 1158240 h 3436620"/>
                      <a:gd name="connsiteX17" fmla="*/ 1935480 w 2065020"/>
                      <a:gd name="connsiteY17" fmla="*/ 1440180 h 3436620"/>
                      <a:gd name="connsiteX18" fmla="*/ 1783080 w 2065020"/>
                      <a:gd name="connsiteY18" fmla="*/ 1798320 h 3436620"/>
                      <a:gd name="connsiteX19" fmla="*/ 1645920 w 2065020"/>
                      <a:gd name="connsiteY19" fmla="*/ 2065020 h 3436620"/>
                      <a:gd name="connsiteX20" fmla="*/ 1577340 w 2065020"/>
                      <a:gd name="connsiteY20" fmla="*/ 2202180 h 3436620"/>
                      <a:gd name="connsiteX21" fmla="*/ 1501140 w 2065020"/>
                      <a:gd name="connsiteY21" fmla="*/ 2331720 h 3436620"/>
                      <a:gd name="connsiteX22" fmla="*/ 1341120 w 2065020"/>
                      <a:gd name="connsiteY22" fmla="*/ 2407920 h 3436620"/>
                      <a:gd name="connsiteX23" fmla="*/ 1135380 w 2065020"/>
                      <a:gd name="connsiteY23" fmla="*/ 2438400 h 3436620"/>
                      <a:gd name="connsiteX24" fmla="*/ 998220 w 2065020"/>
                      <a:gd name="connsiteY24" fmla="*/ 2468880 h 3436620"/>
                      <a:gd name="connsiteX25" fmla="*/ 853440 w 2065020"/>
                      <a:gd name="connsiteY25" fmla="*/ 2598420 h 3436620"/>
                      <a:gd name="connsiteX26" fmla="*/ 662940 w 2065020"/>
                      <a:gd name="connsiteY26" fmla="*/ 3063240 h 3436620"/>
                      <a:gd name="connsiteX27" fmla="*/ 495300 w 2065020"/>
                      <a:gd name="connsiteY27" fmla="*/ 3436620 h 3436620"/>
                      <a:gd name="connsiteX28" fmla="*/ 350520 w 2065020"/>
                      <a:gd name="connsiteY28" fmla="*/ 3108960 h 3436620"/>
                      <a:gd name="connsiteX29" fmla="*/ 228600 w 2065020"/>
                      <a:gd name="connsiteY29" fmla="*/ 2613660 h 3436620"/>
                      <a:gd name="connsiteX30" fmla="*/ 137160 w 2065020"/>
                      <a:gd name="connsiteY30" fmla="*/ 2293620 h 3436620"/>
                      <a:gd name="connsiteX31" fmla="*/ 0 w 2065020"/>
                      <a:gd name="connsiteY31" fmla="*/ 1950720 h 3436620"/>
                      <a:gd name="connsiteX32" fmla="*/ 76200 w 2065020"/>
                      <a:gd name="connsiteY32" fmla="*/ 1645920 h 3436620"/>
                      <a:gd name="connsiteX33" fmla="*/ 152400 w 2065020"/>
                      <a:gd name="connsiteY33" fmla="*/ 1348740 h 3436620"/>
                      <a:gd name="connsiteX34" fmla="*/ 167640 w 2065020"/>
                      <a:gd name="connsiteY34" fmla="*/ 1082040 h 3436620"/>
                      <a:gd name="connsiteX35" fmla="*/ 160020 w 2065020"/>
                      <a:gd name="connsiteY35" fmla="*/ 937260 h 3436620"/>
                      <a:gd name="connsiteX0" fmla="*/ 160020 w 2065020"/>
                      <a:gd name="connsiteY0" fmla="*/ 937260 h 3436620"/>
                      <a:gd name="connsiteX1" fmla="*/ 259080 w 2065020"/>
                      <a:gd name="connsiteY1" fmla="*/ 1028700 h 3436620"/>
                      <a:gd name="connsiteX2" fmla="*/ 373380 w 2065020"/>
                      <a:gd name="connsiteY2" fmla="*/ 1089660 h 3436620"/>
                      <a:gd name="connsiteX3" fmla="*/ 449580 w 2065020"/>
                      <a:gd name="connsiteY3" fmla="*/ 1120140 h 3436620"/>
                      <a:gd name="connsiteX4" fmla="*/ 617220 w 2065020"/>
                      <a:gd name="connsiteY4" fmla="*/ 1120140 h 3436620"/>
                      <a:gd name="connsiteX5" fmla="*/ 754380 w 2065020"/>
                      <a:gd name="connsiteY5" fmla="*/ 1120140 h 3436620"/>
                      <a:gd name="connsiteX6" fmla="*/ 975360 w 2065020"/>
                      <a:gd name="connsiteY6" fmla="*/ 1036320 h 3436620"/>
                      <a:gd name="connsiteX7" fmla="*/ 1203960 w 2065020"/>
                      <a:gd name="connsiteY7" fmla="*/ 906780 h 3436620"/>
                      <a:gd name="connsiteX8" fmla="*/ 1463040 w 2065020"/>
                      <a:gd name="connsiteY8" fmla="*/ 693420 h 3436620"/>
                      <a:gd name="connsiteX9" fmla="*/ 1653540 w 2065020"/>
                      <a:gd name="connsiteY9" fmla="*/ 449580 h 3436620"/>
                      <a:gd name="connsiteX10" fmla="*/ 1775460 w 2065020"/>
                      <a:gd name="connsiteY10" fmla="*/ 304800 h 3436620"/>
                      <a:gd name="connsiteX11" fmla="*/ 1897380 w 2065020"/>
                      <a:gd name="connsiteY11" fmla="*/ 0 h 3436620"/>
                      <a:gd name="connsiteX12" fmla="*/ 1882140 w 2065020"/>
                      <a:gd name="connsiteY12" fmla="*/ 281940 h 3436620"/>
                      <a:gd name="connsiteX13" fmla="*/ 1882140 w 2065020"/>
                      <a:gd name="connsiteY13" fmla="*/ 556260 h 3436620"/>
                      <a:gd name="connsiteX14" fmla="*/ 1920240 w 2065020"/>
                      <a:gd name="connsiteY14" fmla="*/ 830580 h 3436620"/>
                      <a:gd name="connsiteX15" fmla="*/ 1996440 w 2065020"/>
                      <a:gd name="connsiteY15" fmla="*/ 1059180 h 3436620"/>
                      <a:gd name="connsiteX16" fmla="*/ 2065020 w 2065020"/>
                      <a:gd name="connsiteY16" fmla="*/ 1158240 h 3436620"/>
                      <a:gd name="connsiteX17" fmla="*/ 1935480 w 2065020"/>
                      <a:gd name="connsiteY17" fmla="*/ 1440180 h 3436620"/>
                      <a:gd name="connsiteX18" fmla="*/ 1783080 w 2065020"/>
                      <a:gd name="connsiteY18" fmla="*/ 1798320 h 3436620"/>
                      <a:gd name="connsiteX19" fmla="*/ 1645920 w 2065020"/>
                      <a:gd name="connsiteY19" fmla="*/ 2065020 h 3436620"/>
                      <a:gd name="connsiteX20" fmla="*/ 1577340 w 2065020"/>
                      <a:gd name="connsiteY20" fmla="*/ 2202180 h 3436620"/>
                      <a:gd name="connsiteX21" fmla="*/ 1501140 w 2065020"/>
                      <a:gd name="connsiteY21" fmla="*/ 2331720 h 3436620"/>
                      <a:gd name="connsiteX22" fmla="*/ 1341120 w 2065020"/>
                      <a:gd name="connsiteY22" fmla="*/ 2407920 h 3436620"/>
                      <a:gd name="connsiteX23" fmla="*/ 1135380 w 2065020"/>
                      <a:gd name="connsiteY23" fmla="*/ 2438400 h 3436620"/>
                      <a:gd name="connsiteX24" fmla="*/ 998220 w 2065020"/>
                      <a:gd name="connsiteY24" fmla="*/ 2468880 h 3436620"/>
                      <a:gd name="connsiteX25" fmla="*/ 853440 w 2065020"/>
                      <a:gd name="connsiteY25" fmla="*/ 2598420 h 3436620"/>
                      <a:gd name="connsiteX26" fmla="*/ 662940 w 2065020"/>
                      <a:gd name="connsiteY26" fmla="*/ 3063240 h 3436620"/>
                      <a:gd name="connsiteX27" fmla="*/ 495300 w 2065020"/>
                      <a:gd name="connsiteY27" fmla="*/ 3436620 h 3436620"/>
                      <a:gd name="connsiteX28" fmla="*/ 350520 w 2065020"/>
                      <a:gd name="connsiteY28" fmla="*/ 3108960 h 3436620"/>
                      <a:gd name="connsiteX29" fmla="*/ 228600 w 2065020"/>
                      <a:gd name="connsiteY29" fmla="*/ 2613660 h 3436620"/>
                      <a:gd name="connsiteX30" fmla="*/ 137160 w 2065020"/>
                      <a:gd name="connsiteY30" fmla="*/ 2293620 h 3436620"/>
                      <a:gd name="connsiteX31" fmla="*/ 0 w 2065020"/>
                      <a:gd name="connsiteY31" fmla="*/ 1950720 h 3436620"/>
                      <a:gd name="connsiteX32" fmla="*/ 76200 w 2065020"/>
                      <a:gd name="connsiteY32" fmla="*/ 1645920 h 3436620"/>
                      <a:gd name="connsiteX33" fmla="*/ 152400 w 2065020"/>
                      <a:gd name="connsiteY33" fmla="*/ 1348740 h 3436620"/>
                      <a:gd name="connsiteX34" fmla="*/ 167640 w 2065020"/>
                      <a:gd name="connsiteY34" fmla="*/ 1082040 h 3436620"/>
                      <a:gd name="connsiteX35" fmla="*/ 160020 w 2065020"/>
                      <a:gd name="connsiteY35" fmla="*/ 937260 h 3436620"/>
                      <a:gd name="connsiteX0" fmla="*/ 160020 w 2065020"/>
                      <a:gd name="connsiteY0" fmla="*/ 937260 h 3436620"/>
                      <a:gd name="connsiteX1" fmla="*/ 259080 w 2065020"/>
                      <a:gd name="connsiteY1" fmla="*/ 1028700 h 3436620"/>
                      <a:gd name="connsiteX2" fmla="*/ 373380 w 2065020"/>
                      <a:gd name="connsiteY2" fmla="*/ 1089660 h 3436620"/>
                      <a:gd name="connsiteX3" fmla="*/ 449580 w 2065020"/>
                      <a:gd name="connsiteY3" fmla="*/ 1120140 h 3436620"/>
                      <a:gd name="connsiteX4" fmla="*/ 617220 w 2065020"/>
                      <a:gd name="connsiteY4" fmla="*/ 1120140 h 3436620"/>
                      <a:gd name="connsiteX5" fmla="*/ 754380 w 2065020"/>
                      <a:gd name="connsiteY5" fmla="*/ 1120140 h 3436620"/>
                      <a:gd name="connsiteX6" fmla="*/ 975360 w 2065020"/>
                      <a:gd name="connsiteY6" fmla="*/ 1036320 h 3436620"/>
                      <a:gd name="connsiteX7" fmla="*/ 1203960 w 2065020"/>
                      <a:gd name="connsiteY7" fmla="*/ 906780 h 3436620"/>
                      <a:gd name="connsiteX8" fmla="*/ 1463040 w 2065020"/>
                      <a:gd name="connsiteY8" fmla="*/ 693420 h 3436620"/>
                      <a:gd name="connsiteX9" fmla="*/ 1653540 w 2065020"/>
                      <a:gd name="connsiteY9" fmla="*/ 449580 h 3436620"/>
                      <a:gd name="connsiteX10" fmla="*/ 1775460 w 2065020"/>
                      <a:gd name="connsiteY10" fmla="*/ 304800 h 3436620"/>
                      <a:gd name="connsiteX11" fmla="*/ 1897380 w 2065020"/>
                      <a:gd name="connsiteY11" fmla="*/ 0 h 3436620"/>
                      <a:gd name="connsiteX12" fmla="*/ 1882140 w 2065020"/>
                      <a:gd name="connsiteY12" fmla="*/ 281940 h 3436620"/>
                      <a:gd name="connsiteX13" fmla="*/ 1882140 w 2065020"/>
                      <a:gd name="connsiteY13" fmla="*/ 556260 h 3436620"/>
                      <a:gd name="connsiteX14" fmla="*/ 1920240 w 2065020"/>
                      <a:gd name="connsiteY14" fmla="*/ 830580 h 3436620"/>
                      <a:gd name="connsiteX15" fmla="*/ 1996440 w 2065020"/>
                      <a:gd name="connsiteY15" fmla="*/ 1059180 h 3436620"/>
                      <a:gd name="connsiteX16" fmla="*/ 2065020 w 2065020"/>
                      <a:gd name="connsiteY16" fmla="*/ 1158240 h 3436620"/>
                      <a:gd name="connsiteX17" fmla="*/ 1935480 w 2065020"/>
                      <a:gd name="connsiteY17" fmla="*/ 1440180 h 3436620"/>
                      <a:gd name="connsiteX18" fmla="*/ 1783080 w 2065020"/>
                      <a:gd name="connsiteY18" fmla="*/ 1798320 h 3436620"/>
                      <a:gd name="connsiteX19" fmla="*/ 1645920 w 2065020"/>
                      <a:gd name="connsiteY19" fmla="*/ 2065020 h 3436620"/>
                      <a:gd name="connsiteX20" fmla="*/ 1577340 w 2065020"/>
                      <a:gd name="connsiteY20" fmla="*/ 2202180 h 3436620"/>
                      <a:gd name="connsiteX21" fmla="*/ 1501140 w 2065020"/>
                      <a:gd name="connsiteY21" fmla="*/ 2331720 h 3436620"/>
                      <a:gd name="connsiteX22" fmla="*/ 1341120 w 2065020"/>
                      <a:gd name="connsiteY22" fmla="*/ 2407920 h 3436620"/>
                      <a:gd name="connsiteX23" fmla="*/ 1135380 w 2065020"/>
                      <a:gd name="connsiteY23" fmla="*/ 2438400 h 3436620"/>
                      <a:gd name="connsiteX24" fmla="*/ 998220 w 2065020"/>
                      <a:gd name="connsiteY24" fmla="*/ 2468880 h 3436620"/>
                      <a:gd name="connsiteX25" fmla="*/ 853440 w 2065020"/>
                      <a:gd name="connsiteY25" fmla="*/ 2598420 h 3436620"/>
                      <a:gd name="connsiteX26" fmla="*/ 662940 w 2065020"/>
                      <a:gd name="connsiteY26" fmla="*/ 3063240 h 3436620"/>
                      <a:gd name="connsiteX27" fmla="*/ 495300 w 2065020"/>
                      <a:gd name="connsiteY27" fmla="*/ 3436620 h 3436620"/>
                      <a:gd name="connsiteX28" fmla="*/ 350520 w 2065020"/>
                      <a:gd name="connsiteY28" fmla="*/ 3108960 h 3436620"/>
                      <a:gd name="connsiteX29" fmla="*/ 228600 w 2065020"/>
                      <a:gd name="connsiteY29" fmla="*/ 2613660 h 3436620"/>
                      <a:gd name="connsiteX30" fmla="*/ 137160 w 2065020"/>
                      <a:gd name="connsiteY30" fmla="*/ 2293620 h 3436620"/>
                      <a:gd name="connsiteX31" fmla="*/ 0 w 2065020"/>
                      <a:gd name="connsiteY31" fmla="*/ 1950720 h 3436620"/>
                      <a:gd name="connsiteX32" fmla="*/ 76200 w 2065020"/>
                      <a:gd name="connsiteY32" fmla="*/ 1645920 h 3436620"/>
                      <a:gd name="connsiteX33" fmla="*/ 152400 w 2065020"/>
                      <a:gd name="connsiteY33" fmla="*/ 1348740 h 3436620"/>
                      <a:gd name="connsiteX34" fmla="*/ 167640 w 2065020"/>
                      <a:gd name="connsiteY34" fmla="*/ 1082040 h 3436620"/>
                      <a:gd name="connsiteX35" fmla="*/ 160020 w 2065020"/>
                      <a:gd name="connsiteY35" fmla="*/ 937260 h 3436620"/>
                      <a:gd name="connsiteX0" fmla="*/ 160020 w 2065020"/>
                      <a:gd name="connsiteY0" fmla="*/ 937260 h 3436620"/>
                      <a:gd name="connsiteX1" fmla="*/ 259080 w 2065020"/>
                      <a:gd name="connsiteY1" fmla="*/ 1028700 h 3436620"/>
                      <a:gd name="connsiteX2" fmla="*/ 373380 w 2065020"/>
                      <a:gd name="connsiteY2" fmla="*/ 1089660 h 3436620"/>
                      <a:gd name="connsiteX3" fmla="*/ 449580 w 2065020"/>
                      <a:gd name="connsiteY3" fmla="*/ 1120140 h 3436620"/>
                      <a:gd name="connsiteX4" fmla="*/ 617220 w 2065020"/>
                      <a:gd name="connsiteY4" fmla="*/ 1120140 h 3436620"/>
                      <a:gd name="connsiteX5" fmla="*/ 754380 w 2065020"/>
                      <a:gd name="connsiteY5" fmla="*/ 1120140 h 3436620"/>
                      <a:gd name="connsiteX6" fmla="*/ 975360 w 2065020"/>
                      <a:gd name="connsiteY6" fmla="*/ 1036320 h 3436620"/>
                      <a:gd name="connsiteX7" fmla="*/ 1203960 w 2065020"/>
                      <a:gd name="connsiteY7" fmla="*/ 906780 h 3436620"/>
                      <a:gd name="connsiteX8" fmla="*/ 1463040 w 2065020"/>
                      <a:gd name="connsiteY8" fmla="*/ 693420 h 3436620"/>
                      <a:gd name="connsiteX9" fmla="*/ 1653540 w 2065020"/>
                      <a:gd name="connsiteY9" fmla="*/ 449580 h 3436620"/>
                      <a:gd name="connsiteX10" fmla="*/ 1775460 w 2065020"/>
                      <a:gd name="connsiteY10" fmla="*/ 304800 h 3436620"/>
                      <a:gd name="connsiteX11" fmla="*/ 1897380 w 2065020"/>
                      <a:gd name="connsiteY11" fmla="*/ 0 h 3436620"/>
                      <a:gd name="connsiteX12" fmla="*/ 1882140 w 2065020"/>
                      <a:gd name="connsiteY12" fmla="*/ 281940 h 3436620"/>
                      <a:gd name="connsiteX13" fmla="*/ 1882140 w 2065020"/>
                      <a:gd name="connsiteY13" fmla="*/ 556260 h 3436620"/>
                      <a:gd name="connsiteX14" fmla="*/ 1920240 w 2065020"/>
                      <a:gd name="connsiteY14" fmla="*/ 830580 h 3436620"/>
                      <a:gd name="connsiteX15" fmla="*/ 1996440 w 2065020"/>
                      <a:gd name="connsiteY15" fmla="*/ 1059180 h 3436620"/>
                      <a:gd name="connsiteX16" fmla="*/ 2065020 w 2065020"/>
                      <a:gd name="connsiteY16" fmla="*/ 1158240 h 3436620"/>
                      <a:gd name="connsiteX17" fmla="*/ 1935480 w 2065020"/>
                      <a:gd name="connsiteY17" fmla="*/ 1440180 h 3436620"/>
                      <a:gd name="connsiteX18" fmla="*/ 1783080 w 2065020"/>
                      <a:gd name="connsiteY18" fmla="*/ 1798320 h 3436620"/>
                      <a:gd name="connsiteX19" fmla="*/ 1645920 w 2065020"/>
                      <a:gd name="connsiteY19" fmla="*/ 2065020 h 3436620"/>
                      <a:gd name="connsiteX20" fmla="*/ 1577340 w 2065020"/>
                      <a:gd name="connsiteY20" fmla="*/ 2202180 h 3436620"/>
                      <a:gd name="connsiteX21" fmla="*/ 1501140 w 2065020"/>
                      <a:gd name="connsiteY21" fmla="*/ 2331720 h 3436620"/>
                      <a:gd name="connsiteX22" fmla="*/ 1341120 w 2065020"/>
                      <a:gd name="connsiteY22" fmla="*/ 2407920 h 3436620"/>
                      <a:gd name="connsiteX23" fmla="*/ 1135380 w 2065020"/>
                      <a:gd name="connsiteY23" fmla="*/ 2438400 h 3436620"/>
                      <a:gd name="connsiteX24" fmla="*/ 998220 w 2065020"/>
                      <a:gd name="connsiteY24" fmla="*/ 2468880 h 3436620"/>
                      <a:gd name="connsiteX25" fmla="*/ 853440 w 2065020"/>
                      <a:gd name="connsiteY25" fmla="*/ 2598420 h 3436620"/>
                      <a:gd name="connsiteX26" fmla="*/ 701040 w 2065020"/>
                      <a:gd name="connsiteY26" fmla="*/ 3075940 h 3436620"/>
                      <a:gd name="connsiteX27" fmla="*/ 495300 w 2065020"/>
                      <a:gd name="connsiteY27" fmla="*/ 3436620 h 3436620"/>
                      <a:gd name="connsiteX28" fmla="*/ 350520 w 2065020"/>
                      <a:gd name="connsiteY28" fmla="*/ 3108960 h 3436620"/>
                      <a:gd name="connsiteX29" fmla="*/ 228600 w 2065020"/>
                      <a:gd name="connsiteY29" fmla="*/ 2613660 h 3436620"/>
                      <a:gd name="connsiteX30" fmla="*/ 137160 w 2065020"/>
                      <a:gd name="connsiteY30" fmla="*/ 2293620 h 3436620"/>
                      <a:gd name="connsiteX31" fmla="*/ 0 w 2065020"/>
                      <a:gd name="connsiteY31" fmla="*/ 1950720 h 3436620"/>
                      <a:gd name="connsiteX32" fmla="*/ 76200 w 2065020"/>
                      <a:gd name="connsiteY32" fmla="*/ 1645920 h 3436620"/>
                      <a:gd name="connsiteX33" fmla="*/ 152400 w 2065020"/>
                      <a:gd name="connsiteY33" fmla="*/ 1348740 h 3436620"/>
                      <a:gd name="connsiteX34" fmla="*/ 167640 w 2065020"/>
                      <a:gd name="connsiteY34" fmla="*/ 1082040 h 3436620"/>
                      <a:gd name="connsiteX35" fmla="*/ 160020 w 2065020"/>
                      <a:gd name="connsiteY35" fmla="*/ 937260 h 3436620"/>
                      <a:gd name="connsiteX0" fmla="*/ 160020 w 2065020"/>
                      <a:gd name="connsiteY0" fmla="*/ 937260 h 3436620"/>
                      <a:gd name="connsiteX1" fmla="*/ 259080 w 2065020"/>
                      <a:gd name="connsiteY1" fmla="*/ 1028700 h 3436620"/>
                      <a:gd name="connsiteX2" fmla="*/ 373380 w 2065020"/>
                      <a:gd name="connsiteY2" fmla="*/ 1089660 h 3436620"/>
                      <a:gd name="connsiteX3" fmla="*/ 449580 w 2065020"/>
                      <a:gd name="connsiteY3" fmla="*/ 1120140 h 3436620"/>
                      <a:gd name="connsiteX4" fmla="*/ 617220 w 2065020"/>
                      <a:gd name="connsiteY4" fmla="*/ 1120140 h 3436620"/>
                      <a:gd name="connsiteX5" fmla="*/ 754380 w 2065020"/>
                      <a:gd name="connsiteY5" fmla="*/ 1120140 h 3436620"/>
                      <a:gd name="connsiteX6" fmla="*/ 975360 w 2065020"/>
                      <a:gd name="connsiteY6" fmla="*/ 1036320 h 3436620"/>
                      <a:gd name="connsiteX7" fmla="*/ 1203960 w 2065020"/>
                      <a:gd name="connsiteY7" fmla="*/ 906780 h 3436620"/>
                      <a:gd name="connsiteX8" fmla="*/ 1463040 w 2065020"/>
                      <a:gd name="connsiteY8" fmla="*/ 693420 h 3436620"/>
                      <a:gd name="connsiteX9" fmla="*/ 1653540 w 2065020"/>
                      <a:gd name="connsiteY9" fmla="*/ 449580 h 3436620"/>
                      <a:gd name="connsiteX10" fmla="*/ 1775460 w 2065020"/>
                      <a:gd name="connsiteY10" fmla="*/ 304800 h 3436620"/>
                      <a:gd name="connsiteX11" fmla="*/ 1897380 w 2065020"/>
                      <a:gd name="connsiteY11" fmla="*/ 0 h 3436620"/>
                      <a:gd name="connsiteX12" fmla="*/ 1882140 w 2065020"/>
                      <a:gd name="connsiteY12" fmla="*/ 281940 h 3436620"/>
                      <a:gd name="connsiteX13" fmla="*/ 1882140 w 2065020"/>
                      <a:gd name="connsiteY13" fmla="*/ 556260 h 3436620"/>
                      <a:gd name="connsiteX14" fmla="*/ 1920240 w 2065020"/>
                      <a:gd name="connsiteY14" fmla="*/ 830580 h 3436620"/>
                      <a:gd name="connsiteX15" fmla="*/ 1996440 w 2065020"/>
                      <a:gd name="connsiteY15" fmla="*/ 1059180 h 3436620"/>
                      <a:gd name="connsiteX16" fmla="*/ 2065020 w 2065020"/>
                      <a:gd name="connsiteY16" fmla="*/ 1158240 h 3436620"/>
                      <a:gd name="connsiteX17" fmla="*/ 1935480 w 2065020"/>
                      <a:gd name="connsiteY17" fmla="*/ 1440180 h 3436620"/>
                      <a:gd name="connsiteX18" fmla="*/ 1783080 w 2065020"/>
                      <a:gd name="connsiteY18" fmla="*/ 1798320 h 3436620"/>
                      <a:gd name="connsiteX19" fmla="*/ 1645920 w 2065020"/>
                      <a:gd name="connsiteY19" fmla="*/ 2065020 h 3436620"/>
                      <a:gd name="connsiteX20" fmla="*/ 1577340 w 2065020"/>
                      <a:gd name="connsiteY20" fmla="*/ 2202180 h 3436620"/>
                      <a:gd name="connsiteX21" fmla="*/ 1501140 w 2065020"/>
                      <a:gd name="connsiteY21" fmla="*/ 2331720 h 3436620"/>
                      <a:gd name="connsiteX22" fmla="*/ 1341120 w 2065020"/>
                      <a:gd name="connsiteY22" fmla="*/ 2407920 h 3436620"/>
                      <a:gd name="connsiteX23" fmla="*/ 1135380 w 2065020"/>
                      <a:gd name="connsiteY23" fmla="*/ 2438400 h 3436620"/>
                      <a:gd name="connsiteX24" fmla="*/ 998220 w 2065020"/>
                      <a:gd name="connsiteY24" fmla="*/ 2468880 h 3436620"/>
                      <a:gd name="connsiteX25" fmla="*/ 866140 w 2065020"/>
                      <a:gd name="connsiteY25" fmla="*/ 2633345 h 3436620"/>
                      <a:gd name="connsiteX26" fmla="*/ 701040 w 2065020"/>
                      <a:gd name="connsiteY26" fmla="*/ 3075940 h 3436620"/>
                      <a:gd name="connsiteX27" fmla="*/ 495300 w 2065020"/>
                      <a:gd name="connsiteY27" fmla="*/ 3436620 h 3436620"/>
                      <a:gd name="connsiteX28" fmla="*/ 350520 w 2065020"/>
                      <a:gd name="connsiteY28" fmla="*/ 3108960 h 3436620"/>
                      <a:gd name="connsiteX29" fmla="*/ 228600 w 2065020"/>
                      <a:gd name="connsiteY29" fmla="*/ 2613660 h 3436620"/>
                      <a:gd name="connsiteX30" fmla="*/ 137160 w 2065020"/>
                      <a:gd name="connsiteY30" fmla="*/ 2293620 h 3436620"/>
                      <a:gd name="connsiteX31" fmla="*/ 0 w 2065020"/>
                      <a:gd name="connsiteY31" fmla="*/ 1950720 h 3436620"/>
                      <a:gd name="connsiteX32" fmla="*/ 76200 w 2065020"/>
                      <a:gd name="connsiteY32" fmla="*/ 1645920 h 3436620"/>
                      <a:gd name="connsiteX33" fmla="*/ 152400 w 2065020"/>
                      <a:gd name="connsiteY33" fmla="*/ 1348740 h 3436620"/>
                      <a:gd name="connsiteX34" fmla="*/ 167640 w 2065020"/>
                      <a:gd name="connsiteY34" fmla="*/ 1082040 h 3436620"/>
                      <a:gd name="connsiteX35" fmla="*/ 160020 w 2065020"/>
                      <a:gd name="connsiteY35" fmla="*/ 937260 h 3436620"/>
                      <a:gd name="connsiteX0" fmla="*/ 160020 w 2065020"/>
                      <a:gd name="connsiteY0" fmla="*/ 937260 h 3436620"/>
                      <a:gd name="connsiteX1" fmla="*/ 259080 w 2065020"/>
                      <a:gd name="connsiteY1" fmla="*/ 1028700 h 3436620"/>
                      <a:gd name="connsiteX2" fmla="*/ 373380 w 2065020"/>
                      <a:gd name="connsiteY2" fmla="*/ 1089660 h 3436620"/>
                      <a:gd name="connsiteX3" fmla="*/ 449580 w 2065020"/>
                      <a:gd name="connsiteY3" fmla="*/ 1120140 h 3436620"/>
                      <a:gd name="connsiteX4" fmla="*/ 617220 w 2065020"/>
                      <a:gd name="connsiteY4" fmla="*/ 1120140 h 3436620"/>
                      <a:gd name="connsiteX5" fmla="*/ 754380 w 2065020"/>
                      <a:gd name="connsiteY5" fmla="*/ 1120140 h 3436620"/>
                      <a:gd name="connsiteX6" fmla="*/ 975360 w 2065020"/>
                      <a:gd name="connsiteY6" fmla="*/ 1036320 h 3436620"/>
                      <a:gd name="connsiteX7" fmla="*/ 1203960 w 2065020"/>
                      <a:gd name="connsiteY7" fmla="*/ 906780 h 3436620"/>
                      <a:gd name="connsiteX8" fmla="*/ 1463040 w 2065020"/>
                      <a:gd name="connsiteY8" fmla="*/ 693420 h 3436620"/>
                      <a:gd name="connsiteX9" fmla="*/ 1653540 w 2065020"/>
                      <a:gd name="connsiteY9" fmla="*/ 449580 h 3436620"/>
                      <a:gd name="connsiteX10" fmla="*/ 1775460 w 2065020"/>
                      <a:gd name="connsiteY10" fmla="*/ 304800 h 3436620"/>
                      <a:gd name="connsiteX11" fmla="*/ 1897380 w 2065020"/>
                      <a:gd name="connsiteY11" fmla="*/ 0 h 3436620"/>
                      <a:gd name="connsiteX12" fmla="*/ 1882140 w 2065020"/>
                      <a:gd name="connsiteY12" fmla="*/ 281940 h 3436620"/>
                      <a:gd name="connsiteX13" fmla="*/ 1882140 w 2065020"/>
                      <a:gd name="connsiteY13" fmla="*/ 556260 h 3436620"/>
                      <a:gd name="connsiteX14" fmla="*/ 1920240 w 2065020"/>
                      <a:gd name="connsiteY14" fmla="*/ 830580 h 3436620"/>
                      <a:gd name="connsiteX15" fmla="*/ 1996440 w 2065020"/>
                      <a:gd name="connsiteY15" fmla="*/ 1059180 h 3436620"/>
                      <a:gd name="connsiteX16" fmla="*/ 2065020 w 2065020"/>
                      <a:gd name="connsiteY16" fmla="*/ 1158240 h 3436620"/>
                      <a:gd name="connsiteX17" fmla="*/ 1935480 w 2065020"/>
                      <a:gd name="connsiteY17" fmla="*/ 1440180 h 3436620"/>
                      <a:gd name="connsiteX18" fmla="*/ 1783080 w 2065020"/>
                      <a:gd name="connsiteY18" fmla="*/ 1798320 h 3436620"/>
                      <a:gd name="connsiteX19" fmla="*/ 1645920 w 2065020"/>
                      <a:gd name="connsiteY19" fmla="*/ 2065020 h 3436620"/>
                      <a:gd name="connsiteX20" fmla="*/ 1577340 w 2065020"/>
                      <a:gd name="connsiteY20" fmla="*/ 2202180 h 3436620"/>
                      <a:gd name="connsiteX21" fmla="*/ 1501140 w 2065020"/>
                      <a:gd name="connsiteY21" fmla="*/ 2331720 h 3436620"/>
                      <a:gd name="connsiteX22" fmla="*/ 1341120 w 2065020"/>
                      <a:gd name="connsiteY22" fmla="*/ 2407920 h 3436620"/>
                      <a:gd name="connsiteX23" fmla="*/ 1135380 w 2065020"/>
                      <a:gd name="connsiteY23" fmla="*/ 2438400 h 3436620"/>
                      <a:gd name="connsiteX24" fmla="*/ 985520 w 2065020"/>
                      <a:gd name="connsiteY24" fmla="*/ 2529205 h 3436620"/>
                      <a:gd name="connsiteX25" fmla="*/ 866140 w 2065020"/>
                      <a:gd name="connsiteY25" fmla="*/ 2633345 h 3436620"/>
                      <a:gd name="connsiteX26" fmla="*/ 701040 w 2065020"/>
                      <a:gd name="connsiteY26" fmla="*/ 3075940 h 3436620"/>
                      <a:gd name="connsiteX27" fmla="*/ 495300 w 2065020"/>
                      <a:gd name="connsiteY27" fmla="*/ 3436620 h 3436620"/>
                      <a:gd name="connsiteX28" fmla="*/ 350520 w 2065020"/>
                      <a:gd name="connsiteY28" fmla="*/ 3108960 h 3436620"/>
                      <a:gd name="connsiteX29" fmla="*/ 228600 w 2065020"/>
                      <a:gd name="connsiteY29" fmla="*/ 2613660 h 3436620"/>
                      <a:gd name="connsiteX30" fmla="*/ 137160 w 2065020"/>
                      <a:gd name="connsiteY30" fmla="*/ 2293620 h 3436620"/>
                      <a:gd name="connsiteX31" fmla="*/ 0 w 2065020"/>
                      <a:gd name="connsiteY31" fmla="*/ 1950720 h 3436620"/>
                      <a:gd name="connsiteX32" fmla="*/ 76200 w 2065020"/>
                      <a:gd name="connsiteY32" fmla="*/ 1645920 h 3436620"/>
                      <a:gd name="connsiteX33" fmla="*/ 152400 w 2065020"/>
                      <a:gd name="connsiteY33" fmla="*/ 1348740 h 3436620"/>
                      <a:gd name="connsiteX34" fmla="*/ 167640 w 2065020"/>
                      <a:gd name="connsiteY34" fmla="*/ 1082040 h 3436620"/>
                      <a:gd name="connsiteX35" fmla="*/ 160020 w 2065020"/>
                      <a:gd name="connsiteY35" fmla="*/ 937260 h 3436620"/>
                      <a:gd name="connsiteX0" fmla="*/ 160020 w 2065020"/>
                      <a:gd name="connsiteY0" fmla="*/ 937260 h 3436620"/>
                      <a:gd name="connsiteX1" fmla="*/ 259080 w 2065020"/>
                      <a:gd name="connsiteY1" fmla="*/ 1028700 h 3436620"/>
                      <a:gd name="connsiteX2" fmla="*/ 373380 w 2065020"/>
                      <a:gd name="connsiteY2" fmla="*/ 1089660 h 3436620"/>
                      <a:gd name="connsiteX3" fmla="*/ 449580 w 2065020"/>
                      <a:gd name="connsiteY3" fmla="*/ 1120140 h 3436620"/>
                      <a:gd name="connsiteX4" fmla="*/ 617220 w 2065020"/>
                      <a:gd name="connsiteY4" fmla="*/ 1120140 h 3436620"/>
                      <a:gd name="connsiteX5" fmla="*/ 754380 w 2065020"/>
                      <a:gd name="connsiteY5" fmla="*/ 1120140 h 3436620"/>
                      <a:gd name="connsiteX6" fmla="*/ 975360 w 2065020"/>
                      <a:gd name="connsiteY6" fmla="*/ 1036320 h 3436620"/>
                      <a:gd name="connsiteX7" fmla="*/ 1203960 w 2065020"/>
                      <a:gd name="connsiteY7" fmla="*/ 906780 h 3436620"/>
                      <a:gd name="connsiteX8" fmla="*/ 1463040 w 2065020"/>
                      <a:gd name="connsiteY8" fmla="*/ 693420 h 3436620"/>
                      <a:gd name="connsiteX9" fmla="*/ 1653540 w 2065020"/>
                      <a:gd name="connsiteY9" fmla="*/ 449580 h 3436620"/>
                      <a:gd name="connsiteX10" fmla="*/ 1775460 w 2065020"/>
                      <a:gd name="connsiteY10" fmla="*/ 304800 h 3436620"/>
                      <a:gd name="connsiteX11" fmla="*/ 1897380 w 2065020"/>
                      <a:gd name="connsiteY11" fmla="*/ 0 h 3436620"/>
                      <a:gd name="connsiteX12" fmla="*/ 1882140 w 2065020"/>
                      <a:gd name="connsiteY12" fmla="*/ 281940 h 3436620"/>
                      <a:gd name="connsiteX13" fmla="*/ 1882140 w 2065020"/>
                      <a:gd name="connsiteY13" fmla="*/ 556260 h 3436620"/>
                      <a:gd name="connsiteX14" fmla="*/ 1920240 w 2065020"/>
                      <a:gd name="connsiteY14" fmla="*/ 830580 h 3436620"/>
                      <a:gd name="connsiteX15" fmla="*/ 1996440 w 2065020"/>
                      <a:gd name="connsiteY15" fmla="*/ 1059180 h 3436620"/>
                      <a:gd name="connsiteX16" fmla="*/ 2065020 w 2065020"/>
                      <a:gd name="connsiteY16" fmla="*/ 1158240 h 3436620"/>
                      <a:gd name="connsiteX17" fmla="*/ 1935480 w 2065020"/>
                      <a:gd name="connsiteY17" fmla="*/ 1440180 h 3436620"/>
                      <a:gd name="connsiteX18" fmla="*/ 1783080 w 2065020"/>
                      <a:gd name="connsiteY18" fmla="*/ 1798320 h 3436620"/>
                      <a:gd name="connsiteX19" fmla="*/ 1645920 w 2065020"/>
                      <a:gd name="connsiteY19" fmla="*/ 2065020 h 3436620"/>
                      <a:gd name="connsiteX20" fmla="*/ 1577340 w 2065020"/>
                      <a:gd name="connsiteY20" fmla="*/ 2202180 h 3436620"/>
                      <a:gd name="connsiteX21" fmla="*/ 1501140 w 2065020"/>
                      <a:gd name="connsiteY21" fmla="*/ 2331720 h 3436620"/>
                      <a:gd name="connsiteX22" fmla="*/ 1341120 w 2065020"/>
                      <a:gd name="connsiteY22" fmla="*/ 2407920 h 3436620"/>
                      <a:gd name="connsiteX23" fmla="*/ 1148080 w 2065020"/>
                      <a:gd name="connsiteY23" fmla="*/ 2489200 h 3436620"/>
                      <a:gd name="connsiteX24" fmla="*/ 985520 w 2065020"/>
                      <a:gd name="connsiteY24" fmla="*/ 2529205 h 3436620"/>
                      <a:gd name="connsiteX25" fmla="*/ 866140 w 2065020"/>
                      <a:gd name="connsiteY25" fmla="*/ 2633345 h 3436620"/>
                      <a:gd name="connsiteX26" fmla="*/ 701040 w 2065020"/>
                      <a:gd name="connsiteY26" fmla="*/ 3075940 h 3436620"/>
                      <a:gd name="connsiteX27" fmla="*/ 495300 w 2065020"/>
                      <a:gd name="connsiteY27" fmla="*/ 3436620 h 3436620"/>
                      <a:gd name="connsiteX28" fmla="*/ 350520 w 2065020"/>
                      <a:gd name="connsiteY28" fmla="*/ 3108960 h 3436620"/>
                      <a:gd name="connsiteX29" fmla="*/ 228600 w 2065020"/>
                      <a:gd name="connsiteY29" fmla="*/ 2613660 h 3436620"/>
                      <a:gd name="connsiteX30" fmla="*/ 137160 w 2065020"/>
                      <a:gd name="connsiteY30" fmla="*/ 2293620 h 3436620"/>
                      <a:gd name="connsiteX31" fmla="*/ 0 w 2065020"/>
                      <a:gd name="connsiteY31" fmla="*/ 1950720 h 3436620"/>
                      <a:gd name="connsiteX32" fmla="*/ 76200 w 2065020"/>
                      <a:gd name="connsiteY32" fmla="*/ 1645920 h 3436620"/>
                      <a:gd name="connsiteX33" fmla="*/ 152400 w 2065020"/>
                      <a:gd name="connsiteY33" fmla="*/ 1348740 h 3436620"/>
                      <a:gd name="connsiteX34" fmla="*/ 167640 w 2065020"/>
                      <a:gd name="connsiteY34" fmla="*/ 1082040 h 3436620"/>
                      <a:gd name="connsiteX35" fmla="*/ 160020 w 2065020"/>
                      <a:gd name="connsiteY35" fmla="*/ 937260 h 3436620"/>
                      <a:gd name="connsiteX0" fmla="*/ 160020 w 2065020"/>
                      <a:gd name="connsiteY0" fmla="*/ 937260 h 3436620"/>
                      <a:gd name="connsiteX1" fmla="*/ 259080 w 2065020"/>
                      <a:gd name="connsiteY1" fmla="*/ 1028700 h 3436620"/>
                      <a:gd name="connsiteX2" fmla="*/ 373380 w 2065020"/>
                      <a:gd name="connsiteY2" fmla="*/ 1089660 h 3436620"/>
                      <a:gd name="connsiteX3" fmla="*/ 449580 w 2065020"/>
                      <a:gd name="connsiteY3" fmla="*/ 1120140 h 3436620"/>
                      <a:gd name="connsiteX4" fmla="*/ 617220 w 2065020"/>
                      <a:gd name="connsiteY4" fmla="*/ 1120140 h 3436620"/>
                      <a:gd name="connsiteX5" fmla="*/ 754380 w 2065020"/>
                      <a:gd name="connsiteY5" fmla="*/ 1120140 h 3436620"/>
                      <a:gd name="connsiteX6" fmla="*/ 975360 w 2065020"/>
                      <a:gd name="connsiteY6" fmla="*/ 1036320 h 3436620"/>
                      <a:gd name="connsiteX7" fmla="*/ 1203960 w 2065020"/>
                      <a:gd name="connsiteY7" fmla="*/ 906780 h 3436620"/>
                      <a:gd name="connsiteX8" fmla="*/ 1463040 w 2065020"/>
                      <a:gd name="connsiteY8" fmla="*/ 693420 h 3436620"/>
                      <a:gd name="connsiteX9" fmla="*/ 1653540 w 2065020"/>
                      <a:gd name="connsiteY9" fmla="*/ 449580 h 3436620"/>
                      <a:gd name="connsiteX10" fmla="*/ 1775460 w 2065020"/>
                      <a:gd name="connsiteY10" fmla="*/ 304800 h 3436620"/>
                      <a:gd name="connsiteX11" fmla="*/ 1897380 w 2065020"/>
                      <a:gd name="connsiteY11" fmla="*/ 0 h 3436620"/>
                      <a:gd name="connsiteX12" fmla="*/ 1882140 w 2065020"/>
                      <a:gd name="connsiteY12" fmla="*/ 281940 h 3436620"/>
                      <a:gd name="connsiteX13" fmla="*/ 1882140 w 2065020"/>
                      <a:gd name="connsiteY13" fmla="*/ 556260 h 3436620"/>
                      <a:gd name="connsiteX14" fmla="*/ 1920240 w 2065020"/>
                      <a:gd name="connsiteY14" fmla="*/ 830580 h 3436620"/>
                      <a:gd name="connsiteX15" fmla="*/ 1996440 w 2065020"/>
                      <a:gd name="connsiteY15" fmla="*/ 1059180 h 3436620"/>
                      <a:gd name="connsiteX16" fmla="*/ 2065020 w 2065020"/>
                      <a:gd name="connsiteY16" fmla="*/ 1158240 h 3436620"/>
                      <a:gd name="connsiteX17" fmla="*/ 1935480 w 2065020"/>
                      <a:gd name="connsiteY17" fmla="*/ 1440180 h 3436620"/>
                      <a:gd name="connsiteX18" fmla="*/ 1783080 w 2065020"/>
                      <a:gd name="connsiteY18" fmla="*/ 1798320 h 3436620"/>
                      <a:gd name="connsiteX19" fmla="*/ 1645920 w 2065020"/>
                      <a:gd name="connsiteY19" fmla="*/ 2065020 h 3436620"/>
                      <a:gd name="connsiteX20" fmla="*/ 1577340 w 2065020"/>
                      <a:gd name="connsiteY20" fmla="*/ 2202180 h 3436620"/>
                      <a:gd name="connsiteX21" fmla="*/ 1501140 w 2065020"/>
                      <a:gd name="connsiteY21" fmla="*/ 2331720 h 3436620"/>
                      <a:gd name="connsiteX22" fmla="*/ 1341120 w 2065020"/>
                      <a:gd name="connsiteY22" fmla="*/ 2407920 h 3436620"/>
                      <a:gd name="connsiteX23" fmla="*/ 1148080 w 2065020"/>
                      <a:gd name="connsiteY23" fmla="*/ 2489200 h 3436620"/>
                      <a:gd name="connsiteX24" fmla="*/ 985520 w 2065020"/>
                      <a:gd name="connsiteY24" fmla="*/ 2529205 h 3436620"/>
                      <a:gd name="connsiteX25" fmla="*/ 866140 w 2065020"/>
                      <a:gd name="connsiteY25" fmla="*/ 2633345 h 3436620"/>
                      <a:gd name="connsiteX26" fmla="*/ 701040 w 2065020"/>
                      <a:gd name="connsiteY26" fmla="*/ 3075940 h 3436620"/>
                      <a:gd name="connsiteX27" fmla="*/ 495300 w 2065020"/>
                      <a:gd name="connsiteY27" fmla="*/ 3436620 h 3436620"/>
                      <a:gd name="connsiteX28" fmla="*/ 350520 w 2065020"/>
                      <a:gd name="connsiteY28" fmla="*/ 3108960 h 3436620"/>
                      <a:gd name="connsiteX29" fmla="*/ 228600 w 2065020"/>
                      <a:gd name="connsiteY29" fmla="*/ 2613660 h 3436620"/>
                      <a:gd name="connsiteX30" fmla="*/ 102235 w 2065020"/>
                      <a:gd name="connsiteY30" fmla="*/ 2290445 h 3436620"/>
                      <a:gd name="connsiteX31" fmla="*/ 0 w 2065020"/>
                      <a:gd name="connsiteY31" fmla="*/ 1950720 h 3436620"/>
                      <a:gd name="connsiteX32" fmla="*/ 76200 w 2065020"/>
                      <a:gd name="connsiteY32" fmla="*/ 1645920 h 3436620"/>
                      <a:gd name="connsiteX33" fmla="*/ 152400 w 2065020"/>
                      <a:gd name="connsiteY33" fmla="*/ 1348740 h 3436620"/>
                      <a:gd name="connsiteX34" fmla="*/ 167640 w 2065020"/>
                      <a:gd name="connsiteY34" fmla="*/ 1082040 h 3436620"/>
                      <a:gd name="connsiteX35" fmla="*/ 160020 w 2065020"/>
                      <a:gd name="connsiteY35" fmla="*/ 937260 h 3436620"/>
                      <a:gd name="connsiteX0" fmla="*/ 166370 w 2065020"/>
                      <a:gd name="connsiteY0" fmla="*/ 927735 h 3436620"/>
                      <a:gd name="connsiteX1" fmla="*/ 259080 w 2065020"/>
                      <a:gd name="connsiteY1" fmla="*/ 1028700 h 3436620"/>
                      <a:gd name="connsiteX2" fmla="*/ 373380 w 2065020"/>
                      <a:gd name="connsiteY2" fmla="*/ 1089660 h 3436620"/>
                      <a:gd name="connsiteX3" fmla="*/ 449580 w 2065020"/>
                      <a:gd name="connsiteY3" fmla="*/ 1120140 h 3436620"/>
                      <a:gd name="connsiteX4" fmla="*/ 617220 w 2065020"/>
                      <a:gd name="connsiteY4" fmla="*/ 1120140 h 3436620"/>
                      <a:gd name="connsiteX5" fmla="*/ 754380 w 2065020"/>
                      <a:gd name="connsiteY5" fmla="*/ 1120140 h 3436620"/>
                      <a:gd name="connsiteX6" fmla="*/ 975360 w 2065020"/>
                      <a:gd name="connsiteY6" fmla="*/ 1036320 h 3436620"/>
                      <a:gd name="connsiteX7" fmla="*/ 1203960 w 2065020"/>
                      <a:gd name="connsiteY7" fmla="*/ 906780 h 3436620"/>
                      <a:gd name="connsiteX8" fmla="*/ 1463040 w 2065020"/>
                      <a:gd name="connsiteY8" fmla="*/ 693420 h 3436620"/>
                      <a:gd name="connsiteX9" fmla="*/ 1653540 w 2065020"/>
                      <a:gd name="connsiteY9" fmla="*/ 449580 h 3436620"/>
                      <a:gd name="connsiteX10" fmla="*/ 1775460 w 2065020"/>
                      <a:gd name="connsiteY10" fmla="*/ 304800 h 3436620"/>
                      <a:gd name="connsiteX11" fmla="*/ 1897380 w 2065020"/>
                      <a:gd name="connsiteY11" fmla="*/ 0 h 3436620"/>
                      <a:gd name="connsiteX12" fmla="*/ 1882140 w 2065020"/>
                      <a:gd name="connsiteY12" fmla="*/ 281940 h 3436620"/>
                      <a:gd name="connsiteX13" fmla="*/ 1882140 w 2065020"/>
                      <a:gd name="connsiteY13" fmla="*/ 556260 h 3436620"/>
                      <a:gd name="connsiteX14" fmla="*/ 1920240 w 2065020"/>
                      <a:gd name="connsiteY14" fmla="*/ 830580 h 3436620"/>
                      <a:gd name="connsiteX15" fmla="*/ 1996440 w 2065020"/>
                      <a:gd name="connsiteY15" fmla="*/ 1059180 h 3436620"/>
                      <a:gd name="connsiteX16" fmla="*/ 2065020 w 2065020"/>
                      <a:gd name="connsiteY16" fmla="*/ 1158240 h 3436620"/>
                      <a:gd name="connsiteX17" fmla="*/ 1935480 w 2065020"/>
                      <a:gd name="connsiteY17" fmla="*/ 1440180 h 3436620"/>
                      <a:gd name="connsiteX18" fmla="*/ 1783080 w 2065020"/>
                      <a:gd name="connsiteY18" fmla="*/ 1798320 h 3436620"/>
                      <a:gd name="connsiteX19" fmla="*/ 1645920 w 2065020"/>
                      <a:gd name="connsiteY19" fmla="*/ 2065020 h 3436620"/>
                      <a:gd name="connsiteX20" fmla="*/ 1577340 w 2065020"/>
                      <a:gd name="connsiteY20" fmla="*/ 2202180 h 3436620"/>
                      <a:gd name="connsiteX21" fmla="*/ 1501140 w 2065020"/>
                      <a:gd name="connsiteY21" fmla="*/ 2331720 h 3436620"/>
                      <a:gd name="connsiteX22" fmla="*/ 1341120 w 2065020"/>
                      <a:gd name="connsiteY22" fmla="*/ 2407920 h 3436620"/>
                      <a:gd name="connsiteX23" fmla="*/ 1148080 w 2065020"/>
                      <a:gd name="connsiteY23" fmla="*/ 2489200 h 3436620"/>
                      <a:gd name="connsiteX24" fmla="*/ 985520 w 2065020"/>
                      <a:gd name="connsiteY24" fmla="*/ 2529205 h 3436620"/>
                      <a:gd name="connsiteX25" fmla="*/ 866140 w 2065020"/>
                      <a:gd name="connsiteY25" fmla="*/ 2633345 h 3436620"/>
                      <a:gd name="connsiteX26" fmla="*/ 701040 w 2065020"/>
                      <a:gd name="connsiteY26" fmla="*/ 3075940 h 3436620"/>
                      <a:gd name="connsiteX27" fmla="*/ 495300 w 2065020"/>
                      <a:gd name="connsiteY27" fmla="*/ 3436620 h 3436620"/>
                      <a:gd name="connsiteX28" fmla="*/ 350520 w 2065020"/>
                      <a:gd name="connsiteY28" fmla="*/ 3108960 h 3436620"/>
                      <a:gd name="connsiteX29" fmla="*/ 228600 w 2065020"/>
                      <a:gd name="connsiteY29" fmla="*/ 2613660 h 3436620"/>
                      <a:gd name="connsiteX30" fmla="*/ 102235 w 2065020"/>
                      <a:gd name="connsiteY30" fmla="*/ 2290445 h 3436620"/>
                      <a:gd name="connsiteX31" fmla="*/ 0 w 2065020"/>
                      <a:gd name="connsiteY31" fmla="*/ 1950720 h 3436620"/>
                      <a:gd name="connsiteX32" fmla="*/ 76200 w 2065020"/>
                      <a:gd name="connsiteY32" fmla="*/ 1645920 h 3436620"/>
                      <a:gd name="connsiteX33" fmla="*/ 152400 w 2065020"/>
                      <a:gd name="connsiteY33" fmla="*/ 1348740 h 3436620"/>
                      <a:gd name="connsiteX34" fmla="*/ 167640 w 2065020"/>
                      <a:gd name="connsiteY34" fmla="*/ 1082040 h 3436620"/>
                      <a:gd name="connsiteX35" fmla="*/ 166370 w 2065020"/>
                      <a:gd name="connsiteY35" fmla="*/ 927735 h 3436620"/>
                      <a:gd name="connsiteX0" fmla="*/ 166370 w 2065020"/>
                      <a:gd name="connsiteY0" fmla="*/ 927735 h 3436620"/>
                      <a:gd name="connsiteX1" fmla="*/ 259080 w 2065020"/>
                      <a:gd name="connsiteY1" fmla="*/ 1028700 h 3436620"/>
                      <a:gd name="connsiteX2" fmla="*/ 373380 w 2065020"/>
                      <a:gd name="connsiteY2" fmla="*/ 1089660 h 3436620"/>
                      <a:gd name="connsiteX3" fmla="*/ 449580 w 2065020"/>
                      <a:gd name="connsiteY3" fmla="*/ 1120140 h 3436620"/>
                      <a:gd name="connsiteX4" fmla="*/ 617220 w 2065020"/>
                      <a:gd name="connsiteY4" fmla="*/ 1120140 h 3436620"/>
                      <a:gd name="connsiteX5" fmla="*/ 754380 w 2065020"/>
                      <a:gd name="connsiteY5" fmla="*/ 1120140 h 3436620"/>
                      <a:gd name="connsiteX6" fmla="*/ 975360 w 2065020"/>
                      <a:gd name="connsiteY6" fmla="*/ 1036320 h 3436620"/>
                      <a:gd name="connsiteX7" fmla="*/ 1203960 w 2065020"/>
                      <a:gd name="connsiteY7" fmla="*/ 906780 h 3436620"/>
                      <a:gd name="connsiteX8" fmla="*/ 1463040 w 2065020"/>
                      <a:gd name="connsiteY8" fmla="*/ 693420 h 3436620"/>
                      <a:gd name="connsiteX9" fmla="*/ 1653540 w 2065020"/>
                      <a:gd name="connsiteY9" fmla="*/ 449580 h 3436620"/>
                      <a:gd name="connsiteX10" fmla="*/ 1775460 w 2065020"/>
                      <a:gd name="connsiteY10" fmla="*/ 304800 h 3436620"/>
                      <a:gd name="connsiteX11" fmla="*/ 1897380 w 2065020"/>
                      <a:gd name="connsiteY11" fmla="*/ 0 h 3436620"/>
                      <a:gd name="connsiteX12" fmla="*/ 1882140 w 2065020"/>
                      <a:gd name="connsiteY12" fmla="*/ 281940 h 3436620"/>
                      <a:gd name="connsiteX13" fmla="*/ 1882140 w 2065020"/>
                      <a:gd name="connsiteY13" fmla="*/ 556260 h 3436620"/>
                      <a:gd name="connsiteX14" fmla="*/ 1920240 w 2065020"/>
                      <a:gd name="connsiteY14" fmla="*/ 830580 h 3436620"/>
                      <a:gd name="connsiteX15" fmla="*/ 1996440 w 2065020"/>
                      <a:gd name="connsiteY15" fmla="*/ 1059180 h 3436620"/>
                      <a:gd name="connsiteX16" fmla="*/ 2065020 w 2065020"/>
                      <a:gd name="connsiteY16" fmla="*/ 1158240 h 3436620"/>
                      <a:gd name="connsiteX17" fmla="*/ 1935480 w 2065020"/>
                      <a:gd name="connsiteY17" fmla="*/ 1440180 h 3436620"/>
                      <a:gd name="connsiteX18" fmla="*/ 1783080 w 2065020"/>
                      <a:gd name="connsiteY18" fmla="*/ 1798320 h 3436620"/>
                      <a:gd name="connsiteX19" fmla="*/ 1645920 w 2065020"/>
                      <a:gd name="connsiteY19" fmla="*/ 2065020 h 3436620"/>
                      <a:gd name="connsiteX20" fmla="*/ 1577340 w 2065020"/>
                      <a:gd name="connsiteY20" fmla="*/ 2202180 h 3436620"/>
                      <a:gd name="connsiteX21" fmla="*/ 1501140 w 2065020"/>
                      <a:gd name="connsiteY21" fmla="*/ 2331720 h 3436620"/>
                      <a:gd name="connsiteX22" fmla="*/ 1341120 w 2065020"/>
                      <a:gd name="connsiteY22" fmla="*/ 2407920 h 3436620"/>
                      <a:gd name="connsiteX23" fmla="*/ 1148080 w 2065020"/>
                      <a:gd name="connsiteY23" fmla="*/ 2489200 h 3436620"/>
                      <a:gd name="connsiteX24" fmla="*/ 985520 w 2065020"/>
                      <a:gd name="connsiteY24" fmla="*/ 2529205 h 3436620"/>
                      <a:gd name="connsiteX25" fmla="*/ 866140 w 2065020"/>
                      <a:gd name="connsiteY25" fmla="*/ 2633345 h 3436620"/>
                      <a:gd name="connsiteX26" fmla="*/ 701040 w 2065020"/>
                      <a:gd name="connsiteY26" fmla="*/ 3075940 h 3436620"/>
                      <a:gd name="connsiteX27" fmla="*/ 495300 w 2065020"/>
                      <a:gd name="connsiteY27" fmla="*/ 3436620 h 3436620"/>
                      <a:gd name="connsiteX28" fmla="*/ 350520 w 2065020"/>
                      <a:gd name="connsiteY28" fmla="*/ 3108960 h 3436620"/>
                      <a:gd name="connsiteX29" fmla="*/ 228600 w 2065020"/>
                      <a:gd name="connsiteY29" fmla="*/ 2613660 h 3436620"/>
                      <a:gd name="connsiteX30" fmla="*/ 102235 w 2065020"/>
                      <a:gd name="connsiteY30" fmla="*/ 2290445 h 3436620"/>
                      <a:gd name="connsiteX31" fmla="*/ 0 w 2065020"/>
                      <a:gd name="connsiteY31" fmla="*/ 1950720 h 3436620"/>
                      <a:gd name="connsiteX32" fmla="*/ 76200 w 2065020"/>
                      <a:gd name="connsiteY32" fmla="*/ 1645920 h 3436620"/>
                      <a:gd name="connsiteX33" fmla="*/ 152400 w 2065020"/>
                      <a:gd name="connsiteY33" fmla="*/ 1348740 h 3436620"/>
                      <a:gd name="connsiteX34" fmla="*/ 167640 w 2065020"/>
                      <a:gd name="connsiteY34" fmla="*/ 1082040 h 3436620"/>
                      <a:gd name="connsiteX35" fmla="*/ 166370 w 2065020"/>
                      <a:gd name="connsiteY35" fmla="*/ 927735 h 3436620"/>
                      <a:gd name="connsiteX0" fmla="*/ 166370 w 2065020"/>
                      <a:gd name="connsiteY0" fmla="*/ 927735 h 3436620"/>
                      <a:gd name="connsiteX1" fmla="*/ 259080 w 2065020"/>
                      <a:gd name="connsiteY1" fmla="*/ 1028700 h 3436620"/>
                      <a:gd name="connsiteX2" fmla="*/ 373380 w 2065020"/>
                      <a:gd name="connsiteY2" fmla="*/ 1089660 h 3436620"/>
                      <a:gd name="connsiteX3" fmla="*/ 449580 w 2065020"/>
                      <a:gd name="connsiteY3" fmla="*/ 1120140 h 3436620"/>
                      <a:gd name="connsiteX4" fmla="*/ 617220 w 2065020"/>
                      <a:gd name="connsiteY4" fmla="*/ 1120140 h 3436620"/>
                      <a:gd name="connsiteX5" fmla="*/ 779780 w 2065020"/>
                      <a:gd name="connsiteY5" fmla="*/ 1104265 h 3436620"/>
                      <a:gd name="connsiteX6" fmla="*/ 975360 w 2065020"/>
                      <a:gd name="connsiteY6" fmla="*/ 1036320 h 3436620"/>
                      <a:gd name="connsiteX7" fmla="*/ 1203960 w 2065020"/>
                      <a:gd name="connsiteY7" fmla="*/ 906780 h 3436620"/>
                      <a:gd name="connsiteX8" fmla="*/ 1463040 w 2065020"/>
                      <a:gd name="connsiteY8" fmla="*/ 693420 h 3436620"/>
                      <a:gd name="connsiteX9" fmla="*/ 1653540 w 2065020"/>
                      <a:gd name="connsiteY9" fmla="*/ 449580 h 3436620"/>
                      <a:gd name="connsiteX10" fmla="*/ 1775460 w 2065020"/>
                      <a:gd name="connsiteY10" fmla="*/ 304800 h 3436620"/>
                      <a:gd name="connsiteX11" fmla="*/ 1897380 w 2065020"/>
                      <a:gd name="connsiteY11" fmla="*/ 0 h 3436620"/>
                      <a:gd name="connsiteX12" fmla="*/ 1882140 w 2065020"/>
                      <a:gd name="connsiteY12" fmla="*/ 281940 h 3436620"/>
                      <a:gd name="connsiteX13" fmla="*/ 1882140 w 2065020"/>
                      <a:gd name="connsiteY13" fmla="*/ 556260 h 3436620"/>
                      <a:gd name="connsiteX14" fmla="*/ 1920240 w 2065020"/>
                      <a:gd name="connsiteY14" fmla="*/ 830580 h 3436620"/>
                      <a:gd name="connsiteX15" fmla="*/ 1996440 w 2065020"/>
                      <a:gd name="connsiteY15" fmla="*/ 1059180 h 3436620"/>
                      <a:gd name="connsiteX16" fmla="*/ 2065020 w 2065020"/>
                      <a:gd name="connsiteY16" fmla="*/ 1158240 h 3436620"/>
                      <a:gd name="connsiteX17" fmla="*/ 1935480 w 2065020"/>
                      <a:gd name="connsiteY17" fmla="*/ 1440180 h 3436620"/>
                      <a:gd name="connsiteX18" fmla="*/ 1783080 w 2065020"/>
                      <a:gd name="connsiteY18" fmla="*/ 1798320 h 3436620"/>
                      <a:gd name="connsiteX19" fmla="*/ 1645920 w 2065020"/>
                      <a:gd name="connsiteY19" fmla="*/ 2065020 h 3436620"/>
                      <a:gd name="connsiteX20" fmla="*/ 1577340 w 2065020"/>
                      <a:gd name="connsiteY20" fmla="*/ 2202180 h 3436620"/>
                      <a:gd name="connsiteX21" fmla="*/ 1501140 w 2065020"/>
                      <a:gd name="connsiteY21" fmla="*/ 2331720 h 3436620"/>
                      <a:gd name="connsiteX22" fmla="*/ 1341120 w 2065020"/>
                      <a:gd name="connsiteY22" fmla="*/ 2407920 h 3436620"/>
                      <a:gd name="connsiteX23" fmla="*/ 1148080 w 2065020"/>
                      <a:gd name="connsiteY23" fmla="*/ 2489200 h 3436620"/>
                      <a:gd name="connsiteX24" fmla="*/ 985520 w 2065020"/>
                      <a:gd name="connsiteY24" fmla="*/ 2529205 h 3436620"/>
                      <a:gd name="connsiteX25" fmla="*/ 866140 w 2065020"/>
                      <a:gd name="connsiteY25" fmla="*/ 2633345 h 3436620"/>
                      <a:gd name="connsiteX26" fmla="*/ 701040 w 2065020"/>
                      <a:gd name="connsiteY26" fmla="*/ 3075940 h 3436620"/>
                      <a:gd name="connsiteX27" fmla="*/ 495300 w 2065020"/>
                      <a:gd name="connsiteY27" fmla="*/ 3436620 h 3436620"/>
                      <a:gd name="connsiteX28" fmla="*/ 350520 w 2065020"/>
                      <a:gd name="connsiteY28" fmla="*/ 3108960 h 3436620"/>
                      <a:gd name="connsiteX29" fmla="*/ 228600 w 2065020"/>
                      <a:gd name="connsiteY29" fmla="*/ 2613660 h 3436620"/>
                      <a:gd name="connsiteX30" fmla="*/ 102235 w 2065020"/>
                      <a:gd name="connsiteY30" fmla="*/ 2290445 h 3436620"/>
                      <a:gd name="connsiteX31" fmla="*/ 0 w 2065020"/>
                      <a:gd name="connsiteY31" fmla="*/ 1950720 h 3436620"/>
                      <a:gd name="connsiteX32" fmla="*/ 76200 w 2065020"/>
                      <a:gd name="connsiteY32" fmla="*/ 1645920 h 3436620"/>
                      <a:gd name="connsiteX33" fmla="*/ 152400 w 2065020"/>
                      <a:gd name="connsiteY33" fmla="*/ 1348740 h 3436620"/>
                      <a:gd name="connsiteX34" fmla="*/ 167640 w 2065020"/>
                      <a:gd name="connsiteY34" fmla="*/ 1082040 h 3436620"/>
                      <a:gd name="connsiteX35" fmla="*/ 166370 w 2065020"/>
                      <a:gd name="connsiteY35" fmla="*/ 927735 h 3436620"/>
                      <a:gd name="connsiteX0" fmla="*/ 166370 w 2065020"/>
                      <a:gd name="connsiteY0" fmla="*/ 927735 h 3436620"/>
                      <a:gd name="connsiteX1" fmla="*/ 259080 w 2065020"/>
                      <a:gd name="connsiteY1" fmla="*/ 1028700 h 3436620"/>
                      <a:gd name="connsiteX2" fmla="*/ 373380 w 2065020"/>
                      <a:gd name="connsiteY2" fmla="*/ 1089660 h 3436620"/>
                      <a:gd name="connsiteX3" fmla="*/ 449580 w 2065020"/>
                      <a:gd name="connsiteY3" fmla="*/ 1120140 h 3436620"/>
                      <a:gd name="connsiteX4" fmla="*/ 617220 w 2065020"/>
                      <a:gd name="connsiteY4" fmla="*/ 1120140 h 3436620"/>
                      <a:gd name="connsiteX5" fmla="*/ 779780 w 2065020"/>
                      <a:gd name="connsiteY5" fmla="*/ 1104265 h 3436620"/>
                      <a:gd name="connsiteX6" fmla="*/ 1007110 w 2065020"/>
                      <a:gd name="connsiteY6" fmla="*/ 1007745 h 3436620"/>
                      <a:gd name="connsiteX7" fmla="*/ 1203960 w 2065020"/>
                      <a:gd name="connsiteY7" fmla="*/ 906780 h 3436620"/>
                      <a:gd name="connsiteX8" fmla="*/ 1463040 w 2065020"/>
                      <a:gd name="connsiteY8" fmla="*/ 693420 h 3436620"/>
                      <a:gd name="connsiteX9" fmla="*/ 1653540 w 2065020"/>
                      <a:gd name="connsiteY9" fmla="*/ 449580 h 3436620"/>
                      <a:gd name="connsiteX10" fmla="*/ 1775460 w 2065020"/>
                      <a:gd name="connsiteY10" fmla="*/ 304800 h 3436620"/>
                      <a:gd name="connsiteX11" fmla="*/ 1897380 w 2065020"/>
                      <a:gd name="connsiteY11" fmla="*/ 0 h 3436620"/>
                      <a:gd name="connsiteX12" fmla="*/ 1882140 w 2065020"/>
                      <a:gd name="connsiteY12" fmla="*/ 281940 h 3436620"/>
                      <a:gd name="connsiteX13" fmla="*/ 1882140 w 2065020"/>
                      <a:gd name="connsiteY13" fmla="*/ 556260 h 3436620"/>
                      <a:gd name="connsiteX14" fmla="*/ 1920240 w 2065020"/>
                      <a:gd name="connsiteY14" fmla="*/ 830580 h 3436620"/>
                      <a:gd name="connsiteX15" fmla="*/ 1996440 w 2065020"/>
                      <a:gd name="connsiteY15" fmla="*/ 1059180 h 3436620"/>
                      <a:gd name="connsiteX16" fmla="*/ 2065020 w 2065020"/>
                      <a:gd name="connsiteY16" fmla="*/ 1158240 h 3436620"/>
                      <a:gd name="connsiteX17" fmla="*/ 1935480 w 2065020"/>
                      <a:gd name="connsiteY17" fmla="*/ 1440180 h 3436620"/>
                      <a:gd name="connsiteX18" fmla="*/ 1783080 w 2065020"/>
                      <a:gd name="connsiteY18" fmla="*/ 1798320 h 3436620"/>
                      <a:gd name="connsiteX19" fmla="*/ 1645920 w 2065020"/>
                      <a:gd name="connsiteY19" fmla="*/ 2065020 h 3436620"/>
                      <a:gd name="connsiteX20" fmla="*/ 1577340 w 2065020"/>
                      <a:gd name="connsiteY20" fmla="*/ 2202180 h 3436620"/>
                      <a:gd name="connsiteX21" fmla="*/ 1501140 w 2065020"/>
                      <a:gd name="connsiteY21" fmla="*/ 2331720 h 3436620"/>
                      <a:gd name="connsiteX22" fmla="*/ 1341120 w 2065020"/>
                      <a:gd name="connsiteY22" fmla="*/ 2407920 h 3436620"/>
                      <a:gd name="connsiteX23" fmla="*/ 1148080 w 2065020"/>
                      <a:gd name="connsiteY23" fmla="*/ 2489200 h 3436620"/>
                      <a:gd name="connsiteX24" fmla="*/ 985520 w 2065020"/>
                      <a:gd name="connsiteY24" fmla="*/ 2529205 h 3436620"/>
                      <a:gd name="connsiteX25" fmla="*/ 866140 w 2065020"/>
                      <a:gd name="connsiteY25" fmla="*/ 2633345 h 3436620"/>
                      <a:gd name="connsiteX26" fmla="*/ 701040 w 2065020"/>
                      <a:gd name="connsiteY26" fmla="*/ 3075940 h 3436620"/>
                      <a:gd name="connsiteX27" fmla="*/ 495300 w 2065020"/>
                      <a:gd name="connsiteY27" fmla="*/ 3436620 h 3436620"/>
                      <a:gd name="connsiteX28" fmla="*/ 350520 w 2065020"/>
                      <a:gd name="connsiteY28" fmla="*/ 3108960 h 3436620"/>
                      <a:gd name="connsiteX29" fmla="*/ 228600 w 2065020"/>
                      <a:gd name="connsiteY29" fmla="*/ 2613660 h 3436620"/>
                      <a:gd name="connsiteX30" fmla="*/ 102235 w 2065020"/>
                      <a:gd name="connsiteY30" fmla="*/ 2290445 h 3436620"/>
                      <a:gd name="connsiteX31" fmla="*/ 0 w 2065020"/>
                      <a:gd name="connsiteY31" fmla="*/ 1950720 h 3436620"/>
                      <a:gd name="connsiteX32" fmla="*/ 76200 w 2065020"/>
                      <a:gd name="connsiteY32" fmla="*/ 1645920 h 3436620"/>
                      <a:gd name="connsiteX33" fmla="*/ 152400 w 2065020"/>
                      <a:gd name="connsiteY33" fmla="*/ 1348740 h 3436620"/>
                      <a:gd name="connsiteX34" fmla="*/ 167640 w 2065020"/>
                      <a:gd name="connsiteY34" fmla="*/ 1082040 h 3436620"/>
                      <a:gd name="connsiteX35" fmla="*/ 166370 w 2065020"/>
                      <a:gd name="connsiteY35" fmla="*/ 927735 h 3436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65020" h="3436620">
                        <a:moveTo>
                          <a:pt x="166370" y="927735"/>
                        </a:moveTo>
                        <a:lnTo>
                          <a:pt x="259080" y="1028700"/>
                        </a:lnTo>
                        <a:cubicBezTo>
                          <a:pt x="367965" y="1090920"/>
                          <a:pt x="334329" y="1067435"/>
                          <a:pt x="373380" y="1089660"/>
                        </a:cubicBezTo>
                        <a:lnTo>
                          <a:pt x="449580" y="1120140"/>
                        </a:lnTo>
                        <a:lnTo>
                          <a:pt x="617220" y="1120140"/>
                        </a:lnTo>
                        <a:lnTo>
                          <a:pt x="779780" y="1104265"/>
                        </a:lnTo>
                        <a:lnTo>
                          <a:pt x="1007110" y="1007745"/>
                        </a:lnTo>
                        <a:lnTo>
                          <a:pt x="1203960" y="906780"/>
                        </a:lnTo>
                        <a:lnTo>
                          <a:pt x="1463040" y="693420"/>
                        </a:lnTo>
                        <a:lnTo>
                          <a:pt x="1653540" y="449580"/>
                        </a:lnTo>
                        <a:lnTo>
                          <a:pt x="1775460" y="304800"/>
                        </a:lnTo>
                        <a:lnTo>
                          <a:pt x="1897380" y="0"/>
                        </a:lnTo>
                        <a:lnTo>
                          <a:pt x="1882140" y="281940"/>
                        </a:lnTo>
                        <a:lnTo>
                          <a:pt x="1882140" y="556260"/>
                        </a:lnTo>
                        <a:lnTo>
                          <a:pt x="1920240" y="830580"/>
                        </a:lnTo>
                        <a:lnTo>
                          <a:pt x="1996440" y="1059180"/>
                        </a:lnTo>
                        <a:lnTo>
                          <a:pt x="2065020" y="1158240"/>
                        </a:lnTo>
                        <a:lnTo>
                          <a:pt x="1935480" y="1440180"/>
                        </a:lnTo>
                        <a:lnTo>
                          <a:pt x="1783080" y="1798320"/>
                        </a:lnTo>
                        <a:lnTo>
                          <a:pt x="1645920" y="2065020"/>
                        </a:lnTo>
                        <a:lnTo>
                          <a:pt x="1577340" y="2202180"/>
                        </a:lnTo>
                        <a:lnTo>
                          <a:pt x="1501140" y="2331720"/>
                        </a:lnTo>
                        <a:lnTo>
                          <a:pt x="1341120" y="2407920"/>
                        </a:lnTo>
                        <a:lnTo>
                          <a:pt x="1148080" y="2489200"/>
                        </a:lnTo>
                        <a:lnTo>
                          <a:pt x="985520" y="2529205"/>
                        </a:lnTo>
                        <a:lnTo>
                          <a:pt x="866140" y="2633345"/>
                        </a:lnTo>
                        <a:cubicBezTo>
                          <a:pt x="800484" y="2787384"/>
                          <a:pt x="841568" y="2875915"/>
                          <a:pt x="701040" y="3075940"/>
                        </a:cubicBezTo>
                        <a:lnTo>
                          <a:pt x="495300" y="3436620"/>
                        </a:lnTo>
                        <a:lnTo>
                          <a:pt x="350520" y="3108960"/>
                        </a:lnTo>
                        <a:lnTo>
                          <a:pt x="228600" y="2613660"/>
                        </a:lnTo>
                        <a:lnTo>
                          <a:pt x="102235" y="2290445"/>
                        </a:lnTo>
                        <a:lnTo>
                          <a:pt x="0" y="1950720"/>
                        </a:lnTo>
                        <a:lnTo>
                          <a:pt x="76200" y="1645920"/>
                        </a:lnTo>
                        <a:lnTo>
                          <a:pt x="152400" y="1348740"/>
                        </a:lnTo>
                        <a:lnTo>
                          <a:pt x="167640" y="1082040"/>
                        </a:lnTo>
                        <a:cubicBezTo>
                          <a:pt x="167217" y="1030605"/>
                          <a:pt x="166793" y="979170"/>
                          <a:pt x="166370" y="92773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44" name="Freeform 243"/>
                  <p:cNvSpPr/>
                  <p:nvPr/>
                </p:nvSpPr>
                <p:spPr>
                  <a:xfrm>
                    <a:off x="4771228" y="1279435"/>
                    <a:ext cx="258607" cy="108507"/>
                  </a:xfrm>
                  <a:custGeom>
                    <a:avLst/>
                    <a:gdLst>
                      <a:gd name="connsiteX0" fmla="*/ 0 w 981075"/>
                      <a:gd name="connsiteY0" fmla="*/ 800100 h 800100"/>
                      <a:gd name="connsiteX1" fmla="*/ 142875 w 981075"/>
                      <a:gd name="connsiteY1" fmla="*/ 685800 h 800100"/>
                      <a:gd name="connsiteX2" fmla="*/ 457200 w 981075"/>
                      <a:gd name="connsiteY2" fmla="*/ 657225 h 800100"/>
                      <a:gd name="connsiteX3" fmla="*/ 714375 w 981075"/>
                      <a:gd name="connsiteY3" fmla="*/ 685800 h 800100"/>
                      <a:gd name="connsiteX4" fmla="*/ 790575 w 981075"/>
                      <a:gd name="connsiteY4" fmla="*/ 581025 h 800100"/>
                      <a:gd name="connsiteX5" fmla="*/ 962025 w 981075"/>
                      <a:gd name="connsiteY5" fmla="*/ 285750 h 800100"/>
                      <a:gd name="connsiteX6" fmla="*/ 981075 w 981075"/>
                      <a:gd name="connsiteY6" fmla="*/ 0 h 800100"/>
                      <a:gd name="connsiteX7" fmla="*/ 676275 w 981075"/>
                      <a:gd name="connsiteY7" fmla="*/ 152400 h 800100"/>
                      <a:gd name="connsiteX8" fmla="*/ 628650 w 981075"/>
                      <a:gd name="connsiteY8" fmla="*/ 381000 h 800100"/>
                      <a:gd name="connsiteX9" fmla="*/ 247650 w 981075"/>
                      <a:gd name="connsiteY9" fmla="*/ 485775 h 800100"/>
                      <a:gd name="connsiteX10" fmla="*/ 9525 w 981075"/>
                      <a:gd name="connsiteY10" fmla="*/ 600075 h 800100"/>
                      <a:gd name="connsiteX11" fmla="*/ 0 w 981075"/>
                      <a:gd name="connsiteY11" fmla="*/ 800100 h 800100"/>
                      <a:gd name="connsiteX0" fmla="*/ 0 w 981075"/>
                      <a:gd name="connsiteY0" fmla="*/ 800100 h 800100"/>
                      <a:gd name="connsiteX1" fmla="*/ 142875 w 981075"/>
                      <a:gd name="connsiteY1" fmla="*/ 685800 h 800100"/>
                      <a:gd name="connsiteX2" fmla="*/ 457200 w 981075"/>
                      <a:gd name="connsiteY2" fmla="*/ 657225 h 800100"/>
                      <a:gd name="connsiteX3" fmla="*/ 714375 w 981075"/>
                      <a:gd name="connsiteY3" fmla="*/ 685800 h 800100"/>
                      <a:gd name="connsiteX4" fmla="*/ 790575 w 981075"/>
                      <a:gd name="connsiteY4" fmla="*/ 581025 h 800100"/>
                      <a:gd name="connsiteX5" fmla="*/ 962025 w 981075"/>
                      <a:gd name="connsiteY5" fmla="*/ 285750 h 800100"/>
                      <a:gd name="connsiteX6" fmla="*/ 981075 w 981075"/>
                      <a:gd name="connsiteY6" fmla="*/ 0 h 800100"/>
                      <a:gd name="connsiteX7" fmla="*/ 676275 w 981075"/>
                      <a:gd name="connsiteY7" fmla="*/ 152400 h 800100"/>
                      <a:gd name="connsiteX8" fmla="*/ 628650 w 981075"/>
                      <a:gd name="connsiteY8" fmla="*/ 381000 h 800100"/>
                      <a:gd name="connsiteX9" fmla="*/ 247650 w 981075"/>
                      <a:gd name="connsiteY9" fmla="*/ 485775 h 800100"/>
                      <a:gd name="connsiteX10" fmla="*/ 95250 w 981075"/>
                      <a:gd name="connsiteY10" fmla="*/ 600075 h 800100"/>
                      <a:gd name="connsiteX11" fmla="*/ 0 w 981075"/>
                      <a:gd name="connsiteY11" fmla="*/ 800100 h 800100"/>
                      <a:gd name="connsiteX0" fmla="*/ 0 w 981075"/>
                      <a:gd name="connsiteY0" fmla="*/ 800100 h 800100"/>
                      <a:gd name="connsiteX1" fmla="*/ 142875 w 981075"/>
                      <a:gd name="connsiteY1" fmla="*/ 685800 h 800100"/>
                      <a:gd name="connsiteX2" fmla="*/ 457200 w 981075"/>
                      <a:gd name="connsiteY2" fmla="*/ 657225 h 800100"/>
                      <a:gd name="connsiteX3" fmla="*/ 714375 w 981075"/>
                      <a:gd name="connsiteY3" fmla="*/ 685800 h 800100"/>
                      <a:gd name="connsiteX4" fmla="*/ 790575 w 981075"/>
                      <a:gd name="connsiteY4" fmla="*/ 581025 h 800100"/>
                      <a:gd name="connsiteX5" fmla="*/ 962025 w 981075"/>
                      <a:gd name="connsiteY5" fmla="*/ 285750 h 800100"/>
                      <a:gd name="connsiteX6" fmla="*/ 981075 w 981075"/>
                      <a:gd name="connsiteY6" fmla="*/ 0 h 800100"/>
                      <a:gd name="connsiteX7" fmla="*/ 676275 w 981075"/>
                      <a:gd name="connsiteY7" fmla="*/ 152400 h 800100"/>
                      <a:gd name="connsiteX8" fmla="*/ 628650 w 981075"/>
                      <a:gd name="connsiteY8" fmla="*/ 381000 h 800100"/>
                      <a:gd name="connsiteX9" fmla="*/ 371475 w 981075"/>
                      <a:gd name="connsiteY9" fmla="*/ 514350 h 800100"/>
                      <a:gd name="connsiteX10" fmla="*/ 95250 w 981075"/>
                      <a:gd name="connsiteY10" fmla="*/ 600075 h 800100"/>
                      <a:gd name="connsiteX11" fmla="*/ 0 w 981075"/>
                      <a:gd name="connsiteY11" fmla="*/ 800100 h 800100"/>
                      <a:gd name="connsiteX0" fmla="*/ 0 w 981075"/>
                      <a:gd name="connsiteY0" fmla="*/ 800100 h 800100"/>
                      <a:gd name="connsiteX1" fmla="*/ 142875 w 981075"/>
                      <a:gd name="connsiteY1" fmla="*/ 685800 h 800100"/>
                      <a:gd name="connsiteX2" fmla="*/ 457200 w 981075"/>
                      <a:gd name="connsiteY2" fmla="*/ 657225 h 800100"/>
                      <a:gd name="connsiteX3" fmla="*/ 714375 w 981075"/>
                      <a:gd name="connsiteY3" fmla="*/ 685800 h 800100"/>
                      <a:gd name="connsiteX4" fmla="*/ 790575 w 981075"/>
                      <a:gd name="connsiteY4" fmla="*/ 581025 h 800100"/>
                      <a:gd name="connsiteX5" fmla="*/ 962025 w 981075"/>
                      <a:gd name="connsiteY5" fmla="*/ 285750 h 800100"/>
                      <a:gd name="connsiteX6" fmla="*/ 981075 w 981075"/>
                      <a:gd name="connsiteY6" fmla="*/ 0 h 800100"/>
                      <a:gd name="connsiteX7" fmla="*/ 676275 w 981075"/>
                      <a:gd name="connsiteY7" fmla="*/ 152400 h 800100"/>
                      <a:gd name="connsiteX8" fmla="*/ 628650 w 981075"/>
                      <a:gd name="connsiteY8" fmla="*/ 381000 h 800100"/>
                      <a:gd name="connsiteX9" fmla="*/ 714375 w 981075"/>
                      <a:gd name="connsiteY9" fmla="*/ 419100 h 800100"/>
                      <a:gd name="connsiteX10" fmla="*/ 371475 w 981075"/>
                      <a:gd name="connsiteY10" fmla="*/ 514350 h 800100"/>
                      <a:gd name="connsiteX11" fmla="*/ 95250 w 981075"/>
                      <a:gd name="connsiteY11" fmla="*/ 600075 h 800100"/>
                      <a:gd name="connsiteX12" fmla="*/ 0 w 981075"/>
                      <a:gd name="connsiteY12" fmla="*/ 800100 h 800100"/>
                      <a:gd name="connsiteX0" fmla="*/ 0 w 981075"/>
                      <a:gd name="connsiteY0" fmla="*/ 800100 h 800100"/>
                      <a:gd name="connsiteX1" fmla="*/ 142875 w 981075"/>
                      <a:gd name="connsiteY1" fmla="*/ 685800 h 800100"/>
                      <a:gd name="connsiteX2" fmla="*/ 457200 w 981075"/>
                      <a:gd name="connsiteY2" fmla="*/ 657225 h 800100"/>
                      <a:gd name="connsiteX3" fmla="*/ 714375 w 981075"/>
                      <a:gd name="connsiteY3" fmla="*/ 685800 h 800100"/>
                      <a:gd name="connsiteX4" fmla="*/ 895350 w 981075"/>
                      <a:gd name="connsiteY4" fmla="*/ 752475 h 800100"/>
                      <a:gd name="connsiteX5" fmla="*/ 790575 w 981075"/>
                      <a:gd name="connsiteY5" fmla="*/ 581025 h 800100"/>
                      <a:gd name="connsiteX6" fmla="*/ 962025 w 981075"/>
                      <a:gd name="connsiteY6" fmla="*/ 285750 h 800100"/>
                      <a:gd name="connsiteX7" fmla="*/ 981075 w 981075"/>
                      <a:gd name="connsiteY7" fmla="*/ 0 h 800100"/>
                      <a:gd name="connsiteX8" fmla="*/ 676275 w 981075"/>
                      <a:gd name="connsiteY8" fmla="*/ 152400 h 800100"/>
                      <a:gd name="connsiteX9" fmla="*/ 628650 w 981075"/>
                      <a:gd name="connsiteY9" fmla="*/ 381000 h 800100"/>
                      <a:gd name="connsiteX10" fmla="*/ 714375 w 981075"/>
                      <a:gd name="connsiteY10" fmla="*/ 419100 h 800100"/>
                      <a:gd name="connsiteX11" fmla="*/ 371475 w 981075"/>
                      <a:gd name="connsiteY11" fmla="*/ 514350 h 800100"/>
                      <a:gd name="connsiteX12" fmla="*/ 95250 w 981075"/>
                      <a:gd name="connsiteY12" fmla="*/ 600075 h 800100"/>
                      <a:gd name="connsiteX13" fmla="*/ 0 w 981075"/>
                      <a:gd name="connsiteY13" fmla="*/ 800100 h 800100"/>
                      <a:gd name="connsiteX0" fmla="*/ 0 w 1095375"/>
                      <a:gd name="connsiteY0" fmla="*/ 800100 h 800100"/>
                      <a:gd name="connsiteX1" fmla="*/ 142875 w 1095375"/>
                      <a:gd name="connsiteY1" fmla="*/ 685800 h 800100"/>
                      <a:gd name="connsiteX2" fmla="*/ 457200 w 1095375"/>
                      <a:gd name="connsiteY2" fmla="*/ 657225 h 800100"/>
                      <a:gd name="connsiteX3" fmla="*/ 714375 w 1095375"/>
                      <a:gd name="connsiteY3" fmla="*/ 685800 h 800100"/>
                      <a:gd name="connsiteX4" fmla="*/ 895350 w 1095375"/>
                      <a:gd name="connsiteY4" fmla="*/ 752475 h 800100"/>
                      <a:gd name="connsiteX5" fmla="*/ 1095375 w 1095375"/>
                      <a:gd name="connsiteY5" fmla="*/ 581025 h 800100"/>
                      <a:gd name="connsiteX6" fmla="*/ 962025 w 1095375"/>
                      <a:gd name="connsiteY6" fmla="*/ 285750 h 800100"/>
                      <a:gd name="connsiteX7" fmla="*/ 981075 w 1095375"/>
                      <a:gd name="connsiteY7" fmla="*/ 0 h 800100"/>
                      <a:gd name="connsiteX8" fmla="*/ 676275 w 1095375"/>
                      <a:gd name="connsiteY8" fmla="*/ 152400 h 800100"/>
                      <a:gd name="connsiteX9" fmla="*/ 628650 w 1095375"/>
                      <a:gd name="connsiteY9" fmla="*/ 381000 h 800100"/>
                      <a:gd name="connsiteX10" fmla="*/ 714375 w 1095375"/>
                      <a:gd name="connsiteY10" fmla="*/ 419100 h 800100"/>
                      <a:gd name="connsiteX11" fmla="*/ 371475 w 1095375"/>
                      <a:gd name="connsiteY11" fmla="*/ 514350 h 800100"/>
                      <a:gd name="connsiteX12" fmla="*/ 95250 w 1095375"/>
                      <a:gd name="connsiteY12" fmla="*/ 600075 h 800100"/>
                      <a:gd name="connsiteX13" fmla="*/ 0 w 1095375"/>
                      <a:gd name="connsiteY13" fmla="*/ 800100 h 800100"/>
                      <a:gd name="connsiteX0" fmla="*/ 0 w 1114425"/>
                      <a:gd name="connsiteY0" fmla="*/ 800100 h 800100"/>
                      <a:gd name="connsiteX1" fmla="*/ 142875 w 1114425"/>
                      <a:gd name="connsiteY1" fmla="*/ 685800 h 800100"/>
                      <a:gd name="connsiteX2" fmla="*/ 457200 w 1114425"/>
                      <a:gd name="connsiteY2" fmla="*/ 657225 h 800100"/>
                      <a:gd name="connsiteX3" fmla="*/ 714375 w 1114425"/>
                      <a:gd name="connsiteY3" fmla="*/ 685800 h 800100"/>
                      <a:gd name="connsiteX4" fmla="*/ 895350 w 1114425"/>
                      <a:gd name="connsiteY4" fmla="*/ 752475 h 800100"/>
                      <a:gd name="connsiteX5" fmla="*/ 1095375 w 1114425"/>
                      <a:gd name="connsiteY5" fmla="*/ 581025 h 800100"/>
                      <a:gd name="connsiteX6" fmla="*/ 1114425 w 1114425"/>
                      <a:gd name="connsiteY6" fmla="*/ 514350 h 800100"/>
                      <a:gd name="connsiteX7" fmla="*/ 981075 w 1114425"/>
                      <a:gd name="connsiteY7" fmla="*/ 0 h 800100"/>
                      <a:gd name="connsiteX8" fmla="*/ 676275 w 1114425"/>
                      <a:gd name="connsiteY8" fmla="*/ 152400 h 800100"/>
                      <a:gd name="connsiteX9" fmla="*/ 628650 w 1114425"/>
                      <a:gd name="connsiteY9" fmla="*/ 381000 h 800100"/>
                      <a:gd name="connsiteX10" fmla="*/ 714375 w 1114425"/>
                      <a:gd name="connsiteY10" fmla="*/ 419100 h 800100"/>
                      <a:gd name="connsiteX11" fmla="*/ 371475 w 1114425"/>
                      <a:gd name="connsiteY11" fmla="*/ 514350 h 800100"/>
                      <a:gd name="connsiteX12" fmla="*/ 95250 w 1114425"/>
                      <a:gd name="connsiteY12" fmla="*/ 600075 h 800100"/>
                      <a:gd name="connsiteX13" fmla="*/ 0 w 1114425"/>
                      <a:gd name="connsiteY13" fmla="*/ 800100 h 800100"/>
                      <a:gd name="connsiteX0" fmla="*/ 0 w 1362075"/>
                      <a:gd name="connsiteY0" fmla="*/ 647700 h 647700"/>
                      <a:gd name="connsiteX1" fmla="*/ 142875 w 1362075"/>
                      <a:gd name="connsiteY1" fmla="*/ 533400 h 647700"/>
                      <a:gd name="connsiteX2" fmla="*/ 457200 w 1362075"/>
                      <a:gd name="connsiteY2" fmla="*/ 504825 h 647700"/>
                      <a:gd name="connsiteX3" fmla="*/ 714375 w 1362075"/>
                      <a:gd name="connsiteY3" fmla="*/ 533400 h 647700"/>
                      <a:gd name="connsiteX4" fmla="*/ 895350 w 1362075"/>
                      <a:gd name="connsiteY4" fmla="*/ 600075 h 647700"/>
                      <a:gd name="connsiteX5" fmla="*/ 1095375 w 1362075"/>
                      <a:gd name="connsiteY5" fmla="*/ 428625 h 647700"/>
                      <a:gd name="connsiteX6" fmla="*/ 1114425 w 1362075"/>
                      <a:gd name="connsiteY6" fmla="*/ 361950 h 647700"/>
                      <a:gd name="connsiteX7" fmla="*/ 1362075 w 1362075"/>
                      <a:gd name="connsiteY7" fmla="*/ 76200 h 647700"/>
                      <a:gd name="connsiteX8" fmla="*/ 676275 w 1362075"/>
                      <a:gd name="connsiteY8" fmla="*/ 0 h 647700"/>
                      <a:gd name="connsiteX9" fmla="*/ 628650 w 1362075"/>
                      <a:gd name="connsiteY9" fmla="*/ 228600 h 647700"/>
                      <a:gd name="connsiteX10" fmla="*/ 714375 w 1362075"/>
                      <a:gd name="connsiteY10" fmla="*/ 266700 h 647700"/>
                      <a:gd name="connsiteX11" fmla="*/ 371475 w 1362075"/>
                      <a:gd name="connsiteY11" fmla="*/ 361950 h 647700"/>
                      <a:gd name="connsiteX12" fmla="*/ 95250 w 1362075"/>
                      <a:gd name="connsiteY12" fmla="*/ 447675 h 647700"/>
                      <a:gd name="connsiteX13" fmla="*/ 0 w 1362075"/>
                      <a:gd name="connsiteY13" fmla="*/ 647700 h 647700"/>
                      <a:gd name="connsiteX0" fmla="*/ 0 w 1362075"/>
                      <a:gd name="connsiteY0" fmla="*/ 571500 h 571500"/>
                      <a:gd name="connsiteX1" fmla="*/ 142875 w 1362075"/>
                      <a:gd name="connsiteY1" fmla="*/ 457200 h 571500"/>
                      <a:gd name="connsiteX2" fmla="*/ 457200 w 1362075"/>
                      <a:gd name="connsiteY2" fmla="*/ 428625 h 571500"/>
                      <a:gd name="connsiteX3" fmla="*/ 714375 w 1362075"/>
                      <a:gd name="connsiteY3" fmla="*/ 457200 h 571500"/>
                      <a:gd name="connsiteX4" fmla="*/ 895350 w 1362075"/>
                      <a:gd name="connsiteY4" fmla="*/ 523875 h 571500"/>
                      <a:gd name="connsiteX5" fmla="*/ 1095375 w 1362075"/>
                      <a:gd name="connsiteY5" fmla="*/ 352425 h 571500"/>
                      <a:gd name="connsiteX6" fmla="*/ 1114425 w 1362075"/>
                      <a:gd name="connsiteY6" fmla="*/ 285750 h 571500"/>
                      <a:gd name="connsiteX7" fmla="*/ 1362075 w 1362075"/>
                      <a:gd name="connsiteY7" fmla="*/ 0 h 571500"/>
                      <a:gd name="connsiteX8" fmla="*/ 1133475 w 1362075"/>
                      <a:gd name="connsiteY8" fmla="*/ 76200 h 571500"/>
                      <a:gd name="connsiteX9" fmla="*/ 628650 w 1362075"/>
                      <a:gd name="connsiteY9" fmla="*/ 152400 h 571500"/>
                      <a:gd name="connsiteX10" fmla="*/ 714375 w 1362075"/>
                      <a:gd name="connsiteY10" fmla="*/ 190500 h 571500"/>
                      <a:gd name="connsiteX11" fmla="*/ 371475 w 1362075"/>
                      <a:gd name="connsiteY11" fmla="*/ 285750 h 571500"/>
                      <a:gd name="connsiteX12" fmla="*/ 95250 w 1362075"/>
                      <a:gd name="connsiteY12" fmla="*/ 371475 h 571500"/>
                      <a:gd name="connsiteX13" fmla="*/ 0 w 1362075"/>
                      <a:gd name="connsiteY13" fmla="*/ 571500 h 571500"/>
                      <a:gd name="connsiteX0" fmla="*/ 0 w 1362075"/>
                      <a:gd name="connsiteY0" fmla="*/ 571500 h 571500"/>
                      <a:gd name="connsiteX1" fmla="*/ 142875 w 1362075"/>
                      <a:gd name="connsiteY1" fmla="*/ 457200 h 571500"/>
                      <a:gd name="connsiteX2" fmla="*/ 457200 w 1362075"/>
                      <a:gd name="connsiteY2" fmla="*/ 428625 h 571500"/>
                      <a:gd name="connsiteX3" fmla="*/ 714375 w 1362075"/>
                      <a:gd name="connsiteY3" fmla="*/ 457200 h 571500"/>
                      <a:gd name="connsiteX4" fmla="*/ 895350 w 1362075"/>
                      <a:gd name="connsiteY4" fmla="*/ 523875 h 571500"/>
                      <a:gd name="connsiteX5" fmla="*/ 1095375 w 1362075"/>
                      <a:gd name="connsiteY5" fmla="*/ 352425 h 571500"/>
                      <a:gd name="connsiteX6" fmla="*/ 1114425 w 1362075"/>
                      <a:gd name="connsiteY6" fmla="*/ 285750 h 571500"/>
                      <a:gd name="connsiteX7" fmla="*/ 1362075 w 1362075"/>
                      <a:gd name="connsiteY7" fmla="*/ 0 h 571500"/>
                      <a:gd name="connsiteX8" fmla="*/ 1133475 w 1362075"/>
                      <a:gd name="connsiteY8" fmla="*/ 76200 h 571500"/>
                      <a:gd name="connsiteX9" fmla="*/ 1009650 w 1362075"/>
                      <a:gd name="connsiteY9" fmla="*/ 152400 h 571500"/>
                      <a:gd name="connsiteX10" fmla="*/ 714375 w 1362075"/>
                      <a:gd name="connsiteY10" fmla="*/ 190500 h 571500"/>
                      <a:gd name="connsiteX11" fmla="*/ 371475 w 1362075"/>
                      <a:gd name="connsiteY11" fmla="*/ 285750 h 571500"/>
                      <a:gd name="connsiteX12" fmla="*/ 95250 w 1362075"/>
                      <a:gd name="connsiteY12" fmla="*/ 371475 h 571500"/>
                      <a:gd name="connsiteX13" fmla="*/ 0 w 1362075"/>
                      <a:gd name="connsiteY13" fmla="*/ 571500 h 571500"/>
                      <a:gd name="connsiteX0" fmla="*/ 0 w 1362075"/>
                      <a:gd name="connsiteY0" fmla="*/ 571500 h 571500"/>
                      <a:gd name="connsiteX1" fmla="*/ 142875 w 1362075"/>
                      <a:gd name="connsiteY1" fmla="*/ 457200 h 571500"/>
                      <a:gd name="connsiteX2" fmla="*/ 457200 w 1362075"/>
                      <a:gd name="connsiteY2" fmla="*/ 428625 h 571500"/>
                      <a:gd name="connsiteX3" fmla="*/ 714375 w 1362075"/>
                      <a:gd name="connsiteY3" fmla="*/ 457200 h 571500"/>
                      <a:gd name="connsiteX4" fmla="*/ 895350 w 1362075"/>
                      <a:gd name="connsiteY4" fmla="*/ 523875 h 571500"/>
                      <a:gd name="connsiteX5" fmla="*/ 1095375 w 1362075"/>
                      <a:gd name="connsiteY5" fmla="*/ 352425 h 571500"/>
                      <a:gd name="connsiteX6" fmla="*/ 1114425 w 1362075"/>
                      <a:gd name="connsiteY6" fmla="*/ 285750 h 571500"/>
                      <a:gd name="connsiteX7" fmla="*/ 1362075 w 1362075"/>
                      <a:gd name="connsiteY7" fmla="*/ 0 h 571500"/>
                      <a:gd name="connsiteX8" fmla="*/ 1133475 w 1362075"/>
                      <a:gd name="connsiteY8" fmla="*/ 76200 h 571500"/>
                      <a:gd name="connsiteX9" fmla="*/ 1009650 w 1362075"/>
                      <a:gd name="connsiteY9" fmla="*/ 152400 h 571500"/>
                      <a:gd name="connsiteX10" fmla="*/ 942975 w 1362075"/>
                      <a:gd name="connsiteY10" fmla="*/ 190500 h 571500"/>
                      <a:gd name="connsiteX11" fmla="*/ 371475 w 1362075"/>
                      <a:gd name="connsiteY11" fmla="*/ 285750 h 571500"/>
                      <a:gd name="connsiteX12" fmla="*/ 95250 w 1362075"/>
                      <a:gd name="connsiteY12" fmla="*/ 371475 h 571500"/>
                      <a:gd name="connsiteX13" fmla="*/ 0 w 1362075"/>
                      <a:gd name="connsiteY13" fmla="*/ 571500 h 5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62075" h="571500">
                        <a:moveTo>
                          <a:pt x="0" y="571500"/>
                        </a:moveTo>
                        <a:lnTo>
                          <a:pt x="142875" y="457200"/>
                        </a:lnTo>
                        <a:lnTo>
                          <a:pt x="457200" y="428625"/>
                        </a:lnTo>
                        <a:cubicBezTo>
                          <a:pt x="708004" y="457564"/>
                          <a:pt x="621752" y="457200"/>
                          <a:pt x="714375" y="457200"/>
                        </a:cubicBezTo>
                        <a:lnTo>
                          <a:pt x="895350" y="523875"/>
                        </a:lnTo>
                        <a:lnTo>
                          <a:pt x="1095375" y="352425"/>
                        </a:lnTo>
                        <a:lnTo>
                          <a:pt x="1114425" y="285750"/>
                        </a:lnTo>
                        <a:lnTo>
                          <a:pt x="1362075" y="0"/>
                        </a:lnTo>
                        <a:lnTo>
                          <a:pt x="1133475" y="76200"/>
                        </a:lnTo>
                        <a:lnTo>
                          <a:pt x="1009650" y="152400"/>
                        </a:lnTo>
                        <a:lnTo>
                          <a:pt x="942975" y="190500"/>
                        </a:lnTo>
                        <a:lnTo>
                          <a:pt x="371475" y="285750"/>
                        </a:lnTo>
                        <a:lnTo>
                          <a:pt x="95250" y="371475"/>
                        </a:lnTo>
                        <a:lnTo>
                          <a:pt x="0" y="5715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45" name="Freeform 244"/>
                  <p:cNvSpPr/>
                  <p:nvPr/>
                </p:nvSpPr>
                <p:spPr>
                  <a:xfrm flipH="1">
                    <a:off x="4554215" y="1236032"/>
                    <a:ext cx="186270" cy="151909"/>
                  </a:xfrm>
                  <a:custGeom>
                    <a:avLst/>
                    <a:gdLst>
                      <a:gd name="connsiteX0" fmla="*/ 0 w 981075"/>
                      <a:gd name="connsiteY0" fmla="*/ 800100 h 800100"/>
                      <a:gd name="connsiteX1" fmla="*/ 142875 w 981075"/>
                      <a:gd name="connsiteY1" fmla="*/ 685800 h 800100"/>
                      <a:gd name="connsiteX2" fmla="*/ 457200 w 981075"/>
                      <a:gd name="connsiteY2" fmla="*/ 657225 h 800100"/>
                      <a:gd name="connsiteX3" fmla="*/ 714375 w 981075"/>
                      <a:gd name="connsiteY3" fmla="*/ 685800 h 800100"/>
                      <a:gd name="connsiteX4" fmla="*/ 790575 w 981075"/>
                      <a:gd name="connsiteY4" fmla="*/ 581025 h 800100"/>
                      <a:gd name="connsiteX5" fmla="*/ 962025 w 981075"/>
                      <a:gd name="connsiteY5" fmla="*/ 285750 h 800100"/>
                      <a:gd name="connsiteX6" fmla="*/ 981075 w 981075"/>
                      <a:gd name="connsiteY6" fmla="*/ 0 h 800100"/>
                      <a:gd name="connsiteX7" fmla="*/ 676275 w 981075"/>
                      <a:gd name="connsiteY7" fmla="*/ 152400 h 800100"/>
                      <a:gd name="connsiteX8" fmla="*/ 628650 w 981075"/>
                      <a:gd name="connsiteY8" fmla="*/ 381000 h 800100"/>
                      <a:gd name="connsiteX9" fmla="*/ 247650 w 981075"/>
                      <a:gd name="connsiteY9" fmla="*/ 485775 h 800100"/>
                      <a:gd name="connsiteX10" fmla="*/ 9525 w 981075"/>
                      <a:gd name="connsiteY10" fmla="*/ 600075 h 800100"/>
                      <a:gd name="connsiteX11" fmla="*/ 0 w 981075"/>
                      <a:gd name="connsiteY11" fmla="*/ 800100 h 800100"/>
                      <a:gd name="connsiteX0" fmla="*/ 0 w 981075"/>
                      <a:gd name="connsiteY0" fmla="*/ 800100 h 800100"/>
                      <a:gd name="connsiteX1" fmla="*/ 142875 w 981075"/>
                      <a:gd name="connsiteY1" fmla="*/ 685800 h 800100"/>
                      <a:gd name="connsiteX2" fmla="*/ 457200 w 981075"/>
                      <a:gd name="connsiteY2" fmla="*/ 657225 h 800100"/>
                      <a:gd name="connsiteX3" fmla="*/ 714375 w 981075"/>
                      <a:gd name="connsiteY3" fmla="*/ 685800 h 800100"/>
                      <a:gd name="connsiteX4" fmla="*/ 790575 w 981075"/>
                      <a:gd name="connsiteY4" fmla="*/ 581025 h 800100"/>
                      <a:gd name="connsiteX5" fmla="*/ 962025 w 981075"/>
                      <a:gd name="connsiteY5" fmla="*/ 285750 h 800100"/>
                      <a:gd name="connsiteX6" fmla="*/ 981075 w 981075"/>
                      <a:gd name="connsiteY6" fmla="*/ 0 h 800100"/>
                      <a:gd name="connsiteX7" fmla="*/ 676275 w 981075"/>
                      <a:gd name="connsiteY7" fmla="*/ 152400 h 800100"/>
                      <a:gd name="connsiteX8" fmla="*/ 628650 w 981075"/>
                      <a:gd name="connsiteY8" fmla="*/ 381000 h 800100"/>
                      <a:gd name="connsiteX9" fmla="*/ 790575 w 981075"/>
                      <a:gd name="connsiteY9" fmla="*/ 542925 h 800100"/>
                      <a:gd name="connsiteX10" fmla="*/ 247650 w 981075"/>
                      <a:gd name="connsiteY10" fmla="*/ 485775 h 800100"/>
                      <a:gd name="connsiteX11" fmla="*/ 9525 w 981075"/>
                      <a:gd name="connsiteY11" fmla="*/ 600075 h 800100"/>
                      <a:gd name="connsiteX12" fmla="*/ 0 w 981075"/>
                      <a:gd name="connsiteY12" fmla="*/ 800100 h 800100"/>
                      <a:gd name="connsiteX0" fmla="*/ 0 w 981075"/>
                      <a:gd name="connsiteY0" fmla="*/ 800100 h 800100"/>
                      <a:gd name="connsiteX1" fmla="*/ 142875 w 981075"/>
                      <a:gd name="connsiteY1" fmla="*/ 685800 h 800100"/>
                      <a:gd name="connsiteX2" fmla="*/ 457200 w 981075"/>
                      <a:gd name="connsiteY2" fmla="*/ 657225 h 800100"/>
                      <a:gd name="connsiteX3" fmla="*/ 714375 w 981075"/>
                      <a:gd name="connsiteY3" fmla="*/ 685800 h 800100"/>
                      <a:gd name="connsiteX4" fmla="*/ 790575 w 981075"/>
                      <a:gd name="connsiteY4" fmla="*/ 581025 h 800100"/>
                      <a:gd name="connsiteX5" fmla="*/ 962025 w 981075"/>
                      <a:gd name="connsiteY5" fmla="*/ 285750 h 800100"/>
                      <a:gd name="connsiteX6" fmla="*/ 981075 w 981075"/>
                      <a:gd name="connsiteY6" fmla="*/ 0 h 800100"/>
                      <a:gd name="connsiteX7" fmla="*/ 676275 w 981075"/>
                      <a:gd name="connsiteY7" fmla="*/ 152400 h 800100"/>
                      <a:gd name="connsiteX8" fmla="*/ 628650 w 981075"/>
                      <a:gd name="connsiteY8" fmla="*/ 381000 h 800100"/>
                      <a:gd name="connsiteX9" fmla="*/ 790575 w 981075"/>
                      <a:gd name="connsiteY9" fmla="*/ 542925 h 800100"/>
                      <a:gd name="connsiteX10" fmla="*/ 342900 w 981075"/>
                      <a:gd name="connsiteY10" fmla="*/ 533400 h 800100"/>
                      <a:gd name="connsiteX11" fmla="*/ 9525 w 981075"/>
                      <a:gd name="connsiteY11" fmla="*/ 600075 h 800100"/>
                      <a:gd name="connsiteX12" fmla="*/ 0 w 981075"/>
                      <a:gd name="connsiteY12" fmla="*/ 800100 h 800100"/>
                      <a:gd name="connsiteX0" fmla="*/ 0 w 981075"/>
                      <a:gd name="connsiteY0" fmla="*/ 800100 h 800100"/>
                      <a:gd name="connsiteX1" fmla="*/ 142875 w 981075"/>
                      <a:gd name="connsiteY1" fmla="*/ 685800 h 800100"/>
                      <a:gd name="connsiteX2" fmla="*/ 457200 w 981075"/>
                      <a:gd name="connsiteY2" fmla="*/ 657225 h 800100"/>
                      <a:gd name="connsiteX3" fmla="*/ 714375 w 981075"/>
                      <a:gd name="connsiteY3" fmla="*/ 685800 h 800100"/>
                      <a:gd name="connsiteX4" fmla="*/ 790575 w 981075"/>
                      <a:gd name="connsiteY4" fmla="*/ 581025 h 800100"/>
                      <a:gd name="connsiteX5" fmla="*/ 962025 w 981075"/>
                      <a:gd name="connsiteY5" fmla="*/ 285750 h 800100"/>
                      <a:gd name="connsiteX6" fmla="*/ 981075 w 981075"/>
                      <a:gd name="connsiteY6" fmla="*/ 0 h 800100"/>
                      <a:gd name="connsiteX7" fmla="*/ 676275 w 981075"/>
                      <a:gd name="connsiteY7" fmla="*/ 152400 h 800100"/>
                      <a:gd name="connsiteX8" fmla="*/ 628650 w 981075"/>
                      <a:gd name="connsiteY8" fmla="*/ 381000 h 800100"/>
                      <a:gd name="connsiteX9" fmla="*/ 790575 w 981075"/>
                      <a:gd name="connsiteY9" fmla="*/ 542925 h 800100"/>
                      <a:gd name="connsiteX10" fmla="*/ 342900 w 981075"/>
                      <a:gd name="connsiteY10" fmla="*/ 533400 h 800100"/>
                      <a:gd name="connsiteX11" fmla="*/ 95250 w 981075"/>
                      <a:gd name="connsiteY11" fmla="*/ 647700 h 800100"/>
                      <a:gd name="connsiteX12" fmla="*/ 0 w 981075"/>
                      <a:gd name="connsiteY12" fmla="*/ 800100 h 800100"/>
                      <a:gd name="connsiteX0" fmla="*/ 0 w 981075"/>
                      <a:gd name="connsiteY0" fmla="*/ 800100 h 800100"/>
                      <a:gd name="connsiteX1" fmla="*/ 142875 w 981075"/>
                      <a:gd name="connsiteY1" fmla="*/ 685800 h 800100"/>
                      <a:gd name="connsiteX2" fmla="*/ 457200 w 981075"/>
                      <a:gd name="connsiteY2" fmla="*/ 657225 h 800100"/>
                      <a:gd name="connsiteX3" fmla="*/ 714375 w 981075"/>
                      <a:gd name="connsiteY3" fmla="*/ 685800 h 800100"/>
                      <a:gd name="connsiteX4" fmla="*/ 790575 w 981075"/>
                      <a:gd name="connsiteY4" fmla="*/ 581025 h 800100"/>
                      <a:gd name="connsiteX5" fmla="*/ 962025 w 981075"/>
                      <a:gd name="connsiteY5" fmla="*/ 285750 h 800100"/>
                      <a:gd name="connsiteX6" fmla="*/ 981075 w 981075"/>
                      <a:gd name="connsiteY6" fmla="*/ 0 h 800100"/>
                      <a:gd name="connsiteX7" fmla="*/ 733425 w 981075"/>
                      <a:gd name="connsiteY7" fmla="*/ 409575 h 800100"/>
                      <a:gd name="connsiteX8" fmla="*/ 676275 w 981075"/>
                      <a:gd name="connsiteY8" fmla="*/ 152400 h 800100"/>
                      <a:gd name="connsiteX9" fmla="*/ 628650 w 981075"/>
                      <a:gd name="connsiteY9" fmla="*/ 381000 h 800100"/>
                      <a:gd name="connsiteX10" fmla="*/ 790575 w 981075"/>
                      <a:gd name="connsiteY10" fmla="*/ 542925 h 800100"/>
                      <a:gd name="connsiteX11" fmla="*/ 342900 w 981075"/>
                      <a:gd name="connsiteY11" fmla="*/ 533400 h 800100"/>
                      <a:gd name="connsiteX12" fmla="*/ 95250 w 981075"/>
                      <a:gd name="connsiteY12" fmla="*/ 647700 h 800100"/>
                      <a:gd name="connsiteX13" fmla="*/ 0 w 981075"/>
                      <a:gd name="connsiteY13" fmla="*/ 800100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81075" h="800100">
                        <a:moveTo>
                          <a:pt x="0" y="800100"/>
                        </a:moveTo>
                        <a:lnTo>
                          <a:pt x="142875" y="685800"/>
                        </a:lnTo>
                        <a:lnTo>
                          <a:pt x="457200" y="657225"/>
                        </a:lnTo>
                        <a:cubicBezTo>
                          <a:pt x="708004" y="686164"/>
                          <a:pt x="621752" y="685800"/>
                          <a:pt x="714375" y="685800"/>
                        </a:cubicBezTo>
                        <a:lnTo>
                          <a:pt x="790575" y="581025"/>
                        </a:lnTo>
                        <a:lnTo>
                          <a:pt x="962025" y="285750"/>
                        </a:lnTo>
                        <a:lnTo>
                          <a:pt x="981075" y="0"/>
                        </a:lnTo>
                        <a:lnTo>
                          <a:pt x="733425" y="409575"/>
                        </a:lnTo>
                        <a:lnTo>
                          <a:pt x="676275" y="152400"/>
                        </a:lnTo>
                        <a:lnTo>
                          <a:pt x="628650" y="381000"/>
                        </a:lnTo>
                        <a:lnTo>
                          <a:pt x="790575" y="542925"/>
                        </a:lnTo>
                        <a:lnTo>
                          <a:pt x="342900" y="533400"/>
                        </a:lnTo>
                        <a:lnTo>
                          <a:pt x="95250" y="647700"/>
                        </a:lnTo>
                        <a:lnTo>
                          <a:pt x="0" y="8001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46" name="Freeform 245"/>
                  <p:cNvSpPr/>
                  <p:nvPr/>
                </p:nvSpPr>
                <p:spPr>
                  <a:xfrm>
                    <a:off x="4491960" y="539548"/>
                    <a:ext cx="567742" cy="641244"/>
                  </a:xfrm>
                  <a:custGeom>
                    <a:avLst/>
                    <a:gdLst>
                      <a:gd name="connsiteX0" fmla="*/ 119063 w 533400"/>
                      <a:gd name="connsiteY0" fmla="*/ 0 h 602456"/>
                      <a:gd name="connsiteX1" fmla="*/ 64294 w 533400"/>
                      <a:gd name="connsiteY1" fmla="*/ 19050 h 602456"/>
                      <a:gd name="connsiteX2" fmla="*/ 40481 w 533400"/>
                      <a:gd name="connsiteY2" fmla="*/ 38100 h 602456"/>
                      <a:gd name="connsiteX3" fmla="*/ 26194 w 533400"/>
                      <a:gd name="connsiteY3" fmla="*/ 69056 h 602456"/>
                      <a:gd name="connsiteX4" fmla="*/ 14288 w 533400"/>
                      <a:gd name="connsiteY4" fmla="*/ 102394 h 602456"/>
                      <a:gd name="connsiteX5" fmla="*/ 2381 w 533400"/>
                      <a:gd name="connsiteY5" fmla="*/ 140494 h 602456"/>
                      <a:gd name="connsiteX6" fmla="*/ 0 w 533400"/>
                      <a:gd name="connsiteY6" fmla="*/ 169069 h 602456"/>
                      <a:gd name="connsiteX7" fmla="*/ 4763 w 533400"/>
                      <a:gd name="connsiteY7" fmla="*/ 192881 h 602456"/>
                      <a:gd name="connsiteX8" fmla="*/ 7144 w 533400"/>
                      <a:gd name="connsiteY8" fmla="*/ 219075 h 602456"/>
                      <a:gd name="connsiteX9" fmla="*/ 7144 w 533400"/>
                      <a:gd name="connsiteY9" fmla="*/ 242887 h 602456"/>
                      <a:gd name="connsiteX10" fmla="*/ 11906 w 533400"/>
                      <a:gd name="connsiteY10" fmla="*/ 273844 h 602456"/>
                      <a:gd name="connsiteX11" fmla="*/ 9525 w 533400"/>
                      <a:gd name="connsiteY11" fmla="*/ 323850 h 602456"/>
                      <a:gd name="connsiteX12" fmla="*/ 16669 w 533400"/>
                      <a:gd name="connsiteY12" fmla="*/ 369094 h 602456"/>
                      <a:gd name="connsiteX13" fmla="*/ 38100 w 533400"/>
                      <a:gd name="connsiteY13" fmla="*/ 416719 h 602456"/>
                      <a:gd name="connsiteX14" fmla="*/ 52388 w 533400"/>
                      <a:gd name="connsiteY14" fmla="*/ 442912 h 602456"/>
                      <a:gd name="connsiteX15" fmla="*/ 66675 w 533400"/>
                      <a:gd name="connsiteY15" fmla="*/ 483394 h 602456"/>
                      <a:gd name="connsiteX16" fmla="*/ 92869 w 533400"/>
                      <a:gd name="connsiteY16" fmla="*/ 521494 h 602456"/>
                      <a:gd name="connsiteX17" fmla="*/ 126206 w 533400"/>
                      <a:gd name="connsiteY17" fmla="*/ 557212 h 602456"/>
                      <a:gd name="connsiteX18" fmla="*/ 157163 w 533400"/>
                      <a:gd name="connsiteY18" fmla="*/ 588169 h 602456"/>
                      <a:gd name="connsiteX19" fmla="*/ 183356 w 533400"/>
                      <a:gd name="connsiteY19" fmla="*/ 602456 h 602456"/>
                      <a:gd name="connsiteX20" fmla="*/ 209550 w 533400"/>
                      <a:gd name="connsiteY20" fmla="*/ 602456 h 602456"/>
                      <a:gd name="connsiteX21" fmla="*/ 238125 w 533400"/>
                      <a:gd name="connsiteY21" fmla="*/ 602456 h 602456"/>
                      <a:gd name="connsiteX22" fmla="*/ 276225 w 533400"/>
                      <a:gd name="connsiteY22" fmla="*/ 588169 h 602456"/>
                      <a:gd name="connsiteX23" fmla="*/ 321469 w 533400"/>
                      <a:gd name="connsiteY23" fmla="*/ 564356 h 602456"/>
                      <a:gd name="connsiteX24" fmla="*/ 378619 w 533400"/>
                      <a:gd name="connsiteY24" fmla="*/ 519112 h 602456"/>
                      <a:gd name="connsiteX25" fmla="*/ 423863 w 533400"/>
                      <a:gd name="connsiteY25" fmla="*/ 457200 h 602456"/>
                      <a:gd name="connsiteX26" fmla="*/ 442913 w 533400"/>
                      <a:gd name="connsiteY26" fmla="*/ 411956 h 602456"/>
                      <a:gd name="connsiteX27" fmla="*/ 452438 w 533400"/>
                      <a:gd name="connsiteY27" fmla="*/ 385762 h 602456"/>
                      <a:gd name="connsiteX28" fmla="*/ 452438 w 533400"/>
                      <a:gd name="connsiteY28" fmla="*/ 345281 h 602456"/>
                      <a:gd name="connsiteX29" fmla="*/ 469106 w 533400"/>
                      <a:gd name="connsiteY29" fmla="*/ 345281 h 602456"/>
                      <a:gd name="connsiteX30" fmla="*/ 495300 w 533400"/>
                      <a:gd name="connsiteY30" fmla="*/ 328612 h 602456"/>
                      <a:gd name="connsiteX31" fmla="*/ 519113 w 533400"/>
                      <a:gd name="connsiteY31" fmla="*/ 297656 h 602456"/>
                      <a:gd name="connsiteX32" fmla="*/ 528638 w 533400"/>
                      <a:gd name="connsiteY32" fmla="*/ 261937 h 602456"/>
                      <a:gd name="connsiteX33" fmla="*/ 533400 w 533400"/>
                      <a:gd name="connsiteY33" fmla="*/ 219075 h 602456"/>
                      <a:gd name="connsiteX34" fmla="*/ 528638 w 533400"/>
                      <a:gd name="connsiteY34" fmla="*/ 173831 h 602456"/>
                      <a:gd name="connsiteX35" fmla="*/ 519113 w 533400"/>
                      <a:gd name="connsiteY35" fmla="*/ 150019 h 602456"/>
                      <a:gd name="connsiteX36" fmla="*/ 492919 w 533400"/>
                      <a:gd name="connsiteY36" fmla="*/ 142875 h 602456"/>
                      <a:gd name="connsiteX37" fmla="*/ 473869 w 533400"/>
                      <a:gd name="connsiteY37" fmla="*/ 157162 h 602456"/>
                      <a:gd name="connsiteX38" fmla="*/ 464344 w 533400"/>
                      <a:gd name="connsiteY38" fmla="*/ 195262 h 602456"/>
                      <a:gd name="connsiteX39" fmla="*/ 440531 w 533400"/>
                      <a:gd name="connsiteY39" fmla="*/ 228600 h 602456"/>
                      <a:gd name="connsiteX40" fmla="*/ 419100 w 533400"/>
                      <a:gd name="connsiteY40" fmla="*/ 219075 h 602456"/>
                      <a:gd name="connsiteX41" fmla="*/ 411956 w 533400"/>
                      <a:gd name="connsiteY41" fmla="*/ 190500 h 602456"/>
                      <a:gd name="connsiteX42" fmla="*/ 397669 w 533400"/>
                      <a:gd name="connsiteY42" fmla="*/ 161925 h 602456"/>
                      <a:gd name="connsiteX43" fmla="*/ 376238 w 533400"/>
                      <a:gd name="connsiteY43" fmla="*/ 150019 h 602456"/>
                      <a:gd name="connsiteX44" fmla="*/ 364331 w 533400"/>
                      <a:gd name="connsiteY44" fmla="*/ 119062 h 602456"/>
                      <a:gd name="connsiteX45" fmla="*/ 369094 w 533400"/>
                      <a:gd name="connsiteY45" fmla="*/ 90487 h 602456"/>
                      <a:gd name="connsiteX46" fmla="*/ 338138 w 533400"/>
                      <a:gd name="connsiteY46" fmla="*/ 69056 h 602456"/>
                      <a:gd name="connsiteX47" fmla="*/ 311944 w 533400"/>
                      <a:gd name="connsiteY47" fmla="*/ 47625 h 602456"/>
                      <a:gd name="connsiteX48" fmla="*/ 295275 w 533400"/>
                      <a:gd name="connsiteY48" fmla="*/ 26194 h 602456"/>
                      <a:gd name="connsiteX49" fmla="*/ 269081 w 533400"/>
                      <a:gd name="connsiteY49" fmla="*/ 9525 h 602456"/>
                      <a:gd name="connsiteX50" fmla="*/ 242888 w 533400"/>
                      <a:gd name="connsiteY50" fmla="*/ 4762 h 602456"/>
                      <a:gd name="connsiteX51" fmla="*/ 214313 w 533400"/>
                      <a:gd name="connsiteY51" fmla="*/ 0 h 602456"/>
                      <a:gd name="connsiteX52" fmla="*/ 185738 w 533400"/>
                      <a:gd name="connsiteY52" fmla="*/ 4762 h 602456"/>
                      <a:gd name="connsiteX53" fmla="*/ 119063 w 533400"/>
                      <a:gd name="connsiteY53" fmla="*/ 0 h 602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33400" h="602456">
                        <a:moveTo>
                          <a:pt x="119063" y="0"/>
                        </a:moveTo>
                        <a:lnTo>
                          <a:pt x="64294" y="19050"/>
                        </a:lnTo>
                        <a:lnTo>
                          <a:pt x="40481" y="38100"/>
                        </a:lnTo>
                        <a:lnTo>
                          <a:pt x="26194" y="69056"/>
                        </a:lnTo>
                        <a:lnTo>
                          <a:pt x="14288" y="102394"/>
                        </a:lnTo>
                        <a:lnTo>
                          <a:pt x="2381" y="140494"/>
                        </a:lnTo>
                        <a:lnTo>
                          <a:pt x="0" y="169069"/>
                        </a:lnTo>
                        <a:lnTo>
                          <a:pt x="4763" y="192881"/>
                        </a:lnTo>
                        <a:lnTo>
                          <a:pt x="7144" y="219075"/>
                        </a:lnTo>
                        <a:lnTo>
                          <a:pt x="7144" y="242887"/>
                        </a:lnTo>
                        <a:cubicBezTo>
                          <a:pt x="12037" y="272245"/>
                          <a:pt x="11906" y="261806"/>
                          <a:pt x="11906" y="273844"/>
                        </a:cubicBezTo>
                        <a:lnTo>
                          <a:pt x="9525" y="323850"/>
                        </a:lnTo>
                        <a:lnTo>
                          <a:pt x="16669" y="369094"/>
                        </a:lnTo>
                        <a:lnTo>
                          <a:pt x="38100" y="416719"/>
                        </a:lnTo>
                        <a:lnTo>
                          <a:pt x="52388" y="442912"/>
                        </a:lnTo>
                        <a:lnTo>
                          <a:pt x="66675" y="483394"/>
                        </a:lnTo>
                        <a:lnTo>
                          <a:pt x="92869" y="521494"/>
                        </a:lnTo>
                        <a:lnTo>
                          <a:pt x="126206" y="557212"/>
                        </a:lnTo>
                        <a:lnTo>
                          <a:pt x="157163" y="588169"/>
                        </a:lnTo>
                        <a:lnTo>
                          <a:pt x="183356" y="602456"/>
                        </a:lnTo>
                        <a:lnTo>
                          <a:pt x="209550" y="602456"/>
                        </a:lnTo>
                        <a:lnTo>
                          <a:pt x="238125" y="602456"/>
                        </a:lnTo>
                        <a:lnTo>
                          <a:pt x="276225" y="588169"/>
                        </a:lnTo>
                        <a:lnTo>
                          <a:pt x="321469" y="564356"/>
                        </a:lnTo>
                        <a:lnTo>
                          <a:pt x="378619" y="519112"/>
                        </a:lnTo>
                        <a:lnTo>
                          <a:pt x="423863" y="457200"/>
                        </a:lnTo>
                        <a:cubicBezTo>
                          <a:pt x="443235" y="413612"/>
                          <a:pt x="442913" y="429972"/>
                          <a:pt x="442913" y="411956"/>
                        </a:cubicBezTo>
                        <a:lnTo>
                          <a:pt x="452438" y="385762"/>
                        </a:lnTo>
                        <a:lnTo>
                          <a:pt x="452438" y="345281"/>
                        </a:lnTo>
                        <a:lnTo>
                          <a:pt x="469106" y="345281"/>
                        </a:lnTo>
                        <a:lnTo>
                          <a:pt x="495300" y="328612"/>
                        </a:lnTo>
                        <a:lnTo>
                          <a:pt x="519113" y="297656"/>
                        </a:lnTo>
                        <a:lnTo>
                          <a:pt x="528638" y="261937"/>
                        </a:lnTo>
                        <a:lnTo>
                          <a:pt x="533400" y="219075"/>
                        </a:lnTo>
                        <a:lnTo>
                          <a:pt x="528638" y="173831"/>
                        </a:lnTo>
                        <a:lnTo>
                          <a:pt x="519113" y="150019"/>
                        </a:lnTo>
                        <a:lnTo>
                          <a:pt x="492919" y="142875"/>
                        </a:lnTo>
                        <a:cubicBezTo>
                          <a:pt x="473271" y="160067"/>
                          <a:pt x="473869" y="167982"/>
                          <a:pt x="473869" y="157162"/>
                        </a:cubicBezTo>
                        <a:lnTo>
                          <a:pt x="464344" y="195262"/>
                        </a:lnTo>
                        <a:lnTo>
                          <a:pt x="440531" y="228600"/>
                        </a:lnTo>
                        <a:lnTo>
                          <a:pt x="419100" y="219075"/>
                        </a:lnTo>
                        <a:lnTo>
                          <a:pt x="411956" y="190500"/>
                        </a:lnTo>
                        <a:lnTo>
                          <a:pt x="397669" y="161925"/>
                        </a:lnTo>
                        <a:lnTo>
                          <a:pt x="376238" y="150019"/>
                        </a:lnTo>
                        <a:lnTo>
                          <a:pt x="364331" y="119062"/>
                        </a:lnTo>
                        <a:lnTo>
                          <a:pt x="369094" y="90487"/>
                        </a:lnTo>
                        <a:lnTo>
                          <a:pt x="338138" y="69056"/>
                        </a:lnTo>
                        <a:lnTo>
                          <a:pt x="311944" y="47625"/>
                        </a:lnTo>
                        <a:lnTo>
                          <a:pt x="295275" y="26194"/>
                        </a:lnTo>
                        <a:lnTo>
                          <a:pt x="269081" y="9525"/>
                        </a:lnTo>
                        <a:lnTo>
                          <a:pt x="242888" y="4762"/>
                        </a:lnTo>
                        <a:lnTo>
                          <a:pt x="214313" y="0"/>
                        </a:lnTo>
                        <a:lnTo>
                          <a:pt x="185738" y="4762"/>
                        </a:lnTo>
                        <a:lnTo>
                          <a:pt x="119063"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nvGrpSpPr>
                  <p:cNvPr id="247" name="Group 25"/>
                  <p:cNvGrpSpPr/>
                  <p:nvPr/>
                </p:nvGrpSpPr>
                <p:grpSpPr>
                  <a:xfrm>
                    <a:off x="4727222" y="755602"/>
                    <a:ext cx="121769" cy="51843"/>
                    <a:chOff x="3959225" y="3527425"/>
                    <a:chExt cx="641350" cy="273050"/>
                  </a:xfrm>
                  <a:grpFill/>
                </p:grpSpPr>
                <p:sp>
                  <p:nvSpPr>
                    <p:cNvPr id="269" name="Freeform 268"/>
                    <p:cNvSpPr/>
                    <p:nvPr/>
                  </p:nvSpPr>
                  <p:spPr>
                    <a:xfrm>
                      <a:off x="4006850" y="3565525"/>
                      <a:ext cx="504825" cy="222353"/>
                    </a:xfrm>
                    <a:custGeom>
                      <a:avLst/>
                      <a:gdLst>
                        <a:gd name="connsiteX0" fmla="*/ 57150 w 504825"/>
                        <a:gd name="connsiteY0" fmla="*/ 203200 h 222353"/>
                        <a:gd name="connsiteX1" fmla="*/ 0 w 504825"/>
                        <a:gd name="connsiteY1" fmla="*/ 187325 h 222353"/>
                        <a:gd name="connsiteX2" fmla="*/ 47625 w 504825"/>
                        <a:gd name="connsiteY2" fmla="*/ 82550 h 222353"/>
                        <a:gd name="connsiteX3" fmla="*/ 155575 w 504825"/>
                        <a:gd name="connsiteY3" fmla="*/ 9525 h 222353"/>
                        <a:gd name="connsiteX4" fmla="*/ 320675 w 504825"/>
                        <a:gd name="connsiteY4" fmla="*/ 0 h 222353"/>
                        <a:gd name="connsiteX5" fmla="*/ 482600 w 504825"/>
                        <a:gd name="connsiteY5" fmla="*/ 66675 h 222353"/>
                        <a:gd name="connsiteX6" fmla="*/ 504825 w 504825"/>
                        <a:gd name="connsiteY6" fmla="*/ 123825 h 222353"/>
                        <a:gd name="connsiteX7" fmla="*/ 438150 w 504825"/>
                        <a:gd name="connsiteY7" fmla="*/ 187325 h 222353"/>
                        <a:gd name="connsiteX8" fmla="*/ 317500 w 504825"/>
                        <a:gd name="connsiteY8" fmla="*/ 219075 h 222353"/>
                        <a:gd name="connsiteX9" fmla="*/ 174625 w 504825"/>
                        <a:gd name="connsiteY9" fmla="*/ 222250 h 222353"/>
                        <a:gd name="connsiteX10" fmla="*/ 57150 w 504825"/>
                        <a:gd name="connsiteY10" fmla="*/ 203200 h 222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4825" h="222353">
                          <a:moveTo>
                            <a:pt x="57150" y="203200"/>
                          </a:moveTo>
                          <a:lnTo>
                            <a:pt x="0" y="187325"/>
                          </a:lnTo>
                          <a:cubicBezTo>
                            <a:pt x="48074" y="84767"/>
                            <a:pt x="47625" y="123128"/>
                            <a:pt x="47625" y="82550"/>
                          </a:cubicBezTo>
                          <a:lnTo>
                            <a:pt x="155575" y="9525"/>
                          </a:lnTo>
                          <a:cubicBezTo>
                            <a:pt x="210605" y="6288"/>
                            <a:pt x="265550" y="0"/>
                            <a:pt x="320675" y="0"/>
                          </a:cubicBezTo>
                          <a:lnTo>
                            <a:pt x="482600" y="66675"/>
                          </a:lnTo>
                          <a:lnTo>
                            <a:pt x="504825" y="123825"/>
                          </a:lnTo>
                          <a:lnTo>
                            <a:pt x="438150" y="187325"/>
                          </a:lnTo>
                          <a:cubicBezTo>
                            <a:pt x="319653" y="219351"/>
                            <a:pt x="361238" y="219075"/>
                            <a:pt x="317500" y="219075"/>
                          </a:cubicBezTo>
                          <a:cubicBezTo>
                            <a:pt x="183093" y="222353"/>
                            <a:pt x="230730" y="222250"/>
                            <a:pt x="174625" y="222250"/>
                          </a:cubicBezTo>
                          <a:lnTo>
                            <a:pt x="57150" y="2032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nvGrpSpPr>
                    <p:cNvPr id="270" name="Group 22"/>
                    <p:cNvGrpSpPr/>
                    <p:nvPr/>
                  </p:nvGrpSpPr>
                  <p:grpSpPr>
                    <a:xfrm>
                      <a:off x="4181475" y="3562351"/>
                      <a:ext cx="225425" cy="215900"/>
                      <a:chOff x="4114800" y="3581400"/>
                      <a:chExt cx="228600" cy="228600"/>
                    </a:xfrm>
                    <a:grpFill/>
                  </p:grpSpPr>
                  <p:sp>
                    <p:nvSpPr>
                      <p:cNvPr id="273" name="Oval 272"/>
                      <p:cNvSpPr/>
                      <p:nvPr/>
                    </p:nvSpPr>
                    <p:spPr>
                      <a:xfrm>
                        <a:off x="4114800" y="3581400"/>
                        <a:ext cx="228600" cy="2286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74" name="Oval 273"/>
                      <p:cNvSpPr/>
                      <p:nvPr/>
                    </p:nvSpPr>
                    <p:spPr>
                      <a:xfrm>
                        <a:off x="4165599" y="3632195"/>
                        <a:ext cx="123825" cy="12382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75" name="Oval 274"/>
                      <p:cNvSpPr/>
                      <p:nvPr/>
                    </p:nvSpPr>
                    <p:spPr>
                      <a:xfrm>
                        <a:off x="4241800" y="3641725"/>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71" name="Freeform 270"/>
                    <p:cNvSpPr/>
                    <p:nvPr/>
                  </p:nvSpPr>
                  <p:spPr>
                    <a:xfrm>
                      <a:off x="4032250" y="3663950"/>
                      <a:ext cx="492125" cy="136525"/>
                    </a:xfrm>
                    <a:custGeom>
                      <a:avLst/>
                      <a:gdLst>
                        <a:gd name="connsiteX0" fmla="*/ 0 w 492125"/>
                        <a:gd name="connsiteY0" fmla="*/ 98425 h 136525"/>
                        <a:gd name="connsiteX1" fmla="*/ 73025 w 492125"/>
                        <a:gd name="connsiteY1" fmla="*/ 98425 h 136525"/>
                        <a:gd name="connsiteX2" fmla="*/ 165100 w 492125"/>
                        <a:gd name="connsiteY2" fmla="*/ 111125 h 136525"/>
                        <a:gd name="connsiteX3" fmla="*/ 295275 w 492125"/>
                        <a:gd name="connsiteY3" fmla="*/ 98425 h 136525"/>
                        <a:gd name="connsiteX4" fmla="*/ 396875 w 492125"/>
                        <a:gd name="connsiteY4" fmla="*/ 69850 h 136525"/>
                        <a:gd name="connsiteX5" fmla="*/ 473075 w 492125"/>
                        <a:gd name="connsiteY5" fmla="*/ 0 h 136525"/>
                        <a:gd name="connsiteX6" fmla="*/ 492125 w 492125"/>
                        <a:gd name="connsiteY6" fmla="*/ 25400 h 136525"/>
                        <a:gd name="connsiteX7" fmla="*/ 482600 w 492125"/>
                        <a:gd name="connsiteY7" fmla="*/ 60325 h 136525"/>
                        <a:gd name="connsiteX8" fmla="*/ 419100 w 492125"/>
                        <a:gd name="connsiteY8" fmla="*/ 111125 h 136525"/>
                        <a:gd name="connsiteX9" fmla="*/ 311150 w 492125"/>
                        <a:gd name="connsiteY9" fmla="*/ 133350 h 136525"/>
                        <a:gd name="connsiteX10" fmla="*/ 149225 w 492125"/>
                        <a:gd name="connsiteY10" fmla="*/ 136525 h 136525"/>
                        <a:gd name="connsiteX11" fmla="*/ 53975 w 492125"/>
                        <a:gd name="connsiteY11" fmla="*/ 120650 h 136525"/>
                        <a:gd name="connsiteX12" fmla="*/ 0 w 492125"/>
                        <a:gd name="connsiteY12" fmla="*/ 98425 h 13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2125" h="136525">
                          <a:moveTo>
                            <a:pt x="0" y="98425"/>
                          </a:moveTo>
                          <a:lnTo>
                            <a:pt x="73025" y="98425"/>
                          </a:lnTo>
                          <a:lnTo>
                            <a:pt x="165100" y="111125"/>
                          </a:lnTo>
                          <a:lnTo>
                            <a:pt x="295275" y="98425"/>
                          </a:lnTo>
                          <a:lnTo>
                            <a:pt x="396875" y="69850"/>
                          </a:lnTo>
                          <a:cubicBezTo>
                            <a:pt x="473871" y="2478"/>
                            <a:pt x="473075" y="36926"/>
                            <a:pt x="473075" y="0"/>
                          </a:cubicBezTo>
                          <a:lnTo>
                            <a:pt x="492125" y="25400"/>
                          </a:lnTo>
                          <a:lnTo>
                            <a:pt x="482600" y="60325"/>
                          </a:lnTo>
                          <a:cubicBezTo>
                            <a:pt x="421465" y="111807"/>
                            <a:pt x="448563" y="111125"/>
                            <a:pt x="419100" y="111125"/>
                          </a:cubicBezTo>
                          <a:lnTo>
                            <a:pt x="311150" y="133350"/>
                          </a:lnTo>
                          <a:lnTo>
                            <a:pt x="149225" y="136525"/>
                          </a:lnTo>
                          <a:cubicBezTo>
                            <a:pt x="56107" y="120470"/>
                            <a:pt x="88295" y="120650"/>
                            <a:pt x="53975" y="120650"/>
                          </a:cubicBezTo>
                          <a:lnTo>
                            <a:pt x="0" y="9842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72" name="Freeform 271"/>
                    <p:cNvSpPr/>
                    <p:nvPr/>
                  </p:nvSpPr>
                  <p:spPr>
                    <a:xfrm>
                      <a:off x="3959225" y="3527425"/>
                      <a:ext cx="641350" cy="263525"/>
                    </a:xfrm>
                    <a:custGeom>
                      <a:avLst/>
                      <a:gdLst>
                        <a:gd name="connsiteX0" fmla="*/ 0 w 641350"/>
                        <a:gd name="connsiteY0" fmla="*/ 263525 h 263525"/>
                        <a:gd name="connsiteX1" fmla="*/ 73025 w 641350"/>
                        <a:gd name="connsiteY1" fmla="*/ 228600 h 263525"/>
                        <a:gd name="connsiteX2" fmla="*/ 101600 w 641350"/>
                        <a:gd name="connsiteY2" fmla="*/ 165100 h 263525"/>
                        <a:gd name="connsiteX3" fmla="*/ 155575 w 641350"/>
                        <a:gd name="connsiteY3" fmla="*/ 88900 h 263525"/>
                        <a:gd name="connsiteX4" fmla="*/ 257175 w 641350"/>
                        <a:gd name="connsiteY4" fmla="*/ 73025 h 263525"/>
                        <a:gd name="connsiteX5" fmla="*/ 384175 w 641350"/>
                        <a:gd name="connsiteY5" fmla="*/ 88900 h 263525"/>
                        <a:gd name="connsiteX6" fmla="*/ 508000 w 641350"/>
                        <a:gd name="connsiteY6" fmla="*/ 127000 h 263525"/>
                        <a:gd name="connsiteX7" fmla="*/ 619125 w 641350"/>
                        <a:gd name="connsiteY7" fmla="*/ 190500 h 263525"/>
                        <a:gd name="connsiteX8" fmla="*/ 641350 w 641350"/>
                        <a:gd name="connsiteY8" fmla="*/ 200025 h 263525"/>
                        <a:gd name="connsiteX9" fmla="*/ 606425 w 641350"/>
                        <a:gd name="connsiteY9" fmla="*/ 161925 h 263525"/>
                        <a:gd name="connsiteX10" fmla="*/ 530225 w 641350"/>
                        <a:gd name="connsiteY10" fmla="*/ 76200 h 263525"/>
                        <a:gd name="connsiteX11" fmla="*/ 438150 w 641350"/>
                        <a:gd name="connsiteY11" fmla="*/ 19050 h 263525"/>
                        <a:gd name="connsiteX12" fmla="*/ 247650 w 641350"/>
                        <a:gd name="connsiteY12" fmla="*/ 0 h 263525"/>
                        <a:gd name="connsiteX13" fmla="*/ 133350 w 641350"/>
                        <a:gd name="connsiteY13" fmla="*/ 22225 h 263525"/>
                        <a:gd name="connsiteX14" fmla="*/ 79375 w 641350"/>
                        <a:gd name="connsiteY14" fmla="*/ 82550 h 263525"/>
                        <a:gd name="connsiteX15" fmla="*/ 41275 w 641350"/>
                        <a:gd name="connsiteY15" fmla="*/ 200025 h 263525"/>
                        <a:gd name="connsiteX16" fmla="*/ 0 w 641350"/>
                        <a:gd name="connsiteY16" fmla="*/ 263525 h 263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41350" h="263525">
                          <a:moveTo>
                            <a:pt x="0" y="263525"/>
                          </a:moveTo>
                          <a:lnTo>
                            <a:pt x="73025" y="228600"/>
                          </a:lnTo>
                          <a:lnTo>
                            <a:pt x="101600" y="165100"/>
                          </a:lnTo>
                          <a:lnTo>
                            <a:pt x="155575" y="88900"/>
                          </a:lnTo>
                          <a:lnTo>
                            <a:pt x="257175" y="73025"/>
                          </a:lnTo>
                          <a:lnTo>
                            <a:pt x="384175" y="88900"/>
                          </a:lnTo>
                          <a:lnTo>
                            <a:pt x="508000" y="127000"/>
                          </a:lnTo>
                          <a:lnTo>
                            <a:pt x="619125" y="190500"/>
                          </a:lnTo>
                          <a:lnTo>
                            <a:pt x="641350" y="200025"/>
                          </a:lnTo>
                          <a:lnTo>
                            <a:pt x="606425" y="161925"/>
                          </a:lnTo>
                          <a:lnTo>
                            <a:pt x="530225" y="76200"/>
                          </a:lnTo>
                          <a:lnTo>
                            <a:pt x="438150" y="19050"/>
                          </a:lnTo>
                          <a:lnTo>
                            <a:pt x="247650" y="0"/>
                          </a:lnTo>
                          <a:lnTo>
                            <a:pt x="133350" y="22225"/>
                          </a:lnTo>
                          <a:lnTo>
                            <a:pt x="79375" y="82550"/>
                          </a:lnTo>
                          <a:lnTo>
                            <a:pt x="41275" y="200025"/>
                          </a:lnTo>
                          <a:lnTo>
                            <a:pt x="0" y="26352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48" name="Freeform 247"/>
                  <p:cNvSpPr/>
                  <p:nvPr/>
                </p:nvSpPr>
                <p:spPr>
                  <a:xfrm>
                    <a:off x="4499564" y="742313"/>
                    <a:ext cx="99861" cy="50691"/>
                  </a:xfrm>
                  <a:custGeom>
                    <a:avLst/>
                    <a:gdLst>
                      <a:gd name="connsiteX0" fmla="*/ 88106 w 88106"/>
                      <a:gd name="connsiteY0" fmla="*/ 26194 h 47625"/>
                      <a:gd name="connsiteX1" fmla="*/ 30956 w 88106"/>
                      <a:gd name="connsiteY1" fmla="*/ 9525 h 47625"/>
                      <a:gd name="connsiteX2" fmla="*/ 16669 w 88106"/>
                      <a:gd name="connsiteY2" fmla="*/ 19050 h 47625"/>
                      <a:gd name="connsiteX3" fmla="*/ 2381 w 88106"/>
                      <a:gd name="connsiteY3" fmla="*/ 33337 h 47625"/>
                      <a:gd name="connsiteX4" fmla="*/ 0 w 88106"/>
                      <a:gd name="connsiteY4" fmla="*/ 47625 h 47625"/>
                      <a:gd name="connsiteX5" fmla="*/ 0 w 88106"/>
                      <a:gd name="connsiteY5" fmla="*/ 23812 h 47625"/>
                      <a:gd name="connsiteX6" fmla="*/ 23812 w 88106"/>
                      <a:gd name="connsiteY6" fmla="*/ 2381 h 47625"/>
                      <a:gd name="connsiteX7" fmla="*/ 45244 w 88106"/>
                      <a:gd name="connsiteY7" fmla="*/ 0 h 47625"/>
                      <a:gd name="connsiteX8" fmla="*/ 88106 w 88106"/>
                      <a:gd name="connsiteY8" fmla="*/ 26194 h 47625"/>
                      <a:gd name="connsiteX0" fmla="*/ 88106 w 90488"/>
                      <a:gd name="connsiteY0" fmla="*/ 26194 h 47625"/>
                      <a:gd name="connsiteX1" fmla="*/ 30956 w 90488"/>
                      <a:gd name="connsiteY1" fmla="*/ 9525 h 47625"/>
                      <a:gd name="connsiteX2" fmla="*/ 16669 w 90488"/>
                      <a:gd name="connsiteY2" fmla="*/ 19050 h 47625"/>
                      <a:gd name="connsiteX3" fmla="*/ 2381 w 90488"/>
                      <a:gd name="connsiteY3" fmla="*/ 33337 h 47625"/>
                      <a:gd name="connsiteX4" fmla="*/ 0 w 90488"/>
                      <a:gd name="connsiteY4" fmla="*/ 47625 h 47625"/>
                      <a:gd name="connsiteX5" fmla="*/ 0 w 90488"/>
                      <a:gd name="connsiteY5" fmla="*/ 23812 h 47625"/>
                      <a:gd name="connsiteX6" fmla="*/ 23812 w 90488"/>
                      <a:gd name="connsiteY6" fmla="*/ 2381 h 47625"/>
                      <a:gd name="connsiteX7" fmla="*/ 45244 w 90488"/>
                      <a:gd name="connsiteY7" fmla="*/ 0 h 47625"/>
                      <a:gd name="connsiteX8" fmla="*/ 90488 w 90488"/>
                      <a:gd name="connsiteY8" fmla="*/ 14288 h 47625"/>
                      <a:gd name="connsiteX9" fmla="*/ 88106 w 90488"/>
                      <a:gd name="connsiteY9" fmla="*/ 26194 h 47625"/>
                      <a:gd name="connsiteX0" fmla="*/ 88106 w 93821"/>
                      <a:gd name="connsiteY0" fmla="*/ 26194 h 47625"/>
                      <a:gd name="connsiteX1" fmla="*/ 30956 w 93821"/>
                      <a:gd name="connsiteY1" fmla="*/ 9525 h 47625"/>
                      <a:gd name="connsiteX2" fmla="*/ 16669 w 93821"/>
                      <a:gd name="connsiteY2" fmla="*/ 19050 h 47625"/>
                      <a:gd name="connsiteX3" fmla="*/ 2381 w 93821"/>
                      <a:gd name="connsiteY3" fmla="*/ 33337 h 47625"/>
                      <a:gd name="connsiteX4" fmla="*/ 0 w 93821"/>
                      <a:gd name="connsiteY4" fmla="*/ 47625 h 47625"/>
                      <a:gd name="connsiteX5" fmla="*/ 0 w 93821"/>
                      <a:gd name="connsiteY5" fmla="*/ 23812 h 47625"/>
                      <a:gd name="connsiteX6" fmla="*/ 23812 w 93821"/>
                      <a:gd name="connsiteY6" fmla="*/ 2381 h 47625"/>
                      <a:gd name="connsiteX7" fmla="*/ 45244 w 93821"/>
                      <a:gd name="connsiteY7" fmla="*/ 0 h 47625"/>
                      <a:gd name="connsiteX8" fmla="*/ 90488 w 93821"/>
                      <a:gd name="connsiteY8" fmla="*/ 14288 h 47625"/>
                      <a:gd name="connsiteX9" fmla="*/ 93821 w 93821"/>
                      <a:gd name="connsiteY9" fmla="*/ 23234 h 47625"/>
                      <a:gd name="connsiteX10" fmla="*/ 88106 w 93821"/>
                      <a:gd name="connsiteY10" fmla="*/ 2619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3821" h="47625">
                        <a:moveTo>
                          <a:pt x="88106" y="26194"/>
                        </a:moveTo>
                        <a:cubicBezTo>
                          <a:pt x="32578" y="9294"/>
                          <a:pt x="52420" y="9525"/>
                          <a:pt x="30956" y="9525"/>
                        </a:cubicBezTo>
                        <a:lnTo>
                          <a:pt x="16669" y="19050"/>
                        </a:lnTo>
                        <a:lnTo>
                          <a:pt x="2381" y="33337"/>
                        </a:lnTo>
                        <a:lnTo>
                          <a:pt x="0" y="47625"/>
                        </a:lnTo>
                        <a:lnTo>
                          <a:pt x="0" y="23812"/>
                        </a:lnTo>
                        <a:lnTo>
                          <a:pt x="23812" y="2381"/>
                        </a:lnTo>
                        <a:lnTo>
                          <a:pt x="45244" y="0"/>
                        </a:lnTo>
                        <a:lnTo>
                          <a:pt x="90488" y="14288"/>
                        </a:lnTo>
                        <a:lnTo>
                          <a:pt x="93821" y="23234"/>
                        </a:lnTo>
                        <a:lnTo>
                          <a:pt x="88106" y="2619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49" name="Freeform 248"/>
                  <p:cNvSpPr/>
                  <p:nvPr/>
                </p:nvSpPr>
                <p:spPr>
                  <a:xfrm>
                    <a:off x="4709932" y="716682"/>
                    <a:ext cx="144470" cy="35769"/>
                  </a:xfrm>
                  <a:custGeom>
                    <a:avLst/>
                    <a:gdLst>
                      <a:gd name="connsiteX0" fmla="*/ 0 w 128588"/>
                      <a:gd name="connsiteY0" fmla="*/ 33605 h 33605"/>
                      <a:gd name="connsiteX1" fmla="*/ 52388 w 128588"/>
                      <a:gd name="connsiteY1" fmla="*/ 14555 h 33605"/>
                      <a:gd name="connsiteX2" fmla="*/ 78582 w 128588"/>
                      <a:gd name="connsiteY2" fmla="*/ 9792 h 33605"/>
                      <a:gd name="connsiteX3" fmla="*/ 114300 w 128588"/>
                      <a:gd name="connsiteY3" fmla="*/ 19317 h 33605"/>
                      <a:gd name="connsiteX4" fmla="*/ 128588 w 128588"/>
                      <a:gd name="connsiteY4" fmla="*/ 28842 h 33605"/>
                      <a:gd name="connsiteX5" fmla="*/ 109538 w 128588"/>
                      <a:gd name="connsiteY5" fmla="*/ 12174 h 33605"/>
                      <a:gd name="connsiteX6" fmla="*/ 73819 w 128588"/>
                      <a:gd name="connsiteY6" fmla="*/ 267 h 33605"/>
                      <a:gd name="connsiteX7" fmla="*/ 40482 w 128588"/>
                      <a:gd name="connsiteY7" fmla="*/ 2649 h 33605"/>
                      <a:gd name="connsiteX8" fmla="*/ 0 w 128588"/>
                      <a:gd name="connsiteY8" fmla="*/ 33605 h 33605"/>
                      <a:gd name="connsiteX0" fmla="*/ 7143 w 135731"/>
                      <a:gd name="connsiteY0" fmla="*/ 33605 h 33605"/>
                      <a:gd name="connsiteX1" fmla="*/ 59531 w 135731"/>
                      <a:gd name="connsiteY1" fmla="*/ 14555 h 33605"/>
                      <a:gd name="connsiteX2" fmla="*/ 85725 w 135731"/>
                      <a:gd name="connsiteY2" fmla="*/ 9792 h 33605"/>
                      <a:gd name="connsiteX3" fmla="*/ 121443 w 135731"/>
                      <a:gd name="connsiteY3" fmla="*/ 19317 h 33605"/>
                      <a:gd name="connsiteX4" fmla="*/ 135731 w 135731"/>
                      <a:gd name="connsiteY4" fmla="*/ 28842 h 33605"/>
                      <a:gd name="connsiteX5" fmla="*/ 116681 w 135731"/>
                      <a:gd name="connsiteY5" fmla="*/ 12174 h 33605"/>
                      <a:gd name="connsiteX6" fmla="*/ 80962 w 135731"/>
                      <a:gd name="connsiteY6" fmla="*/ 267 h 33605"/>
                      <a:gd name="connsiteX7" fmla="*/ 47625 w 135731"/>
                      <a:gd name="connsiteY7" fmla="*/ 2649 h 33605"/>
                      <a:gd name="connsiteX8" fmla="*/ 0 w 135731"/>
                      <a:gd name="connsiteY8" fmla="*/ 21699 h 33605"/>
                      <a:gd name="connsiteX9" fmla="*/ 7143 w 135731"/>
                      <a:gd name="connsiteY9" fmla="*/ 33605 h 33605"/>
                      <a:gd name="connsiteX0" fmla="*/ 7143 w 135731"/>
                      <a:gd name="connsiteY0" fmla="*/ 33605 h 33605"/>
                      <a:gd name="connsiteX1" fmla="*/ 59531 w 135731"/>
                      <a:gd name="connsiteY1" fmla="*/ 14555 h 33605"/>
                      <a:gd name="connsiteX2" fmla="*/ 85725 w 135731"/>
                      <a:gd name="connsiteY2" fmla="*/ 9792 h 33605"/>
                      <a:gd name="connsiteX3" fmla="*/ 121443 w 135731"/>
                      <a:gd name="connsiteY3" fmla="*/ 19317 h 33605"/>
                      <a:gd name="connsiteX4" fmla="*/ 135731 w 135731"/>
                      <a:gd name="connsiteY4" fmla="*/ 28842 h 33605"/>
                      <a:gd name="connsiteX5" fmla="*/ 116681 w 135731"/>
                      <a:gd name="connsiteY5" fmla="*/ 12174 h 33605"/>
                      <a:gd name="connsiteX6" fmla="*/ 80962 w 135731"/>
                      <a:gd name="connsiteY6" fmla="*/ 267 h 33605"/>
                      <a:gd name="connsiteX7" fmla="*/ 47625 w 135731"/>
                      <a:gd name="connsiteY7" fmla="*/ 2649 h 33605"/>
                      <a:gd name="connsiteX8" fmla="*/ 0 w 135731"/>
                      <a:gd name="connsiteY8" fmla="*/ 21699 h 33605"/>
                      <a:gd name="connsiteX9" fmla="*/ 1519 w 135731"/>
                      <a:gd name="connsiteY9" fmla="*/ 31456 h 33605"/>
                      <a:gd name="connsiteX10" fmla="*/ 7143 w 135731"/>
                      <a:gd name="connsiteY10" fmla="*/ 33605 h 3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5731" h="33605">
                        <a:moveTo>
                          <a:pt x="7143" y="33605"/>
                        </a:moveTo>
                        <a:lnTo>
                          <a:pt x="59531" y="14555"/>
                        </a:lnTo>
                        <a:lnTo>
                          <a:pt x="85725" y="9792"/>
                        </a:lnTo>
                        <a:lnTo>
                          <a:pt x="121443" y="19317"/>
                        </a:lnTo>
                        <a:lnTo>
                          <a:pt x="135731" y="28842"/>
                        </a:lnTo>
                        <a:lnTo>
                          <a:pt x="116681" y="12174"/>
                        </a:lnTo>
                        <a:cubicBezTo>
                          <a:pt x="82596" y="0"/>
                          <a:pt x="95143" y="267"/>
                          <a:pt x="80962" y="267"/>
                        </a:cubicBezTo>
                        <a:lnTo>
                          <a:pt x="47625" y="2649"/>
                        </a:lnTo>
                        <a:lnTo>
                          <a:pt x="0" y="21699"/>
                        </a:lnTo>
                        <a:lnTo>
                          <a:pt x="1519" y="31456"/>
                        </a:lnTo>
                        <a:lnTo>
                          <a:pt x="7143" y="3360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50" name="Freeform 249"/>
                  <p:cNvSpPr/>
                  <p:nvPr/>
                </p:nvSpPr>
                <p:spPr>
                  <a:xfrm>
                    <a:off x="4612601" y="797525"/>
                    <a:ext cx="142954" cy="183035"/>
                  </a:xfrm>
                  <a:custGeom>
                    <a:avLst/>
                    <a:gdLst>
                      <a:gd name="connsiteX0" fmla="*/ 7143 w 138112"/>
                      <a:gd name="connsiteY0" fmla="*/ 0 h 176212"/>
                      <a:gd name="connsiteX1" fmla="*/ 30956 w 138112"/>
                      <a:gd name="connsiteY1" fmla="*/ 47625 h 176212"/>
                      <a:gd name="connsiteX2" fmla="*/ 33337 w 138112"/>
                      <a:gd name="connsiteY2" fmla="*/ 92869 h 176212"/>
                      <a:gd name="connsiteX3" fmla="*/ 23812 w 138112"/>
                      <a:gd name="connsiteY3" fmla="*/ 116681 h 176212"/>
                      <a:gd name="connsiteX4" fmla="*/ 21431 w 138112"/>
                      <a:gd name="connsiteY4" fmla="*/ 138112 h 176212"/>
                      <a:gd name="connsiteX5" fmla="*/ 33337 w 138112"/>
                      <a:gd name="connsiteY5" fmla="*/ 154781 h 176212"/>
                      <a:gd name="connsiteX6" fmla="*/ 47625 w 138112"/>
                      <a:gd name="connsiteY6" fmla="*/ 166687 h 176212"/>
                      <a:gd name="connsiteX7" fmla="*/ 61912 w 138112"/>
                      <a:gd name="connsiteY7" fmla="*/ 164306 h 176212"/>
                      <a:gd name="connsiteX8" fmla="*/ 76200 w 138112"/>
                      <a:gd name="connsiteY8" fmla="*/ 150019 h 176212"/>
                      <a:gd name="connsiteX9" fmla="*/ 92868 w 138112"/>
                      <a:gd name="connsiteY9" fmla="*/ 138112 h 176212"/>
                      <a:gd name="connsiteX10" fmla="*/ 109537 w 138112"/>
                      <a:gd name="connsiteY10" fmla="*/ 145256 h 176212"/>
                      <a:gd name="connsiteX11" fmla="*/ 128587 w 138112"/>
                      <a:gd name="connsiteY11" fmla="*/ 135731 h 176212"/>
                      <a:gd name="connsiteX12" fmla="*/ 133350 w 138112"/>
                      <a:gd name="connsiteY12" fmla="*/ 123825 h 176212"/>
                      <a:gd name="connsiteX13" fmla="*/ 119062 w 138112"/>
                      <a:gd name="connsiteY13" fmla="*/ 107156 h 176212"/>
                      <a:gd name="connsiteX14" fmla="*/ 133350 w 138112"/>
                      <a:gd name="connsiteY14" fmla="*/ 116681 h 176212"/>
                      <a:gd name="connsiteX15" fmla="*/ 138112 w 138112"/>
                      <a:gd name="connsiteY15" fmla="*/ 130969 h 176212"/>
                      <a:gd name="connsiteX16" fmla="*/ 121443 w 138112"/>
                      <a:gd name="connsiteY16" fmla="*/ 145256 h 176212"/>
                      <a:gd name="connsiteX17" fmla="*/ 100012 w 138112"/>
                      <a:gd name="connsiteY17" fmla="*/ 152400 h 176212"/>
                      <a:gd name="connsiteX18" fmla="*/ 85725 w 138112"/>
                      <a:gd name="connsiteY18" fmla="*/ 157162 h 176212"/>
                      <a:gd name="connsiteX19" fmla="*/ 66675 w 138112"/>
                      <a:gd name="connsiteY19" fmla="*/ 169069 h 176212"/>
                      <a:gd name="connsiteX20" fmla="*/ 47625 w 138112"/>
                      <a:gd name="connsiteY20" fmla="*/ 176212 h 176212"/>
                      <a:gd name="connsiteX21" fmla="*/ 30956 w 138112"/>
                      <a:gd name="connsiteY21" fmla="*/ 166687 h 176212"/>
                      <a:gd name="connsiteX22" fmla="*/ 26193 w 138112"/>
                      <a:gd name="connsiteY22" fmla="*/ 157162 h 176212"/>
                      <a:gd name="connsiteX23" fmla="*/ 26193 w 138112"/>
                      <a:gd name="connsiteY23" fmla="*/ 157162 h 176212"/>
                      <a:gd name="connsiteX24" fmla="*/ 4762 w 138112"/>
                      <a:gd name="connsiteY24" fmla="*/ 159544 h 176212"/>
                      <a:gd name="connsiteX25" fmla="*/ 0 w 138112"/>
                      <a:gd name="connsiteY25" fmla="*/ 140494 h 176212"/>
                      <a:gd name="connsiteX26" fmla="*/ 11906 w 138112"/>
                      <a:gd name="connsiteY26" fmla="*/ 126206 h 176212"/>
                      <a:gd name="connsiteX27" fmla="*/ 23812 w 138112"/>
                      <a:gd name="connsiteY27" fmla="*/ 107156 h 176212"/>
                      <a:gd name="connsiteX28" fmla="*/ 30956 w 138112"/>
                      <a:gd name="connsiteY28" fmla="*/ 71437 h 176212"/>
                      <a:gd name="connsiteX29" fmla="*/ 7143 w 138112"/>
                      <a:gd name="connsiteY29" fmla="*/ 0 h 176212"/>
                      <a:gd name="connsiteX0" fmla="*/ 7143 w 138112"/>
                      <a:gd name="connsiteY0" fmla="*/ 0 h 176212"/>
                      <a:gd name="connsiteX1" fmla="*/ 30956 w 138112"/>
                      <a:gd name="connsiteY1" fmla="*/ 47625 h 176212"/>
                      <a:gd name="connsiteX2" fmla="*/ 33337 w 138112"/>
                      <a:gd name="connsiteY2" fmla="*/ 92869 h 176212"/>
                      <a:gd name="connsiteX3" fmla="*/ 23812 w 138112"/>
                      <a:gd name="connsiteY3" fmla="*/ 116681 h 176212"/>
                      <a:gd name="connsiteX4" fmla="*/ 21431 w 138112"/>
                      <a:gd name="connsiteY4" fmla="*/ 138112 h 176212"/>
                      <a:gd name="connsiteX5" fmla="*/ 33337 w 138112"/>
                      <a:gd name="connsiteY5" fmla="*/ 154781 h 176212"/>
                      <a:gd name="connsiteX6" fmla="*/ 47625 w 138112"/>
                      <a:gd name="connsiteY6" fmla="*/ 166687 h 176212"/>
                      <a:gd name="connsiteX7" fmla="*/ 61912 w 138112"/>
                      <a:gd name="connsiteY7" fmla="*/ 164306 h 176212"/>
                      <a:gd name="connsiteX8" fmla="*/ 76200 w 138112"/>
                      <a:gd name="connsiteY8" fmla="*/ 150019 h 176212"/>
                      <a:gd name="connsiteX9" fmla="*/ 92868 w 138112"/>
                      <a:gd name="connsiteY9" fmla="*/ 138112 h 176212"/>
                      <a:gd name="connsiteX10" fmla="*/ 109537 w 138112"/>
                      <a:gd name="connsiteY10" fmla="*/ 145256 h 176212"/>
                      <a:gd name="connsiteX11" fmla="*/ 128587 w 138112"/>
                      <a:gd name="connsiteY11" fmla="*/ 135731 h 176212"/>
                      <a:gd name="connsiteX12" fmla="*/ 133350 w 138112"/>
                      <a:gd name="connsiteY12" fmla="*/ 123825 h 176212"/>
                      <a:gd name="connsiteX13" fmla="*/ 119062 w 138112"/>
                      <a:gd name="connsiteY13" fmla="*/ 107156 h 176212"/>
                      <a:gd name="connsiteX14" fmla="*/ 133350 w 138112"/>
                      <a:gd name="connsiteY14" fmla="*/ 116681 h 176212"/>
                      <a:gd name="connsiteX15" fmla="*/ 138112 w 138112"/>
                      <a:gd name="connsiteY15" fmla="*/ 130969 h 176212"/>
                      <a:gd name="connsiteX16" fmla="*/ 121443 w 138112"/>
                      <a:gd name="connsiteY16" fmla="*/ 145256 h 176212"/>
                      <a:gd name="connsiteX17" fmla="*/ 100012 w 138112"/>
                      <a:gd name="connsiteY17" fmla="*/ 152400 h 176212"/>
                      <a:gd name="connsiteX18" fmla="*/ 85725 w 138112"/>
                      <a:gd name="connsiteY18" fmla="*/ 157162 h 176212"/>
                      <a:gd name="connsiteX19" fmla="*/ 66675 w 138112"/>
                      <a:gd name="connsiteY19" fmla="*/ 169069 h 176212"/>
                      <a:gd name="connsiteX20" fmla="*/ 47625 w 138112"/>
                      <a:gd name="connsiteY20" fmla="*/ 176212 h 176212"/>
                      <a:gd name="connsiteX21" fmla="*/ 30956 w 138112"/>
                      <a:gd name="connsiteY21" fmla="*/ 166687 h 176212"/>
                      <a:gd name="connsiteX22" fmla="*/ 26193 w 138112"/>
                      <a:gd name="connsiteY22" fmla="*/ 157162 h 176212"/>
                      <a:gd name="connsiteX23" fmla="*/ 26193 w 138112"/>
                      <a:gd name="connsiteY23" fmla="*/ 157162 h 176212"/>
                      <a:gd name="connsiteX24" fmla="*/ 4762 w 138112"/>
                      <a:gd name="connsiteY24" fmla="*/ 145952 h 176212"/>
                      <a:gd name="connsiteX25" fmla="*/ 0 w 138112"/>
                      <a:gd name="connsiteY25" fmla="*/ 140494 h 176212"/>
                      <a:gd name="connsiteX26" fmla="*/ 11906 w 138112"/>
                      <a:gd name="connsiteY26" fmla="*/ 126206 h 176212"/>
                      <a:gd name="connsiteX27" fmla="*/ 23812 w 138112"/>
                      <a:gd name="connsiteY27" fmla="*/ 107156 h 176212"/>
                      <a:gd name="connsiteX28" fmla="*/ 30956 w 138112"/>
                      <a:gd name="connsiteY28" fmla="*/ 71437 h 176212"/>
                      <a:gd name="connsiteX29" fmla="*/ 7143 w 138112"/>
                      <a:gd name="connsiteY29" fmla="*/ 0 h 176212"/>
                      <a:gd name="connsiteX0" fmla="*/ 4878 w 135847"/>
                      <a:gd name="connsiteY0" fmla="*/ 0 h 176212"/>
                      <a:gd name="connsiteX1" fmla="*/ 28691 w 135847"/>
                      <a:gd name="connsiteY1" fmla="*/ 47625 h 176212"/>
                      <a:gd name="connsiteX2" fmla="*/ 31072 w 135847"/>
                      <a:gd name="connsiteY2" fmla="*/ 92869 h 176212"/>
                      <a:gd name="connsiteX3" fmla="*/ 21547 w 135847"/>
                      <a:gd name="connsiteY3" fmla="*/ 116681 h 176212"/>
                      <a:gd name="connsiteX4" fmla="*/ 19166 w 135847"/>
                      <a:gd name="connsiteY4" fmla="*/ 138112 h 176212"/>
                      <a:gd name="connsiteX5" fmla="*/ 31072 w 135847"/>
                      <a:gd name="connsiteY5" fmla="*/ 154781 h 176212"/>
                      <a:gd name="connsiteX6" fmla="*/ 45360 w 135847"/>
                      <a:gd name="connsiteY6" fmla="*/ 166687 h 176212"/>
                      <a:gd name="connsiteX7" fmla="*/ 59647 w 135847"/>
                      <a:gd name="connsiteY7" fmla="*/ 164306 h 176212"/>
                      <a:gd name="connsiteX8" fmla="*/ 73935 w 135847"/>
                      <a:gd name="connsiteY8" fmla="*/ 150019 h 176212"/>
                      <a:gd name="connsiteX9" fmla="*/ 90603 w 135847"/>
                      <a:gd name="connsiteY9" fmla="*/ 138112 h 176212"/>
                      <a:gd name="connsiteX10" fmla="*/ 107272 w 135847"/>
                      <a:gd name="connsiteY10" fmla="*/ 145256 h 176212"/>
                      <a:gd name="connsiteX11" fmla="*/ 126322 w 135847"/>
                      <a:gd name="connsiteY11" fmla="*/ 135731 h 176212"/>
                      <a:gd name="connsiteX12" fmla="*/ 131085 w 135847"/>
                      <a:gd name="connsiteY12" fmla="*/ 123825 h 176212"/>
                      <a:gd name="connsiteX13" fmla="*/ 116797 w 135847"/>
                      <a:gd name="connsiteY13" fmla="*/ 107156 h 176212"/>
                      <a:gd name="connsiteX14" fmla="*/ 131085 w 135847"/>
                      <a:gd name="connsiteY14" fmla="*/ 116681 h 176212"/>
                      <a:gd name="connsiteX15" fmla="*/ 135847 w 135847"/>
                      <a:gd name="connsiteY15" fmla="*/ 130969 h 176212"/>
                      <a:gd name="connsiteX16" fmla="*/ 119178 w 135847"/>
                      <a:gd name="connsiteY16" fmla="*/ 145256 h 176212"/>
                      <a:gd name="connsiteX17" fmla="*/ 97747 w 135847"/>
                      <a:gd name="connsiteY17" fmla="*/ 152400 h 176212"/>
                      <a:gd name="connsiteX18" fmla="*/ 83460 w 135847"/>
                      <a:gd name="connsiteY18" fmla="*/ 157162 h 176212"/>
                      <a:gd name="connsiteX19" fmla="*/ 64410 w 135847"/>
                      <a:gd name="connsiteY19" fmla="*/ 169069 h 176212"/>
                      <a:gd name="connsiteX20" fmla="*/ 45360 w 135847"/>
                      <a:gd name="connsiteY20" fmla="*/ 176212 h 176212"/>
                      <a:gd name="connsiteX21" fmla="*/ 28691 w 135847"/>
                      <a:gd name="connsiteY21" fmla="*/ 166687 h 176212"/>
                      <a:gd name="connsiteX22" fmla="*/ 23928 w 135847"/>
                      <a:gd name="connsiteY22" fmla="*/ 157162 h 176212"/>
                      <a:gd name="connsiteX23" fmla="*/ 23928 w 135847"/>
                      <a:gd name="connsiteY23" fmla="*/ 157162 h 176212"/>
                      <a:gd name="connsiteX24" fmla="*/ 2497 w 135847"/>
                      <a:gd name="connsiteY24" fmla="*/ 145952 h 176212"/>
                      <a:gd name="connsiteX25" fmla="*/ 0 w 135847"/>
                      <a:gd name="connsiteY25" fmla="*/ 137662 h 176212"/>
                      <a:gd name="connsiteX26" fmla="*/ 9641 w 135847"/>
                      <a:gd name="connsiteY26" fmla="*/ 126206 h 176212"/>
                      <a:gd name="connsiteX27" fmla="*/ 21547 w 135847"/>
                      <a:gd name="connsiteY27" fmla="*/ 107156 h 176212"/>
                      <a:gd name="connsiteX28" fmla="*/ 28691 w 135847"/>
                      <a:gd name="connsiteY28" fmla="*/ 71437 h 176212"/>
                      <a:gd name="connsiteX29" fmla="*/ 4878 w 135847"/>
                      <a:gd name="connsiteY29" fmla="*/ 0 h 176212"/>
                      <a:gd name="connsiteX0" fmla="*/ 4878 w 135847"/>
                      <a:gd name="connsiteY0" fmla="*/ 0 h 176212"/>
                      <a:gd name="connsiteX1" fmla="*/ 28691 w 135847"/>
                      <a:gd name="connsiteY1" fmla="*/ 47625 h 176212"/>
                      <a:gd name="connsiteX2" fmla="*/ 31072 w 135847"/>
                      <a:gd name="connsiteY2" fmla="*/ 92869 h 176212"/>
                      <a:gd name="connsiteX3" fmla="*/ 21547 w 135847"/>
                      <a:gd name="connsiteY3" fmla="*/ 116681 h 176212"/>
                      <a:gd name="connsiteX4" fmla="*/ 19166 w 135847"/>
                      <a:gd name="connsiteY4" fmla="*/ 138112 h 176212"/>
                      <a:gd name="connsiteX5" fmla="*/ 31072 w 135847"/>
                      <a:gd name="connsiteY5" fmla="*/ 154781 h 176212"/>
                      <a:gd name="connsiteX6" fmla="*/ 45360 w 135847"/>
                      <a:gd name="connsiteY6" fmla="*/ 166687 h 176212"/>
                      <a:gd name="connsiteX7" fmla="*/ 59647 w 135847"/>
                      <a:gd name="connsiteY7" fmla="*/ 164306 h 176212"/>
                      <a:gd name="connsiteX8" fmla="*/ 73935 w 135847"/>
                      <a:gd name="connsiteY8" fmla="*/ 150019 h 176212"/>
                      <a:gd name="connsiteX9" fmla="*/ 90603 w 135847"/>
                      <a:gd name="connsiteY9" fmla="*/ 138112 h 176212"/>
                      <a:gd name="connsiteX10" fmla="*/ 107272 w 135847"/>
                      <a:gd name="connsiteY10" fmla="*/ 145256 h 176212"/>
                      <a:gd name="connsiteX11" fmla="*/ 126322 w 135847"/>
                      <a:gd name="connsiteY11" fmla="*/ 135731 h 176212"/>
                      <a:gd name="connsiteX12" fmla="*/ 131085 w 135847"/>
                      <a:gd name="connsiteY12" fmla="*/ 123825 h 176212"/>
                      <a:gd name="connsiteX13" fmla="*/ 116797 w 135847"/>
                      <a:gd name="connsiteY13" fmla="*/ 107156 h 176212"/>
                      <a:gd name="connsiteX14" fmla="*/ 131085 w 135847"/>
                      <a:gd name="connsiteY14" fmla="*/ 116681 h 176212"/>
                      <a:gd name="connsiteX15" fmla="*/ 135847 w 135847"/>
                      <a:gd name="connsiteY15" fmla="*/ 130969 h 176212"/>
                      <a:gd name="connsiteX16" fmla="*/ 119178 w 135847"/>
                      <a:gd name="connsiteY16" fmla="*/ 145256 h 176212"/>
                      <a:gd name="connsiteX17" fmla="*/ 97747 w 135847"/>
                      <a:gd name="connsiteY17" fmla="*/ 152400 h 176212"/>
                      <a:gd name="connsiteX18" fmla="*/ 83460 w 135847"/>
                      <a:gd name="connsiteY18" fmla="*/ 157162 h 176212"/>
                      <a:gd name="connsiteX19" fmla="*/ 64410 w 135847"/>
                      <a:gd name="connsiteY19" fmla="*/ 169069 h 176212"/>
                      <a:gd name="connsiteX20" fmla="*/ 45360 w 135847"/>
                      <a:gd name="connsiteY20" fmla="*/ 176212 h 176212"/>
                      <a:gd name="connsiteX21" fmla="*/ 28691 w 135847"/>
                      <a:gd name="connsiteY21" fmla="*/ 166687 h 176212"/>
                      <a:gd name="connsiteX22" fmla="*/ 23928 w 135847"/>
                      <a:gd name="connsiteY22" fmla="*/ 157162 h 176212"/>
                      <a:gd name="connsiteX23" fmla="*/ 23928 w 135847"/>
                      <a:gd name="connsiteY23" fmla="*/ 157162 h 176212"/>
                      <a:gd name="connsiteX24" fmla="*/ 798 w 135847"/>
                      <a:gd name="connsiteY24" fmla="*/ 144819 h 176212"/>
                      <a:gd name="connsiteX25" fmla="*/ 0 w 135847"/>
                      <a:gd name="connsiteY25" fmla="*/ 137662 h 176212"/>
                      <a:gd name="connsiteX26" fmla="*/ 9641 w 135847"/>
                      <a:gd name="connsiteY26" fmla="*/ 126206 h 176212"/>
                      <a:gd name="connsiteX27" fmla="*/ 21547 w 135847"/>
                      <a:gd name="connsiteY27" fmla="*/ 107156 h 176212"/>
                      <a:gd name="connsiteX28" fmla="*/ 28691 w 135847"/>
                      <a:gd name="connsiteY28" fmla="*/ 71437 h 176212"/>
                      <a:gd name="connsiteX29" fmla="*/ 4878 w 135847"/>
                      <a:gd name="connsiteY29" fmla="*/ 0 h 176212"/>
                      <a:gd name="connsiteX0" fmla="*/ 4878 w 135847"/>
                      <a:gd name="connsiteY0" fmla="*/ 0 h 176212"/>
                      <a:gd name="connsiteX1" fmla="*/ 28691 w 135847"/>
                      <a:gd name="connsiteY1" fmla="*/ 47625 h 176212"/>
                      <a:gd name="connsiteX2" fmla="*/ 31072 w 135847"/>
                      <a:gd name="connsiteY2" fmla="*/ 92869 h 176212"/>
                      <a:gd name="connsiteX3" fmla="*/ 21547 w 135847"/>
                      <a:gd name="connsiteY3" fmla="*/ 116681 h 176212"/>
                      <a:gd name="connsiteX4" fmla="*/ 19166 w 135847"/>
                      <a:gd name="connsiteY4" fmla="*/ 138112 h 176212"/>
                      <a:gd name="connsiteX5" fmla="*/ 31072 w 135847"/>
                      <a:gd name="connsiteY5" fmla="*/ 154781 h 176212"/>
                      <a:gd name="connsiteX6" fmla="*/ 45360 w 135847"/>
                      <a:gd name="connsiteY6" fmla="*/ 166687 h 176212"/>
                      <a:gd name="connsiteX7" fmla="*/ 59647 w 135847"/>
                      <a:gd name="connsiteY7" fmla="*/ 164306 h 176212"/>
                      <a:gd name="connsiteX8" fmla="*/ 73935 w 135847"/>
                      <a:gd name="connsiteY8" fmla="*/ 150019 h 176212"/>
                      <a:gd name="connsiteX9" fmla="*/ 90603 w 135847"/>
                      <a:gd name="connsiteY9" fmla="*/ 138112 h 176212"/>
                      <a:gd name="connsiteX10" fmla="*/ 107272 w 135847"/>
                      <a:gd name="connsiteY10" fmla="*/ 145256 h 176212"/>
                      <a:gd name="connsiteX11" fmla="*/ 126322 w 135847"/>
                      <a:gd name="connsiteY11" fmla="*/ 135731 h 176212"/>
                      <a:gd name="connsiteX12" fmla="*/ 131085 w 135847"/>
                      <a:gd name="connsiteY12" fmla="*/ 123825 h 176212"/>
                      <a:gd name="connsiteX13" fmla="*/ 116797 w 135847"/>
                      <a:gd name="connsiteY13" fmla="*/ 107156 h 176212"/>
                      <a:gd name="connsiteX14" fmla="*/ 131085 w 135847"/>
                      <a:gd name="connsiteY14" fmla="*/ 116681 h 176212"/>
                      <a:gd name="connsiteX15" fmla="*/ 135847 w 135847"/>
                      <a:gd name="connsiteY15" fmla="*/ 130969 h 176212"/>
                      <a:gd name="connsiteX16" fmla="*/ 119178 w 135847"/>
                      <a:gd name="connsiteY16" fmla="*/ 145256 h 176212"/>
                      <a:gd name="connsiteX17" fmla="*/ 97747 w 135847"/>
                      <a:gd name="connsiteY17" fmla="*/ 152400 h 176212"/>
                      <a:gd name="connsiteX18" fmla="*/ 83460 w 135847"/>
                      <a:gd name="connsiteY18" fmla="*/ 157162 h 176212"/>
                      <a:gd name="connsiteX19" fmla="*/ 64410 w 135847"/>
                      <a:gd name="connsiteY19" fmla="*/ 169069 h 176212"/>
                      <a:gd name="connsiteX20" fmla="*/ 45360 w 135847"/>
                      <a:gd name="connsiteY20" fmla="*/ 176212 h 176212"/>
                      <a:gd name="connsiteX21" fmla="*/ 28691 w 135847"/>
                      <a:gd name="connsiteY21" fmla="*/ 166687 h 176212"/>
                      <a:gd name="connsiteX22" fmla="*/ 23928 w 135847"/>
                      <a:gd name="connsiteY22" fmla="*/ 157162 h 176212"/>
                      <a:gd name="connsiteX23" fmla="*/ 23928 w 135847"/>
                      <a:gd name="connsiteY23" fmla="*/ 157162 h 176212"/>
                      <a:gd name="connsiteX24" fmla="*/ 798 w 135847"/>
                      <a:gd name="connsiteY24" fmla="*/ 144819 h 176212"/>
                      <a:gd name="connsiteX25" fmla="*/ 0 w 135847"/>
                      <a:gd name="connsiteY25" fmla="*/ 137662 h 176212"/>
                      <a:gd name="connsiteX26" fmla="*/ 9641 w 135847"/>
                      <a:gd name="connsiteY26" fmla="*/ 126206 h 176212"/>
                      <a:gd name="connsiteX27" fmla="*/ 21547 w 135847"/>
                      <a:gd name="connsiteY27" fmla="*/ 107156 h 176212"/>
                      <a:gd name="connsiteX28" fmla="*/ 28691 w 135847"/>
                      <a:gd name="connsiteY28" fmla="*/ 71437 h 176212"/>
                      <a:gd name="connsiteX29" fmla="*/ 4878 w 135847"/>
                      <a:gd name="connsiteY29" fmla="*/ 0 h 176212"/>
                      <a:gd name="connsiteX0" fmla="*/ 4878 w 135847"/>
                      <a:gd name="connsiteY0" fmla="*/ 0 h 176212"/>
                      <a:gd name="connsiteX1" fmla="*/ 28691 w 135847"/>
                      <a:gd name="connsiteY1" fmla="*/ 47625 h 176212"/>
                      <a:gd name="connsiteX2" fmla="*/ 31072 w 135847"/>
                      <a:gd name="connsiteY2" fmla="*/ 92869 h 176212"/>
                      <a:gd name="connsiteX3" fmla="*/ 21547 w 135847"/>
                      <a:gd name="connsiteY3" fmla="*/ 116681 h 176212"/>
                      <a:gd name="connsiteX4" fmla="*/ 19166 w 135847"/>
                      <a:gd name="connsiteY4" fmla="*/ 138112 h 176212"/>
                      <a:gd name="connsiteX5" fmla="*/ 31072 w 135847"/>
                      <a:gd name="connsiteY5" fmla="*/ 154781 h 176212"/>
                      <a:gd name="connsiteX6" fmla="*/ 45360 w 135847"/>
                      <a:gd name="connsiteY6" fmla="*/ 166687 h 176212"/>
                      <a:gd name="connsiteX7" fmla="*/ 59647 w 135847"/>
                      <a:gd name="connsiteY7" fmla="*/ 164306 h 176212"/>
                      <a:gd name="connsiteX8" fmla="*/ 73935 w 135847"/>
                      <a:gd name="connsiteY8" fmla="*/ 150019 h 176212"/>
                      <a:gd name="connsiteX9" fmla="*/ 90603 w 135847"/>
                      <a:gd name="connsiteY9" fmla="*/ 138112 h 176212"/>
                      <a:gd name="connsiteX10" fmla="*/ 107272 w 135847"/>
                      <a:gd name="connsiteY10" fmla="*/ 145256 h 176212"/>
                      <a:gd name="connsiteX11" fmla="*/ 126322 w 135847"/>
                      <a:gd name="connsiteY11" fmla="*/ 135731 h 176212"/>
                      <a:gd name="connsiteX12" fmla="*/ 131085 w 135847"/>
                      <a:gd name="connsiteY12" fmla="*/ 123825 h 176212"/>
                      <a:gd name="connsiteX13" fmla="*/ 116797 w 135847"/>
                      <a:gd name="connsiteY13" fmla="*/ 107156 h 176212"/>
                      <a:gd name="connsiteX14" fmla="*/ 131085 w 135847"/>
                      <a:gd name="connsiteY14" fmla="*/ 116681 h 176212"/>
                      <a:gd name="connsiteX15" fmla="*/ 135281 w 135847"/>
                      <a:gd name="connsiteY15" fmla="*/ 120595 h 176212"/>
                      <a:gd name="connsiteX16" fmla="*/ 135847 w 135847"/>
                      <a:gd name="connsiteY16" fmla="*/ 130969 h 176212"/>
                      <a:gd name="connsiteX17" fmla="*/ 119178 w 135847"/>
                      <a:gd name="connsiteY17" fmla="*/ 145256 h 176212"/>
                      <a:gd name="connsiteX18" fmla="*/ 97747 w 135847"/>
                      <a:gd name="connsiteY18" fmla="*/ 152400 h 176212"/>
                      <a:gd name="connsiteX19" fmla="*/ 83460 w 135847"/>
                      <a:gd name="connsiteY19" fmla="*/ 157162 h 176212"/>
                      <a:gd name="connsiteX20" fmla="*/ 64410 w 135847"/>
                      <a:gd name="connsiteY20" fmla="*/ 169069 h 176212"/>
                      <a:gd name="connsiteX21" fmla="*/ 45360 w 135847"/>
                      <a:gd name="connsiteY21" fmla="*/ 176212 h 176212"/>
                      <a:gd name="connsiteX22" fmla="*/ 28691 w 135847"/>
                      <a:gd name="connsiteY22" fmla="*/ 166687 h 176212"/>
                      <a:gd name="connsiteX23" fmla="*/ 23928 w 135847"/>
                      <a:gd name="connsiteY23" fmla="*/ 157162 h 176212"/>
                      <a:gd name="connsiteX24" fmla="*/ 23928 w 135847"/>
                      <a:gd name="connsiteY24" fmla="*/ 157162 h 176212"/>
                      <a:gd name="connsiteX25" fmla="*/ 798 w 135847"/>
                      <a:gd name="connsiteY25" fmla="*/ 144819 h 176212"/>
                      <a:gd name="connsiteX26" fmla="*/ 0 w 135847"/>
                      <a:gd name="connsiteY26" fmla="*/ 137662 h 176212"/>
                      <a:gd name="connsiteX27" fmla="*/ 9641 w 135847"/>
                      <a:gd name="connsiteY27" fmla="*/ 126206 h 176212"/>
                      <a:gd name="connsiteX28" fmla="*/ 21547 w 135847"/>
                      <a:gd name="connsiteY28" fmla="*/ 107156 h 176212"/>
                      <a:gd name="connsiteX29" fmla="*/ 28691 w 135847"/>
                      <a:gd name="connsiteY29" fmla="*/ 71437 h 176212"/>
                      <a:gd name="connsiteX30" fmla="*/ 4878 w 135847"/>
                      <a:gd name="connsiteY30" fmla="*/ 0 h 176212"/>
                      <a:gd name="connsiteX0" fmla="*/ 4878 w 135847"/>
                      <a:gd name="connsiteY0" fmla="*/ 0 h 176212"/>
                      <a:gd name="connsiteX1" fmla="*/ 28691 w 135847"/>
                      <a:gd name="connsiteY1" fmla="*/ 47625 h 176212"/>
                      <a:gd name="connsiteX2" fmla="*/ 31072 w 135847"/>
                      <a:gd name="connsiteY2" fmla="*/ 92869 h 176212"/>
                      <a:gd name="connsiteX3" fmla="*/ 21547 w 135847"/>
                      <a:gd name="connsiteY3" fmla="*/ 116681 h 176212"/>
                      <a:gd name="connsiteX4" fmla="*/ 19166 w 135847"/>
                      <a:gd name="connsiteY4" fmla="*/ 138112 h 176212"/>
                      <a:gd name="connsiteX5" fmla="*/ 31072 w 135847"/>
                      <a:gd name="connsiteY5" fmla="*/ 154781 h 176212"/>
                      <a:gd name="connsiteX6" fmla="*/ 45360 w 135847"/>
                      <a:gd name="connsiteY6" fmla="*/ 166687 h 176212"/>
                      <a:gd name="connsiteX7" fmla="*/ 59647 w 135847"/>
                      <a:gd name="connsiteY7" fmla="*/ 164306 h 176212"/>
                      <a:gd name="connsiteX8" fmla="*/ 73935 w 135847"/>
                      <a:gd name="connsiteY8" fmla="*/ 150019 h 176212"/>
                      <a:gd name="connsiteX9" fmla="*/ 90603 w 135847"/>
                      <a:gd name="connsiteY9" fmla="*/ 138112 h 176212"/>
                      <a:gd name="connsiteX10" fmla="*/ 107272 w 135847"/>
                      <a:gd name="connsiteY10" fmla="*/ 145256 h 176212"/>
                      <a:gd name="connsiteX11" fmla="*/ 126322 w 135847"/>
                      <a:gd name="connsiteY11" fmla="*/ 135731 h 176212"/>
                      <a:gd name="connsiteX12" fmla="*/ 131085 w 135847"/>
                      <a:gd name="connsiteY12" fmla="*/ 123825 h 176212"/>
                      <a:gd name="connsiteX13" fmla="*/ 116797 w 135847"/>
                      <a:gd name="connsiteY13" fmla="*/ 107156 h 176212"/>
                      <a:gd name="connsiteX14" fmla="*/ 126785 w 135847"/>
                      <a:gd name="connsiteY14" fmla="*/ 111533 h 176212"/>
                      <a:gd name="connsiteX15" fmla="*/ 131085 w 135847"/>
                      <a:gd name="connsiteY15" fmla="*/ 116681 h 176212"/>
                      <a:gd name="connsiteX16" fmla="*/ 135281 w 135847"/>
                      <a:gd name="connsiteY16" fmla="*/ 120595 h 176212"/>
                      <a:gd name="connsiteX17" fmla="*/ 135847 w 135847"/>
                      <a:gd name="connsiteY17" fmla="*/ 130969 h 176212"/>
                      <a:gd name="connsiteX18" fmla="*/ 119178 w 135847"/>
                      <a:gd name="connsiteY18" fmla="*/ 145256 h 176212"/>
                      <a:gd name="connsiteX19" fmla="*/ 97747 w 135847"/>
                      <a:gd name="connsiteY19" fmla="*/ 152400 h 176212"/>
                      <a:gd name="connsiteX20" fmla="*/ 83460 w 135847"/>
                      <a:gd name="connsiteY20" fmla="*/ 157162 h 176212"/>
                      <a:gd name="connsiteX21" fmla="*/ 64410 w 135847"/>
                      <a:gd name="connsiteY21" fmla="*/ 169069 h 176212"/>
                      <a:gd name="connsiteX22" fmla="*/ 45360 w 135847"/>
                      <a:gd name="connsiteY22" fmla="*/ 176212 h 176212"/>
                      <a:gd name="connsiteX23" fmla="*/ 28691 w 135847"/>
                      <a:gd name="connsiteY23" fmla="*/ 166687 h 176212"/>
                      <a:gd name="connsiteX24" fmla="*/ 23928 w 135847"/>
                      <a:gd name="connsiteY24" fmla="*/ 157162 h 176212"/>
                      <a:gd name="connsiteX25" fmla="*/ 23928 w 135847"/>
                      <a:gd name="connsiteY25" fmla="*/ 157162 h 176212"/>
                      <a:gd name="connsiteX26" fmla="*/ 798 w 135847"/>
                      <a:gd name="connsiteY26" fmla="*/ 144819 h 176212"/>
                      <a:gd name="connsiteX27" fmla="*/ 0 w 135847"/>
                      <a:gd name="connsiteY27" fmla="*/ 137662 h 176212"/>
                      <a:gd name="connsiteX28" fmla="*/ 9641 w 135847"/>
                      <a:gd name="connsiteY28" fmla="*/ 126206 h 176212"/>
                      <a:gd name="connsiteX29" fmla="*/ 21547 w 135847"/>
                      <a:gd name="connsiteY29" fmla="*/ 107156 h 176212"/>
                      <a:gd name="connsiteX30" fmla="*/ 28691 w 135847"/>
                      <a:gd name="connsiteY30" fmla="*/ 71437 h 176212"/>
                      <a:gd name="connsiteX31" fmla="*/ 4878 w 135847"/>
                      <a:gd name="connsiteY31" fmla="*/ 0 h 176212"/>
                      <a:gd name="connsiteX0" fmla="*/ 4878 w 135847"/>
                      <a:gd name="connsiteY0" fmla="*/ 0 h 176212"/>
                      <a:gd name="connsiteX1" fmla="*/ 29373 w 135847"/>
                      <a:gd name="connsiteY1" fmla="*/ 29412 h 176212"/>
                      <a:gd name="connsiteX2" fmla="*/ 28691 w 135847"/>
                      <a:gd name="connsiteY2" fmla="*/ 47625 h 176212"/>
                      <a:gd name="connsiteX3" fmla="*/ 31072 w 135847"/>
                      <a:gd name="connsiteY3" fmla="*/ 92869 h 176212"/>
                      <a:gd name="connsiteX4" fmla="*/ 21547 w 135847"/>
                      <a:gd name="connsiteY4" fmla="*/ 116681 h 176212"/>
                      <a:gd name="connsiteX5" fmla="*/ 19166 w 135847"/>
                      <a:gd name="connsiteY5" fmla="*/ 138112 h 176212"/>
                      <a:gd name="connsiteX6" fmla="*/ 31072 w 135847"/>
                      <a:gd name="connsiteY6" fmla="*/ 154781 h 176212"/>
                      <a:gd name="connsiteX7" fmla="*/ 45360 w 135847"/>
                      <a:gd name="connsiteY7" fmla="*/ 166687 h 176212"/>
                      <a:gd name="connsiteX8" fmla="*/ 59647 w 135847"/>
                      <a:gd name="connsiteY8" fmla="*/ 164306 h 176212"/>
                      <a:gd name="connsiteX9" fmla="*/ 73935 w 135847"/>
                      <a:gd name="connsiteY9" fmla="*/ 150019 h 176212"/>
                      <a:gd name="connsiteX10" fmla="*/ 90603 w 135847"/>
                      <a:gd name="connsiteY10" fmla="*/ 138112 h 176212"/>
                      <a:gd name="connsiteX11" fmla="*/ 107272 w 135847"/>
                      <a:gd name="connsiteY11" fmla="*/ 145256 h 176212"/>
                      <a:gd name="connsiteX12" fmla="*/ 126322 w 135847"/>
                      <a:gd name="connsiteY12" fmla="*/ 135731 h 176212"/>
                      <a:gd name="connsiteX13" fmla="*/ 131085 w 135847"/>
                      <a:gd name="connsiteY13" fmla="*/ 123825 h 176212"/>
                      <a:gd name="connsiteX14" fmla="*/ 116797 w 135847"/>
                      <a:gd name="connsiteY14" fmla="*/ 107156 h 176212"/>
                      <a:gd name="connsiteX15" fmla="*/ 126785 w 135847"/>
                      <a:gd name="connsiteY15" fmla="*/ 111533 h 176212"/>
                      <a:gd name="connsiteX16" fmla="*/ 131085 w 135847"/>
                      <a:gd name="connsiteY16" fmla="*/ 116681 h 176212"/>
                      <a:gd name="connsiteX17" fmla="*/ 135281 w 135847"/>
                      <a:gd name="connsiteY17" fmla="*/ 120595 h 176212"/>
                      <a:gd name="connsiteX18" fmla="*/ 135847 w 135847"/>
                      <a:gd name="connsiteY18" fmla="*/ 130969 h 176212"/>
                      <a:gd name="connsiteX19" fmla="*/ 119178 w 135847"/>
                      <a:gd name="connsiteY19" fmla="*/ 145256 h 176212"/>
                      <a:gd name="connsiteX20" fmla="*/ 97747 w 135847"/>
                      <a:gd name="connsiteY20" fmla="*/ 152400 h 176212"/>
                      <a:gd name="connsiteX21" fmla="*/ 83460 w 135847"/>
                      <a:gd name="connsiteY21" fmla="*/ 157162 h 176212"/>
                      <a:gd name="connsiteX22" fmla="*/ 64410 w 135847"/>
                      <a:gd name="connsiteY22" fmla="*/ 169069 h 176212"/>
                      <a:gd name="connsiteX23" fmla="*/ 45360 w 135847"/>
                      <a:gd name="connsiteY23" fmla="*/ 176212 h 176212"/>
                      <a:gd name="connsiteX24" fmla="*/ 28691 w 135847"/>
                      <a:gd name="connsiteY24" fmla="*/ 166687 h 176212"/>
                      <a:gd name="connsiteX25" fmla="*/ 23928 w 135847"/>
                      <a:gd name="connsiteY25" fmla="*/ 157162 h 176212"/>
                      <a:gd name="connsiteX26" fmla="*/ 23928 w 135847"/>
                      <a:gd name="connsiteY26" fmla="*/ 157162 h 176212"/>
                      <a:gd name="connsiteX27" fmla="*/ 798 w 135847"/>
                      <a:gd name="connsiteY27" fmla="*/ 144819 h 176212"/>
                      <a:gd name="connsiteX28" fmla="*/ 0 w 135847"/>
                      <a:gd name="connsiteY28" fmla="*/ 137662 h 176212"/>
                      <a:gd name="connsiteX29" fmla="*/ 9641 w 135847"/>
                      <a:gd name="connsiteY29" fmla="*/ 126206 h 176212"/>
                      <a:gd name="connsiteX30" fmla="*/ 21547 w 135847"/>
                      <a:gd name="connsiteY30" fmla="*/ 107156 h 176212"/>
                      <a:gd name="connsiteX31" fmla="*/ 28691 w 135847"/>
                      <a:gd name="connsiteY31" fmla="*/ 71437 h 176212"/>
                      <a:gd name="connsiteX32" fmla="*/ 4878 w 135847"/>
                      <a:gd name="connsiteY32" fmla="*/ 0 h 176212"/>
                      <a:gd name="connsiteX0" fmla="*/ 4878 w 135847"/>
                      <a:gd name="connsiteY0" fmla="*/ 0 h 176212"/>
                      <a:gd name="connsiteX1" fmla="*/ 29373 w 135847"/>
                      <a:gd name="connsiteY1" fmla="*/ 29412 h 176212"/>
                      <a:gd name="connsiteX2" fmla="*/ 28691 w 135847"/>
                      <a:gd name="connsiteY2" fmla="*/ 47625 h 176212"/>
                      <a:gd name="connsiteX3" fmla="*/ 31072 w 135847"/>
                      <a:gd name="connsiteY3" fmla="*/ 92869 h 176212"/>
                      <a:gd name="connsiteX4" fmla="*/ 21547 w 135847"/>
                      <a:gd name="connsiteY4" fmla="*/ 116681 h 176212"/>
                      <a:gd name="connsiteX5" fmla="*/ 19166 w 135847"/>
                      <a:gd name="connsiteY5" fmla="*/ 138112 h 176212"/>
                      <a:gd name="connsiteX6" fmla="*/ 31072 w 135847"/>
                      <a:gd name="connsiteY6" fmla="*/ 154781 h 176212"/>
                      <a:gd name="connsiteX7" fmla="*/ 45360 w 135847"/>
                      <a:gd name="connsiteY7" fmla="*/ 166687 h 176212"/>
                      <a:gd name="connsiteX8" fmla="*/ 59647 w 135847"/>
                      <a:gd name="connsiteY8" fmla="*/ 164306 h 176212"/>
                      <a:gd name="connsiteX9" fmla="*/ 73935 w 135847"/>
                      <a:gd name="connsiteY9" fmla="*/ 150019 h 176212"/>
                      <a:gd name="connsiteX10" fmla="*/ 90603 w 135847"/>
                      <a:gd name="connsiteY10" fmla="*/ 138112 h 176212"/>
                      <a:gd name="connsiteX11" fmla="*/ 107272 w 135847"/>
                      <a:gd name="connsiteY11" fmla="*/ 145256 h 176212"/>
                      <a:gd name="connsiteX12" fmla="*/ 126322 w 135847"/>
                      <a:gd name="connsiteY12" fmla="*/ 135731 h 176212"/>
                      <a:gd name="connsiteX13" fmla="*/ 131085 w 135847"/>
                      <a:gd name="connsiteY13" fmla="*/ 123825 h 176212"/>
                      <a:gd name="connsiteX14" fmla="*/ 116797 w 135847"/>
                      <a:gd name="connsiteY14" fmla="*/ 107156 h 176212"/>
                      <a:gd name="connsiteX15" fmla="*/ 126785 w 135847"/>
                      <a:gd name="connsiteY15" fmla="*/ 111533 h 176212"/>
                      <a:gd name="connsiteX16" fmla="*/ 131085 w 135847"/>
                      <a:gd name="connsiteY16" fmla="*/ 116681 h 176212"/>
                      <a:gd name="connsiteX17" fmla="*/ 135281 w 135847"/>
                      <a:gd name="connsiteY17" fmla="*/ 120595 h 176212"/>
                      <a:gd name="connsiteX18" fmla="*/ 135847 w 135847"/>
                      <a:gd name="connsiteY18" fmla="*/ 130969 h 176212"/>
                      <a:gd name="connsiteX19" fmla="*/ 119178 w 135847"/>
                      <a:gd name="connsiteY19" fmla="*/ 145256 h 176212"/>
                      <a:gd name="connsiteX20" fmla="*/ 97747 w 135847"/>
                      <a:gd name="connsiteY20" fmla="*/ 152400 h 176212"/>
                      <a:gd name="connsiteX21" fmla="*/ 83460 w 135847"/>
                      <a:gd name="connsiteY21" fmla="*/ 157162 h 176212"/>
                      <a:gd name="connsiteX22" fmla="*/ 64410 w 135847"/>
                      <a:gd name="connsiteY22" fmla="*/ 169069 h 176212"/>
                      <a:gd name="connsiteX23" fmla="*/ 45360 w 135847"/>
                      <a:gd name="connsiteY23" fmla="*/ 176212 h 176212"/>
                      <a:gd name="connsiteX24" fmla="*/ 28691 w 135847"/>
                      <a:gd name="connsiteY24" fmla="*/ 166687 h 176212"/>
                      <a:gd name="connsiteX25" fmla="*/ 23928 w 135847"/>
                      <a:gd name="connsiteY25" fmla="*/ 157162 h 176212"/>
                      <a:gd name="connsiteX26" fmla="*/ 23928 w 135847"/>
                      <a:gd name="connsiteY26" fmla="*/ 157162 h 176212"/>
                      <a:gd name="connsiteX27" fmla="*/ 798 w 135847"/>
                      <a:gd name="connsiteY27" fmla="*/ 144819 h 176212"/>
                      <a:gd name="connsiteX28" fmla="*/ 0 w 135847"/>
                      <a:gd name="connsiteY28" fmla="*/ 137662 h 176212"/>
                      <a:gd name="connsiteX29" fmla="*/ 9641 w 135847"/>
                      <a:gd name="connsiteY29" fmla="*/ 126206 h 176212"/>
                      <a:gd name="connsiteX30" fmla="*/ 21547 w 135847"/>
                      <a:gd name="connsiteY30" fmla="*/ 107156 h 176212"/>
                      <a:gd name="connsiteX31" fmla="*/ 28691 w 135847"/>
                      <a:gd name="connsiteY31" fmla="*/ 71437 h 176212"/>
                      <a:gd name="connsiteX32" fmla="*/ 24276 w 135847"/>
                      <a:gd name="connsiteY32" fmla="*/ 33377 h 176212"/>
                      <a:gd name="connsiteX33" fmla="*/ 4878 w 135847"/>
                      <a:gd name="connsiteY33" fmla="*/ 0 h 176212"/>
                      <a:gd name="connsiteX0" fmla="*/ 4878 w 135847"/>
                      <a:gd name="connsiteY0" fmla="*/ 0 h 176212"/>
                      <a:gd name="connsiteX1" fmla="*/ 27674 w 135847"/>
                      <a:gd name="connsiteY1" fmla="*/ 18085 h 176212"/>
                      <a:gd name="connsiteX2" fmla="*/ 29373 w 135847"/>
                      <a:gd name="connsiteY2" fmla="*/ 29412 h 176212"/>
                      <a:gd name="connsiteX3" fmla="*/ 28691 w 135847"/>
                      <a:gd name="connsiteY3" fmla="*/ 47625 h 176212"/>
                      <a:gd name="connsiteX4" fmla="*/ 31072 w 135847"/>
                      <a:gd name="connsiteY4" fmla="*/ 92869 h 176212"/>
                      <a:gd name="connsiteX5" fmla="*/ 21547 w 135847"/>
                      <a:gd name="connsiteY5" fmla="*/ 116681 h 176212"/>
                      <a:gd name="connsiteX6" fmla="*/ 19166 w 135847"/>
                      <a:gd name="connsiteY6" fmla="*/ 138112 h 176212"/>
                      <a:gd name="connsiteX7" fmla="*/ 31072 w 135847"/>
                      <a:gd name="connsiteY7" fmla="*/ 154781 h 176212"/>
                      <a:gd name="connsiteX8" fmla="*/ 45360 w 135847"/>
                      <a:gd name="connsiteY8" fmla="*/ 166687 h 176212"/>
                      <a:gd name="connsiteX9" fmla="*/ 59647 w 135847"/>
                      <a:gd name="connsiteY9" fmla="*/ 164306 h 176212"/>
                      <a:gd name="connsiteX10" fmla="*/ 73935 w 135847"/>
                      <a:gd name="connsiteY10" fmla="*/ 150019 h 176212"/>
                      <a:gd name="connsiteX11" fmla="*/ 90603 w 135847"/>
                      <a:gd name="connsiteY11" fmla="*/ 138112 h 176212"/>
                      <a:gd name="connsiteX12" fmla="*/ 107272 w 135847"/>
                      <a:gd name="connsiteY12" fmla="*/ 145256 h 176212"/>
                      <a:gd name="connsiteX13" fmla="*/ 126322 w 135847"/>
                      <a:gd name="connsiteY13" fmla="*/ 135731 h 176212"/>
                      <a:gd name="connsiteX14" fmla="*/ 131085 w 135847"/>
                      <a:gd name="connsiteY14" fmla="*/ 123825 h 176212"/>
                      <a:gd name="connsiteX15" fmla="*/ 116797 w 135847"/>
                      <a:gd name="connsiteY15" fmla="*/ 107156 h 176212"/>
                      <a:gd name="connsiteX16" fmla="*/ 126785 w 135847"/>
                      <a:gd name="connsiteY16" fmla="*/ 111533 h 176212"/>
                      <a:gd name="connsiteX17" fmla="*/ 131085 w 135847"/>
                      <a:gd name="connsiteY17" fmla="*/ 116681 h 176212"/>
                      <a:gd name="connsiteX18" fmla="*/ 135281 w 135847"/>
                      <a:gd name="connsiteY18" fmla="*/ 120595 h 176212"/>
                      <a:gd name="connsiteX19" fmla="*/ 135847 w 135847"/>
                      <a:gd name="connsiteY19" fmla="*/ 130969 h 176212"/>
                      <a:gd name="connsiteX20" fmla="*/ 119178 w 135847"/>
                      <a:gd name="connsiteY20" fmla="*/ 145256 h 176212"/>
                      <a:gd name="connsiteX21" fmla="*/ 97747 w 135847"/>
                      <a:gd name="connsiteY21" fmla="*/ 152400 h 176212"/>
                      <a:gd name="connsiteX22" fmla="*/ 83460 w 135847"/>
                      <a:gd name="connsiteY22" fmla="*/ 157162 h 176212"/>
                      <a:gd name="connsiteX23" fmla="*/ 64410 w 135847"/>
                      <a:gd name="connsiteY23" fmla="*/ 169069 h 176212"/>
                      <a:gd name="connsiteX24" fmla="*/ 45360 w 135847"/>
                      <a:gd name="connsiteY24" fmla="*/ 176212 h 176212"/>
                      <a:gd name="connsiteX25" fmla="*/ 28691 w 135847"/>
                      <a:gd name="connsiteY25" fmla="*/ 166687 h 176212"/>
                      <a:gd name="connsiteX26" fmla="*/ 23928 w 135847"/>
                      <a:gd name="connsiteY26" fmla="*/ 157162 h 176212"/>
                      <a:gd name="connsiteX27" fmla="*/ 23928 w 135847"/>
                      <a:gd name="connsiteY27" fmla="*/ 157162 h 176212"/>
                      <a:gd name="connsiteX28" fmla="*/ 798 w 135847"/>
                      <a:gd name="connsiteY28" fmla="*/ 144819 h 176212"/>
                      <a:gd name="connsiteX29" fmla="*/ 0 w 135847"/>
                      <a:gd name="connsiteY29" fmla="*/ 137662 h 176212"/>
                      <a:gd name="connsiteX30" fmla="*/ 9641 w 135847"/>
                      <a:gd name="connsiteY30" fmla="*/ 126206 h 176212"/>
                      <a:gd name="connsiteX31" fmla="*/ 21547 w 135847"/>
                      <a:gd name="connsiteY31" fmla="*/ 107156 h 176212"/>
                      <a:gd name="connsiteX32" fmla="*/ 28691 w 135847"/>
                      <a:gd name="connsiteY32" fmla="*/ 71437 h 176212"/>
                      <a:gd name="connsiteX33" fmla="*/ 24276 w 135847"/>
                      <a:gd name="connsiteY33" fmla="*/ 33377 h 176212"/>
                      <a:gd name="connsiteX34" fmla="*/ 4878 w 135847"/>
                      <a:gd name="connsiteY34" fmla="*/ 0 h 176212"/>
                      <a:gd name="connsiteX0" fmla="*/ 4878 w 135847"/>
                      <a:gd name="connsiteY0" fmla="*/ 0 h 176212"/>
                      <a:gd name="connsiteX1" fmla="*/ 27674 w 135847"/>
                      <a:gd name="connsiteY1" fmla="*/ 18085 h 176212"/>
                      <a:gd name="connsiteX2" fmla="*/ 29373 w 135847"/>
                      <a:gd name="connsiteY2" fmla="*/ 29412 h 176212"/>
                      <a:gd name="connsiteX3" fmla="*/ 28691 w 135847"/>
                      <a:gd name="connsiteY3" fmla="*/ 47625 h 176212"/>
                      <a:gd name="connsiteX4" fmla="*/ 31072 w 135847"/>
                      <a:gd name="connsiteY4" fmla="*/ 92869 h 176212"/>
                      <a:gd name="connsiteX5" fmla="*/ 21547 w 135847"/>
                      <a:gd name="connsiteY5" fmla="*/ 116681 h 176212"/>
                      <a:gd name="connsiteX6" fmla="*/ 19166 w 135847"/>
                      <a:gd name="connsiteY6" fmla="*/ 138112 h 176212"/>
                      <a:gd name="connsiteX7" fmla="*/ 31072 w 135847"/>
                      <a:gd name="connsiteY7" fmla="*/ 154781 h 176212"/>
                      <a:gd name="connsiteX8" fmla="*/ 45360 w 135847"/>
                      <a:gd name="connsiteY8" fmla="*/ 166687 h 176212"/>
                      <a:gd name="connsiteX9" fmla="*/ 59647 w 135847"/>
                      <a:gd name="connsiteY9" fmla="*/ 164306 h 176212"/>
                      <a:gd name="connsiteX10" fmla="*/ 73935 w 135847"/>
                      <a:gd name="connsiteY10" fmla="*/ 150019 h 176212"/>
                      <a:gd name="connsiteX11" fmla="*/ 90603 w 135847"/>
                      <a:gd name="connsiteY11" fmla="*/ 138112 h 176212"/>
                      <a:gd name="connsiteX12" fmla="*/ 107272 w 135847"/>
                      <a:gd name="connsiteY12" fmla="*/ 145256 h 176212"/>
                      <a:gd name="connsiteX13" fmla="*/ 126322 w 135847"/>
                      <a:gd name="connsiteY13" fmla="*/ 135731 h 176212"/>
                      <a:gd name="connsiteX14" fmla="*/ 131085 w 135847"/>
                      <a:gd name="connsiteY14" fmla="*/ 123825 h 176212"/>
                      <a:gd name="connsiteX15" fmla="*/ 116797 w 135847"/>
                      <a:gd name="connsiteY15" fmla="*/ 107156 h 176212"/>
                      <a:gd name="connsiteX16" fmla="*/ 126785 w 135847"/>
                      <a:gd name="connsiteY16" fmla="*/ 111533 h 176212"/>
                      <a:gd name="connsiteX17" fmla="*/ 131085 w 135847"/>
                      <a:gd name="connsiteY17" fmla="*/ 116681 h 176212"/>
                      <a:gd name="connsiteX18" fmla="*/ 135281 w 135847"/>
                      <a:gd name="connsiteY18" fmla="*/ 120595 h 176212"/>
                      <a:gd name="connsiteX19" fmla="*/ 135847 w 135847"/>
                      <a:gd name="connsiteY19" fmla="*/ 130969 h 176212"/>
                      <a:gd name="connsiteX20" fmla="*/ 119178 w 135847"/>
                      <a:gd name="connsiteY20" fmla="*/ 145256 h 176212"/>
                      <a:gd name="connsiteX21" fmla="*/ 97747 w 135847"/>
                      <a:gd name="connsiteY21" fmla="*/ 152400 h 176212"/>
                      <a:gd name="connsiteX22" fmla="*/ 83460 w 135847"/>
                      <a:gd name="connsiteY22" fmla="*/ 157162 h 176212"/>
                      <a:gd name="connsiteX23" fmla="*/ 64410 w 135847"/>
                      <a:gd name="connsiteY23" fmla="*/ 169069 h 176212"/>
                      <a:gd name="connsiteX24" fmla="*/ 45360 w 135847"/>
                      <a:gd name="connsiteY24" fmla="*/ 176212 h 176212"/>
                      <a:gd name="connsiteX25" fmla="*/ 28691 w 135847"/>
                      <a:gd name="connsiteY25" fmla="*/ 166687 h 176212"/>
                      <a:gd name="connsiteX26" fmla="*/ 23928 w 135847"/>
                      <a:gd name="connsiteY26" fmla="*/ 157162 h 176212"/>
                      <a:gd name="connsiteX27" fmla="*/ 23928 w 135847"/>
                      <a:gd name="connsiteY27" fmla="*/ 157162 h 176212"/>
                      <a:gd name="connsiteX28" fmla="*/ 798 w 135847"/>
                      <a:gd name="connsiteY28" fmla="*/ 144819 h 176212"/>
                      <a:gd name="connsiteX29" fmla="*/ 0 w 135847"/>
                      <a:gd name="connsiteY29" fmla="*/ 137662 h 176212"/>
                      <a:gd name="connsiteX30" fmla="*/ 9641 w 135847"/>
                      <a:gd name="connsiteY30" fmla="*/ 126206 h 176212"/>
                      <a:gd name="connsiteX31" fmla="*/ 21547 w 135847"/>
                      <a:gd name="connsiteY31" fmla="*/ 107156 h 176212"/>
                      <a:gd name="connsiteX32" fmla="*/ 26426 w 135847"/>
                      <a:gd name="connsiteY32" fmla="*/ 76534 h 176212"/>
                      <a:gd name="connsiteX33" fmla="*/ 24276 w 135847"/>
                      <a:gd name="connsiteY33" fmla="*/ 33377 h 176212"/>
                      <a:gd name="connsiteX34" fmla="*/ 4878 w 135847"/>
                      <a:gd name="connsiteY34" fmla="*/ 0 h 176212"/>
                      <a:gd name="connsiteX0" fmla="*/ 4878 w 135847"/>
                      <a:gd name="connsiteY0" fmla="*/ 0 h 176212"/>
                      <a:gd name="connsiteX1" fmla="*/ 27674 w 135847"/>
                      <a:gd name="connsiteY1" fmla="*/ 18085 h 176212"/>
                      <a:gd name="connsiteX2" fmla="*/ 29373 w 135847"/>
                      <a:gd name="connsiteY2" fmla="*/ 29412 h 176212"/>
                      <a:gd name="connsiteX3" fmla="*/ 28691 w 135847"/>
                      <a:gd name="connsiteY3" fmla="*/ 47625 h 176212"/>
                      <a:gd name="connsiteX4" fmla="*/ 31072 w 135847"/>
                      <a:gd name="connsiteY4" fmla="*/ 92869 h 176212"/>
                      <a:gd name="connsiteX5" fmla="*/ 21547 w 135847"/>
                      <a:gd name="connsiteY5" fmla="*/ 116681 h 176212"/>
                      <a:gd name="connsiteX6" fmla="*/ 19166 w 135847"/>
                      <a:gd name="connsiteY6" fmla="*/ 138112 h 176212"/>
                      <a:gd name="connsiteX7" fmla="*/ 31072 w 135847"/>
                      <a:gd name="connsiteY7" fmla="*/ 154781 h 176212"/>
                      <a:gd name="connsiteX8" fmla="*/ 45360 w 135847"/>
                      <a:gd name="connsiteY8" fmla="*/ 166687 h 176212"/>
                      <a:gd name="connsiteX9" fmla="*/ 59647 w 135847"/>
                      <a:gd name="connsiteY9" fmla="*/ 164306 h 176212"/>
                      <a:gd name="connsiteX10" fmla="*/ 73935 w 135847"/>
                      <a:gd name="connsiteY10" fmla="*/ 150019 h 176212"/>
                      <a:gd name="connsiteX11" fmla="*/ 90603 w 135847"/>
                      <a:gd name="connsiteY11" fmla="*/ 138112 h 176212"/>
                      <a:gd name="connsiteX12" fmla="*/ 107272 w 135847"/>
                      <a:gd name="connsiteY12" fmla="*/ 145256 h 176212"/>
                      <a:gd name="connsiteX13" fmla="*/ 126322 w 135847"/>
                      <a:gd name="connsiteY13" fmla="*/ 135731 h 176212"/>
                      <a:gd name="connsiteX14" fmla="*/ 131085 w 135847"/>
                      <a:gd name="connsiteY14" fmla="*/ 123825 h 176212"/>
                      <a:gd name="connsiteX15" fmla="*/ 116797 w 135847"/>
                      <a:gd name="connsiteY15" fmla="*/ 107156 h 176212"/>
                      <a:gd name="connsiteX16" fmla="*/ 126785 w 135847"/>
                      <a:gd name="connsiteY16" fmla="*/ 111533 h 176212"/>
                      <a:gd name="connsiteX17" fmla="*/ 131085 w 135847"/>
                      <a:gd name="connsiteY17" fmla="*/ 116681 h 176212"/>
                      <a:gd name="connsiteX18" fmla="*/ 135281 w 135847"/>
                      <a:gd name="connsiteY18" fmla="*/ 120595 h 176212"/>
                      <a:gd name="connsiteX19" fmla="*/ 135847 w 135847"/>
                      <a:gd name="connsiteY19" fmla="*/ 130969 h 176212"/>
                      <a:gd name="connsiteX20" fmla="*/ 119178 w 135847"/>
                      <a:gd name="connsiteY20" fmla="*/ 145256 h 176212"/>
                      <a:gd name="connsiteX21" fmla="*/ 97747 w 135847"/>
                      <a:gd name="connsiteY21" fmla="*/ 152400 h 176212"/>
                      <a:gd name="connsiteX22" fmla="*/ 83460 w 135847"/>
                      <a:gd name="connsiteY22" fmla="*/ 157162 h 176212"/>
                      <a:gd name="connsiteX23" fmla="*/ 64410 w 135847"/>
                      <a:gd name="connsiteY23" fmla="*/ 169069 h 176212"/>
                      <a:gd name="connsiteX24" fmla="*/ 45360 w 135847"/>
                      <a:gd name="connsiteY24" fmla="*/ 176212 h 176212"/>
                      <a:gd name="connsiteX25" fmla="*/ 28691 w 135847"/>
                      <a:gd name="connsiteY25" fmla="*/ 166687 h 176212"/>
                      <a:gd name="connsiteX26" fmla="*/ 23928 w 135847"/>
                      <a:gd name="connsiteY26" fmla="*/ 157162 h 176212"/>
                      <a:gd name="connsiteX27" fmla="*/ 23928 w 135847"/>
                      <a:gd name="connsiteY27" fmla="*/ 157162 h 176212"/>
                      <a:gd name="connsiteX28" fmla="*/ 798 w 135847"/>
                      <a:gd name="connsiteY28" fmla="*/ 144819 h 176212"/>
                      <a:gd name="connsiteX29" fmla="*/ 0 w 135847"/>
                      <a:gd name="connsiteY29" fmla="*/ 137662 h 176212"/>
                      <a:gd name="connsiteX30" fmla="*/ 9641 w 135847"/>
                      <a:gd name="connsiteY30" fmla="*/ 126206 h 176212"/>
                      <a:gd name="connsiteX31" fmla="*/ 21547 w 135847"/>
                      <a:gd name="connsiteY31" fmla="*/ 107156 h 176212"/>
                      <a:gd name="connsiteX32" fmla="*/ 26426 w 135847"/>
                      <a:gd name="connsiteY32" fmla="*/ 76534 h 176212"/>
                      <a:gd name="connsiteX33" fmla="*/ 24276 w 135847"/>
                      <a:gd name="connsiteY33" fmla="*/ 33377 h 176212"/>
                      <a:gd name="connsiteX34" fmla="*/ 23709 w 135847"/>
                      <a:gd name="connsiteY34" fmla="*/ 20917 h 176212"/>
                      <a:gd name="connsiteX35" fmla="*/ 4878 w 135847"/>
                      <a:gd name="connsiteY35" fmla="*/ 0 h 176212"/>
                      <a:gd name="connsiteX0" fmla="*/ 4878 w 135847"/>
                      <a:gd name="connsiteY0" fmla="*/ 0 h 176212"/>
                      <a:gd name="connsiteX1" fmla="*/ 27674 w 135847"/>
                      <a:gd name="connsiteY1" fmla="*/ 18085 h 176212"/>
                      <a:gd name="connsiteX2" fmla="*/ 29373 w 135847"/>
                      <a:gd name="connsiteY2" fmla="*/ 29412 h 176212"/>
                      <a:gd name="connsiteX3" fmla="*/ 28691 w 135847"/>
                      <a:gd name="connsiteY3" fmla="*/ 47625 h 176212"/>
                      <a:gd name="connsiteX4" fmla="*/ 31072 w 135847"/>
                      <a:gd name="connsiteY4" fmla="*/ 92869 h 176212"/>
                      <a:gd name="connsiteX5" fmla="*/ 21547 w 135847"/>
                      <a:gd name="connsiteY5" fmla="*/ 116681 h 176212"/>
                      <a:gd name="connsiteX6" fmla="*/ 19166 w 135847"/>
                      <a:gd name="connsiteY6" fmla="*/ 138112 h 176212"/>
                      <a:gd name="connsiteX7" fmla="*/ 31072 w 135847"/>
                      <a:gd name="connsiteY7" fmla="*/ 154781 h 176212"/>
                      <a:gd name="connsiteX8" fmla="*/ 45360 w 135847"/>
                      <a:gd name="connsiteY8" fmla="*/ 166687 h 176212"/>
                      <a:gd name="connsiteX9" fmla="*/ 59647 w 135847"/>
                      <a:gd name="connsiteY9" fmla="*/ 164306 h 176212"/>
                      <a:gd name="connsiteX10" fmla="*/ 73935 w 135847"/>
                      <a:gd name="connsiteY10" fmla="*/ 150019 h 176212"/>
                      <a:gd name="connsiteX11" fmla="*/ 90603 w 135847"/>
                      <a:gd name="connsiteY11" fmla="*/ 138112 h 176212"/>
                      <a:gd name="connsiteX12" fmla="*/ 107272 w 135847"/>
                      <a:gd name="connsiteY12" fmla="*/ 145256 h 176212"/>
                      <a:gd name="connsiteX13" fmla="*/ 126322 w 135847"/>
                      <a:gd name="connsiteY13" fmla="*/ 135731 h 176212"/>
                      <a:gd name="connsiteX14" fmla="*/ 131085 w 135847"/>
                      <a:gd name="connsiteY14" fmla="*/ 123825 h 176212"/>
                      <a:gd name="connsiteX15" fmla="*/ 116797 w 135847"/>
                      <a:gd name="connsiteY15" fmla="*/ 107156 h 176212"/>
                      <a:gd name="connsiteX16" fmla="*/ 126785 w 135847"/>
                      <a:gd name="connsiteY16" fmla="*/ 111533 h 176212"/>
                      <a:gd name="connsiteX17" fmla="*/ 131085 w 135847"/>
                      <a:gd name="connsiteY17" fmla="*/ 116681 h 176212"/>
                      <a:gd name="connsiteX18" fmla="*/ 135281 w 135847"/>
                      <a:gd name="connsiteY18" fmla="*/ 120595 h 176212"/>
                      <a:gd name="connsiteX19" fmla="*/ 135847 w 135847"/>
                      <a:gd name="connsiteY19" fmla="*/ 130969 h 176212"/>
                      <a:gd name="connsiteX20" fmla="*/ 119178 w 135847"/>
                      <a:gd name="connsiteY20" fmla="*/ 145256 h 176212"/>
                      <a:gd name="connsiteX21" fmla="*/ 97747 w 135847"/>
                      <a:gd name="connsiteY21" fmla="*/ 152400 h 176212"/>
                      <a:gd name="connsiteX22" fmla="*/ 83460 w 135847"/>
                      <a:gd name="connsiteY22" fmla="*/ 157162 h 176212"/>
                      <a:gd name="connsiteX23" fmla="*/ 64410 w 135847"/>
                      <a:gd name="connsiteY23" fmla="*/ 169069 h 176212"/>
                      <a:gd name="connsiteX24" fmla="*/ 45360 w 135847"/>
                      <a:gd name="connsiteY24" fmla="*/ 176212 h 176212"/>
                      <a:gd name="connsiteX25" fmla="*/ 28691 w 135847"/>
                      <a:gd name="connsiteY25" fmla="*/ 166687 h 176212"/>
                      <a:gd name="connsiteX26" fmla="*/ 23928 w 135847"/>
                      <a:gd name="connsiteY26" fmla="*/ 157162 h 176212"/>
                      <a:gd name="connsiteX27" fmla="*/ 23928 w 135847"/>
                      <a:gd name="connsiteY27" fmla="*/ 157162 h 176212"/>
                      <a:gd name="connsiteX28" fmla="*/ 7852 w 135847"/>
                      <a:gd name="connsiteY28" fmla="*/ 154576 h 176212"/>
                      <a:gd name="connsiteX29" fmla="*/ 798 w 135847"/>
                      <a:gd name="connsiteY29" fmla="*/ 144819 h 176212"/>
                      <a:gd name="connsiteX30" fmla="*/ 0 w 135847"/>
                      <a:gd name="connsiteY30" fmla="*/ 137662 h 176212"/>
                      <a:gd name="connsiteX31" fmla="*/ 9641 w 135847"/>
                      <a:gd name="connsiteY31" fmla="*/ 126206 h 176212"/>
                      <a:gd name="connsiteX32" fmla="*/ 21547 w 135847"/>
                      <a:gd name="connsiteY32" fmla="*/ 107156 h 176212"/>
                      <a:gd name="connsiteX33" fmla="*/ 26426 w 135847"/>
                      <a:gd name="connsiteY33" fmla="*/ 76534 h 176212"/>
                      <a:gd name="connsiteX34" fmla="*/ 24276 w 135847"/>
                      <a:gd name="connsiteY34" fmla="*/ 33377 h 176212"/>
                      <a:gd name="connsiteX35" fmla="*/ 23709 w 135847"/>
                      <a:gd name="connsiteY35" fmla="*/ 20917 h 176212"/>
                      <a:gd name="connsiteX36" fmla="*/ 4878 w 135847"/>
                      <a:gd name="connsiteY36" fmla="*/ 0 h 176212"/>
                      <a:gd name="connsiteX0" fmla="*/ 4878 w 135847"/>
                      <a:gd name="connsiteY0" fmla="*/ 0 h 176212"/>
                      <a:gd name="connsiteX1" fmla="*/ 27674 w 135847"/>
                      <a:gd name="connsiteY1" fmla="*/ 18085 h 176212"/>
                      <a:gd name="connsiteX2" fmla="*/ 29373 w 135847"/>
                      <a:gd name="connsiteY2" fmla="*/ 29412 h 176212"/>
                      <a:gd name="connsiteX3" fmla="*/ 28691 w 135847"/>
                      <a:gd name="connsiteY3" fmla="*/ 47625 h 176212"/>
                      <a:gd name="connsiteX4" fmla="*/ 31072 w 135847"/>
                      <a:gd name="connsiteY4" fmla="*/ 92869 h 176212"/>
                      <a:gd name="connsiteX5" fmla="*/ 21547 w 135847"/>
                      <a:gd name="connsiteY5" fmla="*/ 116681 h 176212"/>
                      <a:gd name="connsiteX6" fmla="*/ 19166 w 135847"/>
                      <a:gd name="connsiteY6" fmla="*/ 138112 h 176212"/>
                      <a:gd name="connsiteX7" fmla="*/ 31072 w 135847"/>
                      <a:gd name="connsiteY7" fmla="*/ 154781 h 176212"/>
                      <a:gd name="connsiteX8" fmla="*/ 45360 w 135847"/>
                      <a:gd name="connsiteY8" fmla="*/ 166687 h 176212"/>
                      <a:gd name="connsiteX9" fmla="*/ 59647 w 135847"/>
                      <a:gd name="connsiteY9" fmla="*/ 164306 h 176212"/>
                      <a:gd name="connsiteX10" fmla="*/ 73935 w 135847"/>
                      <a:gd name="connsiteY10" fmla="*/ 150019 h 176212"/>
                      <a:gd name="connsiteX11" fmla="*/ 90603 w 135847"/>
                      <a:gd name="connsiteY11" fmla="*/ 138112 h 176212"/>
                      <a:gd name="connsiteX12" fmla="*/ 107272 w 135847"/>
                      <a:gd name="connsiteY12" fmla="*/ 145256 h 176212"/>
                      <a:gd name="connsiteX13" fmla="*/ 126322 w 135847"/>
                      <a:gd name="connsiteY13" fmla="*/ 135731 h 176212"/>
                      <a:gd name="connsiteX14" fmla="*/ 131085 w 135847"/>
                      <a:gd name="connsiteY14" fmla="*/ 123825 h 176212"/>
                      <a:gd name="connsiteX15" fmla="*/ 116797 w 135847"/>
                      <a:gd name="connsiteY15" fmla="*/ 107156 h 176212"/>
                      <a:gd name="connsiteX16" fmla="*/ 126785 w 135847"/>
                      <a:gd name="connsiteY16" fmla="*/ 111533 h 176212"/>
                      <a:gd name="connsiteX17" fmla="*/ 131085 w 135847"/>
                      <a:gd name="connsiteY17" fmla="*/ 116681 h 176212"/>
                      <a:gd name="connsiteX18" fmla="*/ 135281 w 135847"/>
                      <a:gd name="connsiteY18" fmla="*/ 120595 h 176212"/>
                      <a:gd name="connsiteX19" fmla="*/ 135847 w 135847"/>
                      <a:gd name="connsiteY19" fmla="*/ 130969 h 176212"/>
                      <a:gd name="connsiteX20" fmla="*/ 119178 w 135847"/>
                      <a:gd name="connsiteY20" fmla="*/ 145256 h 176212"/>
                      <a:gd name="connsiteX21" fmla="*/ 97747 w 135847"/>
                      <a:gd name="connsiteY21" fmla="*/ 152400 h 176212"/>
                      <a:gd name="connsiteX22" fmla="*/ 83460 w 135847"/>
                      <a:gd name="connsiteY22" fmla="*/ 157162 h 176212"/>
                      <a:gd name="connsiteX23" fmla="*/ 64410 w 135847"/>
                      <a:gd name="connsiteY23" fmla="*/ 169069 h 176212"/>
                      <a:gd name="connsiteX24" fmla="*/ 45360 w 135847"/>
                      <a:gd name="connsiteY24" fmla="*/ 176212 h 176212"/>
                      <a:gd name="connsiteX25" fmla="*/ 28691 w 135847"/>
                      <a:gd name="connsiteY25" fmla="*/ 166687 h 176212"/>
                      <a:gd name="connsiteX26" fmla="*/ 23928 w 135847"/>
                      <a:gd name="connsiteY26" fmla="*/ 157162 h 176212"/>
                      <a:gd name="connsiteX27" fmla="*/ 23928 w 135847"/>
                      <a:gd name="connsiteY27" fmla="*/ 157162 h 176212"/>
                      <a:gd name="connsiteX28" fmla="*/ 7852 w 135847"/>
                      <a:gd name="connsiteY28" fmla="*/ 154576 h 176212"/>
                      <a:gd name="connsiteX29" fmla="*/ 798 w 135847"/>
                      <a:gd name="connsiteY29" fmla="*/ 144819 h 176212"/>
                      <a:gd name="connsiteX30" fmla="*/ 0 w 135847"/>
                      <a:gd name="connsiteY30" fmla="*/ 137662 h 176212"/>
                      <a:gd name="connsiteX31" fmla="*/ 9641 w 135847"/>
                      <a:gd name="connsiteY31" fmla="*/ 126206 h 176212"/>
                      <a:gd name="connsiteX32" fmla="*/ 21547 w 135847"/>
                      <a:gd name="connsiteY32" fmla="*/ 107156 h 176212"/>
                      <a:gd name="connsiteX33" fmla="*/ 26426 w 135847"/>
                      <a:gd name="connsiteY33" fmla="*/ 76534 h 176212"/>
                      <a:gd name="connsiteX34" fmla="*/ 24276 w 135847"/>
                      <a:gd name="connsiteY34" fmla="*/ 33377 h 176212"/>
                      <a:gd name="connsiteX35" fmla="*/ 23709 w 135847"/>
                      <a:gd name="connsiteY35" fmla="*/ 20917 h 176212"/>
                      <a:gd name="connsiteX36" fmla="*/ 4878 w 135847"/>
                      <a:gd name="connsiteY36" fmla="*/ 0 h 176212"/>
                      <a:gd name="connsiteX0" fmla="*/ 4878 w 135847"/>
                      <a:gd name="connsiteY0" fmla="*/ 0 h 176212"/>
                      <a:gd name="connsiteX1" fmla="*/ 27674 w 135847"/>
                      <a:gd name="connsiteY1" fmla="*/ 18085 h 176212"/>
                      <a:gd name="connsiteX2" fmla="*/ 29373 w 135847"/>
                      <a:gd name="connsiteY2" fmla="*/ 29412 h 176212"/>
                      <a:gd name="connsiteX3" fmla="*/ 28691 w 135847"/>
                      <a:gd name="connsiteY3" fmla="*/ 47625 h 176212"/>
                      <a:gd name="connsiteX4" fmla="*/ 31072 w 135847"/>
                      <a:gd name="connsiteY4" fmla="*/ 92869 h 176212"/>
                      <a:gd name="connsiteX5" fmla="*/ 21547 w 135847"/>
                      <a:gd name="connsiteY5" fmla="*/ 116681 h 176212"/>
                      <a:gd name="connsiteX6" fmla="*/ 19166 w 135847"/>
                      <a:gd name="connsiteY6" fmla="*/ 138112 h 176212"/>
                      <a:gd name="connsiteX7" fmla="*/ 31072 w 135847"/>
                      <a:gd name="connsiteY7" fmla="*/ 154781 h 176212"/>
                      <a:gd name="connsiteX8" fmla="*/ 48333 w 135847"/>
                      <a:gd name="connsiteY8" fmla="*/ 167537 h 176212"/>
                      <a:gd name="connsiteX9" fmla="*/ 59647 w 135847"/>
                      <a:gd name="connsiteY9" fmla="*/ 164306 h 176212"/>
                      <a:gd name="connsiteX10" fmla="*/ 73935 w 135847"/>
                      <a:gd name="connsiteY10" fmla="*/ 150019 h 176212"/>
                      <a:gd name="connsiteX11" fmla="*/ 90603 w 135847"/>
                      <a:gd name="connsiteY11" fmla="*/ 138112 h 176212"/>
                      <a:gd name="connsiteX12" fmla="*/ 107272 w 135847"/>
                      <a:gd name="connsiteY12" fmla="*/ 145256 h 176212"/>
                      <a:gd name="connsiteX13" fmla="*/ 126322 w 135847"/>
                      <a:gd name="connsiteY13" fmla="*/ 135731 h 176212"/>
                      <a:gd name="connsiteX14" fmla="*/ 131085 w 135847"/>
                      <a:gd name="connsiteY14" fmla="*/ 123825 h 176212"/>
                      <a:gd name="connsiteX15" fmla="*/ 116797 w 135847"/>
                      <a:gd name="connsiteY15" fmla="*/ 107156 h 176212"/>
                      <a:gd name="connsiteX16" fmla="*/ 126785 w 135847"/>
                      <a:gd name="connsiteY16" fmla="*/ 111533 h 176212"/>
                      <a:gd name="connsiteX17" fmla="*/ 131085 w 135847"/>
                      <a:gd name="connsiteY17" fmla="*/ 116681 h 176212"/>
                      <a:gd name="connsiteX18" fmla="*/ 135281 w 135847"/>
                      <a:gd name="connsiteY18" fmla="*/ 120595 h 176212"/>
                      <a:gd name="connsiteX19" fmla="*/ 135847 w 135847"/>
                      <a:gd name="connsiteY19" fmla="*/ 130969 h 176212"/>
                      <a:gd name="connsiteX20" fmla="*/ 119178 w 135847"/>
                      <a:gd name="connsiteY20" fmla="*/ 145256 h 176212"/>
                      <a:gd name="connsiteX21" fmla="*/ 97747 w 135847"/>
                      <a:gd name="connsiteY21" fmla="*/ 152400 h 176212"/>
                      <a:gd name="connsiteX22" fmla="*/ 83460 w 135847"/>
                      <a:gd name="connsiteY22" fmla="*/ 157162 h 176212"/>
                      <a:gd name="connsiteX23" fmla="*/ 64410 w 135847"/>
                      <a:gd name="connsiteY23" fmla="*/ 169069 h 176212"/>
                      <a:gd name="connsiteX24" fmla="*/ 45360 w 135847"/>
                      <a:gd name="connsiteY24" fmla="*/ 176212 h 176212"/>
                      <a:gd name="connsiteX25" fmla="*/ 28691 w 135847"/>
                      <a:gd name="connsiteY25" fmla="*/ 166687 h 176212"/>
                      <a:gd name="connsiteX26" fmla="*/ 23928 w 135847"/>
                      <a:gd name="connsiteY26" fmla="*/ 157162 h 176212"/>
                      <a:gd name="connsiteX27" fmla="*/ 23928 w 135847"/>
                      <a:gd name="connsiteY27" fmla="*/ 157162 h 176212"/>
                      <a:gd name="connsiteX28" fmla="*/ 7852 w 135847"/>
                      <a:gd name="connsiteY28" fmla="*/ 154576 h 176212"/>
                      <a:gd name="connsiteX29" fmla="*/ 798 w 135847"/>
                      <a:gd name="connsiteY29" fmla="*/ 144819 h 176212"/>
                      <a:gd name="connsiteX30" fmla="*/ 0 w 135847"/>
                      <a:gd name="connsiteY30" fmla="*/ 137662 h 176212"/>
                      <a:gd name="connsiteX31" fmla="*/ 9641 w 135847"/>
                      <a:gd name="connsiteY31" fmla="*/ 126206 h 176212"/>
                      <a:gd name="connsiteX32" fmla="*/ 21547 w 135847"/>
                      <a:gd name="connsiteY32" fmla="*/ 107156 h 176212"/>
                      <a:gd name="connsiteX33" fmla="*/ 26426 w 135847"/>
                      <a:gd name="connsiteY33" fmla="*/ 76534 h 176212"/>
                      <a:gd name="connsiteX34" fmla="*/ 24276 w 135847"/>
                      <a:gd name="connsiteY34" fmla="*/ 33377 h 176212"/>
                      <a:gd name="connsiteX35" fmla="*/ 23709 w 135847"/>
                      <a:gd name="connsiteY35" fmla="*/ 20917 h 176212"/>
                      <a:gd name="connsiteX36" fmla="*/ 4878 w 135847"/>
                      <a:gd name="connsiteY36" fmla="*/ 0 h 176212"/>
                      <a:gd name="connsiteX0" fmla="*/ 4878 w 135847"/>
                      <a:gd name="connsiteY0" fmla="*/ 0 h 176212"/>
                      <a:gd name="connsiteX1" fmla="*/ 27674 w 135847"/>
                      <a:gd name="connsiteY1" fmla="*/ 18085 h 176212"/>
                      <a:gd name="connsiteX2" fmla="*/ 29373 w 135847"/>
                      <a:gd name="connsiteY2" fmla="*/ 29412 h 176212"/>
                      <a:gd name="connsiteX3" fmla="*/ 28691 w 135847"/>
                      <a:gd name="connsiteY3" fmla="*/ 47625 h 176212"/>
                      <a:gd name="connsiteX4" fmla="*/ 31072 w 135847"/>
                      <a:gd name="connsiteY4" fmla="*/ 92869 h 176212"/>
                      <a:gd name="connsiteX5" fmla="*/ 21547 w 135847"/>
                      <a:gd name="connsiteY5" fmla="*/ 116681 h 176212"/>
                      <a:gd name="connsiteX6" fmla="*/ 19166 w 135847"/>
                      <a:gd name="connsiteY6" fmla="*/ 138112 h 176212"/>
                      <a:gd name="connsiteX7" fmla="*/ 31072 w 135847"/>
                      <a:gd name="connsiteY7" fmla="*/ 154781 h 176212"/>
                      <a:gd name="connsiteX8" fmla="*/ 48333 w 135847"/>
                      <a:gd name="connsiteY8" fmla="*/ 167537 h 176212"/>
                      <a:gd name="connsiteX9" fmla="*/ 59647 w 135847"/>
                      <a:gd name="connsiteY9" fmla="*/ 164306 h 176212"/>
                      <a:gd name="connsiteX10" fmla="*/ 73935 w 135847"/>
                      <a:gd name="connsiteY10" fmla="*/ 150019 h 176212"/>
                      <a:gd name="connsiteX11" fmla="*/ 90603 w 135847"/>
                      <a:gd name="connsiteY11" fmla="*/ 138112 h 176212"/>
                      <a:gd name="connsiteX12" fmla="*/ 107272 w 135847"/>
                      <a:gd name="connsiteY12" fmla="*/ 145256 h 176212"/>
                      <a:gd name="connsiteX13" fmla="*/ 126322 w 135847"/>
                      <a:gd name="connsiteY13" fmla="*/ 135731 h 176212"/>
                      <a:gd name="connsiteX14" fmla="*/ 131085 w 135847"/>
                      <a:gd name="connsiteY14" fmla="*/ 123825 h 176212"/>
                      <a:gd name="connsiteX15" fmla="*/ 116797 w 135847"/>
                      <a:gd name="connsiteY15" fmla="*/ 107156 h 176212"/>
                      <a:gd name="connsiteX16" fmla="*/ 126785 w 135847"/>
                      <a:gd name="connsiteY16" fmla="*/ 111533 h 176212"/>
                      <a:gd name="connsiteX17" fmla="*/ 131085 w 135847"/>
                      <a:gd name="connsiteY17" fmla="*/ 116681 h 176212"/>
                      <a:gd name="connsiteX18" fmla="*/ 135281 w 135847"/>
                      <a:gd name="connsiteY18" fmla="*/ 120595 h 176212"/>
                      <a:gd name="connsiteX19" fmla="*/ 135847 w 135847"/>
                      <a:gd name="connsiteY19" fmla="*/ 130969 h 176212"/>
                      <a:gd name="connsiteX20" fmla="*/ 119178 w 135847"/>
                      <a:gd name="connsiteY20" fmla="*/ 145256 h 176212"/>
                      <a:gd name="connsiteX21" fmla="*/ 97747 w 135847"/>
                      <a:gd name="connsiteY21" fmla="*/ 152400 h 176212"/>
                      <a:gd name="connsiteX22" fmla="*/ 83460 w 135847"/>
                      <a:gd name="connsiteY22" fmla="*/ 157162 h 176212"/>
                      <a:gd name="connsiteX23" fmla="*/ 64410 w 135847"/>
                      <a:gd name="connsiteY23" fmla="*/ 169069 h 176212"/>
                      <a:gd name="connsiteX24" fmla="*/ 45360 w 135847"/>
                      <a:gd name="connsiteY24" fmla="*/ 176212 h 176212"/>
                      <a:gd name="connsiteX25" fmla="*/ 28691 w 135847"/>
                      <a:gd name="connsiteY25" fmla="*/ 166687 h 176212"/>
                      <a:gd name="connsiteX26" fmla="*/ 23928 w 135847"/>
                      <a:gd name="connsiteY26" fmla="*/ 157162 h 176212"/>
                      <a:gd name="connsiteX27" fmla="*/ 23928 w 135847"/>
                      <a:gd name="connsiteY27" fmla="*/ 157162 h 176212"/>
                      <a:gd name="connsiteX28" fmla="*/ 7852 w 135847"/>
                      <a:gd name="connsiteY28" fmla="*/ 154576 h 176212"/>
                      <a:gd name="connsiteX29" fmla="*/ 798 w 135847"/>
                      <a:gd name="connsiteY29" fmla="*/ 144819 h 176212"/>
                      <a:gd name="connsiteX30" fmla="*/ 0 w 135847"/>
                      <a:gd name="connsiteY30" fmla="*/ 137662 h 176212"/>
                      <a:gd name="connsiteX31" fmla="*/ 9641 w 135847"/>
                      <a:gd name="connsiteY31" fmla="*/ 126206 h 176212"/>
                      <a:gd name="connsiteX32" fmla="*/ 21547 w 135847"/>
                      <a:gd name="connsiteY32" fmla="*/ 107156 h 176212"/>
                      <a:gd name="connsiteX33" fmla="*/ 26426 w 135847"/>
                      <a:gd name="connsiteY33" fmla="*/ 76534 h 176212"/>
                      <a:gd name="connsiteX34" fmla="*/ 24276 w 135847"/>
                      <a:gd name="connsiteY34" fmla="*/ 33377 h 176212"/>
                      <a:gd name="connsiteX35" fmla="*/ 23709 w 135847"/>
                      <a:gd name="connsiteY35" fmla="*/ 20917 h 176212"/>
                      <a:gd name="connsiteX36" fmla="*/ 4878 w 135847"/>
                      <a:gd name="connsiteY36" fmla="*/ 0 h 176212"/>
                      <a:gd name="connsiteX0" fmla="*/ 4878 w 135847"/>
                      <a:gd name="connsiteY0" fmla="*/ 0 h 176212"/>
                      <a:gd name="connsiteX1" fmla="*/ 27674 w 135847"/>
                      <a:gd name="connsiteY1" fmla="*/ 18085 h 176212"/>
                      <a:gd name="connsiteX2" fmla="*/ 29373 w 135847"/>
                      <a:gd name="connsiteY2" fmla="*/ 29412 h 176212"/>
                      <a:gd name="connsiteX3" fmla="*/ 28691 w 135847"/>
                      <a:gd name="connsiteY3" fmla="*/ 47625 h 176212"/>
                      <a:gd name="connsiteX4" fmla="*/ 31072 w 135847"/>
                      <a:gd name="connsiteY4" fmla="*/ 92869 h 176212"/>
                      <a:gd name="connsiteX5" fmla="*/ 21547 w 135847"/>
                      <a:gd name="connsiteY5" fmla="*/ 116681 h 176212"/>
                      <a:gd name="connsiteX6" fmla="*/ 19166 w 135847"/>
                      <a:gd name="connsiteY6" fmla="*/ 138112 h 176212"/>
                      <a:gd name="connsiteX7" fmla="*/ 31072 w 135847"/>
                      <a:gd name="connsiteY7" fmla="*/ 154781 h 176212"/>
                      <a:gd name="connsiteX8" fmla="*/ 48333 w 135847"/>
                      <a:gd name="connsiteY8" fmla="*/ 167537 h 176212"/>
                      <a:gd name="connsiteX9" fmla="*/ 59647 w 135847"/>
                      <a:gd name="connsiteY9" fmla="*/ 164306 h 176212"/>
                      <a:gd name="connsiteX10" fmla="*/ 73935 w 135847"/>
                      <a:gd name="connsiteY10" fmla="*/ 150019 h 176212"/>
                      <a:gd name="connsiteX11" fmla="*/ 90603 w 135847"/>
                      <a:gd name="connsiteY11" fmla="*/ 138112 h 176212"/>
                      <a:gd name="connsiteX12" fmla="*/ 107272 w 135847"/>
                      <a:gd name="connsiteY12" fmla="*/ 145256 h 176212"/>
                      <a:gd name="connsiteX13" fmla="*/ 126322 w 135847"/>
                      <a:gd name="connsiteY13" fmla="*/ 135731 h 176212"/>
                      <a:gd name="connsiteX14" fmla="*/ 131085 w 135847"/>
                      <a:gd name="connsiteY14" fmla="*/ 123825 h 176212"/>
                      <a:gd name="connsiteX15" fmla="*/ 116797 w 135847"/>
                      <a:gd name="connsiteY15" fmla="*/ 107156 h 176212"/>
                      <a:gd name="connsiteX16" fmla="*/ 126785 w 135847"/>
                      <a:gd name="connsiteY16" fmla="*/ 111533 h 176212"/>
                      <a:gd name="connsiteX17" fmla="*/ 131085 w 135847"/>
                      <a:gd name="connsiteY17" fmla="*/ 116681 h 176212"/>
                      <a:gd name="connsiteX18" fmla="*/ 135281 w 135847"/>
                      <a:gd name="connsiteY18" fmla="*/ 120595 h 176212"/>
                      <a:gd name="connsiteX19" fmla="*/ 135847 w 135847"/>
                      <a:gd name="connsiteY19" fmla="*/ 130969 h 176212"/>
                      <a:gd name="connsiteX20" fmla="*/ 119178 w 135847"/>
                      <a:gd name="connsiteY20" fmla="*/ 145256 h 176212"/>
                      <a:gd name="connsiteX21" fmla="*/ 97747 w 135847"/>
                      <a:gd name="connsiteY21" fmla="*/ 152400 h 176212"/>
                      <a:gd name="connsiteX22" fmla="*/ 83460 w 135847"/>
                      <a:gd name="connsiteY22" fmla="*/ 157162 h 176212"/>
                      <a:gd name="connsiteX23" fmla="*/ 64410 w 135847"/>
                      <a:gd name="connsiteY23" fmla="*/ 169069 h 176212"/>
                      <a:gd name="connsiteX24" fmla="*/ 45360 w 135847"/>
                      <a:gd name="connsiteY24" fmla="*/ 176212 h 176212"/>
                      <a:gd name="connsiteX25" fmla="*/ 28691 w 135847"/>
                      <a:gd name="connsiteY25" fmla="*/ 166687 h 176212"/>
                      <a:gd name="connsiteX26" fmla="*/ 23928 w 135847"/>
                      <a:gd name="connsiteY26" fmla="*/ 157162 h 176212"/>
                      <a:gd name="connsiteX27" fmla="*/ 23928 w 135847"/>
                      <a:gd name="connsiteY27" fmla="*/ 157162 h 176212"/>
                      <a:gd name="connsiteX28" fmla="*/ 7852 w 135847"/>
                      <a:gd name="connsiteY28" fmla="*/ 154576 h 176212"/>
                      <a:gd name="connsiteX29" fmla="*/ 798 w 135847"/>
                      <a:gd name="connsiteY29" fmla="*/ 144819 h 176212"/>
                      <a:gd name="connsiteX30" fmla="*/ 0 w 135847"/>
                      <a:gd name="connsiteY30" fmla="*/ 137662 h 176212"/>
                      <a:gd name="connsiteX31" fmla="*/ 9641 w 135847"/>
                      <a:gd name="connsiteY31" fmla="*/ 126206 h 176212"/>
                      <a:gd name="connsiteX32" fmla="*/ 21547 w 135847"/>
                      <a:gd name="connsiteY32" fmla="*/ 107156 h 176212"/>
                      <a:gd name="connsiteX33" fmla="*/ 26426 w 135847"/>
                      <a:gd name="connsiteY33" fmla="*/ 76534 h 176212"/>
                      <a:gd name="connsiteX34" fmla="*/ 24276 w 135847"/>
                      <a:gd name="connsiteY34" fmla="*/ 33377 h 176212"/>
                      <a:gd name="connsiteX35" fmla="*/ 23709 w 135847"/>
                      <a:gd name="connsiteY35" fmla="*/ 20917 h 176212"/>
                      <a:gd name="connsiteX36" fmla="*/ 4878 w 135847"/>
                      <a:gd name="connsiteY36" fmla="*/ 0 h 176212"/>
                      <a:gd name="connsiteX0" fmla="*/ 4878 w 135847"/>
                      <a:gd name="connsiteY0" fmla="*/ 0 h 176212"/>
                      <a:gd name="connsiteX1" fmla="*/ 27674 w 135847"/>
                      <a:gd name="connsiteY1" fmla="*/ 18085 h 176212"/>
                      <a:gd name="connsiteX2" fmla="*/ 29373 w 135847"/>
                      <a:gd name="connsiteY2" fmla="*/ 29412 h 176212"/>
                      <a:gd name="connsiteX3" fmla="*/ 28691 w 135847"/>
                      <a:gd name="connsiteY3" fmla="*/ 47625 h 176212"/>
                      <a:gd name="connsiteX4" fmla="*/ 31072 w 135847"/>
                      <a:gd name="connsiteY4" fmla="*/ 92869 h 176212"/>
                      <a:gd name="connsiteX5" fmla="*/ 21547 w 135847"/>
                      <a:gd name="connsiteY5" fmla="*/ 116681 h 176212"/>
                      <a:gd name="connsiteX6" fmla="*/ 19166 w 135847"/>
                      <a:gd name="connsiteY6" fmla="*/ 138112 h 176212"/>
                      <a:gd name="connsiteX7" fmla="*/ 31072 w 135847"/>
                      <a:gd name="connsiteY7" fmla="*/ 154781 h 176212"/>
                      <a:gd name="connsiteX8" fmla="*/ 48333 w 135847"/>
                      <a:gd name="connsiteY8" fmla="*/ 167537 h 176212"/>
                      <a:gd name="connsiteX9" fmla="*/ 59647 w 135847"/>
                      <a:gd name="connsiteY9" fmla="*/ 164306 h 176212"/>
                      <a:gd name="connsiteX10" fmla="*/ 73935 w 135847"/>
                      <a:gd name="connsiteY10" fmla="*/ 150019 h 176212"/>
                      <a:gd name="connsiteX11" fmla="*/ 90603 w 135847"/>
                      <a:gd name="connsiteY11" fmla="*/ 138112 h 176212"/>
                      <a:gd name="connsiteX12" fmla="*/ 107272 w 135847"/>
                      <a:gd name="connsiteY12" fmla="*/ 145256 h 176212"/>
                      <a:gd name="connsiteX13" fmla="*/ 126322 w 135847"/>
                      <a:gd name="connsiteY13" fmla="*/ 135731 h 176212"/>
                      <a:gd name="connsiteX14" fmla="*/ 131085 w 135847"/>
                      <a:gd name="connsiteY14" fmla="*/ 123825 h 176212"/>
                      <a:gd name="connsiteX15" fmla="*/ 116797 w 135847"/>
                      <a:gd name="connsiteY15" fmla="*/ 107156 h 176212"/>
                      <a:gd name="connsiteX16" fmla="*/ 126785 w 135847"/>
                      <a:gd name="connsiteY16" fmla="*/ 111533 h 176212"/>
                      <a:gd name="connsiteX17" fmla="*/ 131085 w 135847"/>
                      <a:gd name="connsiteY17" fmla="*/ 116681 h 176212"/>
                      <a:gd name="connsiteX18" fmla="*/ 135281 w 135847"/>
                      <a:gd name="connsiteY18" fmla="*/ 120595 h 176212"/>
                      <a:gd name="connsiteX19" fmla="*/ 135847 w 135847"/>
                      <a:gd name="connsiteY19" fmla="*/ 130969 h 176212"/>
                      <a:gd name="connsiteX20" fmla="*/ 119178 w 135847"/>
                      <a:gd name="connsiteY20" fmla="*/ 145256 h 176212"/>
                      <a:gd name="connsiteX21" fmla="*/ 97747 w 135847"/>
                      <a:gd name="connsiteY21" fmla="*/ 152400 h 176212"/>
                      <a:gd name="connsiteX22" fmla="*/ 83460 w 135847"/>
                      <a:gd name="connsiteY22" fmla="*/ 157162 h 176212"/>
                      <a:gd name="connsiteX23" fmla="*/ 64410 w 135847"/>
                      <a:gd name="connsiteY23" fmla="*/ 169069 h 176212"/>
                      <a:gd name="connsiteX24" fmla="*/ 45360 w 135847"/>
                      <a:gd name="connsiteY24" fmla="*/ 176212 h 176212"/>
                      <a:gd name="connsiteX25" fmla="*/ 28691 w 135847"/>
                      <a:gd name="connsiteY25" fmla="*/ 166687 h 176212"/>
                      <a:gd name="connsiteX26" fmla="*/ 23928 w 135847"/>
                      <a:gd name="connsiteY26" fmla="*/ 157162 h 176212"/>
                      <a:gd name="connsiteX27" fmla="*/ 16282 w 135847"/>
                      <a:gd name="connsiteY27" fmla="*/ 159286 h 176212"/>
                      <a:gd name="connsiteX28" fmla="*/ 7852 w 135847"/>
                      <a:gd name="connsiteY28" fmla="*/ 154576 h 176212"/>
                      <a:gd name="connsiteX29" fmla="*/ 798 w 135847"/>
                      <a:gd name="connsiteY29" fmla="*/ 144819 h 176212"/>
                      <a:gd name="connsiteX30" fmla="*/ 0 w 135847"/>
                      <a:gd name="connsiteY30" fmla="*/ 137662 h 176212"/>
                      <a:gd name="connsiteX31" fmla="*/ 9641 w 135847"/>
                      <a:gd name="connsiteY31" fmla="*/ 126206 h 176212"/>
                      <a:gd name="connsiteX32" fmla="*/ 21547 w 135847"/>
                      <a:gd name="connsiteY32" fmla="*/ 107156 h 176212"/>
                      <a:gd name="connsiteX33" fmla="*/ 26426 w 135847"/>
                      <a:gd name="connsiteY33" fmla="*/ 76534 h 176212"/>
                      <a:gd name="connsiteX34" fmla="*/ 24276 w 135847"/>
                      <a:gd name="connsiteY34" fmla="*/ 33377 h 176212"/>
                      <a:gd name="connsiteX35" fmla="*/ 23709 w 135847"/>
                      <a:gd name="connsiteY35" fmla="*/ 20917 h 176212"/>
                      <a:gd name="connsiteX36" fmla="*/ 4878 w 135847"/>
                      <a:gd name="connsiteY36" fmla="*/ 0 h 176212"/>
                      <a:gd name="connsiteX0" fmla="*/ 4878 w 135847"/>
                      <a:gd name="connsiteY0" fmla="*/ 0 h 176212"/>
                      <a:gd name="connsiteX1" fmla="*/ 27674 w 135847"/>
                      <a:gd name="connsiteY1" fmla="*/ 18085 h 176212"/>
                      <a:gd name="connsiteX2" fmla="*/ 29373 w 135847"/>
                      <a:gd name="connsiteY2" fmla="*/ 29412 h 176212"/>
                      <a:gd name="connsiteX3" fmla="*/ 28691 w 135847"/>
                      <a:gd name="connsiteY3" fmla="*/ 47625 h 176212"/>
                      <a:gd name="connsiteX4" fmla="*/ 31072 w 135847"/>
                      <a:gd name="connsiteY4" fmla="*/ 92869 h 176212"/>
                      <a:gd name="connsiteX5" fmla="*/ 21547 w 135847"/>
                      <a:gd name="connsiteY5" fmla="*/ 116681 h 176212"/>
                      <a:gd name="connsiteX6" fmla="*/ 19166 w 135847"/>
                      <a:gd name="connsiteY6" fmla="*/ 138112 h 176212"/>
                      <a:gd name="connsiteX7" fmla="*/ 31072 w 135847"/>
                      <a:gd name="connsiteY7" fmla="*/ 154781 h 176212"/>
                      <a:gd name="connsiteX8" fmla="*/ 48333 w 135847"/>
                      <a:gd name="connsiteY8" fmla="*/ 167537 h 176212"/>
                      <a:gd name="connsiteX9" fmla="*/ 59647 w 135847"/>
                      <a:gd name="connsiteY9" fmla="*/ 164306 h 176212"/>
                      <a:gd name="connsiteX10" fmla="*/ 73935 w 135847"/>
                      <a:gd name="connsiteY10" fmla="*/ 150019 h 176212"/>
                      <a:gd name="connsiteX11" fmla="*/ 90603 w 135847"/>
                      <a:gd name="connsiteY11" fmla="*/ 138112 h 176212"/>
                      <a:gd name="connsiteX12" fmla="*/ 107272 w 135847"/>
                      <a:gd name="connsiteY12" fmla="*/ 145256 h 176212"/>
                      <a:gd name="connsiteX13" fmla="*/ 126322 w 135847"/>
                      <a:gd name="connsiteY13" fmla="*/ 135731 h 176212"/>
                      <a:gd name="connsiteX14" fmla="*/ 131085 w 135847"/>
                      <a:gd name="connsiteY14" fmla="*/ 123825 h 176212"/>
                      <a:gd name="connsiteX15" fmla="*/ 116797 w 135847"/>
                      <a:gd name="connsiteY15" fmla="*/ 107156 h 176212"/>
                      <a:gd name="connsiteX16" fmla="*/ 126785 w 135847"/>
                      <a:gd name="connsiteY16" fmla="*/ 111533 h 176212"/>
                      <a:gd name="connsiteX17" fmla="*/ 131085 w 135847"/>
                      <a:gd name="connsiteY17" fmla="*/ 116681 h 176212"/>
                      <a:gd name="connsiteX18" fmla="*/ 135281 w 135847"/>
                      <a:gd name="connsiteY18" fmla="*/ 120595 h 176212"/>
                      <a:gd name="connsiteX19" fmla="*/ 135847 w 135847"/>
                      <a:gd name="connsiteY19" fmla="*/ 130969 h 176212"/>
                      <a:gd name="connsiteX20" fmla="*/ 119178 w 135847"/>
                      <a:gd name="connsiteY20" fmla="*/ 145256 h 176212"/>
                      <a:gd name="connsiteX21" fmla="*/ 97747 w 135847"/>
                      <a:gd name="connsiteY21" fmla="*/ 152400 h 176212"/>
                      <a:gd name="connsiteX22" fmla="*/ 83460 w 135847"/>
                      <a:gd name="connsiteY22" fmla="*/ 157162 h 176212"/>
                      <a:gd name="connsiteX23" fmla="*/ 64410 w 135847"/>
                      <a:gd name="connsiteY23" fmla="*/ 169069 h 176212"/>
                      <a:gd name="connsiteX24" fmla="*/ 45360 w 135847"/>
                      <a:gd name="connsiteY24" fmla="*/ 176212 h 176212"/>
                      <a:gd name="connsiteX25" fmla="*/ 28691 w 135847"/>
                      <a:gd name="connsiteY25" fmla="*/ 166687 h 176212"/>
                      <a:gd name="connsiteX26" fmla="*/ 21380 w 135847"/>
                      <a:gd name="connsiteY26" fmla="*/ 160135 h 176212"/>
                      <a:gd name="connsiteX27" fmla="*/ 16282 w 135847"/>
                      <a:gd name="connsiteY27" fmla="*/ 159286 h 176212"/>
                      <a:gd name="connsiteX28" fmla="*/ 7852 w 135847"/>
                      <a:gd name="connsiteY28" fmla="*/ 154576 h 176212"/>
                      <a:gd name="connsiteX29" fmla="*/ 798 w 135847"/>
                      <a:gd name="connsiteY29" fmla="*/ 144819 h 176212"/>
                      <a:gd name="connsiteX30" fmla="*/ 0 w 135847"/>
                      <a:gd name="connsiteY30" fmla="*/ 137662 h 176212"/>
                      <a:gd name="connsiteX31" fmla="*/ 9641 w 135847"/>
                      <a:gd name="connsiteY31" fmla="*/ 126206 h 176212"/>
                      <a:gd name="connsiteX32" fmla="*/ 21547 w 135847"/>
                      <a:gd name="connsiteY32" fmla="*/ 107156 h 176212"/>
                      <a:gd name="connsiteX33" fmla="*/ 26426 w 135847"/>
                      <a:gd name="connsiteY33" fmla="*/ 76534 h 176212"/>
                      <a:gd name="connsiteX34" fmla="*/ 24276 w 135847"/>
                      <a:gd name="connsiteY34" fmla="*/ 33377 h 176212"/>
                      <a:gd name="connsiteX35" fmla="*/ 23709 w 135847"/>
                      <a:gd name="connsiteY35" fmla="*/ 20917 h 176212"/>
                      <a:gd name="connsiteX36" fmla="*/ 4878 w 135847"/>
                      <a:gd name="connsiteY36" fmla="*/ 0 h 176212"/>
                      <a:gd name="connsiteX0" fmla="*/ 5303 w 135847"/>
                      <a:gd name="connsiteY0" fmla="*/ 0 h 171964"/>
                      <a:gd name="connsiteX1" fmla="*/ 27674 w 135847"/>
                      <a:gd name="connsiteY1" fmla="*/ 13837 h 171964"/>
                      <a:gd name="connsiteX2" fmla="*/ 29373 w 135847"/>
                      <a:gd name="connsiteY2" fmla="*/ 25164 h 171964"/>
                      <a:gd name="connsiteX3" fmla="*/ 28691 w 135847"/>
                      <a:gd name="connsiteY3" fmla="*/ 43377 h 171964"/>
                      <a:gd name="connsiteX4" fmla="*/ 31072 w 135847"/>
                      <a:gd name="connsiteY4" fmla="*/ 88621 h 171964"/>
                      <a:gd name="connsiteX5" fmla="*/ 21547 w 135847"/>
                      <a:gd name="connsiteY5" fmla="*/ 112433 h 171964"/>
                      <a:gd name="connsiteX6" fmla="*/ 19166 w 135847"/>
                      <a:gd name="connsiteY6" fmla="*/ 133864 h 171964"/>
                      <a:gd name="connsiteX7" fmla="*/ 31072 w 135847"/>
                      <a:gd name="connsiteY7" fmla="*/ 150533 h 171964"/>
                      <a:gd name="connsiteX8" fmla="*/ 48333 w 135847"/>
                      <a:gd name="connsiteY8" fmla="*/ 163289 h 171964"/>
                      <a:gd name="connsiteX9" fmla="*/ 59647 w 135847"/>
                      <a:gd name="connsiteY9" fmla="*/ 160058 h 171964"/>
                      <a:gd name="connsiteX10" fmla="*/ 73935 w 135847"/>
                      <a:gd name="connsiteY10" fmla="*/ 145771 h 171964"/>
                      <a:gd name="connsiteX11" fmla="*/ 90603 w 135847"/>
                      <a:gd name="connsiteY11" fmla="*/ 133864 h 171964"/>
                      <a:gd name="connsiteX12" fmla="*/ 107272 w 135847"/>
                      <a:gd name="connsiteY12" fmla="*/ 141008 h 171964"/>
                      <a:gd name="connsiteX13" fmla="*/ 126322 w 135847"/>
                      <a:gd name="connsiteY13" fmla="*/ 131483 h 171964"/>
                      <a:gd name="connsiteX14" fmla="*/ 131085 w 135847"/>
                      <a:gd name="connsiteY14" fmla="*/ 119577 h 171964"/>
                      <a:gd name="connsiteX15" fmla="*/ 116797 w 135847"/>
                      <a:gd name="connsiteY15" fmla="*/ 102908 h 171964"/>
                      <a:gd name="connsiteX16" fmla="*/ 126785 w 135847"/>
                      <a:gd name="connsiteY16" fmla="*/ 107285 h 171964"/>
                      <a:gd name="connsiteX17" fmla="*/ 131085 w 135847"/>
                      <a:gd name="connsiteY17" fmla="*/ 112433 h 171964"/>
                      <a:gd name="connsiteX18" fmla="*/ 135281 w 135847"/>
                      <a:gd name="connsiteY18" fmla="*/ 116347 h 171964"/>
                      <a:gd name="connsiteX19" fmla="*/ 135847 w 135847"/>
                      <a:gd name="connsiteY19" fmla="*/ 126721 h 171964"/>
                      <a:gd name="connsiteX20" fmla="*/ 119178 w 135847"/>
                      <a:gd name="connsiteY20" fmla="*/ 141008 h 171964"/>
                      <a:gd name="connsiteX21" fmla="*/ 97747 w 135847"/>
                      <a:gd name="connsiteY21" fmla="*/ 148152 h 171964"/>
                      <a:gd name="connsiteX22" fmla="*/ 83460 w 135847"/>
                      <a:gd name="connsiteY22" fmla="*/ 152914 h 171964"/>
                      <a:gd name="connsiteX23" fmla="*/ 64410 w 135847"/>
                      <a:gd name="connsiteY23" fmla="*/ 164821 h 171964"/>
                      <a:gd name="connsiteX24" fmla="*/ 45360 w 135847"/>
                      <a:gd name="connsiteY24" fmla="*/ 171964 h 171964"/>
                      <a:gd name="connsiteX25" fmla="*/ 28691 w 135847"/>
                      <a:gd name="connsiteY25" fmla="*/ 162439 h 171964"/>
                      <a:gd name="connsiteX26" fmla="*/ 21380 w 135847"/>
                      <a:gd name="connsiteY26" fmla="*/ 155887 h 171964"/>
                      <a:gd name="connsiteX27" fmla="*/ 16282 w 135847"/>
                      <a:gd name="connsiteY27" fmla="*/ 155038 h 171964"/>
                      <a:gd name="connsiteX28" fmla="*/ 7852 w 135847"/>
                      <a:gd name="connsiteY28" fmla="*/ 150328 h 171964"/>
                      <a:gd name="connsiteX29" fmla="*/ 798 w 135847"/>
                      <a:gd name="connsiteY29" fmla="*/ 140571 h 171964"/>
                      <a:gd name="connsiteX30" fmla="*/ 0 w 135847"/>
                      <a:gd name="connsiteY30" fmla="*/ 133414 h 171964"/>
                      <a:gd name="connsiteX31" fmla="*/ 9641 w 135847"/>
                      <a:gd name="connsiteY31" fmla="*/ 121958 h 171964"/>
                      <a:gd name="connsiteX32" fmla="*/ 21547 w 135847"/>
                      <a:gd name="connsiteY32" fmla="*/ 102908 h 171964"/>
                      <a:gd name="connsiteX33" fmla="*/ 26426 w 135847"/>
                      <a:gd name="connsiteY33" fmla="*/ 72286 h 171964"/>
                      <a:gd name="connsiteX34" fmla="*/ 24276 w 135847"/>
                      <a:gd name="connsiteY34" fmla="*/ 29129 h 171964"/>
                      <a:gd name="connsiteX35" fmla="*/ 23709 w 135847"/>
                      <a:gd name="connsiteY35" fmla="*/ 16669 h 171964"/>
                      <a:gd name="connsiteX36" fmla="*/ 5303 w 135847"/>
                      <a:gd name="connsiteY36" fmla="*/ 0 h 171964"/>
                      <a:gd name="connsiteX0" fmla="*/ 5303 w 135847"/>
                      <a:gd name="connsiteY0" fmla="*/ 0 h 171964"/>
                      <a:gd name="connsiteX1" fmla="*/ 27674 w 135847"/>
                      <a:gd name="connsiteY1" fmla="*/ 13837 h 171964"/>
                      <a:gd name="connsiteX2" fmla="*/ 29373 w 135847"/>
                      <a:gd name="connsiteY2" fmla="*/ 25164 h 171964"/>
                      <a:gd name="connsiteX3" fmla="*/ 28691 w 135847"/>
                      <a:gd name="connsiteY3" fmla="*/ 43377 h 171964"/>
                      <a:gd name="connsiteX4" fmla="*/ 31072 w 135847"/>
                      <a:gd name="connsiteY4" fmla="*/ 88621 h 171964"/>
                      <a:gd name="connsiteX5" fmla="*/ 21547 w 135847"/>
                      <a:gd name="connsiteY5" fmla="*/ 112433 h 171964"/>
                      <a:gd name="connsiteX6" fmla="*/ 19166 w 135847"/>
                      <a:gd name="connsiteY6" fmla="*/ 133864 h 171964"/>
                      <a:gd name="connsiteX7" fmla="*/ 31072 w 135847"/>
                      <a:gd name="connsiteY7" fmla="*/ 150533 h 171964"/>
                      <a:gd name="connsiteX8" fmla="*/ 48333 w 135847"/>
                      <a:gd name="connsiteY8" fmla="*/ 163289 h 171964"/>
                      <a:gd name="connsiteX9" fmla="*/ 59647 w 135847"/>
                      <a:gd name="connsiteY9" fmla="*/ 160058 h 171964"/>
                      <a:gd name="connsiteX10" fmla="*/ 73935 w 135847"/>
                      <a:gd name="connsiteY10" fmla="*/ 145771 h 171964"/>
                      <a:gd name="connsiteX11" fmla="*/ 90603 w 135847"/>
                      <a:gd name="connsiteY11" fmla="*/ 133864 h 171964"/>
                      <a:gd name="connsiteX12" fmla="*/ 107272 w 135847"/>
                      <a:gd name="connsiteY12" fmla="*/ 141008 h 171964"/>
                      <a:gd name="connsiteX13" fmla="*/ 126322 w 135847"/>
                      <a:gd name="connsiteY13" fmla="*/ 131483 h 171964"/>
                      <a:gd name="connsiteX14" fmla="*/ 131085 w 135847"/>
                      <a:gd name="connsiteY14" fmla="*/ 119577 h 171964"/>
                      <a:gd name="connsiteX15" fmla="*/ 116797 w 135847"/>
                      <a:gd name="connsiteY15" fmla="*/ 102908 h 171964"/>
                      <a:gd name="connsiteX16" fmla="*/ 126785 w 135847"/>
                      <a:gd name="connsiteY16" fmla="*/ 107285 h 171964"/>
                      <a:gd name="connsiteX17" fmla="*/ 131085 w 135847"/>
                      <a:gd name="connsiteY17" fmla="*/ 112433 h 171964"/>
                      <a:gd name="connsiteX18" fmla="*/ 135281 w 135847"/>
                      <a:gd name="connsiteY18" fmla="*/ 116347 h 171964"/>
                      <a:gd name="connsiteX19" fmla="*/ 135847 w 135847"/>
                      <a:gd name="connsiteY19" fmla="*/ 126721 h 171964"/>
                      <a:gd name="connsiteX20" fmla="*/ 119178 w 135847"/>
                      <a:gd name="connsiteY20" fmla="*/ 141008 h 171964"/>
                      <a:gd name="connsiteX21" fmla="*/ 97747 w 135847"/>
                      <a:gd name="connsiteY21" fmla="*/ 148152 h 171964"/>
                      <a:gd name="connsiteX22" fmla="*/ 83460 w 135847"/>
                      <a:gd name="connsiteY22" fmla="*/ 152914 h 171964"/>
                      <a:gd name="connsiteX23" fmla="*/ 64410 w 135847"/>
                      <a:gd name="connsiteY23" fmla="*/ 164821 h 171964"/>
                      <a:gd name="connsiteX24" fmla="*/ 45360 w 135847"/>
                      <a:gd name="connsiteY24" fmla="*/ 171964 h 171964"/>
                      <a:gd name="connsiteX25" fmla="*/ 28691 w 135847"/>
                      <a:gd name="connsiteY25" fmla="*/ 162439 h 171964"/>
                      <a:gd name="connsiteX26" fmla="*/ 21380 w 135847"/>
                      <a:gd name="connsiteY26" fmla="*/ 155887 h 171964"/>
                      <a:gd name="connsiteX27" fmla="*/ 16282 w 135847"/>
                      <a:gd name="connsiteY27" fmla="*/ 155038 h 171964"/>
                      <a:gd name="connsiteX28" fmla="*/ 7852 w 135847"/>
                      <a:gd name="connsiteY28" fmla="*/ 150328 h 171964"/>
                      <a:gd name="connsiteX29" fmla="*/ 798 w 135847"/>
                      <a:gd name="connsiteY29" fmla="*/ 140571 h 171964"/>
                      <a:gd name="connsiteX30" fmla="*/ 0 w 135847"/>
                      <a:gd name="connsiteY30" fmla="*/ 133414 h 171964"/>
                      <a:gd name="connsiteX31" fmla="*/ 9641 w 135847"/>
                      <a:gd name="connsiteY31" fmla="*/ 121958 h 171964"/>
                      <a:gd name="connsiteX32" fmla="*/ 21547 w 135847"/>
                      <a:gd name="connsiteY32" fmla="*/ 102908 h 171964"/>
                      <a:gd name="connsiteX33" fmla="*/ 26541 w 135847"/>
                      <a:gd name="connsiteY33" fmla="*/ 88313 h 171964"/>
                      <a:gd name="connsiteX34" fmla="*/ 26426 w 135847"/>
                      <a:gd name="connsiteY34" fmla="*/ 72286 h 171964"/>
                      <a:gd name="connsiteX35" fmla="*/ 24276 w 135847"/>
                      <a:gd name="connsiteY35" fmla="*/ 29129 h 171964"/>
                      <a:gd name="connsiteX36" fmla="*/ 23709 w 135847"/>
                      <a:gd name="connsiteY36" fmla="*/ 16669 h 171964"/>
                      <a:gd name="connsiteX37" fmla="*/ 5303 w 135847"/>
                      <a:gd name="connsiteY37" fmla="*/ 0 h 171964"/>
                      <a:gd name="connsiteX0" fmla="*/ 4505 w 135049"/>
                      <a:gd name="connsiteY0" fmla="*/ 0 h 171964"/>
                      <a:gd name="connsiteX1" fmla="*/ 26876 w 135049"/>
                      <a:gd name="connsiteY1" fmla="*/ 13837 h 171964"/>
                      <a:gd name="connsiteX2" fmla="*/ 28575 w 135049"/>
                      <a:gd name="connsiteY2" fmla="*/ 25164 h 171964"/>
                      <a:gd name="connsiteX3" fmla="*/ 27893 w 135049"/>
                      <a:gd name="connsiteY3" fmla="*/ 43377 h 171964"/>
                      <a:gd name="connsiteX4" fmla="*/ 30274 w 135049"/>
                      <a:gd name="connsiteY4" fmla="*/ 88621 h 171964"/>
                      <a:gd name="connsiteX5" fmla="*/ 20749 w 135049"/>
                      <a:gd name="connsiteY5" fmla="*/ 112433 h 171964"/>
                      <a:gd name="connsiteX6" fmla="*/ 18368 w 135049"/>
                      <a:gd name="connsiteY6" fmla="*/ 133864 h 171964"/>
                      <a:gd name="connsiteX7" fmla="*/ 30274 w 135049"/>
                      <a:gd name="connsiteY7" fmla="*/ 150533 h 171964"/>
                      <a:gd name="connsiteX8" fmla="*/ 47535 w 135049"/>
                      <a:gd name="connsiteY8" fmla="*/ 163289 h 171964"/>
                      <a:gd name="connsiteX9" fmla="*/ 58849 w 135049"/>
                      <a:gd name="connsiteY9" fmla="*/ 160058 h 171964"/>
                      <a:gd name="connsiteX10" fmla="*/ 73137 w 135049"/>
                      <a:gd name="connsiteY10" fmla="*/ 145771 h 171964"/>
                      <a:gd name="connsiteX11" fmla="*/ 89805 w 135049"/>
                      <a:gd name="connsiteY11" fmla="*/ 133864 h 171964"/>
                      <a:gd name="connsiteX12" fmla="*/ 106474 w 135049"/>
                      <a:gd name="connsiteY12" fmla="*/ 141008 h 171964"/>
                      <a:gd name="connsiteX13" fmla="*/ 125524 w 135049"/>
                      <a:gd name="connsiteY13" fmla="*/ 131483 h 171964"/>
                      <a:gd name="connsiteX14" fmla="*/ 130287 w 135049"/>
                      <a:gd name="connsiteY14" fmla="*/ 119577 h 171964"/>
                      <a:gd name="connsiteX15" fmla="*/ 115999 w 135049"/>
                      <a:gd name="connsiteY15" fmla="*/ 102908 h 171964"/>
                      <a:gd name="connsiteX16" fmla="*/ 125987 w 135049"/>
                      <a:gd name="connsiteY16" fmla="*/ 107285 h 171964"/>
                      <a:gd name="connsiteX17" fmla="*/ 130287 w 135049"/>
                      <a:gd name="connsiteY17" fmla="*/ 112433 h 171964"/>
                      <a:gd name="connsiteX18" fmla="*/ 134483 w 135049"/>
                      <a:gd name="connsiteY18" fmla="*/ 116347 h 171964"/>
                      <a:gd name="connsiteX19" fmla="*/ 135049 w 135049"/>
                      <a:gd name="connsiteY19" fmla="*/ 126721 h 171964"/>
                      <a:gd name="connsiteX20" fmla="*/ 118380 w 135049"/>
                      <a:gd name="connsiteY20" fmla="*/ 141008 h 171964"/>
                      <a:gd name="connsiteX21" fmla="*/ 96949 w 135049"/>
                      <a:gd name="connsiteY21" fmla="*/ 148152 h 171964"/>
                      <a:gd name="connsiteX22" fmla="*/ 82662 w 135049"/>
                      <a:gd name="connsiteY22" fmla="*/ 152914 h 171964"/>
                      <a:gd name="connsiteX23" fmla="*/ 63612 w 135049"/>
                      <a:gd name="connsiteY23" fmla="*/ 164821 h 171964"/>
                      <a:gd name="connsiteX24" fmla="*/ 44562 w 135049"/>
                      <a:gd name="connsiteY24" fmla="*/ 171964 h 171964"/>
                      <a:gd name="connsiteX25" fmla="*/ 27893 w 135049"/>
                      <a:gd name="connsiteY25" fmla="*/ 162439 h 171964"/>
                      <a:gd name="connsiteX26" fmla="*/ 20582 w 135049"/>
                      <a:gd name="connsiteY26" fmla="*/ 155887 h 171964"/>
                      <a:gd name="connsiteX27" fmla="*/ 15484 w 135049"/>
                      <a:gd name="connsiteY27" fmla="*/ 155038 h 171964"/>
                      <a:gd name="connsiteX28" fmla="*/ 7054 w 135049"/>
                      <a:gd name="connsiteY28" fmla="*/ 150328 h 171964"/>
                      <a:gd name="connsiteX29" fmla="*/ 0 w 135049"/>
                      <a:gd name="connsiteY29" fmla="*/ 140571 h 171964"/>
                      <a:gd name="connsiteX30" fmla="*/ 476 w 135049"/>
                      <a:gd name="connsiteY30" fmla="*/ 134264 h 171964"/>
                      <a:gd name="connsiteX31" fmla="*/ 8843 w 135049"/>
                      <a:gd name="connsiteY31" fmla="*/ 121958 h 171964"/>
                      <a:gd name="connsiteX32" fmla="*/ 20749 w 135049"/>
                      <a:gd name="connsiteY32" fmla="*/ 102908 h 171964"/>
                      <a:gd name="connsiteX33" fmla="*/ 25743 w 135049"/>
                      <a:gd name="connsiteY33" fmla="*/ 88313 h 171964"/>
                      <a:gd name="connsiteX34" fmla="*/ 25628 w 135049"/>
                      <a:gd name="connsiteY34" fmla="*/ 72286 h 171964"/>
                      <a:gd name="connsiteX35" fmla="*/ 23478 w 135049"/>
                      <a:gd name="connsiteY35" fmla="*/ 29129 h 171964"/>
                      <a:gd name="connsiteX36" fmla="*/ 22911 w 135049"/>
                      <a:gd name="connsiteY36" fmla="*/ 16669 h 171964"/>
                      <a:gd name="connsiteX37" fmla="*/ 4505 w 135049"/>
                      <a:gd name="connsiteY37" fmla="*/ 0 h 171964"/>
                      <a:gd name="connsiteX0" fmla="*/ 4188 w 134732"/>
                      <a:gd name="connsiteY0" fmla="*/ 0 h 171964"/>
                      <a:gd name="connsiteX1" fmla="*/ 26559 w 134732"/>
                      <a:gd name="connsiteY1" fmla="*/ 13837 h 171964"/>
                      <a:gd name="connsiteX2" fmla="*/ 28258 w 134732"/>
                      <a:gd name="connsiteY2" fmla="*/ 25164 h 171964"/>
                      <a:gd name="connsiteX3" fmla="*/ 27576 w 134732"/>
                      <a:gd name="connsiteY3" fmla="*/ 43377 h 171964"/>
                      <a:gd name="connsiteX4" fmla="*/ 29957 w 134732"/>
                      <a:gd name="connsiteY4" fmla="*/ 88621 h 171964"/>
                      <a:gd name="connsiteX5" fmla="*/ 20432 w 134732"/>
                      <a:gd name="connsiteY5" fmla="*/ 112433 h 171964"/>
                      <a:gd name="connsiteX6" fmla="*/ 18051 w 134732"/>
                      <a:gd name="connsiteY6" fmla="*/ 133864 h 171964"/>
                      <a:gd name="connsiteX7" fmla="*/ 29957 w 134732"/>
                      <a:gd name="connsiteY7" fmla="*/ 150533 h 171964"/>
                      <a:gd name="connsiteX8" fmla="*/ 47218 w 134732"/>
                      <a:gd name="connsiteY8" fmla="*/ 163289 h 171964"/>
                      <a:gd name="connsiteX9" fmla="*/ 58532 w 134732"/>
                      <a:gd name="connsiteY9" fmla="*/ 160058 h 171964"/>
                      <a:gd name="connsiteX10" fmla="*/ 72820 w 134732"/>
                      <a:gd name="connsiteY10" fmla="*/ 145771 h 171964"/>
                      <a:gd name="connsiteX11" fmla="*/ 89488 w 134732"/>
                      <a:gd name="connsiteY11" fmla="*/ 133864 h 171964"/>
                      <a:gd name="connsiteX12" fmla="*/ 106157 w 134732"/>
                      <a:gd name="connsiteY12" fmla="*/ 141008 h 171964"/>
                      <a:gd name="connsiteX13" fmla="*/ 125207 w 134732"/>
                      <a:gd name="connsiteY13" fmla="*/ 131483 h 171964"/>
                      <a:gd name="connsiteX14" fmla="*/ 129970 w 134732"/>
                      <a:gd name="connsiteY14" fmla="*/ 119577 h 171964"/>
                      <a:gd name="connsiteX15" fmla="*/ 115682 w 134732"/>
                      <a:gd name="connsiteY15" fmla="*/ 102908 h 171964"/>
                      <a:gd name="connsiteX16" fmla="*/ 125670 w 134732"/>
                      <a:gd name="connsiteY16" fmla="*/ 107285 h 171964"/>
                      <a:gd name="connsiteX17" fmla="*/ 129970 w 134732"/>
                      <a:gd name="connsiteY17" fmla="*/ 112433 h 171964"/>
                      <a:gd name="connsiteX18" fmla="*/ 134166 w 134732"/>
                      <a:gd name="connsiteY18" fmla="*/ 116347 h 171964"/>
                      <a:gd name="connsiteX19" fmla="*/ 134732 w 134732"/>
                      <a:gd name="connsiteY19" fmla="*/ 126721 h 171964"/>
                      <a:gd name="connsiteX20" fmla="*/ 118063 w 134732"/>
                      <a:gd name="connsiteY20" fmla="*/ 141008 h 171964"/>
                      <a:gd name="connsiteX21" fmla="*/ 96632 w 134732"/>
                      <a:gd name="connsiteY21" fmla="*/ 148152 h 171964"/>
                      <a:gd name="connsiteX22" fmla="*/ 82345 w 134732"/>
                      <a:gd name="connsiteY22" fmla="*/ 152914 h 171964"/>
                      <a:gd name="connsiteX23" fmla="*/ 63295 w 134732"/>
                      <a:gd name="connsiteY23" fmla="*/ 164821 h 171964"/>
                      <a:gd name="connsiteX24" fmla="*/ 44245 w 134732"/>
                      <a:gd name="connsiteY24" fmla="*/ 171964 h 171964"/>
                      <a:gd name="connsiteX25" fmla="*/ 27576 w 134732"/>
                      <a:gd name="connsiteY25" fmla="*/ 162439 h 171964"/>
                      <a:gd name="connsiteX26" fmla="*/ 20265 w 134732"/>
                      <a:gd name="connsiteY26" fmla="*/ 155887 h 171964"/>
                      <a:gd name="connsiteX27" fmla="*/ 15167 w 134732"/>
                      <a:gd name="connsiteY27" fmla="*/ 155038 h 171964"/>
                      <a:gd name="connsiteX28" fmla="*/ 6737 w 134732"/>
                      <a:gd name="connsiteY28" fmla="*/ 150328 h 171964"/>
                      <a:gd name="connsiteX29" fmla="*/ 1382 w 134732"/>
                      <a:gd name="connsiteY29" fmla="*/ 137598 h 171964"/>
                      <a:gd name="connsiteX30" fmla="*/ 159 w 134732"/>
                      <a:gd name="connsiteY30" fmla="*/ 134264 h 171964"/>
                      <a:gd name="connsiteX31" fmla="*/ 8526 w 134732"/>
                      <a:gd name="connsiteY31" fmla="*/ 121958 h 171964"/>
                      <a:gd name="connsiteX32" fmla="*/ 20432 w 134732"/>
                      <a:gd name="connsiteY32" fmla="*/ 102908 h 171964"/>
                      <a:gd name="connsiteX33" fmla="*/ 25426 w 134732"/>
                      <a:gd name="connsiteY33" fmla="*/ 88313 h 171964"/>
                      <a:gd name="connsiteX34" fmla="*/ 25311 w 134732"/>
                      <a:gd name="connsiteY34" fmla="*/ 72286 h 171964"/>
                      <a:gd name="connsiteX35" fmla="*/ 23161 w 134732"/>
                      <a:gd name="connsiteY35" fmla="*/ 29129 h 171964"/>
                      <a:gd name="connsiteX36" fmla="*/ 22594 w 134732"/>
                      <a:gd name="connsiteY36" fmla="*/ 16669 h 171964"/>
                      <a:gd name="connsiteX37" fmla="*/ 4188 w 134732"/>
                      <a:gd name="connsiteY37" fmla="*/ 0 h 171964"/>
                      <a:gd name="connsiteX0" fmla="*/ 4188 w 134732"/>
                      <a:gd name="connsiteY0" fmla="*/ 0 h 171964"/>
                      <a:gd name="connsiteX1" fmla="*/ 26559 w 134732"/>
                      <a:gd name="connsiteY1" fmla="*/ 13837 h 171964"/>
                      <a:gd name="connsiteX2" fmla="*/ 28258 w 134732"/>
                      <a:gd name="connsiteY2" fmla="*/ 25164 h 171964"/>
                      <a:gd name="connsiteX3" fmla="*/ 27576 w 134732"/>
                      <a:gd name="connsiteY3" fmla="*/ 43377 h 171964"/>
                      <a:gd name="connsiteX4" fmla="*/ 29957 w 134732"/>
                      <a:gd name="connsiteY4" fmla="*/ 88621 h 171964"/>
                      <a:gd name="connsiteX5" fmla="*/ 20432 w 134732"/>
                      <a:gd name="connsiteY5" fmla="*/ 112433 h 171964"/>
                      <a:gd name="connsiteX6" fmla="*/ 18051 w 134732"/>
                      <a:gd name="connsiteY6" fmla="*/ 133864 h 171964"/>
                      <a:gd name="connsiteX7" fmla="*/ 29957 w 134732"/>
                      <a:gd name="connsiteY7" fmla="*/ 150533 h 171964"/>
                      <a:gd name="connsiteX8" fmla="*/ 47218 w 134732"/>
                      <a:gd name="connsiteY8" fmla="*/ 163289 h 171964"/>
                      <a:gd name="connsiteX9" fmla="*/ 58532 w 134732"/>
                      <a:gd name="connsiteY9" fmla="*/ 160058 h 171964"/>
                      <a:gd name="connsiteX10" fmla="*/ 72820 w 134732"/>
                      <a:gd name="connsiteY10" fmla="*/ 145771 h 171964"/>
                      <a:gd name="connsiteX11" fmla="*/ 89488 w 134732"/>
                      <a:gd name="connsiteY11" fmla="*/ 133864 h 171964"/>
                      <a:gd name="connsiteX12" fmla="*/ 106157 w 134732"/>
                      <a:gd name="connsiteY12" fmla="*/ 141008 h 171964"/>
                      <a:gd name="connsiteX13" fmla="*/ 125207 w 134732"/>
                      <a:gd name="connsiteY13" fmla="*/ 131483 h 171964"/>
                      <a:gd name="connsiteX14" fmla="*/ 129970 w 134732"/>
                      <a:gd name="connsiteY14" fmla="*/ 119577 h 171964"/>
                      <a:gd name="connsiteX15" fmla="*/ 115682 w 134732"/>
                      <a:gd name="connsiteY15" fmla="*/ 102908 h 171964"/>
                      <a:gd name="connsiteX16" fmla="*/ 125670 w 134732"/>
                      <a:gd name="connsiteY16" fmla="*/ 107285 h 171964"/>
                      <a:gd name="connsiteX17" fmla="*/ 129970 w 134732"/>
                      <a:gd name="connsiteY17" fmla="*/ 112433 h 171964"/>
                      <a:gd name="connsiteX18" fmla="*/ 134166 w 134732"/>
                      <a:gd name="connsiteY18" fmla="*/ 116347 h 171964"/>
                      <a:gd name="connsiteX19" fmla="*/ 134732 w 134732"/>
                      <a:gd name="connsiteY19" fmla="*/ 126721 h 171964"/>
                      <a:gd name="connsiteX20" fmla="*/ 118063 w 134732"/>
                      <a:gd name="connsiteY20" fmla="*/ 141008 h 171964"/>
                      <a:gd name="connsiteX21" fmla="*/ 96632 w 134732"/>
                      <a:gd name="connsiteY21" fmla="*/ 148152 h 171964"/>
                      <a:gd name="connsiteX22" fmla="*/ 82345 w 134732"/>
                      <a:gd name="connsiteY22" fmla="*/ 152914 h 171964"/>
                      <a:gd name="connsiteX23" fmla="*/ 63295 w 134732"/>
                      <a:gd name="connsiteY23" fmla="*/ 164821 h 171964"/>
                      <a:gd name="connsiteX24" fmla="*/ 44245 w 134732"/>
                      <a:gd name="connsiteY24" fmla="*/ 171964 h 171964"/>
                      <a:gd name="connsiteX25" fmla="*/ 27576 w 134732"/>
                      <a:gd name="connsiteY25" fmla="*/ 162439 h 171964"/>
                      <a:gd name="connsiteX26" fmla="*/ 20265 w 134732"/>
                      <a:gd name="connsiteY26" fmla="*/ 155887 h 171964"/>
                      <a:gd name="connsiteX27" fmla="*/ 15167 w 134732"/>
                      <a:gd name="connsiteY27" fmla="*/ 155038 h 171964"/>
                      <a:gd name="connsiteX28" fmla="*/ 7162 w 134732"/>
                      <a:gd name="connsiteY28" fmla="*/ 147355 h 171964"/>
                      <a:gd name="connsiteX29" fmla="*/ 1382 w 134732"/>
                      <a:gd name="connsiteY29" fmla="*/ 137598 h 171964"/>
                      <a:gd name="connsiteX30" fmla="*/ 159 w 134732"/>
                      <a:gd name="connsiteY30" fmla="*/ 134264 h 171964"/>
                      <a:gd name="connsiteX31" fmla="*/ 8526 w 134732"/>
                      <a:gd name="connsiteY31" fmla="*/ 121958 h 171964"/>
                      <a:gd name="connsiteX32" fmla="*/ 20432 w 134732"/>
                      <a:gd name="connsiteY32" fmla="*/ 102908 h 171964"/>
                      <a:gd name="connsiteX33" fmla="*/ 25426 w 134732"/>
                      <a:gd name="connsiteY33" fmla="*/ 88313 h 171964"/>
                      <a:gd name="connsiteX34" fmla="*/ 25311 w 134732"/>
                      <a:gd name="connsiteY34" fmla="*/ 72286 h 171964"/>
                      <a:gd name="connsiteX35" fmla="*/ 23161 w 134732"/>
                      <a:gd name="connsiteY35" fmla="*/ 29129 h 171964"/>
                      <a:gd name="connsiteX36" fmla="*/ 22594 w 134732"/>
                      <a:gd name="connsiteY36" fmla="*/ 16669 h 171964"/>
                      <a:gd name="connsiteX37" fmla="*/ 4188 w 134732"/>
                      <a:gd name="connsiteY37" fmla="*/ 0 h 171964"/>
                      <a:gd name="connsiteX0" fmla="*/ 4188 w 134732"/>
                      <a:gd name="connsiteY0" fmla="*/ 0 h 171964"/>
                      <a:gd name="connsiteX1" fmla="*/ 26559 w 134732"/>
                      <a:gd name="connsiteY1" fmla="*/ 13837 h 171964"/>
                      <a:gd name="connsiteX2" fmla="*/ 28258 w 134732"/>
                      <a:gd name="connsiteY2" fmla="*/ 25164 h 171964"/>
                      <a:gd name="connsiteX3" fmla="*/ 27576 w 134732"/>
                      <a:gd name="connsiteY3" fmla="*/ 43377 h 171964"/>
                      <a:gd name="connsiteX4" fmla="*/ 29957 w 134732"/>
                      <a:gd name="connsiteY4" fmla="*/ 88621 h 171964"/>
                      <a:gd name="connsiteX5" fmla="*/ 20432 w 134732"/>
                      <a:gd name="connsiteY5" fmla="*/ 112433 h 171964"/>
                      <a:gd name="connsiteX6" fmla="*/ 18051 w 134732"/>
                      <a:gd name="connsiteY6" fmla="*/ 133864 h 171964"/>
                      <a:gd name="connsiteX7" fmla="*/ 29957 w 134732"/>
                      <a:gd name="connsiteY7" fmla="*/ 150533 h 171964"/>
                      <a:gd name="connsiteX8" fmla="*/ 47218 w 134732"/>
                      <a:gd name="connsiteY8" fmla="*/ 163289 h 171964"/>
                      <a:gd name="connsiteX9" fmla="*/ 58532 w 134732"/>
                      <a:gd name="connsiteY9" fmla="*/ 160058 h 171964"/>
                      <a:gd name="connsiteX10" fmla="*/ 72820 w 134732"/>
                      <a:gd name="connsiteY10" fmla="*/ 145771 h 171964"/>
                      <a:gd name="connsiteX11" fmla="*/ 89488 w 134732"/>
                      <a:gd name="connsiteY11" fmla="*/ 133864 h 171964"/>
                      <a:gd name="connsiteX12" fmla="*/ 106157 w 134732"/>
                      <a:gd name="connsiteY12" fmla="*/ 141008 h 171964"/>
                      <a:gd name="connsiteX13" fmla="*/ 125207 w 134732"/>
                      <a:gd name="connsiteY13" fmla="*/ 131483 h 171964"/>
                      <a:gd name="connsiteX14" fmla="*/ 129970 w 134732"/>
                      <a:gd name="connsiteY14" fmla="*/ 119577 h 171964"/>
                      <a:gd name="connsiteX15" fmla="*/ 115682 w 134732"/>
                      <a:gd name="connsiteY15" fmla="*/ 102908 h 171964"/>
                      <a:gd name="connsiteX16" fmla="*/ 125670 w 134732"/>
                      <a:gd name="connsiteY16" fmla="*/ 107285 h 171964"/>
                      <a:gd name="connsiteX17" fmla="*/ 129970 w 134732"/>
                      <a:gd name="connsiteY17" fmla="*/ 112433 h 171964"/>
                      <a:gd name="connsiteX18" fmla="*/ 134166 w 134732"/>
                      <a:gd name="connsiteY18" fmla="*/ 116347 h 171964"/>
                      <a:gd name="connsiteX19" fmla="*/ 134732 w 134732"/>
                      <a:gd name="connsiteY19" fmla="*/ 126721 h 171964"/>
                      <a:gd name="connsiteX20" fmla="*/ 118063 w 134732"/>
                      <a:gd name="connsiteY20" fmla="*/ 141008 h 171964"/>
                      <a:gd name="connsiteX21" fmla="*/ 96632 w 134732"/>
                      <a:gd name="connsiteY21" fmla="*/ 148152 h 171964"/>
                      <a:gd name="connsiteX22" fmla="*/ 82345 w 134732"/>
                      <a:gd name="connsiteY22" fmla="*/ 152914 h 171964"/>
                      <a:gd name="connsiteX23" fmla="*/ 63295 w 134732"/>
                      <a:gd name="connsiteY23" fmla="*/ 164821 h 171964"/>
                      <a:gd name="connsiteX24" fmla="*/ 44245 w 134732"/>
                      <a:gd name="connsiteY24" fmla="*/ 171964 h 171964"/>
                      <a:gd name="connsiteX25" fmla="*/ 27576 w 134732"/>
                      <a:gd name="connsiteY25" fmla="*/ 162439 h 171964"/>
                      <a:gd name="connsiteX26" fmla="*/ 20265 w 134732"/>
                      <a:gd name="connsiteY26" fmla="*/ 155887 h 171964"/>
                      <a:gd name="connsiteX27" fmla="*/ 15167 w 134732"/>
                      <a:gd name="connsiteY27" fmla="*/ 155038 h 171964"/>
                      <a:gd name="connsiteX28" fmla="*/ 7162 w 134732"/>
                      <a:gd name="connsiteY28" fmla="*/ 147355 h 171964"/>
                      <a:gd name="connsiteX29" fmla="*/ 1382 w 134732"/>
                      <a:gd name="connsiteY29" fmla="*/ 137598 h 171964"/>
                      <a:gd name="connsiteX30" fmla="*/ 159 w 134732"/>
                      <a:gd name="connsiteY30" fmla="*/ 134264 h 171964"/>
                      <a:gd name="connsiteX31" fmla="*/ 8526 w 134732"/>
                      <a:gd name="connsiteY31" fmla="*/ 121958 h 171964"/>
                      <a:gd name="connsiteX32" fmla="*/ 20432 w 134732"/>
                      <a:gd name="connsiteY32" fmla="*/ 102908 h 171964"/>
                      <a:gd name="connsiteX33" fmla="*/ 25426 w 134732"/>
                      <a:gd name="connsiteY33" fmla="*/ 88313 h 171964"/>
                      <a:gd name="connsiteX34" fmla="*/ 25311 w 134732"/>
                      <a:gd name="connsiteY34" fmla="*/ 72286 h 171964"/>
                      <a:gd name="connsiteX35" fmla="*/ 23161 w 134732"/>
                      <a:gd name="connsiteY35" fmla="*/ 29129 h 171964"/>
                      <a:gd name="connsiteX36" fmla="*/ 22594 w 134732"/>
                      <a:gd name="connsiteY36" fmla="*/ 16669 h 171964"/>
                      <a:gd name="connsiteX37" fmla="*/ 4188 w 134732"/>
                      <a:gd name="connsiteY37" fmla="*/ 0 h 171964"/>
                      <a:gd name="connsiteX0" fmla="*/ 4188 w 134732"/>
                      <a:gd name="connsiteY0" fmla="*/ 0 h 171964"/>
                      <a:gd name="connsiteX1" fmla="*/ 26559 w 134732"/>
                      <a:gd name="connsiteY1" fmla="*/ 13837 h 171964"/>
                      <a:gd name="connsiteX2" fmla="*/ 28258 w 134732"/>
                      <a:gd name="connsiteY2" fmla="*/ 25164 h 171964"/>
                      <a:gd name="connsiteX3" fmla="*/ 27576 w 134732"/>
                      <a:gd name="connsiteY3" fmla="*/ 43377 h 171964"/>
                      <a:gd name="connsiteX4" fmla="*/ 29957 w 134732"/>
                      <a:gd name="connsiteY4" fmla="*/ 88621 h 171964"/>
                      <a:gd name="connsiteX5" fmla="*/ 20432 w 134732"/>
                      <a:gd name="connsiteY5" fmla="*/ 112433 h 171964"/>
                      <a:gd name="connsiteX6" fmla="*/ 18051 w 134732"/>
                      <a:gd name="connsiteY6" fmla="*/ 133864 h 171964"/>
                      <a:gd name="connsiteX7" fmla="*/ 29957 w 134732"/>
                      <a:gd name="connsiteY7" fmla="*/ 150533 h 171964"/>
                      <a:gd name="connsiteX8" fmla="*/ 47218 w 134732"/>
                      <a:gd name="connsiteY8" fmla="*/ 163289 h 171964"/>
                      <a:gd name="connsiteX9" fmla="*/ 58532 w 134732"/>
                      <a:gd name="connsiteY9" fmla="*/ 160058 h 171964"/>
                      <a:gd name="connsiteX10" fmla="*/ 72820 w 134732"/>
                      <a:gd name="connsiteY10" fmla="*/ 145771 h 171964"/>
                      <a:gd name="connsiteX11" fmla="*/ 89488 w 134732"/>
                      <a:gd name="connsiteY11" fmla="*/ 133864 h 171964"/>
                      <a:gd name="connsiteX12" fmla="*/ 106157 w 134732"/>
                      <a:gd name="connsiteY12" fmla="*/ 141008 h 171964"/>
                      <a:gd name="connsiteX13" fmla="*/ 125207 w 134732"/>
                      <a:gd name="connsiteY13" fmla="*/ 131483 h 171964"/>
                      <a:gd name="connsiteX14" fmla="*/ 129970 w 134732"/>
                      <a:gd name="connsiteY14" fmla="*/ 119577 h 171964"/>
                      <a:gd name="connsiteX15" fmla="*/ 115682 w 134732"/>
                      <a:gd name="connsiteY15" fmla="*/ 102908 h 171964"/>
                      <a:gd name="connsiteX16" fmla="*/ 125670 w 134732"/>
                      <a:gd name="connsiteY16" fmla="*/ 107285 h 171964"/>
                      <a:gd name="connsiteX17" fmla="*/ 129970 w 134732"/>
                      <a:gd name="connsiteY17" fmla="*/ 112433 h 171964"/>
                      <a:gd name="connsiteX18" fmla="*/ 134166 w 134732"/>
                      <a:gd name="connsiteY18" fmla="*/ 116347 h 171964"/>
                      <a:gd name="connsiteX19" fmla="*/ 134732 w 134732"/>
                      <a:gd name="connsiteY19" fmla="*/ 126721 h 171964"/>
                      <a:gd name="connsiteX20" fmla="*/ 118063 w 134732"/>
                      <a:gd name="connsiteY20" fmla="*/ 141008 h 171964"/>
                      <a:gd name="connsiteX21" fmla="*/ 96632 w 134732"/>
                      <a:gd name="connsiteY21" fmla="*/ 148152 h 171964"/>
                      <a:gd name="connsiteX22" fmla="*/ 82345 w 134732"/>
                      <a:gd name="connsiteY22" fmla="*/ 152914 h 171964"/>
                      <a:gd name="connsiteX23" fmla="*/ 63295 w 134732"/>
                      <a:gd name="connsiteY23" fmla="*/ 164821 h 171964"/>
                      <a:gd name="connsiteX24" fmla="*/ 44245 w 134732"/>
                      <a:gd name="connsiteY24" fmla="*/ 171964 h 171964"/>
                      <a:gd name="connsiteX25" fmla="*/ 27576 w 134732"/>
                      <a:gd name="connsiteY25" fmla="*/ 162439 h 171964"/>
                      <a:gd name="connsiteX26" fmla="*/ 20265 w 134732"/>
                      <a:gd name="connsiteY26" fmla="*/ 155887 h 171964"/>
                      <a:gd name="connsiteX27" fmla="*/ 15167 w 134732"/>
                      <a:gd name="connsiteY27" fmla="*/ 155038 h 171964"/>
                      <a:gd name="connsiteX28" fmla="*/ 7162 w 134732"/>
                      <a:gd name="connsiteY28" fmla="*/ 147355 h 171964"/>
                      <a:gd name="connsiteX29" fmla="*/ 1382 w 134732"/>
                      <a:gd name="connsiteY29" fmla="*/ 137598 h 171964"/>
                      <a:gd name="connsiteX30" fmla="*/ 159 w 134732"/>
                      <a:gd name="connsiteY30" fmla="*/ 134264 h 171964"/>
                      <a:gd name="connsiteX31" fmla="*/ 8526 w 134732"/>
                      <a:gd name="connsiteY31" fmla="*/ 121958 h 171964"/>
                      <a:gd name="connsiteX32" fmla="*/ 20432 w 134732"/>
                      <a:gd name="connsiteY32" fmla="*/ 102908 h 171964"/>
                      <a:gd name="connsiteX33" fmla="*/ 25426 w 134732"/>
                      <a:gd name="connsiteY33" fmla="*/ 88313 h 171964"/>
                      <a:gd name="connsiteX34" fmla="*/ 25311 w 134732"/>
                      <a:gd name="connsiteY34" fmla="*/ 72286 h 171964"/>
                      <a:gd name="connsiteX35" fmla="*/ 23161 w 134732"/>
                      <a:gd name="connsiteY35" fmla="*/ 29129 h 171964"/>
                      <a:gd name="connsiteX36" fmla="*/ 22594 w 134732"/>
                      <a:gd name="connsiteY36" fmla="*/ 16669 h 171964"/>
                      <a:gd name="connsiteX37" fmla="*/ 4188 w 134732"/>
                      <a:gd name="connsiteY37" fmla="*/ 0 h 171964"/>
                      <a:gd name="connsiteX0" fmla="*/ 3763 w 134307"/>
                      <a:gd name="connsiteY0" fmla="*/ 0 h 171964"/>
                      <a:gd name="connsiteX1" fmla="*/ 26134 w 134307"/>
                      <a:gd name="connsiteY1" fmla="*/ 13837 h 171964"/>
                      <a:gd name="connsiteX2" fmla="*/ 27833 w 134307"/>
                      <a:gd name="connsiteY2" fmla="*/ 25164 h 171964"/>
                      <a:gd name="connsiteX3" fmla="*/ 27151 w 134307"/>
                      <a:gd name="connsiteY3" fmla="*/ 43377 h 171964"/>
                      <a:gd name="connsiteX4" fmla="*/ 29532 w 134307"/>
                      <a:gd name="connsiteY4" fmla="*/ 88621 h 171964"/>
                      <a:gd name="connsiteX5" fmla="*/ 20007 w 134307"/>
                      <a:gd name="connsiteY5" fmla="*/ 112433 h 171964"/>
                      <a:gd name="connsiteX6" fmla="*/ 17626 w 134307"/>
                      <a:gd name="connsiteY6" fmla="*/ 133864 h 171964"/>
                      <a:gd name="connsiteX7" fmla="*/ 29532 w 134307"/>
                      <a:gd name="connsiteY7" fmla="*/ 150533 h 171964"/>
                      <a:gd name="connsiteX8" fmla="*/ 46793 w 134307"/>
                      <a:gd name="connsiteY8" fmla="*/ 163289 h 171964"/>
                      <a:gd name="connsiteX9" fmla="*/ 58107 w 134307"/>
                      <a:gd name="connsiteY9" fmla="*/ 160058 h 171964"/>
                      <a:gd name="connsiteX10" fmla="*/ 72395 w 134307"/>
                      <a:gd name="connsiteY10" fmla="*/ 145771 h 171964"/>
                      <a:gd name="connsiteX11" fmla="*/ 89063 w 134307"/>
                      <a:gd name="connsiteY11" fmla="*/ 133864 h 171964"/>
                      <a:gd name="connsiteX12" fmla="*/ 105732 w 134307"/>
                      <a:gd name="connsiteY12" fmla="*/ 141008 h 171964"/>
                      <a:gd name="connsiteX13" fmla="*/ 124782 w 134307"/>
                      <a:gd name="connsiteY13" fmla="*/ 131483 h 171964"/>
                      <a:gd name="connsiteX14" fmla="*/ 129545 w 134307"/>
                      <a:gd name="connsiteY14" fmla="*/ 119577 h 171964"/>
                      <a:gd name="connsiteX15" fmla="*/ 115257 w 134307"/>
                      <a:gd name="connsiteY15" fmla="*/ 102908 h 171964"/>
                      <a:gd name="connsiteX16" fmla="*/ 125245 w 134307"/>
                      <a:gd name="connsiteY16" fmla="*/ 107285 h 171964"/>
                      <a:gd name="connsiteX17" fmla="*/ 129545 w 134307"/>
                      <a:gd name="connsiteY17" fmla="*/ 112433 h 171964"/>
                      <a:gd name="connsiteX18" fmla="*/ 133741 w 134307"/>
                      <a:gd name="connsiteY18" fmla="*/ 116347 h 171964"/>
                      <a:gd name="connsiteX19" fmla="*/ 134307 w 134307"/>
                      <a:gd name="connsiteY19" fmla="*/ 126721 h 171964"/>
                      <a:gd name="connsiteX20" fmla="*/ 117638 w 134307"/>
                      <a:gd name="connsiteY20" fmla="*/ 141008 h 171964"/>
                      <a:gd name="connsiteX21" fmla="*/ 96207 w 134307"/>
                      <a:gd name="connsiteY21" fmla="*/ 148152 h 171964"/>
                      <a:gd name="connsiteX22" fmla="*/ 81920 w 134307"/>
                      <a:gd name="connsiteY22" fmla="*/ 152914 h 171964"/>
                      <a:gd name="connsiteX23" fmla="*/ 62870 w 134307"/>
                      <a:gd name="connsiteY23" fmla="*/ 164821 h 171964"/>
                      <a:gd name="connsiteX24" fmla="*/ 43820 w 134307"/>
                      <a:gd name="connsiteY24" fmla="*/ 171964 h 171964"/>
                      <a:gd name="connsiteX25" fmla="*/ 27151 w 134307"/>
                      <a:gd name="connsiteY25" fmla="*/ 162439 h 171964"/>
                      <a:gd name="connsiteX26" fmla="*/ 19840 w 134307"/>
                      <a:gd name="connsiteY26" fmla="*/ 155887 h 171964"/>
                      <a:gd name="connsiteX27" fmla="*/ 14742 w 134307"/>
                      <a:gd name="connsiteY27" fmla="*/ 155038 h 171964"/>
                      <a:gd name="connsiteX28" fmla="*/ 6737 w 134307"/>
                      <a:gd name="connsiteY28" fmla="*/ 147355 h 171964"/>
                      <a:gd name="connsiteX29" fmla="*/ 957 w 134307"/>
                      <a:gd name="connsiteY29" fmla="*/ 137598 h 171964"/>
                      <a:gd name="connsiteX30" fmla="*/ 159 w 134307"/>
                      <a:gd name="connsiteY30" fmla="*/ 134264 h 171964"/>
                      <a:gd name="connsiteX31" fmla="*/ 8101 w 134307"/>
                      <a:gd name="connsiteY31" fmla="*/ 121958 h 171964"/>
                      <a:gd name="connsiteX32" fmla="*/ 20007 w 134307"/>
                      <a:gd name="connsiteY32" fmla="*/ 102908 h 171964"/>
                      <a:gd name="connsiteX33" fmla="*/ 25001 w 134307"/>
                      <a:gd name="connsiteY33" fmla="*/ 88313 h 171964"/>
                      <a:gd name="connsiteX34" fmla="*/ 24886 w 134307"/>
                      <a:gd name="connsiteY34" fmla="*/ 72286 h 171964"/>
                      <a:gd name="connsiteX35" fmla="*/ 22736 w 134307"/>
                      <a:gd name="connsiteY35" fmla="*/ 29129 h 171964"/>
                      <a:gd name="connsiteX36" fmla="*/ 22169 w 134307"/>
                      <a:gd name="connsiteY36" fmla="*/ 16669 h 171964"/>
                      <a:gd name="connsiteX37" fmla="*/ 3763 w 134307"/>
                      <a:gd name="connsiteY37" fmla="*/ 0 h 171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34307" h="171964">
                        <a:moveTo>
                          <a:pt x="3763" y="0"/>
                        </a:moveTo>
                        <a:lnTo>
                          <a:pt x="26134" y="13837"/>
                        </a:lnTo>
                        <a:lnTo>
                          <a:pt x="27833" y="25164"/>
                        </a:lnTo>
                        <a:cubicBezTo>
                          <a:pt x="27606" y="31235"/>
                          <a:pt x="27378" y="37306"/>
                          <a:pt x="27151" y="43377"/>
                        </a:cubicBezTo>
                        <a:lnTo>
                          <a:pt x="29532" y="88621"/>
                        </a:lnTo>
                        <a:lnTo>
                          <a:pt x="20007" y="112433"/>
                        </a:lnTo>
                        <a:lnTo>
                          <a:pt x="17626" y="133864"/>
                        </a:lnTo>
                        <a:lnTo>
                          <a:pt x="29532" y="150533"/>
                        </a:lnTo>
                        <a:cubicBezTo>
                          <a:pt x="44480" y="160498"/>
                          <a:pt x="32351" y="150937"/>
                          <a:pt x="46793" y="163289"/>
                        </a:cubicBezTo>
                        <a:cubicBezTo>
                          <a:pt x="50564" y="162212"/>
                          <a:pt x="51363" y="163684"/>
                          <a:pt x="58107" y="160058"/>
                        </a:cubicBezTo>
                        <a:lnTo>
                          <a:pt x="72395" y="145771"/>
                        </a:lnTo>
                        <a:lnTo>
                          <a:pt x="89063" y="133864"/>
                        </a:lnTo>
                        <a:lnTo>
                          <a:pt x="105732" y="141008"/>
                        </a:lnTo>
                        <a:lnTo>
                          <a:pt x="124782" y="131483"/>
                        </a:lnTo>
                        <a:lnTo>
                          <a:pt x="129545" y="119577"/>
                        </a:lnTo>
                        <a:lnTo>
                          <a:pt x="115257" y="102908"/>
                        </a:lnTo>
                        <a:lnTo>
                          <a:pt x="125245" y="107285"/>
                        </a:lnTo>
                        <a:lnTo>
                          <a:pt x="129545" y="112433"/>
                        </a:lnTo>
                        <a:lnTo>
                          <a:pt x="133741" y="116347"/>
                        </a:lnTo>
                        <a:cubicBezTo>
                          <a:pt x="133930" y="119805"/>
                          <a:pt x="134118" y="123263"/>
                          <a:pt x="134307" y="126721"/>
                        </a:cubicBezTo>
                        <a:lnTo>
                          <a:pt x="117638" y="141008"/>
                        </a:lnTo>
                        <a:lnTo>
                          <a:pt x="96207" y="148152"/>
                        </a:lnTo>
                        <a:lnTo>
                          <a:pt x="81920" y="152914"/>
                        </a:lnTo>
                        <a:lnTo>
                          <a:pt x="62870" y="164821"/>
                        </a:lnTo>
                        <a:lnTo>
                          <a:pt x="43820" y="171964"/>
                        </a:lnTo>
                        <a:lnTo>
                          <a:pt x="27151" y="162439"/>
                        </a:lnTo>
                        <a:lnTo>
                          <a:pt x="19840" y="155887"/>
                        </a:lnTo>
                        <a:lnTo>
                          <a:pt x="14742" y="155038"/>
                        </a:lnTo>
                        <a:cubicBezTo>
                          <a:pt x="10600" y="149463"/>
                          <a:pt x="9034" y="150262"/>
                          <a:pt x="6737" y="147355"/>
                        </a:cubicBezTo>
                        <a:cubicBezTo>
                          <a:pt x="4440" y="144448"/>
                          <a:pt x="2077" y="140795"/>
                          <a:pt x="957" y="137598"/>
                        </a:cubicBezTo>
                        <a:cubicBezTo>
                          <a:pt x="1116" y="135496"/>
                          <a:pt x="0" y="136366"/>
                          <a:pt x="159" y="134264"/>
                        </a:cubicBezTo>
                        <a:lnTo>
                          <a:pt x="8101" y="121958"/>
                        </a:lnTo>
                        <a:lnTo>
                          <a:pt x="20007" y="102908"/>
                        </a:lnTo>
                        <a:lnTo>
                          <a:pt x="25001" y="88313"/>
                        </a:lnTo>
                        <a:cubicBezTo>
                          <a:pt x="24963" y="82971"/>
                          <a:pt x="24924" y="77628"/>
                          <a:pt x="24886" y="72286"/>
                        </a:cubicBezTo>
                        <a:lnTo>
                          <a:pt x="22736" y="29129"/>
                        </a:lnTo>
                        <a:lnTo>
                          <a:pt x="22169" y="16669"/>
                        </a:lnTo>
                        <a:lnTo>
                          <a:pt x="3763"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51" name="Freeform 250"/>
                  <p:cNvSpPr/>
                  <p:nvPr/>
                </p:nvSpPr>
                <p:spPr>
                  <a:xfrm>
                    <a:off x="4622333" y="983409"/>
                    <a:ext cx="192494" cy="80925"/>
                  </a:xfrm>
                  <a:custGeom>
                    <a:avLst/>
                    <a:gdLst>
                      <a:gd name="connsiteX0" fmla="*/ 6350 w 1020827"/>
                      <a:gd name="connsiteY0" fmla="*/ 178265 h 445515"/>
                      <a:gd name="connsiteX1" fmla="*/ 101600 w 1020827"/>
                      <a:gd name="connsiteY1" fmla="*/ 181440 h 445515"/>
                      <a:gd name="connsiteX2" fmla="*/ 98425 w 1020827"/>
                      <a:gd name="connsiteY2" fmla="*/ 181440 h 445515"/>
                      <a:gd name="connsiteX3" fmla="*/ 304800 w 1020827"/>
                      <a:gd name="connsiteY3" fmla="*/ 159215 h 445515"/>
                      <a:gd name="connsiteX4" fmla="*/ 577850 w 1020827"/>
                      <a:gd name="connsiteY4" fmla="*/ 108415 h 445515"/>
                      <a:gd name="connsiteX5" fmla="*/ 790575 w 1020827"/>
                      <a:gd name="connsiteY5" fmla="*/ 57615 h 445515"/>
                      <a:gd name="connsiteX6" fmla="*/ 955675 w 1020827"/>
                      <a:gd name="connsiteY6" fmla="*/ 32215 h 445515"/>
                      <a:gd name="connsiteX7" fmla="*/ 1012825 w 1020827"/>
                      <a:gd name="connsiteY7" fmla="*/ 22690 h 445515"/>
                      <a:gd name="connsiteX8" fmla="*/ 993775 w 1020827"/>
                      <a:gd name="connsiteY8" fmla="*/ 92540 h 445515"/>
                      <a:gd name="connsiteX9" fmla="*/ 822325 w 1020827"/>
                      <a:gd name="connsiteY9" fmla="*/ 273515 h 445515"/>
                      <a:gd name="connsiteX10" fmla="*/ 806450 w 1020827"/>
                      <a:gd name="connsiteY10" fmla="*/ 276690 h 445515"/>
                      <a:gd name="connsiteX11" fmla="*/ 447675 w 1020827"/>
                      <a:gd name="connsiteY11" fmla="*/ 419565 h 445515"/>
                      <a:gd name="connsiteX12" fmla="*/ 434975 w 1020827"/>
                      <a:gd name="connsiteY12" fmla="*/ 425915 h 445515"/>
                      <a:gd name="connsiteX13" fmla="*/ 196850 w 1020827"/>
                      <a:gd name="connsiteY13" fmla="*/ 444965 h 445515"/>
                      <a:gd name="connsiteX14" fmla="*/ 73025 w 1020827"/>
                      <a:gd name="connsiteY14" fmla="*/ 356065 h 445515"/>
                      <a:gd name="connsiteX15" fmla="*/ 0 w 1020827"/>
                      <a:gd name="connsiteY15" fmla="*/ 241765 h 445515"/>
                      <a:gd name="connsiteX16" fmla="*/ 6350 w 1020827"/>
                      <a:gd name="connsiteY16" fmla="*/ 178265 h 445515"/>
                      <a:gd name="connsiteX0" fmla="*/ 6350 w 1013858"/>
                      <a:gd name="connsiteY0" fmla="*/ 178265 h 445515"/>
                      <a:gd name="connsiteX1" fmla="*/ 101600 w 1013858"/>
                      <a:gd name="connsiteY1" fmla="*/ 181440 h 445515"/>
                      <a:gd name="connsiteX2" fmla="*/ 98425 w 1013858"/>
                      <a:gd name="connsiteY2" fmla="*/ 181440 h 445515"/>
                      <a:gd name="connsiteX3" fmla="*/ 304800 w 1013858"/>
                      <a:gd name="connsiteY3" fmla="*/ 159215 h 445515"/>
                      <a:gd name="connsiteX4" fmla="*/ 577850 w 1013858"/>
                      <a:gd name="connsiteY4" fmla="*/ 108415 h 445515"/>
                      <a:gd name="connsiteX5" fmla="*/ 790575 w 1013858"/>
                      <a:gd name="connsiteY5" fmla="*/ 57615 h 445515"/>
                      <a:gd name="connsiteX6" fmla="*/ 955675 w 1013858"/>
                      <a:gd name="connsiteY6" fmla="*/ 32215 h 445515"/>
                      <a:gd name="connsiteX7" fmla="*/ 1012825 w 1013858"/>
                      <a:gd name="connsiteY7" fmla="*/ 22690 h 445515"/>
                      <a:gd name="connsiteX8" fmla="*/ 993775 w 1013858"/>
                      <a:gd name="connsiteY8" fmla="*/ 92540 h 445515"/>
                      <a:gd name="connsiteX9" fmla="*/ 822325 w 1013858"/>
                      <a:gd name="connsiteY9" fmla="*/ 273515 h 445515"/>
                      <a:gd name="connsiteX10" fmla="*/ 806450 w 1013858"/>
                      <a:gd name="connsiteY10" fmla="*/ 276690 h 445515"/>
                      <a:gd name="connsiteX11" fmla="*/ 447675 w 1013858"/>
                      <a:gd name="connsiteY11" fmla="*/ 419565 h 445515"/>
                      <a:gd name="connsiteX12" fmla="*/ 434975 w 1013858"/>
                      <a:gd name="connsiteY12" fmla="*/ 425915 h 445515"/>
                      <a:gd name="connsiteX13" fmla="*/ 196850 w 1013858"/>
                      <a:gd name="connsiteY13" fmla="*/ 444965 h 445515"/>
                      <a:gd name="connsiteX14" fmla="*/ 73025 w 1013858"/>
                      <a:gd name="connsiteY14" fmla="*/ 356065 h 445515"/>
                      <a:gd name="connsiteX15" fmla="*/ 0 w 1013858"/>
                      <a:gd name="connsiteY15" fmla="*/ 241765 h 445515"/>
                      <a:gd name="connsiteX16" fmla="*/ 6350 w 1013858"/>
                      <a:gd name="connsiteY16" fmla="*/ 178265 h 445515"/>
                      <a:gd name="connsiteX0" fmla="*/ 6350 w 1013858"/>
                      <a:gd name="connsiteY0" fmla="*/ 178265 h 445515"/>
                      <a:gd name="connsiteX1" fmla="*/ 101600 w 1013858"/>
                      <a:gd name="connsiteY1" fmla="*/ 181440 h 445515"/>
                      <a:gd name="connsiteX2" fmla="*/ 98425 w 1013858"/>
                      <a:gd name="connsiteY2" fmla="*/ 181440 h 445515"/>
                      <a:gd name="connsiteX3" fmla="*/ 304800 w 1013858"/>
                      <a:gd name="connsiteY3" fmla="*/ 159215 h 445515"/>
                      <a:gd name="connsiteX4" fmla="*/ 577850 w 1013858"/>
                      <a:gd name="connsiteY4" fmla="*/ 108415 h 445515"/>
                      <a:gd name="connsiteX5" fmla="*/ 790575 w 1013858"/>
                      <a:gd name="connsiteY5" fmla="*/ 57615 h 445515"/>
                      <a:gd name="connsiteX6" fmla="*/ 955675 w 1013858"/>
                      <a:gd name="connsiteY6" fmla="*/ 32215 h 445515"/>
                      <a:gd name="connsiteX7" fmla="*/ 1012825 w 1013858"/>
                      <a:gd name="connsiteY7" fmla="*/ 22690 h 445515"/>
                      <a:gd name="connsiteX8" fmla="*/ 993775 w 1013858"/>
                      <a:gd name="connsiteY8" fmla="*/ 92540 h 445515"/>
                      <a:gd name="connsiteX9" fmla="*/ 822325 w 1013858"/>
                      <a:gd name="connsiteY9" fmla="*/ 273515 h 445515"/>
                      <a:gd name="connsiteX10" fmla="*/ 806450 w 1013858"/>
                      <a:gd name="connsiteY10" fmla="*/ 276690 h 445515"/>
                      <a:gd name="connsiteX11" fmla="*/ 447675 w 1013858"/>
                      <a:gd name="connsiteY11" fmla="*/ 419565 h 445515"/>
                      <a:gd name="connsiteX12" fmla="*/ 434975 w 1013858"/>
                      <a:gd name="connsiteY12" fmla="*/ 425915 h 445515"/>
                      <a:gd name="connsiteX13" fmla="*/ 196850 w 1013858"/>
                      <a:gd name="connsiteY13" fmla="*/ 444965 h 445515"/>
                      <a:gd name="connsiteX14" fmla="*/ 73025 w 1013858"/>
                      <a:gd name="connsiteY14" fmla="*/ 356065 h 445515"/>
                      <a:gd name="connsiteX15" fmla="*/ 0 w 1013858"/>
                      <a:gd name="connsiteY15" fmla="*/ 241765 h 445515"/>
                      <a:gd name="connsiteX16" fmla="*/ 6350 w 1013858"/>
                      <a:gd name="connsiteY16" fmla="*/ 178265 h 445515"/>
                      <a:gd name="connsiteX0" fmla="*/ 6350 w 1013858"/>
                      <a:gd name="connsiteY0" fmla="*/ 158980 h 426230"/>
                      <a:gd name="connsiteX1" fmla="*/ 101600 w 1013858"/>
                      <a:gd name="connsiteY1" fmla="*/ 162155 h 426230"/>
                      <a:gd name="connsiteX2" fmla="*/ 98425 w 1013858"/>
                      <a:gd name="connsiteY2" fmla="*/ 162155 h 426230"/>
                      <a:gd name="connsiteX3" fmla="*/ 304800 w 1013858"/>
                      <a:gd name="connsiteY3" fmla="*/ 139930 h 426230"/>
                      <a:gd name="connsiteX4" fmla="*/ 577850 w 1013858"/>
                      <a:gd name="connsiteY4" fmla="*/ 89130 h 426230"/>
                      <a:gd name="connsiteX5" fmla="*/ 790575 w 1013858"/>
                      <a:gd name="connsiteY5" fmla="*/ 38330 h 426230"/>
                      <a:gd name="connsiteX6" fmla="*/ 955675 w 1013858"/>
                      <a:gd name="connsiteY6" fmla="*/ 12930 h 426230"/>
                      <a:gd name="connsiteX7" fmla="*/ 1012825 w 1013858"/>
                      <a:gd name="connsiteY7" fmla="*/ 3405 h 426230"/>
                      <a:gd name="connsiteX8" fmla="*/ 993775 w 1013858"/>
                      <a:gd name="connsiteY8" fmla="*/ 73255 h 426230"/>
                      <a:gd name="connsiteX9" fmla="*/ 822325 w 1013858"/>
                      <a:gd name="connsiteY9" fmla="*/ 254230 h 426230"/>
                      <a:gd name="connsiteX10" fmla="*/ 806450 w 1013858"/>
                      <a:gd name="connsiteY10" fmla="*/ 257405 h 426230"/>
                      <a:gd name="connsiteX11" fmla="*/ 447675 w 1013858"/>
                      <a:gd name="connsiteY11" fmla="*/ 400280 h 426230"/>
                      <a:gd name="connsiteX12" fmla="*/ 434975 w 1013858"/>
                      <a:gd name="connsiteY12" fmla="*/ 406630 h 426230"/>
                      <a:gd name="connsiteX13" fmla="*/ 196850 w 1013858"/>
                      <a:gd name="connsiteY13" fmla="*/ 425680 h 426230"/>
                      <a:gd name="connsiteX14" fmla="*/ 73025 w 1013858"/>
                      <a:gd name="connsiteY14" fmla="*/ 336780 h 426230"/>
                      <a:gd name="connsiteX15" fmla="*/ 0 w 1013858"/>
                      <a:gd name="connsiteY15" fmla="*/ 222480 h 426230"/>
                      <a:gd name="connsiteX16" fmla="*/ 6350 w 1013858"/>
                      <a:gd name="connsiteY16" fmla="*/ 158980 h 426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13858" h="426230">
                        <a:moveTo>
                          <a:pt x="6350" y="158980"/>
                        </a:moveTo>
                        <a:lnTo>
                          <a:pt x="101600" y="162155"/>
                        </a:lnTo>
                        <a:cubicBezTo>
                          <a:pt x="102658" y="162191"/>
                          <a:pt x="99483" y="162155"/>
                          <a:pt x="98425" y="162155"/>
                        </a:cubicBezTo>
                        <a:cubicBezTo>
                          <a:pt x="167204" y="154632"/>
                          <a:pt x="235611" y="139930"/>
                          <a:pt x="304800" y="139930"/>
                        </a:cubicBezTo>
                        <a:lnTo>
                          <a:pt x="577850" y="89130"/>
                        </a:lnTo>
                        <a:lnTo>
                          <a:pt x="790575" y="38330"/>
                        </a:lnTo>
                        <a:lnTo>
                          <a:pt x="955675" y="12930"/>
                        </a:lnTo>
                        <a:cubicBezTo>
                          <a:pt x="1013858" y="0"/>
                          <a:pt x="981869" y="11671"/>
                          <a:pt x="1012825" y="3405"/>
                        </a:cubicBezTo>
                        <a:cubicBezTo>
                          <a:pt x="996715" y="74287"/>
                          <a:pt x="994633" y="39917"/>
                          <a:pt x="993775" y="73255"/>
                        </a:cubicBezTo>
                        <a:cubicBezTo>
                          <a:pt x="936625" y="133580"/>
                          <a:pt x="881584" y="195975"/>
                          <a:pt x="822325" y="254230"/>
                        </a:cubicBezTo>
                        <a:cubicBezTo>
                          <a:pt x="818477" y="258013"/>
                          <a:pt x="806450" y="257405"/>
                          <a:pt x="806450" y="257405"/>
                        </a:cubicBezTo>
                        <a:lnTo>
                          <a:pt x="447675" y="400280"/>
                        </a:lnTo>
                        <a:cubicBezTo>
                          <a:pt x="443283" y="402044"/>
                          <a:pt x="434975" y="406630"/>
                          <a:pt x="434975" y="406630"/>
                        </a:cubicBezTo>
                        <a:cubicBezTo>
                          <a:pt x="209574" y="426230"/>
                          <a:pt x="289201" y="425680"/>
                          <a:pt x="196850" y="425680"/>
                        </a:cubicBezTo>
                        <a:cubicBezTo>
                          <a:pt x="74247" y="341794"/>
                          <a:pt x="97992" y="386715"/>
                          <a:pt x="73025" y="336780"/>
                        </a:cubicBezTo>
                        <a:lnTo>
                          <a:pt x="0" y="222480"/>
                        </a:lnTo>
                        <a:lnTo>
                          <a:pt x="6350" y="15898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52" name="Freeform 251"/>
                  <p:cNvSpPr/>
                  <p:nvPr/>
                </p:nvSpPr>
                <p:spPr>
                  <a:xfrm>
                    <a:off x="4615199" y="984659"/>
                    <a:ext cx="198828" cy="108507"/>
                  </a:xfrm>
                  <a:custGeom>
                    <a:avLst/>
                    <a:gdLst>
                      <a:gd name="connsiteX0" fmla="*/ 0 w 1047750"/>
                      <a:gd name="connsiteY0" fmla="*/ 174625 h 571500"/>
                      <a:gd name="connsiteX1" fmla="*/ 47625 w 1047750"/>
                      <a:gd name="connsiteY1" fmla="*/ 266700 h 571500"/>
                      <a:gd name="connsiteX2" fmla="*/ 76200 w 1047750"/>
                      <a:gd name="connsiteY2" fmla="*/ 346075 h 571500"/>
                      <a:gd name="connsiteX3" fmla="*/ 120650 w 1047750"/>
                      <a:gd name="connsiteY3" fmla="*/ 431800 h 571500"/>
                      <a:gd name="connsiteX4" fmla="*/ 177800 w 1047750"/>
                      <a:gd name="connsiteY4" fmla="*/ 498475 h 571500"/>
                      <a:gd name="connsiteX5" fmla="*/ 282575 w 1047750"/>
                      <a:gd name="connsiteY5" fmla="*/ 546100 h 571500"/>
                      <a:gd name="connsiteX6" fmla="*/ 438150 w 1047750"/>
                      <a:gd name="connsiteY6" fmla="*/ 571500 h 571500"/>
                      <a:gd name="connsiteX7" fmla="*/ 590550 w 1047750"/>
                      <a:gd name="connsiteY7" fmla="*/ 530225 h 571500"/>
                      <a:gd name="connsiteX8" fmla="*/ 730250 w 1047750"/>
                      <a:gd name="connsiteY8" fmla="*/ 450850 h 571500"/>
                      <a:gd name="connsiteX9" fmla="*/ 850900 w 1047750"/>
                      <a:gd name="connsiteY9" fmla="*/ 336550 h 571500"/>
                      <a:gd name="connsiteX10" fmla="*/ 917575 w 1047750"/>
                      <a:gd name="connsiteY10" fmla="*/ 241300 h 571500"/>
                      <a:gd name="connsiteX11" fmla="*/ 993775 w 1047750"/>
                      <a:gd name="connsiteY11" fmla="*/ 155575 h 571500"/>
                      <a:gd name="connsiteX12" fmla="*/ 1025525 w 1047750"/>
                      <a:gd name="connsiteY12" fmla="*/ 92075 h 571500"/>
                      <a:gd name="connsiteX13" fmla="*/ 1047750 w 1047750"/>
                      <a:gd name="connsiteY13" fmla="*/ 41275 h 571500"/>
                      <a:gd name="connsiteX14" fmla="*/ 1047750 w 1047750"/>
                      <a:gd name="connsiteY14" fmla="*/ 0 h 571500"/>
                      <a:gd name="connsiteX15" fmla="*/ 1016000 w 1047750"/>
                      <a:gd name="connsiteY15" fmla="*/ 63500 h 571500"/>
                      <a:gd name="connsiteX16" fmla="*/ 955675 w 1047750"/>
                      <a:gd name="connsiteY16" fmla="*/ 149225 h 571500"/>
                      <a:gd name="connsiteX17" fmla="*/ 777875 w 1047750"/>
                      <a:gd name="connsiteY17" fmla="*/ 238125 h 571500"/>
                      <a:gd name="connsiteX18" fmla="*/ 679450 w 1047750"/>
                      <a:gd name="connsiteY18" fmla="*/ 263525 h 571500"/>
                      <a:gd name="connsiteX19" fmla="*/ 574675 w 1047750"/>
                      <a:gd name="connsiteY19" fmla="*/ 301625 h 571500"/>
                      <a:gd name="connsiteX20" fmla="*/ 501650 w 1047750"/>
                      <a:gd name="connsiteY20" fmla="*/ 342900 h 571500"/>
                      <a:gd name="connsiteX21" fmla="*/ 431800 w 1047750"/>
                      <a:gd name="connsiteY21" fmla="*/ 365125 h 571500"/>
                      <a:gd name="connsiteX22" fmla="*/ 352425 w 1047750"/>
                      <a:gd name="connsiteY22" fmla="*/ 365125 h 571500"/>
                      <a:gd name="connsiteX23" fmla="*/ 266700 w 1047750"/>
                      <a:gd name="connsiteY23" fmla="*/ 352425 h 571500"/>
                      <a:gd name="connsiteX24" fmla="*/ 180975 w 1047750"/>
                      <a:gd name="connsiteY24" fmla="*/ 314325 h 571500"/>
                      <a:gd name="connsiteX25" fmla="*/ 104775 w 1047750"/>
                      <a:gd name="connsiteY25" fmla="*/ 257175 h 571500"/>
                      <a:gd name="connsiteX26" fmla="*/ 60325 w 1047750"/>
                      <a:gd name="connsiteY26" fmla="*/ 206375 h 571500"/>
                      <a:gd name="connsiteX27" fmla="*/ 0 w 1047750"/>
                      <a:gd name="connsiteY27" fmla="*/ 174625 h 571500"/>
                      <a:gd name="connsiteX0" fmla="*/ 0 w 1047750"/>
                      <a:gd name="connsiteY0" fmla="*/ 174625 h 571500"/>
                      <a:gd name="connsiteX1" fmla="*/ 47625 w 1047750"/>
                      <a:gd name="connsiteY1" fmla="*/ 266700 h 571500"/>
                      <a:gd name="connsiteX2" fmla="*/ 76200 w 1047750"/>
                      <a:gd name="connsiteY2" fmla="*/ 346075 h 571500"/>
                      <a:gd name="connsiteX3" fmla="*/ 120650 w 1047750"/>
                      <a:gd name="connsiteY3" fmla="*/ 431800 h 571500"/>
                      <a:gd name="connsiteX4" fmla="*/ 177800 w 1047750"/>
                      <a:gd name="connsiteY4" fmla="*/ 498475 h 571500"/>
                      <a:gd name="connsiteX5" fmla="*/ 282575 w 1047750"/>
                      <a:gd name="connsiteY5" fmla="*/ 546100 h 571500"/>
                      <a:gd name="connsiteX6" fmla="*/ 438150 w 1047750"/>
                      <a:gd name="connsiteY6" fmla="*/ 571500 h 571500"/>
                      <a:gd name="connsiteX7" fmla="*/ 590550 w 1047750"/>
                      <a:gd name="connsiteY7" fmla="*/ 530225 h 571500"/>
                      <a:gd name="connsiteX8" fmla="*/ 730250 w 1047750"/>
                      <a:gd name="connsiteY8" fmla="*/ 450850 h 571500"/>
                      <a:gd name="connsiteX9" fmla="*/ 850900 w 1047750"/>
                      <a:gd name="connsiteY9" fmla="*/ 336550 h 571500"/>
                      <a:gd name="connsiteX10" fmla="*/ 917575 w 1047750"/>
                      <a:gd name="connsiteY10" fmla="*/ 241300 h 571500"/>
                      <a:gd name="connsiteX11" fmla="*/ 993775 w 1047750"/>
                      <a:gd name="connsiteY11" fmla="*/ 155575 h 571500"/>
                      <a:gd name="connsiteX12" fmla="*/ 1025525 w 1047750"/>
                      <a:gd name="connsiteY12" fmla="*/ 92075 h 571500"/>
                      <a:gd name="connsiteX13" fmla="*/ 1047750 w 1047750"/>
                      <a:gd name="connsiteY13" fmla="*/ 41275 h 571500"/>
                      <a:gd name="connsiteX14" fmla="*/ 1047750 w 1047750"/>
                      <a:gd name="connsiteY14" fmla="*/ 0 h 571500"/>
                      <a:gd name="connsiteX15" fmla="*/ 1016000 w 1047750"/>
                      <a:gd name="connsiteY15" fmla="*/ 63500 h 571500"/>
                      <a:gd name="connsiteX16" fmla="*/ 990600 w 1047750"/>
                      <a:gd name="connsiteY16" fmla="*/ 111125 h 571500"/>
                      <a:gd name="connsiteX17" fmla="*/ 955675 w 1047750"/>
                      <a:gd name="connsiteY17" fmla="*/ 149225 h 571500"/>
                      <a:gd name="connsiteX18" fmla="*/ 777875 w 1047750"/>
                      <a:gd name="connsiteY18" fmla="*/ 238125 h 571500"/>
                      <a:gd name="connsiteX19" fmla="*/ 679450 w 1047750"/>
                      <a:gd name="connsiteY19" fmla="*/ 263525 h 571500"/>
                      <a:gd name="connsiteX20" fmla="*/ 574675 w 1047750"/>
                      <a:gd name="connsiteY20" fmla="*/ 301625 h 571500"/>
                      <a:gd name="connsiteX21" fmla="*/ 501650 w 1047750"/>
                      <a:gd name="connsiteY21" fmla="*/ 342900 h 571500"/>
                      <a:gd name="connsiteX22" fmla="*/ 431800 w 1047750"/>
                      <a:gd name="connsiteY22" fmla="*/ 365125 h 571500"/>
                      <a:gd name="connsiteX23" fmla="*/ 352425 w 1047750"/>
                      <a:gd name="connsiteY23" fmla="*/ 365125 h 571500"/>
                      <a:gd name="connsiteX24" fmla="*/ 266700 w 1047750"/>
                      <a:gd name="connsiteY24" fmla="*/ 352425 h 571500"/>
                      <a:gd name="connsiteX25" fmla="*/ 180975 w 1047750"/>
                      <a:gd name="connsiteY25" fmla="*/ 314325 h 571500"/>
                      <a:gd name="connsiteX26" fmla="*/ 104775 w 1047750"/>
                      <a:gd name="connsiteY26" fmla="*/ 257175 h 571500"/>
                      <a:gd name="connsiteX27" fmla="*/ 60325 w 1047750"/>
                      <a:gd name="connsiteY27" fmla="*/ 206375 h 571500"/>
                      <a:gd name="connsiteX28" fmla="*/ 0 w 1047750"/>
                      <a:gd name="connsiteY28" fmla="*/ 174625 h 571500"/>
                      <a:gd name="connsiteX0" fmla="*/ 0 w 1047750"/>
                      <a:gd name="connsiteY0" fmla="*/ 174625 h 571500"/>
                      <a:gd name="connsiteX1" fmla="*/ 47625 w 1047750"/>
                      <a:gd name="connsiteY1" fmla="*/ 266700 h 571500"/>
                      <a:gd name="connsiteX2" fmla="*/ 76200 w 1047750"/>
                      <a:gd name="connsiteY2" fmla="*/ 346075 h 571500"/>
                      <a:gd name="connsiteX3" fmla="*/ 120650 w 1047750"/>
                      <a:gd name="connsiteY3" fmla="*/ 431800 h 571500"/>
                      <a:gd name="connsiteX4" fmla="*/ 174625 w 1047750"/>
                      <a:gd name="connsiteY4" fmla="*/ 495300 h 571500"/>
                      <a:gd name="connsiteX5" fmla="*/ 282575 w 1047750"/>
                      <a:gd name="connsiteY5" fmla="*/ 546100 h 571500"/>
                      <a:gd name="connsiteX6" fmla="*/ 438150 w 1047750"/>
                      <a:gd name="connsiteY6" fmla="*/ 571500 h 571500"/>
                      <a:gd name="connsiteX7" fmla="*/ 590550 w 1047750"/>
                      <a:gd name="connsiteY7" fmla="*/ 530225 h 571500"/>
                      <a:gd name="connsiteX8" fmla="*/ 730250 w 1047750"/>
                      <a:gd name="connsiteY8" fmla="*/ 450850 h 571500"/>
                      <a:gd name="connsiteX9" fmla="*/ 850900 w 1047750"/>
                      <a:gd name="connsiteY9" fmla="*/ 336550 h 571500"/>
                      <a:gd name="connsiteX10" fmla="*/ 917575 w 1047750"/>
                      <a:gd name="connsiteY10" fmla="*/ 241300 h 571500"/>
                      <a:gd name="connsiteX11" fmla="*/ 993775 w 1047750"/>
                      <a:gd name="connsiteY11" fmla="*/ 155575 h 571500"/>
                      <a:gd name="connsiteX12" fmla="*/ 1025525 w 1047750"/>
                      <a:gd name="connsiteY12" fmla="*/ 92075 h 571500"/>
                      <a:gd name="connsiteX13" fmla="*/ 1047750 w 1047750"/>
                      <a:gd name="connsiteY13" fmla="*/ 41275 h 571500"/>
                      <a:gd name="connsiteX14" fmla="*/ 1047750 w 1047750"/>
                      <a:gd name="connsiteY14" fmla="*/ 0 h 571500"/>
                      <a:gd name="connsiteX15" fmla="*/ 1016000 w 1047750"/>
                      <a:gd name="connsiteY15" fmla="*/ 63500 h 571500"/>
                      <a:gd name="connsiteX16" fmla="*/ 990600 w 1047750"/>
                      <a:gd name="connsiteY16" fmla="*/ 111125 h 571500"/>
                      <a:gd name="connsiteX17" fmla="*/ 955675 w 1047750"/>
                      <a:gd name="connsiteY17" fmla="*/ 149225 h 571500"/>
                      <a:gd name="connsiteX18" fmla="*/ 777875 w 1047750"/>
                      <a:gd name="connsiteY18" fmla="*/ 238125 h 571500"/>
                      <a:gd name="connsiteX19" fmla="*/ 679450 w 1047750"/>
                      <a:gd name="connsiteY19" fmla="*/ 263525 h 571500"/>
                      <a:gd name="connsiteX20" fmla="*/ 574675 w 1047750"/>
                      <a:gd name="connsiteY20" fmla="*/ 301625 h 571500"/>
                      <a:gd name="connsiteX21" fmla="*/ 501650 w 1047750"/>
                      <a:gd name="connsiteY21" fmla="*/ 342900 h 571500"/>
                      <a:gd name="connsiteX22" fmla="*/ 431800 w 1047750"/>
                      <a:gd name="connsiteY22" fmla="*/ 365125 h 571500"/>
                      <a:gd name="connsiteX23" fmla="*/ 352425 w 1047750"/>
                      <a:gd name="connsiteY23" fmla="*/ 365125 h 571500"/>
                      <a:gd name="connsiteX24" fmla="*/ 266700 w 1047750"/>
                      <a:gd name="connsiteY24" fmla="*/ 352425 h 571500"/>
                      <a:gd name="connsiteX25" fmla="*/ 180975 w 1047750"/>
                      <a:gd name="connsiteY25" fmla="*/ 314325 h 571500"/>
                      <a:gd name="connsiteX26" fmla="*/ 104775 w 1047750"/>
                      <a:gd name="connsiteY26" fmla="*/ 257175 h 571500"/>
                      <a:gd name="connsiteX27" fmla="*/ 60325 w 1047750"/>
                      <a:gd name="connsiteY27" fmla="*/ 206375 h 571500"/>
                      <a:gd name="connsiteX28" fmla="*/ 0 w 1047750"/>
                      <a:gd name="connsiteY28" fmla="*/ 174625 h 571500"/>
                      <a:gd name="connsiteX0" fmla="*/ 0 w 1047750"/>
                      <a:gd name="connsiteY0" fmla="*/ 174625 h 571500"/>
                      <a:gd name="connsiteX1" fmla="*/ 47625 w 1047750"/>
                      <a:gd name="connsiteY1" fmla="*/ 266700 h 571500"/>
                      <a:gd name="connsiteX2" fmla="*/ 76200 w 1047750"/>
                      <a:gd name="connsiteY2" fmla="*/ 346075 h 571500"/>
                      <a:gd name="connsiteX3" fmla="*/ 120650 w 1047750"/>
                      <a:gd name="connsiteY3" fmla="*/ 431800 h 571500"/>
                      <a:gd name="connsiteX4" fmla="*/ 174625 w 1047750"/>
                      <a:gd name="connsiteY4" fmla="*/ 495300 h 571500"/>
                      <a:gd name="connsiteX5" fmla="*/ 282575 w 1047750"/>
                      <a:gd name="connsiteY5" fmla="*/ 546100 h 571500"/>
                      <a:gd name="connsiteX6" fmla="*/ 438150 w 1047750"/>
                      <a:gd name="connsiteY6" fmla="*/ 571500 h 571500"/>
                      <a:gd name="connsiteX7" fmla="*/ 590550 w 1047750"/>
                      <a:gd name="connsiteY7" fmla="*/ 530225 h 571500"/>
                      <a:gd name="connsiteX8" fmla="*/ 730250 w 1047750"/>
                      <a:gd name="connsiteY8" fmla="*/ 450850 h 571500"/>
                      <a:gd name="connsiteX9" fmla="*/ 850900 w 1047750"/>
                      <a:gd name="connsiteY9" fmla="*/ 336550 h 571500"/>
                      <a:gd name="connsiteX10" fmla="*/ 917575 w 1047750"/>
                      <a:gd name="connsiteY10" fmla="*/ 241300 h 571500"/>
                      <a:gd name="connsiteX11" fmla="*/ 993775 w 1047750"/>
                      <a:gd name="connsiteY11" fmla="*/ 155575 h 571500"/>
                      <a:gd name="connsiteX12" fmla="*/ 1025525 w 1047750"/>
                      <a:gd name="connsiteY12" fmla="*/ 92075 h 571500"/>
                      <a:gd name="connsiteX13" fmla="*/ 1047750 w 1047750"/>
                      <a:gd name="connsiteY13" fmla="*/ 41275 h 571500"/>
                      <a:gd name="connsiteX14" fmla="*/ 1047750 w 1047750"/>
                      <a:gd name="connsiteY14" fmla="*/ 0 h 571500"/>
                      <a:gd name="connsiteX15" fmla="*/ 1016000 w 1047750"/>
                      <a:gd name="connsiteY15" fmla="*/ 63500 h 571500"/>
                      <a:gd name="connsiteX16" fmla="*/ 990600 w 1047750"/>
                      <a:gd name="connsiteY16" fmla="*/ 111125 h 571500"/>
                      <a:gd name="connsiteX17" fmla="*/ 955675 w 1047750"/>
                      <a:gd name="connsiteY17" fmla="*/ 149225 h 571500"/>
                      <a:gd name="connsiteX18" fmla="*/ 777875 w 1047750"/>
                      <a:gd name="connsiteY18" fmla="*/ 238125 h 571500"/>
                      <a:gd name="connsiteX19" fmla="*/ 679450 w 1047750"/>
                      <a:gd name="connsiteY19" fmla="*/ 263525 h 571500"/>
                      <a:gd name="connsiteX20" fmla="*/ 574675 w 1047750"/>
                      <a:gd name="connsiteY20" fmla="*/ 301625 h 571500"/>
                      <a:gd name="connsiteX21" fmla="*/ 501650 w 1047750"/>
                      <a:gd name="connsiteY21" fmla="*/ 342900 h 571500"/>
                      <a:gd name="connsiteX22" fmla="*/ 431800 w 1047750"/>
                      <a:gd name="connsiteY22" fmla="*/ 365125 h 571500"/>
                      <a:gd name="connsiteX23" fmla="*/ 352425 w 1047750"/>
                      <a:gd name="connsiteY23" fmla="*/ 365125 h 571500"/>
                      <a:gd name="connsiteX24" fmla="*/ 266700 w 1047750"/>
                      <a:gd name="connsiteY24" fmla="*/ 352425 h 571500"/>
                      <a:gd name="connsiteX25" fmla="*/ 180975 w 1047750"/>
                      <a:gd name="connsiteY25" fmla="*/ 314325 h 571500"/>
                      <a:gd name="connsiteX26" fmla="*/ 104775 w 1047750"/>
                      <a:gd name="connsiteY26" fmla="*/ 257175 h 571500"/>
                      <a:gd name="connsiteX27" fmla="*/ 60325 w 1047750"/>
                      <a:gd name="connsiteY27" fmla="*/ 206375 h 571500"/>
                      <a:gd name="connsiteX28" fmla="*/ 0 w 1047750"/>
                      <a:gd name="connsiteY28" fmla="*/ 174625 h 571500"/>
                      <a:gd name="connsiteX0" fmla="*/ 0 w 1047750"/>
                      <a:gd name="connsiteY0" fmla="*/ 174625 h 571500"/>
                      <a:gd name="connsiteX1" fmla="*/ 47625 w 1047750"/>
                      <a:gd name="connsiteY1" fmla="*/ 266700 h 571500"/>
                      <a:gd name="connsiteX2" fmla="*/ 76200 w 1047750"/>
                      <a:gd name="connsiteY2" fmla="*/ 346075 h 571500"/>
                      <a:gd name="connsiteX3" fmla="*/ 120650 w 1047750"/>
                      <a:gd name="connsiteY3" fmla="*/ 431800 h 571500"/>
                      <a:gd name="connsiteX4" fmla="*/ 174625 w 1047750"/>
                      <a:gd name="connsiteY4" fmla="*/ 495300 h 571500"/>
                      <a:gd name="connsiteX5" fmla="*/ 282575 w 1047750"/>
                      <a:gd name="connsiteY5" fmla="*/ 546100 h 571500"/>
                      <a:gd name="connsiteX6" fmla="*/ 438150 w 1047750"/>
                      <a:gd name="connsiteY6" fmla="*/ 571500 h 571500"/>
                      <a:gd name="connsiteX7" fmla="*/ 590550 w 1047750"/>
                      <a:gd name="connsiteY7" fmla="*/ 530225 h 571500"/>
                      <a:gd name="connsiteX8" fmla="*/ 730250 w 1047750"/>
                      <a:gd name="connsiteY8" fmla="*/ 450850 h 571500"/>
                      <a:gd name="connsiteX9" fmla="*/ 850900 w 1047750"/>
                      <a:gd name="connsiteY9" fmla="*/ 336550 h 571500"/>
                      <a:gd name="connsiteX10" fmla="*/ 917575 w 1047750"/>
                      <a:gd name="connsiteY10" fmla="*/ 241300 h 571500"/>
                      <a:gd name="connsiteX11" fmla="*/ 993775 w 1047750"/>
                      <a:gd name="connsiteY11" fmla="*/ 155575 h 571500"/>
                      <a:gd name="connsiteX12" fmla="*/ 1025525 w 1047750"/>
                      <a:gd name="connsiteY12" fmla="*/ 92075 h 571500"/>
                      <a:gd name="connsiteX13" fmla="*/ 1047750 w 1047750"/>
                      <a:gd name="connsiteY13" fmla="*/ 41275 h 571500"/>
                      <a:gd name="connsiteX14" fmla="*/ 1047750 w 1047750"/>
                      <a:gd name="connsiteY14" fmla="*/ 0 h 571500"/>
                      <a:gd name="connsiteX15" fmla="*/ 1016000 w 1047750"/>
                      <a:gd name="connsiteY15" fmla="*/ 63500 h 571500"/>
                      <a:gd name="connsiteX16" fmla="*/ 990600 w 1047750"/>
                      <a:gd name="connsiteY16" fmla="*/ 111125 h 571500"/>
                      <a:gd name="connsiteX17" fmla="*/ 955675 w 1047750"/>
                      <a:gd name="connsiteY17" fmla="*/ 149225 h 571500"/>
                      <a:gd name="connsiteX18" fmla="*/ 777875 w 1047750"/>
                      <a:gd name="connsiteY18" fmla="*/ 238125 h 571500"/>
                      <a:gd name="connsiteX19" fmla="*/ 679450 w 1047750"/>
                      <a:gd name="connsiteY19" fmla="*/ 263525 h 571500"/>
                      <a:gd name="connsiteX20" fmla="*/ 555625 w 1047750"/>
                      <a:gd name="connsiteY20" fmla="*/ 320675 h 571500"/>
                      <a:gd name="connsiteX21" fmla="*/ 501650 w 1047750"/>
                      <a:gd name="connsiteY21" fmla="*/ 342900 h 571500"/>
                      <a:gd name="connsiteX22" fmla="*/ 431800 w 1047750"/>
                      <a:gd name="connsiteY22" fmla="*/ 365125 h 571500"/>
                      <a:gd name="connsiteX23" fmla="*/ 352425 w 1047750"/>
                      <a:gd name="connsiteY23" fmla="*/ 365125 h 571500"/>
                      <a:gd name="connsiteX24" fmla="*/ 266700 w 1047750"/>
                      <a:gd name="connsiteY24" fmla="*/ 352425 h 571500"/>
                      <a:gd name="connsiteX25" fmla="*/ 180975 w 1047750"/>
                      <a:gd name="connsiteY25" fmla="*/ 314325 h 571500"/>
                      <a:gd name="connsiteX26" fmla="*/ 104775 w 1047750"/>
                      <a:gd name="connsiteY26" fmla="*/ 257175 h 571500"/>
                      <a:gd name="connsiteX27" fmla="*/ 60325 w 1047750"/>
                      <a:gd name="connsiteY27" fmla="*/ 206375 h 571500"/>
                      <a:gd name="connsiteX28" fmla="*/ 0 w 1047750"/>
                      <a:gd name="connsiteY28" fmla="*/ 174625 h 571500"/>
                      <a:gd name="connsiteX0" fmla="*/ 0 w 1047750"/>
                      <a:gd name="connsiteY0" fmla="*/ 174625 h 571500"/>
                      <a:gd name="connsiteX1" fmla="*/ 47625 w 1047750"/>
                      <a:gd name="connsiteY1" fmla="*/ 266700 h 571500"/>
                      <a:gd name="connsiteX2" fmla="*/ 76200 w 1047750"/>
                      <a:gd name="connsiteY2" fmla="*/ 346075 h 571500"/>
                      <a:gd name="connsiteX3" fmla="*/ 120650 w 1047750"/>
                      <a:gd name="connsiteY3" fmla="*/ 431800 h 571500"/>
                      <a:gd name="connsiteX4" fmla="*/ 174625 w 1047750"/>
                      <a:gd name="connsiteY4" fmla="*/ 495300 h 571500"/>
                      <a:gd name="connsiteX5" fmla="*/ 282575 w 1047750"/>
                      <a:gd name="connsiteY5" fmla="*/ 546100 h 571500"/>
                      <a:gd name="connsiteX6" fmla="*/ 438150 w 1047750"/>
                      <a:gd name="connsiteY6" fmla="*/ 571500 h 571500"/>
                      <a:gd name="connsiteX7" fmla="*/ 590550 w 1047750"/>
                      <a:gd name="connsiteY7" fmla="*/ 530225 h 571500"/>
                      <a:gd name="connsiteX8" fmla="*/ 730250 w 1047750"/>
                      <a:gd name="connsiteY8" fmla="*/ 450850 h 571500"/>
                      <a:gd name="connsiteX9" fmla="*/ 850900 w 1047750"/>
                      <a:gd name="connsiteY9" fmla="*/ 336550 h 571500"/>
                      <a:gd name="connsiteX10" fmla="*/ 917575 w 1047750"/>
                      <a:gd name="connsiteY10" fmla="*/ 241300 h 571500"/>
                      <a:gd name="connsiteX11" fmla="*/ 993775 w 1047750"/>
                      <a:gd name="connsiteY11" fmla="*/ 155575 h 571500"/>
                      <a:gd name="connsiteX12" fmla="*/ 1025525 w 1047750"/>
                      <a:gd name="connsiteY12" fmla="*/ 92075 h 571500"/>
                      <a:gd name="connsiteX13" fmla="*/ 1047750 w 1047750"/>
                      <a:gd name="connsiteY13" fmla="*/ 41275 h 571500"/>
                      <a:gd name="connsiteX14" fmla="*/ 1047750 w 1047750"/>
                      <a:gd name="connsiteY14" fmla="*/ 0 h 571500"/>
                      <a:gd name="connsiteX15" fmla="*/ 1016000 w 1047750"/>
                      <a:gd name="connsiteY15" fmla="*/ 63500 h 571500"/>
                      <a:gd name="connsiteX16" fmla="*/ 990600 w 1047750"/>
                      <a:gd name="connsiteY16" fmla="*/ 111125 h 571500"/>
                      <a:gd name="connsiteX17" fmla="*/ 955675 w 1047750"/>
                      <a:gd name="connsiteY17" fmla="*/ 149225 h 571500"/>
                      <a:gd name="connsiteX18" fmla="*/ 777875 w 1047750"/>
                      <a:gd name="connsiteY18" fmla="*/ 238125 h 571500"/>
                      <a:gd name="connsiteX19" fmla="*/ 679450 w 1047750"/>
                      <a:gd name="connsiteY19" fmla="*/ 263525 h 571500"/>
                      <a:gd name="connsiteX20" fmla="*/ 555625 w 1047750"/>
                      <a:gd name="connsiteY20" fmla="*/ 320675 h 571500"/>
                      <a:gd name="connsiteX21" fmla="*/ 501650 w 1047750"/>
                      <a:gd name="connsiteY21" fmla="*/ 342900 h 571500"/>
                      <a:gd name="connsiteX22" fmla="*/ 431800 w 1047750"/>
                      <a:gd name="connsiteY22" fmla="*/ 365125 h 571500"/>
                      <a:gd name="connsiteX23" fmla="*/ 352425 w 1047750"/>
                      <a:gd name="connsiteY23" fmla="*/ 365125 h 571500"/>
                      <a:gd name="connsiteX24" fmla="*/ 266700 w 1047750"/>
                      <a:gd name="connsiteY24" fmla="*/ 352425 h 571500"/>
                      <a:gd name="connsiteX25" fmla="*/ 180975 w 1047750"/>
                      <a:gd name="connsiteY25" fmla="*/ 314325 h 571500"/>
                      <a:gd name="connsiteX26" fmla="*/ 104775 w 1047750"/>
                      <a:gd name="connsiteY26" fmla="*/ 257175 h 571500"/>
                      <a:gd name="connsiteX27" fmla="*/ 60325 w 1047750"/>
                      <a:gd name="connsiteY27" fmla="*/ 206375 h 571500"/>
                      <a:gd name="connsiteX28" fmla="*/ 0 w 1047750"/>
                      <a:gd name="connsiteY28" fmla="*/ 174625 h 571500"/>
                      <a:gd name="connsiteX0" fmla="*/ 0 w 1047750"/>
                      <a:gd name="connsiteY0" fmla="*/ 174625 h 571500"/>
                      <a:gd name="connsiteX1" fmla="*/ 47625 w 1047750"/>
                      <a:gd name="connsiteY1" fmla="*/ 266700 h 571500"/>
                      <a:gd name="connsiteX2" fmla="*/ 76200 w 1047750"/>
                      <a:gd name="connsiteY2" fmla="*/ 346075 h 571500"/>
                      <a:gd name="connsiteX3" fmla="*/ 120650 w 1047750"/>
                      <a:gd name="connsiteY3" fmla="*/ 431800 h 571500"/>
                      <a:gd name="connsiteX4" fmla="*/ 174625 w 1047750"/>
                      <a:gd name="connsiteY4" fmla="*/ 495300 h 571500"/>
                      <a:gd name="connsiteX5" fmla="*/ 282575 w 1047750"/>
                      <a:gd name="connsiteY5" fmla="*/ 546100 h 571500"/>
                      <a:gd name="connsiteX6" fmla="*/ 438150 w 1047750"/>
                      <a:gd name="connsiteY6" fmla="*/ 571500 h 571500"/>
                      <a:gd name="connsiteX7" fmla="*/ 590550 w 1047750"/>
                      <a:gd name="connsiteY7" fmla="*/ 530225 h 571500"/>
                      <a:gd name="connsiteX8" fmla="*/ 730250 w 1047750"/>
                      <a:gd name="connsiteY8" fmla="*/ 450850 h 571500"/>
                      <a:gd name="connsiteX9" fmla="*/ 850900 w 1047750"/>
                      <a:gd name="connsiteY9" fmla="*/ 336550 h 571500"/>
                      <a:gd name="connsiteX10" fmla="*/ 917575 w 1047750"/>
                      <a:gd name="connsiteY10" fmla="*/ 241300 h 571500"/>
                      <a:gd name="connsiteX11" fmla="*/ 993775 w 1047750"/>
                      <a:gd name="connsiteY11" fmla="*/ 155575 h 571500"/>
                      <a:gd name="connsiteX12" fmla="*/ 1025525 w 1047750"/>
                      <a:gd name="connsiteY12" fmla="*/ 92075 h 571500"/>
                      <a:gd name="connsiteX13" fmla="*/ 1047750 w 1047750"/>
                      <a:gd name="connsiteY13" fmla="*/ 41275 h 571500"/>
                      <a:gd name="connsiteX14" fmla="*/ 1047750 w 1047750"/>
                      <a:gd name="connsiteY14" fmla="*/ 0 h 571500"/>
                      <a:gd name="connsiteX15" fmla="*/ 1003300 w 1047750"/>
                      <a:gd name="connsiteY15" fmla="*/ 69850 h 571500"/>
                      <a:gd name="connsiteX16" fmla="*/ 990600 w 1047750"/>
                      <a:gd name="connsiteY16" fmla="*/ 111125 h 571500"/>
                      <a:gd name="connsiteX17" fmla="*/ 955675 w 1047750"/>
                      <a:gd name="connsiteY17" fmla="*/ 149225 h 571500"/>
                      <a:gd name="connsiteX18" fmla="*/ 777875 w 1047750"/>
                      <a:gd name="connsiteY18" fmla="*/ 238125 h 571500"/>
                      <a:gd name="connsiteX19" fmla="*/ 679450 w 1047750"/>
                      <a:gd name="connsiteY19" fmla="*/ 263525 h 571500"/>
                      <a:gd name="connsiteX20" fmla="*/ 555625 w 1047750"/>
                      <a:gd name="connsiteY20" fmla="*/ 320675 h 571500"/>
                      <a:gd name="connsiteX21" fmla="*/ 501650 w 1047750"/>
                      <a:gd name="connsiteY21" fmla="*/ 342900 h 571500"/>
                      <a:gd name="connsiteX22" fmla="*/ 431800 w 1047750"/>
                      <a:gd name="connsiteY22" fmla="*/ 365125 h 571500"/>
                      <a:gd name="connsiteX23" fmla="*/ 352425 w 1047750"/>
                      <a:gd name="connsiteY23" fmla="*/ 365125 h 571500"/>
                      <a:gd name="connsiteX24" fmla="*/ 266700 w 1047750"/>
                      <a:gd name="connsiteY24" fmla="*/ 352425 h 571500"/>
                      <a:gd name="connsiteX25" fmla="*/ 180975 w 1047750"/>
                      <a:gd name="connsiteY25" fmla="*/ 314325 h 571500"/>
                      <a:gd name="connsiteX26" fmla="*/ 104775 w 1047750"/>
                      <a:gd name="connsiteY26" fmla="*/ 257175 h 571500"/>
                      <a:gd name="connsiteX27" fmla="*/ 60325 w 1047750"/>
                      <a:gd name="connsiteY27" fmla="*/ 206375 h 571500"/>
                      <a:gd name="connsiteX28" fmla="*/ 0 w 1047750"/>
                      <a:gd name="connsiteY28" fmla="*/ 174625 h 571500"/>
                      <a:gd name="connsiteX0" fmla="*/ 0 w 1047750"/>
                      <a:gd name="connsiteY0" fmla="*/ 174625 h 571500"/>
                      <a:gd name="connsiteX1" fmla="*/ 47625 w 1047750"/>
                      <a:gd name="connsiteY1" fmla="*/ 266700 h 571500"/>
                      <a:gd name="connsiteX2" fmla="*/ 76200 w 1047750"/>
                      <a:gd name="connsiteY2" fmla="*/ 346075 h 571500"/>
                      <a:gd name="connsiteX3" fmla="*/ 120650 w 1047750"/>
                      <a:gd name="connsiteY3" fmla="*/ 431800 h 571500"/>
                      <a:gd name="connsiteX4" fmla="*/ 174625 w 1047750"/>
                      <a:gd name="connsiteY4" fmla="*/ 495300 h 571500"/>
                      <a:gd name="connsiteX5" fmla="*/ 282575 w 1047750"/>
                      <a:gd name="connsiteY5" fmla="*/ 546100 h 571500"/>
                      <a:gd name="connsiteX6" fmla="*/ 438150 w 1047750"/>
                      <a:gd name="connsiteY6" fmla="*/ 571500 h 571500"/>
                      <a:gd name="connsiteX7" fmla="*/ 590550 w 1047750"/>
                      <a:gd name="connsiteY7" fmla="*/ 530225 h 571500"/>
                      <a:gd name="connsiteX8" fmla="*/ 730250 w 1047750"/>
                      <a:gd name="connsiteY8" fmla="*/ 450850 h 571500"/>
                      <a:gd name="connsiteX9" fmla="*/ 850900 w 1047750"/>
                      <a:gd name="connsiteY9" fmla="*/ 336550 h 571500"/>
                      <a:gd name="connsiteX10" fmla="*/ 917575 w 1047750"/>
                      <a:gd name="connsiteY10" fmla="*/ 241300 h 571500"/>
                      <a:gd name="connsiteX11" fmla="*/ 993775 w 1047750"/>
                      <a:gd name="connsiteY11" fmla="*/ 155575 h 571500"/>
                      <a:gd name="connsiteX12" fmla="*/ 1025525 w 1047750"/>
                      <a:gd name="connsiteY12" fmla="*/ 92075 h 571500"/>
                      <a:gd name="connsiteX13" fmla="*/ 1047750 w 1047750"/>
                      <a:gd name="connsiteY13" fmla="*/ 41275 h 571500"/>
                      <a:gd name="connsiteX14" fmla="*/ 1047750 w 1047750"/>
                      <a:gd name="connsiteY14" fmla="*/ 0 h 571500"/>
                      <a:gd name="connsiteX15" fmla="*/ 1003300 w 1047750"/>
                      <a:gd name="connsiteY15" fmla="*/ 69850 h 571500"/>
                      <a:gd name="connsiteX16" fmla="*/ 990600 w 1047750"/>
                      <a:gd name="connsiteY16" fmla="*/ 111125 h 571500"/>
                      <a:gd name="connsiteX17" fmla="*/ 955675 w 1047750"/>
                      <a:gd name="connsiteY17" fmla="*/ 149225 h 571500"/>
                      <a:gd name="connsiteX18" fmla="*/ 777875 w 1047750"/>
                      <a:gd name="connsiteY18" fmla="*/ 238125 h 571500"/>
                      <a:gd name="connsiteX19" fmla="*/ 679450 w 1047750"/>
                      <a:gd name="connsiteY19" fmla="*/ 263525 h 571500"/>
                      <a:gd name="connsiteX20" fmla="*/ 555625 w 1047750"/>
                      <a:gd name="connsiteY20" fmla="*/ 320675 h 571500"/>
                      <a:gd name="connsiteX21" fmla="*/ 501650 w 1047750"/>
                      <a:gd name="connsiteY21" fmla="*/ 342900 h 571500"/>
                      <a:gd name="connsiteX22" fmla="*/ 431800 w 1047750"/>
                      <a:gd name="connsiteY22" fmla="*/ 365125 h 571500"/>
                      <a:gd name="connsiteX23" fmla="*/ 352425 w 1047750"/>
                      <a:gd name="connsiteY23" fmla="*/ 365125 h 571500"/>
                      <a:gd name="connsiteX24" fmla="*/ 266700 w 1047750"/>
                      <a:gd name="connsiteY24" fmla="*/ 352425 h 571500"/>
                      <a:gd name="connsiteX25" fmla="*/ 180975 w 1047750"/>
                      <a:gd name="connsiteY25" fmla="*/ 314325 h 571500"/>
                      <a:gd name="connsiteX26" fmla="*/ 104775 w 1047750"/>
                      <a:gd name="connsiteY26" fmla="*/ 257175 h 571500"/>
                      <a:gd name="connsiteX27" fmla="*/ 60325 w 1047750"/>
                      <a:gd name="connsiteY27" fmla="*/ 206375 h 571500"/>
                      <a:gd name="connsiteX28" fmla="*/ 0 w 1047750"/>
                      <a:gd name="connsiteY28" fmla="*/ 174625 h 571500"/>
                      <a:gd name="connsiteX0" fmla="*/ 0 w 1047750"/>
                      <a:gd name="connsiteY0" fmla="*/ 174625 h 571500"/>
                      <a:gd name="connsiteX1" fmla="*/ 47625 w 1047750"/>
                      <a:gd name="connsiteY1" fmla="*/ 266700 h 571500"/>
                      <a:gd name="connsiteX2" fmla="*/ 76200 w 1047750"/>
                      <a:gd name="connsiteY2" fmla="*/ 346075 h 571500"/>
                      <a:gd name="connsiteX3" fmla="*/ 120650 w 1047750"/>
                      <a:gd name="connsiteY3" fmla="*/ 431800 h 571500"/>
                      <a:gd name="connsiteX4" fmla="*/ 174625 w 1047750"/>
                      <a:gd name="connsiteY4" fmla="*/ 495300 h 571500"/>
                      <a:gd name="connsiteX5" fmla="*/ 282575 w 1047750"/>
                      <a:gd name="connsiteY5" fmla="*/ 546100 h 571500"/>
                      <a:gd name="connsiteX6" fmla="*/ 438150 w 1047750"/>
                      <a:gd name="connsiteY6" fmla="*/ 571500 h 571500"/>
                      <a:gd name="connsiteX7" fmla="*/ 590550 w 1047750"/>
                      <a:gd name="connsiteY7" fmla="*/ 530225 h 571500"/>
                      <a:gd name="connsiteX8" fmla="*/ 730250 w 1047750"/>
                      <a:gd name="connsiteY8" fmla="*/ 450850 h 571500"/>
                      <a:gd name="connsiteX9" fmla="*/ 850900 w 1047750"/>
                      <a:gd name="connsiteY9" fmla="*/ 336550 h 571500"/>
                      <a:gd name="connsiteX10" fmla="*/ 917575 w 1047750"/>
                      <a:gd name="connsiteY10" fmla="*/ 241300 h 571500"/>
                      <a:gd name="connsiteX11" fmla="*/ 993775 w 1047750"/>
                      <a:gd name="connsiteY11" fmla="*/ 155575 h 571500"/>
                      <a:gd name="connsiteX12" fmla="*/ 1025525 w 1047750"/>
                      <a:gd name="connsiteY12" fmla="*/ 92075 h 571500"/>
                      <a:gd name="connsiteX13" fmla="*/ 1047750 w 1047750"/>
                      <a:gd name="connsiteY13" fmla="*/ 41275 h 571500"/>
                      <a:gd name="connsiteX14" fmla="*/ 1047750 w 1047750"/>
                      <a:gd name="connsiteY14" fmla="*/ 0 h 571500"/>
                      <a:gd name="connsiteX15" fmla="*/ 1003300 w 1047750"/>
                      <a:gd name="connsiteY15" fmla="*/ 69850 h 571500"/>
                      <a:gd name="connsiteX16" fmla="*/ 990600 w 1047750"/>
                      <a:gd name="connsiteY16" fmla="*/ 111125 h 571500"/>
                      <a:gd name="connsiteX17" fmla="*/ 904875 w 1047750"/>
                      <a:gd name="connsiteY17" fmla="*/ 180975 h 571500"/>
                      <a:gd name="connsiteX18" fmla="*/ 777875 w 1047750"/>
                      <a:gd name="connsiteY18" fmla="*/ 238125 h 571500"/>
                      <a:gd name="connsiteX19" fmla="*/ 679450 w 1047750"/>
                      <a:gd name="connsiteY19" fmla="*/ 263525 h 571500"/>
                      <a:gd name="connsiteX20" fmla="*/ 555625 w 1047750"/>
                      <a:gd name="connsiteY20" fmla="*/ 320675 h 571500"/>
                      <a:gd name="connsiteX21" fmla="*/ 501650 w 1047750"/>
                      <a:gd name="connsiteY21" fmla="*/ 342900 h 571500"/>
                      <a:gd name="connsiteX22" fmla="*/ 431800 w 1047750"/>
                      <a:gd name="connsiteY22" fmla="*/ 365125 h 571500"/>
                      <a:gd name="connsiteX23" fmla="*/ 352425 w 1047750"/>
                      <a:gd name="connsiteY23" fmla="*/ 365125 h 571500"/>
                      <a:gd name="connsiteX24" fmla="*/ 266700 w 1047750"/>
                      <a:gd name="connsiteY24" fmla="*/ 352425 h 571500"/>
                      <a:gd name="connsiteX25" fmla="*/ 180975 w 1047750"/>
                      <a:gd name="connsiteY25" fmla="*/ 314325 h 571500"/>
                      <a:gd name="connsiteX26" fmla="*/ 104775 w 1047750"/>
                      <a:gd name="connsiteY26" fmla="*/ 257175 h 571500"/>
                      <a:gd name="connsiteX27" fmla="*/ 60325 w 1047750"/>
                      <a:gd name="connsiteY27" fmla="*/ 206375 h 571500"/>
                      <a:gd name="connsiteX28" fmla="*/ 0 w 1047750"/>
                      <a:gd name="connsiteY28" fmla="*/ 174625 h 571500"/>
                      <a:gd name="connsiteX0" fmla="*/ 0 w 1047750"/>
                      <a:gd name="connsiteY0" fmla="*/ 174625 h 571500"/>
                      <a:gd name="connsiteX1" fmla="*/ 47625 w 1047750"/>
                      <a:gd name="connsiteY1" fmla="*/ 266700 h 571500"/>
                      <a:gd name="connsiteX2" fmla="*/ 76200 w 1047750"/>
                      <a:gd name="connsiteY2" fmla="*/ 346075 h 571500"/>
                      <a:gd name="connsiteX3" fmla="*/ 120650 w 1047750"/>
                      <a:gd name="connsiteY3" fmla="*/ 431800 h 571500"/>
                      <a:gd name="connsiteX4" fmla="*/ 174625 w 1047750"/>
                      <a:gd name="connsiteY4" fmla="*/ 495300 h 571500"/>
                      <a:gd name="connsiteX5" fmla="*/ 282575 w 1047750"/>
                      <a:gd name="connsiteY5" fmla="*/ 546100 h 571500"/>
                      <a:gd name="connsiteX6" fmla="*/ 438150 w 1047750"/>
                      <a:gd name="connsiteY6" fmla="*/ 571500 h 571500"/>
                      <a:gd name="connsiteX7" fmla="*/ 590550 w 1047750"/>
                      <a:gd name="connsiteY7" fmla="*/ 530225 h 571500"/>
                      <a:gd name="connsiteX8" fmla="*/ 730250 w 1047750"/>
                      <a:gd name="connsiteY8" fmla="*/ 450850 h 571500"/>
                      <a:gd name="connsiteX9" fmla="*/ 850900 w 1047750"/>
                      <a:gd name="connsiteY9" fmla="*/ 336550 h 571500"/>
                      <a:gd name="connsiteX10" fmla="*/ 917575 w 1047750"/>
                      <a:gd name="connsiteY10" fmla="*/ 241300 h 571500"/>
                      <a:gd name="connsiteX11" fmla="*/ 993775 w 1047750"/>
                      <a:gd name="connsiteY11" fmla="*/ 155575 h 571500"/>
                      <a:gd name="connsiteX12" fmla="*/ 1025525 w 1047750"/>
                      <a:gd name="connsiteY12" fmla="*/ 92075 h 571500"/>
                      <a:gd name="connsiteX13" fmla="*/ 1047750 w 1047750"/>
                      <a:gd name="connsiteY13" fmla="*/ 41275 h 571500"/>
                      <a:gd name="connsiteX14" fmla="*/ 1047750 w 1047750"/>
                      <a:gd name="connsiteY14" fmla="*/ 0 h 571500"/>
                      <a:gd name="connsiteX15" fmla="*/ 1003300 w 1047750"/>
                      <a:gd name="connsiteY15" fmla="*/ 69850 h 571500"/>
                      <a:gd name="connsiteX16" fmla="*/ 996950 w 1047750"/>
                      <a:gd name="connsiteY16" fmla="*/ 79375 h 571500"/>
                      <a:gd name="connsiteX17" fmla="*/ 904875 w 1047750"/>
                      <a:gd name="connsiteY17" fmla="*/ 180975 h 571500"/>
                      <a:gd name="connsiteX18" fmla="*/ 777875 w 1047750"/>
                      <a:gd name="connsiteY18" fmla="*/ 238125 h 571500"/>
                      <a:gd name="connsiteX19" fmla="*/ 679450 w 1047750"/>
                      <a:gd name="connsiteY19" fmla="*/ 263525 h 571500"/>
                      <a:gd name="connsiteX20" fmla="*/ 555625 w 1047750"/>
                      <a:gd name="connsiteY20" fmla="*/ 320675 h 571500"/>
                      <a:gd name="connsiteX21" fmla="*/ 501650 w 1047750"/>
                      <a:gd name="connsiteY21" fmla="*/ 342900 h 571500"/>
                      <a:gd name="connsiteX22" fmla="*/ 431800 w 1047750"/>
                      <a:gd name="connsiteY22" fmla="*/ 365125 h 571500"/>
                      <a:gd name="connsiteX23" fmla="*/ 352425 w 1047750"/>
                      <a:gd name="connsiteY23" fmla="*/ 365125 h 571500"/>
                      <a:gd name="connsiteX24" fmla="*/ 266700 w 1047750"/>
                      <a:gd name="connsiteY24" fmla="*/ 352425 h 571500"/>
                      <a:gd name="connsiteX25" fmla="*/ 180975 w 1047750"/>
                      <a:gd name="connsiteY25" fmla="*/ 314325 h 571500"/>
                      <a:gd name="connsiteX26" fmla="*/ 104775 w 1047750"/>
                      <a:gd name="connsiteY26" fmla="*/ 257175 h 571500"/>
                      <a:gd name="connsiteX27" fmla="*/ 60325 w 1047750"/>
                      <a:gd name="connsiteY27" fmla="*/ 206375 h 571500"/>
                      <a:gd name="connsiteX28" fmla="*/ 0 w 1047750"/>
                      <a:gd name="connsiteY28" fmla="*/ 174625 h 571500"/>
                      <a:gd name="connsiteX0" fmla="*/ 1852 w 1049602"/>
                      <a:gd name="connsiteY0" fmla="*/ 174625 h 571500"/>
                      <a:gd name="connsiteX1" fmla="*/ 49477 w 1049602"/>
                      <a:gd name="connsiteY1" fmla="*/ 266700 h 571500"/>
                      <a:gd name="connsiteX2" fmla="*/ 78052 w 1049602"/>
                      <a:gd name="connsiteY2" fmla="*/ 346075 h 571500"/>
                      <a:gd name="connsiteX3" fmla="*/ 122502 w 1049602"/>
                      <a:gd name="connsiteY3" fmla="*/ 431800 h 571500"/>
                      <a:gd name="connsiteX4" fmla="*/ 176477 w 1049602"/>
                      <a:gd name="connsiteY4" fmla="*/ 495300 h 571500"/>
                      <a:gd name="connsiteX5" fmla="*/ 284427 w 1049602"/>
                      <a:gd name="connsiteY5" fmla="*/ 546100 h 571500"/>
                      <a:gd name="connsiteX6" fmla="*/ 440002 w 1049602"/>
                      <a:gd name="connsiteY6" fmla="*/ 571500 h 571500"/>
                      <a:gd name="connsiteX7" fmla="*/ 592402 w 1049602"/>
                      <a:gd name="connsiteY7" fmla="*/ 530225 h 571500"/>
                      <a:gd name="connsiteX8" fmla="*/ 732102 w 1049602"/>
                      <a:gd name="connsiteY8" fmla="*/ 450850 h 571500"/>
                      <a:gd name="connsiteX9" fmla="*/ 852752 w 1049602"/>
                      <a:gd name="connsiteY9" fmla="*/ 336550 h 571500"/>
                      <a:gd name="connsiteX10" fmla="*/ 919427 w 1049602"/>
                      <a:gd name="connsiteY10" fmla="*/ 241300 h 571500"/>
                      <a:gd name="connsiteX11" fmla="*/ 995627 w 1049602"/>
                      <a:gd name="connsiteY11" fmla="*/ 155575 h 571500"/>
                      <a:gd name="connsiteX12" fmla="*/ 1027377 w 1049602"/>
                      <a:gd name="connsiteY12" fmla="*/ 92075 h 571500"/>
                      <a:gd name="connsiteX13" fmla="*/ 1049602 w 1049602"/>
                      <a:gd name="connsiteY13" fmla="*/ 41275 h 571500"/>
                      <a:gd name="connsiteX14" fmla="*/ 1049602 w 1049602"/>
                      <a:gd name="connsiteY14" fmla="*/ 0 h 571500"/>
                      <a:gd name="connsiteX15" fmla="*/ 1005152 w 1049602"/>
                      <a:gd name="connsiteY15" fmla="*/ 69850 h 571500"/>
                      <a:gd name="connsiteX16" fmla="*/ 998802 w 1049602"/>
                      <a:gd name="connsiteY16" fmla="*/ 79375 h 571500"/>
                      <a:gd name="connsiteX17" fmla="*/ 906727 w 1049602"/>
                      <a:gd name="connsiteY17" fmla="*/ 180975 h 571500"/>
                      <a:gd name="connsiteX18" fmla="*/ 779727 w 1049602"/>
                      <a:gd name="connsiteY18" fmla="*/ 238125 h 571500"/>
                      <a:gd name="connsiteX19" fmla="*/ 681302 w 1049602"/>
                      <a:gd name="connsiteY19" fmla="*/ 263525 h 571500"/>
                      <a:gd name="connsiteX20" fmla="*/ 557477 w 1049602"/>
                      <a:gd name="connsiteY20" fmla="*/ 320675 h 571500"/>
                      <a:gd name="connsiteX21" fmla="*/ 503502 w 1049602"/>
                      <a:gd name="connsiteY21" fmla="*/ 342900 h 571500"/>
                      <a:gd name="connsiteX22" fmla="*/ 433652 w 1049602"/>
                      <a:gd name="connsiteY22" fmla="*/ 365125 h 571500"/>
                      <a:gd name="connsiteX23" fmla="*/ 354277 w 1049602"/>
                      <a:gd name="connsiteY23" fmla="*/ 365125 h 571500"/>
                      <a:gd name="connsiteX24" fmla="*/ 268552 w 1049602"/>
                      <a:gd name="connsiteY24" fmla="*/ 352425 h 571500"/>
                      <a:gd name="connsiteX25" fmla="*/ 182827 w 1049602"/>
                      <a:gd name="connsiteY25" fmla="*/ 314325 h 571500"/>
                      <a:gd name="connsiteX26" fmla="*/ 106627 w 1049602"/>
                      <a:gd name="connsiteY26" fmla="*/ 257175 h 571500"/>
                      <a:gd name="connsiteX27" fmla="*/ 62177 w 1049602"/>
                      <a:gd name="connsiteY27" fmla="*/ 206375 h 571500"/>
                      <a:gd name="connsiteX28" fmla="*/ 43128 w 1049602"/>
                      <a:gd name="connsiteY28" fmla="*/ 166688 h 571500"/>
                      <a:gd name="connsiteX29" fmla="*/ 1852 w 1049602"/>
                      <a:gd name="connsiteY29" fmla="*/ 174625 h 571500"/>
                      <a:gd name="connsiteX0" fmla="*/ 1852 w 1018646"/>
                      <a:gd name="connsiteY0" fmla="*/ 198438 h 571500"/>
                      <a:gd name="connsiteX1" fmla="*/ 18521 w 1018646"/>
                      <a:gd name="connsiteY1" fmla="*/ 266700 h 571500"/>
                      <a:gd name="connsiteX2" fmla="*/ 47096 w 1018646"/>
                      <a:gd name="connsiteY2" fmla="*/ 346075 h 571500"/>
                      <a:gd name="connsiteX3" fmla="*/ 91546 w 1018646"/>
                      <a:gd name="connsiteY3" fmla="*/ 431800 h 571500"/>
                      <a:gd name="connsiteX4" fmla="*/ 145521 w 1018646"/>
                      <a:gd name="connsiteY4" fmla="*/ 495300 h 571500"/>
                      <a:gd name="connsiteX5" fmla="*/ 253471 w 1018646"/>
                      <a:gd name="connsiteY5" fmla="*/ 546100 h 571500"/>
                      <a:gd name="connsiteX6" fmla="*/ 409046 w 1018646"/>
                      <a:gd name="connsiteY6" fmla="*/ 571500 h 571500"/>
                      <a:gd name="connsiteX7" fmla="*/ 561446 w 1018646"/>
                      <a:gd name="connsiteY7" fmla="*/ 530225 h 571500"/>
                      <a:gd name="connsiteX8" fmla="*/ 701146 w 1018646"/>
                      <a:gd name="connsiteY8" fmla="*/ 450850 h 571500"/>
                      <a:gd name="connsiteX9" fmla="*/ 821796 w 1018646"/>
                      <a:gd name="connsiteY9" fmla="*/ 336550 h 571500"/>
                      <a:gd name="connsiteX10" fmla="*/ 888471 w 1018646"/>
                      <a:gd name="connsiteY10" fmla="*/ 241300 h 571500"/>
                      <a:gd name="connsiteX11" fmla="*/ 964671 w 1018646"/>
                      <a:gd name="connsiteY11" fmla="*/ 155575 h 571500"/>
                      <a:gd name="connsiteX12" fmla="*/ 996421 w 1018646"/>
                      <a:gd name="connsiteY12" fmla="*/ 92075 h 571500"/>
                      <a:gd name="connsiteX13" fmla="*/ 1018646 w 1018646"/>
                      <a:gd name="connsiteY13" fmla="*/ 41275 h 571500"/>
                      <a:gd name="connsiteX14" fmla="*/ 1018646 w 1018646"/>
                      <a:gd name="connsiteY14" fmla="*/ 0 h 571500"/>
                      <a:gd name="connsiteX15" fmla="*/ 974196 w 1018646"/>
                      <a:gd name="connsiteY15" fmla="*/ 69850 h 571500"/>
                      <a:gd name="connsiteX16" fmla="*/ 967846 w 1018646"/>
                      <a:gd name="connsiteY16" fmla="*/ 79375 h 571500"/>
                      <a:gd name="connsiteX17" fmla="*/ 875771 w 1018646"/>
                      <a:gd name="connsiteY17" fmla="*/ 180975 h 571500"/>
                      <a:gd name="connsiteX18" fmla="*/ 748771 w 1018646"/>
                      <a:gd name="connsiteY18" fmla="*/ 238125 h 571500"/>
                      <a:gd name="connsiteX19" fmla="*/ 650346 w 1018646"/>
                      <a:gd name="connsiteY19" fmla="*/ 263525 h 571500"/>
                      <a:gd name="connsiteX20" fmla="*/ 526521 w 1018646"/>
                      <a:gd name="connsiteY20" fmla="*/ 320675 h 571500"/>
                      <a:gd name="connsiteX21" fmla="*/ 472546 w 1018646"/>
                      <a:gd name="connsiteY21" fmla="*/ 342900 h 571500"/>
                      <a:gd name="connsiteX22" fmla="*/ 402696 w 1018646"/>
                      <a:gd name="connsiteY22" fmla="*/ 365125 h 571500"/>
                      <a:gd name="connsiteX23" fmla="*/ 323321 w 1018646"/>
                      <a:gd name="connsiteY23" fmla="*/ 365125 h 571500"/>
                      <a:gd name="connsiteX24" fmla="*/ 237596 w 1018646"/>
                      <a:gd name="connsiteY24" fmla="*/ 352425 h 571500"/>
                      <a:gd name="connsiteX25" fmla="*/ 151871 w 1018646"/>
                      <a:gd name="connsiteY25" fmla="*/ 314325 h 571500"/>
                      <a:gd name="connsiteX26" fmla="*/ 75671 w 1018646"/>
                      <a:gd name="connsiteY26" fmla="*/ 257175 h 571500"/>
                      <a:gd name="connsiteX27" fmla="*/ 31221 w 1018646"/>
                      <a:gd name="connsiteY27" fmla="*/ 206375 h 571500"/>
                      <a:gd name="connsiteX28" fmla="*/ 12172 w 1018646"/>
                      <a:gd name="connsiteY28" fmla="*/ 166688 h 571500"/>
                      <a:gd name="connsiteX29" fmla="*/ 1852 w 1018646"/>
                      <a:gd name="connsiteY29" fmla="*/ 198438 h 571500"/>
                      <a:gd name="connsiteX0" fmla="*/ 30427 w 1047221"/>
                      <a:gd name="connsiteY0" fmla="*/ 198438 h 571500"/>
                      <a:gd name="connsiteX1" fmla="*/ 47096 w 1047221"/>
                      <a:gd name="connsiteY1" fmla="*/ 266700 h 571500"/>
                      <a:gd name="connsiteX2" fmla="*/ 75671 w 1047221"/>
                      <a:gd name="connsiteY2" fmla="*/ 346075 h 571500"/>
                      <a:gd name="connsiteX3" fmla="*/ 120121 w 1047221"/>
                      <a:gd name="connsiteY3" fmla="*/ 431800 h 571500"/>
                      <a:gd name="connsiteX4" fmla="*/ 174096 w 1047221"/>
                      <a:gd name="connsiteY4" fmla="*/ 495300 h 571500"/>
                      <a:gd name="connsiteX5" fmla="*/ 282046 w 1047221"/>
                      <a:gd name="connsiteY5" fmla="*/ 546100 h 571500"/>
                      <a:gd name="connsiteX6" fmla="*/ 437621 w 1047221"/>
                      <a:gd name="connsiteY6" fmla="*/ 571500 h 571500"/>
                      <a:gd name="connsiteX7" fmla="*/ 590021 w 1047221"/>
                      <a:gd name="connsiteY7" fmla="*/ 530225 h 571500"/>
                      <a:gd name="connsiteX8" fmla="*/ 729721 w 1047221"/>
                      <a:gd name="connsiteY8" fmla="*/ 450850 h 571500"/>
                      <a:gd name="connsiteX9" fmla="*/ 850371 w 1047221"/>
                      <a:gd name="connsiteY9" fmla="*/ 336550 h 571500"/>
                      <a:gd name="connsiteX10" fmla="*/ 917046 w 1047221"/>
                      <a:gd name="connsiteY10" fmla="*/ 241300 h 571500"/>
                      <a:gd name="connsiteX11" fmla="*/ 993246 w 1047221"/>
                      <a:gd name="connsiteY11" fmla="*/ 155575 h 571500"/>
                      <a:gd name="connsiteX12" fmla="*/ 1024996 w 1047221"/>
                      <a:gd name="connsiteY12" fmla="*/ 92075 h 571500"/>
                      <a:gd name="connsiteX13" fmla="*/ 1047221 w 1047221"/>
                      <a:gd name="connsiteY13" fmla="*/ 41275 h 571500"/>
                      <a:gd name="connsiteX14" fmla="*/ 1047221 w 1047221"/>
                      <a:gd name="connsiteY14" fmla="*/ 0 h 571500"/>
                      <a:gd name="connsiteX15" fmla="*/ 1002771 w 1047221"/>
                      <a:gd name="connsiteY15" fmla="*/ 69850 h 571500"/>
                      <a:gd name="connsiteX16" fmla="*/ 996421 w 1047221"/>
                      <a:gd name="connsiteY16" fmla="*/ 79375 h 571500"/>
                      <a:gd name="connsiteX17" fmla="*/ 904346 w 1047221"/>
                      <a:gd name="connsiteY17" fmla="*/ 180975 h 571500"/>
                      <a:gd name="connsiteX18" fmla="*/ 777346 w 1047221"/>
                      <a:gd name="connsiteY18" fmla="*/ 238125 h 571500"/>
                      <a:gd name="connsiteX19" fmla="*/ 678921 w 1047221"/>
                      <a:gd name="connsiteY19" fmla="*/ 263525 h 571500"/>
                      <a:gd name="connsiteX20" fmla="*/ 555096 w 1047221"/>
                      <a:gd name="connsiteY20" fmla="*/ 320675 h 571500"/>
                      <a:gd name="connsiteX21" fmla="*/ 501121 w 1047221"/>
                      <a:gd name="connsiteY21" fmla="*/ 342900 h 571500"/>
                      <a:gd name="connsiteX22" fmla="*/ 431271 w 1047221"/>
                      <a:gd name="connsiteY22" fmla="*/ 365125 h 571500"/>
                      <a:gd name="connsiteX23" fmla="*/ 351896 w 1047221"/>
                      <a:gd name="connsiteY23" fmla="*/ 365125 h 571500"/>
                      <a:gd name="connsiteX24" fmla="*/ 266171 w 1047221"/>
                      <a:gd name="connsiteY24" fmla="*/ 352425 h 571500"/>
                      <a:gd name="connsiteX25" fmla="*/ 180446 w 1047221"/>
                      <a:gd name="connsiteY25" fmla="*/ 314325 h 571500"/>
                      <a:gd name="connsiteX26" fmla="*/ 104246 w 1047221"/>
                      <a:gd name="connsiteY26" fmla="*/ 257175 h 571500"/>
                      <a:gd name="connsiteX27" fmla="*/ 59796 w 1047221"/>
                      <a:gd name="connsiteY27" fmla="*/ 206375 h 571500"/>
                      <a:gd name="connsiteX28" fmla="*/ 40747 w 1047221"/>
                      <a:gd name="connsiteY28" fmla="*/ 166688 h 571500"/>
                      <a:gd name="connsiteX29" fmla="*/ 30427 w 1047221"/>
                      <a:gd name="connsiteY29" fmla="*/ 198438 h 571500"/>
                      <a:gd name="connsiteX0" fmla="*/ 30427 w 1047221"/>
                      <a:gd name="connsiteY0" fmla="*/ 198438 h 571500"/>
                      <a:gd name="connsiteX1" fmla="*/ 47096 w 1047221"/>
                      <a:gd name="connsiteY1" fmla="*/ 266700 h 571500"/>
                      <a:gd name="connsiteX2" fmla="*/ 75671 w 1047221"/>
                      <a:gd name="connsiteY2" fmla="*/ 346075 h 571500"/>
                      <a:gd name="connsiteX3" fmla="*/ 120121 w 1047221"/>
                      <a:gd name="connsiteY3" fmla="*/ 431800 h 571500"/>
                      <a:gd name="connsiteX4" fmla="*/ 174096 w 1047221"/>
                      <a:gd name="connsiteY4" fmla="*/ 495300 h 571500"/>
                      <a:gd name="connsiteX5" fmla="*/ 282046 w 1047221"/>
                      <a:gd name="connsiteY5" fmla="*/ 546100 h 571500"/>
                      <a:gd name="connsiteX6" fmla="*/ 437621 w 1047221"/>
                      <a:gd name="connsiteY6" fmla="*/ 571500 h 571500"/>
                      <a:gd name="connsiteX7" fmla="*/ 590021 w 1047221"/>
                      <a:gd name="connsiteY7" fmla="*/ 530225 h 571500"/>
                      <a:gd name="connsiteX8" fmla="*/ 729721 w 1047221"/>
                      <a:gd name="connsiteY8" fmla="*/ 450850 h 571500"/>
                      <a:gd name="connsiteX9" fmla="*/ 850371 w 1047221"/>
                      <a:gd name="connsiteY9" fmla="*/ 336550 h 571500"/>
                      <a:gd name="connsiteX10" fmla="*/ 917046 w 1047221"/>
                      <a:gd name="connsiteY10" fmla="*/ 241300 h 571500"/>
                      <a:gd name="connsiteX11" fmla="*/ 993246 w 1047221"/>
                      <a:gd name="connsiteY11" fmla="*/ 155575 h 571500"/>
                      <a:gd name="connsiteX12" fmla="*/ 1024996 w 1047221"/>
                      <a:gd name="connsiteY12" fmla="*/ 92075 h 571500"/>
                      <a:gd name="connsiteX13" fmla="*/ 1047221 w 1047221"/>
                      <a:gd name="connsiteY13" fmla="*/ 41275 h 571500"/>
                      <a:gd name="connsiteX14" fmla="*/ 1047221 w 1047221"/>
                      <a:gd name="connsiteY14" fmla="*/ 0 h 571500"/>
                      <a:gd name="connsiteX15" fmla="*/ 1002771 w 1047221"/>
                      <a:gd name="connsiteY15" fmla="*/ 69850 h 571500"/>
                      <a:gd name="connsiteX16" fmla="*/ 996421 w 1047221"/>
                      <a:gd name="connsiteY16" fmla="*/ 79375 h 571500"/>
                      <a:gd name="connsiteX17" fmla="*/ 904346 w 1047221"/>
                      <a:gd name="connsiteY17" fmla="*/ 180975 h 571500"/>
                      <a:gd name="connsiteX18" fmla="*/ 777346 w 1047221"/>
                      <a:gd name="connsiteY18" fmla="*/ 238125 h 571500"/>
                      <a:gd name="connsiteX19" fmla="*/ 678921 w 1047221"/>
                      <a:gd name="connsiteY19" fmla="*/ 263525 h 571500"/>
                      <a:gd name="connsiteX20" fmla="*/ 555096 w 1047221"/>
                      <a:gd name="connsiteY20" fmla="*/ 320675 h 571500"/>
                      <a:gd name="connsiteX21" fmla="*/ 501121 w 1047221"/>
                      <a:gd name="connsiteY21" fmla="*/ 342900 h 571500"/>
                      <a:gd name="connsiteX22" fmla="*/ 431271 w 1047221"/>
                      <a:gd name="connsiteY22" fmla="*/ 365125 h 571500"/>
                      <a:gd name="connsiteX23" fmla="*/ 351896 w 1047221"/>
                      <a:gd name="connsiteY23" fmla="*/ 365125 h 571500"/>
                      <a:gd name="connsiteX24" fmla="*/ 266171 w 1047221"/>
                      <a:gd name="connsiteY24" fmla="*/ 352425 h 571500"/>
                      <a:gd name="connsiteX25" fmla="*/ 180446 w 1047221"/>
                      <a:gd name="connsiteY25" fmla="*/ 314325 h 571500"/>
                      <a:gd name="connsiteX26" fmla="*/ 104246 w 1047221"/>
                      <a:gd name="connsiteY26" fmla="*/ 257175 h 571500"/>
                      <a:gd name="connsiteX27" fmla="*/ 59796 w 1047221"/>
                      <a:gd name="connsiteY27" fmla="*/ 206375 h 571500"/>
                      <a:gd name="connsiteX28" fmla="*/ 40747 w 1047221"/>
                      <a:gd name="connsiteY28" fmla="*/ 166688 h 571500"/>
                      <a:gd name="connsiteX29" fmla="*/ 30427 w 1047221"/>
                      <a:gd name="connsiteY29" fmla="*/ 198438 h 571500"/>
                      <a:gd name="connsiteX0" fmla="*/ 30427 w 1047221"/>
                      <a:gd name="connsiteY0" fmla="*/ 198438 h 571500"/>
                      <a:gd name="connsiteX1" fmla="*/ 47096 w 1047221"/>
                      <a:gd name="connsiteY1" fmla="*/ 266700 h 571500"/>
                      <a:gd name="connsiteX2" fmla="*/ 75671 w 1047221"/>
                      <a:gd name="connsiteY2" fmla="*/ 346075 h 571500"/>
                      <a:gd name="connsiteX3" fmla="*/ 120121 w 1047221"/>
                      <a:gd name="connsiteY3" fmla="*/ 431800 h 571500"/>
                      <a:gd name="connsiteX4" fmla="*/ 174096 w 1047221"/>
                      <a:gd name="connsiteY4" fmla="*/ 495300 h 571500"/>
                      <a:gd name="connsiteX5" fmla="*/ 282046 w 1047221"/>
                      <a:gd name="connsiteY5" fmla="*/ 546100 h 571500"/>
                      <a:gd name="connsiteX6" fmla="*/ 437621 w 1047221"/>
                      <a:gd name="connsiteY6" fmla="*/ 571500 h 571500"/>
                      <a:gd name="connsiteX7" fmla="*/ 590021 w 1047221"/>
                      <a:gd name="connsiteY7" fmla="*/ 530225 h 571500"/>
                      <a:gd name="connsiteX8" fmla="*/ 729721 w 1047221"/>
                      <a:gd name="connsiteY8" fmla="*/ 450850 h 571500"/>
                      <a:gd name="connsiteX9" fmla="*/ 850371 w 1047221"/>
                      <a:gd name="connsiteY9" fmla="*/ 336550 h 571500"/>
                      <a:gd name="connsiteX10" fmla="*/ 917046 w 1047221"/>
                      <a:gd name="connsiteY10" fmla="*/ 241300 h 571500"/>
                      <a:gd name="connsiteX11" fmla="*/ 993246 w 1047221"/>
                      <a:gd name="connsiteY11" fmla="*/ 155575 h 571500"/>
                      <a:gd name="connsiteX12" fmla="*/ 1024996 w 1047221"/>
                      <a:gd name="connsiteY12" fmla="*/ 92075 h 571500"/>
                      <a:gd name="connsiteX13" fmla="*/ 1047221 w 1047221"/>
                      <a:gd name="connsiteY13" fmla="*/ 41275 h 571500"/>
                      <a:gd name="connsiteX14" fmla="*/ 1047221 w 1047221"/>
                      <a:gd name="connsiteY14" fmla="*/ 0 h 571500"/>
                      <a:gd name="connsiteX15" fmla="*/ 1002771 w 1047221"/>
                      <a:gd name="connsiteY15" fmla="*/ 69850 h 571500"/>
                      <a:gd name="connsiteX16" fmla="*/ 996421 w 1047221"/>
                      <a:gd name="connsiteY16" fmla="*/ 79375 h 571500"/>
                      <a:gd name="connsiteX17" fmla="*/ 904346 w 1047221"/>
                      <a:gd name="connsiteY17" fmla="*/ 180975 h 571500"/>
                      <a:gd name="connsiteX18" fmla="*/ 777346 w 1047221"/>
                      <a:gd name="connsiteY18" fmla="*/ 238125 h 571500"/>
                      <a:gd name="connsiteX19" fmla="*/ 678921 w 1047221"/>
                      <a:gd name="connsiteY19" fmla="*/ 263525 h 571500"/>
                      <a:gd name="connsiteX20" fmla="*/ 555096 w 1047221"/>
                      <a:gd name="connsiteY20" fmla="*/ 320675 h 571500"/>
                      <a:gd name="connsiteX21" fmla="*/ 501121 w 1047221"/>
                      <a:gd name="connsiteY21" fmla="*/ 342900 h 571500"/>
                      <a:gd name="connsiteX22" fmla="*/ 431271 w 1047221"/>
                      <a:gd name="connsiteY22" fmla="*/ 365125 h 571500"/>
                      <a:gd name="connsiteX23" fmla="*/ 342371 w 1047221"/>
                      <a:gd name="connsiteY23" fmla="*/ 355600 h 571500"/>
                      <a:gd name="connsiteX24" fmla="*/ 266171 w 1047221"/>
                      <a:gd name="connsiteY24" fmla="*/ 352425 h 571500"/>
                      <a:gd name="connsiteX25" fmla="*/ 180446 w 1047221"/>
                      <a:gd name="connsiteY25" fmla="*/ 314325 h 571500"/>
                      <a:gd name="connsiteX26" fmla="*/ 104246 w 1047221"/>
                      <a:gd name="connsiteY26" fmla="*/ 257175 h 571500"/>
                      <a:gd name="connsiteX27" fmla="*/ 59796 w 1047221"/>
                      <a:gd name="connsiteY27" fmla="*/ 206375 h 571500"/>
                      <a:gd name="connsiteX28" fmla="*/ 40747 w 1047221"/>
                      <a:gd name="connsiteY28" fmla="*/ 166688 h 571500"/>
                      <a:gd name="connsiteX29" fmla="*/ 30427 w 1047221"/>
                      <a:gd name="connsiteY29" fmla="*/ 198438 h 571500"/>
                      <a:gd name="connsiteX0" fmla="*/ 30427 w 1047221"/>
                      <a:gd name="connsiteY0" fmla="*/ 198438 h 571500"/>
                      <a:gd name="connsiteX1" fmla="*/ 47096 w 1047221"/>
                      <a:gd name="connsiteY1" fmla="*/ 266700 h 571500"/>
                      <a:gd name="connsiteX2" fmla="*/ 75671 w 1047221"/>
                      <a:gd name="connsiteY2" fmla="*/ 346075 h 571500"/>
                      <a:gd name="connsiteX3" fmla="*/ 120121 w 1047221"/>
                      <a:gd name="connsiteY3" fmla="*/ 431800 h 571500"/>
                      <a:gd name="connsiteX4" fmla="*/ 174096 w 1047221"/>
                      <a:gd name="connsiteY4" fmla="*/ 495300 h 571500"/>
                      <a:gd name="connsiteX5" fmla="*/ 282046 w 1047221"/>
                      <a:gd name="connsiteY5" fmla="*/ 546100 h 571500"/>
                      <a:gd name="connsiteX6" fmla="*/ 437621 w 1047221"/>
                      <a:gd name="connsiteY6" fmla="*/ 571500 h 571500"/>
                      <a:gd name="connsiteX7" fmla="*/ 590021 w 1047221"/>
                      <a:gd name="connsiteY7" fmla="*/ 530225 h 571500"/>
                      <a:gd name="connsiteX8" fmla="*/ 729721 w 1047221"/>
                      <a:gd name="connsiteY8" fmla="*/ 450850 h 571500"/>
                      <a:gd name="connsiteX9" fmla="*/ 850371 w 1047221"/>
                      <a:gd name="connsiteY9" fmla="*/ 336550 h 571500"/>
                      <a:gd name="connsiteX10" fmla="*/ 917046 w 1047221"/>
                      <a:gd name="connsiteY10" fmla="*/ 241300 h 571500"/>
                      <a:gd name="connsiteX11" fmla="*/ 993246 w 1047221"/>
                      <a:gd name="connsiteY11" fmla="*/ 155575 h 571500"/>
                      <a:gd name="connsiteX12" fmla="*/ 1024996 w 1047221"/>
                      <a:gd name="connsiteY12" fmla="*/ 92075 h 571500"/>
                      <a:gd name="connsiteX13" fmla="*/ 1047221 w 1047221"/>
                      <a:gd name="connsiteY13" fmla="*/ 41275 h 571500"/>
                      <a:gd name="connsiteX14" fmla="*/ 1047221 w 1047221"/>
                      <a:gd name="connsiteY14" fmla="*/ 0 h 571500"/>
                      <a:gd name="connsiteX15" fmla="*/ 1002771 w 1047221"/>
                      <a:gd name="connsiteY15" fmla="*/ 69850 h 571500"/>
                      <a:gd name="connsiteX16" fmla="*/ 996421 w 1047221"/>
                      <a:gd name="connsiteY16" fmla="*/ 79375 h 571500"/>
                      <a:gd name="connsiteX17" fmla="*/ 904346 w 1047221"/>
                      <a:gd name="connsiteY17" fmla="*/ 180975 h 571500"/>
                      <a:gd name="connsiteX18" fmla="*/ 777346 w 1047221"/>
                      <a:gd name="connsiteY18" fmla="*/ 238125 h 571500"/>
                      <a:gd name="connsiteX19" fmla="*/ 678921 w 1047221"/>
                      <a:gd name="connsiteY19" fmla="*/ 263525 h 571500"/>
                      <a:gd name="connsiteX20" fmla="*/ 555096 w 1047221"/>
                      <a:gd name="connsiteY20" fmla="*/ 320675 h 571500"/>
                      <a:gd name="connsiteX21" fmla="*/ 501121 w 1047221"/>
                      <a:gd name="connsiteY21" fmla="*/ 342900 h 571500"/>
                      <a:gd name="connsiteX22" fmla="*/ 431271 w 1047221"/>
                      <a:gd name="connsiteY22" fmla="*/ 365125 h 571500"/>
                      <a:gd name="connsiteX23" fmla="*/ 342371 w 1047221"/>
                      <a:gd name="connsiteY23" fmla="*/ 355600 h 571500"/>
                      <a:gd name="connsiteX24" fmla="*/ 244740 w 1047221"/>
                      <a:gd name="connsiteY24" fmla="*/ 335756 h 571500"/>
                      <a:gd name="connsiteX25" fmla="*/ 180446 w 1047221"/>
                      <a:gd name="connsiteY25" fmla="*/ 314325 h 571500"/>
                      <a:gd name="connsiteX26" fmla="*/ 104246 w 1047221"/>
                      <a:gd name="connsiteY26" fmla="*/ 257175 h 571500"/>
                      <a:gd name="connsiteX27" fmla="*/ 59796 w 1047221"/>
                      <a:gd name="connsiteY27" fmla="*/ 206375 h 571500"/>
                      <a:gd name="connsiteX28" fmla="*/ 40747 w 1047221"/>
                      <a:gd name="connsiteY28" fmla="*/ 166688 h 571500"/>
                      <a:gd name="connsiteX29" fmla="*/ 30427 w 1047221"/>
                      <a:gd name="connsiteY29" fmla="*/ 198438 h 571500"/>
                      <a:gd name="connsiteX0" fmla="*/ 30427 w 1047221"/>
                      <a:gd name="connsiteY0" fmla="*/ 198438 h 571500"/>
                      <a:gd name="connsiteX1" fmla="*/ 47096 w 1047221"/>
                      <a:gd name="connsiteY1" fmla="*/ 266700 h 571500"/>
                      <a:gd name="connsiteX2" fmla="*/ 75671 w 1047221"/>
                      <a:gd name="connsiteY2" fmla="*/ 346075 h 571500"/>
                      <a:gd name="connsiteX3" fmla="*/ 120121 w 1047221"/>
                      <a:gd name="connsiteY3" fmla="*/ 431800 h 571500"/>
                      <a:gd name="connsiteX4" fmla="*/ 174096 w 1047221"/>
                      <a:gd name="connsiteY4" fmla="*/ 495300 h 571500"/>
                      <a:gd name="connsiteX5" fmla="*/ 282046 w 1047221"/>
                      <a:gd name="connsiteY5" fmla="*/ 546100 h 571500"/>
                      <a:gd name="connsiteX6" fmla="*/ 437621 w 1047221"/>
                      <a:gd name="connsiteY6" fmla="*/ 571500 h 571500"/>
                      <a:gd name="connsiteX7" fmla="*/ 590021 w 1047221"/>
                      <a:gd name="connsiteY7" fmla="*/ 530225 h 571500"/>
                      <a:gd name="connsiteX8" fmla="*/ 729721 w 1047221"/>
                      <a:gd name="connsiteY8" fmla="*/ 450850 h 571500"/>
                      <a:gd name="connsiteX9" fmla="*/ 850371 w 1047221"/>
                      <a:gd name="connsiteY9" fmla="*/ 336550 h 571500"/>
                      <a:gd name="connsiteX10" fmla="*/ 917046 w 1047221"/>
                      <a:gd name="connsiteY10" fmla="*/ 241300 h 571500"/>
                      <a:gd name="connsiteX11" fmla="*/ 993246 w 1047221"/>
                      <a:gd name="connsiteY11" fmla="*/ 155575 h 571500"/>
                      <a:gd name="connsiteX12" fmla="*/ 1024996 w 1047221"/>
                      <a:gd name="connsiteY12" fmla="*/ 92075 h 571500"/>
                      <a:gd name="connsiteX13" fmla="*/ 1047221 w 1047221"/>
                      <a:gd name="connsiteY13" fmla="*/ 41275 h 571500"/>
                      <a:gd name="connsiteX14" fmla="*/ 1047221 w 1047221"/>
                      <a:gd name="connsiteY14" fmla="*/ 0 h 571500"/>
                      <a:gd name="connsiteX15" fmla="*/ 1002771 w 1047221"/>
                      <a:gd name="connsiteY15" fmla="*/ 69850 h 571500"/>
                      <a:gd name="connsiteX16" fmla="*/ 996421 w 1047221"/>
                      <a:gd name="connsiteY16" fmla="*/ 79375 h 571500"/>
                      <a:gd name="connsiteX17" fmla="*/ 904346 w 1047221"/>
                      <a:gd name="connsiteY17" fmla="*/ 180975 h 571500"/>
                      <a:gd name="connsiteX18" fmla="*/ 777346 w 1047221"/>
                      <a:gd name="connsiteY18" fmla="*/ 238125 h 571500"/>
                      <a:gd name="connsiteX19" fmla="*/ 678921 w 1047221"/>
                      <a:gd name="connsiteY19" fmla="*/ 263525 h 571500"/>
                      <a:gd name="connsiteX20" fmla="*/ 555096 w 1047221"/>
                      <a:gd name="connsiteY20" fmla="*/ 320675 h 571500"/>
                      <a:gd name="connsiteX21" fmla="*/ 501121 w 1047221"/>
                      <a:gd name="connsiteY21" fmla="*/ 342900 h 571500"/>
                      <a:gd name="connsiteX22" fmla="*/ 431271 w 1047221"/>
                      <a:gd name="connsiteY22" fmla="*/ 365125 h 571500"/>
                      <a:gd name="connsiteX23" fmla="*/ 342371 w 1047221"/>
                      <a:gd name="connsiteY23" fmla="*/ 355600 h 571500"/>
                      <a:gd name="connsiteX24" fmla="*/ 244740 w 1047221"/>
                      <a:gd name="connsiteY24" fmla="*/ 335756 h 571500"/>
                      <a:gd name="connsiteX25" fmla="*/ 180446 w 1047221"/>
                      <a:gd name="connsiteY25" fmla="*/ 314325 h 571500"/>
                      <a:gd name="connsiteX26" fmla="*/ 104246 w 1047221"/>
                      <a:gd name="connsiteY26" fmla="*/ 257175 h 571500"/>
                      <a:gd name="connsiteX27" fmla="*/ 59796 w 1047221"/>
                      <a:gd name="connsiteY27" fmla="*/ 206375 h 571500"/>
                      <a:gd name="connsiteX28" fmla="*/ 40747 w 1047221"/>
                      <a:gd name="connsiteY28" fmla="*/ 166688 h 571500"/>
                      <a:gd name="connsiteX29" fmla="*/ 30427 w 1047221"/>
                      <a:gd name="connsiteY29" fmla="*/ 198438 h 571500"/>
                      <a:gd name="connsiteX0" fmla="*/ 30427 w 1047221"/>
                      <a:gd name="connsiteY0" fmla="*/ 198438 h 571500"/>
                      <a:gd name="connsiteX1" fmla="*/ 47096 w 1047221"/>
                      <a:gd name="connsiteY1" fmla="*/ 266700 h 571500"/>
                      <a:gd name="connsiteX2" fmla="*/ 75671 w 1047221"/>
                      <a:gd name="connsiteY2" fmla="*/ 346075 h 571500"/>
                      <a:gd name="connsiteX3" fmla="*/ 120121 w 1047221"/>
                      <a:gd name="connsiteY3" fmla="*/ 431800 h 571500"/>
                      <a:gd name="connsiteX4" fmla="*/ 174096 w 1047221"/>
                      <a:gd name="connsiteY4" fmla="*/ 495300 h 571500"/>
                      <a:gd name="connsiteX5" fmla="*/ 282046 w 1047221"/>
                      <a:gd name="connsiteY5" fmla="*/ 546100 h 571500"/>
                      <a:gd name="connsiteX6" fmla="*/ 437621 w 1047221"/>
                      <a:gd name="connsiteY6" fmla="*/ 571500 h 571500"/>
                      <a:gd name="connsiteX7" fmla="*/ 590021 w 1047221"/>
                      <a:gd name="connsiteY7" fmla="*/ 530225 h 571500"/>
                      <a:gd name="connsiteX8" fmla="*/ 729721 w 1047221"/>
                      <a:gd name="connsiteY8" fmla="*/ 450850 h 571500"/>
                      <a:gd name="connsiteX9" fmla="*/ 850371 w 1047221"/>
                      <a:gd name="connsiteY9" fmla="*/ 336550 h 571500"/>
                      <a:gd name="connsiteX10" fmla="*/ 917046 w 1047221"/>
                      <a:gd name="connsiteY10" fmla="*/ 241300 h 571500"/>
                      <a:gd name="connsiteX11" fmla="*/ 993246 w 1047221"/>
                      <a:gd name="connsiteY11" fmla="*/ 155575 h 571500"/>
                      <a:gd name="connsiteX12" fmla="*/ 1024996 w 1047221"/>
                      <a:gd name="connsiteY12" fmla="*/ 92075 h 571500"/>
                      <a:gd name="connsiteX13" fmla="*/ 1047221 w 1047221"/>
                      <a:gd name="connsiteY13" fmla="*/ 41275 h 571500"/>
                      <a:gd name="connsiteX14" fmla="*/ 1047221 w 1047221"/>
                      <a:gd name="connsiteY14" fmla="*/ 0 h 571500"/>
                      <a:gd name="connsiteX15" fmla="*/ 1002771 w 1047221"/>
                      <a:gd name="connsiteY15" fmla="*/ 69850 h 571500"/>
                      <a:gd name="connsiteX16" fmla="*/ 996421 w 1047221"/>
                      <a:gd name="connsiteY16" fmla="*/ 79375 h 571500"/>
                      <a:gd name="connsiteX17" fmla="*/ 904346 w 1047221"/>
                      <a:gd name="connsiteY17" fmla="*/ 180975 h 571500"/>
                      <a:gd name="connsiteX18" fmla="*/ 777346 w 1047221"/>
                      <a:gd name="connsiteY18" fmla="*/ 238125 h 571500"/>
                      <a:gd name="connsiteX19" fmla="*/ 678921 w 1047221"/>
                      <a:gd name="connsiteY19" fmla="*/ 263525 h 571500"/>
                      <a:gd name="connsiteX20" fmla="*/ 555096 w 1047221"/>
                      <a:gd name="connsiteY20" fmla="*/ 320675 h 571500"/>
                      <a:gd name="connsiteX21" fmla="*/ 501121 w 1047221"/>
                      <a:gd name="connsiteY21" fmla="*/ 342900 h 571500"/>
                      <a:gd name="connsiteX22" fmla="*/ 431271 w 1047221"/>
                      <a:gd name="connsiteY22" fmla="*/ 365125 h 571500"/>
                      <a:gd name="connsiteX23" fmla="*/ 342371 w 1047221"/>
                      <a:gd name="connsiteY23" fmla="*/ 355600 h 571500"/>
                      <a:gd name="connsiteX24" fmla="*/ 244740 w 1047221"/>
                      <a:gd name="connsiteY24" fmla="*/ 335756 h 571500"/>
                      <a:gd name="connsiteX25" fmla="*/ 180446 w 1047221"/>
                      <a:gd name="connsiteY25" fmla="*/ 314325 h 571500"/>
                      <a:gd name="connsiteX26" fmla="*/ 104246 w 1047221"/>
                      <a:gd name="connsiteY26" fmla="*/ 257175 h 571500"/>
                      <a:gd name="connsiteX27" fmla="*/ 59796 w 1047221"/>
                      <a:gd name="connsiteY27" fmla="*/ 206375 h 571500"/>
                      <a:gd name="connsiteX28" fmla="*/ 40747 w 1047221"/>
                      <a:gd name="connsiteY28" fmla="*/ 166688 h 571500"/>
                      <a:gd name="connsiteX29" fmla="*/ 30427 w 1047221"/>
                      <a:gd name="connsiteY29" fmla="*/ 198438 h 5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47221" h="571500">
                        <a:moveTo>
                          <a:pt x="30427" y="198438"/>
                        </a:moveTo>
                        <a:lnTo>
                          <a:pt x="47096" y="266700"/>
                        </a:lnTo>
                        <a:lnTo>
                          <a:pt x="75671" y="346075"/>
                        </a:lnTo>
                        <a:lnTo>
                          <a:pt x="120121" y="431800"/>
                        </a:lnTo>
                        <a:cubicBezTo>
                          <a:pt x="174762" y="499298"/>
                          <a:pt x="132801" y="434975"/>
                          <a:pt x="174096" y="495300"/>
                        </a:cubicBezTo>
                        <a:cubicBezTo>
                          <a:pt x="276654" y="543374"/>
                          <a:pt x="241468" y="546100"/>
                          <a:pt x="282046" y="546100"/>
                        </a:cubicBezTo>
                        <a:lnTo>
                          <a:pt x="437621" y="571500"/>
                        </a:lnTo>
                        <a:lnTo>
                          <a:pt x="590021" y="530225"/>
                        </a:lnTo>
                        <a:lnTo>
                          <a:pt x="729721" y="450850"/>
                        </a:lnTo>
                        <a:lnTo>
                          <a:pt x="850371" y="336550"/>
                        </a:lnTo>
                        <a:lnTo>
                          <a:pt x="917046" y="241300"/>
                        </a:lnTo>
                        <a:lnTo>
                          <a:pt x="993246" y="155575"/>
                        </a:lnTo>
                        <a:lnTo>
                          <a:pt x="1024996" y="92075"/>
                        </a:lnTo>
                        <a:lnTo>
                          <a:pt x="1047221" y="41275"/>
                        </a:lnTo>
                        <a:lnTo>
                          <a:pt x="1047221" y="0"/>
                        </a:lnTo>
                        <a:cubicBezTo>
                          <a:pt x="1018212" y="64465"/>
                          <a:pt x="1025982" y="38100"/>
                          <a:pt x="1002771" y="69850"/>
                        </a:cubicBezTo>
                        <a:cubicBezTo>
                          <a:pt x="991129" y="94192"/>
                          <a:pt x="1012825" y="60854"/>
                          <a:pt x="996421" y="79375"/>
                        </a:cubicBezTo>
                        <a:cubicBezTo>
                          <a:pt x="980017" y="97896"/>
                          <a:pt x="937684" y="165629"/>
                          <a:pt x="904346" y="180975"/>
                        </a:cubicBezTo>
                        <a:lnTo>
                          <a:pt x="777346" y="238125"/>
                        </a:lnTo>
                        <a:lnTo>
                          <a:pt x="678921" y="263525"/>
                        </a:lnTo>
                        <a:cubicBezTo>
                          <a:pt x="578522" y="302389"/>
                          <a:pt x="625202" y="285750"/>
                          <a:pt x="555096" y="320675"/>
                        </a:cubicBezTo>
                        <a:cubicBezTo>
                          <a:pt x="483932" y="359492"/>
                          <a:pt x="556388" y="328115"/>
                          <a:pt x="501121" y="342900"/>
                        </a:cubicBezTo>
                        <a:cubicBezTo>
                          <a:pt x="435623" y="365824"/>
                          <a:pt x="460047" y="365125"/>
                          <a:pt x="431271" y="365125"/>
                        </a:cubicBezTo>
                        <a:lnTo>
                          <a:pt x="342371" y="355600"/>
                        </a:lnTo>
                        <a:lnTo>
                          <a:pt x="244740" y="335756"/>
                        </a:lnTo>
                        <a:cubicBezTo>
                          <a:pt x="163199" y="299878"/>
                          <a:pt x="191220" y="318521"/>
                          <a:pt x="180446" y="314325"/>
                        </a:cubicBezTo>
                        <a:cubicBezTo>
                          <a:pt x="106217" y="259460"/>
                          <a:pt x="128824" y="281753"/>
                          <a:pt x="104246" y="257175"/>
                        </a:cubicBezTo>
                        <a:lnTo>
                          <a:pt x="59796" y="206375"/>
                        </a:lnTo>
                        <a:cubicBezTo>
                          <a:pt x="48419" y="192881"/>
                          <a:pt x="45642" y="168011"/>
                          <a:pt x="40747" y="166688"/>
                        </a:cubicBezTo>
                        <a:cubicBezTo>
                          <a:pt x="35852" y="165365"/>
                          <a:pt x="0" y="123826"/>
                          <a:pt x="30427" y="19843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nvGrpSpPr>
                  <p:cNvPr id="253" name="Group 25"/>
                  <p:cNvGrpSpPr/>
                  <p:nvPr/>
                </p:nvGrpSpPr>
                <p:grpSpPr>
                  <a:xfrm rot="21265943">
                    <a:off x="4513526" y="781824"/>
                    <a:ext cx="121769" cy="51843"/>
                    <a:chOff x="3959225" y="3527425"/>
                    <a:chExt cx="641350" cy="273050"/>
                  </a:xfrm>
                  <a:grpFill/>
                </p:grpSpPr>
                <p:sp>
                  <p:nvSpPr>
                    <p:cNvPr id="262" name="Freeform 261"/>
                    <p:cNvSpPr/>
                    <p:nvPr/>
                  </p:nvSpPr>
                  <p:spPr>
                    <a:xfrm>
                      <a:off x="4006850" y="3565525"/>
                      <a:ext cx="504825" cy="222353"/>
                    </a:xfrm>
                    <a:custGeom>
                      <a:avLst/>
                      <a:gdLst>
                        <a:gd name="connsiteX0" fmla="*/ 57150 w 504825"/>
                        <a:gd name="connsiteY0" fmla="*/ 203200 h 222353"/>
                        <a:gd name="connsiteX1" fmla="*/ 0 w 504825"/>
                        <a:gd name="connsiteY1" fmla="*/ 187325 h 222353"/>
                        <a:gd name="connsiteX2" fmla="*/ 47625 w 504825"/>
                        <a:gd name="connsiteY2" fmla="*/ 82550 h 222353"/>
                        <a:gd name="connsiteX3" fmla="*/ 155575 w 504825"/>
                        <a:gd name="connsiteY3" fmla="*/ 9525 h 222353"/>
                        <a:gd name="connsiteX4" fmla="*/ 320675 w 504825"/>
                        <a:gd name="connsiteY4" fmla="*/ 0 h 222353"/>
                        <a:gd name="connsiteX5" fmla="*/ 482600 w 504825"/>
                        <a:gd name="connsiteY5" fmla="*/ 66675 h 222353"/>
                        <a:gd name="connsiteX6" fmla="*/ 504825 w 504825"/>
                        <a:gd name="connsiteY6" fmla="*/ 123825 h 222353"/>
                        <a:gd name="connsiteX7" fmla="*/ 438150 w 504825"/>
                        <a:gd name="connsiteY7" fmla="*/ 187325 h 222353"/>
                        <a:gd name="connsiteX8" fmla="*/ 317500 w 504825"/>
                        <a:gd name="connsiteY8" fmla="*/ 219075 h 222353"/>
                        <a:gd name="connsiteX9" fmla="*/ 174625 w 504825"/>
                        <a:gd name="connsiteY9" fmla="*/ 222250 h 222353"/>
                        <a:gd name="connsiteX10" fmla="*/ 57150 w 504825"/>
                        <a:gd name="connsiteY10" fmla="*/ 203200 h 222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4825" h="222353">
                          <a:moveTo>
                            <a:pt x="57150" y="203200"/>
                          </a:moveTo>
                          <a:lnTo>
                            <a:pt x="0" y="187325"/>
                          </a:lnTo>
                          <a:cubicBezTo>
                            <a:pt x="48074" y="84767"/>
                            <a:pt x="47625" y="123128"/>
                            <a:pt x="47625" y="82550"/>
                          </a:cubicBezTo>
                          <a:lnTo>
                            <a:pt x="155575" y="9525"/>
                          </a:lnTo>
                          <a:cubicBezTo>
                            <a:pt x="210605" y="6288"/>
                            <a:pt x="265550" y="0"/>
                            <a:pt x="320675" y="0"/>
                          </a:cubicBezTo>
                          <a:lnTo>
                            <a:pt x="482600" y="66675"/>
                          </a:lnTo>
                          <a:lnTo>
                            <a:pt x="504825" y="123825"/>
                          </a:lnTo>
                          <a:lnTo>
                            <a:pt x="438150" y="187325"/>
                          </a:lnTo>
                          <a:cubicBezTo>
                            <a:pt x="319653" y="219351"/>
                            <a:pt x="361238" y="219075"/>
                            <a:pt x="317500" y="219075"/>
                          </a:cubicBezTo>
                          <a:cubicBezTo>
                            <a:pt x="183093" y="222353"/>
                            <a:pt x="230730" y="222250"/>
                            <a:pt x="174625" y="222250"/>
                          </a:cubicBezTo>
                          <a:lnTo>
                            <a:pt x="57150" y="2032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nvGrpSpPr>
                    <p:cNvPr id="263" name="Group 135"/>
                    <p:cNvGrpSpPr/>
                    <p:nvPr/>
                  </p:nvGrpSpPr>
                  <p:grpSpPr>
                    <a:xfrm>
                      <a:off x="4181475" y="3562351"/>
                      <a:ext cx="225425" cy="215900"/>
                      <a:chOff x="4114800" y="3581400"/>
                      <a:chExt cx="228600" cy="228600"/>
                    </a:xfrm>
                    <a:grpFill/>
                  </p:grpSpPr>
                  <p:sp>
                    <p:nvSpPr>
                      <p:cNvPr id="266" name="Oval 265"/>
                      <p:cNvSpPr/>
                      <p:nvPr/>
                    </p:nvSpPr>
                    <p:spPr>
                      <a:xfrm>
                        <a:off x="4114800" y="3581400"/>
                        <a:ext cx="228600" cy="2286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67" name="Oval 266"/>
                      <p:cNvSpPr/>
                      <p:nvPr/>
                    </p:nvSpPr>
                    <p:spPr>
                      <a:xfrm>
                        <a:off x="4165599" y="3632195"/>
                        <a:ext cx="123825" cy="12382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68" name="Oval 267"/>
                      <p:cNvSpPr/>
                      <p:nvPr/>
                    </p:nvSpPr>
                    <p:spPr>
                      <a:xfrm>
                        <a:off x="4241800" y="3641725"/>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64" name="Freeform 263"/>
                    <p:cNvSpPr/>
                    <p:nvPr/>
                  </p:nvSpPr>
                  <p:spPr>
                    <a:xfrm>
                      <a:off x="4032250" y="3663950"/>
                      <a:ext cx="492125" cy="136525"/>
                    </a:xfrm>
                    <a:custGeom>
                      <a:avLst/>
                      <a:gdLst>
                        <a:gd name="connsiteX0" fmla="*/ 0 w 492125"/>
                        <a:gd name="connsiteY0" fmla="*/ 98425 h 136525"/>
                        <a:gd name="connsiteX1" fmla="*/ 73025 w 492125"/>
                        <a:gd name="connsiteY1" fmla="*/ 98425 h 136525"/>
                        <a:gd name="connsiteX2" fmla="*/ 165100 w 492125"/>
                        <a:gd name="connsiteY2" fmla="*/ 111125 h 136525"/>
                        <a:gd name="connsiteX3" fmla="*/ 295275 w 492125"/>
                        <a:gd name="connsiteY3" fmla="*/ 98425 h 136525"/>
                        <a:gd name="connsiteX4" fmla="*/ 396875 w 492125"/>
                        <a:gd name="connsiteY4" fmla="*/ 69850 h 136525"/>
                        <a:gd name="connsiteX5" fmla="*/ 473075 w 492125"/>
                        <a:gd name="connsiteY5" fmla="*/ 0 h 136525"/>
                        <a:gd name="connsiteX6" fmla="*/ 492125 w 492125"/>
                        <a:gd name="connsiteY6" fmla="*/ 25400 h 136525"/>
                        <a:gd name="connsiteX7" fmla="*/ 482600 w 492125"/>
                        <a:gd name="connsiteY7" fmla="*/ 60325 h 136525"/>
                        <a:gd name="connsiteX8" fmla="*/ 419100 w 492125"/>
                        <a:gd name="connsiteY8" fmla="*/ 111125 h 136525"/>
                        <a:gd name="connsiteX9" fmla="*/ 311150 w 492125"/>
                        <a:gd name="connsiteY9" fmla="*/ 133350 h 136525"/>
                        <a:gd name="connsiteX10" fmla="*/ 149225 w 492125"/>
                        <a:gd name="connsiteY10" fmla="*/ 136525 h 136525"/>
                        <a:gd name="connsiteX11" fmla="*/ 53975 w 492125"/>
                        <a:gd name="connsiteY11" fmla="*/ 120650 h 136525"/>
                        <a:gd name="connsiteX12" fmla="*/ 0 w 492125"/>
                        <a:gd name="connsiteY12" fmla="*/ 98425 h 13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2125" h="136525">
                          <a:moveTo>
                            <a:pt x="0" y="98425"/>
                          </a:moveTo>
                          <a:lnTo>
                            <a:pt x="73025" y="98425"/>
                          </a:lnTo>
                          <a:lnTo>
                            <a:pt x="165100" y="111125"/>
                          </a:lnTo>
                          <a:lnTo>
                            <a:pt x="295275" y="98425"/>
                          </a:lnTo>
                          <a:lnTo>
                            <a:pt x="396875" y="69850"/>
                          </a:lnTo>
                          <a:cubicBezTo>
                            <a:pt x="473871" y="2478"/>
                            <a:pt x="473075" y="36926"/>
                            <a:pt x="473075" y="0"/>
                          </a:cubicBezTo>
                          <a:lnTo>
                            <a:pt x="492125" y="25400"/>
                          </a:lnTo>
                          <a:lnTo>
                            <a:pt x="482600" y="60325"/>
                          </a:lnTo>
                          <a:cubicBezTo>
                            <a:pt x="421465" y="111807"/>
                            <a:pt x="448563" y="111125"/>
                            <a:pt x="419100" y="111125"/>
                          </a:cubicBezTo>
                          <a:lnTo>
                            <a:pt x="311150" y="133350"/>
                          </a:lnTo>
                          <a:lnTo>
                            <a:pt x="149225" y="136525"/>
                          </a:lnTo>
                          <a:cubicBezTo>
                            <a:pt x="56107" y="120470"/>
                            <a:pt x="88295" y="120650"/>
                            <a:pt x="53975" y="120650"/>
                          </a:cubicBezTo>
                          <a:lnTo>
                            <a:pt x="0" y="9842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65" name="Freeform 264"/>
                    <p:cNvSpPr/>
                    <p:nvPr/>
                  </p:nvSpPr>
                  <p:spPr>
                    <a:xfrm>
                      <a:off x="3959225" y="3527425"/>
                      <a:ext cx="641350" cy="263525"/>
                    </a:xfrm>
                    <a:custGeom>
                      <a:avLst/>
                      <a:gdLst>
                        <a:gd name="connsiteX0" fmla="*/ 0 w 641350"/>
                        <a:gd name="connsiteY0" fmla="*/ 263525 h 263525"/>
                        <a:gd name="connsiteX1" fmla="*/ 73025 w 641350"/>
                        <a:gd name="connsiteY1" fmla="*/ 228600 h 263525"/>
                        <a:gd name="connsiteX2" fmla="*/ 101600 w 641350"/>
                        <a:gd name="connsiteY2" fmla="*/ 165100 h 263525"/>
                        <a:gd name="connsiteX3" fmla="*/ 155575 w 641350"/>
                        <a:gd name="connsiteY3" fmla="*/ 88900 h 263525"/>
                        <a:gd name="connsiteX4" fmla="*/ 257175 w 641350"/>
                        <a:gd name="connsiteY4" fmla="*/ 73025 h 263525"/>
                        <a:gd name="connsiteX5" fmla="*/ 384175 w 641350"/>
                        <a:gd name="connsiteY5" fmla="*/ 88900 h 263525"/>
                        <a:gd name="connsiteX6" fmla="*/ 508000 w 641350"/>
                        <a:gd name="connsiteY6" fmla="*/ 127000 h 263525"/>
                        <a:gd name="connsiteX7" fmla="*/ 619125 w 641350"/>
                        <a:gd name="connsiteY7" fmla="*/ 190500 h 263525"/>
                        <a:gd name="connsiteX8" fmla="*/ 641350 w 641350"/>
                        <a:gd name="connsiteY8" fmla="*/ 200025 h 263525"/>
                        <a:gd name="connsiteX9" fmla="*/ 606425 w 641350"/>
                        <a:gd name="connsiteY9" fmla="*/ 161925 h 263525"/>
                        <a:gd name="connsiteX10" fmla="*/ 530225 w 641350"/>
                        <a:gd name="connsiteY10" fmla="*/ 76200 h 263525"/>
                        <a:gd name="connsiteX11" fmla="*/ 438150 w 641350"/>
                        <a:gd name="connsiteY11" fmla="*/ 19050 h 263525"/>
                        <a:gd name="connsiteX12" fmla="*/ 247650 w 641350"/>
                        <a:gd name="connsiteY12" fmla="*/ 0 h 263525"/>
                        <a:gd name="connsiteX13" fmla="*/ 133350 w 641350"/>
                        <a:gd name="connsiteY13" fmla="*/ 22225 h 263525"/>
                        <a:gd name="connsiteX14" fmla="*/ 79375 w 641350"/>
                        <a:gd name="connsiteY14" fmla="*/ 82550 h 263525"/>
                        <a:gd name="connsiteX15" fmla="*/ 41275 w 641350"/>
                        <a:gd name="connsiteY15" fmla="*/ 200025 h 263525"/>
                        <a:gd name="connsiteX16" fmla="*/ 0 w 641350"/>
                        <a:gd name="connsiteY16" fmla="*/ 263525 h 263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41350" h="263525">
                          <a:moveTo>
                            <a:pt x="0" y="263525"/>
                          </a:moveTo>
                          <a:lnTo>
                            <a:pt x="73025" y="228600"/>
                          </a:lnTo>
                          <a:lnTo>
                            <a:pt x="101600" y="165100"/>
                          </a:lnTo>
                          <a:lnTo>
                            <a:pt x="155575" y="88900"/>
                          </a:lnTo>
                          <a:lnTo>
                            <a:pt x="257175" y="73025"/>
                          </a:lnTo>
                          <a:lnTo>
                            <a:pt x="384175" y="88900"/>
                          </a:lnTo>
                          <a:lnTo>
                            <a:pt x="508000" y="127000"/>
                          </a:lnTo>
                          <a:lnTo>
                            <a:pt x="619125" y="190500"/>
                          </a:lnTo>
                          <a:lnTo>
                            <a:pt x="641350" y="200025"/>
                          </a:lnTo>
                          <a:lnTo>
                            <a:pt x="606425" y="161925"/>
                          </a:lnTo>
                          <a:lnTo>
                            <a:pt x="530225" y="76200"/>
                          </a:lnTo>
                          <a:lnTo>
                            <a:pt x="438150" y="19050"/>
                          </a:lnTo>
                          <a:lnTo>
                            <a:pt x="247650" y="0"/>
                          </a:lnTo>
                          <a:lnTo>
                            <a:pt x="133350" y="22225"/>
                          </a:lnTo>
                          <a:lnTo>
                            <a:pt x="79375" y="82550"/>
                          </a:lnTo>
                          <a:lnTo>
                            <a:pt x="41275" y="200025"/>
                          </a:lnTo>
                          <a:lnTo>
                            <a:pt x="0" y="26352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54" name="Freeform 253"/>
                  <p:cNvSpPr/>
                  <p:nvPr/>
                </p:nvSpPr>
                <p:spPr>
                  <a:xfrm>
                    <a:off x="5007230" y="721530"/>
                    <a:ext cx="44307" cy="100369"/>
                  </a:xfrm>
                  <a:custGeom>
                    <a:avLst/>
                    <a:gdLst>
                      <a:gd name="connsiteX0" fmla="*/ 0 w 233362"/>
                      <a:gd name="connsiteY0" fmla="*/ 66675 h 468290"/>
                      <a:gd name="connsiteX1" fmla="*/ 47625 w 233362"/>
                      <a:gd name="connsiteY1" fmla="*/ 0 h 468290"/>
                      <a:gd name="connsiteX2" fmla="*/ 142875 w 233362"/>
                      <a:gd name="connsiteY2" fmla="*/ 9525 h 468290"/>
                      <a:gd name="connsiteX3" fmla="*/ 200025 w 233362"/>
                      <a:gd name="connsiteY3" fmla="*/ 57150 h 468290"/>
                      <a:gd name="connsiteX4" fmla="*/ 219075 w 233362"/>
                      <a:gd name="connsiteY4" fmla="*/ 166687 h 468290"/>
                      <a:gd name="connsiteX5" fmla="*/ 233362 w 233362"/>
                      <a:gd name="connsiteY5" fmla="*/ 300037 h 468290"/>
                      <a:gd name="connsiteX6" fmla="*/ 209550 w 233362"/>
                      <a:gd name="connsiteY6" fmla="*/ 466725 h 468290"/>
                      <a:gd name="connsiteX7" fmla="*/ 200025 w 233362"/>
                      <a:gd name="connsiteY7" fmla="*/ 309562 h 468290"/>
                      <a:gd name="connsiteX8" fmla="*/ 157162 w 233362"/>
                      <a:gd name="connsiteY8" fmla="*/ 171450 h 468290"/>
                      <a:gd name="connsiteX9" fmla="*/ 128587 w 233362"/>
                      <a:gd name="connsiteY9" fmla="*/ 95250 h 468290"/>
                      <a:gd name="connsiteX10" fmla="*/ 90487 w 233362"/>
                      <a:gd name="connsiteY10" fmla="*/ 71437 h 468290"/>
                      <a:gd name="connsiteX11" fmla="*/ 0 w 233362"/>
                      <a:gd name="connsiteY11" fmla="*/ 66675 h 468290"/>
                      <a:gd name="connsiteX0" fmla="*/ 0 w 233362"/>
                      <a:gd name="connsiteY0" fmla="*/ 66675 h 528638"/>
                      <a:gd name="connsiteX1" fmla="*/ 47625 w 233362"/>
                      <a:gd name="connsiteY1" fmla="*/ 0 h 528638"/>
                      <a:gd name="connsiteX2" fmla="*/ 142875 w 233362"/>
                      <a:gd name="connsiteY2" fmla="*/ 9525 h 528638"/>
                      <a:gd name="connsiteX3" fmla="*/ 200025 w 233362"/>
                      <a:gd name="connsiteY3" fmla="*/ 57150 h 528638"/>
                      <a:gd name="connsiteX4" fmla="*/ 219075 w 233362"/>
                      <a:gd name="connsiteY4" fmla="*/ 166687 h 528638"/>
                      <a:gd name="connsiteX5" fmla="*/ 233362 w 233362"/>
                      <a:gd name="connsiteY5" fmla="*/ 300037 h 528638"/>
                      <a:gd name="connsiteX6" fmla="*/ 176213 w 233362"/>
                      <a:gd name="connsiteY6" fmla="*/ 528638 h 528638"/>
                      <a:gd name="connsiteX7" fmla="*/ 200025 w 233362"/>
                      <a:gd name="connsiteY7" fmla="*/ 309562 h 528638"/>
                      <a:gd name="connsiteX8" fmla="*/ 157162 w 233362"/>
                      <a:gd name="connsiteY8" fmla="*/ 171450 h 528638"/>
                      <a:gd name="connsiteX9" fmla="*/ 128587 w 233362"/>
                      <a:gd name="connsiteY9" fmla="*/ 95250 h 528638"/>
                      <a:gd name="connsiteX10" fmla="*/ 90487 w 233362"/>
                      <a:gd name="connsiteY10" fmla="*/ 71437 h 528638"/>
                      <a:gd name="connsiteX11" fmla="*/ 0 w 233362"/>
                      <a:gd name="connsiteY11" fmla="*/ 66675 h 528638"/>
                      <a:gd name="connsiteX0" fmla="*/ 0 w 233362"/>
                      <a:gd name="connsiteY0" fmla="*/ 66675 h 528638"/>
                      <a:gd name="connsiteX1" fmla="*/ 47625 w 233362"/>
                      <a:gd name="connsiteY1" fmla="*/ 0 h 528638"/>
                      <a:gd name="connsiteX2" fmla="*/ 142875 w 233362"/>
                      <a:gd name="connsiteY2" fmla="*/ 9525 h 528638"/>
                      <a:gd name="connsiteX3" fmla="*/ 200025 w 233362"/>
                      <a:gd name="connsiteY3" fmla="*/ 57150 h 528638"/>
                      <a:gd name="connsiteX4" fmla="*/ 219075 w 233362"/>
                      <a:gd name="connsiteY4" fmla="*/ 166687 h 528638"/>
                      <a:gd name="connsiteX5" fmla="*/ 233362 w 233362"/>
                      <a:gd name="connsiteY5" fmla="*/ 300037 h 528638"/>
                      <a:gd name="connsiteX6" fmla="*/ 176213 w 233362"/>
                      <a:gd name="connsiteY6" fmla="*/ 528638 h 528638"/>
                      <a:gd name="connsiteX7" fmla="*/ 200025 w 233362"/>
                      <a:gd name="connsiteY7" fmla="*/ 309562 h 528638"/>
                      <a:gd name="connsiteX8" fmla="*/ 157162 w 233362"/>
                      <a:gd name="connsiteY8" fmla="*/ 171450 h 528638"/>
                      <a:gd name="connsiteX9" fmla="*/ 128587 w 233362"/>
                      <a:gd name="connsiteY9" fmla="*/ 95250 h 528638"/>
                      <a:gd name="connsiteX10" fmla="*/ 90487 w 233362"/>
                      <a:gd name="connsiteY10" fmla="*/ 71437 h 528638"/>
                      <a:gd name="connsiteX11" fmla="*/ 0 w 233362"/>
                      <a:gd name="connsiteY11" fmla="*/ 66675 h 528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3362" h="528638">
                        <a:moveTo>
                          <a:pt x="0" y="66675"/>
                        </a:moveTo>
                        <a:lnTo>
                          <a:pt x="47625" y="0"/>
                        </a:lnTo>
                        <a:lnTo>
                          <a:pt x="142875" y="9525"/>
                        </a:lnTo>
                        <a:lnTo>
                          <a:pt x="200025" y="57150"/>
                        </a:lnTo>
                        <a:lnTo>
                          <a:pt x="219075" y="166687"/>
                        </a:lnTo>
                        <a:lnTo>
                          <a:pt x="233362" y="300037"/>
                        </a:lnTo>
                        <a:cubicBezTo>
                          <a:pt x="204519" y="468290"/>
                          <a:pt x="219852" y="395288"/>
                          <a:pt x="176213" y="528638"/>
                        </a:cubicBezTo>
                        <a:lnTo>
                          <a:pt x="200025" y="309562"/>
                        </a:lnTo>
                        <a:lnTo>
                          <a:pt x="157162" y="171450"/>
                        </a:lnTo>
                        <a:lnTo>
                          <a:pt x="128587" y="95250"/>
                        </a:lnTo>
                        <a:lnTo>
                          <a:pt x="90487" y="71437"/>
                        </a:lnTo>
                        <a:lnTo>
                          <a:pt x="0" y="6667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55" name="Freeform 254"/>
                  <p:cNvSpPr/>
                  <p:nvPr/>
                </p:nvSpPr>
                <p:spPr>
                  <a:xfrm>
                    <a:off x="4977209" y="750465"/>
                    <a:ext cx="53530" cy="99464"/>
                  </a:xfrm>
                  <a:custGeom>
                    <a:avLst/>
                    <a:gdLst>
                      <a:gd name="connsiteX0" fmla="*/ 72391 w 281941"/>
                      <a:gd name="connsiteY0" fmla="*/ 0 h 523875"/>
                      <a:gd name="connsiteX1" fmla="*/ 72391 w 281941"/>
                      <a:gd name="connsiteY1" fmla="*/ 57150 h 523875"/>
                      <a:gd name="connsiteX2" fmla="*/ 100966 w 281941"/>
                      <a:gd name="connsiteY2" fmla="*/ 76200 h 523875"/>
                      <a:gd name="connsiteX3" fmla="*/ 158116 w 281941"/>
                      <a:gd name="connsiteY3" fmla="*/ 85725 h 523875"/>
                      <a:gd name="connsiteX4" fmla="*/ 191453 w 281941"/>
                      <a:gd name="connsiteY4" fmla="*/ 104775 h 523875"/>
                      <a:gd name="connsiteX5" fmla="*/ 229553 w 281941"/>
                      <a:gd name="connsiteY5" fmla="*/ 147637 h 523875"/>
                      <a:gd name="connsiteX6" fmla="*/ 272416 w 281941"/>
                      <a:gd name="connsiteY6" fmla="*/ 223837 h 523875"/>
                      <a:gd name="connsiteX7" fmla="*/ 281941 w 281941"/>
                      <a:gd name="connsiteY7" fmla="*/ 300037 h 523875"/>
                      <a:gd name="connsiteX8" fmla="*/ 253366 w 281941"/>
                      <a:gd name="connsiteY8" fmla="*/ 366712 h 523875"/>
                      <a:gd name="connsiteX9" fmla="*/ 200978 w 281941"/>
                      <a:gd name="connsiteY9" fmla="*/ 390525 h 523875"/>
                      <a:gd name="connsiteX10" fmla="*/ 129541 w 281941"/>
                      <a:gd name="connsiteY10" fmla="*/ 438150 h 523875"/>
                      <a:gd name="connsiteX11" fmla="*/ 91441 w 281941"/>
                      <a:gd name="connsiteY11" fmla="*/ 514350 h 523875"/>
                      <a:gd name="connsiteX12" fmla="*/ 58103 w 281941"/>
                      <a:gd name="connsiteY12" fmla="*/ 523875 h 523875"/>
                      <a:gd name="connsiteX13" fmla="*/ 34291 w 281941"/>
                      <a:gd name="connsiteY13" fmla="*/ 485775 h 523875"/>
                      <a:gd name="connsiteX14" fmla="*/ 77153 w 281941"/>
                      <a:gd name="connsiteY14" fmla="*/ 423862 h 523875"/>
                      <a:gd name="connsiteX15" fmla="*/ 96203 w 281941"/>
                      <a:gd name="connsiteY15" fmla="*/ 285750 h 523875"/>
                      <a:gd name="connsiteX16" fmla="*/ 43816 w 281941"/>
                      <a:gd name="connsiteY16" fmla="*/ 238125 h 523875"/>
                      <a:gd name="connsiteX17" fmla="*/ 953 w 281941"/>
                      <a:gd name="connsiteY17" fmla="*/ 176212 h 523875"/>
                      <a:gd name="connsiteX18" fmla="*/ 20003 w 281941"/>
                      <a:gd name="connsiteY18" fmla="*/ 90487 h 523875"/>
                      <a:gd name="connsiteX19" fmla="*/ 72391 w 281941"/>
                      <a:gd name="connsiteY19" fmla="*/ 0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1941" h="523875">
                        <a:moveTo>
                          <a:pt x="72391" y="0"/>
                        </a:moveTo>
                        <a:lnTo>
                          <a:pt x="72391" y="57150"/>
                        </a:lnTo>
                        <a:cubicBezTo>
                          <a:pt x="97443" y="77192"/>
                          <a:pt x="86038" y="76200"/>
                          <a:pt x="100966" y="76200"/>
                        </a:cubicBezTo>
                        <a:lnTo>
                          <a:pt x="158116" y="85725"/>
                        </a:lnTo>
                        <a:lnTo>
                          <a:pt x="191453" y="104775"/>
                        </a:lnTo>
                        <a:lnTo>
                          <a:pt x="229553" y="147637"/>
                        </a:lnTo>
                        <a:lnTo>
                          <a:pt x="272416" y="223837"/>
                        </a:lnTo>
                        <a:lnTo>
                          <a:pt x="281941" y="300037"/>
                        </a:lnTo>
                        <a:lnTo>
                          <a:pt x="253366" y="366712"/>
                        </a:lnTo>
                        <a:lnTo>
                          <a:pt x="200978" y="390525"/>
                        </a:lnTo>
                        <a:lnTo>
                          <a:pt x="129541" y="438150"/>
                        </a:lnTo>
                        <a:lnTo>
                          <a:pt x="91441" y="514350"/>
                        </a:lnTo>
                        <a:lnTo>
                          <a:pt x="58103" y="523875"/>
                        </a:lnTo>
                        <a:lnTo>
                          <a:pt x="34291" y="485775"/>
                        </a:lnTo>
                        <a:lnTo>
                          <a:pt x="77153" y="423862"/>
                        </a:lnTo>
                        <a:lnTo>
                          <a:pt x="96203" y="285750"/>
                        </a:lnTo>
                        <a:lnTo>
                          <a:pt x="43816" y="238125"/>
                        </a:lnTo>
                        <a:cubicBezTo>
                          <a:pt x="0" y="179705"/>
                          <a:pt x="953" y="204788"/>
                          <a:pt x="953" y="176212"/>
                        </a:cubicBezTo>
                        <a:lnTo>
                          <a:pt x="20003" y="90487"/>
                        </a:lnTo>
                        <a:lnTo>
                          <a:pt x="72391"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56" name="Freeform 255"/>
                  <p:cNvSpPr/>
                  <p:nvPr/>
                </p:nvSpPr>
                <p:spPr>
                  <a:xfrm>
                    <a:off x="4736868" y="905087"/>
                    <a:ext cx="117549" cy="66008"/>
                  </a:xfrm>
                  <a:custGeom>
                    <a:avLst/>
                    <a:gdLst>
                      <a:gd name="connsiteX0" fmla="*/ 0 w 604837"/>
                      <a:gd name="connsiteY0" fmla="*/ 4763 h 367239"/>
                      <a:gd name="connsiteX1" fmla="*/ 57150 w 604837"/>
                      <a:gd name="connsiteY1" fmla="*/ 0 h 367239"/>
                      <a:gd name="connsiteX2" fmla="*/ 119062 w 604837"/>
                      <a:gd name="connsiteY2" fmla="*/ 14288 h 367239"/>
                      <a:gd name="connsiteX3" fmla="*/ 233362 w 604837"/>
                      <a:gd name="connsiteY3" fmla="*/ 100013 h 367239"/>
                      <a:gd name="connsiteX4" fmla="*/ 347662 w 604837"/>
                      <a:gd name="connsiteY4" fmla="*/ 200025 h 367239"/>
                      <a:gd name="connsiteX5" fmla="*/ 452437 w 604837"/>
                      <a:gd name="connsiteY5" fmla="*/ 290513 h 367239"/>
                      <a:gd name="connsiteX6" fmla="*/ 561975 w 604837"/>
                      <a:gd name="connsiteY6" fmla="*/ 323850 h 367239"/>
                      <a:gd name="connsiteX7" fmla="*/ 604837 w 604837"/>
                      <a:gd name="connsiteY7" fmla="*/ 314325 h 367239"/>
                      <a:gd name="connsiteX8" fmla="*/ 528637 w 604837"/>
                      <a:gd name="connsiteY8" fmla="*/ 347663 h 367239"/>
                      <a:gd name="connsiteX9" fmla="*/ 414337 w 604837"/>
                      <a:gd name="connsiteY9" fmla="*/ 323850 h 367239"/>
                      <a:gd name="connsiteX10" fmla="*/ 319087 w 604837"/>
                      <a:gd name="connsiteY10" fmla="*/ 233363 h 367239"/>
                      <a:gd name="connsiteX11" fmla="*/ 204787 w 604837"/>
                      <a:gd name="connsiteY11" fmla="*/ 133350 h 367239"/>
                      <a:gd name="connsiteX12" fmla="*/ 109537 w 604837"/>
                      <a:gd name="connsiteY12" fmla="*/ 61913 h 367239"/>
                      <a:gd name="connsiteX13" fmla="*/ 0 w 604837"/>
                      <a:gd name="connsiteY13" fmla="*/ 4763 h 367239"/>
                      <a:gd name="connsiteX0" fmla="*/ 0 w 604837"/>
                      <a:gd name="connsiteY0" fmla="*/ 4763 h 367239"/>
                      <a:gd name="connsiteX1" fmla="*/ 57150 w 604837"/>
                      <a:gd name="connsiteY1" fmla="*/ 0 h 367239"/>
                      <a:gd name="connsiteX2" fmla="*/ 119062 w 604837"/>
                      <a:gd name="connsiteY2" fmla="*/ 14288 h 367239"/>
                      <a:gd name="connsiteX3" fmla="*/ 233362 w 604837"/>
                      <a:gd name="connsiteY3" fmla="*/ 100013 h 367239"/>
                      <a:gd name="connsiteX4" fmla="*/ 347662 w 604837"/>
                      <a:gd name="connsiteY4" fmla="*/ 200025 h 367239"/>
                      <a:gd name="connsiteX5" fmla="*/ 452437 w 604837"/>
                      <a:gd name="connsiteY5" fmla="*/ 290513 h 367239"/>
                      <a:gd name="connsiteX6" fmla="*/ 561975 w 604837"/>
                      <a:gd name="connsiteY6" fmla="*/ 323850 h 367239"/>
                      <a:gd name="connsiteX7" fmla="*/ 604837 w 604837"/>
                      <a:gd name="connsiteY7" fmla="*/ 314325 h 367239"/>
                      <a:gd name="connsiteX8" fmla="*/ 528637 w 604837"/>
                      <a:gd name="connsiteY8" fmla="*/ 347663 h 367239"/>
                      <a:gd name="connsiteX9" fmla="*/ 414337 w 604837"/>
                      <a:gd name="connsiteY9" fmla="*/ 323850 h 367239"/>
                      <a:gd name="connsiteX10" fmla="*/ 319087 w 604837"/>
                      <a:gd name="connsiteY10" fmla="*/ 233363 h 367239"/>
                      <a:gd name="connsiteX11" fmla="*/ 204787 w 604837"/>
                      <a:gd name="connsiteY11" fmla="*/ 133350 h 367239"/>
                      <a:gd name="connsiteX12" fmla="*/ 109537 w 604837"/>
                      <a:gd name="connsiteY12" fmla="*/ 61913 h 367239"/>
                      <a:gd name="connsiteX13" fmla="*/ 0 w 604837"/>
                      <a:gd name="connsiteY13" fmla="*/ 4763 h 367239"/>
                      <a:gd name="connsiteX0" fmla="*/ 0 w 604837"/>
                      <a:gd name="connsiteY0" fmla="*/ 4763 h 369620"/>
                      <a:gd name="connsiteX1" fmla="*/ 57150 w 604837"/>
                      <a:gd name="connsiteY1" fmla="*/ 0 h 369620"/>
                      <a:gd name="connsiteX2" fmla="*/ 119062 w 604837"/>
                      <a:gd name="connsiteY2" fmla="*/ 14288 h 369620"/>
                      <a:gd name="connsiteX3" fmla="*/ 233362 w 604837"/>
                      <a:gd name="connsiteY3" fmla="*/ 100013 h 369620"/>
                      <a:gd name="connsiteX4" fmla="*/ 347662 w 604837"/>
                      <a:gd name="connsiteY4" fmla="*/ 200025 h 369620"/>
                      <a:gd name="connsiteX5" fmla="*/ 452437 w 604837"/>
                      <a:gd name="connsiteY5" fmla="*/ 290513 h 369620"/>
                      <a:gd name="connsiteX6" fmla="*/ 561975 w 604837"/>
                      <a:gd name="connsiteY6" fmla="*/ 323850 h 369620"/>
                      <a:gd name="connsiteX7" fmla="*/ 604837 w 604837"/>
                      <a:gd name="connsiteY7" fmla="*/ 314325 h 369620"/>
                      <a:gd name="connsiteX8" fmla="*/ 528637 w 604837"/>
                      <a:gd name="connsiteY8" fmla="*/ 347663 h 369620"/>
                      <a:gd name="connsiteX9" fmla="*/ 414337 w 604837"/>
                      <a:gd name="connsiteY9" fmla="*/ 323850 h 369620"/>
                      <a:gd name="connsiteX10" fmla="*/ 319087 w 604837"/>
                      <a:gd name="connsiteY10" fmla="*/ 233363 h 369620"/>
                      <a:gd name="connsiteX11" fmla="*/ 204787 w 604837"/>
                      <a:gd name="connsiteY11" fmla="*/ 133350 h 369620"/>
                      <a:gd name="connsiteX12" fmla="*/ 109537 w 604837"/>
                      <a:gd name="connsiteY12" fmla="*/ 61913 h 369620"/>
                      <a:gd name="connsiteX13" fmla="*/ 0 w 604837"/>
                      <a:gd name="connsiteY13" fmla="*/ 4763 h 369620"/>
                      <a:gd name="connsiteX0" fmla="*/ 0 w 604837"/>
                      <a:gd name="connsiteY0" fmla="*/ 4763 h 347663"/>
                      <a:gd name="connsiteX1" fmla="*/ 57150 w 604837"/>
                      <a:gd name="connsiteY1" fmla="*/ 0 h 347663"/>
                      <a:gd name="connsiteX2" fmla="*/ 119062 w 604837"/>
                      <a:gd name="connsiteY2" fmla="*/ 14288 h 347663"/>
                      <a:gd name="connsiteX3" fmla="*/ 233362 w 604837"/>
                      <a:gd name="connsiteY3" fmla="*/ 100013 h 347663"/>
                      <a:gd name="connsiteX4" fmla="*/ 347662 w 604837"/>
                      <a:gd name="connsiteY4" fmla="*/ 200025 h 347663"/>
                      <a:gd name="connsiteX5" fmla="*/ 452437 w 604837"/>
                      <a:gd name="connsiteY5" fmla="*/ 290513 h 347663"/>
                      <a:gd name="connsiteX6" fmla="*/ 561975 w 604837"/>
                      <a:gd name="connsiteY6" fmla="*/ 323850 h 347663"/>
                      <a:gd name="connsiteX7" fmla="*/ 604837 w 604837"/>
                      <a:gd name="connsiteY7" fmla="*/ 314325 h 347663"/>
                      <a:gd name="connsiteX8" fmla="*/ 528637 w 604837"/>
                      <a:gd name="connsiteY8" fmla="*/ 347663 h 347663"/>
                      <a:gd name="connsiteX9" fmla="*/ 414337 w 604837"/>
                      <a:gd name="connsiteY9" fmla="*/ 323850 h 347663"/>
                      <a:gd name="connsiteX10" fmla="*/ 319087 w 604837"/>
                      <a:gd name="connsiteY10" fmla="*/ 233363 h 347663"/>
                      <a:gd name="connsiteX11" fmla="*/ 204787 w 604837"/>
                      <a:gd name="connsiteY11" fmla="*/ 133350 h 347663"/>
                      <a:gd name="connsiteX12" fmla="*/ 109537 w 604837"/>
                      <a:gd name="connsiteY12" fmla="*/ 61913 h 347663"/>
                      <a:gd name="connsiteX13" fmla="*/ 0 w 604837"/>
                      <a:gd name="connsiteY13" fmla="*/ 4763 h 347663"/>
                      <a:gd name="connsiteX0" fmla="*/ 0 w 604837"/>
                      <a:gd name="connsiteY0" fmla="*/ 4763 h 347663"/>
                      <a:gd name="connsiteX1" fmla="*/ 57150 w 604837"/>
                      <a:gd name="connsiteY1" fmla="*/ 0 h 347663"/>
                      <a:gd name="connsiteX2" fmla="*/ 119062 w 604837"/>
                      <a:gd name="connsiteY2" fmla="*/ 14288 h 347663"/>
                      <a:gd name="connsiteX3" fmla="*/ 233362 w 604837"/>
                      <a:gd name="connsiteY3" fmla="*/ 100013 h 347663"/>
                      <a:gd name="connsiteX4" fmla="*/ 347662 w 604837"/>
                      <a:gd name="connsiteY4" fmla="*/ 200025 h 347663"/>
                      <a:gd name="connsiteX5" fmla="*/ 452437 w 604837"/>
                      <a:gd name="connsiteY5" fmla="*/ 290513 h 347663"/>
                      <a:gd name="connsiteX6" fmla="*/ 561975 w 604837"/>
                      <a:gd name="connsiteY6" fmla="*/ 323850 h 347663"/>
                      <a:gd name="connsiteX7" fmla="*/ 604837 w 604837"/>
                      <a:gd name="connsiteY7" fmla="*/ 314325 h 347663"/>
                      <a:gd name="connsiteX8" fmla="*/ 528637 w 604837"/>
                      <a:gd name="connsiteY8" fmla="*/ 347663 h 347663"/>
                      <a:gd name="connsiteX9" fmla="*/ 414337 w 604837"/>
                      <a:gd name="connsiteY9" fmla="*/ 323850 h 347663"/>
                      <a:gd name="connsiteX10" fmla="*/ 319087 w 604837"/>
                      <a:gd name="connsiteY10" fmla="*/ 233363 h 347663"/>
                      <a:gd name="connsiteX11" fmla="*/ 204787 w 604837"/>
                      <a:gd name="connsiteY11" fmla="*/ 133350 h 347663"/>
                      <a:gd name="connsiteX12" fmla="*/ 109537 w 604837"/>
                      <a:gd name="connsiteY12" fmla="*/ 61913 h 347663"/>
                      <a:gd name="connsiteX13" fmla="*/ 0 w 604837"/>
                      <a:gd name="connsiteY13" fmla="*/ 4763 h 347663"/>
                      <a:gd name="connsiteX0" fmla="*/ 0 w 619124"/>
                      <a:gd name="connsiteY0" fmla="*/ 11907 h 347663"/>
                      <a:gd name="connsiteX1" fmla="*/ 71437 w 619124"/>
                      <a:gd name="connsiteY1" fmla="*/ 0 h 347663"/>
                      <a:gd name="connsiteX2" fmla="*/ 133349 w 619124"/>
                      <a:gd name="connsiteY2" fmla="*/ 14288 h 347663"/>
                      <a:gd name="connsiteX3" fmla="*/ 247649 w 619124"/>
                      <a:gd name="connsiteY3" fmla="*/ 100013 h 347663"/>
                      <a:gd name="connsiteX4" fmla="*/ 361949 w 619124"/>
                      <a:gd name="connsiteY4" fmla="*/ 200025 h 347663"/>
                      <a:gd name="connsiteX5" fmla="*/ 466724 w 619124"/>
                      <a:gd name="connsiteY5" fmla="*/ 290513 h 347663"/>
                      <a:gd name="connsiteX6" fmla="*/ 576262 w 619124"/>
                      <a:gd name="connsiteY6" fmla="*/ 323850 h 347663"/>
                      <a:gd name="connsiteX7" fmla="*/ 619124 w 619124"/>
                      <a:gd name="connsiteY7" fmla="*/ 314325 h 347663"/>
                      <a:gd name="connsiteX8" fmla="*/ 542924 w 619124"/>
                      <a:gd name="connsiteY8" fmla="*/ 347663 h 347663"/>
                      <a:gd name="connsiteX9" fmla="*/ 428624 w 619124"/>
                      <a:gd name="connsiteY9" fmla="*/ 323850 h 347663"/>
                      <a:gd name="connsiteX10" fmla="*/ 333374 w 619124"/>
                      <a:gd name="connsiteY10" fmla="*/ 233363 h 347663"/>
                      <a:gd name="connsiteX11" fmla="*/ 219074 w 619124"/>
                      <a:gd name="connsiteY11" fmla="*/ 133350 h 347663"/>
                      <a:gd name="connsiteX12" fmla="*/ 123824 w 619124"/>
                      <a:gd name="connsiteY12" fmla="*/ 61913 h 347663"/>
                      <a:gd name="connsiteX13" fmla="*/ 0 w 619124"/>
                      <a:gd name="connsiteY13" fmla="*/ 11907 h 347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19124" h="347663">
                        <a:moveTo>
                          <a:pt x="0" y="11907"/>
                        </a:moveTo>
                        <a:lnTo>
                          <a:pt x="71437" y="0"/>
                        </a:lnTo>
                        <a:lnTo>
                          <a:pt x="133349" y="14288"/>
                        </a:lnTo>
                        <a:cubicBezTo>
                          <a:pt x="244137" y="100991"/>
                          <a:pt x="201285" y="64294"/>
                          <a:pt x="247649" y="100013"/>
                        </a:cubicBezTo>
                        <a:lnTo>
                          <a:pt x="361949" y="200025"/>
                        </a:lnTo>
                        <a:lnTo>
                          <a:pt x="466724" y="290513"/>
                        </a:lnTo>
                        <a:lnTo>
                          <a:pt x="576262" y="323850"/>
                        </a:lnTo>
                        <a:lnTo>
                          <a:pt x="619124" y="314325"/>
                        </a:lnTo>
                        <a:lnTo>
                          <a:pt x="542924" y="347663"/>
                        </a:lnTo>
                        <a:cubicBezTo>
                          <a:pt x="427058" y="328352"/>
                          <a:pt x="485775" y="336283"/>
                          <a:pt x="428624" y="323850"/>
                        </a:cubicBezTo>
                        <a:cubicBezTo>
                          <a:pt x="332194" y="237063"/>
                          <a:pt x="388143" y="302271"/>
                          <a:pt x="333374" y="233363"/>
                        </a:cubicBezTo>
                        <a:lnTo>
                          <a:pt x="219074" y="133350"/>
                        </a:lnTo>
                        <a:lnTo>
                          <a:pt x="123824" y="61913"/>
                        </a:lnTo>
                        <a:lnTo>
                          <a:pt x="0" y="1190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57" name="Freeform 256"/>
                  <p:cNvSpPr/>
                  <p:nvPr/>
                </p:nvSpPr>
                <p:spPr>
                  <a:xfrm>
                    <a:off x="4468856" y="381000"/>
                    <a:ext cx="568575" cy="405091"/>
                  </a:xfrm>
                  <a:custGeom>
                    <a:avLst/>
                    <a:gdLst>
                      <a:gd name="connsiteX0" fmla="*/ 152400 w 2994660"/>
                      <a:gd name="connsiteY0" fmla="*/ 1965960 h 2133600"/>
                      <a:gd name="connsiteX1" fmla="*/ 53340 w 2994660"/>
                      <a:gd name="connsiteY1" fmla="*/ 1889760 h 2133600"/>
                      <a:gd name="connsiteX2" fmla="*/ 0 w 2994660"/>
                      <a:gd name="connsiteY2" fmla="*/ 1699260 h 2133600"/>
                      <a:gd name="connsiteX3" fmla="*/ 38100 w 2994660"/>
                      <a:gd name="connsiteY3" fmla="*/ 1287780 h 2133600"/>
                      <a:gd name="connsiteX4" fmla="*/ 312420 w 2994660"/>
                      <a:gd name="connsiteY4" fmla="*/ 701040 h 2133600"/>
                      <a:gd name="connsiteX5" fmla="*/ 579120 w 2994660"/>
                      <a:gd name="connsiteY5" fmla="*/ 388620 h 2133600"/>
                      <a:gd name="connsiteX6" fmla="*/ 982980 w 2994660"/>
                      <a:gd name="connsiteY6" fmla="*/ 53340 h 2133600"/>
                      <a:gd name="connsiteX7" fmla="*/ 1341120 w 2994660"/>
                      <a:gd name="connsiteY7" fmla="*/ 0 h 2133600"/>
                      <a:gd name="connsiteX8" fmla="*/ 1531620 w 2994660"/>
                      <a:gd name="connsiteY8" fmla="*/ 53340 h 2133600"/>
                      <a:gd name="connsiteX9" fmla="*/ 1729740 w 2994660"/>
                      <a:gd name="connsiteY9" fmla="*/ 7620 h 2133600"/>
                      <a:gd name="connsiteX10" fmla="*/ 2072640 w 2994660"/>
                      <a:gd name="connsiteY10" fmla="*/ 76200 h 2133600"/>
                      <a:gd name="connsiteX11" fmla="*/ 2484120 w 2994660"/>
                      <a:gd name="connsiteY11" fmla="*/ 335280 h 2133600"/>
                      <a:gd name="connsiteX12" fmla="*/ 2697480 w 2994660"/>
                      <a:gd name="connsiteY12" fmla="*/ 594360 h 2133600"/>
                      <a:gd name="connsiteX13" fmla="*/ 2834640 w 2994660"/>
                      <a:gd name="connsiteY13" fmla="*/ 1005840 h 2133600"/>
                      <a:gd name="connsiteX14" fmla="*/ 2903220 w 2994660"/>
                      <a:gd name="connsiteY14" fmla="*/ 1341120 h 2133600"/>
                      <a:gd name="connsiteX15" fmla="*/ 2941320 w 2994660"/>
                      <a:gd name="connsiteY15" fmla="*/ 1600200 h 2133600"/>
                      <a:gd name="connsiteX16" fmla="*/ 2994660 w 2994660"/>
                      <a:gd name="connsiteY16" fmla="*/ 1676400 h 2133600"/>
                      <a:gd name="connsiteX17" fmla="*/ 2895600 w 2994660"/>
                      <a:gd name="connsiteY17" fmla="*/ 1653540 h 2133600"/>
                      <a:gd name="connsiteX18" fmla="*/ 2781300 w 2994660"/>
                      <a:gd name="connsiteY18" fmla="*/ 1744980 h 2133600"/>
                      <a:gd name="connsiteX19" fmla="*/ 2735580 w 2994660"/>
                      <a:gd name="connsiteY19" fmla="*/ 1912620 h 2133600"/>
                      <a:gd name="connsiteX20" fmla="*/ 2575560 w 2994660"/>
                      <a:gd name="connsiteY20" fmla="*/ 2133600 h 2133600"/>
                      <a:gd name="connsiteX21" fmla="*/ 2461260 w 2994660"/>
                      <a:gd name="connsiteY21" fmla="*/ 2065020 h 2133600"/>
                      <a:gd name="connsiteX22" fmla="*/ 2423160 w 2994660"/>
                      <a:gd name="connsiteY22" fmla="*/ 1897380 h 2133600"/>
                      <a:gd name="connsiteX23" fmla="*/ 2369820 w 2994660"/>
                      <a:gd name="connsiteY23" fmla="*/ 1790700 h 2133600"/>
                      <a:gd name="connsiteX24" fmla="*/ 2331720 w 2994660"/>
                      <a:gd name="connsiteY24" fmla="*/ 1722120 h 2133600"/>
                      <a:gd name="connsiteX25" fmla="*/ 2217420 w 2994660"/>
                      <a:gd name="connsiteY25" fmla="*/ 1653540 h 2133600"/>
                      <a:gd name="connsiteX26" fmla="*/ 2156460 w 2994660"/>
                      <a:gd name="connsiteY26" fmla="*/ 1485900 h 2133600"/>
                      <a:gd name="connsiteX27" fmla="*/ 2156460 w 2994660"/>
                      <a:gd name="connsiteY27" fmla="*/ 1318260 h 2133600"/>
                      <a:gd name="connsiteX28" fmla="*/ 1958340 w 2994660"/>
                      <a:gd name="connsiteY28" fmla="*/ 1196340 h 2133600"/>
                      <a:gd name="connsiteX29" fmla="*/ 1828800 w 2994660"/>
                      <a:gd name="connsiteY29" fmla="*/ 1066800 h 2133600"/>
                      <a:gd name="connsiteX30" fmla="*/ 1706880 w 2994660"/>
                      <a:gd name="connsiteY30" fmla="*/ 929640 h 2133600"/>
                      <a:gd name="connsiteX31" fmla="*/ 1554480 w 2994660"/>
                      <a:gd name="connsiteY31" fmla="*/ 883920 h 2133600"/>
                      <a:gd name="connsiteX32" fmla="*/ 1371600 w 2994660"/>
                      <a:gd name="connsiteY32" fmla="*/ 845820 h 2133600"/>
                      <a:gd name="connsiteX33" fmla="*/ 1150620 w 2994660"/>
                      <a:gd name="connsiteY33" fmla="*/ 883920 h 2133600"/>
                      <a:gd name="connsiteX34" fmla="*/ 1028700 w 2994660"/>
                      <a:gd name="connsiteY34" fmla="*/ 861060 h 2133600"/>
                      <a:gd name="connsiteX35" fmla="*/ 853440 w 2994660"/>
                      <a:gd name="connsiteY35" fmla="*/ 830580 h 2133600"/>
                      <a:gd name="connsiteX36" fmla="*/ 640080 w 2994660"/>
                      <a:gd name="connsiteY36" fmla="*/ 891540 h 2133600"/>
                      <a:gd name="connsiteX37" fmla="*/ 464820 w 2994660"/>
                      <a:gd name="connsiteY37" fmla="*/ 960120 h 2133600"/>
                      <a:gd name="connsiteX38" fmla="*/ 342900 w 2994660"/>
                      <a:gd name="connsiteY38" fmla="*/ 1066800 h 2133600"/>
                      <a:gd name="connsiteX39" fmla="*/ 259080 w 2994660"/>
                      <a:gd name="connsiteY39" fmla="*/ 1272540 h 2133600"/>
                      <a:gd name="connsiteX40" fmla="*/ 152400 w 2994660"/>
                      <a:gd name="connsiteY40" fmla="*/ 1600200 h 2133600"/>
                      <a:gd name="connsiteX41" fmla="*/ 129540 w 2994660"/>
                      <a:gd name="connsiteY41" fmla="*/ 1821180 h 2133600"/>
                      <a:gd name="connsiteX42" fmla="*/ 152400 w 2994660"/>
                      <a:gd name="connsiteY42" fmla="*/ 1965960 h 2133600"/>
                      <a:gd name="connsiteX0" fmla="*/ 152400 w 2994660"/>
                      <a:gd name="connsiteY0" fmla="*/ 1965960 h 2133600"/>
                      <a:gd name="connsiteX1" fmla="*/ 53340 w 2994660"/>
                      <a:gd name="connsiteY1" fmla="*/ 1889760 h 2133600"/>
                      <a:gd name="connsiteX2" fmla="*/ 0 w 2994660"/>
                      <a:gd name="connsiteY2" fmla="*/ 1699260 h 2133600"/>
                      <a:gd name="connsiteX3" fmla="*/ 38100 w 2994660"/>
                      <a:gd name="connsiteY3" fmla="*/ 1287780 h 2133600"/>
                      <a:gd name="connsiteX4" fmla="*/ 312420 w 2994660"/>
                      <a:gd name="connsiteY4" fmla="*/ 701040 h 2133600"/>
                      <a:gd name="connsiteX5" fmla="*/ 579120 w 2994660"/>
                      <a:gd name="connsiteY5" fmla="*/ 388620 h 2133600"/>
                      <a:gd name="connsiteX6" fmla="*/ 982980 w 2994660"/>
                      <a:gd name="connsiteY6" fmla="*/ 53340 h 2133600"/>
                      <a:gd name="connsiteX7" fmla="*/ 1341120 w 2994660"/>
                      <a:gd name="connsiteY7" fmla="*/ 0 h 2133600"/>
                      <a:gd name="connsiteX8" fmla="*/ 1531620 w 2994660"/>
                      <a:gd name="connsiteY8" fmla="*/ 53340 h 2133600"/>
                      <a:gd name="connsiteX9" fmla="*/ 1729740 w 2994660"/>
                      <a:gd name="connsiteY9" fmla="*/ 7620 h 2133600"/>
                      <a:gd name="connsiteX10" fmla="*/ 2072640 w 2994660"/>
                      <a:gd name="connsiteY10" fmla="*/ 76200 h 2133600"/>
                      <a:gd name="connsiteX11" fmla="*/ 2484120 w 2994660"/>
                      <a:gd name="connsiteY11" fmla="*/ 335280 h 2133600"/>
                      <a:gd name="connsiteX12" fmla="*/ 2697480 w 2994660"/>
                      <a:gd name="connsiteY12" fmla="*/ 594360 h 2133600"/>
                      <a:gd name="connsiteX13" fmla="*/ 2834640 w 2994660"/>
                      <a:gd name="connsiteY13" fmla="*/ 1005840 h 2133600"/>
                      <a:gd name="connsiteX14" fmla="*/ 2903220 w 2994660"/>
                      <a:gd name="connsiteY14" fmla="*/ 1341120 h 2133600"/>
                      <a:gd name="connsiteX15" fmla="*/ 2941320 w 2994660"/>
                      <a:gd name="connsiteY15" fmla="*/ 1600200 h 2133600"/>
                      <a:gd name="connsiteX16" fmla="*/ 2994660 w 2994660"/>
                      <a:gd name="connsiteY16" fmla="*/ 1676400 h 2133600"/>
                      <a:gd name="connsiteX17" fmla="*/ 2895600 w 2994660"/>
                      <a:gd name="connsiteY17" fmla="*/ 1653540 h 2133600"/>
                      <a:gd name="connsiteX18" fmla="*/ 2781300 w 2994660"/>
                      <a:gd name="connsiteY18" fmla="*/ 1744980 h 2133600"/>
                      <a:gd name="connsiteX19" fmla="*/ 2735580 w 2994660"/>
                      <a:gd name="connsiteY19" fmla="*/ 1912620 h 2133600"/>
                      <a:gd name="connsiteX20" fmla="*/ 2575560 w 2994660"/>
                      <a:gd name="connsiteY20" fmla="*/ 2133600 h 2133600"/>
                      <a:gd name="connsiteX21" fmla="*/ 2461260 w 2994660"/>
                      <a:gd name="connsiteY21" fmla="*/ 2065020 h 2133600"/>
                      <a:gd name="connsiteX22" fmla="*/ 2423160 w 2994660"/>
                      <a:gd name="connsiteY22" fmla="*/ 1897380 h 2133600"/>
                      <a:gd name="connsiteX23" fmla="*/ 2369820 w 2994660"/>
                      <a:gd name="connsiteY23" fmla="*/ 1790700 h 2133600"/>
                      <a:gd name="connsiteX24" fmla="*/ 2331720 w 2994660"/>
                      <a:gd name="connsiteY24" fmla="*/ 1722120 h 2133600"/>
                      <a:gd name="connsiteX25" fmla="*/ 2217420 w 2994660"/>
                      <a:gd name="connsiteY25" fmla="*/ 1653540 h 2133600"/>
                      <a:gd name="connsiteX26" fmla="*/ 2156460 w 2994660"/>
                      <a:gd name="connsiteY26" fmla="*/ 1485900 h 2133600"/>
                      <a:gd name="connsiteX27" fmla="*/ 2156460 w 2994660"/>
                      <a:gd name="connsiteY27" fmla="*/ 1318260 h 2133600"/>
                      <a:gd name="connsiteX28" fmla="*/ 1958340 w 2994660"/>
                      <a:gd name="connsiteY28" fmla="*/ 1196340 h 2133600"/>
                      <a:gd name="connsiteX29" fmla="*/ 1828800 w 2994660"/>
                      <a:gd name="connsiteY29" fmla="*/ 1066800 h 2133600"/>
                      <a:gd name="connsiteX30" fmla="*/ 1706880 w 2994660"/>
                      <a:gd name="connsiteY30" fmla="*/ 929640 h 2133600"/>
                      <a:gd name="connsiteX31" fmla="*/ 1554480 w 2994660"/>
                      <a:gd name="connsiteY31" fmla="*/ 883920 h 2133600"/>
                      <a:gd name="connsiteX32" fmla="*/ 1371600 w 2994660"/>
                      <a:gd name="connsiteY32" fmla="*/ 845820 h 2133600"/>
                      <a:gd name="connsiteX33" fmla="*/ 1150620 w 2994660"/>
                      <a:gd name="connsiteY33" fmla="*/ 883920 h 2133600"/>
                      <a:gd name="connsiteX34" fmla="*/ 1028700 w 2994660"/>
                      <a:gd name="connsiteY34" fmla="*/ 861060 h 2133600"/>
                      <a:gd name="connsiteX35" fmla="*/ 853440 w 2994660"/>
                      <a:gd name="connsiteY35" fmla="*/ 830580 h 2133600"/>
                      <a:gd name="connsiteX36" fmla="*/ 640080 w 2994660"/>
                      <a:gd name="connsiteY36" fmla="*/ 891540 h 2133600"/>
                      <a:gd name="connsiteX37" fmla="*/ 464820 w 2994660"/>
                      <a:gd name="connsiteY37" fmla="*/ 960120 h 2133600"/>
                      <a:gd name="connsiteX38" fmla="*/ 342900 w 2994660"/>
                      <a:gd name="connsiteY38" fmla="*/ 1066800 h 2133600"/>
                      <a:gd name="connsiteX39" fmla="*/ 198120 w 2994660"/>
                      <a:gd name="connsiteY39" fmla="*/ 1356360 h 2133600"/>
                      <a:gd name="connsiteX40" fmla="*/ 152400 w 2994660"/>
                      <a:gd name="connsiteY40" fmla="*/ 1600200 h 2133600"/>
                      <a:gd name="connsiteX41" fmla="*/ 129540 w 2994660"/>
                      <a:gd name="connsiteY41" fmla="*/ 1821180 h 2133600"/>
                      <a:gd name="connsiteX42" fmla="*/ 152400 w 2994660"/>
                      <a:gd name="connsiteY42" fmla="*/ 1965960 h 2133600"/>
                      <a:gd name="connsiteX0" fmla="*/ 152400 w 2994660"/>
                      <a:gd name="connsiteY0" fmla="*/ 1965960 h 2133600"/>
                      <a:gd name="connsiteX1" fmla="*/ 53340 w 2994660"/>
                      <a:gd name="connsiteY1" fmla="*/ 1889760 h 2133600"/>
                      <a:gd name="connsiteX2" fmla="*/ 0 w 2994660"/>
                      <a:gd name="connsiteY2" fmla="*/ 1699260 h 2133600"/>
                      <a:gd name="connsiteX3" fmla="*/ 38100 w 2994660"/>
                      <a:gd name="connsiteY3" fmla="*/ 1287780 h 2133600"/>
                      <a:gd name="connsiteX4" fmla="*/ 312420 w 2994660"/>
                      <a:gd name="connsiteY4" fmla="*/ 701040 h 2133600"/>
                      <a:gd name="connsiteX5" fmla="*/ 579120 w 2994660"/>
                      <a:gd name="connsiteY5" fmla="*/ 388620 h 2133600"/>
                      <a:gd name="connsiteX6" fmla="*/ 982980 w 2994660"/>
                      <a:gd name="connsiteY6" fmla="*/ 53340 h 2133600"/>
                      <a:gd name="connsiteX7" fmla="*/ 1341120 w 2994660"/>
                      <a:gd name="connsiteY7" fmla="*/ 0 h 2133600"/>
                      <a:gd name="connsiteX8" fmla="*/ 1531620 w 2994660"/>
                      <a:gd name="connsiteY8" fmla="*/ 53340 h 2133600"/>
                      <a:gd name="connsiteX9" fmla="*/ 1729740 w 2994660"/>
                      <a:gd name="connsiteY9" fmla="*/ 7620 h 2133600"/>
                      <a:gd name="connsiteX10" fmla="*/ 2072640 w 2994660"/>
                      <a:gd name="connsiteY10" fmla="*/ 76200 h 2133600"/>
                      <a:gd name="connsiteX11" fmla="*/ 2484120 w 2994660"/>
                      <a:gd name="connsiteY11" fmla="*/ 335280 h 2133600"/>
                      <a:gd name="connsiteX12" fmla="*/ 2697480 w 2994660"/>
                      <a:gd name="connsiteY12" fmla="*/ 594360 h 2133600"/>
                      <a:gd name="connsiteX13" fmla="*/ 2834640 w 2994660"/>
                      <a:gd name="connsiteY13" fmla="*/ 1005840 h 2133600"/>
                      <a:gd name="connsiteX14" fmla="*/ 2903220 w 2994660"/>
                      <a:gd name="connsiteY14" fmla="*/ 1341120 h 2133600"/>
                      <a:gd name="connsiteX15" fmla="*/ 2941320 w 2994660"/>
                      <a:gd name="connsiteY15" fmla="*/ 1600200 h 2133600"/>
                      <a:gd name="connsiteX16" fmla="*/ 2994660 w 2994660"/>
                      <a:gd name="connsiteY16" fmla="*/ 1676400 h 2133600"/>
                      <a:gd name="connsiteX17" fmla="*/ 2895600 w 2994660"/>
                      <a:gd name="connsiteY17" fmla="*/ 1653540 h 2133600"/>
                      <a:gd name="connsiteX18" fmla="*/ 2781300 w 2994660"/>
                      <a:gd name="connsiteY18" fmla="*/ 1744980 h 2133600"/>
                      <a:gd name="connsiteX19" fmla="*/ 2735580 w 2994660"/>
                      <a:gd name="connsiteY19" fmla="*/ 1912620 h 2133600"/>
                      <a:gd name="connsiteX20" fmla="*/ 2575560 w 2994660"/>
                      <a:gd name="connsiteY20" fmla="*/ 2133600 h 2133600"/>
                      <a:gd name="connsiteX21" fmla="*/ 2461260 w 2994660"/>
                      <a:gd name="connsiteY21" fmla="*/ 2065020 h 2133600"/>
                      <a:gd name="connsiteX22" fmla="*/ 2423160 w 2994660"/>
                      <a:gd name="connsiteY22" fmla="*/ 1897380 h 2133600"/>
                      <a:gd name="connsiteX23" fmla="*/ 2369820 w 2994660"/>
                      <a:gd name="connsiteY23" fmla="*/ 1790700 h 2133600"/>
                      <a:gd name="connsiteX24" fmla="*/ 2331720 w 2994660"/>
                      <a:gd name="connsiteY24" fmla="*/ 1722120 h 2133600"/>
                      <a:gd name="connsiteX25" fmla="*/ 2217420 w 2994660"/>
                      <a:gd name="connsiteY25" fmla="*/ 1653540 h 2133600"/>
                      <a:gd name="connsiteX26" fmla="*/ 2156460 w 2994660"/>
                      <a:gd name="connsiteY26" fmla="*/ 1485900 h 2133600"/>
                      <a:gd name="connsiteX27" fmla="*/ 2156460 w 2994660"/>
                      <a:gd name="connsiteY27" fmla="*/ 1318260 h 2133600"/>
                      <a:gd name="connsiteX28" fmla="*/ 1958340 w 2994660"/>
                      <a:gd name="connsiteY28" fmla="*/ 1196340 h 2133600"/>
                      <a:gd name="connsiteX29" fmla="*/ 1828800 w 2994660"/>
                      <a:gd name="connsiteY29" fmla="*/ 1066800 h 2133600"/>
                      <a:gd name="connsiteX30" fmla="*/ 1706880 w 2994660"/>
                      <a:gd name="connsiteY30" fmla="*/ 929640 h 2133600"/>
                      <a:gd name="connsiteX31" fmla="*/ 1554480 w 2994660"/>
                      <a:gd name="connsiteY31" fmla="*/ 883920 h 2133600"/>
                      <a:gd name="connsiteX32" fmla="*/ 1371600 w 2994660"/>
                      <a:gd name="connsiteY32" fmla="*/ 845820 h 2133600"/>
                      <a:gd name="connsiteX33" fmla="*/ 1150620 w 2994660"/>
                      <a:gd name="connsiteY33" fmla="*/ 883920 h 2133600"/>
                      <a:gd name="connsiteX34" fmla="*/ 1028700 w 2994660"/>
                      <a:gd name="connsiteY34" fmla="*/ 861060 h 2133600"/>
                      <a:gd name="connsiteX35" fmla="*/ 853440 w 2994660"/>
                      <a:gd name="connsiteY35" fmla="*/ 830580 h 2133600"/>
                      <a:gd name="connsiteX36" fmla="*/ 640080 w 2994660"/>
                      <a:gd name="connsiteY36" fmla="*/ 891540 h 2133600"/>
                      <a:gd name="connsiteX37" fmla="*/ 464820 w 2994660"/>
                      <a:gd name="connsiteY37" fmla="*/ 960120 h 2133600"/>
                      <a:gd name="connsiteX38" fmla="*/ 342900 w 2994660"/>
                      <a:gd name="connsiteY38" fmla="*/ 1066800 h 2133600"/>
                      <a:gd name="connsiteX39" fmla="*/ 259080 w 2994660"/>
                      <a:gd name="connsiteY39" fmla="*/ 1341120 h 2133600"/>
                      <a:gd name="connsiteX40" fmla="*/ 152400 w 2994660"/>
                      <a:gd name="connsiteY40" fmla="*/ 1600200 h 2133600"/>
                      <a:gd name="connsiteX41" fmla="*/ 129540 w 2994660"/>
                      <a:gd name="connsiteY41" fmla="*/ 1821180 h 2133600"/>
                      <a:gd name="connsiteX42" fmla="*/ 152400 w 2994660"/>
                      <a:gd name="connsiteY42" fmla="*/ 1965960 h 2133600"/>
                      <a:gd name="connsiteX0" fmla="*/ 152400 w 2994660"/>
                      <a:gd name="connsiteY0" fmla="*/ 1965960 h 2133600"/>
                      <a:gd name="connsiteX1" fmla="*/ 53340 w 2994660"/>
                      <a:gd name="connsiteY1" fmla="*/ 1889760 h 2133600"/>
                      <a:gd name="connsiteX2" fmla="*/ 0 w 2994660"/>
                      <a:gd name="connsiteY2" fmla="*/ 1699260 h 2133600"/>
                      <a:gd name="connsiteX3" fmla="*/ 38100 w 2994660"/>
                      <a:gd name="connsiteY3" fmla="*/ 1287780 h 2133600"/>
                      <a:gd name="connsiteX4" fmla="*/ 312420 w 2994660"/>
                      <a:gd name="connsiteY4" fmla="*/ 701040 h 2133600"/>
                      <a:gd name="connsiteX5" fmla="*/ 579120 w 2994660"/>
                      <a:gd name="connsiteY5" fmla="*/ 388620 h 2133600"/>
                      <a:gd name="connsiteX6" fmla="*/ 982980 w 2994660"/>
                      <a:gd name="connsiteY6" fmla="*/ 53340 h 2133600"/>
                      <a:gd name="connsiteX7" fmla="*/ 1341120 w 2994660"/>
                      <a:gd name="connsiteY7" fmla="*/ 0 h 2133600"/>
                      <a:gd name="connsiteX8" fmla="*/ 1531620 w 2994660"/>
                      <a:gd name="connsiteY8" fmla="*/ 53340 h 2133600"/>
                      <a:gd name="connsiteX9" fmla="*/ 1729740 w 2994660"/>
                      <a:gd name="connsiteY9" fmla="*/ 7620 h 2133600"/>
                      <a:gd name="connsiteX10" fmla="*/ 2072640 w 2994660"/>
                      <a:gd name="connsiteY10" fmla="*/ 76200 h 2133600"/>
                      <a:gd name="connsiteX11" fmla="*/ 2484120 w 2994660"/>
                      <a:gd name="connsiteY11" fmla="*/ 335280 h 2133600"/>
                      <a:gd name="connsiteX12" fmla="*/ 2697480 w 2994660"/>
                      <a:gd name="connsiteY12" fmla="*/ 594360 h 2133600"/>
                      <a:gd name="connsiteX13" fmla="*/ 2834640 w 2994660"/>
                      <a:gd name="connsiteY13" fmla="*/ 1005840 h 2133600"/>
                      <a:gd name="connsiteX14" fmla="*/ 2903220 w 2994660"/>
                      <a:gd name="connsiteY14" fmla="*/ 1341120 h 2133600"/>
                      <a:gd name="connsiteX15" fmla="*/ 2941320 w 2994660"/>
                      <a:gd name="connsiteY15" fmla="*/ 1600200 h 2133600"/>
                      <a:gd name="connsiteX16" fmla="*/ 2994660 w 2994660"/>
                      <a:gd name="connsiteY16" fmla="*/ 1676400 h 2133600"/>
                      <a:gd name="connsiteX17" fmla="*/ 2895600 w 2994660"/>
                      <a:gd name="connsiteY17" fmla="*/ 1653540 h 2133600"/>
                      <a:gd name="connsiteX18" fmla="*/ 2781300 w 2994660"/>
                      <a:gd name="connsiteY18" fmla="*/ 1744980 h 2133600"/>
                      <a:gd name="connsiteX19" fmla="*/ 2735580 w 2994660"/>
                      <a:gd name="connsiteY19" fmla="*/ 1912620 h 2133600"/>
                      <a:gd name="connsiteX20" fmla="*/ 2575560 w 2994660"/>
                      <a:gd name="connsiteY20" fmla="*/ 2133600 h 2133600"/>
                      <a:gd name="connsiteX21" fmla="*/ 2461260 w 2994660"/>
                      <a:gd name="connsiteY21" fmla="*/ 2065020 h 2133600"/>
                      <a:gd name="connsiteX22" fmla="*/ 2423160 w 2994660"/>
                      <a:gd name="connsiteY22" fmla="*/ 1897380 h 2133600"/>
                      <a:gd name="connsiteX23" fmla="*/ 2369820 w 2994660"/>
                      <a:gd name="connsiteY23" fmla="*/ 1790700 h 2133600"/>
                      <a:gd name="connsiteX24" fmla="*/ 2331720 w 2994660"/>
                      <a:gd name="connsiteY24" fmla="*/ 1722120 h 2133600"/>
                      <a:gd name="connsiteX25" fmla="*/ 2217420 w 2994660"/>
                      <a:gd name="connsiteY25" fmla="*/ 1653540 h 2133600"/>
                      <a:gd name="connsiteX26" fmla="*/ 2156460 w 2994660"/>
                      <a:gd name="connsiteY26" fmla="*/ 1485900 h 2133600"/>
                      <a:gd name="connsiteX27" fmla="*/ 2156460 w 2994660"/>
                      <a:gd name="connsiteY27" fmla="*/ 1318260 h 2133600"/>
                      <a:gd name="connsiteX28" fmla="*/ 1958340 w 2994660"/>
                      <a:gd name="connsiteY28" fmla="*/ 1196340 h 2133600"/>
                      <a:gd name="connsiteX29" fmla="*/ 1828800 w 2994660"/>
                      <a:gd name="connsiteY29" fmla="*/ 1066800 h 2133600"/>
                      <a:gd name="connsiteX30" fmla="*/ 1706880 w 2994660"/>
                      <a:gd name="connsiteY30" fmla="*/ 929640 h 2133600"/>
                      <a:gd name="connsiteX31" fmla="*/ 1554480 w 2994660"/>
                      <a:gd name="connsiteY31" fmla="*/ 883920 h 2133600"/>
                      <a:gd name="connsiteX32" fmla="*/ 1371600 w 2994660"/>
                      <a:gd name="connsiteY32" fmla="*/ 845820 h 2133600"/>
                      <a:gd name="connsiteX33" fmla="*/ 1150620 w 2994660"/>
                      <a:gd name="connsiteY33" fmla="*/ 883920 h 2133600"/>
                      <a:gd name="connsiteX34" fmla="*/ 1028700 w 2994660"/>
                      <a:gd name="connsiteY34" fmla="*/ 861060 h 2133600"/>
                      <a:gd name="connsiteX35" fmla="*/ 853440 w 2994660"/>
                      <a:gd name="connsiteY35" fmla="*/ 830580 h 2133600"/>
                      <a:gd name="connsiteX36" fmla="*/ 640080 w 2994660"/>
                      <a:gd name="connsiteY36" fmla="*/ 891540 h 2133600"/>
                      <a:gd name="connsiteX37" fmla="*/ 464820 w 2994660"/>
                      <a:gd name="connsiteY37" fmla="*/ 960120 h 2133600"/>
                      <a:gd name="connsiteX38" fmla="*/ 342900 w 2994660"/>
                      <a:gd name="connsiteY38" fmla="*/ 1066800 h 2133600"/>
                      <a:gd name="connsiteX39" fmla="*/ 259080 w 2994660"/>
                      <a:gd name="connsiteY39" fmla="*/ 1341120 h 2133600"/>
                      <a:gd name="connsiteX40" fmla="*/ 152400 w 2994660"/>
                      <a:gd name="connsiteY40" fmla="*/ 1600200 h 2133600"/>
                      <a:gd name="connsiteX41" fmla="*/ 129540 w 2994660"/>
                      <a:gd name="connsiteY41" fmla="*/ 1821180 h 2133600"/>
                      <a:gd name="connsiteX42" fmla="*/ 152400 w 2994660"/>
                      <a:gd name="connsiteY42" fmla="*/ 1965960 h 2133600"/>
                      <a:gd name="connsiteX0" fmla="*/ 152400 w 2994660"/>
                      <a:gd name="connsiteY0" fmla="*/ 1965960 h 2133600"/>
                      <a:gd name="connsiteX1" fmla="*/ 53340 w 2994660"/>
                      <a:gd name="connsiteY1" fmla="*/ 1889760 h 2133600"/>
                      <a:gd name="connsiteX2" fmla="*/ 0 w 2994660"/>
                      <a:gd name="connsiteY2" fmla="*/ 1699260 h 2133600"/>
                      <a:gd name="connsiteX3" fmla="*/ 38100 w 2994660"/>
                      <a:gd name="connsiteY3" fmla="*/ 1287780 h 2133600"/>
                      <a:gd name="connsiteX4" fmla="*/ 312420 w 2994660"/>
                      <a:gd name="connsiteY4" fmla="*/ 701040 h 2133600"/>
                      <a:gd name="connsiteX5" fmla="*/ 579120 w 2994660"/>
                      <a:gd name="connsiteY5" fmla="*/ 388620 h 2133600"/>
                      <a:gd name="connsiteX6" fmla="*/ 982980 w 2994660"/>
                      <a:gd name="connsiteY6" fmla="*/ 53340 h 2133600"/>
                      <a:gd name="connsiteX7" fmla="*/ 1341120 w 2994660"/>
                      <a:gd name="connsiteY7" fmla="*/ 0 h 2133600"/>
                      <a:gd name="connsiteX8" fmla="*/ 1531620 w 2994660"/>
                      <a:gd name="connsiteY8" fmla="*/ 53340 h 2133600"/>
                      <a:gd name="connsiteX9" fmla="*/ 1729740 w 2994660"/>
                      <a:gd name="connsiteY9" fmla="*/ 7620 h 2133600"/>
                      <a:gd name="connsiteX10" fmla="*/ 2217420 w 2994660"/>
                      <a:gd name="connsiteY10" fmla="*/ 175260 h 2133600"/>
                      <a:gd name="connsiteX11" fmla="*/ 2484120 w 2994660"/>
                      <a:gd name="connsiteY11" fmla="*/ 335280 h 2133600"/>
                      <a:gd name="connsiteX12" fmla="*/ 2697480 w 2994660"/>
                      <a:gd name="connsiteY12" fmla="*/ 594360 h 2133600"/>
                      <a:gd name="connsiteX13" fmla="*/ 2834640 w 2994660"/>
                      <a:gd name="connsiteY13" fmla="*/ 1005840 h 2133600"/>
                      <a:gd name="connsiteX14" fmla="*/ 2903220 w 2994660"/>
                      <a:gd name="connsiteY14" fmla="*/ 1341120 h 2133600"/>
                      <a:gd name="connsiteX15" fmla="*/ 2941320 w 2994660"/>
                      <a:gd name="connsiteY15" fmla="*/ 1600200 h 2133600"/>
                      <a:gd name="connsiteX16" fmla="*/ 2994660 w 2994660"/>
                      <a:gd name="connsiteY16" fmla="*/ 1676400 h 2133600"/>
                      <a:gd name="connsiteX17" fmla="*/ 2895600 w 2994660"/>
                      <a:gd name="connsiteY17" fmla="*/ 1653540 h 2133600"/>
                      <a:gd name="connsiteX18" fmla="*/ 2781300 w 2994660"/>
                      <a:gd name="connsiteY18" fmla="*/ 1744980 h 2133600"/>
                      <a:gd name="connsiteX19" fmla="*/ 2735580 w 2994660"/>
                      <a:gd name="connsiteY19" fmla="*/ 1912620 h 2133600"/>
                      <a:gd name="connsiteX20" fmla="*/ 2575560 w 2994660"/>
                      <a:gd name="connsiteY20" fmla="*/ 2133600 h 2133600"/>
                      <a:gd name="connsiteX21" fmla="*/ 2461260 w 2994660"/>
                      <a:gd name="connsiteY21" fmla="*/ 2065020 h 2133600"/>
                      <a:gd name="connsiteX22" fmla="*/ 2423160 w 2994660"/>
                      <a:gd name="connsiteY22" fmla="*/ 1897380 h 2133600"/>
                      <a:gd name="connsiteX23" fmla="*/ 2369820 w 2994660"/>
                      <a:gd name="connsiteY23" fmla="*/ 1790700 h 2133600"/>
                      <a:gd name="connsiteX24" fmla="*/ 2331720 w 2994660"/>
                      <a:gd name="connsiteY24" fmla="*/ 1722120 h 2133600"/>
                      <a:gd name="connsiteX25" fmla="*/ 2217420 w 2994660"/>
                      <a:gd name="connsiteY25" fmla="*/ 1653540 h 2133600"/>
                      <a:gd name="connsiteX26" fmla="*/ 2156460 w 2994660"/>
                      <a:gd name="connsiteY26" fmla="*/ 1485900 h 2133600"/>
                      <a:gd name="connsiteX27" fmla="*/ 2156460 w 2994660"/>
                      <a:gd name="connsiteY27" fmla="*/ 1318260 h 2133600"/>
                      <a:gd name="connsiteX28" fmla="*/ 1958340 w 2994660"/>
                      <a:gd name="connsiteY28" fmla="*/ 1196340 h 2133600"/>
                      <a:gd name="connsiteX29" fmla="*/ 1828800 w 2994660"/>
                      <a:gd name="connsiteY29" fmla="*/ 1066800 h 2133600"/>
                      <a:gd name="connsiteX30" fmla="*/ 1706880 w 2994660"/>
                      <a:gd name="connsiteY30" fmla="*/ 929640 h 2133600"/>
                      <a:gd name="connsiteX31" fmla="*/ 1554480 w 2994660"/>
                      <a:gd name="connsiteY31" fmla="*/ 883920 h 2133600"/>
                      <a:gd name="connsiteX32" fmla="*/ 1371600 w 2994660"/>
                      <a:gd name="connsiteY32" fmla="*/ 845820 h 2133600"/>
                      <a:gd name="connsiteX33" fmla="*/ 1150620 w 2994660"/>
                      <a:gd name="connsiteY33" fmla="*/ 883920 h 2133600"/>
                      <a:gd name="connsiteX34" fmla="*/ 1028700 w 2994660"/>
                      <a:gd name="connsiteY34" fmla="*/ 861060 h 2133600"/>
                      <a:gd name="connsiteX35" fmla="*/ 853440 w 2994660"/>
                      <a:gd name="connsiteY35" fmla="*/ 830580 h 2133600"/>
                      <a:gd name="connsiteX36" fmla="*/ 640080 w 2994660"/>
                      <a:gd name="connsiteY36" fmla="*/ 891540 h 2133600"/>
                      <a:gd name="connsiteX37" fmla="*/ 464820 w 2994660"/>
                      <a:gd name="connsiteY37" fmla="*/ 960120 h 2133600"/>
                      <a:gd name="connsiteX38" fmla="*/ 342900 w 2994660"/>
                      <a:gd name="connsiteY38" fmla="*/ 1066800 h 2133600"/>
                      <a:gd name="connsiteX39" fmla="*/ 259080 w 2994660"/>
                      <a:gd name="connsiteY39" fmla="*/ 1341120 h 2133600"/>
                      <a:gd name="connsiteX40" fmla="*/ 152400 w 2994660"/>
                      <a:gd name="connsiteY40" fmla="*/ 1600200 h 2133600"/>
                      <a:gd name="connsiteX41" fmla="*/ 129540 w 2994660"/>
                      <a:gd name="connsiteY41" fmla="*/ 1821180 h 2133600"/>
                      <a:gd name="connsiteX42" fmla="*/ 152400 w 2994660"/>
                      <a:gd name="connsiteY42" fmla="*/ 1965960 h 2133600"/>
                      <a:gd name="connsiteX0" fmla="*/ 152400 w 2994660"/>
                      <a:gd name="connsiteY0" fmla="*/ 1965960 h 2133600"/>
                      <a:gd name="connsiteX1" fmla="*/ 53340 w 2994660"/>
                      <a:gd name="connsiteY1" fmla="*/ 1889760 h 2133600"/>
                      <a:gd name="connsiteX2" fmla="*/ 0 w 2994660"/>
                      <a:gd name="connsiteY2" fmla="*/ 1699260 h 2133600"/>
                      <a:gd name="connsiteX3" fmla="*/ 38100 w 2994660"/>
                      <a:gd name="connsiteY3" fmla="*/ 1287780 h 2133600"/>
                      <a:gd name="connsiteX4" fmla="*/ 312420 w 2994660"/>
                      <a:gd name="connsiteY4" fmla="*/ 701040 h 2133600"/>
                      <a:gd name="connsiteX5" fmla="*/ 579120 w 2994660"/>
                      <a:gd name="connsiteY5" fmla="*/ 388620 h 2133600"/>
                      <a:gd name="connsiteX6" fmla="*/ 982980 w 2994660"/>
                      <a:gd name="connsiteY6" fmla="*/ 53340 h 2133600"/>
                      <a:gd name="connsiteX7" fmla="*/ 1341120 w 2994660"/>
                      <a:gd name="connsiteY7" fmla="*/ 0 h 2133600"/>
                      <a:gd name="connsiteX8" fmla="*/ 1531620 w 2994660"/>
                      <a:gd name="connsiteY8" fmla="*/ 53340 h 2133600"/>
                      <a:gd name="connsiteX9" fmla="*/ 1729740 w 2994660"/>
                      <a:gd name="connsiteY9" fmla="*/ 7620 h 2133600"/>
                      <a:gd name="connsiteX10" fmla="*/ 2217420 w 2994660"/>
                      <a:gd name="connsiteY10" fmla="*/ 175260 h 2133600"/>
                      <a:gd name="connsiteX11" fmla="*/ 2484120 w 2994660"/>
                      <a:gd name="connsiteY11" fmla="*/ 335280 h 2133600"/>
                      <a:gd name="connsiteX12" fmla="*/ 2697480 w 2994660"/>
                      <a:gd name="connsiteY12" fmla="*/ 594360 h 2133600"/>
                      <a:gd name="connsiteX13" fmla="*/ 2834640 w 2994660"/>
                      <a:gd name="connsiteY13" fmla="*/ 1005840 h 2133600"/>
                      <a:gd name="connsiteX14" fmla="*/ 2903220 w 2994660"/>
                      <a:gd name="connsiteY14" fmla="*/ 1341120 h 2133600"/>
                      <a:gd name="connsiteX15" fmla="*/ 2941320 w 2994660"/>
                      <a:gd name="connsiteY15" fmla="*/ 1600200 h 2133600"/>
                      <a:gd name="connsiteX16" fmla="*/ 2994660 w 2994660"/>
                      <a:gd name="connsiteY16" fmla="*/ 1676400 h 2133600"/>
                      <a:gd name="connsiteX17" fmla="*/ 2895600 w 2994660"/>
                      <a:gd name="connsiteY17" fmla="*/ 1653540 h 2133600"/>
                      <a:gd name="connsiteX18" fmla="*/ 2781300 w 2994660"/>
                      <a:gd name="connsiteY18" fmla="*/ 1744980 h 2133600"/>
                      <a:gd name="connsiteX19" fmla="*/ 2735580 w 2994660"/>
                      <a:gd name="connsiteY19" fmla="*/ 1912620 h 2133600"/>
                      <a:gd name="connsiteX20" fmla="*/ 2575560 w 2994660"/>
                      <a:gd name="connsiteY20" fmla="*/ 2133600 h 2133600"/>
                      <a:gd name="connsiteX21" fmla="*/ 2461260 w 2994660"/>
                      <a:gd name="connsiteY21" fmla="*/ 2065020 h 2133600"/>
                      <a:gd name="connsiteX22" fmla="*/ 2423160 w 2994660"/>
                      <a:gd name="connsiteY22" fmla="*/ 1897380 h 2133600"/>
                      <a:gd name="connsiteX23" fmla="*/ 2369820 w 2994660"/>
                      <a:gd name="connsiteY23" fmla="*/ 1790700 h 2133600"/>
                      <a:gd name="connsiteX24" fmla="*/ 2331720 w 2994660"/>
                      <a:gd name="connsiteY24" fmla="*/ 1722120 h 2133600"/>
                      <a:gd name="connsiteX25" fmla="*/ 2217420 w 2994660"/>
                      <a:gd name="connsiteY25" fmla="*/ 1653540 h 2133600"/>
                      <a:gd name="connsiteX26" fmla="*/ 2156460 w 2994660"/>
                      <a:gd name="connsiteY26" fmla="*/ 1485900 h 2133600"/>
                      <a:gd name="connsiteX27" fmla="*/ 2156460 w 2994660"/>
                      <a:gd name="connsiteY27" fmla="*/ 1318260 h 2133600"/>
                      <a:gd name="connsiteX28" fmla="*/ 1958340 w 2994660"/>
                      <a:gd name="connsiteY28" fmla="*/ 1196340 h 2133600"/>
                      <a:gd name="connsiteX29" fmla="*/ 1828800 w 2994660"/>
                      <a:gd name="connsiteY29" fmla="*/ 1066800 h 2133600"/>
                      <a:gd name="connsiteX30" fmla="*/ 1706880 w 2994660"/>
                      <a:gd name="connsiteY30" fmla="*/ 929640 h 2133600"/>
                      <a:gd name="connsiteX31" fmla="*/ 1554480 w 2994660"/>
                      <a:gd name="connsiteY31" fmla="*/ 883920 h 2133600"/>
                      <a:gd name="connsiteX32" fmla="*/ 1371600 w 2994660"/>
                      <a:gd name="connsiteY32" fmla="*/ 845820 h 2133600"/>
                      <a:gd name="connsiteX33" fmla="*/ 1150620 w 2994660"/>
                      <a:gd name="connsiteY33" fmla="*/ 883920 h 2133600"/>
                      <a:gd name="connsiteX34" fmla="*/ 1028700 w 2994660"/>
                      <a:gd name="connsiteY34" fmla="*/ 861060 h 2133600"/>
                      <a:gd name="connsiteX35" fmla="*/ 853440 w 2994660"/>
                      <a:gd name="connsiteY35" fmla="*/ 830580 h 2133600"/>
                      <a:gd name="connsiteX36" fmla="*/ 640080 w 2994660"/>
                      <a:gd name="connsiteY36" fmla="*/ 891540 h 2133600"/>
                      <a:gd name="connsiteX37" fmla="*/ 464820 w 2994660"/>
                      <a:gd name="connsiteY37" fmla="*/ 960120 h 2133600"/>
                      <a:gd name="connsiteX38" fmla="*/ 342900 w 2994660"/>
                      <a:gd name="connsiteY38" fmla="*/ 1066800 h 2133600"/>
                      <a:gd name="connsiteX39" fmla="*/ 259080 w 2994660"/>
                      <a:gd name="connsiteY39" fmla="*/ 1341120 h 2133600"/>
                      <a:gd name="connsiteX40" fmla="*/ 152400 w 2994660"/>
                      <a:gd name="connsiteY40" fmla="*/ 1600200 h 2133600"/>
                      <a:gd name="connsiteX41" fmla="*/ 129540 w 2994660"/>
                      <a:gd name="connsiteY41" fmla="*/ 1821180 h 2133600"/>
                      <a:gd name="connsiteX42" fmla="*/ 152400 w 2994660"/>
                      <a:gd name="connsiteY42" fmla="*/ 1965960 h 2133600"/>
                      <a:gd name="connsiteX0" fmla="*/ 152400 w 2994660"/>
                      <a:gd name="connsiteY0" fmla="*/ 1965960 h 2133600"/>
                      <a:gd name="connsiteX1" fmla="*/ 53340 w 2994660"/>
                      <a:gd name="connsiteY1" fmla="*/ 1889760 h 2133600"/>
                      <a:gd name="connsiteX2" fmla="*/ 0 w 2994660"/>
                      <a:gd name="connsiteY2" fmla="*/ 1699260 h 2133600"/>
                      <a:gd name="connsiteX3" fmla="*/ 38100 w 2994660"/>
                      <a:gd name="connsiteY3" fmla="*/ 1287780 h 2133600"/>
                      <a:gd name="connsiteX4" fmla="*/ 312420 w 2994660"/>
                      <a:gd name="connsiteY4" fmla="*/ 701040 h 2133600"/>
                      <a:gd name="connsiteX5" fmla="*/ 579120 w 2994660"/>
                      <a:gd name="connsiteY5" fmla="*/ 388620 h 2133600"/>
                      <a:gd name="connsiteX6" fmla="*/ 982980 w 2994660"/>
                      <a:gd name="connsiteY6" fmla="*/ 53340 h 2133600"/>
                      <a:gd name="connsiteX7" fmla="*/ 1341120 w 2994660"/>
                      <a:gd name="connsiteY7" fmla="*/ 0 h 2133600"/>
                      <a:gd name="connsiteX8" fmla="*/ 1531620 w 2994660"/>
                      <a:gd name="connsiteY8" fmla="*/ 53340 h 2133600"/>
                      <a:gd name="connsiteX9" fmla="*/ 1729740 w 2994660"/>
                      <a:gd name="connsiteY9" fmla="*/ 7620 h 2133600"/>
                      <a:gd name="connsiteX10" fmla="*/ 2217420 w 2994660"/>
                      <a:gd name="connsiteY10" fmla="*/ 175260 h 2133600"/>
                      <a:gd name="connsiteX11" fmla="*/ 2484120 w 2994660"/>
                      <a:gd name="connsiteY11" fmla="*/ 335280 h 2133600"/>
                      <a:gd name="connsiteX12" fmla="*/ 2697480 w 2994660"/>
                      <a:gd name="connsiteY12" fmla="*/ 594360 h 2133600"/>
                      <a:gd name="connsiteX13" fmla="*/ 2834640 w 2994660"/>
                      <a:gd name="connsiteY13" fmla="*/ 1005840 h 2133600"/>
                      <a:gd name="connsiteX14" fmla="*/ 2903220 w 2994660"/>
                      <a:gd name="connsiteY14" fmla="*/ 1341120 h 2133600"/>
                      <a:gd name="connsiteX15" fmla="*/ 2941320 w 2994660"/>
                      <a:gd name="connsiteY15" fmla="*/ 1600200 h 2133600"/>
                      <a:gd name="connsiteX16" fmla="*/ 2994660 w 2994660"/>
                      <a:gd name="connsiteY16" fmla="*/ 1676400 h 2133600"/>
                      <a:gd name="connsiteX17" fmla="*/ 2895600 w 2994660"/>
                      <a:gd name="connsiteY17" fmla="*/ 1653540 h 2133600"/>
                      <a:gd name="connsiteX18" fmla="*/ 2781300 w 2994660"/>
                      <a:gd name="connsiteY18" fmla="*/ 1744980 h 2133600"/>
                      <a:gd name="connsiteX19" fmla="*/ 2735580 w 2994660"/>
                      <a:gd name="connsiteY19" fmla="*/ 1912620 h 2133600"/>
                      <a:gd name="connsiteX20" fmla="*/ 2575560 w 2994660"/>
                      <a:gd name="connsiteY20" fmla="*/ 2133600 h 2133600"/>
                      <a:gd name="connsiteX21" fmla="*/ 2461260 w 2994660"/>
                      <a:gd name="connsiteY21" fmla="*/ 2065020 h 2133600"/>
                      <a:gd name="connsiteX22" fmla="*/ 2423160 w 2994660"/>
                      <a:gd name="connsiteY22" fmla="*/ 1897380 h 2133600"/>
                      <a:gd name="connsiteX23" fmla="*/ 2369820 w 2994660"/>
                      <a:gd name="connsiteY23" fmla="*/ 1790700 h 2133600"/>
                      <a:gd name="connsiteX24" fmla="*/ 2331720 w 2994660"/>
                      <a:gd name="connsiteY24" fmla="*/ 1722120 h 2133600"/>
                      <a:gd name="connsiteX25" fmla="*/ 2217420 w 2994660"/>
                      <a:gd name="connsiteY25" fmla="*/ 1653540 h 2133600"/>
                      <a:gd name="connsiteX26" fmla="*/ 2156460 w 2994660"/>
                      <a:gd name="connsiteY26" fmla="*/ 1485900 h 2133600"/>
                      <a:gd name="connsiteX27" fmla="*/ 2156460 w 2994660"/>
                      <a:gd name="connsiteY27" fmla="*/ 1318260 h 2133600"/>
                      <a:gd name="connsiteX28" fmla="*/ 1958340 w 2994660"/>
                      <a:gd name="connsiteY28" fmla="*/ 1196340 h 2133600"/>
                      <a:gd name="connsiteX29" fmla="*/ 1828800 w 2994660"/>
                      <a:gd name="connsiteY29" fmla="*/ 1066800 h 2133600"/>
                      <a:gd name="connsiteX30" fmla="*/ 1706880 w 2994660"/>
                      <a:gd name="connsiteY30" fmla="*/ 929640 h 2133600"/>
                      <a:gd name="connsiteX31" fmla="*/ 1554480 w 2994660"/>
                      <a:gd name="connsiteY31" fmla="*/ 883920 h 2133600"/>
                      <a:gd name="connsiteX32" fmla="*/ 1371600 w 2994660"/>
                      <a:gd name="connsiteY32" fmla="*/ 845820 h 2133600"/>
                      <a:gd name="connsiteX33" fmla="*/ 1150620 w 2994660"/>
                      <a:gd name="connsiteY33" fmla="*/ 883920 h 2133600"/>
                      <a:gd name="connsiteX34" fmla="*/ 1028700 w 2994660"/>
                      <a:gd name="connsiteY34" fmla="*/ 861060 h 2133600"/>
                      <a:gd name="connsiteX35" fmla="*/ 853440 w 2994660"/>
                      <a:gd name="connsiteY35" fmla="*/ 830580 h 2133600"/>
                      <a:gd name="connsiteX36" fmla="*/ 640080 w 2994660"/>
                      <a:gd name="connsiteY36" fmla="*/ 891540 h 2133600"/>
                      <a:gd name="connsiteX37" fmla="*/ 464820 w 2994660"/>
                      <a:gd name="connsiteY37" fmla="*/ 960120 h 2133600"/>
                      <a:gd name="connsiteX38" fmla="*/ 342900 w 2994660"/>
                      <a:gd name="connsiteY38" fmla="*/ 1066800 h 2133600"/>
                      <a:gd name="connsiteX39" fmla="*/ 259080 w 2994660"/>
                      <a:gd name="connsiteY39" fmla="*/ 1341120 h 2133600"/>
                      <a:gd name="connsiteX40" fmla="*/ 152400 w 2994660"/>
                      <a:gd name="connsiteY40" fmla="*/ 1600200 h 2133600"/>
                      <a:gd name="connsiteX41" fmla="*/ 129540 w 2994660"/>
                      <a:gd name="connsiteY41" fmla="*/ 1821180 h 2133600"/>
                      <a:gd name="connsiteX42" fmla="*/ 152400 w 2994660"/>
                      <a:gd name="connsiteY42" fmla="*/ 1965960 h 213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94660" h="2133600">
                        <a:moveTo>
                          <a:pt x="152400" y="1965960"/>
                        </a:moveTo>
                        <a:lnTo>
                          <a:pt x="53340" y="1889760"/>
                        </a:lnTo>
                        <a:lnTo>
                          <a:pt x="0" y="1699260"/>
                        </a:lnTo>
                        <a:lnTo>
                          <a:pt x="38100" y="1287780"/>
                        </a:lnTo>
                        <a:lnTo>
                          <a:pt x="312420" y="701040"/>
                        </a:lnTo>
                        <a:lnTo>
                          <a:pt x="579120" y="388620"/>
                        </a:lnTo>
                        <a:lnTo>
                          <a:pt x="982980" y="53340"/>
                        </a:lnTo>
                        <a:cubicBezTo>
                          <a:pt x="1343640" y="7298"/>
                          <a:pt x="1066800" y="44149"/>
                          <a:pt x="1341120" y="0"/>
                        </a:cubicBezTo>
                        <a:lnTo>
                          <a:pt x="1531620" y="53340"/>
                        </a:lnTo>
                        <a:lnTo>
                          <a:pt x="1729740" y="7620"/>
                        </a:lnTo>
                        <a:cubicBezTo>
                          <a:pt x="2075120" y="84371"/>
                          <a:pt x="2087880" y="101848"/>
                          <a:pt x="2217420" y="175260"/>
                        </a:cubicBezTo>
                        <a:lnTo>
                          <a:pt x="2484120" y="335280"/>
                        </a:lnTo>
                        <a:lnTo>
                          <a:pt x="2697480" y="594360"/>
                        </a:lnTo>
                        <a:lnTo>
                          <a:pt x="2834640" y="1005840"/>
                        </a:lnTo>
                        <a:lnTo>
                          <a:pt x="2903220" y="1341120"/>
                        </a:lnTo>
                        <a:lnTo>
                          <a:pt x="2941320" y="1600200"/>
                        </a:lnTo>
                        <a:lnTo>
                          <a:pt x="2994660" y="1676400"/>
                        </a:lnTo>
                        <a:cubicBezTo>
                          <a:pt x="2885496" y="1653008"/>
                          <a:pt x="2851613" y="1653540"/>
                          <a:pt x="2895600" y="1653540"/>
                        </a:cubicBezTo>
                        <a:lnTo>
                          <a:pt x="2781300" y="1744980"/>
                        </a:lnTo>
                        <a:lnTo>
                          <a:pt x="2735580" y="1912620"/>
                        </a:lnTo>
                        <a:lnTo>
                          <a:pt x="2575560" y="2133600"/>
                        </a:lnTo>
                        <a:lnTo>
                          <a:pt x="2461260" y="2065020"/>
                        </a:lnTo>
                        <a:lnTo>
                          <a:pt x="2423160" y="1897380"/>
                        </a:lnTo>
                        <a:cubicBezTo>
                          <a:pt x="2375935" y="1795059"/>
                          <a:pt x="2403156" y="1824036"/>
                          <a:pt x="2369820" y="1790700"/>
                        </a:cubicBezTo>
                        <a:lnTo>
                          <a:pt x="2331720" y="1722120"/>
                        </a:lnTo>
                        <a:cubicBezTo>
                          <a:pt x="2212817" y="1666632"/>
                          <a:pt x="2217420" y="1710824"/>
                          <a:pt x="2217420" y="1653540"/>
                        </a:cubicBezTo>
                        <a:lnTo>
                          <a:pt x="2156460" y="1485900"/>
                        </a:lnTo>
                        <a:cubicBezTo>
                          <a:pt x="2164251" y="1322292"/>
                          <a:pt x="2201840" y="1363640"/>
                          <a:pt x="2156460" y="1318260"/>
                        </a:cubicBezTo>
                        <a:lnTo>
                          <a:pt x="1958340" y="1196340"/>
                        </a:lnTo>
                        <a:lnTo>
                          <a:pt x="1828800" y="1066800"/>
                        </a:lnTo>
                        <a:cubicBezTo>
                          <a:pt x="1712123" y="934567"/>
                          <a:pt x="1755219" y="977979"/>
                          <a:pt x="1706880" y="929640"/>
                        </a:cubicBezTo>
                        <a:lnTo>
                          <a:pt x="1554480" y="883920"/>
                        </a:lnTo>
                        <a:lnTo>
                          <a:pt x="1371600" y="845820"/>
                        </a:lnTo>
                        <a:lnTo>
                          <a:pt x="1150620" y="883920"/>
                        </a:lnTo>
                        <a:lnTo>
                          <a:pt x="1028700" y="861060"/>
                        </a:lnTo>
                        <a:cubicBezTo>
                          <a:pt x="863690" y="829629"/>
                          <a:pt x="922979" y="830580"/>
                          <a:pt x="853440" y="830580"/>
                        </a:cubicBezTo>
                        <a:lnTo>
                          <a:pt x="640080" y="891540"/>
                        </a:lnTo>
                        <a:lnTo>
                          <a:pt x="464820" y="960120"/>
                        </a:lnTo>
                        <a:lnTo>
                          <a:pt x="342900" y="1066800"/>
                        </a:lnTo>
                        <a:cubicBezTo>
                          <a:pt x="250428" y="1274861"/>
                          <a:pt x="267852" y="1196340"/>
                          <a:pt x="259080" y="1341120"/>
                        </a:cubicBezTo>
                        <a:lnTo>
                          <a:pt x="152400" y="1600200"/>
                        </a:lnTo>
                        <a:lnTo>
                          <a:pt x="129540" y="1821180"/>
                        </a:lnTo>
                        <a:lnTo>
                          <a:pt x="152400" y="196596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58" name="Freeform 257"/>
                  <p:cNvSpPr/>
                  <p:nvPr/>
                </p:nvSpPr>
                <p:spPr>
                  <a:xfrm>
                    <a:off x="4963646" y="900385"/>
                    <a:ext cx="89429" cy="247395"/>
                  </a:xfrm>
                  <a:custGeom>
                    <a:avLst/>
                    <a:gdLst>
                      <a:gd name="connsiteX0" fmla="*/ 45720 w 471018"/>
                      <a:gd name="connsiteY0" fmla="*/ 38100 h 1303020"/>
                      <a:gd name="connsiteX1" fmla="*/ 38100 w 471018"/>
                      <a:gd name="connsiteY1" fmla="*/ 281940 h 1303020"/>
                      <a:gd name="connsiteX2" fmla="*/ 0 w 471018"/>
                      <a:gd name="connsiteY2" fmla="*/ 434340 h 1303020"/>
                      <a:gd name="connsiteX3" fmla="*/ 7620 w 471018"/>
                      <a:gd name="connsiteY3" fmla="*/ 525780 h 1303020"/>
                      <a:gd name="connsiteX4" fmla="*/ 15240 w 471018"/>
                      <a:gd name="connsiteY4" fmla="*/ 838200 h 1303020"/>
                      <a:gd name="connsiteX5" fmla="*/ 99060 w 471018"/>
                      <a:gd name="connsiteY5" fmla="*/ 853440 h 1303020"/>
                      <a:gd name="connsiteX6" fmla="*/ 175260 w 471018"/>
                      <a:gd name="connsiteY6" fmla="*/ 922020 h 1303020"/>
                      <a:gd name="connsiteX7" fmla="*/ 289560 w 471018"/>
                      <a:gd name="connsiteY7" fmla="*/ 1074420 h 1303020"/>
                      <a:gd name="connsiteX8" fmla="*/ 426720 w 471018"/>
                      <a:gd name="connsiteY8" fmla="*/ 1303020 h 1303020"/>
                      <a:gd name="connsiteX9" fmla="*/ 457200 w 471018"/>
                      <a:gd name="connsiteY9" fmla="*/ 1181100 h 1303020"/>
                      <a:gd name="connsiteX10" fmla="*/ 373380 w 471018"/>
                      <a:gd name="connsiteY10" fmla="*/ 922020 h 1303020"/>
                      <a:gd name="connsiteX11" fmla="*/ 373380 w 471018"/>
                      <a:gd name="connsiteY11" fmla="*/ 731520 h 1303020"/>
                      <a:gd name="connsiteX12" fmla="*/ 388620 w 471018"/>
                      <a:gd name="connsiteY12" fmla="*/ 457200 h 1303020"/>
                      <a:gd name="connsiteX13" fmla="*/ 289560 w 471018"/>
                      <a:gd name="connsiteY13" fmla="*/ 236220 h 1303020"/>
                      <a:gd name="connsiteX14" fmla="*/ 205740 w 471018"/>
                      <a:gd name="connsiteY14" fmla="*/ 0 h 1303020"/>
                      <a:gd name="connsiteX15" fmla="*/ 114300 w 471018"/>
                      <a:gd name="connsiteY15" fmla="*/ 30480 h 1303020"/>
                      <a:gd name="connsiteX16" fmla="*/ 45720 w 471018"/>
                      <a:gd name="connsiteY16" fmla="*/ 38100 h 1303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1018" h="1303020">
                        <a:moveTo>
                          <a:pt x="45720" y="38100"/>
                        </a:moveTo>
                        <a:lnTo>
                          <a:pt x="38100" y="281940"/>
                        </a:lnTo>
                        <a:lnTo>
                          <a:pt x="0" y="434340"/>
                        </a:lnTo>
                        <a:lnTo>
                          <a:pt x="7620" y="525780"/>
                        </a:lnTo>
                        <a:lnTo>
                          <a:pt x="15240" y="838200"/>
                        </a:lnTo>
                        <a:lnTo>
                          <a:pt x="99060" y="853440"/>
                        </a:lnTo>
                        <a:lnTo>
                          <a:pt x="175260" y="922020"/>
                        </a:lnTo>
                        <a:lnTo>
                          <a:pt x="289560" y="1074420"/>
                        </a:lnTo>
                        <a:lnTo>
                          <a:pt x="426720" y="1303020"/>
                        </a:lnTo>
                        <a:lnTo>
                          <a:pt x="457200" y="1181100"/>
                        </a:lnTo>
                        <a:cubicBezTo>
                          <a:pt x="380283" y="919583"/>
                          <a:pt x="471018" y="922020"/>
                          <a:pt x="373380" y="922020"/>
                        </a:cubicBezTo>
                        <a:cubicBezTo>
                          <a:pt x="381102" y="728982"/>
                          <a:pt x="444551" y="731520"/>
                          <a:pt x="373380" y="731520"/>
                        </a:cubicBezTo>
                        <a:lnTo>
                          <a:pt x="388620" y="457200"/>
                        </a:lnTo>
                        <a:lnTo>
                          <a:pt x="289560" y="236220"/>
                        </a:lnTo>
                        <a:lnTo>
                          <a:pt x="205740" y="0"/>
                        </a:lnTo>
                        <a:lnTo>
                          <a:pt x="114300" y="30480"/>
                        </a:lnTo>
                        <a:lnTo>
                          <a:pt x="45720" y="381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59" name="Freeform 258"/>
                  <p:cNvSpPr/>
                  <p:nvPr/>
                </p:nvSpPr>
                <p:spPr>
                  <a:xfrm>
                    <a:off x="4614094" y="982247"/>
                    <a:ext cx="202345" cy="36772"/>
                  </a:xfrm>
                  <a:custGeom>
                    <a:avLst/>
                    <a:gdLst>
                      <a:gd name="connsiteX0" fmla="*/ 0 w 1047750"/>
                      <a:gd name="connsiteY0" fmla="*/ 133350 h 204369"/>
                      <a:gd name="connsiteX1" fmla="*/ 66675 w 1047750"/>
                      <a:gd name="connsiteY1" fmla="*/ 130175 h 204369"/>
                      <a:gd name="connsiteX2" fmla="*/ 158750 w 1047750"/>
                      <a:gd name="connsiteY2" fmla="*/ 85725 h 204369"/>
                      <a:gd name="connsiteX3" fmla="*/ 215900 w 1047750"/>
                      <a:gd name="connsiteY3" fmla="*/ 57150 h 204369"/>
                      <a:gd name="connsiteX4" fmla="*/ 298450 w 1047750"/>
                      <a:gd name="connsiteY4" fmla="*/ 60325 h 204369"/>
                      <a:gd name="connsiteX5" fmla="*/ 349250 w 1047750"/>
                      <a:gd name="connsiteY5" fmla="*/ 76200 h 204369"/>
                      <a:gd name="connsiteX6" fmla="*/ 422275 w 1047750"/>
                      <a:gd name="connsiteY6" fmla="*/ 66675 h 204369"/>
                      <a:gd name="connsiteX7" fmla="*/ 473075 w 1047750"/>
                      <a:gd name="connsiteY7" fmla="*/ 34925 h 204369"/>
                      <a:gd name="connsiteX8" fmla="*/ 533400 w 1047750"/>
                      <a:gd name="connsiteY8" fmla="*/ 25400 h 204369"/>
                      <a:gd name="connsiteX9" fmla="*/ 619125 w 1047750"/>
                      <a:gd name="connsiteY9" fmla="*/ 38100 h 204369"/>
                      <a:gd name="connsiteX10" fmla="*/ 793750 w 1047750"/>
                      <a:gd name="connsiteY10" fmla="*/ 31750 h 204369"/>
                      <a:gd name="connsiteX11" fmla="*/ 939800 w 1047750"/>
                      <a:gd name="connsiteY11" fmla="*/ 9525 h 204369"/>
                      <a:gd name="connsiteX12" fmla="*/ 1022350 w 1047750"/>
                      <a:gd name="connsiteY12" fmla="*/ 0 h 204369"/>
                      <a:gd name="connsiteX13" fmla="*/ 1047750 w 1047750"/>
                      <a:gd name="connsiteY13" fmla="*/ 22225 h 204369"/>
                      <a:gd name="connsiteX14" fmla="*/ 1019175 w 1047750"/>
                      <a:gd name="connsiteY14" fmla="*/ 19050 h 204369"/>
                      <a:gd name="connsiteX15" fmla="*/ 949325 w 1047750"/>
                      <a:gd name="connsiteY15" fmla="*/ 34925 h 204369"/>
                      <a:gd name="connsiteX16" fmla="*/ 863600 w 1047750"/>
                      <a:gd name="connsiteY16" fmla="*/ 76200 h 204369"/>
                      <a:gd name="connsiteX17" fmla="*/ 701675 w 1047750"/>
                      <a:gd name="connsiteY17" fmla="*/ 95250 h 204369"/>
                      <a:gd name="connsiteX18" fmla="*/ 619125 w 1047750"/>
                      <a:gd name="connsiteY18" fmla="*/ 127000 h 204369"/>
                      <a:gd name="connsiteX19" fmla="*/ 485775 w 1047750"/>
                      <a:gd name="connsiteY19" fmla="*/ 149225 h 204369"/>
                      <a:gd name="connsiteX20" fmla="*/ 317500 w 1047750"/>
                      <a:gd name="connsiteY20" fmla="*/ 174625 h 204369"/>
                      <a:gd name="connsiteX21" fmla="*/ 146050 w 1047750"/>
                      <a:gd name="connsiteY21" fmla="*/ 187325 h 204369"/>
                      <a:gd name="connsiteX22" fmla="*/ 57150 w 1047750"/>
                      <a:gd name="connsiteY22" fmla="*/ 180975 h 204369"/>
                      <a:gd name="connsiteX23" fmla="*/ 0 w 1047750"/>
                      <a:gd name="connsiteY23" fmla="*/ 133350 h 204369"/>
                      <a:gd name="connsiteX0" fmla="*/ 0 w 1047750"/>
                      <a:gd name="connsiteY0" fmla="*/ 133350 h 187325"/>
                      <a:gd name="connsiteX1" fmla="*/ 66675 w 1047750"/>
                      <a:gd name="connsiteY1" fmla="*/ 130175 h 187325"/>
                      <a:gd name="connsiteX2" fmla="*/ 158750 w 1047750"/>
                      <a:gd name="connsiteY2" fmla="*/ 85725 h 187325"/>
                      <a:gd name="connsiteX3" fmla="*/ 215900 w 1047750"/>
                      <a:gd name="connsiteY3" fmla="*/ 57150 h 187325"/>
                      <a:gd name="connsiteX4" fmla="*/ 298450 w 1047750"/>
                      <a:gd name="connsiteY4" fmla="*/ 60325 h 187325"/>
                      <a:gd name="connsiteX5" fmla="*/ 349250 w 1047750"/>
                      <a:gd name="connsiteY5" fmla="*/ 76200 h 187325"/>
                      <a:gd name="connsiteX6" fmla="*/ 422275 w 1047750"/>
                      <a:gd name="connsiteY6" fmla="*/ 66675 h 187325"/>
                      <a:gd name="connsiteX7" fmla="*/ 473075 w 1047750"/>
                      <a:gd name="connsiteY7" fmla="*/ 34925 h 187325"/>
                      <a:gd name="connsiteX8" fmla="*/ 533400 w 1047750"/>
                      <a:gd name="connsiteY8" fmla="*/ 25400 h 187325"/>
                      <a:gd name="connsiteX9" fmla="*/ 619125 w 1047750"/>
                      <a:gd name="connsiteY9" fmla="*/ 38100 h 187325"/>
                      <a:gd name="connsiteX10" fmla="*/ 793750 w 1047750"/>
                      <a:gd name="connsiteY10" fmla="*/ 31750 h 187325"/>
                      <a:gd name="connsiteX11" fmla="*/ 939800 w 1047750"/>
                      <a:gd name="connsiteY11" fmla="*/ 9525 h 187325"/>
                      <a:gd name="connsiteX12" fmla="*/ 1022350 w 1047750"/>
                      <a:gd name="connsiteY12" fmla="*/ 0 h 187325"/>
                      <a:gd name="connsiteX13" fmla="*/ 1047750 w 1047750"/>
                      <a:gd name="connsiteY13" fmla="*/ 22225 h 187325"/>
                      <a:gd name="connsiteX14" fmla="*/ 1019175 w 1047750"/>
                      <a:gd name="connsiteY14" fmla="*/ 19050 h 187325"/>
                      <a:gd name="connsiteX15" fmla="*/ 949325 w 1047750"/>
                      <a:gd name="connsiteY15" fmla="*/ 34925 h 187325"/>
                      <a:gd name="connsiteX16" fmla="*/ 863600 w 1047750"/>
                      <a:gd name="connsiteY16" fmla="*/ 76200 h 187325"/>
                      <a:gd name="connsiteX17" fmla="*/ 701675 w 1047750"/>
                      <a:gd name="connsiteY17" fmla="*/ 95250 h 187325"/>
                      <a:gd name="connsiteX18" fmla="*/ 619125 w 1047750"/>
                      <a:gd name="connsiteY18" fmla="*/ 127000 h 187325"/>
                      <a:gd name="connsiteX19" fmla="*/ 485775 w 1047750"/>
                      <a:gd name="connsiteY19" fmla="*/ 149225 h 187325"/>
                      <a:gd name="connsiteX20" fmla="*/ 317500 w 1047750"/>
                      <a:gd name="connsiteY20" fmla="*/ 174625 h 187325"/>
                      <a:gd name="connsiteX21" fmla="*/ 146050 w 1047750"/>
                      <a:gd name="connsiteY21" fmla="*/ 187325 h 187325"/>
                      <a:gd name="connsiteX22" fmla="*/ 57150 w 1047750"/>
                      <a:gd name="connsiteY22" fmla="*/ 180975 h 187325"/>
                      <a:gd name="connsiteX23" fmla="*/ 0 w 1047750"/>
                      <a:gd name="connsiteY23" fmla="*/ 133350 h 187325"/>
                      <a:gd name="connsiteX0" fmla="*/ 0 w 1047750"/>
                      <a:gd name="connsiteY0" fmla="*/ 133350 h 190500"/>
                      <a:gd name="connsiteX1" fmla="*/ 66675 w 1047750"/>
                      <a:gd name="connsiteY1" fmla="*/ 130175 h 190500"/>
                      <a:gd name="connsiteX2" fmla="*/ 158750 w 1047750"/>
                      <a:gd name="connsiteY2" fmla="*/ 85725 h 190500"/>
                      <a:gd name="connsiteX3" fmla="*/ 215900 w 1047750"/>
                      <a:gd name="connsiteY3" fmla="*/ 57150 h 190500"/>
                      <a:gd name="connsiteX4" fmla="*/ 298450 w 1047750"/>
                      <a:gd name="connsiteY4" fmla="*/ 60325 h 190500"/>
                      <a:gd name="connsiteX5" fmla="*/ 349250 w 1047750"/>
                      <a:gd name="connsiteY5" fmla="*/ 76200 h 190500"/>
                      <a:gd name="connsiteX6" fmla="*/ 422275 w 1047750"/>
                      <a:gd name="connsiteY6" fmla="*/ 66675 h 190500"/>
                      <a:gd name="connsiteX7" fmla="*/ 473075 w 1047750"/>
                      <a:gd name="connsiteY7" fmla="*/ 34925 h 190500"/>
                      <a:gd name="connsiteX8" fmla="*/ 533400 w 1047750"/>
                      <a:gd name="connsiteY8" fmla="*/ 25400 h 190500"/>
                      <a:gd name="connsiteX9" fmla="*/ 619125 w 1047750"/>
                      <a:gd name="connsiteY9" fmla="*/ 38100 h 190500"/>
                      <a:gd name="connsiteX10" fmla="*/ 793750 w 1047750"/>
                      <a:gd name="connsiteY10" fmla="*/ 31750 h 190500"/>
                      <a:gd name="connsiteX11" fmla="*/ 939800 w 1047750"/>
                      <a:gd name="connsiteY11" fmla="*/ 9525 h 190500"/>
                      <a:gd name="connsiteX12" fmla="*/ 1022350 w 1047750"/>
                      <a:gd name="connsiteY12" fmla="*/ 0 h 190500"/>
                      <a:gd name="connsiteX13" fmla="*/ 1047750 w 1047750"/>
                      <a:gd name="connsiteY13" fmla="*/ 22225 h 190500"/>
                      <a:gd name="connsiteX14" fmla="*/ 1019175 w 1047750"/>
                      <a:gd name="connsiteY14" fmla="*/ 19050 h 190500"/>
                      <a:gd name="connsiteX15" fmla="*/ 949325 w 1047750"/>
                      <a:gd name="connsiteY15" fmla="*/ 34925 h 190500"/>
                      <a:gd name="connsiteX16" fmla="*/ 863600 w 1047750"/>
                      <a:gd name="connsiteY16" fmla="*/ 76200 h 190500"/>
                      <a:gd name="connsiteX17" fmla="*/ 701675 w 1047750"/>
                      <a:gd name="connsiteY17" fmla="*/ 95250 h 190500"/>
                      <a:gd name="connsiteX18" fmla="*/ 619125 w 1047750"/>
                      <a:gd name="connsiteY18" fmla="*/ 127000 h 190500"/>
                      <a:gd name="connsiteX19" fmla="*/ 485775 w 1047750"/>
                      <a:gd name="connsiteY19" fmla="*/ 149225 h 190500"/>
                      <a:gd name="connsiteX20" fmla="*/ 352425 w 1047750"/>
                      <a:gd name="connsiteY20" fmla="*/ 190500 h 190500"/>
                      <a:gd name="connsiteX21" fmla="*/ 317500 w 1047750"/>
                      <a:gd name="connsiteY21" fmla="*/ 174625 h 190500"/>
                      <a:gd name="connsiteX22" fmla="*/ 146050 w 1047750"/>
                      <a:gd name="connsiteY22" fmla="*/ 187325 h 190500"/>
                      <a:gd name="connsiteX23" fmla="*/ 57150 w 1047750"/>
                      <a:gd name="connsiteY23" fmla="*/ 180975 h 190500"/>
                      <a:gd name="connsiteX24" fmla="*/ 0 w 1047750"/>
                      <a:gd name="connsiteY24" fmla="*/ 133350 h 190500"/>
                      <a:gd name="connsiteX0" fmla="*/ 0 w 1047750"/>
                      <a:gd name="connsiteY0" fmla="*/ 133350 h 193675"/>
                      <a:gd name="connsiteX1" fmla="*/ 66675 w 1047750"/>
                      <a:gd name="connsiteY1" fmla="*/ 130175 h 193675"/>
                      <a:gd name="connsiteX2" fmla="*/ 158750 w 1047750"/>
                      <a:gd name="connsiteY2" fmla="*/ 85725 h 193675"/>
                      <a:gd name="connsiteX3" fmla="*/ 215900 w 1047750"/>
                      <a:gd name="connsiteY3" fmla="*/ 57150 h 193675"/>
                      <a:gd name="connsiteX4" fmla="*/ 298450 w 1047750"/>
                      <a:gd name="connsiteY4" fmla="*/ 60325 h 193675"/>
                      <a:gd name="connsiteX5" fmla="*/ 349250 w 1047750"/>
                      <a:gd name="connsiteY5" fmla="*/ 76200 h 193675"/>
                      <a:gd name="connsiteX6" fmla="*/ 422275 w 1047750"/>
                      <a:gd name="connsiteY6" fmla="*/ 66675 h 193675"/>
                      <a:gd name="connsiteX7" fmla="*/ 473075 w 1047750"/>
                      <a:gd name="connsiteY7" fmla="*/ 34925 h 193675"/>
                      <a:gd name="connsiteX8" fmla="*/ 533400 w 1047750"/>
                      <a:gd name="connsiteY8" fmla="*/ 25400 h 193675"/>
                      <a:gd name="connsiteX9" fmla="*/ 619125 w 1047750"/>
                      <a:gd name="connsiteY9" fmla="*/ 38100 h 193675"/>
                      <a:gd name="connsiteX10" fmla="*/ 793750 w 1047750"/>
                      <a:gd name="connsiteY10" fmla="*/ 31750 h 193675"/>
                      <a:gd name="connsiteX11" fmla="*/ 939800 w 1047750"/>
                      <a:gd name="connsiteY11" fmla="*/ 9525 h 193675"/>
                      <a:gd name="connsiteX12" fmla="*/ 1022350 w 1047750"/>
                      <a:gd name="connsiteY12" fmla="*/ 0 h 193675"/>
                      <a:gd name="connsiteX13" fmla="*/ 1047750 w 1047750"/>
                      <a:gd name="connsiteY13" fmla="*/ 22225 h 193675"/>
                      <a:gd name="connsiteX14" fmla="*/ 1019175 w 1047750"/>
                      <a:gd name="connsiteY14" fmla="*/ 19050 h 193675"/>
                      <a:gd name="connsiteX15" fmla="*/ 949325 w 1047750"/>
                      <a:gd name="connsiteY15" fmla="*/ 34925 h 193675"/>
                      <a:gd name="connsiteX16" fmla="*/ 863600 w 1047750"/>
                      <a:gd name="connsiteY16" fmla="*/ 76200 h 193675"/>
                      <a:gd name="connsiteX17" fmla="*/ 701675 w 1047750"/>
                      <a:gd name="connsiteY17" fmla="*/ 95250 h 193675"/>
                      <a:gd name="connsiteX18" fmla="*/ 619125 w 1047750"/>
                      <a:gd name="connsiteY18" fmla="*/ 127000 h 193675"/>
                      <a:gd name="connsiteX19" fmla="*/ 485775 w 1047750"/>
                      <a:gd name="connsiteY19" fmla="*/ 149225 h 193675"/>
                      <a:gd name="connsiteX20" fmla="*/ 352425 w 1047750"/>
                      <a:gd name="connsiteY20" fmla="*/ 190500 h 193675"/>
                      <a:gd name="connsiteX21" fmla="*/ 285750 w 1047750"/>
                      <a:gd name="connsiteY21" fmla="*/ 193675 h 193675"/>
                      <a:gd name="connsiteX22" fmla="*/ 146050 w 1047750"/>
                      <a:gd name="connsiteY22" fmla="*/ 187325 h 193675"/>
                      <a:gd name="connsiteX23" fmla="*/ 57150 w 1047750"/>
                      <a:gd name="connsiteY23" fmla="*/ 180975 h 193675"/>
                      <a:gd name="connsiteX24" fmla="*/ 0 w 1047750"/>
                      <a:gd name="connsiteY24" fmla="*/ 133350 h 193675"/>
                      <a:gd name="connsiteX0" fmla="*/ 0 w 1047750"/>
                      <a:gd name="connsiteY0" fmla="*/ 133350 h 193675"/>
                      <a:gd name="connsiteX1" fmla="*/ 66675 w 1047750"/>
                      <a:gd name="connsiteY1" fmla="*/ 130175 h 193675"/>
                      <a:gd name="connsiteX2" fmla="*/ 158750 w 1047750"/>
                      <a:gd name="connsiteY2" fmla="*/ 85725 h 193675"/>
                      <a:gd name="connsiteX3" fmla="*/ 215900 w 1047750"/>
                      <a:gd name="connsiteY3" fmla="*/ 57150 h 193675"/>
                      <a:gd name="connsiteX4" fmla="*/ 298450 w 1047750"/>
                      <a:gd name="connsiteY4" fmla="*/ 60325 h 193675"/>
                      <a:gd name="connsiteX5" fmla="*/ 349250 w 1047750"/>
                      <a:gd name="connsiteY5" fmla="*/ 76200 h 193675"/>
                      <a:gd name="connsiteX6" fmla="*/ 422275 w 1047750"/>
                      <a:gd name="connsiteY6" fmla="*/ 66675 h 193675"/>
                      <a:gd name="connsiteX7" fmla="*/ 473075 w 1047750"/>
                      <a:gd name="connsiteY7" fmla="*/ 34925 h 193675"/>
                      <a:gd name="connsiteX8" fmla="*/ 533400 w 1047750"/>
                      <a:gd name="connsiteY8" fmla="*/ 25400 h 193675"/>
                      <a:gd name="connsiteX9" fmla="*/ 619125 w 1047750"/>
                      <a:gd name="connsiteY9" fmla="*/ 38100 h 193675"/>
                      <a:gd name="connsiteX10" fmla="*/ 793750 w 1047750"/>
                      <a:gd name="connsiteY10" fmla="*/ 31750 h 193675"/>
                      <a:gd name="connsiteX11" fmla="*/ 939800 w 1047750"/>
                      <a:gd name="connsiteY11" fmla="*/ 9525 h 193675"/>
                      <a:gd name="connsiteX12" fmla="*/ 1022350 w 1047750"/>
                      <a:gd name="connsiteY12" fmla="*/ 0 h 193675"/>
                      <a:gd name="connsiteX13" fmla="*/ 1047750 w 1047750"/>
                      <a:gd name="connsiteY13" fmla="*/ 22225 h 193675"/>
                      <a:gd name="connsiteX14" fmla="*/ 1019175 w 1047750"/>
                      <a:gd name="connsiteY14" fmla="*/ 19050 h 193675"/>
                      <a:gd name="connsiteX15" fmla="*/ 949325 w 1047750"/>
                      <a:gd name="connsiteY15" fmla="*/ 34925 h 193675"/>
                      <a:gd name="connsiteX16" fmla="*/ 787400 w 1047750"/>
                      <a:gd name="connsiteY16" fmla="*/ 76200 h 193675"/>
                      <a:gd name="connsiteX17" fmla="*/ 701675 w 1047750"/>
                      <a:gd name="connsiteY17" fmla="*/ 95250 h 193675"/>
                      <a:gd name="connsiteX18" fmla="*/ 619125 w 1047750"/>
                      <a:gd name="connsiteY18" fmla="*/ 127000 h 193675"/>
                      <a:gd name="connsiteX19" fmla="*/ 485775 w 1047750"/>
                      <a:gd name="connsiteY19" fmla="*/ 149225 h 193675"/>
                      <a:gd name="connsiteX20" fmla="*/ 352425 w 1047750"/>
                      <a:gd name="connsiteY20" fmla="*/ 190500 h 193675"/>
                      <a:gd name="connsiteX21" fmla="*/ 285750 w 1047750"/>
                      <a:gd name="connsiteY21" fmla="*/ 193675 h 193675"/>
                      <a:gd name="connsiteX22" fmla="*/ 146050 w 1047750"/>
                      <a:gd name="connsiteY22" fmla="*/ 187325 h 193675"/>
                      <a:gd name="connsiteX23" fmla="*/ 57150 w 1047750"/>
                      <a:gd name="connsiteY23" fmla="*/ 180975 h 193675"/>
                      <a:gd name="connsiteX24" fmla="*/ 0 w 1047750"/>
                      <a:gd name="connsiteY24" fmla="*/ 133350 h 193675"/>
                      <a:gd name="connsiteX0" fmla="*/ 0 w 1047750"/>
                      <a:gd name="connsiteY0" fmla="*/ 133350 h 193675"/>
                      <a:gd name="connsiteX1" fmla="*/ 66675 w 1047750"/>
                      <a:gd name="connsiteY1" fmla="*/ 130175 h 193675"/>
                      <a:gd name="connsiteX2" fmla="*/ 158750 w 1047750"/>
                      <a:gd name="connsiteY2" fmla="*/ 85725 h 193675"/>
                      <a:gd name="connsiteX3" fmla="*/ 215900 w 1047750"/>
                      <a:gd name="connsiteY3" fmla="*/ 57150 h 193675"/>
                      <a:gd name="connsiteX4" fmla="*/ 298450 w 1047750"/>
                      <a:gd name="connsiteY4" fmla="*/ 60325 h 193675"/>
                      <a:gd name="connsiteX5" fmla="*/ 349250 w 1047750"/>
                      <a:gd name="connsiteY5" fmla="*/ 76200 h 193675"/>
                      <a:gd name="connsiteX6" fmla="*/ 422275 w 1047750"/>
                      <a:gd name="connsiteY6" fmla="*/ 66675 h 193675"/>
                      <a:gd name="connsiteX7" fmla="*/ 473075 w 1047750"/>
                      <a:gd name="connsiteY7" fmla="*/ 34925 h 193675"/>
                      <a:gd name="connsiteX8" fmla="*/ 533400 w 1047750"/>
                      <a:gd name="connsiteY8" fmla="*/ 25400 h 193675"/>
                      <a:gd name="connsiteX9" fmla="*/ 619125 w 1047750"/>
                      <a:gd name="connsiteY9" fmla="*/ 38100 h 193675"/>
                      <a:gd name="connsiteX10" fmla="*/ 793750 w 1047750"/>
                      <a:gd name="connsiteY10" fmla="*/ 31750 h 193675"/>
                      <a:gd name="connsiteX11" fmla="*/ 939800 w 1047750"/>
                      <a:gd name="connsiteY11" fmla="*/ 9525 h 193675"/>
                      <a:gd name="connsiteX12" fmla="*/ 1022350 w 1047750"/>
                      <a:gd name="connsiteY12" fmla="*/ 0 h 193675"/>
                      <a:gd name="connsiteX13" fmla="*/ 1047750 w 1047750"/>
                      <a:gd name="connsiteY13" fmla="*/ 22225 h 193675"/>
                      <a:gd name="connsiteX14" fmla="*/ 1019175 w 1047750"/>
                      <a:gd name="connsiteY14" fmla="*/ 19050 h 193675"/>
                      <a:gd name="connsiteX15" fmla="*/ 949325 w 1047750"/>
                      <a:gd name="connsiteY15" fmla="*/ 34925 h 193675"/>
                      <a:gd name="connsiteX16" fmla="*/ 787400 w 1047750"/>
                      <a:gd name="connsiteY16" fmla="*/ 76200 h 193675"/>
                      <a:gd name="connsiteX17" fmla="*/ 701675 w 1047750"/>
                      <a:gd name="connsiteY17" fmla="*/ 95250 h 193675"/>
                      <a:gd name="connsiteX18" fmla="*/ 619125 w 1047750"/>
                      <a:gd name="connsiteY18" fmla="*/ 127000 h 193675"/>
                      <a:gd name="connsiteX19" fmla="*/ 485775 w 1047750"/>
                      <a:gd name="connsiteY19" fmla="*/ 149225 h 193675"/>
                      <a:gd name="connsiteX20" fmla="*/ 352425 w 1047750"/>
                      <a:gd name="connsiteY20" fmla="*/ 190500 h 193675"/>
                      <a:gd name="connsiteX21" fmla="*/ 285750 w 1047750"/>
                      <a:gd name="connsiteY21" fmla="*/ 193675 h 193675"/>
                      <a:gd name="connsiteX22" fmla="*/ 146050 w 1047750"/>
                      <a:gd name="connsiteY22" fmla="*/ 187325 h 193675"/>
                      <a:gd name="connsiteX23" fmla="*/ 57150 w 1047750"/>
                      <a:gd name="connsiteY23" fmla="*/ 180975 h 193675"/>
                      <a:gd name="connsiteX24" fmla="*/ 0 w 1047750"/>
                      <a:gd name="connsiteY24" fmla="*/ 133350 h 193675"/>
                      <a:gd name="connsiteX0" fmla="*/ 0 w 1047750"/>
                      <a:gd name="connsiteY0" fmla="*/ 133350 h 193675"/>
                      <a:gd name="connsiteX1" fmla="*/ 66675 w 1047750"/>
                      <a:gd name="connsiteY1" fmla="*/ 130175 h 193675"/>
                      <a:gd name="connsiteX2" fmla="*/ 158750 w 1047750"/>
                      <a:gd name="connsiteY2" fmla="*/ 85725 h 193675"/>
                      <a:gd name="connsiteX3" fmla="*/ 215900 w 1047750"/>
                      <a:gd name="connsiteY3" fmla="*/ 57150 h 193675"/>
                      <a:gd name="connsiteX4" fmla="*/ 298450 w 1047750"/>
                      <a:gd name="connsiteY4" fmla="*/ 60325 h 193675"/>
                      <a:gd name="connsiteX5" fmla="*/ 349250 w 1047750"/>
                      <a:gd name="connsiteY5" fmla="*/ 76200 h 193675"/>
                      <a:gd name="connsiteX6" fmla="*/ 422275 w 1047750"/>
                      <a:gd name="connsiteY6" fmla="*/ 66675 h 193675"/>
                      <a:gd name="connsiteX7" fmla="*/ 473075 w 1047750"/>
                      <a:gd name="connsiteY7" fmla="*/ 34925 h 193675"/>
                      <a:gd name="connsiteX8" fmla="*/ 533400 w 1047750"/>
                      <a:gd name="connsiteY8" fmla="*/ 25400 h 193675"/>
                      <a:gd name="connsiteX9" fmla="*/ 619125 w 1047750"/>
                      <a:gd name="connsiteY9" fmla="*/ 38100 h 193675"/>
                      <a:gd name="connsiteX10" fmla="*/ 793750 w 1047750"/>
                      <a:gd name="connsiteY10" fmla="*/ 31750 h 193675"/>
                      <a:gd name="connsiteX11" fmla="*/ 939800 w 1047750"/>
                      <a:gd name="connsiteY11" fmla="*/ 9525 h 193675"/>
                      <a:gd name="connsiteX12" fmla="*/ 1022350 w 1047750"/>
                      <a:gd name="connsiteY12" fmla="*/ 0 h 193675"/>
                      <a:gd name="connsiteX13" fmla="*/ 1047750 w 1047750"/>
                      <a:gd name="connsiteY13" fmla="*/ 22225 h 193675"/>
                      <a:gd name="connsiteX14" fmla="*/ 1019175 w 1047750"/>
                      <a:gd name="connsiteY14" fmla="*/ 19050 h 193675"/>
                      <a:gd name="connsiteX15" fmla="*/ 949325 w 1047750"/>
                      <a:gd name="connsiteY15" fmla="*/ 34925 h 193675"/>
                      <a:gd name="connsiteX16" fmla="*/ 787400 w 1047750"/>
                      <a:gd name="connsiteY16" fmla="*/ 76200 h 193675"/>
                      <a:gd name="connsiteX17" fmla="*/ 701675 w 1047750"/>
                      <a:gd name="connsiteY17" fmla="*/ 95250 h 193675"/>
                      <a:gd name="connsiteX18" fmla="*/ 619125 w 1047750"/>
                      <a:gd name="connsiteY18" fmla="*/ 127000 h 193675"/>
                      <a:gd name="connsiteX19" fmla="*/ 485775 w 1047750"/>
                      <a:gd name="connsiteY19" fmla="*/ 149225 h 193675"/>
                      <a:gd name="connsiteX20" fmla="*/ 352425 w 1047750"/>
                      <a:gd name="connsiteY20" fmla="*/ 190500 h 193675"/>
                      <a:gd name="connsiteX21" fmla="*/ 285750 w 1047750"/>
                      <a:gd name="connsiteY21" fmla="*/ 193675 h 193675"/>
                      <a:gd name="connsiteX22" fmla="*/ 146050 w 1047750"/>
                      <a:gd name="connsiteY22" fmla="*/ 187325 h 193675"/>
                      <a:gd name="connsiteX23" fmla="*/ 57150 w 1047750"/>
                      <a:gd name="connsiteY23" fmla="*/ 180975 h 193675"/>
                      <a:gd name="connsiteX24" fmla="*/ 0 w 1047750"/>
                      <a:gd name="connsiteY24" fmla="*/ 133350 h 193675"/>
                      <a:gd name="connsiteX0" fmla="*/ 0 w 1057275"/>
                      <a:gd name="connsiteY0" fmla="*/ 155575 h 200025"/>
                      <a:gd name="connsiteX1" fmla="*/ 76200 w 1057275"/>
                      <a:gd name="connsiteY1" fmla="*/ 130175 h 200025"/>
                      <a:gd name="connsiteX2" fmla="*/ 168275 w 1057275"/>
                      <a:gd name="connsiteY2" fmla="*/ 85725 h 200025"/>
                      <a:gd name="connsiteX3" fmla="*/ 225425 w 1057275"/>
                      <a:gd name="connsiteY3" fmla="*/ 57150 h 200025"/>
                      <a:gd name="connsiteX4" fmla="*/ 307975 w 1057275"/>
                      <a:gd name="connsiteY4" fmla="*/ 60325 h 200025"/>
                      <a:gd name="connsiteX5" fmla="*/ 358775 w 1057275"/>
                      <a:gd name="connsiteY5" fmla="*/ 76200 h 200025"/>
                      <a:gd name="connsiteX6" fmla="*/ 431800 w 1057275"/>
                      <a:gd name="connsiteY6" fmla="*/ 66675 h 200025"/>
                      <a:gd name="connsiteX7" fmla="*/ 482600 w 1057275"/>
                      <a:gd name="connsiteY7" fmla="*/ 34925 h 200025"/>
                      <a:gd name="connsiteX8" fmla="*/ 542925 w 1057275"/>
                      <a:gd name="connsiteY8" fmla="*/ 25400 h 200025"/>
                      <a:gd name="connsiteX9" fmla="*/ 628650 w 1057275"/>
                      <a:gd name="connsiteY9" fmla="*/ 38100 h 200025"/>
                      <a:gd name="connsiteX10" fmla="*/ 803275 w 1057275"/>
                      <a:gd name="connsiteY10" fmla="*/ 31750 h 200025"/>
                      <a:gd name="connsiteX11" fmla="*/ 949325 w 1057275"/>
                      <a:gd name="connsiteY11" fmla="*/ 9525 h 200025"/>
                      <a:gd name="connsiteX12" fmla="*/ 1031875 w 1057275"/>
                      <a:gd name="connsiteY12" fmla="*/ 0 h 200025"/>
                      <a:gd name="connsiteX13" fmla="*/ 1057275 w 1057275"/>
                      <a:gd name="connsiteY13" fmla="*/ 22225 h 200025"/>
                      <a:gd name="connsiteX14" fmla="*/ 1028700 w 1057275"/>
                      <a:gd name="connsiteY14" fmla="*/ 19050 h 200025"/>
                      <a:gd name="connsiteX15" fmla="*/ 958850 w 1057275"/>
                      <a:gd name="connsiteY15" fmla="*/ 34925 h 200025"/>
                      <a:gd name="connsiteX16" fmla="*/ 796925 w 1057275"/>
                      <a:gd name="connsiteY16" fmla="*/ 76200 h 200025"/>
                      <a:gd name="connsiteX17" fmla="*/ 711200 w 1057275"/>
                      <a:gd name="connsiteY17" fmla="*/ 95250 h 200025"/>
                      <a:gd name="connsiteX18" fmla="*/ 628650 w 1057275"/>
                      <a:gd name="connsiteY18" fmla="*/ 127000 h 200025"/>
                      <a:gd name="connsiteX19" fmla="*/ 495300 w 1057275"/>
                      <a:gd name="connsiteY19" fmla="*/ 149225 h 200025"/>
                      <a:gd name="connsiteX20" fmla="*/ 361950 w 1057275"/>
                      <a:gd name="connsiteY20" fmla="*/ 190500 h 200025"/>
                      <a:gd name="connsiteX21" fmla="*/ 295275 w 1057275"/>
                      <a:gd name="connsiteY21" fmla="*/ 193675 h 200025"/>
                      <a:gd name="connsiteX22" fmla="*/ 155575 w 1057275"/>
                      <a:gd name="connsiteY22" fmla="*/ 187325 h 200025"/>
                      <a:gd name="connsiteX23" fmla="*/ 66675 w 1057275"/>
                      <a:gd name="connsiteY23" fmla="*/ 180975 h 200025"/>
                      <a:gd name="connsiteX24" fmla="*/ 0 w 1057275"/>
                      <a:gd name="connsiteY24" fmla="*/ 155575 h 200025"/>
                      <a:gd name="connsiteX0" fmla="*/ 8466 w 1065741"/>
                      <a:gd name="connsiteY0" fmla="*/ 155575 h 193675"/>
                      <a:gd name="connsiteX1" fmla="*/ 84666 w 1065741"/>
                      <a:gd name="connsiteY1" fmla="*/ 130175 h 193675"/>
                      <a:gd name="connsiteX2" fmla="*/ 176741 w 1065741"/>
                      <a:gd name="connsiteY2" fmla="*/ 85725 h 193675"/>
                      <a:gd name="connsiteX3" fmla="*/ 233891 w 1065741"/>
                      <a:gd name="connsiteY3" fmla="*/ 57150 h 193675"/>
                      <a:gd name="connsiteX4" fmla="*/ 316441 w 1065741"/>
                      <a:gd name="connsiteY4" fmla="*/ 60325 h 193675"/>
                      <a:gd name="connsiteX5" fmla="*/ 367241 w 1065741"/>
                      <a:gd name="connsiteY5" fmla="*/ 76200 h 193675"/>
                      <a:gd name="connsiteX6" fmla="*/ 440266 w 1065741"/>
                      <a:gd name="connsiteY6" fmla="*/ 66675 h 193675"/>
                      <a:gd name="connsiteX7" fmla="*/ 491066 w 1065741"/>
                      <a:gd name="connsiteY7" fmla="*/ 34925 h 193675"/>
                      <a:gd name="connsiteX8" fmla="*/ 551391 w 1065741"/>
                      <a:gd name="connsiteY8" fmla="*/ 25400 h 193675"/>
                      <a:gd name="connsiteX9" fmla="*/ 637116 w 1065741"/>
                      <a:gd name="connsiteY9" fmla="*/ 38100 h 193675"/>
                      <a:gd name="connsiteX10" fmla="*/ 811741 w 1065741"/>
                      <a:gd name="connsiteY10" fmla="*/ 31750 h 193675"/>
                      <a:gd name="connsiteX11" fmla="*/ 957791 w 1065741"/>
                      <a:gd name="connsiteY11" fmla="*/ 9525 h 193675"/>
                      <a:gd name="connsiteX12" fmla="*/ 1040341 w 1065741"/>
                      <a:gd name="connsiteY12" fmla="*/ 0 h 193675"/>
                      <a:gd name="connsiteX13" fmla="*/ 1065741 w 1065741"/>
                      <a:gd name="connsiteY13" fmla="*/ 22225 h 193675"/>
                      <a:gd name="connsiteX14" fmla="*/ 1037166 w 1065741"/>
                      <a:gd name="connsiteY14" fmla="*/ 19050 h 193675"/>
                      <a:gd name="connsiteX15" fmla="*/ 967316 w 1065741"/>
                      <a:gd name="connsiteY15" fmla="*/ 34925 h 193675"/>
                      <a:gd name="connsiteX16" fmla="*/ 805391 w 1065741"/>
                      <a:gd name="connsiteY16" fmla="*/ 76200 h 193675"/>
                      <a:gd name="connsiteX17" fmla="*/ 719666 w 1065741"/>
                      <a:gd name="connsiteY17" fmla="*/ 95250 h 193675"/>
                      <a:gd name="connsiteX18" fmla="*/ 637116 w 1065741"/>
                      <a:gd name="connsiteY18" fmla="*/ 127000 h 193675"/>
                      <a:gd name="connsiteX19" fmla="*/ 503766 w 1065741"/>
                      <a:gd name="connsiteY19" fmla="*/ 149225 h 193675"/>
                      <a:gd name="connsiteX20" fmla="*/ 370416 w 1065741"/>
                      <a:gd name="connsiteY20" fmla="*/ 190500 h 193675"/>
                      <a:gd name="connsiteX21" fmla="*/ 303741 w 1065741"/>
                      <a:gd name="connsiteY21" fmla="*/ 193675 h 193675"/>
                      <a:gd name="connsiteX22" fmla="*/ 164041 w 1065741"/>
                      <a:gd name="connsiteY22" fmla="*/ 187325 h 193675"/>
                      <a:gd name="connsiteX23" fmla="*/ 75141 w 1065741"/>
                      <a:gd name="connsiteY23" fmla="*/ 180975 h 193675"/>
                      <a:gd name="connsiteX24" fmla="*/ 33867 w 1065741"/>
                      <a:gd name="connsiteY24" fmla="*/ 174624 h 193675"/>
                      <a:gd name="connsiteX25" fmla="*/ 8466 w 1065741"/>
                      <a:gd name="connsiteY25" fmla="*/ 155575 h 193675"/>
                      <a:gd name="connsiteX0" fmla="*/ 8466 w 1065741"/>
                      <a:gd name="connsiteY0" fmla="*/ 155575 h 193675"/>
                      <a:gd name="connsiteX1" fmla="*/ 84666 w 1065741"/>
                      <a:gd name="connsiteY1" fmla="*/ 130175 h 193675"/>
                      <a:gd name="connsiteX2" fmla="*/ 176741 w 1065741"/>
                      <a:gd name="connsiteY2" fmla="*/ 85725 h 193675"/>
                      <a:gd name="connsiteX3" fmla="*/ 233891 w 1065741"/>
                      <a:gd name="connsiteY3" fmla="*/ 57150 h 193675"/>
                      <a:gd name="connsiteX4" fmla="*/ 316441 w 1065741"/>
                      <a:gd name="connsiteY4" fmla="*/ 60325 h 193675"/>
                      <a:gd name="connsiteX5" fmla="*/ 367241 w 1065741"/>
                      <a:gd name="connsiteY5" fmla="*/ 76200 h 193675"/>
                      <a:gd name="connsiteX6" fmla="*/ 440266 w 1065741"/>
                      <a:gd name="connsiteY6" fmla="*/ 66675 h 193675"/>
                      <a:gd name="connsiteX7" fmla="*/ 491066 w 1065741"/>
                      <a:gd name="connsiteY7" fmla="*/ 34925 h 193675"/>
                      <a:gd name="connsiteX8" fmla="*/ 551391 w 1065741"/>
                      <a:gd name="connsiteY8" fmla="*/ 25400 h 193675"/>
                      <a:gd name="connsiteX9" fmla="*/ 637116 w 1065741"/>
                      <a:gd name="connsiteY9" fmla="*/ 38100 h 193675"/>
                      <a:gd name="connsiteX10" fmla="*/ 811741 w 1065741"/>
                      <a:gd name="connsiteY10" fmla="*/ 31750 h 193675"/>
                      <a:gd name="connsiteX11" fmla="*/ 957791 w 1065741"/>
                      <a:gd name="connsiteY11" fmla="*/ 9525 h 193675"/>
                      <a:gd name="connsiteX12" fmla="*/ 1040341 w 1065741"/>
                      <a:gd name="connsiteY12" fmla="*/ 0 h 193675"/>
                      <a:gd name="connsiteX13" fmla="*/ 1065741 w 1065741"/>
                      <a:gd name="connsiteY13" fmla="*/ 22225 h 193675"/>
                      <a:gd name="connsiteX14" fmla="*/ 1037166 w 1065741"/>
                      <a:gd name="connsiteY14" fmla="*/ 19050 h 193675"/>
                      <a:gd name="connsiteX15" fmla="*/ 967316 w 1065741"/>
                      <a:gd name="connsiteY15" fmla="*/ 34925 h 193675"/>
                      <a:gd name="connsiteX16" fmla="*/ 805391 w 1065741"/>
                      <a:gd name="connsiteY16" fmla="*/ 76200 h 193675"/>
                      <a:gd name="connsiteX17" fmla="*/ 719666 w 1065741"/>
                      <a:gd name="connsiteY17" fmla="*/ 95250 h 193675"/>
                      <a:gd name="connsiteX18" fmla="*/ 637116 w 1065741"/>
                      <a:gd name="connsiteY18" fmla="*/ 127000 h 193675"/>
                      <a:gd name="connsiteX19" fmla="*/ 510910 w 1065741"/>
                      <a:gd name="connsiteY19" fmla="*/ 158750 h 193675"/>
                      <a:gd name="connsiteX20" fmla="*/ 370416 w 1065741"/>
                      <a:gd name="connsiteY20" fmla="*/ 190500 h 193675"/>
                      <a:gd name="connsiteX21" fmla="*/ 303741 w 1065741"/>
                      <a:gd name="connsiteY21" fmla="*/ 193675 h 193675"/>
                      <a:gd name="connsiteX22" fmla="*/ 164041 w 1065741"/>
                      <a:gd name="connsiteY22" fmla="*/ 187325 h 193675"/>
                      <a:gd name="connsiteX23" fmla="*/ 75141 w 1065741"/>
                      <a:gd name="connsiteY23" fmla="*/ 180975 h 193675"/>
                      <a:gd name="connsiteX24" fmla="*/ 33867 w 1065741"/>
                      <a:gd name="connsiteY24" fmla="*/ 174624 h 193675"/>
                      <a:gd name="connsiteX25" fmla="*/ 8466 w 1065741"/>
                      <a:gd name="connsiteY25" fmla="*/ 155575 h 193675"/>
                      <a:gd name="connsiteX0" fmla="*/ 8466 w 1065741"/>
                      <a:gd name="connsiteY0" fmla="*/ 155575 h 193675"/>
                      <a:gd name="connsiteX1" fmla="*/ 84666 w 1065741"/>
                      <a:gd name="connsiteY1" fmla="*/ 130175 h 193675"/>
                      <a:gd name="connsiteX2" fmla="*/ 176741 w 1065741"/>
                      <a:gd name="connsiteY2" fmla="*/ 85725 h 193675"/>
                      <a:gd name="connsiteX3" fmla="*/ 233891 w 1065741"/>
                      <a:gd name="connsiteY3" fmla="*/ 57150 h 193675"/>
                      <a:gd name="connsiteX4" fmla="*/ 316441 w 1065741"/>
                      <a:gd name="connsiteY4" fmla="*/ 60325 h 193675"/>
                      <a:gd name="connsiteX5" fmla="*/ 367241 w 1065741"/>
                      <a:gd name="connsiteY5" fmla="*/ 76200 h 193675"/>
                      <a:gd name="connsiteX6" fmla="*/ 440266 w 1065741"/>
                      <a:gd name="connsiteY6" fmla="*/ 66675 h 193675"/>
                      <a:gd name="connsiteX7" fmla="*/ 491066 w 1065741"/>
                      <a:gd name="connsiteY7" fmla="*/ 34925 h 193675"/>
                      <a:gd name="connsiteX8" fmla="*/ 551391 w 1065741"/>
                      <a:gd name="connsiteY8" fmla="*/ 25400 h 193675"/>
                      <a:gd name="connsiteX9" fmla="*/ 637116 w 1065741"/>
                      <a:gd name="connsiteY9" fmla="*/ 38100 h 193675"/>
                      <a:gd name="connsiteX10" fmla="*/ 811741 w 1065741"/>
                      <a:gd name="connsiteY10" fmla="*/ 31750 h 193675"/>
                      <a:gd name="connsiteX11" fmla="*/ 957791 w 1065741"/>
                      <a:gd name="connsiteY11" fmla="*/ 9525 h 193675"/>
                      <a:gd name="connsiteX12" fmla="*/ 1040341 w 1065741"/>
                      <a:gd name="connsiteY12" fmla="*/ 0 h 193675"/>
                      <a:gd name="connsiteX13" fmla="*/ 1065741 w 1065741"/>
                      <a:gd name="connsiteY13" fmla="*/ 22225 h 193675"/>
                      <a:gd name="connsiteX14" fmla="*/ 1037166 w 1065741"/>
                      <a:gd name="connsiteY14" fmla="*/ 19050 h 193675"/>
                      <a:gd name="connsiteX15" fmla="*/ 967316 w 1065741"/>
                      <a:gd name="connsiteY15" fmla="*/ 34925 h 193675"/>
                      <a:gd name="connsiteX16" fmla="*/ 805391 w 1065741"/>
                      <a:gd name="connsiteY16" fmla="*/ 76200 h 193675"/>
                      <a:gd name="connsiteX17" fmla="*/ 719666 w 1065741"/>
                      <a:gd name="connsiteY17" fmla="*/ 95250 h 193675"/>
                      <a:gd name="connsiteX18" fmla="*/ 637116 w 1065741"/>
                      <a:gd name="connsiteY18" fmla="*/ 127000 h 193675"/>
                      <a:gd name="connsiteX19" fmla="*/ 510910 w 1065741"/>
                      <a:gd name="connsiteY19" fmla="*/ 158750 h 193675"/>
                      <a:gd name="connsiteX20" fmla="*/ 370416 w 1065741"/>
                      <a:gd name="connsiteY20" fmla="*/ 190500 h 193675"/>
                      <a:gd name="connsiteX21" fmla="*/ 303741 w 1065741"/>
                      <a:gd name="connsiteY21" fmla="*/ 193675 h 193675"/>
                      <a:gd name="connsiteX22" fmla="*/ 275167 w 1065741"/>
                      <a:gd name="connsiteY22" fmla="*/ 186530 h 193675"/>
                      <a:gd name="connsiteX23" fmla="*/ 164041 w 1065741"/>
                      <a:gd name="connsiteY23" fmla="*/ 187325 h 193675"/>
                      <a:gd name="connsiteX24" fmla="*/ 75141 w 1065741"/>
                      <a:gd name="connsiteY24" fmla="*/ 180975 h 193675"/>
                      <a:gd name="connsiteX25" fmla="*/ 33867 w 1065741"/>
                      <a:gd name="connsiteY25" fmla="*/ 174624 h 193675"/>
                      <a:gd name="connsiteX26" fmla="*/ 8466 w 1065741"/>
                      <a:gd name="connsiteY26" fmla="*/ 155575 h 193675"/>
                      <a:gd name="connsiteX0" fmla="*/ 8466 w 1065741"/>
                      <a:gd name="connsiteY0" fmla="*/ 155575 h 193675"/>
                      <a:gd name="connsiteX1" fmla="*/ 84666 w 1065741"/>
                      <a:gd name="connsiteY1" fmla="*/ 130175 h 193675"/>
                      <a:gd name="connsiteX2" fmla="*/ 176741 w 1065741"/>
                      <a:gd name="connsiteY2" fmla="*/ 85725 h 193675"/>
                      <a:gd name="connsiteX3" fmla="*/ 233891 w 1065741"/>
                      <a:gd name="connsiteY3" fmla="*/ 57150 h 193675"/>
                      <a:gd name="connsiteX4" fmla="*/ 316441 w 1065741"/>
                      <a:gd name="connsiteY4" fmla="*/ 60325 h 193675"/>
                      <a:gd name="connsiteX5" fmla="*/ 367241 w 1065741"/>
                      <a:gd name="connsiteY5" fmla="*/ 76200 h 193675"/>
                      <a:gd name="connsiteX6" fmla="*/ 440266 w 1065741"/>
                      <a:gd name="connsiteY6" fmla="*/ 66675 h 193675"/>
                      <a:gd name="connsiteX7" fmla="*/ 491066 w 1065741"/>
                      <a:gd name="connsiteY7" fmla="*/ 34925 h 193675"/>
                      <a:gd name="connsiteX8" fmla="*/ 551391 w 1065741"/>
                      <a:gd name="connsiteY8" fmla="*/ 25400 h 193675"/>
                      <a:gd name="connsiteX9" fmla="*/ 637116 w 1065741"/>
                      <a:gd name="connsiteY9" fmla="*/ 38100 h 193675"/>
                      <a:gd name="connsiteX10" fmla="*/ 811741 w 1065741"/>
                      <a:gd name="connsiteY10" fmla="*/ 31750 h 193675"/>
                      <a:gd name="connsiteX11" fmla="*/ 957791 w 1065741"/>
                      <a:gd name="connsiteY11" fmla="*/ 9525 h 193675"/>
                      <a:gd name="connsiteX12" fmla="*/ 1040341 w 1065741"/>
                      <a:gd name="connsiteY12" fmla="*/ 0 h 193675"/>
                      <a:gd name="connsiteX13" fmla="*/ 1060980 w 1065741"/>
                      <a:gd name="connsiteY13" fmla="*/ 3175 h 193675"/>
                      <a:gd name="connsiteX14" fmla="*/ 1065741 w 1065741"/>
                      <a:gd name="connsiteY14" fmla="*/ 22225 h 193675"/>
                      <a:gd name="connsiteX15" fmla="*/ 1037166 w 1065741"/>
                      <a:gd name="connsiteY15" fmla="*/ 19050 h 193675"/>
                      <a:gd name="connsiteX16" fmla="*/ 967316 w 1065741"/>
                      <a:gd name="connsiteY16" fmla="*/ 34925 h 193675"/>
                      <a:gd name="connsiteX17" fmla="*/ 805391 w 1065741"/>
                      <a:gd name="connsiteY17" fmla="*/ 76200 h 193675"/>
                      <a:gd name="connsiteX18" fmla="*/ 719666 w 1065741"/>
                      <a:gd name="connsiteY18" fmla="*/ 95250 h 193675"/>
                      <a:gd name="connsiteX19" fmla="*/ 637116 w 1065741"/>
                      <a:gd name="connsiteY19" fmla="*/ 127000 h 193675"/>
                      <a:gd name="connsiteX20" fmla="*/ 510910 w 1065741"/>
                      <a:gd name="connsiteY20" fmla="*/ 158750 h 193675"/>
                      <a:gd name="connsiteX21" fmla="*/ 370416 w 1065741"/>
                      <a:gd name="connsiteY21" fmla="*/ 190500 h 193675"/>
                      <a:gd name="connsiteX22" fmla="*/ 303741 w 1065741"/>
                      <a:gd name="connsiteY22" fmla="*/ 193675 h 193675"/>
                      <a:gd name="connsiteX23" fmla="*/ 275167 w 1065741"/>
                      <a:gd name="connsiteY23" fmla="*/ 186530 h 193675"/>
                      <a:gd name="connsiteX24" fmla="*/ 164041 w 1065741"/>
                      <a:gd name="connsiteY24" fmla="*/ 187325 h 193675"/>
                      <a:gd name="connsiteX25" fmla="*/ 75141 w 1065741"/>
                      <a:gd name="connsiteY25" fmla="*/ 180975 h 193675"/>
                      <a:gd name="connsiteX26" fmla="*/ 33867 w 1065741"/>
                      <a:gd name="connsiteY26" fmla="*/ 174624 h 193675"/>
                      <a:gd name="connsiteX27" fmla="*/ 8466 w 1065741"/>
                      <a:gd name="connsiteY27" fmla="*/ 155575 h 193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65741" h="193675">
                        <a:moveTo>
                          <a:pt x="8466" y="155575"/>
                        </a:moveTo>
                        <a:lnTo>
                          <a:pt x="84666" y="130175"/>
                        </a:lnTo>
                        <a:lnTo>
                          <a:pt x="176741" y="85725"/>
                        </a:lnTo>
                        <a:lnTo>
                          <a:pt x="233891" y="57150"/>
                        </a:lnTo>
                        <a:lnTo>
                          <a:pt x="316441" y="60325"/>
                        </a:lnTo>
                        <a:lnTo>
                          <a:pt x="367241" y="76200"/>
                        </a:lnTo>
                        <a:lnTo>
                          <a:pt x="440266" y="66675"/>
                        </a:lnTo>
                        <a:lnTo>
                          <a:pt x="491066" y="34925"/>
                        </a:lnTo>
                        <a:cubicBezTo>
                          <a:pt x="549260" y="25226"/>
                          <a:pt x="528903" y="25400"/>
                          <a:pt x="551391" y="25400"/>
                        </a:cubicBezTo>
                        <a:cubicBezTo>
                          <a:pt x="634987" y="38261"/>
                          <a:pt x="606101" y="38100"/>
                          <a:pt x="637116" y="38100"/>
                        </a:cubicBezTo>
                        <a:cubicBezTo>
                          <a:pt x="695323" y="35944"/>
                          <a:pt x="753494" y="31750"/>
                          <a:pt x="811741" y="31750"/>
                        </a:cubicBezTo>
                        <a:lnTo>
                          <a:pt x="957791" y="9525"/>
                        </a:lnTo>
                        <a:lnTo>
                          <a:pt x="1040341" y="0"/>
                        </a:lnTo>
                        <a:lnTo>
                          <a:pt x="1060980" y="3175"/>
                        </a:lnTo>
                        <a:lnTo>
                          <a:pt x="1065741" y="22225"/>
                        </a:lnTo>
                        <a:lnTo>
                          <a:pt x="1037166" y="19050"/>
                        </a:lnTo>
                        <a:lnTo>
                          <a:pt x="967316" y="34925"/>
                        </a:lnTo>
                        <a:cubicBezTo>
                          <a:pt x="880651" y="79862"/>
                          <a:pt x="878416" y="76638"/>
                          <a:pt x="805391" y="76200"/>
                        </a:cubicBezTo>
                        <a:lnTo>
                          <a:pt x="719666" y="95250"/>
                        </a:lnTo>
                        <a:lnTo>
                          <a:pt x="637116" y="127000"/>
                        </a:lnTo>
                        <a:lnTo>
                          <a:pt x="510910" y="158750"/>
                        </a:lnTo>
                        <a:lnTo>
                          <a:pt x="370416" y="190500"/>
                        </a:lnTo>
                        <a:lnTo>
                          <a:pt x="303741" y="193675"/>
                        </a:lnTo>
                        <a:lnTo>
                          <a:pt x="275167" y="186530"/>
                        </a:lnTo>
                        <a:lnTo>
                          <a:pt x="164041" y="187325"/>
                        </a:lnTo>
                        <a:cubicBezTo>
                          <a:pt x="76820" y="184095"/>
                          <a:pt x="92185" y="182144"/>
                          <a:pt x="75141" y="180975"/>
                        </a:cubicBezTo>
                        <a:cubicBezTo>
                          <a:pt x="53446" y="179917"/>
                          <a:pt x="44980" y="178857"/>
                          <a:pt x="33867" y="174624"/>
                        </a:cubicBezTo>
                        <a:cubicBezTo>
                          <a:pt x="22755" y="170391"/>
                          <a:pt x="0" y="164041"/>
                          <a:pt x="8466" y="15557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60" name="Freeform 259"/>
                  <p:cNvSpPr/>
                  <p:nvPr/>
                </p:nvSpPr>
                <p:spPr>
                  <a:xfrm>
                    <a:off x="4625196" y="986015"/>
                    <a:ext cx="188530" cy="56514"/>
                  </a:xfrm>
                  <a:custGeom>
                    <a:avLst/>
                    <a:gdLst>
                      <a:gd name="connsiteX0" fmla="*/ 0 w 738188"/>
                      <a:gd name="connsiteY0" fmla="*/ 254794 h 297656"/>
                      <a:gd name="connsiteX1" fmla="*/ 52388 w 738188"/>
                      <a:gd name="connsiteY1" fmla="*/ 259556 h 297656"/>
                      <a:gd name="connsiteX2" fmla="*/ 116681 w 738188"/>
                      <a:gd name="connsiteY2" fmla="*/ 254794 h 297656"/>
                      <a:gd name="connsiteX3" fmla="*/ 126206 w 738188"/>
                      <a:gd name="connsiteY3" fmla="*/ 230981 h 297656"/>
                      <a:gd name="connsiteX4" fmla="*/ 133350 w 738188"/>
                      <a:gd name="connsiteY4" fmla="*/ 254794 h 297656"/>
                      <a:gd name="connsiteX5" fmla="*/ 183356 w 738188"/>
                      <a:gd name="connsiteY5" fmla="*/ 250031 h 297656"/>
                      <a:gd name="connsiteX6" fmla="*/ 250031 w 738188"/>
                      <a:gd name="connsiteY6" fmla="*/ 235744 h 297656"/>
                      <a:gd name="connsiteX7" fmla="*/ 273844 w 738188"/>
                      <a:gd name="connsiteY7" fmla="*/ 226219 h 297656"/>
                      <a:gd name="connsiteX8" fmla="*/ 273844 w 738188"/>
                      <a:gd name="connsiteY8" fmla="*/ 207169 h 297656"/>
                      <a:gd name="connsiteX9" fmla="*/ 269081 w 738188"/>
                      <a:gd name="connsiteY9" fmla="*/ 197644 h 297656"/>
                      <a:gd name="connsiteX10" fmla="*/ 276225 w 738188"/>
                      <a:gd name="connsiteY10" fmla="*/ 211931 h 297656"/>
                      <a:gd name="connsiteX11" fmla="*/ 283369 w 738188"/>
                      <a:gd name="connsiteY11" fmla="*/ 223837 h 297656"/>
                      <a:gd name="connsiteX12" fmla="*/ 347663 w 738188"/>
                      <a:gd name="connsiteY12" fmla="*/ 211931 h 297656"/>
                      <a:gd name="connsiteX13" fmla="*/ 419100 w 738188"/>
                      <a:gd name="connsiteY13" fmla="*/ 188119 h 297656"/>
                      <a:gd name="connsiteX14" fmla="*/ 421481 w 738188"/>
                      <a:gd name="connsiteY14" fmla="*/ 166687 h 297656"/>
                      <a:gd name="connsiteX15" fmla="*/ 435769 w 738188"/>
                      <a:gd name="connsiteY15" fmla="*/ 180975 h 297656"/>
                      <a:gd name="connsiteX16" fmla="*/ 485775 w 738188"/>
                      <a:gd name="connsiteY16" fmla="*/ 169069 h 297656"/>
                      <a:gd name="connsiteX17" fmla="*/ 566738 w 738188"/>
                      <a:gd name="connsiteY17" fmla="*/ 142875 h 297656"/>
                      <a:gd name="connsiteX18" fmla="*/ 561975 w 738188"/>
                      <a:gd name="connsiteY18" fmla="*/ 114300 h 297656"/>
                      <a:gd name="connsiteX19" fmla="*/ 573881 w 738188"/>
                      <a:gd name="connsiteY19" fmla="*/ 145256 h 297656"/>
                      <a:gd name="connsiteX20" fmla="*/ 604838 w 738188"/>
                      <a:gd name="connsiteY20" fmla="*/ 126206 h 297656"/>
                      <a:gd name="connsiteX21" fmla="*/ 669131 w 738188"/>
                      <a:gd name="connsiteY21" fmla="*/ 57150 h 297656"/>
                      <a:gd name="connsiteX22" fmla="*/ 738188 w 738188"/>
                      <a:gd name="connsiteY22" fmla="*/ 0 h 297656"/>
                      <a:gd name="connsiteX23" fmla="*/ 673894 w 738188"/>
                      <a:gd name="connsiteY23" fmla="*/ 64294 h 297656"/>
                      <a:gd name="connsiteX24" fmla="*/ 616744 w 738188"/>
                      <a:gd name="connsiteY24" fmla="*/ 121444 h 297656"/>
                      <a:gd name="connsiteX25" fmla="*/ 576263 w 738188"/>
                      <a:gd name="connsiteY25" fmla="*/ 150019 h 297656"/>
                      <a:gd name="connsiteX26" fmla="*/ 581025 w 738188"/>
                      <a:gd name="connsiteY26" fmla="*/ 176212 h 297656"/>
                      <a:gd name="connsiteX27" fmla="*/ 571500 w 738188"/>
                      <a:gd name="connsiteY27" fmla="*/ 152400 h 297656"/>
                      <a:gd name="connsiteX28" fmla="*/ 552450 w 738188"/>
                      <a:gd name="connsiteY28" fmla="*/ 152400 h 297656"/>
                      <a:gd name="connsiteX29" fmla="*/ 442913 w 738188"/>
                      <a:gd name="connsiteY29" fmla="*/ 185737 h 297656"/>
                      <a:gd name="connsiteX30" fmla="*/ 431006 w 738188"/>
                      <a:gd name="connsiteY30" fmla="*/ 195262 h 297656"/>
                      <a:gd name="connsiteX31" fmla="*/ 440531 w 738188"/>
                      <a:gd name="connsiteY31" fmla="*/ 223837 h 297656"/>
                      <a:gd name="connsiteX32" fmla="*/ 428625 w 738188"/>
                      <a:gd name="connsiteY32" fmla="*/ 197644 h 297656"/>
                      <a:gd name="connsiteX33" fmla="*/ 409575 w 738188"/>
                      <a:gd name="connsiteY33" fmla="*/ 197644 h 297656"/>
                      <a:gd name="connsiteX34" fmla="*/ 345281 w 738188"/>
                      <a:gd name="connsiteY34" fmla="*/ 214312 h 297656"/>
                      <a:gd name="connsiteX35" fmla="*/ 276225 w 738188"/>
                      <a:gd name="connsiteY35" fmla="*/ 233362 h 297656"/>
                      <a:gd name="connsiteX36" fmla="*/ 280988 w 738188"/>
                      <a:gd name="connsiteY36" fmla="*/ 261937 h 297656"/>
                      <a:gd name="connsiteX37" fmla="*/ 266700 w 738188"/>
                      <a:gd name="connsiteY37" fmla="*/ 235744 h 297656"/>
                      <a:gd name="connsiteX38" fmla="*/ 185738 w 738188"/>
                      <a:gd name="connsiteY38" fmla="*/ 252412 h 297656"/>
                      <a:gd name="connsiteX39" fmla="*/ 126206 w 738188"/>
                      <a:gd name="connsiteY39" fmla="*/ 261937 h 297656"/>
                      <a:gd name="connsiteX40" fmla="*/ 128588 w 738188"/>
                      <a:gd name="connsiteY40" fmla="*/ 297656 h 297656"/>
                      <a:gd name="connsiteX41" fmla="*/ 121444 w 738188"/>
                      <a:gd name="connsiteY41" fmla="*/ 257175 h 297656"/>
                      <a:gd name="connsiteX42" fmla="*/ 0 w 738188"/>
                      <a:gd name="connsiteY42" fmla="*/ 254794 h 297656"/>
                      <a:gd name="connsiteX0" fmla="*/ 0 w 992982"/>
                      <a:gd name="connsiteY0" fmla="*/ 166688 h 297656"/>
                      <a:gd name="connsiteX1" fmla="*/ 307182 w 992982"/>
                      <a:gd name="connsiteY1" fmla="*/ 259556 h 297656"/>
                      <a:gd name="connsiteX2" fmla="*/ 371475 w 992982"/>
                      <a:gd name="connsiteY2" fmla="*/ 254794 h 297656"/>
                      <a:gd name="connsiteX3" fmla="*/ 381000 w 992982"/>
                      <a:gd name="connsiteY3" fmla="*/ 230981 h 297656"/>
                      <a:gd name="connsiteX4" fmla="*/ 388144 w 992982"/>
                      <a:gd name="connsiteY4" fmla="*/ 254794 h 297656"/>
                      <a:gd name="connsiteX5" fmla="*/ 438150 w 992982"/>
                      <a:gd name="connsiteY5" fmla="*/ 250031 h 297656"/>
                      <a:gd name="connsiteX6" fmla="*/ 504825 w 992982"/>
                      <a:gd name="connsiteY6" fmla="*/ 235744 h 297656"/>
                      <a:gd name="connsiteX7" fmla="*/ 528638 w 992982"/>
                      <a:gd name="connsiteY7" fmla="*/ 226219 h 297656"/>
                      <a:gd name="connsiteX8" fmla="*/ 528638 w 992982"/>
                      <a:gd name="connsiteY8" fmla="*/ 207169 h 297656"/>
                      <a:gd name="connsiteX9" fmla="*/ 523875 w 992982"/>
                      <a:gd name="connsiteY9" fmla="*/ 197644 h 297656"/>
                      <a:gd name="connsiteX10" fmla="*/ 531019 w 992982"/>
                      <a:gd name="connsiteY10" fmla="*/ 211931 h 297656"/>
                      <a:gd name="connsiteX11" fmla="*/ 538163 w 992982"/>
                      <a:gd name="connsiteY11" fmla="*/ 223837 h 297656"/>
                      <a:gd name="connsiteX12" fmla="*/ 602457 w 992982"/>
                      <a:gd name="connsiteY12" fmla="*/ 211931 h 297656"/>
                      <a:gd name="connsiteX13" fmla="*/ 673894 w 992982"/>
                      <a:gd name="connsiteY13" fmla="*/ 188119 h 297656"/>
                      <a:gd name="connsiteX14" fmla="*/ 676275 w 992982"/>
                      <a:gd name="connsiteY14" fmla="*/ 166687 h 297656"/>
                      <a:gd name="connsiteX15" fmla="*/ 690563 w 992982"/>
                      <a:gd name="connsiteY15" fmla="*/ 180975 h 297656"/>
                      <a:gd name="connsiteX16" fmla="*/ 740569 w 992982"/>
                      <a:gd name="connsiteY16" fmla="*/ 169069 h 297656"/>
                      <a:gd name="connsiteX17" fmla="*/ 821532 w 992982"/>
                      <a:gd name="connsiteY17" fmla="*/ 142875 h 297656"/>
                      <a:gd name="connsiteX18" fmla="*/ 816769 w 992982"/>
                      <a:gd name="connsiteY18" fmla="*/ 114300 h 297656"/>
                      <a:gd name="connsiteX19" fmla="*/ 828675 w 992982"/>
                      <a:gd name="connsiteY19" fmla="*/ 145256 h 297656"/>
                      <a:gd name="connsiteX20" fmla="*/ 859632 w 992982"/>
                      <a:gd name="connsiteY20" fmla="*/ 126206 h 297656"/>
                      <a:gd name="connsiteX21" fmla="*/ 923925 w 992982"/>
                      <a:gd name="connsiteY21" fmla="*/ 57150 h 297656"/>
                      <a:gd name="connsiteX22" fmla="*/ 992982 w 992982"/>
                      <a:gd name="connsiteY22" fmla="*/ 0 h 297656"/>
                      <a:gd name="connsiteX23" fmla="*/ 928688 w 992982"/>
                      <a:gd name="connsiteY23" fmla="*/ 64294 h 297656"/>
                      <a:gd name="connsiteX24" fmla="*/ 871538 w 992982"/>
                      <a:gd name="connsiteY24" fmla="*/ 121444 h 297656"/>
                      <a:gd name="connsiteX25" fmla="*/ 831057 w 992982"/>
                      <a:gd name="connsiteY25" fmla="*/ 150019 h 297656"/>
                      <a:gd name="connsiteX26" fmla="*/ 835819 w 992982"/>
                      <a:gd name="connsiteY26" fmla="*/ 176212 h 297656"/>
                      <a:gd name="connsiteX27" fmla="*/ 826294 w 992982"/>
                      <a:gd name="connsiteY27" fmla="*/ 152400 h 297656"/>
                      <a:gd name="connsiteX28" fmla="*/ 807244 w 992982"/>
                      <a:gd name="connsiteY28" fmla="*/ 152400 h 297656"/>
                      <a:gd name="connsiteX29" fmla="*/ 697707 w 992982"/>
                      <a:gd name="connsiteY29" fmla="*/ 185737 h 297656"/>
                      <a:gd name="connsiteX30" fmla="*/ 685800 w 992982"/>
                      <a:gd name="connsiteY30" fmla="*/ 195262 h 297656"/>
                      <a:gd name="connsiteX31" fmla="*/ 695325 w 992982"/>
                      <a:gd name="connsiteY31" fmla="*/ 223837 h 297656"/>
                      <a:gd name="connsiteX32" fmla="*/ 683419 w 992982"/>
                      <a:gd name="connsiteY32" fmla="*/ 197644 h 297656"/>
                      <a:gd name="connsiteX33" fmla="*/ 664369 w 992982"/>
                      <a:gd name="connsiteY33" fmla="*/ 197644 h 297656"/>
                      <a:gd name="connsiteX34" fmla="*/ 600075 w 992982"/>
                      <a:gd name="connsiteY34" fmla="*/ 214312 h 297656"/>
                      <a:gd name="connsiteX35" fmla="*/ 531019 w 992982"/>
                      <a:gd name="connsiteY35" fmla="*/ 233362 h 297656"/>
                      <a:gd name="connsiteX36" fmla="*/ 535782 w 992982"/>
                      <a:gd name="connsiteY36" fmla="*/ 261937 h 297656"/>
                      <a:gd name="connsiteX37" fmla="*/ 521494 w 992982"/>
                      <a:gd name="connsiteY37" fmla="*/ 235744 h 297656"/>
                      <a:gd name="connsiteX38" fmla="*/ 440532 w 992982"/>
                      <a:gd name="connsiteY38" fmla="*/ 252412 h 297656"/>
                      <a:gd name="connsiteX39" fmla="*/ 381000 w 992982"/>
                      <a:gd name="connsiteY39" fmla="*/ 261937 h 297656"/>
                      <a:gd name="connsiteX40" fmla="*/ 383382 w 992982"/>
                      <a:gd name="connsiteY40" fmla="*/ 297656 h 297656"/>
                      <a:gd name="connsiteX41" fmla="*/ 376238 w 992982"/>
                      <a:gd name="connsiteY41" fmla="*/ 257175 h 297656"/>
                      <a:gd name="connsiteX42" fmla="*/ 0 w 992982"/>
                      <a:gd name="connsiteY42" fmla="*/ 166688 h 297656"/>
                      <a:gd name="connsiteX0" fmla="*/ 0 w 992982"/>
                      <a:gd name="connsiteY0" fmla="*/ 166688 h 297656"/>
                      <a:gd name="connsiteX1" fmla="*/ 247651 w 992982"/>
                      <a:gd name="connsiteY1" fmla="*/ 257175 h 297656"/>
                      <a:gd name="connsiteX2" fmla="*/ 307182 w 992982"/>
                      <a:gd name="connsiteY2" fmla="*/ 259556 h 297656"/>
                      <a:gd name="connsiteX3" fmla="*/ 371475 w 992982"/>
                      <a:gd name="connsiteY3" fmla="*/ 254794 h 297656"/>
                      <a:gd name="connsiteX4" fmla="*/ 381000 w 992982"/>
                      <a:gd name="connsiteY4" fmla="*/ 230981 h 297656"/>
                      <a:gd name="connsiteX5" fmla="*/ 388144 w 992982"/>
                      <a:gd name="connsiteY5" fmla="*/ 254794 h 297656"/>
                      <a:gd name="connsiteX6" fmla="*/ 438150 w 992982"/>
                      <a:gd name="connsiteY6" fmla="*/ 250031 h 297656"/>
                      <a:gd name="connsiteX7" fmla="*/ 504825 w 992982"/>
                      <a:gd name="connsiteY7" fmla="*/ 235744 h 297656"/>
                      <a:gd name="connsiteX8" fmla="*/ 528638 w 992982"/>
                      <a:gd name="connsiteY8" fmla="*/ 226219 h 297656"/>
                      <a:gd name="connsiteX9" fmla="*/ 528638 w 992982"/>
                      <a:gd name="connsiteY9" fmla="*/ 207169 h 297656"/>
                      <a:gd name="connsiteX10" fmla="*/ 523875 w 992982"/>
                      <a:gd name="connsiteY10" fmla="*/ 197644 h 297656"/>
                      <a:gd name="connsiteX11" fmla="*/ 531019 w 992982"/>
                      <a:gd name="connsiteY11" fmla="*/ 211931 h 297656"/>
                      <a:gd name="connsiteX12" fmla="*/ 538163 w 992982"/>
                      <a:gd name="connsiteY12" fmla="*/ 223837 h 297656"/>
                      <a:gd name="connsiteX13" fmla="*/ 602457 w 992982"/>
                      <a:gd name="connsiteY13" fmla="*/ 211931 h 297656"/>
                      <a:gd name="connsiteX14" fmla="*/ 673894 w 992982"/>
                      <a:gd name="connsiteY14" fmla="*/ 188119 h 297656"/>
                      <a:gd name="connsiteX15" fmla="*/ 676275 w 992982"/>
                      <a:gd name="connsiteY15" fmla="*/ 166687 h 297656"/>
                      <a:gd name="connsiteX16" fmla="*/ 690563 w 992982"/>
                      <a:gd name="connsiteY16" fmla="*/ 180975 h 297656"/>
                      <a:gd name="connsiteX17" fmla="*/ 740569 w 992982"/>
                      <a:gd name="connsiteY17" fmla="*/ 169069 h 297656"/>
                      <a:gd name="connsiteX18" fmla="*/ 821532 w 992982"/>
                      <a:gd name="connsiteY18" fmla="*/ 142875 h 297656"/>
                      <a:gd name="connsiteX19" fmla="*/ 816769 w 992982"/>
                      <a:gd name="connsiteY19" fmla="*/ 114300 h 297656"/>
                      <a:gd name="connsiteX20" fmla="*/ 828675 w 992982"/>
                      <a:gd name="connsiteY20" fmla="*/ 145256 h 297656"/>
                      <a:gd name="connsiteX21" fmla="*/ 859632 w 992982"/>
                      <a:gd name="connsiteY21" fmla="*/ 126206 h 297656"/>
                      <a:gd name="connsiteX22" fmla="*/ 923925 w 992982"/>
                      <a:gd name="connsiteY22" fmla="*/ 57150 h 297656"/>
                      <a:gd name="connsiteX23" fmla="*/ 992982 w 992982"/>
                      <a:gd name="connsiteY23" fmla="*/ 0 h 297656"/>
                      <a:gd name="connsiteX24" fmla="*/ 928688 w 992982"/>
                      <a:gd name="connsiteY24" fmla="*/ 64294 h 297656"/>
                      <a:gd name="connsiteX25" fmla="*/ 871538 w 992982"/>
                      <a:gd name="connsiteY25" fmla="*/ 121444 h 297656"/>
                      <a:gd name="connsiteX26" fmla="*/ 831057 w 992982"/>
                      <a:gd name="connsiteY26" fmla="*/ 150019 h 297656"/>
                      <a:gd name="connsiteX27" fmla="*/ 835819 w 992982"/>
                      <a:gd name="connsiteY27" fmla="*/ 176212 h 297656"/>
                      <a:gd name="connsiteX28" fmla="*/ 826294 w 992982"/>
                      <a:gd name="connsiteY28" fmla="*/ 152400 h 297656"/>
                      <a:gd name="connsiteX29" fmla="*/ 807244 w 992982"/>
                      <a:gd name="connsiteY29" fmla="*/ 152400 h 297656"/>
                      <a:gd name="connsiteX30" fmla="*/ 697707 w 992982"/>
                      <a:gd name="connsiteY30" fmla="*/ 185737 h 297656"/>
                      <a:gd name="connsiteX31" fmla="*/ 685800 w 992982"/>
                      <a:gd name="connsiteY31" fmla="*/ 195262 h 297656"/>
                      <a:gd name="connsiteX32" fmla="*/ 695325 w 992982"/>
                      <a:gd name="connsiteY32" fmla="*/ 223837 h 297656"/>
                      <a:gd name="connsiteX33" fmla="*/ 683419 w 992982"/>
                      <a:gd name="connsiteY33" fmla="*/ 197644 h 297656"/>
                      <a:gd name="connsiteX34" fmla="*/ 664369 w 992982"/>
                      <a:gd name="connsiteY34" fmla="*/ 197644 h 297656"/>
                      <a:gd name="connsiteX35" fmla="*/ 600075 w 992982"/>
                      <a:gd name="connsiteY35" fmla="*/ 214312 h 297656"/>
                      <a:gd name="connsiteX36" fmla="*/ 531019 w 992982"/>
                      <a:gd name="connsiteY36" fmla="*/ 233362 h 297656"/>
                      <a:gd name="connsiteX37" fmla="*/ 535782 w 992982"/>
                      <a:gd name="connsiteY37" fmla="*/ 261937 h 297656"/>
                      <a:gd name="connsiteX38" fmla="*/ 521494 w 992982"/>
                      <a:gd name="connsiteY38" fmla="*/ 235744 h 297656"/>
                      <a:gd name="connsiteX39" fmla="*/ 440532 w 992982"/>
                      <a:gd name="connsiteY39" fmla="*/ 252412 h 297656"/>
                      <a:gd name="connsiteX40" fmla="*/ 381000 w 992982"/>
                      <a:gd name="connsiteY40" fmla="*/ 261937 h 297656"/>
                      <a:gd name="connsiteX41" fmla="*/ 383382 w 992982"/>
                      <a:gd name="connsiteY41" fmla="*/ 297656 h 297656"/>
                      <a:gd name="connsiteX42" fmla="*/ 376238 w 992982"/>
                      <a:gd name="connsiteY42" fmla="*/ 257175 h 297656"/>
                      <a:gd name="connsiteX43" fmla="*/ 0 w 992982"/>
                      <a:gd name="connsiteY43" fmla="*/ 166688 h 297656"/>
                      <a:gd name="connsiteX0" fmla="*/ 0 w 992982"/>
                      <a:gd name="connsiteY0" fmla="*/ 166688 h 297656"/>
                      <a:gd name="connsiteX1" fmla="*/ 233363 w 992982"/>
                      <a:gd name="connsiteY1" fmla="*/ 283369 h 297656"/>
                      <a:gd name="connsiteX2" fmla="*/ 247651 w 992982"/>
                      <a:gd name="connsiteY2" fmla="*/ 257175 h 297656"/>
                      <a:gd name="connsiteX3" fmla="*/ 307182 w 992982"/>
                      <a:gd name="connsiteY3" fmla="*/ 259556 h 297656"/>
                      <a:gd name="connsiteX4" fmla="*/ 371475 w 992982"/>
                      <a:gd name="connsiteY4" fmla="*/ 254794 h 297656"/>
                      <a:gd name="connsiteX5" fmla="*/ 381000 w 992982"/>
                      <a:gd name="connsiteY5" fmla="*/ 230981 h 297656"/>
                      <a:gd name="connsiteX6" fmla="*/ 388144 w 992982"/>
                      <a:gd name="connsiteY6" fmla="*/ 254794 h 297656"/>
                      <a:gd name="connsiteX7" fmla="*/ 438150 w 992982"/>
                      <a:gd name="connsiteY7" fmla="*/ 250031 h 297656"/>
                      <a:gd name="connsiteX8" fmla="*/ 504825 w 992982"/>
                      <a:gd name="connsiteY8" fmla="*/ 235744 h 297656"/>
                      <a:gd name="connsiteX9" fmla="*/ 528638 w 992982"/>
                      <a:gd name="connsiteY9" fmla="*/ 226219 h 297656"/>
                      <a:gd name="connsiteX10" fmla="*/ 528638 w 992982"/>
                      <a:gd name="connsiteY10" fmla="*/ 207169 h 297656"/>
                      <a:gd name="connsiteX11" fmla="*/ 523875 w 992982"/>
                      <a:gd name="connsiteY11" fmla="*/ 197644 h 297656"/>
                      <a:gd name="connsiteX12" fmla="*/ 531019 w 992982"/>
                      <a:gd name="connsiteY12" fmla="*/ 211931 h 297656"/>
                      <a:gd name="connsiteX13" fmla="*/ 538163 w 992982"/>
                      <a:gd name="connsiteY13" fmla="*/ 223837 h 297656"/>
                      <a:gd name="connsiteX14" fmla="*/ 602457 w 992982"/>
                      <a:gd name="connsiteY14" fmla="*/ 211931 h 297656"/>
                      <a:gd name="connsiteX15" fmla="*/ 673894 w 992982"/>
                      <a:gd name="connsiteY15" fmla="*/ 188119 h 297656"/>
                      <a:gd name="connsiteX16" fmla="*/ 676275 w 992982"/>
                      <a:gd name="connsiteY16" fmla="*/ 166687 h 297656"/>
                      <a:gd name="connsiteX17" fmla="*/ 690563 w 992982"/>
                      <a:gd name="connsiteY17" fmla="*/ 180975 h 297656"/>
                      <a:gd name="connsiteX18" fmla="*/ 740569 w 992982"/>
                      <a:gd name="connsiteY18" fmla="*/ 169069 h 297656"/>
                      <a:gd name="connsiteX19" fmla="*/ 821532 w 992982"/>
                      <a:gd name="connsiteY19" fmla="*/ 142875 h 297656"/>
                      <a:gd name="connsiteX20" fmla="*/ 816769 w 992982"/>
                      <a:gd name="connsiteY20" fmla="*/ 114300 h 297656"/>
                      <a:gd name="connsiteX21" fmla="*/ 828675 w 992982"/>
                      <a:gd name="connsiteY21" fmla="*/ 145256 h 297656"/>
                      <a:gd name="connsiteX22" fmla="*/ 859632 w 992982"/>
                      <a:gd name="connsiteY22" fmla="*/ 126206 h 297656"/>
                      <a:gd name="connsiteX23" fmla="*/ 923925 w 992982"/>
                      <a:gd name="connsiteY23" fmla="*/ 57150 h 297656"/>
                      <a:gd name="connsiteX24" fmla="*/ 992982 w 992982"/>
                      <a:gd name="connsiteY24" fmla="*/ 0 h 297656"/>
                      <a:gd name="connsiteX25" fmla="*/ 928688 w 992982"/>
                      <a:gd name="connsiteY25" fmla="*/ 64294 h 297656"/>
                      <a:gd name="connsiteX26" fmla="*/ 871538 w 992982"/>
                      <a:gd name="connsiteY26" fmla="*/ 121444 h 297656"/>
                      <a:gd name="connsiteX27" fmla="*/ 831057 w 992982"/>
                      <a:gd name="connsiteY27" fmla="*/ 150019 h 297656"/>
                      <a:gd name="connsiteX28" fmla="*/ 835819 w 992982"/>
                      <a:gd name="connsiteY28" fmla="*/ 176212 h 297656"/>
                      <a:gd name="connsiteX29" fmla="*/ 826294 w 992982"/>
                      <a:gd name="connsiteY29" fmla="*/ 152400 h 297656"/>
                      <a:gd name="connsiteX30" fmla="*/ 807244 w 992982"/>
                      <a:gd name="connsiteY30" fmla="*/ 152400 h 297656"/>
                      <a:gd name="connsiteX31" fmla="*/ 697707 w 992982"/>
                      <a:gd name="connsiteY31" fmla="*/ 185737 h 297656"/>
                      <a:gd name="connsiteX32" fmla="*/ 685800 w 992982"/>
                      <a:gd name="connsiteY32" fmla="*/ 195262 h 297656"/>
                      <a:gd name="connsiteX33" fmla="*/ 695325 w 992982"/>
                      <a:gd name="connsiteY33" fmla="*/ 223837 h 297656"/>
                      <a:gd name="connsiteX34" fmla="*/ 683419 w 992982"/>
                      <a:gd name="connsiteY34" fmla="*/ 197644 h 297656"/>
                      <a:gd name="connsiteX35" fmla="*/ 664369 w 992982"/>
                      <a:gd name="connsiteY35" fmla="*/ 197644 h 297656"/>
                      <a:gd name="connsiteX36" fmla="*/ 600075 w 992982"/>
                      <a:gd name="connsiteY36" fmla="*/ 214312 h 297656"/>
                      <a:gd name="connsiteX37" fmla="*/ 531019 w 992982"/>
                      <a:gd name="connsiteY37" fmla="*/ 233362 h 297656"/>
                      <a:gd name="connsiteX38" fmla="*/ 535782 w 992982"/>
                      <a:gd name="connsiteY38" fmla="*/ 261937 h 297656"/>
                      <a:gd name="connsiteX39" fmla="*/ 521494 w 992982"/>
                      <a:gd name="connsiteY39" fmla="*/ 235744 h 297656"/>
                      <a:gd name="connsiteX40" fmla="*/ 440532 w 992982"/>
                      <a:gd name="connsiteY40" fmla="*/ 252412 h 297656"/>
                      <a:gd name="connsiteX41" fmla="*/ 381000 w 992982"/>
                      <a:gd name="connsiteY41" fmla="*/ 261937 h 297656"/>
                      <a:gd name="connsiteX42" fmla="*/ 383382 w 992982"/>
                      <a:gd name="connsiteY42" fmla="*/ 297656 h 297656"/>
                      <a:gd name="connsiteX43" fmla="*/ 376238 w 992982"/>
                      <a:gd name="connsiteY43" fmla="*/ 257175 h 297656"/>
                      <a:gd name="connsiteX44" fmla="*/ 0 w 992982"/>
                      <a:gd name="connsiteY44" fmla="*/ 166688 h 297656"/>
                      <a:gd name="connsiteX0" fmla="*/ 0 w 992982"/>
                      <a:gd name="connsiteY0" fmla="*/ 166688 h 297656"/>
                      <a:gd name="connsiteX1" fmla="*/ 216694 w 992982"/>
                      <a:gd name="connsiteY1" fmla="*/ 242887 h 297656"/>
                      <a:gd name="connsiteX2" fmla="*/ 233363 w 992982"/>
                      <a:gd name="connsiteY2" fmla="*/ 283369 h 297656"/>
                      <a:gd name="connsiteX3" fmla="*/ 247651 w 992982"/>
                      <a:gd name="connsiteY3" fmla="*/ 257175 h 297656"/>
                      <a:gd name="connsiteX4" fmla="*/ 307182 w 992982"/>
                      <a:gd name="connsiteY4" fmla="*/ 259556 h 297656"/>
                      <a:gd name="connsiteX5" fmla="*/ 371475 w 992982"/>
                      <a:gd name="connsiteY5" fmla="*/ 254794 h 297656"/>
                      <a:gd name="connsiteX6" fmla="*/ 381000 w 992982"/>
                      <a:gd name="connsiteY6" fmla="*/ 230981 h 297656"/>
                      <a:gd name="connsiteX7" fmla="*/ 388144 w 992982"/>
                      <a:gd name="connsiteY7" fmla="*/ 254794 h 297656"/>
                      <a:gd name="connsiteX8" fmla="*/ 438150 w 992982"/>
                      <a:gd name="connsiteY8" fmla="*/ 250031 h 297656"/>
                      <a:gd name="connsiteX9" fmla="*/ 504825 w 992982"/>
                      <a:gd name="connsiteY9" fmla="*/ 235744 h 297656"/>
                      <a:gd name="connsiteX10" fmla="*/ 528638 w 992982"/>
                      <a:gd name="connsiteY10" fmla="*/ 226219 h 297656"/>
                      <a:gd name="connsiteX11" fmla="*/ 528638 w 992982"/>
                      <a:gd name="connsiteY11" fmla="*/ 207169 h 297656"/>
                      <a:gd name="connsiteX12" fmla="*/ 523875 w 992982"/>
                      <a:gd name="connsiteY12" fmla="*/ 197644 h 297656"/>
                      <a:gd name="connsiteX13" fmla="*/ 531019 w 992982"/>
                      <a:gd name="connsiteY13" fmla="*/ 211931 h 297656"/>
                      <a:gd name="connsiteX14" fmla="*/ 538163 w 992982"/>
                      <a:gd name="connsiteY14" fmla="*/ 223837 h 297656"/>
                      <a:gd name="connsiteX15" fmla="*/ 602457 w 992982"/>
                      <a:gd name="connsiteY15" fmla="*/ 211931 h 297656"/>
                      <a:gd name="connsiteX16" fmla="*/ 673894 w 992982"/>
                      <a:gd name="connsiteY16" fmla="*/ 188119 h 297656"/>
                      <a:gd name="connsiteX17" fmla="*/ 676275 w 992982"/>
                      <a:gd name="connsiteY17" fmla="*/ 166687 h 297656"/>
                      <a:gd name="connsiteX18" fmla="*/ 690563 w 992982"/>
                      <a:gd name="connsiteY18" fmla="*/ 180975 h 297656"/>
                      <a:gd name="connsiteX19" fmla="*/ 740569 w 992982"/>
                      <a:gd name="connsiteY19" fmla="*/ 169069 h 297656"/>
                      <a:gd name="connsiteX20" fmla="*/ 821532 w 992982"/>
                      <a:gd name="connsiteY20" fmla="*/ 142875 h 297656"/>
                      <a:gd name="connsiteX21" fmla="*/ 816769 w 992982"/>
                      <a:gd name="connsiteY21" fmla="*/ 114300 h 297656"/>
                      <a:gd name="connsiteX22" fmla="*/ 828675 w 992982"/>
                      <a:gd name="connsiteY22" fmla="*/ 145256 h 297656"/>
                      <a:gd name="connsiteX23" fmla="*/ 859632 w 992982"/>
                      <a:gd name="connsiteY23" fmla="*/ 126206 h 297656"/>
                      <a:gd name="connsiteX24" fmla="*/ 923925 w 992982"/>
                      <a:gd name="connsiteY24" fmla="*/ 57150 h 297656"/>
                      <a:gd name="connsiteX25" fmla="*/ 992982 w 992982"/>
                      <a:gd name="connsiteY25" fmla="*/ 0 h 297656"/>
                      <a:gd name="connsiteX26" fmla="*/ 928688 w 992982"/>
                      <a:gd name="connsiteY26" fmla="*/ 64294 h 297656"/>
                      <a:gd name="connsiteX27" fmla="*/ 871538 w 992982"/>
                      <a:gd name="connsiteY27" fmla="*/ 121444 h 297656"/>
                      <a:gd name="connsiteX28" fmla="*/ 831057 w 992982"/>
                      <a:gd name="connsiteY28" fmla="*/ 150019 h 297656"/>
                      <a:gd name="connsiteX29" fmla="*/ 835819 w 992982"/>
                      <a:gd name="connsiteY29" fmla="*/ 176212 h 297656"/>
                      <a:gd name="connsiteX30" fmla="*/ 826294 w 992982"/>
                      <a:gd name="connsiteY30" fmla="*/ 152400 h 297656"/>
                      <a:gd name="connsiteX31" fmla="*/ 807244 w 992982"/>
                      <a:gd name="connsiteY31" fmla="*/ 152400 h 297656"/>
                      <a:gd name="connsiteX32" fmla="*/ 697707 w 992982"/>
                      <a:gd name="connsiteY32" fmla="*/ 185737 h 297656"/>
                      <a:gd name="connsiteX33" fmla="*/ 685800 w 992982"/>
                      <a:gd name="connsiteY33" fmla="*/ 195262 h 297656"/>
                      <a:gd name="connsiteX34" fmla="*/ 695325 w 992982"/>
                      <a:gd name="connsiteY34" fmla="*/ 223837 h 297656"/>
                      <a:gd name="connsiteX35" fmla="*/ 683419 w 992982"/>
                      <a:gd name="connsiteY35" fmla="*/ 197644 h 297656"/>
                      <a:gd name="connsiteX36" fmla="*/ 664369 w 992982"/>
                      <a:gd name="connsiteY36" fmla="*/ 197644 h 297656"/>
                      <a:gd name="connsiteX37" fmla="*/ 600075 w 992982"/>
                      <a:gd name="connsiteY37" fmla="*/ 214312 h 297656"/>
                      <a:gd name="connsiteX38" fmla="*/ 531019 w 992982"/>
                      <a:gd name="connsiteY38" fmla="*/ 233362 h 297656"/>
                      <a:gd name="connsiteX39" fmla="*/ 535782 w 992982"/>
                      <a:gd name="connsiteY39" fmla="*/ 261937 h 297656"/>
                      <a:gd name="connsiteX40" fmla="*/ 521494 w 992982"/>
                      <a:gd name="connsiteY40" fmla="*/ 235744 h 297656"/>
                      <a:gd name="connsiteX41" fmla="*/ 440532 w 992982"/>
                      <a:gd name="connsiteY41" fmla="*/ 252412 h 297656"/>
                      <a:gd name="connsiteX42" fmla="*/ 381000 w 992982"/>
                      <a:gd name="connsiteY42" fmla="*/ 261937 h 297656"/>
                      <a:gd name="connsiteX43" fmla="*/ 383382 w 992982"/>
                      <a:gd name="connsiteY43" fmla="*/ 297656 h 297656"/>
                      <a:gd name="connsiteX44" fmla="*/ 376238 w 992982"/>
                      <a:gd name="connsiteY44" fmla="*/ 257175 h 297656"/>
                      <a:gd name="connsiteX45" fmla="*/ 0 w 992982"/>
                      <a:gd name="connsiteY45" fmla="*/ 166688 h 297656"/>
                      <a:gd name="connsiteX0" fmla="*/ 0 w 992982"/>
                      <a:gd name="connsiteY0" fmla="*/ 166688 h 297656"/>
                      <a:gd name="connsiteX1" fmla="*/ 216694 w 992982"/>
                      <a:gd name="connsiteY1" fmla="*/ 242887 h 297656"/>
                      <a:gd name="connsiteX2" fmla="*/ 233363 w 992982"/>
                      <a:gd name="connsiteY2" fmla="*/ 283369 h 297656"/>
                      <a:gd name="connsiteX3" fmla="*/ 247651 w 992982"/>
                      <a:gd name="connsiteY3" fmla="*/ 257175 h 297656"/>
                      <a:gd name="connsiteX4" fmla="*/ 307182 w 992982"/>
                      <a:gd name="connsiteY4" fmla="*/ 259556 h 297656"/>
                      <a:gd name="connsiteX5" fmla="*/ 371475 w 992982"/>
                      <a:gd name="connsiteY5" fmla="*/ 254794 h 297656"/>
                      <a:gd name="connsiteX6" fmla="*/ 381000 w 992982"/>
                      <a:gd name="connsiteY6" fmla="*/ 230981 h 297656"/>
                      <a:gd name="connsiteX7" fmla="*/ 388144 w 992982"/>
                      <a:gd name="connsiteY7" fmla="*/ 254794 h 297656"/>
                      <a:gd name="connsiteX8" fmla="*/ 438150 w 992982"/>
                      <a:gd name="connsiteY8" fmla="*/ 250031 h 297656"/>
                      <a:gd name="connsiteX9" fmla="*/ 504825 w 992982"/>
                      <a:gd name="connsiteY9" fmla="*/ 235744 h 297656"/>
                      <a:gd name="connsiteX10" fmla="*/ 528638 w 992982"/>
                      <a:gd name="connsiteY10" fmla="*/ 226219 h 297656"/>
                      <a:gd name="connsiteX11" fmla="*/ 528638 w 992982"/>
                      <a:gd name="connsiteY11" fmla="*/ 207169 h 297656"/>
                      <a:gd name="connsiteX12" fmla="*/ 523875 w 992982"/>
                      <a:gd name="connsiteY12" fmla="*/ 197644 h 297656"/>
                      <a:gd name="connsiteX13" fmla="*/ 531019 w 992982"/>
                      <a:gd name="connsiteY13" fmla="*/ 211931 h 297656"/>
                      <a:gd name="connsiteX14" fmla="*/ 538163 w 992982"/>
                      <a:gd name="connsiteY14" fmla="*/ 223837 h 297656"/>
                      <a:gd name="connsiteX15" fmla="*/ 602457 w 992982"/>
                      <a:gd name="connsiteY15" fmla="*/ 211931 h 297656"/>
                      <a:gd name="connsiteX16" fmla="*/ 673894 w 992982"/>
                      <a:gd name="connsiteY16" fmla="*/ 188119 h 297656"/>
                      <a:gd name="connsiteX17" fmla="*/ 676275 w 992982"/>
                      <a:gd name="connsiteY17" fmla="*/ 166687 h 297656"/>
                      <a:gd name="connsiteX18" fmla="*/ 690563 w 992982"/>
                      <a:gd name="connsiteY18" fmla="*/ 180975 h 297656"/>
                      <a:gd name="connsiteX19" fmla="*/ 740569 w 992982"/>
                      <a:gd name="connsiteY19" fmla="*/ 169069 h 297656"/>
                      <a:gd name="connsiteX20" fmla="*/ 821532 w 992982"/>
                      <a:gd name="connsiteY20" fmla="*/ 142875 h 297656"/>
                      <a:gd name="connsiteX21" fmla="*/ 816769 w 992982"/>
                      <a:gd name="connsiteY21" fmla="*/ 114300 h 297656"/>
                      <a:gd name="connsiteX22" fmla="*/ 828675 w 992982"/>
                      <a:gd name="connsiteY22" fmla="*/ 145256 h 297656"/>
                      <a:gd name="connsiteX23" fmla="*/ 859632 w 992982"/>
                      <a:gd name="connsiteY23" fmla="*/ 126206 h 297656"/>
                      <a:gd name="connsiteX24" fmla="*/ 923925 w 992982"/>
                      <a:gd name="connsiteY24" fmla="*/ 57150 h 297656"/>
                      <a:gd name="connsiteX25" fmla="*/ 992982 w 992982"/>
                      <a:gd name="connsiteY25" fmla="*/ 0 h 297656"/>
                      <a:gd name="connsiteX26" fmla="*/ 928688 w 992982"/>
                      <a:gd name="connsiteY26" fmla="*/ 64294 h 297656"/>
                      <a:gd name="connsiteX27" fmla="*/ 871538 w 992982"/>
                      <a:gd name="connsiteY27" fmla="*/ 121444 h 297656"/>
                      <a:gd name="connsiteX28" fmla="*/ 831057 w 992982"/>
                      <a:gd name="connsiteY28" fmla="*/ 150019 h 297656"/>
                      <a:gd name="connsiteX29" fmla="*/ 835819 w 992982"/>
                      <a:gd name="connsiteY29" fmla="*/ 176212 h 297656"/>
                      <a:gd name="connsiteX30" fmla="*/ 826294 w 992982"/>
                      <a:gd name="connsiteY30" fmla="*/ 152400 h 297656"/>
                      <a:gd name="connsiteX31" fmla="*/ 807244 w 992982"/>
                      <a:gd name="connsiteY31" fmla="*/ 152400 h 297656"/>
                      <a:gd name="connsiteX32" fmla="*/ 697707 w 992982"/>
                      <a:gd name="connsiteY32" fmla="*/ 185737 h 297656"/>
                      <a:gd name="connsiteX33" fmla="*/ 685800 w 992982"/>
                      <a:gd name="connsiteY33" fmla="*/ 195262 h 297656"/>
                      <a:gd name="connsiteX34" fmla="*/ 695325 w 992982"/>
                      <a:gd name="connsiteY34" fmla="*/ 223837 h 297656"/>
                      <a:gd name="connsiteX35" fmla="*/ 683419 w 992982"/>
                      <a:gd name="connsiteY35" fmla="*/ 197644 h 297656"/>
                      <a:gd name="connsiteX36" fmla="*/ 664369 w 992982"/>
                      <a:gd name="connsiteY36" fmla="*/ 197644 h 297656"/>
                      <a:gd name="connsiteX37" fmla="*/ 600075 w 992982"/>
                      <a:gd name="connsiteY37" fmla="*/ 214312 h 297656"/>
                      <a:gd name="connsiteX38" fmla="*/ 531019 w 992982"/>
                      <a:gd name="connsiteY38" fmla="*/ 233362 h 297656"/>
                      <a:gd name="connsiteX39" fmla="*/ 535782 w 992982"/>
                      <a:gd name="connsiteY39" fmla="*/ 261937 h 297656"/>
                      <a:gd name="connsiteX40" fmla="*/ 521494 w 992982"/>
                      <a:gd name="connsiteY40" fmla="*/ 235744 h 297656"/>
                      <a:gd name="connsiteX41" fmla="*/ 440532 w 992982"/>
                      <a:gd name="connsiteY41" fmla="*/ 252412 h 297656"/>
                      <a:gd name="connsiteX42" fmla="*/ 381000 w 992982"/>
                      <a:gd name="connsiteY42" fmla="*/ 261937 h 297656"/>
                      <a:gd name="connsiteX43" fmla="*/ 383382 w 992982"/>
                      <a:gd name="connsiteY43" fmla="*/ 297656 h 297656"/>
                      <a:gd name="connsiteX44" fmla="*/ 376238 w 992982"/>
                      <a:gd name="connsiteY44" fmla="*/ 257175 h 297656"/>
                      <a:gd name="connsiteX45" fmla="*/ 0 w 992982"/>
                      <a:gd name="connsiteY45" fmla="*/ 166688 h 297656"/>
                      <a:gd name="connsiteX0" fmla="*/ 0 w 992982"/>
                      <a:gd name="connsiteY0" fmla="*/ 166688 h 297656"/>
                      <a:gd name="connsiteX1" fmla="*/ 216694 w 992982"/>
                      <a:gd name="connsiteY1" fmla="*/ 242887 h 297656"/>
                      <a:gd name="connsiteX2" fmla="*/ 233363 w 992982"/>
                      <a:gd name="connsiteY2" fmla="*/ 283369 h 297656"/>
                      <a:gd name="connsiteX3" fmla="*/ 247651 w 992982"/>
                      <a:gd name="connsiteY3" fmla="*/ 257175 h 297656"/>
                      <a:gd name="connsiteX4" fmla="*/ 307182 w 992982"/>
                      <a:gd name="connsiteY4" fmla="*/ 259556 h 297656"/>
                      <a:gd name="connsiteX5" fmla="*/ 371475 w 992982"/>
                      <a:gd name="connsiteY5" fmla="*/ 254794 h 297656"/>
                      <a:gd name="connsiteX6" fmla="*/ 381000 w 992982"/>
                      <a:gd name="connsiteY6" fmla="*/ 230981 h 297656"/>
                      <a:gd name="connsiteX7" fmla="*/ 388144 w 992982"/>
                      <a:gd name="connsiteY7" fmla="*/ 254794 h 297656"/>
                      <a:gd name="connsiteX8" fmla="*/ 438150 w 992982"/>
                      <a:gd name="connsiteY8" fmla="*/ 250031 h 297656"/>
                      <a:gd name="connsiteX9" fmla="*/ 504825 w 992982"/>
                      <a:gd name="connsiteY9" fmla="*/ 235744 h 297656"/>
                      <a:gd name="connsiteX10" fmla="*/ 528638 w 992982"/>
                      <a:gd name="connsiteY10" fmla="*/ 226219 h 297656"/>
                      <a:gd name="connsiteX11" fmla="*/ 528638 w 992982"/>
                      <a:gd name="connsiteY11" fmla="*/ 207169 h 297656"/>
                      <a:gd name="connsiteX12" fmla="*/ 523875 w 992982"/>
                      <a:gd name="connsiteY12" fmla="*/ 197644 h 297656"/>
                      <a:gd name="connsiteX13" fmla="*/ 531019 w 992982"/>
                      <a:gd name="connsiteY13" fmla="*/ 211931 h 297656"/>
                      <a:gd name="connsiteX14" fmla="*/ 538163 w 992982"/>
                      <a:gd name="connsiteY14" fmla="*/ 223837 h 297656"/>
                      <a:gd name="connsiteX15" fmla="*/ 602457 w 992982"/>
                      <a:gd name="connsiteY15" fmla="*/ 211931 h 297656"/>
                      <a:gd name="connsiteX16" fmla="*/ 673894 w 992982"/>
                      <a:gd name="connsiteY16" fmla="*/ 188119 h 297656"/>
                      <a:gd name="connsiteX17" fmla="*/ 676275 w 992982"/>
                      <a:gd name="connsiteY17" fmla="*/ 166687 h 297656"/>
                      <a:gd name="connsiteX18" fmla="*/ 690563 w 992982"/>
                      <a:gd name="connsiteY18" fmla="*/ 180975 h 297656"/>
                      <a:gd name="connsiteX19" fmla="*/ 740569 w 992982"/>
                      <a:gd name="connsiteY19" fmla="*/ 169069 h 297656"/>
                      <a:gd name="connsiteX20" fmla="*/ 821532 w 992982"/>
                      <a:gd name="connsiteY20" fmla="*/ 142875 h 297656"/>
                      <a:gd name="connsiteX21" fmla="*/ 816769 w 992982"/>
                      <a:gd name="connsiteY21" fmla="*/ 114300 h 297656"/>
                      <a:gd name="connsiteX22" fmla="*/ 828675 w 992982"/>
                      <a:gd name="connsiteY22" fmla="*/ 145256 h 297656"/>
                      <a:gd name="connsiteX23" fmla="*/ 859632 w 992982"/>
                      <a:gd name="connsiteY23" fmla="*/ 126206 h 297656"/>
                      <a:gd name="connsiteX24" fmla="*/ 923925 w 992982"/>
                      <a:gd name="connsiteY24" fmla="*/ 57150 h 297656"/>
                      <a:gd name="connsiteX25" fmla="*/ 992982 w 992982"/>
                      <a:gd name="connsiteY25" fmla="*/ 0 h 297656"/>
                      <a:gd name="connsiteX26" fmla="*/ 928688 w 992982"/>
                      <a:gd name="connsiteY26" fmla="*/ 64294 h 297656"/>
                      <a:gd name="connsiteX27" fmla="*/ 871538 w 992982"/>
                      <a:gd name="connsiteY27" fmla="*/ 121444 h 297656"/>
                      <a:gd name="connsiteX28" fmla="*/ 831057 w 992982"/>
                      <a:gd name="connsiteY28" fmla="*/ 150019 h 297656"/>
                      <a:gd name="connsiteX29" fmla="*/ 835819 w 992982"/>
                      <a:gd name="connsiteY29" fmla="*/ 176212 h 297656"/>
                      <a:gd name="connsiteX30" fmla="*/ 826294 w 992982"/>
                      <a:gd name="connsiteY30" fmla="*/ 152400 h 297656"/>
                      <a:gd name="connsiteX31" fmla="*/ 807244 w 992982"/>
                      <a:gd name="connsiteY31" fmla="*/ 152400 h 297656"/>
                      <a:gd name="connsiteX32" fmla="*/ 697707 w 992982"/>
                      <a:gd name="connsiteY32" fmla="*/ 185737 h 297656"/>
                      <a:gd name="connsiteX33" fmla="*/ 685800 w 992982"/>
                      <a:gd name="connsiteY33" fmla="*/ 195262 h 297656"/>
                      <a:gd name="connsiteX34" fmla="*/ 695325 w 992982"/>
                      <a:gd name="connsiteY34" fmla="*/ 223837 h 297656"/>
                      <a:gd name="connsiteX35" fmla="*/ 683419 w 992982"/>
                      <a:gd name="connsiteY35" fmla="*/ 197644 h 297656"/>
                      <a:gd name="connsiteX36" fmla="*/ 664369 w 992982"/>
                      <a:gd name="connsiteY36" fmla="*/ 197644 h 297656"/>
                      <a:gd name="connsiteX37" fmla="*/ 600075 w 992982"/>
                      <a:gd name="connsiteY37" fmla="*/ 214312 h 297656"/>
                      <a:gd name="connsiteX38" fmla="*/ 531019 w 992982"/>
                      <a:gd name="connsiteY38" fmla="*/ 233362 h 297656"/>
                      <a:gd name="connsiteX39" fmla="*/ 535782 w 992982"/>
                      <a:gd name="connsiteY39" fmla="*/ 261937 h 297656"/>
                      <a:gd name="connsiteX40" fmla="*/ 521494 w 992982"/>
                      <a:gd name="connsiteY40" fmla="*/ 235744 h 297656"/>
                      <a:gd name="connsiteX41" fmla="*/ 440532 w 992982"/>
                      <a:gd name="connsiteY41" fmla="*/ 252412 h 297656"/>
                      <a:gd name="connsiteX42" fmla="*/ 381000 w 992982"/>
                      <a:gd name="connsiteY42" fmla="*/ 261937 h 297656"/>
                      <a:gd name="connsiteX43" fmla="*/ 383382 w 992982"/>
                      <a:gd name="connsiteY43" fmla="*/ 297656 h 297656"/>
                      <a:gd name="connsiteX44" fmla="*/ 376238 w 992982"/>
                      <a:gd name="connsiteY44" fmla="*/ 257175 h 297656"/>
                      <a:gd name="connsiteX45" fmla="*/ 247650 w 992982"/>
                      <a:gd name="connsiteY45" fmla="*/ 247650 h 297656"/>
                      <a:gd name="connsiteX46" fmla="*/ 0 w 992982"/>
                      <a:gd name="connsiteY46" fmla="*/ 166688 h 297656"/>
                      <a:gd name="connsiteX0" fmla="*/ 0 w 992982"/>
                      <a:gd name="connsiteY0" fmla="*/ 166688 h 297656"/>
                      <a:gd name="connsiteX1" fmla="*/ 216694 w 992982"/>
                      <a:gd name="connsiteY1" fmla="*/ 242887 h 297656"/>
                      <a:gd name="connsiteX2" fmla="*/ 233363 w 992982"/>
                      <a:gd name="connsiteY2" fmla="*/ 283369 h 297656"/>
                      <a:gd name="connsiteX3" fmla="*/ 247651 w 992982"/>
                      <a:gd name="connsiteY3" fmla="*/ 257175 h 297656"/>
                      <a:gd name="connsiteX4" fmla="*/ 307182 w 992982"/>
                      <a:gd name="connsiteY4" fmla="*/ 259556 h 297656"/>
                      <a:gd name="connsiteX5" fmla="*/ 371475 w 992982"/>
                      <a:gd name="connsiteY5" fmla="*/ 254794 h 297656"/>
                      <a:gd name="connsiteX6" fmla="*/ 381000 w 992982"/>
                      <a:gd name="connsiteY6" fmla="*/ 230981 h 297656"/>
                      <a:gd name="connsiteX7" fmla="*/ 388144 w 992982"/>
                      <a:gd name="connsiteY7" fmla="*/ 254794 h 297656"/>
                      <a:gd name="connsiteX8" fmla="*/ 438150 w 992982"/>
                      <a:gd name="connsiteY8" fmla="*/ 250031 h 297656"/>
                      <a:gd name="connsiteX9" fmla="*/ 504825 w 992982"/>
                      <a:gd name="connsiteY9" fmla="*/ 235744 h 297656"/>
                      <a:gd name="connsiteX10" fmla="*/ 528638 w 992982"/>
                      <a:gd name="connsiteY10" fmla="*/ 226219 h 297656"/>
                      <a:gd name="connsiteX11" fmla="*/ 528638 w 992982"/>
                      <a:gd name="connsiteY11" fmla="*/ 207169 h 297656"/>
                      <a:gd name="connsiteX12" fmla="*/ 523875 w 992982"/>
                      <a:gd name="connsiteY12" fmla="*/ 197644 h 297656"/>
                      <a:gd name="connsiteX13" fmla="*/ 531019 w 992982"/>
                      <a:gd name="connsiteY13" fmla="*/ 211931 h 297656"/>
                      <a:gd name="connsiteX14" fmla="*/ 538163 w 992982"/>
                      <a:gd name="connsiteY14" fmla="*/ 223837 h 297656"/>
                      <a:gd name="connsiteX15" fmla="*/ 602457 w 992982"/>
                      <a:gd name="connsiteY15" fmla="*/ 211931 h 297656"/>
                      <a:gd name="connsiteX16" fmla="*/ 673894 w 992982"/>
                      <a:gd name="connsiteY16" fmla="*/ 188119 h 297656"/>
                      <a:gd name="connsiteX17" fmla="*/ 676275 w 992982"/>
                      <a:gd name="connsiteY17" fmla="*/ 166687 h 297656"/>
                      <a:gd name="connsiteX18" fmla="*/ 690563 w 992982"/>
                      <a:gd name="connsiteY18" fmla="*/ 180975 h 297656"/>
                      <a:gd name="connsiteX19" fmla="*/ 740569 w 992982"/>
                      <a:gd name="connsiteY19" fmla="*/ 169069 h 297656"/>
                      <a:gd name="connsiteX20" fmla="*/ 821532 w 992982"/>
                      <a:gd name="connsiteY20" fmla="*/ 142875 h 297656"/>
                      <a:gd name="connsiteX21" fmla="*/ 816769 w 992982"/>
                      <a:gd name="connsiteY21" fmla="*/ 114300 h 297656"/>
                      <a:gd name="connsiteX22" fmla="*/ 828675 w 992982"/>
                      <a:gd name="connsiteY22" fmla="*/ 145256 h 297656"/>
                      <a:gd name="connsiteX23" fmla="*/ 859632 w 992982"/>
                      <a:gd name="connsiteY23" fmla="*/ 126206 h 297656"/>
                      <a:gd name="connsiteX24" fmla="*/ 923925 w 992982"/>
                      <a:gd name="connsiteY24" fmla="*/ 57150 h 297656"/>
                      <a:gd name="connsiteX25" fmla="*/ 992982 w 992982"/>
                      <a:gd name="connsiteY25" fmla="*/ 0 h 297656"/>
                      <a:gd name="connsiteX26" fmla="*/ 928688 w 992982"/>
                      <a:gd name="connsiteY26" fmla="*/ 64294 h 297656"/>
                      <a:gd name="connsiteX27" fmla="*/ 871538 w 992982"/>
                      <a:gd name="connsiteY27" fmla="*/ 121444 h 297656"/>
                      <a:gd name="connsiteX28" fmla="*/ 831057 w 992982"/>
                      <a:gd name="connsiteY28" fmla="*/ 150019 h 297656"/>
                      <a:gd name="connsiteX29" fmla="*/ 835819 w 992982"/>
                      <a:gd name="connsiteY29" fmla="*/ 176212 h 297656"/>
                      <a:gd name="connsiteX30" fmla="*/ 826294 w 992982"/>
                      <a:gd name="connsiteY30" fmla="*/ 152400 h 297656"/>
                      <a:gd name="connsiteX31" fmla="*/ 807244 w 992982"/>
                      <a:gd name="connsiteY31" fmla="*/ 152400 h 297656"/>
                      <a:gd name="connsiteX32" fmla="*/ 697707 w 992982"/>
                      <a:gd name="connsiteY32" fmla="*/ 185737 h 297656"/>
                      <a:gd name="connsiteX33" fmla="*/ 685800 w 992982"/>
                      <a:gd name="connsiteY33" fmla="*/ 195262 h 297656"/>
                      <a:gd name="connsiteX34" fmla="*/ 695325 w 992982"/>
                      <a:gd name="connsiteY34" fmla="*/ 223837 h 297656"/>
                      <a:gd name="connsiteX35" fmla="*/ 683419 w 992982"/>
                      <a:gd name="connsiteY35" fmla="*/ 197644 h 297656"/>
                      <a:gd name="connsiteX36" fmla="*/ 664369 w 992982"/>
                      <a:gd name="connsiteY36" fmla="*/ 197644 h 297656"/>
                      <a:gd name="connsiteX37" fmla="*/ 600075 w 992982"/>
                      <a:gd name="connsiteY37" fmla="*/ 214312 h 297656"/>
                      <a:gd name="connsiteX38" fmla="*/ 531019 w 992982"/>
                      <a:gd name="connsiteY38" fmla="*/ 233362 h 297656"/>
                      <a:gd name="connsiteX39" fmla="*/ 535782 w 992982"/>
                      <a:gd name="connsiteY39" fmla="*/ 261937 h 297656"/>
                      <a:gd name="connsiteX40" fmla="*/ 521494 w 992982"/>
                      <a:gd name="connsiteY40" fmla="*/ 235744 h 297656"/>
                      <a:gd name="connsiteX41" fmla="*/ 440532 w 992982"/>
                      <a:gd name="connsiteY41" fmla="*/ 252412 h 297656"/>
                      <a:gd name="connsiteX42" fmla="*/ 381000 w 992982"/>
                      <a:gd name="connsiteY42" fmla="*/ 261937 h 297656"/>
                      <a:gd name="connsiteX43" fmla="*/ 383382 w 992982"/>
                      <a:gd name="connsiteY43" fmla="*/ 297656 h 297656"/>
                      <a:gd name="connsiteX44" fmla="*/ 376238 w 992982"/>
                      <a:gd name="connsiteY44" fmla="*/ 257175 h 297656"/>
                      <a:gd name="connsiteX45" fmla="*/ 247650 w 992982"/>
                      <a:gd name="connsiteY45" fmla="*/ 247650 h 297656"/>
                      <a:gd name="connsiteX46" fmla="*/ 171451 w 992982"/>
                      <a:gd name="connsiteY46" fmla="*/ 207169 h 297656"/>
                      <a:gd name="connsiteX47" fmla="*/ 0 w 992982"/>
                      <a:gd name="connsiteY47" fmla="*/ 166688 h 297656"/>
                      <a:gd name="connsiteX0" fmla="*/ 0 w 992982"/>
                      <a:gd name="connsiteY0" fmla="*/ 166688 h 297656"/>
                      <a:gd name="connsiteX1" fmla="*/ 216694 w 992982"/>
                      <a:gd name="connsiteY1" fmla="*/ 242887 h 297656"/>
                      <a:gd name="connsiteX2" fmla="*/ 233363 w 992982"/>
                      <a:gd name="connsiteY2" fmla="*/ 283369 h 297656"/>
                      <a:gd name="connsiteX3" fmla="*/ 247651 w 992982"/>
                      <a:gd name="connsiteY3" fmla="*/ 257175 h 297656"/>
                      <a:gd name="connsiteX4" fmla="*/ 307182 w 992982"/>
                      <a:gd name="connsiteY4" fmla="*/ 259556 h 297656"/>
                      <a:gd name="connsiteX5" fmla="*/ 371475 w 992982"/>
                      <a:gd name="connsiteY5" fmla="*/ 254794 h 297656"/>
                      <a:gd name="connsiteX6" fmla="*/ 381000 w 992982"/>
                      <a:gd name="connsiteY6" fmla="*/ 230981 h 297656"/>
                      <a:gd name="connsiteX7" fmla="*/ 388144 w 992982"/>
                      <a:gd name="connsiteY7" fmla="*/ 254794 h 297656"/>
                      <a:gd name="connsiteX8" fmla="*/ 438150 w 992982"/>
                      <a:gd name="connsiteY8" fmla="*/ 250031 h 297656"/>
                      <a:gd name="connsiteX9" fmla="*/ 504825 w 992982"/>
                      <a:gd name="connsiteY9" fmla="*/ 235744 h 297656"/>
                      <a:gd name="connsiteX10" fmla="*/ 528638 w 992982"/>
                      <a:gd name="connsiteY10" fmla="*/ 226219 h 297656"/>
                      <a:gd name="connsiteX11" fmla="*/ 528638 w 992982"/>
                      <a:gd name="connsiteY11" fmla="*/ 207169 h 297656"/>
                      <a:gd name="connsiteX12" fmla="*/ 523875 w 992982"/>
                      <a:gd name="connsiteY12" fmla="*/ 197644 h 297656"/>
                      <a:gd name="connsiteX13" fmla="*/ 531019 w 992982"/>
                      <a:gd name="connsiteY13" fmla="*/ 211931 h 297656"/>
                      <a:gd name="connsiteX14" fmla="*/ 538163 w 992982"/>
                      <a:gd name="connsiteY14" fmla="*/ 223837 h 297656"/>
                      <a:gd name="connsiteX15" fmla="*/ 602457 w 992982"/>
                      <a:gd name="connsiteY15" fmla="*/ 211931 h 297656"/>
                      <a:gd name="connsiteX16" fmla="*/ 673894 w 992982"/>
                      <a:gd name="connsiteY16" fmla="*/ 188119 h 297656"/>
                      <a:gd name="connsiteX17" fmla="*/ 676275 w 992982"/>
                      <a:gd name="connsiteY17" fmla="*/ 166687 h 297656"/>
                      <a:gd name="connsiteX18" fmla="*/ 690563 w 992982"/>
                      <a:gd name="connsiteY18" fmla="*/ 180975 h 297656"/>
                      <a:gd name="connsiteX19" fmla="*/ 740569 w 992982"/>
                      <a:gd name="connsiteY19" fmla="*/ 169069 h 297656"/>
                      <a:gd name="connsiteX20" fmla="*/ 821532 w 992982"/>
                      <a:gd name="connsiteY20" fmla="*/ 142875 h 297656"/>
                      <a:gd name="connsiteX21" fmla="*/ 816769 w 992982"/>
                      <a:gd name="connsiteY21" fmla="*/ 114300 h 297656"/>
                      <a:gd name="connsiteX22" fmla="*/ 828675 w 992982"/>
                      <a:gd name="connsiteY22" fmla="*/ 145256 h 297656"/>
                      <a:gd name="connsiteX23" fmla="*/ 859632 w 992982"/>
                      <a:gd name="connsiteY23" fmla="*/ 126206 h 297656"/>
                      <a:gd name="connsiteX24" fmla="*/ 923925 w 992982"/>
                      <a:gd name="connsiteY24" fmla="*/ 57150 h 297656"/>
                      <a:gd name="connsiteX25" fmla="*/ 992982 w 992982"/>
                      <a:gd name="connsiteY25" fmla="*/ 0 h 297656"/>
                      <a:gd name="connsiteX26" fmla="*/ 928688 w 992982"/>
                      <a:gd name="connsiteY26" fmla="*/ 64294 h 297656"/>
                      <a:gd name="connsiteX27" fmla="*/ 871538 w 992982"/>
                      <a:gd name="connsiteY27" fmla="*/ 121444 h 297656"/>
                      <a:gd name="connsiteX28" fmla="*/ 831057 w 992982"/>
                      <a:gd name="connsiteY28" fmla="*/ 150019 h 297656"/>
                      <a:gd name="connsiteX29" fmla="*/ 835819 w 992982"/>
                      <a:gd name="connsiteY29" fmla="*/ 176212 h 297656"/>
                      <a:gd name="connsiteX30" fmla="*/ 826294 w 992982"/>
                      <a:gd name="connsiteY30" fmla="*/ 152400 h 297656"/>
                      <a:gd name="connsiteX31" fmla="*/ 807244 w 992982"/>
                      <a:gd name="connsiteY31" fmla="*/ 152400 h 297656"/>
                      <a:gd name="connsiteX32" fmla="*/ 697707 w 992982"/>
                      <a:gd name="connsiteY32" fmla="*/ 185737 h 297656"/>
                      <a:gd name="connsiteX33" fmla="*/ 685800 w 992982"/>
                      <a:gd name="connsiteY33" fmla="*/ 195262 h 297656"/>
                      <a:gd name="connsiteX34" fmla="*/ 695325 w 992982"/>
                      <a:gd name="connsiteY34" fmla="*/ 223837 h 297656"/>
                      <a:gd name="connsiteX35" fmla="*/ 683419 w 992982"/>
                      <a:gd name="connsiteY35" fmla="*/ 197644 h 297656"/>
                      <a:gd name="connsiteX36" fmla="*/ 664369 w 992982"/>
                      <a:gd name="connsiteY36" fmla="*/ 197644 h 297656"/>
                      <a:gd name="connsiteX37" fmla="*/ 600075 w 992982"/>
                      <a:gd name="connsiteY37" fmla="*/ 214312 h 297656"/>
                      <a:gd name="connsiteX38" fmla="*/ 531019 w 992982"/>
                      <a:gd name="connsiteY38" fmla="*/ 233362 h 297656"/>
                      <a:gd name="connsiteX39" fmla="*/ 535782 w 992982"/>
                      <a:gd name="connsiteY39" fmla="*/ 261937 h 297656"/>
                      <a:gd name="connsiteX40" fmla="*/ 521494 w 992982"/>
                      <a:gd name="connsiteY40" fmla="*/ 235744 h 297656"/>
                      <a:gd name="connsiteX41" fmla="*/ 440532 w 992982"/>
                      <a:gd name="connsiteY41" fmla="*/ 252412 h 297656"/>
                      <a:gd name="connsiteX42" fmla="*/ 381000 w 992982"/>
                      <a:gd name="connsiteY42" fmla="*/ 261937 h 297656"/>
                      <a:gd name="connsiteX43" fmla="*/ 383382 w 992982"/>
                      <a:gd name="connsiteY43" fmla="*/ 297656 h 297656"/>
                      <a:gd name="connsiteX44" fmla="*/ 376238 w 992982"/>
                      <a:gd name="connsiteY44" fmla="*/ 257175 h 297656"/>
                      <a:gd name="connsiteX45" fmla="*/ 247650 w 992982"/>
                      <a:gd name="connsiteY45" fmla="*/ 247650 h 297656"/>
                      <a:gd name="connsiteX46" fmla="*/ 171451 w 992982"/>
                      <a:gd name="connsiteY46" fmla="*/ 207169 h 297656"/>
                      <a:gd name="connsiteX47" fmla="*/ 0 w 992982"/>
                      <a:gd name="connsiteY47" fmla="*/ 166688 h 297656"/>
                      <a:gd name="connsiteX0" fmla="*/ 0 w 992982"/>
                      <a:gd name="connsiteY0" fmla="*/ 166688 h 297656"/>
                      <a:gd name="connsiteX1" fmla="*/ 216694 w 992982"/>
                      <a:gd name="connsiteY1" fmla="*/ 242887 h 297656"/>
                      <a:gd name="connsiteX2" fmla="*/ 233363 w 992982"/>
                      <a:gd name="connsiteY2" fmla="*/ 283369 h 297656"/>
                      <a:gd name="connsiteX3" fmla="*/ 247651 w 992982"/>
                      <a:gd name="connsiteY3" fmla="*/ 257175 h 297656"/>
                      <a:gd name="connsiteX4" fmla="*/ 307182 w 992982"/>
                      <a:gd name="connsiteY4" fmla="*/ 259556 h 297656"/>
                      <a:gd name="connsiteX5" fmla="*/ 371475 w 992982"/>
                      <a:gd name="connsiteY5" fmla="*/ 254794 h 297656"/>
                      <a:gd name="connsiteX6" fmla="*/ 381000 w 992982"/>
                      <a:gd name="connsiteY6" fmla="*/ 230981 h 297656"/>
                      <a:gd name="connsiteX7" fmla="*/ 388144 w 992982"/>
                      <a:gd name="connsiteY7" fmla="*/ 254794 h 297656"/>
                      <a:gd name="connsiteX8" fmla="*/ 438150 w 992982"/>
                      <a:gd name="connsiteY8" fmla="*/ 250031 h 297656"/>
                      <a:gd name="connsiteX9" fmla="*/ 504825 w 992982"/>
                      <a:gd name="connsiteY9" fmla="*/ 235744 h 297656"/>
                      <a:gd name="connsiteX10" fmla="*/ 528638 w 992982"/>
                      <a:gd name="connsiteY10" fmla="*/ 226219 h 297656"/>
                      <a:gd name="connsiteX11" fmla="*/ 528638 w 992982"/>
                      <a:gd name="connsiteY11" fmla="*/ 207169 h 297656"/>
                      <a:gd name="connsiteX12" fmla="*/ 523875 w 992982"/>
                      <a:gd name="connsiteY12" fmla="*/ 197644 h 297656"/>
                      <a:gd name="connsiteX13" fmla="*/ 531019 w 992982"/>
                      <a:gd name="connsiteY13" fmla="*/ 211931 h 297656"/>
                      <a:gd name="connsiteX14" fmla="*/ 538163 w 992982"/>
                      <a:gd name="connsiteY14" fmla="*/ 223837 h 297656"/>
                      <a:gd name="connsiteX15" fmla="*/ 602457 w 992982"/>
                      <a:gd name="connsiteY15" fmla="*/ 211931 h 297656"/>
                      <a:gd name="connsiteX16" fmla="*/ 673894 w 992982"/>
                      <a:gd name="connsiteY16" fmla="*/ 188119 h 297656"/>
                      <a:gd name="connsiteX17" fmla="*/ 676275 w 992982"/>
                      <a:gd name="connsiteY17" fmla="*/ 166687 h 297656"/>
                      <a:gd name="connsiteX18" fmla="*/ 690563 w 992982"/>
                      <a:gd name="connsiteY18" fmla="*/ 180975 h 297656"/>
                      <a:gd name="connsiteX19" fmla="*/ 740569 w 992982"/>
                      <a:gd name="connsiteY19" fmla="*/ 169069 h 297656"/>
                      <a:gd name="connsiteX20" fmla="*/ 821532 w 992982"/>
                      <a:gd name="connsiteY20" fmla="*/ 142875 h 297656"/>
                      <a:gd name="connsiteX21" fmla="*/ 816769 w 992982"/>
                      <a:gd name="connsiteY21" fmla="*/ 114300 h 297656"/>
                      <a:gd name="connsiteX22" fmla="*/ 828675 w 992982"/>
                      <a:gd name="connsiteY22" fmla="*/ 145256 h 297656"/>
                      <a:gd name="connsiteX23" fmla="*/ 859632 w 992982"/>
                      <a:gd name="connsiteY23" fmla="*/ 126206 h 297656"/>
                      <a:gd name="connsiteX24" fmla="*/ 923925 w 992982"/>
                      <a:gd name="connsiteY24" fmla="*/ 57150 h 297656"/>
                      <a:gd name="connsiteX25" fmla="*/ 992982 w 992982"/>
                      <a:gd name="connsiteY25" fmla="*/ 0 h 297656"/>
                      <a:gd name="connsiteX26" fmla="*/ 928688 w 992982"/>
                      <a:gd name="connsiteY26" fmla="*/ 64294 h 297656"/>
                      <a:gd name="connsiteX27" fmla="*/ 871538 w 992982"/>
                      <a:gd name="connsiteY27" fmla="*/ 121444 h 297656"/>
                      <a:gd name="connsiteX28" fmla="*/ 831057 w 992982"/>
                      <a:gd name="connsiteY28" fmla="*/ 150019 h 297656"/>
                      <a:gd name="connsiteX29" fmla="*/ 835819 w 992982"/>
                      <a:gd name="connsiteY29" fmla="*/ 176212 h 297656"/>
                      <a:gd name="connsiteX30" fmla="*/ 826294 w 992982"/>
                      <a:gd name="connsiteY30" fmla="*/ 152400 h 297656"/>
                      <a:gd name="connsiteX31" fmla="*/ 807244 w 992982"/>
                      <a:gd name="connsiteY31" fmla="*/ 152400 h 297656"/>
                      <a:gd name="connsiteX32" fmla="*/ 697707 w 992982"/>
                      <a:gd name="connsiteY32" fmla="*/ 185737 h 297656"/>
                      <a:gd name="connsiteX33" fmla="*/ 685800 w 992982"/>
                      <a:gd name="connsiteY33" fmla="*/ 195262 h 297656"/>
                      <a:gd name="connsiteX34" fmla="*/ 695325 w 992982"/>
                      <a:gd name="connsiteY34" fmla="*/ 223837 h 297656"/>
                      <a:gd name="connsiteX35" fmla="*/ 683419 w 992982"/>
                      <a:gd name="connsiteY35" fmla="*/ 197644 h 297656"/>
                      <a:gd name="connsiteX36" fmla="*/ 664369 w 992982"/>
                      <a:gd name="connsiteY36" fmla="*/ 197644 h 297656"/>
                      <a:gd name="connsiteX37" fmla="*/ 600075 w 992982"/>
                      <a:gd name="connsiteY37" fmla="*/ 214312 h 297656"/>
                      <a:gd name="connsiteX38" fmla="*/ 531019 w 992982"/>
                      <a:gd name="connsiteY38" fmla="*/ 233362 h 297656"/>
                      <a:gd name="connsiteX39" fmla="*/ 535782 w 992982"/>
                      <a:gd name="connsiteY39" fmla="*/ 261937 h 297656"/>
                      <a:gd name="connsiteX40" fmla="*/ 521494 w 992982"/>
                      <a:gd name="connsiteY40" fmla="*/ 235744 h 297656"/>
                      <a:gd name="connsiteX41" fmla="*/ 440532 w 992982"/>
                      <a:gd name="connsiteY41" fmla="*/ 252412 h 297656"/>
                      <a:gd name="connsiteX42" fmla="*/ 381000 w 992982"/>
                      <a:gd name="connsiteY42" fmla="*/ 261937 h 297656"/>
                      <a:gd name="connsiteX43" fmla="*/ 383382 w 992982"/>
                      <a:gd name="connsiteY43" fmla="*/ 297656 h 297656"/>
                      <a:gd name="connsiteX44" fmla="*/ 376238 w 992982"/>
                      <a:gd name="connsiteY44" fmla="*/ 257175 h 297656"/>
                      <a:gd name="connsiteX45" fmla="*/ 247650 w 992982"/>
                      <a:gd name="connsiteY45" fmla="*/ 247650 h 297656"/>
                      <a:gd name="connsiteX46" fmla="*/ 171451 w 992982"/>
                      <a:gd name="connsiteY46" fmla="*/ 207169 h 297656"/>
                      <a:gd name="connsiteX47" fmla="*/ 107157 w 992982"/>
                      <a:gd name="connsiteY47" fmla="*/ 197644 h 297656"/>
                      <a:gd name="connsiteX48" fmla="*/ 0 w 992982"/>
                      <a:gd name="connsiteY48" fmla="*/ 166688 h 297656"/>
                      <a:gd name="connsiteX0" fmla="*/ 0 w 992982"/>
                      <a:gd name="connsiteY0" fmla="*/ 166688 h 297656"/>
                      <a:gd name="connsiteX1" fmla="*/ 114301 w 992982"/>
                      <a:gd name="connsiteY1" fmla="*/ 252413 h 297656"/>
                      <a:gd name="connsiteX2" fmla="*/ 216694 w 992982"/>
                      <a:gd name="connsiteY2" fmla="*/ 242887 h 297656"/>
                      <a:gd name="connsiteX3" fmla="*/ 233363 w 992982"/>
                      <a:gd name="connsiteY3" fmla="*/ 283369 h 297656"/>
                      <a:gd name="connsiteX4" fmla="*/ 247651 w 992982"/>
                      <a:gd name="connsiteY4" fmla="*/ 257175 h 297656"/>
                      <a:gd name="connsiteX5" fmla="*/ 307182 w 992982"/>
                      <a:gd name="connsiteY5" fmla="*/ 259556 h 297656"/>
                      <a:gd name="connsiteX6" fmla="*/ 371475 w 992982"/>
                      <a:gd name="connsiteY6" fmla="*/ 254794 h 297656"/>
                      <a:gd name="connsiteX7" fmla="*/ 381000 w 992982"/>
                      <a:gd name="connsiteY7" fmla="*/ 230981 h 297656"/>
                      <a:gd name="connsiteX8" fmla="*/ 388144 w 992982"/>
                      <a:gd name="connsiteY8" fmla="*/ 254794 h 297656"/>
                      <a:gd name="connsiteX9" fmla="*/ 438150 w 992982"/>
                      <a:gd name="connsiteY9" fmla="*/ 250031 h 297656"/>
                      <a:gd name="connsiteX10" fmla="*/ 504825 w 992982"/>
                      <a:gd name="connsiteY10" fmla="*/ 235744 h 297656"/>
                      <a:gd name="connsiteX11" fmla="*/ 528638 w 992982"/>
                      <a:gd name="connsiteY11" fmla="*/ 226219 h 297656"/>
                      <a:gd name="connsiteX12" fmla="*/ 528638 w 992982"/>
                      <a:gd name="connsiteY12" fmla="*/ 207169 h 297656"/>
                      <a:gd name="connsiteX13" fmla="*/ 523875 w 992982"/>
                      <a:gd name="connsiteY13" fmla="*/ 197644 h 297656"/>
                      <a:gd name="connsiteX14" fmla="*/ 531019 w 992982"/>
                      <a:gd name="connsiteY14" fmla="*/ 211931 h 297656"/>
                      <a:gd name="connsiteX15" fmla="*/ 538163 w 992982"/>
                      <a:gd name="connsiteY15" fmla="*/ 223837 h 297656"/>
                      <a:gd name="connsiteX16" fmla="*/ 602457 w 992982"/>
                      <a:gd name="connsiteY16" fmla="*/ 211931 h 297656"/>
                      <a:gd name="connsiteX17" fmla="*/ 673894 w 992982"/>
                      <a:gd name="connsiteY17" fmla="*/ 188119 h 297656"/>
                      <a:gd name="connsiteX18" fmla="*/ 676275 w 992982"/>
                      <a:gd name="connsiteY18" fmla="*/ 166687 h 297656"/>
                      <a:gd name="connsiteX19" fmla="*/ 690563 w 992982"/>
                      <a:gd name="connsiteY19" fmla="*/ 180975 h 297656"/>
                      <a:gd name="connsiteX20" fmla="*/ 740569 w 992982"/>
                      <a:gd name="connsiteY20" fmla="*/ 169069 h 297656"/>
                      <a:gd name="connsiteX21" fmla="*/ 821532 w 992982"/>
                      <a:gd name="connsiteY21" fmla="*/ 142875 h 297656"/>
                      <a:gd name="connsiteX22" fmla="*/ 816769 w 992982"/>
                      <a:gd name="connsiteY22" fmla="*/ 114300 h 297656"/>
                      <a:gd name="connsiteX23" fmla="*/ 828675 w 992982"/>
                      <a:gd name="connsiteY23" fmla="*/ 145256 h 297656"/>
                      <a:gd name="connsiteX24" fmla="*/ 859632 w 992982"/>
                      <a:gd name="connsiteY24" fmla="*/ 126206 h 297656"/>
                      <a:gd name="connsiteX25" fmla="*/ 923925 w 992982"/>
                      <a:gd name="connsiteY25" fmla="*/ 57150 h 297656"/>
                      <a:gd name="connsiteX26" fmla="*/ 992982 w 992982"/>
                      <a:gd name="connsiteY26" fmla="*/ 0 h 297656"/>
                      <a:gd name="connsiteX27" fmla="*/ 928688 w 992982"/>
                      <a:gd name="connsiteY27" fmla="*/ 64294 h 297656"/>
                      <a:gd name="connsiteX28" fmla="*/ 871538 w 992982"/>
                      <a:gd name="connsiteY28" fmla="*/ 121444 h 297656"/>
                      <a:gd name="connsiteX29" fmla="*/ 831057 w 992982"/>
                      <a:gd name="connsiteY29" fmla="*/ 150019 h 297656"/>
                      <a:gd name="connsiteX30" fmla="*/ 835819 w 992982"/>
                      <a:gd name="connsiteY30" fmla="*/ 176212 h 297656"/>
                      <a:gd name="connsiteX31" fmla="*/ 826294 w 992982"/>
                      <a:gd name="connsiteY31" fmla="*/ 152400 h 297656"/>
                      <a:gd name="connsiteX32" fmla="*/ 807244 w 992982"/>
                      <a:gd name="connsiteY32" fmla="*/ 152400 h 297656"/>
                      <a:gd name="connsiteX33" fmla="*/ 697707 w 992982"/>
                      <a:gd name="connsiteY33" fmla="*/ 185737 h 297656"/>
                      <a:gd name="connsiteX34" fmla="*/ 685800 w 992982"/>
                      <a:gd name="connsiteY34" fmla="*/ 195262 h 297656"/>
                      <a:gd name="connsiteX35" fmla="*/ 695325 w 992982"/>
                      <a:gd name="connsiteY35" fmla="*/ 223837 h 297656"/>
                      <a:gd name="connsiteX36" fmla="*/ 683419 w 992982"/>
                      <a:gd name="connsiteY36" fmla="*/ 197644 h 297656"/>
                      <a:gd name="connsiteX37" fmla="*/ 664369 w 992982"/>
                      <a:gd name="connsiteY37" fmla="*/ 197644 h 297656"/>
                      <a:gd name="connsiteX38" fmla="*/ 600075 w 992982"/>
                      <a:gd name="connsiteY38" fmla="*/ 214312 h 297656"/>
                      <a:gd name="connsiteX39" fmla="*/ 531019 w 992982"/>
                      <a:gd name="connsiteY39" fmla="*/ 233362 h 297656"/>
                      <a:gd name="connsiteX40" fmla="*/ 535782 w 992982"/>
                      <a:gd name="connsiteY40" fmla="*/ 261937 h 297656"/>
                      <a:gd name="connsiteX41" fmla="*/ 521494 w 992982"/>
                      <a:gd name="connsiteY41" fmla="*/ 235744 h 297656"/>
                      <a:gd name="connsiteX42" fmla="*/ 440532 w 992982"/>
                      <a:gd name="connsiteY42" fmla="*/ 252412 h 297656"/>
                      <a:gd name="connsiteX43" fmla="*/ 381000 w 992982"/>
                      <a:gd name="connsiteY43" fmla="*/ 261937 h 297656"/>
                      <a:gd name="connsiteX44" fmla="*/ 383382 w 992982"/>
                      <a:gd name="connsiteY44" fmla="*/ 297656 h 297656"/>
                      <a:gd name="connsiteX45" fmla="*/ 376238 w 992982"/>
                      <a:gd name="connsiteY45" fmla="*/ 257175 h 297656"/>
                      <a:gd name="connsiteX46" fmla="*/ 247650 w 992982"/>
                      <a:gd name="connsiteY46" fmla="*/ 247650 h 297656"/>
                      <a:gd name="connsiteX47" fmla="*/ 171451 w 992982"/>
                      <a:gd name="connsiteY47" fmla="*/ 207169 h 297656"/>
                      <a:gd name="connsiteX48" fmla="*/ 107157 w 992982"/>
                      <a:gd name="connsiteY48" fmla="*/ 197644 h 297656"/>
                      <a:gd name="connsiteX49" fmla="*/ 0 w 992982"/>
                      <a:gd name="connsiteY49" fmla="*/ 166688 h 297656"/>
                      <a:gd name="connsiteX0" fmla="*/ 0 w 992982"/>
                      <a:gd name="connsiteY0" fmla="*/ 166688 h 297656"/>
                      <a:gd name="connsiteX1" fmla="*/ 114301 w 992982"/>
                      <a:gd name="connsiteY1" fmla="*/ 252413 h 297656"/>
                      <a:gd name="connsiteX2" fmla="*/ 142875 w 992982"/>
                      <a:gd name="connsiteY2" fmla="*/ 221456 h 297656"/>
                      <a:gd name="connsiteX3" fmla="*/ 216694 w 992982"/>
                      <a:gd name="connsiteY3" fmla="*/ 242887 h 297656"/>
                      <a:gd name="connsiteX4" fmla="*/ 233363 w 992982"/>
                      <a:gd name="connsiteY4" fmla="*/ 283369 h 297656"/>
                      <a:gd name="connsiteX5" fmla="*/ 247651 w 992982"/>
                      <a:gd name="connsiteY5" fmla="*/ 257175 h 297656"/>
                      <a:gd name="connsiteX6" fmla="*/ 307182 w 992982"/>
                      <a:gd name="connsiteY6" fmla="*/ 259556 h 297656"/>
                      <a:gd name="connsiteX7" fmla="*/ 371475 w 992982"/>
                      <a:gd name="connsiteY7" fmla="*/ 254794 h 297656"/>
                      <a:gd name="connsiteX8" fmla="*/ 381000 w 992982"/>
                      <a:gd name="connsiteY8" fmla="*/ 230981 h 297656"/>
                      <a:gd name="connsiteX9" fmla="*/ 388144 w 992982"/>
                      <a:gd name="connsiteY9" fmla="*/ 254794 h 297656"/>
                      <a:gd name="connsiteX10" fmla="*/ 438150 w 992982"/>
                      <a:gd name="connsiteY10" fmla="*/ 250031 h 297656"/>
                      <a:gd name="connsiteX11" fmla="*/ 504825 w 992982"/>
                      <a:gd name="connsiteY11" fmla="*/ 235744 h 297656"/>
                      <a:gd name="connsiteX12" fmla="*/ 528638 w 992982"/>
                      <a:gd name="connsiteY12" fmla="*/ 226219 h 297656"/>
                      <a:gd name="connsiteX13" fmla="*/ 528638 w 992982"/>
                      <a:gd name="connsiteY13" fmla="*/ 207169 h 297656"/>
                      <a:gd name="connsiteX14" fmla="*/ 523875 w 992982"/>
                      <a:gd name="connsiteY14" fmla="*/ 197644 h 297656"/>
                      <a:gd name="connsiteX15" fmla="*/ 531019 w 992982"/>
                      <a:gd name="connsiteY15" fmla="*/ 211931 h 297656"/>
                      <a:gd name="connsiteX16" fmla="*/ 538163 w 992982"/>
                      <a:gd name="connsiteY16" fmla="*/ 223837 h 297656"/>
                      <a:gd name="connsiteX17" fmla="*/ 602457 w 992982"/>
                      <a:gd name="connsiteY17" fmla="*/ 211931 h 297656"/>
                      <a:gd name="connsiteX18" fmla="*/ 673894 w 992982"/>
                      <a:gd name="connsiteY18" fmla="*/ 188119 h 297656"/>
                      <a:gd name="connsiteX19" fmla="*/ 676275 w 992982"/>
                      <a:gd name="connsiteY19" fmla="*/ 166687 h 297656"/>
                      <a:gd name="connsiteX20" fmla="*/ 690563 w 992982"/>
                      <a:gd name="connsiteY20" fmla="*/ 180975 h 297656"/>
                      <a:gd name="connsiteX21" fmla="*/ 740569 w 992982"/>
                      <a:gd name="connsiteY21" fmla="*/ 169069 h 297656"/>
                      <a:gd name="connsiteX22" fmla="*/ 821532 w 992982"/>
                      <a:gd name="connsiteY22" fmla="*/ 142875 h 297656"/>
                      <a:gd name="connsiteX23" fmla="*/ 816769 w 992982"/>
                      <a:gd name="connsiteY23" fmla="*/ 114300 h 297656"/>
                      <a:gd name="connsiteX24" fmla="*/ 828675 w 992982"/>
                      <a:gd name="connsiteY24" fmla="*/ 145256 h 297656"/>
                      <a:gd name="connsiteX25" fmla="*/ 859632 w 992982"/>
                      <a:gd name="connsiteY25" fmla="*/ 126206 h 297656"/>
                      <a:gd name="connsiteX26" fmla="*/ 923925 w 992982"/>
                      <a:gd name="connsiteY26" fmla="*/ 57150 h 297656"/>
                      <a:gd name="connsiteX27" fmla="*/ 992982 w 992982"/>
                      <a:gd name="connsiteY27" fmla="*/ 0 h 297656"/>
                      <a:gd name="connsiteX28" fmla="*/ 928688 w 992982"/>
                      <a:gd name="connsiteY28" fmla="*/ 64294 h 297656"/>
                      <a:gd name="connsiteX29" fmla="*/ 871538 w 992982"/>
                      <a:gd name="connsiteY29" fmla="*/ 121444 h 297656"/>
                      <a:gd name="connsiteX30" fmla="*/ 831057 w 992982"/>
                      <a:gd name="connsiteY30" fmla="*/ 150019 h 297656"/>
                      <a:gd name="connsiteX31" fmla="*/ 835819 w 992982"/>
                      <a:gd name="connsiteY31" fmla="*/ 176212 h 297656"/>
                      <a:gd name="connsiteX32" fmla="*/ 826294 w 992982"/>
                      <a:gd name="connsiteY32" fmla="*/ 152400 h 297656"/>
                      <a:gd name="connsiteX33" fmla="*/ 807244 w 992982"/>
                      <a:gd name="connsiteY33" fmla="*/ 152400 h 297656"/>
                      <a:gd name="connsiteX34" fmla="*/ 697707 w 992982"/>
                      <a:gd name="connsiteY34" fmla="*/ 185737 h 297656"/>
                      <a:gd name="connsiteX35" fmla="*/ 685800 w 992982"/>
                      <a:gd name="connsiteY35" fmla="*/ 195262 h 297656"/>
                      <a:gd name="connsiteX36" fmla="*/ 695325 w 992982"/>
                      <a:gd name="connsiteY36" fmla="*/ 223837 h 297656"/>
                      <a:gd name="connsiteX37" fmla="*/ 683419 w 992982"/>
                      <a:gd name="connsiteY37" fmla="*/ 197644 h 297656"/>
                      <a:gd name="connsiteX38" fmla="*/ 664369 w 992982"/>
                      <a:gd name="connsiteY38" fmla="*/ 197644 h 297656"/>
                      <a:gd name="connsiteX39" fmla="*/ 600075 w 992982"/>
                      <a:gd name="connsiteY39" fmla="*/ 214312 h 297656"/>
                      <a:gd name="connsiteX40" fmla="*/ 531019 w 992982"/>
                      <a:gd name="connsiteY40" fmla="*/ 233362 h 297656"/>
                      <a:gd name="connsiteX41" fmla="*/ 535782 w 992982"/>
                      <a:gd name="connsiteY41" fmla="*/ 261937 h 297656"/>
                      <a:gd name="connsiteX42" fmla="*/ 521494 w 992982"/>
                      <a:gd name="connsiteY42" fmla="*/ 235744 h 297656"/>
                      <a:gd name="connsiteX43" fmla="*/ 440532 w 992982"/>
                      <a:gd name="connsiteY43" fmla="*/ 252412 h 297656"/>
                      <a:gd name="connsiteX44" fmla="*/ 381000 w 992982"/>
                      <a:gd name="connsiteY44" fmla="*/ 261937 h 297656"/>
                      <a:gd name="connsiteX45" fmla="*/ 383382 w 992982"/>
                      <a:gd name="connsiteY45" fmla="*/ 297656 h 297656"/>
                      <a:gd name="connsiteX46" fmla="*/ 376238 w 992982"/>
                      <a:gd name="connsiteY46" fmla="*/ 257175 h 297656"/>
                      <a:gd name="connsiteX47" fmla="*/ 247650 w 992982"/>
                      <a:gd name="connsiteY47" fmla="*/ 247650 h 297656"/>
                      <a:gd name="connsiteX48" fmla="*/ 171451 w 992982"/>
                      <a:gd name="connsiteY48" fmla="*/ 207169 h 297656"/>
                      <a:gd name="connsiteX49" fmla="*/ 107157 w 992982"/>
                      <a:gd name="connsiteY49" fmla="*/ 197644 h 297656"/>
                      <a:gd name="connsiteX50" fmla="*/ 0 w 992982"/>
                      <a:gd name="connsiteY50" fmla="*/ 166688 h 297656"/>
                      <a:gd name="connsiteX0" fmla="*/ 0 w 992982"/>
                      <a:gd name="connsiteY0" fmla="*/ 166688 h 297656"/>
                      <a:gd name="connsiteX1" fmla="*/ 119063 w 992982"/>
                      <a:gd name="connsiteY1" fmla="*/ 223837 h 297656"/>
                      <a:gd name="connsiteX2" fmla="*/ 114301 w 992982"/>
                      <a:gd name="connsiteY2" fmla="*/ 252413 h 297656"/>
                      <a:gd name="connsiteX3" fmla="*/ 142875 w 992982"/>
                      <a:gd name="connsiteY3" fmla="*/ 221456 h 297656"/>
                      <a:gd name="connsiteX4" fmla="*/ 216694 w 992982"/>
                      <a:gd name="connsiteY4" fmla="*/ 242887 h 297656"/>
                      <a:gd name="connsiteX5" fmla="*/ 233363 w 992982"/>
                      <a:gd name="connsiteY5" fmla="*/ 283369 h 297656"/>
                      <a:gd name="connsiteX6" fmla="*/ 247651 w 992982"/>
                      <a:gd name="connsiteY6" fmla="*/ 257175 h 297656"/>
                      <a:gd name="connsiteX7" fmla="*/ 307182 w 992982"/>
                      <a:gd name="connsiteY7" fmla="*/ 259556 h 297656"/>
                      <a:gd name="connsiteX8" fmla="*/ 371475 w 992982"/>
                      <a:gd name="connsiteY8" fmla="*/ 254794 h 297656"/>
                      <a:gd name="connsiteX9" fmla="*/ 381000 w 992982"/>
                      <a:gd name="connsiteY9" fmla="*/ 230981 h 297656"/>
                      <a:gd name="connsiteX10" fmla="*/ 388144 w 992982"/>
                      <a:gd name="connsiteY10" fmla="*/ 254794 h 297656"/>
                      <a:gd name="connsiteX11" fmla="*/ 438150 w 992982"/>
                      <a:gd name="connsiteY11" fmla="*/ 250031 h 297656"/>
                      <a:gd name="connsiteX12" fmla="*/ 504825 w 992982"/>
                      <a:gd name="connsiteY12" fmla="*/ 235744 h 297656"/>
                      <a:gd name="connsiteX13" fmla="*/ 528638 w 992982"/>
                      <a:gd name="connsiteY13" fmla="*/ 226219 h 297656"/>
                      <a:gd name="connsiteX14" fmla="*/ 528638 w 992982"/>
                      <a:gd name="connsiteY14" fmla="*/ 207169 h 297656"/>
                      <a:gd name="connsiteX15" fmla="*/ 523875 w 992982"/>
                      <a:gd name="connsiteY15" fmla="*/ 197644 h 297656"/>
                      <a:gd name="connsiteX16" fmla="*/ 531019 w 992982"/>
                      <a:gd name="connsiteY16" fmla="*/ 211931 h 297656"/>
                      <a:gd name="connsiteX17" fmla="*/ 538163 w 992982"/>
                      <a:gd name="connsiteY17" fmla="*/ 223837 h 297656"/>
                      <a:gd name="connsiteX18" fmla="*/ 602457 w 992982"/>
                      <a:gd name="connsiteY18" fmla="*/ 211931 h 297656"/>
                      <a:gd name="connsiteX19" fmla="*/ 673894 w 992982"/>
                      <a:gd name="connsiteY19" fmla="*/ 188119 h 297656"/>
                      <a:gd name="connsiteX20" fmla="*/ 676275 w 992982"/>
                      <a:gd name="connsiteY20" fmla="*/ 166687 h 297656"/>
                      <a:gd name="connsiteX21" fmla="*/ 690563 w 992982"/>
                      <a:gd name="connsiteY21" fmla="*/ 180975 h 297656"/>
                      <a:gd name="connsiteX22" fmla="*/ 740569 w 992982"/>
                      <a:gd name="connsiteY22" fmla="*/ 169069 h 297656"/>
                      <a:gd name="connsiteX23" fmla="*/ 821532 w 992982"/>
                      <a:gd name="connsiteY23" fmla="*/ 142875 h 297656"/>
                      <a:gd name="connsiteX24" fmla="*/ 816769 w 992982"/>
                      <a:gd name="connsiteY24" fmla="*/ 114300 h 297656"/>
                      <a:gd name="connsiteX25" fmla="*/ 828675 w 992982"/>
                      <a:gd name="connsiteY25" fmla="*/ 145256 h 297656"/>
                      <a:gd name="connsiteX26" fmla="*/ 859632 w 992982"/>
                      <a:gd name="connsiteY26" fmla="*/ 126206 h 297656"/>
                      <a:gd name="connsiteX27" fmla="*/ 923925 w 992982"/>
                      <a:gd name="connsiteY27" fmla="*/ 57150 h 297656"/>
                      <a:gd name="connsiteX28" fmla="*/ 992982 w 992982"/>
                      <a:gd name="connsiteY28" fmla="*/ 0 h 297656"/>
                      <a:gd name="connsiteX29" fmla="*/ 928688 w 992982"/>
                      <a:gd name="connsiteY29" fmla="*/ 64294 h 297656"/>
                      <a:gd name="connsiteX30" fmla="*/ 871538 w 992982"/>
                      <a:gd name="connsiteY30" fmla="*/ 121444 h 297656"/>
                      <a:gd name="connsiteX31" fmla="*/ 831057 w 992982"/>
                      <a:gd name="connsiteY31" fmla="*/ 150019 h 297656"/>
                      <a:gd name="connsiteX32" fmla="*/ 835819 w 992982"/>
                      <a:gd name="connsiteY32" fmla="*/ 176212 h 297656"/>
                      <a:gd name="connsiteX33" fmla="*/ 826294 w 992982"/>
                      <a:gd name="connsiteY33" fmla="*/ 152400 h 297656"/>
                      <a:gd name="connsiteX34" fmla="*/ 807244 w 992982"/>
                      <a:gd name="connsiteY34" fmla="*/ 152400 h 297656"/>
                      <a:gd name="connsiteX35" fmla="*/ 697707 w 992982"/>
                      <a:gd name="connsiteY35" fmla="*/ 185737 h 297656"/>
                      <a:gd name="connsiteX36" fmla="*/ 685800 w 992982"/>
                      <a:gd name="connsiteY36" fmla="*/ 195262 h 297656"/>
                      <a:gd name="connsiteX37" fmla="*/ 695325 w 992982"/>
                      <a:gd name="connsiteY37" fmla="*/ 223837 h 297656"/>
                      <a:gd name="connsiteX38" fmla="*/ 683419 w 992982"/>
                      <a:gd name="connsiteY38" fmla="*/ 197644 h 297656"/>
                      <a:gd name="connsiteX39" fmla="*/ 664369 w 992982"/>
                      <a:gd name="connsiteY39" fmla="*/ 197644 h 297656"/>
                      <a:gd name="connsiteX40" fmla="*/ 600075 w 992982"/>
                      <a:gd name="connsiteY40" fmla="*/ 214312 h 297656"/>
                      <a:gd name="connsiteX41" fmla="*/ 531019 w 992982"/>
                      <a:gd name="connsiteY41" fmla="*/ 233362 h 297656"/>
                      <a:gd name="connsiteX42" fmla="*/ 535782 w 992982"/>
                      <a:gd name="connsiteY42" fmla="*/ 261937 h 297656"/>
                      <a:gd name="connsiteX43" fmla="*/ 521494 w 992982"/>
                      <a:gd name="connsiteY43" fmla="*/ 235744 h 297656"/>
                      <a:gd name="connsiteX44" fmla="*/ 440532 w 992982"/>
                      <a:gd name="connsiteY44" fmla="*/ 252412 h 297656"/>
                      <a:gd name="connsiteX45" fmla="*/ 381000 w 992982"/>
                      <a:gd name="connsiteY45" fmla="*/ 261937 h 297656"/>
                      <a:gd name="connsiteX46" fmla="*/ 383382 w 992982"/>
                      <a:gd name="connsiteY46" fmla="*/ 297656 h 297656"/>
                      <a:gd name="connsiteX47" fmla="*/ 376238 w 992982"/>
                      <a:gd name="connsiteY47" fmla="*/ 257175 h 297656"/>
                      <a:gd name="connsiteX48" fmla="*/ 247650 w 992982"/>
                      <a:gd name="connsiteY48" fmla="*/ 247650 h 297656"/>
                      <a:gd name="connsiteX49" fmla="*/ 171451 w 992982"/>
                      <a:gd name="connsiteY49" fmla="*/ 207169 h 297656"/>
                      <a:gd name="connsiteX50" fmla="*/ 107157 w 992982"/>
                      <a:gd name="connsiteY50" fmla="*/ 197644 h 297656"/>
                      <a:gd name="connsiteX51" fmla="*/ 0 w 992982"/>
                      <a:gd name="connsiteY51" fmla="*/ 166688 h 297656"/>
                      <a:gd name="connsiteX0" fmla="*/ 0 w 992982"/>
                      <a:gd name="connsiteY0" fmla="*/ 166688 h 297656"/>
                      <a:gd name="connsiteX1" fmla="*/ 119063 w 992982"/>
                      <a:gd name="connsiteY1" fmla="*/ 223837 h 297656"/>
                      <a:gd name="connsiteX2" fmla="*/ 114301 w 992982"/>
                      <a:gd name="connsiteY2" fmla="*/ 252413 h 297656"/>
                      <a:gd name="connsiteX3" fmla="*/ 142875 w 992982"/>
                      <a:gd name="connsiteY3" fmla="*/ 221456 h 297656"/>
                      <a:gd name="connsiteX4" fmla="*/ 216694 w 992982"/>
                      <a:gd name="connsiteY4" fmla="*/ 242887 h 297656"/>
                      <a:gd name="connsiteX5" fmla="*/ 233363 w 992982"/>
                      <a:gd name="connsiteY5" fmla="*/ 283369 h 297656"/>
                      <a:gd name="connsiteX6" fmla="*/ 247651 w 992982"/>
                      <a:gd name="connsiteY6" fmla="*/ 257175 h 297656"/>
                      <a:gd name="connsiteX7" fmla="*/ 307182 w 992982"/>
                      <a:gd name="connsiteY7" fmla="*/ 259556 h 297656"/>
                      <a:gd name="connsiteX8" fmla="*/ 371475 w 992982"/>
                      <a:gd name="connsiteY8" fmla="*/ 254794 h 297656"/>
                      <a:gd name="connsiteX9" fmla="*/ 381000 w 992982"/>
                      <a:gd name="connsiteY9" fmla="*/ 230981 h 297656"/>
                      <a:gd name="connsiteX10" fmla="*/ 388144 w 992982"/>
                      <a:gd name="connsiteY10" fmla="*/ 254794 h 297656"/>
                      <a:gd name="connsiteX11" fmla="*/ 438150 w 992982"/>
                      <a:gd name="connsiteY11" fmla="*/ 250031 h 297656"/>
                      <a:gd name="connsiteX12" fmla="*/ 504825 w 992982"/>
                      <a:gd name="connsiteY12" fmla="*/ 235744 h 297656"/>
                      <a:gd name="connsiteX13" fmla="*/ 528638 w 992982"/>
                      <a:gd name="connsiteY13" fmla="*/ 226219 h 297656"/>
                      <a:gd name="connsiteX14" fmla="*/ 528638 w 992982"/>
                      <a:gd name="connsiteY14" fmla="*/ 207169 h 297656"/>
                      <a:gd name="connsiteX15" fmla="*/ 523875 w 992982"/>
                      <a:gd name="connsiteY15" fmla="*/ 197644 h 297656"/>
                      <a:gd name="connsiteX16" fmla="*/ 531019 w 992982"/>
                      <a:gd name="connsiteY16" fmla="*/ 211931 h 297656"/>
                      <a:gd name="connsiteX17" fmla="*/ 538163 w 992982"/>
                      <a:gd name="connsiteY17" fmla="*/ 223837 h 297656"/>
                      <a:gd name="connsiteX18" fmla="*/ 602457 w 992982"/>
                      <a:gd name="connsiteY18" fmla="*/ 211931 h 297656"/>
                      <a:gd name="connsiteX19" fmla="*/ 673894 w 992982"/>
                      <a:gd name="connsiteY19" fmla="*/ 188119 h 297656"/>
                      <a:gd name="connsiteX20" fmla="*/ 676275 w 992982"/>
                      <a:gd name="connsiteY20" fmla="*/ 166687 h 297656"/>
                      <a:gd name="connsiteX21" fmla="*/ 690563 w 992982"/>
                      <a:gd name="connsiteY21" fmla="*/ 180975 h 297656"/>
                      <a:gd name="connsiteX22" fmla="*/ 740569 w 992982"/>
                      <a:gd name="connsiteY22" fmla="*/ 169069 h 297656"/>
                      <a:gd name="connsiteX23" fmla="*/ 821532 w 992982"/>
                      <a:gd name="connsiteY23" fmla="*/ 142875 h 297656"/>
                      <a:gd name="connsiteX24" fmla="*/ 816769 w 992982"/>
                      <a:gd name="connsiteY24" fmla="*/ 114300 h 297656"/>
                      <a:gd name="connsiteX25" fmla="*/ 828675 w 992982"/>
                      <a:gd name="connsiteY25" fmla="*/ 145256 h 297656"/>
                      <a:gd name="connsiteX26" fmla="*/ 859632 w 992982"/>
                      <a:gd name="connsiteY26" fmla="*/ 126206 h 297656"/>
                      <a:gd name="connsiteX27" fmla="*/ 923925 w 992982"/>
                      <a:gd name="connsiteY27" fmla="*/ 57150 h 297656"/>
                      <a:gd name="connsiteX28" fmla="*/ 992982 w 992982"/>
                      <a:gd name="connsiteY28" fmla="*/ 0 h 297656"/>
                      <a:gd name="connsiteX29" fmla="*/ 928688 w 992982"/>
                      <a:gd name="connsiteY29" fmla="*/ 64294 h 297656"/>
                      <a:gd name="connsiteX30" fmla="*/ 871538 w 992982"/>
                      <a:gd name="connsiteY30" fmla="*/ 121444 h 297656"/>
                      <a:gd name="connsiteX31" fmla="*/ 831057 w 992982"/>
                      <a:gd name="connsiteY31" fmla="*/ 150019 h 297656"/>
                      <a:gd name="connsiteX32" fmla="*/ 835819 w 992982"/>
                      <a:gd name="connsiteY32" fmla="*/ 176212 h 297656"/>
                      <a:gd name="connsiteX33" fmla="*/ 826294 w 992982"/>
                      <a:gd name="connsiteY33" fmla="*/ 152400 h 297656"/>
                      <a:gd name="connsiteX34" fmla="*/ 807244 w 992982"/>
                      <a:gd name="connsiteY34" fmla="*/ 152400 h 297656"/>
                      <a:gd name="connsiteX35" fmla="*/ 697707 w 992982"/>
                      <a:gd name="connsiteY35" fmla="*/ 185737 h 297656"/>
                      <a:gd name="connsiteX36" fmla="*/ 685800 w 992982"/>
                      <a:gd name="connsiteY36" fmla="*/ 195262 h 297656"/>
                      <a:gd name="connsiteX37" fmla="*/ 695325 w 992982"/>
                      <a:gd name="connsiteY37" fmla="*/ 223837 h 297656"/>
                      <a:gd name="connsiteX38" fmla="*/ 683419 w 992982"/>
                      <a:gd name="connsiteY38" fmla="*/ 197644 h 297656"/>
                      <a:gd name="connsiteX39" fmla="*/ 664369 w 992982"/>
                      <a:gd name="connsiteY39" fmla="*/ 197644 h 297656"/>
                      <a:gd name="connsiteX40" fmla="*/ 600075 w 992982"/>
                      <a:gd name="connsiteY40" fmla="*/ 214312 h 297656"/>
                      <a:gd name="connsiteX41" fmla="*/ 531019 w 992982"/>
                      <a:gd name="connsiteY41" fmla="*/ 233362 h 297656"/>
                      <a:gd name="connsiteX42" fmla="*/ 535782 w 992982"/>
                      <a:gd name="connsiteY42" fmla="*/ 261937 h 297656"/>
                      <a:gd name="connsiteX43" fmla="*/ 521494 w 992982"/>
                      <a:gd name="connsiteY43" fmla="*/ 235744 h 297656"/>
                      <a:gd name="connsiteX44" fmla="*/ 440532 w 992982"/>
                      <a:gd name="connsiteY44" fmla="*/ 252412 h 297656"/>
                      <a:gd name="connsiteX45" fmla="*/ 381000 w 992982"/>
                      <a:gd name="connsiteY45" fmla="*/ 261937 h 297656"/>
                      <a:gd name="connsiteX46" fmla="*/ 383382 w 992982"/>
                      <a:gd name="connsiteY46" fmla="*/ 297656 h 297656"/>
                      <a:gd name="connsiteX47" fmla="*/ 376238 w 992982"/>
                      <a:gd name="connsiteY47" fmla="*/ 257175 h 297656"/>
                      <a:gd name="connsiteX48" fmla="*/ 247650 w 992982"/>
                      <a:gd name="connsiteY48" fmla="*/ 247650 h 297656"/>
                      <a:gd name="connsiteX49" fmla="*/ 161926 w 992982"/>
                      <a:gd name="connsiteY49" fmla="*/ 183357 h 297656"/>
                      <a:gd name="connsiteX50" fmla="*/ 107157 w 992982"/>
                      <a:gd name="connsiteY50" fmla="*/ 197644 h 297656"/>
                      <a:gd name="connsiteX51" fmla="*/ 0 w 992982"/>
                      <a:gd name="connsiteY51" fmla="*/ 166688 h 297656"/>
                      <a:gd name="connsiteX0" fmla="*/ 0 w 992982"/>
                      <a:gd name="connsiteY0" fmla="*/ 166688 h 297656"/>
                      <a:gd name="connsiteX1" fmla="*/ 119063 w 992982"/>
                      <a:gd name="connsiteY1" fmla="*/ 223837 h 297656"/>
                      <a:gd name="connsiteX2" fmla="*/ 114301 w 992982"/>
                      <a:gd name="connsiteY2" fmla="*/ 252413 h 297656"/>
                      <a:gd name="connsiteX3" fmla="*/ 142875 w 992982"/>
                      <a:gd name="connsiteY3" fmla="*/ 221456 h 297656"/>
                      <a:gd name="connsiteX4" fmla="*/ 216694 w 992982"/>
                      <a:gd name="connsiteY4" fmla="*/ 242887 h 297656"/>
                      <a:gd name="connsiteX5" fmla="*/ 233363 w 992982"/>
                      <a:gd name="connsiteY5" fmla="*/ 283369 h 297656"/>
                      <a:gd name="connsiteX6" fmla="*/ 247651 w 992982"/>
                      <a:gd name="connsiteY6" fmla="*/ 257175 h 297656"/>
                      <a:gd name="connsiteX7" fmla="*/ 307182 w 992982"/>
                      <a:gd name="connsiteY7" fmla="*/ 259556 h 297656"/>
                      <a:gd name="connsiteX8" fmla="*/ 371475 w 992982"/>
                      <a:gd name="connsiteY8" fmla="*/ 254794 h 297656"/>
                      <a:gd name="connsiteX9" fmla="*/ 381000 w 992982"/>
                      <a:gd name="connsiteY9" fmla="*/ 230981 h 297656"/>
                      <a:gd name="connsiteX10" fmla="*/ 388144 w 992982"/>
                      <a:gd name="connsiteY10" fmla="*/ 254794 h 297656"/>
                      <a:gd name="connsiteX11" fmla="*/ 438150 w 992982"/>
                      <a:gd name="connsiteY11" fmla="*/ 250031 h 297656"/>
                      <a:gd name="connsiteX12" fmla="*/ 504825 w 992982"/>
                      <a:gd name="connsiteY12" fmla="*/ 235744 h 297656"/>
                      <a:gd name="connsiteX13" fmla="*/ 528638 w 992982"/>
                      <a:gd name="connsiteY13" fmla="*/ 226219 h 297656"/>
                      <a:gd name="connsiteX14" fmla="*/ 528638 w 992982"/>
                      <a:gd name="connsiteY14" fmla="*/ 207169 h 297656"/>
                      <a:gd name="connsiteX15" fmla="*/ 523875 w 992982"/>
                      <a:gd name="connsiteY15" fmla="*/ 197644 h 297656"/>
                      <a:gd name="connsiteX16" fmla="*/ 531019 w 992982"/>
                      <a:gd name="connsiteY16" fmla="*/ 211931 h 297656"/>
                      <a:gd name="connsiteX17" fmla="*/ 538163 w 992982"/>
                      <a:gd name="connsiteY17" fmla="*/ 223837 h 297656"/>
                      <a:gd name="connsiteX18" fmla="*/ 602457 w 992982"/>
                      <a:gd name="connsiteY18" fmla="*/ 211931 h 297656"/>
                      <a:gd name="connsiteX19" fmla="*/ 673894 w 992982"/>
                      <a:gd name="connsiteY19" fmla="*/ 188119 h 297656"/>
                      <a:gd name="connsiteX20" fmla="*/ 676275 w 992982"/>
                      <a:gd name="connsiteY20" fmla="*/ 166687 h 297656"/>
                      <a:gd name="connsiteX21" fmla="*/ 690563 w 992982"/>
                      <a:gd name="connsiteY21" fmla="*/ 180975 h 297656"/>
                      <a:gd name="connsiteX22" fmla="*/ 740569 w 992982"/>
                      <a:gd name="connsiteY22" fmla="*/ 169069 h 297656"/>
                      <a:gd name="connsiteX23" fmla="*/ 821532 w 992982"/>
                      <a:gd name="connsiteY23" fmla="*/ 142875 h 297656"/>
                      <a:gd name="connsiteX24" fmla="*/ 816769 w 992982"/>
                      <a:gd name="connsiteY24" fmla="*/ 114300 h 297656"/>
                      <a:gd name="connsiteX25" fmla="*/ 828675 w 992982"/>
                      <a:gd name="connsiteY25" fmla="*/ 145256 h 297656"/>
                      <a:gd name="connsiteX26" fmla="*/ 859632 w 992982"/>
                      <a:gd name="connsiteY26" fmla="*/ 126206 h 297656"/>
                      <a:gd name="connsiteX27" fmla="*/ 923925 w 992982"/>
                      <a:gd name="connsiteY27" fmla="*/ 57150 h 297656"/>
                      <a:gd name="connsiteX28" fmla="*/ 992982 w 992982"/>
                      <a:gd name="connsiteY28" fmla="*/ 0 h 297656"/>
                      <a:gd name="connsiteX29" fmla="*/ 928688 w 992982"/>
                      <a:gd name="connsiteY29" fmla="*/ 64294 h 297656"/>
                      <a:gd name="connsiteX30" fmla="*/ 871538 w 992982"/>
                      <a:gd name="connsiteY30" fmla="*/ 121444 h 297656"/>
                      <a:gd name="connsiteX31" fmla="*/ 831057 w 992982"/>
                      <a:gd name="connsiteY31" fmla="*/ 150019 h 297656"/>
                      <a:gd name="connsiteX32" fmla="*/ 835819 w 992982"/>
                      <a:gd name="connsiteY32" fmla="*/ 176212 h 297656"/>
                      <a:gd name="connsiteX33" fmla="*/ 826294 w 992982"/>
                      <a:gd name="connsiteY33" fmla="*/ 152400 h 297656"/>
                      <a:gd name="connsiteX34" fmla="*/ 807244 w 992982"/>
                      <a:gd name="connsiteY34" fmla="*/ 152400 h 297656"/>
                      <a:gd name="connsiteX35" fmla="*/ 697707 w 992982"/>
                      <a:gd name="connsiteY35" fmla="*/ 185737 h 297656"/>
                      <a:gd name="connsiteX36" fmla="*/ 685800 w 992982"/>
                      <a:gd name="connsiteY36" fmla="*/ 195262 h 297656"/>
                      <a:gd name="connsiteX37" fmla="*/ 695325 w 992982"/>
                      <a:gd name="connsiteY37" fmla="*/ 223837 h 297656"/>
                      <a:gd name="connsiteX38" fmla="*/ 683419 w 992982"/>
                      <a:gd name="connsiteY38" fmla="*/ 197644 h 297656"/>
                      <a:gd name="connsiteX39" fmla="*/ 664369 w 992982"/>
                      <a:gd name="connsiteY39" fmla="*/ 197644 h 297656"/>
                      <a:gd name="connsiteX40" fmla="*/ 600075 w 992982"/>
                      <a:gd name="connsiteY40" fmla="*/ 214312 h 297656"/>
                      <a:gd name="connsiteX41" fmla="*/ 531019 w 992982"/>
                      <a:gd name="connsiteY41" fmla="*/ 233362 h 297656"/>
                      <a:gd name="connsiteX42" fmla="*/ 535782 w 992982"/>
                      <a:gd name="connsiteY42" fmla="*/ 261937 h 297656"/>
                      <a:gd name="connsiteX43" fmla="*/ 521494 w 992982"/>
                      <a:gd name="connsiteY43" fmla="*/ 235744 h 297656"/>
                      <a:gd name="connsiteX44" fmla="*/ 440532 w 992982"/>
                      <a:gd name="connsiteY44" fmla="*/ 252412 h 297656"/>
                      <a:gd name="connsiteX45" fmla="*/ 381000 w 992982"/>
                      <a:gd name="connsiteY45" fmla="*/ 261937 h 297656"/>
                      <a:gd name="connsiteX46" fmla="*/ 383382 w 992982"/>
                      <a:gd name="connsiteY46" fmla="*/ 297656 h 297656"/>
                      <a:gd name="connsiteX47" fmla="*/ 376238 w 992982"/>
                      <a:gd name="connsiteY47" fmla="*/ 257175 h 297656"/>
                      <a:gd name="connsiteX48" fmla="*/ 247650 w 992982"/>
                      <a:gd name="connsiteY48" fmla="*/ 247650 h 297656"/>
                      <a:gd name="connsiteX49" fmla="*/ 152401 w 992982"/>
                      <a:gd name="connsiteY49" fmla="*/ 209550 h 297656"/>
                      <a:gd name="connsiteX50" fmla="*/ 161926 w 992982"/>
                      <a:gd name="connsiteY50" fmla="*/ 183357 h 297656"/>
                      <a:gd name="connsiteX51" fmla="*/ 107157 w 992982"/>
                      <a:gd name="connsiteY51" fmla="*/ 197644 h 297656"/>
                      <a:gd name="connsiteX52" fmla="*/ 0 w 992982"/>
                      <a:gd name="connsiteY52" fmla="*/ 166688 h 297656"/>
                      <a:gd name="connsiteX0" fmla="*/ 0 w 992982"/>
                      <a:gd name="connsiteY0" fmla="*/ 166688 h 297656"/>
                      <a:gd name="connsiteX1" fmla="*/ 119063 w 992982"/>
                      <a:gd name="connsiteY1" fmla="*/ 223837 h 297656"/>
                      <a:gd name="connsiteX2" fmla="*/ 114301 w 992982"/>
                      <a:gd name="connsiteY2" fmla="*/ 252413 h 297656"/>
                      <a:gd name="connsiteX3" fmla="*/ 142875 w 992982"/>
                      <a:gd name="connsiteY3" fmla="*/ 221456 h 297656"/>
                      <a:gd name="connsiteX4" fmla="*/ 216694 w 992982"/>
                      <a:gd name="connsiteY4" fmla="*/ 242887 h 297656"/>
                      <a:gd name="connsiteX5" fmla="*/ 233363 w 992982"/>
                      <a:gd name="connsiteY5" fmla="*/ 283369 h 297656"/>
                      <a:gd name="connsiteX6" fmla="*/ 247651 w 992982"/>
                      <a:gd name="connsiteY6" fmla="*/ 257175 h 297656"/>
                      <a:gd name="connsiteX7" fmla="*/ 307182 w 992982"/>
                      <a:gd name="connsiteY7" fmla="*/ 259556 h 297656"/>
                      <a:gd name="connsiteX8" fmla="*/ 371475 w 992982"/>
                      <a:gd name="connsiteY8" fmla="*/ 254794 h 297656"/>
                      <a:gd name="connsiteX9" fmla="*/ 381000 w 992982"/>
                      <a:gd name="connsiteY9" fmla="*/ 230981 h 297656"/>
                      <a:gd name="connsiteX10" fmla="*/ 388144 w 992982"/>
                      <a:gd name="connsiteY10" fmla="*/ 254794 h 297656"/>
                      <a:gd name="connsiteX11" fmla="*/ 438150 w 992982"/>
                      <a:gd name="connsiteY11" fmla="*/ 250031 h 297656"/>
                      <a:gd name="connsiteX12" fmla="*/ 504825 w 992982"/>
                      <a:gd name="connsiteY12" fmla="*/ 235744 h 297656"/>
                      <a:gd name="connsiteX13" fmla="*/ 528638 w 992982"/>
                      <a:gd name="connsiteY13" fmla="*/ 226219 h 297656"/>
                      <a:gd name="connsiteX14" fmla="*/ 528638 w 992982"/>
                      <a:gd name="connsiteY14" fmla="*/ 207169 h 297656"/>
                      <a:gd name="connsiteX15" fmla="*/ 523875 w 992982"/>
                      <a:gd name="connsiteY15" fmla="*/ 197644 h 297656"/>
                      <a:gd name="connsiteX16" fmla="*/ 531019 w 992982"/>
                      <a:gd name="connsiteY16" fmla="*/ 211931 h 297656"/>
                      <a:gd name="connsiteX17" fmla="*/ 538163 w 992982"/>
                      <a:gd name="connsiteY17" fmla="*/ 223837 h 297656"/>
                      <a:gd name="connsiteX18" fmla="*/ 602457 w 992982"/>
                      <a:gd name="connsiteY18" fmla="*/ 211931 h 297656"/>
                      <a:gd name="connsiteX19" fmla="*/ 673894 w 992982"/>
                      <a:gd name="connsiteY19" fmla="*/ 188119 h 297656"/>
                      <a:gd name="connsiteX20" fmla="*/ 676275 w 992982"/>
                      <a:gd name="connsiteY20" fmla="*/ 166687 h 297656"/>
                      <a:gd name="connsiteX21" fmla="*/ 690563 w 992982"/>
                      <a:gd name="connsiteY21" fmla="*/ 180975 h 297656"/>
                      <a:gd name="connsiteX22" fmla="*/ 740569 w 992982"/>
                      <a:gd name="connsiteY22" fmla="*/ 169069 h 297656"/>
                      <a:gd name="connsiteX23" fmla="*/ 821532 w 992982"/>
                      <a:gd name="connsiteY23" fmla="*/ 142875 h 297656"/>
                      <a:gd name="connsiteX24" fmla="*/ 816769 w 992982"/>
                      <a:gd name="connsiteY24" fmla="*/ 114300 h 297656"/>
                      <a:gd name="connsiteX25" fmla="*/ 828675 w 992982"/>
                      <a:gd name="connsiteY25" fmla="*/ 145256 h 297656"/>
                      <a:gd name="connsiteX26" fmla="*/ 859632 w 992982"/>
                      <a:gd name="connsiteY26" fmla="*/ 126206 h 297656"/>
                      <a:gd name="connsiteX27" fmla="*/ 923925 w 992982"/>
                      <a:gd name="connsiteY27" fmla="*/ 57150 h 297656"/>
                      <a:gd name="connsiteX28" fmla="*/ 992982 w 992982"/>
                      <a:gd name="connsiteY28" fmla="*/ 0 h 297656"/>
                      <a:gd name="connsiteX29" fmla="*/ 928688 w 992982"/>
                      <a:gd name="connsiteY29" fmla="*/ 64294 h 297656"/>
                      <a:gd name="connsiteX30" fmla="*/ 871538 w 992982"/>
                      <a:gd name="connsiteY30" fmla="*/ 121444 h 297656"/>
                      <a:gd name="connsiteX31" fmla="*/ 831057 w 992982"/>
                      <a:gd name="connsiteY31" fmla="*/ 150019 h 297656"/>
                      <a:gd name="connsiteX32" fmla="*/ 835819 w 992982"/>
                      <a:gd name="connsiteY32" fmla="*/ 176212 h 297656"/>
                      <a:gd name="connsiteX33" fmla="*/ 826294 w 992982"/>
                      <a:gd name="connsiteY33" fmla="*/ 152400 h 297656"/>
                      <a:gd name="connsiteX34" fmla="*/ 807244 w 992982"/>
                      <a:gd name="connsiteY34" fmla="*/ 152400 h 297656"/>
                      <a:gd name="connsiteX35" fmla="*/ 697707 w 992982"/>
                      <a:gd name="connsiteY35" fmla="*/ 185737 h 297656"/>
                      <a:gd name="connsiteX36" fmla="*/ 685800 w 992982"/>
                      <a:gd name="connsiteY36" fmla="*/ 195262 h 297656"/>
                      <a:gd name="connsiteX37" fmla="*/ 695325 w 992982"/>
                      <a:gd name="connsiteY37" fmla="*/ 223837 h 297656"/>
                      <a:gd name="connsiteX38" fmla="*/ 683419 w 992982"/>
                      <a:gd name="connsiteY38" fmla="*/ 197644 h 297656"/>
                      <a:gd name="connsiteX39" fmla="*/ 664369 w 992982"/>
                      <a:gd name="connsiteY39" fmla="*/ 197644 h 297656"/>
                      <a:gd name="connsiteX40" fmla="*/ 600075 w 992982"/>
                      <a:gd name="connsiteY40" fmla="*/ 214312 h 297656"/>
                      <a:gd name="connsiteX41" fmla="*/ 531019 w 992982"/>
                      <a:gd name="connsiteY41" fmla="*/ 233362 h 297656"/>
                      <a:gd name="connsiteX42" fmla="*/ 535782 w 992982"/>
                      <a:gd name="connsiteY42" fmla="*/ 261937 h 297656"/>
                      <a:gd name="connsiteX43" fmla="*/ 521494 w 992982"/>
                      <a:gd name="connsiteY43" fmla="*/ 235744 h 297656"/>
                      <a:gd name="connsiteX44" fmla="*/ 440532 w 992982"/>
                      <a:gd name="connsiteY44" fmla="*/ 252412 h 297656"/>
                      <a:gd name="connsiteX45" fmla="*/ 381000 w 992982"/>
                      <a:gd name="connsiteY45" fmla="*/ 261937 h 297656"/>
                      <a:gd name="connsiteX46" fmla="*/ 383382 w 992982"/>
                      <a:gd name="connsiteY46" fmla="*/ 297656 h 297656"/>
                      <a:gd name="connsiteX47" fmla="*/ 376238 w 992982"/>
                      <a:gd name="connsiteY47" fmla="*/ 257175 h 297656"/>
                      <a:gd name="connsiteX48" fmla="*/ 247650 w 992982"/>
                      <a:gd name="connsiteY48" fmla="*/ 247650 h 297656"/>
                      <a:gd name="connsiteX49" fmla="*/ 152401 w 992982"/>
                      <a:gd name="connsiteY49" fmla="*/ 209550 h 297656"/>
                      <a:gd name="connsiteX50" fmla="*/ 130970 w 992982"/>
                      <a:gd name="connsiteY50" fmla="*/ 195263 h 297656"/>
                      <a:gd name="connsiteX51" fmla="*/ 107157 w 992982"/>
                      <a:gd name="connsiteY51" fmla="*/ 197644 h 297656"/>
                      <a:gd name="connsiteX52" fmla="*/ 0 w 992982"/>
                      <a:gd name="connsiteY52" fmla="*/ 166688 h 297656"/>
                      <a:gd name="connsiteX0" fmla="*/ 0 w 992982"/>
                      <a:gd name="connsiteY0" fmla="*/ 166688 h 297656"/>
                      <a:gd name="connsiteX1" fmla="*/ 119063 w 992982"/>
                      <a:gd name="connsiteY1" fmla="*/ 223837 h 297656"/>
                      <a:gd name="connsiteX2" fmla="*/ 114301 w 992982"/>
                      <a:gd name="connsiteY2" fmla="*/ 252413 h 297656"/>
                      <a:gd name="connsiteX3" fmla="*/ 142875 w 992982"/>
                      <a:gd name="connsiteY3" fmla="*/ 221456 h 297656"/>
                      <a:gd name="connsiteX4" fmla="*/ 216694 w 992982"/>
                      <a:gd name="connsiteY4" fmla="*/ 242887 h 297656"/>
                      <a:gd name="connsiteX5" fmla="*/ 233363 w 992982"/>
                      <a:gd name="connsiteY5" fmla="*/ 283369 h 297656"/>
                      <a:gd name="connsiteX6" fmla="*/ 247651 w 992982"/>
                      <a:gd name="connsiteY6" fmla="*/ 257175 h 297656"/>
                      <a:gd name="connsiteX7" fmla="*/ 307182 w 992982"/>
                      <a:gd name="connsiteY7" fmla="*/ 259556 h 297656"/>
                      <a:gd name="connsiteX8" fmla="*/ 371475 w 992982"/>
                      <a:gd name="connsiteY8" fmla="*/ 254794 h 297656"/>
                      <a:gd name="connsiteX9" fmla="*/ 381000 w 992982"/>
                      <a:gd name="connsiteY9" fmla="*/ 230981 h 297656"/>
                      <a:gd name="connsiteX10" fmla="*/ 388144 w 992982"/>
                      <a:gd name="connsiteY10" fmla="*/ 254794 h 297656"/>
                      <a:gd name="connsiteX11" fmla="*/ 438150 w 992982"/>
                      <a:gd name="connsiteY11" fmla="*/ 250031 h 297656"/>
                      <a:gd name="connsiteX12" fmla="*/ 504825 w 992982"/>
                      <a:gd name="connsiteY12" fmla="*/ 235744 h 297656"/>
                      <a:gd name="connsiteX13" fmla="*/ 528638 w 992982"/>
                      <a:gd name="connsiteY13" fmla="*/ 226219 h 297656"/>
                      <a:gd name="connsiteX14" fmla="*/ 528638 w 992982"/>
                      <a:gd name="connsiteY14" fmla="*/ 207169 h 297656"/>
                      <a:gd name="connsiteX15" fmla="*/ 523875 w 992982"/>
                      <a:gd name="connsiteY15" fmla="*/ 197644 h 297656"/>
                      <a:gd name="connsiteX16" fmla="*/ 531019 w 992982"/>
                      <a:gd name="connsiteY16" fmla="*/ 211931 h 297656"/>
                      <a:gd name="connsiteX17" fmla="*/ 538163 w 992982"/>
                      <a:gd name="connsiteY17" fmla="*/ 223837 h 297656"/>
                      <a:gd name="connsiteX18" fmla="*/ 602457 w 992982"/>
                      <a:gd name="connsiteY18" fmla="*/ 211931 h 297656"/>
                      <a:gd name="connsiteX19" fmla="*/ 673894 w 992982"/>
                      <a:gd name="connsiteY19" fmla="*/ 188119 h 297656"/>
                      <a:gd name="connsiteX20" fmla="*/ 676275 w 992982"/>
                      <a:gd name="connsiteY20" fmla="*/ 166687 h 297656"/>
                      <a:gd name="connsiteX21" fmla="*/ 690563 w 992982"/>
                      <a:gd name="connsiteY21" fmla="*/ 180975 h 297656"/>
                      <a:gd name="connsiteX22" fmla="*/ 740569 w 992982"/>
                      <a:gd name="connsiteY22" fmla="*/ 169069 h 297656"/>
                      <a:gd name="connsiteX23" fmla="*/ 821532 w 992982"/>
                      <a:gd name="connsiteY23" fmla="*/ 142875 h 297656"/>
                      <a:gd name="connsiteX24" fmla="*/ 816769 w 992982"/>
                      <a:gd name="connsiteY24" fmla="*/ 114300 h 297656"/>
                      <a:gd name="connsiteX25" fmla="*/ 828675 w 992982"/>
                      <a:gd name="connsiteY25" fmla="*/ 145256 h 297656"/>
                      <a:gd name="connsiteX26" fmla="*/ 859632 w 992982"/>
                      <a:gd name="connsiteY26" fmla="*/ 126206 h 297656"/>
                      <a:gd name="connsiteX27" fmla="*/ 923925 w 992982"/>
                      <a:gd name="connsiteY27" fmla="*/ 57150 h 297656"/>
                      <a:gd name="connsiteX28" fmla="*/ 992982 w 992982"/>
                      <a:gd name="connsiteY28" fmla="*/ 0 h 297656"/>
                      <a:gd name="connsiteX29" fmla="*/ 928688 w 992982"/>
                      <a:gd name="connsiteY29" fmla="*/ 64294 h 297656"/>
                      <a:gd name="connsiteX30" fmla="*/ 871538 w 992982"/>
                      <a:gd name="connsiteY30" fmla="*/ 121444 h 297656"/>
                      <a:gd name="connsiteX31" fmla="*/ 831057 w 992982"/>
                      <a:gd name="connsiteY31" fmla="*/ 150019 h 297656"/>
                      <a:gd name="connsiteX32" fmla="*/ 835819 w 992982"/>
                      <a:gd name="connsiteY32" fmla="*/ 176212 h 297656"/>
                      <a:gd name="connsiteX33" fmla="*/ 826294 w 992982"/>
                      <a:gd name="connsiteY33" fmla="*/ 152400 h 297656"/>
                      <a:gd name="connsiteX34" fmla="*/ 807244 w 992982"/>
                      <a:gd name="connsiteY34" fmla="*/ 152400 h 297656"/>
                      <a:gd name="connsiteX35" fmla="*/ 697707 w 992982"/>
                      <a:gd name="connsiteY35" fmla="*/ 185737 h 297656"/>
                      <a:gd name="connsiteX36" fmla="*/ 685800 w 992982"/>
                      <a:gd name="connsiteY36" fmla="*/ 195262 h 297656"/>
                      <a:gd name="connsiteX37" fmla="*/ 695325 w 992982"/>
                      <a:gd name="connsiteY37" fmla="*/ 223837 h 297656"/>
                      <a:gd name="connsiteX38" fmla="*/ 683419 w 992982"/>
                      <a:gd name="connsiteY38" fmla="*/ 197644 h 297656"/>
                      <a:gd name="connsiteX39" fmla="*/ 664369 w 992982"/>
                      <a:gd name="connsiteY39" fmla="*/ 197644 h 297656"/>
                      <a:gd name="connsiteX40" fmla="*/ 600075 w 992982"/>
                      <a:gd name="connsiteY40" fmla="*/ 214312 h 297656"/>
                      <a:gd name="connsiteX41" fmla="*/ 531019 w 992982"/>
                      <a:gd name="connsiteY41" fmla="*/ 233362 h 297656"/>
                      <a:gd name="connsiteX42" fmla="*/ 535782 w 992982"/>
                      <a:gd name="connsiteY42" fmla="*/ 261937 h 297656"/>
                      <a:gd name="connsiteX43" fmla="*/ 521494 w 992982"/>
                      <a:gd name="connsiteY43" fmla="*/ 235744 h 297656"/>
                      <a:gd name="connsiteX44" fmla="*/ 440532 w 992982"/>
                      <a:gd name="connsiteY44" fmla="*/ 252412 h 297656"/>
                      <a:gd name="connsiteX45" fmla="*/ 381000 w 992982"/>
                      <a:gd name="connsiteY45" fmla="*/ 261937 h 297656"/>
                      <a:gd name="connsiteX46" fmla="*/ 383382 w 992982"/>
                      <a:gd name="connsiteY46" fmla="*/ 297656 h 297656"/>
                      <a:gd name="connsiteX47" fmla="*/ 376238 w 992982"/>
                      <a:gd name="connsiteY47" fmla="*/ 257175 h 297656"/>
                      <a:gd name="connsiteX48" fmla="*/ 247650 w 992982"/>
                      <a:gd name="connsiteY48" fmla="*/ 247650 h 297656"/>
                      <a:gd name="connsiteX49" fmla="*/ 152401 w 992982"/>
                      <a:gd name="connsiteY49" fmla="*/ 209550 h 297656"/>
                      <a:gd name="connsiteX50" fmla="*/ 130970 w 992982"/>
                      <a:gd name="connsiteY50" fmla="*/ 195263 h 297656"/>
                      <a:gd name="connsiteX51" fmla="*/ 107157 w 992982"/>
                      <a:gd name="connsiteY51" fmla="*/ 197644 h 297656"/>
                      <a:gd name="connsiteX52" fmla="*/ 126207 w 992982"/>
                      <a:gd name="connsiteY52" fmla="*/ 209550 h 297656"/>
                      <a:gd name="connsiteX53" fmla="*/ 0 w 992982"/>
                      <a:gd name="connsiteY53" fmla="*/ 166688 h 297656"/>
                      <a:gd name="connsiteX0" fmla="*/ 0 w 992982"/>
                      <a:gd name="connsiteY0" fmla="*/ 166688 h 297656"/>
                      <a:gd name="connsiteX1" fmla="*/ 119063 w 992982"/>
                      <a:gd name="connsiteY1" fmla="*/ 223837 h 297656"/>
                      <a:gd name="connsiteX2" fmla="*/ 114301 w 992982"/>
                      <a:gd name="connsiteY2" fmla="*/ 252413 h 297656"/>
                      <a:gd name="connsiteX3" fmla="*/ 142875 w 992982"/>
                      <a:gd name="connsiteY3" fmla="*/ 221456 h 297656"/>
                      <a:gd name="connsiteX4" fmla="*/ 216694 w 992982"/>
                      <a:gd name="connsiteY4" fmla="*/ 242887 h 297656"/>
                      <a:gd name="connsiteX5" fmla="*/ 233363 w 992982"/>
                      <a:gd name="connsiteY5" fmla="*/ 283369 h 297656"/>
                      <a:gd name="connsiteX6" fmla="*/ 247651 w 992982"/>
                      <a:gd name="connsiteY6" fmla="*/ 257175 h 297656"/>
                      <a:gd name="connsiteX7" fmla="*/ 307182 w 992982"/>
                      <a:gd name="connsiteY7" fmla="*/ 259556 h 297656"/>
                      <a:gd name="connsiteX8" fmla="*/ 371475 w 992982"/>
                      <a:gd name="connsiteY8" fmla="*/ 254794 h 297656"/>
                      <a:gd name="connsiteX9" fmla="*/ 381000 w 992982"/>
                      <a:gd name="connsiteY9" fmla="*/ 230981 h 297656"/>
                      <a:gd name="connsiteX10" fmla="*/ 388144 w 992982"/>
                      <a:gd name="connsiteY10" fmla="*/ 254794 h 297656"/>
                      <a:gd name="connsiteX11" fmla="*/ 438150 w 992982"/>
                      <a:gd name="connsiteY11" fmla="*/ 250031 h 297656"/>
                      <a:gd name="connsiteX12" fmla="*/ 504825 w 992982"/>
                      <a:gd name="connsiteY12" fmla="*/ 235744 h 297656"/>
                      <a:gd name="connsiteX13" fmla="*/ 528638 w 992982"/>
                      <a:gd name="connsiteY13" fmla="*/ 226219 h 297656"/>
                      <a:gd name="connsiteX14" fmla="*/ 528638 w 992982"/>
                      <a:gd name="connsiteY14" fmla="*/ 207169 h 297656"/>
                      <a:gd name="connsiteX15" fmla="*/ 523875 w 992982"/>
                      <a:gd name="connsiteY15" fmla="*/ 197644 h 297656"/>
                      <a:gd name="connsiteX16" fmla="*/ 531019 w 992982"/>
                      <a:gd name="connsiteY16" fmla="*/ 211931 h 297656"/>
                      <a:gd name="connsiteX17" fmla="*/ 538163 w 992982"/>
                      <a:gd name="connsiteY17" fmla="*/ 223837 h 297656"/>
                      <a:gd name="connsiteX18" fmla="*/ 602457 w 992982"/>
                      <a:gd name="connsiteY18" fmla="*/ 211931 h 297656"/>
                      <a:gd name="connsiteX19" fmla="*/ 673894 w 992982"/>
                      <a:gd name="connsiteY19" fmla="*/ 188119 h 297656"/>
                      <a:gd name="connsiteX20" fmla="*/ 676275 w 992982"/>
                      <a:gd name="connsiteY20" fmla="*/ 166687 h 297656"/>
                      <a:gd name="connsiteX21" fmla="*/ 690563 w 992982"/>
                      <a:gd name="connsiteY21" fmla="*/ 180975 h 297656"/>
                      <a:gd name="connsiteX22" fmla="*/ 740569 w 992982"/>
                      <a:gd name="connsiteY22" fmla="*/ 169069 h 297656"/>
                      <a:gd name="connsiteX23" fmla="*/ 821532 w 992982"/>
                      <a:gd name="connsiteY23" fmla="*/ 142875 h 297656"/>
                      <a:gd name="connsiteX24" fmla="*/ 816769 w 992982"/>
                      <a:gd name="connsiteY24" fmla="*/ 114300 h 297656"/>
                      <a:gd name="connsiteX25" fmla="*/ 828675 w 992982"/>
                      <a:gd name="connsiteY25" fmla="*/ 145256 h 297656"/>
                      <a:gd name="connsiteX26" fmla="*/ 859632 w 992982"/>
                      <a:gd name="connsiteY26" fmla="*/ 126206 h 297656"/>
                      <a:gd name="connsiteX27" fmla="*/ 923925 w 992982"/>
                      <a:gd name="connsiteY27" fmla="*/ 57150 h 297656"/>
                      <a:gd name="connsiteX28" fmla="*/ 992982 w 992982"/>
                      <a:gd name="connsiteY28" fmla="*/ 0 h 297656"/>
                      <a:gd name="connsiteX29" fmla="*/ 928688 w 992982"/>
                      <a:gd name="connsiteY29" fmla="*/ 64294 h 297656"/>
                      <a:gd name="connsiteX30" fmla="*/ 871538 w 992982"/>
                      <a:gd name="connsiteY30" fmla="*/ 121444 h 297656"/>
                      <a:gd name="connsiteX31" fmla="*/ 831057 w 992982"/>
                      <a:gd name="connsiteY31" fmla="*/ 150019 h 297656"/>
                      <a:gd name="connsiteX32" fmla="*/ 835819 w 992982"/>
                      <a:gd name="connsiteY32" fmla="*/ 176212 h 297656"/>
                      <a:gd name="connsiteX33" fmla="*/ 826294 w 992982"/>
                      <a:gd name="connsiteY33" fmla="*/ 152400 h 297656"/>
                      <a:gd name="connsiteX34" fmla="*/ 807244 w 992982"/>
                      <a:gd name="connsiteY34" fmla="*/ 152400 h 297656"/>
                      <a:gd name="connsiteX35" fmla="*/ 697707 w 992982"/>
                      <a:gd name="connsiteY35" fmla="*/ 185737 h 297656"/>
                      <a:gd name="connsiteX36" fmla="*/ 685800 w 992982"/>
                      <a:gd name="connsiteY36" fmla="*/ 195262 h 297656"/>
                      <a:gd name="connsiteX37" fmla="*/ 695325 w 992982"/>
                      <a:gd name="connsiteY37" fmla="*/ 223837 h 297656"/>
                      <a:gd name="connsiteX38" fmla="*/ 683419 w 992982"/>
                      <a:gd name="connsiteY38" fmla="*/ 197644 h 297656"/>
                      <a:gd name="connsiteX39" fmla="*/ 664369 w 992982"/>
                      <a:gd name="connsiteY39" fmla="*/ 197644 h 297656"/>
                      <a:gd name="connsiteX40" fmla="*/ 600075 w 992982"/>
                      <a:gd name="connsiteY40" fmla="*/ 214312 h 297656"/>
                      <a:gd name="connsiteX41" fmla="*/ 531019 w 992982"/>
                      <a:gd name="connsiteY41" fmla="*/ 233362 h 297656"/>
                      <a:gd name="connsiteX42" fmla="*/ 535782 w 992982"/>
                      <a:gd name="connsiteY42" fmla="*/ 261937 h 297656"/>
                      <a:gd name="connsiteX43" fmla="*/ 521494 w 992982"/>
                      <a:gd name="connsiteY43" fmla="*/ 235744 h 297656"/>
                      <a:gd name="connsiteX44" fmla="*/ 440532 w 992982"/>
                      <a:gd name="connsiteY44" fmla="*/ 252412 h 297656"/>
                      <a:gd name="connsiteX45" fmla="*/ 381000 w 992982"/>
                      <a:gd name="connsiteY45" fmla="*/ 261937 h 297656"/>
                      <a:gd name="connsiteX46" fmla="*/ 383382 w 992982"/>
                      <a:gd name="connsiteY46" fmla="*/ 297656 h 297656"/>
                      <a:gd name="connsiteX47" fmla="*/ 376238 w 992982"/>
                      <a:gd name="connsiteY47" fmla="*/ 257175 h 297656"/>
                      <a:gd name="connsiteX48" fmla="*/ 247650 w 992982"/>
                      <a:gd name="connsiteY48" fmla="*/ 247650 h 297656"/>
                      <a:gd name="connsiteX49" fmla="*/ 152401 w 992982"/>
                      <a:gd name="connsiteY49" fmla="*/ 233362 h 297656"/>
                      <a:gd name="connsiteX50" fmla="*/ 130970 w 992982"/>
                      <a:gd name="connsiteY50" fmla="*/ 195263 h 297656"/>
                      <a:gd name="connsiteX51" fmla="*/ 107157 w 992982"/>
                      <a:gd name="connsiteY51" fmla="*/ 197644 h 297656"/>
                      <a:gd name="connsiteX52" fmla="*/ 126207 w 992982"/>
                      <a:gd name="connsiteY52" fmla="*/ 209550 h 297656"/>
                      <a:gd name="connsiteX53" fmla="*/ 0 w 992982"/>
                      <a:gd name="connsiteY53" fmla="*/ 166688 h 297656"/>
                      <a:gd name="connsiteX0" fmla="*/ 0 w 992982"/>
                      <a:gd name="connsiteY0" fmla="*/ 166688 h 297656"/>
                      <a:gd name="connsiteX1" fmla="*/ 109538 w 992982"/>
                      <a:gd name="connsiteY1" fmla="*/ 230981 h 297656"/>
                      <a:gd name="connsiteX2" fmla="*/ 114301 w 992982"/>
                      <a:gd name="connsiteY2" fmla="*/ 252413 h 297656"/>
                      <a:gd name="connsiteX3" fmla="*/ 142875 w 992982"/>
                      <a:gd name="connsiteY3" fmla="*/ 221456 h 297656"/>
                      <a:gd name="connsiteX4" fmla="*/ 216694 w 992982"/>
                      <a:gd name="connsiteY4" fmla="*/ 242887 h 297656"/>
                      <a:gd name="connsiteX5" fmla="*/ 233363 w 992982"/>
                      <a:gd name="connsiteY5" fmla="*/ 283369 h 297656"/>
                      <a:gd name="connsiteX6" fmla="*/ 247651 w 992982"/>
                      <a:gd name="connsiteY6" fmla="*/ 257175 h 297656"/>
                      <a:gd name="connsiteX7" fmla="*/ 307182 w 992982"/>
                      <a:gd name="connsiteY7" fmla="*/ 259556 h 297656"/>
                      <a:gd name="connsiteX8" fmla="*/ 371475 w 992982"/>
                      <a:gd name="connsiteY8" fmla="*/ 254794 h 297656"/>
                      <a:gd name="connsiteX9" fmla="*/ 381000 w 992982"/>
                      <a:gd name="connsiteY9" fmla="*/ 230981 h 297656"/>
                      <a:gd name="connsiteX10" fmla="*/ 388144 w 992982"/>
                      <a:gd name="connsiteY10" fmla="*/ 254794 h 297656"/>
                      <a:gd name="connsiteX11" fmla="*/ 438150 w 992982"/>
                      <a:gd name="connsiteY11" fmla="*/ 250031 h 297656"/>
                      <a:gd name="connsiteX12" fmla="*/ 504825 w 992982"/>
                      <a:gd name="connsiteY12" fmla="*/ 235744 h 297656"/>
                      <a:gd name="connsiteX13" fmla="*/ 528638 w 992982"/>
                      <a:gd name="connsiteY13" fmla="*/ 226219 h 297656"/>
                      <a:gd name="connsiteX14" fmla="*/ 528638 w 992982"/>
                      <a:gd name="connsiteY14" fmla="*/ 207169 h 297656"/>
                      <a:gd name="connsiteX15" fmla="*/ 523875 w 992982"/>
                      <a:gd name="connsiteY15" fmla="*/ 197644 h 297656"/>
                      <a:gd name="connsiteX16" fmla="*/ 531019 w 992982"/>
                      <a:gd name="connsiteY16" fmla="*/ 211931 h 297656"/>
                      <a:gd name="connsiteX17" fmla="*/ 538163 w 992982"/>
                      <a:gd name="connsiteY17" fmla="*/ 223837 h 297656"/>
                      <a:gd name="connsiteX18" fmla="*/ 602457 w 992982"/>
                      <a:gd name="connsiteY18" fmla="*/ 211931 h 297656"/>
                      <a:gd name="connsiteX19" fmla="*/ 673894 w 992982"/>
                      <a:gd name="connsiteY19" fmla="*/ 188119 h 297656"/>
                      <a:gd name="connsiteX20" fmla="*/ 676275 w 992982"/>
                      <a:gd name="connsiteY20" fmla="*/ 166687 h 297656"/>
                      <a:gd name="connsiteX21" fmla="*/ 690563 w 992982"/>
                      <a:gd name="connsiteY21" fmla="*/ 180975 h 297656"/>
                      <a:gd name="connsiteX22" fmla="*/ 740569 w 992982"/>
                      <a:gd name="connsiteY22" fmla="*/ 169069 h 297656"/>
                      <a:gd name="connsiteX23" fmla="*/ 821532 w 992982"/>
                      <a:gd name="connsiteY23" fmla="*/ 142875 h 297656"/>
                      <a:gd name="connsiteX24" fmla="*/ 816769 w 992982"/>
                      <a:gd name="connsiteY24" fmla="*/ 114300 h 297656"/>
                      <a:gd name="connsiteX25" fmla="*/ 828675 w 992982"/>
                      <a:gd name="connsiteY25" fmla="*/ 145256 h 297656"/>
                      <a:gd name="connsiteX26" fmla="*/ 859632 w 992982"/>
                      <a:gd name="connsiteY26" fmla="*/ 126206 h 297656"/>
                      <a:gd name="connsiteX27" fmla="*/ 923925 w 992982"/>
                      <a:gd name="connsiteY27" fmla="*/ 57150 h 297656"/>
                      <a:gd name="connsiteX28" fmla="*/ 992982 w 992982"/>
                      <a:gd name="connsiteY28" fmla="*/ 0 h 297656"/>
                      <a:gd name="connsiteX29" fmla="*/ 928688 w 992982"/>
                      <a:gd name="connsiteY29" fmla="*/ 64294 h 297656"/>
                      <a:gd name="connsiteX30" fmla="*/ 871538 w 992982"/>
                      <a:gd name="connsiteY30" fmla="*/ 121444 h 297656"/>
                      <a:gd name="connsiteX31" fmla="*/ 831057 w 992982"/>
                      <a:gd name="connsiteY31" fmla="*/ 150019 h 297656"/>
                      <a:gd name="connsiteX32" fmla="*/ 835819 w 992982"/>
                      <a:gd name="connsiteY32" fmla="*/ 176212 h 297656"/>
                      <a:gd name="connsiteX33" fmla="*/ 826294 w 992982"/>
                      <a:gd name="connsiteY33" fmla="*/ 152400 h 297656"/>
                      <a:gd name="connsiteX34" fmla="*/ 807244 w 992982"/>
                      <a:gd name="connsiteY34" fmla="*/ 152400 h 297656"/>
                      <a:gd name="connsiteX35" fmla="*/ 697707 w 992982"/>
                      <a:gd name="connsiteY35" fmla="*/ 185737 h 297656"/>
                      <a:gd name="connsiteX36" fmla="*/ 685800 w 992982"/>
                      <a:gd name="connsiteY36" fmla="*/ 195262 h 297656"/>
                      <a:gd name="connsiteX37" fmla="*/ 695325 w 992982"/>
                      <a:gd name="connsiteY37" fmla="*/ 223837 h 297656"/>
                      <a:gd name="connsiteX38" fmla="*/ 683419 w 992982"/>
                      <a:gd name="connsiteY38" fmla="*/ 197644 h 297656"/>
                      <a:gd name="connsiteX39" fmla="*/ 664369 w 992982"/>
                      <a:gd name="connsiteY39" fmla="*/ 197644 h 297656"/>
                      <a:gd name="connsiteX40" fmla="*/ 600075 w 992982"/>
                      <a:gd name="connsiteY40" fmla="*/ 214312 h 297656"/>
                      <a:gd name="connsiteX41" fmla="*/ 531019 w 992982"/>
                      <a:gd name="connsiteY41" fmla="*/ 233362 h 297656"/>
                      <a:gd name="connsiteX42" fmla="*/ 535782 w 992982"/>
                      <a:gd name="connsiteY42" fmla="*/ 261937 h 297656"/>
                      <a:gd name="connsiteX43" fmla="*/ 521494 w 992982"/>
                      <a:gd name="connsiteY43" fmla="*/ 235744 h 297656"/>
                      <a:gd name="connsiteX44" fmla="*/ 440532 w 992982"/>
                      <a:gd name="connsiteY44" fmla="*/ 252412 h 297656"/>
                      <a:gd name="connsiteX45" fmla="*/ 381000 w 992982"/>
                      <a:gd name="connsiteY45" fmla="*/ 261937 h 297656"/>
                      <a:gd name="connsiteX46" fmla="*/ 383382 w 992982"/>
                      <a:gd name="connsiteY46" fmla="*/ 297656 h 297656"/>
                      <a:gd name="connsiteX47" fmla="*/ 376238 w 992982"/>
                      <a:gd name="connsiteY47" fmla="*/ 257175 h 297656"/>
                      <a:gd name="connsiteX48" fmla="*/ 247650 w 992982"/>
                      <a:gd name="connsiteY48" fmla="*/ 247650 h 297656"/>
                      <a:gd name="connsiteX49" fmla="*/ 152401 w 992982"/>
                      <a:gd name="connsiteY49" fmla="*/ 233362 h 297656"/>
                      <a:gd name="connsiteX50" fmla="*/ 130970 w 992982"/>
                      <a:gd name="connsiteY50" fmla="*/ 195263 h 297656"/>
                      <a:gd name="connsiteX51" fmla="*/ 107157 w 992982"/>
                      <a:gd name="connsiteY51" fmla="*/ 197644 h 297656"/>
                      <a:gd name="connsiteX52" fmla="*/ 126207 w 992982"/>
                      <a:gd name="connsiteY52" fmla="*/ 209550 h 297656"/>
                      <a:gd name="connsiteX53" fmla="*/ 0 w 992982"/>
                      <a:gd name="connsiteY53" fmla="*/ 166688 h 297656"/>
                      <a:gd name="connsiteX0" fmla="*/ 0 w 992982"/>
                      <a:gd name="connsiteY0" fmla="*/ 166688 h 297656"/>
                      <a:gd name="connsiteX1" fmla="*/ 109538 w 992982"/>
                      <a:gd name="connsiteY1" fmla="*/ 230981 h 297656"/>
                      <a:gd name="connsiteX2" fmla="*/ 114301 w 992982"/>
                      <a:gd name="connsiteY2" fmla="*/ 252413 h 297656"/>
                      <a:gd name="connsiteX3" fmla="*/ 142875 w 992982"/>
                      <a:gd name="connsiteY3" fmla="*/ 221456 h 297656"/>
                      <a:gd name="connsiteX4" fmla="*/ 216694 w 992982"/>
                      <a:gd name="connsiteY4" fmla="*/ 242887 h 297656"/>
                      <a:gd name="connsiteX5" fmla="*/ 233363 w 992982"/>
                      <a:gd name="connsiteY5" fmla="*/ 283369 h 297656"/>
                      <a:gd name="connsiteX6" fmla="*/ 247651 w 992982"/>
                      <a:gd name="connsiteY6" fmla="*/ 257175 h 297656"/>
                      <a:gd name="connsiteX7" fmla="*/ 307182 w 992982"/>
                      <a:gd name="connsiteY7" fmla="*/ 259556 h 297656"/>
                      <a:gd name="connsiteX8" fmla="*/ 371475 w 992982"/>
                      <a:gd name="connsiteY8" fmla="*/ 254794 h 297656"/>
                      <a:gd name="connsiteX9" fmla="*/ 381000 w 992982"/>
                      <a:gd name="connsiteY9" fmla="*/ 230981 h 297656"/>
                      <a:gd name="connsiteX10" fmla="*/ 388144 w 992982"/>
                      <a:gd name="connsiteY10" fmla="*/ 254794 h 297656"/>
                      <a:gd name="connsiteX11" fmla="*/ 438150 w 992982"/>
                      <a:gd name="connsiteY11" fmla="*/ 250031 h 297656"/>
                      <a:gd name="connsiteX12" fmla="*/ 504825 w 992982"/>
                      <a:gd name="connsiteY12" fmla="*/ 235744 h 297656"/>
                      <a:gd name="connsiteX13" fmla="*/ 528638 w 992982"/>
                      <a:gd name="connsiteY13" fmla="*/ 226219 h 297656"/>
                      <a:gd name="connsiteX14" fmla="*/ 528638 w 992982"/>
                      <a:gd name="connsiteY14" fmla="*/ 207169 h 297656"/>
                      <a:gd name="connsiteX15" fmla="*/ 523875 w 992982"/>
                      <a:gd name="connsiteY15" fmla="*/ 197644 h 297656"/>
                      <a:gd name="connsiteX16" fmla="*/ 531019 w 992982"/>
                      <a:gd name="connsiteY16" fmla="*/ 211931 h 297656"/>
                      <a:gd name="connsiteX17" fmla="*/ 538163 w 992982"/>
                      <a:gd name="connsiteY17" fmla="*/ 223837 h 297656"/>
                      <a:gd name="connsiteX18" fmla="*/ 602457 w 992982"/>
                      <a:gd name="connsiteY18" fmla="*/ 211931 h 297656"/>
                      <a:gd name="connsiteX19" fmla="*/ 673894 w 992982"/>
                      <a:gd name="connsiteY19" fmla="*/ 188119 h 297656"/>
                      <a:gd name="connsiteX20" fmla="*/ 676275 w 992982"/>
                      <a:gd name="connsiteY20" fmla="*/ 166687 h 297656"/>
                      <a:gd name="connsiteX21" fmla="*/ 690563 w 992982"/>
                      <a:gd name="connsiteY21" fmla="*/ 180975 h 297656"/>
                      <a:gd name="connsiteX22" fmla="*/ 740569 w 992982"/>
                      <a:gd name="connsiteY22" fmla="*/ 169069 h 297656"/>
                      <a:gd name="connsiteX23" fmla="*/ 821532 w 992982"/>
                      <a:gd name="connsiteY23" fmla="*/ 142875 h 297656"/>
                      <a:gd name="connsiteX24" fmla="*/ 816769 w 992982"/>
                      <a:gd name="connsiteY24" fmla="*/ 114300 h 297656"/>
                      <a:gd name="connsiteX25" fmla="*/ 828675 w 992982"/>
                      <a:gd name="connsiteY25" fmla="*/ 145256 h 297656"/>
                      <a:gd name="connsiteX26" fmla="*/ 859632 w 992982"/>
                      <a:gd name="connsiteY26" fmla="*/ 126206 h 297656"/>
                      <a:gd name="connsiteX27" fmla="*/ 923925 w 992982"/>
                      <a:gd name="connsiteY27" fmla="*/ 57150 h 297656"/>
                      <a:gd name="connsiteX28" fmla="*/ 992982 w 992982"/>
                      <a:gd name="connsiteY28" fmla="*/ 0 h 297656"/>
                      <a:gd name="connsiteX29" fmla="*/ 928688 w 992982"/>
                      <a:gd name="connsiteY29" fmla="*/ 64294 h 297656"/>
                      <a:gd name="connsiteX30" fmla="*/ 871538 w 992982"/>
                      <a:gd name="connsiteY30" fmla="*/ 121444 h 297656"/>
                      <a:gd name="connsiteX31" fmla="*/ 831057 w 992982"/>
                      <a:gd name="connsiteY31" fmla="*/ 150019 h 297656"/>
                      <a:gd name="connsiteX32" fmla="*/ 835819 w 992982"/>
                      <a:gd name="connsiteY32" fmla="*/ 176212 h 297656"/>
                      <a:gd name="connsiteX33" fmla="*/ 826294 w 992982"/>
                      <a:gd name="connsiteY33" fmla="*/ 152400 h 297656"/>
                      <a:gd name="connsiteX34" fmla="*/ 807244 w 992982"/>
                      <a:gd name="connsiteY34" fmla="*/ 152400 h 297656"/>
                      <a:gd name="connsiteX35" fmla="*/ 697707 w 992982"/>
                      <a:gd name="connsiteY35" fmla="*/ 185737 h 297656"/>
                      <a:gd name="connsiteX36" fmla="*/ 685800 w 992982"/>
                      <a:gd name="connsiteY36" fmla="*/ 195262 h 297656"/>
                      <a:gd name="connsiteX37" fmla="*/ 695325 w 992982"/>
                      <a:gd name="connsiteY37" fmla="*/ 223837 h 297656"/>
                      <a:gd name="connsiteX38" fmla="*/ 683419 w 992982"/>
                      <a:gd name="connsiteY38" fmla="*/ 197644 h 297656"/>
                      <a:gd name="connsiteX39" fmla="*/ 664369 w 992982"/>
                      <a:gd name="connsiteY39" fmla="*/ 197644 h 297656"/>
                      <a:gd name="connsiteX40" fmla="*/ 600075 w 992982"/>
                      <a:gd name="connsiteY40" fmla="*/ 214312 h 297656"/>
                      <a:gd name="connsiteX41" fmla="*/ 531019 w 992982"/>
                      <a:gd name="connsiteY41" fmla="*/ 233362 h 297656"/>
                      <a:gd name="connsiteX42" fmla="*/ 535782 w 992982"/>
                      <a:gd name="connsiteY42" fmla="*/ 261937 h 297656"/>
                      <a:gd name="connsiteX43" fmla="*/ 521494 w 992982"/>
                      <a:gd name="connsiteY43" fmla="*/ 235744 h 297656"/>
                      <a:gd name="connsiteX44" fmla="*/ 440532 w 992982"/>
                      <a:gd name="connsiteY44" fmla="*/ 252412 h 297656"/>
                      <a:gd name="connsiteX45" fmla="*/ 381000 w 992982"/>
                      <a:gd name="connsiteY45" fmla="*/ 261937 h 297656"/>
                      <a:gd name="connsiteX46" fmla="*/ 383382 w 992982"/>
                      <a:gd name="connsiteY46" fmla="*/ 297656 h 297656"/>
                      <a:gd name="connsiteX47" fmla="*/ 376238 w 992982"/>
                      <a:gd name="connsiteY47" fmla="*/ 257175 h 297656"/>
                      <a:gd name="connsiteX48" fmla="*/ 247650 w 992982"/>
                      <a:gd name="connsiteY48" fmla="*/ 247650 h 297656"/>
                      <a:gd name="connsiteX49" fmla="*/ 152401 w 992982"/>
                      <a:gd name="connsiteY49" fmla="*/ 233362 h 297656"/>
                      <a:gd name="connsiteX50" fmla="*/ 130970 w 992982"/>
                      <a:gd name="connsiteY50" fmla="*/ 195263 h 297656"/>
                      <a:gd name="connsiteX51" fmla="*/ 183357 w 992982"/>
                      <a:gd name="connsiteY51" fmla="*/ 121444 h 297656"/>
                      <a:gd name="connsiteX52" fmla="*/ 126207 w 992982"/>
                      <a:gd name="connsiteY52" fmla="*/ 209550 h 297656"/>
                      <a:gd name="connsiteX53" fmla="*/ 0 w 992982"/>
                      <a:gd name="connsiteY53" fmla="*/ 166688 h 297656"/>
                      <a:gd name="connsiteX0" fmla="*/ 0 w 992982"/>
                      <a:gd name="connsiteY0" fmla="*/ 166688 h 297656"/>
                      <a:gd name="connsiteX1" fmla="*/ 109538 w 992982"/>
                      <a:gd name="connsiteY1" fmla="*/ 230981 h 297656"/>
                      <a:gd name="connsiteX2" fmla="*/ 114301 w 992982"/>
                      <a:gd name="connsiteY2" fmla="*/ 252413 h 297656"/>
                      <a:gd name="connsiteX3" fmla="*/ 142875 w 992982"/>
                      <a:gd name="connsiteY3" fmla="*/ 221456 h 297656"/>
                      <a:gd name="connsiteX4" fmla="*/ 216694 w 992982"/>
                      <a:gd name="connsiteY4" fmla="*/ 242887 h 297656"/>
                      <a:gd name="connsiteX5" fmla="*/ 233363 w 992982"/>
                      <a:gd name="connsiteY5" fmla="*/ 283369 h 297656"/>
                      <a:gd name="connsiteX6" fmla="*/ 247651 w 992982"/>
                      <a:gd name="connsiteY6" fmla="*/ 257175 h 297656"/>
                      <a:gd name="connsiteX7" fmla="*/ 307182 w 992982"/>
                      <a:gd name="connsiteY7" fmla="*/ 259556 h 297656"/>
                      <a:gd name="connsiteX8" fmla="*/ 371475 w 992982"/>
                      <a:gd name="connsiteY8" fmla="*/ 254794 h 297656"/>
                      <a:gd name="connsiteX9" fmla="*/ 381000 w 992982"/>
                      <a:gd name="connsiteY9" fmla="*/ 230981 h 297656"/>
                      <a:gd name="connsiteX10" fmla="*/ 388144 w 992982"/>
                      <a:gd name="connsiteY10" fmla="*/ 254794 h 297656"/>
                      <a:gd name="connsiteX11" fmla="*/ 438150 w 992982"/>
                      <a:gd name="connsiteY11" fmla="*/ 250031 h 297656"/>
                      <a:gd name="connsiteX12" fmla="*/ 504825 w 992982"/>
                      <a:gd name="connsiteY12" fmla="*/ 235744 h 297656"/>
                      <a:gd name="connsiteX13" fmla="*/ 528638 w 992982"/>
                      <a:gd name="connsiteY13" fmla="*/ 226219 h 297656"/>
                      <a:gd name="connsiteX14" fmla="*/ 528638 w 992982"/>
                      <a:gd name="connsiteY14" fmla="*/ 207169 h 297656"/>
                      <a:gd name="connsiteX15" fmla="*/ 523875 w 992982"/>
                      <a:gd name="connsiteY15" fmla="*/ 197644 h 297656"/>
                      <a:gd name="connsiteX16" fmla="*/ 531019 w 992982"/>
                      <a:gd name="connsiteY16" fmla="*/ 211931 h 297656"/>
                      <a:gd name="connsiteX17" fmla="*/ 538163 w 992982"/>
                      <a:gd name="connsiteY17" fmla="*/ 223837 h 297656"/>
                      <a:gd name="connsiteX18" fmla="*/ 602457 w 992982"/>
                      <a:gd name="connsiteY18" fmla="*/ 211931 h 297656"/>
                      <a:gd name="connsiteX19" fmla="*/ 673894 w 992982"/>
                      <a:gd name="connsiteY19" fmla="*/ 188119 h 297656"/>
                      <a:gd name="connsiteX20" fmla="*/ 676275 w 992982"/>
                      <a:gd name="connsiteY20" fmla="*/ 166687 h 297656"/>
                      <a:gd name="connsiteX21" fmla="*/ 690563 w 992982"/>
                      <a:gd name="connsiteY21" fmla="*/ 180975 h 297656"/>
                      <a:gd name="connsiteX22" fmla="*/ 740569 w 992982"/>
                      <a:gd name="connsiteY22" fmla="*/ 169069 h 297656"/>
                      <a:gd name="connsiteX23" fmla="*/ 821532 w 992982"/>
                      <a:gd name="connsiteY23" fmla="*/ 142875 h 297656"/>
                      <a:gd name="connsiteX24" fmla="*/ 816769 w 992982"/>
                      <a:gd name="connsiteY24" fmla="*/ 114300 h 297656"/>
                      <a:gd name="connsiteX25" fmla="*/ 828675 w 992982"/>
                      <a:gd name="connsiteY25" fmla="*/ 145256 h 297656"/>
                      <a:gd name="connsiteX26" fmla="*/ 859632 w 992982"/>
                      <a:gd name="connsiteY26" fmla="*/ 126206 h 297656"/>
                      <a:gd name="connsiteX27" fmla="*/ 923925 w 992982"/>
                      <a:gd name="connsiteY27" fmla="*/ 57150 h 297656"/>
                      <a:gd name="connsiteX28" fmla="*/ 992982 w 992982"/>
                      <a:gd name="connsiteY28" fmla="*/ 0 h 297656"/>
                      <a:gd name="connsiteX29" fmla="*/ 928688 w 992982"/>
                      <a:gd name="connsiteY29" fmla="*/ 64294 h 297656"/>
                      <a:gd name="connsiteX30" fmla="*/ 871538 w 992982"/>
                      <a:gd name="connsiteY30" fmla="*/ 121444 h 297656"/>
                      <a:gd name="connsiteX31" fmla="*/ 831057 w 992982"/>
                      <a:gd name="connsiteY31" fmla="*/ 150019 h 297656"/>
                      <a:gd name="connsiteX32" fmla="*/ 835819 w 992982"/>
                      <a:gd name="connsiteY32" fmla="*/ 176212 h 297656"/>
                      <a:gd name="connsiteX33" fmla="*/ 826294 w 992982"/>
                      <a:gd name="connsiteY33" fmla="*/ 152400 h 297656"/>
                      <a:gd name="connsiteX34" fmla="*/ 807244 w 992982"/>
                      <a:gd name="connsiteY34" fmla="*/ 152400 h 297656"/>
                      <a:gd name="connsiteX35" fmla="*/ 697707 w 992982"/>
                      <a:gd name="connsiteY35" fmla="*/ 185737 h 297656"/>
                      <a:gd name="connsiteX36" fmla="*/ 685800 w 992982"/>
                      <a:gd name="connsiteY36" fmla="*/ 195262 h 297656"/>
                      <a:gd name="connsiteX37" fmla="*/ 695325 w 992982"/>
                      <a:gd name="connsiteY37" fmla="*/ 223837 h 297656"/>
                      <a:gd name="connsiteX38" fmla="*/ 683419 w 992982"/>
                      <a:gd name="connsiteY38" fmla="*/ 197644 h 297656"/>
                      <a:gd name="connsiteX39" fmla="*/ 664369 w 992982"/>
                      <a:gd name="connsiteY39" fmla="*/ 197644 h 297656"/>
                      <a:gd name="connsiteX40" fmla="*/ 600075 w 992982"/>
                      <a:gd name="connsiteY40" fmla="*/ 214312 h 297656"/>
                      <a:gd name="connsiteX41" fmla="*/ 531019 w 992982"/>
                      <a:gd name="connsiteY41" fmla="*/ 233362 h 297656"/>
                      <a:gd name="connsiteX42" fmla="*/ 535782 w 992982"/>
                      <a:gd name="connsiteY42" fmla="*/ 261937 h 297656"/>
                      <a:gd name="connsiteX43" fmla="*/ 521494 w 992982"/>
                      <a:gd name="connsiteY43" fmla="*/ 235744 h 297656"/>
                      <a:gd name="connsiteX44" fmla="*/ 440532 w 992982"/>
                      <a:gd name="connsiteY44" fmla="*/ 252412 h 297656"/>
                      <a:gd name="connsiteX45" fmla="*/ 381000 w 992982"/>
                      <a:gd name="connsiteY45" fmla="*/ 261937 h 297656"/>
                      <a:gd name="connsiteX46" fmla="*/ 383382 w 992982"/>
                      <a:gd name="connsiteY46" fmla="*/ 297656 h 297656"/>
                      <a:gd name="connsiteX47" fmla="*/ 376238 w 992982"/>
                      <a:gd name="connsiteY47" fmla="*/ 257175 h 297656"/>
                      <a:gd name="connsiteX48" fmla="*/ 247650 w 992982"/>
                      <a:gd name="connsiteY48" fmla="*/ 247650 h 297656"/>
                      <a:gd name="connsiteX49" fmla="*/ 152401 w 992982"/>
                      <a:gd name="connsiteY49" fmla="*/ 233362 h 297656"/>
                      <a:gd name="connsiteX50" fmla="*/ 130970 w 992982"/>
                      <a:gd name="connsiteY50" fmla="*/ 195263 h 297656"/>
                      <a:gd name="connsiteX51" fmla="*/ 183357 w 992982"/>
                      <a:gd name="connsiteY51" fmla="*/ 121444 h 297656"/>
                      <a:gd name="connsiteX52" fmla="*/ 116682 w 992982"/>
                      <a:gd name="connsiteY52" fmla="*/ 221456 h 297656"/>
                      <a:gd name="connsiteX53" fmla="*/ 0 w 992982"/>
                      <a:gd name="connsiteY53" fmla="*/ 166688 h 297656"/>
                      <a:gd name="connsiteX0" fmla="*/ 0 w 992982"/>
                      <a:gd name="connsiteY0" fmla="*/ 166688 h 297656"/>
                      <a:gd name="connsiteX1" fmla="*/ 109538 w 992982"/>
                      <a:gd name="connsiteY1" fmla="*/ 230981 h 297656"/>
                      <a:gd name="connsiteX2" fmla="*/ 114301 w 992982"/>
                      <a:gd name="connsiteY2" fmla="*/ 252413 h 297656"/>
                      <a:gd name="connsiteX3" fmla="*/ 142875 w 992982"/>
                      <a:gd name="connsiteY3" fmla="*/ 221456 h 297656"/>
                      <a:gd name="connsiteX4" fmla="*/ 216694 w 992982"/>
                      <a:gd name="connsiteY4" fmla="*/ 242887 h 297656"/>
                      <a:gd name="connsiteX5" fmla="*/ 233363 w 992982"/>
                      <a:gd name="connsiteY5" fmla="*/ 283369 h 297656"/>
                      <a:gd name="connsiteX6" fmla="*/ 247651 w 992982"/>
                      <a:gd name="connsiteY6" fmla="*/ 257175 h 297656"/>
                      <a:gd name="connsiteX7" fmla="*/ 307182 w 992982"/>
                      <a:gd name="connsiteY7" fmla="*/ 259556 h 297656"/>
                      <a:gd name="connsiteX8" fmla="*/ 371475 w 992982"/>
                      <a:gd name="connsiteY8" fmla="*/ 254794 h 297656"/>
                      <a:gd name="connsiteX9" fmla="*/ 381000 w 992982"/>
                      <a:gd name="connsiteY9" fmla="*/ 230981 h 297656"/>
                      <a:gd name="connsiteX10" fmla="*/ 388144 w 992982"/>
                      <a:gd name="connsiteY10" fmla="*/ 254794 h 297656"/>
                      <a:gd name="connsiteX11" fmla="*/ 438150 w 992982"/>
                      <a:gd name="connsiteY11" fmla="*/ 250031 h 297656"/>
                      <a:gd name="connsiteX12" fmla="*/ 504825 w 992982"/>
                      <a:gd name="connsiteY12" fmla="*/ 235744 h 297656"/>
                      <a:gd name="connsiteX13" fmla="*/ 528638 w 992982"/>
                      <a:gd name="connsiteY13" fmla="*/ 226219 h 297656"/>
                      <a:gd name="connsiteX14" fmla="*/ 528638 w 992982"/>
                      <a:gd name="connsiteY14" fmla="*/ 207169 h 297656"/>
                      <a:gd name="connsiteX15" fmla="*/ 523875 w 992982"/>
                      <a:gd name="connsiteY15" fmla="*/ 197644 h 297656"/>
                      <a:gd name="connsiteX16" fmla="*/ 531019 w 992982"/>
                      <a:gd name="connsiteY16" fmla="*/ 211931 h 297656"/>
                      <a:gd name="connsiteX17" fmla="*/ 538163 w 992982"/>
                      <a:gd name="connsiteY17" fmla="*/ 223837 h 297656"/>
                      <a:gd name="connsiteX18" fmla="*/ 602457 w 992982"/>
                      <a:gd name="connsiteY18" fmla="*/ 211931 h 297656"/>
                      <a:gd name="connsiteX19" fmla="*/ 673894 w 992982"/>
                      <a:gd name="connsiteY19" fmla="*/ 188119 h 297656"/>
                      <a:gd name="connsiteX20" fmla="*/ 676275 w 992982"/>
                      <a:gd name="connsiteY20" fmla="*/ 166687 h 297656"/>
                      <a:gd name="connsiteX21" fmla="*/ 690563 w 992982"/>
                      <a:gd name="connsiteY21" fmla="*/ 180975 h 297656"/>
                      <a:gd name="connsiteX22" fmla="*/ 740569 w 992982"/>
                      <a:gd name="connsiteY22" fmla="*/ 169069 h 297656"/>
                      <a:gd name="connsiteX23" fmla="*/ 821532 w 992982"/>
                      <a:gd name="connsiteY23" fmla="*/ 142875 h 297656"/>
                      <a:gd name="connsiteX24" fmla="*/ 816769 w 992982"/>
                      <a:gd name="connsiteY24" fmla="*/ 114300 h 297656"/>
                      <a:gd name="connsiteX25" fmla="*/ 828675 w 992982"/>
                      <a:gd name="connsiteY25" fmla="*/ 145256 h 297656"/>
                      <a:gd name="connsiteX26" fmla="*/ 859632 w 992982"/>
                      <a:gd name="connsiteY26" fmla="*/ 126206 h 297656"/>
                      <a:gd name="connsiteX27" fmla="*/ 923925 w 992982"/>
                      <a:gd name="connsiteY27" fmla="*/ 57150 h 297656"/>
                      <a:gd name="connsiteX28" fmla="*/ 992982 w 992982"/>
                      <a:gd name="connsiteY28" fmla="*/ 0 h 297656"/>
                      <a:gd name="connsiteX29" fmla="*/ 928688 w 992982"/>
                      <a:gd name="connsiteY29" fmla="*/ 64294 h 297656"/>
                      <a:gd name="connsiteX30" fmla="*/ 871538 w 992982"/>
                      <a:gd name="connsiteY30" fmla="*/ 121444 h 297656"/>
                      <a:gd name="connsiteX31" fmla="*/ 831057 w 992982"/>
                      <a:gd name="connsiteY31" fmla="*/ 150019 h 297656"/>
                      <a:gd name="connsiteX32" fmla="*/ 835819 w 992982"/>
                      <a:gd name="connsiteY32" fmla="*/ 176212 h 297656"/>
                      <a:gd name="connsiteX33" fmla="*/ 826294 w 992982"/>
                      <a:gd name="connsiteY33" fmla="*/ 152400 h 297656"/>
                      <a:gd name="connsiteX34" fmla="*/ 807244 w 992982"/>
                      <a:gd name="connsiteY34" fmla="*/ 152400 h 297656"/>
                      <a:gd name="connsiteX35" fmla="*/ 697707 w 992982"/>
                      <a:gd name="connsiteY35" fmla="*/ 185737 h 297656"/>
                      <a:gd name="connsiteX36" fmla="*/ 685800 w 992982"/>
                      <a:gd name="connsiteY36" fmla="*/ 195262 h 297656"/>
                      <a:gd name="connsiteX37" fmla="*/ 695325 w 992982"/>
                      <a:gd name="connsiteY37" fmla="*/ 223837 h 297656"/>
                      <a:gd name="connsiteX38" fmla="*/ 683419 w 992982"/>
                      <a:gd name="connsiteY38" fmla="*/ 197644 h 297656"/>
                      <a:gd name="connsiteX39" fmla="*/ 664369 w 992982"/>
                      <a:gd name="connsiteY39" fmla="*/ 197644 h 297656"/>
                      <a:gd name="connsiteX40" fmla="*/ 600075 w 992982"/>
                      <a:gd name="connsiteY40" fmla="*/ 214312 h 297656"/>
                      <a:gd name="connsiteX41" fmla="*/ 531019 w 992982"/>
                      <a:gd name="connsiteY41" fmla="*/ 233362 h 297656"/>
                      <a:gd name="connsiteX42" fmla="*/ 535782 w 992982"/>
                      <a:gd name="connsiteY42" fmla="*/ 261937 h 297656"/>
                      <a:gd name="connsiteX43" fmla="*/ 521494 w 992982"/>
                      <a:gd name="connsiteY43" fmla="*/ 235744 h 297656"/>
                      <a:gd name="connsiteX44" fmla="*/ 440532 w 992982"/>
                      <a:gd name="connsiteY44" fmla="*/ 252412 h 297656"/>
                      <a:gd name="connsiteX45" fmla="*/ 381000 w 992982"/>
                      <a:gd name="connsiteY45" fmla="*/ 261937 h 297656"/>
                      <a:gd name="connsiteX46" fmla="*/ 383382 w 992982"/>
                      <a:gd name="connsiteY46" fmla="*/ 297656 h 297656"/>
                      <a:gd name="connsiteX47" fmla="*/ 376238 w 992982"/>
                      <a:gd name="connsiteY47" fmla="*/ 257175 h 297656"/>
                      <a:gd name="connsiteX48" fmla="*/ 247650 w 992982"/>
                      <a:gd name="connsiteY48" fmla="*/ 247650 h 297656"/>
                      <a:gd name="connsiteX49" fmla="*/ 152401 w 992982"/>
                      <a:gd name="connsiteY49" fmla="*/ 233362 h 297656"/>
                      <a:gd name="connsiteX50" fmla="*/ 130970 w 992982"/>
                      <a:gd name="connsiteY50" fmla="*/ 195263 h 297656"/>
                      <a:gd name="connsiteX51" fmla="*/ 140495 w 992982"/>
                      <a:gd name="connsiteY51" fmla="*/ 200025 h 297656"/>
                      <a:gd name="connsiteX52" fmla="*/ 116682 w 992982"/>
                      <a:gd name="connsiteY52" fmla="*/ 221456 h 297656"/>
                      <a:gd name="connsiteX53" fmla="*/ 0 w 992982"/>
                      <a:gd name="connsiteY53" fmla="*/ 166688 h 297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92982" h="297656">
                        <a:moveTo>
                          <a:pt x="0" y="166688"/>
                        </a:moveTo>
                        <a:lnTo>
                          <a:pt x="109538" y="230981"/>
                        </a:lnTo>
                        <a:lnTo>
                          <a:pt x="114301" y="252413"/>
                        </a:lnTo>
                        <a:lnTo>
                          <a:pt x="142875" y="221456"/>
                        </a:lnTo>
                        <a:lnTo>
                          <a:pt x="216694" y="242887"/>
                        </a:lnTo>
                        <a:cubicBezTo>
                          <a:pt x="246063" y="256381"/>
                          <a:pt x="227807" y="269875"/>
                          <a:pt x="233363" y="283369"/>
                        </a:cubicBezTo>
                        <a:lnTo>
                          <a:pt x="247651" y="257175"/>
                        </a:lnTo>
                        <a:lnTo>
                          <a:pt x="307182" y="259556"/>
                        </a:lnTo>
                        <a:lnTo>
                          <a:pt x="371475" y="254794"/>
                        </a:lnTo>
                        <a:lnTo>
                          <a:pt x="381000" y="230981"/>
                        </a:lnTo>
                        <a:lnTo>
                          <a:pt x="388144" y="254794"/>
                        </a:lnTo>
                        <a:lnTo>
                          <a:pt x="438150" y="250031"/>
                        </a:lnTo>
                        <a:lnTo>
                          <a:pt x="504825" y="235744"/>
                        </a:lnTo>
                        <a:lnTo>
                          <a:pt x="528638" y="226219"/>
                        </a:lnTo>
                        <a:lnTo>
                          <a:pt x="528638" y="207169"/>
                        </a:lnTo>
                        <a:lnTo>
                          <a:pt x="523875" y="197644"/>
                        </a:lnTo>
                        <a:lnTo>
                          <a:pt x="531019" y="211931"/>
                        </a:lnTo>
                        <a:lnTo>
                          <a:pt x="538163" y="223837"/>
                        </a:lnTo>
                        <a:lnTo>
                          <a:pt x="602457" y="211931"/>
                        </a:lnTo>
                        <a:lnTo>
                          <a:pt x="673894" y="188119"/>
                        </a:lnTo>
                        <a:lnTo>
                          <a:pt x="676275" y="166687"/>
                        </a:lnTo>
                        <a:lnTo>
                          <a:pt x="690563" y="180975"/>
                        </a:lnTo>
                        <a:lnTo>
                          <a:pt x="740569" y="169069"/>
                        </a:lnTo>
                        <a:lnTo>
                          <a:pt x="821532" y="142875"/>
                        </a:lnTo>
                        <a:lnTo>
                          <a:pt x="816769" y="114300"/>
                        </a:lnTo>
                        <a:lnTo>
                          <a:pt x="828675" y="145256"/>
                        </a:lnTo>
                        <a:lnTo>
                          <a:pt x="859632" y="126206"/>
                        </a:lnTo>
                        <a:lnTo>
                          <a:pt x="923925" y="57150"/>
                        </a:lnTo>
                        <a:lnTo>
                          <a:pt x="992982" y="0"/>
                        </a:lnTo>
                        <a:lnTo>
                          <a:pt x="928688" y="64294"/>
                        </a:lnTo>
                        <a:lnTo>
                          <a:pt x="871538" y="121444"/>
                        </a:lnTo>
                        <a:lnTo>
                          <a:pt x="831057" y="150019"/>
                        </a:lnTo>
                        <a:lnTo>
                          <a:pt x="835819" y="176212"/>
                        </a:lnTo>
                        <a:lnTo>
                          <a:pt x="826294" y="152400"/>
                        </a:lnTo>
                        <a:lnTo>
                          <a:pt x="807244" y="152400"/>
                        </a:lnTo>
                        <a:lnTo>
                          <a:pt x="697707" y="185737"/>
                        </a:lnTo>
                        <a:lnTo>
                          <a:pt x="685800" y="195262"/>
                        </a:lnTo>
                        <a:lnTo>
                          <a:pt x="695325" y="223837"/>
                        </a:lnTo>
                        <a:lnTo>
                          <a:pt x="683419" y="197644"/>
                        </a:lnTo>
                        <a:lnTo>
                          <a:pt x="664369" y="197644"/>
                        </a:lnTo>
                        <a:lnTo>
                          <a:pt x="600075" y="214312"/>
                        </a:lnTo>
                        <a:lnTo>
                          <a:pt x="531019" y="233362"/>
                        </a:lnTo>
                        <a:lnTo>
                          <a:pt x="535782" y="261937"/>
                        </a:lnTo>
                        <a:lnTo>
                          <a:pt x="521494" y="235744"/>
                        </a:lnTo>
                        <a:lnTo>
                          <a:pt x="440532" y="252412"/>
                        </a:lnTo>
                        <a:lnTo>
                          <a:pt x="381000" y="261937"/>
                        </a:lnTo>
                        <a:lnTo>
                          <a:pt x="383382" y="297656"/>
                        </a:lnTo>
                        <a:lnTo>
                          <a:pt x="376238" y="257175"/>
                        </a:lnTo>
                        <a:lnTo>
                          <a:pt x="247650" y="247650"/>
                        </a:lnTo>
                        <a:cubicBezTo>
                          <a:pt x="212725" y="238919"/>
                          <a:pt x="171848" y="242093"/>
                          <a:pt x="152401" y="233362"/>
                        </a:cubicBezTo>
                        <a:cubicBezTo>
                          <a:pt x="132954" y="224631"/>
                          <a:pt x="140892" y="196453"/>
                          <a:pt x="130970" y="195263"/>
                        </a:cubicBezTo>
                        <a:lnTo>
                          <a:pt x="140495" y="200025"/>
                        </a:lnTo>
                        <a:lnTo>
                          <a:pt x="116682" y="221456"/>
                        </a:lnTo>
                        <a:lnTo>
                          <a:pt x="0" y="16668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61" name="Freeform 260"/>
                  <p:cNvSpPr/>
                  <p:nvPr/>
                </p:nvSpPr>
                <p:spPr>
                  <a:xfrm>
                    <a:off x="4644034" y="953915"/>
                    <a:ext cx="331548" cy="353249"/>
                  </a:xfrm>
                  <a:custGeom>
                    <a:avLst/>
                    <a:gdLst>
                      <a:gd name="connsiteX0" fmla="*/ 0 w 1746250"/>
                      <a:gd name="connsiteY0" fmla="*/ 1047750 h 1860550"/>
                      <a:gd name="connsiteX1" fmla="*/ 155575 w 1746250"/>
                      <a:gd name="connsiteY1" fmla="*/ 1270000 h 1860550"/>
                      <a:gd name="connsiteX2" fmla="*/ 330200 w 1746250"/>
                      <a:gd name="connsiteY2" fmla="*/ 1476375 h 1860550"/>
                      <a:gd name="connsiteX3" fmla="*/ 488950 w 1746250"/>
                      <a:gd name="connsiteY3" fmla="*/ 1625600 h 1860550"/>
                      <a:gd name="connsiteX4" fmla="*/ 673100 w 1746250"/>
                      <a:gd name="connsiteY4" fmla="*/ 1752600 h 1860550"/>
                      <a:gd name="connsiteX5" fmla="*/ 898525 w 1746250"/>
                      <a:gd name="connsiteY5" fmla="*/ 1844675 h 1860550"/>
                      <a:gd name="connsiteX6" fmla="*/ 1047750 w 1746250"/>
                      <a:gd name="connsiteY6" fmla="*/ 1860550 h 1860550"/>
                      <a:gd name="connsiteX7" fmla="*/ 1266825 w 1746250"/>
                      <a:gd name="connsiteY7" fmla="*/ 1793875 h 1860550"/>
                      <a:gd name="connsiteX8" fmla="*/ 1492250 w 1746250"/>
                      <a:gd name="connsiteY8" fmla="*/ 1609725 h 1860550"/>
                      <a:gd name="connsiteX9" fmla="*/ 1730375 w 1746250"/>
                      <a:gd name="connsiteY9" fmla="*/ 1263650 h 1860550"/>
                      <a:gd name="connsiteX10" fmla="*/ 1746250 w 1746250"/>
                      <a:gd name="connsiteY10" fmla="*/ 1066800 h 1860550"/>
                      <a:gd name="connsiteX11" fmla="*/ 1714500 w 1746250"/>
                      <a:gd name="connsiteY11" fmla="*/ 952500 h 1860550"/>
                      <a:gd name="connsiteX12" fmla="*/ 1679575 w 1746250"/>
                      <a:gd name="connsiteY12" fmla="*/ 536575 h 1860550"/>
                      <a:gd name="connsiteX13" fmla="*/ 1692275 w 1746250"/>
                      <a:gd name="connsiteY13" fmla="*/ 203200 h 1860550"/>
                      <a:gd name="connsiteX14" fmla="*/ 1720850 w 1746250"/>
                      <a:gd name="connsiteY14" fmla="*/ 0 h 1860550"/>
                      <a:gd name="connsiteX15" fmla="*/ 1622425 w 1746250"/>
                      <a:gd name="connsiteY15" fmla="*/ 276225 h 1860550"/>
                      <a:gd name="connsiteX16" fmla="*/ 1536700 w 1746250"/>
                      <a:gd name="connsiteY16" fmla="*/ 434975 h 1860550"/>
                      <a:gd name="connsiteX17" fmla="*/ 1282700 w 1746250"/>
                      <a:gd name="connsiteY17" fmla="*/ 749300 h 1860550"/>
                      <a:gd name="connsiteX18" fmla="*/ 1111250 w 1746250"/>
                      <a:gd name="connsiteY18" fmla="*/ 895350 h 1860550"/>
                      <a:gd name="connsiteX19" fmla="*/ 984250 w 1746250"/>
                      <a:gd name="connsiteY19" fmla="*/ 987425 h 1860550"/>
                      <a:gd name="connsiteX20" fmla="*/ 765175 w 1746250"/>
                      <a:gd name="connsiteY20" fmla="*/ 1098550 h 1860550"/>
                      <a:gd name="connsiteX21" fmla="*/ 574675 w 1746250"/>
                      <a:gd name="connsiteY21" fmla="*/ 1177925 h 1860550"/>
                      <a:gd name="connsiteX22" fmla="*/ 412750 w 1746250"/>
                      <a:gd name="connsiteY22" fmla="*/ 1193800 h 1860550"/>
                      <a:gd name="connsiteX23" fmla="*/ 241300 w 1746250"/>
                      <a:gd name="connsiteY23" fmla="*/ 1193800 h 1860550"/>
                      <a:gd name="connsiteX24" fmla="*/ 101600 w 1746250"/>
                      <a:gd name="connsiteY24" fmla="*/ 1123950 h 1860550"/>
                      <a:gd name="connsiteX25" fmla="*/ 50800 w 1746250"/>
                      <a:gd name="connsiteY25" fmla="*/ 1085850 h 1860550"/>
                      <a:gd name="connsiteX26" fmla="*/ 0 w 1746250"/>
                      <a:gd name="connsiteY26" fmla="*/ 1047750 h 186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46250" h="1860550">
                        <a:moveTo>
                          <a:pt x="0" y="1047750"/>
                        </a:moveTo>
                        <a:lnTo>
                          <a:pt x="155575" y="1270000"/>
                        </a:lnTo>
                        <a:lnTo>
                          <a:pt x="330200" y="1476375"/>
                        </a:lnTo>
                        <a:lnTo>
                          <a:pt x="488950" y="1625600"/>
                        </a:lnTo>
                        <a:lnTo>
                          <a:pt x="673100" y="1752600"/>
                        </a:lnTo>
                        <a:lnTo>
                          <a:pt x="898525" y="1844675"/>
                        </a:lnTo>
                        <a:lnTo>
                          <a:pt x="1047750" y="1860550"/>
                        </a:lnTo>
                        <a:lnTo>
                          <a:pt x="1266825" y="1793875"/>
                        </a:lnTo>
                        <a:lnTo>
                          <a:pt x="1492250" y="1609725"/>
                        </a:lnTo>
                        <a:lnTo>
                          <a:pt x="1730375" y="1263650"/>
                        </a:lnTo>
                        <a:lnTo>
                          <a:pt x="1746250" y="1066800"/>
                        </a:lnTo>
                        <a:lnTo>
                          <a:pt x="1714500" y="952500"/>
                        </a:lnTo>
                        <a:cubicBezTo>
                          <a:pt x="1702769" y="813866"/>
                          <a:pt x="1679575" y="675705"/>
                          <a:pt x="1679575" y="536575"/>
                        </a:cubicBezTo>
                        <a:lnTo>
                          <a:pt x="1692275" y="203200"/>
                        </a:lnTo>
                        <a:lnTo>
                          <a:pt x="1720850" y="0"/>
                        </a:lnTo>
                        <a:lnTo>
                          <a:pt x="1622425" y="276225"/>
                        </a:lnTo>
                        <a:lnTo>
                          <a:pt x="1536700" y="434975"/>
                        </a:lnTo>
                        <a:lnTo>
                          <a:pt x="1282700" y="749300"/>
                        </a:lnTo>
                        <a:lnTo>
                          <a:pt x="1111250" y="895350"/>
                        </a:lnTo>
                        <a:lnTo>
                          <a:pt x="984250" y="987425"/>
                        </a:lnTo>
                        <a:lnTo>
                          <a:pt x="765175" y="1098550"/>
                        </a:lnTo>
                        <a:lnTo>
                          <a:pt x="574675" y="1177925"/>
                        </a:lnTo>
                        <a:lnTo>
                          <a:pt x="412750" y="1193800"/>
                        </a:lnTo>
                        <a:lnTo>
                          <a:pt x="241300" y="1193800"/>
                        </a:lnTo>
                        <a:lnTo>
                          <a:pt x="101600" y="1123950"/>
                        </a:lnTo>
                        <a:lnTo>
                          <a:pt x="50800" y="1085850"/>
                        </a:lnTo>
                        <a:lnTo>
                          <a:pt x="0" y="104775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grpSp>
          <p:sp>
            <p:nvSpPr>
              <p:cNvPr id="188" name="Freeform 187"/>
              <p:cNvSpPr/>
              <p:nvPr/>
            </p:nvSpPr>
            <p:spPr>
              <a:xfrm>
                <a:off x="4819452" y="6147766"/>
                <a:ext cx="402831" cy="634034"/>
              </a:xfrm>
              <a:custGeom>
                <a:avLst/>
                <a:gdLst>
                  <a:gd name="connsiteX0" fmla="*/ 76200 w 2286000"/>
                  <a:gd name="connsiteY0" fmla="*/ 0 h 3238500"/>
                  <a:gd name="connsiteX1" fmla="*/ 0 w 2286000"/>
                  <a:gd name="connsiteY1" fmla="*/ 571500 h 3238500"/>
                  <a:gd name="connsiteX2" fmla="*/ 76200 w 2286000"/>
                  <a:gd name="connsiteY2" fmla="*/ 1219200 h 3238500"/>
                  <a:gd name="connsiteX3" fmla="*/ 76200 w 2286000"/>
                  <a:gd name="connsiteY3" fmla="*/ 1790700 h 3238500"/>
                  <a:gd name="connsiteX4" fmla="*/ 304800 w 2286000"/>
                  <a:gd name="connsiteY4" fmla="*/ 1714500 h 3238500"/>
                  <a:gd name="connsiteX5" fmla="*/ 304800 w 2286000"/>
                  <a:gd name="connsiteY5" fmla="*/ 1371600 h 3238500"/>
                  <a:gd name="connsiteX6" fmla="*/ 609600 w 2286000"/>
                  <a:gd name="connsiteY6" fmla="*/ 1524000 h 3238500"/>
                  <a:gd name="connsiteX7" fmla="*/ 457200 w 2286000"/>
                  <a:gd name="connsiteY7" fmla="*/ 2133600 h 3238500"/>
                  <a:gd name="connsiteX8" fmla="*/ 952500 w 2286000"/>
                  <a:gd name="connsiteY8" fmla="*/ 2743200 h 3238500"/>
                  <a:gd name="connsiteX9" fmla="*/ 1524000 w 2286000"/>
                  <a:gd name="connsiteY9" fmla="*/ 3238500 h 3238500"/>
                  <a:gd name="connsiteX10" fmla="*/ 1905000 w 2286000"/>
                  <a:gd name="connsiteY10" fmla="*/ 2971800 h 3238500"/>
                  <a:gd name="connsiteX11" fmla="*/ 2286000 w 2286000"/>
                  <a:gd name="connsiteY11" fmla="*/ 1828800 h 3238500"/>
                  <a:gd name="connsiteX12" fmla="*/ 1943100 w 2286000"/>
                  <a:gd name="connsiteY12" fmla="*/ 914400 h 3238500"/>
                  <a:gd name="connsiteX13" fmla="*/ 1790700 w 2286000"/>
                  <a:gd name="connsiteY13" fmla="*/ 76200 h 3238500"/>
                  <a:gd name="connsiteX14" fmla="*/ 1257300 w 2286000"/>
                  <a:gd name="connsiteY14" fmla="*/ 228600 h 3238500"/>
                  <a:gd name="connsiteX15" fmla="*/ 76200 w 2286000"/>
                  <a:gd name="connsiteY15" fmla="*/ 0 h 3238500"/>
                  <a:gd name="connsiteX0" fmla="*/ 76200 w 2286000"/>
                  <a:gd name="connsiteY0" fmla="*/ 0 h 3238500"/>
                  <a:gd name="connsiteX1" fmla="*/ 0 w 2286000"/>
                  <a:gd name="connsiteY1" fmla="*/ 571500 h 3238500"/>
                  <a:gd name="connsiteX2" fmla="*/ 76200 w 2286000"/>
                  <a:gd name="connsiteY2" fmla="*/ 1219200 h 3238500"/>
                  <a:gd name="connsiteX3" fmla="*/ 76200 w 2286000"/>
                  <a:gd name="connsiteY3" fmla="*/ 1790700 h 3238500"/>
                  <a:gd name="connsiteX4" fmla="*/ 457200 w 2286000"/>
                  <a:gd name="connsiteY4" fmla="*/ 1714500 h 3238500"/>
                  <a:gd name="connsiteX5" fmla="*/ 304800 w 2286000"/>
                  <a:gd name="connsiteY5" fmla="*/ 1371600 h 3238500"/>
                  <a:gd name="connsiteX6" fmla="*/ 609600 w 2286000"/>
                  <a:gd name="connsiteY6" fmla="*/ 1524000 h 3238500"/>
                  <a:gd name="connsiteX7" fmla="*/ 457200 w 2286000"/>
                  <a:gd name="connsiteY7" fmla="*/ 2133600 h 3238500"/>
                  <a:gd name="connsiteX8" fmla="*/ 952500 w 2286000"/>
                  <a:gd name="connsiteY8" fmla="*/ 2743200 h 3238500"/>
                  <a:gd name="connsiteX9" fmla="*/ 1524000 w 2286000"/>
                  <a:gd name="connsiteY9" fmla="*/ 3238500 h 3238500"/>
                  <a:gd name="connsiteX10" fmla="*/ 1905000 w 2286000"/>
                  <a:gd name="connsiteY10" fmla="*/ 2971800 h 3238500"/>
                  <a:gd name="connsiteX11" fmla="*/ 2286000 w 2286000"/>
                  <a:gd name="connsiteY11" fmla="*/ 1828800 h 3238500"/>
                  <a:gd name="connsiteX12" fmla="*/ 1943100 w 2286000"/>
                  <a:gd name="connsiteY12" fmla="*/ 914400 h 3238500"/>
                  <a:gd name="connsiteX13" fmla="*/ 1790700 w 2286000"/>
                  <a:gd name="connsiteY13" fmla="*/ 76200 h 3238500"/>
                  <a:gd name="connsiteX14" fmla="*/ 1257300 w 2286000"/>
                  <a:gd name="connsiteY14" fmla="*/ 228600 h 3238500"/>
                  <a:gd name="connsiteX15" fmla="*/ 76200 w 2286000"/>
                  <a:gd name="connsiteY15" fmla="*/ 0 h 3238500"/>
                  <a:gd name="connsiteX0" fmla="*/ 76200 w 2286000"/>
                  <a:gd name="connsiteY0" fmla="*/ 0 h 3238500"/>
                  <a:gd name="connsiteX1" fmla="*/ 0 w 2286000"/>
                  <a:gd name="connsiteY1" fmla="*/ 571500 h 3238500"/>
                  <a:gd name="connsiteX2" fmla="*/ 76200 w 2286000"/>
                  <a:gd name="connsiteY2" fmla="*/ 1219200 h 3238500"/>
                  <a:gd name="connsiteX3" fmla="*/ 76200 w 2286000"/>
                  <a:gd name="connsiteY3" fmla="*/ 1790700 h 3238500"/>
                  <a:gd name="connsiteX4" fmla="*/ 457200 w 2286000"/>
                  <a:gd name="connsiteY4" fmla="*/ 1714500 h 3238500"/>
                  <a:gd name="connsiteX5" fmla="*/ 304800 w 2286000"/>
                  <a:gd name="connsiteY5" fmla="*/ 1371600 h 3238500"/>
                  <a:gd name="connsiteX6" fmla="*/ 609600 w 2286000"/>
                  <a:gd name="connsiteY6" fmla="*/ 1524000 h 3238500"/>
                  <a:gd name="connsiteX7" fmla="*/ 457200 w 2286000"/>
                  <a:gd name="connsiteY7" fmla="*/ 2133600 h 3238500"/>
                  <a:gd name="connsiteX8" fmla="*/ 952500 w 2286000"/>
                  <a:gd name="connsiteY8" fmla="*/ 2743200 h 3238500"/>
                  <a:gd name="connsiteX9" fmla="*/ 1524000 w 2286000"/>
                  <a:gd name="connsiteY9" fmla="*/ 3238500 h 3238500"/>
                  <a:gd name="connsiteX10" fmla="*/ 1905000 w 2286000"/>
                  <a:gd name="connsiteY10" fmla="*/ 2971800 h 3238500"/>
                  <a:gd name="connsiteX11" fmla="*/ 2286000 w 2286000"/>
                  <a:gd name="connsiteY11" fmla="*/ 1828800 h 3238500"/>
                  <a:gd name="connsiteX12" fmla="*/ 1943100 w 2286000"/>
                  <a:gd name="connsiteY12" fmla="*/ 914400 h 3238500"/>
                  <a:gd name="connsiteX13" fmla="*/ 1790700 w 2286000"/>
                  <a:gd name="connsiteY13" fmla="*/ 76200 h 3238500"/>
                  <a:gd name="connsiteX14" fmla="*/ 1257300 w 2286000"/>
                  <a:gd name="connsiteY14" fmla="*/ 228600 h 3238500"/>
                  <a:gd name="connsiteX15" fmla="*/ 76200 w 2286000"/>
                  <a:gd name="connsiteY15" fmla="*/ 0 h 3238500"/>
                  <a:gd name="connsiteX0" fmla="*/ 76200 w 2286000"/>
                  <a:gd name="connsiteY0" fmla="*/ 0 h 3238500"/>
                  <a:gd name="connsiteX1" fmla="*/ 0 w 2286000"/>
                  <a:gd name="connsiteY1" fmla="*/ 571500 h 3238500"/>
                  <a:gd name="connsiteX2" fmla="*/ 76200 w 2286000"/>
                  <a:gd name="connsiteY2" fmla="*/ 1219200 h 3238500"/>
                  <a:gd name="connsiteX3" fmla="*/ 228600 w 2286000"/>
                  <a:gd name="connsiteY3" fmla="*/ 1790700 h 3238500"/>
                  <a:gd name="connsiteX4" fmla="*/ 457200 w 2286000"/>
                  <a:gd name="connsiteY4" fmla="*/ 1714500 h 3238500"/>
                  <a:gd name="connsiteX5" fmla="*/ 304800 w 2286000"/>
                  <a:gd name="connsiteY5" fmla="*/ 1371600 h 3238500"/>
                  <a:gd name="connsiteX6" fmla="*/ 609600 w 2286000"/>
                  <a:gd name="connsiteY6" fmla="*/ 1524000 h 3238500"/>
                  <a:gd name="connsiteX7" fmla="*/ 457200 w 2286000"/>
                  <a:gd name="connsiteY7" fmla="*/ 2133600 h 3238500"/>
                  <a:gd name="connsiteX8" fmla="*/ 952500 w 2286000"/>
                  <a:gd name="connsiteY8" fmla="*/ 2743200 h 3238500"/>
                  <a:gd name="connsiteX9" fmla="*/ 1524000 w 2286000"/>
                  <a:gd name="connsiteY9" fmla="*/ 3238500 h 3238500"/>
                  <a:gd name="connsiteX10" fmla="*/ 1905000 w 2286000"/>
                  <a:gd name="connsiteY10" fmla="*/ 2971800 h 3238500"/>
                  <a:gd name="connsiteX11" fmla="*/ 2286000 w 2286000"/>
                  <a:gd name="connsiteY11" fmla="*/ 1828800 h 3238500"/>
                  <a:gd name="connsiteX12" fmla="*/ 1943100 w 2286000"/>
                  <a:gd name="connsiteY12" fmla="*/ 914400 h 3238500"/>
                  <a:gd name="connsiteX13" fmla="*/ 1790700 w 2286000"/>
                  <a:gd name="connsiteY13" fmla="*/ 76200 h 3238500"/>
                  <a:gd name="connsiteX14" fmla="*/ 1257300 w 2286000"/>
                  <a:gd name="connsiteY14" fmla="*/ 228600 h 3238500"/>
                  <a:gd name="connsiteX15" fmla="*/ 76200 w 2286000"/>
                  <a:gd name="connsiteY15" fmla="*/ 0 h 3238500"/>
                  <a:gd name="connsiteX0" fmla="*/ 76200 w 2286000"/>
                  <a:gd name="connsiteY0" fmla="*/ 0 h 3238500"/>
                  <a:gd name="connsiteX1" fmla="*/ 0 w 2286000"/>
                  <a:gd name="connsiteY1" fmla="*/ 571500 h 3238500"/>
                  <a:gd name="connsiteX2" fmla="*/ 76200 w 2286000"/>
                  <a:gd name="connsiteY2" fmla="*/ 1219200 h 3238500"/>
                  <a:gd name="connsiteX3" fmla="*/ 228600 w 2286000"/>
                  <a:gd name="connsiteY3" fmla="*/ 1790700 h 3238500"/>
                  <a:gd name="connsiteX4" fmla="*/ 457200 w 2286000"/>
                  <a:gd name="connsiteY4" fmla="*/ 1714500 h 3238500"/>
                  <a:gd name="connsiteX5" fmla="*/ 609600 w 2286000"/>
                  <a:gd name="connsiteY5" fmla="*/ 1371600 h 3238500"/>
                  <a:gd name="connsiteX6" fmla="*/ 609600 w 2286000"/>
                  <a:gd name="connsiteY6" fmla="*/ 1524000 h 3238500"/>
                  <a:gd name="connsiteX7" fmla="*/ 457200 w 2286000"/>
                  <a:gd name="connsiteY7" fmla="*/ 2133600 h 3238500"/>
                  <a:gd name="connsiteX8" fmla="*/ 952500 w 2286000"/>
                  <a:gd name="connsiteY8" fmla="*/ 2743200 h 3238500"/>
                  <a:gd name="connsiteX9" fmla="*/ 1524000 w 2286000"/>
                  <a:gd name="connsiteY9" fmla="*/ 3238500 h 3238500"/>
                  <a:gd name="connsiteX10" fmla="*/ 1905000 w 2286000"/>
                  <a:gd name="connsiteY10" fmla="*/ 2971800 h 3238500"/>
                  <a:gd name="connsiteX11" fmla="*/ 2286000 w 2286000"/>
                  <a:gd name="connsiteY11" fmla="*/ 1828800 h 3238500"/>
                  <a:gd name="connsiteX12" fmla="*/ 1943100 w 2286000"/>
                  <a:gd name="connsiteY12" fmla="*/ 914400 h 3238500"/>
                  <a:gd name="connsiteX13" fmla="*/ 1790700 w 2286000"/>
                  <a:gd name="connsiteY13" fmla="*/ 76200 h 3238500"/>
                  <a:gd name="connsiteX14" fmla="*/ 1257300 w 2286000"/>
                  <a:gd name="connsiteY14" fmla="*/ 228600 h 3238500"/>
                  <a:gd name="connsiteX15" fmla="*/ 76200 w 2286000"/>
                  <a:gd name="connsiteY15" fmla="*/ 0 h 3238500"/>
                  <a:gd name="connsiteX0" fmla="*/ 76200 w 2286000"/>
                  <a:gd name="connsiteY0" fmla="*/ 1814 h 3240314"/>
                  <a:gd name="connsiteX1" fmla="*/ 0 w 2286000"/>
                  <a:gd name="connsiteY1" fmla="*/ 573314 h 3240314"/>
                  <a:gd name="connsiteX2" fmla="*/ 76200 w 2286000"/>
                  <a:gd name="connsiteY2" fmla="*/ 1221014 h 3240314"/>
                  <a:gd name="connsiteX3" fmla="*/ 228600 w 2286000"/>
                  <a:gd name="connsiteY3" fmla="*/ 1792514 h 3240314"/>
                  <a:gd name="connsiteX4" fmla="*/ 457200 w 2286000"/>
                  <a:gd name="connsiteY4" fmla="*/ 1716314 h 3240314"/>
                  <a:gd name="connsiteX5" fmla="*/ 609600 w 2286000"/>
                  <a:gd name="connsiteY5" fmla="*/ 1373414 h 3240314"/>
                  <a:gd name="connsiteX6" fmla="*/ 609600 w 2286000"/>
                  <a:gd name="connsiteY6" fmla="*/ 1525814 h 3240314"/>
                  <a:gd name="connsiteX7" fmla="*/ 457200 w 2286000"/>
                  <a:gd name="connsiteY7" fmla="*/ 2135414 h 3240314"/>
                  <a:gd name="connsiteX8" fmla="*/ 952500 w 2286000"/>
                  <a:gd name="connsiteY8" fmla="*/ 2745014 h 3240314"/>
                  <a:gd name="connsiteX9" fmla="*/ 1524000 w 2286000"/>
                  <a:gd name="connsiteY9" fmla="*/ 3240314 h 3240314"/>
                  <a:gd name="connsiteX10" fmla="*/ 1905000 w 2286000"/>
                  <a:gd name="connsiteY10" fmla="*/ 2973614 h 3240314"/>
                  <a:gd name="connsiteX11" fmla="*/ 2286000 w 2286000"/>
                  <a:gd name="connsiteY11" fmla="*/ 1830614 h 3240314"/>
                  <a:gd name="connsiteX12" fmla="*/ 1943100 w 2286000"/>
                  <a:gd name="connsiteY12" fmla="*/ 916214 h 3240314"/>
                  <a:gd name="connsiteX13" fmla="*/ 1790700 w 2286000"/>
                  <a:gd name="connsiteY13" fmla="*/ 78014 h 3240314"/>
                  <a:gd name="connsiteX14" fmla="*/ 1257300 w 2286000"/>
                  <a:gd name="connsiteY14" fmla="*/ 230414 h 3240314"/>
                  <a:gd name="connsiteX15" fmla="*/ 1248229 w 2286000"/>
                  <a:gd name="connsiteY15" fmla="*/ 0 h 3240314"/>
                  <a:gd name="connsiteX16" fmla="*/ 76200 w 2286000"/>
                  <a:gd name="connsiteY16" fmla="*/ 1814 h 3240314"/>
                  <a:gd name="connsiteX0" fmla="*/ 381000 w 2286000"/>
                  <a:gd name="connsiteY0" fmla="*/ 1814 h 3240314"/>
                  <a:gd name="connsiteX1" fmla="*/ 0 w 2286000"/>
                  <a:gd name="connsiteY1" fmla="*/ 573314 h 3240314"/>
                  <a:gd name="connsiteX2" fmla="*/ 76200 w 2286000"/>
                  <a:gd name="connsiteY2" fmla="*/ 1221014 h 3240314"/>
                  <a:gd name="connsiteX3" fmla="*/ 228600 w 2286000"/>
                  <a:gd name="connsiteY3" fmla="*/ 1792514 h 3240314"/>
                  <a:gd name="connsiteX4" fmla="*/ 457200 w 2286000"/>
                  <a:gd name="connsiteY4" fmla="*/ 1716314 h 3240314"/>
                  <a:gd name="connsiteX5" fmla="*/ 609600 w 2286000"/>
                  <a:gd name="connsiteY5" fmla="*/ 1373414 h 3240314"/>
                  <a:gd name="connsiteX6" fmla="*/ 609600 w 2286000"/>
                  <a:gd name="connsiteY6" fmla="*/ 1525814 h 3240314"/>
                  <a:gd name="connsiteX7" fmla="*/ 457200 w 2286000"/>
                  <a:gd name="connsiteY7" fmla="*/ 2135414 h 3240314"/>
                  <a:gd name="connsiteX8" fmla="*/ 952500 w 2286000"/>
                  <a:gd name="connsiteY8" fmla="*/ 2745014 h 3240314"/>
                  <a:gd name="connsiteX9" fmla="*/ 1524000 w 2286000"/>
                  <a:gd name="connsiteY9" fmla="*/ 3240314 h 3240314"/>
                  <a:gd name="connsiteX10" fmla="*/ 1905000 w 2286000"/>
                  <a:gd name="connsiteY10" fmla="*/ 2973614 h 3240314"/>
                  <a:gd name="connsiteX11" fmla="*/ 2286000 w 2286000"/>
                  <a:gd name="connsiteY11" fmla="*/ 1830614 h 3240314"/>
                  <a:gd name="connsiteX12" fmla="*/ 1943100 w 2286000"/>
                  <a:gd name="connsiteY12" fmla="*/ 916214 h 3240314"/>
                  <a:gd name="connsiteX13" fmla="*/ 1790700 w 2286000"/>
                  <a:gd name="connsiteY13" fmla="*/ 78014 h 3240314"/>
                  <a:gd name="connsiteX14" fmla="*/ 1257300 w 2286000"/>
                  <a:gd name="connsiteY14" fmla="*/ 230414 h 3240314"/>
                  <a:gd name="connsiteX15" fmla="*/ 1248229 w 2286000"/>
                  <a:gd name="connsiteY15" fmla="*/ 0 h 3240314"/>
                  <a:gd name="connsiteX16" fmla="*/ 381000 w 2286000"/>
                  <a:gd name="connsiteY16" fmla="*/ 1814 h 3240314"/>
                  <a:gd name="connsiteX0" fmla="*/ 152400 w 2286000"/>
                  <a:gd name="connsiteY0" fmla="*/ 1814 h 3240314"/>
                  <a:gd name="connsiteX1" fmla="*/ 0 w 2286000"/>
                  <a:gd name="connsiteY1" fmla="*/ 573314 h 3240314"/>
                  <a:gd name="connsiteX2" fmla="*/ 76200 w 2286000"/>
                  <a:gd name="connsiteY2" fmla="*/ 1221014 h 3240314"/>
                  <a:gd name="connsiteX3" fmla="*/ 228600 w 2286000"/>
                  <a:gd name="connsiteY3" fmla="*/ 1792514 h 3240314"/>
                  <a:gd name="connsiteX4" fmla="*/ 457200 w 2286000"/>
                  <a:gd name="connsiteY4" fmla="*/ 1716314 h 3240314"/>
                  <a:gd name="connsiteX5" fmla="*/ 609600 w 2286000"/>
                  <a:gd name="connsiteY5" fmla="*/ 1373414 h 3240314"/>
                  <a:gd name="connsiteX6" fmla="*/ 609600 w 2286000"/>
                  <a:gd name="connsiteY6" fmla="*/ 1525814 h 3240314"/>
                  <a:gd name="connsiteX7" fmla="*/ 457200 w 2286000"/>
                  <a:gd name="connsiteY7" fmla="*/ 2135414 h 3240314"/>
                  <a:gd name="connsiteX8" fmla="*/ 952500 w 2286000"/>
                  <a:gd name="connsiteY8" fmla="*/ 2745014 h 3240314"/>
                  <a:gd name="connsiteX9" fmla="*/ 1524000 w 2286000"/>
                  <a:gd name="connsiteY9" fmla="*/ 3240314 h 3240314"/>
                  <a:gd name="connsiteX10" fmla="*/ 1905000 w 2286000"/>
                  <a:gd name="connsiteY10" fmla="*/ 2973614 h 3240314"/>
                  <a:gd name="connsiteX11" fmla="*/ 2286000 w 2286000"/>
                  <a:gd name="connsiteY11" fmla="*/ 1830614 h 3240314"/>
                  <a:gd name="connsiteX12" fmla="*/ 1943100 w 2286000"/>
                  <a:gd name="connsiteY12" fmla="*/ 916214 h 3240314"/>
                  <a:gd name="connsiteX13" fmla="*/ 1790700 w 2286000"/>
                  <a:gd name="connsiteY13" fmla="*/ 78014 h 3240314"/>
                  <a:gd name="connsiteX14" fmla="*/ 1257300 w 2286000"/>
                  <a:gd name="connsiteY14" fmla="*/ 230414 h 3240314"/>
                  <a:gd name="connsiteX15" fmla="*/ 1248229 w 2286000"/>
                  <a:gd name="connsiteY15" fmla="*/ 0 h 3240314"/>
                  <a:gd name="connsiteX16" fmla="*/ 152400 w 2286000"/>
                  <a:gd name="connsiteY16" fmla="*/ 1814 h 3240314"/>
                  <a:gd name="connsiteX0" fmla="*/ 152400 w 2286000"/>
                  <a:gd name="connsiteY0" fmla="*/ 1814 h 3240314"/>
                  <a:gd name="connsiteX1" fmla="*/ 0 w 2286000"/>
                  <a:gd name="connsiteY1" fmla="*/ 573314 h 3240314"/>
                  <a:gd name="connsiteX2" fmla="*/ 76200 w 2286000"/>
                  <a:gd name="connsiteY2" fmla="*/ 1221014 h 3240314"/>
                  <a:gd name="connsiteX3" fmla="*/ 228600 w 2286000"/>
                  <a:gd name="connsiteY3" fmla="*/ 1792514 h 3240314"/>
                  <a:gd name="connsiteX4" fmla="*/ 457200 w 2286000"/>
                  <a:gd name="connsiteY4" fmla="*/ 1716314 h 3240314"/>
                  <a:gd name="connsiteX5" fmla="*/ 609600 w 2286000"/>
                  <a:gd name="connsiteY5" fmla="*/ 1373414 h 3240314"/>
                  <a:gd name="connsiteX6" fmla="*/ 609600 w 2286000"/>
                  <a:gd name="connsiteY6" fmla="*/ 1525814 h 3240314"/>
                  <a:gd name="connsiteX7" fmla="*/ 457200 w 2286000"/>
                  <a:gd name="connsiteY7" fmla="*/ 2135414 h 3240314"/>
                  <a:gd name="connsiteX8" fmla="*/ 952500 w 2286000"/>
                  <a:gd name="connsiteY8" fmla="*/ 2745014 h 3240314"/>
                  <a:gd name="connsiteX9" fmla="*/ 1524000 w 2286000"/>
                  <a:gd name="connsiteY9" fmla="*/ 3240314 h 3240314"/>
                  <a:gd name="connsiteX10" fmla="*/ 1905000 w 2286000"/>
                  <a:gd name="connsiteY10" fmla="*/ 2973614 h 3240314"/>
                  <a:gd name="connsiteX11" fmla="*/ 2286000 w 2286000"/>
                  <a:gd name="connsiteY11" fmla="*/ 1830614 h 3240314"/>
                  <a:gd name="connsiteX12" fmla="*/ 1943100 w 2286000"/>
                  <a:gd name="connsiteY12" fmla="*/ 916214 h 3240314"/>
                  <a:gd name="connsiteX13" fmla="*/ 1790700 w 2286000"/>
                  <a:gd name="connsiteY13" fmla="*/ 78014 h 3240314"/>
                  <a:gd name="connsiteX14" fmla="*/ 1257300 w 2286000"/>
                  <a:gd name="connsiteY14" fmla="*/ 230414 h 3240314"/>
                  <a:gd name="connsiteX15" fmla="*/ 1248229 w 2286000"/>
                  <a:gd name="connsiteY15" fmla="*/ 0 h 3240314"/>
                  <a:gd name="connsiteX16" fmla="*/ 152400 w 2286000"/>
                  <a:gd name="connsiteY16" fmla="*/ 1814 h 3240314"/>
                  <a:gd name="connsiteX0" fmla="*/ 76200 w 2209800"/>
                  <a:gd name="connsiteY0" fmla="*/ 1814 h 3240314"/>
                  <a:gd name="connsiteX1" fmla="*/ 25400 w 2209800"/>
                  <a:gd name="connsiteY1" fmla="*/ 558800 h 3240314"/>
                  <a:gd name="connsiteX2" fmla="*/ 0 w 2209800"/>
                  <a:gd name="connsiteY2" fmla="*/ 1221014 h 3240314"/>
                  <a:gd name="connsiteX3" fmla="*/ 152400 w 2209800"/>
                  <a:gd name="connsiteY3" fmla="*/ 1792514 h 3240314"/>
                  <a:gd name="connsiteX4" fmla="*/ 381000 w 2209800"/>
                  <a:gd name="connsiteY4" fmla="*/ 1716314 h 3240314"/>
                  <a:gd name="connsiteX5" fmla="*/ 533400 w 2209800"/>
                  <a:gd name="connsiteY5" fmla="*/ 1373414 h 3240314"/>
                  <a:gd name="connsiteX6" fmla="*/ 533400 w 2209800"/>
                  <a:gd name="connsiteY6" fmla="*/ 1525814 h 3240314"/>
                  <a:gd name="connsiteX7" fmla="*/ 381000 w 2209800"/>
                  <a:gd name="connsiteY7" fmla="*/ 2135414 h 3240314"/>
                  <a:gd name="connsiteX8" fmla="*/ 876300 w 2209800"/>
                  <a:gd name="connsiteY8" fmla="*/ 2745014 h 3240314"/>
                  <a:gd name="connsiteX9" fmla="*/ 1447800 w 2209800"/>
                  <a:gd name="connsiteY9" fmla="*/ 3240314 h 3240314"/>
                  <a:gd name="connsiteX10" fmla="*/ 1828800 w 2209800"/>
                  <a:gd name="connsiteY10" fmla="*/ 2973614 h 3240314"/>
                  <a:gd name="connsiteX11" fmla="*/ 2209800 w 2209800"/>
                  <a:gd name="connsiteY11" fmla="*/ 1830614 h 3240314"/>
                  <a:gd name="connsiteX12" fmla="*/ 1866900 w 2209800"/>
                  <a:gd name="connsiteY12" fmla="*/ 916214 h 3240314"/>
                  <a:gd name="connsiteX13" fmla="*/ 1714500 w 2209800"/>
                  <a:gd name="connsiteY13" fmla="*/ 78014 h 3240314"/>
                  <a:gd name="connsiteX14" fmla="*/ 1181100 w 2209800"/>
                  <a:gd name="connsiteY14" fmla="*/ 230414 h 3240314"/>
                  <a:gd name="connsiteX15" fmla="*/ 1172029 w 2209800"/>
                  <a:gd name="connsiteY15" fmla="*/ 0 h 3240314"/>
                  <a:gd name="connsiteX16" fmla="*/ 76200 w 2209800"/>
                  <a:gd name="connsiteY16" fmla="*/ 1814 h 3240314"/>
                  <a:gd name="connsiteX0" fmla="*/ 199571 w 2209800"/>
                  <a:gd name="connsiteY0" fmla="*/ 0 h 3267529"/>
                  <a:gd name="connsiteX1" fmla="*/ 25400 w 2209800"/>
                  <a:gd name="connsiteY1" fmla="*/ 586015 h 3267529"/>
                  <a:gd name="connsiteX2" fmla="*/ 0 w 2209800"/>
                  <a:gd name="connsiteY2" fmla="*/ 1248229 h 3267529"/>
                  <a:gd name="connsiteX3" fmla="*/ 152400 w 2209800"/>
                  <a:gd name="connsiteY3" fmla="*/ 1819729 h 3267529"/>
                  <a:gd name="connsiteX4" fmla="*/ 381000 w 2209800"/>
                  <a:gd name="connsiteY4" fmla="*/ 1743529 h 3267529"/>
                  <a:gd name="connsiteX5" fmla="*/ 533400 w 2209800"/>
                  <a:gd name="connsiteY5" fmla="*/ 1400629 h 3267529"/>
                  <a:gd name="connsiteX6" fmla="*/ 533400 w 2209800"/>
                  <a:gd name="connsiteY6" fmla="*/ 1553029 h 3267529"/>
                  <a:gd name="connsiteX7" fmla="*/ 381000 w 2209800"/>
                  <a:gd name="connsiteY7" fmla="*/ 2162629 h 3267529"/>
                  <a:gd name="connsiteX8" fmla="*/ 876300 w 2209800"/>
                  <a:gd name="connsiteY8" fmla="*/ 2772229 h 3267529"/>
                  <a:gd name="connsiteX9" fmla="*/ 1447800 w 2209800"/>
                  <a:gd name="connsiteY9" fmla="*/ 3267529 h 3267529"/>
                  <a:gd name="connsiteX10" fmla="*/ 1828800 w 2209800"/>
                  <a:gd name="connsiteY10" fmla="*/ 3000829 h 3267529"/>
                  <a:gd name="connsiteX11" fmla="*/ 2209800 w 2209800"/>
                  <a:gd name="connsiteY11" fmla="*/ 1857829 h 3267529"/>
                  <a:gd name="connsiteX12" fmla="*/ 1866900 w 2209800"/>
                  <a:gd name="connsiteY12" fmla="*/ 943429 h 3267529"/>
                  <a:gd name="connsiteX13" fmla="*/ 1714500 w 2209800"/>
                  <a:gd name="connsiteY13" fmla="*/ 105229 h 3267529"/>
                  <a:gd name="connsiteX14" fmla="*/ 1181100 w 2209800"/>
                  <a:gd name="connsiteY14" fmla="*/ 257629 h 3267529"/>
                  <a:gd name="connsiteX15" fmla="*/ 1172029 w 2209800"/>
                  <a:gd name="connsiteY15" fmla="*/ 27215 h 3267529"/>
                  <a:gd name="connsiteX16" fmla="*/ 199571 w 2209800"/>
                  <a:gd name="connsiteY16" fmla="*/ 0 h 3267529"/>
                  <a:gd name="connsiteX0" fmla="*/ 199571 w 2209800"/>
                  <a:gd name="connsiteY0" fmla="*/ 0 h 3267529"/>
                  <a:gd name="connsiteX1" fmla="*/ 25400 w 2209800"/>
                  <a:gd name="connsiteY1" fmla="*/ 586015 h 3267529"/>
                  <a:gd name="connsiteX2" fmla="*/ 0 w 2209800"/>
                  <a:gd name="connsiteY2" fmla="*/ 1248229 h 3267529"/>
                  <a:gd name="connsiteX3" fmla="*/ 152400 w 2209800"/>
                  <a:gd name="connsiteY3" fmla="*/ 1819729 h 3267529"/>
                  <a:gd name="connsiteX4" fmla="*/ 381000 w 2209800"/>
                  <a:gd name="connsiteY4" fmla="*/ 1743529 h 3267529"/>
                  <a:gd name="connsiteX5" fmla="*/ 533400 w 2209800"/>
                  <a:gd name="connsiteY5" fmla="*/ 1400629 h 3267529"/>
                  <a:gd name="connsiteX6" fmla="*/ 533400 w 2209800"/>
                  <a:gd name="connsiteY6" fmla="*/ 1553029 h 3267529"/>
                  <a:gd name="connsiteX7" fmla="*/ 381000 w 2209800"/>
                  <a:gd name="connsiteY7" fmla="*/ 2162629 h 3267529"/>
                  <a:gd name="connsiteX8" fmla="*/ 876300 w 2209800"/>
                  <a:gd name="connsiteY8" fmla="*/ 2772229 h 3267529"/>
                  <a:gd name="connsiteX9" fmla="*/ 1447800 w 2209800"/>
                  <a:gd name="connsiteY9" fmla="*/ 3267529 h 3267529"/>
                  <a:gd name="connsiteX10" fmla="*/ 1828800 w 2209800"/>
                  <a:gd name="connsiteY10" fmla="*/ 3000829 h 3267529"/>
                  <a:gd name="connsiteX11" fmla="*/ 2209800 w 2209800"/>
                  <a:gd name="connsiteY11" fmla="*/ 1857829 h 3267529"/>
                  <a:gd name="connsiteX12" fmla="*/ 1866900 w 2209800"/>
                  <a:gd name="connsiteY12" fmla="*/ 943429 h 3267529"/>
                  <a:gd name="connsiteX13" fmla="*/ 1714500 w 2209800"/>
                  <a:gd name="connsiteY13" fmla="*/ 105229 h 3267529"/>
                  <a:gd name="connsiteX14" fmla="*/ 1409700 w 2209800"/>
                  <a:gd name="connsiteY14" fmla="*/ 29030 h 3267529"/>
                  <a:gd name="connsiteX15" fmla="*/ 1172029 w 2209800"/>
                  <a:gd name="connsiteY15" fmla="*/ 27215 h 3267529"/>
                  <a:gd name="connsiteX16" fmla="*/ 199571 w 2209800"/>
                  <a:gd name="connsiteY16" fmla="*/ 0 h 3267529"/>
                  <a:gd name="connsiteX0" fmla="*/ 199571 w 2209800"/>
                  <a:gd name="connsiteY0" fmla="*/ 0 h 3267529"/>
                  <a:gd name="connsiteX1" fmla="*/ 25400 w 2209800"/>
                  <a:gd name="connsiteY1" fmla="*/ 586015 h 3267529"/>
                  <a:gd name="connsiteX2" fmla="*/ 0 w 2209800"/>
                  <a:gd name="connsiteY2" fmla="*/ 1248229 h 3267529"/>
                  <a:gd name="connsiteX3" fmla="*/ 152400 w 2209800"/>
                  <a:gd name="connsiteY3" fmla="*/ 1819729 h 3267529"/>
                  <a:gd name="connsiteX4" fmla="*/ 381000 w 2209800"/>
                  <a:gd name="connsiteY4" fmla="*/ 1743529 h 3267529"/>
                  <a:gd name="connsiteX5" fmla="*/ 533400 w 2209800"/>
                  <a:gd name="connsiteY5" fmla="*/ 1400629 h 3267529"/>
                  <a:gd name="connsiteX6" fmla="*/ 533400 w 2209800"/>
                  <a:gd name="connsiteY6" fmla="*/ 1553029 h 3267529"/>
                  <a:gd name="connsiteX7" fmla="*/ 381000 w 2209800"/>
                  <a:gd name="connsiteY7" fmla="*/ 2162629 h 3267529"/>
                  <a:gd name="connsiteX8" fmla="*/ 876300 w 2209800"/>
                  <a:gd name="connsiteY8" fmla="*/ 2772229 h 3267529"/>
                  <a:gd name="connsiteX9" fmla="*/ 1447800 w 2209800"/>
                  <a:gd name="connsiteY9" fmla="*/ 3267529 h 3267529"/>
                  <a:gd name="connsiteX10" fmla="*/ 1828800 w 2209800"/>
                  <a:gd name="connsiteY10" fmla="*/ 3000829 h 3267529"/>
                  <a:gd name="connsiteX11" fmla="*/ 2209800 w 2209800"/>
                  <a:gd name="connsiteY11" fmla="*/ 1857829 h 3267529"/>
                  <a:gd name="connsiteX12" fmla="*/ 1866900 w 2209800"/>
                  <a:gd name="connsiteY12" fmla="*/ 943429 h 3267529"/>
                  <a:gd name="connsiteX13" fmla="*/ 1676400 w 2209800"/>
                  <a:gd name="connsiteY13" fmla="*/ 673102 h 3267529"/>
                  <a:gd name="connsiteX14" fmla="*/ 1714500 w 2209800"/>
                  <a:gd name="connsiteY14" fmla="*/ 105229 h 3267529"/>
                  <a:gd name="connsiteX15" fmla="*/ 1409700 w 2209800"/>
                  <a:gd name="connsiteY15" fmla="*/ 29030 h 3267529"/>
                  <a:gd name="connsiteX16" fmla="*/ 1172029 w 2209800"/>
                  <a:gd name="connsiteY16" fmla="*/ 27215 h 3267529"/>
                  <a:gd name="connsiteX17" fmla="*/ 199571 w 2209800"/>
                  <a:gd name="connsiteY17" fmla="*/ 0 h 3267529"/>
                  <a:gd name="connsiteX0" fmla="*/ 199571 w 2209800"/>
                  <a:gd name="connsiteY0" fmla="*/ 0 h 3267529"/>
                  <a:gd name="connsiteX1" fmla="*/ 25400 w 2209800"/>
                  <a:gd name="connsiteY1" fmla="*/ 586015 h 3267529"/>
                  <a:gd name="connsiteX2" fmla="*/ 0 w 2209800"/>
                  <a:gd name="connsiteY2" fmla="*/ 1248229 h 3267529"/>
                  <a:gd name="connsiteX3" fmla="*/ 137886 w 2209800"/>
                  <a:gd name="connsiteY3" fmla="*/ 1456873 h 3267529"/>
                  <a:gd name="connsiteX4" fmla="*/ 152400 w 2209800"/>
                  <a:gd name="connsiteY4" fmla="*/ 1819729 h 3267529"/>
                  <a:gd name="connsiteX5" fmla="*/ 381000 w 2209800"/>
                  <a:gd name="connsiteY5" fmla="*/ 1743529 h 3267529"/>
                  <a:gd name="connsiteX6" fmla="*/ 533400 w 2209800"/>
                  <a:gd name="connsiteY6" fmla="*/ 1400629 h 3267529"/>
                  <a:gd name="connsiteX7" fmla="*/ 533400 w 2209800"/>
                  <a:gd name="connsiteY7" fmla="*/ 1553029 h 3267529"/>
                  <a:gd name="connsiteX8" fmla="*/ 381000 w 2209800"/>
                  <a:gd name="connsiteY8" fmla="*/ 2162629 h 3267529"/>
                  <a:gd name="connsiteX9" fmla="*/ 876300 w 2209800"/>
                  <a:gd name="connsiteY9" fmla="*/ 2772229 h 3267529"/>
                  <a:gd name="connsiteX10" fmla="*/ 1447800 w 2209800"/>
                  <a:gd name="connsiteY10" fmla="*/ 3267529 h 3267529"/>
                  <a:gd name="connsiteX11" fmla="*/ 1828800 w 2209800"/>
                  <a:gd name="connsiteY11" fmla="*/ 3000829 h 3267529"/>
                  <a:gd name="connsiteX12" fmla="*/ 2209800 w 2209800"/>
                  <a:gd name="connsiteY12" fmla="*/ 1857829 h 3267529"/>
                  <a:gd name="connsiteX13" fmla="*/ 1866900 w 2209800"/>
                  <a:gd name="connsiteY13" fmla="*/ 943429 h 3267529"/>
                  <a:gd name="connsiteX14" fmla="*/ 1676400 w 2209800"/>
                  <a:gd name="connsiteY14" fmla="*/ 673102 h 3267529"/>
                  <a:gd name="connsiteX15" fmla="*/ 1714500 w 2209800"/>
                  <a:gd name="connsiteY15" fmla="*/ 105229 h 3267529"/>
                  <a:gd name="connsiteX16" fmla="*/ 1409700 w 2209800"/>
                  <a:gd name="connsiteY16" fmla="*/ 29030 h 3267529"/>
                  <a:gd name="connsiteX17" fmla="*/ 1172029 w 2209800"/>
                  <a:gd name="connsiteY17" fmla="*/ 27215 h 3267529"/>
                  <a:gd name="connsiteX18" fmla="*/ 199571 w 2209800"/>
                  <a:gd name="connsiteY18" fmla="*/ 0 h 3267529"/>
                  <a:gd name="connsiteX0" fmla="*/ 199571 w 2209800"/>
                  <a:gd name="connsiteY0" fmla="*/ 0 h 3267529"/>
                  <a:gd name="connsiteX1" fmla="*/ 25400 w 2209800"/>
                  <a:gd name="connsiteY1" fmla="*/ 586015 h 3267529"/>
                  <a:gd name="connsiteX2" fmla="*/ 0 w 2209800"/>
                  <a:gd name="connsiteY2" fmla="*/ 1248229 h 3267529"/>
                  <a:gd name="connsiteX3" fmla="*/ 137886 w 2209800"/>
                  <a:gd name="connsiteY3" fmla="*/ 1456873 h 3267529"/>
                  <a:gd name="connsiteX4" fmla="*/ 152400 w 2209800"/>
                  <a:gd name="connsiteY4" fmla="*/ 1819729 h 3267529"/>
                  <a:gd name="connsiteX5" fmla="*/ 381000 w 2209800"/>
                  <a:gd name="connsiteY5" fmla="*/ 1743529 h 3267529"/>
                  <a:gd name="connsiteX6" fmla="*/ 533400 w 2209800"/>
                  <a:gd name="connsiteY6" fmla="*/ 1400629 h 3267529"/>
                  <a:gd name="connsiteX7" fmla="*/ 533400 w 2209800"/>
                  <a:gd name="connsiteY7" fmla="*/ 1553029 h 3267529"/>
                  <a:gd name="connsiteX8" fmla="*/ 381000 w 2209800"/>
                  <a:gd name="connsiteY8" fmla="*/ 2162629 h 3267529"/>
                  <a:gd name="connsiteX9" fmla="*/ 876300 w 2209800"/>
                  <a:gd name="connsiteY9" fmla="*/ 2772229 h 3267529"/>
                  <a:gd name="connsiteX10" fmla="*/ 1447800 w 2209800"/>
                  <a:gd name="connsiteY10" fmla="*/ 3267529 h 3267529"/>
                  <a:gd name="connsiteX11" fmla="*/ 1828800 w 2209800"/>
                  <a:gd name="connsiteY11" fmla="*/ 3000829 h 3267529"/>
                  <a:gd name="connsiteX12" fmla="*/ 2209800 w 2209800"/>
                  <a:gd name="connsiteY12" fmla="*/ 1857829 h 3267529"/>
                  <a:gd name="connsiteX13" fmla="*/ 1752600 w 2209800"/>
                  <a:gd name="connsiteY13" fmla="*/ 994228 h 3267529"/>
                  <a:gd name="connsiteX14" fmla="*/ 1676400 w 2209800"/>
                  <a:gd name="connsiteY14" fmla="*/ 673102 h 3267529"/>
                  <a:gd name="connsiteX15" fmla="*/ 1714500 w 2209800"/>
                  <a:gd name="connsiteY15" fmla="*/ 105229 h 3267529"/>
                  <a:gd name="connsiteX16" fmla="*/ 1409700 w 2209800"/>
                  <a:gd name="connsiteY16" fmla="*/ 29030 h 3267529"/>
                  <a:gd name="connsiteX17" fmla="*/ 1172029 w 2209800"/>
                  <a:gd name="connsiteY17" fmla="*/ 27215 h 3267529"/>
                  <a:gd name="connsiteX18" fmla="*/ 199571 w 2209800"/>
                  <a:gd name="connsiteY18" fmla="*/ 0 h 3267529"/>
                  <a:gd name="connsiteX0" fmla="*/ 199571 w 2209800"/>
                  <a:gd name="connsiteY0" fmla="*/ 0 h 3267529"/>
                  <a:gd name="connsiteX1" fmla="*/ 25400 w 2209800"/>
                  <a:gd name="connsiteY1" fmla="*/ 586015 h 3267529"/>
                  <a:gd name="connsiteX2" fmla="*/ 0 w 2209800"/>
                  <a:gd name="connsiteY2" fmla="*/ 1248229 h 3267529"/>
                  <a:gd name="connsiteX3" fmla="*/ 137886 w 2209800"/>
                  <a:gd name="connsiteY3" fmla="*/ 1456873 h 3267529"/>
                  <a:gd name="connsiteX4" fmla="*/ 152400 w 2209800"/>
                  <a:gd name="connsiteY4" fmla="*/ 1819729 h 3267529"/>
                  <a:gd name="connsiteX5" fmla="*/ 381000 w 2209800"/>
                  <a:gd name="connsiteY5" fmla="*/ 1743529 h 3267529"/>
                  <a:gd name="connsiteX6" fmla="*/ 533400 w 2209800"/>
                  <a:gd name="connsiteY6" fmla="*/ 1400629 h 3267529"/>
                  <a:gd name="connsiteX7" fmla="*/ 533400 w 2209800"/>
                  <a:gd name="connsiteY7" fmla="*/ 1553029 h 3267529"/>
                  <a:gd name="connsiteX8" fmla="*/ 381000 w 2209800"/>
                  <a:gd name="connsiteY8" fmla="*/ 2162629 h 3267529"/>
                  <a:gd name="connsiteX9" fmla="*/ 431800 w 2209800"/>
                  <a:gd name="connsiteY9" fmla="*/ 2324100 h 3267529"/>
                  <a:gd name="connsiteX10" fmla="*/ 876300 w 2209800"/>
                  <a:gd name="connsiteY10" fmla="*/ 2772229 h 3267529"/>
                  <a:gd name="connsiteX11" fmla="*/ 1447800 w 2209800"/>
                  <a:gd name="connsiteY11" fmla="*/ 3267529 h 3267529"/>
                  <a:gd name="connsiteX12" fmla="*/ 1828800 w 2209800"/>
                  <a:gd name="connsiteY12" fmla="*/ 3000829 h 3267529"/>
                  <a:gd name="connsiteX13" fmla="*/ 2209800 w 2209800"/>
                  <a:gd name="connsiteY13" fmla="*/ 1857829 h 3267529"/>
                  <a:gd name="connsiteX14" fmla="*/ 1752600 w 2209800"/>
                  <a:gd name="connsiteY14" fmla="*/ 994228 h 3267529"/>
                  <a:gd name="connsiteX15" fmla="*/ 1676400 w 2209800"/>
                  <a:gd name="connsiteY15" fmla="*/ 673102 h 3267529"/>
                  <a:gd name="connsiteX16" fmla="*/ 1714500 w 2209800"/>
                  <a:gd name="connsiteY16" fmla="*/ 105229 h 3267529"/>
                  <a:gd name="connsiteX17" fmla="*/ 1409700 w 2209800"/>
                  <a:gd name="connsiteY17" fmla="*/ 29030 h 3267529"/>
                  <a:gd name="connsiteX18" fmla="*/ 1172029 w 2209800"/>
                  <a:gd name="connsiteY18" fmla="*/ 27215 h 3267529"/>
                  <a:gd name="connsiteX19" fmla="*/ 199571 w 2209800"/>
                  <a:gd name="connsiteY19" fmla="*/ 0 h 3267529"/>
                  <a:gd name="connsiteX0" fmla="*/ 199571 w 2209800"/>
                  <a:gd name="connsiteY0" fmla="*/ 0 h 3339434"/>
                  <a:gd name="connsiteX1" fmla="*/ 25400 w 2209800"/>
                  <a:gd name="connsiteY1" fmla="*/ 586015 h 3339434"/>
                  <a:gd name="connsiteX2" fmla="*/ 0 w 2209800"/>
                  <a:gd name="connsiteY2" fmla="*/ 1248229 h 3339434"/>
                  <a:gd name="connsiteX3" fmla="*/ 137886 w 2209800"/>
                  <a:gd name="connsiteY3" fmla="*/ 1456873 h 3339434"/>
                  <a:gd name="connsiteX4" fmla="*/ 152400 w 2209800"/>
                  <a:gd name="connsiteY4" fmla="*/ 1819729 h 3339434"/>
                  <a:gd name="connsiteX5" fmla="*/ 381000 w 2209800"/>
                  <a:gd name="connsiteY5" fmla="*/ 1743529 h 3339434"/>
                  <a:gd name="connsiteX6" fmla="*/ 533400 w 2209800"/>
                  <a:gd name="connsiteY6" fmla="*/ 1400629 h 3339434"/>
                  <a:gd name="connsiteX7" fmla="*/ 533400 w 2209800"/>
                  <a:gd name="connsiteY7" fmla="*/ 1553029 h 3339434"/>
                  <a:gd name="connsiteX8" fmla="*/ 381000 w 2209800"/>
                  <a:gd name="connsiteY8" fmla="*/ 2162629 h 3339434"/>
                  <a:gd name="connsiteX9" fmla="*/ 431800 w 2209800"/>
                  <a:gd name="connsiteY9" fmla="*/ 2324100 h 3339434"/>
                  <a:gd name="connsiteX10" fmla="*/ 876300 w 2209800"/>
                  <a:gd name="connsiteY10" fmla="*/ 2772229 h 3339434"/>
                  <a:gd name="connsiteX11" fmla="*/ 1447800 w 2209800"/>
                  <a:gd name="connsiteY11" fmla="*/ 3267529 h 3339434"/>
                  <a:gd name="connsiteX12" fmla="*/ 1841500 w 2209800"/>
                  <a:gd name="connsiteY12" fmla="*/ 3153228 h 3339434"/>
                  <a:gd name="connsiteX13" fmla="*/ 2209800 w 2209800"/>
                  <a:gd name="connsiteY13" fmla="*/ 1857829 h 3339434"/>
                  <a:gd name="connsiteX14" fmla="*/ 1752600 w 2209800"/>
                  <a:gd name="connsiteY14" fmla="*/ 994228 h 3339434"/>
                  <a:gd name="connsiteX15" fmla="*/ 1676400 w 2209800"/>
                  <a:gd name="connsiteY15" fmla="*/ 673102 h 3339434"/>
                  <a:gd name="connsiteX16" fmla="*/ 1714500 w 2209800"/>
                  <a:gd name="connsiteY16" fmla="*/ 105229 h 3339434"/>
                  <a:gd name="connsiteX17" fmla="*/ 1409700 w 2209800"/>
                  <a:gd name="connsiteY17" fmla="*/ 29030 h 3339434"/>
                  <a:gd name="connsiteX18" fmla="*/ 1172029 w 2209800"/>
                  <a:gd name="connsiteY18" fmla="*/ 27215 h 3339434"/>
                  <a:gd name="connsiteX19" fmla="*/ 199571 w 2209800"/>
                  <a:gd name="connsiteY19" fmla="*/ 0 h 3339434"/>
                  <a:gd name="connsiteX0" fmla="*/ 199571 w 2209800"/>
                  <a:gd name="connsiteY0" fmla="*/ 0 h 3339434"/>
                  <a:gd name="connsiteX1" fmla="*/ 25400 w 2209800"/>
                  <a:gd name="connsiteY1" fmla="*/ 586015 h 3339434"/>
                  <a:gd name="connsiteX2" fmla="*/ 0 w 2209800"/>
                  <a:gd name="connsiteY2" fmla="*/ 1248229 h 3339434"/>
                  <a:gd name="connsiteX3" fmla="*/ 137886 w 2209800"/>
                  <a:gd name="connsiteY3" fmla="*/ 1456873 h 3339434"/>
                  <a:gd name="connsiteX4" fmla="*/ 152400 w 2209800"/>
                  <a:gd name="connsiteY4" fmla="*/ 1819729 h 3339434"/>
                  <a:gd name="connsiteX5" fmla="*/ 381000 w 2209800"/>
                  <a:gd name="connsiteY5" fmla="*/ 1743529 h 3339434"/>
                  <a:gd name="connsiteX6" fmla="*/ 533400 w 2209800"/>
                  <a:gd name="connsiteY6" fmla="*/ 1400629 h 3339434"/>
                  <a:gd name="connsiteX7" fmla="*/ 533400 w 2209800"/>
                  <a:gd name="connsiteY7" fmla="*/ 1553029 h 3339434"/>
                  <a:gd name="connsiteX8" fmla="*/ 381000 w 2209800"/>
                  <a:gd name="connsiteY8" fmla="*/ 2162629 h 3339434"/>
                  <a:gd name="connsiteX9" fmla="*/ 431800 w 2209800"/>
                  <a:gd name="connsiteY9" fmla="*/ 2324100 h 3339434"/>
                  <a:gd name="connsiteX10" fmla="*/ 876300 w 2209800"/>
                  <a:gd name="connsiteY10" fmla="*/ 2772229 h 3339434"/>
                  <a:gd name="connsiteX11" fmla="*/ 1447800 w 2209800"/>
                  <a:gd name="connsiteY11" fmla="*/ 3267529 h 3339434"/>
                  <a:gd name="connsiteX12" fmla="*/ 1841500 w 2209800"/>
                  <a:gd name="connsiteY12" fmla="*/ 3153228 h 3339434"/>
                  <a:gd name="connsiteX13" fmla="*/ 2209800 w 2209800"/>
                  <a:gd name="connsiteY13" fmla="*/ 1857829 h 3339434"/>
                  <a:gd name="connsiteX14" fmla="*/ 1752600 w 2209800"/>
                  <a:gd name="connsiteY14" fmla="*/ 994228 h 3339434"/>
                  <a:gd name="connsiteX15" fmla="*/ 1676400 w 2209800"/>
                  <a:gd name="connsiteY15" fmla="*/ 673102 h 3339434"/>
                  <a:gd name="connsiteX16" fmla="*/ 1714500 w 2209800"/>
                  <a:gd name="connsiteY16" fmla="*/ 105229 h 3339434"/>
                  <a:gd name="connsiteX17" fmla="*/ 1409700 w 2209800"/>
                  <a:gd name="connsiteY17" fmla="*/ 29030 h 3339434"/>
                  <a:gd name="connsiteX18" fmla="*/ 1172029 w 2209800"/>
                  <a:gd name="connsiteY18" fmla="*/ 27215 h 3339434"/>
                  <a:gd name="connsiteX19" fmla="*/ 199571 w 2209800"/>
                  <a:gd name="connsiteY19" fmla="*/ 0 h 3339434"/>
                  <a:gd name="connsiteX0" fmla="*/ 199571 w 2209800"/>
                  <a:gd name="connsiteY0" fmla="*/ 0 h 3339434"/>
                  <a:gd name="connsiteX1" fmla="*/ 25400 w 2209800"/>
                  <a:gd name="connsiteY1" fmla="*/ 586015 h 3339434"/>
                  <a:gd name="connsiteX2" fmla="*/ 0 w 2209800"/>
                  <a:gd name="connsiteY2" fmla="*/ 1248229 h 3339434"/>
                  <a:gd name="connsiteX3" fmla="*/ 137886 w 2209800"/>
                  <a:gd name="connsiteY3" fmla="*/ 1456873 h 3339434"/>
                  <a:gd name="connsiteX4" fmla="*/ 152400 w 2209800"/>
                  <a:gd name="connsiteY4" fmla="*/ 1819729 h 3339434"/>
                  <a:gd name="connsiteX5" fmla="*/ 419100 w 2209800"/>
                  <a:gd name="connsiteY5" fmla="*/ 1832427 h 3339434"/>
                  <a:gd name="connsiteX6" fmla="*/ 533400 w 2209800"/>
                  <a:gd name="connsiteY6" fmla="*/ 1400629 h 3339434"/>
                  <a:gd name="connsiteX7" fmla="*/ 533400 w 2209800"/>
                  <a:gd name="connsiteY7" fmla="*/ 1553029 h 3339434"/>
                  <a:gd name="connsiteX8" fmla="*/ 381000 w 2209800"/>
                  <a:gd name="connsiteY8" fmla="*/ 2162629 h 3339434"/>
                  <a:gd name="connsiteX9" fmla="*/ 431800 w 2209800"/>
                  <a:gd name="connsiteY9" fmla="*/ 2324100 h 3339434"/>
                  <a:gd name="connsiteX10" fmla="*/ 876300 w 2209800"/>
                  <a:gd name="connsiteY10" fmla="*/ 2772229 h 3339434"/>
                  <a:gd name="connsiteX11" fmla="*/ 1447800 w 2209800"/>
                  <a:gd name="connsiteY11" fmla="*/ 3267529 h 3339434"/>
                  <a:gd name="connsiteX12" fmla="*/ 1841500 w 2209800"/>
                  <a:gd name="connsiteY12" fmla="*/ 3153228 h 3339434"/>
                  <a:gd name="connsiteX13" fmla="*/ 2209800 w 2209800"/>
                  <a:gd name="connsiteY13" fmla="*/ 1857829 h 3339434"/>
                  <a:gd name="connsiteX14" fmla="*/ 1752600 w 2209800"/>
                  <a:gd name="connsiteY14" fmla="*/ 994228 h 3339434"/>
                  <a:gd name="connsiteX15" fmla="*/ 1676400 w 2209800"/>
                  <a:gd name="connsiteY15" fmla="*/ 673102 h 3339434"/>
                  <a:gd name="connsiteX16" fmla="*/ 1714500 w 2209800"/>
                  <a:gd name="connsiteY16" fmla="*/ 105229 h 3339434"/>
                  <a:gd name="connsiteX17" fmla="*/ 1409700 w 2209800"/>
                  <a:gd name="connsiteY17" fmla="*/ 29030 h 3339434"/>
                  <a:gd name="connsiteX18" fmla="*/ 1172029 w 2209800"/>
                  <a:gd name="connsiteY18" fmla="*/ 27215 h 3339434"/>
                  <a:gd name="connsiteX19" fmla="*/ 199571 w 2209800"/>
                  <a:gd name="connsiteY19" fmla="*/ 0 h 3339434"/>
                  <a:gd name="connsiteX0" fmla="*/ 174168 w 2184397"/>
                  <a:gd name="connsiteY0" fmla="*/ 0 h 3339434"/>
                  <a:gd name="connsiteX1" fmla="*/ -3 w 2184397"/>
                  <a:gd name="connsiteY1" fmla="*/ 586015 h 3339434"/>
                  <a:gd name="connsiteX2" fmla="*/ 8026 w 2184397"/>
                  <a:gd name="connsiteY2" fmla="*/ 1210390 h 3339434"/>
                  <a:gd name="connsiteX3" fmla="*/ 112483 w 2184397"/>
                  <a:gd name="connsiteY3" fmla="*/ 1456873 h 3339434"/>
                  <a:gd name="connsiteX4" fmla="*/ 126997 w 2184397"/>
                  <a:gd name="connsiteY4" fmla="*/ 1819729 h 3339434"/>
                  <a:gd name="connsiteX5" fmla="*/ 393697 w 2184397"/>
                  <a:gd name="connsiteY5" fmla="*/ 1832427 h 3339434"/>
                  <a:gd name="connsiteX6" fmla="*/ 507997 w 2184397"/>
                  <a:gd name="connsiteY6" fmla="*/ 1400629 h 3339434"/>
                  <a:gd name="connsiteX7" fmla="*/ 507997 w 2184397"/>
                  <a:gd name="connsiteY7" fmla="*/ 1553029 h 3339434"/>
                  <a:gd name="connsiteX8" fmla="*/ 355597 w 2184397"/>
                  <a:gd name="connsiteY8" fmla="*/ 2162629 h 3339434"/>
                  <a:gd name="connsiteX9" fmla="*/ 406397 w 2184397"/>
                  <a:gd name="connsiteY9" fmla="*/ 2324100 h 3339434"/>
                  <a:gd name="connsiteX10" fmla="*/ 850897 w 2184397"/>
                  <a:gd name="connsiteY10" fmla="*/ 2772229 h 3339434"/>
                  <a:gd name="connsiteX11" fmla="*/ 1422397 w 2184397"/>
                  <a:gd name="connsiteY11" fmla="*/ 3267529 h 3339434"/>
                  <a:gd name="connsiteX12" fmla="*/ 1816097 w 2184397"/>
                  <a:gd name="connsiteY12" fmla="*/ 3153228 h 3339434"/>
                  <a:gd name="connsiteX13" fmla="*/ 2184397 w 2184397"/>
                  <a:gd name="connsiteY13" fmla="*/ 1857829 h 3339434"/>
                  <a:gd name="connsiteX14" fmla="*/ 1727197 w 2184397"/>
                  <a:gd name="connsiteY14" fmla="*/ 994228 h 3339434"/>
                  <a:gd name="connsiteX15" fmla="*/ 1650997 w 2184397"/>
                  <a:gd name="connsiteY15" fmla="*/ 673102 h 3339434"/>
                  <a:gd name="connsiteX16" fmla="*/ 1689097 w 2184397"/>
                  <a:gd name="connsiteY16" fmla="*/ 105229 h 3339434"/>
                  <a:gd name="connsiteX17" fmla="*/ 1384297 w 2184397"/>
                  <a:gd name="connsiteY17" fmla="*/ 29030 h 3339434"/>
                  <a:gd name="connsiteX18" fmla="*/ 1146626 w 2184397"/>
                  <a:gd name="connsiteY18" fmla="*/ 27215 h 3339434"/>
                  <a:gd name="connsiteX19" fmla="*/ 174168 w 2184397"/>
                  <a:gd name="connsiteY19" fmla="*/ 0 h 3339434"/>
                  <a:gd name="connsiteX0" fmla="*/ 174173 w 2184402"/>
                  <a:gd name="connsiteY0" fmla="*/ 0 h 3339434"/>
                  <a:gd name="connsiteX1" fmla="*/ 2 w 2184402"/>
                  <a:gd name="connsiteY1" fmla="*/ 586015 h 3339434"/>
                  <a:gd name="connsiteX2" fmla="*/ 8031 w 2184402"/>
                  <a:gd name="connsiteY2" fmla="*/ 1210390 h 3339434"/>
                  <a:gd name="connsiteX3" fmla="*/ 112488 w 2184402"/>
                  <a:gd name="connsiteY3" fmla="*/ 1456873 h 3339434"/>
                  <a:gd name="connsiteX4" fmla="*/ 127002 w 2184402"/>
                  <a:gd name="connsiteY4" fmla="*/ 1819729 h 3339434"/>
                  <a:gd name="connsiteX5" fmla="*/ 393702 w 2184402"/>
                  <a:gd name="connsiteY5" fmla="*/ 1832427 h 3339434"/>
                  <a:gd name="connsiteX6" fmla="*/ 508002 w 2184402"/>
                  <a:gd name="connsiteY6" fmla="*/ 1400629 h 3339434"/>
                  <a:gd name="connsiteX7" fmla="*/ 355602 w 2184402"/>
                  <a:gd name="connsiteY7" fmla="*/ 2162629 h 3339434"/>
                  <a:gd name="connsiteX8" fmla="*/ 406402 w 2184402"/>
                  <a:gd name="connsiteY8" fmla="*/ 2324100 h 3339434"/>
                  <a:gd name="connsiteX9" fmla="*/ 850902 w 2184402"/>
                  <a:gd name="connsiteY9" fmla="*/ 2772229 h 3339434"/>
                  <a:gd name="connsiteX10" fmla="*/ 1422402 w 2184402"/>
                  <a:gd name="connsiteY10" fmla="*/ 3267529 h 3339434"/>
                  <a:gd name="connsiteX11" fmla="*/ 1816102 w 2184402"/>
                  <a:gd name="connsiteY11" fmla="*/ 3153228 h 3339434"/>
                  <a:gd name="connsiteX12" fmla="*/ 2184402 w 2184402"/>
                  <a:gd name="connsiteY12" fmla="*/ 1857829 h 3339434"/>
                  <a:gd name="connsiteX13" fmla="*/ 1727202 w 2184402"/>
                  <a:gd name="connsiteY13" fmla="*/ 994228 h 3339434"/>
                  <a:gd name="connsiteX14" fmla="*/ 1651002 w 2184402"/>
                  <a:gd name="connsiteY14" fmla="*/ 673102 h 3339434"/>
                  <a:gd name="connsiteX15" fmla="*/ 1689102 w 2184402"/>
                  <a:gd name="connsiteY15" fmla="*/ 105229 h 3339434"/>
                  <a:gd name="connsiteX16" fmla="*/ 1384302 w 2184402"/>
                  <a:gd name="connsiteY16" fmla="*/ 29030 h 3339434"/>
                  <a:gd name="connsiteX17" fmla="*/ 1146631 w 2184402"/>
                  <a:gd name="connsiteY17" fmla="*/ 27215 h 3339434"/>
                  <a:gd name="connsiteX18" fmla="*/ 174173 w 2184402"/>
                  <a:gd name="connsiteY18" fmla="*/ 0 h 3339434"/>
                  <a:gd name="connsiteX0" fmla="*/ 174173 w 2184402"/>
                  <a:gd name="connsiteY0" fmla="*/ 0 h 3339434"/>
                  <a:gd name="connsiteX1" fmla="*/ 2 w 2184402"/>
                  <a:gd name="connsiteY1" fmla="*/ 586015 h 3339434"/>
                  <a:gd name="connsiteX2" fmla="*/ 8031 w 2184402"/>
                  <a:gd name="connsiteY2" fmla="*/ 1210390 h 3339434"/>
                  <a:gd name="connsiteX3" fmla="*/ 112488 w 2184402"/>
                  <a:gd name="connsiteY3" fmla="*/ 1456873 h 3339434"/>
                  <a:gd name="connsiteX4" fmla="*/ 127002 w 2184402"/>
                  <a:gd name="connsiteY4" fmla="*/ 1819729 h 3339434"/>
                  <a:gd name="connsiteX5" fmla="*/ 393702 w 2184402"/>
                  <a:gd name="connsiteY5" fmla="*/ 1832427 h 3339434"/>
                  <a:gd name="connsiteX6" fmla="*/ 355602 w 2184402"/>
                  <a:gd name="connsiteY6" fmla="*/ 2162629 h 3339434"/>
                  <a:gd name="connsiteX7" fmla="*/ 406402 w 2184402"/>
                  <a:gd name="connsiteY7" fmla="*/ 2324100 h 3339434"/>
                  <a:gd name="connsiteX8" fmla="*/ 850902 w 2184402"/>
                  <a:gd name="connsiteY8" fmla="*/ 2772229 h 3339434"/>
                  <a:gd name="connsiteX9" fmla="*/ 1422402 w 2184402"/>
                  <a:gd name="connsiteY9" fmla="*/ 3267529 h 3339434"/>
                  <a:gd name="connsiteX10" fmla="*/ 1816102 w 2184402"/>
                  <a:gd name="connsiteY10" fmla="*/ 3153228 h 3339434"/>
                  <a:gd name="connsiteX11" fmla="*/ 2184402 w 2184402"/>
                  <a:gd name="connsiteY11" fmla="*/ 1857829 h 3339434"/>
                  <a:gd name="connsiteX12" fmla="*/ 1727202 w 2184402"/>
                  <a:gd name="connsiteY12" fmla="*/ 994228 h 3339434"/>
                  <a:gd name="connsiteX13" fmla="*/ 1651002 w 2184402"/>
                  <a:gd name="connsiteY13" fmla="*/ 673102 h 3339434"/>
                  <a:gd name="connsiteX14" fmla="*/ 1689102 w 2184402"/>
                  <a:gd name="connsiteY14" fmla="*/ 105229 h 3339434"/>
                  <a:gd name="connsiteX15" fmla="*/ 1384302 w 2184402"/>
                  <a:gd name="connsiteY15" fmla="*/ 29030 h 3339434"/>
                  <a:gd name="connsiteX16" fmla="*/ 1146631 w 2184402"/>
                  <a:gd name="connsiteY16" fmla="*/ 27215 h 3339434"/>
                  <a:gd name="connsiteX17" fmla="*/ 174173 w 2184402"/>
                  <a:gd name="connsiteY17" fmla="*/ 0 h 3339434"/>
                  <a:gd name="connsiteX0" fmla="*/ 174173 w 2184402"/>
                  <a:gd name="connsiteY0" fmla="*/ 0 h 3339434"/>
                  <a:gd name="connsiteX1" fmla="*/ 2 w 2184402"/>
                  <a:gd name="connsiteY1" fmla="*/ 586015 h 3339434"/>
                  <a:gd name="connsiteX2" fmla="*/ 8031 w 2184402"/>
                  <a:gd name="connsiteY2" fmla="*/ 1210390 h 3339434"/>
                  <a:gd name="connsiteX3" fmla="*/ 112488 w 2184402"/>
                  <a:gd name="connsiteY3" fmla="*/ 1456873 h 3339434"/>
                  <a:gd name="connsiteX4" fmla="*/ 189716 w 2184402"/>
                  <a:gd name="connsiteY4" fmla="*/ 1844812 h 3339434"/>
                  <a:gd name="connsiteX5" fmla="*/ 393702 w 2184402"/>
                  <a:gd name="connsiteY5" fmla="*/ 1832427 h 3339434"/>
                  <a:gd name="connsiteX6" fmla="*/ 355602 w 2184402"/>
                  <a:gd name="connsiteY6" fmla="*/ 2162629 h 3339434"/>
                  <a:gd name="connsiteX7" fmla="*/ 406402 w 2184402"/>
                  <a:gd name="connsiteY7" fmla="*/ 2324100 h 3339434"/>
                  <a:gd name="connsiteX8" fmla="*/ 850902 w 2184402"/>
                  <a:gd name="connsiteY8" fmla="*/ 2772229 h 3339434"/>
                  <a:gd name="connsiteX9" fmla="*/ 1422402 w 2184402"/>
                  <a:gd name="connsiteY9" fmla="*/ 3267529 h 3339434"/>
                  <a:gd name="connsiteX10" fmla="*/ 1816102 w 2184402"/>
                  <a:gd name="connsiteY10" fmla="*/ 3153228 h 3339434"/>
                  <a:gd name="connsiteX11" fmla="*/ 2184402 w 2184402"/>
                  <a:gd name="connsiteY11" fmla="*/ 1857829 h 3339434"/>
                  <a:gd name="connsiteX12" fmla="*/ 1727202 w 2184402"/>
                  <a:gd name="connsiteY12" fmla="*/ 994228 h 3339434"/>
                  <a:gd name="connsiteX13" fmla="*/ 1651002 w 2184402"/>
                  <a:gd name="connsiteY13" fmla="*/ 673102 h 3339434"/>
                  <a:gd name="connsiteX14" fmla="*/ 1689102 w 2184402"/>
                  <a:gd name="connsiteY14" fmla="*/ 105229 h 3339434"/>
                  <a:gd name="connsiteX15" fmla="*/ 1384302 w 2184402"/>
                  <a:gd name="connsiteY15" fmla="*/ 29030 h 3339434"/>
                  <a:gd name="connsiteX16" fmla="*/ 1146631 w 2184402"/>
                  <a:gd name="connsiteY16" fmla="*/ 27215 h 3339434"/>
                  <a:gd name="connsiteX17" fmla="*/ 174173 w 2184402"/>
                  <a:gd name="connsiteY17" fmla="*/ 0 h 3339434"/>
                  <a:gd name="connsiteX0" fmla="*/ 174173 w 2184402"/>
                  <a:gd name="connsiteY0" fmla="*/ 0 h 3339434"/>
                  <a:gd name="connsiteX1" fmla="*/ 2 w 2184402"/>
                  <a:gd name="connsiteY1" fmla="*/ 586015 h 3339434"/>
                  <a:gd name="connsiteX2" fmla="*/ 8031 w 2184402"/>
                  <a:gd name="connsiteY2" fmla="*/ 1210390 h 3339434"/>
                  <a:gd name="connsiteX3" fmla="*/ 112488 w 2184402"/>
                  <a:gd name="connsiteY3" fmla="*/ 1456873 h 3339434"/>
                  <a:gd name="connsiteX4" fmla="*/ 189716 w 2184402"/>
                  <a:gd name="connsiteY4" fmla="*/ 1844812 h 3339434"/>
                  <a:gd name="connsiteX5" fmla="*/ 393702 w 2184402"/>
                  <a:gd name="connsiteY5" fmla="*/ 1832427 h 3339434"/>
                  <a:gd name="connsiteX6" fmla="*/ 355602 w 2184402"/>
                  <a:gd name="connsiteY6" fmla="*/ 2162629 h 3339434"/>
                  <a:gd name="connsiteX7" fmla="*/ 406402 w 2184402"/>
                  <a:gd name="connsiteY7" fmla="*/ 2324100 h 3339434"/>
                  <a:gd name="connsiteX8" fmla="*/ 850902 w 2184402"/>
                  <a:gd name="connsiteY8" fmla="*/ 2772229 h 3339434"/>
                  <a:gd name="connsiteX9" fmla="*/ 1422402 w 2184402"/>
                  <a:gd name="connsiteY9" fmla="*/ 3267529 h 3339434"/>
                  <a:gd name="connsiteX10" fmla="*/ 1816102 w 2184402"/>
                  <a:gd name="connsiteY10" fmla="*/ 3153228 h 3339434"/>
                  <a:gd name="connsiteX11" fmla="*/ 2120582 w 2184402"/>
                  <a:gd name="connsiteY11" fmla="*/ 2164443 h 3339434"/>
                  <a:gd name="connsiteX12" fmla="*/ 2184402 w 2184402"/>
                  <a:gd name="connsiteY12" fmla="*/ 1857829 h 3339434"/>
                  <a:gd name="connsiteX13" fmla="*/ 1727202 w 2184402"/>
                  <a:gd name="connsiteY13" fmla="*/ 994228 h 3339434"/>
                  <a:gd name="connsiteX14" fmla="*/ 1651002 w 2184402"/>
                  <a:gd name="connsiteY14" fmla="*/ 673102 h 3339434"/>
                  <a:gd name="connsiteX15" fmla="*/ 1689102 w 2184402"/>
                  <a:gd name="connsiteY15" fmla="*/ 105229 h 3339434"/>
                  <a:gd name="connsiteX16" fmla="*/ 1384302 w 2184402"/>
                  <a:gd name="connsiteY16" fmla="*/ 29030 h 3339434"/>
                  <a:gd name="connsiteX17" fmla="*/ 1146631 w 2184402"/>
                  <a:gd name="connsiteY17" fmla="*/ 27215 h 3339434"/>
                  <a:gd name="connsiteX18" fmla="*/ 174173 w 2184402"/>
                  <a:gd name="connsiteY18" fmla="*/ 0 h 3339434"/>
                  <a:gd name="connsiteX0" fmla="*/ 174173 w 2121694"/>
                  <a:gd name="connsiteY0" fmla="*/ 0 h 3339434"/>
                  <a:gd name="connsiteX1" fmla="*/ 2 w 2121694"/>
                  <a:gd name="connsiteY1" fmla="*/ 586015 h 3339434"/>
                  <a:gd name="connsiteX2" fmla="*/ 8031 w 2121694"/>
                  <a:gd name="connsiteY2" fmla="*/ 1210390 h 3339434"/>
                  <a:gd name="connsiteX3" fmla="*/ 112488 w 2121694"/>
                  <a:gd name="connsiteY3" fmla="*/ 1456873 h 3339434"/>
                  <a:gd name="connsiteX4" fmla="*/ 189716 w 2121694"/>
                  <a:gd name="connsiteY4" fmla="*/ 1844812 h 3339434"/>
                  <a:gd name="connsiteX5" fmla="*/ 393702 w 2121694"/>
                  <a:gd name="connsiteY5" fmla="*/ 1832427 h 3339434"/>
                  <a:gd name="connsiteX6" fmla="*/ 355602 w 2121694"/>
                  <a:gd name="connsiteY6" fmla="*/ 2162629 h 3339434"/>
                  <a:gd name="connsiteX7" fmla="*/ 406402 w 2121694"/>
                  <a:gd name="connsiteY7" fmla="*/ 2324100 h 3339434"/>
                  <a:gd name="connsiteX8" fmla="*/ 850902 w 2121694"/>
                  <a:gd name="connsiteY8" fmla="*/ 2772229 h 3339434"/>
                  <a:gd name="connsiteX9" fmla="*/ 1422402 w 2121694"/>
                  <a:gd name="connsiteY9" fmla="*/ 3267529 h 3339434"/>
                  <a:gd name="connsiteX10" fmla="*/ 1816102 w 2121694"/>
                  <a:gd name="connsiteY10" fmla="*/ 3153228 h 3339434"/>
                  <a:gd name="connsiteX11" fmla="*/ 2120582 w 2121694"/>
                  <a:gd name="connsiteY11" fmla="*/ 2164443 h 3339434"/>
                  <a:gd name="connsiteX12" fmla="*/ 2121694 w 2121694"/>
                  <a:gd name="connsiteY12" fmla="*/ 1857832 h 3339434"/>
                  <a:gd name="connsiteX13" fmla="*/ 1727202 w 2121694"/>
                  <a:gd name="connsiteY13" fmla="*/ 994228 h 3339434"/>
                  <a:gd name="connsiteX14" fmla="*/ 1651002 w 2121694"/>
                  <a:gd name="connsiteY14" fmla="*/ 673102 h 3339434"/>
                  <a:gd name="connsiteX15" fmla="*/ 1689102 w 2121694"/>
                  <a:gd name="connsiteY15" fmla="*/ 105229 h 3339434"/>
                  <a:gd name="connsiteX16" fmla="*/ 1384302 w 2121694"/>
                  <a:gd name="connsiteY16" fmla="*/ 29030 h 3339434"/>
                  <a:gd name="connsiteX17" fmla="*/ 1146631 w 2121694"/>
                  <a:gd name="connsiteY17" fmla="*/ 27215 h 3339434"/>
                  <a:gd name="connsiteX18" fmla="*/ 174173 w 2121694"/>
                  <a:gd name="connsiteY18" fmla="*/ 0 h 3339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1694" h="3339434">
                    <a:moveTo>
                      <a:pt x="174173" y="0"/>
                    </a:moveTo>
                    <a:lnTo>
                      <a:pt x="2" y="586015"/>
                    </a:lnTo>
                    <a:lnTo>
                      <a:pt x="8031" y="1210390"/>
                    </a:lnTo>
                    <a:lnTo>
                      <a:pt x="112488" y="1456873"/>
                    </a:lnTo>
                    <a:lnTo>
                      <a:pt x="189716" y="1844812"/>
                    </a:lnTo>
                    <a:lnTo>
                      <a:pt x="393702" y="1832427"/>
                    </a:lnTo>
                    <a:lnTo>
                      <a:pt x="355602" y="2162629"/>
                    </a:lnTo>
                    <a:lnTo>
                      <a:pt x="406402" y="2324100"/>
                    </a:lnTo>
                    <a:lnTo>
                      <a:pt x="850902" y="2772229"/>
                    </a:lnTo>
                    <a:lnTo>
                      <a:pt x="1422402" y="3267529"/>
                    </a:lnTo>
                    <a:cubicBezTo>
                      <a:pt x="1649192" y="3299095"/>
                      <a:pt x="1816102" y="3339434"/>
                      <a:pt x="1816102" y="3153228"/>
                    </a:cubicBezTo>
                    <a:lnTo>
                      <a:pt x="2120582" y="2164443"/>
                    </a:lnTo>
                    <a:cubicBezTo>
                      <a:pt x="2120953" y="2062239"/>
                      <a:pt x="2121323" y="1960036"/>
                      <a:pt x="2121694" y="1857832"/>
                    </a:cubicBezTo>
                    <a:lnTo>
                      <a:pt x="1727202" y="994228"/>
                    </a:lnTo>
                    <a:lnTo>
                      <a:pt x="1651002" y="673102"/>
                    </a:lnTo>
                    <a:lnTo>
                      <a:pt x="1689102" y="105229"/>
                    </a:lnTo>
                    <a:lnTo>
                      <a:pt x="1384302" y="29030"/>
                    </a:lnTo>
                    <a:lnTo>
                      <a:pt x="1146631" y="27215"/>
                    </a:lnTo>
                    <a:lnTo>
                      <a:pt x="174173"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189" name="Freeform 188"/>
              <p:cNvSpPr/>
              <p:nvPr/>
            </p:nvSpPr>
            <p:spPr>
              <a:xfrm rot="20726677">
                <a:off x="3505201" y="5966906"/>
                <a:ext cx="930141" cy="520832"/>
              </a:xfrm>
              <a:custGeom>
                <a:avLst/>
                <a:gdLst>
                  <a:gd name="connsiteX0" fmla="*/ 3390900 w 5295900"/>
                  <a:gd name="connsiteY0" fmla="*/ 0 h 2743200"/>
                  <a:gd name="connsiteX1" fmla="*/ 2857500 w 5295900"/>
                  <a:gd name="connsiteY1" fmla="*/ 914400 h 2743200"/>
                  <a:gd name="connsiteX2" fmla="*/ 2438400 w 5295900"/>
                  <a:gd name="connsiteY2" fmla="*/ 1333500 h 2743200"/>
                  <a:gd name="connsiteX3" fmla="*/ 1828800 w 5295900"/>
                  <a:gd name="connsiteY3" fmla="*/ 1638300 h 2743200"/>
                  <a:gd name="connsiteX4" fmla="*/ 228600 w 5295900"/>
                  <a:gd name="connsiteY4" fmla="*/ 1828800 h 2743200"/>
                  <a:gd name="connsiteX5" fmla="*/ 0 w 5295900"/>
                  <a:gd name="connsiteY5" fmla="*/ 2362200 h 2743200"/>
                  <a:gd name="connsiteX6" fmla="*/ 914400 w 5295900"/>
                  <a:gd name="connsiteY6" fmla="*/ 2667000 h 2743200"/>
                  <a:gd name="connsiteX7" fmla="*/ 2286000 w 5295900"/>
                  <a:gd name="connsiteY7" fmla="*/ 2743200 h 2743200"/>
                  <a:gd name="connsiteX8" fmla="*/ 3162300 w 5295900"/>
                  <a:gd name="connsiteY8" fmla="*/ 2247900 h 2743200"/>
                  <a:gd name="connsiteX9" fmla="*/ 3924300 w 5295900"/>
                  <a:gd name="connsiteY9" fmla="*/ 2095500 h 2743200"/>
                  <a:gd name="connsiteX10" fmla="*/ 4305300 w 5295900"/>
                  <a:gd name="connsiteY10" fmla="*/ 2552700 h 2743200"/>
                  <a:gd name="connsiteX11" fmla="*/ 4419600 w 5295900"/>
                  <a:gd name="connsiteY11" fmla="*/ 2743200 h 2743200"/>
                  <a:gd name="connsiteX12" fmla="*/ 4838700 w 5295900"/>
                  <a:gd name="connsiteY12" fmla="*/ 2743200 h 2743200"/>
                  <a:gd name="connsiteX13" fmla="*/ 4914900 w 5295900"/>
                  <a:gd name="connsiteY13" fmla="*/ 2019300 h 2743200"/>
                  <a:gd name="connsiteX14" fmla="*/ 5181600 w 5295900"/>
                  <a:gd name="connsiteY14" fmla="*/ 1638300 h 2743200"/>
                  <a:gd name="connsiteX15" fmla="*/ 5295900 w 5295900"/>
                  <a:gd name="connsiteY15" fmla="*/ 914400 h 2743200"/>
                  <a:gd name="connsiteX16" fmla="*/ 5181600 w 5295900"/>
                  <a:gd name="connsiteY16" fmla="*/ 723900 h 2743200"/>
                  <a:gd name="connsiteX17" fmla="*/ 4648200 w 5295900"/>
                  <a:gd name="connsiteY17" fmla="*/ 838200 h 2743200"/>
                  <a:gd name="connsiteX18" fmla="*/ 3733800 w 5295900"/>
                  <a:gd name="connsiteY18" fmla="*/ 723900 h 2743200"/>
                  <a:gd name="connsiteX19" fmla="*/ 3314700 w 5295900"/>
                  <a:gd name="connsiteY19" fmla="*/ 190500 h 2743200"/>
                  <a:gd name="connsiteX0" fmla="*/ 3390900 w 5295900"/>
                  <a:gd name="connsiteY0" fmla="*/ 0 h 2743200"/>
                  <a:gd name="connsiteX1" fmla="*/ 2857500 w 5295900"/>
                  <a:gd name="connsiteY1" fmla="*/ 914400 h 2743200"/>
                  <a:gd name="connsiteX2" fmla="*/ 2438400 w 5295900"/>
                  <a:gd name="connsiteY2" fmla="*/ 1333500 h 2743200"/>
                  <a:gd name="connsiteX3" fmla="*/ 1828800 w 5295900"/>
                  <a:gd name="connsiteY3" fmla="*/ 1638300 h 2743200"/>
                  <a:gd name="connsiteX4" fmla="*/ 228600 w 5295900"/>
                  <a:gd name="connsiteY4" fmla="*/ 1828800 h 2743200"/>
                  <a:gd name="connsiteX5" fmla="*/ 36992 w 5295900"/>
                  <a:gd name="connsiteY5" fmla="*/ 2025150 h 2743200"/>
                  <a:gd name="connsiteX6" fmla="*/ 0 w 5295900"/>
                  <a:gd name="connsiteY6" fmla="*/ 2362200 h 2743200"/>
                  <a:gd name="connsiteX7" fmla="*/ 914400 w 5295900"/>
                  <a:gd name="connsiteY7" fmla="*/ 2667000 h 2743200"/>
                  <a:gd name="connsiteX8" fmla="*/ 2286000 w 5295900"/>
                  <a:gd name="connsiteY8" fmla="*/ 2743200 h 2743200"/>
                  <a:gd name="connsiteX9" fmla="*/ 3162300 w 5295900"/>
                  <a:gd name="connsiteY9" fmla="*/ 2247900 h 2743200"/>
                  <a:gd name="connsiteX10" fmla="*/ 3924300 w 5295900"/>
                  <a:gd name="connsiteY10" fmla="*/ 2095500 h 2743200"/>
                  <a:gd name="connsiteX11" fmla="*/ 4305300 w 5295900"/>
                  <a:gd name="connsiteY11" fmla="*/ 2552700 h 2743200"/>
                  <a:gd name="connsiteX12" fmla="*/ 4419600 w 5295900"/>
                  <a:gd name="connsiteY12" fmla="*/ 2743200 h 2743200"/>
                  <a:gd name="connsiteX13" fmla="*/ 4838700 w 5295900"/>
                  <a:gd name="connsiteY13" fmla="*/ 2743200 h 2743200"/>
                  <a:gd name="connsiteX14" fmla="*/ 4914900 w 5295900"/>
                  <a:gd name="connsiteY14" fmla="*/ 2019300 h 2743200"/>
                  <a:gd name="connsiteX15" fmla="*/ 5181600 w 5295900"/>
                  <a:gd name="connsiteY15" fmla="*/ 1638300 h 2743200"/>
                  <a:gd name="connsiteX16" fmla="*/ 5295900 w 5295900"/>
                  <a:gd name="connsiteY16" fmla="*/ 914400 h 2743200"/>
                  <a:gd name="connsiteX17" fmla="*/ 5181600 w 5295900"/>
                  <a:gd name="connsiteY17" fmla="*/ 723900 h 2743200"/>
                  <a:gd name="connsiteX18" fmla="*/ 4648200 w 5295900"/>
                  <a:gd name="connsiteY18" fmla="*/ 838200 h 2743200"/>
                  <a:gd name="connsiteX19" fmla="*/ 3733800 w 5295900"/>
                  <a:gd name="connsiteY19" fmla="*/ 723900 h 2743200"/>
                  <a:gd name="connsiteX20" fmla="*/ 3314700 w 5295900"/>
                  <a:gd name="connsiteY20" fmla="*/ 190500 h 2743200"/>
                  <a:gd name="connsiteX0" fmla="*/ 3390900 w 5295900"/>
                  <a:gd name="connsiteY0" fmla="*/ 0 h 2743200"/>
                  <a:gd name="connsiteX1" fmla="*/ 2857500 w 5295900"/>
                  <a:gd name="connsiteY1" fmla="*/ 914400 h 2743200"/>
                  <a:gd name="connsiteX2" fmla="*/ 2438400 w 5295900"/>
                  <a:gd name="connsiteY2" fmla="*/ 1333500 h 2743200"/>
                  <a:gd name="connsiteX3" fmla="*/ 1828800 w 5295900"/>
                  <a:gd name="connsiteY3" fmla="*/ 1638300 h 2743200"/>
                  <a:gd name="connsiteX4" fmla="*/ 228600 w 5295900"/>
                  <a:gd name="connsiteY4" fmla="*/ 1828800 h 2743200"/>
                  <a:gd name="connsiteX5" fmla="*/ 36992 w 5295900"/>
                  <a:gd name="connsiteY5" fmla="*/ 2025150 h 2743200"/>
                  <a:gd name="connsiteX6" fmla="*/ 0 w 5295900"/>
                  <a:gd name="connsiteY6" fmla="*/ 2362200 h 2743200"/>
                  <a:gd name="connsiteX7" fmla="*/ 914400 w 5295900"/>
                  <a:gd name="connsiteY7" fmla="*/ 2667000 h 2743200"/>
                  <a:gd name="connsiteX8" fmla="*/ 2286000 w 5295900"/>
                  <a:gd name="connsiteY8" fmla="*/ 2743200 h 2743200"/>
                  <a:gd name="connsiteX9" fmla="*/ 3162300 w 5295900"/>
                  <a:gd name="connsiteY9" fmla="*/ 2247900 h 2743200"/>
                  <a:gd name="connsiteX10" fmla="*/ 3924300 w 5295900"/>
                  <a:gd name="connsiteY10" fmla="*/ 2095500 h 2743200"/>
                  <a:gd name="connsiteX11" fmla="*/ 4305300 w 5295900"/>
                  <a:gd name="connsiteY11" fmla="*/ 2552700 h 2743200"/>
                  <a:gd name="connsiteX12" fmla="*/ 4419600 w 5295900"/>
                  <a:gd name="connsiteY12" fmla="*/ 2743200 h 2743200"/>
                  <a:gd name="connsiteX13" fmla="*/ 4838700 w 5295900"/>
                  <a:gd name="connsiteY13" fmla="*/ 2743200 h 2743200"/>
                  <a:gd name="connsiteX14" fmla="*/ 4914900 w 5295900"/>
                  <a:gd name="connsiteY14" fmla="*/ 2019300 h 2743200"/>
                  <a:gd name="connsiteX15" fmla="*/ 5181600 w 5295900"/>
                  <a:gd name="connsiteY15" fmla="*/ 1638300 h 2743200"/>
                  <a:gd name="connsiteX16" fmla="*/ 5295900 w 5295900"/>
                  <a:gd name="connsiteY16" fmla="*/ 914400 h 2743200"/>
                  <a:gd name="connsiteX17" fmla="*/ 5181600 w 5295900"/>
                  <a:gd name="connsiteY17" fmla="*/ 723900 h 2743200"/>
                  <a:gd name="connsiteX18" fmla="*/ 4648200 w 5295900"/>
                  <a:gd name="connsiteY18" fmla="*/ 838200 h 2743200"/>
                  <a:gd name="connsiteX19" fmla="*/ 3733800 w 5295900"/>
                  <a:gd name="connsiteY19" fmla="*/ 723900 h 2743200"/>
                  <a:gd name="connsiteX20" fmla="*/ 3314700 w 5295900"/>
                  <a:gd name="connsiteY20" fmla="*/ 190500 h 2743200"/>
                  <a:gd name="connsiteX0" fmla="*/ 3390900 w 5295900"/>
                  <a:gd name="connsiteY0" fmla="*/ 0 h 2743200"/>
                  <a:gd name="connsiteX1" fmla="*/ 2857500 w 5295900"/>
                  <a:gd name="connsiteY1" fmla="*/ 914400 h 2743200"/>
                  <a:gd name="connsiteX2" fmla="*/ 2438400 w 5295900"/>
                  <a:gd name="connsiteY2" fmla="*/ 1333500 h 2743200"/>
                  <a:gd name="connsiteX3" fmla="*/ 1828800 w 5295900"/>
                  <a:gd name="connsiteY3" fmla="*/ 1638300 h 2743200"/>
                  <a:gd name="connsiteX4" fmla="*/ 228600 w 5295900"/>
                  <a:gd name="connsiteY4" fmla="*/ 1828800 h 2743200"/>
                  <a:gd name="connsiteX5" fmla="*/ 36992 w 5295900"/>
                  <a:gd name="connsiteY5" fmla="*/ 2025150 h 2743200"/>
                  <a:gd name="connsiteX6" fmla="*/ 0 w 5295900"/>
                  <a:gd name="connsiteY6" fmla="*/ 2362200 h 2743200"/>
                  <a:gd name="connsiteX7" fmla="*/ 914400 w 5295900"/>
                  <a:gd name="connsiteY7" fmla="*/ 2667000 h 2743200"/>
                  <a:gd name="connsiteX8" fmla="*/ 2286000 w 5295900"/>
                  <a:gd name="connsiteY8" fmla="*/ 2743200 h 2743200"/>
                  <a:gd name="connsiteX9" fmla="*/ 3162300 w 5295900"/>
                  <a:gd name="connsiteY9" fmla="*/ 2247900 h 2743200"/>
                  <a:gd name="connsiteX10" fmla="*/ 3924300 w 5295900"/>
                  <a:gd name="connsiteY10" fmla="*/ 2095500 h 2743200"/>
                  <a:gd name="connsiteX11" fmla="*/ 4305300 w 5295900"/>
                  <a:gd name="connsiteY11" fmla="*/ 2552700 h 2743200"/>
                  <a:gd name="connsiteX12" fmla="*/ 4419600 w 5295900"/>
                  <a:gd name="connsiteY12" fmla="*/ 2743200 h 2743200"/>
                  <a:gd name="connsiteX13" fmla="*/ 4656013 w 5295900"/>
                  <a:gd name="connsiteY13" fmla="*/ 2712062 h 2743200"/>
                  <a:gd name="connsiteX14" fmla="*/ 4914900 w 5295900"/>
                  <a:gd name="connsiteY14" fmla="*/ 2019300 h 2743200"/>
                  <a:gd name="connsiteX15" fmla="*/ 5181600 w 5295900"/>
                  <a:gd name="connsiteY15" fmla="*/ 1638300 h 2743200"/>
                  <a:gd name="connsiteX16" fmla="*/ 5295900 w 5295900"/>
                  <a:gd name="connsiteY16" fmla="*/ 914400 h 2743200"/>
                  <a:gd name="connsiteX17" fmla="*/ 5181600 w 5295900"/>
                  <a:gd name="connsiteY17" fmla="*/ 723900 h 2743200"/>
                  <a:gd name="connsiteX18" fmla="*/ 4648200 w 5295900"/>
                  <a:gd name="connsiteY18" fmla="*/ 838200 h 2743200"/>
                  <a:gd name="connsiteX19" fmla="*/ 3733800 w 5295900"/>
                  <a:gd name="connsiteY19" fmla="*/ 723900 h 2743200"/>
                  <a:gd name="connsiteX20" fmla="*/ 3314700 w 5295900"/>
                  <a:gd name="connsiteY20" fmla="*/ 190500 h 2743200"/>
                  <a:gd name="connsiteX0" fmla="*/ 3390900 w 5295900"/>
                  <a:gd name="connsiteY0" fmla="*/ 0 h 2743200"/>
                  <a:gd name="connsiteX1" fmla="*/ 2857500 w 5295900"/>
                  <a:gd name="connsiteY1" fmla="*/ 914400 h 2743200"/>
                  <a:gd name="connsiteX2" fmla="*/ 2438400 w 5295900"/>
                  <a:gd name="connsiteY2" fmla="*/ 1333500 h 2743200"/>
                  <a:gd name="connsiteX3" fmla="*/ 1828800 w 5295900"/>
                  <a:gd name="connsiteY3" fmla="*/ 1638300 h 2743200"/>
                  <a:gd name="connsiteX4" fmla="*/ 228600 w 5295900"/>
                  <a:gd name="connsiteY4" fmla="*/ 1828800 h 2743200"/>
                  <a:gd name="connsiteX5" fmla="*/ 36992 w 5295900"/>
                  <a:gd name="connsiteY5" fmla="*/ 2025150 h 2743200"/>
                  <a:gd name="connsiteX6" fmla="*/ 0 w 5295900"/>
                  <a:gd name="connsiteY6" fmla="*/ 2362200 h 2743200"/>
                  <a:gd name="connsiteX7" fmla="*/ 914400 w 5295900"/>
                  <a:gd name="connsiteY7" fmla="*/ 2667000 h 2743200"/>
                  <a:gd name="connsiteX8" fmla="*/ 2286000 w 5295900"/>
                  <a:gd name="connsiteY8" fmla="*/ 2743200 h 2743200"/>
                  <a:gd name="connsiteX9" fmla="*/ 3162300 w 5295900"/>
                  <a:gd name="connsiteY9" fmla="*/ 2247900 h 2743200"/>
                  <a:gd name="connsiteX10" fmla="*/ 3924300 w 5295900"/>
                  <a:gd name="connsiteY10" fmla="*/ 2095500 h 2743200"/>
                  <a:gd name="connsiteX11" fmla="*/ 4305300 w 5295900"/>
                  <a:gd name="connsiteY11" fmla="*/ 2552700 h 2743200"/>
                  <a:gd name="connsiteX12" fmla="*/ 4419600 w 5295900"/>
                  <a:gd name="connsiteY12" fmla="*/ 2743200 h 2743200"/>
                  <a:gd name="connsiteX13" fmla="*/ 4656013 w 5295900"/>
                  <a:gd name="connsiteY13" fmla="*/ 2712062 h 2743200"/>
                  <a:gd name="connsiteX14" fmla="*/ 4914900 w 5295900"/>
                  <a:gd name="connsiteY14" fmla="*/ 2019300 h 2743200"/>
                  <a:gd name="connsiteX15" fmla="*/ 5181600 w 5295900"/>
                  <a:gd name="connsiteY15" fmla="*/ 1638300 h 2743200"/>
                  <a:gd name="connsiteX16" fmla="*/ 5295900 w 5295900"/>
                  <a:gd name="connsiteY16" fmla="*/ 914400 h 2743200"/>
                  <a:gd name="connsiteX17" fmla="*/ 5181600 w 5295900"/>
                  <a:gd name="connsiteY17" fmla="*/ 723900 h 2743200"/>
                  <a:gd name="connsiteX18" fmla="*/ 4648200 w 5295900"/>
                  <a:gd name="connsiteY18" fmla="*/ 838200 h 2743200"/>
                  <a:gd name="connsiteX19" fmla="*/ 3733800 w 5295900"/>
                  <a:gd name="connsiteY19" fmla="*/ 723900 h 2743200"/>
                  <a:gd name="connsiteX20" fmla="*/ 3314700 w 5295900"/>
                  <a:gd name="connsiteY20" fmla="*/ 190500 h 2743200"/>
                  <a:gd name="connsiteX0" fmla="*/ 3390900 w 5295900"/>
                  <a:gd name="connsiteY0" fmla="*/ 0 h 2743200"/>
                  <a:gd name="connsiteX1" fmla="*/ 2857500 w 5295900"/>
                  <a:gd name="connsiteY1" fmla="*/ 914400 h 2743200"/>
                  <a:gd name="connsiteX2" fmla="*/ 2438400 w 5295900"/>
                  <a:gd name="connsiteY2" fmla="*/ 1333500 h 2743200"/>
                  <a:gd name="connsiteX3" fmla="*/ 1828800 w 5295900"/>
                  <a:gd name="connsiteY3" fmla="*/ 1638300 h 2743200"/>
                  <a:gd name="connsiteX4" fmla="*/ 228600 w 5295900"/>
                  <a:gd name="connsiteY4" fmla="*/ 1828800 h 2743200"/>
                  <a:gd name="connsiteX5" fmla="*/ 36992 w 5295900"/>
                  <a:gd name="connsiteY5" fmla="*/ 2025150 h 2743200"/>
                  <a:gd name="connsiteX6" fmla="*/ 0 w 5295900"/>
                  <a:gd name="connsiteY6" fmla="*/ 2362200 h 2743200"/>
                  <a:gd name="connsiteX7" fmla="*/ 914400 w 5295900"/>
                  <a:gd name="connsiteY7" fmla="*/ 2667000 h 2743200"/>
                  <a:gd name="connsiteX8" fmla="*/ 2286000 w 5295900"/>
                  <a:gd name="connsiteY8" fmla="*/ 2743200 h 2743200"/>
                  <a:gd name="connsiteX9" fmla="*/ 3162300 w 5295900"/>
                  <a:gd name="connsiteY9" fmla="*/ 2247900 h 2743200"/>
                  <a:gd name="connsiteX10" fmla="*/ 3924300 w 5295900"/>
                  <a:gd name="connsiteY10" fmla="*/ 2095500 h 2743200"/>
                  <a:gd name="connsiteX11" fmla="*/ 4305300 w 5295900"/>
                  <a:gd name="connsiteY11" fmla="*/ 2552700 h 2743200"/>
                  <a:gd name="connsiteX12" fmla="*/ 4419600 w 5295900"/>
                  <a:gd name="connsiteY12" fmla="*/ 2743200 h 2743200"/>
                  <a:gd name="connsiteX13" fmla="*/ 4656013 w 5295900"/>
                  <a:gd name="connsiteY13" fmla="*/ 2712062 h 2743200"/>
                  <a:gd name="connsiteX14" fmla="*/ 4914900 w 5295900"/>
                  <a:gd name="connsiteY14" fmla="*/ 2019300 h 2743200"/>
                  <a:gd name="connsiteX15" fmla="*/ 5181600 w 5295900"/>
                  <a:gd name="connsiteY15" fmla="*/ 1638300 h 2743200"/>
                  <a:gd name="connsiteX16" fmla="*/ 5295900 w 5295900"/>
                  <a:gd name="connsiteY16" fmla="*/ 914400 h 2743200"/>
                  <a:gd name="connsiteX17" fmla="*/ 5181600 w 5295900"/>
                  <a:gd name="connsiteY17" fmla="*/ 723900 h 2743200"/>
                  <a:gd name="connsiteX18" fmla="*/ 4648200 w 5295900"/>
                  <a:gd name="connsiteY18" fmla="*/ 838200 h 2743200"/>
                  <a:gd name="connsiteX19" fmla="*/ 3733800 w 5295900"/>
                  <a:gd name="connsiteY19" fmla="*/ 723900 h 2743200"/>
                  <a:gd name="connsiteX20" fmla="*/ 3314700 w 5295900"/>
                  <a:gd name="connsiteY20" fmla="*/ 190500 h 274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295900" h="2743200">
                    <a:moveTo>
                      <a:pt x="3390900" y="0"/>
                    </a:moveTo>
                    <a:lnTo>
                      <a:pt x="2857500" y="914400"/>
                    </a:lnTo>
                    <a:lnTo>
                      <a:pt x="2438400" y="1333500"/>
                    </a:lnTo>
                    <a:cubicBezTo>
                      <a:pt x="1855694" y="1644276"/>
                      <a:pt x="2237697" y="1502515"/>
                      <a:pt x="1828800" y="1638300"/>
                    </a:cubicBezTo>
                    <a:lnTo>
                      <a:pt x="228600" y="1828800"/>
                    </a:lnTo>
                    <a:lnTo>
                      <a:pt x="36992" y="2025150"/>
                    </a:lnTo>
                    <a:lnTo>
                      <a:pt x="0" y="2362200"/>
                    </a:lnTo>
                    <a:cubicBezTo>
                      <a:pt x="196488" y="2474543"/>
                      <a:pt x="567035" y="2667000"/>
                      <a:pt x="914400" y="2667000"/>
                    </a:cubicBezTo>
                    <a:lnTo>
                      <a:pt x="2286000" y="2743200"/>
                    </a:lnTo>
                    <a:lnTo>
                      <a:pt x="3162300" y="2247900"/>
                    </a:lnTo>
                    <a:cubicBezTo>
                      <a:pt x="3620434" y="2068819"/>
                      <a:pt x="3670300" y="2146300"/>
                      <a:pt x="3924300" y="2095500"/>
                    </a:cubicBezTo>
                    <a:lnTo>
                      <a:pt x="4305300" y="2552700"/>
                    </a:lnTo>
                    <a:lnTo>
                      <a:pt x="4419600" y="2743200"/>
                    </a:lnTo>
                    <a:lnTo>
                      <a:pt x="4656013" y="2712062"/>
                    </a:lnTo>
                    <a:lnTo>
                      <a:pt x="4914900" y="2019300"/>
                    </a:lnTo>
                    <a:lnTo>
                      <a:pt x="5181600" y="1638300"/>
                    </a:lnTo>
                    <a:lnTo>
                      <a:pt x="5295900" y="914400"/>
                    </a:lnTo>
                    <a:lnTo>
                      <a:pt x="5181600" y="723900"/>
                    </a:lnTo>
                    <a:lnTo>
                      <a:pt x="4648200" y="838200"/>
                    </a:lnTo>
                    <a:lnTo>
                      <a:pt x="3733800" y="723900"/>
                    </a:lnTo>
                    <a:lnTo>
                      <a:pt x="3314700" y="190500"/>
                    </a:lnTo>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190" name="Freeform 189"/>
              <p:cNvSpPr/>
              <p:nvPr/>
            </p:nvSpPr>
            <p:spPr>
              <a:xfrm>
                <a:off x="3932799" y="2784060"/>
                <a:ext cx="1366494" cy="3392640"/>
              </a:xfrm>
              <a:custGeom>
                <a:avLst/>
                <a:gdLst>
                  <a:gd name="connsiteX0" fmla="*/ 457200 w 7200900"/>
                  <a:gd name="connsiteY0" fmla="*/ 1752600 h 13792200"/>
                  <a:gd name="connsiteX1" fmla="*/ 190500 w 7200900"/>
                  <a:gd name="connsiteY1" fmla="*/ 2133600 h 13792200"/>
                  <a:gd name="connsiteX2" fmla="*/ 266700 w 7200900"/>
                  <a:gd name="connsiteY2" fmla="*/ 2514600 h 13792200"/>
                  <a:gd name="connsiteX3" fmla="*/ 495300 w 7200900"/>
                  <a:gd name="connsiteY3" fmla="*/ 2705100 h 13792200"/>
                  <a:gd name="connsiteX4" fmla="*/ 457200 w 7200900"/>
                  <a:gd name="connsiteY4" fmla="*/ 3962400 h 13792200"/>
                  <a:gd name="connsiteX5" fmla="*/ 190500 w 7200900"/>
                  <a:gd name="connsiteY5" fmla="*/ 6819900 h 13792200"/>
                  <a:gd name="connsiteX6" fmla="*/ 0 w 7200900"/>
                  <a:gd name="connsiteY6" fmla="*/ 9144000 h 13792200"/>
                  <a:gd name="connsiteX7" fmla="*/ 76200 w 7200900"/>
                  <a:gd name="connsiteY7" fmla="*/ 10058400 h 13792200"/>
                  <a:gd name="connsiteX8" fmla="*/ 228600 w 7200900"/>
                  <a:gd name="connsiteY8" fmla="*/ 10629900 h 13792200"/>
                  <a:gd name="connsiteX9" fmla="*/ 838200 w 7200900"/>
                  <a:gd name="connsiteY9" fmla="*/ 13258800 h 13792200"/>
                  <a:gd name="connsiteX10" fmla="*/ 3810000 w 7200900"/>
                  <a:gd name="connsiteY10" fmla="*/ 13220700 h 13792200"/>
                  <a:gd name="connsiteX11" fmla="*/ 3009900 w 7200900"/>
                  <a:gd name="connsiteY11" fmla="*/ 10325100 h 13792200"/>
                  <a:gd name="connsiteX12" fmla="*/ 2971800 w 7200900"/>
                  <a:gd name="connsiteY12" fmla="*/ 9372600 h 13792200"/>
                  <a:gd name="connsiteX13" fmla="*/ 2819400 w 7200900"/>
                  <a:gd name="connsiteY13" fmla="*/ 9220200 h 13792200"/>
                  <a:gd name="connsiteX14" fmla="*/ 3009900 w 7200900"/>
                  <a:gd name="connsiteY14" fmla="*/ 9029700 h 13792200"/>
                  <a:gd name="connsiteX15" fmla="*/ 2857500 w 7200900"/>
                  <a:gd name="connsiteY15" fmla="*/ 7772400 h 13792200"/>
                  <a:gd name="connsiteX16" fmla="*/ 3619500 w 7200900"/>
                  <a:gd name="connsiteY16" fmla="*/ 4114800 h 13792200"/>
                  <a:gd name="connsiteX17" fmla="*/ 3848100 w 7200900"/>
                  <a:gd name="connsiteY17" fmla="*/ 5219700 h 13792200"/>
                  <a:gd name="connsiteX18" fmla="*/ 3924300 w 7200900"/>
                  <a:gd name="connsiteY18" fmla="*/ 7048500 h 13792200"/>
                  <a:gd name="connsiteX19" fmla="*/ 3924300 w 7200900"/>
                  <a:gd name="connsiteY19" fmla="*/ 9029700 h 13792200"/>
                  <a:gd name="connsiteX20" fmla="*/ 3810000 w 7200900"/>
                  <a:gd name="connsiteY20" fmla="*/ 10401300 h 13792200"/>
                  <a:gd name="connsiteX21" fmla="*/ 3962400 w 7200900"/>
                  <a:gd name="connsiteY21" fmla="*/ 11125200 h 13792200"/>
                  <a:gd name="connsiteX22" fmla="*/ 4152900 w 7200900"/>
                  <a:gd name="connsiteY22" fmla="*/ 12877800 h 13792200"/>
                  <a:gd name="connsiteX23" fmla="*/ 4229100 w 7200900"/>
                  <a:gd name="connsiteY23" fmla="*/ 13792200 h 13792200"/>
                  <a:gd name="connsiteX24" fmla="*/ 6858000 w 7200900"/>
                  <a:gd name="connsiteY24" fmla="*/ 13563600 h 13792200"/>
                  <a:gd name="connsiteX25" fmla="*/ 6858000 w 7200900"/>
                  <a:gd name="connsiteY25" fmla="*/ 11315700 h 13792200"/>
                  <a:gd name="connsiteX26" fmla="*/ 6705600 w 7200900"/>
                  <a:gd name="connsiteY26" fmla="*/ 8877300 h 13792200"/>
                  <a:gd name="connsiteX27" fmla="*/ 6934200 w 7200900"/>
                  <a:gd name="connsiteY27" fmla="*/ 5143500 h 13792200"/>
                  <a:gd name="connsiteX28" fmla="*/ 7124700 w 7200900"/>
                  <a:gd name="connsiteY28" fmla="*/ 4114800 h 13792200"/>
                  <a:gd name="connsiteX29" fmla="*/ 7200900 w 7200900"/>
                  <a:gd name="connsiteY29" fmla="*/ 2781300 h 13792200"/>
                  <a:gd name="connsiteX30" fmla="*/ 7162800 w 7200900"/>
                  <a:gd name="connsiteY30" fmla="*/ 2095500 h 13792200"/>
                  <a:gd name="connsiteX31" fmla="*/ 6096000 w 7200900"/>
                  <a:gd name="connsiteY31" fmla="*/ 2171700 h 13792200"/>
                  <a:gd name="connsiteX32" fmla="*/ 4495800 w 7200900"/>
                  <a:gd name="connsiteY32" fmla="*/ 2247900 h 13792200"/>
                  <a:gd name="connsiteX33" fmla="*/ 3962400 w 7200900"/>
                  <a:gd name="connsiteY33" fmla="*/ 2209800 h 13792200"/>
                  <a:gd name="connsiteX34" fmla="*/ 3429000 w 7200900"/>
                  <a:gd name="connsiteY34" fmla="*/ 1828800 h 13792200"/>
                  <a:gd name="connsiteX35" fmla="*/ 3276600 w 7200900"/>
                  <a:gd name="connsiteY35" fmla="*/ 1295400 h 13792200"/>
                  <a:gd name="connsiteX36" fmla="*/ 3162300 w 7200900"/>
                  <a:gd name="connsiteY36" fmla="*/ 0 h 13792200"/>
                  <a:gd name="connsiteX37" fmla="*/ 2819400 w 7200900"/>
                  <a:gd name="connsiteY37" fmla="*/ 76200 h 13792200"/>
                  <a:gd name="connsiteX38" fmla="*/ 2324100 w 7200900"/>
                  <a:gd name="connsiteY38" fmla="*/ 1562100 h 13792200"/>
                  <a:gd name="connsiteX39" fmla="*/ 2095500 w 7200900"/>
                  <a:gd name="connsiteY39" fmla="*/ 1790700 h 13792200"/>
                  <a:gd name="connsiteX40" fmla="*/ 1714500 w 7200900"/>
                  <a:gd name="connsiteY40" fmla="*/ 2095500 h 13792200"/>
                  <a:gd name="connsiteX41" fmla="*/ 1104900 w 7200900"/>
                  <a:gd name="connsiteY41" fmla="*/ 1981200 h 13792200"/>
                  <a:gd name="connsiteX42" fmla="*/ 419100 w 7200900"/>
                  <a:gd name="connsiteY42" fmla="*/ 1790700 h 13792200"/>
                  <a:gd name="connsiteX43" fmla="*/ 419100 w 7200900"/>
                  <a:gd name="connsiteY43" fmla="*/ 1790700 h 13792200"/>
                  <a:gd name="connsiteX0" fmla="*/ 457200 w 7200900"/>
                  <a:gd name="connsiteY0" fmla="*/ 1752600 h 17030700"/>
                  <a:gd name="connsiteX1" fmla="*/ 190500 w 7200900"/>
                  <a:gd name="connsiteY1" fmla="*/ 2133600 h 17030700"/>
                  <a:gd name="connsiteX2" fmla="*/ 266700 w 7200900"/>
                  <a:gd name="connsiteY2" fmla="*/ 2514600 h 17030700"/>
                  <a:gd name="connsiteX3" fmla="*/ 495300 w 7200900"/>
                  <a:gd name="connsiteY3" fmla="*/ 2705100 h 17030700"/>
                  <a:gd name="connsiteX4" fmla="*/ 457200 w 7200900"/>
                  <a:gd name="connsiteY4" fmla="*/ 3962400 h 17030700"/>
                  <a:gd name="connsiteX5" fmla="*/ 190500 w 7200900"/>
                  <a:gd name="connsiteY5" fmla="*/ 6819900 h 17030700"/>
                  <a:gd name="connsiteX6" fmla="*/ 0 w 7200900"/>
                  <a:gd name="connsiteY6" fmla="*/ 9144000 h 17030700"/>
                  <a:gd name="connsiteX7" fmla="*/ 76200 w 7200900"/>
                  <a:gd name="connsiteY7" fmla="*/ 10058400 h 17030700"/>
                  <a:gd name="connsiteX8" fmla="*/ 228600 w 7200900"/>
                  <a:gd name="connsiteY8" fmla="*/ 10629900 h 17030700"/>
                  <a:gd name="connsiteX9" fmla="*/ 838200 w 7200900"/>
                  <a:gd name="connsiteY9" fmla="*/ 13258800 h 17030700"/>
                  <a:gd name="connsiteX10" fmla="*/ 3810000 w 7200900"/>
                  <a:gd name="connsiteY10" fmla="*/ 13220700 h 17030700"/>
                  <a:gd name="connsiteX11" fmla="*/ 3009900 w 7200900"/>
                  <a:gd name="connsiteY11" fmla="*/ 10325100 h 17030700"/>
                  <a:gd name="connsiteX12" fmla="*/ 2971800 w 7200900"/>
                  <a:gd name="connsiteY12" fmla="*/ 9372600 h 17030700"/>
                  <a:gd name="connsiteX13" fmla="*/ 2819400 w 7200900"/>
                  <a:gd name="connsiteY13" fmla="*/ 9220200 h 17030700"/>
                  <a:gd name="connsiteX14" fmla="*/ 3009900 w 7200900"/>
                  <a:gd name="connsiteY14" fmla="*/ 9029700 h 17030700"/>
                  <a:gd name="connsiteX15" fmla="*/ 2857500 w 7200900"/>
                  <a:gd name="connsiteY15" fmla="*/ 7772400 h 17030700"/>
                  <a:gd name="connsiteX16" fmla="*/ 3619500 w 7200900"/>
                  <a:gd name="connsiteY16" fmla="*/ 4114800 h 17030700"/>
                  <a:gd name="connsiteX17" fmla="*/ 3848100 w 7200900"/>
                  <a:gd name="connsiteY17" fmla="*/ 5219700 h 17030700"/>
                  <a:gd name="connsiteX18" fmla="*/ 3924300 w 7200900"/>
                  <a:gd name="connsiteY18" fmla="*/ 7048500 h 17030700"/>
                  <a:gd name="connsiteX19" fmla="*/ 3924300 w 7200900"/>
                  <a:gd name="connsiteY19" fmla="*/ 9029700 h 17030700"/>
                  <a:gd name="connsiteX20" fmla="*/ 3810000 w 7200900"/>
                  <a:gd name="connsiteY20" fmla="*/ 10401300 h 17030700"/>
                  <a:gd name="connsiteX21" fmla="*/ 3962400 w 7200900"/>
                  <a:gd name="connsiteY21" fmla="*/ 11125200 h 17030700"/>
                  <a:gd name="connsiteX22" fmla="*/ 4152900 w 7200900"/>
                  <a:gd name="connsiteY22" fmla="*/ 12877800 h 17030700"/>
                  <a:gd name="connsiteX23" fmla="*/ 4229100 w 7200900"/>
                  <a:gd name="connsiteY23" fmla="*/ 13792200 h 17030700"/>
                  <a:gd name="connsiteX24" fmla="*/ 5715000 w 7200900"/>
                  <a:gd name="connsiteY24" fmla="*/ 17030700 h 17030700"/>
                  <a:gd name="connsiteX25" fmla="*/ 6858000 w 7200900"/>
                  <a:gd name="connsiteY25" fmla="*/ 13563600 h 17030700"/>
                  <a:gd name="connsiteX26" fmla="*/ 6858000 w 7200900"/>
                  <a:gd name="connsiteY26" fmla="*/ 11315700 h 17030700"/>
                  <a:gd name="connsiteX27" fmla="*/ 6705600 w 7200900"/>
                  <a:gd name="connsiteY27" fmla="*/ 8877300 h 17030700"/>
                  <a:gd name="connsiteX28" fmla="*/ 6934200 w 7200900"/>
                  <a:gd name="connsiteY28" fmla="*/ 5143500 h 17030700"/>
                  <a:gd name="connsiteX29" fmla="*/ 7124700 w 7200900"/>
                  <a:gd name="connsiteY29" fmla="*/ 4114800 h 17030700"/>
                  <a:gd name="connsiteX30" fmla="*/ 7200900 w 7200900"/>
                  <a:gd name="connsiteY30" fmla="*/ 2781300 h 17030700"/>
                  <a:gd name="connsiteX31" fmla="*/ 7162800 w 7200900"/>
                  <a:gd name="connsiteY31" fmla="*/ 2095500 h 17030700"/>
                  <a:gd name="connsiteX32" fmla="*/ 6096000 w 7200900"/>
                  <a:gd name="connsiteY32" fmla="*/ 2171700 h 17030700"/>
                  <a:gd name="connsiteX33" fmla="*/ 4495800 w 7200900"/>
                  <a:gd name="connsiteY33" fmla="*/ 2247900 h 17030700"/>
                  <a:gd name="connsiteX34" fmla="*/ 3962400 w 7200900"/>
                  <a:gd name="connsiteY34" fmla="*/ 2209800 h 17030700"/>
                  <a:gd name="connsiteX35" fmla="*/ 3429000 w 7200900"/>
                  <a:gd name="connsiteY35" fmla="*/ 1828800 h 17030700"/>
                  <a:gd name="connsiteX36" fmla="*/ 3276600 w 7200900"/>
                  <a:gd name="connsiteY36" fmla="*/ 1295400 h 17030700"/>
                  <a:gd name="connsiteX37" fmla="*/ 3162300 w 7200900"/>
                  <a:gd name="connsiteY37" fmla="*/ 0 h 17030700"/>
                  <a:gd name="connsiteX38" fmla="*/ 2819400 w 7200900"/>
                  <a:gd name="connsiteY38" fmla="*/ 76200 h 17030700"/>
                  <a:gd name="connsiteX39" fmla="*/ 2324100 w 7200900"/>
                  <a:gd name="connsiteY39" fmla="*/ 1562100 h 17030700"/>
                  <a:gd name="connsiteX40" fmla="*/ 2095500 w 7200900"/>
                  <a:gd name="connsiteY40" fmla="*/ 1790700 h 17030700"/>
                  <a:gd name="connsiteX41" fmla="*/ 1714500 w 7200900"/>
                  <a:gd name="connsiteY41" fmla="*/ 2095500 h 17030700"/>
                  <a:gd name="connsiteX42" fmla="*/ 1104900 w 7200900"/>
                  <a:gd name="connsiteY42" fmla="*/ 1981200 h 17030700"/>
                  <a:gd name="connsiteX43" fmla="*/ 419100 w 7200900"/>
                  <a:gd name="connsiteY43" fmla="*/ 1790700 h 17030700"/>
                  <a:gd name="connsiteX44" fmla="*/ 419100 w 7200900"/>
                  <a:gd name="connsiteY44" fmla="*/ 1790700 h 17030700"/>
                  <a:gd name="connsiteX0" fmla="*/ 457200 w 8724900"/>
                  <a:gd name="connsiteY0" fmla="*/ 1752600 h 20955000"/>
                  <a:gd name="connsiteX1" fmla="*/ 190500 w 8724900"/>
                  <a:gd name="connsiteY1" fmla="*/ 2133600 h 20955000"/>
                  <a:gd name="connsiteX2" fmla="*/ 266700 w 8724900"/>
                  <a:gd name="connsiteY2" fmla="*/ 2514600 h 20955000"/>
                  <a:gd name="connsiteX3" fmla="*/ 495300 w 8724900"/>
                  <a:gd name="connsiteY3" fmla="*/ 2705100 h 20955000"/>
                  <a:gd name="connsiteX4" fmla="*/ 457200 w 8724900"/>
                  <a:gd name="connsiteY4" fmla="*/ 3962400 h 20955000"/>
                  <a:gd name="connsiteX5" fmla="*/ 190500 w 8724900"/>
                  <a:gd name="connsiteY5" fmla="*/ 6819900 h 20955000"/>
                  <a:gd name="connsiteX6" fmla="*/ 0 w 8724900"/>
                  <a:gd name="connsiteY6" fmla="*/ 9144000 h 20955000"/>
                  <a:gd name="connsiteX7" fmla="*/ 76200 w 8724900"/>
                  <a:gd name="connsiteY7" fmla="*/ 10058400 h 20955000"/>
                  <a:gd name="connsiteX8" fmla="*/ 228600 w 8724900"/>
                  <a:gd name="connsiteY8" fmla="*/ 10629900 h 20955000"/>
                  <a:gd name="connsiteX9" fmla="*/ 838200 w 8724900"/>
                  <a:gd name="connsiteY9" fmla="*/ 13258800 h 20955000"/>
                  <a:gd name="connsiteX10" fmla="*/ 3810000 w 8724900"/>
                  <a:gd name="connsiteY10" fmla="*/ 13220700 h 20955000"/>
                  <a:gd name="connsiteX11" fmla="*/ 3009900 w 8724900"/>
                  <a:gd name="connsiteY11" fmla="*/ 10325100 h 20955000"/>
                  <a:gd name="connsiteX12" fmla="*/ 2971800 w 8724900"/>
                  <a:gd name="connsiteY12" fmla="*/ 9372600 h 20955000"/>
                  <a:gd name="connsiteX13" fmla="*/ 2819400 w 8724900"/>
                  <a:gd name="connsiteY13" fmla="*/ 9220200 h 20955000"/>
                  <a:gd name="connsiteX14" fmla="*/ 3009900 w 8724900"/>
                  <a:gd name="connsiteY14" fmla="*/ 9029700 h 20955000"/>
                  <a:gd name="connsiteX15" fmla="*/ 2857500 w 8724900"/>
                  <a:gd name="connsiteY15" fmla="*/ 7772400 h 20955000"/>
                  <a:gd name="connsiteX16" fmla="*/ 3619500 w 8724900"/>
                  <a:gd name="connsiteY16" fmla="*/ 4114800 h 20955000"/>
                  <a:gd name="connsiteX17" fmla="*/ 3848100 w 8724900"/>
                  <a:gd name="connsiteY17" fmla="*/ 5219700 h 20955000"/>
                  <a:gd name="connsiteX18" fmla="*/ 3924300 w 8724900"/>
                  <a:gd name="connsiteY18" fmla="*/ 7048500 h 20955000"/>
                  <a:gd name="connsiteX19" fmla="*/ 3924300 w 8724900"/>
                  <a:gd name="connsiteY19" fmla="*/ 9029700 h 20955000"/>
                  <a:gd name="connsiteX20" fmla="*/ 3810000 w 8724900"/>
                  <a:gd name="connsiteY20" fmla="*/ 10401300 h 20955000"/>
                  <a:gd name="connsiteX21" fmla="*/ 3962400 w 8724900"/>
                  <a:gd name="connsiteY21" fmla="*/ 11125200 h 20955000"/>
                  <a:gd name="connsiteX22" fmla="*/ 4152900 w 8724900"/>
                  <a:gd name="connsiteY22" fmla="*/ 12877800 h 20955000"/>
                  <a:gd name="connsiteX23" fmla="*/ 4229100 w 8724900"/>
                  <a:gd name="connsiteY23" fmla="*/ 13792200 h 20955000"/>
                  <a:gd name="connsiteX24" fmla="*/ 5715000 w 8724900"/>
                  <a:gd name="connsiteY24" fmla="*/ 17030700 h 20955000"/>
                  <a:gd name="connsiteX25" fmla="*/ 8724900 w 8724900"/>
                  <a:gd name="connsiteY25" fmla="*/ 20955000 h 20955000"/>
                  <a:gd name="connsiteX26" fmla="*/ 6858000 w 8724900"/>
                  <a:gd name="connsiteY26" fmla="*/ 13563600 h 20955000"/>
                  <a:gd name="connsiteX27" fmla="*/ 6858000 w 8724900"/>
                  <a:gd name="connsiteY27" fmla="*/ 11315700 h 20955000"/>
                  <a:gd name="connsiteX28" fmla="*/ 6705600 w 8724900"/>
                  <a:gd name="connsiteY28" fmla="*/ 8877300 h 20955000"/>
                  <a:gd name="connsiteX29" fmla="*/ 6934200 w 8724900"/>
                  <a:gd name="connsiteY29" fmla="*/ 5143500 h 20955000"/>
                  <a:gd name="connsiteX30" fmla="*/ 7124700 w 8724900"/>
                  <a:gd name="connsiteY30" fmla="*/ 4114800 h 20955000"/>
                  <a:gd name="connsiteX31" fmla="*/ 7200900 w 8724900"/>
                  <a:gd name="connsiteY31" fmla="*/ 2781300 h 20955000"/>
                  <a:gd name="connsiteX32" fmla="*/ 7162800 w 8724900"/>
                  <a:gd name="connsiteY32" fmla="*/ 2095500 h 20955000"/>
                  <a:gd name="connsiteX33" fmla="*/ 6096000 w 8724900"/>
                  <a:gd name="connsiteY33" fmla="*/ 2171700 h 20955000"/>
                  <a:gd name="connsiteX34" fmla="*/ 4495800 w 8724900"/>
                  <a:gd name="connsiteY34" fmla="*/ 2247900 h 20955000"/>
                  <a:gd name="connsiteX35" fmla="*/ 3962400 w 8724900"/>
                  <a:gd name="connsiteY35" fmla="*/ 2209800 h 20955000"/>
                  <a:gd name="connsiteX36" fmla="*/ 3429000 w 8724900"/>
                  <a:gd name="connsiteY36" fmla="*/ 1828800 h 20955000"/>
                  <a:gd name="connsiteX37" fmla="*/ 3276600 w 8724900"/>
                  <a:gd name="connsiteY37" fmla="*/ 1295400 h 20955000"/>
                  <a:gd name="connsiteX38" fmla="*/ 3162300 w 8724900"/>
                  <a:gd name="connsiteY38" fmla="*/ 0 h 20955000"/>
                  <a:gd name="connsiteX39" fmla="*/ 2819400 w 8724900"/>
                  <a:gd name="connsiteY39" fmla="*/ 76200 h 20955000"/>
                  <a:gd name="connsiteX40" fmla="*/ 2324100 w 8724900"/>
                  <a:gd name="connsiteY40" fmla="*/ 1562100 h 20955000"/>
                  <a:gd name="connsiteX41" fmla="*/ 2095500 w 8724900"/>
                  <a:gd name="connsiteY41" fmla="*/ 1790700 h 20955000"/>
                  <a:gd name="connsiteX42" fmla="*/ 1714500 w 8724900"/>
                  <a:gd name="connsiteY42" fmla="*/ 2095500 h 20955000"/>
                  <a:gd name="connsiteX43" fmla="*/ 1104900 w 8724900"/>
                  <a:gd name="connsiteY43" fmla="*/ 1981200 h 20955000"/>
                  <a:gd name="connsiteX44" fmla="*/ 419100 w 8724900"/>
                  <a:gd name="connsiteY44" fmla="*/ 1790700 h 20955000"/>
                  <a:gd name="connsiteX45" fmla="*/ 419100 w 8724900"/>
                  <a:gd name="connsiteY45" fmla="*/ 1790700 h 20955000"/>
                  <a:gd name="connsiteX0" fmla="*/ 457200 w 8724900"/>
                  <a:gd name="connsiteY0" fmla="*/ 1752600 h 21297900"/>
                  <a:gd name="connsiteX1" fmla="*/ 190500 w 8724900"/>
                  <a:gd name="connsiteY1" fmla="*/ 2133600 h 21297900"/>
                  <a:gd name="connsiteX2" fmla="*/ 266700 w 8724900"/>
                  <a:gd name="connsiteY2" fmla="*/ 2514600 h 21297900"/>
                  <a:gd name="connsiteX3" fmla="*/ 495300 w 8724900"/>
                  <a:gd name="connsiteY3" fmla="*/ 2705100 h 21297900"/>
                  <a:gd name="connsiteX4" fmla="*/ 457200 w 8724900"/>
                  <a:gd name="connsiteY4" fmla="*/ 3962400 h 21297900"/>
                  <a:gd name="connsiteX5" fmla="*/ 190500 w 8724900"/>
                  <a:gd name="connsiteY5" fmla="*/ 6819900 h 21297900"/>
                  <a:gd name="connsiteX6" fmla="*/ 0 w 8724900"/>
                  <a:gd name="connsiteY6" fmla="*/ 9144000 h 21297900"/>
                  <a:gd name="connsiteX7" fmla="*/ 76200 w 8724900"/>
                  <a:gd name="connsiteY7" fmla="*/ 10058400 h 21297900"/>
                  <a:gd name="connsiteX8" fmla="*/ 228600 w 8724900"/>
                  <a:gd name="connsiteY8" fmla="*/ 10629900 h 21297900"/>
                  <a:gd name="connsiteX9" fmla="*/ 838200 w 8724900"/>
                  <a:gd name="connsiteY9" fmla="*/ 13258800 h 21297900"/>
                  <a:gd name="connsiteX10" fmla="*/ 3810000 w 8724900"/>
                  <a:gd name="connsiteY10" fmla="*/ 13220700 h 21297900"/>
                  <a:gd name="connsiteX11" fmla="*/ 3009900 w 8724900"/>
                  <a:gd name="connsiteY11" fmla="*/ 10325100 h 21297900"/>
                  <a:gd name="connsiteX12" fmla="*/ 2971800 w 8724900"/>
                  <a:gd name="connsiteY12" fmla="*/ 9372600 h 21297900"/>
                  <a:gd name="connsiteX13" fmla="*/ 2819400 w 8724900"/>
                  <a:gd name="connsiteY13" fmla="*/ 9220200 h 21297900"/>
                  <a:gd name="connsiteX14" fmla="*/ 3009900 w 8724900"/>
                  <a:gd name="connsiteY14" fmla="*/ 9029700 h 21297900"/>
                  <a:gd name="connsiteX15" fmla="*/ 2857500 w 8724900"/>
                  <a:gd name="connsiteY15" fmla="*/ 7772400 h 21297900"/>
                  <a:gd name="connsiteX16" fmla="*/ 3619500 w 8724900"/>
                  <a:gd name="connsiteY16" fmla="*/ 4114800 h 21297900"/>
                  <a:gd name="connsiteX17" fmla="*/ 3848100 w 8724900"/>
                  <a:gd name="connsiteY17" fmla="*/ 5219700 h 21297900"/>
                  <a:gd name="connsiteX18" fmla="*/ 3924300 w 8724900"/>
                  <a:gd name="connsiteY18" fmla="*/ 7048500 h 21297900"/>
                  <a:gd name="connsiteX19" fmla="*/ 3924300 w 8724900"/>
                  <a:gd name="connsiteY19" fmla="*/ 9029700 h 21297900"/>
                  <a:gd name="connsiteX20" fmla="*/ 3810000 w 8724900"/>
                  <a:gd name="connsiteY20" fmla="*/ 10401300 h 21297900"/>
                  <a:gd name="connsiteX21" fmla="*/ 3962400 w 8724900"/>
                  <a:gd name="connsiteY21" fmla="*/ 11125200 h 21297900"/>
                  <a:gd name="connsiteX22" fmla="*/ 4152900 w 8724900"/>
                  <a:gd name="connsiteY22" fmla="*/ 12877800 h 21297900"/>
                  <a:gd name="connsiteX23" fmla="*/ 4229100 w 8724900"/>
                  <a:gd name="connsiteY23" fmla="*/ 13792200 h 21297900"/>
                  <a:gd name="connsiteX24" fmla="*/ 5257800 w 8724900"/>
                  <a:gd name="connsiteY24" fmla="*/ 21297900 h 21297900"/>
                  <a:gd name="connsiteX25" fmla="*/ 5715000 w 8724900"/>
                  <a:gd name="connsiteY25" fmla="*/ 17030700 h 21297900"/>
                  <a:gd name="connsiteX26" fmla="*/ 8724900 w 8724900"/>
                  <a:gd name="connsiteY26" fmla="*/ 20955000 h 21297900"/>
                  <a:gd name="connsiteX27" fmla="*/ 6858000 w 8724900"/>
                  <a:gd name="connsiteY27" fmla="*/ 13563600 h 21297900"/>
                  <a:gd name="connsiteX28" fmla="*/ 6858000 w 8724900"/>
                  <a:gd name="connsiteY28" fmla="*/ 11315700 h 21297900"/>
                  <a:gd name="connsiteX29" fmla="*/ 6705600 w 8724900"/>
                  <a:gd name="connsiteY29" fmla="*/ 8877300 h 21297900"/>
                  <a:gd name="connsiteX30" fmla="*/ 6934200 w 8724900"/>
                  <a:gd name="connsiteY30" fmla="*/ 5143500 h 21297900"/>
                  <a:gd name="connsiteX31" fmla="*/ 7124700 w 8724900"/>
                  <a:gd name="connsiteY31" fmla="*/ 4114800 h 21297900"/>
                  <a:gd name="connsiteX32" fmla="*/ 7200900 w 8724900"/>
                  <a:gd name="connsiteY32" fmla="*/ 2781300 h 21297900"/>
                  <a:gd name="connsiteX33" fmla="*/ 7162800 w 8724900"/>
                  <a:gd name="connsiteY33" fmla="*/ 2095500 h 21297900"/>
                  <a:gd name="connsiteX34" fmla="*/ 6096000 w 8724900"/>
                  <a:gd name="connsiteY34" fmla="*/ 2171700 h 21297900"/>
                  <a:gd name="connsiteX35" fmla="*/ 4495800 w 8724900"/>
                  <a:gd name="connsiteY35" fmla="*/ 2247900 h 21297900"/>
                  <a:gd name="connsiteX36" fmla="*/ 3962400 w 8724900"/>
                  <a:gd name="connsiteY36" fmla="*/ 2209800 h 21297900"/>
                  <a:gd name="connsiteX37" fmla="*/ 3429000 w 8724900"/>
                  <a:gd name="connsiteY37" fmla="*/ 1828800 h 21297900"/>
                  <a:gd name="connsiteX38" fmla="*/ 3276600 w 8724900"/>
                  <a:gd name="connsiteY38" fmla="*/ 1295400 h 21297900"/>
                  <a:gd name="connsiteX39" fmla="*/ 3162300 w 8724900"/>
                  <a:gd name="connsiteY39" fmla="*/ 0 h 21297900"/>
                  <a:gd name="connsiteX40" fmla="*/ 2819400 w 8724900"/>
                  <a:gd name="connsiteY40" fmla="*/ 76200 h 21297900"/>
                  <a:gd name="connsiteX41" fmla="*/ 2324100 w 8724900"/>
                  <a:gd name="connsiteY41" fmla="*/ 1562100 h 21297900"/>
                  <a:gd name="connsiteX42" fmla="*/ 2095500 w 8724900"/>
                  <a:gd name="connsiteY42" fmla="*/ 1790700 h 21297900"/>
                  <a:gd name="connsiteX43" fmla="*/ 1714500 w 8724900"/>
                  <a:gd name="connsiteY43" fmla="*/ 2095500 h 21297900"/>
                  <a:gd name="connsiteX44" fmla="*/ 1104900 w 8724900"/>
                  <a:gd name="connsiteY44" fmla="*/ 1981200 h 21297900"/>
                  <a:gd name="connsiteX45" fmla="*/ 419100 w 8724900"/>
                  <a:gd name="connsiteY45" fmla="*/ 1790700 h 21297900"/>
                  <a:gd name="connsiteX46" fmla="*/ 419100 w 8724900"/>
                  <a:gd name="connsiteY46" fmla="*/ 1790700 h 21297900"/>
                  <a:gd name="connsiteX0" fmla="*/ 457200 w 8724900"/>
                  <a:gd name="connsiteY0" fmla="*/ 1752600 h 21907500"/>
                  <a:gd name="connsiteX1" fmla="*/ 190500 w 8724900"/>
                  <a:gd name="connsiteY1" fmla="*/ 2133600 h 21907500"/>
                  <a:gd name="connsiteX2" fmla="*/ 266700 w 8724900"/>
                  <a:gd name="connsiteY2" fmla="*/ 2514600 h 21907500"/>
                  <a:gd name="connsiteX3" fmla="*/ 495300 w 8724900"/>
                  <a:gd name="connsiteY3" fmla="*/ 2705100 h 21907500"/>
                  <a:gd name="connsiteX4" fmla="*/ 457200 w 8724900"/>
                  <a:gd name="connsiteY4" fmla="*/ 3962400 h 21907500"/>
                  <a:gd name="connsiteX5" fmla="*/ 190500 w 8724900"/>
                  <a:gd name="connsiteY5" fmla="*/ 6819900 h 21907500"/>
                  <a:gd name="connsiteX6" fmla="*/ 0 w 8724900"/>
                  <a:gd name="connsiteY6" fmla="*/ 9144000 h 21907500"/>
                  <a:gd name="connsiteX7" fmla="*/ 76200 w 8724900"/>
                  <a:gd name="connsiteY7" fmla="*/ 10058400 h 21907500"/>
                  <a:gd name="connsiteX8" fmla="*/ 228600 w 8724900"/>
                  <a:gd name="connsiteY8" fmla="*/ 10629900 h 21907500"/>
                  <a:gd name="connsiteX9" fmla="*/ 838200 w 8724900"/>
                  <a:gd name="connsiteY9" fmla="*/ 13258800 h 21907500"/>
                  <a:gd name="connsiteX10" fmla="*/ 3810000 w 8724900"/>
                  <a:gd name="connsiteY10" fmla="*/ 13220700 h 21907500"/>
                  <a:gd name="connsiteX11" fmla="*/ 3009900 w 8724900"/>
                  <a:gd name="connsiteY11" fmla="*/ 10325100 h 21907500"/>
                  <a:gd name="connsiteX12" fmla="*/ 2971800 w 8724900"/>
                  <a:gd name="connsiteY12" fmla="*/ 9372600 h 21907500"/>
                  <a:gd name="connsiteX13" fmla="*/ 2819400 w 8724900"/>
                  <a:gd name="connsiteY13" fmla="*/ 9220200 h 21907500"/>
                  <a:gd name="connsiteX14" fmla="*/ 3009900 w 8724900"/>
                  <a:gd name="connsiteY14" fmla="*/ 9029700 h 21907500"/>
                  <a:gd name="connsiteX15" fmla="*/ 2857500 w 8724900"/>
                  <a:gd name="connsiteY15" fmla="*/ 7772400 h 21907500"/>
                  <a:gd name="connsiteX16" fmla="*/ 3619500 w 8724900"/>
                  <a:gd name="connsiteY16" fmla="*/ 4114800 h 21907500"/>
                  <a:gd name="connsiteX17" fmla="*/ 3848100 w 8724900"/>
                  <a:gd name="connsiteY17" fmla="*/ 5219700 h 21907500"/>
                  <a:gd name="connsiteX18" fmla="*/ 3924300 w 8724900"/>
                  <a:gd name="connsiteY18" fmla="*/ 7048500 h 21907500"/>
                  <a:gd name="connsiteX19" fmla="*/ 3924300 w 8724900"/>
                  <a:gd name="connsiteY19" fmla="*/ 9029700 h 21907500"/>
                  <a:gd name="connsiteX20" fmla="*/ 3810000 w 8724900"/>
                  <a:gd name="connsiteY20" fmla="*/ 10401300 h 21907500"/>
                  <a:gd name="connsiteX21" fmla="*/ 3962400 w 8724900"/>
                  <a:gd name="connsiteY21" fmla="*/ 11125200 h 21907500"/>
                  <a:gd name="connsiteX22" fmla="*/ 4152900 w 8724900"/>
                  <a:gd name="connsiteY22" fmla="*/ 12877800 h 21907500"/>
                  <a:gd name="connsiteX23" fmla="*/ 4229100 w 8724900"/>
                  <a:gd name="connsiteY23" fmla="*/ 13792200 h 21907500"/>
                  <a:gd name="connsiteX24" fmla="*/ 5257800 w 8724900"/>
                  <a:gd name="connsiteY24" fmla="*/ 21297900 h 21907500"/>
                  <a:gd name="connsiteX25" fmla="*/ 6248400 w 8724900"/>
                  <a:gd name="connsiteY25" fmla="*/ 21907500 h 21907500"/>
                  <a:gd name="connsiteX26" fmla="*/ 8724900 w 8724900"/>
                  <a:gd name="connsiteY26" fmla="*/ 20955000 h 21907500"/>
                  <a:gd name="connsiteX27" fmla="*/ 6858000 w 8724900"/>
                  <a:gd name="connsiteY27" fmla="*/ 13563600 h 21907500"/>
                  <a:gd name="connsiteX28" fmla="*/ 6858000 w 8724900"/>
                  <a:gd name="connsiteY28" fmla="*/ 11315700 h 21907500"/>
                  <a:gd name="connsiteX29" fmla="*/ 6705600 w 8724900"/>
                  <a:gd name="connsiteY29" fmla="*/ 8877300 h 21907500"/>
                  <a:gd name="connsiteX30" fmla="*/ 6934200 w 8724900"/>
                  <a:gd name="connsiteY30" fmla="*/ 5143500 h 21907500"/>
                  <a:gd name="connsiteX31" fmla="*/ 7124700 w 8724900"/>
                  <a:gd name="connsiteY31" fmla="*/ 4114800 h 21907500"/>
                  <a:gd name="connsiteX32" fmla="*/ 7200900 w 8724900"/>
                  <a:gd name="connsiteY32" fmla="*/ 2781300 h 21907500"/>
                  <a:gd name="connsiteX33" fmla="*/ 7162800 w 8724900"/>
                  <a:gd name="connsiteY33" fmla="*/ 2095500 h 21907500"/>
                  <a:gd name="connsiteX34" fmla="*/ 6096000 w 8724900"/>
                  <a:gd name="connsiteY34" fmla="*/ 2171700 h 21907500"/>
                  <a:gd name="connsiteX35" fmla="*/ 4495800 w 8724900"/>
                  <a:gd name="connsiteY35" fmla="*/ 2247900 h 21907500"/>
                  <a:gd name="connsiteX36" fmla="*/ 3962400 w 8724900"/>
                  <a:gd name="connsiteY36" fmla="*/ 2209800 h 21907500"/>
                  <a:gd name="connsiteX37" fmla="*/ 3429000 w 8724900"/>
                  <a:gd name="connsiteY37" fmla="*/ 1828800 h 21907500"/>
                  <a:gd name="connsiteX38" fmla="*/ 3276600 w 8724900"/>
                  <a:gd name="connsiteY38" fmla="*/ 1295400 h 21907500"/>
                  <a:gd name="connsiteX39" fmla="*/ 3162300 w 8724900"/>
                  <a:gd name="connsiteY39" fmla="*/ 0 h 21907500"/>
                  <a:gd name="connsiteX40" fmla="*/ 2819400 w 8724900"/>
                  <a:gd name="connsiteY40" fmla="*/ 76200 h 21907500"/>
                  <a:gd name="connsiteX41" fmla="*/ 2324100 w 8724900"/>
                  <a:gd name="connsiteY41" fmla="*/ 1562100 h 21907500"/>
                  <a:gd name="connsiteX42" fmla="*/ 2095500 w 8724900"/>
                  <a:gd name="connsiteY42" fmla="*/ 1790700 h 21907500"/>
                  <a:gd name="connsiteX43" fmla="*/ 1714500 w 8724900"/>
                  <a:gd name="connsiteY43" fmla="*/ 2095500 h 21907500"/>
                  <a:gd name="connsiteX44" fmla="*/ 1104900 w 8724900"/>
                  <a:gd name="connsiteY44" fmla="*/ 1981200 h 21907500"/>
                  <a:gd name="connsiteX45" fmla="*/ 419100 w 8724900"/>
                  <a:gd name="connsiteY45" fmla="*/ 1790700 h 21907500"/>
                  <a:gd name="connsiteX46" fmla="*/ 419100 w 8724900"/>
                  <a:gd name="connsiteY46" fmla="*/ 1790700 h 21907500"/>
                  <a:gd name="connsiteX0" fmla="*/ 457200 w 7734300"/>
                  <a:gd name="connsiteY0" fmla="*/ 1752600 h 21907500"/>
                  <a:gd name="connsiteX1" fmla="*/ 190500 w 7734300"/>
                  <a:gd name="connsiteY1" fmla="*/ 2133600 h 21907500"/>
                  <a:gd name="connsiteX2" fmla="*/ 266700 w 7734300"/>
                  <a:gd name="connsiteY2" fmla="*/ 2514600 h 21907500"/>
                  <a:gd name="connsiteX3" fmla="*/ 495300 w 7734300"/>
                  <a:gd name="connsiteY3" fmla="*/ 2705100 h 21907500"/>
                  <a:gd name="connsiteX4" fmla="*/ 457200 w 7734300"/>
                  <a:gd name="connsiteY4" fmla="*/ 3962400 h 21907500"/>
                  <a:gd name="connsiteX5" fmla="*/ 190500 w 7734300"/>
                  <a:gd name="connsiteY5" fmla="*/ 6819900 h 21907500"/>
                  <a:gd name="connsiteX6" fmla="*/ 0 w 7734300"/>
                  <a:gd name="connsiteY6" fmla="*/ 9144000 h 21907500"/>
                  <a:gd name="connsiteX7" fmla="*/ 76200 w 7734300"/>
                  <a:gd name="connsiteY7" fmla="*/ 10058400 h 21907500"/>
                  <a:gd name="connsiteX8" fmla="*/ 228600 w 7734300"/>
                  <a:gd name="connsiteY8" fmla="*/ 10629900 h 21907500"/>
                  <a:gd name="connsiteX9" fmla="*/ 838200 w 7734300"/>
                  <a:gd name="connsiteY9" fmla="*/ 13258800 h 21907500"/>
                  <a:gd name="connsiteX10" fmla="*/ 3810000 w 7734300"/>
                  <a:gd name="connsiteY10" fmla="*/ 13220700 h 21907500"/>
                  <a:gd name="connsiteX11" fmla="*/ 3009900 w 7734300"/>
                  <a:gd name="connsiteY11" fmla="*/ 10325100 h 21907500"/>
                  <a:gd name="connsiteX12" fmla="*/ 2971800 w 7734300"/>
                  <a:gd name="connsiteY12" fmla="*/ 9372600 h 21907500"/>
                  <a:gd name="connsiteX13" fmla="*/ 2819400 w 7734300"/>
                  <a:gd name="connsiteY13" fmla="*/ 9220200 h 21907500"/>
                  <a:gd name="connsiteX14" fmla="*/ 3009900 w 7734300"/>
                  <a:gd name="connsiteY14" fmla="*/ 9029700 h 21907500"/>
                  <a:gd name="connsiteX15" fmla="*/ 2857500 w 7734300"/>
                  <a:gd name="connsiteY15" fmla="*/ 7772400 h 21907500"/>
                  <a:gd name="connsiteX16" fmla="*/ 3619500 w 7734300"/>
                  <a:gd name="connsiteY16" fmla="*/ 4114800 h 21907500"/>
                  <a:gd name="connsiteX17" fmla="*/ 3848100 w 7734300"/>
                  <a:gd name="connsiteY17" fmla="*/ 5219700 h 21907500"/>
                  <a:gd name="connsiteX18" fmla="*/ 3924300 w 7734300"/>
                  <a:gd name="connsiteY18" fmla="*/ 7048500 h 21907500"/>
                  <a:gd name="connsiteX19" fmla="*/ 3924300 w 7734300"/>
                  <a:gd name="connsiteY19" fmla="*/ 9029700 h 21907500"/>
                  <a:gd name="connsiteX20" fmla="*/ 3810000 w 7734300"/>
                  <a:gd name="connsiteY20" fmla="*/ 10401300 h 21907500"/>
                  <a:gd name="connsiteX21" fmla="*/ 3962400 w 7734300"/>
                  <a:gd name="connsiteY21" fmla="*/ 11125200 h 21907500"/>
                  <a:gd name="connsiteX22" fmla="*/ 4152900 w 7734300"/>
                  <a:gd name="connsiteY22" fmla="*/ 12877800 h 21907500"/>
                  <a:gd name="connsiteX23" fmla="*/ 4229100 w 7734300"/>
                  <a:gd name="connsiteY23" fmla="*/ 13792200 h 21907500"/>
                  <a:gd name="connsiteX24" fmla="*/ 5257800 w 7734300"/>
                  <a:gd name="connsiteY24" fmla="*/ 21297900 h 21907500"/>
                  <a:gd name="connsiteX25" fmla="*/ 6248400 w 7734300"/>
                  <a:gd name="connsiteY25" fmla="*/ 21907500 h 21907500"/>
                  <a:gd name="connsiteX26" fmla="*/ 7734300 w 7734300"/>
                  <a:gd name="connsiteY26" fmla="*/ 19583400 h 21907500"/>
                  <a:gd name="connsiteX27" fmla="*/ 6858000 w 7734300"/>
                  <a:gd name="connsiteY27" fmla="*/ 13563600 h 21907500"/>
                  <a:gd name="connsiteX28" fmla="*/ 6858000 w 7734300"/>
                  <a:gd name="connsiteY28" fmla="*/ 11315700 h 21907500"/>
                  <a:gd name="connsiteX29" fmla="*/ 6705600 w 7734300"/>
                  <a:gd name="connsiteY29" fmla="*/ 8877300 h 21907500"/>
                  <a:gd name="connsiteX30" fmla="*/ 6934200 w 7734300"/>
                  <a:gd name="connsiteY30" fmla="*/ 5143500 h 21907500"/>
                  <a:gd name="connsiteX31" fmla="*/ 7124700 w 7734300"/>
                  <a:gd name="connsiteY31" fmla="*/ 4114800 h 21907500"/>
                  <a:gd name="connsiteX32" fmla="*/ 7200900 w 7734300"/>
                  <a:gd name="connsiteY32" fmla="*/ 2781300 h 21907500"/>
                  <a:gd name="connsiteX33" fmla="*/ 7162800 w 7734300"/>
                  <a:gd name="connsiteY33" fmla="*/ 2095500 h 21907500"/>
                  <a:gd name="connsiteX34" fmla="*/ 6096000 w 7734300"/>
                  <a:gd name="connsiteY34" fmla="*/ 2171700 h 21907500"/>
                  <a:gd name="connsiteX35" fmla="*/ 4495800 w 7734300"/>
                  <a:gd name="connsiteY35" fmla="*/ 2247900 h 21907500"/>
                  <a:gd name="connsiteX36" fmla="*/ 3962400 w 7734300"/>
                  <a:gd name="connsiteY36" fmla="*/ 2209800 h 21907500"/>
                  <a:gd name="connsiteX37" fmla="*/ 3429000 w 7734300"/>
                  <a:gd name="connsiteY37" fmla="*/ 1828800 h 21907500"/>
                  <a:gd name="connsiteX38" fmla="*/ 3276600 w 7734300"/>
                  <a:gd name="connsiteY38" fmla="*/ 1295400 h 21907500"/>
                  <a:gd name="connsiteX39" fmla="*/ 3162300 w 7734300"/>
                  <a:gd name="connsiteY39" fmla="*/ 0 h 21907500"/>
                  <a:gd name="connsiteX40" fmla="*/ 2819400 w 7734300"/>
                  <a:gd name="connsiteY40" fmla="*/ 76200 h 21907500"/>
                  <a:gd name="connsiteX41" fmla="*/ 2324100 w 7734300"/>
                  <a:gd name="connsiteY41" fmla="*/ 1562100 h 21907500"/>
                  <a:gd name="connsiteX42" fmla="*/ 2095500 w 7734300"/>
                  <a:gd name="connsiteY42" fmla="*/ 1790700 h 21907500"/>
                  <a:gd name="connsiteX43" fmla="*/ 1714500 w 7734300"/>
                  <a:gd name="connsiteY43" fmla="*/ 2095500 h 21907500"/>
                  <a:gd name="connsiteX44" fmla="*/ 1104900 w 7734300"/>
                  <a:gd name="connsiteY44" fmla="*/ 1981200 h 21907500"/>
                  <a:gd name="connsiteX45" fmla="*/ 419100 w 7734300"/>
                  <a:gd name="connsiteY45" fmla="*/ 1790700 h 21907500"/>
                  <a:gd name="connsiteX46" fmla="*/ 419100 w 7734300"/>
                  <a:gd name="connsiteY46" fmla="*/ 1790700 h 21907500"/>
                  <a:gd name="connsiteX0" fmla="*/ 457200 w 7734300"/>
                  <a:gd name="connsiteY0" fmla="*/ 1752600 h 21907500"/>
                  <a:gd name="connsiteX1" fmla="*/ 190500 w 7734300"/>
                  <a:gd name="connsiteY1" fmla="*/ 2133600 h 21907500"/>
                  <a:gd name="connsiteX2" fmla="*/ 266700 w 7734300"/>
                  <a:gd name="connsiteY2" fmla="*/ 2514600 h 21907500"/>
                  <a:gd name="connsiteX3" fmla="*/ 495300 w 7734300"/>
                  <a:gd name="connsiteY3" fmla="*/ 2705100 h 21907500"/>
                  <a:gd name="connsiteX4" fmla="*/ 457200 w 7734300"/>
                  <a:gd name="connsiteY4" fmla="*/ 3962400 h 21907500"/>
                  <a:gd name="connsiteX5" fmla="*/ 190500 w 7734300"/>
                  <a:gd name="connsiteY5" fmla="*/ 6819900 h 21907500"/>
                  <a:gd name="connsiteX6" fmla="*/ 0 w 7734300"/>
                  <a:gd name="connsiteY6" fmla="*/ 9144000 h 21907500"/>
                  <a:gd name="connsiteX7" fmla="*/ 76200 w 7734300"/>
                  <a:gd name="connsiteY7" fmla="*/ 10058400 h 21907500"/>
                  <a:gd name="connsiteX8" fmla="*/ 228600 w 7734300"/>
                  <a:gd name="connsiteY8" fmla="*/ 10629900 h 21907500"/>
                  <a:gd name="connsiteX9" fmla="*/ 838200 w 7734300"/>
                  <a:gd name="connsiteY9" fmla="*/ 13258800 h 21907500"/>
                  <a:gd name="connsiteX10" fmla="*/ 3810000 w 7734300"/>
                  <a:gd name="connsiteY10" fmla="*/ 13220700 h 21907500"/>
                  <a:gd name="connsiteX11" fmla="*/ 3009900 w 7734300"/>
                  <a:gd name="connsiteY11" fmla="*/ 10325100 h 21907500"/>
                  <a:gd name="connsiteX12" fmla="*/ 2971800 w 7734300"/>
                  <a:gd name="connsiteY12" fmla="*/ 9372600 h 21907500"/>
                  <a:gd name="connsiteX13" fmla="*/ 2819400 w 7734300"/>
                  <a:gd name="connsiteY13" fmla="*/ 9220200 h 21907500"/>
                  <a:gd name="connsiteX14" fmla="*/ 3009900 w 7734300"/>
                  <a:gd name="connsiteY14" fmla="*/ 9029700 h 21907500"/>
                  <a:gd name="connsiteX15" fmla="*/ 2857500 w 7734300"/>
                  <a:gd name="connsiteY15" fmla="*/ 7772400 h 21907500"/>
                  <a:gd name="connsiteX16" fmla="*/ 3619500 w 7734300"/>
                  <a:gd name="connsiteY16" fmla="*/ 4114800 h 21907500"/>
                  <a:gd name="connsiteX17" fmla="*/ 3848100 w 7734300"/>
                  <a:gd name="connsiteY17" fmla="*/ 5219700 h 21907500"/>
                  <a:gd name="connsiteX18" fmla="*/ 3924300 w 7734300"/>
                  <a:gd name="connsiteY18" fmla="*/ 7048500 h 21907500"/>
                  <a:gd name="connsiteX19" fmla="*/ 3924300 w 7734300"/>
                  <a:gd name="connsiteY19" fmla="*/ 9029700 h 21907500"/>
                  <a:gd name="connsiteX20" fmla="*/ 3810000 w 7734300"/>
                  <a:gd name="connsiteY20" fmla="*/ 10401300 h 21907500"/>
                  <a:gd name="connsiteX21" fmla="*/ 3962400 w 7734300"/>
                  <a:gd name="connsiteY21" fmla="*/ 11125200 h 21907500"/>
                  <a:gd name="connsiteX22" fmla="*/ 4152900 w 7734300"/>
                  <a:gd name="connsiteY22" fmla="*/ 12877800 h 21907500"/>
                  <a:gd name="connsiteX23" fmla="*/ 4229100 w 7734300"/>
                  <a:gd name="connsiteY23" fmla="*/ 13792200 h 21907500"/>
                  <a:gd name="connsiteX24" fmla="*/ 5257800 w 7734300"/>
                  <a:gd name="connsiteY24" fmla="*/ 21297900 h 21907500"/>
                  <a:gd name="connsiteX25" fmla="*/ 6248400 w 7734300"/>
                  <a:gd name="connsiteY25" fmla="*/ 21907500 h 21907500"/>
                  <a:gd name="connsiteX26" fmla="*/ 7734300 w 7734300"/>
                  <a:gd name="connsiteY26" fmla="*/ 19583400 h 21907500"/>
                  <a:gd name="connsiteX27" fmla="*/ 6858000 w 7734300"/>
                  <a:gd name="connsiteY27" fmla="*/ 13563600 h 21907500"/>
                  <a:gd name="connsiteX28" fmla="*/ 6858000 w 7734300"/>
                  <a:gd name="connsiteY28" fmla="*/ 11315700 h 21907500"/>
                  <a:gd name="connsiteX29" fmla="*/ 6705600 w 7734300"/>
                  <a:gd name="connsiteY29" fmla="*/ 8877300 h 21907500"/>
                  <a:gd name="connsiteX30" fmla="*/ 6934200 w 7734300"/>
                  <a:gd name="connsiteY30" fmla="*/ 5143500 h 21907500"/>
                  <a:gd name="connsiteX31" fmla="*/ 7124700 w 7734300"/>
                  <a:gd name="connsiteY31" fmla="*/ 4114800 h 21907500"/>
                  <a:gd name="connsiteX32" fmla="*/ 7200900 w 7734300"/>
                  <a:gd name="connsiteY32" fmla="*/ 2781300 h 21907500"/>
                  <a:gd name="connsiteX33" fmla="*/ 7162800 w 7734300"/>
                  <a:gd name="connsiteY33" fmla="*/ 2095500 h 21907500"/>
                  <a:gd name="connsiteX34" fmla="*/ 6096000 w 7734300"/>
                  <a:gd name="connsiteY34" fmla="*/ 2171700 h 21907500"/>
                  <a:gd name="connsiteX35" fmla="*/ 4495800 w 7734300"/>
                  <a:gd name="connsiteY35" fmla="*/ 2247900 h 21907500"/>
                  <a:gd name="connsiteX36" fmla="*/ 3962400 w 7734300"/>
                  <a:gd name="connsiteY36" fmla="*/ 2209800 h 21907500"/>
                  <a:gd name="connsiteX37" fmla="*/ 3429000 w 7734300"/>
                  <a:gd name="connsiteY37" fmla="*/ 1828800 h 21907500"/>
                  <a:gd name="connsiteX38" fmla="*/ 3276600 w 7734300"/>
                  <a:gd name="connsiteY38" fmla="*/ 1295400 h 21907500"/>
                  <a:gd name="connsiteX39" fmla="*/ 3162300 w 7734300"/>
                  <a:gd name="connsiteY39" fmla="*/ 0 h 21907500"/>
                  <a:gd name="connsiteX40" fmla="*/ 2819400 w 7734300"/>
                  <a:gd name="connsiteY40" fmla="*/ 76200 h 21907500"/>
                  <a:gd name="connsiteX41" fmla="*/ 2324100 w 7734300"/>
                  <a:gd name="connsiteY41" fmla="*/ 1562100 h 21907500"/>
                  <a:gd name="connsiteX42" fmla="*/ 2095500 w 7734300"/>
                  <a:gd name="connsiteY42" fmla="*/ 1790700 h 21907500"/>
                  <a:gd name="connsiteX43" fmla="*/ 1714500 w 7734300"/>
                  <a:gd name="connsiteY43" fmla="*/ 2095500 h 21907500"/>
                  <a:gd name="connsiteX44" fmla="*/ 1104900 w 7734300"/>
                  <a:gd name="connsiteY44" fmla="*/ 1981200 h 21907500"/>
                  <a:gd name="connsiteX45" fmla="*/ 419100 w 7734300"/>
                  <a:gd name="connsiteY45" fmla="*/ 1790700 h 21907500"/>
                  <a:gd name="connsiteX46" fmla="*/ 419100 w 7734300"/>
                  <a:gd name="connsiteY46" fmla="*/ 1790700 h 21907500"/>
                  <a:gd name="connsiteX0" fmla="*/ 457200 w 7734300"/>
                  <a:gd name="connsiteY0" fmla="*/ 1752600 h 21907500"/>
                  <a:gd name="connsiteX1" fmla="*/ 190500 w 7734300"/>
                  <a:gd name="connsiteY1" fmla="*/ 2133600 h 21907500"/>
                  <a:gd name="connsiteX2" fmla="*/ 266700 w 7734300"/>
                  <a:gd name="connsiteY2" fmla="*/ 2514600 h 21907500"/>
                  <a:gd name="connsiteX3" fmla="*/ 495300 w 7734300"/>
                  <a:gd name="connsiteY3" fmla="*/ 2705100 h 21907500"/>
                  <a:gd name="connsiteX4" fmla="*/ 457200 w 7734300"/>
                  <a:gd name="connsiteY4" fmla="*/ 3962400 h 21907500"/>
                  <a:gd name="connsiteX5" fmla="*/ 190500 w 7734300"/>
                  <a:gd name="connsiteY5" fmla="*/ 6819900 h 21907500"/>
                  <a:gd name="connsiteX6" fmla="*/ 0 w 7734300"/>
                  <a:gd name="connsiteY6" fmla="*/ 9144000 h 21907500"/>
                  <a:gd name="connsiteX7" fmla="*/ 76200 w 7734300"/>
                  <a:gd name="connsiteY7" fmla="*/ 10058400 h 21907500"/>
                  <a:gd name="connsiteX8" fmla="*/ 228600 w 7734300"/>
                  <a:gd name="connsiteY8" fmla="*/ 10629900 h 21907500"/>
                  <a:gd name="connsiteX9" fmla="*/ 838200 w 7734300"/>
                  <a:gd name="connsiteY9" fmla="*/ 13258800 h 21907500"/>
                  <a:gd name="connsiteX10" fmla="*/ 3810000 w 7734300"/>
                  <a:gd name="connsiteY10" fmla="*/ 13220700 h 21907500"/>
                  <a:gd name="connsiteX11" fmla="*/ 3009900 w 7734300"/>
                  <a:gd name="connsiteY11" fmla="*/ 10325100 h 21907500"/>
                  <a:gd name="connsiteX12" fmla="*/ 2971800 w 7734300"/>
                  <a:gd name="connsiteY12" fmla="*/ 9372600 h 21907500"/>
                  <a:gd name="connsiteX13" fmla="*/ 2819400 w 7734300"/>
                  <a:gd name="connsiteY13" fmla="*/ 9220200 h 21907500"/>
                  <a:gd name="connsiteX14" fmla="*/ 3009900 w 7734300"/>
                  <a:gd name="connsiteY14" fmla="*/ 9029700 h 21907500"/>
                  <a:gd name="connsiteX15" fmla="*/ 2857500 w 7734300"/>
                  <a:gd name="connsiteY15" fmla="*/ 7772400 h 21907500"/>
                  <a:gd name="connsiteX16" fmla="*/ 3619500 w 7734300"/>
                  <a:gd name="connsiteY16" fmla="*/ 4114800 h 21907500"/>
                  <a:gd name="connsiteX17" fmla="*/ 3848100 w 7734300"/>
                  <a:gd name="connsiteY17" fmla="*/ 5219700 h 21907500"/>
                  <a:gd name="connsiteX18" fmla="*/ 3924300 w 7734300"/>
                  <a:gd name="connsiteY18" fmla="*/ 7048500 h 21907500"/>
                  <a:gd name="connsiteX19" fmla="*/ 3924300 w 7734300"/>
                  <a:gd name="connsiteY19" fmla="*/ 9029700 h 21907500"/>
                  <a:gd name="connsiteX20" fmla="*/ 3810000 w 7734300"/>
                  <a:gd name="connsiteY20" fmla="*/ 10401300 h 21907500"/>
                  <a:gd name="connsiteX21" fmla="*/ 3962400 w 7734300"/>
                  <a:gd name="connsiteY21" fmla="*/ 11125200 h 21907500"/>
                  <a:gd name="connsiteX22" fmla="*/ 4152900 w 7734300"/>
                  <a:gd name="connsiteY22" fmla="*/ 12877800 h 21907500"/>
                  <a:gd name="connsiteX23" fmla="*/ 4229100 w 7734300"/>
                  <a:gd name="connsiteY23" fmla="*/ 13792200 h 21907500"/>
                  <a:gd name="connsiteX24" fmla="*/ 5257800 w 7734300"/>
                  <a:gd name="connsiteY24" fmla="*/ 21297900 h 21907500"/>
                  <a:gd name="connsiteX25" fmla="*/ 6248400 w 7734300"/>
                  <a:gd name="connsiteY25" fmla="*/ 21907500 h 21907500"/>
                  <a:gd name="connsiteX26" fmla="*/ 7734300 w 7734300"/>
                  <a:gd name="connsiteY26" fmla="*/ 19583400 h 21907500"/>
                  <a:gd name="connsiteX27" fmla="*/ 6858000 w 7734300"/>
                  <a:gd name="connsiteY27" fmla="*/ 13563600 h 21907500"/>
                  <a:gd name="connsiteX28" fmla="*/ 6858000 w 7734300"/>
                  <a:gd name="connsiteY28" fmla="*/ 11315700 h 21907500"/>
                  <a:gd name="connsiteX29" fmla="*/ 6705600 w 7734300"/>
                  <a:gd name="connsiteY29" fmla="*/ 8877300 h 21907500"/>
                  <a:gd name="connsiteX30" fmla="*/ 6934200 w 7734300"/>
                  <a:gd name="connsiteY30" fmla="*/ 5143500 h 21907500"/>
                  <a:gd name="connsiteX31" fmla="*/ 7124700 w 7734300"/>
                  <a:gd name="connsiteY31" fmla="*/ 4114800 h 21907500"/>
                  <a:gd name="connsiteX32" fmla="*/ 7200900 w 7734300"/>
                  <a:gd name="connsiteY32" fmla="*/ 2781300 h 21907500"/>
                  <a:gd name="connsiteX33" fmla="*/ 7162800 w 7734300"/>
                  <a:gd name="connsiteY33" fmla="*/ 2095500 h 21907500"/>
                  <a:gd name="connsiteX34" fmla="*/ 6096000 w 7734300"/>
                  <a:gd name="connsiteY34" fmla="*/ 2171700 h 21907500"/>
                  <a:gd name="connsiteX35" fmla="*/ 4495800 w 7734300"/>
                  <a:gd name="connsiteY35" fmla="*/ 2247900 h 21907500"/>
                  <a:gd name="connsiteX36" fmla="*/ 3962400 w 7734300"/>
                  <a:gd name="connsiteY36" fmla="*/ 2209800 h 21907500"/>
                  <a:gd name="connsiteX37" fmla="*/ 3429000 w 7734300"/>
                  <a:gd name="connsiteY37" fmla="*/ 1828800 h 21907500"/>
                  <a:gd name="connsiteX38" fmla="*/ 3276600 w 7734300"/>
                  <a:gd name="connsiteY38" fmla="*/ 1295400 h 21907500"/>
                  <a:gd name="connsiteX39" fmla="*/ 3162300 w 7734300"/>
                  <a:gd name="connsiteY39" fmla="*/ 0 h 21907500"/>
                  <a:gd name="connsiteX40" fmla="*/ 2819400 w 7734300"/>
                  <a:gd name="connsiteY40" fmla="*/ 76200 h 21907500"/>
                  <a:gd name="connsiteX41" fmla="*/ 2324100 w 7734300"/>
                  <a:gd name="connsiteY41" fmla="*/ 1562100 h 21907500"/>
                  <a:gd name="connsiteX42" fmla="*/ 2095500 w 7734300"/>
                  <a:gd name="connsiteY42" fmla="*/ 1790700 h 21907500"/>
                  <a:gd name="connsiteX43" fmla="*/ 1714500 w 7734300"/>
                  <a:gd name="connsiteY43" fmla="*/ 2095500 h 21907500"/>
                  <a:gd name="connsiteX44" fmla="*/ 1104900 w 7734300"/>
                  <a:gd name="connsiteY44" fmla="*/ 1981200 h 21907500"/>
                  <a:gd name="connsiteX45" fmla="*/ 419100 w 7734300"/>
                  <a:gd name="connsiteY45" fmla="*/ 1790700 h 21907500"/>
                  <a:gd name="connsiteX46" fmla="*/ 419100 w 7734300"/>
                  <a:gd name="connsiteY46" fmla="*/ 1790700 h 21907500"/>
                  <a:gd name="connsiteX0" fmla="*/ 457200 w 7734300"/>
                  <a:gd name="connsiteY0" fmla="*/ 1752600 h 21907500"/>
                  <a:gd name="connsiteX1" fmla="*/ 190500 w 7734300"/>
                  <a:gd name="connsiteY1" fmla="*/ 2133600 h 21907500"/>
                  <a:gd name="connsiteX2" fmla="*/ 266700 w 7734300"/>
                  <a:gd name="connsiteY2" fmla="*/ 2514600 h 21907500"/>
                  <a:gd name="connsiteX3" fmla="*/ 495300 w 7734300"/>
                  <a:gd name="connsiteY3" fmla="*/ 2705100 h 21907500"/>
                  <a:gd name="connsiteX4" fmla="*/ 457200 w 7734300"/>
                  <a:gd name="connsiteY4" fmla="*/ 3962400 h 21907500"/>
                  <a:gd name="connsiteX5" fmla="*/ 190500 w 7734300"/>
                  <a:gd name="connsiteY5" fmla="*/ 6819900 h 21907500"/>
                  <a:gd name="connsiteX6" fmla="*/ 0 w 7734300"/>
                  <a:gd name="connsiteY6" fmla="*/ 9144000 h 21907500"/>
                  <a:gd name="connsiteX7" fmla="*/ 76200 w 7734300"/>
                  <a:gd name="connsiteY7" fmla="*/ 10058400 h 21907500"/>
                  <a:gd name="connsiteX8" fmla="*/ 228600 w 7734300"/>
                  <a:gd name="connsiteY8" fmla="*/ 10629900 h 21907500"/>
                  <a:gd name="connsiteX9" fmla="*/ 838200 w 7734300"/>
                  <a:gd name="connsiteY9" fmla="*/ 13258800 h 21907500"/>
                  <a:gd name="connsiteX10" fmla="*/ 3810000 w 7734300"/>
                  <a:gd name="connsiteY10" fmla="*/ 13220700 h 21907500"/>
                  <a:gd name="connsiteX11" fmla="*/ 3009900 w 7734300"/>
                  <a:gd name="connsiteY11" fmla="*/ 10325100 h 21907500"/>
                  <a:gd name="connsiteX12" fmla="*/ 2971800 w 7734300"/>
                  <a:gd name="connsiteY12" fmla="*/ 9372600 h 21907500"/>
                  <a:gd name="connsiteX13" fmla="*/ 2819400 w 7734300"/>
                  <a:gd name="connsiteY13" fmla="*/ 9220200 h 21907500"/>
                  <a:gd name="connsiteX14" fmla="*/ 3009900 w 7734300"/>
                  <a:gd name="connsiteY14" fmla="*/ 9029700 h 21907500"/>
                  <a:gd name="connsiteX15" fmla="*/ 2857500 w 7734300"/>
                  <a:gd name="connsiteY15" fmla="*/ 7772400 h 21907500"/>
                  <a:gd name="connsiteX16" fmla="*/ 3619500 w 7734300"/>
                  <a:gd name="connsiteY16" fmla="*/ 4114800 h 21907500"/>
                  <a:gd name="connsiteX17" fmla="*/ 3848100 w 7734300"/>
                  <a:gd name="connsiteY17" fmla="*/ 5219700 h 21907500"/>
                  <a:gd name="connsiteX18" fmla="*/ 3924300 w 7734300"/>
                  <a:gd name="connsiteY18" fmla="*/ 7048500 h 21907500"/>
                  <a:gd name="connsiteX19" fmla="*/ 3924300 w 7734300"/>
                  <a:gd name="connsiteY19" fmla="*/ 9029700 h 21907500"/>
                  <a:gd name="connsiteX20" fmla="*/ 3810000 w 7734300"/>
                  <a:gd name="connsiteY20" fmla="*/ 10401300 h 21907500"/>
                  <a:gd name="connsiteX21" fmla="*/ 3962400 w 7734300"/>
                  <a:gd name="connsiteY21" fmla="*/ 11125200 h 21907500"/>
                  <a:gd name="connsiteX22" fmla="*/ 4152900 w 7734300"/>
                  <a:gd name="connsiteY22" fmla="*/ 12877800 h 21907500"/>
                  <a:gd name="connsiteX23" fmla="*/ 4229100 w 7734300"/>
                  <a:gd name="connsiteY23" fmla="*/ 13792200 h 21907500"/>
                  <a:gd name="connsiteX24" fmla="*/ 5257800 w 7734300"/>
                  <a:gd name="connsiteY24" fmla="*/ 21297900 h 21907500"/>
                  <a:gd name="connsiteX25" fmla="*/ 6248400 w 7734300"/>
                  <a:gd name="connsiteY25" fmla="*/ 21907500 h 21907500"/>
                  <a:gd name="connsiteX26" fmla="*/ 7734300 w 7734300"/>
                  <a:gd name="connsiteY26" fmla="*/ 19583400 h 21907500"/>
                  <a:gd name="connsiteX27" fmla="*/ 6858000 w 7734300"/>
                  <a:gd name="connsiteY27" fmla="*/ 13563600 h 21907500"/>
                  <a:gd name="connsiteX28" fmla="*/ 6858000 w 7734300"/>
                  <a:gd name="connsiteY28" fmla="*/ 11315700 h 21907500"/>
                  <a:gd name="connsiteX29" fmla="*/ 6705600 w 7734300"/>
                  <a:gd name="connsiteY29" fmla="*/ 8877300 h 21907500"/>
                  <a:gd name="connsiteX30" fmla="*/ 6934200 w 7734300"/>
                  <a:gd name="connsiteY30" fmla="*/ 5143500 h 21907500"/>
                  <a:gd name="connsiteX31" fmla="*/ 7124700 w 7734300"/>
                  <a:gd name="connsiteY31" fmla="*/ 4114800 h 21907500"/>
                  <a:gd name="connsiteX32" fmla="*/ 7200900 w 7734300"/>
                  <a:gd name="connsiteY32" fmla="*/ 2781300 h 21907500"/>
                  <a:gd name="connsiteX33" fmla="*/ 7162800 w 7734300"/>
                  <a:gd name="connsiteY33" fmla="*/ 2095500 h 21907500"/>
                  <a:gd name="connsiteX34" fmla="*/ 6096000 w 7734300"/>
                  <a:gd name="connsiteY34" fmla="*/ 2171700 h 21907500"/>
                  <a:gd name="connsiteX35" fmla="*/ 4495800 w 7734300"/>
                  <a:gd name="connsiteY35" fmla="*/ 2247900 h 21907500"/>
                  <a:gd name="connsiteX36" fmla="*/ 3962400 w 7734300"/>
                  <a:gd name="connsiteY36" fmla="*/ 2209800 h 21907500"/>
                  <a:gd name="connsiteX37" fmla="*/ 3429000 w 7734300"/>
                  <a:gd name="connsiteY37" fmla="*/ 1828800 h 21907500"/>
                  <a:gd name="connsiteX38" fmla="*/ 3276600 w 7734300"/>
                  <a:gd name="connsiteY38" fmla="*/ 1295400 h 21907500"/>
                  <a:gd name="connsiteX39" fmla="*/ 3162300 w 7734300"/>
                  <a:gd name="connsiteY39" fmla="*/ 0 h 21907500"/>
                  <a:gd name="connsiteX40" fmla="*/ 2819400 w 7734300"/>
                  <a:gd name="connsiteY40" fmla="*/ 76200 h 21907500"/>
                  <a:gd name="connsiteX41" fmla="*/ 2324100 w 7734300"/>
                  <a:gd name="connsiteY41" fmla="*/ 1562100 h 21907500"/>
                  <a:gd name="connsiteX42" fmla="*/ 2095500 w 7734300"/>
                  <a:gd name="connsiteY42" fmla="*/ 1790700 h 21907500"/>
                  <a:gd name="connsiteX43" fmla="*/ 1714500 w 7734300"/>
                  <a:gd name="connsiteY43" fmla="*/ 2095500 h 21907500"/>
                  <a:gd name="connsiteX44" fmla="*/ 1104900 w 7734300"/>
                  <a:gd name="connsiteY44" fmla="*/ 1981200 h 21907500"/>
                  <a:gd name="connsiteX45" fmla="*/ 419100 w 7734300"/>
                  <a:gd name="connsiteY45" fmla="*/ 1790700 h 21907500"/>
                  <a:gd name="connsiteX46" fmla="*/ 419100 w 7734300"/>
                  <a:gd name="connsiteY46" fmla="*/ 1790700 h 21907500"/>
                  <a:gd name="connsiteX0" fmla="*/ 457200 w 7734300"/>
                  <a:gd name="connsiteY0" fmla="*/ 1752600 h 21907500"/>
                  <a:gd name="connsiteX1" fmla="*/ 190500 w 7734300"/>
                  <a:gd name="connsiteY1" fmla="*/ 2133600 h 21907500"/>
                  <a:gd name="connsiteX2" fmla="*/ 266700 w 7734300"/>
                  <a:gd name="connsiteY2" fmla="*/ 2514600 h 21907500"/>
                  <a:gd name="connsiteX3" fmla="*/ 495300 w 7734300"/>
                  <a:gd name="connsiteY3" fmla="*/ 2705100 h 21907500"/>
                  <a:gd name="connsiteX4" fmla="*/ 457200 w 7734300"/>
                  <a:gd name="connsiteY4" fmla="*/ 3962400 h 21907500"/>
                  <a:gd name="connsiteX5" fmla="*/ 190500 w 7734300"/>
                  <a:gd name="connsiteY5" fmla="*/ 6819900 h 21907500"/>
                  <a:gd name="connsiteX6" fmla="*/ 0 w 7734300"/>
                  <a:gd name="connsiteY6" fmla="*/ 9144000 h 21907500"/>
                  <a:gd name="connsiteX7" fmla="*/ 76200 w 7734300"/>
                  <a:gd name="connsiteY7" fmla="*/ 10058400 h 21907500"/>
                  <a:gd name="connsiteX8" fmla="*/ 228600 w 7734300"/>
                  <a:gd name="connsiteY8" fmla="*/ 10629900 h 21907500"/>
                  <a:gd name="connsiteX9" fmla="*/ 838200 w 7734300"/>
                  <a:gd name="connsiteY9" fmla="*/ 13258800 h 21907500"/>
                  <a:gd name="connsiteX10" fmla="*/ 3810000 w 7734300"/>
                  <a:gd name="connsiteY10" fmla="*/ 13220700 h 21907500"/>
                  <a:gd name="connsiteX11" fmla="*/ 3009900 w 7734300"/>
                  <a:gd name="connsiteY11" fmla="*/ 10325100 h 21907500"/>
                  <a:gd name="connsiteX12" fmla="*/ 2819400 w 7734300"/>
                  <a:gd name="connsiteY12" fmla="*/ 9601200 h 21907500"/>
                  <a:gd name="connsiteX13" fmla="*/ 2819400 w 7734300"/>
                  <a:gd name="connsiteY13" fmla="*/ 9220200 h 21907500"/>
                  <a:gd name="connsiteX14" fmla="*/ 3009900 w 7734300"/>
                  <a:gd name="connsiteY14" fmla="*/ 9029700 h 21907500"/>
                  <a:gd name="connsiteX15" fmla="*/ 2857500 w 7734300"/>
                  <a:gd name="connsiteY15" fmla="*/ 7772400 h 21907500"/>
                  <a:gd name="connsiteX16" fmla="*/ 3619500 w 7734300"/>
                  <a:gd name="connsiteY16" fmla="*/ 4114800 h 21907500"/>
                  <a:gd name="connsiteX17" fmla="*/ 3848100 w 7734300"/>
                  <a:gd name="connsiteY17" fmla="*/ 5219700 h 21907500"/>
                  <a:gd name="connsiteX18" fmla="*/ 3924300 w 7734300"/>
                  <a:gd name="connsiteY18" fmla="*/ 7048500 h 21907500"/>
                  <a:gd name="connsiteX19" fmla="*/ 3924300 w 7734300"/>
                  <a:gd name="connsiteY19" fmla="*/ 9029700 h 21907500"/>
                  <a:gd name="connsiteX20" fmla="*/ 3810000 w 7734300"/>
                  <a:gd name="connsiteY20" fmla="*/ 10401300 h 21907500"/>
                  <a:gd name="connsiteX21" fmla="*/ 3962400 w 7734300"/>
                  <a:gd name="connsiteY21" fmla="*/ 11125200 h 21907500"/>
                  <a:gd name="connsiteX22" fmla="*/ 4152900 w 7734300"/>
                  <a:gd name="connsiteY22" fmla="*/ 12877800 h 21907500"/>
                  <a:gd name="connsiteX23" fmla="*/ 4229100 w 7734300"/>
                  <a:gd name="connsiteY23" fmla="*/ 13792200 h 21907500"/>
                  <a:gd name="connsiteX24" fmla="*/ 5257800 w 7734300"/>
                  <a:gd name="connsiteY24" fmla="*/ 21297900 h 21907500"/>
                  <a:gd name="connsiteX25" fmla="*/ 6248400 w 7734300"/>
                  <a:gd name="connsiteY25" fmla="*/ 21907500 h 21907500"/>
                  <a:gd name="connsiteX26" fmla="*/ 7734300 w 7734300"/>
                  <a:gd name="connsiteY26" fmla="*/ 19583400 h 21907500"/>
                  <a:gd name="connsiteX27" fmla="*/ 6858000 w 7734300"/>
                  <a:gd name="connsiteY27" fmla="*/ 13563600 h 21907500"/>
                  <a:gd name="connsiteX28" fmla="*/ 6858000 w 7734300"/>
                  <a:gd name="connsiteY28" fmla="*/ 11315700 h 21907500"/>
                  <a:gd name="connsiteX29" fmla="*/ 6705600 w 7734300"/>
                  <a:gd name="connsiteY29" fmla="*/ 8877300 h 21907500"/>
                  <a:gd name="connsiteX30" fmla="*/ 6934200 w 7734300"/>
                  <a:gd name="connsiteY30" fmla="*/ 5143500 h 21907500"/>
                  <a:gd name="connsiteX31" fmla="*/ 7124700 w 7734300"/>
                  <a:gd name="connsiteY31" fmla="*/ 4114800 h 21907500"/>
                  <a:gd name="connsiteX32" fmla="*/ 7200900 w 7734300"/>
                  <a:gd name="connsiteY32" fmla="*/ 2781300 h 21907500"/>
                  <a:gd name="connsiteX33" fmla="*/ 7162800 w 7734300"/>
                  <a:gd name="connsiteY33" fmla="*/ 2095500 h 21907500"/>
                  <a:gd name="connsiteX34" fmla="*/ 6096000 w 7734300"/>
                  <a:gd name="connsiteY34" fmla="*/ 2171700 h 21907500"/>
                  <a:gd name="connsiteX35" fmla="*/ 4495800 w 7734300"/>
                  <a:gd name="connsiteY35" fmla="*/ 2247900 h 21907500"/>
                  <a:gd name="connsiteX36" fmla="*/ 3962400 w 7734300"/>
                  <a:gd name="connsiteY36" fmla="*/ 2209800 h 21907500"/>
                  <a:gd name="connsiteX37" fmla="*/ 3429000 w 7734300"/>
                  <a:gd name="connsiteY37" fmla="*/ 1828800 h 21907500"/>
                  <a:gd name="connsiteX38" fmla="*/ 3276600 w 7734300"/>
                  <a:gd name="connsiteY38" fmla="*/ 1295400 h 21907500"/>
                  <a:gd name="connsiteX39" fmla="*/ 3162300 w 7734300"/>
                  <a:gd name="connsiteY39" fmla="*/ 0 h 21907500"/>
                  <a:gd name="connsiteX40" fmla="*/ 2819400 w 7734300"/>
                  <a:gd name="connsiteY40" fmla="*/ 76200 h 21907500"/>
                  <a:gd name="connsiteX41" fmla="*/ 2324100 w 7734300"/>
                  <a:gd name="connsiteY41" fmla="*/ 1562100 h 21907500"/>
                  <a:gd name="connsiteX42" fmla="*/ 2095500 w 7734300"/>
                  <a:gd name="connsiteY42" fmla="*/ 1790700 h 21907500"/>
                  <a:gd name="connsiteX43" fmla="*/ 1714500 w 7734300"/>
                  <a:gd name="connsiteY43" fmla="*/ 2095500 h 21907500"/>
                  <a:gd name="connsiteX44" fmla="*/ 1104900 w 7734300"/>
                  <a:gd name="connsiteY44" fmla="*/ 1981200 h 21907500"/>
                  <a:gd name="connsiteX45" fmla="*/ 419100 w 7734300"/>
                  <a:gd name="connsiteY45" fmla="*/ 1790700 h 21907500"/>
                  <a:gd name="connsiteX46" fmla="*/ 419100 w 7734300"/>
                  <a:gd name="connsiteY46" fmla="*/ 1790700 h 21907500"/>
                  <a:gd name="connsiteX0" fmla="*/ 457200 w 7734300"/>
                  <a:gd name="connsiteY0" fmla="*/ 1752600 h 21907500"/>
                  <a:gd name="connsiteX1" fmla="*/ 190500 w 7734300"/>
                  <a:gd name="connsiteY1" fmla="*/ 2133600 h 21907500"/>
                  <a:gd name="connsiteX2" fmla="*/ 266700 w 7734300"/>
                  <a:gd name="connsiteY2" fmla="*/ 2514600 h 21907500"/>
                  <a:gd name="connsiteX3" fmla="*/ 495300 w 7734300"/>
                  <a:gd name="connsiteY3" fmla="*/ 2705100 h 21907500"/>
                  <a:gd name="connsiteX4" fmla="*/ 457200 w 7734300"/>
                  <a:gd name="connsiteY4" fmla="*/ 3962400 h 21907500"/>
                  <a:gd name="connsiteX5" fmla="*/ 190500 w 7734300"/>
                  <a:gd name="connsiteY5" fmla="*/ 6819900 h 21907500"/>
                  <a:gd name="connsiteX6" fmla="*/ 0 w 7734300"/>
                  <a:gd name="connsiteY6" fmla="*/ 9144000 h 21907500"/>
                  <a:gd name="connsiteX7" fmla="*/ 76200 w 7734300"/>
                  <a:gd name="connsiteY7" fmla="*/ 10058400 h 21907500"/>
                  <a:gd name="connsiteX8" fmla="*/ 228600 w 7734300"/>
                  <a:gd name="connsiteY8" fmla="*/ 10629900 h 21907500"/>
                  <a:gd name="connsiteX9" fmla="*/ 838200 w 7734300"/>
                  <a:gd name="connsiteY9" fmla="*/ 13258800 h 21907500"/>
                  <a:gd name="connsiteX10" fmla="*/ 3810000 w 7734300"/>
                  <a:gd name="connsiteY10" fmla="*/ 13220700 h 21907500"/>
                  <a:gd name="connsiteX11" fmla="*/ 3009900 w 7734300"/>
                  <a:gd name="connsiteY11" fmla="*/ 10325100 h 21907500"/>
                  <a:gd name="connsiteX12" fmla="*/ 2819400 w 7734300"/>
                  <a:gd name="connsiteY12" fmla="*/ 9601200 h 21907500"/>
                  <a:gd name="connsiteX13" fmla="*/ 2819400 w 7734300"/>
                  <a:gd name="connsiteY13" fmla="*/ 9220200 h 21907500"/>
                  <a:gd name="connsiteX14" fmla="*/ 2857500 w 7734300"/>
                  <a:gd name="connsiteY14" fmla="*/ 8801100 h 21907500"/>
                  <a:gd name="connsiteX15" fmla="*/ 2857500 w 7734300"/>
                  <a:gd name="connsiteY15" fmla="*/ 7772400 h 21907500"/>
                  <a:gd name="connsiteX16" fmla="*/ 3619500 w 7734300"/>
                  <a:gd name="connsiteY16" fmla="*/ 4114800 h 21907500"/>
                  <a:gd name="connsiteX17" fmla="*/ 3848100 w 7734300"/>
                  <a:gd name="connsiteY17" fmla="*/ 5219700 h 21907500"/>
                  <a:gd name="connsiteX18" fmla="*/ 3924300 w 7734300"/>
                  <a:gd name="connsiteY18" fmla="*/ 7048500 h 21907500"/>
                  <a:gd name="connsiteX19" fmla="*/ 3924300 w 7734300"/>
                  <a:gd name="connsiteY19" fmla="*/ 9029700 h 21907500"/>
                  <a:gd name="connsiteX20" fmla="*/ 3810000 w 7734300"/>
                  <a:gd name="connsiteY20" fmla="*/ 10401300 h 21907500"/>
                  <a:gd name="connsiteX21" fmla="*/ 3962400 w 7734300"/>
                  <a:gd name="connsiteY21" fmla="*/ 11125200 h 21907500"/>
                  <a:gd name="connsiteX22" fmla="*/ 4152900 w 7734300"/>
                  <a:gd name="connsiteY22" fmla="*/ 12877800 h 21907500"/>
                  <a:gd name="connsiteX23" fmla="*/ 4229100 w 7734300"/>
                  <a:gd name="connsiteY23" fmla="*/ 13792200 h 21907500"/>
                  <a:gd name="connsiteX24" fmla="*/ 5257800 w 7734300"/>
                  <a:gd name="connsiteY24" fmla="*/ 21297900 h 21907500"/>
                  <a:gd name="connsiteX25" fmla="*/ 6248400 w 7734300"/>
                  <a:gd name="connsiteY25" fmla="*/ 21907500 h 21907500"/>
                  <a:gd name="connsiteX26" fmla="*/ 7734300 w 7734300"/>
                  <a:gd name="connsiteY26" fmla="*/ 19583400 h 21907500"/>
                  <a:gd name="connsiteX27" fmla="*/ 6858000 w 7734300"/>
                  <a:gd name="connsiteY27" fmla="*/ 13563600 h 21907500"/>
                  <a:gd name="connsiteX28" fmla="*/ 6858000 w 7734300"/>
                  <a:gd name="connsiteY28" fmla="*/ 11315700 h 21907500"/>
                  <a:gd name="connsiteX29" fmla="*/ 6705600 w 7734300"/>
                  <a:gd name="connsiteY29" fmla="*/ 8877300 h 21907500"/>
                  <a:gd name="connsiteX30" fmla="*/ 6934200 w 7734300"/>
                  <a:gd name="connsiteY30" fmla="*/ 5143500 h 21907500"/>
                  <a:gd name="connsiteX31" fmla="*/ 7124700 w 7734300"/>
                  <a:gd name="connsiteY31" fmla="*/ 4114800 h 21907500"/>
                  <a:gd name="connsiteX32" fmla="*/ 7200900 w 7734300"/>
                  <a:gd name="connsiteY32" fmla="*/ 2781300 h 21907500"/>
                  <a:gd name="connsiteX33" fmla="*/ 7162800 w 7734300"/>
                  <a:gd name="connsiteY33" fmla="*/ 2095500 h 21907500"/>
                  <a:gd name="connsiteX34" fmla="*/ 6096000 w 7734300"/>
                  <a:gd name="connsiteY34" fmla="*/ 2171700 h 21907500"/>
                  <a:gd name="connsiteX35" fmla="*/ 4495800 w 7734300"/>
                  <a:gd name="connsiteY35" fmla="*/ 2247900 h 21907500"/>
                  <a:gd name="connsiteX36" fmla="*/ 3962400 w 7734300"/>
                  <a:gd name="connsiteY36" fmla="*/ 2209800 h 21907500"/>
                  <a:gd name="connsiteX37" fmla="*/ 3429000 w 7734300"/>
                  <a:gd name="connsiteY37" fmla="*/ 1828800 h 21907500"/>
                  <a:gd name="connsiteX38" fmla="*/ 3276600 w 7734300"/>
                  <a:gd name="connsiteY38" fmla="*/ 1295400 h 21907500"/>
                  <a:gd name="connsiteX39" fmla="*/ 3162300 w 7734300"/>
                  <a:gd name="connsiteY39" fmla="*/ 0 h 21907500"/>
                  <a:gd name="connsiteX40" fmla="*/ 2819400 w 7734300"/>
                  <a:gd name="connsiteY40" fmla="*/ 76200 h 21907500"/>
                  <a:gd name="connsiteX41" fmla="*/ 2324100 w 7734300"/>
                  <a:gd name="connsiteY41" fmla="*/ 1562100 h 21907500"/>
                  <a:gd name="connsiteX42" fmla="*/ 2095500 w 7734300"/>
                  <a:gd name="connsiteY42" fmla="*/ 1790700 h 21907500"/>
                  <a:gd name="connsiteX43" fmla="*/ 1714500 w 7734300"/>
                  <a:gd name="connsiteY43" fmla="*/ 2095500 h 21907500"/>
                  <a:gd name="connsiteX44" fmla="*/ 1104900 w 7734300"/>
                  <a:gd name="connsiteY44" fmla="*/ 1981200 h 21907500"/>
                  <a:gd name="connsiteX45" fmla="*/ 419100 w 7734300"/>
                  <a:gd name="connsiteY45" fmla="*/ 1790700 h 21907500"/>
                  <a:gd name="connsiteX46" fmla="*/ 419100 w 7734300"/>
                  <a:gd name="connsiteY46" fmla="*/ 1790700 h 21907500"/>
                  <a:gd name="connsiteX0" fmla="*/ 457200 w 7734300"/>
                  <a:gd name="connsiteY0" fmla="*/ 1752600 h 21907500"/>
                  <a:gd name="connsiteX1" fmla="*/ 190500 w 7734300"/>
                  <a:gd name="connsiteY1" fmla="*/ 2133600 h 21907500"/>
                  <a:gd name="connsiteX2" fmla="*/ 266700 w 7734300"/>
                  <a:gd name="connsiteY2" fmla="*/ 2514600 h 21907500"/>
                  <a:gd name="connsiteX3" fmla="*/ 495300 w 7734300"/>
                  <a:gd name="connsiteY3" fmla="*/ 2705100 h 21907500"/>
                  <a:gd name="connsiteX4" fmla="*/ 457200 w 7734300"/>
                  <a:gd name="connsiteY4" fmla="*/ 3962400 h 21907500"/>
                  <a:gd name="connsiteX5" fmla="*/ 190500 w 7734300"/>
                  <a:gd name="connsiteY5" fmla="*/ 6819900 h 21907500"/>
                  <a:gd name="connsiteX6" fmla="*/ 0 w 7734300"/>
                  <a:gd name="connsiteY6" fmla="*/ 9144000 h 21907500"/>
                  <a:gd name="connsiteX7" fmla="*/ 76200 w 7734300"/>
                  <a:gd name="connsiteY7" fmla="*/ 10058400 h 21907500"/>
                  <a:gd name="connsiteX8" fmla="*/ 228600 w 7734300"/>
                  <a:gd name="connsiteY8" fmla="*/ 10629900 h 21907500"/>
                  <a:gd name="connsiteX9" fmla="*/ 838200 w 7734300"/>
                  <a:gd name="connsiteY9" fmla="*/ 13258800 h 21907500"/>
                  <a:gd name="connsiteX10" fmla="*/ 3810000 w 7734300"/>
                  <a:gd name="connsiteY10" fmla="*/ 13220700 h 21907500"/>
                  <a:gd name="connsiteX11" fmla="*/ 3009900 w 7734300"/>
                  <a:gd name="connsiteY11" fmla="*/ 10325100 h 21907500"/>
                  <a:gd name="connsiteX12" fmla="*/ 2819400 w 7734300"/>
                  <a:gd name="connsiteY12" fmla="*/ 9601200 h 21907500"/>
                  <a:gd name="connsiteX13" fmla="*/ 2819400 w 7734300"/>
                  <a:gd name="connsiteY13" fmla="*/ 9220200 h 21907500"/>
                  <a:gd name="connsiteX14" fmla="*/ 2857500 w 7734300"/>
                  <a:gd name="connsiteY14" fmla="*/ 8801100 h 21907500"/>
                  <a:gd name="connsiteX15" fmla="*/ 2857500 w 7734300"/>
                  <a:gd name="connsiteY15" fmla="*/ 7772400 h 21907500"/>
                  <a:gd name="connsiteX16" fmla="*/ 3619500 w 7734300"/>
                  <a:gd name="connsiteY16" fmla="*/ 4114800 h 21907500"/>
                  <a:gd name="connsiteX17" fmla="*/ 3848100 w 7734300"/>
                  <a:gd name="connsiteY17" fmla="*/ 5219700 h 21907500"/>
                  <a:gd name="connsiteX18" fmla="*/ 3924300 w 7734300"/>
                  <a:gd name="connsiteY18" fmla="*/ 7048500 h 21907500"/>
                  <a:gd name="connsiteX19" fmla="*/ 3924300 w 7734300"/>
                  <a:gd name="connsiteY19" fmla="*/ 9029700 h 21907500"/>
                  <a:gd name="connsiteX20" fmla="*/ 3810000 w 7734300"/>
                  <a:gd name="connsiteY20" fmla="*/ 10401300 h 21907500"/>
                  <a:gd name="connsiteX21" fmla="*/ 3962400 w 7734300"/>
                  <a:gd name="connsiteY21" fmla="*/ 11125200 h 21907500"/>
                  <a:gd name="connsiteX22" fmla="*/ 4152900 w 7734300"/>
                  <a:gd name="connsiteY22" fmla="*/ 12877800 h 21907500"/>
                  <a:gd name="connsiteX23" fmla="*/ 4229100 w 7734300"/>
                  <a:gd name="connsiteY23" fmla="*/ 13792200 h 21907500"/>
                  <a:gd name="connsiteX24" fmla="*/ 5257800 w 7734300"/>
                  <a:gd name="connsiteY24" fmla="*/ 21297900 h 21907500"/>
                  <a:gd name="connsiteX25" fmla="*/ 6248400 w 7734300"/>
                  <a:gd name="connsiteY25" fmla="*/ 21907500 h 21907500"/>
                  <a:gd name="connsiteX26" fmla="*/ 7734300 w 7734300"/>
                  <a:gd name="connsiteY26" fmla="*/ 19583400 h 21907500"/>
                  <a:gd name="connsiteX27" fmla="*/ 6858000 w 7734300"/>
                  <a:gd name="connsiteY27" fmla="*/ 13563600 h 21907500"/>
                  <a:gd name="connsiteX28" fmla="*/ 6858000 w 7734300"/>
                  <a:gd name="connsiteY28" fmla="*/ 11315700 h 21907500"/>
                  <a:gd name="connsiteX29" fmla="*/ 6705600 w 7734300"/>
                  <a:gd name="connsiteY29" fmla="*/ 8877300 h 21907500"/>
                  <a:gd name="connsiteX30" fmla="*/ 6934200 w 7734300"/>
                  <a:gd name="connsiteY30" fmla="*/ 5143500 h 21907500"/>
                  <a:gd name="connsiteX31" fmla="*/ 7124700 w 7734300"/>
                  <a:gd name="connsiteY31" fmla="*/ 4114800 h 21907500"/>
                  <a:gd name="connsiteX32" fmla="*/ 7200900 w 7734300"/>
                  <a:gd name="connsiteY32" fmla="*/ 2781300 h 21907500"/>
                  <a:gd name="connsiteX33" fmla="*/ 7162800 w 7734300"/>
                  <a:gd name="connsiteY33" fmla="*/ 2095500 h 21907500"/>
                  <a:gd name="connsiteX34" fmla="*/ 6096000 w 7734300"/>
                  <a:gd name="connsiteY34" fmla="*/ 2171700 h 21907500"/>
                  <a:gd name="connsiteX35" fmla="*/ 4495800 w 7734300"/>
                  <a:gd name="connsiteY35" fmla="*/ 2247900 h 21907500"/>
                  <a:gd name="connsiteX36" fmla="*/ 3962400 w 7734300"/>
                  <a:gd name="connsiteY36" fmla="*/ 2209800 h 21907500"/>
                  <a:gd name="connsiteX37" fmla="*/ 3429000 w 7734300"/>
                  <a:gd name="connsiteY37" fmla="*/ 1828800 h 21907500"/>
                  <a:gd name="connsiteX38" fmla="*/ 3276600 w 7734300"/>
                  <a:gd name="connsiteY38" fmla="*/ 1295400 h 21907500"/>
                  <a:gd name="connsiteX39" fmla="*/ 3162300 w 7734300"/>
                  <a:gd name="connsiteY39" fmla="*/ 0 h 21907500"/>
                  <a:gd name="connsiteX40" fmla="*/ 2819400 w 7734300"/>
                  <a:gd name="connsiteY40" fmla="*/ 76200 h 21907500"/>
                  <a:gd name="connsiteX41" fmla="*/ 2324100 w 7734300"/>
                  <a:gd name="connsiteY41" fmla="*/ 1562100 h 21907500"/>
                  <a:gd name="connsiteX42" fmla="*/ 2095500 w 7734300"/>
                  <a:gd name="connsiteY42" fmla="*/ 1790700 h 21907500"/>
                  <a:gd name="connsiteX43" fmla="*/ 1714500 w 7734300"/>
                  <a:gd name="connsiteY43" fmla="*/ 2095500 h 21907500"/>
                  <a:gd name="connsiteX44" fmla="*/ 1104900 w 7734300"/>
                  <a:gd name="connsiteY44" fmla="*/ 1981200 h 21907500"/>
                  <a:gd name="connsiteX45" fmla="*/ 419100 w 7734300"/>
                  <a:gd name="connsiteY45" fmla="*/ 1790700 h 21907500"/>
                  <a:gd name="connsiteX46" fmla="*/ 419100 w 7734300"/>
                  <a:gd name="connsiteY46" fmla="*/ 1790700 h 21907500"/>
                  <a:gd name="connsiteX0" fmla="*/ 457200 w 7734300"/>
                  <a:gd name="connsiteY0" fmla="*/ 1752600 h 21907500"/>
                  <a:gd name="connsiteX1" fmla="*/ 190500 w 7734300"/>
                  <a:gd name="connsiteY1" fmla="*/ 2133600 h 21907500"/>
                  <a:gd name="connsiteX2" fmla="*/ 266700 w 7734300"/>
                  <a:gd name="connsiteY2" fmla="*/ 2514600 h 21907500"/>
                  <a:gd name="connsiteX3" fmla="*/ 495300 w 7734300"/>
                  <a:gd name="connsiteY3" fmla="*/ 2705100 h 21907500"/>
                  <a:gd name="connsiteX4" fmla="*/ 457200 w 7734300"/>
                  <a:gd name="connsiteY4" fmla="*/ 3962400 h 21907500"/>
                  <a:gd name="connsiteX5" fmla="*/ 190500 w 7734300"/>
                  <a:gd name="connsiteY5" fmla="*/ 6819900 h 21907500"/>
                  <a:gd name="connsiteX6" fmla="*/ 0 w 7734300"/>
                  <a:gd name="connsiteY6" fmla="*/ 9144000 h 21907500"/>
                  <a:gd name="connsiteX7" fmla="*/ 76200 w 7734300"/>
                  <a:gd name="connsiteY7" fmla="*/ 10058400 h 21907500"/>
                  <a:gd name="connsiteX8" fmla="*/ 228600 w 7734300"/>
                  <a:gd name="connsiteY8" fmla="*/ 10629900 h 21907500"/>
                  <a:gd name="connsiteX9" fmla="*/ 838200 w 7734300"/>
                  <a:gd name="connsiteY9" fmla="*/ 13258800 h 21907500"/>
                  <a:gd name="connsiteX10" fmla="*/ 3468914 w 7734300"/>
                  <a:gd name="connsiteY10" fmla="*/ 15757071 h 21907500"/>
                  <a:gd name="connsiteX11" fmla="*/ 3810000 w 7734300"/>
                  <a:gd name="connsiteY11" fmla="*/ 13220700 h 21907500"/>
                  <a:gd name="connsiteX12" fmla="*/ 3009900 w 7734300"/>
                  <a:gd name="connsiteY12" fmla="*/ 10325100 h 21907500"/>
                  <a:gd name="connsiteX13" fmla="*/ 2819400 w 7734300"/>
                  <a:gd name="connsiteY13" fmla="*/ 9601200 h 21907500"/>
                  <a:gd name="connsiteX14" fmla="*/ 2819400 w 7734300"/>
                  <a:gd name="connsiteY14" fmla="*/ 9220200 h 21907500"/>
                  <a:gd name="connsiteX15" fmla="*/ 2857500 w 7734300"/>
                  <a:gd name="connsiteY15" fmla="*/ 8801100 h 21907500"/>
                  <a:gd name="connsiteX16" fmla="*/ 2857500 w 7734300"/>
                  <a:gd name="connsiteY16" fmla="*/ 7772400 h 21907500"/>
                  <a:gd name="connsiteX17" fmla="*/ 3619500 w 7734300"/>
                  <a:gd name="connsiteY17" fmla="*/ 4114800 h 21907500"/>
                  <a:gd name="connsiteX18" fmla="*/ 3848100 w 7734300"/>
                  <a:gd name="connsiteY18" fmla="*/ 5219700 h 21907500"/>
                  <a:gd name="connsiteX19" fmla="*/ 3924300 w 7734300"/>
                  <a:gd name="connsiteY19" fmla="*/ 7048500 h 21907500"/>
                  <a:gd name="connsiteX20" fmla="*/ 3924300 w 7734300"/>
                  <a:gd name="connsiteY20" fmla="*/ 9029700 h 21907500"/>
                  <a:gd name="connsiteX21" fmla="*/ 3810000 w 7734300"/>
                  <a:gd name="connsiteY21" fmla="*/ 10401300 h 21907500"/>
                  <a:gd name="connsiteX22" fmla="*/ 3962400 w 7734300"/>
                  <a:gd name="connsiteY22" fmla="*/ 11125200 h 21907500"/>
                  <a:gd name="connsiteX23" fmla="*/ 4152900 w 7734300"/>
                  <a:gd name="connsiteY23" fmla="*/ 12877800 h 21907500"/>
                  <a:gd name="connsiteX24" fmla="*/ 4229100 w 7734300"/>
                  <a:gd name="connsiteY24" fmla="*/ 13792200 h 21907500"/>
                  <a:gd name="connsiteX25" fmla="*/ 5257800 w 7734300"/>
                  <a:gd name="connsiteY25" fmla="*/ 21297900 h 21907500"/>
                  <a:gd name="connsiteX26" fmla="*/ 6248400 w 7734300"/>
                  <a:gd name="connsiteY26" fmla="*/ 21907500 h 21907500"/>
                  <a:gd name="connsiteX27" fmla="*/ 7734300 w 7734300"/>
                  <a:gd name="connsiteY27" fmla="*/ 19583400 h 21907500"/>
                  <a:gd name="connsiteX28" fmla="*/ 6858000 w 7734300"/>
                  <a:gd name="connsiteY28" fmla="*/ 13563600 h 21907500"/>
                  <a:gd name="connsiteX29" fmla="*/ 6858000 w 7734300"/>
                  <a:gd name="connsiteY29" fmla="*/ 11315700 h 21907500"/>
                  <a:gd name="connsiteX30" fmla="*/ 6705600 w 7734300"/>
                  <a:gd name="connsiteY30" fmla="*/ 8877300 h 21907500"/>
                  <a:gd name="connsiteX31" fmla="*/ 6934200 w 7734300"/>
                  <a:gd name="connsiteY31" fmla="*/ 5143500 h 21907500"/>
                  <a:gd name="connsiteX32" fmla="*/ 7124700 w 7734300"/>
                  <a:gd name="connsiteY32" fmla="*/ 4114800 h 21907500"/>
                  <a:gd name="connsiteX33" fmla="*/ 7200900 w 7734300"/>
                  <a:gd name="connsiteY33" fmla="*/ 2781300 h 21907500"/>
                  <a:gd name="connsiteX34" fmla="*/ 7162800 w 7734300"/>
                  <a:gd name="connsiteY34" fmla="*/ 2095500 h 21907500"/>
                  <a:gd name="connsiteX35" fmla="*/ 6096000 w 7734300"/>
                  <a:gd name="connsiteY35" fmla="*/ 2171700 h 21907500"/>
                  <a:gd name="connsiteX36" fmla="*/ 4495800 w 7734300"/>
                  <a:gd name="connsiteY36" fmla="*/ 2247900 h 21907500"/>
                  <a:gd name="connsiteX37" fmla="*/ 3962400 w 7734300"/>
                  <a:gd name="connsiteY37" fmla="*/ 2209800 h 21907500"/>
                  <a:gd name="connsiteX38" fmla="*/ 3429000 w 7734300"/>
                  <a:gd name="connsiteY38" fmla="*/ 1828800 h 21907500"/>
                  <a:gd name="connsiteX39" fmla="*/ 3276600 w 7734300"/>
                  <a:gd name="connsiteY39" fmla="*/ 1295400 h 21907500"/>
                  <a:gd name="connsiteX40" fmla="*/ 3162300 w 7734300"/>
                  <a:gd name="connsiteY40" fmla="*/ 0 h 21907500"/>
                  <a:gd name="connsiteX41" fmla="*/ 2819400 w 7734300"/>
                  <a:gd name="connsiteY41" fmla="*/ 76200 h 21907500"/>
                  <a:gd name="connsiteX42" fmla="*/ 2324100 w 7734300"/>
                  <a:gd name="connsiteY42" fmla="*/ 1562100 h 21907500"/>
                  <a:gd name="connsiteX43" fmla="*/ 2095500 w 7734300"/>
                  <a:gd name="connsiteY43" fmla="*/ 1790700 h 21907500"/>
                  <a:gd name="connsiteX44" fmla="*/ 1714500 w 7734300"/>
                  <a:gd name="connsiteY44" fmla="*/ 2095500 h 21907500"/>
                  <a:gd name="connsiteX45" fmla="*/ 1104900 w 7734300"/>
                  <a:gd name="connsiteY45" fmla="*/ 1981200 h 21907500"/>
                  <a:gd name="connsiteX46" fmla="*/ 419100 w 7734300"/>
                  <a:gd name="connsiteY46" fmla="*/ 1790700 h 21907500"/>
                  <a:gd name="connsiteX47" fmla="*/ 419100 w 7734300"/>
                  <a:gd name="connsiteY47" fmla="*/ 1790700 h 21907500"/>
                  <a:gd name="connsiteX0" fmla="*/ 457200 w 7734300"/>
                  <a:gd name="connsiteY0" fmla="*/ 1752600 h 21907500"/>
                  <a:gd name="connsiteX1" fmla="*/ 190500 w 7734300"/>
                  <a:gd name="connsiteY1" fmla="*/ 2133600 h 21907500"/>
                  <a:gd name="connsiteX2" fmla="*/ 266700 w 7734300"/>
                  <a:gd name="connsiteY2" fmla="*/ 2514600 h 21907500"/>
                  <a:gd name="connsiteX3" fmla="*/ 495300 w 7734300"/>
                  <a:gd name="connsiteY3" fmla="*/ 2705100 h 21907500"/>
                  <a:gd name="connsiteX4" fmla="*/ 457200 w 7734300"/>
                  <a:gd name="connsiteY4" fmla="*/ 3962400 h 21907500"/>
                  <a:gd name="connsiteX5" fmla="*/ 190500 w 7734300"/>
                  <a:gd name="connsiteY5" fmla="*/ 6819900 h 21907500"/>
                  <a:gd name="connsiteX6" fmla="*/ 0 w 7734300"/>
                  <a:gd name="connsiteY6" fmla="*/ 9144000 h 21907500"/>
                  <a:gd name="connsiteX7" fmla="*/ 76200 w 7734300"/>
                  <a:gd name="connsiteY7" fmla="*/ 10058400 h 21907500"/>
                  <a:gd name="connsiteX8" fmla="*/ 228600 w 7734300"/>
                  <a:gd name="connsiteY8" fmla="*/ 10629900 h 21907500"/>
                  <a:gd name="connsiteX9" fmla="*/ 838200 w 7734300"/>
                  <a:gd name="connsiteY9" fmla="*/ 13258800 h 21907500"/>
                  <a:gd name="connsiteX10" fmla="*/ 1756229 w 7734300"/>
                  <a:gd name="connsiteY10" fmla="*/ 16109043 h 21907500"/>
                  <a:gd name="connsiteX11" fmla="*/ 3468914 w 7734300"/>
                  <a:gd name="connsiteY11" fmla="*/ 15757071 h 21907500"/>
                  <a:gd name="connsiteX12" fmla="*/ 3810000 w 7734300"/>
                  <a:gd name="connsiteY12" fmla="*/ 13220700 h 21907500"/>
                  <a:gd name="connsiteX13" fmla="*/ 3009900 w 7734300"/>
                  <a:gd name="connsiteY13" fmla="*/ 10325100 h 21907500"/>
                  <a:gd name="connsiteX14" fmla="*/ 2819400 w 7734300"/>
                  <a:gd name="connsiteY14" fmla="*/ 9601200 h 21907500"/>
                  <a:gd name="connsiteX15" fmla="*/ 2819400 w 7734300"/>
                  <a:gd name="connsiteY15" fmla="*/ 9220200 h 21907500"/>
                  <a:gd name="connsiteX16" fmla="*/ 2857500 w 7734300"/>
                  <a:gd name="connsiteY16" fmla="*/ 8801100 h 21907500"/>
                  <a:gd name="connsiteX17" fmla="*/ 2857500 w 7734300"/>
                  <a:gd name="connsiteY17" fmla="*/ 7772400 h 21907500"/>
                  <a:gd name="connsiteX18" fmla="*/ 3619500 w 7734300"/>
                  <a:gd name="connsiteY18" fmla="*/ 4114800 h 21907500"/>
                  <a:gd name="connsiteX19" fmla="*/ 3848100 w 7734300"/>
                  <a:gd name="connsiteY19" fmla="*/ 5219700 h 21907500"/>
                  <a:gd name="connsiteX20" fmla="*/ 3924300 w 7734300"/>
                  <a:gd name="connsiteY20" fmla="*/ 7048500 h 21907500"/>
                  <a:gd name="connsiteX21" fmla="*/ 3924300 w 7734300"/>
                  <a:gd name="connsiteY21" fmla="*/ 9029700 h 21907500"/>
                  <a:gd name="connsiteX22" fmla="*/ 3810000 w 7734300"/>
                  <a:gd name="connsiteY22" fmla="*/ 10401300 h 21907500"/>
                  <a:gd name="connsiteX23" fmla="*/ 3962400 w 7734300"/>
                  <a:gd name="connsiteY23" fmla="*/ 11125200 h 21907500"/>
                  <a:gd name="connsiteX24" fmla="*/ 4152900 w 7734300"/>
                  <a:gd name="connsiteY24" fmla="*/ 12877800 h 21907500"/>
                  <a:gd name="connsiteX25" fmla="*/ 4229100 w 7734300"/>
                  <a:gd name="connsiteY25" fmla="*/ 13792200 h 21907500"/>
                  <a:gd name="connsiteX26" fmla="*/ 5257800 w 7734300"/>
                  <a:gd name="connsiteY26" fmla="*/ 21297900 h 21907500"/>
                  <a:gd name="connsiteX27" fmla="*/ 6248400 w 7734300"/>
                  <a:gd name="connsiteY27" fmla="*/ 21907500 h 21907500"/>
                  <a:gd name="connsiteX28" fmla="*/ 7734300 w 7734300"/>
                  <a:gd name="connsiteY28" fmla="*/ 19583400 h 21907500"/>
                  <a:gd name="connsiteX29" fmla="*/ 6858000 w 7734300"/>
                  <a:gd name="connsiteY29" fmla="*/ 13563600 h 21907500"/>
                  <a:gd name="connsiteX30" fmla="*/ 6858000 w 7734300"/>
                  <a:gd name="connsiteY30" fmla="*/ 11315700 h 21907500"/>
                  <a:gd name="connsiteX31" fmla="*/ 6705600 w 7734300"/>
                  <a:gd name="connsiteY31" fmla="*/ 8877300 h 21907500"/>
                  <a:gd name="connsiteX32" fmla="*/ 6934200 w 7734300"/>
                  <a:gd name="connsiteY32" fmla="*/ 5143500 h 21907500"/>
                  <a:gd name="connsiteX33" fmla="*/ 7124700 w 7734300"/>
                  <a:gd name="connsiteY33" fmla="*/ 4114800 h 21907500"/>
                  <a:gd name="connsiteX34" fmla="*/ 7200900 w 7734300"/>
                  <a:gd name="connsiteY34" fmla="*/ 2781300 h 21907500"/>
                  <a:gd name="connsiteX35" fmla="*/ 7162800 w 7734300"/>
                  <a:gd name="connsiteY35" fmla="*/ 2095500 h 21907500"/>
                  <a:gd name="connsiteX36" fmla="*/ 6096000 w 7734300"/>
                  <a:gd name="connsiteY36" fmla="*/ 2171700 h 21907500"/>
                  <a:gd name="connsiteX37" fmla="*/ 4495800 w 7734300"/>
                  <a:gd name="connsiteY37" fmla="*/ 2247900 h 21907500"/>
                  <a:gd name="connsiteX38" fmla="*/ 3962400 w 7734300"/>
                  <a:gd name="connsiteY38" fmla="*/ 2209800 h 21907500"/>
                  <a:gd name="connsiteX39" fmla="*/ 3429000 w 7734300"/>
                  <a:gd name="connsiteY39" fmla="*/ 1828800 h 21907500"/>
                  <a:gd name="connsiteX40" fmla="*/ 3276600 w 7734300"/>
                  <a:gd name="connsiteY40" fmla="*/ 1295400 h 21907500"/>
                  <a:gd name="connsiteX41" fmla="*/ 3162300 w 7734300"/>
                  <a:gd name="connsiteY41" fmla="*/ 0 h 21907500"/>
                  <a:gd name="connsiteX42" fmla="*/ 2819400 w 7734300"/>
                  <a:gd name="connsiteY42" fmla="*/ 76200 h 21907500"/>
                  <a:gd name="connsiteX43" fmla="*/ 2324100 w 7734300"/>
                  <a:gd name="connsiteY43" fmla="*/ 1562100 h 21907500"/>
                  <a:gd name="connsiteX44" fmla="*/ 2095500 w 7734300"/>
                  <a:gd name="connsiteY44" fmla="*/ 1790700 h 21907500"/>
                  <a:gd name="connsiteX45" fmla="*/ 1714500 w 7734300"/>
                  <a:gd name="connsiteY45" fmla="*/ 2095500 h 21907500"/>
                  <a:gd name="connsiteX46" fmla="*/ 1104900 w 7734300"/>
                  <a:gd name="connsiteY46" fmla="*/ 1981200 h 21907500"/>
                  <a:gd name="connsiteX47" fmla="*/ 419100 w 7734300"/>
                  <a:gd name="connsiteY47" fmla="*/ 1790700 h 21907500"/>
                  <a:gd name="connsiteX48" fmla="*/ 419100 w 7734300"/>
                  <a:gd name="connsiteY48" fmla="*/ 1790700 h 21907500"/>
                  <a:gd name="connsiteX0" fmla="*/ 457200 w 7734300"/>
                  <a:gd name="connsiteY0" fmla="*/ 1752600 h 21297900"/>
                  <a:gd name="connsiteX1" fmla="*/ 190500 w 7734300"/>
                  <a:gd name="connsiteY1" fmla="*/ 2133600 h 21297900"/>
                  <a:gd name="connsiteX2" fmla="*/ 266700 w 7734300"/>
                  <a:gd name="connsiteY2" fmla="*/ 2514600 h 21297900"/>
                  <a:gd name="connsiteX3" fmla="*/ 495300 w 7734300"/>
                  <a:gd name="connsiteY3" fmla="*/ 2705100 h 21297900"/>
                  <a:gd name="connsiteX4" fmla="*/ 457200 w 7734300"/>
                  <a:gd name="connsiteY4" fmla="*/ 3962400 h 21297900"/>
                  <a:gd name="connsiteX5" fmla="*/ 190500 w 7734300"/>
                  <a:gd name="connsiteY5" fmla="*/ 6819900 h 21297900"/>
                  <a:gd name="connsiteX6" fmla="*/ 0 w 7734300"/>
                  <a:gd name="connsiteY6" fmla="*/ 9144000 h 21297900"/>
                  <a:gd name="connsiteX7" fmla="*/ 76200 w 7734300"/>
                  <a:gd name="connsiteY7" fmla="*/ 10058400 h 21297900"/>
                  <a:gd name="connsiteX8" fmla="*/ 228600 w 7734300"/>
                  <a:gd name="connsiteY8" fmla="*/ 10629900 h 21297900"/>
                  <a:gd name="connsiteX9" fmla="*/ 838200 w 7734300"/>
                  <a:gd name="connsiteY9" fmla="*/ 13258800 h 21297900"/>
                  <a:gd name="connsiteX10" fmla="*/ 1756229 w 7734300"/>
                  <a:gd name="connsiteY10" fmla="*/ 16109043 h 21297900"/>
                  <a:gd name="connsiteX11" fmla="*/ 3468914 w 7734300"/>
                  <a:gd name="connsiteY11" fmla="*/ 15757071 h 21297900"/>
                  <a:gd name="connsiteX12" fmla="*/ 3810000 w 7734300"/>
                  <a:gd name="connsiteY12" fmla="*/ 13220700 h 21297900"/>
                  <a:gd name="connsiteX13" fmla="*/ 3009900 w 7734300"/>
                  <a:gd name="connsiteY13" fmla="*/ 10325100 h 21297900"/>
                  <a:gd name="connsiteX14" fmla="*/ 2819400 w 7734300"/>
                  <a:gd name="connsiteY14" fmla="*/ 9601200 h 21297900"/>
                  <a:gd name="connsiteX15" fmla="*/ 2819400 w 7734300"/>
                  <a:gd name="connsiteY15" fmla="*/ 9220200 h 21297900"/>
                  <a:gd name="connsiteX16" fmla="*/ 2857500 w 7734300"/>
                  <a:gd name="connsiteY16" fmla="*/ 8801100 h 21297900"/>
                  <a:gd name="connsiteX17" fmla="*/ 2857500 w 7734300"/>
                  <a:gd name="connsiteY17" fmla="*/ 7772400 h 21297900"/>
                  <a:gd name="connsiteX18" fmla="*/ 3619500 w 7734300"/>
                  <a:gd name="connsiteY18" fmla="*/ 4114800 h 21297900"/>
                  <a:gd name="connsiteX19" fmla="*/ 3848100 w 7734300"/>
                  <a:gd name="connsiteY19" fmla="*/ 5219700 h 21297900"/>
                  <a:gd name="connsiteX20" fmla="*/ 3924300 w 7734300"/>
                  <a:gd name="connsiteY20" fmla="*/ 7048500 h 21297900"/>
                  <a:gd name="connsiteX21" fmla="*/ 3924300 w 7734300"/>
                  <a:gd name="connsiteY21" fmla="*/ 9029700 h 21297900"/>
                  <a:gd name="connsiteX22" fmla="*/ 3810000 w 7734300"/>
                  <a:gd name="connsiteY22" fmla="*/ 10401300 h 21297900"/>
                  <a:gd name="connsiteX23" fmla="*/ 3962400 w 7734300"/>
                  <a:gd name="connsiteY23" fmla="*/ 11125200 h 21297900"/>
                  <a:gd name="connsiteX24" fmla="*/ 4152900 w 7734300"/>
                  <a:gd name="connsiteY24" fmla="*/ 12877800 h 21297900"/>
                  <a:gd name="connsiteX25" fmla="*/ 4229100 w 7734300"/>
                  <a:gd name="connsiteY25" fmla="*/ 13792200 h 21297900"/>
                  <a:gd name="connsiteX26" fmla="*/ 5257800 w 7734300"/>
                  <a:gd name="connsiteY26" fmla="*/ 21297900 h 21297900"/>
                  <a:gd name="connsiteX27" fmla="*/ 6248400 w 7734300"/>
                  <a:gd name="connsiteY27" fmla="*/ 20231100 h 21297900"/>
                  <a:gd name="connsiteX28" fmla="*/ 7734300 w 7734300"/>
                  <a:gd name="connsiteY28" fmla="*/ 19583400 h 21297900"/>
                  <a:gd name="connsiteX29" fmla="*/ 6858000 w 7734300"/>
                  <a:gd name="connsiteY29" fmla="*/ 13563600 h 21297900"/>
                  <a:gd name="connsiteX30" fmla="*/ 6858000 w 7734300"/>
                  <a:gd name="connsiteY30" fmla="*/ 11315700 h 21297900"/>
                  <a:gd name="connsiteX31" fmla="*/ 6705600 w 7734300"/>
                  <a:gd name="connsiteY31" fmla="*/ 8877300 h 21297900"/>
                  <a:gd name="connsiteX32" fmla="*/ 6934200 w 7734300"/>
                  <a:gd name="connsiteY32" fmla="*/ 5143500 h 21297900"/>
                  <a:gd name="connsiteX33" fmla="*/ 7124700 w 7734300"/>
                  <a:gd name="connsiteY33" fmla="*/ 4114800 h 21297900"/>
                  <a:gd name="connsiteX34" fmla="*/ 7200900 w 7734300"/>
                  <a:gd name="connsiteY34" fmla="*/ 2781300 h 21297900"/>
                  <a:gd name="connsiteX35" fmla="*/ 7162800 w 7734300"/>
                  <a:gd name="connsiteY35" fmla="*/ 2095500 h 21297900"/>
                  <a:gd name="connsiteX36" fmla="*/ 6096000 w 7734300"/>
                  <a:gd name="connsiteY36" fmla="*/ 2171700 h 21297900"/>
                  <a:gd name="connsiteX37" fmla="*/ 4495800 w 7734300"/>
                  <a:gd name="connsiteY37" fmla="*/ 2247900 h 21297900"/>
                  <a:gd name="connsiteX38" fmla="*/ 3962400 w 7734300"/>
                  <a:gd name="connsiteY38" fmla="*/ 2209800 h 21297900"/>
                  <a:gd name="connsiteX39" fmla="*/ 3429000 w 7734300"/>
                  <a:gd name="connsiteY39" fmla="*/ 1828800 h 21297900"/>
                  <a:gd name="connsiteX40" fmla="*/ 3276600 w 7734300"/>
                  <a:gd name="connsiteY40" fmla="*/ 1295400 h 21297900"/>
                  <a:gd name="connsiteX41" fmla="*/ 3162300 w 7734300"/>
                  <a:gd name="connsiteY41" fmla="*/ 0 h 21297900"/>
                  <a:gd name="connsiteX42" fmla="*/ 2819400 w 7734300"/>
                  <a:gd name="connsiteY42" fmla="*/ 76200 h 21297900"/>
                  <a:gd name="connsiteX43" fmla="*/ 2324100 w 7734300"/>
                  <a:gd name="connsiteY43" fmla="*/ 1562100 h 21297900"/>
                  <a:gd name="connsiteX44" fmla="*/ 2095500 w 7734300"/>
                  <a:gd name="connsiteY44" fmla="*/ 1790700 h 21297900"/>
                  <a:gd name="connsiteX45" fmla="*/ 1714500 w 7734300"/>
                  <a:gd name="connsiteY45" fmla="*/ 2095500 h 21297900"/>
                  <a:gd name="connsiteX46" fmla="*/ 1104900 w 7734300"/>
                  <a:gd name="connsiteY46" fmla="*/ 1981200 h 21297900"/>
                  <a:gd name="connsiteX47" fmla="*/ 419100 w 7734300"/>
                  <a:gd name="connsiteY47" fmla="*/ 1790700 h 21297900"/>
                  <a:gd name="connsiteX48" fmla="*/ 419100 w 7734300"/>
                  <a:gd name="connsiteY48" fmla="*/ 1790700 h 21297900"/>
                  <a:gd name="connsiteX0" fmla="*/ 457200 w 7734300"/>
                  <a:gd name="connsiteY0" fmla="*/ 1752600 h 20231100"/>
                  <a:gd name="connsiteX1" fmla="*/ 190500 w 7734300"/>
                  <a:gd name="connsiteY1" fmla="*/ 2133600 h 20231100"/>
                  <a:gd name="connsiteX2" fmla="*/ 266700 w 7734300"/>
                  <a:gd name="connsiteY2" fmla="*/ 2514600 h 20231100"/>
                  <a:gd name="connsiteX3" fmla="*/ 495300 w 7734300"/>
                  <a:gd name="connsiteY3" fmla="*/ 2705100 h 20231100"/>
                  <a:gd name="connsiteX4" fmla="*/ 457200 w 7734300"/>
                  <a:gd name="connsiteY4" fmla="*/ 3962400 h 20231100"/>
                  <a:gd name="connsiteX5" fmla="*/ 190500 w 7734300"/>
                  <a:gd name="connsiteY5" fmla="*/ 6819900 h 20231100"/>
                  <a:gd name="connsiteX6" fmla="*/ 0 w 7734300"/>
                  <a:gd name="connsiteY6" fmla="*/ 9144000 h 20231100"/>
                  <a:gd name="connsiteX7" fmla="*/ 76200 w 7734300"/>
                  <a:gd name="connsiteY7" fmla="*/ 10058400 h 20231100"/>
                  <a:gd name="connsiteX8" fmla="*/ 228600 w 7734300"/>
                  <a:gd name="connsiteY8" fmla="*/ 10629900 h 20231100"/>
                  <a:gd name="connsiteX9" fmla="*/ 838200 w 7734300"/>
                  <a:gd name="connsiteY9" fmla="*/ 13258800 h 20231100"/>
                  <a:gd name="connsiteX10" fmla="*/ 1756229 w 7734300"/>
                  <a:gd name="connsiteY10" fmla="*/ 16109043 h 20231100"/>
                  <a:gd name="connsiteX11" fmla="*/ 3468914 w 7734300"/>
                  <a:gd name="connsiteY11" fmla="*/ 15757071 h 20231100"/>
                  <a:gd name="connsiteX12" fmla="*/ 3810000 w 7734300"/>
                  <a:gd name="connsiteY12" fmla="*/ 13220700 h 20231100"/>
                  <a:gd name="connsiteX13" fmla="*/ 3009900 w 7734300"/>
                  <a:gd name="connsiteY13" fmla="*/ 10325100 h 20231100"/>
                  <a:gd name="connsiteX14" fmla="*/ 2819400 w 7734300"/>
                  <a:gd name="connsiteY14" fmla="*/ 9601200 h 20231100"/>
                  <a:gd name="connsiteX15" fmla="*/ 2819400 w 7734300"/>
                  <a:gd name="connsiteY15" fmla="*/ 9220200 h 20231100"/>
                  <a:gd name="connsiteX16" fmla="*/ 2857500 w 7734300"/>
                  <a:gd name="connsiteY16" fmla="*/ 8801100 h 20231100"/>
                  <a:gd name="connsiteX17" fmla="*/ 2857500 w 7734300"/>
                  <a:gd name="connsiteY17" fmla="*/ 7772400 h 20231100"/>
                  <a:gd name="connsiteX18" fmla="*/ 3619500 w 7734300"/>
                  <a:gd name="connsiteY18" fmla="*/ 4114800 h 20231100"/>
                  <a:gd name="connsiteX19" fmla="*/ 3848100 w 7734300"/>
                  <a:gd name="connsiteY19" fmla="*/ 5219700 h 20231100"/>
                  <a:gd name="connsiteX20" fmla="*/ 3924300 w 7734300"/>
                  <a:gd name="connsiteY20" fmla="*/ 7048500 h 20231100"/>
                  <a:gd name="connsiteX21" fmla="*/ 3924300 w 7734300"/>
                  <a:gd name="connsiteY21" fmla="*/ 9029700 h 20231100"/>
                  <a:gd name="connsiteX22" fmla="*/ 3810000 w 7734300"/>
                  <a:gd name="connsiteY22" fmla="*/ 10401300 h 20231100"/>
                  <a:gd name="connsiteX23" fmla="*/ 3962400 w 7734300"/>
                  <a:gd name="connsiteY23" fmla="*/ 11125200 h 20231100"/>
                  <a:gd name="connsiteX24" fmla="*/ 4152900 w 7734300"/>
                  <a:gd name="connsiteY24" fmla="*/ 12877800 h 20231100"/>
                  <a:gd name="connsiteX25" fmla="*/ 4229100 w 7734300"/>
                  <a:gd name="connsiteY25" fmla="*/ 13792200 h 20231100"/>
                  <a:gd name="connsiteX26" fmla="*/ 5257800 w 7734300"/>
                  <a:gd name="connsiteY26" fmla="*/ 19850100 h 20231100"/>
                  <a:gd name="connsiteX27" fmla="*/ 6248400 w 7734300"/>
                  <a:gd name="connsiteY27" fmla="*/ 20231100 h 20231100"/>
                  <a:gd name="connsiteX28" fmla="*/ 7734300 w 7734300"/>
                  <a:gd name="connsiteY28" fmla="*/ 19583400 h 20231100"/>
                  <a:gd name="connsiteX29" fmla="*/ 6858000 w 7734300"/>
                  <a:gd name="connsiteY29" fmla="*/ 13563600 h 20231100"/>
                  <a:gd name="connsiteX30" fmla="*/ 6858000 w 7734300"/>
                  <a:gd name="connsiteY30" fmla="*/ 11315700 h 20231100"/>
                  <a:gd name="connsiteX31" fmla="*/ 6705600 w 7734300"/>
                  <a:gd name="connsiteY31" fmla="*/ 8877300 h 20231100"/>
                  <a:gd name="connsiteX32" fmla="*/ 6934200 w 7734300"/>
                  <a:gd name="connsiteY32" fmla="*/ 5143500 h 20231100"/>
                  <a:gd name="connsiteX33" fmla="*/ 7124700 w 7734300"/>
                  <a:gd name="connsiteY33" fmla="*/ 4114800 h 20231100"/>
                  <a:gd name="connsiteX34" fmla="*/ 7200900 w 7734300"/>
                  <a:gd name="connsiteY34" fmla="*/ 2781300 h 20231100"/>
                  <a:gd name="connsiteX35" fmla="*/ 7162800 w 7734300"/>
                  <a:gd name="connsiteY35" fmla="*/ 2095500 h 20231100"/>
                  <a:gd name="connsiteX36" fmla="*/ 6096000 w 7734300"/>
                  <a:gd name="connsiteY36" fmla="*/ 2171700 h 20231100"/>
                  <a:gd name="connsiteX37" fmla="*/ 4495800 w 7734300"/>
                  <a:gd name="connsiteY37" fmla="*/ 2247900 h 20231100"/>
                  <a:gd name="connsiteX38" fmla="*/ 3962400 w 7734300"/>
                  <a:gd name="connsiteY38" fmla="*/ 2209800 h 20231100"/>
                  <a:gd name="connsiteX39" fmla="*/ 3429000 w 7734300"/>
                  <a:gd name="connsiteY39" fmla="*/ 1828800 h 20231100"/>
                  <a:gd name="connsiteX40" fmla="*/ 3276600 w 7734300"/>
                  <a:gd name="connsiteY40" fmla="*/ 1295400 h 20231100"/>
                  <a:gd name="connsiteX41" fmla="*/ 3162300 w 7734300"/>
                  <a:gd name="connsiteY41" fmla="*/ 0 h 20231100"/>
                  <a:gd name="connsiteX42" fmla="*/ 2819400 w 7734300"/>
                  <a:gd name="connsiteY42" fmla="*/ 76200 h 20231100"/>
                  <a:gd name="connsiteX43" fmla="*/ 2324100 w 7734300"/>
                  <a:gd name="connsiteY43" fmla="*/ 1562100 h 20231100"/>
                  <a:gd name="connsiteX44" fmla="*/ 2095500 w 7734300"/>
                  <a:gd name="connsiteY44" fmla="*/ 1790700 h 20231100"/>
                  <a:gd name="connsiteX45" fmla="*/ 1714500 w 7734300"/>
                  <a:gd name="connsiteY45" fmla="*/ 2095500 h 20231100"/>
                  <a:gd name="connsiteX46" fmla="*/ 1104900 w 7734300"/>
                  <a:gd name="connsiteY46" fmla="*/ 1981200 h 20231100"/>
                  <a:gd name="connsiteX47" fmla="*/ 419100 w 7734300"/>
                  <a:gd name="connsiteY47" fmla="*/ 1790700 h 20231100"/>
                  <a:gd name="connsiteX48" fmla="*/ 419100 w 7734300"/>
                  <a:gd name="connsiteY48" fmla="*/ 1790700 h 20231100"/>
                  <a:gd name="connsiteX0" fmla="*/ 457200 w 7734300"/>
                  <a:gd name="connsiteY0" fmla="*/ 1752600 h 20231100"/>
                  <a:gd name="connsiteX1" fmla="*/ 190500 w 7734300"/>
                  <a:gd name="connsiteY1" fmla="*/ 2133600 h 20231100"/>
                  <a:gd name="connsiteX2" fmla="*/ 266700 w 7734300"/>
                  <a:gd name="connsiteY2" fmla="*/ 2514600 h 20231100"/>
                  <a:gd name="connsiteX3" fmla="*/ 495300 w 7734300"/>
                  <a:gd name="connsiteY3" fmla="*/ 2705100 h 20231100"/>
                  <a:gd name="connsiteX4" fmla="*/ 457200 w 7734300"/>
                  <a:gd name="connsiteY4" fmla="*/ 3962400 h 20231100"/>
                  <a:gd name="connsiteX5" fmla="*/ 190500 w 7734300"/>
                  <a:gd name="connsiteY5" fmla="*/ 6819900 h 20231100"/>
                  <a:gd name="connsiteX6" fmla="*/ 0 w 7734300"/>
                  <a:gd name="connsiteY6" fmla="*/ 9144000 h 20231100"/>
                  <a:gd name="connsiteX7" fmla="*/ 76200 w 7734300"/>
                  <a:gd name="connsiteY7" fmla="*/ 10058400 h 20231100"/>
                  <a:gd name="connsiteX8" fmla="*/ 228600 w 7734300"/>
                  <a:gd name="connsiteY8" fmla="*/ 10629900 h 20231100"/>
                  <a:gd name="connsiteX9" fmla="*/ 838200 w 7734300"/>
                  <a:gd name="connsiteY9" fmla="*/ 13258800 h 20231100"/>
                  <a:gd name="connsiteX10" fmla="*/ 1756229 w 7734300"/>
                  <a:gd name="connsiteY10" fmla="*/ 16109043 h 20231100"/>
                  <a:gd name="connsiteX11" fmla="*/ 3468914 w 7734300"/>
                  <a:gd name="connsiteY11" fmla="*/ 15757071 h 20231100"/>
                  <a:gd name="connsiteX12" fmla="*/ 3810000 w 7734300"/>
                  <a:gd name="connsiteY12" fmla="*/ 13220700 h 20231100"/>
                  <a:gd name="connsiteX13" fmla="*/ 3009900 w 7734300"/>
                  <a:gd name="connsiteY13" fmla="*/ 10325100 h 20231100"/>
                  <a:gd name="connsiteX14" fmla="*/ 2819400 w 7734300"/>
                  <a:gd name="connsiteY14" fmla="*/ 9601200 h 20231100"/>
                  <a:gd name="connsiteX15" fmla="*/ 2819400 w 7734300"/>
                  <a:gd name="connsiteY15" fmla="*/ 9220200 h 20231100"/>
                  <a:gd name="connsiteX16" fmla="*/ 2857500 w 7734300"/>
                  <a:gd name="connsiteY16" fmla="*/ 8801100 h 20231100"/>
                  <a:gd name="connsiteX17" fmla="*/ 2857500 w 7734300"/>
                  <a:gd name="connsiteY17" fmla="*/ 7772400 h 20231100"/>
                  <a:gd name="connsiteX18" fmla="*/ 3619500 w 7734300"/>
                  <a:gd name="connsiteY18" fmla="*/ 4114800 h 20231100"/>
                  <a:gd name="connsiteX19" fmla="*/ 3848100 w 7734300"/>
                  <a:gd name="connsiteY19" fmla="*/ 5219700 h 20231100"/>
                  <a:gd name="connsiteX20" fmla="*/ 3924300 w 7734300"/>
                  <a:gd name="connsiteY20" fmla="*/ 7048500 h 20231100"/>
                  <a:gd name="connsiteX21" fmla="*/ 3924300 w 7734300"/>
                  <a:gd name="connsiteY21" fmla="*/ 9029700 h 20231100"/>
                  <a:gd name="connsiteX22" fmla="*/ 3810000 w 7734300"/>
                  <a:gd name="connsiteY22" fmla="*/ 10401300 h 20231100"/>
                  <a:gd name="connsiteX23" fmla="*/ 3962400 w 7734300"/>
                  <a:gd name="connsiteY23" fmla="*/ 11125200 h 20231100"/>
                  <a:gd name="connsiteX24" fmla="*/ 4152900 w 7734300"/>
                  <a:gd name="connsiteY24" fmla="*/ 12877800 h 20231100"/>
                  <a:gd name="connsiteX25" fmla="*/ 4229100 w 7734300"/>
                  <a:gd name="connsiteY25" fmla="*/ 13792200 h 20231100"/>
                  <a:gd name="connsiteX26" fmla="*/ 5257800 w 7734300"/>
                  <a:gd name="connsiteY26" fmla="*/ 19850100 h 20231100"/>
                  <a:gd name="connsiteX27" fmla="*/ 6248400 w 7734300"/>
                  <a:gd name="connsiteY27" fmla="*/ 20231100 h 20231100"/>
                  <a:gd name="connsiteX28" fmla="*/ 7734300 w 7734300"/>
                  <a:gd name="connsiteY28" fmla="*/ 19583400 h 20231100"/>
                  <a:gd name="connsiteX29" fmla="*/ 6858000 w 7734300"/>
                  <a:gd name="connsiteY29" fmla="*/ 13563600 h 20231100"/>
                  <a:gd name="connsiteX30" fmla="*/ 6858000 w 7734300"/>
                  <a:gd name="connsiteY30" fmla="*/ 11315700 h 20231100"/>
                  <a:gd name="connsiteX31" fmla="*/ 6705600 w 7734300"/>
                  <a:gd name="connsiteY31" fmla="*/ 8877300 h 20231100"/>
                  <a:gd name="connsiteX32" fmla="*/ 6934200 w 7734300"/>
                  <a:gd name="connsiteY32" fmla="*/ 5143500 h 20231100"/>
                  <a:gd name="connsiteX33" fmla="*/ 7124700 w 7734300"/>
                  <a:gd name="connsiteY33" fmla="*/ 4114800 h 20231100"/>
                  <a:gd name="connsiteX34" fmla="*/ 7200900 w 7734300"/>
                  <a:gd name="connsiteY34" fmla="*/ 2781300 h 20231100"/>
                  <a:gd name="connsiteX35" fmla="*/ 7162800 w 7734300"/>
                  <a:gd name="connsiteY35" fmla="*/ 2095500 h 20231100"/>
                  <a:gd name="connsiteX36" fmla="*/ 6096000 w 7734300"/>
                  <a:gd name="connsiteY36" fmla="*/ 2171700 h 20231100"/>
                  <a:gd name="connsiteX37" fmla="*/ 4495800 w 7734300"/>
                  <a:gd name="connsiteY37" fmla="*/ 2247900 h 20231100"/>
                  <a:gd name="connsiteX38" fmla="*/ 3962400 w 7734300"/>
                  <a:gd name="connsiteY38" fmla="*/ 2209800 h 20231100"/>
                  <a:gd name="connsiteX39" fmla="*/ 3429000 w 7734300"/>
                  <a:gd name="connsiteY39" fmla="*/ 1828800 h 20231100"/>
                  <a:gd name="connsiteX40" fmla="*/ 3276600 w 7734300"/>
                  <a:gd name="connsiteY40" fmla="*/ 1295400 h 20231100"/>
                  <a:gd name="connsiteX41" fmla="*/ 3162300 w 7734300"/>
                  <a:gd name="connsiteY41" fmla="*/ 0 h 20231100"/>
                  <a:gd name="connsiteX42" fmla="*/ 2819400 w 7734300"/>
                  <a:gd name="connsiteY42" fmla="*/ 76200 h 20231100"/>
                  <a:gd name="connsiteX43" fmla="*/ 2324100 w 7734300"/>
                  <a:gd name="connsiteY43" fmla="*/ 1562100 h 20231100"/>
                  <a:gd name="connsiteX44" fmla="*/ 2095500 w 7734300"/>
                  <a:gd name="connsiteY44" fmla="*/ 1790700 h 20231100"/>
                  <a:gd name="connsiteX45" fmla="*/ 1714500 w 7734300"/>
                  <a:gd name="connsiteY45" fmla="*/ 2095500 h 20231100"/>
                  <a:gd name="connsiteX46" fmla="*/ 1104900 w 7734300"/>
                  <a:gd name="connsiteY46" fmla="*/ 1981200 h 20231100"/>
                  <a:gd name="connsiteX47" fmla="*/ 419100 w 7734300"/>
                  <a:gd name="connsiteY47" fmla="*/ 1790700 h 20231100"/>
                  <a:gd name="connsiteX48" fmla="*/ 419100 w 7734300"/>
                  <a:gd name="connsiteY48" fmla="*/ 1790700 h 20231100"/>
                  <a:gd name="connsiteX0" fmla="*/ 457200 w 7734300"/>
                  <a:gd name="connsiteY0" fmla="*/ 1752600 h 20231100"/>
                  <a:gd name="connsiteX1" fmla="*/ 190500 w 7734300"/>
                  <a:gd name="connsiteY1" fmla="*/ 2133600 h 20231100"/>
                  <a:gd name="connsiteX2" fmla="*/ 266700 w 7734300"/>
                  <a:gd name="connsiteY2" fmla="*/ 2514600 h 20231100"/>
                  <a:gd name="connsiteX3" fmla="*/ 495300 w 7734300"/>
                  <a:gd name="connsiteY3" fmla="*/ 2705100 h 20231100"/>
                  <a:gd name="connsiteX4" fmla="*/ 457200 w 7734300"/>
                  <a:gd name="connsiteY4" fmla="*/ 3962400 h 20231100"/>
                  <a:gd name="connsiteX5" fmla="*/ 190500 w 7734300"/>
                  <a:gd name="connsiteY5" fmla="*/ 6819900 h 20231100"/>
                  <a:gd name="connsiteX6" fmla="*/ 0 w 7734300"/>
                  <a:gd name="connsiteY6" fmla="*/ 9144000 h 20231100"/>
                  <a:gd name="connsiteX7" fmla="*/ 76200 w 7734300"/>
                  <a:gd name="connsiteY7" fmla="*/ 10058400 h 20231100"/>
                  <a:gd name="connsiteX8" fmla="*/ 228600 w 7734300"/>
                  <a:gd name="connsiteY8" fmla="*/ 10629900 h 20231100"/>
                  <a:gd name="connsiteX9" fmla="*/ 838200 w 7734300"/>
                  <a:gd name="connsiteY9" fmla="*/ 13258800 h 20231100"/>
                  <a:gd name="connsiteX10" fmla="*/ 1756229 w 7734300"/>
                  <a:gd name="connsiteY10" fmla="*/ 16109043 h 20231100"/>
                  <a:gd name="connsiteX11" fmla="*/ 3468914 w 7734300"/>
                  <a:gd name="connsiteY11" fmla="*/ 15757071 h 20231100"/>
                  <a:gd name="connsiteX12" fmla="*/ 4267200 w 7734300"/>
                  <a:gd name="connsiteY12" fmla="*/ 15735300 h 20231100"/>
                  <a:gd name="connsiteX13" fmla="*/ 3009900 w 7734300"/>
                  <a:gd name="connsiteY13" fmla="*/ 10325100 h 20231100"/>
                  <a:gd name="connsiteX14" fmla="*/ 2819400 w 7734300"/>
                  <a:gd name="connsiteY14" fmla="*/ 9601200 h 20231100"/>
                  <a:gd name="connsiteX15" fmla="*/ 2819400 w 7734300"/>
                  <a:gd name="connsiteY15" fmla="*/ 9220200 h 20231100"/>
                  <a:gd name="connsiteX16" fmla="*/ 2857500 w 7734300"/>
                  <a:gd name="connsiteY16" fmla="*/ 8801100 h 20231100"/>
                  <a:gd name="connsiteX17" fmla="*/ 2857500 w 7734300"/>
                  <a:gd name="connsiteY17" fmla="*/ 7772400 h 20231100"/>
                  <a:gd name="connsiteX18" fmla="*/ 3619500 w 7734300"/>
                  <a:gd name="connsiteY18" fmla="*/ 4114800 h 20231100"/>
                  <a:gd name="connsiteX19" fmla="*/ 3848100 w 7734300"/>
                  <a:gd name="connsiteY19" fmla="*/ 5219700 h 20231100"/>
                  <a:gd name="connsiteX20" fmla="*/ 3924300 w 7734300"/>
                  <a:gd name="connsiteY20" fmla="*/ 7048500 h 20231100"/>
                  <a:gd name="connsiteX21" fmla="*/ 3924300 w 7734300"/>
                  <a:gd name="connsiteY21" fmla="*/ 9029700 h 20231100"/>
                  <a:gd name="connsiteX22" fmla="*/ 3810000 w 7734300"/>
                  <a:gd name="connsiteY22" fmla="*/ 10401300 h 20231100"/>
                  <a:gd name="connsiteX23" fmla="*/ 3962400 w 7734300"/>
                  <a:gd name="connsiteY23" fmla="*/ 11125200 h 20231100"/>
                  <a:gd name="connsiteX24" fmla="*/ 4152900 w 7734300"/>
                  <a:gd name="connsiteY24" fmla="*/ 12877800 h 20231100"/>
                  <a:gd name="connsiteX25" fmla="*/ 4229100 w 7734300"/>
                  <a:gd name="connsiteY25" fmla="*/ 13792200 h 20231100"/>
                  <a:gd name="connsiteX26" fmla="*/ 5257800 w 7734300"/>
                  <a:gd name="connsiteY26" fmla="*/ 19850100 h 20231100"/>
                  <a:gd name="connsiteX27" fmla="*/ 6248400 w 7734300"/>
                  <a:gd name="connsiteY27" fmla="*/ 20231100 h 20231100"/>
                  <a:gd name="connsiteX28" fmla="*/ 7734300 w 7734300"/>
                  <a:gd name="connsiteY28" fmla="*/ 19583400 h 20231100"/>
                  <a:gd name="connsiteX29" fmla="*/ 6858000 w 7734300"/>
                  <a:gd name="connsiteY29" fmla="*/ 13563600 h 20231100"/>
                  <a:gd name="connsiteX30" fmla="*/ 6858000 w 7734300"/>
                  <a:gd name="connsiteY30" fmla="*/ 11315700 h 20231100"/>
                  <a:gd name="connsiteX31" fmla="*/ 6705600 w 7734300"/>
                  <a:gd name="connsiteY31" fmla="*/ 8877300 h 20231100"/>
                  <a:gd name="connsiteX32" fmla="*/ 6934200 w 7734300"/>
                  <a:gd name="connsiteY32" fmla="*/ 5143500 h 20231100"/>
                  <a:gd name="connsiteX33" fmla="*/ 7124700 w 7734300"/>
                  <a:gd name="connsiteY33" fmla="*/ 4114800 h 20231100"/>
                  <a:gd name="connsiteX34" fmla="*/ 7200900 w 7734300"/>
                  <a:gd name="connsiteY34" fmla="*/ 2781300 h 20231100"/>
                  <a:gd name="connsiteX35" fmla="*/ 7162800 w 7734300"/>
                  <a:gd name="connsiteY35" fmla="*/ 2095500 h 20231100"/>
                  <a:gd name="connsiteX36" fmla="*/ 6096000 w 7734300"/>
                  <a:gd name="connsiteY36" fmla="*/ 2171700 h 20231100"/>
                  <a:gd name="connsiteX37" fmla="*/ 4495800 w 7734300"/>
                  <a:gd name="connsiteY37" fmla="*/ 2247900 h 20231100"/>
                  <a:gd name="connsiteX38" fmla="*/ 3962400 w 7734300"/>
                  <a:gd name="connsiteY38" fmla="*/ 2209800 h 20231100"/>
                  <a:gd name="connsiteX39" fmla="*/ 3429000 w 7734300"/>
                  <a:gd name="connsiteY39" fmla="*/ 1828800 h 20231100"/>
                  <a:gd name="connsiteX40" fmla="*/ 3276600 w 7734300"/>
                  <a:gd name="connsiteY40" fmla="*/ 1295400 h 20231100"/>
                  <a:gd name="connsiteX41" fmla="*/ 3162300 w 7734300"/>
                  <a:gd name="connsiteY41" fmla="*/ 0 h 20231100"/>
                  <a:gd name="connsiteX42" fmla="*/ 2819400 w 7734300"/>
                  <a:gd name="connsiteY42" fmla="*/ 76200 h 20231100"/>
                  <a:gd name="connsiteX43" fmla="*/ 2324100 w 7734300"/>
                  <a:gd name="connsiteY43" fmla="*/ 1562100 h 20231100"/>
                  <a:gd name="connsiteX44" fmla="*/ 2095500 w 7734300"/>
                  <a:gd name="connsiteY44" fmla="*/ 1790700 h 20231100"/>
                  <a:gd name="connsiteX45" fmla="*/ 1714500 w 7734300"/>
                  <a:gd name="connsiteY45" fmla="*/ 2095500 h 20231100"/>
                  <a:gd name="connsiteX46" fmla="*/ 1104900 w 7734300"/>
                  <a:gd name="connsiteY46" fmla="*/ 1981200 h 20231100"/>
                  <a:gd name="connsiteX47" fmla="*/ 419100 w 7734300"/>
                  <a:gd name="connsiteY47" fmla="*/ 1790700 h 20231100"/>
                  <a:gd name="connsiteX48" fmla="*/ 419100 w 7734300"/>
                  <a:gd name="connsiteY48" fmla="*/ 1790700 h 20231100"/>
                  <a:gd name="connsiteX0" fmla="*/ 457200 w 7734300"/>
                  <a:gd name="connsiteY0" fmla="*/ 1752600 h 20231100"/>
                  <a:gd name="connsiteX1" fmla="*/ 190500 w 7734300"/>
                  <a:gd name="connsiteY1" fmla="*/ 2133600 h 20231100"/>
                  <a:gd name="connsiteX2" fmla="*/ 266700 w 7734300"/>
                  <a:gd name="connsiteY2" fmla="*/ 2514600 h 20231100"/>
                  <a:gd name="connsiteX3" fmla="*/ 495300 w 7734300"/>
                  <a:gd name="connsiteY3" fmla="*/ 2705100 h 20231100"/>
                  <a:gd name="connsiteX4" fmla="*/ 457200 w 7734300"/>
                  <a:gd name="connsiteY4" fmla="*/ 3962400 h 20231100"/>
                  <a:gd name="connsiteX5" fmla="*/ 190500 w 7734300"/>
                  <a:gd name="connsiteY5" fmla="*/ 6819900 h 20231100"/>
                  <a:gd name="connsiteX6" fmla="*/ 0 w 7734300"/>
                  <a:gd name="connsiteY6" fmla="*/ 9144000 h 20231100"/>
                  <a:gd name="connsiteX7" fmla="*/ 76200 w 7734300"/>
                  <a:gd name="connsiteY7" fmla="*/ 10058400 h 20231100"/>
                  <a:gd name="connsiteX8" fmla="*/ 228600 w 7734300"/>
                  <a:gd name="connsiteY8" fmla="*/ 10629900 h 20231100"/>
                  <a:gd name="connsiteX9" fmla="*/ 838200 w 7734300"/>
                  <a:gd name="connsiteY9" fmla="*/ 13258800 h 20231100"/>
                  <a:gd name="connsiteX10" fmla="*/ 1756229 w 7734300"/>
                  <a:gd name="connsiteY10" fmla="*/ 16109043 h 20231100"/>
                  <a:gd name="connsiteX11" fmla="*/ 3278414 w 7734300"/>
                  <a:gd name="connsiteY11" fmla="*/ 16099972 h 20231100"/>
                  <a:gd name="connsiteX12" fmla="*/ 4267200 w 7734300"/>
                  <a:gd name="connsiteY12" fmla="*/ 15735300 h 20231100"/>
                  <a:gd name="connsiteX13" fmla="*/ 3009900 w 7734300"/>
                  <a:gd name="connsiteY13" fmla="*/ 10325100 h 20231100"/>
                  <a:gd name="connsiteX14" fmla="*/ 2819400 w 7734300"/>
                  <a:gd name="connsiteY14" fmla="*/ 9601200 h 20231100"/>
                  <a:gd name="connsiteX15" fmla="*/ 2819400 w 7734300"/>
                  <a:gd name="connsiteY15" fmla="*/ 9220200 h 20231100"/>
                  <a:gd name="connsiteX16" fmla="*/ 2857500 w 7734300"/>
                  <a:gd name="connsiteY16" fmla="*/ 8801100 h 20231100"/>
                  <a:gd name="connsiteX17" fmla="*/ 2857500 w 7734300"/>
                  <a:gd name="connsiteY17" fmla="*/ 7772400 h 20231100"/>
                  <a:gd name="connsiteX18" fmla="*/ 3619500 w 7734300"/>
                  <a:gd name="connsiteY18" fmla="*/ 4114800 h 20231100"/>
                  <a:gd name="connsiteX19" fmla="*/ 3848100 w 7734300"/>
                  <a:gd name="connsiteY19" fmla="*/ 5219700 h 20231100"/>
                  <a:gd name="connsiteX20" fmla="*/ 3924300 w 7734300"/>
                  <a:gd name="connsiteY20" fmla="*/ 7048500 h 20231100"/>
                  <a:gd name="connsiteX21" fmla="*/ 3924300 w 7734300"/>
                  <a:gd name="connsiteY21" fmla="*/ 9029700 h 20231100"/>
                  <a:gd name="connsiteX22" fmla="*/ 3810000 w 7734300"/>
                  <a:gd name="connsiteY22" fmla="*/ 10401300 h 20231100"/>
                  <a:gd name="connsiteX23" fmla="*/ 3962400 w 7734300"/>
                  <a:gd name="connsiteY23" fmla="*/ 11125200 h 20231100"/>
                  <a:gd name="connsiteX24" fmla="*/ 4152900 w 7734300"/>
                  <a:gd name="connsiteY24" fmla="*/ 12877800 h 20231100"/>
                  <a:gd name="connsiteX25" fmla="*/ 4229100 w 7734300"/>
                  <a:gd name="connsiteY25" fmla="*/ 13792200 h 20231100"/>
                  <a:gd name="connsiteX26" fmla="*/ 5257800 w 7734300"/>
                  <a:gd name="connsiteY26" fmla="*/ 19850100 h 20231100"/>
                  <a:gd name="connsiteX27" fmla="*/ 6248400 w 7734300"/>
                  <a:gd name="connsiteY27" fmla="*/ 20231100 h 20231100"/>
                  <a:gd name="connsiteX28" fmla="*/ 7734300 w 7734300"/>
                  <a:gd name="connsiteY28" fmla="*/ 19583400 h 20231100"/>
                  <a:gd name="connsiteX29" fmla="*/ 6858000 w 7734300"/>
                  <a:gd name="connsiteY29" fmla="*/ 13563600 h 20231100"/>
                  <a:gd name="connsiteX30" fmla="*/ 6858000 w 7734300"/>
                  <a:gd name="connsiteY30" fmla="*/ 11315700 h 20231100"/>
                  <a:gd name="connsiteX31" fmla="*/ 6705600 w 7734300"/>
                  <a:gd name="connsiteY31" fmla="*/ 8877300 h 20231100"/>
                  <a:gd name="connsiteX32" fmla="*/ 6934200 w 7734300"/>
                  <a:gd name="connsiteY32" fmla="*/ 5143500 h 20231100"/>
                  <a:gd name="connsiteX33" fmla="*/ 7124700 w 7734300"/>
                  <a:gd name="connsiteY33" fmla="*/ 4114800 h 20231100"/>
                  <a:gd name="connsiteX34" fmla="*/ 7200900 w 7734300"/>
                  <a:gd name="connsiteY34" fmla="*/ 2781300 h 20231100"/>
                  <a:gd name="connsiteX35" fmla="*/ 7162800 w 7734300"/>
                  <a:gd name="connsiteY35" fmla="*/ 2095500 h 20231100"/>
                  <a:gd name="connsiteX36" fmla="*/ 6096000 w 7734300"/>
                  <a:gd name="connsiteY36" fmla="*/ 2171700 h 20231100"/>
                  <a:gd name="connsiteX37" fmla="*/ 4495800 w 7734300"/>
                  <a:gd name="connsiteY37" fmla="*/ 2247900 h 20231100"/>
                  <a:gd name="connsiteX38" fmla="*/ 3962400 w 7734300"/>
                  <a:gd name="connsiteY38" fmla="*/ 2209800 h 20231100"/>
                  <a:gd name="connsiteX39" fmla="*/ 3429000 w 7734300"/>
                  <a:gd name="connsiteY39" fmla="*/ 1828800 h 20231100"/>
                  <a:gd name="connsiteX40" fmla="*/ 3276600 w 7734300"/>
                  <a:gd name="connsiteY40" fmla="*/ 1295400 h 20231100"/>
                  <a:gd name="connsiteX41" fmla="*/ 3162300 w 7734300"/>
                  <a:gd name="connsiteY41" fmla="*/ 0 h 20231100"/>
                  <a:gd name="connsiteX42" fmla="*/ 2819400 w 7734300"/>
                  <a:gd name="connsiteY42" fmla="*/ 76200 h 20231100"/>
                  <a:gd name="connsiteX43" fmla="*/ 2324100 w 7734300"/>
                  <a:gd name="connsiteY43" fmla="*/ 1562100 h 20231100"/>
                  <a:gd name="connsiteX44" fmla="*/ 2095500 w 7734300"/>
                  <a:gd name="connsiteY44" fmla="*/ 1790700 h 20231100"/>
                  <a:gd name="connsiteX45" fmla="*/ 1714500 w 7734300"/>
                  <a:gd name="connsiteY45" fmla="*/ 2095500 h 20231100"/>
                  <a:gd name="connsiteX46" fmla="*/ 1104900 w 7734300"/>
                  <a:gd name="connsiteY46" fmla="*/ 1981200 h 20231100"/>
                  <a:gd name="connsiteX47" fmla="*/ 419100 w 7734300"/>
                  <a:gd name="connsiteY47" fmla="*/ 1790700 h 20231100"/>
                  <a:gd name="connsiteX48" fmla="*/ 419100 w 7734300"/>
                  <a:gd name="connsiteY48" fmla="*/ 1790700 h 20231100"/>
                  <a:gd name="connsiteX0" fmla="*/ 457200 w 7734300"/>
                  <a:gd name="connsiteY0" fmla="*/ 1752600 h 20231100"/>
                  <a:gd name="connsiteX1" fmla="*/ 190500 w 7734300"/>
                  <a:gd name="connsiteY1" fmla="*/ 2133600 h 20231100"/>
                  <a:gd name="connsiteX2" fmla="*/ 266700 w 7734300"/>
                  <a:gd name="connsiteY2" fmla="*/ 2514600 h 20231100"/>
                  <a:gd name="connsiteX3" fmla="*/ 495300 w 7734300"/>
                  <a:gd name="connsiteY3" fmla="*/ 2705100 h 20231100"/>
                  <a:gd name="connsiteX4" fmla="*/ 457200 w 7734300"/>
                  <a:gd name="connsiteY4" fmla="*/ 3962400 h 20231100"/>
                  <a:gd name="connsiteX5" fmla="*/ 190500 w 7734300"/>
                  <a:gd name="connsiteY5" fmla="*/ 6819900 h 20231100"/>
                  <a:gd name="connsiteX6" fmla="*/ 0 w 7734300"/>
                  <a:gd name="connsiteY6" fmla="*/ 9144000 h 20231100"/>
                  <a:gd name="connsiteX7" fmla="*/ 76200 w 7734300"/>
                  <a:gd name="connsiteY7" fmla="*/ 10058400 h 20231100"/>
                  <a:gd name="connsiteX8" fmla="*/ 228600 w 7734300"/>
                  <a:gd name="connsiteY8" fmla="*/ 10629900 h 20231100"/>
                  <a:gd name="connsiteX9" fmla="*/ 838200 w 7734300"/>
                  <a:gd name="connsiteY9" fmla="*/ 13258800 h 20231100"/>
                  <a:gd name="connsiteX10" fmla="*/ 1756229 w 7734300"/>
                  <a:gd name="connsiteY10" fmla="*/ 16109043 h 20231100"/>
                  <a:gd name="connsiteX11" fmla="*/ 3278414 w 7734300"/>
                  <a:gd name="connsiteY11" fmla="*/ 16099972 h 20231100"/>
                  <a:gd name="connsiteX12" fmla="*/ 4267200 w 7734300"/>
                  <a:gd name="connsiteY12" fmla="*/ 15735300 h 20231100"/>
                  <a:gd name="connsiteX13" fmla="*/ 2933700 w 7734300"/>
                  <a:gd name="connsiteY13" fmla="*/ 10363200 h 20231100"/>
                  <a:gd name="connsiteX14" fmla="*/ 2819400 w 7734300"/>
                  <a:gd name="connsiteY14" fmla="*/ 9601200 h 20231100"/>
                  <a:gd name="connsiteX15" fmla="*/ 2819400 w 7734300"/>
                  <a:gd name="connsiteY15" fmla="*/ 9220200 h 20231100"/>
                  <a:gd name="connsiteX16" fmla="*/ 2857500 w 7734300"/>
                  <a:gd name="connsiteY16" fmla="*/ 8801100 h 20231100"/>
                  <a:gd name="connsiteX17" fmla="*/ 2857500 w 7734300"/>
                  <a:gd name="connsiteY17" fmla="*/ 7772400 h 20231100"/>
                  <a:gd name="connsiteX18" fmla="*/ 3619500 w 7734300"/>
                  <a:gd name="connsiteY18" fmla="*/ 4114800 h 20231100"/>
                  <a:gd name="connsiteX19" fmla="*/ 3848100 w 7734300"/>
                  <a:gd name="connsiteY19" fmla="*/ 5219700 h 20231100"/>
                  <a:gd name="connsiteX20" fmla="*/ 3924300 w 7734300"/>
                  <a:gd name="connsiteY20" fmla="*/ 7048500 h 20231100"/>
                  <a:gd name="connsiteX21" fmla="*/ 3924300 w 7734300"/>
                  <a:gd name="connsiteY21" fmla="*/ 9029700 h 20231100"/>
                  <a:gd name="connsiteX22" fmla="*/ 3810000 w 7734300"/>
                  <a:gd name="connsiteY22" fmla="*/ 10401300 h 20231100"/>
                  <a:gd name="connsiteX23" fmla="*/ 3962400 w 7734300"/>
                  <a:gd name="connsiteY23" fmla="*/ 11125200 h 20231100"/>
                  <a:gd name="connsiteX24" fmla="*/ 4152900 w 7734300"/>
                  <a:gd name="connsiteY24" fmla="*/ 12877800 h 20231100"/>
                  <a:gd name="connsiteX25" fmla="*/ 4229100 w 7734300"/>
                  <a:gd name="connsiteY25" fmla="*/ 13792200 h 20231100"/>
                  <a:gd name="connsiteX26" fmla="*/ 5257800 w 7734300"/>
                  <a:gd name="connsiteY26" fmla="*/ 19850100 h 20231100"/>
                  <a:gd name="connsiteX27" fmla="*/ 6248400 w 7734300"/>
                  <a:gd name="connsiteY27" fmla="*/ 20231100 h 20231100"/>
                  <a:gd name="connsiteX28" fmla="*/ 7734300 w 7734300"/>
                  <a:gd name="connsiteY28" fmla="*/ 19583400 h 20231100"/>
                  <a:gd name="connsiteX29" fmla="*/ 6858000 w 7734300"/>
                  <a:gd name="connsiteY29" fmla="*/ 13563600 h 20231100"/>
                  <a:gd name="connsiteX30" fmla="*/ 6858000 w 7734300"/>
                  <a:gd name="connsiteY30" fmla="*/ 11315700 h 20231100"/>
                  <a:gd name="connsiteX31" fmla="*/ 6705600 w 7734300"/>
                  <a:gd name="connsiteY31" fmla="*/ 8877300 h 20231100"/>
                  <a:gd name="connsiteX32" fmla="*/ 6934200 w 7734300"/>
                  <a:gd name="connsiteY32" fmla="*/ 5143500 h 20231100"/>
                  <a:gd name="connsiteX33" fmla="*/ 7124700 w 7734300"/>
                  <a:gd name="connsiteY33" fmla="*/ 4114800 h 20231100"/>
                  <a:gd name="connsiteX34" fmla="*/ 7200900 w 7734300"/>
                  <a:gd name="connsiteY34" fmla="*/ 2781300 h 20231100"/>
                  <a:gd name="connsiteX35" fmla="*/ 7162800 w 7734300"/>
                  <a:gd name="connsiteY35" fmla="*/ 2095500 h 20231100"/>
                  <a:gd name="connsiteX36" fmla="*/ 6096000 w 7734300"/>
                  <a:gd name="connsiteY36" fmla="*/ 2171700 h 20231100"/>
                  <a:gd name="connsiteX37" fmla="*/ 4495800 w 7734300"/>
                  <a:gd name="connsiteY37" fmla="*/ 2247900 h 20231100"/>
                  <a:gd name="connsiteX38" fmla="*/ 3962400 w 7734300"/>
                  <a:gd name="connsiteY38" fmla="*/ 2209800 h 20231100"/>
                  <a:gd name="connsiteX39" fmla="*/ 3429000 w 7734300"/>
                  <a:gd name="connsiteY39" fmla="*/ 1828800 h 20231100"/>
                  <a:gd name="connsiteX40" fmla="*/ 3276600 w 7734300"/>
                  <a:gd name="connsiteY40" fmla="*/ 1295400 h 20231100"/>
                  <a:gd name="connsiteX41" fmla="*/ 3162300 w 7734300"/>
                  <a:gd name="connsiteY41" fmla="*/ 0 h 20231100"/>
                  <a:gd name="connsiteX42" fmla="*/ 2819400 w 7734300"/>
                  <a:gd name="connsiteY42" fmla="*/ 76200 h 20231100"/>
                  <a:gd name="connsiteX43" fmla="*/ 2324100 w 7734300"/>
                  <a:gd name="connsiteY43" fmla="*/ 1562100 h 20231100"/>
                  <a:gd name="connsiteX44" fmla="*/ 2095500 w 7734300"/>
                  <a:gd name="connsiteY44" fmla="*/ 1790700 h 20231100"/>
                  <a:gd name="connsiteX45" fmla="*/ 1714500 w 7734300"/>
                  <a:gd name="connsiteY45" fmla="*/ 2095500 h 20231100"/>
                  <a:gd name="connsiteX46" fmla="*/ 1104900 w 7734300"/>
                  <a:gd name="connsiteY46" fmla="*/ 1981200 h 20231100"/>
                  <a:gd name="connsiteX47" fmla="*/ 419100 w 7734300"/>
                  <a:gd name="connsiteY47" fmla="*/ 1790700 h 20231100"/>
                  <a:gd name="connsiteX48" fmla="*/ 419100 w 7734300"/>
                  <a:gd name="connsiteY48" fmla="*/ 1790700 h 20231100"/>
                  <a:gd name="connsiteX0" fmla="*/ 457200 w 7734300"/>
                  <a:gd name="connsiteY0" fmla="*/ 1752600 h 20231100"/>
                  <a:gd name="connsiteX1" fmla="*/ 190500 w 7734300"/>
                  <a:gd name="connsiteY1" fmla="*/ 2133600 h 20231100"/>
                  <a:gd name="connsiteX2" fmla="*/ 266700 w 7734300"/>
                  <a:gd name="connsiteY2" fmla="*/ 2514600 h 20231100"/>
                  <a:gd name="connsiteX3" fmla="*/ 495300 w 7734300"/>
                  <a:gd name="connsiteY3" fmla="*/ 2705100 h 20231100"/>
                  <a:gd name="connsiteX4" fmla="*/ 457200 w 7734300"/>
                  <a:gd name="connsiteY4" fmla="*/ 3962400 h 20231100"/>
                  <a:gd name="connsiteX5" fmla="*/ 190500 w 7734300"/>
                  <a:gd name="connsiteY5" fmla="*/ 6819900 h 20231100"/>
                  <a:gd name="connsiteX6" fmla="*/ 0 w 7734300"/>
                  <a:gd name="connsiteY6" fmla="*/ 9144000 h 20231100"/>
                  <a:gd name="connsiteX7" fmla="*/ 76200 w 7734300"/>
                  <a:gd name="connsiteY7" fmla="*/ 10058400 h 20231100"/>
                  <a:gd name="connsiteX8" fmla="*/ 228600 w 7734300"/>
                  <a:gd name="connsiteY8" fmla="*/ 10629900 h 20231100"/>
                  <a:gd name="connsiteX9" fmla="*/ 838200 w 7734300"/>
                  <a:gd name="connsiteY9" fmla="*/ 13258800 h 20231100"/>
                  <a:gd name="connsiteX10" fmla="*/ 1756229 w 7734300"/>
                  <a:gd name="connsiteY10" fmla="*/ 16109043 h 20231100"/>
                  <a:gd name="connsiteX11" fmla="*/ 3278414 w 7734300"/>
                  <a:gd name="connsiteY11" fmla="*/ 16099972 h 20231100"/>
                  <a:gd name="connsiteX12" fmla="*/ 4267200 w 7734300"/>
                  <a:gd name="connsiteY12" fmla="*/ 15735300 h 20231100"/>
                  <a:gd name="connsiteX13" fmla="*/ 2933700 w 7734300"/>
                  <a:gd name="connsiteY13" fmla="*/ 10363200 h 20231100"/>
                  <a:gd name="connsiteX14" fmla="*/ 2819400 w 7734300"/>
                  <a:gd name="connsiteY14" fmla="*/ 9601200 h 20231100"/>
                  <a:gd name="connsiteX15" fmla="*/ 2819400 w 7734300"/>
                  <a:gd name="connsiteY15" fmla="*/ 9220200 h 20231100"/>
                  <a:gd name="connsiteX16" fmla="*/ 2857500 w 7734300"/>
                  <a:gd name="connsiteY16" fmla="*/ 8801100 h 20231100"/>
                  <a:gd name="connsiteX17" fmla="*/ 2857500 w 7734300"/>
                  <a:gd name="connsiteY17" fmla="*/ 7772400 h 20231100"/>
                  <a:gd name="connsiteX18" fmla="*/ 3619500 w 7734300"/>
                  <a:gd name="connsiteY18" fmla="*/ 4114800 h 20231100"/>
                  <a:gd name="connsiteX19" fmla="*/ 3848100 w 7734300"/>
                  <a:gd name="connsiteY19" fmla="*/ 5219700 h 20231100"/>
                  <a:gd name="connsiteX20" fmla="*/ 3924300 w 7734300"/>
                  <a:gd name="connsiteY20" fmla="*/ 7048500 h 20231100"/>
                  <a:gd name="connsiteX21" fmla="*/ 3924300 w 7734300"/>
                  <a:gd name="connsiteY21" fmla="*/ 9029700 h 20231100"/>
                  <a:gd name="connsiteX22" fmla="*/ 3810000 w 7734300"/>
                  <a:gd name="connsiteY22" fmla="*/ 10401300 h 20231100"/>
                  <a:gd name="connsiteX23" fmla="*/ 3962400 w 7734300"/>
                  <a:gd name="connsiteY23" fmla="*/ 11125200 h 20231100"/>
                  <a:gd name="connsiteX24" fmla="*/ 4152900 w 7734300"/>
                  <a:gd name="connsiteY24" fmla="*/ 12877800 h 20231100"/>
                  <a:gd name="connsiteX25" fmla="*/ 4229100 w 7734300"/>
                  <a:gd name="connsiteY25" fmla="*/ 13792200 h 20231100"/>
                  <a:gd name="connsiteX26" fmla="*/ 5257800 w 7734300"/>
                  <a:gd name="connsiteY26" fmla="*/ 19850100 h 20231100"/>
                  <a:gd name="connsiteX27" fmla="*/ 6248400 w 7734300"/>
                  <a:gd name="connsiteY27" fmla="*/ 20231100 h 20231100"/>
                  <a:gd name="connsiteX28" fmla="*/ 7734300 w 7734300"/>
                  <a:gd name="connsiteY28" fmla="*/ 19583400 h 20231100"/>
                  <a:gd name="connsiteX29" fmla="*/ 6858000 w 7734300"/>
                  <a:gd name="connsiteY29" fmla="*/ 13563600 h 20231100"/>
                  <a:gd name="connsiteX30" fmla="*/ 6858000 w 7734300"/>
                  <a:gd name="connsiteY30" fmla="*/ 11315700 h 20231100"/>
                  <a:gd name="connsiteX31" fmla="*/ 6705600 w 7734300"/>
                  <a:gd name="connsiteY31" fmla="*/ 8877300 h 20231100"/>
                  <a:gd name="connsiteX32" fmla="*/ 6934200 w 7734300"/>
                  <a:gd name="connsiteY32" fmla="*/ 5143500 h 20231100"/>
                  <a:gd name="connsiteX33" fmla="*/ 7124700 w 7734300"/>
                  <a:gd name="connsiteY33" fmla="*/ 4114800 h 20231100"/>
                  <a:gd name="connsiteX34" fmla="*/ 7200900 w 7734300"/>
                  <a:gd name="connsiteY34" fmla="*/ 2781300 h 20231100"/>
                  <a:gd name="connsiteX35" fmla="*/ 7162800 w 7734300"/>
                  <a:gd name="connsiteY35" fmla="*/ 2095500 h 20231100"/>
                  <a:gd name="connsiteX36" fmla="*/ 6096000 w 7734300"/>
                  <a:gd name="connsiteY36" fmla="*/ 2171700 h 20231100"/>
                  <a:gd name="connsiteX37" fmla="*/ 4495800 w 7734300"/>
                  <a:gd name="connsiteY37" fmla="*/ 2247900 h 20231100"/>
                  <a:gd name="connsiteX38" fmla="*/ 3962400 w 7734300"/>
                  <a:gd name="connsiteY38" fmla="*/ 2209800 h 20231100"/>
                  <a:gd name="connsiteX39" fmla="*/ 3429000 w 7734300"/>
                  <a:gd name="connsiteY39" fmla="*/ 1828800 h 20231100"/>
                  <a:gd name="connsiteX40" fmla="*/ 3276600 w 7734300"/>
                  <a:gd name="connsiteY40" fmla="*/ 1295400 h 20231100"/>
                  <a:gd name="connsiteX41" fmla="*/ 3162300 w 7734300"/>
                  <a:gd name="connsiteY41" fmla="*/ 0 h 20231100"/>
                  <a:gd name="connsiteX42" fmla="*/ 2819400 w 7734300"/>
                  <a:gd name="connsiteY42" fmla="*/ 76200 h 20231100"/>
                  <a:gd name="connsiteX43" fmla="*/ 2324100 w 7734300"/>
                  <a:gd name="connsiteY43" fmla="*/ 1562100 h 20231100"/>
                  <a:gd name="connsiteX44" fmla="*/ 2095500 w 7734300"/>
                  <a:gd name="connsiteY44" fmla="*/ 1790700 h 20231100"/>
                  <a:gd name="connsiteX45" fmla="*/ 1714500 w 7734300"/>
                  <a:gd name="connsiteY45" fmla="*/ 2095500 h 20231100"/>
                  <a:gd name="connsiteX46" fmla="*/ 1104900 w 7734300"/>
                  <a:gd name="connsiteY46" fmla="*/ 1981200 h 20231100"/>
                  <a:gd name="connsiteX47" fmla="*/ 419100 w 7734300"/>
                  <a:gd name="connsiteY47" fmla="*/ 1790700 h 20231100"/>
                  <a:gd name="connsiteX48" fmla="*/ 419100 w 7734300"/>
                  <a:gd name="connsiteY48" fmla="*/ 1790700 h 20231100"/>
                  <a:gd name="connsiteX0" fmla="*/ 457200 w 7734300"/>
                  <a:gd name="connsiteY0" fmla="*/ 1752600 h 19850100"/>
                  <a:gd name="connsiteX1" fmla="*/ 190500 w 7734300"/>
                  <a:gd name="connsiteY1" fmla="*/ 2133600 h 19850100"/>
                  <a:gd name="connsiteX2" fmla="*/ 266700 w 7734300"/>
                  <a:gd name="connsiteY2" fmla="*/ 2514600 h 19850100"/>
                  <a:gd name="connsiteX3" fmla="*/ 495300 w 7734300"/>
                  <a:gd name="connsiteY3" fmla="*/ 2705100 h 19850100"/>
                  <a:gd name="connsiteX4" fmla="*/ 457200 w 7734300"/>
                  <a:gd name="connsiteY4" fmla="*/ 3962400 h 19850100"/>
                  <a:gd name="connsiteX5" fmla="*/ 190500 w 7734300"/>
                  <a:gd name="connsiteY5" fmla="*/ 6819900 h 19850100"/>
                  <a:gd name="connsiteX6" fmla="*/ 0 w 7734300"/>
                  <a:gd name="connsiteY6" fmla="*/ 9144000 h 19850100"/>
                  <a:gd name="connsiteX7" fmla="*/ 76200 w 7734300"/>
                  <a:gd name="connsiteY7" fmla="*/ 10058400 h 19850100"/>
                  <a:gd name="connsiteX8" fmla="*/ 228600 w 7734300"/>
                  <a:gd name="connsiteY8" fmla="*/ 10629900 h 19850100"/>
                  <a:gd name="connsiteX9" fmla="*/ 838200 w 7734300"/>
                  <a:gd name="connsiteY9" fmla="*/ 13258800 h 19850100"/>
                  <a:gd name="connsiteX10" fmla="*/ 1756229 w 7734300"/>
                  <a:gd name="connsiteY10" fmla="*/ 16109043 h 19850100"/>
                  <a:gd name="connsiteX11" fmla="*/ 3278414 w 7734300"/>
                  <a:gd name="connsiteY11" fmla="*/ 16099972 h 19850100"/>
                  <a:gd name="connsiteX12" fmla="*/ 4267200 w 7734300"/>
                  <a:gd name="connsiteY12" fmla="*/ 15735300 h 19850100"/>
                  <a:gd name="connsiteX13" fmla="*/ 2933700 w 7734300"/>
                  <a:gd name="connsiteY13" fmla="*/ 10363200 h 19850100"/>
                  <a:gd name="connsiteX14" fmla="*/ 2819400 w 7734300"/>
                  <a:gd name="connsiteY14" fmla="*/ 9601200 h 19850100"/>
                  <a:gd name="connsiteX15" fmla="*/ 2819400 w 7734300"/>
                  <a:gd name="connsiteY15" fmla="*/ 9220200 h 19850100"/>
                  <a:gd name="connsiteX16" fmla="*/ 2857500 w 7734300"/>
                  <a:gd name="connsiteY16" fmla="*/ 8801100 h 19850100"/>
                  <a:gd name="connsiteX17" fmla="*/ 2857500 w 7734300"/>
                  <a:gd name="connsiteY17" fmla="*/ 7772400 h 19850100"/>
                  <a:gd name="connsiteX18" fmla="*/ 3619500 w 7734300"/>
                  <a:gd name="connsiteY18" fmla="*/ 4114800 h 19850100"/>
                  <a:gd name="connsiteX19" fmla="*/ 3848100 w 7734300"/>
                  <a:gd name="connsiteY19" fmla="*/ 5219700 h 19850100"/>
                  <a:gd name="connsiteX20" fmla="*/ 3924300 w 7734300"/>
                  <a:gd name="connsiteY20" fmla="*/ 7048500 h 19850100"/>
                  <a:gd name="connsiteX21" fmla="*/ 3924300 w 7734300"/>
                  <a:gd name="connsiteY21" fmla="*/ 9029700 h 19850100"/>
                  <a:gd name="connsiteX22" fmla="*/ 3810000 w 7734300"/>
                  <a:gd name="connsiteY22" fmla="*/ 10401300 h 19850100"/>
                  <a:gd name="connsiteX23" fmla="*/ 3962400 w 7734300"/>
                  <a:gd name="connsiteY23" fmla="*/ 11125200 h 19850100"/>
                  <a:gd name="connsiteX24" fmla="*/ 4152900 w 7734300"/>
                  <a:gd name="connsiteY24" fmla="*/ 12877800 h 19850100"/>
                  <a:gd name="connsiteX25" fmla="*/ 4229100 w 7734300"/>
                  <a:gd name="connsiteY25" fmla="*/ 13792200 h 19850100"/>
                  <a:gd name="connsiteX26" fmla="*/ 5257800 w 7734300"/>
                  <a:gd name="connsiteY26" fmla="*/ 19850100 h 19850100"/>
                  <a:gd name="connsiteX27" fmla="*/ 6248400 w 7734300"/>
                  <a:gd name="connsiteY27" fmla="*/ 17945100 h 19850100"/>
                  <a:gd name="connsiteX28" fmla="*/ 7734300 w 7734300"/>
                  <a:gd name="connsiteY28" fmla="*/ 19583400 h 19850100"/>
                  <a:gd name="connsiteX29" fmla="*/ 6858000 w 7734300"/>
                  <a:gd name="connsiteY29" fmla="*/ 13563600 h 19850100"/>
                  <a:gd name="connsiteX30" fmla="*/ 6858000 w 7734300"/>
                  <a:gd name="connsiteY30" fmla="*/ 11315700 h 19850100"/>
                  <a:gd name="connsiteX31" fmla="*/ 6705600 w 7734300"/>
                  <a:gd name="connsiteY31" fmla="*/ 8877300 h 19850100"/>
                  <a:gd name="connsiteX32" fmla="*/ 6934200 w 7734300"/>
                  <a:gd name="connsiteY32" fmla="*/ 5143500 h 19850100"/>
                  <a:gd name="connsiteX33" fmla="*/ 7124700 w 7734300"/>
                  <a:gd name="connsiteY33" fmla="*/ 4114800 h 19850100"/>
                  <a:gd name="connsiteX34" fmla="*/ 7200900 w 7734300"/>
                  <a:gd name="connsiteY34" fmla="*/ 2781300 h 19850100"/>
                  <a:gd name="connsiteX35" fmla="*/ 7162800 w 7734300"/>
                  <a:gd name="connsiteY35" fmla="*/ 2095500 h 19850100"/>
                  <a:gd name="connsiteX36" fmla="*/ 6096000 w 7734300"/>
                  <a:gd name="connsiteY36" fmla="*/ 2171700 h 19850100"/>
                  <a:gd name="connsiteX37" fmla="*/ 4495800 w 7734300"/>
                  <a:gd name="connsiteY37" fmla="*/ 2247900 h 19850100"/>
                  <a:gd name="connsiteX38" fmla="*/ 3962400 w 7734300"/>
                  <a:gd name="connsiteY38" fmla="*/ 2209800 h 19850100"/>
                  <a:gd name="connsiteX39" fmla="*/ 3429000 w 7734300"/>
                  <a:gd name="connsiteY39" fmla="*/ 1828800 h 19850100"/>
                  <a:gd name="connsiteX40" fmla="*/ 3276600 w 7734300"/>
                  <a:gd name="connsiteY40" fmla="*/ 1295400 h 19850100"/>
                  <a:gd name="connsiteX41" fmla="*/ 3162300 w 7734300"/>
                  <a:gd name="connsiteY41" fmla="*/ 0 h 19850100"/>
                  <a:gd name="connsiteX42" fmla="*/ 2819400 w 7734300"/>
                  <a:gd name="connsiteY42" fmla="*/ 76200 h 19850100"/>
                  <a:gd name="connsiteX43" fmla="*/ 2324100 w 7734300"/>
                  <a:gd name="connsiteY43" fmla="*/ 1562100 h 19850100"/>
                  <a:gd name="connsiteX44" fmla="*/ 2095500 w 7734300"/>
                  <a:gd name="connsiteY44" fmla="*/ 1790700 h 19850100"/>
                  <a:gd name="connsiteX45" fmla="*/ 1714500 w 7734300"/>
                  <a:gd name="connsiteY45" fmla="*/ 2095500 h 19850100"/>
                  <a:gd name="connsiteX46" fmla="*/ 1104900 w 7734300"/>
                  <a:gd name="connsiteY46" fmla="*/ 1981200 h 19850100"/>
                  <a:gd name="connsiteX47" fmla="*/ 419100 w 7734300"/>
                  <a:gd name="connsiteY47" fmla="*/ 1790700 h 19850100"/>
                  <a:gd name="connsiteX48" fmla="*/ 419100 w 7734300"/>
                  <a:gd name="connsiteY48" fmla="*/ 1790700 h 19850100"/>
                  <a:gd name="connsiteX0" fmla="*/ 457200 w 7734300"/>
                  <a:gd name="connsiteY0" fmla="*/ 1752600 h 19583400"/>
                  <a:gd name="connsiteX1" fmla="*/ 190500 w 7734300"/>
                  <a:gd name="connsiteY1" fmla="*/ 2133600 h 19583400"/>
                  <a:gd name="connsiteX2" fmla="*/ 266700 w 7734300"/>
                  <a:gd name="connsiteY2" fmla="*/ 2514600 h 19583400"/>
                  <a:gd name="connsiteX3" fmla="*/ 495300 w 7734300"/>
                  <a:gd name="connsiteY3" fmla="*/ 2705100 h 19583400"/>
                  <a:gd name="connsiteX4" fmla="*/ 457200 w 7734300"/>
                  <a:gd name="connsiteY4" fmla="*/ 3962400 h 19583400"/>
                  <a:gd name="connsiteX5" fmla="*/ 190500 w 7734300"/>
                  <a:gd name="connsiteY5" fmla="*/ 6819900 h 19583400"/>
                  <a:gd name="connsiteX6" fmla="*/ 0 w 7734300"/>
                  <a:gd name="connsiteY6" fmla="*/ 9144000 h 19583400"/>
                  <a:gd name="connsiteX7" fmla="*/ 76200 w 7734300"/>
                  <a:gd name="connsiteY7" fmla="*/ 10058400 h 19583400"/>
                  <a:gd name="connsiteX8" fmla="*/ 228600 w 7734300"/>
                  <a:gd name="connsiteY8" fmla="*/ 10629900 h 19583400"/>
                  <a:gd name="connsiteX9" fmla="*/ 838200 w 7734300"/>
                  <a:gd name="connsiteY9" fmla="*/ 13258800 h 19583400"/>
                  <a:gd name="connsiteX10" fmla="*/ 1756229 w 7734300"/>
                  <a:gd name="connsiteY10" fmla="*/ 16109043 h 19583400"/>
                  <a:gd name="connsiteX11" fmla="*/ 3278414 w 7734300"/>
                  <a:gd name="connsiteY11" fmla="*/ 16099972 h 19583400"/>
                  <a:gd name="connsiteX12" fmla="*/ 4267200 w 7734300"/>
                  <a:gd name="connsiteY12" fmla="*/ 15735300 h 19583400"/>
                  <a:gd name="connsiteX13" fmla="*/ 2933700 w 7734300"/>
                  <a:gd name="connsiteY13" fmla="*/ 10363200 h 19583400"/>
                  <a:gd name="connsiteX14" fmla="*/ 2819400 w 7734300"/>
                  <a:gd name="connsiteY14" fmla="*/ 9601200 h 19583400"/>
                  <a:gd name="connsiteX15" fmla="*/ 2819400 w 7734300"/>
                  <a:gd name="connsiteY15" fmla="*/ 9220200 h 19583400"/>
                  <a:gd name="connsiteX16" fmla="*/ 2857500 w 7734300"/>
                  <a:gd name="connsiteY16" fmla="*/ 8801100 h 19583400"/>
                  <a:gd name="connsiteX17" fmla="*/ 2857500 w 7734300"/>
                  <a:gd name="connsiteY17" fmla="*/ 7772400 h 19583400"/>
                  <a:gd name="connsiteX18" fmla="*/ 3619500 w 7734300"/>
                  <a:gd name="connsiteY18" fmla="*/ 4114800 h 19583400"/>
                  <a:gd name="connsiteX19" fmla="*/ 3848100 w 7734300"/>
                  <a:gd name="connsiteY19" fmla="*/ 5219700 h 19583400"/>
                  <a:gd name="connsiteX20" fmla="*/ 3924300 w 7734300"/>
                  <a:gd name="connsiteY20" fmla="*/ 7048500 h 19583400"/>
                  <a:gd name="connsiteX21" fmla="*/ 3924300 w 7734300"/>
                  <a:gd name="connsiteY21" fmla="*/ 9029700 h 19583400"/>
                  <a:gd name="connsiteX22" fmla="*/ 3810000 w 7734300"/>
                  <a:gd name="connsiteY22" fmla="*/ 10401300 h 19583400"/>
                  <a:gd name="connsiteX23" fmla="*/ 3962400 w 7734300"/>
                  <a:gd name="connsiteY23" fmla="*/ 11125200 h 19583400"/>
                  <a:gd name="connsiteX24" fmla="*/ 4152900 w 7734300"/>
                  <a:gd name="connsiteY24" fmla="*/ 12877800 h 19583400"/>
                  <a:gd name="connsiteX25" fmla="*/ 4229100 w 7734300"/>
                  <a:gd name="connsiteY25" fmla="*/ 13792200 h 19583400"/>
                  <a:gd name="connsiteX26" fmla="*/ 5257800 w 7734300"/>
                  <a:gd name="connsiteY26" fmla="*/ 17868900 h 19583400"/>
                  <a:gd name="connsiteX27" fmla="*/ 6248400 w 7734300"/>
                  <a:gd name="connsiteY27" fmla="*/ 17945100 h 19583400"/>
                  <a:gd name="connsiteX28" fmla="*/ 7734300 w 7734300"/>
                  <a:gd name="connsiteY28" fmla="*/ 19583400 h 19583400"/>
                  <a:gd name="connsiteX29" fmla="*/ 6858000 w 7734300"/>
                  <a:gd name="connsiteY29" fmla="*/ 13563600 h 19583400"/>
                  <a:gd name="connsiteX30" fmla="*/ 6858000 w 7734300"/>
                  <a:gd name="connsiteY30" fmla="*/ 11315700 h 19583400"/>
                  <a:gd name="connsiteX31" fmla="*/ 6705600 w 7734300"/>
                  <a:gd name="connsiteY31" fmla="*/ 8877300 h 19583400"/>
                  <a:gd name="connsiteX32" fmla="*/ 6934200 w 7734300"/>
                  <a:gd name="connsiteY32" fmla="*/ 5143500 h 19583400"/>
                  <a:gd name="connsiteX33" fmla="*/ 7124700 w 7734300"/>
                  <a:gd name="connsiteY33" fmla="*/ 4114800 h 19583400"/>
                  <a:gd name="connsiteX34" fmla="*/ 7200900 w 7734300"/>
                  <a:gd name="connsiteY34" fmla="*/ 2781300 h 19583400"/>
                  <a:gd name="connsiteX35" fmla="*/ 7162800 w 7734300"/>
                  <a:gd name="connsiteY35" fmla="*/ 2095500 h 19583400"/>
                  <a:gd name="connsiteX36" fmla="*/ 6096000 w 7734300"/>
                  <a:gd name="connsiteY36" fmla="*/ 2171700 h 19583400"/>
                  <a:gd name="connsiteX37" fmla="*/ 4495800 w 7734300"/>
                  <a:gd name="connsiteY37" fmla="*/ 2247900 h 19583400"/>
                  <a:gd name="connsiteX38" fmla="*/ 3962400 w 7734300"/>
                  <a:gd name="connsiteY38" fmla="*/ 2209800 h 19583400"/>
                  <a:gd name="connsiteX39" fmla="*/ 3429000 w 7734300"/>
                  <a:gd name="connsiteY39" fmla="*/ 1828800 h 19583400"/>
                  <a:gd name="connsiteX40" fmla="*/ 3276600 w 7734300"/>
                  <a:gd name="connsiteY40" fmla="*/ 1295400 h 19583400"/>
                  <a:gd name="connsiteX41" fmla="*/ 3162300 w 7734300"/>
                  <a:gd name="connsiteY41" fmla="*/ 0 h 19583400"/>
                  <a:gd name="connsiteX42" fmla="*/ 2819400 w 7734300"/>
                  <a:gd name="connsiteY42" fmla="*/ 76200 h 19583400"/>
                  <a:gd name="connsiteX43" fmla="*/ 2324100 w 7734300"/>
                  <a:gd name="connsiteY43" fmla="*/ 1562100 h 19583400"/>
                  <a:gd name="connsiteX44" fmla="*/ 2095500 w 7734300"/>
                  <a:gd name="connsiteY44" fmla="*/ 1790700 h 19583400"/>
                  <a:gd name="connsiteX45" fmla="*/ 1714500 w 7734300"/>
                  <a:gd name="connsiteY45" fmla="*/ 2095500 h 19583400"/>
                  <a:gd name="connsiteX46" fmla="*/ 1104900 w 7734300"/>
                  <a:gd name="connsiteY46" fmla="*/ 1981200 h 19583400"/>
                  <a:gd name="connsiteX47" fmla="*/ 419100 w 7734300"/>
                  <a:gd name="connsiteY47" fmla="*/ 1790700 h 19583400"/>
                  <a:gd name="connsiteX48" fmla="*/ 419100 w 7734300"/>
                  <a:gd name="connsiteY48" fmla="*/ 1790700 h 19583400"/>
                  <a:gd name="connsiteX0" fmla="*/ 457200 w 7734300"/>
                  <a:gd name="connsiteY0" fmla="*/ 1752600 h 17945100"/>
                  <a:gd name="connsiteX1" fmla="*/ 190500 w 7734300"/>
                  <a:gd name="connsiteY1" fmla="*/ 2133600 h 17945100"/>
                  <a:gd name="connsiteX2" fmla="*/ 266700 w 7734300"/>
                  <a:gd name="connsiteY2" fmla="*/ 2514600 h 17945100"/>
                  <a:gd name="connsiteX3" fmla="*/ 495300 w 7734300"/>
                  <a:gd name="connsiteY3" fmla="*/ 2705100 h 17945100"/>
                  <a:gd name="connsiteX4" fmla="*/ 457200 w 7734300"/>
                  <a:gd name="connsiteY4" fmla="*/ 3962400 h 17945100"/>
                  <a:gd name="connsiteX5" fmla="*/ 190500 w 7734300"/>
                  <a:gd name="connsiteY5" fmla="*/ 6819900 h 17945100"/>
                  <a:gd name="connsiteX6" fmla="*/ 0 w 7734300"/>
                  <a:gd name="connsiteY6" fmla="*/ 9144000 h 17945100"/>
                  <a:gd name="connsiteX7" fmla="*/ 76200 w 7734300"/>
                  <a:gd name="connsiteY7" fmla="*/ 10058400 h 17945100"/>
                  <a:gd name="connsiteX8" fmla="*/ 228600 w 7734300"/>
                  <a:gd name="connsiteY8" fmla="*/ 10629900 h 17945100"/>
                  <a:gd name="connsiteX9" fmla="*/ 838200 w 7734300"/>
                  <a:gd name="connsiteY9" fmla="*/ 13258800 h 17945100"/>
                  <a:gd name="connsiteX10" fmla="*/ 1756229 w 7734300"/>
                  <a:gd name="connsiteY10" fmla="*/ 16109043 h 17945100"/>
                  <a:gd name="connsiteX11" fmla="*/ 3278414 w 7734300"/>
                  <a:gd name="connsiteY11" fmla="*/ 16099972 h 17945100"/>
                  <a:gd name="connsiteX12" fmla="*/ 4267200 w 7734300"/>
                  <a:gd name="connsiteY12" fmla="*/ 15735300 h 17945100"/>
                  <a:gd name="connsiteX13" fmla="*/ 2933700 w 7734300"/>
                  <a:gd name="connsiteY13" fmla="*/ 10363200 h 17945100"/>
                  <a:gd name="connsiteX14" fmla="*/ 2819400 w 7734300"/>
                  <a:gd name="connsiteY14" fmla="*/ 9601200 h 17945100"/>
                  <a:gd name="connsiteX15" fmla="*/ 2819400 w 7734300"/>
                  <a:gd name="connsiteY15" fmla="*/ 9220200 h 17945100"/>
                  <a:gd name="connsiteX16" fmla="*/ 2857500 w 7734300"/>
                  <a:gd name="connsiteY16" fmla="*/ 8801100 h 17945100"/>
                  <a:gd name="connsiteX17" fmla="*/ 2857500 w 7734300"/>
                  <a:gd name="connsiteY17" fmla="*/ 7772400 h 17945100"/>
                  <a:gd name="connsiteX18" fmla="*/ 3619500 w 7734300"/>
                  <a:gd name="connsiteY18" fmla="*/ 4114800 h 17945100"/>
                  <a:gd name="connsiteX19" fmla="*/ 3848100 w 7734300"/>
                  <a:gd name="connsiteY19" fmla="*/ 5219700 h 17945100"/>
                  <a:gd name="connsiteX20" fmla="*/ 3924300 w 7734300"/>
                  <a:gd name="connsiteY20" fmla="*/ 7048500 h 17945100"/>
                  <a:gd name="connsiteX21" fmla="*/ 3924300 w 7734300"/>
                  <a:gd name="connsiteY21" fmla="*/ 9029700 h 17945100"/>
                  <a:gd name="connsiteX22" fmla="*/ 3810000 w 7734300"/>
                  <a:gd name="connsiteY22" fmla="*/ 10401300 h 17945100"/>
                  <a:gd name="connsiteX23" fmla="*/ 3962400 w 7734300"/>
                  <a:gd name="connsiteY23" fmla="*/ 11125200 h 17945100"/>
                  <a:gd name="connsiteX24" fmla="*/ 4152900 w 7734300"/>
                  <a:gd name="connsiteY24" fmla="*/ 12877800 h 17945100"/>
                  <a:gd name="connsiteX25" fmla="*/ 4229100 w 7734300"/>
                  <a:gd name="connsiteY25" fmla="*/ 13792200 h 17945100"/>
                  <a:gd name="connsiteX26" fmla="*/ 5257800 w 7734300"/>
                  <a:gd name="connsiteY26" fmla="*/ 17868900 h 17945100"/>
                  <a:gd name="connsiteX27" fmla="*/ 6248400 w 7734300"/>
                  <a:gd name="connsiteY27" fmla="*/ 17945100 h 17945100"/>
                  <a:gd name="connsiteX28" fmla="*/ 7734300 w 7734300"/>
                  <a:gd name="connsiteY28" fmla="*/ 17297400 h 17945100"/>
                  <a:gd name="connsiteX29" fmla="*/ 6858000 w 7734300"/>
                  <a:gd name="connsiteY29" fmla="*/ 13563600 h 17945100"/>
                  <a:gd name="connsiteX30" fmla="*/ 6858000 w 7734300"/>
                  <a:gd name="connsiteY30" fmla="*/ 11315700 h 17945100"/>
                  <a:gd name="connsiteX31" fmla="*/ 6705600 w 7734300"/>
                  <a:gd name="connsiteY31" fmla="*/ 8877300 h 17945100"/>
                  <a:gd name="connsiteX32" fmla="*/ 6934200 w 7734300"/>
                  <a:gd name="connsiteY32" fmla="*/ 5143500 h 17945100"/>
                  <a:gd name="connsiteX33" fmla="*/ 7124700 w 7734300"/>
                  <a:gd name="connsiteY33" fmla="*/ 4114800 h 17945100"/>
                  <a:gd name="connsiteX34" fmla="*/ 7200900 w 7734300"/>
                  <a:gd name="connsiteY34" fmla="*/ 2781300 h 17945100"/>
                  <a:gd name="connsiteX35" fmla="*/ 7162800 w 7734300"/>
                  <a:gd name="connsiteY35" fmla="*/ 2095500 h 17945100"/>
                  <a:gd name="connsiteX36" fmla="*/ 6096000 w 7734300"/>
                  <a:gd name="connsiteY36" fmla="*/ 2171700 h 17945100"/>
                  <a:gd name="connsiteX37" fmla="*/ 4495800 w 7734300"/>
                  <a:gd name="connsiteY37" fmla="*/ 2247900 h 17945100"/>
                  <a:gd name="connsiteX38" fmla="*/ 3962400 w 7734300"/>
                  <a:gd name="connsiteY38" fmla="*/ 2209800 h 17945100"/>
                  <a:gd name="connsiteX39" fmla="*/ 3429000 w 7734300"/>
                  <a:gd name="connsiteY39" fmla="*/ 1828800 h 17945100"/>
                  <a:gd name="connsiteX40" fmla="*/ 3276600 w 7734300"/>
                  <a:gd name="connsiteY40" fmla="*/ 1295400 h 17945100"/>
                  <a:gd name="connsiteX41" fmla="*/ 3162300 w 7734300"/>
                  <a:gd name="connsiteY41" fmla="*/ 0 h 17945100"/>
                  <a:gd name="connsiteX42" fmla="*/ 2819400 w 7734300"/>
                  <a:gd name="connsiteY42" fmla="*/ 76200 h 17945100"/>
                  <a:gd name="connsiteX43" fmla="*/ 2324100 w 7734300"/>
                  <a:gd name="connsiteY43" fmla="*/ 1562100 h 17945100"/>
                  <a:gd name="connsiteX44" fmla="*/ 2095500 w 7734300"/>
                  <a:gd name="connsiteY44" fmla="*/ 1790700 h 17945100"/>
                  <a:gd name="connsiteX45" fmla="*/ 1714500 w 7734300"/>
                  <a:gd name="connsiteY45" fmla="*/ 2095500 h 17945100"/>
                  <a:gd name="connsiteX46" fmla="*/ 1104900 w 7734300"/>
                  <a:gd name="connsiteY46" fmla="*/ 1981200 h 17945100"/>
                  <a:gd name="connsiteX47" fmla="*/ 419100 w 7734300"/>
                  <a:gd name="connsiteY47" fmla="*/ 1790700 h 17945100"/>
                  <a:gd name="connsiteX48" fmla="*/ 419100 w 7734300"/>
                  <a:gd name="connsiteY48" fmla="*/ 1790700 h 17945100"/>
                  <a:gd name="connsiteX0" fmla="*/ 457200 w 7734300"/>
                  <a:gd name="connsiteY0" fmla="*/ 1752600 h 17945100"/>
                  <a:gd name="connsiteX1" fmla="*/ 190500 w 7734300"/>
                  <a:gd name="connsiteY1" fmla="*/ 2133600 h 17945100"/>
                  <a:gd name="connsiteX2" fmla="*/ 266700 w 7734300"/>
                  <a:gd name="connsiteY2" fmla="*/ 2514600 h 17945100"/>
                  <a:gd name="connsiteX3" fmla="*/ 495300 w 7734300"/>
                  <a:gd name="connsiteY3" fmla="*/ 2705100 h 17945100"/>
                  <a:gd name="connsiteX4" fmla="*/ 457200 w 7734300"/>
                  <a:gd name="connsiteY4" fmla="*/ 3962400 h 17945100"/>
                  <a:gd name="connsiteX5" fmla="*/ 190500 w 7734300"/>
                  <a:gd name="connsiteY5" fmla="*/ 6819900 h 17945100"/>
                  <a:gd name="connsiteX6" fmla="*/ 0 w 7734300"/>
                  <a:gd name="connsiteY6" fmla="*/ 9144000 h 17945100"/>
                  <a:gd name="connsiteX7" fmla="*/ 76200 w 7734300"/>
                  <a:gd name="connsiteY7" fmla="*/ 10058400 h 17945100"/>
                  <a:gd name="connsiteX8" fmla="*/ 228600 w 7734300"/>
                  <a:gd name="connsiteY8" fmla="*/ 10629900 h 17945100"/>
                  <a:gd name="connsiteX9" fmla="*/ 838200 w 7734300"/>
                  <a:gd name="connsiteY9" fmla="*/ 13258800 h 17945100"/>
                  <a:gd name="connsiteX10" fmla="*/ 1756229 w 7734300"/>
                  <a:gd name="connsiteY10" fmla="*/ 16109043 h 17945100"/>
                  <a:gd name="connsiteX11" fmla="*/ 3278414 w 7734300"/>
                  <a:gd name="connsiteY11" fmla="*/ 16099972 h 17945100"/>
                  <a:gd name="connsiteX12" fmla="*/ 4267200 w 7734300"/>
                  <a:gd name="connsiteY12" fmla="*/ 15735300 h 17945100"/>
                  <a:gd name="connsiteX13" fmla="*/ 2933700 w 7734300"/>
                  <a:gd name="connsiteY13" fmla="*/ 10363200 h 17945100"/>
                  <a:gd name="connsiteX14" fmla="*/ 2819400 w 7734300"/>
                  <a:gd name="connsiteY14" fmla="*/ 9601200 h 17945100"/>
                  <a:gd name="connsiteX15" fmla="*/ 2819400 w 7734300"/>
                  <a:gd name="connsiteY15" fmla="*/ 9220200 h 17945100"/>
                  <a:gd name="connsiteX16" fmla="*/ 2857500 w 7734300"/>
                  <a:gd name="connsiteY16" fmla="*/ 8801100 h 17945100"/>
                  <a:gd name="connsiteX17" fmla="*/ 2857500 w 7734300"/>
                  <a:gd name="connsiteY17" fmla="*/ 7772400 h 17945100"/>
                  <a:gd name="connsiteX18" fmla="*/ 3619500 w 7734300"/>
                  <a:gd name="connsiteY18" fmla="*/ 4114800 h 17945100"/>
                  <a:gd name="connsiteX19" fmla="*/ 3848100 w 7734300"/>
                  <a:gd name="connsiteY19" fmla="*/ 5219700 h 17945100"/>
                  <a:gd name="connsiteX20" fmla="*/ 3924300 w 7734300"/>
                  <a:gd name="connsiteY20" fmla="*/ 7048500 h 17945100"/>
                  <a:gd name="connsiteX21" fmla="*/ 3924300 w 7734300"/>
                  <a:gd name="connsiteY21" fmla="*/ 9029700 h 17945100"/>
                  <a:gd name="connsiteX22" fmla="*/ 3810000 w 7734300"/>
                  <a:gd name="connsiteY22" fmla="*/ 10401300 h 17945100"/>
                  <a:gd name="connsiteX23" fmla="*/ 3962400 w 7734300"/>
                  <a:gd name="connsiteY23" fmla="*/ 11125200 h 17945100"/>
                  <a:gd name="connsiteX24" fmla="*/ 4152900 w 7734300"/>
                  <a:gd name="connsiteY24" fmla="*/ 12877800 h 17945100"/>
                  <a:gd name="connsiteX25" fmla="*/ 4229100 w 7734300"/>
                  <a:gd name="connsiteY25" fmla="*/ 13792200 h 17945100"/>
                  <a:gd name="connsiteX26" fmla="*/ 5257800 w 7734300"/>
                  <a:gd name="connsiteY26" fmla="*/ 17868900 h 17945100"/>
                  <a:gd name="connsiteX27" fmla="*/ 6248400 w 7734300"/>
                  <a:gd name="connsiteY27" fmla="*/ 17945100 h 17945100"/>
                  <a:gd name="connsiteX28" fmla="*/ 7734300 w 7734300"/>
                  <a:gd name="connsiteY28" fmla="*/ 17297400 h 17945100"/>
                  <a:gd name="connsiteX29" fmla="*/ 6858000 w 7734300"/>
                  <a:gd name="connsiteY29" fmla="*/ 13563600 h 17945100"/>
                  <a:gd name="connsiteX30" fmla="*/ 6705600 w 7734300"/>
                  <a:gd name="connsiteY30" fmla="*/ 11277600 h 17945100"/>
                  <a:gd name="connsiteX31" fmla="*/ 6705600 w 7734300"/>
                  <a:gd name="connsiteY31" fmla="*/ 8877300 h 17945100"/>
                  <a:gd name="connsiteX32" fmla="*/ 6934200 w 7734300"/>
                  <a:gd name="connsiteY32" fmla="*/ 5143500 h 17945100"/>
                  <a:gd name="connsiteX33" fmla="*/ 7124700 w 7734300"/>
                  <a:gd name="connsiteY33" fmla="*/ 4114800 h 17945100"/>
                  <a:gd name="connsiteX34" fmla="*/ 7200900 w 7734300"/>
                  <a:gd name="connsiteY34" fmla="*/ 2781300 h 17945100"/>
                  <a:gd name="connsiteX35" fmla="*/ 7162800 w 7734300"/>
                  <a:gd name="connsiteY35" fmla="*/ 2095500 h 17945100"/>
                  <a:gd name="connsiteX36" fmla="*/ 6096000 w 7734300"/>
                  <a:gd name="connsiteY36" fmla="*/ 2171700 h 17945100"/>
                  <a:gd name="connsiteX37" fmla="*/ 4495800 w 7734300"/>
                  <a:gd name="connsiteY37" fmla="*/ 2247900 h 17945100"/>
                  <a:gd name="connsiteX38" fmla="*/ 3962400 w 7734300"/>
                  <a:gd name="connsiteY38" fmla="*/ 2209800 h 17945100"/>
                  <a:gd name="connsiteX39" fmla="*/ 3429000 w 7734300"/>
                  <a:gd name="connsiteY39" fmla="*/ 1828800 h 17945100"/>
                  <a:gd name="connsiteX40" fmla="*/ 3276600 w 7734300"/>
                  <a:gd name="connsiteY40" fmla="*/ 1295400 h 17945100"/>
                  <a:gd name="connsiteX41" fmla="*/ 3162300 w 7734300"/>
                  <a:gd name="connsiteY41" fmla="*/ 0 h 17945100"/>
                  <a:gd name="connsiteX42" fmla="*/ 2819400 w 7734300"/>
                  <a:gd name="connsiteY42" fmla="*/ 76200 h 17945100"/>
                  <a:gd name="connsiteX43" fmla="*/ 2324100 w 7734300"/>
                  <a:gd name="connsiteY43" fmla="*/ 1562100 h 17945100"/>
                  <a:gd name="connsiteX44" fmla="*/ 2095500 w 7734300"/>
                  <a:gd name="connsiteY44" fmla="*/ 1790700 h 17945100"/>
                  <a:gd name="connsiteX45" fmla="*/ 1714500 w 7734300"/>
                  <a:gd name="connsiteY45" fmla="*/ 2095500 h 17945100"/>
                  <a:gd name="connsiteX46" fmla="*/ 1104900 w 7734300"/>
                  <a:gd name="connsiteY46" fmla="*/ 1981200 h 17945100"/>
                  <a:gd name="connsiteX47" fmla="*/ 419100 w 7734300"/>
                  <a:gd name="connsiteY47" fmla="*/ 1790700 h 17945100"/>
                  <a:gd name="connsiteX48" fmla="*/ 419100 w 7734300"/>
                  <a:gd name="connsiteY48" fmla="*/ 1790700 h 17945100"/>
                  <a:gd name="connsiteX0" fmla="*/ 457200 w 7734300"/>
                  <a:gd name="connsiteY0" fmla="*/ 1752600 h 17945100"/>
                  <a:gd name="connsiteX1" fmla="*/ 190500 w 7734300"/>
                  <a:gd name="connsiteY1" fmla="*/ 2133600 h 17945100"/>
                  <a:gd name="connsiteX2" fmla="*/ 266700 w 7734300"/>
                  <a:gd name="connsiteY2" fmla="*/ 2514600 h 17945100"/>
                  <a:gd name="connsiteX3" fmla="*/ 495300 w 7734300"/>
                  <a:gd name="connsiteY3" fmla="*/ 2705100 h 17945100"/>
                  <a:gd name="connsiteX4" fmla="*/ 457200 w 7734300"/>
                  <a:gd name="connsiteY4" fmla="*/ 3962400 h 17945100"/>
                  <a:gd name="connsiteX5" fmla="*/ 190500 w 7734300"/>
                  <a:gd name="connsiteY5" fmla="*/ 6819900 h 17945100"/>
                  <a:gd name="connsiteX6" fmla="*/ 0 w 7734300"/>
                  <a:gd name="connsiteY6" fmla="*/ 9144000 h 17945100"/>
                  <a:gd name="connsiteX7" fmla="*/ 76200 w 7734300"/>
                  <a:gd name="connsiteY7" fmla="*/ 10058400 h 17945100"/>
                  <a:gd name="connsiteX8" fmla="*/ 228600 w 7734300"/>
                  <a:gd name="connsiteY8" fmla="*/ 10629900 h 17945100"/>
                  <a:gd name="connsiteX9" fmla="*/ 838200 w 7734300"/>
                  <a:gd name="connsiteY9" fmla="*/ 13258800 h 17945100"/>
                  <a:gd name="connsiteX10" fmla="*/ 1756229 w 7734300"/>
                  <a:gd name="connsiteY10" fmla="*/ 16109043 h 17945100"/>
                  <a:gd name="connsiteX11" fmla="*/ 3278414 w 7734300"/>
                  <a:gd name="connsiteY11" fmla="*/ 16099972 h 17945100"/>
                  <a:gd name="connsiteX12" fmla="*/ 4267200 w 7734300"/>
                  <a:gd name="connsiteY12" fmla="*/ 15735300 h 17945100"/>
                  <a:gd name="connsiteX13" fmla="*/ 2933700 w 7734300"/>
                  <a:gd name="connsiteY13" fmla="*/ 10363200 h 17945100"/>
                  <a:gd name="connsiteX14" fmla="*/ 2819400 w 7734300"/>
                  <a:gd name="connsiteY14" fmla="*/ 9601200 h 17945100"/>
                  <a:gd name="connsiteX15" fmla="*/ 2819400 w 7734300"/>
                  <a:gd name="connsiteY15" fmla="*/ 9220200 h 17945100"/>
                  <a:gd name="connsiteX16" fmla="*/ 2857500 w 7734300"/>
                  <a:gd name="connsiteY16" fmla="*/ 8801100 h 17945100"/>
                  <a:gd name="connsiteX17" fmla="*/ 2857500 w 7734300"/>
                  <a:gd name="connsiteY17" fmla="*/ 7772400 h 17945100"/>
                  <a:gd name="connsiteX18" fmla="*/ 3619500 w 7734300"/>
                  <a:gd name="connsiteY18" fmla="*/ 4114800 h 17945100"/>
                  <a:gd name="connsiteX19" fmla="*/ 3848100 w 7734300"/>
                  <a:gd name="connsiteY19" fmla="*/ 5219700 h 17945100"/>
                  <a:gd name="connsiteX20" fmla="*/ 3924300 w 7734300"/>
                  <a:gd name="connsiteY20" fmla="*/ 7048500 h 17945100"/>
                  <a:gd name="connsiteX21" fmla="*/ 3924300 w 7734300"/>
                  <a:gd name="connsiteY21" fmla="*/ 9029700 h 17945100"/>
                  <a:gd name="connsiteX22" fmla="*/ 3810000 w 7734300"/>
                  <a:gd name="connsiteY22" fmla="*/ 10401300 h 17945100"/>
                  <a:gd name="connsiteX23" fmla="*/ 3962400 w 7734300"/>
                  <a:gd name="connsiteY23" fmla="*/ 11125200 h 17945100"/>
                  <a:gd name="connsiteX24" fmla="*/ 4152900 w 7734300"/>
                  <a:gd name="connsiteY24" fmla="*/ 12877800 h 17945100"/>
                  <a:gd name="connsiteX25" fmla="*/ 4305300 w 7734300"/>
                  <a:gd name="connsiteY25" fmla="*/ 13906500 h 17945100"/>
                  <a:gd name="connsiteX26" fmla="*/ 5257800 w 7734300"/>
                  <a:gd name="connsiteY26" fmla="*/ 17868900 h 17945100"/>
                  <a:gd name="connsiteX27" fmla="*/ 6248400 w 7734300"/>
                  <a:gd name="connsiteY27" fmla="*/ 17945100 h 17945100"/>
                  <a:gd name="connsiteX28" fmla="*/ 7734300 w 7734300"/>
                  <a:gd name="connsiteY28" fmla="*/ 17297400 h 17945100"/>
                  <a:gd name="connsiteX29" fmla="*/ 6858000 w 7734300"/>
                  <a:gd name="connsiteY29" fmla="*/ 13563600 h 17945100"/>
                  <a:gd name="connsiteX30" fmla="*/ 6705600 w 7734300"/>
                  <a:gd name="connsiteY30" fmla="*/ 11277600 h 17945100"/>
                  <a:gd name="connsiteX31" fmla="*/ 6705600 w 7734300"/>
                  <a:gd name="connsiteY31" fmla="*/ 8877300 h 17945100"/>
                  <a:gd name="connsiteX32" fmla="*/ 6934200 w 7734300"/>
                  <a:gd name="connsiteY32" fmla="*/ 5143500 h 17945100"/>
                  <a:gd name="connsiteX33" fmla="*/ 7124700 w 7734300"/>
                  <a:gd name="connsiteY33" fmla="*/ 4114800 h 17945100"/>
                  <a:gd name="connsiteX34" fmla="*/ 7200900 w 7734300"/>
                  <a:gd name="connsiteY34" fmla="*/ 2781300 h 17945100"/>
                  <a:gd name="connsiteX35" fmla="*/ 7162800 w 7734300"/>
                  <a:gd name="connsiteY35" fmla="*/ 2095500 h 17945100"/>
                  <a:gd name="connsiteX36" fmla="*/ 6096000 w 7734300"/>
                  <a:gd name="connsiteY36" fmla="*/ 2171700 h 17945100"/>
                  <a:gd name="connsiteX37" fmla="*/ 4495800 w 7734300"/>
                  <a:gd name="connsiteY37" fmla="*/ 2247900 h 17945100"/>
                  <a:gd name="connsiteX38" fmla="*/ 3962400 w 7734300"/>
                  <a:gd name="connsiteY38" fmla="*/ 2209800 h 17945100"/>
                  <a:gd name="connsiteX39" fmla="*/ 3429000 w 7734300"/>
                  <a:gd name="connsiteY39" fmla="*/ 1828800 h 17945100"/>
                  <a:gd name="connsiteX40" fmla="*/ 3276600 w 7734300"/>
                  <a:gd name="connsiteY40" fmla="*/ 1295400 h 17945100"/>
                  <a:gd name="connsiteX41" fmla="*/ 3162300 w 7734300"/>
                  <a:gd name="connsiteY41" fmla="*/ 0 h 17945100"/>
                  <a:gd name="connsiteX42" fmla="*/ 2819400 w 7734300"/>
                  <a:gd name="connsiteY42" fmla="*/ 76200 h 17945100"/>
                  <a:gd name="connsiteX43" fmla="*/ 2324100 w 7734300"/>
                  <a:gd name="connsiteY43" fmla="*/ 1562100 h 17945100"/>
                  <a:gd name="connsiteX44" fmla="*/ 2095500 w 7734300"/>
                  <a:gd name="connsiteY44" fmla="*/ 1790700 h 17945100"/>
                  <a:gd name="connsiteX45" fmla="*/ 1714500 w 7734300"/>
                  <a:gd name="connsiteY45" fmla="*/ 2095500 h 17945100"/>
                  <a:gd name="connsiteX46" fmla="*/ 1104900 w 7734300"/>
                  <a:gd name="connsiteY46" fmla="*/ 1981200 h 17945100"/>
                  <a:gd name="connsiteX47" fmla="*/ 419100 w 7734300"/>
                  <a:gd name="connsiteY47" fmla="*/ 1790700 h 17945100"/>
                  <a:gd name="connsiteX48" fmla="*/ 419100 w 7734300"/>
                  <a:gd name="connsiteY48" fmla="*/ 1790700 h 17945100"/>
                  <a:gd name="connsiteX0" fmla="*/ 529771 w 7806871"/>
                  <a:gd name="connsiteY0" fmla="*/ 1752600 h 17945100"/>
                  <a:gd name="connsiteX1" fmla="*/ 263071 w 7806871"/>
                  <a:gd name="connsiteY1" fmla="*/ 2133600 h 17945100"/>
                  <a:gd name="connsiteX2" fmla="*/ 339271 w 7806871"/>
                  <a:gd name="connsiteY2" fmla="*/ 2514600 h 17945100"/>
                  <a:gd name="connsiteX3" fmla="*/ 567871 w 7806871"/>
                  <a:gd name="connsiteY3" fmla="*/ 2705100 h 17945100"/>
                  <a:gd name="connsiteX4" fmla="*/ 529771 w 7806871"/>
                  <a:gd name="connsiteY4" fmla="*/ 3962400 h 17945100"/>
                  <a:gd name="connsiteX5" fmla="*/ 263071 w 7806871"/>
                  <a:gd name="connsiteY5" fmla="*/ 6819900 h 17945100"/>
                  <a:gd name="connsiteX6" fmla="*/ 72571 w 7806871"/>
                  <a:gd name="connsiteY6" fmla="*/ 9144000 h 17945100"/>
                  <a:gd name="connsiteX7" fmla="*/ 148771 w 7806871"/>
                  <a:gd name="connsiteY7" fmla="*/ 10058400 h 17945100"/>
                  <a:gd name="connsiteX8" fmla="*/ 301171 w 7806871"/>
                  <a:gd name="connsiteY8" fmla="*/ 10629900 h 17945100"/>
                  <a:gd name="connsiteX9" fmla="*/ 910771 w 7806871"/>
                  <a:gd name="connsiteY9" fmla="*/ 13258800 h 17945100"/>
                  <a:gd name="connsiteX10" fmla="*/ 0 w 7806871"/>
                  <a:gd name="connsiteY10" fmla="*/ 16718644 h 17945100"/>
                  <a:gd name="connsiteX11" fmla="*/ 3350985 w 7806871"/>
                  <a:gd name="connsiteY11" fmla="*/ 16099972 h 17945100"/>
                  <a:gd name="connsiteX12" fmla="*/ 4339771 w 7806871"/>
                  <a:gd name="connsiteY12" fmla="*/ 15735300 h 17945100"/>
                  <a:gd name="connsiteX13" fmla="*/ 3006271 w 7806871"/>
                  <a:gd name="connsiteY13" fmla="*/ 10363200 h 17945100"/>
                  <a:gd name="connsiteX14" fmla="*/ 2891971 w 7806871"/>
                  <a:gd name="connsiteY14" fmla="*/ 9601200 h 17945100"/>
                  <a:gd name="connsiteX15" fmla="*/ 2891971 w 7806871"/>
                  <a:gd name="connsiteY15" fmla="*/ 9220200 h 17945100"/>
                  <a:gd name="connsiteX16" fmla="*/ 2930071 w 7806871"/>
                  <a:gd name="connsiteY16" fmla="*/ 8801100 h 17945100"/>
                  <a:gd name="connsiteX17" fmla="*/ 2930071 w 7806871"/>
                  <a:gd name="connsiteY17" fmla="*/ 7772400 h 17945100"/>
                  <a:gd name="connsiteX18" fmla="*/ 3692071 w 7806871"/>
                  <a:gd name="connsiteY18" fmla="*/ 4114800 h 17945100"/>
                  <a:gd name="connsiteX19" fmla="*/ 3920671 w 7806871"/>
                  <a:gd name="connsiteY19" fmla="*/ 5219700 h 17945100"/>
                  <a:gd name="connsiteX20" fmla="*/ 3996871 w 7806871"/>
                  <a:gd name="connsiteY20" fmla="*/ 7048500 h 17945100"/>
                  <a:gd name="connsiteX21" fmla="*/ 3996871 w 7806871"/>
                  <a:gd name="connsiteY21" fmla="*/ 9029700 h 17945100"/>
                  <a:gd name="connsiteX22" fmla="*/ 3882571 w 7806871"/>
                  <a:gd name="connsiteY22" fmla="*/ 10401300 h 17945100"/>
                  <a:gd name="connsiteX23" fmla="*/ 4034971 w 7806871"/>
                  <a:gd name="connsiteY23" fmla="*/ 11125200 h 17945100"/>
                  <a:gd name="connsiteX24" fmla="*/ 4225471 w 7806871"/>
                  <a:gd name="connsiteY24" fmla="*/ 12877800 h 17945100"/>
                  <a:gd name="connsiteX25" fmla="*/ 4377871 w 7806871"/>
                  <a:gd name="connsiteY25" fmla="*/ 13906500 h 17945100"/>
                  <a:gd name="connsiteX26" fmla="*/ 5330371 w 7806871"/>
                  <a:gd name="connsiteY26" fmla="*/ 17868900 h 17945100"/>
                  <a:gd name="connsiteX27" fmla="*/ 6320971 w 7806871"/>
                  <a:gd name="connsiteY27" fmla="*/ 17945100 h 17945100"/>
                  <a:gd name="connsiteX28" fmla="*/ 7806871 w 7806871"/>
                  <a:gd name="connsiteY28" fmla="*/ 17297400 h 17945100"/>
                  <a:gd name="connsiteX29" fmla="*/ 6930571 w 7806871"/>
                  <a:gd name="connsiteY29" fmla="*/ 13563600 h 17945100"/>
                  <a:gd name="connsiteX30" fmla="*/ 6778171 w 7806871"/>
                  <a:gd name="connsiteY30" fmla="*/ 11277600 h 17945100"/>
                  <a:gd name="connsiteX31" fmla="*/ 6778171 w 7806871"/>
                  <a:gd name="connsiteY31" fmla="*/ 8877300 h 17945100"/>
                  <a:gd name="connsiteX32" fmla="*/ 7006771 w 7806871"/>
                  <a:gd name="connsiteY32" fmla="*/ 5143500 h 17945100"/>
                  <a:gd name="connsiteX33" fmla="*/ 7197271 w 7806871"/>
                  <a:gd name="connsiteY33" fmla="*/ 4114800 h 17945100"/>
                  <a:gd name="connsiteX34" fmla="*/ 7273471 w 7806871"/>
                  <a:gd name="connsiteY34" fmla="*/ 2781300 h 17945100"/>
                  <a:gd name="connsiteX35" fmla="*/ 7235371 w 7806871"/>
                  <a:gd name="connsiteY35" fmla="*/ 2095500 h 17945100"/>
                  <a:gd name="connsiteX36" fmla="*/ 6168571 w 7806871"/>
                  <a:gd name="connsiteY36" fmla="*/ 2171700 h 17945100"/>
                  <a:gd name="connsiteX37" fmla="*/ 4568371 w 7806871"/>
                  <a:gd name="connsiteY37" fmla="*/ 2247900 h 17945100"/>
                  <a:gd name="connsiteX38" fmla="*/ 4034971 w 7806871"/>
                  <a:gd name="connsiteY38" fmla="*/ 2209800 h 17945100"/>
                  <a:gd name="connsiteX39" fmla="*/ 3501571 w 7806871"/>
                  <a:gd name="connsiteY39" fmla="*/ 1828800 h 17945100"/>
                  <a:gd name="connsiteX40" fmla="*/ 3349171 w 7806871"/>
                  <a:gd name="connsiteY40" fmla="*/ 1295400 h 17945100"/>
                  <a:gd name="connsiteX41" fmla="*/ 3234871 w 7806871"/>
                  <a:gd name="connsiteY41" fmla="*/ 0 h 17945100"/>
                  <a:gd name="connsiteX42" fmla="*/ 2891971 w 7806871"/>
                  <a:gd name="connsiteY42" fmla="*/ 76200 h 17945100"/>
                  <a:gd name="connsiteX43" fmla="*/ 2396671 w 7806871"/>
                  <a:gd name="connsiteY43" fmla="*/ 1562100 h 17945100"/>
                  <a:gd name="connsiteX44" fmla="*/ 2168071 w 7806871"/>
                  <a:gd name="connsiteY44" fmla="*/ 1790700 h 17945100"/>
                  <a:gd name="connsiteX45" fmla="*/ 1787071 w 7806871"/>
                  <a:gd name="connsiteY45" fmla="*/ 2095500 h 17945100"/>
                  <a:gd name="connsiteX46" fmla="*/ 1177471 w 7806871"/>
                  <a:gd name="connsiteY46" fmla="*/ 1981200 h 17945100"/>
                  <a:gd name="connsiteX47" fmla="*/ 491671 w 7806871"/>
                  <a:gd name="connsiteY47" fmla="*/ 1790700 h 17945100"/>
                  <a:gd name="connsiteX48" fmla="*/ 491671 w 7806871"/>
                  <a:gd name="connsiteY48" fmla="*/ 1790700 h 17945100"/>
                  <a:gd name="connsiteX0" fmla="*/ 529771 w 7806871"/>
                  <a:gd name="connsiteY0" fmla="*/ 1752600 h 17945100"/>
                  <a:gd name="connsiteX1" fmla="*/ 263071 w 7806871"/>
                  <a:gd name="connsiteY1" fmla="*/ 2133600 h 17945100"/>
                  <a:gd name="connsiteX2" fmla="*/ 339271 w 7806871"/>
                  <a:gd name="connsiteY2" fmla="*/ 2514600 h 17945100"/>
                  <a:gd name="connsiteX3" fmla="*/ 567871 w 7806871"/>
                  <a:gd name="connsiteY3" fmla="*/ 2705100 h 17945100"/>
                  <a:gd name="connsiteX4" fmla="*/ 529771 w 7806871"/>
                  <a:gd name="connsiteY4" fmla="*/ 3962400 h 17945100"/>
                  <a:gd name="connsiteX5" fmla="*/ 263071 w 7806871"/>
                  <a:gd name="connsiteY5" fmla="*/ 6819900 h 17945100"/>
                  <a:gd name="connsiteX6" fmla="*/ 72571 w 7806871"/>
                  <a:gd name="connsiteY6" fmla="*/ 9144000 h 17945100"/>
                  <a:gd name="connsiteX7" fmla="*/ 148771 w 7806871"/>
                  <a:gd name="connsiteY7" fmla="*/ 10058400 h 17945100"/>
                  <a:gd name="connsiteX8" fmla="*/ 301171 w 7806871"/>
                  <a:gd name="connsiteY8" fmla="*/ 10629900 h 17945100"/>
                  <a:gd name="connsiteX9" fmla="*/ 72571 w 7806871"/>
                  <a:gd name="connsiteY9" fmla="*/ 13258800 h 17945100"/>
                  <a:gd name="connsiteX10" fmla="*/ 0 w 7806871"/>
                  <a:gd name="connsiteY10" fmla="*/ 16718644 h 17945100"/>
                  <a:gd name="connsiteX11" fmla="*/ 3350985 w 7806871"/>
                  <a:gd name="connsiteY11" fmla="*/ 16099972 h 17945100"/>
                  <a:gd name="connsiteX12" fmla="*/ 4339771 w 7806871"/>
                  <a:gd name="connsiteY12" fmla="*/ 15735300 h 17945100"/>
                  <a:gd name="connsiteX13" fmla="*/ 3006271 w 7806871"/>
                  <a:gd name="connsiteY13" fmla="*/ 10363200 h 17945100"/>
                  <a:gd name="connsiteX14" fmla="*/ 2891971 w 7806871"/>
                  <a:gd name="connsiteY14" fmla="*/ 9601200 h 17945100"/>
                  <a:gd name="connsiteX15" fmla="*/ 2891971 w 7806871"/>
                  <a:gd name="connsiteY15" fmla="*/ 9220200 h 17945100"/>
                  <a:gd name="connsiteX16" fmla="*/ 2930071 w 7806871"/>
                  <a:gd name="connsiteY16" fmla="*/ 8801100 h 17945100"/>
                  <a:gd name="connsiteX17" fmla="*/ 2930071 w 7806871"/>
                  <a:gd name="connsiteY17" fmla="*/ 7772400 h 17945100"/>
                  <a:gd name="connsiteX18" fmla="*/ 3692071 w 7806871"/>
                  <a:gd name="connsiteY18" fmla="*/ 4114800 h 17945100"/>
                  <a:gd name="connsiteX19" fmla="*/ 3920671 w 7806871"/>
                  <a:gd name="connsiteY19" fmla="*/ 5219700 h 17945100"/>
                  <a:gd name="connsiteX20" fmla="*/ 3996871 w 7806871"/>
                  <a:gd name="connsiteY20" fmla="*/ 7048500 h 17945100"/>
                  <a:gd name="connsiteX21" fmla="*/ 3996871 w 7806871"/>
                  <a:gd name="connsiteY21" fmla="*/ 9029700 h 17945100"/>
                  <a:gd name="connsiteX22" fmla="*/ 3882571 w 7806871"/>
                  <a:gd name="connsiteY22" fmla="*/ 10401300 h 17945100"/>
                  <a:gd name="connsiteX23" fmla="*/ 4034971 w 7806871"/>
                  <a:gd name="connsiteY23" fmla="*/ 11125200 h 17945100"/>
                  <a:gd name="connsiteX24" fmla="*/ 4225471 w 7806871"/>
                  <a:gd name="connsiteY24" fmla="*/ 12877800 h 17945100"/>
                  <a:gd name="connsiteX25" fmla="*/ 4377871 w 7806871"/>
                  <a:gd name="connsiteY25" fmla="*/ 13906500 h 17945100"/>
                  <a:gd name="connsiteX26" fmla="*/ 5330371 w 7806871"/>
                  <a:gd name="connsiteY26" fmla="*/ 17868900 h 17945100"/>
                  <a:gd name="connsiteX27" fmla="*/ 6320971 w 7806871"/>
                  <a:gd name="connsiteY27" fmla="*/ 17945100 h 17945100"/>
                  <a:gd name="connsiteX28" fmla="*/ 7806871 w 7806871"/>
                  <a:gd name="connsiteY28" fmla="*/ 17297400 h 17945100"/>
                  <a:gd name="connsiteX29" fmla="*/ 6930571 w 7806871"/>
                  <a:gd name="connsiteY29" fmla="*/ 13563600 h 17945100"/>
                  <a:gd name="connsiteX30" fmla="*/ 6778171 w 7806871"/>
                  <a:gd name="connsiteY30" fmla="*/ 11277600 h 17945100"/>
                  <a:gd name="connsiteX31" fmla="*/ 6778171 w 7806871"/>
                  <a:gd name="connsiteY31" fmla="*/ 8877300 h 17945100"/>
                  <a:gd name="connsiteX32" fmla="*/ 7006771 w 7806871"/>
                  <a:gd name="connsiteY32" fmla="*/ 5143500 h 17945100"/>
                  <a:gd name="connsiteX33" fmla="*/ 7197271 w 7806871"/>
                  <a:gd name="connsiteY33" fmla="*/ 4114800 h 17945100"/>
                  <a:gd name="connsiteX34" fmla="*/ 7273471 w 7806871"/>
                  <a:gd name="connsiteY34" fmla="*/ 2781300 h 17945100"/>
                  <a:gd name="connsiteX35" fmla="*/ 7235371 w 7806871"/>
                  <a:gd name="connsiteY35" fmla="*/ 2095500 h 17945100"/>
                  <a:gd name="connsiteX36" fmla="*/ 6168571 w 7806871"/>
                  <a:gd name="connsiteY36" fmla="*/ 2171700 h 17945100"/>
                  <a:gd name="connsiteX37" fmla="*/ 4568371 w 7806871"/>
                  <a:gd name="connsiteY37" fmla="*/ 2247900 h 17945100"/>
                  <a:gd name="connsiteX38" fmla="*/ 4034971 w 7806871"/>
                  <a:gd name="connsiteY38" fmla="*/ 2209800 h 17945100"/>
                  <a:gd name="connsiteX39" fmla="*/ 3501571 w 7806871"/>
                  <a:gd name="connsiteY39" fmla="*/ 1828800 h 17945100"/>
                  <a:gd name="connsiteX40" fmla="*/ 3349171 w 7806871"/>
                  <a:gd name="connsiteY40" fmla="*/ 1295400 h 17945100"/>
                  <a:gd name="connsiteX41" fmla="*/ 3234871 w 7806871"/>
                  <a:gd name="connsiteY41" fmla="*/ 0 h 17945100"/>
                  <a:gd name="connsiteX42" fmla="*/ 2891971 w 7806871"/>
                  <a:gd name="connsiteY42" fmla="*/ 76200 h 17945100"/>
                  <a:gd name="connsiteX43" fmla="*/ 2396671 w 7806871"/>
                  <a:gd name="connsiteY43" fmla="*/ 1562100 h 17945100"/>
                  <a:gd name="connsiteX44" fmla="*/ 2168071 w 7806871"/>
                  <a:gd name="connsiteY44" fmla="*/ 1790700 h 17945100"/>
                  <a:gd name="connsiteX45" fmla="*/ 1787071 w 7806871"/>
                  <a:gd name="connsiteY45" fmla="*/ 2095500 h 17945100"/>
                  <a:gd name="connsiteX46" fmla="*/ 1177471 w 7806871"/>
                  <a:gd name="connsiteY46" fmla="*/ 1981200 h 17945100"/>
                  <a:gd name="connsiteX47" fmla="*/ 491671 w 7806871"/>
                  <a:gd name="connsiteY47" fmla="*/ 1790700 h 17945100"/>
                  <a:gd name="connsiteX48" fmla="*/ 491671 w 7806871"/>
                  <a:gd name="connsiteY48" fmla="*/ 1790700 h 17945100"/>
                  <a:gd name="connsiteX0" fmla="*/ 529771 w 7806871"/>
                  <a:gd name="connsiteY0" fmla="*/ 1752600 h 17945100"/>
                  <a:gd name="connsiteX1" fmla="*/ 263071 w 7806871"/>
                  <a:gd name="connsiteY1" fmla="*/ 2133600 h 17945100"/>
                  <a:gd name="connsiteX2" fmla="*/ 339271 w 7806871"/>
                  <a:gd name="connsiteY2" fmla="*/ 2514600 h 17945100"/>
                  <a:gd name="connsiteX3" fmla="*/ 567871 w 7806871"/>
                  <a:gd name="connsiteY3" fmla="*/ 2705100 h 17945100"/>
                  <a:gd name="connsiteX4" fmla="*/ 529771 w 7806871"/>
                  <a:gd name="connsiteY4" fmla="*/ 3962400 h 17945100"/>
                  <a:gd name="connsiteX5" fmla="*/ 263071 w 7806871"/>
                  <a:gd name="connsiteY5" fmla="*/ 6819900 h 17945100"/>
                  <a:gd name="connsiteX6" fmla="*/ 72571 w 7806871"/>
                  <a:gd name="connsiteY6" fmla="*/ 9144000 h 17945100"/>
                  <a:gd name="connsiteX7" fmla="*/ 148771 w 7806871"/>
                  <a:gd name="connsiteY7" fmla="*/ 10058400 h 17945100"/>
                  <a:gd name="connsiteX8" fmla="*/ 34471 w 7806871"/>
                  <a:gd name="connsiteY8" fmla="*/ 10972800 h 17945100"/>
                  <a:gd name="connsiteX9" fmla="*/ 72571 w 7806871"/>
                  <a:gd name="connsiteY9" fmla="*/ 13258800 h 17945100"/>
                  <a:gd name="connsiteX10" fmla="*/ 0 w 7806871"/>
                  <a:gd name="connsiteY10" fmla="*/ 16718644 h 17945100"/>
                  <a:gd name="connsiteX11" fmla="*/ 3350985 w 7806871"/>
                  <a:gd name="connsiteY11" fmla="*/ 16099972 h 17945100"/>
                  <a:gd name="connsiteX12" fmla="*/ 4339771 w 7806871"/>
                  <a:gd name="connsiteY12" fmla="*/ 15735300 h 17945100"/>
                  <a:gd name="connsiteX13" fmla="*/ 3006271 w 7806871"/>
                  <a:gd name="connsiteY13" fmla="*/ 10363200 h 17945100"/>
                  <a:gd name="connsiteX14" fmla="*/ 2891971 w 7806871"/>
                  <a:gd name="connsiteY14" fmla="*/ 9601200 h 17945100"/>
                  <a:gd name="connsiteX15" fmla="*/ 2891971 w 7806871"/>
                  <a:gd name="connsiteY15" fmla="*/ 9220200 h 17945100"/>
                  <a:gd name="connsiteX16" fmla="*/ 2930071 w 7806871"/>
                  <a:gd name="connsiteY16" fmla="*/ 8801100 h 17945100"/>
                  <a:gd name="connsiteX17" fmla="*/ 2930071 w 7806871"/>
                  <a:gd name="connsiteY17" fmla="*/ 7772400 h 17945100"/>
                  <a:gd name="connsiteX18" fmla="*/ 3692071 w 7806871"/>
                  <a:gd name="connsiteY18" fmla="*/ 4114800 h 17945100"/>
                  <a:gd name="connsiteX19" fmla="*/ 3920671 w 7806871"/>
                  <a:gd name="connsiteY19" fmla="*/ 5219700 h 17945100"/>
                  <a:gd name="connsiteX20" fmla="*/ 3996871 w 7806871"/>
                  <a:gd name="connsiteY20" fmla="*/ 7048500 h 17945100"/>
                  <a:gd name="connsiteX21" fmla="*/ 3996871 w 7806871"/>
                  <a:gd name="connsiteY21" fmla="*/ 9029700 h 17945100"/>
                  <a:gd name="connsiteX22" fmla="*/ 3882571 w 7806871"/>
                  <a:gd name="connsiteY22" fmla="*/ 10401300 h 17945100"/>
                  <a:gd name="connsiteX23" fmla="*/ 4034971 w 7806871"/>
                  <a:gd name="connsiteY23" fmla="*/ 11125200 h 17945100"/>
                  <a:gd name="connsiteX24" fmla="*/ 4225471 w 7806871"/>
                  <a:gd name="connsiteY24" fmla="*/ 12877800 h 17945100"/>
                  <a:gd name="connsiteX25" fmla="*/ 4377871 w 7806871"/>
                  <a:gd name="connsiteY25" fmla="*/ 13906500 h 17945100"/>
                  <a:gd name="connsiteX26" fmla="*/ 5330371 w 7806871"/>
                  <a:gd name="connsiteY26" fmla="*/ 17868900 h 17945100"/>
                  <a:gd name="connsiteX27" fmla="*/ 6320971 w 7806871"/>
                  <a:gd name="connsiteY27" fmla="*/ 17945100 h 17945100"/>
                  <a:gd name="connsiteX28" fmla="*/ 7806871 w 7806871"/>
                  <a:gd name="connsiteY28" fmla="*/ 17297400 h 17945100"/>
                  <a:gd name="connsiteX29" fmla="*/ 6930571 w 7806871"/>
                  <a:gd name="connsiteY29" fmla="*/ 13563600 h 17945100"/>
                  <a:gd name="connsiteX30" fmla="*/ 6778171 w 7806871"/>
                  <a:gd name="connsiteY30" fmla="*/ 11277600 h 17945100"/>
                  <a:gd name="connsiteX31" fmla="*/ 6778171 w 7806871"/>
                  <a:gd name="connsiteY31" fmla="*/ 8877300 h 17945100"/>
                  <a:gd name="connsiteX32" fmla="*/ 7006771 w 7806871"/>
                  <a:gd name="connsiteY32" fmla="*/ 5143500 h 17945100"/>
                  <a:gd name="connsiteX33" fmla="*/ 7197271 w 7806871"/>
                  <a:gd name="connsiteY33" fmla="*/ 4114800 h 17945100"/>
                  <a:gd name="connsiteX34" fmla="*/ 7273471 w 7806871"/>
                  <a:gd name="connsiteY34" fmla="*/ 2781300 h 17945100"/>
                  <a:gd name="connsiteX35" fmla="*/ 7235371 w 7806871"/>
                  <a:gd name="connsiteY35" fmla="*/ 2095500 h 17945100"/>
                  <a:gd name="connsiteX36" fmla="*/ 6168571 w 7806871"/>
                  <a:gd name="connsiteY36" fmla="*/ 2171700 h 17945100"/>
                  <a:gd name="connsiteX37" fmla="*/ 4568371 w 7806871"/>
                  <a:gd name="connsiteY37" fmla="*/ 2247900 h 17945100"/>
                  <a:gd name="connsiteX38" fmla="*/ 4034971 w 7806871"/>
                  <a:gd name="connsiteY38" fmla="*/ 2209800 h 17945100"/>
                  <a:gd name="connsiteX39" fmla="*/ 3501571 w 7806871"/>
                  <a:gd name="connsiteY39" fmla="*/ 1828800 h 17945100"/>
                  <a:gd name="connsiteX40" fmla="*/ 3349171 w 7806871"/>
                  <a:gd name="connsiteY40" fmla="*/ 1295400 h 17945100"/>
                  <a:gd name="connsiteX41" fmla="*/ 3234871 w 7806871"/>
                  <a:gd name="connsiteY41" fmla="*/ 0 h 17945100"/>
                  <a:gd name="connsiteX42" fmla="*/ 2891971 w 7806871"/>
                  <a:gd name="connsiteY42" fmla="*/ 76200 h 17945100"/>
                  <a:gd name="connsiteX43" fmla="*/ 2396671 w 7806871"/>
                  <a:gd name="connsiteY43" fmla="*/ 1562100 h 17945100"/>
                  <a:gd name="connsiteX44" fmla="*/ 2168071 w 7806871"/>
                  <a:gd name="connsiteY44" fmla="*/ 1790700 h 17945100"/>
                  <a:gd name="connsiteX45" fmla="*/ 1787071 w 7806871"/>
                  <a:gd name="connsiteY45" fmla="*/ 2095500 h 17945100"/>
                  <a:gd name="connsiteX46" fmla="*/ 1177471 w 7806871"/>
                  <a:gd name="connsiteY46" fmla="*/ 1981200 h 17945100"/>
                  <a:gd name="connsiteX47" fmla="*/ 491671 w 7806871"/>
                  <a:gd name="connsiteY47" fmla="*/ 1790700 h 17945100"/>
                  <a:gd name="connsiteX48" fmla="*/ 491671 w 7806871"/>
                  <a:gd name="connsiteY48" fmla="*/ 1790700 h 17945100"/>
                  <a:gd name="connsiteX0" fmla="*/ 529771 w 7806871"/>
                  <a:gd name="connsiteY0" fmla="*/ 1752600 h 17945100"/>
                  <a:gd name="connsiteX1" fmla="*/ 263071 w 7806871"/>
                  <a:gd name="connsiteY1" fmla="*/ 2133600 h 17945100"/>
                  <a:gd name="connsiteX2" fmla="*/ 339271 w 7806871"/>
                  <a:gd name="connsiteY2" fmla="*/ 2514600 h 17945100"/>
                  <a:gd name="connsiteX3" fmla="*/ 567871 w 7806871"/>
                  <a:gd name="connsiteY3" fmla="*/ 2705100 h 17945100"/>
                  <a:gd name="connsiteX4" fmla="*/ 529771 w 7806871"/>
                  <a:gd name="connsiteY4" fmla="*/ 3962400 h 17945100"/>
                  <a:gd name="connsiteX5" fmla="*/ 263071 w 7806871"/>
                  <a:gd name="connsiteY5" fmla="*/ 6819900 h 17945100"/>
                  <a:gd name="connsiteX6" fmla="*/ 72571 w 7806871"/>
                  <a:gd name="connsiteY6" fmla="*/ 9144000 h 17945100"/>
                  <a:gd name="connsiteX7" fmla="*/ 148771 w 7806871"/>
                  <a:gd name="connsiteY7" fmla="*/ 10058400 h 17945100"/>
                  <a:gd name="connsiteX8" fmla="*/ 34471 w 7806871"/>
                  <a:gd name="connsiteY8" fmla="*/ 10972800 h 17945100"/>
                  <a:gd name="connsiteX9" fmla="*/ 72571 w 7806871"/>
                  <a:gd name="connsiteY9" fmla="*/ 13258800 h 17945100"/>
                  <a:gd name="connsiteX10" fmla="*/ 0 w 7806871"/>
                  <a:gd name="connsiteY10" fmla="*/ 16718644 h 17945100"/>
                  <a:gd name="connsiteX11" fmla="*/ 1674585 w 7806871"/>
                  <a:gd name="connsiteY11" fmla="*/ 16633372 h 17945100"/>
                  <a:gd name="connsiteX12" fmla="*/ 4339771 w 7806871"/>
                  <a:gd name="connsiteY12" fmla="*/ 15735300 h 17945100"/>
                  <a:gd name="connsiteX13" fmla="*/ 3006271 w 7806871"/>
                  <a:gd name="connsiteY13" fmla="*/ 10363200 h 17945100"/>
                  <a:gd name="connsiteX14" fmla="*/ 2891971 w 7806871"/>
                  <a:gd name="connsiteY14" fmla="*/ 9601200 h 17945100"/>
                  <a:gd name="connsiteX15" fmla="*/ 2891971 w 7806871"/>
                  <a:gd name="connsiteY15" fmla="*/ 9220200 h 17945100"/>
                  <a:gd name="connsiteX16" fmla="*/ 2930071 w 7806871"/>
                  <a:gd name="connsiteY16" fmla="*/ 8801100 h 17945100"/>
                  <a:gd name="connsiteX17" fmla="*/ 2930071 w 7806871"/>
                  <a:gd name="connsiteY17" fmla="*/ 7772400 h 17945100"/>
                  <a:gd name="connsiteX18" fmla="*/ 3692071 w 7806871"/>
                  <a:gd name="connsiteY18" fmla="*/ 4114800 h 17945100"/>
                  <a:gd name="connsiteX19" fmla="*/ 3920671 w 7806871"/>
                  <a:gd name="connsiteY19" fmla="*/ 5219700 h 17945100"/>
                  <a:gd name="connsiteX20" fmla="*/ 3996871 w 7806871"/>
                  <a:gd name="connsiteY20" fmla="*/ 7048500 h 17945100"/>
                  <a:gd name="connsiteX21" fmla="*/ 3996871 w 7806871"/>
                  <a:gd name="connsiteY21" fmla="*/ 9029700 h 17945100"/>
                  <a:gd name="connsiteX22" fmla="*/ 3882571 w 7806871"/>
                  <a:gd name="connsiteY22" fmla="*/ 10401300 h 17945100"/>
                  <a:gd name="connsiteX23" fmla="*/ 4034971 w 7806871"/>
                  <a:gd name="connsiteY23" fmla="*/ 11125200 h 17945100"/>
                  <a:gd name="connsiteX24" fmla="*/ 4225471 w 7806871"/>
                  <a:gd name="connsiteY24" fmla="*/ 12877800 h 17945100"/>
                  <a:gd name="connsiteX25" fmla="*/ 4377871 w 7806871"/>
                  <a:gd name="connsiteY25" fmla="*/ 13906500 h 17945100"/>
                  <a:gd name="connsiteX26" fmla="*/ 5330371 w 7806871"/>
                  <a:gd name="connsiteY26" fmla="*/ 17868900 h 17945100"/>
                  <a:gd name="connsiteX27" fmla="*/ 6320971 w 7806871"/>
                  <a:gd name="connsiteY27" fmla="*/ 17945100 h 17945100"/>
                  <a:gd name="connsiteX28" fmla="*/ 7806871 w 7806871"/>
                  <a:gd name="connsiteY28" fmla="*/ 17297400 h 17945100"/>
                  <a:gd name="connsiteX29" fmla="*/ 6930571 w 7806871"/>
                  <a:gd name="connsiteY29" fmla="*/ 13563600 h 17945100"/>
                  <a:gd name="connsiteX30" fmla="*/ 6778171 w 7806871"/>
                  <a:gd name="connsiteY30" fmla="*/ 11277600 h 17945100"/>
                  <a:gd name="connsiteX31" fmla="*/ 6778171 w 7806871"/>
                  <a:gd name="connsiteY31" fmla="*/ 8877300 h 17945100"/>
                  <a:gd name="connsiteX32" fmla="*/ 7006771 w 7806871"/>
                  <a:gd name="connsiteY32" fmla="*/ 5143500 h 17945100"/>
                  <a:gd name="connsiteX33" fmla="*/ 7197271 w 7806871"/>
                  <a:gd name="connsiteY33" fmla="*/ 4114800 h 17945100"/>
                  <a:gd name="connsiteX34" fmla="*/ 7273471 w 7806871"/>
                  <a:gd name="connsiteY34" fmla="*/ 2781300 h 17945100"/>
                  <a:gd name="connsiteX35" fmla="*/ 7235371 w 7806871"/>
                  <a:gd name="connsiteY35" fmla="*/ 2095500 h 17945100"/>
                  <a:gd name="connsiteX36" fmla="*/ 6168571 w 7806871"/>
                  <a:gd name="connsiteY36" fmla="*/ 2171700 h 17945100"/>
                  <a:gd name="connsiteX37" fmla="*/ 4568371 w 7806871"/>
                  <a:gd name="connsiteY37" fmla="*/ 2247900 h 17945100"/>
                  <a:gd name="connsiteX38" fmla="*/ 4034971 w 7806871"/>
                  <a:gd name="connsiteY38" fmla="*/ 2209800 h 17945100"/>
                  <a:gd name="connsiteX39" fmla="*/ 3501571 w 7806871"/>
                  <a:gd name="connsiteY39" fmla="*/ 1828800 h 17945100"/>
                  <a:gd name="connsiteX40" fmla="*/ 3349171 w 7806871"/>
                  <a:gd name="connsiteY40" fmla="*/ 1295400 h 17945100"/>
                  <a:gd name="connsiteX41" fmla="*/ 3234871 w 7806871"/>
                  <a:gd name="connsiteY41" fmla="*/ 0 h 17945100"/>
                  <a:gd name="connsiteX42" fmla="*/ 2891971 w 7806871"/>
                  <a:gd name="connsiteY42" fmla="*/ 76200 h 17945100"/>
                  <a:gd name="connsiteX43" fmla="*/ 2396671 w 7806871"/>
                  <a:gd name="connsiteY43" fmla="*/ 1562100 h 17945100"/>
                  <a:gd name="connsiteX44" fmla="*/ 2168071 w 7806871"/>
                  <a:gd name="connsiteY44" fmla="*/ 1790700 h 17945100"/>
                  <a:gd name="connsiteX45" fmla="*/ 1787071 w 7806871"/>
                  <a:gd name="connsiteY45" fmla="*/ 2095500 h 17945100"/>
                  <a:gd name="connsiteX46" fmla="*/ 1177471 w 7806871"/>
                  <a:gd name="connsiteY46" fmla="*/ 1981200 h 17945100"/>
                  <a:gd name="connsiteX47" fmla="*/ 491671 w 7806871"/>
                  <a:gd name="connsiteY47" fmla="*/ 1790700 h 17945100"/>
                  <a:gd name="connsiteX48" fmla="*/ 491671 w 7806871"/>
                  <a:gd name="connsiteY48" fmla="*/ 1790700 h 17945100"/>
                  <a:gd name="connsiteX0" fmla="*/ 529771 w 7806871"/>
                  <a:gd name="connsiteY0" fmla="*/ 1752600 h 17945100"/>
                  <a:gd name="connsiteX1" fmla="*/ 263071 w 7806871"/>
                  <a:gd name="connsiteY1" fmla="*/ 2133600 h 17945100"/>
                  <a:gd name="connsiteX2" fmla="*/ 339271 w 7806871"/>
                  <a:gd name="connsiteY2" fmla="*/ 2514600 h 17945100"/>
                  <a:gd name="connsiteX3" fmla="*/ 567871 w 7806871"/>
                  <a:gd name="connsiteY3" fmla="*/ 2705100 h 17945100"/>
                  <a:gd name="connsiteX4" fmla="*/ 529771 w 7806871"/>
                  <a:gd name="connsiteY4" fmla="*/ 3962400 h 17945100"/>
                  <a:gd name="connsiteX5" fmla="*/ 263071 w 7806871"/>
                  <a:gd name="connsiteY5" fmla="*/ 6819900 h 17945100"/>
                  <a:gd name="connsiteX6" fmla="*/ 72571 w 7806871"/>
                  <a:gd name="connsiteY6" fmla="*/ 9144000 h 17945100"/>
                  <a:gd name="connsiteX7" fmla="*/ 148771 w 7806871"/>
                  <a:gd name="connsiteY7" fmla="*/ 10058400 h 17945100"/>
                  <a:gd name="connsiteX8" fmla="*/ 34471 w 7806871"/>
                  <a:gd name="connsiteY8" fmla="*/ 10972800 h 17945100"/>
                  <a:gd name="connsiteX9" fmla="*/ 72571 w 7806871"/>
                  <a:gd name="connsiteY9" fmla="*/ 13258800 h 17945100"/>
                  <a:gd name="connsiteX10" fmla="*/ 0 w 7806871"/>
                  <a:gd name="connsiteY10" fmla="*/ 16718644 h 17945100"/>
                  <a:gd name="connsiteX11" fmla="*/ 1674585 w 7806871"/>
                  <a:gd name="connsiteY11" fmla="*/ 16633372 h 17945100"/>
                  <a:gd name="connsiteX12" fmla="*/ 2739571 w 7806871"/>
                  <a:gd name="connsiteY12" fmla="*/ 16344900 h 17945100"/>
                  <a:gd name="connsiteX13" fmla="*/ 3006271 w 7806871"/>
                  <a:gd name="connsiteY13" fmla="*/ 10363200 h 17945100"/>
                  <a:gd name="connsiteX14" fmla="*/ 2891971 w 7806871"/>
                  <a:gd name="connsiteY14" fmla="*/ 9601200 h 17945100"/>
                  <a:gd name="connsiteX15" fmla="*/ 2891971 w 7806871"/>
                  <a:gd name="connsiteY15" fmla="*/ 9220200 h 17945100"/>
                  <a:gd name="connsiteX16" fmla="*/ 2930071 w 7806871"/>
                  <a:gd name="connsiteY16" fmla="*/ 8801100 h 17945100"/>
                  <a:gd name="connsiteX17" fmla="*/ 2930071 w 7806871"/>
                  <a:gd name="connsiteY17" fmla="*/ 7772400 h 17945100"/>
                  <a:gd name="connsiteX18" fmla="*/ 3692071 w 7806871"/>
                  <a:gd name="connsiteY18" fmla="*/ 4114800 h 17945100"/>
                  <a:gd name="connsiteX19" fmla="*/ 3920671 w 7806871"/>
                  <a:gd name="connsiteY19" fmla="*/ 5219700 h 17945100"/>
                  <a:gd name="connsiteX20" fmla="*/ 3996871 w 7806871"/>
                  <a:gd name="connsiteY20" fmla="*/ 7048500 h 17945100"/>
                  <a:gd name="connsiteX21" fmla="*/ 3996871 w 7806871"/>
                  <a:gd name="connsiteY21" fmla="*/ 9029700 h 17945100"/>
                  <a:gd name="connsiteX22" fmla="*/ 3882571 w 7806871"/>
                  <a:gd name="connsiteY22" fmla="*/ 10401300 h 17945100"/>
                  <a:gd name="connsiteX23" fmla="*/ 4034971 w 7806871"/>
                  <a:gd name="connsiteY23" fmla="*/ 11125200 h 17945100"/>
                  <a:gd name="connsiteX24" fmla="*/ 4225471 w 7806871"/>
                  <a:gd name="connsiteY24" fmla="*/ 12877800 h 17945100"/>
                  <a:gd name="connsiteX25" fmla="*/ 4377871 w 7806871"/>
                  <a:gd name="connsiteY25" fmla="*/ 13906500 h 17945100"/>
                  <a:gd name="connsiteX26" fmla="*/ 5330371 w 7806871"/>
                  <a:gd name="connsiteY26" fmla="*/ 17868900 h 17945100"/>
                  <a:gd name="connsiteX27" fmla="*/ 6320971 w 7806871"/>
                  <a:gd name="connsiteY27" fmla="*/ 17945100 h 17945100"/>
                  <a:gd name="connsiteX28" fmla="*/ 7806871 w 7806871"/>
                  <a:gd name="connsiteY28" fmla="*/ 17297400 h 17945100"/>
                  <a:gd name="connsiteX29" fmla="*/ 6930571 w 7806871"/>
                  <a:gd name="connsiteY29" fmla="*/ 13563600 h 17945100"/>
                  <a:gd name="connsiteX30" fmla="*/ 6778171 w 7806871"/>
                  <a:gd name="connsiteY30" fmla="*/ 11277600 h 17945100"/>
                  <a:gd name="connsiteX31" fmla="*/ 6778171 w 7806871"/>
                  <a:gd name="connsiteY31" fmla="*/ 8877300 h 17945100"/>
                  <a:gd name="connsiteX32" fmla="*/ 7006771 w 7806871"/>
                  <a:gd name="connsiteY32" fmla="*/ 5143500 h 17945100"/>
                  <a:gd name="connsiteX33" fmla="*/ 7197271 w 7806871"/>
                  <a:gd name="connsiteY33" fmla="*/ 4114800 h 17945100"/>
                  <a:gd name="connsiteX34" fmla="*/ 7273471 w 7806871"/>
                  <a:gd name="connsiteY34" fmla="*/ 2781300 h 17945100"/>
                  <a:gd name="connsiteX35" fmla="*/ 7235371 w 7806871"/>
                  <a:gd name="connsiteY35" fmla="*/ 2095500 h 17945100"/>
                  <a:gd name="connsiteX36" fmla="*/ 6168571 w 7806871"/>
                  <a:gd name="connsiteY36" fmla="*/ 2171700 h 17945100"/>
                  <a:gd name="connsiteX37" fmla="*/ 4568371 w 7806871"/>
                  <a:gd name="connsiteY37" fmla="*/ 2247900 h 17945100"/>
                  <a:gd name="connsiteX38" fmla="*/ 4034971 w 7806871"/>
                  <a:gd name="connsiteY38" fmla="*/ 2209800 h 17945100"/>
                  <a:gd name="connsiteX39" fmla="*/ 3501571 w 7806871"/>
                  <a:gd name="connsiteY39" fmla="*/ 1828800 h 17945100"/>
                  <a:gd name="connsiteX40" fmla="*/ 3349171 w 7806871"/>
                  <a:gd name="connsiteY40" fmla="*/ 1295400 h 17945100"/>
                  <a:gd name="connsiteX41" fmla="*/ 3234871 w 7806871"/>
                  <a:gd name="connsiteY41" fmla="*/ 0 h 17945100"/>
                  <a:gd name="connsiteX42" fmla="*/ 2891971 w 7806871"/>
                  <a:gd name="connsiteY42" fmla="*/ 76200 h 17945100"/>
                  <a:gd name="connsiteX43" fmla="*/ 2396671 w 7806871"/>
                  <a:gd name="connsiteY43" fmla="*/ 1562100 h 17945100"/>
                  <a:gd name="connsiteX44" fmla="*/ 2168071 w 7806871"/>
                  <a:gd name="connsiteY44" fmla="*/ 1790700 h 17945100"/>
                  <a:gd name="connsiteX45" fmla="*/ 1787071 w 7806871"/>
                  <a:gd name="connsiteY45" fmla="*/ 2095500 h 17945100"/>
                  <a:gd name="connsiteX46" fmla="*/ 1177471 w 7806871"/>
                  <a:gd name="connsiteY46" fmla="*/ 1981200 h 17945100"/>
                  <a:gd name="connsiteX47" fmla="*/ 491671 w 7806871"/>
                  <a:gd name="connsiteY47" fmla="*/ 1790700 h 17945100"/>
                  <a:gd name="connsiteX48" fmla="*/ 491671 w 7806871"/>
                  <a:gd name="connsiteY48" fmla="*/ 1790700 h 17945100"/>
                  <a:gd name="connsiteX0" fmla="*/ 529771 w 7806871"/>
                  <a:gd name="connsiteY0" fmla="*/ 1752600 h 17945100"/>
                  <a:gd name="connsiteX1" fmla="*/ 263071 w 7806871"/>
                  <a:gd name="connsiteY1" fmla="*/ 2133600 h 17945100"/>
                  <a:gd name="connsiteX2" fmla="*/ 339271 w 7806871"/>
                  <a:gd name="connsiteY2" fmla="*/ 2514600 h 17945100"/>
                  <a:gd name="connsiteX3" fmla="*/ 567871 w 7806871"/>
                  <a:gd name="connsiteY3" fmla="*/ 2705100 h 17945100"/>
                  <a:gd name="connsiteX4" fmla="*/ 529771 w 7806871"/>
                  <a:gd name="connsiteY4" fmla="*/ 3962400 h 17945100"/>
                  <a:gd name="connsiteX5" fmla="*/ 263071 w 7806871"/>
                  <a:gd name="connsiteY5" fmla="*/ 6819900 h 17945100"/>
                  <a:gd name="connsiteX6" fmla="*/ 72571 w 7806871"/>
                  <a:gd name="connsiteY6" fmla="*/ 9144000 h 17945100"/>
                  <a:gd name="connsiteX7" fmla="*/ 148771 w 7806871"/>
                  <a:gd name="connsiteY7" fmla="*/ 10058400 h 17945100"/>
                  <a:gd name="connsiteX8" fmla="*/ 34471 w 7806871"/>
                  <a:gd name="connsiteY8" fmla="*/ 10972800 h 17945100"/>
                  <a:gd name="connsiteX9" fmla="*/ 72571 w 7806871"/>
                  <a:gd name="connsiteY9" fmla="*/ 13258800 h 17945100"/>
                  <a:gd name="connsiteX10" fmla="*/ 0 w 7806871"/>
                  <a:gd name="connsiteY10" fmla="*/ 16718644 h 17945100"/>
                  <a:gd name="connsiteX11" fmla="*/ 1674585 w 7806871"/>
                  <a:gd name="connsiteY11" fmla="*/ 16633372 h 17945100"/>
                  <a:gd name="connsiteX12" fmla="*/ 2739571 w 7806871"/>
                  <a:gd name="connsiteY12" fmla="*/ 16344900 h 17945100"/>
                  <a:gd name="connsiteX13" fmla="*/ 2549071 w 7806871"/>
                  <a:gd name="connsiteY13" fmla="*/ 11125200 h 17945100"/>
                  <a:gd name="connsiteX14" fmla="*/ 2891971 w 7806871"/>
                  <a:gd name="connsiteY14" fmla="*/ 9601200 h 17945100"/>
                  <a:gd name="connsiteX15" fmla="*/ 2891971 w 7806871"/>
                  <a:gd name="connsiteY15" fmla="*/ 9220200 h 17945100"/>
                  <a:gd name="connsiteX16" fmla="*/ 2930071 w 7806871"/>
                  <a:gd name="connsiteY16" fmla="*/ 8801100 h 17945100"/>
                  <a:gd name="connsiteX17" fmla="*/ 2930071 w 7806871"/>
                  <a:gd name="connsiteY17" fmla="*/ 7772400 h 17945100"/>
                  <a:gd name="connsiteX18" fmla="*/ 3692071 w 7806871"/>
                  <a:gd name="connsiteY18" fmla="*/ 4114800 h 17945100"/>
                  <a:gd name="connsiteX19" fmla="*/ 3920671 w 7806871"/>
                  <a:gd name="connsiteY19" fmla="*/ 5219700 h 17945100"/>
                  <a:gd name="connsiteX20" fmla="*/ 3996871 w 7806871"/>
                  <a:gd name="connsiteY20" fmla="*/ 7048500 h 17945100"/>
                  <a:gd name="connsiteX21" fmla="*/ 3996871 w 7806871"/>
                  <a:gd name="connsiteY21" fmla="*/ 9029700 h 17945100"/>
                  <a:gd name="connsiteX22" fmla="*/ 3882571 w 7806871"/>
                  <a:gd name="connsiteY22" fmla="*/ 10401300 h 17945100"/>
                  <a:gd name="connsiteX23" fmla="*/ 4034971 w 7806871"/>
                  <a:gd name="connsiteY23" fmla="*/ 11125200 h 17945100"/>
                  <a:gd name="connsiteX24" fmla="*/ 4225471 w 7806871"/>
                  <a:gd name="connsiteY24" fmla="*/ 12877800 h 17945100"/>
                  <a:gd name="connsiteX25" fmla="*/ 4377871 w 7806871"/>
                  <a:gd name="connsiteY25" fmla="*/ 13906500 h 17945100"/>
                  <a:gd name="connsiteX26" fmla="*/ 5330371 w 7806871"/>
                  <a:gd name="connsiteY26" fmla="*/ 17868900 h 17945100"/>
                  <a:gd name="connsiteX27" fmla="*/ 6320971 w 7806871"/>
                  <a:gd name="connsiteY27" fmla="*/ 17945100 h 17945100"/>
                  <a:gd name="connsiteX28" fmla="*/ 7806871 w 7806871"/>
                  <a:gd name="connsiteY28" fmla="*/ 17297400 h 17945100"/>
                  <a:gd name="connsiteX29" fmla="*/ 6930571 w 7806871"/>
                  <a:gd name="connsiteY29" fmla="*/ 13563600 h 17945100"/>
                  <a:gd name="connsiteX30" fmla="*/ 6778171 w 7806871"/>
                  <a:gd name="connsiteY30" fmla="*/ 11277600 h 17945100"/>
                  <a:gd name="connsiteX31" fmla="*/ 6778171 w 7806871"/>
                  <a:gd name="connsiteY31" fmla="*/ 8877300 h 17945100"/>
                  <a:gd name="connsiteX32" fmla="*/ 7006771 w 7806871"/>
                  <a:gd name="connsiteY32" fmla="*/ 5143500 h 17945100"/>
                  <a:gd name="connsiteX33" fmla="*/ 7197271 w 7806871"/>
                  <a:gd name="connsiteY33" fmla="*/ 4114800 h 17945100"/>
                  <a:gd name="connsiteX34" fmla="*/ 7273471 w 7806871"/>
                  <a:gd name="connsiteY34" fmla="*/ 2781300 h 17945100"/>
                  <a:gd name="connsiteX35" fmla="*/ 7235371 w 7806871"/>
                  <a:gd name="connsiteY35" fmla="*/ 2095500 h 17945100"/>
                  <a:gd name="connsiteX36" fmla="*/ 6168571 w 7806871"/>
                  <a:gd name="connsiteY36" fmla="*/ 2171700 h 17945100"/>
                  <a:gd name="connsiteX37" fmla="*/ 4568371 w 7806871"/>
                  <a:gd name="connsiteY37" fmla="*/ 2247900 h 17945100"/>
                  <a:gd name="connsiteX38" fmla="*/ 4034971 w 7806871"/>
                  <a:gd name="connsiteY38" fmla="*/ 2209800 h 17945100"/>
                  <a:gd name="connsiteX39" fmla="*/ 3501571 w 7806871"/>
                  <a:gd name="connsiteY39" fmla="*/ 1828800 h 17945100"/>
                  <a:gd name="connsiteX40" fmla="*/ 3349171 w 7806871"/>
                  <a:gd name="connsiteY40" fmla="*/ 1295400 h 17945100"/>
                  <a:gd name="connsiteX41" fmla="*/ 3234871 w 7806871"/>
                  <a:gd name="connsiteY41" fmla="*/ 0 h 17945100"/>
                  <a:gd name="connsiteX42" fmla="*/ 2891971 w 7806871"/>
                  <a:gd name="connsiteY42" fmla="*/ 76200 h 17945100"/>
                  <a:gd name="connsiteX43" fmla="*/ 2396671 w 7806871"/>
                  <a:gd name="connsiteY43" fmla="*/ 1562100 h 17945100"/>
                  <a:gd name="connsiteX44" fmla="*/ 2168071 w 7806871"/>
                  <a:gd name="connsiteY44" fmla="*/ 1790700 h 17945100"/>
                  <a:gd name="connsiteX45" fmla="*/ 1787071 w 7806871"/>
                  <a:gd name="connsiteY45" fmla="*/ 2095500 h 17945100"/>
                  <a:gd name="connsiteX46" fmla="*/ 1177471 w 7806871"/>
                  <a:gd name="connsiteY46" fmla="*/ 1981200 h 17945100"/>
                  <a:gd name="connsiteX47" fmla="*/ 491671 w 7806871"/>
                  <a:gd name="connsiteY47" fmla="*/ 1790700 h 17945100"/>
                  <a:gd name="connsiteX48" fmla="*/ 491671 w 7806871"/>
                  <a:gd name="connsiteY48" fmla="*/ 1790700 h 17945100"/>
                  <a:gd name="connsiteX0" fmla="*/ 529771 w 7806871"/>
                  <a:gd name="connsiteY0" fmla="*/ 1752600 h 17945100"/>
                  <a:gd name="connsiteX1" fmla="*/ 263071 w 7806871"/>
                  <a:gd name="connsiteY1" fmla="*/ 2133600 h 17945100"/>
                  <a:gd name="connsiteX2" fmla="*/ 339271 w 7806871"/>
                  <a:gd name="connsiteY2" fmla="*/ 2514600 h 17945100"/>
                  <a:gd name="connsiteX3" fmla="*/ 567871 w 7806871"/>
                  <a:gd name="connsiteY3" fmla="*/ 2705100 h 17945100"/>
                  <a:gd name="connsiteX4" fmla="*/ 529771 w 7806871"/>
                  <a:gd name="connsiteY4" fmla="*/ 3962400 h 17945100"/>
                  <a:gd name="connsiteX5" fmla="*/ 263071 w 7806871"/>
                  <a:gd name="connsiteY5" fmla="*/ 6819900 h 17945100"/>
                  <a:gd name="connsiteX6" fmla="*/ 72571 w 7806871"/>
                  <a:gd name="connsiteY6" fmla="*/ 9144000 h 17945100"/>
                  <a:gd name="connsiteX7" fmla="*/ 148771 w 7806871"/>
                  <a:gd name="connsiteY7" fmla="*/ 10058400 h 17945100"/>
                  <a:gd name="connsiteX8" fmla="*/ 34471 w 7806871"/>
                  <a:gd name="connsiteY8" fmla="*/ 10972800 h 17945100"/>
                  <a:gd name="connsiteX9" fmla="*/ 72571 w 7806871"/>
                  <a:gd name="connsiteY9" fmla="*/ 13258800 h 17945100"/>
                  <a:gd name="connsiteX10" fmla="*/ 0 w 7806871"/>
                  <a:gd name="connsiteY10" fmla="*/ 16718644 h 17945100"/>
                  <a:gd name="connsiteX11" fmla="*/ 1674585 w 7806871"/>
                  <a:gd name="connsiteY11" fmla="*/ 16633372 h 17945100"/>
                  <a:gd name="connsiteX12" fmla="*/ 2739571 w 7806871"/>
                  <a:gd name="connsiteY12" fmla="*/ 16344900 h 17945100"/>
                  <a:gd name="connsiteX13" fmla="*/ 2549071 w 7806871"/>
                  <a:gd name="connsiteY13" fmla="*/ 11125200 h 17945100"/>
                  <a:gd name="connsiteX14" fmla="*/ 2891971 w 7806871"/>
                  <a:gd name="connsiteY14" fmla="*/ 9601200 h 17945100"/>
                  <a:gd name="connsiteX15" fmla="*/ 2891971 w 7806871"/>
                  <a:gd name="connsiteY15" fmla="*/ 9220200 h 17945100"/>
                  <a:gd name="connsiteX16" fmla="*/ 2930071 w 7806871"/>
                  <a:gd name="connsiteY16" fmla="*/ 8801100 h 17945100"/>
                  <a:gd name="connsiteX17" fmla="*/ 2930071 w 7806871"/>
                  <a:gd name="connsiteY17" fmla="*/ 7772400 h 17945100"/>
                  <a:gd name="connsiteX18" fmla="*/ 3692071 w 7806871"/>
                  <a:gd name="connsiteY18" fmla="*/ 4114800 h 17945100"/>
                  <a:gd name="connsiteX19" fmla="*/ 3920671 w 7806871"/>
                  <a:gd name="connsiteY19" fmla="*/ 5219700 h 17945100"/>
                  <a:gd name="connsiteX20" fmla="*/ 3996871 w 7806871"/>
                  <a:gd name="connsiteY20" fmla="*/ 7048500 h 17945100"/>
                  <a:gd name="connsiteX21" fmla="*/ 3996871 w 7806871"/>
                  <a:gd name="connsiteY21" fmla="*/ 9029700 h 17945100"/>
                  <a:gd name="connsiteX22" fmla="*/ 3882571 w 7806871"/>
                  <a:gd name="connsiteY22" fmla="*/ 10401300 h 17945100"/>
                  <a:gd name="connsiteX23" fmla="*/ 4034971 w 7806871"/>
                  <a:gd name="connsiteY23" fmla="*/ 11125200 h 17945100"/>
                  <a:gd name="connsiteX24" fmla="*/ 4225471 w 7806871"/>
                  <a:gd name="connsiteY24" fmla="*/ 12877800 h 17945100"/>
                  <a:gd name="connsiteX25" fmla="*/ 4377871 w 7806871"/>
                  <a:gd name="connsiteY25" fmla="*/ 13906500 h 17945100"/>
                  <a:gd name="connsiteX26" fmla="*/ 5330371 w 7806871"/>
                  <a:gd name="connsiteY26" fmla="*/ 17868900 h 17945100"/>
                  <a:gd name="connsiteX27" fmla="*/ 6320971 w 7806871"/>
                  <a:gd name="connsiteY27" fmla="*/ 17945100 h 17945100"/>
                  <a:gd name="connsiteX28" fmla="*/ 7806871 w 7806871"/>
                  <a:gd name="connsiteY28" fmla="*/ 17297400 h 17945100"/>
                  <a:gd name="connsiteX29" fmla="*/ 6930571 w 7806871"/>
                  <a:gd name="connsiteY29" fmla="*/ 13563600 h 17945100"/>
                  <a:gd name="connsiteX30" fmla="*/ 6778171 w 7806871"/>
                  <a:gd name="connsiteY30" fmla="*/ 11277600 h 17945100"/>
                  <a:gd name="connsiteX31" fmla="*/ 6778171 w 7806871"/>
                  <a:gd name="connsiteY31" fmla="*/ 8877300 h 17945100"/>
                  <a:gd name="connsiteX32" fmla="*/ 7006771 w 7806871"/>
                  <a:gd name="connsiteY32" fmla="*/ 5143500 h 17945100"/>
                  <a:gd name="connsiteX33" fmla="*/ 7197271 w 7806871"/>
                  <a:gd name="connsiteY33" fmla="*/ 4114800 h 17945100"/>
                  <a:gd name="connsiteX34" fmla="*/ 7273471 w 7806871"/>
                  <a:gd name="connsiteY34" fmla="*/ 2781300 h 17945100"/>
                  <a:gd name="connsiteX35" fmla="*/ 7235371 w 7806871"/>
                  <a:gd name="connsiteY35" fmla="*/ 2095500 h 17945100"/>
                  <a:gd name="connsiteX36" fmla="*/ 6168571 w 7806871"/>
                  <a:gd name="connsiteY36" fmla="*/ 2171700 h 17945100"/>
                  <a:gd name="connsiteX37" fmla="*/ 4568371 w 7806871"/>
                  <a:gd name="connsiteY37" fmla="*/ 2247900 h 17945100"/>
                  <a:gd name="connsiteX38" fmla="*/ 4034971 w 7806871"/>
                  <a:gd name="connsiteY38" fmla="*/ 2209800 h 17945100"/>
                  <a:gd name="connsiteX39" fmla="*/ 3501571 w 7806871"/>
                  <a:gd name="connsiteY39" fmla="*/ 1828800 h 17945100"/>
                  <a:gd name="connsiteX40" fmla="*/ 3349171 w 7806871"/>
                  <a:gd name="connsiteY40" fmla="*/ 1295400 h 17945100"/>
                  <a:gd name="connsiteX41" fmla="*/ 3234871 w 7806871"/>
                  <a:gd name="connsiteY41" fmla="*/ 0 h 17945100"/>
                  <a:gd name="connsiteX42" fmla="*/ 2891971 w 7806871"/>
                  <a:gd name="connsiteY42" fmla="*/ 76200 h 17945100"/>
                  <a:gd name="connsiteX43" fmla="*/ 2396671 w 7806871"/>
                  <a:gd name="connsiteY43" fmla="*/ 1562100 h 17945100"/>
                  <a:gd name="connsiteX44" fmla="*/ 2168071 w 7806871"/>
                  <a:gd name="connsiteY44" fmla="*/ 1790700 h 17945100"/>
                  <a:gd name="connsiteX45" fmla="*/ 1787071 w 7806871"/>
                  <a:gd name="connsiteY45" fmla="*/ 2095500 h 17945100"/>
                  <a:gd name="connsiteX46" fmla="*/ 1177471 w 7806871"/>
                  <a:gd name="connsiteY46" fmla="*/ 1981200 h 17945100"/>
                  <a:gd name="connsiteX47" fmla="*/ 491671 w 7806871"/>
                  <a:gd name="connsiteY47" fmla="*/ 1790700 h 17945100"/>
                  <a:gd name="connsiteX48" fmla="*/ 491671 w 7806871"/>
                  <a:gd name="connsiteY48" fmla="*/ 1790700 h 17945100"/>
                  <a:gd name="connsiteX0" fmla="*/ 529771 w 7806871"/>
                  <a:gd name="connsiteY0" fmla="*/ 1752600 h 17945100"/>
                  <a:gd name="connsiteX1" fmla="*/ 263071 w 7806871"/>
                  <a:gd name="connsiteY1" fmla="*/ 2133600 h 17945100"/>
                  <a:gd name="connsiteX2" fmla="*/ 339271 w 7806871"/>
                  <a:gd name="connsiteY2" fmla="*/ 2514600 h 17945100"/>
                  <a:gd name="connsiteX3" fmla="*/ 567871 w 7806871"/>
                  <a:gd name="connsiteY3" fmla="*/ 2705100 h 17945100"/>
                  <a:gd name="connsiteX4" fmla="*/ 529771 w 7806871"/>
                  <a:gd name="connsiteY4" fmla="*/ 3962400 h 17945100"/>
                  <a:gd name="connsiteX5" fmla="*/ 263071 w 7806871"/>
                  <a:gd name="connsiteY5" fmla="*/ 6819900 h 17945100"/>
                  <a:gd name="connsiteX6" fmla="*/ 72571 w 7806871"/>
                  <a:gd name="connsiteY6" fmla="*/ 9144000 h 17945100"/>
                  <a:gd name="connsiteX7" fmla="*/ 148771 w 7806871"/>
                  <a:gd name="connsiteY7" fmla="*/ 10058400 h 17945100"/>
                  <a:gd name="connsiteX8" fmla="*/ 34471 w 7806871"/>
                  <a:gd name="connsiteY8" fmla="*/ 10972800 h 17945100"/>
                  <a:gd name="connsiteX9" fmla="*/ 72571 w 7806871"/>
                  <a:gd name="connsiteY9" fmla="*/ 13258800 h 17945100"/>
                  <a:gd name="connsiteX10" fmla="*/ 0 w 7806871"/>
                  <a:gd name="connsiteY10" fmla="*/ 16718644 h 17945100"/>
                  <a:gd name="connsiteX11" fmla="*/ 1674585 w 7806871"/>
                  <a:gd name="connsiteY11" fmla="*/ 16633372 h 17945100"/>
                  <a:gd name="connsiteX12" fmla="*/ 2739571 w 7806871"/>
                  <a:gd name="connsiteY12" fmla="*/ 16344900 h 17945100"/>
                  <a:gd name="connsiteX13" fmla="*/ 2549071 w 7806871"/>
                  <a:gd name="connsiteY13" fmla="*/ 11125200 h 17945100"/>
                  <a:gd name="connsiteX14" fmla="*/ 2891971 w 7806871"/>
                  <a:gd name="connsiteY14" fmla="*/ 9601200 h 17945100"/>
                  <a:gd name="connsiteX15" fmla="*/ 2891971 w 7806871"/>
                  <a:gd name="connsiteY15" fmla="*/ 9220200 h 17945100"/>
                  <a:gd name="connsiteX16" fmla="*/ 2930071 w 7806871"/>
                  <a:gd name="connsiteY16" fmla="*/ 8801100 h 17945100"/>
                  <a:gd name="connsiteX17" fmla="*/ 2930071 w 7806871"/>
                  <a:gd name="connsiteY17" fmla="*/ 7772400 h 17945100"/>
                  <a:gd name="connsiteX18" fmla="*/ 3692071 w 7806871"/>
                  <a:gd name="connsiteY18" fmla="*/ 4114800 h 17945100"/>
                  <a:gd name="connsiteX19" fmla="*/ 3920671 w 7806871"/>
                  <a:gd name="connsiteY19" fmla="*/ 5219700 h 17945100"/>
                  <a:gd name="connsiteX20" fmla="*/ 3996871 w 7806871"/>
                  <a:gd name="connsiteY20" fmla="*/ 7048500 h 17945100"/>
                  <a:gd name="connsiteX21" fmla="*/ 3996871 w 7806871"/>
                  <a:gd name="connsiteY21" fmla="*/ 9029700 h 17945100"/>
                  <a:gd name="connsiteX22" fmla="*/ 3882571 w 7806871"/>
                  <a:gd name="connsiteY22" fmla="*/ 10401300 h 17945100"/>
                  <a:gd name="connsiteX23" fmla="*/ 4034971 w 7806871"/>
                  <a:gd name="connsiteY23" fmla="*/ 11125200 h 17945100"/>
                  <a:gd name="connsiteX24" fmla="*/ 4225471 w 7806871"/>
                  <a:gd name="connsiteY24" fmla="*/ 12877800 h 17945100"/>
                  <a:gd name="connsiteX25" fmla="*/ 4377871 w 7806871"/>
                  <a:gd name="connsiteY25" fmla="*/ 13906500 h 17945100"/>
                  <a:gd name="connsiteX26" fmla="*/ 5330371 w 7806871"/>
                  <a:gd name="connsiteY26" fmla="*/ 17868900 h 17945100"/>
                  <a:gd name="connsiteX27" fmla="*/ 6320971 w 7806871"/>
                  <a:gd name="connsiteY27" fmla="*/ 17945100 h 17945100"/>
                  <a:gd name="connsiteX28" fmla="*/ 7806871 w 7806871"/>
                  <a:gd name="connsiteY28" fmla="*/ 17297400 h 17945100"/>
                  <a:gd name="connsiteX29" fmla="*/ 6930571 w 7806871"/>
                  <a:gd name="connsiteY29" fmla="*/ 13563600 h 17945100"/>
                  <a:gd name="connsiteX30" fmla="*/ 6778171 w 7806871"/>
                  <a:gd name="connsiteY30" fmla="*/ 11277600 h 17945100"/>
                  <a:gd name="connsiteX31" fmla="*/ 6778171 w 7806871"/>
                  <a:gd name="connsiteY31" fmla="*/ 8877300 h 17945100"/>
                  <a:gd name="connsiteX32" fmla="*/ 7006771 w 7806871"/>
                  <a:gd name="connsiteY32" fmla="*/ 5143500 h 17945100"/>
                  <a:gd name="connsiteX33" fmla="*/ 7197271 w 7806871"/>
                  <a:gd name="connsiteY33" fmla="*/ 4114800 h 17945100"/>
                  <a:gd name="connsiteX34" fmla="*/ 7273471 w 7806871"/>
                  <a:gd name="connsiteY34" fmla="*/ 2781300 h 17945100"/>
                  <a:gd name="connsiteX35" fmla="*/ 7235371 w 7806871"/>
                  <a:gd name="connsiteY35" fmla="*/ 2095500 h 17945100"/>
                  <a:gd name="connsiteX36" fmla="*/ 6168571 w 7806871"/>
                  <a:gd name="connsiteY36" fmla="*/ 2171700 h 17945100"/>
                  <a:gd name="connsiteX37" fmla="*/ 4568371 w 7806871"/>
                  <a:gd name="connsiteY37" fmla="*/ 2247900 h 17945100"/>
                  <a:gd name="connsiteX38" fmla="*/ 4034971 w 7806871"/>
                  <a:gd name="connsiteY38" fmla="*/ 2209800 h 17945100"/>
                  <a:gd name="connsiteX39" fmla="*/ 3501571 w 7806871"/>
                  <a:gd name="connsiteY39" fmla="*/ 1828800 h 17945100"/>
                  <a:gd name="connsiteX40" fmla="*/ 3349171 w 7806871"/>
                  <a:gd name="connsiteY40" fmla="*/ 1295400 h 17945100"/>
                  <a:gd name="connsiteX41" fmla="*/ 3234871 w 7806871"/>
                  <a:gd name="connsiteY41" fmla="*/ 0 h 17945100"/>
                  <a:gd name="connsiteX42" fmla="*/ 2891971 w 7806871"/>
                  <a:gd name="connsiteY42" fmla="*/ 76200 h 17945100"/>
                  <a:gd name="connsiteX43" fmla="*/ 2396671 w 7806871"/>
                  <a:gd name="connsiteY43" fmla="*/ 1562100 h 17945100"/>
                  <a:gd name="connsiteX44" fmla="*/ 2168071 w 7806871"/>
                  <a:gd name="connsiteY44" fmla="*/ 1790700 h 17945100"/>
                  <a:gd name="connsiteX45" fmla="*/ 1787071 w 7806871"/>
                  <a:gd name="connsiteY45" fmla="*/ 2095500 h 17945100"/>
                  <a:gd name="connsiteX46" fmla="*/ 1177471 w 7806871"/>
                  <a:gd name="connsiteY46" fmla="*/ 1981200 h 17945100"/>
                  <a:gd name="connsiteX47" fmla="*/ 491671 w 7806871"/>
                  <a:gd name="connsiteY47" fmla="*/ 1790700 h 17945100"/>
                  <a:gd name="connsiteX48" fmla="*/ 491671 w 7806871"/>
                  <a:gd name="connsiteY48" fmla="*/ 1790700 h 17945100"/>
                  <a:gd name="connsiteX0" fmla="*/ 529771 w 7806871"/>
                  <a:gd name="connsiteY0" fmla="*/ 1752600 h 17945100"/>
                  <a:gd name="connsiteX1" fmla="*/ 263071 w 7806871"/>
                  <a:gd name="connsiteY1" fmla="*/ 2133600 h 17945100"/>
                  <a:gd name="connsiteX2" fmla="*/ 339271 w 7806871"/>
                  <a:gd name="connsiteY2" fmla="*/ 2514600 h 17945100"/>
                  <a:gd name="connsiteX3" fmla="*/ 567871 w 7806871"/>
                  <a:gd name="connsiteY3" fmla="*/ 2705100 h 17945100"/>
                  <a:gd name="connsiteX4" fmla="*/ 529771 w 7806871"/>
                  <a:gd name="connsiteY4" fmla="*/ 3962400 h 17945100"/>
                  <a:gd name="connsiteX5" fmla="*/ 263071 w 7806871"/>
                  <a:gd name="connsiteY5" fmla="*/ 6819900 h 17945100"/>
                  <a:gd name="connsiteX6" fmla="*/ 72571 w 7806871"/>
                  <a:gd name="connsiteY6" fmla="*/ 9144000 h 17945100"/>
                  <a:gd name="connsiteX7" fmla="*/ 148771 w 7806871"/>
                  <a:gd name="connsiteY7" fmla="*/ 10058400 h 17945100"/>
                  <a:gd name="connsiteX8" fmla="*/ 34471 w 7806871"/>
                  <a:gd name="connsiteY8" fmla="*/ 10972800 h 17945100"/>
                  <a:gd name="connsiteX9" fmla="*/ 72571 w 7806871"/>
                  <a:gd name="connsiteY9" fmla="*/ 13258800 h 17945100"/>
                  <a:gd name="connsiteX10" fmla="*/ 0 w 7806871"/>
                  <a:gd name="connsiteY10" fmla="*/ 16718644 h 17945100"/>
                  <a:gd name="connsiteX11" fmla="*/ 1674585 w 7806871"/>
                  <a:gd name="connsiteY11" fmla="*/ 16633372 h 17945100"/>
                  <a:gd name="connsiteX12" fmla="*/ 2739571 w 7806871"/>
                  <a:gd name="connsiteY12" fmla="*/ 16344900 h 17945100"/>
                  <a:gd name="connsiteX13" fmla="*/ 2549071 w 7806871"/>
                  <a:gd name="connsiteY13" fmla="*/ 11125200 h 17945100"/>
                  <a:gd name="connsiteX14" fmla="*/ 2739571 w 7806871"/>
                  <a:gd name="connsiteY14" fmla="*/ 9601200 h 17945100"/>
                  <a:gd name="connsiteX15" fmla="*/ 2891971 w 7806871"/>
                  <a:gd name="connsiteY15" fmla="*/ 9220200 h 17945100"/>
                  <a:gd name="connsiteX16" fmla="*/ 2930071 w 7806871"/>
                  <a:gd name="connsiteY16" fmla="*/ 8801100 h 17945100"/>
                  <a:gd name="connsiteX17" fmla="*/ 2930071 w 7806871"/>
                  <a:gd name="connsiteY17" fmla="*/ 7772400 h 17945100"/>
                  <a:gd name="connsiteX18" fmla="*/ 3692071 w 7806871"/>
                  <a:gd name="connsiteY18" fmla="*/ 4114800 h 17945100"/>
                  <a:gd name="connsiteX19" fmla="*/ 3920671 w 7806871"/>
                  <a:gd name="connsiteY19" fmla="*/ 5219700 h 17945100"/>
                  <a:gd name="connsiteX20" fmla="*/ 3996871 w 7806871"/>
                  <a:gd name="connsiteY20" fmla="*/ 7048500 h 17945100"/>
                  <a:gd name="connsiteX21" fmla="*/ 3996871 w 7806871"/>
                  <a:gd name="connsiteY21" fmla="*/ 9029700 h 17945100"/>
                  <a:gd name="connsiteX22" fmla="*/ 3882571 w 7806871"/>
                  <a:gd name="connsiteY22" fmla="*/ 10401300 h 17945100"/>
                  <a:gd name="connsiteX23" fmla="*/ 4034971 w 7806871"/>
                  <a:gd name="connsiteY23" fmla="*/ 11125200 h 17945100"/>
                  <a:gd name="connsiteX24" fmla="*/ 4225471 w 7806871"/>
                  <a:gd name="connsiteY24" fmla="*/ 12877800 h 17945100"/>
                  <a:gd name="connsiteX25" fmla="*/ 4377871 w 7806871"/>
                  <a:gd name="connsiteY25" fmla="*/ 13906500 h 17945100"/>
                  <a:gd name="connsiteX26" fmla="*/ 5330371 w 7806871"/>
                  <a:gd name="connsiteY26" fmla="*/ 17868900 h 17945100"/>
                  <a:gd name="connsiteX27" fmla="*/ 6320971 w 7806871"/>
                  <a:gd name="connsiteY27" fmla="*/ 17945100 h 17945100"/>
                  <a:gd name="connsiteX28" fmla="*/ 7806871 w 7806871"/>
                  <a:gd name="connsiteY28" fmla="*/ 17297400 h 17945100"/>
                  <a:gd name="connsiteX29" fmla="*/ 6930571 w 7806871"/>
                  <a:gd name="connsiteY29" fmla="*/ 13563600 h 17945100"/>
                  <a:gd name="connsiteX30" fmla="*/ 6778171 w 7806871"/>
                  <a:gd name="connsiteY30" fmla="*/ 11277600 h 17945100"/>
                  <a:gd name="connsiteX31" fmla="*/ 6778171 w 7806871"/>
                  <a:gd name="connsiteY31" fmla="*/ 8877300 h 17945100"/>
                  <a:gd name="connsiteX32" fmla="*/ 7006771 w 7806871"/>
                  <a:gd name="connsiteY32" fmla="*/ 5143500 h 17945100"/>
                  <a:gd name="connsiteX33" fmla="*/ 7197271 w 7806871"/>
                  <a:gd name="connsiteY33" fmla="*/ 4114800 h 17945100"/>
                  <a:gd name="connsiteX34" fmla="*/ 7273471 w 7806871"/>
                  <a:gd name="connsiteY34" fmla="*/ 2781300 h 17945100"/>
                  <a:gd name="connsiteX35" fmla="*/ 7235371 w 7806871"/>
                  <a:gd name="connsiteY35" fmla="*/ 2095500 h 17945100"/>
                  <a:gd name="connsiteX36" fmla="*/ 6168571 w 7806871"/>
                  <a:gd name="connsiteY36" fmla="*/ 2171700 h 17945100"/>
                  <a:gd name="connsiteX37" fmla="*/ 4568371 w 7806871"/>
                  <a:gd name="connsiteY37" fmla="*/ 2247900 h 17945100"/>
                  <a:gd name="connsiteX38" fmla="*/ 4034971 w 7806871"/>
                  <a:gd name="connsiteY38" fmla="*/ 2209800 h 17945100"/>
                  <a:gd name="connsiteX39" fmla="*/ 3501571 w 7806871"/>
                  <a:gd name="connsiteY39" fmla="*/ 1828800 h 17945100"/>
                  <a:gd name="connsiteX40" fmla="*/ 3349171 w 7806871"/>
                  <a:gd name="connsiteY40" fmla="*/ 1295400 h 17945100"/>
                  <a:gd name="connsiteX41" fmla="*/ 3234871 w 7806871"/>
                  <a:gd name="connsiteY41" fmla="*/ 0 h 17945100"/>
                  <a:gd name="connsiteX42" fmla="*/ 2891971 w 7806871"/>
                  <a:gd name="connsiteY42" fmla="*/ 76200 h 17945100"/>
                  <a:gd name="connsiteX43" fmla="*/ 2396671 w 7806871"/>
                  <a:gd name="connsiteY43" fmla="*/ 1562100 h 17945100"/>
                  <a:gd name="connsiteX44" fmla="*/ 2168071 w 7806871"/>
                  <a:gd name="connsiteY44" fmla="*/ 1790700 h 17945100"/>
                  <a:gd name="connsiteX45" fmla="*/ 1787071 w 7806871"/>
                  <a:gd name="connsiteY45" fmla="*/ 2095500 h 17945100"/>
                  <a:gd name="connsiteX46" fmla="*/ 1177471 w 7806871"/>
                  <a:gd name="connsiteY46" fmla="*/ 1981200 h 17945100"/>
                  <a:gd name="connsiteX47" fmla="*/ 491671 w 7806871"/>
                  <a:gd name="connsiteY47" fmla="*/ 1790700 h 17945100"/>
                  <a:gd name="connsiteX48" fmla="*/ 491671 w 7806871"/>
                  <a:gd name="connsiteY48" fmla="*/ 1790700 h 17945100"/>
                  <a:gd name="connsiteX0" fmla="*/ 529771 w 7806871"/>
                  <a:gd name="connsiteY0" fmla="*/ 1752600 h 17945100"/>
                  <a:gd name="connsiteX1" fmla="*/ 263071 w 7806871"/>
                  <a:gd name="connsiteY1" fmla="*/ 2133600 h 17945100"/>
                  <a:gd name="connsiteX2" fmla="*/ 339271 w 7806871"/>
                  <a:gd name="connsiteY2" fmla="*/ 2514600 h 17945100"/>
                  <a:gd name="connsiteX3" fmla="*/ 567871 w 7806871"/>
                  <a:gd name="connsiteY3" fmla="*/ 2705100 h 17945100"/>
                  <a:gd name="connsiteX4" fmla="*/ 529771 w 7806871"/>
                  <a:gd name="connsiteY4" fmla="*/ 3962400 h 17945100"/>
                  <a:gd name="connsiteX5" fmla="*/ 263071 w 7806871"/>
                  <a:gd name="connsiteY5" fmla="*/ 6819900 h 17945100"/>
                  <a:gd name="connsiteX6" fmla="*/ 72571 w 7806871"/>
                  <a:gd name="connsiteY6" fmla="*/ 9144000 h 17945100"/>
                  <a:gd name="connsiteX7" fmla="*/ 148771 w 7806871"/>
                  <a:gd name="connsiteY7" fmla="*/ 10058400 h 17945100"/>
                  <a:gd name="connsiteX8" fmla="*/ 34471 w 7806871"/>
                  <a:gd name="connsiteY8" fmla="*/ 10972800 h 17945100"/>
                  <a:gd name="connsiteX9" fmla="*/ 72571 w 7806871"/>
                  <a:gd name="connsiteY9" fmla="*/ 13258800 h 17945100"/>
                  <a:gd name="connsiteX10" fmla="*/ 0 w 7806871"/>
                  <a:gd name="connsiteY10" fmla="*/ 16718644 h 17945100"/>
                  <a:gd name="connsiteX11" fmla="*/ 1674585 w 7806871"/>
                  <a:gd name="connsiteY11" fmla="*/ 16633372 h 17945100"/>
                  <a:gd name="connsiteX12" fmla="*/ 2739571 w 7806871"/>
                  <a:gd name="connsiteY12" fmla="*/ 16344900 h 17945100"/>
                  <a:gd name="connsiteX13" fmla="*/ 2549071 w 7806871"/>
                  <a:gd name="connsiteY13" fmla="*/ 11125200 h 17945100"/>
                  <a:gd name="connsiteX14" fmla="*/ 2739571 w 7806871"/>
                  <a:gd name="connsiteY14" fmla="*/ 9601200 h 17945100"/>
                  <a:gd name="connsiteX15" fmla="*/ 2891971 w 7806871"/>
                  <a:gd name="connsiteY15" fmla="*/ 9220200 h 17945100"/>
                  <a:gd name="connsiteX16" fmla="*/ 2930071 w 7806871"/>
                  <a:gd name="connsiteY16" fmla="*/ 8801100 h 17945100"/>
                  <a:gd name="connsiteX17" fmla="*/ 2930071 w 7806871"/>
                  <a:gd name="connsiteY17" fmla="*/ 7772400 h 17945100"/>
                  <a:gd name="connsiteX18" fmla="*/ 3692071 w 7806871"/>
                  <a:gd name="connsiteY18" fmla="*/ 4114800 h 17945100"/>
                  <a:gd name="connsiteX19" fmla="*/ 3920671 w 7806871"/>
                  <a:gd name="connsiteY19" fmla="*/ 5219700 h 17945100"/>
                  <a:gd name="connsiteX20" fmla="*/ 3996871 w 7806871"/>
                  <a:gd name="connsiteY20" fmla="*/ 7048500 h 17945100"/>
                  <a:gd name="connsiteX21" fmla="*/ 3996871 w 7806871"/>
                  <a:gd name="connsiteY21" fmla="*/ 9029700 h 17945100"/>
                  <a:gd name="connsiteX22" fmla="*/ 3882571 w 7806871"/>
                  <a:gd name="connsiteY22" fmla="*/ 10401300 h 17945100"/>
                  <a:gd name="connsiteX23" fmla="*/ 4034971 w 7806871"/>
                  <a:gd name="connsiteY23" fmla="*/ 11125200 h 17945100"/>
                  <a:gd name="connsiteX24" fmla="*/ 4225471 w 7806871"/>
                  <a:gd name="connsiteY24" fmla="*/ 12877800 h 17945100"/>
                  <a:gd name="connsiteX25" fmla="*/ 4377871 w 7806871"/>
                  <a:gd name="connsiteY25" fmla="*/ 13906500 h 17945100"/>
                  <a:gd name="connsiteX26" fmla="*/ 4263571 w 7806871"/>
                  <a:gd name="connsiteY26" fmla="*/ 17868900 h 17945100"/>
                  <a:gd name="connsiteX27" fmla="*/ 6320971 w 7806871"/>
                  <a:gd name="connsiteY27" fmla="*/ 17945100 h 17945100"/>
                  <a:gd name="connsiteX28" fmla="*/ 7806871 w 7806871"/>
                  <a:gd name="connsiteY28" fmla="*/ 17297400 h 17945100"/>
                  <a:gd name="connsiteX29" fmla="*/ 6930571 w 7806871"/>
                  <a:gd name="connsiteY29" fmla="*/ 13563600 h 17945100"/>
                  <a:gd name="connsiteX30" fmla="*/ 6778171 w 7806871"/>
                  <a:gd name="connsiteY30" fmla="*/ 11277600 h 17945100"/>
                  <a:gd name="connsiteX31" fmla="*/ 6778171 w 7806871"/>
                  <a:gd name="connsiteY31" fmla="*/ 8877300 h 17945100"/>
                  <a:gd name="connsiteX32" fmla="*/ 7006771 w 7806871"/>
                  <a:gd name="connsiteY32" fmla="*/ 5143500 h 17945100"/>
                  <a:gd name="connsiteX33" fmla="*/ 7197271 w 7806871"/>
                  <a:gd name="connsiteY33" fmla="*/ 4114800 h 17945100"/>
                  <a:gd name="connsiteX34" fmla="*/ 7273471 w 7806871"/>
                  <a:gd name="connsiteY34" fmla="*/ 2781300 h 17945100"/>
                  <a:gd name="connsiteX35" fmla="*/ 7235371 w 7806871"/>
                  <a:gd name="connsiteY35" fmla="*/ 2095500 h 17945100"/>
                  <a:gd name="connsiteX36" fmla="*/ 6168571 w 7806871"/>
                  <a:gd name="connsiteY36" fmla="*/ 2171700 h 17945100"/>
                  <a:gd name="connsiteX37" fmla="*/ 4568371 w 7806871"/>
                  <a:gd name="connsiteY37" fmla="*/ 2247900 h 17945100"/>
                  <a:gd name="connsiteX38" fmla="*/ 4034971 w 7806871"/>
                  <a:gd name="connsiteY38" fmla="*/ 2209800 h 17945100"/>
                  <a:gd name="connsiteX39" fmla="*/ 3501571 w 7806871"/>
                  <a:gd name="connsiteY39" fmla="*/ 1828800 h 17945100"/>
                  <a:gd name="connsiteX40" fmla="*/ 3349171 w 7806871"/>
                  <a:gd name="connsiteY40" fmla="*/ 1295400 h 17945100"/>
                  <a:gd name="connsiteX41" fmla="*/ 3234871 w 7806871"/>
                  <a:gd name="connsiteY41" fmla="*/ 0 h 17945100"/>
                  <a:gd name="connsiteX42" fmla="*/ 2891971 w 7806871"/>
                  <a:gd name="connsiteY42" fmla="*/ 76200 h 17945100"/>
                  <a:gd name="connsiteX43" fmla="*/ 2396671 w 7806871"/>
                  <a:gd name="connsiteY43" fmla="*/ 1562100 h 17945100"/>
                  <a:gd name="connsiteX44" fmla="*/ 2168071 w 7806871"/>
                  <a:gd name="connsiteY44" fmla="*/ 1790700 h 17945100"/>
                  <a:gd name="connsiteX45" fmla="*/ 1787071 w 7806871"/>
                  <a:gd name="connsiteY45" fmla="*/ 2095500 h 17945100"/>
                  <a:gd name="connsiteX46" fmla="*/ 1177471 w 7806871"/>
                  <a:gd name="connsiteY46" fmla="*/ 1981200 h 17945100"/>
                  <a:gd name="connsiteX47" fmla="*/ 491671 w 7806871"/>
                  <a:gd name="connsiteY47" fmla="*/ 1790700 h 17945100"/>
                  <a:gd name="connsiteX48" fmla="*/ 491671 w 7806871"/>
                  <a:gd name="connsiteY48" fmla="*/ 1790700 h 17945100"/>
                  <a:gd name="connsiteX0" fmla="*/ 529771 w 7806871"/>
                  <a:gd name="connsiteY0" fmla="*/ 1752600 h 17945100"/>
                  <a:gd name="connsiteX1" fmla="*/ 263071 w 7806871"/>
                  <a:gd name="connsiteY1" fmla="*/ 2133600 h 17945100"/>
                  <a:gd name="connsiteX2" fmla="*/ 339271 w 7806871"/>
                  <a:gd name="connsiteY2" fmla="*/ 2514600 h 17945100"/>
                  <a:gd name="connsiteX3" fmla="*/ 567871 w 7806871"/>
                  <a:gd name="connsiteY3" fmla="*/ 2705100 h 17945100"/>
                  <a:gd name="connsiteX4" fmla="*/ 529771 w 7806871"/>
                  <a:gd name="connsiteY4" fmla="*/ 3962400 h 17945100"/>
                  <a:gd name="connsiteX5" fmla="*/ 263071 w 7806871"/>
                  <a:gd name="connsiteY5" fmla="*/ 6819900 h 17945100"/>
                  <a:gd name="connsiteX6" fmla="*/ 72571 w 7806871"/>
                  <a:gd name="connsiteY6" fmla="*/ 9144000 h 17945100"/>
                  <a:gd name="connsiteX7" fmla="*/ 148771 w 7806871"/>
                  <a:gd name="connsiteY7" fmla="*/ 10058400 h 17945100"/>
                  <a:gd name="connsiteX8" fmla="*/ 34471 w 7806871"/>
                  <a:gd name="connsiteY8" fmla="*/ 10972800 h 17945100"/>
                  <a:gd name="connsiteX9" fmla="*/ 72571 w 7806871"/>
                  <a:gd name="connsiteY9" fmla="*/ 13258800 h 17945100"/>
                  <a:gd name="connsiteX10" fmla="*/ 0 w 7806871"/>
                  <a:gd name="connsiteY10" fmla="*/ 16718644 h 17945100"/>
                  <a:gd name="connsiteX11" fmla="*/ 1674585 w 7806871"/>
                  <a:gd name="connsiteY11" fmla="*/ 16633372 h 17945100"/>
                  <a:gd name="connsiteX12" fmla="*/ 2739571 w 7806871"/>
                  <a:gd name="connsiteY12" fmla="*/ 16344900 h 17945100"/>
                  <a:gd name="connsiteX13" fmla="*/ 2549071 w 7806871"/>
                  <a:gd name="connsiteY13" fmla="*/ 11125200 h 17945100"/>
                  <a:gd name="connsiteX14" fmla="*/ 2739571 w 7806871"/>
                  <a:gd name="connsiteY14" fmla="*/ 9601200 h 17945100"/>
                  <a:gd name="connsiteX15" fmla="*/ 2891971 w 7806871"/>
                  <a:gd name="connsiteY15" fmla="*/ 9220200 h 17945100"/>
                  <a:gd name="connsiteX16" fmla="*/ 2930071 w 7806871"/>
                  <a:gd name="connsiteY16" fmla="*/ 8801100 h 17945100"/>
                  <a:gd name="connsiteX17" fmla="*/ 2930071 w 7806871"/>
                  <a:gd name="connsiteY17" fmla="*/ 7772400 h 17945100"/>
                  <a:gd name="connsiteX18" fmla="*/ 3692071 w 7806871"/>
                  <a:gd name="connsiteY18" fmla="*/ 4114800 h 17945100"/>
                  <a:gd name="connsiteX19" fmla="*/ 3920671 w 7806871"/>
                  <a:gd name="connsiteY19" fmla="*/ 5219700 h 17945100"/>
                  <a:gd name="connsiteX20" fmla="*/ 3996871 w 7806871"/>
                  <a:gd name="connsiteY20" fmla="*/ 7048500 h 17945100"/>
                  <a:gd name="connsiteX21" fmla="*/ 3996871 w 7806871"/>
                  <a:gd name="connsiteY21" fmla="*/ 9029700 h 17945100"/>
                  <a:gd name="connsiteX22" fmla="*/ 3882571 w 7806871"/>
                  <a:gd name="connsiteY22" fmla="*/ 10401300 h 17945100"/>
                  <a:gd name="connsiteX23" fmla="*/ 4034971 w 7806871"/>
                  <a:gd name="connsiteY23" fmla="*/ 11125200 h 17945100"/>
                  <a:gd name="connsiteX24" fmla="*/ 4225471 w 7806871"/>
                  <a:gd name="connsiteY24" fmla="*/ 12877800 h 17945100"/>
                  <a:gd name="connsiteX25" fmla="*/ 4187371 w 7806871"/>
                  <a:gd name="connsiteY25" fmla="*/ 13868400 h 17945100"/>
                  <a:gd name="connsiteX26" fmla="*/ 4263571 w 7806871"/>
                  <a:gd name="connsiteY26" fmla="*/ 17868900 h 17945100"/>
                  <a:gd name="connsiteX27" fmla="*/ 6320971 w 7806871"/>
                  <a:gd name="connsiteY27" fmla="*/ 17945100 h 17945100"/>
                  <a:gd name="connsiteX28" fmla="*/ 7806871 w 7806871"/>
                  <a:gd name="connsiteY28" fmla="*/ 17297400 h 17945100"/>
                  <a:gd name="connsiteX29" fmla="*/ 6930571 w 7806871"/>
                  <a:gd name="connsiteY29" fmla="*/ 13563600 h 17945100"/>
                  <a:gd name="connsiteX30" fmla="*/ 6778171 w 7806871"/>
                  <a:gd name="connsiteY30" fmla="*/ 11277600 h 17945100"/>
                  <a:gd name="connsiteX31" fmla="*/ 6778171 w 7806871"/>
                  <a:gd name="connsiteY31" fmla="*/ 8877300 h 17945100"/>
                  <a:gd name="connsiteX32" fmla="*/ 7006771 w 7806871"/>
                  <a:gd name="connsiteY32" fmla="*/ 5143500 h 17945100"/>
                  <a:gd name="connsiteX33" fmla="*/ 7197271 w 7806871"/>
                  <a:gd name="connsiteY33" fmla="*/ 4114800 h 17945100"/>
                  <a:gd name="connsiteX34" fmla="*/ 7273471 w 7806871"/>
                  <a:gd name="connsiteY34" fmla="*/ 2781300 h 17945100"/>
                  <a:gd name="connsiteX35" fmla="*/ 7235371 w 7806871"/>
                  <a:gd name="connsiteY35" fmla="*/ 2095500 h 17945100"/>
                  <a:gd name="connsiteX36" fmla="*/ 6168571 w 7806871"/>
                  <a:gd name="connsiteY36" fmla="*/ 2171700 h 17945100"/>
                  <a:gd name="connsiteX37" fmla="*/ 4568371 w 7806871"/>
                  <a:gd name="connsiteY37" fmla="*/ 2247900 h 17945100"/>
                  <a:gd name="connsiteX38" fmla="*/ 4034971 w 7806871"/>
                  <a:gd name="connsiteY38" fmla="*/ 2209800 h 17945100"/>
                  <a:gd name="connsiteX39" fmla="*/ 3501571 w 7806871"/>
                  <a:gd name="connsiteY39" fmla="*/ 1828800 h 17945100"/>
                  <a:gd name="connsiteX40" fmla="*/ 3349171 w 7806871"/>
                  <a:gd name="connsiteY40" fmla="*/ 1295400 h 17945100"/>
                  <a:gd name="connsiteX41" fmla="*/ 3234871 w 7806871"/>
                  <a:gd name="connsiteY41" fmla="*/ 0 h 17945100"/>
                  <a:gd name="connsiteX42" fmla="*/ 2891971 w 7806871"/>
                  <a:gd name="connsiteY42" fmla="*/ 76200 h 17945100"/>
                  <a:gd name="connsiteX43" fmla="*/ 2396671 w 7806871"/>
                  <a:gd name="connsiteY43" fmla="*/ 1562100 h 17945100"/>
                  <a:gd name="connsiteX44" fmla="*/ 2168071 w 7806871"/>
                  <a:gd name="connsiteY44" fmla="*/ 1790700 h 17945100"/>
                  <a:gd name="connsiteX45" fmla="*/ 1787071 w 7806871"/>
                  <a:gd name="connsiteY45" fmla="*/ 2095500 h 17945100"/>
                  <a:gd name="connsiteX46" fmla="*/ 1177471 w 7806871"/>
                  <a:gd name="connsiteY46" fmla="*/ 1981200 h 17945100"/>
                  <a:gd name="connsiteX47" fmla="*/ 491671 w 7806871"/>
                  <a:gd name="connsiteY47" fmla="*/ 1790700 h 17945100"/>
                  <a:gd name="connsiteX48" fmla="*/ 491671 w 7806871"/>
                  <a:gd name="connsiteY48"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72571 w 7273471"/>
                  <a:gd name="connsiteY6" fmla="*/ 9144000 h 17945100"/>
                  <a:gd name="connsiteX7" fmla="*/ 148771 w 7273471"/>
                  <a:gd name="connsiteY7" fmla="*/ 10058400 h 17945100"/>
                  <a:gd name="connsiteX8" fmla="*/ 34471 w 7273471"/>
                  <a:gd name="connsiteY8" fmla="*/ 10972800 h 17945100"/>
                  <a:gd name="connsiteX9" fmla="*/ 72571 w 7273471"/>
                  <a:gd name="connsiteY9" fmla="*/ 13258800 h 17945100"/>
                  <a:gd name="connsiteX10" fmla="*/ 0 w 7273471"/>
                  <a:gd name="connsiteY10" fmla="*/ 16718644 h 17945100"/>
                  <a:gd name="connsiteX11" fmla="*/ 1674585 w 7273471"/>
                  <a:gd name="connsiteY11" fmla="*/ 16633372 h 17945100"/>
                  <a:gd name="connsiteX12" fmla="*/ 2739571 w 7273471"/>
                  <a:gd name="connsiteY12" fmla="*/ 16344900 h 17945100"/>
                  <a:gd name="connsiteX13" fmla="*/ 2549071 w 7273471"/>
                  <a:gd name="connsiteY13" fmla="*/ 11125200 h 17945100"/>
                  <a:gd name="connsiteX14" fmla="*/ 2739571 w 7273471"/>
                  <a:gd name="connsiteY14" fmla="*/ 9601200 h 17945100"/>
                  <a:gd name="connsiteX15" fmla="*/ 2891971 w 7273471"/>
                  <a:gd name="connsiteY15" fmla="*/ 9220200 h 17945100"/>
                  <a:gd name="connsiteX16" fmla="*/ 2930071 w 7273471"/>
                  <a:gd name="connsiteY16" fmla="*/ 88011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3996871 w 7273471"/>
                  <a:gd name="connsiteY21" fmla="*/ 9029700 h 17945100"/>
                  <a:gd name="connsiteX22" fmla="*/ 3882571 w 7273471"/>
                  <a:gd name="connsiteY22" fmla="*/ 10401300 h 17945100"/>
                  <a:gd name="connsiteX23" fmla="*/ 4034971 w 7273471"/>
                  <a:gd name="connsiteY23" fmla="*/ 111252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778171 w 7273471"/>
                  <a:gd name="connsiteY30" fmla="*/ 11277600 h 17945100"/>
                  <a:gd name="connsiteX31" fmla="*/ 6778171 w 7273471"/>
                  <a:gd name="connsiteY31" fmla="*/ 8877300 h 17945100"/>
                  <a:gd name="connsiteX32" fmla="*/ 7006771 w 7273471"/>
                  <a:gd name="connsiteY32" fmla="*/ 5143500 h 17945100"/>
                  <a:gd name="connsiteX33" fmla="*/ 7197271 w 7273471"/>
                  <a:gd name="connsiteY33" fmla="*/ 4114800 h 17945100"/>
                  <a:gd name="connsiteX34" fmla="*/ 7273471 w 7273471"/>
                  <a:gd name="connsiteY34" fmla="*/ 2781300 h 17945100"/>
                  <a:gd name="connsiteX35" fmla="*/ 7235371 w 7273471"/>
                  <a:gd name="connsiteY35" fmla="*/ 2095500 h 17945100"/>
                  <a:gd name="connsiteX36" fmla="*/ 6168571 w 7273471"/>
                  <a:gd name="connsiteY36" fmla="*/ 2171700 h 17945100"/>
                  <a:gd name="connsiteX37" fmla="*/ 4568371 w 7273471"/>
                  <a:gd name="connsiteY37" fmla="*/ 2247900 h 17945100"/>
                  <a:gd name="connsiteX38" fmla="*/ 4034971 w 7273471"/>
                  <a:gd name="connsiteY38" fmla="*/ 2209800 h 17945100"/>
                  <a:gd name="connsiteX39" fmla="*/ 3501571 w 7273471"/>
                  <a:gd name="connsiteY39" fmla="*/ 1828800 h 17945100"/>
                  <a:gd name="connsiteX40" fmla="*/ 3349171 w 7273471"/>
                  <a:gd name="connsiteY40" fmla="*/ 1295400 h 17945100"/>
                  <a:gd name="connsiteX41" fmla="*/ 3234871 w 7273471"/>
                  <a:gd name="connsiteY41" fmla="*/ 0 h 17945100"/>
                  <a:gd name="connsiteX42" fmla="*/ 2891971 w 7273471"/>
                  <a:gd name="connsiteY42" fmla="*/ 76200 h 17945100"/>
                  <a:gd name="connsiteX43" fmla="*/ 2396671 w 7273471"/>
                  <a:gd name="connsiteY43" fmla="*/ 1562100 h 17945100"/>
                  <a:gd name="connsiteX44" fmla="*/ 2168071 w 7273471"/>
                  <a:gd name="connsiteY44" fmla="*/ 1790700 h 17945100"/>
                  <a:gd name="connsiteX45" fmla="*/ 1787071 w 7273471"/>
                  <a:gd name="connsiteY45" fmla="*/ 2095500 h 17945100"/>
                  <a:gd name="connsiteX46" fmla="*/ 1177471 w 7273471"/>
                  <a:gd name="connsiteY46" fmla="*/ 1981200 h 17945100"/>
                  <a:gd name="connsiteX47" fmla="*/ 491671 w 7273471"/>
                  <a:gd name="connsiteY47" fmla="*/ 1790700 h 17945100"/>
                  <a:gd name="connsiteX48" fmla="*/ 491671 w 7273471"/>
                  <a:gd name="connsiteY48"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72571 w 7273471"/>
                  <a:gd name="connsiteY6" fmla="*/ 9144000 h 17945100"/>
                  <a:gd name="connsiteX7" fmla="*/ 148771 w 7273471"/>
                  <a:gd name="connsiteY7" fmla="*/ 10058400 h 17945100"/>
                  <a:gd name="connsiteX8" fmla="*/ 34471 w 7273471"/>
                  <a:gd name="connsiteY8" fmla="*/ 10972800 h 17945100"/>
                  <a:gd name="connsiteX9" fmla="*/ 72571 w 7273471"/>
                  <a:gd name="connsiteY9" fmla="*/ 13258800 h 17945100"/>
                  <a:gd name="connsiteX10" fmla="*/ 0 w 7273471"/>
                  <a:gd name="connsiteY10" fmla="*/ 16718644 h 17945100"/>
                  <a:gd name="connsiteX11" fmla="*/ 1674585 w 7273471"/>
                  <a:gd name="connsiteY11" fmla="*/ 16633372 h 17945100"/>
                  <a:gd name="connsiteX12" fmla="*/ 2739571 w 7273471"/>
                  <a:gd name="connsiteY12" fmla="*/ 16954500 h 17945100"/>
                  <a:gd name="connsiteX13" fmla="*/ 2549071 w 7273471"/>
                  <a:gd name="connsiteY13" fmla="*/ 11125200 h 17945100"/>
                  <a:gd name="connsiteX14" fmla="*/ 2739571 w 7273471"/>
                  <a:gd name="connsiteY14" fmla="*/ 9601200 h 17945100"/>
                  <a:gd name="connsiteX15" fmla="*/ 2891971 w 7273471"/>
                  <a:gd name="connsiteY15" fmla="*/ 9220200 h 17945100"/>
                  <a:gd name="connsiteX16" fmla="*/ 2930071 w 7273471"/>
                  <a:gd name="connsiteY16" fmla="*/ 88011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3996871 w 7273471"/>
                  <a:gd name="connsiteY21" fmla="*/ 9029700 h 17945100"/>
                  <a:gd name="connsiteX22" fmla="*/ 3882571 w 7273471"/>
                  <a:gd name="connsiteY22" fmla="*/ 10401300 h 17945100"/>
                  <a:gd name="connsiteX23" fmla="*/ 4034971 w 7273471"/>
                  <a:gd name="connsiteY23" fmla="*/ 111252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778171 w 7273471"/>
                  <a:gd name="connsiteY30" fmla="*/ 11277600 h 17945100"/>
                  <a:gd name="connsiteX31" fmla="*/ 6778171 w 7273471"/>
                  <a:gd name="connsiteY31" fmla="*/ 8877300 h 17945100"/>
                  <a:gd name="connsiteX32" fmla="*/ 7006771 w 7273471"/>
                  <a:gd name="connsiteY32" fmla="*/ 5143500 h 17945100"/>
                  <a:gd name="connsiteX33" fmla="*/ 7197271 w 7273471"/>
                  <a:gd name="connsiteY33" fmla="*/ 4114800 h 17945100"/>
                  <a:gd name="connsiteX34" fmla="*/ 7273471 w 7273471"/>
                  <a:gd name="connsiteY34" fmla="*/ 2781300 h 17945100"/>
                  <a:gd name="connsiteX35" fmla="*/ 7235371 w 7273471"/>
                  <a:gd name="connsiteY35" fmla="*/ 2095500 h 17945100"/>
                  <a:gd name="connsiteX36" fmla="*/ 6168571 w 7273471"/>
                  <a:gd name="connsiteY36" fmla="*/ 2171700 h 17945100"/>
                  <a:gd name="connsiteX37" fmla="*/ 4568371 w 7273471"/>
                  <a:gd name="connsiteY37" fmla="*/ 2247900 h 17945100"/>
                  <a:gd name="connsiteX38" fmla="*/ 4034971 w 7273471"/>
                  <a:gd name="connsiteY38" fmla="*/ 2209800 h 17945100"/>
                  <a:gd name="connsiteX39" fmla="*/ 3501571 w 7273471"/>
                  <a:gd name="connsiteY39" fmla="*/ 1828800 h 17945100"/>
                  <a:gd name="connsiteX40" fmla="*/ 3349171 w 7273471"/>
                  <a:gd name="connsiteY40" fmla="*/ 1295400 h 17945100"/>
                  <a:gd name="connsiteX41" fmla="*/ 3234871 w 7273471"/>
                  <a:gd name="connsiteY41" fmla="*/ 0 h 17945100"/>
                  <a:gd name="connsiteX42" fmla="*/ 2891971 w 7273471"/>
                  <a:gd name="connsiteY42" fmla="*/ 76200 h 17945100"/>
                  <a:gd name="connsiteX43" fmla="*/ 2396671 w 7273471"/>
                  <a:gd name="connsiteY43" fmla="*/ 1562100 h 17945100"/>
                  <a:gd name="connsiteX44" fmla="*/ 2168071 w 7273471"/>
                  <a:gd name="connsiteY44" fmla="*/ 1790700 h 17945100"/>
                  <a:gd name="connsiteX45" fmla="*/ 1787071 w 7273471"/>
                  <a:gd name="connsiteY45" fmla="*/ 2095500 h 17945100"/>
                  <a:gd name="connsiteX46" fmla="*/ 1177471 w 7273471"/>
                  <a:gd name="connsiteY46" fmla="*/ 1981200 h 17945100"/>
                  <a:gd name="connsiteX47" fmla="*/ 491671 w 7273471"/>
                  <a:gd name="connsiteY47" fmla="*/ 1790700 h 17945100"/>
                  <a:gd name="connsiteX48" fmla="*/ 491671 w 7273471"/>
                  <a:gd name="connsiteY48"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72571 w 7273471"/>
                  <a:gd name="connsiteY6" fmla="*/ 9144000 h 17945100"/>
                  <a:gd name="connsiteX7" fmla="*/ 148771 w 7273471"/>
                  <a:gd name="connsiteY7" fmla="*/ 10058400 h 17945100"/>
                  <a:gd name="connsiteX8" fmla="*/ 34471 w 7273471"/>
                  <a:gd name="connsiteY8" fmla="*/ 109728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739571 w 7273471"/>
                  <a:gd name="connsiteY14" fmla="*/ 9601200 h 17945100"/>
                  <a:gd name="connsiteX15" fmla="*/ 2891971 w 7273471"/>
                  <a:gd name="connsiteY15" fmla="*/ 9220200 h 17945100"/>
                  <a:gd name="connsiteX16" fmla="*/ 2930071 w 7273471"/>
                  <a:gd name="connsiteY16" fmla="*/ 88011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3996871 w 7273471"/>
                  <a:gd name="connsiteY21" fmla="*/ 9029700 h 17945100"/>
                  <a:gd name="connsiteX22" fmla="*/ 3882571 w 7273471"/>
                  <a:gd name="connsiteY22" fmla="*/ 10401300 h 17945100"/>
                  <a:gd name="connsiteX23" fmla="*/ 4034971 w 7273471"/>
                  <a:gd name="connsiteY23" fmla="*/ 111252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778171 w 7273471"/>
                  <a:gd name="connsiteY30" fmla="*/ 11277600 h 17945100"/>
                  <a:gd name="connsiteX31" fmla="*/ 6778171 w 7273471"/>
                  <a:gd name="connsiteY31" fmla="*/ 8877300 h 17945100"/>
                  <a:gd name="connsiteX32" fmla="*/ 7006771 w 7273471"/>
                  <a:gd name="connsiteY32" fmla="*/ 5143500 h 17945100"/>
                  <a:gd name="connsiteX33" fmla="*/ 7197271 w 7273471"/>
                  <a:gd name="connsiteY33" fmla="*/ 4114800 h 17945100"/>
                  <a:gd name="connsiteX34" fmla="*/ 7273471 w 7273471"/>
                  <a:gd name="connsiteY34" fmla="*/ 2781300 h 17945100"/>
                  <a:gd name="connsiteX35" fmla="*/ 7235371 w 7273471"/>
                  <a:gd name="connsiteY35" fmla="*/ 2095500 h 17945100"/>
                  <a:gd name="connsiteX36" fmla="*/ 6168571 w 7273471"/>
                  <a:gd name="connsiteY36" fmla="*/ 2171700 h 17945100"/>
                  <a:gd name="connsiteX37" fmla="*/ 4568371 w 7273471"/>
                  <a:gd name="connsiteY37" fmla="*/ 2247900 h 17945100"/>
                  <a:gd name="connsiteX38" fmla="*/ 4034971 w 7273471"/>
                  <a:gd name="connsiteY38" fmla="*/ 2209800 h 17945100"/>
                  <a:gd name="connsiteX39" fmla="*/ 3501571 w 7273471"/>
                  <a:gd name="connsiteY39" fmla="*/ 1828800 h 17945100"/>
                  <a:gd name="connsiteX40" fmla="*/ 3349171 w 7273471"/>
                  <a:gd name="connsiteY40" fmla="*/ 1295400 h 17945100"/>
                  <a:gd name="connsiteX41" fmla="*/ 3234871 w 7273471"/>
                  <a:gd name="connsiteY41" fmla="*/ 0 h 17945100"/>
                  <a:gd name="connsiteX42" fmla="*/ 2891971 w 7273471"/>
                  <a:gd name="connsiteY42" fmla="*/ 76200 h 17945100"/>
                  <a:gd name="connsiteX43" fmla="*/ 2396671 w 7273471"/>
                  <a:gd name="connsiteY43" fmla="*/ 1562100 h 17945100"/>
                  <a:gd name="connsiteX44" fmla="*/ 2168071 w 7273471"/>
                  <a:gd name="connsiteY44" fmla="*/ 1790700 h 17945100"/>
                  <a:gd name="connsiteX45" fmla="*/ 1787071 w 7273471"/>
                  <a:gd name="connsiteY45" fmla="*/ 2095500 h 17945100"/>
                  <a:gd name="connsiteX46" fmla="*/ 1177471 w 7273471"/>
                  <a:gd name="connsiteY46" fmla="*/ 1981200 h 17945100"/>
                  <a:gd name="connsiteX47" fmla="*/ 491671 w 7273471"/>
                  <a:gd name="connsiteY47" fmla="*/ 1790700 h 17945100"/>
                  <a:gd name="connsiteX48" fmla="*/ 491671 w 7273471"/>
                  <a:gd name="connsiteY48"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72571 w 7273471"/>
                  <a:gd name="connsiteY6" fmla="*/ 9144000 h 17945100"/>
                  <a:gd name="connsiteX7" fmla="*/ 148771 w 7273471"/>
                  <a:gd name="connsiteY7" fmla="*/ 10058400 h 17945100"/>
                  <a:gd name="connsiteX8" fmla="*/ 34471 w 7273471"/>
                  <a:gd name="connsiteY8" fmla="*/ 109728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739571 w 7273471"/>
                  <a:gd name="connsiteY14" fmla="*/ 9601200 h 17945100"/>
                  <a:gd name="connsiteX15" fmla="*/ 2891971 w 7273471"/>
                  <a:gd name="connsiteY15" fmla="*/ 9220200 h 17945100"/>
                  <a:gd name="connsiteX16" fmla="*/ 2930071 w 7273471"/>
                  <a:gd name="connsiteY16" fmla="*/ 88011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3996871 w 7273471"/>
                  <a:gd name="connsiteY21" fmla="*/ 9029700 h 17945100"/>
                  <a:gd name="connsiteX22" fmla="*/ 4111171 w 7273471"/>
                  <a:gd name="connsiteY22" fmla="*/ 10020300 h 17945100"/>
                  <a:gd name="connsiteX23" fmla="*/ 4034971 w 7273471"/>
                  <a:gd name="connsiteY23" fmla="*/ 111252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778171 w 7273471"/>
                  <a:gd name="connsiteY30" fmla="*/ 11277600 h 17945100"/>
                  <a:gd name="connsiteX31" fmla="*/ 6778171 w 7273471"/>
                  <a:gd name="connsiteY31" fmla="*/ 8877300 h 17945100"/>
                  <a:gd name="connsiteX32" fmla="*/ 7006771 w 7273471"/>
                  <a:gd name="connsiteY32" fmla="*/ 5143500 h 17945100"/>
                  <a:gd name="connsiteX33" fmla="*/ 7197271 w 7273471"/>
                  <a:gd name="connsiteY33" fmla="*/ 4114800 h 17945100"/>
                  <a:gd name="connsiteX34" fmla="*/ 7273471 w 7273471"/>
                  <a:gd name="connsiteY34" fmla="*/ 2781300 h 17945100"/>
                  <a:gd name="connsiteX35" fmla="*/ 7235371 w 7273471"/>
                  <a:gd name="connsiteY35" fmla="*/ 2095500 h 17945100"/>
                  <a:gd name="connsiteX36" fmla="*/ 6168571 w 7273471"/>
                  <a:gd name="connsiteY36" fmla="*/ 2171700 h 17945100"/>
                  <a:gd name="connsiteX37" fmla="*/ 4568371 w 7273471"/>
                  <a:gd name="connsiteY37" fmla="*/ 2247900 h 17945100"/>
                  <a:gd name="connsiteX38" fmla="*/ 4034971 w 7273471"/>
                  <a:gd name="connsiteY38" fmla="*/ 2209800 h 17945100"/>
                  <a:gd name="connsiteX39" fmla="*/ 3501571 w 7273471"/>
                  <a:gd name="connsiteY39" fmla="*/ 1828800 h 17945100"/>
                  <a:gd name="connsiteX40" fmla="*/ 3349171 w 7273471"/>
                  <a:gd name="connsiteY40" fmla="*/ 1295400 h 17945100"/>
                  <a:gd name="connsiteX41" fmla="*/ 3234871 w 7273471"/>
                  <a:gd name="connsiteY41" fmla="*/ 0 h 17945100"/>
                  <a:gd name="connsiteX42" fmla="*/ 2891971 w 7273471"/>
                  <a:gd name="connsiteY42" fmla="*/ 76200 h 17945100"/>
                  <a:gd name="connsiteX43" fmla="*/ 2396671 w 7273471"/>
                  <a:gd name="connsiteY43" fmla="*/ 1562100 h 17945100"/>
                  <a:gd name="connsiteX44" fmla="*/ 2168071 w 7273471"/>
                  <a:gd name="connsiteY44" fmla="*/ 1790700 h 17945100"/>
                  <a:gd name="connsiteX45" fmla="*/ 1787071 w 7273471"/>
                  <a:gd name="connsiteY45" fmla="*/ 2095500 h 17945100"/>
                  <a:gd name="connsiteX46" fmla="*/ 1177471 w 7273471"/>
                  <a:gd name="connsiteY46" fmla="*/ 1981200 h 17945100"/>
                  <a:gd name="connsiteX47" fmla="*/ 491671 w 7273471"/>
                  <a:gd name="connsiteY47" fmla="*/ 1790700 h 17945100"/>
                  <a:gd name="connsiteX48" fmla="*/ 491671 w 7273471"/>
                  <a:gd name="connsiteY48"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72571 w 7273471"/>
                  <a:gd name="connsiteY6" fmla="*/ 9144000 h 17945100"/>
                  <a:gd name="connsiteX7" fmla="*/ 148771 w 7273471"/>
                  <a:gd name="connsiteY7" fmla="*/ 10058400 h 17945100"/>
                  <a:gd name="connsiteX8" fmla="*/ 34471 w 7273471"/>
                  <a:gd name="connsiteY8" fmla="*/ 109728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739571 w 7273471"/>
                  <a:gd name="connsiteY14" fmla="*/ 9601200 h 17945100"/>
                  <a:gd name="connsiteX15" fmla="*/ 2891971 w 7273471"/>
                  <a:gd name="connsiteY15" fmla="*/ 9220200 h 17945100"/>
                  <a:gd name="connsiteX16" fmla="*/ 2930071 w 7273471"/>
                  <a:gd name="connsiteY16" fmla="*/ 88011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3996871 w 7273471"/>
                  <a:gd name="connsiteY21" fmla="*/ 9029700 h 17945100"/>
                  <a:gd name="connsiteX22" fmla="*/ 4111171 w 7273471"/>
                  <a:gd name="connsiteY22" fmla="*/ 10020300 h 17945100"/>
                  <a:gd name="connsiteX23" fmla="*/ 4034971 w 7273471"/>
                  <a:gd name="connsiteY23" fmla="*/ 111252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778171 w 7273471"/>
                  <a:gd name="connsiteY30" fmla="*/ 11277600 h 17945100"/>
                  <a:gd name="connsiteX31" fmla="*/ 6587672 w 7273471"/>
                  <a:gd name="connsiteY31" fmla="*/ 10248900 h 17945100"/>
                  <a:gd name="connsiteX32" fmla="*/ 67781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72571 w 7273471"/>
                  <a:gd name="connsiteY6" fmla="*/ 9144000 h 17945100"/>
                  <a:gd name="connsiteX7" fmla="*/ 148771 w 7273471"/>
                  <a:gd name="connsiteY7" fmla="*/ 10058400 h 17945100"/>
                  <a:gd name="connsiteX8" fmla="*/ 34471 w 7273471"/>
                  <a:gd name="connsiteY8" fmla="*/ 109728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739571 w 7273471"/>
                  <a:gd name="connsiteY14" fmla="*/ 9601200 h 17945100"/>
                  <a:gd name="connsiteX15" fmla="*/ 2891971 w 7273471"/>
                  <a:gd name="connsiteY15" fmla="*/ 9220200 h 17945100"/>
                  <a:gd name="connsiteX16" fmla="*/ 2930071 w 7273471"/>
                  <a:gd name="connsiteY16" fmla="*/ 88011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3996871 w 7273471"/>
                  <a:gd name="connsiteY21" fmla="*/ 9029700 h 17945100"/>
                  <a:gd name="connsiteX22" fmla="*/ 4111171 w 7273471"/>
                  <a:gd name="connsiteY22" fmla="*/ 10020300 h 17945100"/>
                  <a:gd name="connsiteX23" fmla="*/ 4034971 w 7273471"/>
                  <a:gd name="connsiteY23" fmla="*/ 111252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778171 w 7273471"/>
                  <a:gd name="connsiteY30" fmla="*/ 11277600 h 17945100"/>
                  <a:gd name="connsiteX31" fmla="*/ 6816272 w 7273471"/>
                  <a:gd name="connsiteY31" fmla="*/ 10172700 h 17945100"/>
                  <a:gd name="connsiteX32" fmla="*/ 67781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72571 w 7273471"/>
                  <a:gd name="connsiteY6" fmla="*/ 9144000 h 17945100"/>
                  <a:gd name="connsiteX7" fmla="*/ 148771 w 7273471"/>
                  <a:gd name="connsiteY7" fmla="*/ 10058400 h 17945100"/>
                  <a:gd name="connsiteX8" fmla="*/ 34471 w 7273471"/>
                  <a:gd name="connsiteY8" fmla="*/ 109728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739571 w 7273471"/>
                  <a:gd name="connsiteY14" fmla="*/ 9601200 h 17945100"/>
                  <a:gd name="connsiteX15" fmla="*/ 2891971 w 7273471"/>
                  <a:gd name="connsiteY15" fmla="*/ 9220200 h 17945100"/>
                  <a:gd name="connsiteX16" fmla="*/ 2930071 w 7273471"/>
                  <a:gd name="connsiteY16" fmla="*/ 88011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4073071 w 7273471"/>
                  <a:gd name="connsiteY21" fmla="*/ 8839200 h 17945100"/>
                  <a:gd name="connsiteX22" fmla="*/ 4111171 w 7273471"/>
                  <a:gd name="connsiteY22" fmla="*/ 10020300 h 17945100"/>
                  <a:gd name="connsiteX23" fmla="*/ 4034971 w 7273471"/>
                  <a:gd name="connsiteY23" fmla="*/ 111252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778171 w 7273471"/>
                  <a:gd name="connsiteY30" fmla="*/ 11277600 h 17945100"/>
                  <a:gd name="connsiteX31" fmla="*/ 6816272 w 7273471"/>
                  <a:gd name="connsiteY31" fmla="*/ 10172700 h 17945100"/>
                  <a:gd name="connsiteX32" fmla="*/ 67781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72571 w 7273471"/>
                  <a:gd name="connsiteY6" fmla="*/ 9144000 h 17945100"/>
                  <a:gd name="connsiteX7" fmla="*/ 148771 w 7273471"/>
                  <a:gd name="connsiteY7" fmla="*/ 10058400 h 17945100"/>
                  <a:gd name="connsiteX8" fmla="*/ 34471 w 7273471"/>
                  <a:gd name="connsiteY8" fmla="*/ 109728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739571 w 7273471"/>
                  <a:gd name="connsiteY14" fmla="*/ 9601200 h 17945100"/>
                  <a:gd name="connsiteX15" fmla="*/ 2891971 w 7273471"/>
                  <a:gd name="connsiteY15" fmla="*/ 9220200 h 17945100"/>
                  <a:gd name="connsiteX16" fmla="*/ 2930071 w 7273471"/>
                  <a:gd name="connsiteY16" fmla="*/ 88011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4073071 w 7273471"/>
                  <a:gd name="connsiteY21" fmla="*/ 8839200 h 17945100"/>
                  <a:gd name="connsiteX22" fmla="*/ 4111171 w 7273471"/>
                  <a:gd name="connsiteY22" fmla="*/ 10020300 h 17945100"/>
                  <a:gd name="connsiteX23" fmla="*/ 4034971 w 7273471"/>
                  <a:gd name="connsiteY23" fmla="*/ 111252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778171 w 7273471"/>
                  <a:gd name="connsiteY30" fmla="*/ 11277600 h 17945100"/>
                  <a:gd name="connsiteX31" fmla="*/ 6587672 w 7273471"/>
                  <a:gd name="connsiteY31" fmla="*/ 10210800 h 17945100"/>
                  <a:gd name="connsiteX32" fmla="*/ 67781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72571 w 7273471"/>
                  <a:gd name="connsiteY6" fmla="*/ 9144000 h 17945100"/>
                  <a:gd name="connsiteX7" fmla="*/ 148771 w 7273471"/>
                  <a:gd name="connsiteY7" fmla="*/ 10058400 h 17945100"/>
                  <a:gd name="connsiteX8" fmla="*/ 34471 w 7273471"/>
                  <a:gd name="connsiteY8" fmla="*/ 109728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739571 w 7273471"/>
                  <a:gd name="connsiteY14" fmla="*/ 9601200 h 17945100"/>
                  <a:gd name="connsiteX15" fmla="*/ 2891971 w 7273471"/>
                  <a:gd name="connsiteY15" fmla="*/ 9220200 h 17945100"/>
                  <a:gd name="connsiteX16" fmla="*/ 2930071 w 7273471"/>
                  <a:gd name="connsiteY16" fmla="*/ 88011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4073071 w 7273471"/>
                  <a:gd name="connsiteY21" fmla="*/ 8839200 h 17945100"/>
                  <a:gd name="connsiteX22" fmla="*/ 4111171 w 7273471"/>
                  <a:gd name="connsiteY22" fmla="*/ 10020300 h 17945100"/>
                  <a:gd name="connsiteX23" fmla="*/ 4034971 w 7273471"/>
                  <a:gd name="connsiteY23" fmla="*/ 111252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778171 w 7273471"/>
                  <a:gd name="connsiteY30" fmla="*/ 11277600 h 17945100"/>
                  <a:gd name="connsiteX31" fmla="*/ 6587672 w 7273471"/>
                  <a:gd name="connsiteY31" fmla="*/ 10210800 h 17945100"/>
                  <a:gd name="connsiteX32" fmla="*/ 67781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72571 w 7273471"/>
                  <a:gd name="connsiteY6" fmla="*/ 9144000 h 17945100"/>
                  <a:gd name="connsiteX7" fmla="*/ 148771 w 7273471"/>
                  <a:gd name="connsiteY7" fmla="*/ 10058400 h 17945100"/>
                  <a:gd name="connsiteX8" fmla="*/ 34471 w 7273471"/>
                  <a:gd name="connsiteY8" fmla="*/ 109728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739571 w 7273471"/>
                  <a:gd name="connsiteY14" fmla="*/ 9601200 h 17945100"/>
                  <a:gd name="connsiteX15" fmla="*/ 2891971 w 7273471"/>
                  <a:gd name="connsiteY15" fmla="*/ 9220200 h 17945100"/>
                  <a:gd name="connsiteX16" fmla="*/ 2930071 w 7273471"/>
                  <a:gd name="connsiteY16" fmla="*/ 88011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4073071 w 7273471"/>
                  <a:gd name="connsiteY21" fmla="*/ 8839200 h 17945100"/>
                  <a:gd name="connsiteX22" fmla="*/ 4111171 w 7273471"/>
                  <a:gd name="connsiteY22" fmla="*/ 10020300 h 17945100"/>
                  <a:gd name="connsiteX23" fmla="*/ 4034971 w 7273471"/>
                  <a:gd name="connsiteY23" fmla="*/ 111252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663871 w 7273471"/>
                  <a:gd name="connsiteY30" fmla="*/ 11430000 h 17945100"/>
                  <a:gd name="connsiteX31" fmla="*/ 6587672 w 7273471"/>
                  <a:gd name="connsiteY31" fmla="*/ 10210800 h 17945100"/>
                  <a:gd name="connsiteX32" fmla="*/ 67781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72571 w 7273471"/>
                  <a:gd name="connsiteY6" fmla="*/ 9144000 h 17945100"/>
                  <a:gd name="connsiteX7" fmla="*/ 148771 w 7273471"/>
                  <a:gd name="connsiteY7" fmla="*/ 10058400 h 17945100"/>
                  <a:gd name="connsiteX8" fmla="*/ 34471 w 7273471"/>
                  <a:gd name="connsiteY8" fmla="*/ 109728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739571 w 7273471"/>
                  <a:gd name="connsiteY14" fmla="*/ 9601200 h 17945100"/>
                  <a:gd name="connsiteX15" fmla="*/ 2891971 w 7273471"/>
                  <a:gd name="connsiteY15" fmla="*/ 9220200 h 17945100"/>
                  <a:gd name="connsiteX16" fmla="*/ 2930071 w 7273471"/>
                  <a:gd name="connsiteY16" fmla="*/ 88011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4073071 w 7273471"/>
                  <a:gd name="connsiteY21" fmla="*/ 8839200 h 17945100"/>
                  <a:gd name="connsiteX22" fmla="*/ 4263571 w 7273471"/>
                  <a:gd name="connsiteY22" fmla="*/ 10058400 h 17945100"/>
                  <a:gd name="connsiteX23" fmla="*/ 4034971 w 7273471"/>
                  <a:gd name="connsiteY23" fmla="*/ 111252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663871 w 7273471"/>
                  <a:gd name="connsiteY30" fmla="*/ 11430000 h 17945100"/>
                  <a:gd name="connsiteX31" fmla="*/ 6587672 w 7273471"/>
                  <a:gd name="connsiteY31" fmla="*/ 10210800 h 17945100"/>
                  <a:gd name="connsiteX32" fmla="*/ 67781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72571 w 7273471"/>
                  <a:gd name="connsiteY6" fmla="*/ 9144000 h 17945100"/>
                  <a:gd name="connsiteX7" fmla="*/ 148771 w 7273471"/>
                  <a:gd name="connsiteY7" fmla="*/ 10058400 h 17945100"/>
                  <a:gd name="connsiteX8" fmla="*/ 34471 w 7273471"/>
                  <a:gd name="connsiteY8" fmla="*/ 109728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739571 w 7273471"/>
                  <a:gd name="connsiteY14" fmla="*/ 9601200 h 17945100"/>
                  <a:gd name="connsiteX15" fmla="*/ 2891971 w 7273471"/>
                  <a:gd name="connsiteY15" fmla="*/ 9220200 h 17945100"/>
                  <a:gd name="connsiteX16" fmla="*/ 2930071 w 7273471"/>
                  <a:gd name="connsiteY16" fmla="*/ 88011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4149271 w 7273471"/>
                  <a:gd name="connsiteY21" fmla="*/ 8801100 h 17945100"/>
                  <a:gd name="connsiteX22" fmla="*/ 4263571 w 7273471"/>
                  <a:gd name="connsiteY22" fmla="*/ 10058400 h 17945100"/>
                  <a:gd name="connsiteX23" fmla="*/ 4034971 w 7273471"/>
                  <a:gd name="connsiteY23" fmla="*/ 111252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663871 w 7273471"/>
                  <a:gd name="connsiteY30" fmla="*/ 11430000 h 17945100"/>
                  <a:gd name="connsiteX31" fmla="*/ 6587672 w 7273471"/>
                  <a:gd name="connsiteY31" fmla="*/ 10210800 h 17945100"/>
                  <a:gd name="connsiteX32" fmla="*/ 67781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72571 w 7273471"/>
                  <a:gd name="connsiteY6" fmla="*/ 9144000 h 17945100"/>
                  <a:gd name="connsiteX7" fmla="*/ 148771 w 7273471"/>
                  <a:gd name="connsiteY7" fmla="*/ 10058400 h 17945100"/>
                  <a:gd name="connsiteX8" fmla="*/ 34471 w 7273471"/>
                  <a:gd name="connsiteY8" fmla="*/ 109728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739571 w 7273471"/>
                  <a:gd name="connsiteY14" fmla="*/ 9601200 h 17945100"/>
                  <a:gd name="connsiteX15" fmla="*/ 2891971 w 7273471"/>
                  <a:gd name="connsiteY15" fmla="*/ 9220200 h 17945100"/>
                  <a:gd name="connsiteX16" fmla="*/ 2930071 w 7273471"/>
                  <a:gd name="connsiteY16" fmla="*/ 88011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41492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663871 w 7273471"/>
                  <a:gd name="connsiteY30" fmla="*/ 11430000 h 17945100"/>
                  <a:gd name="connsiteX31" fmla="*/ 6587672 w 7273471"/>
                  <a:gd name="connsiteY31" fmla="*/ 10210800 h 17945100"/>
                  <a:gd name="connsiteX32" fmla="*/ 67781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72571 w 7273471"/>
                  <a:gd name="connsiteY6" fmla="*/ 9144000 h 17945100"/>
                  <a:gd name="connsiteX7" fmla="*/ 148771 w 7273471"/>
                  <a:gd name="connsiteY7" fmla="*/ 10058400 h 17945100"/>
                  <a:gd name="connsiteX8" fmla="*/ 34471 w 7273471"/>
                  <a:gd name="connsiteY8" fmla="*/ 109728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739571 w 7273471"/>
                  <a:gd name="connsiteY14" fmla="*/ 9601200 h 17945100"/>
                  <a:gd name="connsiteX15" fmla="*/ 2891971 w 7273471"/>
                  <a:gd name="connsiteY15" fmla="*/ 9220200 h 17945100"/>
                  <a:gd name="connsiteX16" fmla="*/ 2930071 w 7273471"/>
                  <a:gd name="connsiteY16" fmla="*/ 88011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41492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663871 w 7273471"/>
                  <a:gd name="connsiteY30" fmla="*/ 11430000 h 17945100"/>
                  <a:gd name="connsiteX31" fmla="*/ 6587672 w 7273471"/>
                  <a:gd name="connsiteY31" fmla="*/ 10210800 h 17945100"/>
                  <a:gd name="connsiteX32" fmla="*/ 67781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72571 w 7273471"/>
                  <a:gd name="connsiteY6" fmla="*/ 9144000 h 17945100"/>
                  <a:gd name="connsiteX7" fmla="*/ 148771 w 7273471"/>
                  <a:gd name="connsiteY7" fmla="*/ 10058400 h 17945100"/>
                  <a:gd name="connsiteX8" fmla="*/ 34471 w 7273471"/>
                  <a:gd name="connsiteY8" fmla="*/ 109728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739571 w 7273471"/>
                  <a:gd name="connsiteY14" fmla="*/ 9601200 h 17945100"/>
                  <a:gd name="connsiteX15" fmla="*/ 2891971 w 7273471"/>
                  <a:gd name="connsiteY15" fmla="*/ 9220200 h 17945100"/>
                  <a:gd name="connsiteX16" fmla="*/ 2777671 w 7273471"/>
                  <a:gd name="connsiteY16" fmla="*/ 86487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41492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663871 w 7273471"/>
                  <a:gd name="connsiteY30" fmla="*/ 11430000 h 17945100"/>
                  <a:gd name="connsiteX31" fmla="*/ 6587672 w 7273471"/>
                  <a:gd name="connsiteY31" fmla="*/ 10210800 h 17945100"/>
                  <a:gd name="connsiteX32" fmla="*/ 67781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72571 w 7273471"/>
                  <a:gd name="connsiteY6" fmla="*/ 9144000 h 17945100"/>
                  <a:gd name="connsiteX7" fmla="*/ 148771 w 7273471"/>
                  <a:gd name="connsiteY7" fmla="*/ 10058400 h 17945100"/>
                  <a:gd name="connsiteX8" fmla="*/ 34471 w 7273471"/>
                  <a:gd name="connsiteY8" fmla="*/ 109728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739571 w 7273471"/>
                  <a:gd name="connsiteY14" fmla="*/ 9601200 h 17945100"/>
                  <a:gd name="connsiteX15" fmla="*/ 2891971 w 7273471"/>
                  <a:gd name="connsiteY15" fmla="*/ 9220200 h 17945100"/>
                  <a:gd name="connsiteX16" fmla="*/ 2777671 w 7273471"/>
                  <a:gd name="connsiteY16" fmla="*/ 86487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41492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663871 w 7273471"/>
                  <a:gd name="connsiteY30" fmla="*/ 11430000 h 17945100"/>
                  <a:gd name="connsiteX31" fmla="*/ 6587672 w 7273471"/>
                  <a:gd name="connsiteY31" fmla="*/ 10210800 h 17945100"/>
                  <a:gd name="connsiteX32" fmla="*/ 67781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72571 w 7273471"/>
                  <a:gd name="connsiteY6" fmla="*/ 9144000 h 17945100"/>
                  <a:gd name="connsiteX7" fmla="*/ 148771 w 7273471"/>
                  <a:gd name="connsiteY7" fmla="*/ 10058400 h 17945100"/>
                  <a:gd name="connsiteX8" fmla="*/ 34471 w 7273471"/>
                  <a:gd name="connsiteY8" fmla="*/ 109728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739571 w 7273471"/>
                  <a:gd name="connsiteY14" fmla="*/ 9601200 h 17945100"/>
                  <a:gd name="connsiteX15" fmla="*/ 2676071 w 7273471"/>
                  <a:gd name="connsiteY15" fmla="*/ 9144000 h 17945100"/>
                  <a:gd name="connsiteX16" fmla="*/ 2777671 w 7273471"/>
                  <a:gd name="connsiteY16" fmla="*/ 86487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41492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663871 w 7273471"/>
                  <a:gd name="connsiteY30" fmla="*/ 11430000 h 17945100"/>
                  <a:gd name="connsiteX31" fmla="*/ 6587672 w 7273471"/>
                  <a:gd name="connsiteY31" fmla="*/ 10210800 h 17945100"/>
                  <a:gd name="connsiteX32" fmla="*/ 67781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72571 w 7273471"/>
                  <a:gd name="connsiteY6" fmla="*/ 9144000 h 17945100"/>
                  <a:gd name="connsiteX7" fmla="*/ 148771 w 7273471"/>
                  <a:gd name="connsiteY7" fmla="*/ 10058400 h 17945100"/>
                  <a:gd name="connsiteX8" fmla="*/ 34471 w 7273471"/>
                  <a:gd name="connsiteY8" fmla="*/ 109728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739571 w 7273471"/>
                  <a:gd name="connsiteY14" fmla="*/ 9601200 h 17945100"/>
                  <a:gd name="connsiteX15" fmla="*/ 2676071 w 7273471"/>
                  <a:gd name="connsiteY15" fmla="*/ 9144000 h 17945100"/>
                  <a:gd name="connsiteX16" fmla="*/ 2777671 w 7273471"/>
                  <a:gd name="connsiteY16" fmla="*/ 86487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41492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663871 w 7273471"/>
                  <a:gd name="connsiteY30" fmla="*/ 11430000 h 17945100"/>
                  <a:gd name="connsiteX31" fmla="*/ 6587672 w 7273471"/>
                  <a:gd name="connsiteY31" fmla="*/ 10210800 h 17945100"/>
                  <a:gd name="connsiteX32" fmla="*/ 67781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72571 w 7273471"/>
                  <a:gd name="connsiteY6" fmla="*/ 9144000 h 17945100"/>
                  <a:gd name="connsiteX7" fmla="*/ 148771 w 7273471"/>
                  <a:gd name="connsiteY7" fmla="*/ 10058400 h 17945100"/>
                  <a:gd name="connsiteX8" fmla="*/ 34471 w 7273471"/>
                  <a:gd name="connsiteY8" fmla="*/ 109728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777671 w 7273471"/>
                  <a:gd name="connsiteY16" fmla="*/ 86487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41492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663871 w 7273471"/>
                  <a:gd name="connsiteY30" fmla="*/ 11430000 h 17945100"/>
                  <a:gd name="connsiteX31" fmla="*/ 6587672 w 7273471"/>
                  <a:gd name="connsiteY31" fmla="*/ 10210800 h 17945100"/>
                  <a:gd name="connsiteX32" fmla="*/ 67781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72571 w 7273471"/>
                  <a:gd name="connsiteY6" fmla="*/ 9144000 h 17945100"/>
                  <a:gd name="connsiteX7" fmla="*/ 148771 w 7273471"/>
                  <a:gd name="connsiteY7" fmla="*/ 10058400 h 17945100"/>
                  <a:gd name="connsiteX8" fmla="*/ 34471 w 7273471"/>
                  <a:gd name="connsiteY8" fmla="*/ 109728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777671 w 7273471"/>
                  <a:gd name="connsiteY16" fmla="*/ 86487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41492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663871 w 7273471"/>
                  <a:gd name="connsiteY30" fmla="*/ 11430000 h 17945100"/>
                  <a:gd name="connsiteX31" fmla="*/ 6587672 w 7273471"/>
                  <a:gd name="connsiteY31" fmla="*/ 10210800 h 17945100"/>
                  <a:gd name="connsiteX32" fmla="*/ 67781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72571 w 7273471"/>
                  <a:gd name="connsiteY6" fmla="*/ 9144000 h 17945100"/>
                  <a:gd name="connsiteX7" fmla="*/ 148771 w 7273471"/>
                  <a:gd name="connsiteY7" fmla="*/ 10058400 h 17945100"/>
                  <a:gd name="connsiteX8" fmla="*/ 34471 w 7273471"/>
                  <a:gd name="connsiteY8" fmla="*/ 109728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777671 w 7273471"/>
                  <a:gd name="connsiteY16" fmla="*/ 86487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41492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663871 w 7273471"/>
                  <a:gd name="connsiteY30" fmla="*/ 11430000 h 17945100"/>
                  <a:gd name="connsiteX31" fmla="*/ 6587672 w 7273471"/>
                  <a:gd name="connsiteY31" fmla="*/ 10210800 h 17945100"/>
                  <a:gd name="connsiteX32" fmla="*/ 67781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72571 w 7273471"/>
                  <a:gd name="connsiteY6" fmla="*/ 9144000 h 17945100"/>
                  <a:gd name="connsiteX7" fmla="*/ 148771 w 7273471"/>
                  <a:gd name="connsiteY7" fmla="*/ 10058400 h 17945100"/>
                  <a:gd name="connsiteX8" fmla="*/ 34471 w 7273471"/>
                  <a:gd name="connsiteY8" fmla="*/ 109728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777671 w 7273471"/>
                  <a:gd name="connsiteY16" fmla="*/ 86487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41492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663871 w 7273471"/>
                  <a:gd name="connsiteY30" fmla="*/ 11430000 h 17945100"/>
                  <a:gd name="connsiteX31" fmla="*/ 6587672 w 7273471"/>
                  <a:gd name="connsiteY31" fmla="*/ 10210800 h 17945100"/>
                  <a:gd name="connsiteX32" fmla="*/ 67781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72571 w 7273471"/>
                  <a:gd name="connsiteY6" fmla="*/ 9144000 h 17945100"/>
                  <a:gd name="connsiteX7" fmla="*/ 148771 w 7273471"/>
                  <a:gd name="connsiteY7" fmla="*/ 10058400 h 17945100"/>
                  <a:gd name="connsiteX8" fmla="*/ 34471 w 7273471"/>
                  <a:gd name="connsiteY8" fmla="*/ 109728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726871 w 7273471"/>
                  <a:gd name="connsiteY16" fmla="*/ 86106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41492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663871 w 7273471"/>
                  <a:gd name="connsiteY30" fmla="*/ 11430000 h 17945100"/>
                  <a:gd name="connsiteX31" fmla="*/ 6587672 w 7273471"/>
                  <a:gd name="connsiteY31" fmla="*/ 10210800 h 17945100"/>
                  <a:gd name="connsiteX32" fmla="*/ 67781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9144000 h 17945100"/>
                  <a:gd name="connsiteX7" fmla="*/ 148771 w 7273471"/>
                  <a:gd name="connsiteY7" fmla="*/ 10058400 h 17945100"/>
                  <a:gd name="connsiteX8" fmla="*/ 34471 w 7273471"/>
                  <a:gd name="connsiteY8" fmla="*/ 109728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726871 w 7273471"/>
                  <a:gd name="connsiteY16" fmla="*/ 86106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41492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663871 w 7273471"/>
                  <a:gd name="connsiteY30" fmla="*/ 11430000 h 17945100"/>
                  <a:gd name="connsiteX31" fmla="*/ 6587672 w 7273471"/>
                  <a:gd name="connsiteY31" fmla="*/ 10210800 h 17945100"/>
                  <a:gd name="connsiteX32" fmla="*/ 67781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9144000 h 17945100"/>
                  <a:gd name="connsiteX7" fmla="*/ 148771 w 7273471"/>
                  <a:gd name="connsiteY7" fmla="*/ 10058400 h 17945100"/>
                  <a:gd name="connsiteX8" fmla="*/ 34471 w 7273471"/>
                  <a:gd name="connsiteY8" fmla="*/ 109728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726871 w 7273471"/>
                  <a:gd name="connsiteY16" fmla="*/ 86106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41492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663871 w 7273471"/>
                  <a:gd name="connsiteY30" fmla="*/ 11430000 h 17945100"/>
                  <a:gd name="connsiteX31" fmla="*/ 6587672 w 7273471"/>
                  <a:gd name="connsiteY31" fmla="*/ 10210800 h 17945100"/>
                  <a:gd name="connsiteX32" fmla="*/ 67781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9144000 h 17945100"/>
                  <a:gd name="connsiteX7" fmla="*/ 148771 w 7273471"/>
                  <a:gd name="connsiteY7" fmla="*/ 10058400 h 17945100"/>
                  <a:gd name="connsiteX8" fmla="*/ 34471 w 7273471"/>
                  <a:gd name="connsiteY8" fmla="*/ 109728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726871 w 7273471"/>
                  <a:gd name="connsiteY16" fmla="*/ 86106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41492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663871 w 7273471"/>
                  <a:gd name="connsiteY30" fmla="*/ 11430000 h 17945100"/>
                  <a:gd name="connsiteX31" fmla="*/ 6587672 w 7273471"/>
                  <a:gd name="connsiteY31" fmla="*/ 10210800 h 17945100"/>
                  <a:gd name="connsiteX32" fmla="*/ 67781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9144000 h 17945100"/>
                  <a:gd name="connsiteX7" fmla="*/ 148771 w 7273471"/>
                  <a:gd name="connsiteY7" fmla="*/ 10058400 h 17945100"/>
                  <a:gd name="connsiteX8" fmla="*/ 148771 w 7273471"/>
                  <a:gd name="connsiteY8" fmla="*/ 110236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726871 w 7273471"/>
                  <a:gd name="connsiteY16" fmla="*/ 86106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41492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663871 w 7273471"/>
                  <a:gd name="connsiteY30" fmla="*/ 11430000 h 17945100"/>
                  <a:gd name="connsiteX31" fmla="*/ 6587672 w 7273471"/>
                  <a:gd name="connsiteY31" fmla="*/ 10210800 h 17945100"/>
                  <a:gd name="connsiteX32" fmla="*/ 67781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9144000 h 17945100"/>
                  <a:gd name="connsiteX7" fmla="*/ 148771 w 7273471"/>
                  <a:gd name="connsiteY7" fmla="*/ 10058400 h 17945100"/>
                  <a:gd name="connsiteX8" fmla="*/ 148771 w 7273471"/>
                  <a:gd name="connsiteY8" fmla="*/ 110236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726871 w 7273471"/>
                  <a:gd name="connsiteY16" fmla="*/ 86106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41492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663871 w 7273471"/>
                  <a:gd name="connsiteY30" fmla="*/ 11430000 h 17945100"/>
                  <a:gd name="connsiteX31" fmla="*/ 6587672 w 7273471"/>
                  <a:gd name="connsiteY31" fmla="*/ 10210800 h 17945100"/>
                  <a:gd name="connsiteX32" fmla="*/ 6689271 w 7273471"/>
                  <a:gd name="connsiteY32" fmla="*/ 89027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9144000 h 17945100"/>
                  <a:gd name="connsiteX7" fmla="*/ 148771 w 7273471"/>
                  <a:gd name="connsiteY7" fmla="*/ 10058400 h 17945100"/>
                  <a:gd name="connsiteX8" fmla="*/ 148771 w 7273471"/>
                  <a:gd name="connsiteY8" fmla="*/ 110236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726871 w 7273471"/>
                  <a:gd name="connsiteY16" fmla="*/ 86106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41492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663871 w 7273471"/>
                  <a:gd name="connsiteY30" fmla="*/ 11430000 h 17945100"/>
                  <a:gd name="connsiteX31" fmla="*/ 6587672 w 7273471"/>
                  <a:gd name="connsiteY31" fmla="*/ 10210800 h 17945100"/>
                  <a:gd name="connsiteX32" fmla="*/ 66257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9144000 h 17945100"/>
                  <a:gd name="connsiteX7" fmla="*/ 148771 w 7273471"/>
                  <a:gd name="connsiteY7" fmla="*/ 10058400 h 17945100"/>
                  <a:gd name="connsiteX8" fmla="*/ 148771 w 7273471"/>
                  <a:gd name="connsiteY8" fmla="*/ 110236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726871 w 7273471"/>
                  <a:gd name="connsiteY16" fmla="*/ 86106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663871 w 7273471"/>
                  <a:gd name="connsiteY30" fmla="*/ 11430000 h 17945100"/>
                  <a:gd name="connsiteX31" fmla="*/ 6587672 w 7273471"/>
                  <a:gd name="connsiteY31" fmla="*/ 10210800 h 17945100"/>
                  <a:gd name="connsiteX32" fmla="*/ 66257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9144000 h 17945100"/>
                  <a:gd name="connsiteX7" fmla="*/ 148771 w 7273471"/>
                  <a:gd name="connsiteY7" fmla="*/ 10058400 h 17945100"/>
                  <a:gd name="connsiteX8" fmla="*/ 148771 w 7273471"/>
                  <a:gd name="connsiteY8" fmla="*/ 110236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726871 w 7273471"/>
                  <a:gd name="connsiteY16" fmla="*/ 86106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663871 w 7273471"/>
                  <a:gd name="connsiteY30" fmla="*/ 11430000 h 17945100"/>
                  <a:gd name="connsiteX31" fmla="*/ 6587672 w 7273471"/>
                  <a:gd name="connsiteY31" fmla="*/ 10210800 h 17945100"/>
                  <a:gd name="connsiteX32" fmla="*/ 66257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9144000 h 17945100"/>
                  <a:gd name="connsiteX7" fmla="*/ 148771 w 7273471"/>
                  <a:gd name="connsiteY7" fmla="*/ 10058400 h 17945100"/>
                  <a:gd name="connsiteX8" fmla="*/ 148771 w 7273471"/>
                  <a:gd name="connsiteY8" fmla="*/ 110236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726871 w 7273471"/>
                  <a:gd name="connsiteY16" fmla="*/ 86106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663871 w 7273471"/>
                  <a:gd name="connsiteY30" fmla="*/ 11430000 h 17945100"/>
                  <a:gd name="connsiteX31" fmla="*/ 6587672 w 7273471"/>
                  <a:gd name="connsiteY31" fmla="*/ 10210800 h 17945100"/>
                  <a:gd name="connsiteX32" fmla="*/ 66257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9144000 h 17945100"/>
                  <a:gd name="connsiteX7" fmla="*/ 148771 w 7273471"/>
                  <a:gd name="connsiteY7" fmla="*/ 10058400 h 17945100"/>
                  <a:gd name="connsiteX8" fmla="*/ 148771 w 7273471"/>
                  <a:gd name="connsiteY8" fmla="*/ 110236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726871 w 7273471"/>
                  <a:gd name="connsiteY16" fmla="*/ 8610600 h 17945100"/>
                  <a:gd name="connsiteX17" fmla="*/ 2866571 w 7273471"/>
                  <a:gd name="connsiteY17" fmla="*/ 77978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663871 w 7273471"/>
                  <a:gd name="connsiteY30" fmla="*/ 11430000 h 17945100"/>
                  <a:gd name="connsiteX31" fmla="*/ 6587672 w 7273471"/>
                  <a:gd name="connsiteY31" fmla="*/ 10210800 h 17945100"/>
                  <a:gd name="connsiteX32" fmla="*/ 66257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9144000 h 17945100"/>
                  <a:gd name="connsiteX7" fmla="*/ 148771 w 7273471"/>
                  <a:gd name="connsiteY7" fmla="*/ 10058400 h 17945100"/>
                  <a:gd name="connsiteX8" fmla="*/ 148771 w 7273471"/>
                  <a:gd name="connsiteY8" fmla="*/ 110236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663371 w 7273471"/>
                  <a:gd name="connsiteY16" fmla="*/ 8597900 h 17945100"/>
                  <a:gd name="connsiteX17" fmla="*/ 2866571 w 7273471"/>
                  <a:gd name="connsiteY17" fmla="*/ 77978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663871 w 7273471"/>
                  <a:gd name="connsiteY30" fmla="*/ 11430000 h 17945100"/>
                  <a:gd name="connsiteX31" fmla="*/ 6587672 w 7273471"/>
                  <a:gd name="connsiteY31" fmla="*/ 10210800 h 17945100"/>
                  <a:gd name="connsiteX32" fmla="*/ 66257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9144000 h 17945100"/>
                  <a:gd name="connsiteX7" fmla="*/ 148771 w 7273471"/>
                  <a:gd name="connsiteY7" fmla="*/ 10058400 h 17945100"/>
                  <a:gd name="connsiteX8" fmla="*/ 148771 w 7273471"/>
                  <a:gd name="connsiteY8" fmla="*/ 110236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663371 w 7273471"/>
                  <a:gd name="connsiteY16" fmla="*/ 8597900 h 17945100"/>
                  <a:gd name="connsiteX17" fmla="*/ 2866571 w 7273471"/>
                  <a:gd name="connsiteY17" fmla="*/ 77978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759121 w 7273471"/>
                  <a:gd name="connsiteY29" fmla="*/ 13601700 h 17945100"/>
                  <a:gd name="connsiteX30" fmla="*/ 6663871 w 7273471"/>
                  <a:gd name="connsiteY30" fmla="*/ 11430000 h 17945100"/>
                  <a:gd name="connsiteX31" fmla="*/ 6587672 w 7273471"/>
                  <a:gd name="connsiteY31" fmla="*/ 10210800 h 17945100"/>
                  <a:gd name="connsiteX32" fmla="*/ 66257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9144000 h 17945100"/>
                  <a:gd name="connsiteX7" fmla="*/ 148771 w 7273471"/>
                  <a:gd name="connsiteY7" fmla="*/ 10058400 h 17945100"/>
                  <a:gd name="connsiteX8" fmla="*/ 148771 w 7273471"/>
                  <a:gd name="connsiteY8" fmla="*/ 110236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663371 w 7273471"/>
                  <a:gd name="connsiteY16" fmla="*/ 8597900 h 17945100"/>
                  <a:gd name="connsiteX17" fmla="*/ 2866571 w 7273471"/>
                  <a:gd name="connsiteY17" fmla="*/ 77978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759121 w 7273471"/>
                  <a:gd name="connsiteY29" fmla="*/ 13601700 h 17945100"/>
                  <a:gd name="connsiteX30" fmla="*/ 6663871 w 7273471"/>
                  <a:gd name="connsiteY30" fmla="*/ 11430000 h 17945100"/>
                  <a:gd name="connsiteX31" fmla="*/ 6587672 w 7273471"/>
                  <a:gd name="connsiteY31" fmla="*/ 10210800 h 17945100"/>
                  <a:gd name="connsiteX32" fmla="*/ 6530521 w 7273471"/>
                  <a:gd name="connsiteY32" fmla="*/ 889635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9144000 h 17945100"/>
                  <a:gd name="connsiteX7" fmla="*/ 148771 w 7273471"/>
                  <a:gd name="connsiteY7" fmla="*/ 10058400 h 17945100"/>
                  <a:gd name="connsiteX8" fmla="*/ 148771 w 7273471"/>
                  <a:gd name="connsiteY8" fmla="*/ 110236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663371 w 7273471"/>
                  <a:gd name="connsiteY16" fmla="*/ 8597900 h 17945100"/>
                  <a:gd name="connsiteX17" fmla="*/ 2866571 w 7273471"/>
                  <a:gd name="connsiteY17" fmla="*/ 77978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759121 w 7273471"/>
                  <a:gd name="connsiteY29" fmla="*/ 13601700 h 17945100"/>
                  <a:gd name="connsiteX30" fmla="*/ 6663871 w 7273471"/>
                  <a:gd name="connsiteY30" fmla="*/ 11430000 h 17945100"/>
                  <a:gd name="connsiteX31" fmla="*/ 6454322 w 7273471"/>
                  <a:gd name="connsiteY31" fmla="*/ 10287000 h 17945100"/>
                  <a:gd name="connsiteX32" fmla="*/ 6530521 w 7273471"/>
                  <a:gd name="connsiteY32" fmla="*/ 889635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9144000 h 17945100"/>
                  <a:gd name="connsiteX7" fmla="*/ 148771 w 7273471"/>
                  <a:gd name="connsiteY7" fmla="*/ 10058400 h 17945100"/>
                  <a:gd name="connsiteX8" fmla="*/ 148771 w 7273471"/>
                  <a:gd name="connsiteY8" fmla="*/ 110236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663371 w 7273471"/>
                  <a:gd name="connsiteY16" fmla="*/ 8597900 h 17945100"/>
                  <a:gd name="connsiteX17" fmla="*/ 2866571 w 7273471"/>
                  <a:gd name="connsiteY17" fmla="*/ 77978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759121 w 7273471"/>
                  <a:gd name="connsiteY29" fmla="*/ 13601700 h 17945100"/>
                  <a:gd name="connsiteX30" fmla="*/ 6549571 w 7273471"/>
                  <a:gd name="connsiteY30" fmla="*/ 11487150 h 17945100"/>
                  <a:gd name="connsiteX31" fmla="*/ 6454322 w 7273471"/>
                  <a:gd name="connsiteY31" fmla="*/ 10287000 h 17945100"/>
                  <a:gd name="connsiteX32" fmla="*/ 6530521 w 7273471"/>
                  <a:gd name="connsiteY32" fmla="*/ 889635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9144000 h 17945100"/>
                  <a:gd name="connsiteX7" fmla="*/ 148771 w 7273471"/>
                  <a:gd name="connsiteY7" fmla="*/ 10058400 h 17945100"/>
                  <a:gd name="connsiteX8" fmla="*/ 263071 w 7273471"/>
                  <a:gd name="connsiteY8" fmla="*/ 1108075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663371 w 7273471"/>
                  <a:gd name="connsiteY16" fmla="*/ 8597900 h 17945100"/>
                  <a:gd name="connsiteX17" fmla="*/ 2866571 w 7273471"/>
                  <a:gd name="connsiteY17" fmla="*/ 77978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759121 w 7273471"/>
                  <a:gd name="connsiteY29" fmla="*/ 13601700 h 17945100"/>
                  <a:gd name="connsiteX30" fmla="*/ 6549571 w 7273471"/>
                  <a:gd name="connsiteY30" fmla="*/ 11487150 h 17945100"/>
                  <a:gd name="connsiteX31" fmla="*/ 6454322 w 7273471"/>
                  <a:gd name="connsiteY31" fmla="*/ 10287000 h 17945100"/>
                  <a:gd name="connsiteX32" fmla="*/ 6530521 w 7273471"/>
                  <a:gd name="connsiteY32" fmla="*/ 889635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9144000 h 17945100"/>
                  <a:gd name="connsiteX7" fmla="*/ 148771 w 7273471"/>
                  <a:gd name="connsiteY7" fmla="*/ 10058400 h 17945100"/>
                  <a:gd name="connsiteX8" fmla="*/ 263071 w 7273471"/>
                  <a:gd name="connsiteY8" fmla="*/ 11080750 h 17945100"/>
                  <a:gd name="connsiteX9" fmla="*/ 2630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663371 w 7273471"/>
                  <a:gd name="connsiteY16" fmla="*/ 8597900 h 17945100"/>
                  <a:gd name="connsiteX17" fmla="*/ 2866571 w 7273471"/>
                  <a:gd name="connsiteY17" fmla="*/ 77978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759121 w 7273471"/>
                  <a:gd name="connsiteY29" fmla="*/ 13601700 h 17945100"/>
                  <a:gd name="connsiteX30" fmla="*/ 6549571 w 7273471"/>
                  <a:gd name="connsiteY30" fmla="*/ 11487150 h 17945100"/>
                  <a:gd name="connsiteX31" fmla="*/ 6454322 w 7273471"/>
                  <a:gd name="connsiteY31" fmla="*/ 10287000 h 17945100"/>
                  <a:gd name="connsiteX32" fmla="*/ 6530521 w 7273471"/>
                  <a:gd name="connsiteY32" fmla="*/ 889635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9144000 h 17945100"/>
                  <a:gd name="connsiteX7" fmla="*/ 244021 w 7273471"/>
                  <a:gd name="connsiteY7" fmla="*/ 10096500 h 17945100"/>
                  <a:gd name="connsiteX8" fmla="*/ 263071 w 7273471"/>
                  <a:gd name="connsiteY8" fmla="*/ 11080750 h 17945100"/>
                  <a:gd name="connsiteX9" fmla="*/ 2630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663371 w 7273471"/>
                  <a:gd name="connsiteY16" fmla="*/ 8597900 h 17945100"/>
                  <a:gd name="connsiteX17" fmla="*/ 2866571 w 7273471"/>
                  <a:gd name="connsiteY17" fmla="*/ 77978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759121 w 7273471"/>
                  <a:gd name="connsiteY29" fmla="*/ 13601700 h 17945100"/>
                  <a:gd name="connsiteX30" fmla="*/ 6549571 w 7273471"/>
                  <a:gd name="connsiteY30" fmla="*/ 11487150 h 17945100"/>
                  <a:gd name="connsiteX31" fmla="*/ 6454322 w 7273471"/>
                  <a:gd name="connsiteY31" fmla="*/ 10287000 h 17945100"/>
                  <a:gd name="connsiteX32" fmla="*/ 6530521 w 7273471"/>
                  <a:gd name="connsiteY32" fmla="*/ 889635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36071 w 7273471"/>
                  <a:gd name="connsiteY6" fmla="*/ 9067800 h 17945100"/>
                  <a:gd name="connsiteX7" fmla="*/ 244021 w 7273471"/>
                  <a:gd name="connsiteY7" fmla="*/ 10096500 h 17945100"/>
                  <a:gd name="connsiteX8" fmla="*/ 263071 w 7273471"/>
                  <a:gd name="connsiteY8" fmla="*/ 11080750 h 17945100"/>
                  <a:gd name="connsiteX9" fmla="*/ 2630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663371 w 7273471"/>
                  <a:gd name="connsiteY16" fmla="*/ 8597900 h 17945100"/>
                  <a:gd name="connsiteX17" fmla="*/ 2866571 w 7273471"/>
                  <a:gd name="connsiteY17" fmla="*/ 77978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759121 w 7273471"/>
                  <a:gd name="connsiteY29" fmla="*/ 13601700 h 17945100"/>
                  <a:gd name="connsiteX30" fmla="*/ 6549571 w 7273471"/>
                  <a:gd name="connsiteY30" fmla="*/ 11487150 h 17945100"/>
                  <a:gd name="connsiteX31" fmla="*/ 6454322 w 7273471"/>
                  <a:gd name="connsiteY31" fmla="*/ 10287000 h 17945100"/>
                  <a:gd name="connsiteX32" fmla="*/ 6530521 w 7273471"/>
                  <a:gd name="connsiteY32" fmla="*/ 889635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36071 w 7273471"/>
                  <a:gd name="connsiteY6" fmla="*/ 8305800 h 17945100"/>
                  <a:gd name="connsiteX7" fmla="*/ 244021 w 7273471"/>
                  <a:gd name="connsiteY7" fmla="*/ 10096500 h 17945100"/>
                  <a:gd name="connsiteX8" fmla="*/ 263071 w 7273471"/>
                  <a:gd name="connsiteY8" fmla="*/ 11080750 h 17945100"/>
                  <a:gd name="connsiteX9" fmla="*/ 2630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663371 w 7273471"/>
                  <a:gd name="connsiteY16" fmla="*/ 8597900 h 17945100"/>
                  <a:gd name="connsiteX17" fmla="*/ 2866571 w 7273471"/>
                  <a:gd name="connsiteY17" fmla="*/ 77978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759121 w 7273471"/>
                  <a:gd name="connsiteY29" fmla="*/ 13601700 h 17945100"/>
                  <a:gd name="connsiteX30" fmla="*/ 6549571 w 7273471"/>
                  <a:gd name="connsiteY30" fmla="*/ 11487150 h 17945100"/>
                  <a:gd name="connsiteX31" fmla="*/ 6454322 w 7273471"/>
                  <a:gd name="connsiteY31" fmla="*/ 10287000 h 17945100"/>
                  <a:gd name="connsiteX32" fmla="*/ 6530521 w 7273471"/>
                  <a:gd name="connsiteY32" fmla="*/ 889635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250371 w 7273471"/>
                  <a:gd name="connsiteY6" fmla="*/ 8286750 h 17945100"/>
                  <a:gd name="connsiteX7" fmla="*/ 244021 w 7273471"/>
                  <a:gd name="connsiteY7" fmla="*/ 10096500 h 17945100"/>
                  <a:gd name="connsiteX8" fmla="*/ 263071 w 7273471"/>
                  <a:gd name="connsiteY8" fmla="*/ 11080750 h 17945100"/>
                  <a:gd name="connsiteX9" fmla="*/ 2630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663371 w 7273471"/>
                  <a:gd name="connsiteY16" fmla="*/ 8597900 h 17945100"/>
                  <a:gd name="connsiteX17" fmla="*/ 2866571 w 7273471"/>
                  <a:gd name="connsiteY17" fmla="*/ 77978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759121 w 7273471"/>
                  <a:gd name="connsiteY29" fmla="*/ 13601700 h 17945100"/>
                  <a:gd name="connsiteX30" fmla="*/ 6549571 w 7273471"/>
                  <a:gd name="connsiteY30" fmla="*/ 11487150 h 17945100"/>
                  <a:gd name="connsiteX31" fmla="*/ 6454322 w 7273471"/>
                  <a:gd name="connsiteY31" fmla="*/ 10287000 h 17945100"/>
                  <a:gd name="connsiteX32" fmla="*/ 6530521 w 7273471"/>
                  <a:gd name="connsiteY32" fmla="*/ 889635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8343900 h 17945100"/>
                  <a:gd name="connsiteX7" fmla="*/ 244021 w 7273471"/>
                  <a:gd name="connsiteY7" fmla="*/ 10096500 h 17945100"/>
                  <a:gd name="connsiteX8" fmla="*/ 263071 w 7273471"/>
                  <a:gd name="connsiteY8" fmla="*/ 11080750 h 17945100"/>
                  <a:gd name="connsiteX9" fmla="*/ 2630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663371 w 7273471"/>
                  <a:gd name="connsiteY16" fmla="*/ 8597900 h 17945100"/>
                  <a:gd name="connsiteX17" fmla="*/ 2866571 w 7273471"/>
                  <a:gd name="connsiteY17" fmla="*/ 77978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759121 w 7273471"/>
                  <a:gd name="connsiteY29" fmla="*/ 13601700 h 17945100"/>
                  <a:gd name="connsiteX30" fmla="*/ 6549571 w 7273471"/>
                  <a:gd name="connsiteY30" fmla="*/ 11487150 h 17945100"/>
                  <a:gd name="connsiteX31" fmla="*/ 6454322 w 7273471"/>
                  <a:gd name="connsiteY31" fmla="*/ 10287000 h 17945100"/>
                  <a:gd name="connsiteX32" fmla="*/ 6530521 w 7273471"/>
                  <a:gd name="connsiteY32" fmla="*/ 889635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8343900 h 17945100"/>
                  <a:gd name="connsiteX7" fmla="*/ 244021 w 7273471"/>
                  <a:gd name="connsiteY7" fmla="*/ 10096500 h 17945100"/>
                  <a:gd name="connsiteX8" fmla="*/ 263071 w 7273471"/>
                  <a:gd name="connsiteY8" fmla="*/ 11080750 h 17945100"/>
                  <a:gd name="connsiteX9" fmla="*/ 2630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663371 w 7273471"/>
                  <a:gd name="connsiteY16" fmla="*/ 8597900 h 17945100"/>
                  <a:gd name="connsiteX17" fmla="*/ 2866571 w 7273471"/>
                  <a:gd name="connsiteY17" fmla="*/ 77978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759121 w 7273471"/>
                  <a:gd name="connsiteY29" fmla="*/ 13601700 h 17945100"/>
                  <a:gd name="connsiteX30" fmla="*/ 6549571 w 7273471"/>
                  <a:gd name="connsiteY30" fmla="*/ 11487150 h 17945100"/>
                  <a:gd name="connsiteX31" fmla="*/ 6454322 w 7273471"/>
                  <a:gd name="connsiteY31" fmla="*/ 10287000 h 17945100"/>
                  <a:gd name="connsiteX32" fmla="*/ 6530521 w 7273471"/>
                  <a:gd name="connsiteY32" fmla="*/ 889635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8343900 h 17945100"/>
                  <a:gd name="connsiteX7" fmla="*/ 244021 w 7273471"/>
                  <a:gd name="connsiteY7" fmla="*/ 10096500 h 17945100"/>
                  <a:gd name="connsiteX8" fmla="*/ 263071 w 7273471"/>
                  <a:gd name="connsiteY8" fmla="*/ 11080750 h 17945100"/>
                  <a:gd name="connsiteX9" fmla="*/ 2630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663371 w 7273471"/>
                  <a:gd name="connsiteY16" fmla="*/ 8597900 h 17945100"/>
                  <a:gd name="connsiteX17" fmla="*/ 2866571 w 7273471"/>
                  <a:gd name="connsiteY17" fmla="*/ 77978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759121 w 7273471"/>
                  <a:gd name="connsiteY29" fmla="*/ 13601700 h 17945100"/>
                  <a:gd name="connsiteX30" fmla="*/ 6549571 w 7273471"/>
                  <a:gd name="connsiteY30" fmla="*/ 11487150 h 17945100"/>
                  <a:gd name="connsiteX31" fmla="*/ 6454322 w 7273471"/>
                  <a:gd name="connsiteY31" fmla="*/ 10287000 h 17945100"/>
                  <a:gd name="connsiteX32" fmla="*/ 6530521 w 7273471"/>
                  <a:gd name="connsiteY32" fmla="*/ 889635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8343900 h 17945100"/>
                  <a:gd name="connsiteX7" fmla="*/ 244021 w 7273471"/>
                  <a:gd name="connsiteY7" fmla="*/ 10096500 h 17945100"/>
                  <a:gd name="connsiteX8" fmla="*/ 263071 w 7273471"/>
                  <a:gd name="connsiteY8" fmla="*/ 11080750 h 17945100"/>
                  <a:gd name="connsiteX9" fmla="*/ 2630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485571 w 7273471"/>
                  <a:gd name="connsiteY15" fmla="*/ 9144000 h 17945100"/>
                  <a:gd name="connsiteX16" fmla="*/ 2663371 w 7273471"/>
                  <a:gd name="connsiteY16" fmla="*/ 8597900 h 17945100"/>
                  <a:gd name="connsiteX17" fmla="*/ 2866571 w 7273471"/>
                  <a:gd name="connsiteY17" fmla="*/ 77978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759121 w 7273471"/>
                  <a:gd name="connsiteY29" fmla="*/ 13601700 h 17945100"/>
                  <a:gd name="connsiteX30" fmla="*/ 6549571 w 7273471"/>
                  <a:gd name="connsiteY30" fmla="*/ 11487150 h 17945100"/>
                  <a:gd name="connsiteX31" fmla="*/ 6454322 w 7273471"/>
                  <a:gd name="connsiteY31" fmla="*/ 10287000 h 17945100"/>
                  <a:gd name="connsiteX32" fmla="*/ 6530521 w 7273471"/>
                  <a:gd name="connsiteY32" fmla="*/ 889635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8343900 h 17945100"/>
                  <a:gd name="connsiteX7" fmla="*/ 244021 w 7273471"/>
                  <a:gd name="connsiteY7" fmla="*/ 10096500 h 17945100"/>
                  <a:gd name="connsiteX8" fmla="*/ 263071 w 7273471"/>
                  <a:gd name="connsiteY8" fmla="*/ 11080750 h 17945100"/>
                  <a:gd name="connsiteX9" fmla="*/ 2630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536371 w 7273471"/>
                  <a:gd name="connsiteY15" fmla="*/ 9169400 h 17945100"/>
                  <a:gd name="connsiteX16" fmla="*/ 2663371 w 7273471"/>
                  <a:gd name="connsiteY16" fmla="*/ 8597900 h 17945100"/>
                  <a:gd name="connsiteX17" fmla="*/ 2866571 w 7273471"/>
                  <a:gd name="connsiteY17" fmla="*/ 77978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759121 w 7273471"/>
                  <a:gd name="connsiteY29" fmla="*/ 13601700 h 17945100"/>
                  <a:gd name="connsiteX30" fmla="*/ 6549571 w 7273471"/>
                  <a:gd name="connsiteY30" fmla="*/ 11487150 h 17945100"/>
                  <a:gd name="connsiteX31" fmla="*/ 6454322 w 7273471"/>
                  <a:gd name="connsiteY31" fmla="*/ 10287000 h 17945100"/>
                  <a:gd name="connsiteX32" fmla="*/ 6530521 w 7273471"/>
                  <a:gd name="connsiteY32" fmla="*/ 889635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8343900 h 17945100"/>
                  <a:gd name="connsiteX7" fmla="*/ 244021 w 7273471"/>
                  <a:gd name="connsiteY7" fmla="*/ 10096500 h 17945100"/>
                  <a:gd name="connsiteX8" fmla="*/ 263071 w 7273471"/>
                  <a:gd name="connsiteY8" fmla="*/ 11080750 h 17945100"/>
                  <a:gd name="connsiteX9" fmla="*/ 2630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498271 w 7273471"/>
                  <a:gd name="connsiteY14" fmla="*/ 9652000 h 17945100"/>
                  <a:gd name="connsiteX15" fmla="*/ 2536371 w 7273471"/>
                  <a:gd name="connsiteY15" fmla="*/ 9169400 h 17945100"/>
                  <a:gd name="connsiteX16" fmla="*/ 2663371 w 7273471"/>
                  <a:gd name="connsiteY16" fmla="*/ 8597900 h 17945100"/>
                  <a:gd name="connsiteX17" fmla="*/ 2866571 w 7273471"/>
                  <a:gd name="connsiteY17" fmla="*/ 77978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759121 w 7273471"/>
                  <a:gd name="connsiteY29" fmla="*/ 13601700 h 17945100"/>
                  <a:gd name="connsiteX30" fmla="*/ 6549571 w 7273471"/>
                  <a:gd name="connsiteY30" fmla="*/ 11487150 h 17945100"/>
                  <a:gd name="connsiteX31" fmla="*/ 6454322 w 7273471"/>
                  <a:gd name="connsiteY31" fmla="*/ 10287000 h 17945100"/>
                  <a:gd name="connsiteX32" fmla="*/ 6530521 w 7273471"/>
                  <a:gd name="connsiteY32" fmla="*/ 889635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8343900 h 17945100"/>
                  <a:gd name="connsiteX7" fmla="*/ 244021 w 7273471"/>
                  <a:gd name="connsiteY7" fmla="*/ 10096500 h 17945100"/>
                  <a:gd name="connsiteX8" fmla="*/ 263071 w 7273471"/>
                  <a:gd name="connsiteY8" fmla="*/ 11080750 h 17945100"/>
                  <a:gd name="connsiteX9" fmla="*/ 2630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498271 w 7273471"/>
                  <a:gd name="connsiteY14" fmla="*/ 9652000 h 17945100"/>
                  <a:gd name="connsiteX15" fmla="*/ 2536371 w 7273471"/>
                  <a:gd name="connsiteY15" fmla="*/ 9169400 h 17945100"/>
                  <a:gd name="connsiteX16" fmla="*/ 2612571 w 7273471"/>
                  <a:gd name="connsiteY16" fmla="*/ 8534400 h 17945100"/>
                  <a:gd name="connsiteX17" fmla="*/ 2866571 w 7273471"/>
                  <a:gd name="connsiteY17" fmla="*/ 77978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759121 w 7273471"/>
                  <a:gd name="connsiteY29" fmla="*/ 13601700 h 17945100"/>
                  <a:gd name="connsiteX30" fmla="*/ 6549571 w 7273471"/>
                  <a:gd name="connsiteY30" fmla="*/ 11487150 h 17945100"/>
                  <a:gd name="connsiteX31" fmla="*/ 6454322 w 7273471"/>
                  <a:gd name="connsiteY31" fmla="*/ 10287000 h 17945100"/>
                  <a:gd name="connsiteX32" fmla="*/ 6530521 w 7273471"/>
                  <a:gd name="connsiteY32" fmla="*/ 889635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8343900 h 17945100"/>
                  <a:gd name="connsiteX7" fmla="*/ 244021 w 7273471"/>
                  <a:gd name="connsiteY7" fmla="*/ 10096500 h 17945100"/>
                  <a:gd name="connsiteX8" fmla="*/ 263071 w 7273471"/>
                  <a:gd name="connsiteY8" fmla="*/ 11080750 h 17945100"/>
                  <a:gd name="connsiteX9" fmla="*/ 2630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498271 w 7273471"/>
                  <a:gd name="connsiteY14" fmla="*/ 9652000 h 17945100"/>
                  <a:gd name="connsiteX15" fmla="*/ 2536371 w 7273471"/>
                  <a:gd name="connsiteY15" fmla="*/ 9169400 h 17945100"/>
                  <a:gd name="connsiteX16" fmla="*/ 2612571 w 7273471"/>
                  <a:gd name="connsiteY16" fmla="*/ 8534400 h 17945100"/>
                  <a:gd name="connsiteX17" fmla="*/ 2777671 w 7273471"/>
                  <a:gd name="connsiteY17" fmla="*/ 77597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759121 w 7273471"/>
                  <a:gd name="connsiteY29" fmla="*/ 13601700 h 17945100"/>
                  <a:gd name="connsiteX30" fmla="*/ 6549571 w 7273471"/>
                  <a:gd name="connsiteY30" fmla="*/ 11487150 h 17945100"/>
                  <a:gd name="connsiteX31" fmla="*/ 6454322 w 7273471"/>
                  <a:gd name="connsiteY31" fmla="*/ 10287000 h 17945100"/>
                  <a:gd name="connsiteX32" fmla="*/ 6530521 w 7273471"/>
                  <a:gd name="connsiteY32" fmla="*/ 889635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8343900 h 17945100"/>
                  <a:gd name="connsiteX7" fmla="*/ 244021 w 7273471"/>
                  <a:gd name="connsiteY7" fmla="*/ 10096500 h 17945100"/>
                  <a:gd name="connsiteX8" fmla="*/ 263071 w 7273471"/>
                  <a:gd name="connsiteY8" fmla="*/ 11080750 h 17945100"/>
                  <a:gd name="connsiteX9" fmla="*/ 2630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498271 w 7273471"/>
                  <a:gd name="connsiteY14" fmla="*/ 9652000 h 17945100"/>
                  <a:gd name="connsiteX15" fmla="*/ 2536371 w 7273471"/>
                  <a:gd name="connsiteY15" fmla="*/ 9169400 h 17945100"/>
                  <a:gd name="connsiteX16" fmla="*/ 2523671 w 7273471"/>
                  <a:gd name="connsiteY16" fmla="*/ 8496300 h 17945100"/>
                  <a:gd name="connsiteX17" fmla="*/ 2777671 w 7273471"/>
                  <a:gd name="connsiteY17" fmla="*/ 77597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759121 w 7273471"/>
                  <a:gd name="connsiteY29" fmla="*/ 13601700 h 17945100"/>
                  <a:gd name="connsiteX30" fmla="*/ 6549571 w 7273471"/>
                  <a:gd name="connsiteY30" fmla="*/ 11487150 h 17945100"/>
                  <a:gd name="connsiteX31" fmla="*/ 6454322 w 7273471"/>
                  <a:gd name="connsiteY31" fmla="*/ 10287000 h 17945100"/>
                  <a:gd name="connsiteX32" fmla="*/ 6530521 w 7273471"/>
                  <a:gd name="connsiteY32" fmla="*/ 889635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8343900 h 17945100"/>
                  <a:gd name="connsiteX7" fmla="*/ 244021 w 7273471"/>
                  <a:gd name="connsiteY7" fmla="*/ 10096500 h 17945100"/>
                  <a:gd name="connsiteX8" fmla="*/ 263071 w 7273471"/>
                  <a:gd name="connsiteY8" fmla="*/ 11080750 h 17945100"/>
                  <a:gd name="connsiteX9" fmla="*/ 2630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498271 w 7273471"/>
                  <a:gd name="connsiteY14" fmla="*/ 9652000 h 17945100"/>
                  <a:gd name="connsiteX15" fmla="*/ 2536371 w 7273471"/>
                  <a:gd name="connsiteY15" fmla="*/ 9169400 h 17945100"/>
                  <a:gd name="connsiteX16" fmla="*/ 2587171 w 7273471"/>
                  <a:gd name="connsiteY16" fmla="*/ 8496300 h 17945100"/>
                  <a:gd name="connsiteX17" fmla="*/ 2777671 w 7273471"/>
                  <a:gd name="connsiteY17" fmla="*/ 77597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759121 w 7273471"/>
                  <a:gd name="connsiteY29" fmla="*/ 13601700 h 17945100"/>
                  <a:gd name="connsiteX30" fmla="*/ 6549571 w 7273471"/>
                  <a:gd name="connsiteY30" fmla="*/ 11487150 h 17945100"/>
                  <a:gd name="connsiteX31" fmla="*/ 6454322 w 7273471"/>
                  <a:gd name="connsiteY31" fmla="*/ 10287000 h 17945100"/>
                  <a:gd name="connsiteX32" fmla="*/ 6530521 w 7273471"/>
                  <a:gd name="connsiteY32" fmla="*/ 889635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8343900 h 17945100"/>
                  <a:gd name="connsiteX7" fmla="*/ 244021 w 7273471"/>
                  <a:gd name="connsiteY7" fmla="*/ 10096500 h 17945100"/>
                  <a:gd name="connsiteX8" fmla="*/ 263071 w 7273471"/>
                  <a:gd name="connsiteY8" fmla="*/ 11080750 h 17945100"/>
                  <a:gd name="connsiteX9" fmla="*/ 2630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498271 w 7273471"/>
                  <a:gd name="connsiteY14" fmla="*/ 9652000 h 17945100"/>
                  <a:gd name="connsiteX15" fmla="*/ 2536371 w 7273471"/>
                  <a:gd name="connsiteY15" fmla="*/ 9169400 h 17945100"/>
                  <a:gd name="connsiteX16" fmla="*/ 2587171 w 7273471"/>
                  <a:gd name="connsiteY16" fmla="*/ 8496300 h 17945100"/>
                  <a:gd name="connsiteX17" fmla="*/ 2777671 w 7273471"/>
                  <a:gd name="connsiteY17" fmla="*/ 77597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759121 w 7273471"/>
                  <a:gd name="connsiteY29" fmla="*/ 13601700 h 17945100"/>
                  <a:gd name="connsiteX30" fmla="*/ 6549571 w 7273471"/>
                  <a:gd name="connsiteY30" fmla="*/ 11487150 h 17945100"/>
                  <a:gd name="connsiteX31" fmla="*/ 6454322 w 7273471"/>
                  <a:gd name="connsiteY31" fmla="*/ 10287000 h 17945100"/>
                  <a:gd name="connsiteX32" fmla="*/ 6530521 w 7273471"/>
                  <a:gd name="connsiteY32" fmla="*/ 889635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8343900 h 17945100"/>
                  <a:gd name="connsiteX7" fmla="*/ 244021 w 7273471"/>
                  <a:gd name="connsiteY7" fmla="*/ 10096500 h 17945100"/>
                  <a:gd name="connsiteX8" fmla="*/ 263071 w 7273471"/>
                  <a:gd name="connsiteY8" fmla="*/ 11080750 h 17945100"/>
                  <a:gd name="connsiteX9" fmla="*/ 2630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447471 w 7273471"/>
                  <a:gd name="connsiteY14" fmla="*/ 9652000 h 17945100"/>
                  <a:gd name="connsiteX15" fmla="*/ 2536371 w 7273471"/>
                  <a:gd name="connsiteY15" fmla="*/ 9169400 h 17945100"/>
                  <a:gd name="connsiteX16" fmla="*/ 2587171 w 7273471"/>
                  <a:gd name="connsiteY16" fmla="*/ 8496300 h 17945100"/>
                  <a:gd name="connsiteX17" fmla="*/ 2777671 w 7273471"/>
                  <a:gd name="connsiteY17" fmla="*/ 77597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759121 w 7273471"/>
                  <a:gd name="connsiteY29" fmla="*/ 13601700 h 17945100"/>
                  <a:gd name="connsiteX30" fmla="*/ 6549571 w 7273471"/>
                  <a:gd name="connsiteY30" fmla="*/ 11487150 h 17945100"/>
                  <a:gd name="connsiteX31" fmla="*/ 6454322 w 7273471"/>
                  <a:gd name="connsiteY31" fmla="*/ 10287000 h 17945100"/>
                  <a:gd name="connsiteX32" fmla="*/ 6530521 w 7273471"/>
                  <a:gd name="connsiteY32" fmla="*/ 889635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8343900 h 17945100"/>
                  <a:gd name="connsiteX7" fmla="*/ 244021 w 7273471"/>
                  <a:gd name="connsiteY7" fmla="*/ 10096500 h 17945100"/>
                  <a:gd name="connsiteX8" fmla="*/ 263071 w 7273471"/>
                  <a:gd name="connsiteY8" fmla="*/ 11080750 h 17945100"/>
                  <a:gd name="connsiteX9" fmla="*/ 263071 w 7273471"/>
                  <a:gd name="connsiteY9" fmla="*/ 13258800 h 17945100"/>
                  <a:gd name="connsiteX10" fmla="*/ 0 w 7273471"/>
                  <a:gd name="connsiteY10" fmla="*/ 172520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447471 w 7273471"/>
                  <a:gd name="connsiteY14" fmla="*/ 9652000 h 17945100"/>
                  <a:gd name="connsiteX15" fmla="*/ 2536371 w 7273471"/>
                  <a:gd name="connsiteY15" fmla="*/ 9169400 h 17945100"/>
                  <a:gd name="connsiteX16" fmla="*/ 2587171 w 7273471"/>
                  <a:gd name="connsiteY16" fmla="*/ 8496300 h 17945100"/>
                  <a:gd name="connsiteX17" fmla="*/ 2777671 w 7273471"/>
                  <a:gd name="connsiteY17" fmla="*/ 77597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759121 w 7273471"/>
                  <a:gd name="connsiteY29" fmla="*/ 13601700 h 17945100"/>
                  <a:gd name="connsiteX30" fmla="*/ 6549571 w 7273471"/>
                  <a:gd name="connsiteY30" fmla="*/ 11487150 h 17945100"/>
                  <a:gd name="connsiteX31" fmla="*/ 6454322 w 7273471"/>
                  <a:gd name="connsiteY31" fmla="*/ 10287000 h 17945100"/>
                  <a:gd name="connsiteX32" fmla="*/ 6530521 w 7273471"/>
                  <a:gd name="connsiteY32" fmla="*/ 889635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8343900 h 17945100"/>
                  <a:gd name="connsiteX7" fmla="*/ 244021 w 7273471"/>
                  <a:gd name="connsiteY7" fmla="*/ 10096500 h 17945100"/>
                  <a:gd name="connsiteX8" fmla="*/ 263071 w 7273471"/>
                  <a:gd name="connsiteY8" fmla="*/ 11080750 h 17945100"/>
                  <a:gd name="connsiteX9" fmla="*/ 263071 w 7273471"/>
                  <a:gd name="connsiteY9" fmla="*/ 13258800 h 17945100"/>
                  <a:gd name="connsiteX10" fmla="*/ 0 w 7273471"/>
                  <a:gd name="connsiteY10" fmla="*/ 17252044 h 17945100"/>
                  <a:gd name="connsiteX11" fmla="*/ 1674585 w 7273471"/>
                  <a:gd name="connsiteY11" fmla="*/ 17547772 h 17945100"/>
                  <a:gd name="connsiteX12" fmla="*/ 2739571 w 7273471"/>
                  <a:gd name="connsiteY12" fmla="*/ 16954500 h 17945100"/>
                  <a:gd name="connsiteX13" fmla="*/ 2549071 w 7273471"/>
                  <a:gd name="connsiteY13" fmla="*/ 11125200 h 17945100"/>
                  <a:gd name="connsiteX14" fmla="*/ 2447471 w 7273471"/>
                  <a:gd name="connsiteY14" fmla="*/ 9652000 h 17945100"/>
                  <a:gd name="connsiteX15" fmla="*/ 2536371 w 7273471"/>
                  <a:gd name="connsiteY15" fmla="*/ 9169400 h 17945100"/>
                  <a:gd name="connsiteX16" fmla="*/ 2587171 w 7273471"/>
                  <a:gd name="connsiteY16" fmla="*/ 8496300 h 17945100"/>
                  <a:gd name="connsiteX17" fmla="*/ 2777671 w 7273471"/>
                  <a:gd name="connsiteY17" fmla="*/ 77597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759121 w 7273471"/>
                  <a:gd name="connsiteY29" fmla="*/ 13601700 h 17945100"/>
                  <a:gd name="connsiteX30" fmla="*/ 6549571 w 7273471"/>
                  <a:gd name="connsiteY30" fmla="*/ 11487150 h 17945100"/>
                  <a:gd name="connsiteX31" fmla="*/ 6454322 w 7273471"/>
                  <a:gd name="connsiteY31" fmla="*/ 10287000 h 17945100"/>
                  <a:gd name="connsiteX32" fmla="*/ 6530521 w 7273471"/>
                  <a:gd name="connsiteY32" fmla="*/ 889635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8343900 h 17945100"/>
                  <a:gd name="connsiteX7" fmla="*/ 244021 w 7273471"/>
                  <a:gd name="connsiteY7" fmla="*/ 10096500 h 17945100"/>
                  <a:gd name="connsiteX8" fmla="*/ 263071 w 7273471"/>
                  <a:gd name="connsiteY8" fmla="*/ 11080750 h 17945100"/>
                  <a:gd name="connsiteX9" fmla="*/ 263071 w 7273471"/>
                  <a:gd name="connsiteY9" fmla="*/ 13258800 h 17945100"/>
                  <a:gd name="connsiteX10" fmla="*/ 0 w 7273471"/>
                  <a:gd name="connsiteY10" fmla="*/ 17252044 h 17945100"/>
                  <a:gd name="connsiteX11" fmla="*/ 1674585 w 7273471"/>
                  <a:gd name="connsiteY11" fmla="*/ 17547772 h 17945100"/>
                  <a:gd name="connsiteX12" fmla="*/ 2739571 w 7273471"/>
                  <a:gd name="connsiteY12" fmla="*/ 17487900 h 17945100"/>
                  <a:gd name="connsiteX13" fmla="*/ 2549071 w 7273471"/>
                  <a:gd name="connsiteY13" fmla="*/ 11125200 h 17945100"/>
                  <a:gd name="connsiteX14" fmla="*/ 2447471 w 7273471"/>
                  <a:gd name="connsiteY14" fmla="*/ 9652000 h 17945100"/>
                  <a:gd name="connsiteX15" fmla="*/ 2536371 w 7273471"/>
                  <a:gd name="connsiteY15" fmla="*/ 9169400 h 17945100"/>
                  <a:gd name="connsiteX16" fmla="*/ 2587171 w 7273471"/>
                  <a:gd name="connsiteY16" fmla="*/ 8496300 h 17945100"/>
                  <a:gd name="connsiteX17" fmla="*/ 2777671 w 7273471"/>
                  <a:gd name="connsiteY17" fmla="*/ 77597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759121 w 7273471"/>
                  <a:gd name="connsiteY29" fmla="*/ 13601700 h 17945100"/>
                  <a:gd name="connsiteX30" fmla="*/ 6549571 w 7273471"/>
                  <a:gd name="connsiteY30" fmla="*/ 11487150 h 17945100"/>
                  <a:gd name="connsiteX31" fmla="*/ 6454322 w 7273471"/>
                  <a:gd name="connsiteY31" fmla="*/ 10287000 h 17945100"/>
                  <a:gd name="connsiteX32" fmla="*/ 6530521 w 7273471"/>
                  <a:gd name="connsiteY32" fmla="*/ 889635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453571 w 7197271"/>
                  <a:gd name="connsiteY0" fmla="*/ 1752600 h 17945100"/>
                  <a:gd name="connsiteX1" fmla="*/ 186871 w 7197271"/>
                  <a:gd name="connsiteY1" fmla="*/ 2133600 h 17945100"/>
                  <a:gd name="connsiteX2" fmla="*/ 263071 w 7197271"/>
                  <a:gd name="connsiteY2" fmla="*/ 2514600 h 17945100"/>
                  <a:gd name="connsiteX3" fmla="*/ 491671 w 7197271"/>
                  <a:gd name="connsiteY3" fmla="*/ 2705100 h 17945100"/>
                  <a:gd name="connsiteX4" fmla="*/ 453571 w 7197271"/>
                  <a:gd name="connsiteY4" fmla="*/ 3962400 h 17945100"/>
                  <a:gd name="connsiteX5" fmla="*/ 186871 w 7197271"/>
                  <a:gd name="connsiteY5" fmla="*/ 6819900 h 17945100"/>
                  <a:gd name="connsiteX6" fmla="*/ 97971 w 7197271"/>
                  <a:gd name="connsiteY6" fmla="*/ 8343900 h 17945100"/>
                  <a:gd name="connsiteX7" fmla="*/ 167821 w 7197271"/>
                  <a:gd name="connsiteY7" fmla="*/ 10096500 h 17945100"/>
                  <a:gd name="connsiteX8" fmla="*/ 186871 w 7197271"/>
                  <a:gd name="connsiteY8" fmla="*/ 11080750 h 17945100"/>
                  <a:gd name="connsiteX9" fmla="*/ 186871 w 7197271"/>
                  <a:gd name="connsiteY9" fmla="*/ 13258800 h 17945100"/>
                  <a:gd name="connsiteX10" fmla="*/ 0 w 7197271"/>
                  <a:gd name="connsiteY10" fmla="*/ 17442544 h 17945100"/>
                  <a:gd name="connsiteX11" fmla="*/ 1598385 w 7197271"/>
                  <a:gd name="connsiteY11" fmla="*/ 17547772 h 17945100"/>
                  <a:gd name="connsiteX12" fmla="*/ 2663371 w 7197271"/>
                  <a:gd name="connsiteY12" fmla="*/ 17487900 h 17945100"/>
                  <a:gd name="connsiteX13" fmla="*/ 2472871 w 7197271"/>
                  <a:gd name="connsiteY13" fmla="*/ 11125200 h 17945100"/>
                  <a:gd name="connsiteX14" fmla="*/ 2371271 w 7197271"/>
                  <a:gd name="connsiteY14" fmla="*/ 9652000 h 17945100"/>
                  <a:gd name="connsiteX15" fmla="*/ 2460171 w 7197271"/>
                  <a:gd name="connsiteY15" fmla="*/ 9169400 h 17945100"/>
                  <a:gd name="connsiteX16" fmla="*/ 2510971 w 7197271"/>
                  <a:gd name="connsiteY16" fmla="*/ 8496300 h 17945100"/>
                  <a:gd name="connsiteX17" fmla="*/ 2701471 w 7197271"/>
                  <a:gd name="connsiteY17" fmla="*/ 7759700 h 17945100"/>
                  <a:gd name="connsiteX18" fmla="*/ 3615871 w 7197271"/>
                  <a:gd name="connsiteY18" fmla="*/ 4114800 h 17945100"/>
                  <a:gd name="connsiteX19" fmla="*/ 3844471 w 7197271"/>
                  <a:gd name="connsiteY19" fmla="*/ 5219700 h 17945100"/>
                  <a:gd name="connsiteX20" fmla="*/ 3996871 w 7197271"/>
                  <a:gd name="connsiteY20" fmla="*/ 7048500 h 17945100"/>
                  <a:gd name="connsiteX21" fmla="*/ 4161971 w 7197271"/>
                  <a:gd name="connsiteY21" fmla="*/ 8801100 h 17945100"/>
                  <a:gd name="connsiteX22" fmla="*/ 4187371 w 7197271"/>
                  <a:gd name="connsiteY22" fmla="*/ 10058400 h 17945100"/>
                  <a:gd name="connsiteX23" fmla="*/ 4149271 w 7197271"/>
                  <a:gd name="connsiteY23" fmla="*/ 11239500 h 17945100"/>
                  <a:gd name="connsiteX24" fmla="*/ 4149271 w 7197271"/>
                  <a:gd name="connsiteY24" fmla="*/ 12877800 h 17945100"/>
                  <a:gd name="connsiteX25" fmla="*/ 4111171 w 7197271"/>
                  <a:gd name="connsiteY25" fmla="*/ 13868400 h 17945100"/>
                  <a:gd name="connsiteX26" fmla="*/ 4187371 w 7197271"/>
                  <a:gd name="connsiteY26" fmla="*/ 17868900 h 17945100"/>
                  <a:gd name="connsiteX27" fmla="*/ 6244771 w 7197271"/>
                  <a:gd name="connsiteY27" fmla="*/ 17945100 h 17945100"/>
                  <a:gd name="connsiteX28" fmla="*/ 6892471 w 7197271"/>
                  <a:gd name="connsiteY28" fmla="*/ 17830800 h 17945100"/>
                  <a:gd name="connsiteX29" fmla="*/ 6682921 w 7197271"/>
                  <a:gd name="connsiteY29" fmla="*/ 13601700 h 17945100"/>
                  <a:gd name="connsiteX30" fmla="*/ 6473371 w 7197271"/>
                  <a:gd name="connsiteY30" fmla="*/ 11487150 h 17945100"/>
                  <a:gd name="connsiteX31" fmla="*/ 6378122 w 7197271"/>
                  <a:gd name="connsiteY31" fmla="*/ 10287000 h 17945100"/>
                  <a:gd name="connsiteX32" fmla="*/ 6454321 w 7197271"/>
                  <a:gd name="connsiteY32" fmla="*/ 8896350 h 17945100"/>
                  <a:gd name="connsiteX33" fmla="*/ 6930571 w 7197271"/>
                  <a:gd name="connsiteY33" fmla="*/ 5143500 h 17945100"/>
                  <a:gd name="connsiteX34" fmla="*/ 7121071 w 7197271"/>
                  <a:gd name="connsiteY34" fmla="*/ 4114800 h 17945100"/>
                  <a:gd name="connsiteX35" fmla="*/ 7197271 w 7197271"/>
                  <a:gd name="connsiteY35" fmla="*/ 2781300 h 17945100"/>
                  <a:gd name="connsiteX36" fmla="*/ 7159171 w 7197271"/>
                  <a:gd name="connsiteY36" fmla="*/ 2095500 h 17945100"/>
                  <a:gd name="connsiteX37" fmla="*/ 6092371 w 7197271"/>
                  <a:gd name="connsiteY37" fmla="*/ 2171700 h 17945100"/>
                  <a:gd name="connsiteX38" fmla="*/ 4492171 w 7197271"/>
                  <a:gd name="connsiteY38" fmla="*/ 2247900 h 17945100"/>
                  <a:gd name="connsiteX39" fmla="*/ 3958771 w 7197271"/>
                  <a:gd name="connsiteY39" fmla="*/ 2209800 h 17945100"/>
                  <a:gd name="connsiteX40" fmla="*/ 3425371 w 7197271"/>
                  <a:gd name="connsiteY40" fmla="*/ 1828800 h 17945100"/>
                  <a:gd name="connsiteX41" fmla="*/ 3272971 w 7197271"/>
                  <a:gd name="connsiteY41" fmla="*/ 1295400 h 17945100"/>
                  <a:gd name="connsiteX42" fmla="*/ 3158671 w 7197271"/>
                  <a:gd name="connsiteY42" fmla="*/ 0 h 17945100"/>
                  <a:gd name="connsiteX43" fmla="*/ 2815771 w 7197271"/>
                  <a:gd name="connsiteY43" fmla="*/ 76200 h 17945100"/>
                  <a:gd name="connsiteX44" fmla="*/ 2320471 w 7197271"/>
                  <a:gd name="connsiteY44" fmla="*/ 1562100 h 17945100"/>
                  <a:gd name="connsiteX45" fmla="*/ 2091871 w 7197271"/>
                  <a:gd name="connsiteY45" fmla="*/ 1790700 h 17945100"/>
                  <a:gd name="connsiteX46" fmla="*/ 1710871 w 7197271"/>
                  <a:gd name="connsiteY46" fmla="*/ 2095500 h 17945100"/>
                  <a:gd name="connsiteX47" fmla="*/ 1101271 w 7197271"/>
                  <a:gd name="connsiteY47" fmla="*/ 1981200 h 17945100"/>
                  <a:gd name="connsiteX48" fmla="*/ 415471 w 7197271"/>
                  <a:gd name="connsiteY48" fmla="*/ 1790700 h 17945100"/>
                  <a:gd name="connsiteX49" fmla="*/ 415471 w 7197271"/>
                  <a:gd name="connsiteY49" fmla="*/ 1790700 h 17945100"/>
                  <a:gd name="connsiteX0" fmla="*/ 453571 w 7197271"/>
                  <a:gd name="connsiteY0" fmla="*/ 1752600 h 17945100"/>
                  <a:gd name="connsiteX1" fmla="*/ 186871 w 7197271"/>
                  <a:gd name="connsiteY1" fmla="*/ 2133600 h 17945100"/>
                  <a:gd name="connsiteX2" fmla="*/ 263071 w 7197271"/>
                  <a:gd name="connsiteY2" fmla="*/ 2514600 h 17945100"/>
                  <a:gd name="connsiteX3" fmla="*/ 491671 w 7197271"/>
                  <a:gd name="connsiteY3" fmla="*/ 2705100 h 17945100"/>
                  <a:gd name="connsiteX4" fmla="*/ 453571 w 7197271"/>
                  <a:gd name="connsiteY4" fmla="*/ 3962400 h 17945100"/>
                  <a:gd name="connsiteX5" fmla="*/ 186871 w 7197271"/>
                  <a:gd name="connsiteY5" fmla="*/ 6819900 h 17945100"/>
                  <a:gd name="connsiteX6" fmla="*/ 97971 w 7197271"/>
                  <a:gd name="connsiteY6" fmla="*/ 8343900 h 17945100"/>
                  <a:gd name="connsiteX7" fmla="*/ 167821 w 7197271"/>
                  <a:gd name="connsiteY7" fmla="*/ 10096500 h 17945100"/>
                  <a:gd name="connsiteX8" fmla="*/ 186871 w 7197271"/>
                  <a:gd name="connsiteY8" fmla="*/ 11080750 h 17945100"/>
                  <a:gd name="connsiteX9" fmla="*/ 186871 w 7197271"/>
                  <a:gd name="connsiteY9" fmla="*/ 13258800 h 17945100"/>
                  <a:gd name="connsiteX10" fmla="*/ 0 w 7197271"/>
                  <a:gd name="connsiteY10" fmla="*/ 17442544 h 17945100"/>
                  <a:gd name="connsiteX11" fmla="*/ 1598385 w 7197271"/>
                  <a:gd name="connsiteY11" fmla="*/ 17547772 h 17945100"/>
                  <a:gd name="connsiteX12" fmla="*/ 2663371 w 7197271"/>
                  <a:gd name="connsiteY12" fmla="*/ 17487900 h 17945100"/>
                  <a:gd name="connsiteX13" fmla="*/ 2472871 w 7197271"/>
                  <a:gd name="connsiteY13" fmla="*/ 11125200 h 17945100"/>
                  <a:gd name="connsiteX14" fmla="*/ 2371271 w 7197271"/>
                  <a:gd name="connsiteY14" fmla="*/ 9652000 h 17945100"/>
                  <a:gd name="connsiteX15" fmla="*/ 2460171 w 7197271"/>
                  <a:gd name="connsiteY15" fmla="*/ 9169400 h 17945100"/>
                  <a:gd name="connsiteX16" fmla="*/ 2510971 w 7197271"/>
                  <a:gd name="connsiteY16" fmla="*/ 8496300 h 17945100"/>
                  <a:gd name="connsiteX17" fmla="*/ 2701471 w 7197271"/>
                  <a:gd name="connsiteY17" fmla="*/ 7759700 h 17945100"/>
                  <a:gd name="connsiteX18" fmla="*/ 3615871 w 7197271"/>
                  <a:gd name="connsiteY18" fmla="*/ 4114800 h 17945100"/>
                  <a:gd name="connsiteX19" fmla="*/ 3844471 w 7197271"/>
                  <a:gd name="connsiteY19" fmla="*/ 5219700 h 17945100"/>
                  <a:gd name="connsiteX20" fmla="*/ 3996871 w 7197271"/>
                  <a:gd name="connsiteY20" fmla="*/ 7048500 h 17945100"/>
                  <a:gd name="connsiteX21" fmla="*/ 4161971 w 7197271"/>
                  <a:gd name="connsiteY21" fmla="*/ 8801100 h 17945100"/>
                  <a:gd name="connsiteX22" fmla="*/ 4187371 w 7197271"/>
                  <a:gd name="connsiteY22" fmla="*/ 10058400 h 17945100"/>
                  <a:gd name="connsiteX23" fmla="*/ 4149271 w 7197271"/>
                  <a:gd name="connsiteY23" fmla="*/ 11239500 h 17945100"/>
                  <a:gd name="connsiteX24" fmla="*/ 4149271 w 7197271"/>
                  <a:gd name="connsiteY24" fmla="*/ 12877800 h 17945100"/>
                  <a:gd name="connsiteX25" fmla="*/ 4111171 w 7197271"/>
                  <a:gd name="connsiteY25" fmla="*/ 13868400 h 17945100"/>
                  <a:gd name="connsiteX26" fmla="*/ 4187371 w 7197271"/>
                  <a:gd name="connsiteY26" fmla="*/ 17868900 h 17945100"/>
                  <a:gd name="connsiteX27" fmla="*/ 6244771 w 7197271"/>
                  <a:gd name="connsiteY27" fmla="*/ 17945100 h 17945100"/>
                  <a:gd name="connsiteX28" fmla="*/ 6892471 w 7197271"/>
                  <a:gd name="connsiteY28" fmla="*/ 17830800 h 17945100"/>
                  <a:gd name="connsiteX29" fmla="*/ 6682921 w 7197271"/>
                  <a:gd name="connsiteY29" fmla="*/ 13601700 h 17945100"/>
                  <a:gd name="connsiteX30" fmla="*/ 6473371 w 7197271"/>
                  <a:gd name="connsiteY30" fmla="*/ 11487150 h 17945100"/>
                  <a:gd name="connsiteX31" fmla="*/ 6378122 w 7197271"/>
                  <a:gd name="connsiteY31" fmla="*/ 10287000 h 17945100"/>
                  <a:gd name="connsiteX32" fmla="*/ 6454321 w 7197271"/>
                  <a:gd name="connsiteY32" fmla="*/ 8896350 h 17945100"/>
                  <a:gd name="connsiteX33" fmla="*/ 6930571 w 7197271"/>
                  <a:gd name="connsiteY33" fmla="*/ 5143500 h 17945100"/>
                  <a:gd name="connsiteX34" fmla="*/ 7121071 w 7197271"/>
                  <a:gd name="connsiteY34" fmla="*/ 4114800 h 17945100"/>
                  <a:gd name="connsiteX35" fmla="*/ 7197271 w 7197271"/>
                  <a:gd name="connsiteY35" fmla="*/ 2781300 h 17945100"/>
                  <a:gd name="connsiteX36" fmla="*/ 7159171 w 7197271"/>
                  <a:gd name="connsiteY36" fmla="*/ 2095500 h 17945100"/>
                  <a:gd name="connsiteX37" fmla="*/ 6092371 w 7197271"/>
                  <a:gd name="connsiteY37" fmla="*/ 2171700 h 17945100"/>
                  <a:gd name="connsiteX38" fmla="*/ 4492171 w 7197271"/>
                  <a:gd name="connsiteY38" fmla="*/ 2247900 h 17945100"/>
                  <a:gd name="connsiteX39" fmla="*/ 3958771 w 7197271"/>
                  <a:gd name="connsiteY39" fmla="*/ 2209800 h 17945100"/>
                  <a:gd name="connsiteX40" fmla="*/ 3425371 w 7197271"/>
                  <a:gd name="connsiteY40" fmla="*/ 1828800 h 17945100"/>
                  <a:gd name="connsiteX41" fmla="*/ 3272971 w 7197271"/>
                  <a:gd name="connsiteY41" fmla="*/ 1295400 h 17945100"/>
                  <a:gd name="connsiteX42" fmla="*/ 3158671 w 7197271"/>
                  <a:gd name="connsiteY42" fmla="*/ 0 h 17945100"/>
                  <a:gd name="connsiteX43" fmla="*/ 2815771 w 7197271"/>
                  <a:gd name="connsiteY43" fmla="*/ 76200 h 17945100"/>
                  <a:gd name="connsiteX44" fmla="*/ 2320471 w 7197271"/>
                  <a:gd name="connsiteY44" fmla="*/ 1562100 h 17945100"/>
                  <a:gd name="connsiteX45" fmla="*/ 2091871 w 7197271"/>
                  <a:gd name="connsiteY45" fmla="*/ 1790700 h 17945100"/>
                  <a:gd name="connsiteX46" fmla="*/ 1710871 w 7197271"/>
                  <a:gd name="connsiteY46" fmla="*/ 2095500 h 17945100"/>
                  <a:gd name="connsiteX47" fmla="*/ 1101271 w 7197271"/>
                  <a:gd name="connsiteY47" fmla="*/ 1981200 h 17945100"/>
                  <a:gd name="connsiteX48" fmla="*/ 415471 w 7197271"/>
                  <a:gd name="connsiteY48" fmla="*/ 1790700 h 17945100"/>
                  <a:gd name="connsiteX49" fmla="*/ 415471 w 7197271"/>
                  <a:gd name="connsiteY49" fmla="*/ 1790700 h 17945100"/>
                  <a:gd name="connsiteX0" fmla="*/ 453571 w 7197271"/>
                  <a:gd name="connsiteY0" fmla="*/ 1752600 h 17945100"/>
                  <a:gd name="connsiteX1" fmla="*/ 186871 w 7197271"/>
                  <a:gd name="connsiteY1" fmla="*/ 2133600 h 17945100"/>
                  <a:gd name="connsiteX2" fmla="*/ 263071 w 7197271"/>
                  <a:gd name="connsiteY2" fmla="*/ 2514600 h 17945100"/>
                  <a:gd name="connsiteX3" fmla="*/ 491671 w 7197271"/>
                  <a:gd name="connsiteY3" fmla="*/ 2705100 h 17945100"/>
                  <a:gd name="connsiteX4" fmla="*/ 453571 w 7197271"/>
                  <a:gd name="connsiteY4" fmla="*/ 3962400 h 17945100"/>
                  <a:gd name="connsiteX5" fmla="*/ 186871 w 7197271"/>
                  <a:gd name="connsiteY5" fmla="*/ 6819900 h 17945100"/>
                  <a:gd name="connsiteX6" fmla="*/ 97971 w 7197271"/>
                  <a:gd name="connsiteY6" fmla="*/ 8343900 h 17945100"/>
                  <a:gd name="connsiteX7" fmla="*/ 167821 w 7197271"/>
                  <a:gd name="connsiteY7" fmla="*/ 10096500 h 17945100"/>
                  <a:gd name="connsiteX8" fmla="*/ 186871 w 7197271"/>
                  <a:gd name="connsiteY8" fmla="*/ 11080750 h 17945100"/>
                  <a:gd name="connsiteX9" fmla="*/ 186871 w 7197271"/>
                  <a:gd name="connsiteY9" fmla="*/ 13258800 h 17945100"/>
                  <a:gd name="connsiteX10" fmla="*/ 0 w 7197271"/>
                  <a:gd name="connsiteY10" fmla="*/ 17442544 h 17945100"/>
                  <a:gd name="connsiteX11" fmla="*/ 1598385 w 7197271"/>
                  <a:gd name="connsiteY11" fmla="*/ 17547772 h 17945100"/>
                  <a:gd name="connsiteX12" fmla="*/ 2663371 w 7197271"/>
                  <a:gd name="connsiteY12" fmla="*/ 17487900 h 17945100"/>
                  <a:gd name="connsiteX13" fmla="*/ 2472871 w 7197271"/>
                  <a:gd name="connsiteY13" fmla="*/ 11125200 h 17945100"/>
                  <a:gd name="connsiteX14" fmla="*/ 2371271 w 7197271"/>
                  <a:gd name="connsiteY14" fmla="*/ 9652000 h 17945100"/>
                  <a:gd name="connsiteX15" fmla="*/ 2460171 w 7197271"/>
                  <a:gd name="connsiteY15" fmla="*/ 9169400 h 17945100"/>
                  <a:gd name="connsiteX16" fmla="*/ 2510971 w 7197271"/>
                  <a:gd name="connsiteY16" fmla="*/ 8496300 h 17945100"/>
                  <a:gd name="connsiteX17" fmla="*/ 2701471 w 7197271"/>
                  <a:gd name="connsiteY17" fmla="*/ 7759700 h 17945100"/>
                  <a:gd name="connsiteX18" fmla="*/ 3615871 w 7197271"/>
                  <a:gd name="connsiteY18" fmla="*/ 4114800 h 17945100"/>
                  <a:gd name="connsiteX19" fmla="*/ 3844471 w 7197271"/>
                  <a:gd name="connsiteY19" fmla="*/ 5219700 h 17945100"/>
                  <a:gd name="connsiteX20" fmla="*/ 3996871 w 7197271"/>
                  <a:gd name="connsiteY20" fmla="*/ 7048500 h 17945100"/>
                  <a:gd name="connsiteX21" fmla="*/ 4161971 w 7197271"/>
                  <a:gd name="connsiteY21" fmla="*/ 8801100 h 17945100"/>
                  <a:gd name="connsiteX22" fmla="*/ 4187371 w 7197271"/>
                  <a:gd name="connsiteY22" fmla="*/ 10058400 h 17945100"/>
                  <a:gd name="connsiteX23" fmla="*/ 4149271 w 7197271"/>
                  <a:gd name="connsiteY23" fmla="*/ 11239500 h 17945100"/>
                  <a:gd name="connsiteX24" fmla="*/ 4149271 w 7197271"/>
                  <a:gd name="connsiteY24" fmla="*/ 12877800 h 17945100"/>
                  <a:gd name="connsiteX25" fmla="*/ 4111171 w 7197271"/>
                  <a:gd name="connsiteY25" fmla="*/ 13868400 h 17945100"/>
                  <a:gd name="connsiteX26" fmla="*/ 4187371 w 7197271"/>
                  <a:gd name="connsiteY26" fmla="*/ 17868900 h 17945100"/>
                  <a:gd name="connsiteX27" fmla="*/ 6244771 w 7197271"/>
                  <a:gd name="connsiteY27" fmla="*/ 17945100 h 17945100"/>
                  <a:gd name="connsiteX28" fmla="*/ 6892471 w 7197271"/>
                  <a:gd name="connsiteY28" fmla="*/ 17830800 h 17945100"/>
                  <a:gd name="connsiteX29" fmla="*/ 6682921 w 7197271"/>
                  <a:gd name="connsiteY29" fmla="*/ 13601700 h 17945100"/>
                  <a:gd name="connsiteX30" fmla="*/ 6473371 w 7197271"/>
                  <a:gd name="connsiteY30" fmla="*/ 11487150 h 17945100"/>
                  <a:gd name="connsiteX31" fmla="*/ 6378122 w 7197271"/>
                  <a:gd name="connsiteY31" fmla="*/ 10287000 h 17945100"/>
                  <a:gd name="connsiteX32" fmla="*/ 6454321 w 7197271"/>
                  <a:gd name="connsiteY32" fmla="*/ 8896350 h 17945100"/>
                  <a:gd name="connsiteX33" fmla="*/ 6930571 w 7197271"/>
                  <a:gd name="connsiteY33" fmla="*/ 5143500 h 17945100"/>
                  <a:gd name="connsiteX34" fmla="*/ 7121071 w 7197271"/>
                  <a:gd name="connsiteY34" fmla="*/ 4114800 h 17945100"/>
                  <a:gd name="connsiteX35" fmla="*/ 7197271 w 7197271"/>
                  <a:gd name="connsiteY35" fmla="*/ 2781300 h 17945100"/>
                  <a:gd name="connsiteX36" fmla="*/ 7159171 w 7197271"/>
                  <a:gd name="connsiteY36" fmla="*/ 2095500 h 17945100"/>
                  <a:gd name="connsiteX37" fmla="*/ 6092371 w 7197271"/>
                  <a:gd name="connsiteY37" fmla="*/ 2171700 h 17945100"/>
                  <a:gd name="connsiteX38" fmla="*/ 4492171 w 7197271"/>
                  <a:gd name="connsiteY38" fmla="*/ 2247900 h 17945100"/>
                  <a:gd name="connsiteX39" fmla="*/ 3958771 w 7197271"/>
                  <a:gd name="connsiteY39" fmla="*/ 2209800 h 17945100"/>
                  <a:gd name="connsiteX40" fmla="*/ 3425371 w 7197271"/>
                  <a:gd name="connsiteY40" fmla="*/ 1828800 h 17945100"/>
                  <a:gd name="connsiteX41" fmla="*/ 3272971 w 7197271"/>
                  <a:gd name="connsiteY41" fmla="*/ 1295400 h 17945100"/>
                  <a:gd name="connsiteX42" fmla="*/ 3158671 w 7197271"/>
                  <a:gd name="connsiteY42" fmla="*/ 0 h 17945100"/>
                  <a:gd name="connsiteX43" fmla="*/ 2815771 w 7197271"/>
                  <a:gd name="connsiteY43" fmla="*/ 76200 h 17945100"/>
                  <a:gd name="connsiteX44" fmla="*/ 2320471 w 7197271"/>
                  <a:gd name="connsiteY44" fmla="*/ 1562100 h 17945100"/>
                  <a:gd name="connsiteX45" fmla="*/ 2038531 w 7197271"/>
                  <a:gd name="connsiteY45" fmla="*/ 1752600 h 17945100"/>
                  <a:gd name="connsiteX46" fmla="*/ 1710871 w 7197271"/>
                  <a:gd name="connsiteY46" fmla="*/ 2095500 h 17945100"/>
                  <a:gd name="connsiteX47" fmla="*/ 1101271 w 7197271"/>
                  <a:gd name="connsiteY47" fmla="*/ 1981200 h 17945100"/>
                  <a:gd name="connsiteX48" fmla="*/ 415471 w 7197271"/>
                  <a:gd name="connsiteY48" fmla="*/ 1790700 h 17945100"/>
                  <a:gd name="connsiteX49" fmla="*/ 415471 w 7197271"/>
                  <a:gd name="connsiteY49" fmla="*/ 1790700 h 17945100"/>
                  <a:gd name="connsiteX0" fmla="*/ 453571 w 7197271"/>
                  <a:gd name="connsiteY0" fmla="*/ 1752600 h 17945100"/>
                  <a:gd name="connsiteX1" fmla="*/ 186871 w 7197271"/>
                  <a:gd name="connsiteY1" fmla="*/ 2133600 h 17945100"/>
                  <a:gd name="connsiteX2" fmla="*/ 263071 w 7197271"/>
                  <a:gd name="connsiteY2" fmla="*/ 2514600 h 17945100"/>
                  <a:gd name="connsiteX3" fmla="*/ 491671 w 7197271"/>
                  <a:gd name="connsiteY3" fmla="*/ 2705100 h 17945100"/>
                  <a:gd name="connsiteX4" fmla="*/ 453571 w 7197271"/>
                  <a:gd name="connsiteY4" fmla="*/ 3962400 h 17945100"/>
                  <a:gd name="connsiteX5" fmla="*/ 186871 w 7197271"/>
                  <a:gd name="connsiteY5" fmla="*/ 6819900 h 17945100"/>
                  <a:gd name="connsiteX6" fmla="*/ 97971 w 7197271"/>
                  <a:gd name="connsiteY6" fmla="*/ 8343900 h 17945100"/>
                  <a:gd name="connsiteX7" fmla="*/ 167821 w 7197271"/>
                  <a:gd name="connsiteY7" fmla="*/ 10096500 h 17945100"/>
                  <a:gd name="connsiteX8" fmla="*/ 186871 w 7197271"/>
                  <a:gd name="connsiteY8" fmla="*/ 11080750 h 17945100"/>
                  <a:gd name="connsiteX9" fmla="*/ 186871 w 7197271"/>
                  <a:gd name="connsiteY9" fmla="*/ 13258800 h 17945100"/>
                  <a:gd name="connsiteX10" fmla="*/ 0 w 7197271"/>
                  <a:gd name="connsiteY10" fmla="*/ 17442544 h 17945100"/>
                  <a:gd name="connsiteX11" fmla="*/ 1598385 w 7197271"/>
                  <a:gd name="connsiteY11" fmla="*/ 17547772 h 17945100"/>
                  <a:gd name="connsiteX12" fmla="*/ 2663371 w 7197271"/>
                  <a:gd name="connsiteY12" fmla="*/ 17487900 h 17945100"/>
                  <a:gd name="connsiteX13" fmla="*/ 2472871 w 7197271"/>
                  <a:gd name="connsiteY13" fmla="*/ 11125200 h 17945100"/>
                  <a:gd name="connsiteX14" fmla="*/ 2371271 w 7197271"/>
                  <a:gd name="connsiteY14" fmla="*/ 9652000 h 17945100"/>
                  <a:gd name="connsiteX15" fmla="*/ 2460171 w 7197271"/>
                  <a:gd name="connsiteY15" fmla="*/ 9169400 h 17945100"/>
                  <a:gd name="connsiteX16" fmla="*/ 2510971 w 7197271"/>
                  <a:gd name="connsiteY16" fmla="*/ 8496300 h 17945100"/>
                  <a:gd name="connsiteX17" fmla="*/ 2701471 w 7197271"/>
                  <a:gd name="connsiteY17" fmla="*/ 7759700 h 17945100"/>
                  <a:gd name="connsiteX18" fmla="*/ 3615871 w 7197271"/>
                  <a:gd name="connsiteY18" fmla="*/ 4114800 h 17945100"/>
                  <a:gd name="connsiteX19" fmla="*/ 3844471 w 7197271"/>
                  <a:gd name="connsiteY19" fmla="*/ 5219700 h 17945100"/>
                  <a:gd name="connsiteX20" fmla="*/ 3996871 w 7197271"/>
                  <a:gd name="connsiteY20" fmla="*/ 7048500 h 17945100"/>
                  <a:gd name="connsiteX21" fmla="*/ 4161971 w 7197271"/>
                  <a:gd name="connsiteY21" fmla="*/ 8801100 h 17945100"/>
                  <a:gd name="connsiteX22" fmla="*/ 4187371 w 7197271"/>
                  <a:gd name="connsiteY22" fmla="*/ 10058400 h 17945100"/>
                  <a:gd name="connsiteX23" fmla="*/ 4149271 w 7197271"/>
                  <a:gd name="connsiteY23" fmla="*/ 11239500 h 17945100"/>
                  <a:gd name="connsiteX24" fmla="*/ 4149271 w 7197271"/>
                  <a:gd name="connsiteY24" fmla="*/ 12877800 h 17945100"/>
                  <a:gd name="connsiteX25" fmla="*/ 4111171 w 7197271"/>
                  <a:gd name="connsiteY25" fmla="*/ 13868400 h 17945100"/>
                  <a:gd name="connsiteX26" fmla="*/ 4187371 w 7197271"/>
                  <a:gd name="connsiteY26" fmla="*/ 17868900 h 17945100"/>
                  <a:gd name="connsiteX27" fmla="*/ 6244771 w 7197271"/>
                  <a:gd name="connsiteY27" fmla="*/ 17945100 h 17945100"/>
                  <a:gd name="connsiteX28" fmla="*/ 6892471 w 7197271"/>
                  <a:gd name="connsiteY28" fmla="*/ 17830800 h 17945100"/>
                  <a:gd name="connsiteX29" fmla="*/ 6682921 w 7197271"/>
                  <a:gd name="connsiteY29" fmla="*/ 13601700 h 17945100"/>
                  <a:gd name="connsiteX30" fmla="*/ 6473371 w 7197271"/>
                  <a:gd name="connsiteY30" fmla="*/ 11487150 h 17945100"/>
                  <a:gd name="connsiteX31" fmla="*/ 6378122 w 7197271"/>
                  <a:gd name="connsiteY31" fmla="*/ 10287000 h 17945100"/>
                  <a:gd name="connsiteX32" fmla="*/ 6454321 w 7197271"/>
                  <a:gd name="connsiteY32" fmla="*/ 8896350 h 17945100"/>
                  <a:gd name="connsiteX33" fmla="*/ 6930571 w 7197271"/>
                  <a:gd name="connsiteY33" fmla="*/ 5143500 h 17945100"/>
                  <a:gd name="connsiteX34" fmla="*/ 7121071 w 7197271"/>
                  <a:gd name="connsiteY34" fmla="*/ 4114800 h 17945100"/>
                  <a:gd name="connsiteX35" fmla="*/ 7197271 w 7197271"/>
                  <a:gd name="connsiteY35" fmla="*/ 2781300 h 17945100"/>
                  <a:gd name="connsiteX36" fmla="*/ 7159171 w 7197271"/>
                  <a:gd name="connsiteY36" fmla="*/ 2095500 h 17945100"/>
                  <a:gd name="connsiteX37" fmla="*/ 6092371 w 7197271"/>
                  <a:gd name="connsiteY37" fmla="*/ 2171700 h 17945100"/>
                  <a:gd name="connsiteX38" fmla="*/ 4492171 w 7197271"/>
                  <a:gd name="connsiteY38" fmla="*/ 2247900 h 17945100"/>
                  <a:gd name="connsiteX39" fmla="*/ 3958771 w 7197271"/>
                  <a:gd name="connsiteY39" fmla="*/ 2209800 h 17945100"/>
                  <a:gd name="connsiteX40" fmla="*/ 3425371 w 7197271"/>
                  <a:gd name="connsiteY40" fmla="*/ 1828800 h 17945100"/>
                  <a:gd name="connsiteX41" fmla="*/ 3272971 w 7197271"/>
                  <a:gd name="connsiteY41" fmla="*/ 1295400 h 17945100"/>
                  <a:gd name="connsiteX42" fmla="*/ 3158671 w 7197271"/>
                  <a:gd name="connsiteY42" fmla="*/ 0 h 17945100"/>
                  <a:gd name="connsiteX43" fmla="*/ 2815771 w 7197271"/>
                  <a:gd name="connsiteY43" fmla="*/ 76200 h 17945100"/>
                  <a:gd name="connsiteX44" fmla="*/ 2320471 w 7197271"/>
                  <a:gd name="connsiteY44" fmla="*/ 1562100 h 17945100"/>
                  <a:gd name="connsiteX45" fmla="*/ 2038531 w 7197271"/>
                  <a:gd name="connsiteY45" fmla="*/ 1752600 h 17945100"/>
                  <a:gd name="connsiteX46" fmla="*/ 1710871 w 7197271"/>
                  <a:gd name="connsiteY46" fmla="*/ 2095500 h 17945100"/>
                  <a:gd name="connsiteX47" fmla="*/ 1101271 w 7197271"/>
                  <a:gd name="connsiteY47" fmla="*/ 1981200 h 17945100"/>
                  <a:gd name="connsiteX48" fmla="*/ 415471 w 7197271"/>
                  <a:gd name="connsiteY48" fmla="*/ 1790700 h 17945100"/>
                  <a:gd name="connsiteX49" fmla="*/ 415471 w 7197271"/>
                  <a:gd name="connsiteY49" fmla="*/ 1790700 h 17945100"/>
                  <a:gd name="connsiteX0" fmla="*/ 453571 w 7197271"/>
                  <a:gd name="connsiteY0" fmla="*/ 1752600 h 17945100"/>
                  <a:gd name="connsiteX1" fmla="*/ 186871 w 7197271"/>
                  <a:gd name="connsiteY1" fmla="*/ 2133600 h 17945100"/>
                  <a:gd name="connsiteX2" fmla="*/ 263071 w 7197271"/>
                  <a:gd name="connsiteY2" fmla="*/ 2514600 h 17945100"/>
                  <a:gd name="connsiteX3" fmla="*/ 491671 w 7197271"/>
                  <a:gd name="connsiteY3" fmla="*/ 2705100 h 17945100"/>
                  <a:gd name="connsiteX4" fmla="*/ 453571 w 7197271"/>
                  <a:gd name="connsiteY4" fmla="*/ 3962400 h 17945100"/>
                  <a:gd name="connsiteX5" fmla="*/ 186871 w 7197271"/>
                  <a:gd name="connsiteY5" fmla="*/ 6819900 h 17945100"/>
                  <a:gd name="connsiteX6" fmla="*/ 97971 w 7197271"/>
                  <a:gd name="connsiteY6" fmla="*/ 8343900 h 17945100"/>
                  <a:gd name="connsiteX7" fmla="*/ 167821 w 7197271"/>
                  <a:gd name="connsiteY7" fmla="*/ 10096500 h 17945100"/>
                  <a:gd name="connsiteX8" fmla="*/ 186871 w 7197271"/>
                  <a:gd name="connsiteY8" fmla="*/ 11080750 h 17945100"/>
                  <a:gd name="connsiteX9" fmla="*/ 186871 w 7197271"/>
                  <a:gd name="connsiteY9" fmla="*/ 13258800 h 17945100"/>
                  <a:gd name="connsiteX10" fmla="*/ 0 w 7197271"/>
                  <a:gd name="connsiteY10" fmla="*/ 17442544 h 17945100"/>
                  <a:gd name="connsiteX11" fmla="*/ 1598385 w 7197271"/>
                  <a:gd name="connsiteY11" fmla="*/ 17547772 h 17945100"/>
                  <a:gd name="connsiteX12" fmla="*/ 2663371 w 7197271"/>
                  <a:gd name="connsiteY12" fmla="*/ 17487900 h 17945100"/>
                  <a:gd name="connsiteX13" fmla="*/ 2472871 w 7197271"/>
                  <a:gd name="connsiteY13" fmla="*/ 11125200 h 17945100"/>
                  <a:gd name="connsiteX14" fmla="*/ 2371271 w 7197271"/>
                  <a:gd name="connsiteY14" fmla="*/ 9652000 h 17945100"/>
                  <a:gd name="connsiteX15" fmla="*/ 2460171 w 7197271"/>
                  <a:gd name="connsiteY15" fmla="*/ 9169400 h 17945100"/>
                  <a:gd name="connsiteX16" fmla="*/ 2510971 w 7197271"/>
                  <a:gd name="connsiteY16" fmla="*/ 8496300 h 17945100"/>
                  <a:gd name="connsiteX17" fmla="*/ 2701471 w 7197271"/>
                  <a:gd name="connsiteY17" fmla="*/ 7759700 h 17945100"/>
                  <a:gd name="connsiteX18" fmla="*/ 3615871 w 7197271"/>
                  <a:gd name="connsiteY18" fmla="*/ 4114800 h 17945100"/>
                  <a:gd name="connsiteX19" fmla="*/ 3844471 w 7197271"/>
                  <a:gd name="connsiteY19" fmla="*/ 5219700 h 17945100"/>
                  <a:gd name="connsiteX20" fmla="*/ 3996871 w 7197271"/>
                  <a:gd name="connsiteY20" fmla="*/ 7048500 h 17945100"/>
                  <a:gd name="connsiteX21" fmla="*/ 4161971 w 7197271"/>
                  <a:gd name="connsiteY21" fmla="*/ 8801100 h 17945100"/>
                  <a:gd name="connsiteX22" fmla="*/ 4187371 w 7197271"/>
                  <a:gd name="connsiteY22" fmla="*/ 10058400 h 17945100"/>
                  <a:gd name="connsiteX23" fmla="*/ 4149271 w 7197271"/>
                  <a:gd name="connsiteY23" fmla="*/ 11239500 h 17945100"/>
                  <a:gd name="connsiteX24" fmla="*/ 4149271 w 7197271"/>
                  <a:gd name="connsiteY24" fmla="*/ 12877800 h 17945100"/>
                  <a:gd name="connsiteX25" fmla="*/ 4111171 w 7197271"/>
                  <a:gd name="connsiteY25" fmla="*/ 13868400 h 17945100"/>
                  <a:gd name="connsiteX26" fmla="*/ 4187371 w 7197271"/>
                  <a:gd name="connsiteY26" fmla="*/ 17868900 h 17945100"/>
                  <a:gd name="connsiteX27" fmla="*/ 6244771 w 7197271"/>
                  <a:gd name="connsiteY27" fmla="*/ 17945100 h 17945100"/>
                  <a:gd name="connsiteX28" fmla="*/ 6892471 w 7197271"/>
                  <a:gd name="connsiteY28" fmla="*/ 17830800 h 17945100"/>
                  <a:gd name="connsiteX29" fmla="*/ 6682921 w 7197271"/>
                  <a:gd name="connsiteY29" fmla="*/ 13601700 h 17945100"/>
                  <a:gd name="connsiteX30" fmla="*/ 6473371 w 7197271"/>
                  <a:gd name="connsiteY30" fmla="*/ 11487150 h 17945100"/>
                  <a:gd name="connsiteX31" fmla="*/ 6378122 w 7197271"/>
                  <a:gd name="connsiteY31" fmla="*/ 10287000 h 17945100"/>
                  <a:gd name="connsiteX32" fmla="*/ 6454321 w 7197271"/>
                  <a:gd name="connsiteY32" fmla="*/ 8896350 h 17945100"/>
                  <a:gd name="connsiteX33" fmla="*/ 6930571 w 7197271"/>
                  <a:gd name="connsiteY33" fmla="*/ 5143500 h 17945100"/>
                  <a:gd name="connsiteX34" fmla="*/ 7121071 w 7197271"/>
                  <a:gd name="connsiteY34" fmla="*/ 4114800 h 17945100"/>
                  <a:gd name="connsiteX35" fmla="*/ 7197271 w 7197271"/>
                  <a:gd name="connsiteY35" fmla="*/ 2781300 h 17945100"/>
                  <a:gd name="connsiteX36" fmla="*/ 7159171 w 7197271"/>
                  <a:gd name="connsiteY36" fmla="*/ 2095500 h 17945100"/>
                  <a:gd name="connsiteX37" fmla="*/ 6092371 w 7197271"/>
                  <a:gd name="connsiteY37" fmla="*/ 2171700 h 17945100"/>
                  <a:gd name="connsiteX38" fmla="*/ 4492171 w 7197271"/>
                  <a:gd name="connsiteY38" fmla="*/ 2247900 h 17945100"/>
                  <a:gd name="connsiteX39" fmla="*/ 3958771 w 7197271"/>
                  <a:gd name="connsiteY39" fmla="*/ 2209800 h 17945100"/>
                  <a:gd name="connsiteX40" fmla="*/ 3425371 w 7197271"/>
                  <a:gd name="connsiteY40" fmla="*/ 1737360 h 17945100"/>
                  <a:gd name="connsiteX41" fmla="*/ 3272971 w 7197271"/>
                  <a:gd name="connsiteY41" fmla="*/ 1295400 h 17945100"/>
                  <a:gd name="connsiteX42" fmla="*/ 3158671 w 7197271"/>
                  <a:gd name="connsiteY42" fmla="*/ 0 h 17945100"/>
                  <a:gd name="connsiteX43" fmla="*/ 2815771 w 7197271"/>
                  <a:gd name="connsiteY43" fmla="*/ 76200 h 17945100"/>
                  <a:gd name="connsiteX44" fmla="*/ 2320471 w 7197271"/>
                  <a:gd name="connsiteY44" fmla="*/ 1562100 h 17945100"/>
                  <a:gd name="connsiteX45" fmla="*/ 2038531 w 7197271"/>
                  <a:gd name="connsiteY45" fmla="*/ 1752600 h 17945100"/>
                  <a:gd name="connsiteX46" fmla="*/ 1710871 w 7197271"/>
                  <a:gd name="connsiteY46" fmla="*/ 2095500 h 17945100"/>
                  <a:gd name="connsiteX47" fmla="*/ 1101271 w 7197271"/>
                  <a:gd name="connsiteY47" fmla="*/ 1981200 h 17945100"/>
                  <a:gd name="connsiteX48" fmla="*/ 415471 w 7197271"/>
                  <a:gd name="connsiteY48" fmla="*/ 1790700 h 17945100"/>
                  <a:gd name="connsiteX49" fmla="*/ 415471 w 7197271"/>
                  <a:gd name="connsiteY49" fmla="*/ 1790700 h 17945100"/>
                  <a:gd name="connsiteX0" fmla="*/ 453571 w 7197271"/>
                  <a:gd name="connsiteY0" fmla="*/ 1752600 h 17945100"/>
                  <a:gd name="connsiteX1" fmla="*/ 186871 w 7197271"/>
                  <a:gd name="connsiteY1" fmla="*/ 2133600 h 17945100"/>
                  <a:gd name="connsiteX2" fmla="*/ 263071 w 7197271"/>
                  <a:gd name="connsiteY2" fmla="*/ 2514600 h 17945100"/>
                  <a:gd name="connsiteX3" fmla="*/ 491671 w 7197271"/>
                  <a:gd name="connsiteY3" fmla="*/ 2705100 h 17945100"/>
                  <a:gd name="connsiteX4" fmla="*/ 453571 w 7197271"/>
                  <a:gd name="connsiteY4" fmla="*/ 3962400 h 17945100"/>
                  <a:gd name="connsiteX5" fmla="*/ 186871 w 7197271"/>
                  <a:gd name="connsiteY5" fmla="*/ 6819900 h 17945100"/>
                  <a:gd name="connsiteX6" fmla="*/ 97971 w 7197271"/>
                  <a:gd name="connsiteY6" fmla="*/ 8343900 h 17945100"/>
                  <a:gd name="connsiteX7" fmla="*/ 167821 w 7197271"/>
                  <a:gd name="connsiteY7" fmla="*/ 10096500 h 17945100"/>
                  <a:gd name="connsiteX8" fmla="*/ 186871 w 7197271"/>
                  <a:gd name="connsiteY8" fmla="*/ 11080750 h 17945100"/>
                  <a:gd name="connsiteX9" fmla="*/ 186871 w 7197271"/>
                  <a:gd name="connsiteY9" fmla="*/ 13258800 h 17945100"/>
                  <a:gd name="connsiteX10" fmla="*/ 0 w 7197271"/>
                  <a:gd name="connsiteY10" fmla="*/ 17442544 h 17945100"/>
                  <a:gd name="connsiteX11" fmla="*/ 1598385 w 7197271"/>
                  <a:gd name="connsiteY11" fmla="*/ 17547772 h 17945100"/>
                  <a:gd name="connsiteX12" fmla="*/ 2663371 w 7197271"/>
                  <a:gd name="connsiteY12" fmla="*/ 17487900 h 17945100"/>
                  <a:gd name="connsiteX13" fmla="*/ 2472871 w 7197271"/>
                  <a:gd name="connsiteY13" fmla="*/ 11125200 h 17945100"/>
                  <a:gd name="connsiteX14" fmla="*/ 2371271 w 7197271"/>
                  <a:gd name="connsiteY14" fmla="*/ 9652000 h 17945100"/>
                  <a:gd name="connsiteX15" fmla="*/ 2460171 w 7197271"/>
                  <a:gd name="connsiteY15" fmla="*/ 9169400 h 17945100"/>
                  <a:gd name="connsiteX16" fmla="*/ 2510971 w 7197271"/>
                  <a:gd name="connsiteY16" fmla="*/ 8496300 h 17945100"/>
                  <a:gd name="connsiteX17" fmla="*/ 2701471 w 7197271"/>
                  <a:gd name="connsiteY17" fmla="*/ 7759700 h 17945100"/>
                  <a:gd name="connsiteX18" fmla="*/ 3615871 w 7197271"/>
                  <a:gd name="connsiteY18" fmla="*/ 4114800 h 17945100"/>
                  <a:gd name="connsiteX19" fmla="*/ 3844471 w 7197271"/>
                  <a:gd name="connsiteY19" fmla="*/ 5219700 h 17945100"/>
                  <a:gd name="connsiteX20" fmla="*/ 3996871 w 7197271"/>
                  <a:gd name="connsiteY20" fmla="*/ 7048500 h 17945100"/>
                  <a:gd name="connsiteX21" fmla="*/ 4161971 w 7197271"/>
                  <a:gd name="connsiteY21" fmla="*/ 8801100 h 17945100"/>
                  <a:gd name="connsiteX22" fmla="*/ 4187371 w 7197271"/>
                  <a:gd name="connsiteY22" fmla="*/ 10058400 h 17945100"/>
                  <a:gd name="connsiteX23" fmla="*/ 4149271 w 7197271"/>
                  <a:gd name="connsiteY23" fmla="*/ 11239500 h 17945100"/>
                  <a:gd name="connsiteX24" fmla="*/ 4149271 w 7197271"/>
                  <a:gd name="connsiteY24" fmla="*/ 12877800 h 17945100"/>
                  <a:gd name="connsiteX25" fmla="*/ 4111171 w 7197271"/>
                  <a:gd name="connsiteY25" fmla="*/ 13868400 h 17945100"/>
                  <a:gd name="connsiteX26" fmla="*/ 4187371 w 7197271"/>
                  <a:gd name="connsiteY26" fmla="*/ 17868900 h 17945100"/>
                  <a:gd name="connsiteX27" fmla="*/ 6244771 w 7197271"/>
                  <a:gd name="connsiteY27" fmla="*/ 17945100 h 17945100"/>
                  <a:gd name="connsiteX28" fmla="*/ 6892471 w 7197271"/>
                  <a:gd name="connsiteY28" fmla="*/ 17830800 h 17945100"/>
                  <a:gd name="connsiteX29" fmla="*/ 6682921 w 7197271"/>
                  <a:gd name="connsiteY29" fmla="*/ 13601700 h 17945100"/>
                  <a:gd name="connsiteX30" fmla="*/ 6473371 w 7197271"/>
                  <a:gd name="connsiteY30" fmla="*/ 11487150 h 17945100"/>
                  <a:gd name="connsiteX31" fmla="*/ 6378122 w 7197271"/>
                  <a:gd name="connsiteY31" fmla="*/ 10287000 h 17945100"/>
                  <a:gd name="connsiteX32" fmla="*/ 6454321 w 7197271"/>
                  <a:gd name="connsiteY32" fmla="*/ 8896350 h 17945100"/>
                  <a:gd name="connsiteX33" fmla="*/ 6930571 w 7197271"/>
                  <a:gd name="connsiteY33" fmla="*/ 5143500 h 17945100"/>
                  <a:gd name="connsiteX34" fmla="*/ 7121071 w 7197271"/>
                  <a:gd name="connsiteY34" fmla="*/ 4114800 h 17945100"/>
                  <a:gd name="connsiteX35" fmla="*/ 7197271 w 7197271"/>
                  <a:gd name="connsiteY35" fmla="*/ 2781300 h 17945100"/>
                  <a:gd name="connsiteX36" fmla="*/ 7159171 w 7197271"/>
                  <a:gd name="connsiteY36" fmla="*/ 2095500 h 17945100"/>
                  <a:gd name="connsiteX37" fmla="*/ 6092371 w 7197271"/>
                  <a:gd name="connsiteY37" fmla="*/ 2171700 h 17945100"/>
                  <a:gd name="connsiteX38" fmla="*/ 4492171 w 7197271"/>
                  <a:gd name="connsiteY38" fmla="*/ 2247900 h 17945100"/>
                  <a:gd name="connsiteX39" fmla="*/ 3958771 w 7197271"/>
                  <a:gd name="connsiteY39" fmla="*/ 2209800 h 17945100"/>
                  <a:gd name="connsiteX40" fmla="*/ 3425371 w 7197271"/>
                  <a:gd name="connsiteY40" fmla="*/ 1737360 h 17945100"/>
                  <a:gd name="connsiteX41" fmla="*/ 3295831 w 7197271"/>
                  <a:gd name="connsiteY41" fmla="*/ 1348740 h 17945100"/>
                  <a:gd name="connsiteX42" fmla="*/ 3158671 w 7197271"/>
                  <a:gd name="connsiteY42" fmla="*/ 0 h 17945100"/>
                  <a:gd name="connsiteX43" fmla="*/ 2815771 w 7197271"/>
                  <a:gd name="connsiteY43" fmla="*/ 76200 h 17945100"/>
                  <a:gd name="connsiteX44" fmla="*/ 2320471 w 7197271"/>
                  <a:gd name="connsiteY44" fmla="*/ 1562100 h 17945100"/>
                  <a:gd name="connsiteX45" fmla="*/ 2038531 w 7197271"/>
                  <a:gd name="connsiteY45" fmla="*/ 1752600 h 17945100"/>
                  <a:gd name="connsiteX46" fmla="*/ 1710871 w 7197271"/>
                  <a:gd name="connsiteY46" fmla="*/ 2095500 h 17945100"/>
                  <a:gd name="connsiteX47" fmla="*/ 1101271 w 7197271"/>
                  <a:gd name="connsiteY47" fmla="*/ 1981200 h 17945100"/>
                  <a:gd name="connsiteX48" fmla="*/ 415471 w 7197271"/>
                  <a:gd name="connsiteY48" fmla="*/ 1790700 h 17945100"/>
                  <a:gd name="connsiteX49" fmla="*/ 415471 w 7197271"/>
                  <a:gd name="connsiteY49" fmla="*/ 1790700 h 17945100"/>
                  <a:gd name="connsiteX0" fmla="*/ 453571 w 7197271"/>
                  <a:gd name="connsiteY0" fmla="*/ 1676400 h 17868900"/>
                  <a:gd name="connsiteX1" fmla="*/ 186871 w 7197271"/>
                  <a:gd name="connsiteY1" fmla="*/ 2057400 h 17868900"/>
                  <a:gd name="connsiteX2" fmla="*/ 263071 w 7197271"/>
                  <a:gd name="connsiteY2" fmla="*/ 2438400 h 17868900"/>
                  <a:gd name="connsiteX3" fmla="*/ 491671 w 7197271"/>
                  <a:gd name="connsiteY3" fmla="*/ 2628900 h 17868900"/>
                  <a:gd name="connsiteX4" fmla="*/ 453571 w 7197271"/>
                  <a:gd name="connsiteY4" fmla="*/ 3886200 h 17868900"/>
                  <a:gd name="connsiteX5" fmla="*/ 186871 w 7197271"/>
                  <a:gd name="connsiteY5" fmla="*/ 6743700 h 17868900"/>
                  <a:gd name="connsiteX6" fmla="*/ 97971 w 7197271"/>
                  <a:gd name="connsiteY6" fmla="*/ 8267700 h 17868900"/>
                  <a:gd name="connsiteX7" fmla="*/ 167821 w 7197271"/>
                  <a:gd name="connsiteY7" fmla="*/ 10020300 h 17868900"/>
                  <a:gd name="connsiteX8" fmla="*/ 186871 w 7197271"/>
                  <a:gd name="connsiteY8" fmla="*/ 11004550 h 17868900"/>
                  <a:gd name="connsiteX9" fmla="*/ 186871 w 7197271"/>
                  <a:gd name="connsiteY9" fmla="*/ 13182600 h 17868900"/>
                  <a:gd name="connsiteX10" fmla="*/ 0 w 7197271"/>
                  <a:gd name="connsiteY10" fmla="*/ 17366344 h 17868900"/>
                  <a:gd name="connsiteX11" fmla="*/ 1598385 w 7197271"/>
                  <a:gd name="connsiteY11" fmla="*/ 17471572 h 17868900"/>
                  <a:gd name="connsiteX12" fmla="*/ 2663371 w 7197271"/>
                  <a:gd name="connsiteY12" fmla="*/ 17411700 h 17868900"/>
                  <a:gd name="connsiteX13" fmla="*/ 2472871 w 7197271"/>
                  <a:gd name="connsiteY13" fmla="*/ 11049000 h 17868900"/>
                  <a:gd name="connsiteX14" fmla="*/ 2371271 w 7197271"/>
                  <a:gd name="connsiteY14" fmla="*/ 9575800 h 17868900"/>
                  <a:gd name="connsiteX15" fmla="*/ 2460171 w 7197271"/>
                  <a:gd name="connsiteY15" fmla="*/ 9093200 h 17868900"/>
                  <a:gd name="connsiteX16" fmla="*/ 2510971 w 7197271"/>
                  <a:gd name="connsiteY16" fmla="*/ 8420100 h 17868900"/>
                  <a:gd name="connsiteX17" fmla="*/ 2701471 w 7197271"/>
                  <a:gd name="connsiteY17" fmla="*/ 7683500 h 17868900"/>
                  <a:gd name="connsiteX18" fmla="*/ 3615871 w 7197271"/>
                  <a:gd name="connsiteY18" fmla="*/ 4038600 h 17868900"/>
                  <a:gd name="connsiteX19" fmla="*/ 3844471 w 7197271"/>
                  <a:gd name="connsiteY19" fmla="*/ 5143500 h 17868900"/>
                  <a:gd name="connsiteX20" fmla="*/ 3996871 w 7197271"/>
                  <a:gd name="connsiteY20" fmla="*/ 6972300 h 17868900"/>
                  <a:gd name="connsiteX21" fmla="*/ 4161971 w 7197271"/>
                  <a:gd name="connsiteY21" fmla="*/ 8724900 h 17868900"/>
                  <a:gd name="connsiteX22" fmla="*/ 4187371 w 7197271"/>
                  <a:gd name="connsiteY22" fmla="*/ 9982200 h 17868900"/>
                  <a:gd name="connsiteX23" fmla="*/ 4149271 w 7197271"/>
                  <a:gd name="connsiteY23" fmla="*/ 11163300 h 17868900"/>
                  <a:gd name="connsiteX24" fmla="*/ 4149271 w 7197271"/>
                  <a:gd name="connsiteY24" fmla="*/ 12801600 h 17868900"/>
                  <a:gd name="connsiteX25" fmla="*/ 4111171 w 7197271"/>
                  <a:gd name="connsiteY25" fmla="*/ 13792200 h 17868900"/>
                  <a:gd name="connsiteX26" fmla="*/ 4187371 w 7197271"/>
                  <a:gd name="connsiteY26" fmla="*/ 17792700 h 17868900"/>
                  <a:gd name="connsiteX27" fmla="*/ 6244771 w 7197271"/>
                  <a:gd name="connsiteY27" fmla="*/ 17868900 h 17868900"/>
                  <a:gd name="connsiteX28" fmla="*/ 6892471 w 7197271"/>
                  <a:gd name="connsiteY28" fmla="*/ 17754600 h 17868900"/>
                  <a:gd name="connsiteX29" fmla="*/ 6682921 w 7197271"/>
                  <a:gd name="connsiteY29" fmla="*/ 13525500 h 17868900"/>
                  <a:gd name="connsiteX30" fmla="*/ 6473371 w 7197271"/>
                  <a:gd name="connsiteY30" fmla="*/ 11410950 h 17868900"/>
                  <a:gd name="connsiteX31" fmla="*/ 6378122 w 7197271"/>
                  <a:gd name="connsiteY31" fmla="*/ 10210800 h 17868900"/>
                  <a:gd name="connsiteX32" fmla="*/ 6454321 w 7197271"/>
                  <a:gd name="connsiteY32" fmla="*/ 8820150 h 17868900"/>
                  <a:gd name="connsiteX33" fmla="*/ 6930571 w 7197271"/>
                  <a:gd name="connsiteY33" fmla="*/ 5067300 h 17868900"/>
                  <a:gd name="connsiteX34" fmla="*/ 7121071 w 7197271"/>
                  <a:gd name="connsiteY34" fmla="*/ 4038600 h 17868900"/>
                  <a:gd name="connsiteX35" fmla="*/ 7197271 w 7197271"/>
                  <a:gd name="connsiteY35" fmla="*/ 2705100 h 17868900"/>
                  <a:gd name="connsiteX36" fmla="*/ 7159171 w 7197271"/>
                  <a:gd name="connsiteY36" fmla="*/ 2019300 h 17868900"/>
                  <a:gd name="connsiteX37" fmla="*/ 6092371 w 7197271"/>
                  <a:gd name="connsiteY37" fmla="*/ 2095500 h 17868900"/>
                  <a:gd name="connsiteX38" fmla="*/ 4492171 w 7197271"/>
                  <a:gd name="connsiteY38" fmla="*/ 2171700 h 17868900"/>
                  <a:gd name="connsiteX39" fmla="*/ 3958771 w 7197271"/>
                  <a:gd name="connsiteY39" fmla="*/ 2133600 h 17868900"/>
                  <a:gd name="connsiteX40" fmla="*/ 3425371 w 7197271"/>
                  <a:gd name="connsiteY40" fmla="*/ 1661160 h 17868900"/>
                  <a:gd name="connsiteX41" fmla="*/ 3295831 w 7197271"/>
                  <a:gd name="connsiteY41" fmla="*/ 1272540 h 17868900"/>
                  <a:gd name="connsiteX42" fmla="*/ 3196771 w 7197271"/>
                  <a:gd name="connsiteY42" fmla="*/ 7620 h 17868900"/>
                  <a:gd name="connsiteX43" fmla="*/ 2815771 w 7197271"/>
                  <a:gd name="connsiteY43" fmla="*/ 0 h 17868900"/>
                  <a:gd name="connsiteX44" fmla="*/ 2320471 w 7197271"/>
                  <a:gd name="connsiteY44" fmla="*/ 1485900 h 17868900"/>
                  <a:gd name="connsiteX45" fmla="*/ 2038531 w 7197271"/>
                  <a:gd name="connsiteY45" fmla="*/ 1676400 h 17868900"/>
                  <a:gd name="connsiteX46" fmla="*/ 1710871 w 7197271"/>
                  <a:gd name="connsiteY46" fmla="*/ 2019300 h 17868900"/>
                  <a:gd name="connsiteX47" fmla="*/ 1101271 w 7197271"/>
                  <a:gd name="connsiteY47" fmla="*/ 1905000 h 17868900"/>
                  <a:gd name="connsiteX48" fmla="*/ 415471 w 7197271"/>
                  <a:gd name="connsiteY48" fmla="*/ 1714500 h 17868900"/>
                  <a:gd name="connsiteX49" fmla="*/ 415471 w 7197271"/>
                  <a:gd name="connsiteY49" fmla="*/ 1714500 h 17868900"/>
                  <a:gd name="connsiteX0" fmla="*/ 453571 w 7197271"/>
                  <a:gd name="connsiteY0" fmla="*/ 1676400 h 17868900"/>
                  <a:gd name="connsiteX1" fmla="*/ 186871 w 7197271"/>
                  <a:gd name="connsiteY1" fmla="*/ 2057400 h 17868900"/>
                  <a:gd name="connsiteX2" fmla="*/ 263071 w 7197271"/>
                  <a:gd name="connsiteY2" fmla="*/ 2438400 h 17868900"/>
                  <a:gd name="connsiteX3" fmla="*/ 491671 w 7197271"/>
                  <a:gd name="connsiteY3" fmla="*/ 2628900 h 17868900"/>
                  <a:gd name="connsiteX4" fmla="*/ 453571 w 7197271"/>
                  <a:gd name="connsiteY4" fmla="*/ 3886200 h 17868900"/>
                  <a:gd name="connsiteX5" fmla="*/ 186871 w 7197271"/>
                  <a:gd name="connsiteY5" fmla="*/ 6743700 h 17868900"/>
                  <a:gd name="connsiteX6" fmla="*/ 97971 w 7197271"/>
                  <a:gd name="connsiteY6" fmla="*/ 8267700 h 17868900"/>
                  <a:gd name="connsiteX7" fmla="*/ 167821 w 7197271"/>
                  <a:gd name="connsiteY7" fmla="*/ 10020300 h 17868900"/>
                  <a:gd name="connsiteX8" fmla="*/ 186871 w 7197271"/>
                  <a:gd name="connsiteY8" fmla="*/ 11004550 h 17868900"/>
                  <a:gd name="connsiteX9" fmla="*/ 186871 w 7197271"/>
                  <a:gd name="connsiteY9" fmla="*/ 13182600 h 17868900"/>
                  <a:gd name="connsiteX10" fmla="*/ 0 w 7197271"/>
                  <a:gd name="connsiteY10" fmla="*/ 17366344 h 17868900"/>
                  <a:gd name="connsiteX11" fmla="*/ 1598385 w 7197271"/>
                  <a:gd name="connsiteY11" fmla="*/ 17471572 h 17868900"/>
                  <a:gd name="connsiteX12" fmla="*/ 2663371 w 7197271"/>
                  <a:gd name="connsiteY12" fmla="*/ 17411700 h 17868900"/>
                  <a:gd name="connsiteX13" fmla="*/ 2472871 w 7197271"/>
                  <a:gd name="connsiteY13" fmla="*/ 11049000 h 17868900"/>
                  <a:gd name="connsiteX14" fmla="*/ 2371271 w 7197271"/>
                  <a:gd name="connsiteY14" fmla="*/ 9575800 h 17868900"/>
                  <a:gd name="connsiteX15" fmla="*/ 2460171 w 7197271"/>
                  <a:gd name="connsiteY15" fmla="*/ 9093200 h 17868900"/>
                  <a:gd name="connsiteX16" fmla="*/ 2510971 w 7197271"/>
                  <a:gd name="connsiteY16" fmla="*/ 8420100 h 17868900"/>
                  <a:gd name="connsiteX17" fmla="*/ 2701471 w 7197271"/>
                  <a:gd name="connsiteY17" fmla="*/ 7683500 h 17868900"/>
                  <a:gd name="connsiteX18" fmla="*/ 3615871 w 7197271"/>
                  <a:gd name="connsiteY18" fmla="*/ 4038600 h 17868900"/>
                  <a:gd name="connsiteX19" fmla="*/ 3844471 w 7197271"/>
                  <a:gd name="connsiteY19" fmla="*/ 5143500 h 17868900"/>
                  <a:gd name="connsiteX20" fmla="*/ 3996871 w 7197271"/>
                  <a:gd name="connsiteY20" fmla="*/ 6972300 h 17868900"/>
                  <a:gd name="connsiteX21" fmla="*/ 4161971 w 7197271"/>
                  <a:gd name="connsiteY21" fmla="*/ 8724900 h 17868900"/>
                  <a:gd name="connsiteX22" fmla="*/ 4187371 w 7197271"/>
                  <a:gd name="connsiteY22" fmla="*/ 9982200 h 17868900"/>
                  <a:gd name="connsiteX23" fmla="*/ 4149271 w 7197271"/>
                  <a:gd name="connsiteY23" fmla="*/ 11163300 h 17868900"/>
                  <a:gd name="connsiteX24" fmla="*/ 4149271 w 7197271"/>
                  <a:gd name="connsiteY24" fmla="*/ 12801600 h 17868900"/>
                  <a:gd name="connsiteX25" fmla="*/ 4111171 w 7197271"/>
                  <a:gd name="connsiteY25" fmla="*/ 13792200 h 17868900"/>
                  <a:gd name="connsiteX26" fmla="*/ 4187371 w 7197271"/>
                  <a:gd name="connsiteY26" fmla="*/ 17792700 h 17868900"/>
                  <a:gd name="connsiteX27" fmla="*/ 6244771 w 7197271"/>
                  <a:gd name="connsiteY27" fmla="*/ 17868900 h 17868900"/>
                  <a:gd name="connsiteX28" fmla="*/ 6892471 w 7197271"/>
                  <a:gd name="connsiteY28" fmla="*/ 17754600 h 17868900"/>
                  <a:gd name="connsiteX29" fmla="*/ 6682921 w 7197271"/>
                  <a:gd name="connsiteY29" fmla="*/ 13525500 h 17868900"/>
                  <a:gd name="connsiteX30" fmla="*/ 6473371 w 7197271"/>
                  <a:gd name="connsiteY30" fmla="*/ 11410950 h 17868900"/>
                  <a:gd name="connsiteX31" fmla="*/ 6378122 w 7197271"/>
                  <a:gd name="connsiteY31" fmla="*/ 10210800 h 17868900"/>
                  <a:gd name="connsiteX32" fmla="*/ 6454321 w 7197271"/>
                  <a:gd name="connsiteY32" fmla="*/ 8820150 h 17868900"/>
                  <a:gd name="connsiteX33" fmla="*/ 6930571 w 7197271"/>
                  <a:gd name="connsiteY33" fmla="*/ 5067300 h 17868900"/>
                  <a:gd name="connsiteX34" fmla="*/ 7121071 w 7197271"/>
                  <a:gd name="connsiteY34" fmla="*/ 4038600 h 17868900"/>
                  <a:gd name="connsiteX35" fmla="*/ 7197271 w 7197271"/>
                  <a:gd name="connsiteY35" fmla="*/ 2705100 h 17868900"/>
                  <a:gd name="connsiteX36" fmla="*/ 7159171 w 7197271"/>
                  <a:gd name="connsiteY36" fmla="*/ 2019300 h 17868900"/>
                  <a:gd name="connsiteX37" fmla="*/ 6092371 w 7197271"/>
                  <a:gd name="connsiteY37" fmla="*/ 2095500 h 17868900"/>
                  <a:gd name="connsiteX38" fmla="*/ 4492171 w 7197271"/>
                  <a:gd name="connsiteY38" fmla="*/ 2171700 h 17868900"/>
                  <a:gd name="connsiteX39" fmla="*/ 3958771 w 7197271"/>
                  <a:gd name="connsiteY39" fmla="*/ 2133600 h 17868900"/>
                  <a:gd name="connsiteX40" fmla="*/ 3425371 w 7197271"/>
                  <a:gd name="connsiteY40" fmla="*/ 1661160 h 17868900"/>
                  <a:gd name="connsiteX41" fmla="*/ 3295831 w 7197271"/>
                  <a:gd name="connsiteY41" fmla="*/ 1272540 h 17868900"/>
                  <a:gd name="connsiteX42" fmla="*/ 3196771 w 7197271"/>
                  <a:gd name="connsiteY42" fmla="*/ 7620 h 17868900"/>
                  <a:gd name="connsiteX43" fmla="*/ 2815771 w 7197271"/>
                  <a:gd name="connsiteY43" fmla="*/ 0 h 17868900"/>
                  <a:gd name="connsiteX44" fmla="*/ 2396671 w 7197271"/>
                  <a:gd name="connsiteY44" fmla="*/ 1226820 h 17868900"/>
                  <a:gd name="connsiteX45" fmla="*/ 2038531 w 7197271"/>
                  <a:gd name="connsiteY45" fmla="*/ 1676400 h 17868900"/>
                  <a:gd name="connsiteX46" fmla="*/ 1710871 w 7197271"/>
                  <a:gd name="connsiteY46" fmla="*/ 2019300 h 17868900"/>
                  <a:gd name="connsiteX47" fmla="*/ 1101271 w 7197271"/>
                  <a:gd name="connsiteY47" fmla="*/ 1905000 h 17868900"/>
                  <a:gd name="connsiteX48" fmla="*/ 415471 w 7197271"/>
                  <a:gd name="connsiteY48" fmla="*/ 1714500 h 17868900"/>
                  <a:gd name="connsiteX49" fmla="*/ 415471 w 7197271"/>
                  <a:gd name="connsiteY49" fmla="*/ 1714500 h 17868900"/>
                  <a:gd name="connsiteX0" fmla="*/ 453571 w 7197271"/>
                  <a:gd name="connsiteY0" fmla="*/ 1676400 h 17868900"/>
                  <a:gd name="connsiteX1" fmla="*/ 186871 w 7197271"/>
                  <a:gd name="connsiteY1" fmla="*/ 2057400 h 17868900"/>
                  <a:gd name="connsiteX2" fmla="*/ 263071 w 7197271"/>
                  <a:gd name="connsiteY2" fmla="*/ 2438400 h 17868900"/>
                  <a:gd name="connsiteX3" fmla="*/ 491671 w 7197271"/>
                  <a:gd name="connsiteY3" fmla="*/ 2628900 h 17868900"/>
                  <a:gd name="connsiteX4" fmla="*/ 453571 w 7197271"/>
                  <a:gd name="connsiteY4" fmla="*/ 3886200 h 17868900"/>
                  <a:gd name="connsiteX5" fmla="*/ 186871 w 7197271"/>
                  <a:gd name="connsiteY5" fmla="*/ 6743700 h 17868900"/>
                  <a:gd name="connsiteX6" fmla="*/ 97971 w 7197271"/>
                  <a:gd name="connsiteY6" fmla="*/ 8267700 h 17868900"/>
                  <a:gd name="connsiteX7" fmla="*/ 167821 w 7197271"/>
                  <a:gd name="connsiteY7" fmla="*/ 10020300 h 17868900"/>
                  <a:gd name="connsiteX8" fmla="*/ 186871 w 7197271"/>
                  <a:gd name="connsiteY8" fmla="*/ 11004550 h 17868900"/>
                  <a:gd name="connsiteX9" fmla="*/ 186871 w 7197271"/>
                  <a:gd name="connsiteY9" fmla="*/ 13182600 h 17868900"/>
                  <a:gd name="connsiteX10" fmla="*/ 0 w 7197271"/>
                  <a:gd name="connsiteY10" fmla="*/ 17366344 h 17868900"/>
                  <a:gd name="connsiteX11" fmla="*/ 1598385 w 7197271"/>
                  <a:gd name="connsiteY11" fmla="*/ 17471572 h 17868900"/>
                  <a:gd name="connsiteX12" fmla="*/ 2663371 w 7197271"/>
                  <a:gd name="connsiteY12" fmla="*/ 17411700 h 17868900"/>
                  <a:gd name="connsiteX13" fmla="*/ 2472871 w 7197271"/>
                  <a:gd name="connsiteY13" fmla="*/ 11049000 h 17868900"/>
                  <a:gd name="connsiteX14" fmla="*/ 2371271 w 7197271"/>
                  <a:gd name="connsiteY14" fmla="*/ 9575800 h 17868900"/>
                  <a:gd name="connsiteX15" fmla="*/ 2460171 w 7197271"/>
                  <a:gd name="connsiteY15" fmla="*/ 9093200 h 17868900"/>
                  <a:gd name="connsiteX16" fmla="*/ 2510971 w 7197271"/>
                  <a:gd name="connsiteY16" fmla="*/ 8420100 h 17868900"/>
                  <a:gd name="connsiteX17" fmla="*/ 2701471 w 7197271"/>
                  <a:gd name="connsiteY17" fmla="*/ 7683500 h 17868900"/>
                  <a:gd name="connsiteX18" fmla="*/ 3615871 w 7197271"/>
                  <a:gd name="connsiteY18" fmla="*/ 4038600 h 17868900"/>
                  <a:gd name="connsiteX19" fmla="*/ 3844471 w 7197271"/>
                  <a:gd name="connsiteY19" fmla="*/ 5143500 h 17868900"/>
                  <a:gd name="connsiteX20" fmla="*/ 3996871 w 7197271"/>
                  <a:gd name="connsiteY20" fmla="*/ 6972300 h 17868900"/>
                  <a:gd name="connsiteX21" fmla="*/ 4161971 w 7197271"/>
                  <a:gd name="connsiteY21" fmla="*/ 8724900 h 17868900"/>
                  <a:gd name="connsiteX22" fmla="*/ 4187371 w 7197271"/>
                  <a:gd name="connsiteY22" fmla="*/ 9982200 h 17868900"/>
                  <a:gd name="connsiteX23" fmla="*/ 4149271 w 7197271"/>
                  <a:gd name="connsiteY23" fmla="*/ 11163300 h 17868900"/>
                  <a:gd name="connsiteX24" fmla="*/ 4149271 w 7197271"/>
                  <a:gd name="connsiteY24" fmla="*/ 12801600 h 17868900"/>
                  <a:gd name="connsiteX25" fmla="*/ 4111171 w 7197271"/>
                  <a:gd name="connsiteY25" fmla="*/ 13792200 h 17868900"/>
                  <a:gd name="connsiteX26" fmla="*/ 4187371 w 7197271"/>
                  <a:gd name="connsiteY26" fmla="*/ 17792700 h 17868900"/>
                  <a:gd name="connsiteX27" fmla="*/ 6244771 w 7197271"/>
                  <a:gd name="connsiteY27" fmla="*/ 17868900 h 17868900"/>
                  <a:gd name="connsiteX28" fmla="*/ 6892471 w 7197271"/>
                  <a:gd name="connsiteY28" fmla="*/ 17754600 h 17868900"/>
                  <a:gd name="connsiteX29" fmla="*/ 6682921 w 7197271"/>
                  <a:gd name="connsiteY29" fmla="*/ 13525500 h 17868900"/>
                  <a:gd name="connsiteX30" fmla="*/ 6473371 w 7197271"/>
                  <a:gd name="connsiteY30" fmla="*/ 11410950 h 17868900"/>
                  <a:gd name="connsiteX31" fmla="*/ 6378122 w 7197271"/>
                  <a:gd name="connsiteY31" fmla="*/ 10210800 h 17868900"/>
                  <a:gd name="connsiteX32" fmla="*/ 6454321 w 7197271"/>
                  <a:gd name="connsiteY32" fmla="*/ 8820150 h 17868900"/>
                  <a:gd name="connsiteX33" fmla="*/ 6930571 w 7197271"/>
                  <a:gd name="connsiteY33" fmla="*/ 5067300 h 17868900"/>
                  <a:gd name="connsiteX34" fmla="*/ 7121071 w 7197271"/>
                  <a:gd name="connsiteY34" fmla="*/ 4038600 h 17868900"/>
                  <a:gd name="connsiteX35" fmla="*/ 7197271 w 7197271"/>
                  <a:gd name="connsiteY35" fmla="*/ 2705100 h 17868900"/>
                  <a:gd name="connsiteX36" fmla="*/ 7159171 w 7197271"/>
                  <a:gd name="connsiteY36" fmla="*/ 2019300 h 17868900"/>
                  <a:gd name="connsiteX37" fmla="*/ 6092371 w 7197271"/>
                  <a:gd name="connsiteY37" fmla="*/ 2095500 h 17868900"/>
                  <a:gd name="connsiteX38" fmla="*/ 4492171 w 7197271"/>
                  <a:gd name="connsiteY38" fmla="*/ 2171700 h 17868900"/>
                  <a:gd name="connsiteX39" fmla="*/ 3958771 w 7197271"/>
                  <a:gd name="connsiteY39" fmla="*/ 2133600 h 17868900"/>
                  <a:gd name="connsiteX40" fmla="*/ 3425371 w 7197271"/>
                  <a:gd name="connsiteY40" fmla="*/ 1661160 h 17868900"/>
                  <a:gd name="connsiteX41" fmla="*/ 3295831 w 7197271"/>
                  <a:gd name="connsiteY41" fmla="*/ 1272540 h 17868900"/>
                  <a:gd name="connsiteX42" fmla="*/ 3196771 w 7197271"/>
                  <a:gd name="connsiteY42" fmla="*/ 7620 h 17868900"/>
                  <a:gd name="connsiteX43" fmla="*/ 2815771 w 7197271"/>
                  <a:gd name="connsiteY43" fmla="*/ 0 h 17868900"/>
                  <a:gd name="connsiteX44" fmla="*/ 2366191 w 7197271"/>
                  <a:gd name="connsiteY44" fmla="*/ 1196340 h 17868900"/>
                  <a:gd name="connsiteX45" fmla="*/ 2038531 w 7197271"/>
                  <a:gd name="connsiteY45" fmla="*/ 1676400 h 17868900"/>
                  <a:gd name="connsiteX46" fmla="*/ 1710871 w 7197271"/>
                  <a:gd name="connsiteY46" fmla="*/ 2019300 h 17868900"/>
                  <a:gd name="connsiteX47" fmla="*/ 1101271 w 7197271"/>
                  <a:gd name="connsiteY47" fmla="*/ 1905000 h 17868900"/>
                  <a:gd name="connsiteX48" fmla="*/ 415471 w 7197271"/>
                  <a:gd name="connsiteY48" fmla="*/ 1714500 h 17868900"/>
                  <a:gd name="connsiteX49" fmla="*/ 415471 w 7197271"/>
                  <a:gd name="connsiteY49" fmla="*/ 1714500 h 17868900"/>
                  <a:gd name="connsiteX0" fmla="*/ 453571 w 7197271"/>
                  <a:gd name="connsiteY0" fmla="*/ 1676400 h 17868900"/>
                  <a:gd name="connsiteX1" fmla="*/ 186871 w 7197271"/>
                  <a:gd name="connsiteY1" fmla="*/ 2057400 h 17868900"/>
                  <a:gd name="connsiteX2" fmla="*/ 263071 w 7197271"/>
                  <a:gd name="connsiteY2" fmla="*/ 2438400 h 17868900"/>
                  <a:gd name="connsiteX3" fmla="*/ 491671 w 7197271"/>
                  <a:gd name="connsiteY3" fmla="*/ 2628900 h 17868900"/>
                  <a:gd name="connsiteX4" fmla="*/ 453571 w 7197271"/>
                  <a:gd name="connsiteY4" fmla="*/ 3886200 h 17868900"/>
                  <a:gd name="connsiteX5" fmla="*/ 186871 w 7197271"/>
                  <a:gd name="connsiteY5" fmla="*/ 6743700 h 17868900"/>
                  <a:gd name="connsiteX6" fmla="*/ 97971 w 7197271"/>
                  <a:gd name="connsiteY6" fmla="*/ 8267700 h 17868900"/>
                  <a:gd name="connsiteX7" fmla="*/ 167821 w 7197271"/>
                  <a:gd name="connsiteY7" fmla="*/ 10020300 h 17868900"/>
                  <a:gd name="connsiteX8" fmla="*/ 186871 w 7197271"/>
                  <a:gd name="connsiteY8" fmla="*/ 11004550 h 17868900"/>
                  <a:gd name="connsiteX9" fmla="*/ 186871 w 7197271"/>
                  <a:gd name="connsiteY9" fmla="*/ 13182600 h 17868900"/>
                  <a:gd name="connsiteX10" fmla="*/ 0 w 7197271"/>
                  <a:gd name="connsiteY10" fmla="*/ 17366344 h 17868900"/>
                  <a:gd name="connsiteX11" fmla="*/ 1598385 w 7197271"/>
                  <a:gd name="connsiteY11" fmla="*/ 17471572 h 17868900"/>
                  <a:gd name="connsiteX12" fmla="*/ 2663371 w 7197271"/>
                  <a:gd name="connsiteY12" fmla="*/ 17411700 h 17868900"/>
                  <a:gd name="connsiteX13" fmla="*/ 2472871 w 7197271"/>
                  <a:gd name="connsiteY13" fmla="*/ 11049000 h 17868900"/>
                  <a:gd name="connsiteX14" fmla="*/ 2371271 w 7197271"/>
                  <a:gd name="connsiteY14" fmla="*/ 9575800 h 17868900"/>
                  <a:gd name="connsiteX15" fmla="*/ 2460171 w 7197271"/>
                  <a:gd name="connsiteY15" fmla="*/ 9093200 h 17868900"/>
                  <a:gd name="connsiteX16" fmla="*/ 2510971 w 7197271"/>
                  <a:gd name="connsiteY16" fmla="*/ 8420100 h 17868900"/>
                  <a:gd name="connsiteX17" fmla="*/ 2701471 w 7197271"/>
                  <a:gd name="connsiteY17" fmla="*/ 7683500 h 17868900"/>
                  <a:gd name="connsiteX18" fmla="*/ 3615871 w 7197271"/>
                  <a:gd name="connsiteY18" fmla="*/ 4038600 h 17868900"/>
                  <a:gd name="connsiteX19" fmla="*/ 3844471 w 7197271"/>
                  <a:gd name="connsiteY19" fmla="*/ 5143500 h 17868900"/>
                  <a:gd name="connsiteX20" fmla="*/ 3996871 w 7197271"/>
                  <a:gd name="connsiteY20" fmla="*/ 6972300 h 17868900"/>
                  <a:gd name="connsiteX21" fmla="*/ 4161971 w 7197271"/>
                  <a:gd name="connsiteY21" fmla="*/ 8724900 h 17868900"/>
                  <a:gd name="connsiteX22" fmla="*/ 4187371 w 7197271"/>
                  <a:gd name="connsiteY22" fmla="*/ 9982200 h 17868900"/>
                  <a:gd name="connsiteX23" fmla="*/ 4149271 w 7197271"/>
                  <a:gd name="connsiteY23" fmla="*/ 11163300 h 17868900"/>
                  <a:gd name="connsiteX24" fmla="*/ 4149271 w 7197271"/>
                  <a:gd name="connsiteY24" fmla="*/ 12801600 h 17868900"/>
                  <a:gd name="connsiteX25" fmla="*/ 4111171 w 7197271"/>
                  <a:gd name="connsiteY25" fmla="*/ 13792200 h 17868900"/>
                  <a:gd name="connsiteX26" fmla="*/ 4187371 w 7197271"/>
                  <a:gd name="connsiteY26" fmla="*/ 17792700 h 17868900"/>
                  <a:gd name="connsiteX27" fmla="*/ 6244771 w 7197271"/>
                  <a:gd name="connsiteY27" fmla="*/ 17868900 h 17868900"/>
                  <a:gd name="connsiteX28" fmla="*/ 6892471 w 7197271"/>
                  <a:gd name="connsiteY28" fmla="*/ 17754600 h 17868900"/>
                  <a:gd name="connsiteX29" fmla="*/ 6682921 w 7197271"/>
                  <a:gd name="connsiteY29" fmla="*/ 13525500 h 17868900"/>
                  <a:gd name="connsiteX30" fmla="*/ 6473371 w 7197271"/>
                  <a:gd name="connsiteY30" fmla="*/ 11410950 h 17868900"/>
                  <a:gd name="connsiteX31" fmla="*/ 6378122 w 7197271"/>
                  <a:gd name="connsiteY31" fmla="*/ 10210800 h 17868900"/>
                  <a:gd name="connsiteX32" fmla="*/ 6454321 w 7197271"/>
                  <a:gd name="connsiteY32" fmla="*/ 8820150 h 17868900"/>
                  <a:gd name="connsiteX33" fmla="*/ 6930571 w 7197271"/>
                  <a:gd name="connsiteY33" fmla="*/ 5067300 h 17868900"/>
                  <a:gd name="connsiteX34" fmla="*/ 7121071 w 7197271"/>
                  <a:gd name="connsiteY34" fmla="*/ 4038600 h 17868900"/>
                  <a:gd name="connsiteX35" fmla="*/ 7197271 w 7197271"/>
                  <a:gd name="connsiteY35" fmla="*/ 2705100 h 17868900"/>
                  <a:gd name="connsiteX36" fmla="*/ 7159171 w 7197271"/>
                  <a:gd name="connsiteY36" fmla="*/ 2019300 h 17868900"/>
                  <a:gd name="connsiteX37" fmla="*/ 6092371 w 7197271"/>
                  <a:gd name="connsiteY37" fmla="*/ 2095500 h 17868900"/>
                  <a:gd name="connsiteX38" fmla="*/ 4492171 w 7197271"/>
                  <a:gd name="connsiteY38" fmla="*/ 2171700 h 17868900"/>
                  <a:gd name="connsiteX39" fmla="*/ 3958771 w 7197271"/>
                  <a:gd name="connsiteY39" fmla="*/ 2133600 h 17868900"/>
                  <a:gd name="connsiteX40" fmla="*/ 3425371 w 7197271"/>
                  <a:gd name="connsiteY40" fmla="*/ 1661160 h 17868900"/>
                  <a:gd name="connsiteX41" fmla="*/ 3295831 w 7197271"/>
                  <a:gd name="connsiteY41" fmla="*/ 1272540 h 17868900"/>
                  <a:gd name="connsiteX42" fmla="*/ 3196771 w 7197271"/>
                  <a:gd name="connsiteY42" fmla="*/ 7620 h 17868900"/>
                  <a:gd name="connsiteX43" fmla="*/ 2815771 w 7197271"/>
                  <a:gd name="connsiteY43" fmla="*/ 0 h 17868900"/>
                  <a:gd name="connsiteX44" fmla="*/ 2366191 w 7197271"/>
                  <a:gd name="connsiteY44" fmla="*/ 1196340 h 17868900"/>
                  <a:gd name="connsiteX45" fmla="*/ 2038531 w 7197271"/>
                  <a:gd name="connsiteY45" fmla="*/ 1676400 h 17868900"/>
                  <a:gd name="connsiteX46" fmla="*/ 1710871 w 7197271"/>
                  <a:gd name="connsiteY46" fmla="*/ 2019300 h 17868900"/>
                  <a:gd name="connsiteX47" fmla="*/ 1101271 w 7197271"/>
                  <a:gd name="connsiteY47" fmla="*/ 1905000 h 17868900"/>
                  <a:gd name="connsiteX48" fmla="*/ 415471 w 7197271"/>
                  <a:gd name="connsiteY48" fmla="*/ 1714500 h 17868900"/>
                  <a:gd name="connsiteX49" fmla="*/ 461191 w 7197271"/>
                  <a:gd name="connsiteY49" fmla="*/ 1645920 h 17868900"/>
                  <a:gd name="connsiteX0" fmla="*/ 453571 w 7197271"/>
                  <a:gd name="connsiteY0" fmla="*/ 1676400 h 17868900"/>
                  <a:gd name="connsiteX1" fmla="*/ 186871 w 7197271"/>
                  <a:gd name="connsiteY1" fmla="*/ 2057400 h 17868900"/>
                  <a:gd name="connsiteX2" fmla="*/ 263071 w 7197271"/>
                  <a:gd name="connsiteY2" fmla="*/ 2438400 h 17868900"/>
                  <a:gd name="connsiteX3" fmla="*/ 491671 w 7197271"/>
                  <a:gd name="connsiteY3" fmla="*/ 2628900 h 17868900"/>
                  <a:gd name="connsiteX4" fmla="*/ 453571 w 7197271"/>
                  <a:gd name="connsiteY4" fmla="*/ 3886200 h 17868900"/>
                  <a:gd name="connsiteX5" fmla="*/ 186871 w 7197271"/>
                  <a:gd name="connsiteY5" fmla="*/ 6743700 h 17868900"/>
                  <a:gd name="connsiteX6" fmla="*/ 97971 w 7197271"/>
                  <a:gd name="connsiteY6" fmla="*/ 8267700 h 17868900"/>
                  <a:gd name="connsiteX7" fmla="*/ 167821 w 7197271"/>
                  <a:gd name="connsiteY7" fmla="*/ 10020300 h 17868900"/>
                  <a:gd name="connsiteX8" fmla="*/ 186871 w 7197271"/>
                  <a:gd name="connsiteY8" fmla="*/ 11004550 h 17868900"/>
                  <a:gd name="connsiteX9" fmla="*/ 186871 w 7197271"/>
                  <a:gd name="connsiteY9" fmla="*/ 13182600 h 17868900"/>
                  <a:gd name="connsiteX10" fmla="*/ 0 w 7197271"/>
                  <a:gd name="connsiteY10" fmla="*/ 17366344 h 17868900"/>
                  <a:gd name="connsiteX11" fmla="*/ 1598385 w 7197271"/>
                  <a:gd name="connsiteY11" fmla="*/ 17471572 h 17868900"/>
                  <a:gd name="connsiteX12" fmla="*/ 2663371 w 7197271"/>
                  <a:gd name="connsiteY12" fmla="*/ 17411700 h 17868900"/>
                  <a:gd name="connsiteX13" fmla="*/ 2472871 w 7197271"/>
                  <a:gd name="connsiteY13" fmla="*/ 11049000 h 17868900"/>
                  <a:gd name="connsiteX14" fmla="*/ 2371271 w 7197271"/>
                  <a:gd name="connsiteY14" fmla="*/ 9575800 h 17868900"/>
                  <a:gd name="connsiteX15" fmla="*/ 2460171 w 7197271"/>
                  <a:gd name="connsiteY15" fmla="*/ 9093200 h 17868900"/>
                  <a:gd name="connsiteX16" fmla="*/ 2510971 w 7197271"/>
                  <a:gd name="connsiteY16" fmla="*/ 8420100 h 17868900"/>
                  <a:gd name="connsiteX17" fmla="*/ 2701471 w 7197271"/>
                  <a:gd name="connsiteY17" fmla="*/ 7683500 h 17868900"/>
                  <a:gd name="connsiteX18" fmla="*/ 3615871 w 7197271"/>
                  <a:gd name="connsiteY18" fmla="*/ 4038600 h 17868900"/>
                  <a:gd name="connsiteX19" fmla="*/ 3844471 w 7197271"/>
                  <a:gd name="connsiteY19" fmla="*/ 5143500 h 17868900"/>
                  <a:gd name="connsiteX20" fmla="*/ 3996871 w 7197271"/>
                  <a:gd name="connsiteY20" fmla="*/ 6972300 h 17868900"/>
                  <a:gd name="connsiteX21" fmla="*/ 4161971 w 7197271"/>
                  <a:gd name="connsiteY21" fmla="*/ 8724900 h 17868900"/>
                  <a:gd name="connsiteX22" fmla="*/ 4187371 w 7197271"/>
                  <a:gd name="connsiteY22" fmla="*/ 9982200 h 17868900"/>
                  <a:gd name="connsiteX23" fmla="*/ 4149271 w 7197271"/>
                  <a:gd name="connsiteY23" fmla="*/ 11163300 h 17868900"/>
                  <a:gd name="connsiteX24" fmla="*/ 4149271 w 7197271"/>
                  <a:gd name="connsiteY24" fmla="*/ 12801600 h 17868900"/>
                  <a:gd name="connsiteX25" fmla="*/ 4111171 w 7197271"/>
                  <a:gd name="connsiteY25" fmla="*/ 13792200 h 17868900"/>
                  <a:gd name="connsiteX26" fmla="*/ 4187371 w 7197271"/>
                  <a:gd name="connsiteY26" fmla="*/ 17792700 h 17868900"/>
                  <a:gd name="connsiteX27" fmla="*/ 6244771 w 7197271"/>
                  <a:gd name="connsiteY27" fmla="*/ 17868900 h 17868900"/>
                  <a:gd name="connsiteX28" fmla="*/ 6892471 w 7197271"/>
                  <a:gd name="connsiteY28" fmla="*/ 17754600 h 17868900"/>
                  <a:gd name="connsiteX29" fmla="*/ 6682921 w 7197271"/>
                  <a:gd name="connsiteY29" fmla="*/ 13525500 h 17868900"/>
                  <a:gd name="connsiteX30" fmla="*/ 6473371 w 7197271"/>
                  <a:gd name="connsiteY30" fmla="*/ 11410950 h 17868900"/>
                  <a:gd name="connsiteX31" fmla="*/ 6378122 w 7197271"/>
                  <a:gd name="connsiteY31" fmla="*/ 10210800 h 17868900"/>
                  <a:gd name="connsiteX32" fmla="*/ 6454321 w 7197271"/>
                  <a:gd name="connsiteY32" fmla="*/ 8820150 h 17868900"/>
                  <a:gd name="connsiteX33" fmla="*/ 6930571 w 7197271"/>
                  <a:gd name="connsiteY33" fmla="*/ 5067300 h 17868900"/>
                  <a:gd name="connsiteX34" fmla="*/ 7121071 w 7197271"/>
                  <a:gd name="connsiteY34" fmla="*/ 4038600 h 17868900"/>
                  <a:gd name="connsiteX35" fmla="*/ 7197271 w 7197271"/>
                  <a:gd name="connsiteY35" fmla="*/ 2705100 h 17868900"/>
                  <a:gd name="connsiteX36" fmla="*/ 7159171 w 7197271"/>
                  <a:gd name="connsiteY36" fmla="*/ 2019300 h 17868900"/>
                  <a:gd name="connsiteX37" fmla="*/ 6092371 w 7197271"/>
                  <a:gd name="connsiteY37" fmla="*/ 2095500 h 17868900"/>
                  <a:gd name="connsiteX38" fmla="*/ 4492171 w 7197271"/>
                  <a:gd name="connsiteY38" fmla="*/ 2171700 h 17868900"/>
                  <a:gd name="connsiteX39" fmla="*/ 3958771 w 7197271"/>
                  <a:gd name="connsiteY39" fmla="*/ 2133600 h 17868900"/>
                  <a:gd name="connsiteX40" fmla="*/ 3425371 w 7197271"/>
                  <a:gd name="connsiteY40" fmla="*/ 1661160 h 17868900"/>
                  <a:gd name="connsiteX41" fmla="*/ 3295831 w 7197271"/>
                  <a:gd name="connsiteY41" fmla="*/ 1272540 h 17868900"/>
                  <a:gd name="connsiteX42" fmla="*/ 3196771 w 7197271"/>
                  <a:gd name="connsiteY42" fmla="*/ 7620 h 17868900"/>
                  <a:gd name="connsiteX43" fmla="*/ 2815771 w 7197271"/>
                  <a:gd name="connsiteY43" fmla="*/ 0 h 17868900"/>
                  <a:gd name="connsiteX44" fmla="*/ 2366191 w 7197271"/>
                  <a:gd name="connsiteY44" fmla="*/ 1196340 h 17868900"/>
                  <a:gd name="connsiteX45" fmla="*/ 2038531 w 7197271"/>
                  <a:gd name="connsiteY45" fmla="*/ 1676400 h 17868900"/>
                  <a:gd name="connsiteX46" fmla="*/ 1710871 w 7197271"/>
                  <a:gd name="connsiteY46" fmla="*/ 2019300 h 17868900"/>
                  <a:gd name="connsiteX47" fmla="*/ 1101271 w 7197271"/>
                  <a:gd name="connsiteY47" fmla="*/ 1905000 h 17868900"/>
                  <a:gd name="connsiteX48" fmla="*/ 423091 w 7197271"/>
                  <a:gd name="connsiteY48" fmla="*/ 1623060 h 17868900"/>
                  <a:gd name="connsiteX49" fmla="*/ 461191 w 7197271"/>
                  <a:gd name="connsiteY49" fmla="*/ 1645920 h 17868900"/>
                  <a:gd name="connsiteX0" fmla="*/ 453571 w 7197271"/>
                  <a:gd name="connsiteY0" fmla="*/ 1676400 h 17868900"/>
                  <a:gd name="connsiteX1" fmla="*/ 186871 w 7197271"/>
                  <a:gd name="connsiteY1" fmla="*/ 2057400 h 17868900"/>
                  <a:gd name="connsiteX2" fmla="*/ 263071 w 7197271"/>
                  <a:gd name="connsiteY2" fmla="*/ 2438400 h 17868900"/>
                  <a:gd name="connsiteX3" fmla="*/ 491671 w 7197271"/>
                  <a:gd name="connsiteY3" fmla="*/ 2628900 h 17868900"/>
                  <a:gd name="connsiteX4" fmla="*/ 453571 w 7197271"/>
                  <a:gd name="connsiteY4" fmla="*/ 3886200 h 17868900"/>
                  <a:gd name="connsiteX5" fmla="*/ 186871 w 7197271"/>
                  <a:gd name="connsiteY5" fmla="*/ 6743700 h 17868900"/>
                  <a:gd name="connsiteX6" fmla="*/ 97971 w 7197271"/>
                  <a:gd name="connsiteY6" fmla="*/ 8267700 h 17868900"/>
                  <a:gd name="connsiteX7" fmla="*/ 167821 w 7197271"/>
                  <a:gd name="connsiteY7" fmla="*/ 10020300 h 17868900"/>
                  <a:gd name="connsiteX8" fmla="*/ 186871 w 7197271"/>
                  <a:gd name="connsiteY8" fmla="*/ 11004550 h 17868900"/>
                  <a:gd name="connsiteX9" fmla="*/ 186871 w 7197271"/>
                  <a:gd name="connsiteY9" fmla="*/ 13182600 h 17868900"/>
                  <a:gd name="connsiteX10" fmla="*/ 0 w 7197271"/>
                  <a:gd name="connsiteY10" fmla="*/ 17366344 h 17868900"/>
                  <a:gd name="connsiteX11" fmla="*/ 1598385 w 7197271"/>
                  <a:gd name="connsiteY11" fmla="*/ 17471572 h 17868900"/>
                  <a:gd name="connsiteX12" fmla="*/ 2663371 w 7197271"/>
                  <a:gd name="connsiteY12" fmla="*/ 17411700 h 17868900"/>
                  <a:gd name="connsiteX13" fmla="*/ 2472871 w 7197271"/>
                  <a:gd name="connsiteY13" fmla="*/ 11049000 h 17868900"/>
                  <a:gd name="connsiteX14" fmla="*/ 2371271 w 7197271"/>
                  <a:gd name="connsiteY14" fmla="*/ 9575800 h 17868900"/>
                  <a:gd name="connsiteX15" fmla="*/ 2460171 w 7197271"/>
                  <a:gd name="connsiteY15" fmla="*/ 9093200 h 17868900"/>
                  <a:gd name="connsiteX16" fmla="*/ 2510971 w 7197271"/>
                  <a:gd name="connsiteY16" fmla="*/ 8420100 h 17868900"/>
                  <a:gd name="connsiteX17" fmla="*/ 2701471 w 7197271"/>
                  <a:gd name="connsiteY17" fmla="*/ 7683500 h 17868900"/>
                  <a:gd name="connsiteX18" fmla="*/ 3615871 w 7197271"/>
                  <a:gd name="connsiteY18" fmla="*/ 4038600 h 17868900"/>
                  <a:gd name="connsiteX19" fmla="*/ 3844471 w 7197271"/>
                  <a:gd name="connsiteY19" fmla="*/ 5143500 h 17868900"/>
                  <a:gd name="connsiteX20" fmla="*/ 3996871 w 7197271"/>
                  <a:gd name="connsiteY20" fmla="*/ 6972300 h 17868900"/>
                  <a:gd name="connsiteX21" fmla="*/ 4161971 w 7197271"/>
                  <a:gd name="connsiteY21" fmla="*/ 8724900 h 17868900"/>
                  <a:gd name="connsiteX22" fmla="*/ 4187371 w 7197271"/>
                  <a:gd name="connsiteY22" fmla="*/ 9982200 h 17868900"/>
                  <a:gd name="connsiteX23" fmla="*/ 4149271 w 7197271"/>
                  <a:gd name="connsiteY23" fmla="*/ 11163300 h 17868900"/>
                  <a:gd name="connsiteX24" fmla="*/ 4149271 w 7197271"/>
                  <a:gd name="connsiteY24" fmla="*/ 12801600 h 17868900"/>
                  <a:gd name="connsiteX25" fmla="*/ 4111171 w 7197271"/>
                  <a:gd name="connsiteY25" fmla="*/ 13792200 h 17868900"/>
                  <a:gd name="connsiteX26" fmla="*/ 4187371 w 7197271"/>
                  <a:gd name="connsiteY26" fmla="*/ 17792700 h 17868900"/>
                  <a:gd name="connsiteX27" fmla="*/ 6244771 w 7197271"/>
                  <a:gd name="connsiteY27" fmla="*/ 17868900 h 17868900"/>
                  <a:gd name="connsiteX28" fmla="*/ 6892471 w 7197271"/>
                  <a:gd name="connsiteY28" fmla="*/ 17754600 h 17868900"/>
                  <a:gd name="connsiteX29" fmla="*/ 6682921 w 7197271"/>
                  <a:gd name="connsiteY29" fmla="*/ 13525500 h 17868900"/>
                  <a:gd name="connsiteX30" fmla="*/ 6473371 w 7197271"/>
                  <a:gd name="connsiteY30" fmla="*/ 11410950 h 17868900"/>
                  <a:gd name="connsiteX31" fmla="*/ 6378122 w 7197271"/>
                  <a:gd name="connsiteY31" fmla="*/ 10210800 h 17868900"/>
                  <a:gd name="connsiteX32" fmla="*/ 6454321 w 7197271"/>
                  <a:gd name="connsiteY32" fmla="*/ 8820150 h 17868900"/>
                  <a:gd name="connsiteX33" fmla="*/ 6930571 w 7197271"/>
                  <a:gd name="connsiteY33" fmla="*/ 5067300 h 17868900"/>
                  <a:gd name="connsiteX34" fmla="*/ 7121071 w 7197271"/>
                  <a:gd name="connsiteY34" fmla="*/ 4038600 h 17868900"/>
                  <a:gd name="connsiteX35" fmla="*/ 7197271 w 7197271"/>
                  <a:gd name="connsiteY35" fmla="*/ 2705100 h 17868900"/>
                  <a:gd name="connsiteX36" fmla="*/ 7159171 w 7197271"/>
                  <a:gd name="connsiteY36" fmla="*/ 2019300 h 17868900"/>
                  <a:gd name="connsiteX37" fmla="*/ 6092371 w 7197271"/>
                  <a:gd name="connsiteY37" fmla="*/ 2095500 h 17868900"/>
                  <a:gd name="connsiteX38" fmla="*/ 4492171 w 7197271"/>
                  <a:gd name="connsiteY38" fmla="*/ 2171700 h 17868900"/>
                  <a:gd name="connsiteX39" fmla="*/ 3958771 w 7197271"/>
                  <a:gd name="connsiteY39" fmla="*/ 2133600 h 17868900"/>
                  <a:gd name="connsiteX40" fmla="*/ 3425371 w 7197271"/>
                  <a:gd name="connsiteY40" fmla="*/ 1661160 h 17868900"/>
                  <a:gd name="connsiteX41" fmla="*/ 3295831 w 7197271"/>
                  <a:gd name="connsiteY41" fmla="*/ 1272540 h 17868900"/>
                  <a:gd name="connsiteX42" fmla="*/ 3196771 w 7197271"/>
                  <a:gd name="connsiteY42" fmla="*/ 7620 h 17868900"/>
                  <a:gd name="connsiteX43" fmla="*/ 2815771 w 7197271"/>
                  <a:gd name="connsiteY43" fmla="*/ 0 h 17868900"/>
                  <a:gd name="connsiteX44" fmla="*/ 2366191 w 7197271"/>
                  <a:gd name="connsiteY44" fmla="*/ 1196340 h 17868900"/>
                  <a:gd name="connsiteX45" fmla="*/ 2038531 w 7197271"/>
                  <a:gd name="connsiteY45" fmla="*/ 1676400 h 17868900"/>
                  <a:gd name="connsiteX46" fmla="*/ 1710871 w 7197271"/>
                  <a:gd name="connsiteY46" fmla="*/ 2019300 h 17868900"/>
                  <a:gd name="connsiteX47" fmla="*/ 1108891 w 7197271"/>
                  <a:gd name="connsiteY47" fmla="*/ 1844040 h 17868900"/>
                  <a:gd name="connsiteX48" fmla="*/ 423091 w 7197271"/>
                  <a:gd name="connsiteY48" fmla="*/ 1623060 h 17868900"/>
                  <a:gd name="connsiteX49" fmla="*/ 461191 w 7197271"/>
                  <a:gd name="connsiteY49" fmla="*/ 1645920 h 17868900"/>
                  <a:gd name="connsiteX0" fmla="*/ 453571 w 7197271"/>
                  <a:gd name="connsiteY0" fmla="*/ 1676400 h 17868900"/>
                  <a:gd name="connsiteX1" fmla="*/ 186871 w 7197271"/>
                  <a:gd name="connsiteY1" fmla="*/ 2057400 h 17868900"/>
                  <a:gd name="connsiteX2" fmla="*/ 263071 w 7197271"/>
                  <a:gd name="connsiteY2" fmla="*/ 2438400 h 17868900"/>
                  <a:gd name="connsiteX3" fmla="*/ 491671 w 7197271"/>
                  <a:gd name="connsiteY3" fmla="*/ 2628900 h 17868900"/>
                  <a:gd name="connsiteX4" fmla="*/ 453571 w 7197271"/>
                  <a:gd name="connsiteY4" fmla="*/ 3886200 h 17868900"/>
                  <a:gd name="connsiteX5" fmla="*/ 186871 w 7197271"/>
                  <a:gd name="connsiteY5" fmla="*/ 6743700 h 17868900"/>
                  <a:gd name="connsiteX6" fmla="*/ 97971 w 7197271"/>
                  <a:gd name="connsiteY6" fmla="*/ 8267700 h 17868900"/>
                  <a:gd name="connsiteX7" fmla="*/ 167821 w 7197271"/>
                  <a:gd name="connsiteY7" fmla="*/ 10020300 h 17868900"/>
                  <a:gd name="connsiteX8" fmla="*/ 186871 w 7197271"/>
                  <a:gd name="connsiteY8" fmla="*/ 11004550 h 17868900"/>
                  <a:gd name="connsiteX9" fmla="*/ 186871 w 7197271"/>
                  <a:gd name="connsiteY9" fmla="*/ 13182600 h 17868900"/>
                  <a:gd name="connsiteX10" fmla="*/ 0 w 7197271"/>
                  <a:gd name="connsiteY10" fmla="*/ 17366344 h 17868900"/>
                  <a:gd name="connsiteX11" fmla="*/ 1598385 w 7197271"/>
                  <a:gd name="connsiteY11" fmla="*/ 17471572 h 17868900"/>
                  <a:gd name="connsiteX12" fmla="*/ 2663371 w 7197271"/>
                  <a:gd name="connsiteY12" fmla="*/ 17411700 h 17868900"/>
                  <a:gd name="connsiteX13" fmla="*/ 2472871 w 7197271"/>
                  <a:gd name="connsiteY13" fmla="*/ 11049000 h 17868900"/>
                  <a:gd name="connsiteX14" fmla="*/ 2371271 w 7197271"/>
                  <a:gd name="connsiteY14" fmla="*/ 9575800 h 17868900"/>
                  <a:gd name="connsiteX15" fmla="*/ 2460171 w 7197271"/>
                  <a:gd name="connsiteY15" fmla="*/ 9093200 h 17868900"/>
                  <a:gd name="connsiteX16" fmla="*/ 2510971 w 7197271"/>
                  <a:gd name="connsiteY16" fmla="*/ 8420100 h 17868900"/>
                  <a:gd name="connsiteX17" fmla="*/ 2701471 w 7197271"/>
                  <a:gd name="connsiteY17" fmla="*/ 7683500 h 17868900"/>
                  <a:gd name="connsiteX18" fmla="*/ 3615871 w 7197271"/>
                  <a:gd name="connsiteY18" fmla="*/ 4038600 h 17868900"/>
                  <a:gd name="connsiteX19" fmla="*/ 3844471 w 7197271"/>
                  <a:gd name="connsiteY19" fmla="*/ 5143500 h 17868900"/>
                  <a:gd name="connsiteX20" fmla="*/ 3996871 w 7197271"/>
                  <a:gd name="connsiteY20" fmla="*/ 6972300 h 17868900"/>
                  <a:gd name="connsiteX21" fmla="*/ 4161971 w 7197271"/>
                  <a:gd name="connsiteY21" fmla="*/ 8724900 h 17868900"/>
                  <a:gd name="connsiteX22" fmla="*/ 4187371 w 7197271"/>
                  <a:gd name="connsiteY22" fmla="*/ 9982200 h 17868900"/>
                  <a:gd name="connsiteX23" fmla="*/ 4149271 w 7197271"/>
                  <a:gd name="connsiteY23" fmla="*/ 11163300 h 17868900"/>
                  <a:gd name="connsiteX24" fmla="*/ 4149271 w 7197271"/>
                  <a:gd name="connsiteY24" fmla="*/ 12801600 h 17868900"/>
                  <a:gd name="connsiteX25" fmla="*/ 4111171 w 7197271"/>
                  <a:gd name="connsiteY25" fmla="*/ 13792200 h 17868900"/>
                  <a:gd name="connsiteX26" fmla="*/ 4187371 w 7197271"/>
                  <a:gd name="connsiteY26" fmla="*/ 17792700 h 17868900"/>
                  <a:gd name="connsiteX27" fmla="*/ 6244771 w 7197271"/>
                  <a:gd name="connsiteY27" fmla="*/ 17868900 h 17868900"/>
                  <a:gd name="connsiteX28" fmla="*/ 6892471 w 7197271"/>
                  <a:gd name="connsiteY28" fmla="*/ 17754600 h 17868900"/>
                  <a:gd name="connsiteX29" fmla="*/ 6682921 w 7197271"/>
                  <a:gd name="connsiteY29" fmla="*/ 13525500 h 17868900"/>
                  <a:gd name="connsiteX30" fmla="*/ 6473371 w 7197271"/>
                  <a:gd name="connsiteY30" fmla="*/ 11410950 h 17868900"/>
                  <a:gd name="connsiteX31" fmla="*/ 6378122 w 7197271"/>
                  <a:gd name="connsiteY31" fmla="*/ 10210800 h 17868900"/>
                  <a:gd name="connsiteX32" fmla="*/ 6454321 w 7197271"/>
                  <a:gd name="connsiteY32" fmla="*/ 8820150 h 17868900"/>
                  <a:gd name="connsiteX33" fmla="*/ 6930571 w 7197271"/>
                  <a:gd name="connsiteY33" fmla="*/ 5067300 h 17868900"/>
                  <a:gd name="connsiteX34" fmla="*/ 7121071 w 7197271"/>
                  <a:gd name="connsiteY34" fmla="*/ 4038600 h 17868900"/>
                  <a:gd name="connsiteX35" fmla="*/ 7197271 w 7197271"/>
                  <a:gd name="connsiteY35" fmla="*/ 2705100 h 17868900"/>
                  <a:gd name="connsiteX36" fmla="*/ 7159171 w 7197271"/>
                  <a:gd name="connsiteY36" fmla="*/ 2019300 h 17868900"/>
                  <a:gd name="connsiteX37" fmla="*/ 6092371 w 7197271"/>
                  <a:gd name="connsiteY37" fmla="*/ 2095500 h 17868900"/>
                  <a:gd name="connsiteX38" fmla="*/ 4492171 w 7197271"/>
                  <a:gd name="connsiteY38" fmla="*/ 2171700 h 17868900"/>
                  <a:gd name="connsiteX39" fmla="*/ 3958771 w 7197271"/>
                  <a:gd name="connsiteY39" fmla="*/ 2133600 h 17868900"/>
                  <a:gd name="connsiteX40" fmla="*/ 3425371 w 7197271"/>
                  <a:gd name="connsiteY40" fmla="*/ 1661160 h 17868900"/>
                  <a:gd name="connsiteX41" fmla="*/ 3295831 w 7197271"/>
                  <a:gd name="connsiteY41" fmla="*/ 1272540 h 17868900"/>
                  <a:gd name="connsiteX42" fmla="*/ 3196771 w 7197271"/>
                  <a:gd name="connsiteY42" fmla="*/ 7620 h 17868900"/>
                  <a:gd name="connsiteX43" fmla="*/ 2815771 w 7197271"/>
                  <a:gd name="connsiteY43" fmla="*/ 0 h 17868900"/>
                  <a:gd name="connsiteX44" fmla="*/ 2366191 w 7197271"/>
                  <a:gd name="connsiteY44" fmla="*/ 1196340 h 17868900"/>
                  <a:gd name="connsiteX45" fmla="*/ 2038531 w 7197271"/>
                  <a:gd name="connsiteY45" fmla="*/ 1676400 h 17868900"/>
                  <a:gd name="connsiteX46" fmla="*/ 1710871 w 7197271"/>
                  <a:gd name="connsiteY46" fmla="*/ 2019300 h 17868900"/>
                  <a:gd name="connsiteX47" fmla="*/ 1108891 w 7197271"/>
                  <a:gd name="connsiteY47" fmla="*/ 1844040 h 17868900"/>
                  <a:gd name="connsiteX48" fmla="*/ 423091 w 7197271"/>
                  <a:gd name="connsiteY48" fmla="*/ 1623060 h 17868900"/>
                  <a:gd name="connsiteX49" fmla="*/ 461191 w 7197271"/>
                  <a:gd name="connsiteY49" fmla="*/ 1645920 h 17868900"/>
                  <a:gd name="connsiteX0" fmla="*/ 453571 w 7197271"/>
                  <a:gd name="connsiteY0" fmla="*/ 1676400 h 17868900"/>
                  <a:gd name="connsiteX1" fmla="*/ 186871 w 7197271"/>
                  <a:gd name="connsiteY1" fmla="*/ 2057400 h 17868900"/>
                  <a:gd name="connsiteX2" fmla="*/ 263071 w 7197271"/>
                  <a:gd name="connsiteY2" fmla="*/ 2438400 h 17868900"/>
                  <a:gd name="connsiteX3" fmla="*/ 491671 w 7197271"/>
                  <a:gd name="connsiteY3" fmla="*/ 2628900 h 17868900"/>
                  <a:gd name="connsiteX4" fmla="*/ 453571 w 7197271"/>
                  <a:gd name="connsiteY4" fmla="*/ 3886200 h 17868900"/>
                  <a:gd name="connsiteX5" fmla="*/ 186871 w 7197271"/>
                  <a:gd name="connsiteY5" fmla="*/ 6743700 h 17868900"/>
                  <a:gd name="connsiteX6" fmla="*/ 97971 w 7197271"/>
                  <a:gd name="connsiteY6" fmla="*/ 8267700 h 17868900"/>
                  <a:gd name="connsiteX7" fmla="*/ 167821 w 7197271"/>
                  <a:gd name="connsiteY7" fmla="*/ 10020300 h 17868900"/>
                  <a:gd name="connsiteX8" fmla="*/ 186871 w 7197271"/>
                  <a:gd name="connsiteY8" fmla="*/ 11004550 h 17868900"/>
                  <a:gd name="connsiteX9" fmla="*/ 186871 w 7197271"/>
                  <a:gd name="connsiteY9" fmla="*/ 13182600 h 17868900"/>
                  <a:gd name="connsiteX10" fmla="*/ 0 w 7197271"/>
                  <a:gd name="connsiteY10" fmla="*/ 17366344 h 17868900"/>
                  <a:gd name="connsiteX11" fmla="*/ 1598385 w 7197271"/>
                  <a:gd name="connsiteY11" fmla="*/ 17471572 h 17868900"/>
                  <a:gd name="connsiteX12" fmla="*/ 2663371 w 7197271"/>
                  <a:gd name="connsiteY12" fmla="*/ 17411700 h 17868900"/>
                  <a:gd name="connsiteX13" fmla="*/ 2472871 w 7197271"/>
                  <a:gd name="connsiteY13" fmla="*/ 11049000 h 17868900"/>
                  <a:gd name="connsiteX14" fmla="*/ 2371271 w 7197271"/>
                  <a:gd name="connsiteY14" fmla="*/ 9575800 h 17868900"/>
                  <a:gd name="connsiteX15" fmla="*/ 2460171 w 7197271"/>
                  <a:gd name="connsiteY15" fmla="*/ 9093200 h 17868900"/>
                  <a:gd name="connsiteX16" fmla="*/ 2510971 w 7197271"/>
                  <a:gd name="connsiteY16" fmla="*/ 8420100 h 17868900"/>
                  <a:gd name="connsiteX17" fmla="*/ 2701471 w 7197271"/>
                  <a:gd name="connsiteY17" fmla="*/ 7683500 h 17868900"/>
                  <a:gd name="connsiteX18" fmla="*/ 3615871 w 7197271"/>
                  <a:gd name="connsiteY18" fmla="*/ 4038600 h 17868900"/>
                  <a:gd name="connsiteX19" fmla="*/ 3844471 w 7197271"/>
                  <a:gd name="connsiteY19" fmla="*/ 5143500 h 17868900"/>
                  <a:gd name="connsiteX20" fmla="*/ 3996871 w 7197271"/>
                  <a:gd name="connsiteY20" fmla="*/ 6972300 h 17868900"/>
                  <a:gd name="connsiteX21" fmla="*/ 4161971 w 7197271"/>
                  <a:gd name="connsiteY21" fmla="*/ 8724900 h 17868900"/>
                  <a:gd name="connsiteX22" fmla="*/ 4187371 w 7197271"/>
                  <a:gd name="connsiteY22" fmla="*/ 9982200 h 17868900"/>
                  <a:gd name="connsiteX23" fmla="*/ 4149271 w 7197271"/>
                  <a:gd name="connsiteY23" fmla="*/ 11163300 h 17868900"/>
                  <a:gd name="connsiteX24" fmla="*/ 4149271 w 7197271"/>
                  <a:gd name="connsiteY24" fmla="*/ 12801600 h 17868900"/>
                  <a:gd name="connsiteX25" fmla="*/ 4111171 w 7197271"/>
                  <a:gd name="connsiteY25" fmla="*/ 13792200 h 17868900"/>
                  <a:gd name="connsiteX26" fmla="*/ 4187371 w 7197271"/>
                  <a:gd name="connsiteY26" fmla="*/ 17792700 h 17868900"/>
                  <a:gd name="connsiteX27" fmla="*/ 6244771 w 7197271"/>
                  <a:gd name="connsiteY27" fmla="*/ 17868900 h 17868900"/>
                  <a:gd name="connsiteX28" fmla="*/ 6892471 w 7197271"/>
                  <a:gd name="connsiteY28" fmla="*/ 17754600 h 17868900"/>
                  <a:gd name="connsiteX29" fmla="*/ 6682921 w 7197271"/>
                  <a:gd name="connsiteY29" fmla="*/ 13525500 h 17868900"/>
                  <a:gd name="connsiteX30" fmla="*/ 6473371 w 7197271"/>
                  <a:gd name="connsiteY30" fmla="*/ 11410950 h 17868900"/>
                  <a:gd name="connsiteX31" fmla="*/ 6378122 w 7197271"/>
                  <a:gd name="connsiteY31" fmla="*/ 10210800 h 17868900"/>
                  <a:gd name="connsiteX32" fmla="*/ 6454321 w 7197271"/>
                  <a:gd name="connsiteY32" fmla="*/ 8820150 h 17868900"/>
                  <a:gd name="connsiteX33" fmla="*/ 6930571 w 7197271"/>
                  <a:gd name="connsiteY33" fmla="*/ 5067300 h 17868900"/>
                  <a:gd name="connsiteX34" fmla="*/ 7121071 w 7197271"/>
                  <a:gd name="connsiteY34" fmla="*/ 4038600 h 17868900"/>
                  <a:gd name="connsiteX35" fmla="*/ 7197271 w 7197271"/>
                  <a:gd name="connsiteY35" fmla="*/ 2705100 h 17868900"/>
                  <a:gd name="connsiteX36" fmla="*/ 7159171 w 7197271"/>
                  <a:gd name="connsiteY36" fmla="*/ 2019300 h 17868900"/>
                  <a:gd name="connsiteX37" fmla="*/ 6092371 w 7197271"/>
                  <a:gd name="connsiteY37" fmla="*/ 2095500 h 17868900"/>
                  <a:gd name="connsiteX38" fmla="*/ 4492171 w 7197271"/>
                  <a:gd name="connsiteY38" fmla="*/ 2171700 h 17868900"/>
                  <a:gd name="connsiteX39" fmla="*/ 3958771 w 7197271"/>
                  <a:gd name="connsiteY39" fmla="*/ 2133600 h 17868900"/>
                  <a:gd name="connsiteX40" fmla="*/ 3425371 w 7197271"/>
                  <a:gd name="connsiteY40" fmla="*/ 1661160 h 17868900"/>
                  <a:gd name="connsiteX41" fmla="*/ 3295831 w 7197271"/>
                  <a:gd name="connsiteY41" fmla="*/ 1272540 h 17868900"/>
                  <a:gd name="connsiteX42" fmla="*/ 3196771 w 7197271"/>
                  <a:gd name="connsiteY42" fmla="*/ 7620 h 17868900"/>
                  <a:gd name="connsiteX43" fmla="*/ 2815771 w 7197271"/>
                  <a:gd name="connsiteY43" fmla="*/ 0 h 17868900"/>
                  <a:gd name="connsiteX44" fmla="*/ 2366191 w 7197271"/>
                  <a:gd name="connsiteY44" fmla="*/ 1196340 h 17868900"/>
                  <a:gd name="connsiteX45" fmla="*/ 2038531 w 7197271"/>
                  <a:gd name="connsiteY45" fmla="*/ 1676400 h 17868900"/>
                  <a:gd name="connsiteX46" fmla="*/ 1710871 w 7197271"/>
                  <a:gd name="connsiteY46" fmla="*/ 2019300 h 17868900"/>
                  <a:gd name="connsiteX47" fmla="*/ 1108891 w 7197271"/>
                  <a:gd name="connsiteY47" fmla="*/ 1844040 h 17868900"/>
                  <a:gd name="connsiteX48" fmla="*/ 423091 w 7197271"/>
                  <a:gd name="connsiteY48" fmla="*/ 1623060 h 17868900"/>
                  <a:gd name="connsiteX49" fmla="*/ 461191 w 7197271"/>
                  <a:gd name="connsiteY49" fmla="*/ 1645920 h 17868900"/>
                  <a:gd name="connsiteX0" fmla="*/ 453571 w 7197271"/>
                  <a:gd name="connsiteY0" fmla="*/ 1676400 h 17868900"/>
                  <a:gd name="connsiteX1" fmla="*/ 186871 w 7197271"/>
                  <a:gd name="connsiteY1" fmla="*/ 2057400 h 17868900"/>
                  <a:gd name="connsiteX2" fmla="*/ 263071 w 7197271"/>
                  <a:gd name="connsiteY2" fmla="*/ 2438400 h 17868900"/>
                  <a:gd name="connsiteX3" fmla="*/ 491671 w 7197271"/>
                  <a:gd name="connsiteY3" fmla="*/ 2628900 h 17868900"/>
                  <a:gd name="connsiteX4" fmla="*/ 453571 w 7197271"/>
                  <a:gd name="connsiteY4" fmla="*/ 3886200 h 17868900"/>
                  <a:gd name="connsiteX5" fmla="*/ 186871 w 7197271"/>
                  <a:gd name="connsiteY5" fmla="*/ 6743700 h 17868900"/>
                  <a:gd name="connsiteX6" fmla="*/ 97971 w 7197271"/>
                  <a:gd name="connsiteY6" fmla="*/ 8267700 h 17868900"/>
                  <a:gd name="connsiteX7" fmla="*/ 167821 w 7197271"/>
                  <a:gd name="connsiteY7" fmla="*/ 10020300 h 17868900"/>
                  <a:gd name="connsiteX8" fmla="*/ 186871 w 7197271"/>
                  <a:gd name="connsiteY8" fmla="*/ 11004550 h 17868900"/>
                  <a:gd name="connsiteX9" fmla="*/ 186871 w 7197271"/>
                  <a:gd name="connsiteY9" fmla="*/ 13182600 h 17868900"/>
                  <a:gd name="connsiteX10" fmla="*/ 0 w 7197271"/>
                  <a:gd name="connsiteY10" fmla="*/ 17366344 h 17868900"/>
                  <a:gd name="connsiteX11" fmla="*/ 1598385 w 7197271"/>
                  <a:gd name="connsiteY11" fmla="*/ 17471572 h 17868900"/>
                  <a:gd name="connsiteX12" fmla="*/ 2663371 w 7197271"/>
                  <a:gd name="connsiteY12" fmla="*/ 17411700 h 17868900"/>
                  <a:gd name="connsiteX13" fmla="*/ 2472871 w 7197271"/>
                  <a:gd name="connsiteY13" fmla="*/ 11049000 h 17868900"/>
                  <a:gd name="connsiteX14" fmla="*/ 2371271 w 7197271"/>
                  <a:gd name="connsiteY14" fmla="*/ 9575800 h 17868900"/>
                  <a:gd name="connsiteX15" fmla="*/ 2460171 w 7197271"/>
                  <a:gd name="connsiteY15" fmla="*/ 9093200 h 17868900"/>
                  <a:gd name="connsiteX16" fmla="*/ 2510971 w 7197271"/>
                  <a:gd name="connsiteY16" fmla="*/ 8420100 h 17868900"/>
                  <a:gd name="connsiteX17" fmla="*/ 2701471 w 7197271"/>
                  <a:gd name="connsiteY17" fmla="*/ 7683500 h 17868900"/>
                  <a:gd name="connsiteX18" fmla="*/ 3615871 w 7197271"/>
                  <a:gd name="connsiteY18" fmla="*/ 4038600 h 17868900"/>
                  <a:gd name="connsiteX19" fmla="*/ 3844471 w 7197271"/>
                  <a:gd name="connsiteY19" fmla="*/ 5143500 h 17868900"/>
                  <a:gd name="connsiteX20" fmla="*/ 3996871 w 7197271"/>
                  <a:gd name="connsiteY20" fmla="*/ 6972300 h 17868900"/>
                  <a:gd name="connsiteX21" fmla="*/ 4161971 w 7197271"/>
                  <a:gd name="connsiteY21" fmla="*/ 8724900 h 17868900"/>
                  <a:gd name="connsiteX22" fmla="*/ 4187371 w 7197271"/>
                  <a:gd name="connsiteY22" fmla="*/ 9982200 h 17868900"/>
                  <a:gd name="connsiteX23" fmla="*/ 4149271 w 7197271"/>
                  <a:gd name="connsiteY23" fmla="*/ 11163300 h 17868900"/>
                  <a:gd name="connsiteX24" fmla="*/ 4149271 w 7197271"/>
                  <a:gd name="connsiteY24" fmla="*/ 12801600 h 17868900"/>
                  <a:gd name="connsiteX25" fmla="*/ 4111171 w 7197271"/>
                  <a:gd name="connsiteY25" fmla="*/ 13792200 h 17868900"/>
                  <a:gd name="connsiteX26" fmla="*/ 4187371 w 7197271"/>
                  <a:gd name="connsiteY26" fmla="*/ 17792700 h 17868900"/>
                  <a:gd name="connsiteX27" fmla="*/ 6244771 w 7197271"/>
                  <a:gd name="connsiteY27" fmla="*/ 17868900 h 17868900"/>
                  <a:gd name="connsiteX28" fmla="*/ 6892471 w 7197271"/>
                  <a:gd name="connsiteY28" fmla="*/ 17754600 h 17868900"/>
                  <a:gd name="connsiteX29" fmla="*/ 6682921 w 7197271"/>
                  <a:gd name="connsiteY29" fmla="*/ 13525500 h 17868900"/>
                  <a:gd name="connsiteX30" fmla="*/ 6473371 w 7197271"/>
                  <a:gd name="connsiteY30" fmla="*/ 11410950 h 17868900"/>
                  <a:gd name="connsiteX31" fmla="*/ 6378122 w 7197271"/>
                  <a:gd name="connsiteY31" fmla="*/ 10210800 h 17868900"/>
                  <a:gd name="connsiteX32" fmla="*/ 6454321 w 7197271"/>
                  <a:gd name="connsiteY32" fmla="*/ 8820150 h 17868900"/>
                  <a:gd name="connsiteX33" fmla="*/ 6930571 w 7197271"/>
                  <a:gd name="connsiteY33" fmla="*/ 5067300 h 17868900"/>
                  <a:gd name="connsiteX34" fmla="*/ 7121071 w 7197271"/>
                  <a:gd name="connsiteY34" fmla="*/ 4038600 h 17868900"/>
                  <a:gd name="connsiteX35" fmla="*/ 7197271 w 7197271"/>
                  <a:gd name="connsiteY35" fmla="*/ 2705100 h 17868900"/>
                  <a:gd name="connsiteX36" fmla="*/ 7159171 w 7197271"/>
                  <a:gd name="connsiteY36" fmla="*/ 2019300 h 17868900"/>
                  <a:gd name="connsiteX37" fmla="*/ 6092371 w 7197271"/>
                  <a:gd name="connsiteY37" fmla="*/ 2095500 h 17868900"/>
                  <a:gd name="connsiteX38" fmla="*/ 4492171 w 7197271"/>
                  <a:gd name="connsiteY38" fmla="*/ 2171700 h 17868900"/>
                  <a:gd name="connsiteX39" fmla="*/ 3958771 w 7197271"/>
                  <a:gd name="connsiteY39" fmla="*/ 2133600 h 17868900"/>
                  <a:gd name="connsiteX40" fmla="*/ 3425371 w 7197271"/>
                  <a:gd name="connsiteY40" fmla="*/ 1661160 h 17868900"/>
                  <a:gd name="connsiteX41" fmla="*/ 3295831 w 7197271"/>
                  <a:gd name="connsiteY41" fmla="*/ 1272540 h 17868900"/>
                  <a:gd name="connsiteX42" fmla="*/ 3196771 w 7197271"/>
                  <a:gd name="connsiteY42" fmla="*/ 7620 h 17868900"/>
                  <a:gd name="connsiteX43" fmla="*/ 2815771 w 7197271"/>
                  <a:gd name="connsiteY43" fmla="*/ 0 h 17868900"/>
                  <a:gd name="connsiteX44" fmla="*/ 2366191 w 7197271"/>
                  <a:gd name="connsiteY44" fmla="*/ 1196340 h 17868900"/>
                  <a:gd name="connsiteX45" fmla="*/ 2038531 w 7197271"/>
                  <a:gd name="connsiteY45" fmla="*/ 1676400 h 17868900"/>
                  <a:gd name="connsiteX46" fmla="*/ 1809931 w 7197271"/>
                  <a:gd name="connsiteY46" fmla="*/ 1813560 h 17868900"/>
                  <a:gd name="connsiteX47" fmla="*/ 1108891 w 7197271"/>
                  <a:gd name="connsiteY47" fmla="*/ 1844040 h 17868900"/>
                  <a:gd name="connsiteX48" fmla="*/ 423091 w 7197271"/>
                  <a:gd name="connsiteY48" fmla="*/ 1623060 h 17868900"/>
                  <a:gd name="connsiteX49" fmla="*/ 461191 w 7197271"/>
                  <a:gd name="connsiteY49" fmla="*/ 1645920 h 17868900"/>
                  <a:gd name="connsiteX0" fmla="*/ 453571 w 7197271"/>
                  <a:gd name="connsiteY0" fmla="*/ 1676400 h 17868900"/>
                  <a:gd name="connsiteX1" fmla="*/ 186871 w 7197271"/>
                  <a:gd name="connsiteY1" fmla="*/ 2057400 h 17868900"/>
                  <a:gd name="connsiteX2" fmla="*/ 263071 w 7197271"/>
                  <a:gd name="connsiteY2" fmla="*/ 2438400 h 17868900"/>
                  <a:gd name="connsiteX3" fmla="*/ 491671 w 7197271"/>
                  <a:gd name="connsiteY3" fmla="*/ 2628900 h 17868900"/>
                  <a:gd name="connsiteX4" fmla="*/ 453571 w 7197271"/>
                  <a:gd name="connsiteY4" fmla="*/ 3886200 h 17868900"/>
                  <a:gd name="connsiteX5" fmla="*/ 186871 w 7197271"/>
                  <a:gd name="connsiteY5" fmla="*/ 6743700 h 17868900"/>
                  <a:gd name="connsiteX6" fmla="*/ 97971 w 7197271"/>
                  <a:gd name="connsiteY6" fmla="*/ 8267700 h 17868900"/>
                  <a:gd name="connsiteX7" fmla="*/ 167821 w 7197271"/>
                  <a:gd name="connsiteY7" fmla="*/ 10020300 h 17868900"/>
                  <a:gd name="connsiteX8" fmla="*/ 186871 w 7197271"/>
                  <a:gd name="connsiteY8" fmla="*/ 11004550 h 17868900"/>
                  <a:gd name="connsiteX9" fmla="*/ 186871 w 7197271"/>
                  <a:gd name="connsiteY9" fmla="*/ 13182600 h 17868900"/>
                  <a:gd name="connsiteX10" fmla="*/ 0 w 7197271"/>
                  <a:gd name="connsiteY10" fmla="*/ 17366344 h 17868900"/>
                  <a:gd name="connsiteX11" fmla="*/ 1598385 w 7197271"/>
                  <a:gd name="connsiteY11" fmla="*/ 17471572 h 17868900"/>
                  <a:gd name="connsiteX12" fmla="*/ 2663371 w 7197271"/>
                  <a:gd name="connsiteY12" fmla="*/ 17411700 h 17868900"/>
                  <a:gd name="connsiteX13" fmla="*/ 2472871 w 7197271"/>
                  <a:gd name="connsiteY13" fmla="*/ 11049000 h 17868900"/>
                  <a:gd name="connsiteX14" fmla="*/ 2371271 w 7197271"/>
                  <a:gd name="connsiteY14" fmla="*/ 9575800 h 17868900"/>
                  <a:gd name="connsiteX15" fmla="*/ 2460171 w 7197271"/>
                  <a:gd name="connsiteY15" fmla="*/ 9093200 h 17868900"/>
                  <a:gd name="connsiteX16" fmla="*/ 2510971 w 7197271"/>
                  <a:gd name="connsiteY16" fmla="*/ 8420100 h 17868900"/>
                  <a:gd name="connsiteX17" fmla="*/ 2701471 w 7197271"/>
                  <a:gd name="connsiteY17" fmla="*/ 7683500 h 17868900"/>
                  <a:gd name="connsiteX18" fmla="*/ 3615871 w 7197271"/>
                  <a:gd name="connsiteY18" fmla="*/ 4038600 h 17868900"/>
                  <a:gd name="connsiteX19" fmla="*/ 3844471 w 7197271"/>
                  <a:gd name="connsiteY19" fmla="*/ 5143500 h 17868900"/>
                  <a:gd name="connsiteX20" fmla="*/ 3996871 w 7197271"/>
                  <a:gd name="connsiteY20" fmla="*/ 6972300 h 17868900"/>
                  <a:gd name="connsiteX21" fmla="*/ 4161971 w 7197271"/>
                  <a:gd name="connsiteY21" fmla="*/ 8724900 h 17868900"/>
                  <a:gd name="connsiteX22" fmla="*/ 4187371 w 7197271"/>
                  <a:gd name="connsiteY22" fmla="*/ 9982200 h 17868900"/>
                  <a:gd name="connsiteX23" fmla="*/ 4149271 w 7197271"/>
                  <a:gd name="connsiteY23" fmla="*/ 11163300 h 17868900"/>
                  <a:gd name="connsiteX24" fmla="*/ 4149271 w 7197271"/>
                  <a:gd name="connsiteY24" fmla="*/ 12801600 h 17868900"/>
                  <a:gd name="connsiteX25" fmla="*/ 4111171 w 7197271"/>
                  <a:gd name="connsiteY25" fmla="*/ 13792200 h 17868900"/>
                  <a:gd name="connsiteX26" fmla="*/ 4187371 w 7197271"/>
                  <a:gd name="connsiteY26" fmla="*/ 17792700 h 17868900"/>
                  <a:gd name="connsiteX27" fmla="*/ 6244771 w 7197271"/>
                  <a:gd name="connsiteY27" fmla="*/ 17868900 h 17868900"/>
                  <a:gd name="connsiteX28" fmla="*/ 6892471 w 7197271"/>
                  <a:gd name="connsiteY28" fmla="*/ 17754600 h 17868900"/>
                  <a:gd name="connsiteX29" fmla="*/ 6682921 w 7197271"/>
                  <a:gd name="connsiteY29" fmla="*/ 13525500 h 17868900"/>
                  <a:gd name="connsiteX30" fmla="*/ 6473371 w 7197271"/>
                  <a:gd name="connsiteY30" fmla="*/ 11410950 h 17868900"/>
                  <a:gd name="connsiteX31" fmla="*/ 6378122 w 7197271"/>
                  <a:gd name="connsiteY31" fmla="*/ 10210800 h 17868900"/>
                  <a:gd name="connsiteX32" fmla="*/ 6454321 w 7197271"/>
                  <a:gd name="connsiteY32" fmla="*/ 8820150 h 17868900"/>
                  <a:gd name="connsiteX33" fmla="*/ 6930571 w 7197271"/>
                  <a:gd name="connsiteY33" fmla="*/ 5067300 h 17868900"/>
                  <a:gd name="connsiteX34" fmla="*/ 7121071 w 7197271"/>
                  <a:gd name="connsiteY34" fmla="*/ 4038600 h 17868900"/>
                  <a:gd name="connsiteX35" fmla="*/ 7197271 w 7197271"/>
                  <a:gd name="connsiteY35" fmla="*/ 2705100 h 17868900"/>
                  <a:gd name="connsiteX36" fmla="*/ 7159171 w 7197271"/>
                  <a:gd name="connsiteY36" fmla="*/ 2019300 h 17868900"/>
                  <a:gd name="connsiteX37" fmla="*/ 6092371 w 7197271"/>
                  <a:gd name="connsiteY37" fmla="*/ 2095500 h 17868900"/>
                  <a:gd name="connsiteX38" fmla="*/ 4492171 w 7197271"/>
                  <a:gd name="connsiteY38" fmla="*/ 2171700 h 17868900"/>
                  <a:gd name="connsiteX39" fmla="*/ 3958771 w 7197271"/>
                  <a:gd name="connsiteY39" fmla="*/ 2133600 h 17868900"/>
                  <a:gd name="connsiteX40" fmla="*/ 3455851 w 7197271"/>
                  <a:gd name="connsiteY40" fmla="*/ 1661160 h 17868900"/>
                  <a:gd name="connsiteX41" fmla="*/ 3295831 w 7197271"/>
                  <a:gd name="connsiteY41" fmla="*/ 1272540 h 17868900"/>
                  <a:gd name="connsiteX42" fmla="*/ 3196771 w 7197271"/>
                  <a:gd name="connsiteY42" fmla="*/ 7620 h 17868900"/>
                  <a:gd name="connsiteX43" fmla="*/ 2815771 w 7197271"/>
                  <a:gd name="connsiteY43" fmla="*/ 0 h 17868900"/>
                  <a:gd name="connsiteX44" fmla="*/ 2366191 w 7197271"/>
                  <a:gd name="connsiteY44" fmla="*/ 1196340 h 17868900"/>
                  <a:gd name="connsiteX45" fmla="*/ 2038531 w 7197271"/>
                  <a:gd name="connsiteY45" fmla="*/ 1676400 h 17868900"/>
                  <a:gd name="connsiteX46" fmla="*/ 1809931 w 7197271"/>
                  <a:gd name="connsiteY46" fmla="*/ 1813560 h 17868900"/>
                  <a:gd name="connsiteX47" fmla="*/ 1108891 w 7197271"/>
                  <a:gd name="connsiteY47" fmla="*/ 1844040 h 17868900"/>
                  <a:gd name="connsiteX48" fmla="*/ 423091 w 7197271"/>
                  <a:gd name="connsiteY48" fmla="*/ 1623060 h 17868900"/>
                  <a:gd name="connsiteX49" fmla="*/ 461191 w 7197271"/>
                  <a:gd name="connsiteY49" fmla="*/ 1645920 h 17868900"/>
                  <a:gd name="connsiteX0" fmla="*/ 453571 w 7197271"/>
                  <a:gd name="connsiteY0" fmla="*/ 1676400 h 17868900"/>
                  <a:gd name="connsiteX1" fmla="*/ 186871 w 7197271"/>
                  <a:gd name="connsiteY1" fmla="*/ 2057400 h 17868900"/>
                  <a:gd name="connsiteX2" fmla="*/ 263071 w 7197271"/>
                  <a:gd name="connsiteY2" fmla="*/ 2438400 h 17868900"/>
                  <a:gd name="connsiteX3" fmla="*/ 491671 w 7197271"/>
                  <a:gd name="connsiteY3" fmla="*/ 2628900 h 17868900"/>
                  <a:gd name="connsiteX4" fmla="*/ 453571 w 7197271"/>
                  <a:gd name="connsiteY4" fmla="*/ 3886200 h 17868900"/>
                  <a:gd name="connsiteX5" fmla="*/ 186871 w 7197271"/>
                  <a:gd name="connsiteY5" fmla="*/ 6743700 h 17868900"/>
                  <a:gd name="connsiteX6" fmla="*/ 97971 w 7197271"/>
                  <a:gd name="connsiteY6" fmla="*/ 8267700 h 17868900"/>
                  <a:gd name="connsiteX7" fmla="*/ 167821 w 7197271"/>
                  <a:gd name="connsiteY7" fmla="*/ 10020300 h 17868900"/>
                  <a:gd name="connsiteX8" fmla="*/ 186871 w 7197271"/>
                  <a:gd name="connsiteY8" fmla="*/ 11004550 h 17868900"/>
                  <a:gd name="connsiteX9" fmla="*/ 186871 w 7197271"/>
                  <a:gd name="connsiteY9" fmla="*/ 13182600 h 17868900"/>
                  <a:gd name="connsiteX10" fmla="*/ 0 w 7197271"/>
                  <a:gd name="connsiteY10" fmla="*/ 17366344 h 17868900"/>
                  <a:gd name="connsiteX11" fmla="*/ 1598385 w 7197271"/>
                  <a:gd name="connsiteY11" fmla="*/ 17471572 h 17868900"/>
                  <a:gd name="connsiteX12" fmla="*/ 2663371 w 7197271"/>
                  <a:gd name="connsiteY12" fmla="*/ 17411700 h 17868900"/>
                  <a:gd name="connsiteX13" fmla="*/ 2472871 w 7197271"/>
                  <a:gd name="connsiteY13" fmla="*/ 11049000 h 17868900"/>
                  <a:gd name="connsiteX14" fmla="*/ 2371271 w 7197271"/>
                  <a:gd name="connsiteY14" fmla="*/ 9575800 h 17868900"/>
                  <a:gd name="connsiteX15" fmla="*/ 2460171 w 7197271"/>
                  <a:gd name="connsiteY15" fmla="*/ 9093200 h 17868900"/>
                  <a:gd name="connsiteX16" fmla="*/ 2510971 w 7197271"/>
                  <a:gd name="connsiteY16" fmla="*/ 8420100 h 17868900"/>
                  <a:gd name="connsiteX17" fmla="*/ 2701471 w 7197271"/>
                  <a:gd name="connsiteY17" fmla="*/ 7683500 h 17868900"/>
                  <a:gd name="connsiteX18" fmla="*/ 3615871 w 7197271"/>
                  <a:gd name="connsiteY18" fmla="*/ 4038600 h 17868900"/>
                  <a:gd name="connsiteX19" fmla="*/ 3844471 w 7197271"/>
                  <a:gd name="connsiteY19" fmla="*/ 5143500 h 17868900"/>
                  <a:gd name="connsiteX20" fmla="*/ 3996871 w 7197271"/>
                  <a:gd name="connsiteY20" fmla="*/ 6972300 h 17868900"/>
                  <a:gd name="connsiteX21" fmla="*/ 4161971 w 7197271"/>
                  <a:gd name="connsiteY21" fmla="*/ 8724900 h 17868900"/>
                  <a:gd name="connsiteX22" fmla="*/ 4187371 w 7197271"/>
                  <a:gd name="connsiteY22" fmla="*/ 9982200 h 17868900"/>
                  <a:gd name="connsiteX23" fmla="*/ 4149271 w 7197271"/>
                  <a:gd name="connsiteY23" fmla="*/ 11163300 h 17868900"/>
                  <a:gd name="connsiteX24" fmla="*/ 4149271 w 7197271"/>
                  <a:gd name="connsiteY24" fmla="*/ 12801600 h 17868900"/>
                  <a:gd name="connsiteX25" fmla="*/ 4111171 w 7197271"/>
                  <a:gd name="connsiteY25" fmla="*/ 13792200 h 17868900"/>
                  <a:gd name="connsiteX26" fmla="*/ 4187371 w 7197271"/>
                  <a:gd name="connsiteY26" fmla="*/ 17792700 h 17868900"/>
                  <a:gd name="connsiteX27" fmla="*/ 6244771 w 7197271"/>
                  <a:gd name="connsiteY27" fmla="*/ 17868900 h 17868900"/>
                  <a:gd name="connsiteX28" fmla="*/ 6892471 w 7197271"/>
                  <a:gd name="connsiteY28" fmla="*/ 17754600 h 17868900"/>
                  <a:gd name="connsiteX29" fmla="*/ 6682921 w 7197271"/>
                  <a:gd name="connsiteY29" fmla="*/ 13525500 h 17868900"/>
                  <a:gd name="connsiteX30" fmla="*/ 6473371 w 7197271"/>
                  <a:gd name="connsiteY30" fmla="*/ 11410950 h 17868900"/>
                  <a:gd name="connsiteX31" fmla="*/ 6378122 w 7197271"/>
                  <a:gd name="connsiteY31" fmla="*/ 10210800 h 17868900"/>
                  <a:gd name="connsiteX32" fmla="*/ 6454321 w 7197271"/>
                  <a:gd name="connsiteY32" fmla="*/ 8820150 h 17868900"/>
                  <a:gd name="connsiteX33" fmla="*/ 6930571 w 7197271"/>
                  <a:gd name="connsiteY33" fmla="*/ 5067300 h 17868900"/>
                  <a:gd name="connsiteX34" fmla="*/ 7121071 w 7197271"/>
                  <a:gd name="connsiteY34" fmla="*/ 4038600 h 17868900"/>
                  <a:gd name="connsiteX35" fmla="*/ 7197271 w 7197271"/>
                  <a:gd name="connsiteY35" fmla="*/ 2705100 h 17868900"/>
                  <a:gd name="connsiteX36" fmla="*/ 7159171 w 7197271"/>
                  <a:gd name="connsiteY36" fmla="*/ 2019300 h 17868900"/>
                  <a:gd name="connsiteX37" fmla="*/ 6092371 w 7197271"/>
                  <a:gd name="connsiteY37" fmla="*/ 2095500 h 17868900"/>
                  <a:gd name="connsiteX38" fmla="*/ 4492171 w 7197271"/>
                  <a:gd name="connsiteY38" fmla="*/ 2171700 h 17868900"/>
                  <a:gd name="connsiteX39" fmla="*/ 4080691 w 7197271"/>
                  <a:gd name="connsiteY39" fmla="*/ 2118360 h 17868900"/>
                  <a:gd name="connsiteX40" fmla="*/ 3455851 w 7197271"/>
                  <a:gd name="connsiteY40" fmla="*/ 1661160 h 17868900"/>
                  <a:gd name="connsiteX41" fmla="*/ 3295831 w 7197271"/>
                  <a:gd name="connsiteY41" fmla="*/ 1272540 h 17868900"/>
                  <a:gd name="connsiteX42" fmla="*/ 3196771 w 7197271"/>
                  <a:gd name="connsiteY42" fmla="*/ 7620 h 17868900"/>
                  <a:gd name="connsiteX43" fmla="*/ 2815771 w 7197271"/>
                  <a:gd name="connsiteY43" fmla="*/ 0 h 17868900"/>
                  <a:gd name="connsiteX44" fmla="*/ 2366191 w 7197271"/>
                  <a:gd name="connsiteY44" fmla="*/ 1196340 h 17868900"/>
                  <a:gd name="connsiteX45" fmla="*/ 2038531 w 7197271"/>
                  <a:gd name="connsiteY45" fmla="*/ 1676400 h 17868900"/>
                  <a:gd name="connsiteX46" fmla="*/ 1809931 w 7197271"/>
                  <a:gd name="connsiteY46" fmla="*/ 1813560 h 17868900"/>
                  <a:gd name="connsiteX47" fmla="*/ 1108891 w 7197271"/>
                  <a:gd name="connsiteY47" fmla="*/ 1844040 h 17868900"/>
                  <a:gd name="connsiteX48" fmla="*/ 423091 w 7197271"/>
                  <a:gd name="connsiteY48" fmla="*/ 1623060 h 17868900"/>
                  <a:gd name="connsiteX49" fmla="*/ 461191 w 7197271"/>
                  <a:gd name="connsiteY49" fmla="*/ 1645920 h 17868900"/>
                  <a:gd name="connsiteX0" fmla="*/ 453571 w 7197271"/>
                  <a:gd name="connsiteY0" fmla="*/ 1676400 h 17868900"/>
                  <a:gd name="connsiteX1" fmla="*/ 186871 w 7197271"/>
                  <a:gd name="connsiteY1" fmla="*/ 2057400 h 17868900"/>
                  <a:gd name="connsiteX2" fmla="*/ 263071 w 7197271"/>
                  <a:gd name="connsiteY2" fmla="*/ 2438400 h 17868900"/>
                  <a:gd name="connsiteX3" fmla="*/ 491671 w 7197271"/>
                  <a:gd name="connsiteY3" fmla="*/ 2628900 h 17868900"/>
                  <a:gd name="connsiteX4" fmla="*/ 453571 w 7197271"/>
                  <a:gd name="connsiteY4" fmla="*/ 3886200 h 17868900"/>
                  <a:gd name="connsiteX5" fmla="*/ 186871 w 7197271"/>
                  <a:gd name="connsiteY5" fmla="*/ 6743700 h 17868900"/>
                  <a:gd name="connsiteX6" fmla="*/ 97971 w 7197271"/>
                  <a:gd name="connsiteY6" fmla="*/ 8267700 h 17868900"/>
                  <a:gd name="connsiteX7" fmla="*/ 167821 w 7197271"/>
                  <a:gd name="connsiteY7" fmla="*/ 10020300 h 17868900"/>
                  <a:gd name="connsiteX8" fmla="*/ 186871 w 7197271"/>
                  <a:gd name="connsiteY8" fmla="*/ 11004550 h 17868900"/>
                  <a:gd name="connsiteX9" fmla="*/ 186871 w 7197271"/>
                  <a:gd name="connsiteY9" fmla="*/ 13182600 h 17868900"/>
                  <a:gd name="connsiteX10" fmla="*/ 0 w 7197271"/>
                  <a:gd name="connsiteY10" fmla="*/ 17366344 h 17868900"/>
                  <a:gd name="connsiteX11" fmla="*/ 1598385 w 7197271"/>
                  <a:gd name="connsiteY11" fmla="*/ 17471572 h 17868900"/>
                  <a:gd name="connsiteX12" fmla="*/ 2663371 w 7197271"/>
                  <a:gd name="connsiteY12" fmla="*/ 17411700 h 17868900"/>
                  <a:gd name="connsiteX13" fmla="*/ 2472871 w 7197271"/>
                  <a:gd name="connsiteY13" fmla="*/ 11049000 h 17868900"/>
                  <a:gd name="connsiteX14" fmla="*/ 2371271 w 7197271"/>
                  <a:gd name="connsiteY14" fmla="*/ 9575800 h 17868900"/>
                  <a:gd name="connsiteX15" fmla="*/ 2460171 w 7197271"/>
                  <a:gd name="connsiteY15" fmla="*/ 9093200 h 17868900"/>
                  <a:gd name="connsiteX16" fmla="*/ 2510971 w 7197271"/>
                  <a:gd name="connsiteY16" fmla="*/ 8420100 h 17868900"/>
                  <a:gd name="connsiteX17" fmla="*/ 2701471 w 7197271"/>
                  <a:gd name="connsiteY17" fmla="*/ 7683500 h 17868900"/>
                  <a:gd name="connsiteX18" fmla="*/ 3615871 w 7197271"/>
                  <a:gd name="connsiteY18" fmla="*/ 4038600 h 17868900"/>
                  <a:gd name="connsiteX19" fmla="*/ 3844471 w 7197271"/>
                  <a:gd name="connsiteY19" fmla="*/ 5143500 h 17868900"/>
                  <a:gd name="connsiteX20" fmla="*/ 3996871 w 7197271"/>
                  <a:gd name="connsiteY20" fmla="*/ 6972300 h 17868900"/>
                  <a:gd name="connsiteX21" fmla="*/ 4161971 w 7197271"/>
                  <a:gd name="connsiteY21" fmla="*/ 8724900 h 17868900"/>
                  <a:gd name="connsiteX22" fmla="*/ 4187371 w 7197271"/>
                  <a:gd name="connsiteY22" fmla="*/ 9982200 h 17868900"/>
                  <a:gd name="connsiteX23" fmla="*/ 4149271 w 7197271"/>
                  <a:gd name="connsiteY23" fmla="*/ 11163300 h 17868900"/>
                  <a:gd name="connsiteX24" fmla="*/ 4149271 w 7197271"/>
                  <a:gd name="connsiteY24" fmla="*/ 12801600 h 17868900"/>
                  <a:gd name="connsiteX25" fmla="*/ 4111171 w 7197271"/>
                  <a:gd name="connsiteY25" fmla="*/ 13792200 h 17868900"/>
                  <a:gd name="connsiteX26" fmla="*/ 4187371 w 7197271"/>
                  <a:gd name="connsiteY26" fmla="*/ 17792700 h 17868900"/>
                  <a:gd name="connsiteX27" fmla="*/ 6244771 w 7197271"/>
                  <a:gd name="connsiteY27" fmla="*/ 17868900 h 17868900"/>
                  <a:gd name="connsiteX28" fmla="*/ 6892471 w 7197271"/>
                  <a:gd name="connsiteY28" fmla="*/ 17754600 h 17868900"/>
                  <a:gd name="connsiteX29" fmla="*/ 6682921 w 7197271"/>
                  <a:gd name="connsiteY29" fmla="*/ 13525500 h 17868900"/>
                  <a:gd name="connsiteX30" fmla="*/ 6473371 w 7197271"/>
                  <a:gd name="connsiteY30" fmla="*/ 11410950 h 17868900"/>
                  <a:gd name="connsiteX31" fmla="*/ 6378122 w 7197271"/>
                  <a:gd name="connsiteY31" fmla="*/ 10210800 h 17868900"/>
                  <a:gd name="connsiteX32" fmla="*/ 6454321 w 7197271"/>
                  <a:gd name="connsiteY32" fmla="*/ 8820150 h 17868900"/>
                  <a:gd name="connsiteX33" fmla="*/ 6930571 w 7197271"/>
                  <a:gd name="connsiteY33" fmla="*/ 5067300 h 17868900"/>
                  <a:gd name="connsiteX34" fmla="*/ 7121071 w 7197271"/>
                  <a:gd name="connsiteY34" fmla="*/ 4038600 h 17868900"/>
                  <a:gd name="connsiteX35" fmla="*/ 7197271 w 7197271"/>
                  <a:gd name="connsiteY35" fmla="*/ 2705100 h 17868900"/>
                  <a:gd name="connsiteX36" fmla="*/ 7159171 w 7197271"/>
                  <a:gd name="connsiteY36" fmla="*/ 2019300 h 17868900"/>
                  <a:gd name="connsiteX37" fmla="*/ 6092371 w 7197271"/>
                  <a:gd name="connsiteY37" fmla="*/ 2095500 h 17868900"/>
                  <a:gd name="connsiteX38" fmla="*/ 4736011 w 7197271"/>
                  <a:gd name="connsiteY38" fmla="*/ 2095500 h 17868900"/>
                  <a:gd name="connsiteX39" fmla="*/ 4080691 w 7197271"/>
                  <a:gd name="connsiteY39" fmla="*/ 2118360 h 17868900"/>
                  <a:gd name="connsiteX40" fmla="*/ 3455851 w 7197271"/>
                  <a:gd name="connsiteY40" fmla="*/ 1661160 h 17868900"/>
                  <a:gd name="connsiteX41" fmla="*/ 3295831 w 7197271"/>
                  <a:gd name="connsiteY41" fmla="*/ 1272540 h 17868900"/>
                  <a:gd name="connsiteX42" fmla="*/ 3196771 w 7197271"/>
                  <a:gd name="connsiteY42" fmla="*/ 7620 h 17868900"/>
                  <a:gd name="connsiteX43" fmla="*/ 2815771 w 7197271"/>
                  <a:gd name="connsiteY43" fmla="*/ 0 h 17868900"/>
                  <a:gd name="connsiteX44" fmla="*/ 2366191 w 7197271"/>
                  <a:gd name="connsiteY44" fmla="*/ 1196340 h 17868900"/>
                  <a:gd name="connsiteX45" fmla="*/ 2038531 w 7197271"/>
                  <a:gd name="connsiteY45" fmla="*/ 1676400 h 17868900"/>
                  <a:gd name="connsiteX46" fmla="*/ 1809931 w 7197271"/>
                  <a:gd name="connsiteY46" fmla="*/ 1813560 h 17868900"/>
                  <a:gd name="connsiteX47" fmla="*/ 1108891 w 7197271"/>
                  <a:gd name="connsiteY47" fmla="*/ 1844040 h 17868900"/>
                  <a:gd name="connsiteX48" fmla="*/ 423091 w 7197271"/>
                  <a:gd name="connsiteY48" fmla="*/ 1623060 h 17868900"/>
                  <a:gd name="connsiteX49" fmla="*/ 461191 w 7197271"/>
                  <a:gd name="connsiteY49" fmla="*/ 1645920 h 17868900"/>
                  <a:gd name="connsiteX0" fmla="*/ 453571 w 7197271"/>
                  <a:gd name="connsiteY0" fmla="*/ 1676400 h 17868900"/>
                  <a:gd name="connsiteX1" fmla="*/ 186871 w 7197271"/>
                  <a:gd name="connsiteY1" fmla="*/ 2057400 h 17868900"/>
                  <a:gd name="connsiteX2" fmla="*/ 263071 w 7197271"/>
                  <a:gd name="connsiteY2" fmla="*/ 2438400 h 17868900"/>
                  <a:gd name="connsiteX3" fmla="*/ 491671 w 7197271"/>
                  <a:gd name="connsiteY3" fmla="*/ 2628900 h 17868900"/>
                  <a:gd name="connsiteX4" fmla="*/ 453571 w 7197271"/>
                  <a:gd name="connsiteY4" fmla="*/ 3886200 h 17868900"/>
                  <a:gd name="connsiteX5" fmla="*/ 186871 w 7197271"/>
                  <a:gd name="connsiteY5" fmla="*/ 6743700 h 17868900"/>
                  <a:gd name="connsiteX6" fmla="*/ 97971 w 7197271"/>
                  <a:gd name="connsiteY6" fmla="*/ 8267700 h 17868900"/>
                  <a:gd name="connsiteX7" fmla="*/ 167821 w 7197271"/>
                  <a:gd name="connsiteY7" fmla="*/ 10020300 h 17868900"/>
                  <a:gd name="connsiteX8" fmla="*/ 186871 w 7197271"/>
                  <a:gd name="connsiteY8" fmla="*/ 11004550 h 17868900"/>
                  <a:gd name="connsiteX9" fmla="*/ 186871 w 7197271"/>
                  <a:gd name="connsiteY9" fmla="*/ 13182600 h 17868900"/>
                  <a:gd name="connsiteX10" fmla="*/ 0 w 7197271"/>
                  <a:gd name="connsiteY10" fmla="*/ 17366344 h 17868900"/>
                  <a:gd name="connsiteX11" fmla="*/ 1598385 w 7197271"/>
                  <a:gd name="connsiteY11" fmla="*/ 17471572 h 17868900"/>
                  <a:gd name="connsiteX12" fmla="*/ 2663371 w 7197271"/>
                  <a:gd name="connsiteY12" fmla="*/ 17411700 h 17868900"/>
                  <a:gd name="connsiteX13" fmla="*/ 2472871 w 7197271"/>
                  <a:gd name="connsiteY13" fmla="*/ 11049000 h 17868900"/>
                  <a:gd name="connsiteX14" fmla="*/ 2371271 w 7197271"/>
                  <a:gd name="connsiteY14" fmla="*/ 9575800 h 17868900"/>
                  <a:gd name="connsiteX15" fmla="*/ 2460171 w 7197271"/>
                  <a:gd name="connsiteY15" fmla="*/ 9093200 h 17868900"/>
                  <a:gd name="connsiteX16" fmla="*/ 2510971 w 7197271"/>
                  <a:gd name="connsiteY16" fmla="*/ 8420100 h 17868900"/>
                  <a:gd name="connsiteX17" fmla="*/ 2701471 w 7197271"/>
                  <a:gd name="connsiteY17" fmla="*/ 7683500 h 17868900"/>
                  <a:gd name="connsiteX18" fmla="*/ 3615871 w 7197271"/>
                  <a:gd name="connsiteY18" fmla="*/ 4038600 h 17868900"/>
                  <a:gd name="connsiteX19" fmla="*/ 3844471 w 7197271"/>
                  <a:gd name="connsiteY19" fmla="*/ 5143500 h 17868900"/>
                  <a:gd name="connsiteX20" fmla="*/ 3996871 w 7197271"/>
                  <a:gd name="connsiteY20" fmla="*/ 6972300 h 17868900"/>
                  <a:gd name="connsiteX21" fmla="*/ 4161971 w 7197271"/>
                  <a:gd name="connsiteY21" fmla="*/ 8724900 h 17868900"/>
                  <a:gd name="connsiteX22" fmla="*/ 4187371 w 7197271"/>
                  <a:gd name="connsiteY22" fmla="*/ 9982200 h 17868900"/>
                  <a:gd name="connsiteX23" fmla="*/ 4149271 w 7197271"/>
                  <a:gd name="connsiteY23" fmla="*/ 11163300 h 17868900"/>
                  <a:gd name="connsiteX24" fmla="*/ 4149271 w 7197271"/>
                  <a:gd name="connsiteY24" fmla="*/ 12801600 h 17868900"/>
                  <a:gd name="connsiteX25" fmla="*/ 4111171 w 7197271"/>
                  <a:gd name="connsiteY25" fmla="*/ 13792200 h 17868900"/>
                  <a:gd name="connsiteX26" fmla="*/ 4187371 w 7197271"/>
                  <a:gd name="connsiteY26" fmla="*/ 17792700 h 17868900"/>
                  <a:gd name="connsiteX27" fmla="*/ 6244771 w 7197271"/>
                  <a:gd name="connsiteY27" fmla="*/ 17868900 h 17868900"/>
                  <a:gd name="connsiteX28" fmla="*/ 6892471 w 7197271"/>
                  <a:gd name="connsiteY28" fmla="*/ 17754600 h 17868900"/>
                  <a:gd name="connsiteX29" fmla="*/ 6682921 w 7197271"/>
                  <a:gd name="connsiteY29" fmla="*/ 13525500 h 17868900"/>
                  <a:gd name="connsiteX30" fmla="*/ 6473371 w 7197271"/>
                  <a:gd name="connsiteY30" fmla="*/ 11410950 h 17868900"/>
                  <a:gd name="connsiteX31" fmla="*/ 6378122 w 7197271"/>
                  <a:gd name="connsiteY31" fmla="*/ 10210800 h 17868900"/>
                  <a:gd name="connsiteX32" fmla="*/ 6454321 w 7197271"/>
                  <a:gd name="connsiteY32" fmla="*/ 8820150 h 17868900"/>
                  <a:gd name="connsiteX33" fmla="*/ 6930571 w 7197271"/>
                  <a:gd name="connsiteY33" fmla="*/ 5067300 h 17868900"/>
                  <a:gd name="connsiteX34" fmla="*/ 7121071 w 7197271"/>
                  <a:gd name="connsiteY34" fmla="*/ 4038600 h 17868900"/>
                  <a:gd name="connsiteX35" fmla="*/ 7197271 w 7197271"/>
                  <a:gd name="connsiteY35" fmla="*/ 2705100 h 17868900"/>
                  <a:gd name="connsiteX36" fmla="*/ 7159171 w 7197271"/>
                  <a:gd name="connsiteY36" fmla="*/ 2019300 h 17868900"/>
                  <a:gd name="connsiteX37" fmla="*/ 6130471 w 7197271"/>
                  <a:gd name="connsiteY37" fmla="*/ 2034540 h 17868900"/>
                  <a:gd name="connsiteX38" fmla="*/ 4736011 w 7197271"/>
                  <a:gd name="connsiteY38" fmla="*/ 2095500 h 17868900"/>
                  <a:gd name="connsiteX39" fmla="*/ 4080691 w 7197271"/>
                  <a:gd name="connsiteY39" fmla="*/ 2118360 h 17868900"/>
                  <a:gd name="connsiteX40" fmla="*/ 3455851 w 7197271"/>
                  <a:gd name="connsiteY40" fmla="*/ 1661160 h 17868900"/>
                  <a:gd name="connsiteX41" fmla="*/ 3295831 w 7197271"/>
                  <a:gd name="connsiteY41" fmla="*/ 1272540 h 17868900"/>
                  <a:gd name="connsiteX42" fmla="*/ 3196771 w 7197271"/>
                  <a:gd name="connsiteY42" fmla="*/ 7620 h 17868900"/>
                  <a:gd name="connsiteX43" fmla="*/ 2815771 w 7197271"/>
                  <a:gd name="connsiteY43" fmla="*/ 0 h 17868900"/>
                  <a:gd name="connsiteX44" fmla="*/ 2366191 w 7197271"/>
                  <a:gd name="connsiteY44" fmla="*/ 1196340 h 17868900"/>
                  <a:gd name="connsiteX45" fmla="*/ 2038531 w 7197271"/>
                  <a:gd name="connsiteY45" fmla="*/ 1676400 h 17868900"/>
                  <a:gd name="connsiteX46" fmla="*/ 1809931 w 7197271"/>
                  <a:gd name="connsiteY46" fmla="*/ 1813560 h 17868900"/>
                  <a:gd name="connsiteX47" fmla="*/ 1108891 w 7197271"/>
                  <a:gd name="connsiteY47" fmla="*/ 1844040 h 17868900"/>
                  <a:gd name="connsiteX48" fmla="*/ 423091 w 7197271"/>
                  <a:gd name="connsiteY48" fmla="*/ 1623060 h 17868900"/>
                  <a:gd name="connsiteX49" fmla="*/ 461191 w 7197271"/>
                  <a:gd name="connsiteY49" fmla="*/ 1645920 h 17868900"/>
                  <a:gd name="connsiteX0" fmla="*/ 453571 w 7197271"/>
                  <a:gd name="connsiteY0" fmla="*/ 1676400 h 17868900"/>
                  <a:gd name="connsiteX1" fmla="*/ 186871 w 7197271"/>
                  <a:gd name="connsiteY1" fmla="*/ 2057400 h 17868900"/>
                  <a:gd name="connsiteX2" fmla="*/ 263071 w 7197271"/>
                  <a:gd name="connsiteY2" fmla="*/ 2438400 h 17868900"/>
                  <a:gd name="connsiteX3" fmla="*/ 491671 w 7197271"/>
                  <a:gd name="connsiteY3" fmla="*/ 2628900 h 17868900"/>
                  <a:gd name="connsiteX4" fmla="*/ 453571 w 7197271"/>
                  <a:gd name="connsiteY4" fmla="*/ 3886200 h 17868900"/>
                  <a:gd name="connsiteX5" fmla="*/ 186871 w 7197271"/>
                  <a:gd name="connsiteY5" fmla="*/ 6743700 h 17868900"/>
                  <a:gd name="connsiteX6" fmla="*/ 97971 w 7197271"/>
                  <a:gd name="connsiteY6" fmla="*/ 8267700 h 17868900"/>
                  <a:gd name="connsiteX7" fmla="*/ 167821 w 7197271"/>
                  <a:gd name="connsiteY7" fmla="*/ 10020300 h 17868900"/>
                  <a:gd name="connsiteX8" fmla="*/ 186871 w 7197271"/>
                  <a:gd name="connsiteY8" fmla="*/ 11004550 h 17868900"/>
                  <a:gd name="connsiteX9" fmla="*/ 186871 w 7197271"/>
                  <a:gd name="connsiteY9" fmla="*/ 13182600 h 17868900"/>
                  <a:gd name="connsiteX10" fmla="*/ 0 w 7197271"/>
                  <a:gd name="connsiteY10" fmla="*/ 17366344 h 17868900"/>
                  <a:gd name="connsiteX11" fmla="*/ 1598385 w 7197271"/>
                  <a:gd name="connsiteY11" fmla="*/ 17471572 h 17868900"/>
                  <a:gd name="connsiteX12" fmla="*/ 2663371 w 7197271"/>
                  <a:gd name="connsiteY12" fmla="*/ 17411700 h 17868900"/>
                  <a:gd name="connsiteX13" fmla="*/ 2472871 w 7197271"/>
                  <a:gd name="connsiteY13" fmla="*/ 11049000 h 17868900"/>
                  <a:gd name="connsiteX14" fmla="*/ 2371271 w 7197271"/>
                  <a:gd name="connsiteY14" fmla="*/ 9575800 h 17868900"/>
                  <a:gd name="connsiteX15" fmla="*/ 2460171 w 7197271"/>
                  <a:gd name="connsiteY15" fmla="*/ 9093200 h 17868900"/>
                  <a:gd name="connsiteX16" fmla="*/ 2510971 w 7197271"/>
                  <a:gd name="connsiteY16" fmla="*/ 8420100 h 17868900"/>
                  <a:gd name="connsiteX17" fmla="*/ 2701471 w 7197271"/>
                  <a:gd name="connsiteY17" fmla="*/ 7683500 h 17868900"/>
                  <a:gd name="connsiteX18" fmla="*/ 3615871 w 7197271"/>
                  <a:gd name="connsiteY18" fmla="*/ 4038600 h 17868900"/>
                  <a:gd name="connsiteX19" fmla="*/ 3844471 w 7197271"/>
                  <a:gd name="connsiteY19" fmla="*/ 5143500 h 17868900"/>
                  <a:gd name="connsiteX20" fmla="*/ 3996871 w 7197271"/>
                  <a:gd name="connsiteY20" fmla="*/ 6972300 h 17868900"/>
                  <a:gd name="connsiteX21" fmla="*/ 4161971 w 7197271"/>
                  <a:gd name="connsiteY21" fmla="*/ 8724900 h 17868900"/>
                  <a:gd name="connsiteX22" fmla="*/ 4187371 w 7197271"/>
                  <a:gd name="connsiteY22" fmla="*/ 9982200 h 17868900"/>
                  <a:gd name="connsiteX23" fmla="*/ 4149271 w 7197271"/>
                  <a:gd name="connsiteY23" fmla="*/ 11163300 h 17868900"/>
                  <a:gd name="connsiteX24" fmla="*/ 4149271 w 7197271"/>
                  <a:gd name="connsiteY24" fmla="*/ 12801600 h 17868900"/>
                  <a:gd name="connsiteX25" fmla="*/ 4111171 w 7197271"/>
                  <a:gd name="connsiteY25" fmla="*/ 13792200 h 17868900"/>
                  <a:gd name="connsiteX26" fmla="*/ 4187371 w 7197271"/>
                  <a:gd name="connsiteY26" fmla="*/ 17792700 h 17868900"/>
                  <a:gd name="connsiteX27" fmla="*/ 6244771 w 7197271"/>
                  <a:gd name="connsiteY27" fmla="*/ 17868900 h 17868900"/>
                  <a:gd name="connsiteX28" fmla="*/ 6892471 w 7197271"/>
                  <a:gd name="connsiteY28" fmla="*/ 17754600 h 17868900"/>
                  <a:gd name="connsiteX29" fmla="*/ 6682921 w 7197271"/>
                  <a:gd name="connsiteY29" fmla="*/ 13525500 h 17868900"/>
                  <a:gd name="connsiteX30" fmla="*/ 6473371 w 7197271"/>
                  <a:gd name="connsiteY30" fmla="*/ 11410950 h 17868900"/>
                  <a:gd name="connsiteX31" fmla="*/ 6378122 w 7197271"/>
                  <a:gd name="connsiteY31" fmla="*/ 10210800 h 17868900"/>
                  <a:gd name="connsiteX32" fmla="*/ 6454321 w 7197271"/>
                  <a:gd name="connsiteY32" fmla="*/ 8820150 h 17868900"/>
                  <a:gd name="connsiteX33" fmla="*/ 6930571 w 7197271"/>
                  <a:gd name="connsiteY33" fmla="*/ 5067300 h 17868900"/>
                  <a:gd name="connsiteX34" fmla="*/ 7121071 w 7197271"/>
                  <a:gd name="connsiteY34" fmla="*/ 4038600 h 17868900"/>
                  <a:gd name="connsiteX35" fmla="*/ 7197271 w 7197271"/>
                  <a:gd name="connsiteY35" fmla="*/ 2705100 h 17868900"/>
                  <a:gd name="connsiteX36" fmla="*/ 7159171 w 7197271"/>
                  <a:gd name="connsiteY36" fmla="*/ 2019300 h 17868900"/>
                  <a:gd name="connsiteX37" fmla="*/ 6130471 w 7197271"/>
                  <a:gd name="connsiteY37" fmla="*/ 2034540 h 17868900"/>
                  <a:gd name="connsiteX38" fmla="*/ 4736011 w 7197271"/>
                  <a:gd name="connsiteY38" fmla="*/ 2095500 h 17868900"/>
                  <a:gd name="connsiteX39" fmla="*/ 4080691 w 7197271"/>
                  <a:gd name="connsiteY39" fmla="*/ 2118360 h 17868900"/>
                  <a:gd name="connsiteX40" fmla="*/ 3455851 w 7197271"/>
                  <a:gd name="connsiteY40" fmla="*/ 1661160 h 17868900"/>
                  <a:gd name="connsiteX41" fmla="*/ 3333931 w 7197271"/>
                  <a:gd name="connsiteY41" fmla="*/ 1287780 h 17868900"/>
                  <a:gd name="connsiteX42" fmla="*/ 3196771 w 7197271"/>
                  <a:gd name="connsiteY42" fmla="*/ 7620 h 17868900"/>
                  <a:gd name="connsiteX43" fmla="*/ 2815771 w 7197271"/>
                  <a:gd name="connsiteY43" fmla="*/ 0 h 17868900"/>
                  <a:gd name="connsiteX44" fmla="*/ 2366191 w 7197271"/>
                  <a:gd name="connsiteY44" fmla="*/ 1196340 h 17868900"/>
                  <a:gd name="connsiteX45" fmla="*/ 2038531 w 7197271"/>
                  <a:gd name="connsiteY45" fmla="*/ 1676400 h 17868900"/>
                  <a:gd name="connsiteX46" fmla="*/ 1809931 w 7197271"/>
                  <a:gd name="connsiteY46" fmla="*/ 1813560 h 17868900"/>
                  <a:gd name="connsiteX47" fmla="*/ 1108891 w 7197271"/>
                  <a:gd name="connsiteY47" fmla="*/ 1844040 h 17868900"/>
                  <a:gd name="connsiteX48" fmla="*/ 423091 w 7197271"/>
                  <a:gd name="connsiteY48" fmla="*/ 1623060 h 17868900"/>
                  <a:gd name="connsiteX49" fmla="*/ 461191 w 7197271"/>
                  <a:gd name="connsiteY49" fmla="*/ 1645920 h 17868900"/>
                  <a:gd name="connsiteX0" fmla="*/ 453571 w 7197271"/>
                  <a:gd name="connsiteY0" fmla="*/ 1676400 h 17868900"/>
                  <a:gd name="connsiteX1" fmla="*/ 186871 w 7197271"/>
                  <a:gd name="connsiteY1" fmla="*/ 2057400 h 17868900"/>
                  <a:gd name="connsiteX2" fmla="*/ 263071 w 7197271"/>
                  <a:gd name="connsiteY2" fmla="*/ 2438400 h 17868900"/>
                  <a:gd name="connsiteX3" fmla="*/ 491671 w 7197271"/>
                  <a:gd name="connsiteY3" fmla="*/ 2628900 h 17868900"/>
                  <a:gd name="connsiteX4" fmla="*/ 453571 w 7197271"/>
                  <a:gd name="connsiteY4" fmla="*/ 3886200 h 17868900"/>
                  <a:gd name="connsiteX5" fmla="*/ 186871 w 7197271"/>
                  <a:gd name="connsiteY5" fmla="*/ 6743700 h 17868900"/>
                  <a:gd name="connsiteX6" fmla="*/ 97971 w 7197271"/>
                  <a:gd name="connsiteY6" fmla="*/ 8267700 h 17868900"/>
                  <a:gd name="connsiteX7" fmla="*/ 167821 w 7197271"/>
                  <a:gd name="connsiteY7" fmla="*/ 10020300 h 17868900"/>
                  <a:gd name="connsiteX8" fmla="*/ 186871 w 7197271"/>
                  <a:gd name="connsiteY8" fmla="*/ 11004550 h 17868900"/>
                  <a:gd name="connsiteX9" fmla="*/ 186871 w 7197271"/>
                  <a:gd name="connsiteY9" fmla="*/ 13182600 h 17868900"/>
                  <a:gd name="connsiteX10" fmla="*/ 0 w 7197271"/>
                  <a:gd name="connsiteY10" fmla="*/ 17366344 h 17868900"/>
                  <a:gd name="connsiteX11" fmla="*/ 1598385 w 7197271"/>
                  <a:gd name="connsiteY11" fmla="*/ 17471572 h 17868900"/>
                  <a:gd name="connsiteX12" fmla="*/ 2663371 w 7197271"/>
                  <a:gd name="connsiteY12" fmla="*/ 17411700 h 17868900"/>
                  <a:gd name="connsiteX13" fmla="*/ 2472871 w 7197271"/>
                  <a:gd name="connsiteY13" fmla="*/ 11049000 h 17868900"/>
                  <a:gd name="connsiteX14" fmla="*/ 2371271 w 7197271"/>
                  <a:gd name="connsiteY14" fmla="*/ 9575800 h 17868900"/>
                  <a:gd name="connsiteX15" fmla="*/ 2460171 w 7197271"/>
                  <a:gd name="connsiteY15" fmla="*/ 9093200 h 17868900"/>
                  <a:gd name="connsiteX16" fmla="*/ 2510971 w 7197271"/>
                  <a:gd name="connsiteY16" fmla="*/ 8420100 h 17868900"/>
                  <a:gd name="connsiteX17" fmla="*/ 2701471 w 7197271"/>
                  <a:gd name="connsiteY17" fmla="*/ 7683500 h 17868900"/>
                  <a:gd name="connsiteX18" fmla="*/ 3615871 w 7197271"/>
                  <a:gd name="connsiteY18" fmla="*/ 4038600 h 17868900"/>
                  <a:gd name="connsiteX19" fmla="*/ 3844471 w 7197271"/>
                  <a:gd name="connsiteY19" fmla="*/ 5143500 h 17868900"/>
                  <a:gd name="connsiteX20" fmla="*/ 3996871 w 7197271"/>
                  <a:gd name="connsiteY20" fmla="*/ 6972300 h 17868900"/>
                  <a:gd name="connsiteX21" fmla="*/ 4161971 w 7197271"/>
                  <a:gd name="connsiteY21" fmla="*/ 8724900 h 17868900"/>
                  <a:gd name="connsiteX22" fmla="*/ 4187371 w 7197271"/>
                  <a:gd name="connsiteY22" fmla="*/ 9982200 h 17868900"/>
                  <a:gd name="connsiteX23" fmla="*/ 4149271 w 7197271"/>
                  <a:gd name="connsiteY23" fmla="*/ 11163300 h 17868900"/>
                  <a:gd name="connsiteX24" fmla="*/ 4149271 w 7197271"/>
                  <a:gd name="connsiteY24" fmla="*/ 12801600 h 17868900"/>
                  <a:gd name="connsiteX25" fmla="*/ 4111171 w 7197271"/>
                  <a:gd name="connsiteY25" fmla="*/ 13792200 h 17868900"/>
                  <a:gd name="connsiteX26" fmla="*/ 4187371 w 7197271"/>
                  <a:gd name="connsiteY26" fmla="*/ 17792700 h 17868900"/>
                  <a:gd name="connsiteX27" fmla="*/ 6244771 w 7197271"/>
                  <a:gd name="connsiteY27" fmla="*/ 17868900 h 17868900"/>
                  <a:gd name="connsiteX28" fmla="*/ 6892471 w 7197271"/>
                  <a:gd name="connsiteY28" fmla="*/ 17754600 h 17868900"/>
                  <a:gd name="connsiteX29" fmla="*/ 6682921 w 7197271"/>
                  <a:gd name="connsiteY29" fmla="*/ 13525500 h 17868900"/>
                  <a:gd name="connsiteX30" fmla="*/ 6473371 w 7197271"/>
                  <a:gd name="connsiteY30" fmla="*/ 11410950 h 17868900"/>
                  <a:gd name="connsiteX31" fmla="*/ 6378122 w 7197271"/>
                  <a:gd name="connsiteY31" fmla="*/ 10210800 h 17868900"/>
                  <a:gd name="connsiteX32" fmla="*/ 6454321 w 7197271"/>
                  <a:gd name="connsiteY32" fmla="*/ 8820150 h 17868900"/>
                  <a:gd name="connsiteX33" fmla="*/ 6930571 w 7197271"/>
                  <a:gd name="connsiteY33" fmla="*/ 5067300 h 17868900"/>
                  <a:gd name="connsiteX34" fmla="*/ 7121071 w 7197271"/>
                  <a:gd name="connsiteY34" fmla="*/ 4038600 h 17868900"/>
                  <a:gd name="connsiteX35" fmla="*/ 7197271 w 7197271"/>
                  <a:gd name="connsiteY35" fmla="*/ 2705100 h 17868900"/>
                  <a:gd name="connsiteX36" fmla="*/ 7159171 w 7197271"/>
                  <a:gd name="connsiteY36" fmla="*/ 2019300 h 17868900"/>
                  <a:gd name="connsiteX37" fmla="*/ 6130471 w 7197271"/>
                  <a:gd name="connsiteY37" fmla="*/ 2034540 h 17868900"/>
                  <a:gd name="connsiteX38" fmla="*/ 4736011 w 7197271"/>
                  <a:gd name="connsiteY38" fmla="*/ 2095500 h 17868900"/>
                  <a:gd name="connsiteX39" fmla="*/ 4111171 w 7197271"/>
                  <a:gd name="connsiteY39" fmla="*/ 2110740 h 17868900"/>
                  <a:gd name="connsiteX40" fmla="*/ 3455851 w 7197271"/>
                  <a:gd name="connsiteY40" fmla="*/ 1661160 h 17868900"/>
                  <a:gd name="connsiteX41" fmla="*/ 3333931 w 7197271"/>
                  <a:gd name="connsiteY41" fmla="*/ 1287780 h 17868900"/>
                  <a:gd name="connsiteX42" fmla="*/ 3196771 w 7197271"/>
                  <a:gd name="connsiteY42" fmla="*/ 7620 h 17868900"/>
                  <a:gd name="connsiteX43" fmla="*/ 2815771 w 7197271"/>
                  <a:gd name="connsiteY43" fmla="*/ 0 h 17868900"/>
                  <a:gd name="connsiteX44" fmla="*/ 2366191 w 7197271"/>
                  <a:gd name="connsiteY44" fmla="*/ 1196340 h 17868900"/>
                  <a:gd name="connsiteX45" fmla="*/ 2038531 w 7197271"/>
                  <a:gd name="connsiteY45" fmla="*/ 1676400 h 17868900"/>
                  <a:gd name="connsiteX46" fmla="*/ 1809931 w 7197271"/>
                  <a:gd name="connsiteY46" fmla="*/ 1813560 h 17868900"/>
                  <a:gd name="connsiteX47" fmla="*/ 1108891 w 7197271"/>
                  <a:gd name="connsiteY47" fmla="*/ 1844040 h 17868900"/>
                  <a:gd name="connsiteX48" fmla="*/ 423091 w 7197271"/>
                  <a:gd name="connsiteY48" fmla="*/ 1623060 h 17868900"/>
                  <a:gd name="connsiteX49" fmla="*/ 461191 w 7197271"/>
                  <a:gd name="connsiteY49" fmla="*/ 1645920 h 17868900"/>
                  <a:gd name="connsiteX0" fmla="*/ 453571 w 7197271"/>
                  <a:gd name="connsiteY0" fmla="*/ 1676400 h 17868900"/>
                  <a:gd name="connsiteX1" fmla="*/ 186871 w 7197271"/>
                  <a:gd name="connsiteY1" fmla="*/ 2057400 h 17868900"/>
                  <a:gd name="connsiteX2" fmla="*/ 263071 w 7197271"/>
                  <a:gd name="connsiteY2" fmla="*/ 2438400 h 17868900"/>
                  <a:gd name="connsiteX3" fmla="*/ 491671 w 7197271"/>
                  <a:gd name="connsiteY3" fmla="*/ 2628900 h 17868900"/>
                  <a:gd name="connsiteX4" fmla="*/ 453571 w 7197271"/>
                  <a:gd name="connsiteY4" fmla="*/ 3886200 h 17868900"/>
                  <a:gd name="connsiteX5" fmla="*/ 186871 w 7197271"/>
                  <a:gd name="connsiteY5" fmla="*/ 6743700 h 17868900"/>
                  <a:gd name="connsiteX6" fmla="*/ 97971 w 7197271"/>
                  <a:gd name="connsiteY6" fmla="*/ 8267700 h 17868900"/>
                  <a:gd name="connsiteX7" fmla="*/ 167821 w 7197271"/>
                  <a:gd name="connsiteY7" fmla="*/ 10020300 h 17868900"/>
                  <a:gd name="connsiteX8" fmla="*/ 186871 w 7197271"/>
                  <a:gd name="connsiteY8" fmla="*/ 11004550 h 17868900"/>
                  <a:gd name="connsiteX9" fmla="*/ 186871 w 7197271"/>
                  <a:gd name="connsiteY9" fmla="*/ 13182600 h 17868900"/>
                  <a:gd name="connsiteX10" fmla="*/ 0 w 7197271"/>
                  <a:gd name="connsiteY10" fmla="*/ 17366344 h 17868900"/>
                  <a:gd name="connsiteX11" fmla="*/ 1598385 w 7197271"/>
                  <a:gd name="connsiteY11" fmla="*/ 17471572 h 17868900"/>
                  <a:gd name="connsiteX12" fmla="*/ 2663371 w 7197271"/>
                  <a:gd name="connsiteY12" fmla="*/ 17411700 h 17868900"/>
                  <a:gd name="connsiteX13" fmla="*/ 2472871 w 7197271"/>
                  <a:gd name="connsiteY13" fmla="*/ 11049000 h 17868900"/>
                  <a:gd name="connsiteX14" fmla="*/ 2371271 w 7197271"/>
                  <a:gd name="connsiteY14" fmla="*/ 9575800 h 17868900"/>
                  <a:gd name="connsiteX15" fmla="*/ 2460171 w 7197271"/>
                  <a:gd name="connsiteY15" fmla="*/ 9093200 h 17868900"/>
                  <a:gd name="connsiteX16" fmla="*/ 2510971 w 7197271"/>
                  <a:gd name="connsiteY16" fmla="*/ 8420100 h 17868900"/>
                  <a:gd name="connsiteX17" fmla="*/ 2701471 w 7197271"/>
                  <a:gd name="connsiteY17" fmla="*/ 7683500 h 17868900"/>
                  <a:gd name="connsiteX18" fmla="*/ 3615871 w 7197271"/>
                  <a:gd name="connsiteY18" fmla="*/ 4038600 h 17868900"/>
                  <a:gd name="connsiteX19" fmla="*/ 3844471 w 7197271"/>
                  <a:gd name="connsiteY19" fmla="*/ 5143500 h 17868900"/>
                  <a:gd name="connsiteX20" fmla="*/ 3996871 w 7197271"/>
                  <a:gd name="connsiteY20" fmla="*/ 6972300 h 17868900"/>
                  <a:gd name="connsiteX21" fmla="*/ 4161971 w 7197271"/>
                  <a:gd name="connsiteY21" fmla="*/ 8724900 h 17868900"/>
                  <a:gd name="connsiteX22" fmla="*/ 4187371 w 7197271"/>
                  <a:gd name="connsiteY22" fmla="*/ 9982200 h 17868900"/>
                  <a:gd name="connsiteX23" fmla="*/ 4149271 w 7197271"/>
                  <a:gd name="connsiteY23" fmla="*/ 11163300 h 17868900"/>
                  <a:gd name="connsiteX24" fmla="*/ 4149271 w 7197271"/>
                  <a:gd name="connsiteY24" fmla="*/ 12801600 h 17868900"/>
                  <a:gd name="connsiteX25" fmla="*/ 4111171 w 7197271"/>
                  <a:gd name="connsiteY25" fmla="*/ 13792200 h 17868900"/>
                  <a:gd name="connsiteX26" fmla="*/ 4187371 w 7197271"/>
                  <a:gd name="connsiteY26" fmla="*/ 17792700 h 17868900"/>
                  <a:gd name="connsiteX27" fmla="*/ 6244771 w 7197271"/>
                  <a:gd name="connsiteY27" fmla="*/ 17868900 h 17868900"/>
                  <a:gd name="connsiteX28" fmla="*/ 6892471 w 7197271"/>
                  <a:gd name="connsiteY28" fmla="*/ 17754600 h 17868900"/>
                  <a:gd name="connsiteX29" fmla="*/ 6682921 w 7197271"/>
                  <a:gd name="connsiteY29" fmla="*/ 13525500 h 17868900"/>
                  <a:gd name="connsiteX30" fmla="*/ 6473371 w 7197271"/>
                  <a:gd name="connsiteY30" fmla="*/ 11410950 h 17868900"/>
                  <a:gd name="connsiteX31" fmla="*/ 6378122 w 7197271"/>
                  <a:gd name="connsiteY31" fmla="*/ 10210800 h 17868900"/>
                  <a:gd name="connsiteX32" fmla="*/ 6454321 w 7197271"/>
                  <a:gd name="connsiteY32" fmla="*/ 8820150 h 17868900"/>
                  <a:gd name="connsiteX33" fmla="*/ 6930571 w 7197271"/>
                  <a:gd name="connsiteY33" fmla="*/ 5067300 h 17868900"/>
                  <a:gd name="connsiteX34" fmla="*/ 7121071 w 7197271"/>
                  <a:gd name="connsiteY34" fmla="*/ 4038600 h 17868900"/>
                  <a:gd name="connsiteX35" fmla="*/ 7197271 w 7197271"/>
                  <a:gd name="connsiteY35" fmla="*/ 2705100 h 17868900"/>
                  <a:gd name="connsiteX36" fmla="*/ 7159171 w 7197271"/>
                  <a:gd name="connsiteY36" fmla="*/ 2019300 h 17868900"/>
                  <a:gd name="connsiteX37" fmla="*/ 6176191 w 7197271"/>
                  <a:gd name="connsiteY37" fmla="*/ 2004060 h 17868900"/>
                  <a:gd name="connsiteX38" fmla="*/ 4736011 w 7197271"/>
                  <a:gd name="connsiteY38" fmla="*/ 2095500 h 17868900"/>
                  <a:gd name="connsiteX39" fmla="*/ 4111171 w 7197271"/>
                  <a:gd name="connsiteY39" fmla="*/ 2110740 h 17868900"/>
                  <a:gd name="connsiteX40" fmla="*/ 3455851 w 7197271"/>
                  <a:gd name="connsiteY40" fmla="*/ 1661160 h 17868900"/>
                  <a:gd name="connsiteX41" fmla="*/ 3333931 w 7197271"/>
                  <a:gd name="connsiteY41" fmla="*/ 1287780 h 17868900"/>
                  <a:gd name="connsiteX42" fmla="*/ 3196771 w 7197271"/>
                  <a:gd name="connsiteY42" fmla="*/ 7620 h 17868900"/>
                  <a:gd name="connsiteX43" fmla="*/ 2815771 w 7197271"/>
                  <a:gd name="connsiteY43" fmla="*/ 0 h 17868900"/>
                  <a:gd name="connsiteX44" fmla="*/ 2366191 w 7197271"/>
                  <a:gd name="connsiteY44" fmla="*/ 1196340 h 17868900"/>
                  <a:gd name="connsiteX45" fmla="*/ 2038531 w 7197271"/>
                  <a:gd name="connsiteY45" fmla="*/ 1676400 h 17868900"/>
                  <a:gd name="connsiteX46" fmla="*/ 1809931 w 7197271"/>
                  <a:gd name="connsiteY46" fmla="*/ 1813560 h 17868900"/>
                  <a:gd name="connsiteX47" fmla="*/ 1108891 w 7197271"/>
                  <a:gd name="connsiteY47" fmla="*/ 1844040 h 17868900"/>
                  <a:gd name="connsiteX48" fmla="*/ 423091 w 7197271"/>
                  <a:gd name="connsiteY48" fmla="*/ 1623060 h 17868900"/>
                  <a:gd name="connsiteX49" fmla="*/ 461191 w 7197271"/>
                  <a:gd name="connsiteY49" fmla="*/ 1645920 h 17868900"/>
                  <a:gd name="connsiteX0" fmla="*/ 453571 w 7197271"/>
                  <a:gd name="connsiteY0" fmla="*/ 1676400 h 17868900"/>
                  <a:gd name="connsiteX1" fmla="*/ 186871 w 7197271"/>
                  <a:gd name="connsiteY1" fmla="*/ 2057400 h 17868900"/>
                  <a:gd name="connsiteX2" fmla="*/ 263071 w 7197271"/>
                  <a:gd name="connsiteY2" fmla="*/ 2438400 h 17868900"/>
                  <a:gd name="connsiteX3" fmla="*/ 491671 w 7197271"/>
                  <a:gd name="connsiteY3" fmla="*/ 2628900 h 17868900"/>
                  <a:gd name="connsiteX4" fmla="*/ 453571 w 7197271"/>
                  <a:gd name="connsiteY4" fmla="*/ 3886200 h 17868900"/>
                  <a:gd name="connsiteX5" fmla="*/ 186871 w 7197271"/>
                  <a:gd name="connsiteY5" fmla="*/ 6743700 h 17868900"/>
                  <a:gd name="connsiteX6" fmla="*/ 97971 w 7197271"/>
                  <a:gd name="connsiteY6" fmla="*/ 8267700 h 17868900"/>
                  <a:gd name="connsiteX7" fmla="*/ 167821 w 7197271"/>
                  <a:gd name="connsiteY7" fmla="*/ 10020300 h 17868900"/>
                  <a:gd name="connsiteX8" fmla="*/ 186871 w 7197271"/>
                  <a:gd name="connsiteY8" fmla="*/ 11004550 h 17868900"/>
                  <a:gd name="connsiteX9" fmla="*/ 186871 w 7197271"/>
                  <a:gd name="connsiteY9" fmla="*/ 13182600 h 17868900"/>
                  <a:gd name="connsiteX10" fmla="*/ 0 w 7197271"/>
                  <a:gd name="connsiteY10" fmla="*/ 17366344 h 17868900"/>
                  <a:gd name="connsiteX11" fmla="*/ 1598385 w 7197271"/>
                  <a:gd name="connsiteY11" fmla="*/ 17471572 h 17868900"/>
                  <a:gd name="connsiteX12" fmla="*/ 2663371 w 7197271"/>
                  <a:gd name="connsiteY12" fmla="*/ 17411700 h 17868900"/>
                  <a:gd name="connsiteX13" fmla="*/ 2472871 w 7197271"/>
                  <a:gd name="connsiteY13" fmla="*/ 11049000 h 17868900"/>
                  <a:gd name="connsiteX14" fmla="*/ 2371271 w 7197271"/>
                  <a:gd name="connsiteY14" fmla="*/ 9575800 h 17868900"/>
                  <a:gd name="connsiteX15" fmla="*/ 2460171 w 7197271"/>
                  <a:gd name="connsiteY15" fmla="*/ 9093200 h 17868900"/>
                  <a:gd name="connsiteX16" fmla="*/ 2510971 w 7197271"/>
                  <a:gd name="connsiteY16" fmla="*/ 8420100 h 17868900"/>
                  <a:gd name="connsiteX17" fmla="*/ 2701471 w 7197271"/>
                  <a:gd name="connsiteY17" fmla="*/ 7683500 h 17868900"/>
                  <a:gd name="connsiteX18" fmla="*/ 3615871 w 7197271"/>
                  <a:gd name="connsiteY18" fmla="*/ 4038600 h 17868900"/>
                  <a:gd name="connsiteX19" fmla="*/ 3844471 w 7197271"/>
                  <a:gd name="connsiteY19" fmla="*/ 5143500 h 17868900"/>
                  <a:gd name="connsiteX20" fmla="*/ 3996871 w 7197271"/>
                  <a:gd name="connsiteY20" fmla="*/ 6972300 h 17868900"/>
                  <a:gd name="connsiteX21" fmla="*/ 4161971 w 7197271"/>
                  <a:gd name="connsiteY21" fmla="*/ 8724900 h 17868900"/>
                  <a:gd name="connsiteX22" fmla="*/ 4187371 w 7197271"/>
                  <a:gd name="connsiteY22" fmla="*/ 9982200 h 17868900"/>
                  <a:gd name="connsiteX23" fmla="*/ 4149271 w 7197271"/>
                  <a:gd name="connsiteY23" fmla="*/ 11163300 h 17868900"/>
                  <a:gd name="connsiteX24" fmla="*/ 4149271 w 7197271"/>
                  <a:gd name="connsiteY24" fmla="*/ 12801600 h 17868900"/>
                  <a:gd name="connsiteX25" fmla="*/ 4111171 w 7197271"/>
                  <a:gd name="connsiteY25" fmla="*/ 13792200 h 17868900"/>
                  <a:gd name="connsiteX26" fmla="*/ 4187371 w 7197271"/>
                  <a:gd name="connsiteY26" fmla="*/ 17792700 h 17868900"/>
                  <a:gd name="connsiteX27" fmla="*/ 6244771 w 7197271"/>
                  <a:gd name="connsiteY27" fmla="*/ 17868900 h 17868900"/>
                  <a:gd name="connsiteX28" fmla="*/ 6892471 w 7197271"/>
                  <a:gd name="connsiteY28" fmla="*/ 17754600 h 17868900"/>
                  <a:gd name="connsiteX29" fmla="*/ 6682921 w 7197271"/>
                  <a:gd name="connsiteY29" fmla="*/ 13525500 h 17868900"/>
                  <a:gd name="connsiteX30" fmla="*/ 6473371 w 7197271"/>
                  <a:gd name="connsiteY30" fmla="*/ 11410950 h 17868900"/>
                  <a:gd name="connsiteX31" fmla="*/ 6378122 w 7197271"/>
                  <a:gd name="connsiteY31" fmla="*/ 10210800 h 17868900"/>
                  <a:gd name="connsiteX32" fmla="*/ 6454321 w 7197271"/>
                  <a:gd name="connsiteY32" fmla="*/ 8820150 h 17868900"/>
                  <a:gd name="connsiteX33" fmla="*/ 6930571 w 7197271"/>
                  <a:gd name="connsiteY33" fmla="*/ 5067300 h 17868900"/>
                  <a:gd name="connsiteX34" fmla="*/ 7121071 w 7197271"/>
                  <a:gd name="connsiteY34" fmla="*/ 4038600 h 17868900"/>
                  <a:gd name="connsiteX35" fmla="*/ 7197271 w 7197271"/>
                  <a:gd name="connsiteY35" fmla="*/ 2705100 h 17868900"/>
                  <a:gd name="connsiteX36" fmla="*/ 7159171 w 7197271"/>
                  <a:gd name="connsiteY36" fmla="*/ 2019300 h 17868900"/>
                  <a:gd name="connsiteX37" fmla="*/ 6176191 w 7197271"/>
                  <a:gd name="connsiteY37" fmla="*/ 2004060 h 17868900"/>
                  <a:gd name="connsiteX38" fmla="*/ 4736011 w 7197271"/>
                  <a:gd name="connsiteY38" fmla="*/ 2095500 h 17868900"/>
                  <a:gd name="connsiteX39" fmla="*/ 4111171 w 7197271"/>
                  <a:gd name="connsiteY39" fmla="*/ 2110740 h 17868900"/>
                  <a:gd name="connsiteX40" fmla="*/ 3455851 w 7197271"/>
                  <a:gd name="connsiteY40" fmla="*/ 1661160 h 17868900"/>
                  <a:gd name="connsiteX41" fmla="*/ 3333931 w 7197271"/>
                  <a:gd name="connsiteY41" fmla="*/ 1287780 h 17868900"/>
                  <a:gd name="connsiteX42" fmla="*/ 3196771 w 7197271"/>
                  <a:gd name="connsiteY42" fmla="*/ 7620 h 17868900"/>
                  <a:gd name="connsiteX43" fmla="*/ 2815771 w 7197271"/>
                  <a:gd name="connsiteY43" fmla="*/ 0 h 17868900"/>
                  <a:gd name="connsiteX44" fmla="*/ 2366191 w 7197271"/>
                  <a:gd name="connsiteY44" fmla="*/ 1196340 h 17868900"/>
                  <a:gd name="connsiteX45" fmla="*/ 2038531 w 7197271"/>
                  <a:gd name="connsiteY45" fmla="*/ 1676400 h 17868900"/>
                  <a:gd name="connsiteX46" fmla="*/ 1809931 w 7197271"/>
                  <a:gd name="connsiteY46" fmla="*/ 1813560 h 17868900"/>
                  <a:gd name="connsiteX47" fmla="*/ 1108891 w 7197271"/>
                  <a:gd name="connsiteY47" fmla="*/ 1844040 h 17868900"/>
                  <a:gd name="connsiteX48" fmla="*/ 423091 w 7197271"/>
                  <a:gd name="connsiteY48" fmla="*/ 1623060 h 17868900"/>
                  <a:gd name="connsiteX49" fmla="*/ 461191 w 7197271"/>
                  <a:gd name="connsiteY49" fmla="*/ 1645920 h 17868900"/>
                  <a:gd name="connsiteX0" fmla="*/ 453571 w 7197271"/>
                  <a:gd name="connsiteY0" fmla="*/ 1676400 h 17868900"/>
                  <a:gd name="connsiteX1" fmla="*/ 186871 w 7197271"/>
                  <a:gd name="connsiteY1" fmla="*/ 2057400 h 17868900"/>
                  <a:gd name="connsiteX2" fmla="*/ 263071 w 7197271"/>
                  <a:gd name="connsiteY2" fmla="*/ 2438400 h 17868900"/>
                  <a:gd name="connsiteX3" fmla="*/ 491671 w 7197271"/>
                  <a:gd name="connsiteY3" fmla="*/ 2628900 h 17868900"/>
                  <a:gd name="connsiteX4" fmla="*/ 453571 w 7197271"/>
                  <a:gd name="connsiteY4" fmla="*/ 3886200 h 17868900"/>
                  <a:gd name="connsiteX5" fmla="*/ 186871 w 7197271"/>
                  <a:gd name="connsiteY5" fmla="*/ 6743700 h 17868900"/>
                  <a:gd name="connsiteX6" fmla="*/ 97971 w 7197271"/>
                  <a:gd name="connsiteY6" fmla="*/ 8267700 h 17868900"/>
                  <a:gd name="connsiteX7" fmla="*/ 167821 w 7197271"/>
                  <a:gd name="connsiteY7" fmla="*/ 10020300 h 17868900"/>
                  <a:gd name="connsiteX8" fmla="*/ 186871 w 7197271"/>
                  <a:gd name="connsiteY8" fmla="*/ 11004550 h 17868900"/>
                  <a:gd name="connsiteX9" fmla="*/ 186871 w 7197271"/>
                  <a:gd name="connsiteY9" fmla="*/ 13182600 h 17868900"/>
                  <a:gd name="connsiteX10" fmla="*/ 0 w 7197271"/>
                  <a:gd name="connsiteY10" fmla="*/ 17366344 h 17868900"/>
                  <a:gd name="connsiteX11" fmla="*/ 1598385 w 7197271"/>
                  <a:gd name="connsiteY11" fmla="*/ 17471572 h 17868900"/>
                  <a:gd name="connsiteX12" fmla="*/ 2663371 w 7197271"/>
                  <a:gd name="connsiteY12" fmla="*/ 17411700 h 17868900"/>
                  <a:gd name="connsiteX13" fmla="*/ 2472871 w 7197271"/>
                  <a:gd name="connsiteY13" fmla="*/ 11049000 h 17868900"/>
                  <a:gd name="connsiteX14" fmla="*/ 2371271 w 7197271"/>
                  <a:gd name="connsiteY14" fmla="*/ 9575800 h 17868900"/>
                  <a:gd name="connsiteX15" fmla="*/ 2460171 w 7197271"/>
                  <a:gd name="connsiteY15" fmla="*/ 9093200 h 17868900"/>
                  <a:gd name="connsiteX16" fmla="*/ 2510971 w 7197271"/>
                  <a:gd name="connsiteY16" fmla="*/ 8420100 h 17868900"/>
                  <a:gd name="connsiteX17" fmla="*/ 2701471 w 7197271"/>
                  <a:gd name="connsiteY17" fmla="*/ 7683500 h 17868900"/>
                  <a:gd name="connsiteX18" fmla="*/ 3615871 w 7197271"/>
                  <a:gd name="connsiteY18" fmla="*/ 4038600 h 17868900"/>
                  <a:gd name="connsiteX19" fmla="*/ 3844471 w 7197271"/>
                  <a:gd name="connsiteY19" fmla="*/ 5143500 h 17868900"/>
                  <a:gd name="connsiteX20" fmla="*/ 3996871 w 7197271"/>
                  <a:gd name="connsiteY20" fmla="*/ 6972300 h 17868900"/>
                  <a:gd name="connsiteX21" fmla="*/ 4161971 w 7197271"/>
                  <a:gd name="connsiteY21" fmla="*/ 8724900 h 17868900"/>
                  <a:gd name="connsiteX22" fmla="*/ 4187371 w 7197271"/>
                  <a:gd name="connsiteY22" fmla="*/ 9982200 h 17868900"/>
                  <a:gd name="connsiteX23" fmla="*/ 4149271 w 7197271"/>
                  <a:gd name="connsiteY23" fmla="*/ 11163300 h 17868900"/>
                  <a:gd name="connsiteX24" fmla="*/ 4149271 w 7197271"/>
                  <a:gd name="connsiteY24" fmla="*/ 12801600 h 17868900"/>
                  <a:gd name="connsiteX25" fmla="*/ 4111171 w 7197271"/>
                  <a:gd name="connsiteY25" fmla="*/ 13792200 h 17868900"/>
                  <a:gd name="connsiteX26" fmla="*/ 4187371 w 7197271"/>
                  <a:gd name="connsiteY26" fmla="*/ 17792700 h 17868900"/>
                  <a:gd name="connsiteX27" fmla="*/ 6244771 w 7197271"/>
                  <a:gd name="connsiteY27" fmla="*/ 17868900 h 17868900"/>
                  <a:gd name="connsiteX28" fmla="*/ 6892471 w 7197271"/>
                  <a:gd name="connsiteY28" fmla="*/ 17754600 h 17868900"/>
                  <a:gd name="connsiteX29" fmla="*/ 6682921 w 7197271"/>
                  <a:gd name="connsiteY29" fmla="*/ 13525500 h 17868900"/>
                  <a:gd name="connsiteX30" fmla="*/ 6473371 w 7197271"/>
                  <a:gd name="connsiteY30" fmla="*/ 11410950 h 17868900"/>
                  <a:gd name="connsiteX31" fmla="*/ 6378122 w 7197271"/>
                  <a:gd name="connsiteY31" fmla="*/ 10210800 h 17868900"/>
                  <a:gd name="connsiteX32" fmla="*/ 6454321 w 7197271"/>
                  <a:gd name="connsiteY32" fmla="*/ 8820150 h 17868900"/>
                  <a:gd name="connsiteX33" fmla="*/ 6930571 w 7197271"/>
                  <a:gd name="connsiteY33" fmla="*/ 5067300 h 17868900"/>
                  <a:gd name="connsiteX34" fmla="*/ 7121071 w 7197271"/>
                  <a:gd name="connsiteY34" fmla="*/ 4038600 h 17868900"/>
                  <a:gd name="connsiteX35" fmla="*/ 7197271 w 7197271"/>
                  <a:gd name="connsiteY35" fmla="*/ 2705100 h 17868900"/>
                  <a:gd name="connsiteX36" fmla="*/ 7159171 w 7197271"/>
                  <a:gd name="connsiteY36" fmla="*/ 2019300 h 17868900"/>
                  <a:gd name="connsiteX37" fmla="*/ 6176191 w 7197271"/>
                  <a:gd name="connsiteY37" fmla="*/ 2004060 h 17868900"/>
                  <a:gd name="connsiteX38" fmla="*/ 4736011 w 7197271"/>
                  <a:gd name="connsiteY38" fmla="*/ 2095500 h 17868900"/>
                  <a:gd name="connsiteX39" fmla="*/ 4111171 w 7197271"/>
                  <a:gd name="connsiteY39" fmla="*/ 2110740 h 17868900"/>
                  <a:gd name="connsiteX40" fmla="*/ 3455851 w 7197271"/>
                  <a:gd name="connsiteY40" fmla="*/ 1661160 h 17868900"/>
                  <a:gd name="connsiteX41" fmla="*/ 3333931 w 7197271"/>
                  <a:gd name="connsiteY41" fmla="*/ 1287780 h 17868900"/>
                  <a:gd name="connsiteX42" fmla="*/ 3196771 w 7197271"/>
                  <a:gd name="connsiteY42" fmla="*/ 7620 h 17868900"/>
                  <a:gd name="connsiteX43" fmla="*/ 2815771 w 7197271"/>
                  <a:gd name="connsiteY43" fmla="*/ 0 h 17868900"/>
                  <a:gd name="connsiteX44" fmla="*/ 2328091 w 7197271"/>
                  <a:gd name="connsiteY44" fmla="*/ 1158240 h 17868900"/>
                  <a:gd name="connsiteX45" fmla="*/ 2038531 w 7197271"/>
                  <a:gd name="connsiteY45" fmla="*/ 1676400 h 17868900"/>
                  <a:gd name="connsiteX46" fmla="*/ 1809931 w 7197271"/>
                  <a:gd name="connsiteY46" fmla="*/ 1813560 h 17868900"/>
                  <a:gd name="connsiteX47" fmla="*/ 1108891 w 7197271"/>
                  <a:gd name="connsiteY47" fmla="*/ 1844040 h 17868900"/>
                  <a:gd name="connsiteX48" fmla="*/ 423091 w 7197271"/>
                  <a:gd name="connsiteY48" fmla="*/ 1623060 h 17868900"/>
                  <a:gd name="connsiteX49" fmla="*/ 461191 w 7197271"/>
                  <a:gd name="connsiteY49" fmla="*/ 1645920 h 17868900"/>
                  <a:gd name="connsiteX0" fmla="*/ 453571 w 7197271"/>
                  <a:gd name="connsiteY0" fmla="*/ 1676400 h 17868900"/>
                  <a:gd name="connsiteX1" fmla="*/ 186871 w 7197271"/>
                  <a:gd name="connsiteY1" fmla="*/ 2057400 h 17868900"/>
                  <a:gd name="connsiteX2" fmla="*/ 263071 w 7197271"/>
                  <a:gd name="connsiteY2" fmla="*/ 2438400 h 17868900"/>
                  <a:gd name="connsiteX3" fmla="*/ 491671 w 7197271"/>
                  <a:gd name="connsiteY3" fmla="*/ 2628900 h 17868900"/>
                  <a:gd name="connsiteX4" fmla="*/ 453571 w 7197271"/>
                  <a:gd name="connsiteY4" fmla="*/ 3886200 h 17868900"/>
                  <a:gd name="connsiteX5" fmla="*/ 186871 w 7197271"/>
                  <a:gd name="connsiteY5" fmla="*/ 6743700 h 17868900"/>
                  <a:gd name="connsiteX6" fmla="*/ 97971 w 7197271"/>
                  <a:gd name="connsiteY6" fmla="*/ 8267700 h 17868900"/>
                  <a:gd name="connsiteX7" fmla="*/ 167821 w 7197271"/>
                  <a:gd name="connsiteY7" fmla="*/ 10020300 h 17868900"/>
                  <a:gd name="connsiteX8" fmla="*/ 186871 w 7197271"/>
                  <a:gd name="connsiteY8" fmla="*/ 11004550 h 17868900"/>
                  <a:gd name="connsiteX9" fmla="*/ 186871 w 7197271"/>
                  <a:gd name="connsiteY9" fmla="*/ 13182600 h 17868900"/>
                  <a:gd name="connsiteX10" fmla="*/ 0 w 7197271"/>
                  <a:gd name="connsiteY10" fmla="*/ 17366344 h 17868900"/>
                  <a:gd name="connsiteX11" fmla="*/ 1598385 w 7197271"/>
                  <a:gd name="connsiteY11" fmla="*/ 17471572 h 17868900"/>
                  <a:gd name="connsiteX12" fmla="*/ 2663371 w 7197271"/>
                  <a:gd name="connsiteY12" fmla="*/ 17411700 h 17868900"/>
                  <a:gd name="connsiteX13" fmla="*/ 2472871 w 7197271"/>
                  <a:gd name="connsiteY13" fmla="*/ 11049000 h 17868900"/>
                  <a:gd name="connsiteX14" fmla="*/ 2371271 w 7197271"/>
                  <a:gd name="connsiteY14" fmla="*/ 9575800 h 17868900"/>
                  <a:gd name="connsiteX15" fmla="*/ 2460171 w 7197271"/>
                  <a:gd name="connsiteY15" fmla="*/ 9093200 h 17868900"/>
                  <a:gd name="connsiteX16" fmla="*/ 2510971 w 7197271"/>
                  <a:gd name="connsiteY16" fmla="*/ 8420100 h 17868900"/>
                  <a:gd name="connsiteX17" fmla="*/ 2701471 w 7197271"/>
                  <a:gd name="connsiteY17" fmla="*/ 7683500 h 17868900"/>
                  <a:gd name="connsiteX18" fmla="*/ 3615871 w 7197271"/>
                  <a:gd name="connsiteY18" fmla="*/ 4038600 h 17868900"/>
                  <a:gd name="connsiteX19" fmla="*/ 3844471 w 7197271"/>
                  <a:gd name="connsiteY19" fmla="*/ 5143500 h 17868900"/>
                  <a:gd name="connsiteX20" fmla="*/ 3996871 w 7197271"/>
                  <a:gd name="connsiteY20" fmla="*/ 6972300 h 17868900"/>
                  <a:gd name="connsiteX21" fmla="*/ 4161971 w 7197271"/>
                  <a:gd name="connsiteY21" fmla="*/ 8724900 h 17868900"/>
                  <a:gd name="connsiteX22" fmla="*/ 4187371 w 7197271"/>
                  <a:gd name="connsiteY22" fmla="*/ 9982200 h 17868900"/>
                  <a:gd name="connsiteX23" fmla="*/ 4149271 w 7197271"/>
                  <a:gd name="connsiteY23" fmla="*/ 11163300 h 17868900"/>
                  <a:gd name="connsiteX24" fmla="*/ 4149271 w 7197271"/>
                  <a:gd name="connsiteY24" fmla="*/ 12801600 h 17868900"/>
                  <a:gd name="connsiteX25" fmla="*/ 4111171 w 7197271"/>
                  <a:gd name="connsiteY25" fmla="*/ 13792200 h 17868900"/>
                  <a:gd name="connsiteX26" fmla="*/ 4187371 w 7197271"/>
                  <a:gd name="connsiteY26" fmla="*/ 17792700 h 17868900"/>
                  <a:gd name="connsiteX27" fmla="*/ 6244771 w 7197271"/>
                  <a:gd name="connsiteY27" fmla="*/ 17868900 h 17868900"/>
                  <a:gd name="connsiteX28" fmla="*/ 6892471 w 7197271"/>
                  <a:gd name="connsiteY28" fmla="*/ 17754600 h 17868900"/>
                  <a:gd name="connsiteX29" fmla="*/ 6682921 w 7197271"/>
                  <a:gd name="connsiteY29" fmla="*/ 13525500 h 17868900"/>
                  <a:gd name="connsiteX30" fmla="*/ 6473371 w 7197271"/>
                  <a:gd name="connsiteY30" fmla="*/ 11410950 h 17868900"/>
                  <a:gd name="connsiteX31" fmla="*/ 6378122 w 7197271"/>
                  <a:gd name="connsiteY31" fmla="*/ 10210800 h 17868900"/>
                  <a:gd name="connsiteX32" fmla="*/ 6454321 w 7197271"/>
                  <a:gd name="connsiteY32" fmla="*/ 8820150 h 17868900"/>
                  <a:gd name="connsiteX33" fmla="*/ 6930571 w 7197271"/>
                  <a:gd name="connsiteY33" fmla="*/ 5067300 h 17868900"/>
                  <a:gd name="connsiteX34" fmla="*/ 7121071 w 7197271"/>
                  <a:gd name="connsiteY34" fmla="*/ 4038600 h 17868900"/>
                  <a:gd name="connsiteX35" fmla="*/ 7197271 w 7197271"/>
                  <a:gd name="connsiteY35" fmla="*/ 2705100 h 17868900"/>
                  <a:gd name="connsiteX36" fmla="*/ 7159171 w 7197271"/>
                  <a:gd name="connsiteY36" fmla="*/ 2019300 h 17868900"/>
                  <a:gd name="connsiteX37" fmla="*/ 6176191 w 7197271"/>
                  <a:gd name="connsiteY37" fmla="*/ 2004060 h 17868900"/>
                  <a:gd name="connsiteX38" fmla="*/ 4736011 w 7197271"/>
                  <a:gd name="connsiteY38" fmla="*/ 2095500 h 17868900"/>
                  <a:gd name="connsiteX39" fmla="*/ 4111171 w 7197271"/>
                  <a:gd name="connsiteY39" fmla="*/ 2110740 h 17868900"/>
                  <a:gd name="connsiteX40" fmla="*/ 3455851 w 7197271"/>
                  <a:gd name="connsiteY40" fmla="*/ 1661160 h 17868900"/>
                  <a:gd name="connsiteX41" fmla="*/ 3333931 w 7197271"/>
                  <a:gd name="connsiteY41" fmla="*/ 1287780 h 17868900"/>
                  <a:gd name="connsiteX42" fmla="*/ 3196771 w 7197271"/>
                  <a:gd name="connsiteY42" fmla="*/ 7620 h 17868900"/>
                  <a:gd name="connsiteX43" fmla="*/ 2815771 w 7197271"/>
                  <a:gd name="connsiteY43" fmla="*/ 0 h 17868900"/>
                  <a:gd name="connsiteX44" fmla="*/ 2328091 w 7197271"/>
                  <a:gd name="connsiteY44" fmla="*/ 1158240 h 17868900"/>
                  <a:gd name="connsiteX45" fmla="*/ 2038531 w 7197271"/>
                  <a:gd name="connsiteY45" fmla="*/ 1676400 h 17868900"/>
                  <a:gd name="connsiteX46" fmla="*/ 1809931 w 7197271"/>
                  <a:gd name="connsiteY46" fmla="*/ 1813560 h 17868900"/>
                  <a:gd name="connsiteX47" fmla="*/ 1108891 w 7197271"/>
                  <a:gd name="connsiteY47" fmla="*/ 1844040 h 17868900"/>
                  <a:gd name="connsiteX48" fmla="*/ 423091 w 7197271"/>
                  <a:gd name="connsiteY48" fmla="*/ 1623060 h 17868900"/>
                  <a:gd name="connsiteX49" fmla="*/ 461191 w 7197271"/>
                  <a:gd name="connsiteY49" fmla="*/ 1645920 h 17868900"/>
                  <a:gd name="connsiteX0" fmla="*/ 453571 w 7197271"/>
                  <a:gd name="connsiteY0" fmla="*/ 1676400 h 17868900"/>
                  <a:gd name="connsiteX1" fmla="*/ 186871 w 7197271"/>
                  <a:gd name="connsiteY1" fmla="*/ 2057400 h 17868900"/>
                  <a:gd name="connsiteX2" fmla="*/ 263071 w 7197271"/>
                  <a:gd name="connsiteY2" fmla="*/ 2438400 h 17868900"/>
                  <a:gd name="connsiteX3" fmla="*/ 491671 w 7197271"/>
                  <a:gd name="connsiteY3" fmla="*/ 2628900 h 17868900"/>
                  <a:gd name="connsiteX4" fmla="*/ 453571 w 7197271"/>
                  <a:gd name="connsiteY4" fmla="*/ 3886200 h 17868900"/>
                  <a:gd name="connsiteX5" fmla="*/ 186871 w 7197271"/>
                  <a:gd name="connsiteY5" fmla="*/ 6743700 h 17868900"/>
                  <a:gd name="connsiteX6" fmla="*/ 97971 w 7197271"/>
                  <a:gd name="connsiteY6" fmla="*/ 8267700 h 17868900"/>
                  <a:gd name="connsiteX7" fmla="*/ 167821 w 7197271"/>
                  <a:gd name="connsiteY7" fmla="*/ 10020300 h 17868900"/>
                  <a:gd name="connsiteX8" fmla="*/ 186871 w 7197271"/>
                  <a:gd name="connsiteY8" fmla="*/ 11004550 h 17868900"/>
                  <a:gd name="connsiteX9" fmla="*/ 186871 w 7197271"/>
                  <a:gd name="connsiteY9" fmla="*/ 13182600 h 17868900"/>
                  <a:gd name="connsiteX10" fmla="*/ 0 w 7197271"/>
                  <a:gd name="connsiteY10" fmla="*/ 17366344 h 17868900"/>
                  <a:gd name="connsiteX11" fmla="*/ 1598385 w 7197271"/>
                  <a:gd name="connsiteY11" fmla="*/ 17471572 h 17868900"/>
                  <a:gd name="connsiteX12" fmla="*/ 2663371 w 7197271"/>
                  <a:gd name="connsiteY12" fmla="*/ 17411700 h 17868900"/>
                  <a:gd name="connsiteX13" fmla="*/ 2472871 w 7197271"/>
                  <a:gd name="connsiteY13" fmla="*/ 11049000 h 17868900"/>
                  <a:gd name="connsiteX14" fmla="*/ 2371271 w 7197271"/>
                  <a:gd name="connsiteY14" fmla="*/ 9575800 h 17868900"/>
                  <a:gd name="connsiteX15" fmla="*/ 2460171 w 7197271"/>
                  <a:gd name="connsiteY15" fmla="*/ 9093200 h 17868900"/>
                  <a:gd name="connsiteX16" fmla="*/ 2510971 w 7197271"/>
                  <a:gd name="connsiteY16" fmla="*/ 8420100 h 17868900"/>
                  <a:gd name="connsiteX17" fmla="*/ 2701471 w 7197271"/>
                  <a:gd name="connsiteY17" fmla="*/ 7683500 h 17868900"/>
                  <a:gd name="connsiteX18" fmla="*/ 3615871 w 7197271"/>
                  <a:gd name="connsiteY18" fmla="*/ 4038600 h 17868900"/>
                  <a:gd name="connsiteX19" fmla="*/ 3844471 w 7197271"/>
                  <a:gd name="connsiteY19" fmla="*/ 5143500 h 17868900"/>
                  <a:gd name="connsiteX20" fmla="*/ 3996871 w 7197271"/>
                  <a:gd name="connsiteY20" fmla="*/ 6972300 h 17868900"/>
                  <a:gd name="connsiteX21" fmla="*/ 4161971 w 7197271"/>
                  <a:gd name="connsiteY21" fmla="*/ 8724900 h 17868900"/>
                  <a:gd name="connsiteX22" fmla="*/ 4187371 w 7197271"/>
                  <a:gd name="connsiteY22" fmla="*/ 9982200 h 17868900"/>
                  <a:gd name="connsiteX23" fmla="*/ 4149271 w 7197271"/>
                  <a:gd name="connsiteY23" fmla="*/ 11163300 h 17868900"/>
                  <a:gd name="connsiteX24" fmla="*/ 4149271 w 7197271"/>
                  <a:gd name="connsiteY24" fmla="*/ 12801600 h 17868900"/>
                  <a:gd name="connsiteX25" fmla="*/ 4111171 w 7197271"/>
                  <a:gd name="connsiteY25" fmla="*/ 13792200 h 17868900"/>
                  <a:gd name="connsiteX26" fmla="*/ 4187371 w 7197271"/>
                  <a:gd name="connsiteY26" fmla="*/ 17792700 h 17868900"/>
                  <a:gd name="connsiteX27" fmla="*/ 6244771 w 7197271"/>
                  <a:gd name="connsiteY27" fmla="*/ 17868900 h 17868900"/>
                  <a:gd name="connsiteX28" fmla="*/ 6892471 w 7197271"/>
                  <a:gd name="connsiteY28" fmla="*/ 17754600 h 17868900"/>
                  <a:gd name="connsiteX29" fmla="*/ 6682921 w 7197271"/>
                  <a:gd name="connsiteY29" fmla="*/ 13525500 h 17868900"/>
                  <a:gd name="connsiteX30" fmla="*/ 6473371 w 7197271"/>
                  <a:gd name="connsiteY30" fmla="*/ 11410950 h 17868900"/>
                  <a:gd name="connsiteX31" fmla="*/ 6378122 w 7197271"/>
                  <a:gd name="connsiteY31" fmla="*/ 10210800 h 17868900"/>
                  <a:gd name="connsiteX32" fmla="*/ 6454321 w 7197271"/>
                  <a:gd name="connsiteY32" fmla="*/ 8820150 h 17868900"/>
                  <a:gd name="connsiteX33" fmla="*/ 6930571 w 7197271"/>
                  <a:gd name="connsiteY33" fmla="*/ 5067300 h 17868900"/>
                  <a:gd name="connsiteX34" fmla="*/ 7121071 w 7197271"/>
                  <a:gd name="connsiteY34" fmla="*/ 4038600 h 17868900"/>
                  <a:gd name="connsiteX35" fmla="*/ 7197271 w 7197271"/>
                  <a:gd name="connsiteY35" fmla="*/ 2705100 h 17868900"/>
                  <a:gd name="connsiteX36" fmla="*/ 7159171 w 7197271"/>
                  <a:gd name="connsiteY36" fmla="*/ 2019300 h 17868900"/>
                  <a:gd name="connsiteX37" fmla="*/ 6176191 w 7197271"/>
                  <a:gd name="connsiteY37" fmla="*/ 2004060 h 17868900"/>
                  <a:gd name="connsiteX38" fmla="*/ 4736011 w 7197271"/>
                  <a:gd name="connsiteY38" fmla="*/ 2095500 h 17868900"/>
                  <a:gd name="connsiteX39" fmla="*/ 4111171 w 7197271"/>
                  <a:gd name="connsiteY39" fmla="*/ 2110740 h 17868900"/>
                  <a:gd name="connsiteX40" fmla="*/ 3455851 w 7197271"/>
                  <a:gd name="connsiteY40" fmla="*/ 1661160 h 17868900"/>
                  <a:gd name="connsiteX41" fmla="*/ 3333931 w 7197271"/>
                  <a:gd name="connsiteY41" fmla="*/ 1287780 h 17868900"/>
                  <a:gd name="connsiteX42" fmla="*/ 3196771 w 7197271"/>
                  <a:gd name="connsiteY42" fmla="*/ 7620 h 17868900"/>
                  <a:gd name="connsiteX43" fmla="*/ 2815771 w 7197271"/>
                  <a:gd name="connsiteY43" fmla="*/ 0 h 17868900"/>
                  <a:gd name="connsiteX44" fmla="*/ 2328091 w 7197271"/>
                  <a:gd name="connsiteY44" fmla="*/ 1158240 h 17868900"/>
                  <a:gd name="connsiteX45" fmla="*/ 2038531 w 7197271"/>
                  <a:gd name="connsiteY45" fmla="*/ 1676400 h 17868900"/>
                  <a:gd name="connsiteX46" fmla="*/ 1809931 w 7197271"/>
                  <a:gd name="connsiteY46" fmla="*/ 1813560 h 17868900"/>
                  <a:gd name="connsiteX47" fmla="*/ 1108891 w 7197271"/>
                  <a:gd name="connsiteY47" fmla="*/ 1844040 h 17868900"/>
                  <a:gd name="connsiteX48" fmla="*/ 423091 w 7197271"/>
                  <a:gd name="connsiteY48" fmla="*/ 1623060 h 17868900"/>
                  <a:gd name="connsiteX49" fmla="*/ 461191 w 7197271"/>
                  <a:gd name="connsiteY49" fmla="*/ 1645920 h 17868900"/>
                  <a:gd name="connsiteX0" fmla="*/ 453571 w 7197271"/>
                  <a:gd name="connsiteY0" fmla="*/ 1676400 h 17868900"/>
                  <a:gd name="connsiteX1" fmla="*/ 186871 w 7197271"/>
                  <a:gd name="connsiteY1" fmla="*/ 2057400 h 17868900"/>
                  <a:gd name="connsiteX2" fmla="*/ 263071 w 7197271"/>
                  <a:gd name="connsiteY2" fmla="*/ 2438400 h 17868900"/>
                  <a:gd name="connsiteX3" fmla="*/ 491671 w 7197271"/>
                  <a:gd name="connsiteY3" fmla="*/ 2628900 h 17868900"/>
                  <a:gd name="connsiteX4" fmla="*/ 453571 w 7197271"/>
                  <a:gd name="connsiteY4" fmla="*/ 3886200 h 17868900"/>
                  <a:gd name="connsiteX5" fmla="*/ 186871 w 7197271"/>
                  <a:gd name="connsiteY5" fmla="*/ 6743700 h 17868900"/>
                  <a:gd name="connsiteX6" fmla="*/ 97971 w 7197271"/>
                  <a:gd name="connsiteY6" fmla="*/ 8267700 h 17868900"/>
                  <a:gd name="connsiteX7" fmla="*/ 167821 w 7197271"/>
                  <a:gd name="connsiteY7" fmla="*/ 10020300 h 17868900"/>
                  <a:gd name="connsiteX8" fmla="*/ 186871 w 7197271"/>
                  <a:gd name="connsiteY8" fmla="*/ 11004550 h 17868900"/>
                  <a:gd name="connsiteX9" fmla="*/ 186871 w 7197271"/>
                  <a:gd name="connsiteY9" fmla="*/ 13182600 h 17868900"/>
                  <a:gd name="connsiteX10" fmla="*/ 0 w 7197271"/>
                  <a:gd name="connsiteY10" fmla="*/ 17366344 h 17868900"/>
                  <a:gd name="connsiteX11" fmla="*/ 1598385 w 7197271"/>
                  <a:gd name="connsiteY11" fmla="*/ 17471572 h 17868900"/>
                  <a:gd name="connsiteX12" fmla="*/ 2663371 w 7197271"/>
                  <a:gd name="connsiteY12" fmla="*/ 17411700 h 17868900"/>
                  <a:gd name="connsiteX13" fmla="*/ 2472871 w 7197271"/>
                  <a:gd name="connsiteY13" fmla="*/ 11049000 h 17868900"/>
                  <a:gd name="connsiteX14" fmla="*/ 2371271 w 7197271"/>
                  <a:gd name="connsiteY14" fmla="*/ 9575800 h 17868900"/>
                  <a:gd name="connsiteX15" fmla="*/ 2460171 w 7197271"/>
                  <a:gd name="connsiteY15" fmla="*/ 9093200 h 17868900"/>
                  <a:gd name="connsiteX16" fmla="*/ 2510971 w 7197271"/>
                  <a:gd name="connsiteY16" fmla="*/ 8420100 h 17868900"/>
                  <a:gd name="connsiteX17" fmla="*/ 2701471 w 7197271"/>
                  <a:gd name="connsiteY17" fmla="*/ 7683500 h 17868900"/>
                  <a:gd name="connsiteX18" fmla="*/ 3615871 w 7197271"/>
                  <a:gd name="connsiteY18" fmla="*/ 4038600 h 17868900"/>
                  <a:gd name="connsiteX19" fmla="*/ 3844471 w 7197271"/>
                  <a:gd name="connsiteY19" fmla="*/ 5143500 h 17868900"/>
                  <a:gd name="connsiteX20" fmla="*/ 3996871 w 7197271"/>
                  <a:gd name="connsiteY20" fmla="*/ 6972300 h 17868900"/>
                  <a:gd name="connsiteX21" fmla="*/ 4161971 w 7197271"/>
                  <a:gd name="connsiteY21" fmla="*/ 8724900 h 17868900"/>
                  <a:gd name="connsiteX22" fmla="*/ 4187371 w 7197271"/>
                  <a:gd name="connsiteY22" fmla="*/ 9982200 h 17868900"/>
                  <a:gd name="connsiteX23" fmla="*/ 4149271 w 7197271"/>
                  <a:gd name="connsiteY23" fmla="*/ 11163300 h 17868900"/>
                  <a:gd name="connsiteX24" fmla="*/ 4149271 w 7197271"/>
                  <a:gd name="connsiteY24" fmla="*/ 12801600 h 17868900"/>
                  <a:gd name="connsiteX25" fmla="*/ 4111171 w 7197271"/>
                  <a:gd name="connsiteY25" fmla="*/ 13792200 h 17868900"/>
                  <a:gd name="connsiteX26" fmla="*/ 4187371 w 7197271"/>
                  <a:gd name="connsiteY26" fmla="*/ 17792700 h 17868900"/>
                  <a:gd name="connsiteX27" fmla="*/ 6244771 w 7197271"/>
                  <a:gd name="connsiteY27" fmla="*/ 17868900 h 17868900"/>
                  <a:gd name="connsiteX28" fmla="*/ 6892471 w 7197271"/>
                  <a:gd name="connsiteY28" fmla="*/ 17754600 h 17868900"/>
                  <a:gd name="connsiteX29" fmla="*/ 6682921 w 7197271"/>
                  <a:gd name="connsiteY29" fmla="*/ 13525500 h 17868900"/>
                  <a:gd name="connsiteX30" fmla="*/ 6473371 w 7197271"/>
                  <a:gd name="connsiteY30" fmla="*/ 11410950 h 17868900"/>
                  <a:gd name="connsiteX31" fmla="*/ 6378122 w 7197271"/>
                  <a:gd name="connsiteY31" fmla="*/ 10210800 h 17868900"/>
                  <a:gd name="connsiteX32" fmla="*/ 6454321 w 7197271"/>
                  <a:gd name="connsiteY32" fmla="*/ 8820150 h 17868900"/>
                  <a:gd name="connsiteX33" fmla="*/ 6930571 w 7197271"/>
                  <a:gd name="connsiteY33" fmla="*/ 5067300 h 17868900"/>
                  <a:gd name="connsiteX34" fmla="*/ 7121071 w 7197271"/>
                  <a:gd name="connsiteY34" fmla="*/ 4038600 h 17868900"/>
                  <a:gd name="connsiteX35" fmla="*/ 7197271 w 7197271"/>
                  <a:gd name="connsiteY35" fmla="*/ 2705100 h 17868900"/>
                  <a:gd name="connsiteX36" fmla="*/ 7159171 w 7197271"/>
                  <a:gd name="connsiteY36" fmla="*/ 2019300 h 17868900"/>
                  <a:gd name="connsiteX37" fmla="*/ 6176191 w 7197271"/>
                  <a:gd name="connsiteY37" fmla="*/ 2004060 h 17868900"/>
                  <a:gd name="connsiteX38" fmla="*/ 4736011 w 7197271"/>
                  <a:gd name="connsiteY38" fmla="*/ 2095500 h 17868900"/>
                  <a:gd name="connsiteX39" fmla="*/ 4136261 w 7197271"/>
                  <a:gd name="connsiteY39" fmla="*/ 2048031 h 17868900"/>
                  <a:gd name="connsiteX40" fmla="*/ 3455851 w 7197271"/>
                  <a:gd name="connsiteY40" fmla="*/ 1661160 h 17868900"/>
                  <a:gd name="connsiteX41" fmla="*/ 3333931 w 7197271"/>
                  <a:gd name="connsiteY41" fmla="*/ 1287780 h 17868900"/>
                  <a:gd name="connsiteX42" fmla="*/ 3196771 w 7197271"/>
                  <a:gd name="connsiteY42" fmla="*/ 7620 h 17868900"/>
                  <a:gd name="connsiteX43" fmla="*/ 2815771 w 7197271"/>
                  <a:gd name="connsiteY43" fmla="*/ 0 h 17868900"/>
                  <a:gd name="connsiteX44" fmla="*/ 2328091 w 7197271"/>
                  <a:gd name="connsiteY44" fmla="*/ 1158240 h 17868900"/>
                  <a:gd name="connsiteX45" fmla="*/ 2038531 w 7197271"/>
                  <a:gd name="connsiteY45" fmla="*/ 1676400 h 17868900"/>
                  <a:gd name="connsiteX46" fmla="*/ 1809931 w 7197271"/>
                  <a:gd name="connsiteY46" fmla="*/ 1813560 h 17868900"/>
                  <a:gd name="connsiteX47" fmla="*/ 1108891 w 7197271"/>
                  <a:gd name="connsiteY47" fmla="*/ 1844040 h 17868900"/>
                  <a:gd name="connsiteX48" fmla="*/ 423091 w 7197271"/>
                  <a:gd name="connsiteY48" fmla="*/ 1623060 h 17868900"/>
                  <a:gd name="connsiteX49" fmla="*/ 461191 w 7197271"/>
                  <a:gd name="connsiteY49" fmla="*/ 1645920 h 17868900"/>
                  <a:gd name="connsiteX0" fmla="*/ 453571 w 7197271"/>
                  <a:gd name="connsiteY0" fmla="*/ 1676400 h 17868900"/>
                  <a:gd name="connsiteX1" fmla="*/ 186871 w 7197271"/>
                  <a:gd name="connsiteY1" fmla="*/ 2057400 h 17868900"/>
                  <a:gd name="connsiteX2" fmla="*/ 263071 w 7197271"/>
                  <a:gd name="connsiteY2" fmla="*/ 2438400 h 17868900"/>
                  <a:gd name="connsiteX3" fmla="*/ 491671 w 7197271"/>
                  <a:gd name="connsiteY3" fmla="*/ 2628900 h 17868900"/>
                  <a:gd name="connsiteX4" fmla="*/ 453571 w 7197271"/>
                  <a:gd name="connsiteY4" fmla="*/ 3886200 h 17868900"/>
                  <a:gd name="connsiteX5" fmla="*/ 186871 w 7197271"/>
                  <a:gd name="connsiteY5" fmla="*/ 6743700 h 17868900"/>
                  <a:gd name="connsiteX6" fmla="*/ 97971 w 7197271"/>
                  <a:gd name="connsiteY6" fmla="*/ 8267700 h 17868900"/>
                  <a:gd name="connsiteX7" fmla="*/ 167821 w 7197271"/>
                  <a:gd name="connsiteY7" fmla="*/ 10020300 h 17868900"/>
                  <a:gd name="connsiteX8" fmla="*/ 186871 w 7197271"/>
                  <a:gd name="connsiteY8" fmla="*/ 11004550 h 17868900"/>
                  <a:gd name="connsiteX9" fmla="*/ 186871 w 7197271"/>
                  <a:gd name="connsiteY9" fmla="*/ 13182600 h 17868900"/>
                  <a:gd name="connsiteX10" fmla="*/ 0 w 7197271"/>
                  <a:gd name="connsiteY10" fmla="*/ 17366344 h 17868900"/>
                  <a:gd name="connsiteX11" fmla="*/ 1598385 w 7197271"/>
                  <a:gd name="connsiteY11" fmla="*/ 17471572 h 17868900"/>
                  <a:gd name="connsiteX12" fmla="*/ 2663371 w 7197271"/>
                  <a:gd name="connsiteY12" fmla="*/ 17411700 h 17868900"/>
                  <a:gd name="connsiteX13" fmla="*/ 2472871 w 7197271"/>
                  <a:gd name="connsiteY13" fmla="*/ 11049000 h 17868900"/>
                  <a:gd name="connsiteX14" fmla="*/ 2371271 w 7197271"/>
                  <a:gd name="connsiteY14" fmla="*/ 9575800 h 17868900"/>
                  <a:gd name="connsiteX15" fmla="*/ 2460171 w 7197271"/>
                  <a:gd name="connsiteY15" fmla="*/ 9093200 h 17868900"/>
                  <a:gd name="connsiteX16" fmla="*/ 2510971 w 7197271"/>
                  <a:gd name="connsiteY16" fmla="*/ 8420100 h 17868900"/>
                  <a:gd name="connsiteX17" fmla="*/ 2701471 w 7197271"/>
                  <a:gd name="connsiteY17" fmla="*/ 7683500 h 17868900"/>
                  <a:gd name="connsiteX18" fmla="*/ 3615871 w 7197271"/>
                  <a:gd name="connsiteY18" fmla="*/ 4038600 h 17868900"/>
                  <a:gd name="connsiteX19" fmla="*/ 3844471 w 7197271"/>
                  <a:gd name="connsiteY19" fmla="*/ 5143500 h 17868900"/>
                  <a:gd name="connsiteX20" fmla="*/ 3996871 w 7197271"/>
                  <a:gd name="connsiteY20" fmla="*/ 6972300 h 17868900"/>
                  <a:gd name="connsiteX21" fmla="*/ 4161971 w 7197271"/>
                  <a:gd name="connsiteY21" fmla="*/ 8724900 h 17868900"/>
                  <a:gd name="connsiteX22" fmla="*/ 4187371 w 7197271"/>
                  <a:gd name="connsiteY22" fmla="*/ 9982200 h 17868900"/>
                  <a:gd name="connsiteX23" fmla="*/ 4149271 w 7197271"/>
                  <a:gd name="connsiteY23" fmla="*/ 11163300 h 17868900"/>
                  <a:gd name="connsiteX24" fmla="*/ 4149271 w 7197271"/>
                  <a:gd name="connsiteY24" fmla="*/ 12801600 h 17868900"/>
                  <a:gd name="connsiteX25" fmla="*/ 4111171 w 7197271"/>
                  <a:gd name="connsiteY25" fmla="*/ 13792200 h 17868900"/>
                  <a:gd name="connsiteX26" fmla="*/ 4187371 w 7197271"/>
                  <a:gd name="connsiteY26" fmla="*/ 17792700 h 17868900"/>
                  <a:gd name="connsiteX27" fmla="*/ 6244771 w 7197271"/>
                  <a:gd name="connsiteY27" fmla="*/ 17868900 h 17868900"/>
                  <a:gd name="connsiteX28" fmla="*/ 6892471 w 7197271"/>
                  <a:gd name="connsiteY28" fmla="*/ 17754600 h 17868900"/>
                  <a:gd name="connsiteX29" fmla="*/ 6682921 w 7197271"/>
                  <a:gd name="connsiteY29" fmla="*/ 13525500 h 17868900"/>
                  <a:gd name="connsiteX30" fmla="*/ 6473371 w 7197271"/>
                  <a:gd name="connsiteY30" fmla="*/ 11410950 h 17868900"/>
                  <a:gd name="connsiteX31" fmla="*/ 6378122 w 7197271"/>
                  <a:gd name="connsiteY31" fmla="*/ 10210800 h 17868900"/>
                  <a:gd name="connsiteX32" fmla="*/ 6454321 w 7197271"/>
                  <a:gd name="connsiteY32" fmla="*/ 8820150 h 17868900"/>
                  <a:gd name="connsiteX33" fmla="*/ 6930571 w 7197271"/>
                  <a:gd name="connsiteY33" fmla="*/ 5067300 h 17868900"/>
                  <a:gd name="connsiteX34" fmla="*/ 7121071 w 7197271"/>
                  <a:gd name="connsiteY34" fmla="*/ 4038600 h 17868900"/>
                  <a:gd name="connsiteX35" fmla="*/ 7197271 w 7197271"/>
                  <a:gd name="connsiteY35" fmla="*/ 2705100 h 17868900"/>
                  <a:gd name="connsiteX36" fmla="*/ 7159171 w 7197271"/>
                  <a:gd name="connsiteY36" fmla="*/ 2019300 h 17868900"/>
                  <a:gd name="connsiteX37" fmla="*/ 6176191 w 7197271"/>
                  <a:gd name="connsiteY37" fmla="*/ 2004060 h 17868900"/>
                  <a:gd name="connsiteX38" fmla="*/ 4869780 w 7197271"/>
                  <a:gd name="connsiteY38" fmla="*/ 2011910 h 17868900"/>
                  <a:gd name="connsiteX39" fmla="*/ 4136261 w 7197271"/>
                  <a:gd name="connsiteY39" fmla="*/ 2048031 h 17868900"/>
                  <a:gd name="connsiteX40" fmla="*/ 3455851 w 7197271"/>
                  <a:gd name="connsiteY40" fmla="*/ 1661160 h 17868900"/>
                  <a:gd name="connsiteX41" fmla="*/ 3333931 w 7197271"/>
                  <a:gd name="connsiteY41" fmla="*/ 1287780 h 17868900"/>
                  <a:gd name="connsiteX42" fmla="*/ 3196771 w 7197271"/>
                  <a:gd name="connsiteY42" fmla="*/ 7620 h 17868900"/>
                  <a:gd name="connsiteX43" fmla="*/ 2815771 w 7197271"/>
                  <a:gd name="connsiteY43" fmla="*/ 0 h 17868900"/>
                  <a:gd name="connsiteX44" fmla="*/ 2328091 w 7197271"/>
                  <a:gd name="connsiteY44" fmla="*/ 1158240 h 17868900"/>
                  <a:gd name="connsiteX45" fmla="*/ 2038531 w 7197271"/>
                  <a:gd name="connsiteY45" fmla="*/ 1676400 h 17868900"/>
                  <a:gd name="connsiteX46" fmla="*/ 1809931 w 7197271"/>
                  <a:gd name="connsiteY46" fmla="*/ 1813560 h 17868900"/>
                  <a:gd name="connsiteX47" fmla="*/ 1108891 w 7197271"/>
                  <a:gd name="connsiteY47" fmla="*/ 1844040 h 17868900"/>
                  <a:gd name="connsiteX48" fmla="*/ 423091 w 7197271"/>
                  <a:gd name="connsiteY48" fmla="*/ 1623060 h 17868900"/>
                  <a:gd name="connsiteX49" fmla="*/ 461191 w 7197271"/>
                  <a:gd name="connsiteY49" fmla="*/ 1645920 h 17868900"/>
                  <a:gd name="connsiteX0" fmla="*/ 453571 w 7197271"/>
                  <a:gd name="connsiteY0" fmla="*/ 1676400 h 17868900"/>
                  <a:gd name="connsiteX1" fmla="*/ 186871 w 7197271"/>
                  <a:gd name="connsiteY1" fmla="*/ 2057400 h 17868900"/>
                  <a:gd name="connsiteX2" fmla="*/ 263071 w 7197271"/>
                  <a:gd name="connsiteY2" fmla="*/ 2438400 h 17868900"/>
                  <a:gd name="connsiteX3" fmla="*/ 491671 w 7197271"/>
                  <a:gd name="connsiteY3" fmla="*/ 2628900 h 17868900"/>
                  <a:gd name="connsiteX4" fmla="*/ 453571 w 7197271"/>
                  <a:gd name="connsiteY4" fmla="*/ 3886200 h 17868900"/>
                  <a:gd name="connsiteX5" fmla="*/ 186871 w 7197271"/>
                  <a:gd name="connsiteY5" fmla="*/ 6743700 h 17868900"/>
                  <a:gd name="connsiteX6" fmla="*/ 97971 w 7197271"/>
                  <a:gd name="connsiteY6" fmla="*/ 8267700 h 17868900"/>
                  <a:gd name="connsiteX7" fmla="*/ 167821 w 7197271"/>
                  <a:gd name="connsiteY7" fmla="*/ 10020300 h 17868900"/>
                  <a:gd name="connsiteX8" fmla="*/ 186871 w 7197271"/>
                  <a:gd name="connsiteY8" fmla="*/ 11004550 h 17868900"/>
                  <a:gd name="connsiteX9" fmla="*/ 186871 w 7197271"/>
                  <a:gd name="connsiteY9" fmla="*/ 13182600 h 17868900"/>
                  <a:gd name="connsiteX10" fmla="*/ 0 w 7197271"/>
                  <a:gd name="connsiteY10" fmla="*/ 17366344 h 17868900"/>
                  <a:gd name="connsiteX11" fmla="*/ 1598385 w 7197271"/>
                  <a:gd name="connsiteY11" fmla="*/ 17471572 h 17868900"/>
                  <a:gd name="connsiteX12" fmla="*/ 2663371 w 7197271"/>
                  <a:gd name="connsiteY12" fmla="*/ 17411700 h 17868900"/>
                  <a:gd name="connsiteX13" fmla="*/ 2472871 w 7197271"/>
                  <a:gd name="connsiteY13" fmla="*/ 11049000 h 17868900"/>
                  <a:gd name="connsiteX14" fmla="*/ 2371271 w 7197271"/>
                  <a:gd name="connsiteY14" fmla="*/ 9575800 h 17868900"/>
                  <a:gd name="connsiteX15" fmla="*/ 2460171 w 7197271"/>
                  <a:gd name="connsiteY15" fmla="*/ 9093200 h 17868900"/>
                  <a:gd name="connsiteX16" fmla="*/ 2510971 w 7197271"/>
                  <a:gd name="connsiteY16" fmla="*/ 8420100 h 17868900"/>
                  <a:gd name="connsiteX17" fmla="*/ 2701471 w 7197271"/>
                  <a:gd name="connsiteY17" fmla="*/ 7683500 h 17868900"/>
                  <a:gd name="connsiteX18" fmla="*/ 3615871 w 7197271"/>
                  <a:gd name="connsiteY18" fmla="*/ 4038600 h 17868900"/>
                  <a:gd name="connsiteX19" fmla="*/ 3844471 w 7197271"/>
                  <a:gd name="connsiteY19" fmla="*/ 5143500 h 17868900"/>
                  <a:gd name="connsiteX20" fmla="*/ 3996871 w 7197271"/>
                  <a:gd name="connsiteY20" fmla="*/ 6972300 h 17868900"/>
                  <a:gd name="connsiteX21" fmla="*/ 4161971 w 7197271"/>
                  <a:gd name="connsiteY21" fmla="*/ 8724900 h 17868900"/>
                  <a:gd name="connsiteX22" fmla="*/ 4187371 w 7197271"/>
                  <a:gd name="connsiteY22" fmla="*/ 9982200 h 17868900"/>
                  <a:gd name="connsiteX23" fmla="*/ 4149271 w 7197271"/>
                  <a:gd name="connsiteY23" fmla="*/ 11163300 h 17868900"/>
                  <a:gd name="connsiteX24" fmla="*/ 4149271 w 7197271"/>
                  <a:gd name="connsiteY24" fmla="*/ 12801600 h 17868900"/>
                  <a:gd name="connsiteX25" fmla="*/ 4111171 w 7197271"/>
                  <a:gd name="connsiteY25" fmla="*/ 13792200 h 17868900"/>
                  <a:gd name="connsiteX26" fmla="*/ 4187371 w 7197271"/>
                  <a:gd name="connsiteY26" fmla="*/ 17792700 h 17868900"/>
                  <a:gd name="connsiteX27" fmla="*/ 6244771 w 7197271"/>
                  <a:gd name="connsiteY27" fmla="*/ 17868900 h 17868900"/>
                  <a:gd name="connsiteX28" fmla="*/ 6892471 w 7197271"/>
                  <a:gd name="connsiteY28" fmla="*/ 17754600 h 17868900"/>
                  <a:gd name="connsiteX29" fmla="*/ 6682921 w 7197271"/>
                  <a:gd name="connsiteY29" fmla="*/ 13525500 h 17868900"/>
                  <a:gd name="connsiteX30" fmla="*/ 6473371 w 7197271"/>
                  <a:gd name="connsiteY30" fmla="*/ 11410950 h 17868900"/>
                  <a:gd name="connsiteX31" fmla="*/ 6378122 w 7197271"/>
                  <a:gd name="connsiteY31" fmla="*/ 10210800 h 17868900"/>
                  <a:gd name="connsiteX32" fmla="*/ 6454321 w 7197271"/>
                  <a:gd name="connsiteY32" fmla="*/ 8820150 h 17868900"/>
                  <a:gd name="connsiteX33" fmla="*/ 6930571 w 7197271"/>
                  <a:gd name="connsiteY33" fmla="*/ 5067300 h 17868900"/>
                  <a:gd name="connsiteX34" fmla="*/ 7121071 w 7197271"/>
                  <a:gd name="connsiteY34" fmla="*/ 4038600 h 17868900"/>
                  <a:gd name="connsiteX35" fmla="*/ 7197271 w 7197271"/>
                  <a:gd name="connsiteY35" fmla="*/ 2705100 h 17868900"/>
                  <a:gd name="connsiteX36" fmla="*/ 7159171 w 7197271"/>
                  <a:gd name="connsiteY36" fmla="*/ 2019300 h 17868900"/>
                  <a:gd name="connsiteX37" fmla="*/ 6125987 w 7197271"/>
                  <a:gd name="connsiteY37" fmla="*/ 1882843 h 17868900"/>
                  <a:gd name="connsiteX38" fmla="*/ 4869780 w 7197271"/>
                  <a:gd name="connsiteY38" fmla="*/ 2011910 h 17868900"/>
                  <a:gd name="connsiteX39" fmla="*/ 4136261 w 7197271"/>
                  <a:gd name="connsiteY39" fmla="*/ 2048031 h 17868900"/>
                  <a:gd name="connsiteX40" fmla="*/ 3455851 w 7197271"/>
                  <a:gd name="connsiteY40" fmla="*/ 1661160 h 17868900"/>
                  <a:gd name="connsiteX41" fmla="*/ 3333931 w 7197271"/>
                  <a:gd name="connsiteY41" fmla="*/ 1287780 h 17868900"/>
                  <a:gd name="connsiteX42" fmla="*/ 3196771 w 7197271"/>
                  <a:gd name="connsiteY42" fmla="*/ 7620 h 17868900"/>
                  <a:gd name="connsiteX43" fmla="*/ 2815771 w 7197271"/>
                  <a:gd name="connsiteY43" fmla="*/ 0 h 17868900"/>
                  <a:gd name="connsiteX44" fmla="*/ 2328091 w 7197271"/>
                  <a:gd name="connsiteY44" fmla="*/ 1158240 h 17868900"/>
                  <a:gd name="connsiteX45" fmla="*/ 2038531 w 7197271"/>
                  <a:gd name="connsiteY45" fmla="*/ 1676400 h 17868900"/>
                  <a:gd name="connsiteX46" fmla="*/ 1809931 w 7197271"/>
                  <a:gd name="connsiteY46" fmla="*/ 1813560 h 17868900"/>
                  <a:gd name="connsiteX47" fmla="*/ 1108891 w 7197271"/>
                  <a:gd name="connsiteY47" fmla="*/ 1844040 h 17868900"/>
                  <a:gd name="connsiteX48" fmla="*/ 423091 w 7197271"/>
                  <a:gd name="connsiteY48" fmla="*/ 1623060 h 17868900"/>
                  <a:gd name="connsiteX49" fmla="*/ 461191 w 7197271"/>
                  <a:gd name="connsiteY49" fmla="*/ 1645920 h 17868900"/>
                  <a:gd name="connsiteX0" fmla="*/ 453571 w 7197271"/>
                  <a:gd name="connsiteY0" fmla="*/ 1676400 h 17868900"/>
                  <a:gd name="connsiteX1" fmla="*/ 186871 w 7197271"/>
                  <a:gd name="connsiteY1" fmla="*/ 2057400 h 17868900"/>
                  <a:gd name="connsiteX2" fmla="*/ 263071 w 7197271"/>
                  <a:gd name="connsiteY2" fmla="*/ 2438400 h 17868900"/>
                  <a:gd name="connsiteX3" fmla="*/ 491671 w 7197271"/>
                  <a:gd name="connsiteY3" fmla="*/ 2628900 h 17868900"/>
                  <a:gd name="connsiteX4" fmla="*/ 453571 w 7197271"/>
                  <a:gd name="connsiteY4" fmla="*/ 3886200 h 17868900"/>
                  <a:gd name="connsiteX5" fmla="*/ 186871 w 7197271"/>
                  <a:gd name="connsiteY5" fmla="*/ 6743700 h 17868900"/>
                  <a:gd name="connsiteX6" fmla="*/ 97971 w 7197271"/>
                  <a:gd name="connsiteY6" fmla="*/ 8267700 h 17868900"/>
                  <a:gd name="connsiteX7" fmla="*/ 167821 w 7197271"/>
                  <a:gd name="connsiteY7" fmla="*/ 10020300 h 17868900"/>
                  <a:gd name="connsiteX8" fmla="*/ 186871 w 7197271"/>
                  <a:gd name="connsiteY8" fmla="*/ 11004550 h 17868900"/>
                  <a:gd name="connsiteX9" fmla="*/ 186871 w 7197271"/>
                  <a:gd name="connsiteY9" fmla="*/ 13182600 h 17868900"/>
                  <a:gd name="connsiteX10" fmla="*/ 0 w 7197271"/>
                  <a:gd name="connsiteY10" fmla="*/ 17366344 h 17868900"/>
                  <a:gd name="connsiteX11" fmla="*/ 1598385 w 7197271"/>
                  <a:gd name="connsiteY11" fmla="*/ 17471572 h 17868900"/>
                  <a:gd name="connsiteX12" fmla="*/ 2663371 w 7197271"/>
                  <a:gd name="connsiteY12" fmla="*/ 17411700 h 17868900"/>
                  <a:gd name="connsiteX13" fmla="*/ 2472871 w 7197271"/>
                  <a:gd name="connsiteY13" fmla="*/ 11049000 h 17868900"/>
                  <a:gd name="connsiteX14" fmla="*/ 2371271 w 7197271"/>
                  <a:gd name="connsiteY14" fmla="*/ 9575800 h 17868900"/>
                  <a:gd name="connsiteX15" fmla="*/ 2460171 w 7197271"/>
                  <a:gd name="connsiteY15" fmla="*/ 9093200 h 17868900"/>
                  <a:gd name="connsiteX16" fmla="*/ 2510971 w 7197271"/>
                  <a:gd name="connsiteY16" fmla="*/ 8420100 h 17868900"/>
                  <a:gd name="connsiteX17" fmla="*/ 2701471 w 7197271"/>
                  <a:gd name="connsiteY17" fmla="*/ 7683500 h 17868900"/>
                  <a:gd name="connsiteX18" fmla="*/ 3615871 w 7197271"/>
                  <a:gd name="connsiteY18" fmla="*/ 4038600 h 17868900"/>
                  <a:gd name="connsiteX19" fmla="*/ 3844471 w 7197271"/>
                  <a:gd name="connsiteY19" fmla="*/ 5143500 h 17868900"/>
                  <a:gd name="connsiteX20" fmla="*/ 3996871 w 7197271"/>
                  <a:gd name="connsiteY20" fmla="*/ 6972300 h 17868900"/>
                  <a:gd name="connsiteX21" fmla="*/ 4161971 w 7197271"/>
                  <a:gd name="connsiteY21" fmla="*/ 8724900 h 17868900"/>
                  <a:gd name="connsiteX22" fmla="*/ 4187371 w 7197271"/>
                  <a:gd name="connsiteY22" fmla="*/ 9982200 h 17868900"/>
                  <a:gd name="connsiteX23" fmla="*/ 4149271 w 7197271"/>
                  <a:gd name="connsiteY23" fmla="*/ 11163300 h 17868900"/>
                  <a:gd name="connsiteX24" fmla="*/ 4149271 w 7197271"/>
                  <a:gd name="connsiteY24" fmla="*/ 12801600 h 17868900"/>
                  <a:gd name="connsiteX25" fmla="*/ 4111171 w 7197271"/>
                  <a:gd name="connsiteY25" fmla="*/ 13792200 h 17868900"/>
                  <a:gd name="connsiteX26" fmla="*/ 4187371 w 7197271"/>
                  <a:gd name="connsiteY26" fmla="*/ 17792700 h 17868900"/>
                  <a:gd name="connsiteX27" fmla="*/ 6244771 w 7197271"/>
                  <a:gd name="connsiteY27" fmla="*/ 17868900 h 17868900"/>
                  <a:gd name="connsiteX28" fmla="*/ 6892471 w 7197271"/>
                  <a:gd name="connsiteY28" fmla="*/ 17754600 h 17868900"/>
                  <a:gd name="connsiteX29" fmla="*/ 6682921 w 7197271"/>
                  <a:gd name="connsiteY29" fmla="*/ 13525500 h 17868900"/>
                  <a:gd name="connsiteX30" fmla="*/ 6473371 w 7197271"/>
                  <a:gd name="connsiteY30" fmla="*/ 11410950 h 17868900"/>
                  <a:gd name="connsiteX31" fmla="*/ 6378122 w 7197271"/>
                  <a:gd name="connsiteY31" fmla="*/ 10210800 h 17868900"/>
                  <a:gd name="connsiteX32" fmla="*/ 6454321 w 7197271"/>
                  <a:gd name="connsiteY32" fmla="*/ 8820150 h 17868900"/>
                  <a:gd name="connsiteX33" fmla="*/ 6930571 w 7197271"/>
                  <a:gd name="connsiteY33" fmla="*/ 5067300 h 17868900"/>
                  <a:gd name="connsiteX34" fmla="*/ 7121071 w 7197271"/>
                  <a:gd name="connsiteY34" fmla="*/ 4038600 h 17868900"/>
                  <a:gd name="connsiteX35" fmla="*/ 7197271 w 7197271"/>
                  <a:gd name="connsiteY35" fmla="*/ 2705100 h 17868900"/>
                  <a:gd name="connsiteX36" fmla="*/ 7159171 w 7197271"/>
                  <a:gd name="connsiteY36" fmla="*/ 2019300 h 17868900"/>
                  <a:gd name="connsiteX37" fmla="*/ 6125987 w 7197271"/>
                  <a:gd name="connsiteY37" fmla="*/ 1882843 h 17868900"/>
                  <a:gd name="connsiteX38" fmla="*/ 4869780 w 7197271"/>
                  <a:gd name="connsiteY38" fmla="*/ 2011910 h 17868900"/>
                  <a:gd name="connsiteX39" fmla="*/ 4136261 w 7197271"/>
                  <a:gd name="connsiteY39" fmla="*/ 2048031 h 17868900"/>
                  <a:gd name="connsiteX40" fmla="*/ 3455851 w 7197271"/>
                  <a:gd name="connsiteY40" fmla="*/ 1661160 h 17868900"/>
                  <a:gd name="connsiteX41" fmla="*/ 3333931 w 7197271"/>
                  <a:gd name="connsiteY41" fmla="*/ 1287780 h 17868900"/>
                  <a:gd name="connsiteX42" fmla="*/ 3196771 w 7197271"/>
                  <a:gd name="connsiteY42" fmla="*/ 7620 h 17868900"/>
                  <a:gd name="connsiteX43" fmla="*/ 2815771 w 7197271"/>
                  <a:gd name="connsiteY43" fmla="*/ 0 h 17868900"/>
                  <a:gd name="connsiteX44" fmla="*/ 2328091 w 7197271"/>
                  <a:gd name="connsiteY44" fmla="*/ 1158240 h 17868900"/>
                  <a:gd name="connsiteX45" fmla="*/ 2038531 w 7197271"/>
                  <a:gd name="connsiteY45" fmla="*/ 1676400 h 17868900"/>
                  <a:gd name="connsiteX46" fmla="*/ 1809931 w 7197271"/>
                  <a:gd name="connsiteY46" fmla="*/ 1813560 h 17868900"/>
                  <a:gd name="connsiteX47" fmla="*/ 1184176 w 7197271"/>
                  <a:gd name="connsiteY47" fmla="*/ 1789713 h 17868900"/>
                  <a:gd name="connsiteX48" fmla="*/ 423091 w 7197271"/>
                  <a:gd name="connsiteY48" fmla="*/ 1623060 h 17868900"/>
                  <a:gd name="connsiteX49" fmla="*/ 461191 w 7197271"/>
                  <a:gd name="connsiteY49" fmla="*/ 1645920 h 17868900"/>
                  <a:gd name="connsiteX0" fmla="*/ 453571 w 7197271"/>
                  <a:gd name="connsiteY0" fmla="*/ 1676400 h 17868900"/>
                  <a:gd name="connsiteX1" fmla="*/ 186871 w 7197271"/>
                  <a:gd name="connsiteY1" fmla="*/ 2057400 h 17868900"/>
                  <a:gd name="connsiteX2" fmla="*/ 263071 w 7197271"/>
                  <a:gd name="connsiteY2" fmla="*/ 2438400 h 17868900"/>
                  <a:gd name="connsiteX3" fmla="*/ 491671 w 7197271"/>
                  <a:gd name="connsiteY3" fmla="*/ 2628900 h 17868900"/>
                  <a:gd name="connsiteX4" fmla="*/ 453571 w 7197271"/>
                  <a:gd name="connsiteY4" fmla="*/ 3886200 h 17868900"/>
                  <a:gd name="connsiteX5" fmla="*/ 186871 w 7197271"/>
                  <a:gd name="connsiteY5" fmla="*/ 6743700 h 17868900"/>
                  <a:gd name="connsiteX6" fmla="*/ 97971 w 7197271"/>
                  <a:gd name="connsiteY6" fmla="*/ 8267700 h 17868900"/>
                  <a:gd name="connsiteX7" fmla="*/ 167821 w 7197271"/>
                  <a:gd name="connsiteY7" fmla="*/ 10020300 h 17868900"/>
                  <a:gd name="connsiteX8" fmla="*/ 186871 w 7197271"/>
                  <a:gd name="connsiteY8" fmla="*/ 11004550 h 17868900"/>
                  <a:gd name="connsiteX9" fmla="*/ 186871 w 7197271"/>
                  <a:gd name="connsiteY9" fmla="*/ 13182600 h 17868900"/>
                  <a:gd name="connsiteX10" fmla="*/ 0 w 7197271"/>
                  <a:gd name="connsiteY10" fmla="*/ 17366344 h 17868900"/>
                  <a:gd name="connsiteX11" fmla="*/ 1598385 w 7197271"/>
                  <a:gd name="connsiteY11" fmla="*/ 17471572 h 17868900"/>
                  <a:gd name="connsiteX12" fmla="*/ 2663371 w 7197271"/>
                  <a:gd name="connsiteY12" fmla="*/ 17411700 h 17868900"/>
                  <a:gd name="connsiteX13" fmla="*/ 2472871 w 7197271"/>
                  <a:gd name="connsiteY13" fmla="*/ 11049000 h 17868900"/>
                  <a:gd name="connsiteX14" fmla="*/ 2371271 w 7197271"/>
                  <a:gd name="connsiteY14" fmla="*/ 9575800 h 17868900"/>
                  <a:gd name="connsiteX15" fmla="*/ 2460171 w 7197271"/>
                  <a:gd name="connsiteY15" fmla="*/ 9093200 h 17868900"/>
                  <a:gd name="connsiteX16" fmla="*/ 2510971 w 7197271"/>
                  <a:gd name="connsiteY16" fmla="*/ 8420100 h 17868900"/>
                  <a:gd name="connsiteX17" fmla="*/ 2701471 w 7197271"/>
                  <a:gd name="connsiteY17" fmla="*/ 7683500 h 17868900"/>
                  <a:gd name="connsiteX18" fmla="*/ 3615871 w 7197271"/>
                  <a:gd name="connsiteY18" fmla="*/ 4038600 h 17868900"/>
                  <a:gd name="connsiteX19" fmla="*/ 3844471 w 7197271"/>
                  <a:gd name="connsiteY19" fmla="*/ 5143500 h 17868900"/>
                  <a:gd name="connsiteX20" fmla="*/ 3996871 w 7197271"/>
                  <a:gd name="connsiteY20" fmla="*/ 6972300 h 17868900"/>
                  <a:gd name="connsiteX21" fmla="*/ 4161971 w 7197271"/>
                  <a:gd name="connsiteY21" fmla="*/ 8724900 h 17868900"/>
                  <a:gd name="connsiteX22" fmla="*/ 4187371 w 7197271"/>
                  <a:gd name="connsiteY22" fmla="*/ 9982200 h 17868900"/>
                  <a:gd name="connsiteX23" fmla="*/ 4149271 w 7197271"/>
                  <a:gd name="connsiteY23" fmla="*/ 11163300 h 17868900"/>
                  <a:gd name="connsiteX24" fmla="*/ 4149271 w 7197271"/>
                  <a:gd name="connsiteY24" fmla="*/ 12801600 h 17868900"/>
                  <a:gd name="connsiteX25" fmla="*/ 4111171 w 7197271"/>
                  <a:gd name="connsiteY25" fmla="*/ 13792200 h 17868900"/>
                  <a:gd name="connsiteX26" fmla="*/ 4187371 w 7197271"/>
                  <a:gd name="connsiteY26" fmla="*/ 17792700 h 17868900"/>
                  <a:gd name="connsiteX27" fmla="*/ 6244771 w 7197271"/>
                  <a:gd name="connsiteY27" fmla="*/ 17868900 h 17868900"/>
                  <a:gd name="connsiteX28" fmla="*/ 6892471 w 7197271"/>
                  <a:gd name="connsiteY28" fmla="*/ 17754600 h 17868900"/>
                  <a:gd name="connsiteX29" fmla="*/ 6682921 w 7197271"/>
                  <a:gd name="connsiteY29" fmla="*/ 13525500 h 17868900"/>
                  <a:gd name="connsiteX30" fmla="*/ 6473371 w 7197271"/>
                  <a:gd name="connsiteY30" fmla="*/ 11410950 h 17868900"/>
                  <a:gd name="connsiteX31" fmla="*/ 6378122 w 7197271"/>
                  <a:gd name="connsiteY31" fmla="*/ 10210800 h 17868900"/>
                  <a:gd name="connsiteX32" fmla="*/ 6454321 w 7197271"/>
                  <a:gd name="connsiteY32" fmla="*/ 8820150 h 17868900"/>
                  <a:gd name="connsiteX33" fmla="*/ 6930571 w 7197271"/>
                  <a:gd name="connsiteY33" fmla="*/ 5067300 h 17868900"/>
                  <a:gd name="connsiteX34" fmla="*/ 7121071 w 7197271"/>
                  <a:gd name="connsiteY34" fmla="*/ 4038600 h 17868900"/>
                  <a:gd name="connsiteX35" fmla="*/ 7197271 w 7197271"/>
                  <a:gd name="connsiteY35" fmla="*/ 2705100 h 17868900"/>
                  <a:gd name="connsiteX36" fmla="*/ 7159171 w 7197271"/>
                  <a:gd name="connsiteY36" fmla="*/ 2019300 h 17868900"/>
                  <a:gd name="connsiteX37" fmla="*/ 6125987 w 7197271"/>
                  <a:gd name="connsiteY37" fmla="*/ 1882843 h 17868900"/>
                  <a:gd name="connsiteX38" fmla="*/ 4869780 w 7197271"/>
                  <a:gd name="connsiteY38" fmla="*/ 2011910 h 17868900"/>
                  <a:gd name="connsiteX39" fmla="*/ 4136261 w 7197271"/>
                  <a:gd name="connsiteY39" fmla="*/ 2048031 h 17868900"/>
                  <a:gd name="connsiteX40" fmla="*/ 3455851 w 7197271"/>
                  <a:gd name="connsiteY40" fmla="*/ 1661160 h 17868900"/>
                  <a:gd name="connsiteX41" fmla="*/ 3333931 w 7197271"/>
                  <a:gd name="connsiteY41" fmla="*/ 1287780 h 17868900"/>
                  <a:gd name="connsiteX42" fmla="*/ 3196771 w 7197271"/>
                  <a:gd name="connsiteY42" fmla="*/ 7620 h 17868900"/>
                  <a:gd name="connsiteX43" fmla="*/ 2815771 w 7197271"/>
                  <a:gd name="connsiteY43" fmla="*/ 0 h 17868900"/>
                  <a:gd name="connsiteX44" fmla="*/ 2328091 w 7197271"/>
                  <a:gd name="connsiteY44" fmla="*/ 1158240 h 17868900"/>
                  <a:gd name="connsiteX45" fmla="*/ 2092896 w 7197271"/>
                  <a:gd name="connsiteY45" fmla="*/ 1551004 h 17868900"/>
                  <a:gd name="connsiteX46" fmla="*/ 1809931 w 7197271"/>
                  <a:gd name="connsiteY46" fmla="*/ 1813560 h 17868900"/>
                  <a:gd name="connsiteX47" fmla="*/ 1184176 w 7197271"/>
                  <a:gd name="connsiteY47" fmla="*/ 1789713 h 17868900"/>
                  <a:gd name="connsiteX48" fmla="*/ 423091 w 7197271"/>
                  <a:gd name="connsiteY48" fmla="*/ 1623060 h 17868900"/>
                  <a:gd name="connsiteX49" fmla="*/ 461191 w 7197271"/>
                  <a:gd name="connsiteY49" fmla="*/ 1645920 h 17868900"/>
                  <a:gd name="connsiteX0" fmla="*/ 453571 w 7197271"/>
                  <a:gd name="connsiteY0" fmla="*/ 1676400 h 17868900"/>
                  <a:gd name="connsiteX1" fmla="*/ 186871 w 7197271"/>
                  <a:gd name="connsiteY1" fmla="*/ 2057400 h 17868900"/>
                  <a:gd name="connsiteX2" fmla="*/ 491671 w 7197271"/>
                  <a:gd name="connsiteY2" fmla="*/ 2628900 h 17868900"/>
                  <a:gd name="connsiteX3" fmla="*/ 453571 w 7197271"/>
                  <a:gd name="connsiteY3" fmla="*/ 3886200 h 17868900"/>
                  <a:gd name="connsiteX4" fmla="*/ 186871 w 7197271"/>
                  <a:gd name="connsiteY4" fmla="*/ 6743700 h 17868900"/>
                  <a:gd name="connsiteX5" fmla="*/ 97971 w 7197271"/>
                  <a:gd name="connsiteY5" fmla="*/ 8267700 h 17868900"/>
                  <a:gd name="connsiteX6" fmla="*/ 167821 w 7197271"/>
                  <a:gd name="connsiteY6" fmla="*/ 10020300 h 17868900"/>
                  <a:gd name="connsiteX7" fmla="*/ 186871 w 7197271"/>
                  <a:gd name="connsiteY7" fmla="*/ 11004550 h 17868900"/>
                  <a:gd name="connsiteX8" fmla="*/ 186871 w 7197271"/>
                  <a:gd name="connsiteY8" fmla="*/ 13182600 h 17868900"/>
                  <a:gd name="connsiteX9" fmla="*/ 0 w 7197271"/>
                  <a:gd name="connsiteY9" fmla="*/ 17366344 h 17868900"/>
                  <a:gd name="connsiteX10" fmla="*/ 1598385 w 7197271"/>
                  <a:gd name="connsiteY10" fmla="*/ 17471572 h 17868900"/>
                  <a:gd name="connsiteX11" fmla="*/ 2663371 w 7197271"/>
                  <a:gd name="connsiteY11" fmla="*/ 17411700 h 17868900"/>
                  <a:gd name="connsiteX12" fmla="*/ 2472871 w 7197271"/>
                  <a:gd name="connsiteY12" fmla="*/ 11049000 h 17868900"/>
                  <a:gd name="connsiteX13" fmla="*/ 2371271 w 7197271"/>
                  <a:gd name="connsiteY13" fmla="*/ 9575800 h 17868900"/>
                  <a:gd name="connsiteX14" fmla="*/ 2460171 w 7197271"/>
                  <a:gd name="connsiteY14" fmla="*/ 9093200 h 17868900"/>
                  <a:gd name="connsiteX15" fmla="*/ 2510971 w 7197271"/>
                  <a:gd name="connsiteY15" fmla="*/ 8420100 h 17868900"/>
                  <a:gd name="connsiteX16" fmla="*/ 2701471 w 7197271"/>
                  <a:gd name="connsiteY16" fmla="*/ 7683500 h 17868900"/>
                  <a:gd name="connsiteX17" fmla="*/ 3615871 w 7197271"/>
                  <a:gd name="connsiteY17" fmla="*/ 4038600 h 17868900"/>
                  <a:gd name="connsiteX18" fmla="*/ 3844471 w 7197271"/>
                  <a:gd name="connsiteY18" fmla="*/ 5143500 h 17868900"/>
                  <a:gd name="connsiteX19" fmla="*/ 3996871 w 7197271"/>
                  <a:gd name="connsiteY19" fmla="*/ 6972300 h 17868900"/>
                  <a:gd name="connsiteX20" fmla="*/ 4161971 w 7197271"/>
                  <a:gd name="connsiteY20" fmla="*/ 8724900 h 17868900"/>
                  <a:gd name="connsiteX21" fmla="*/ 4187371 w 7197271"/>
                  <a:gd name="connsiteY21" fmla="*/ 9982200 h 17868900"/>
                  <a:gd name="connsiteX22" fmla="*/ 4149271 w 7197271"/>
                  <a:gd name="connsiteY22" fmla="*/ 11163300 h 17868900"/>
                  <a:gd name="connsiteX23" fmla="*/ 4149271 w 7197271"/>
                  <a:gd name="connsiteY23" fmla="*/ 12801600 h 17868900"/>
                  <a:gd name="connsiteX24" fmla="*/ 4111171 w 7197271"/>
                  <a:gd name="connsiteY24" fmla="*/ 13792200 h 17868900"/>
                  <a:gd name="connsiteX25" fmla="*/ 4187371 w 7197271"/>
                  <a:gd name="connsiteY25" fmla="*/ 17792700 h 17868900"/>
                  <a:gd name="connsiteX26" fmla="*/ 6244771 w 7197271"/>
                  <a:gd name="connsiteY26" fmla="*/ 17868900 h 17868900"/>
                  <a:gd name="connsiteX27" fmla="*/ 6892471 w 7197271"/>
                  <a:gd name="connsiteY27" fmla="*/ 17754600 h 17868900"/>
                  <a:gd name="connsiteX28" fmla="*/ 6682921 w 7197271"/>
                  <a:gd name="connsiteY28" fmla="*/ 13525500 h 17868900"/>
                  <a:gd name="connsiteX29" fmla="*/ 6473371 w 7197271"/>
                  <a:gd name="connsiteY29" fmla="*/ 11410950 h 17868900"/>
                  <a:gd name="connsiteX30" fmla="*/ 6378122 w 7197271"/>
                  <a:gd name="connsiteY30" fmla="*/ 10210800 h 17868900"/>
                  <a:gd name="connsiteX31" fmla="*/ 6454321 w 7197271"/>
                  <a:gd name="connsiteY31" fmla="*/ 8820150 h 17868900"/>
                  <a:gd name="connsiteX32" fmla="*/ 6930571 w 7197271"/>
                  <a:gd name="connsiteY32" fmla="*/ 5067300 h 17868900"/>
                  <a:gd name="connsiteX33" fmla="*/ 7121071 w 7197271"/>
                  <a:gd name="connsiteY33" fmla="*/ 4038600 h 17868900"/>
                  <a:gd name="connsiteX34" fmla="*/ 7197271 w 7197271"/>
                  <a:gd name="connsiteY34" fmla="*/ 2705100 h 17868900"/>
                  <a:gd name="connsiteX35" fmla="*/ 7159171 w 7197271"/>
                  <a:gd name="connsiteY35" fmla="*/ 2019300 h 17868900"/>
                  <a:gd name="connsiteX36" fmla="*/ 6125987 w 7197271"/>
                  <a:gd name="connsiteY36" fmla="*/ 1882843 h 17868900"/>
                  <a:gd name="connsiteX37" fmla="*/ 4869780 w 7197271"/>
                  <a:gd name="connsiteY37" fmla="*/ 2011910 h 17868900"/>
                  <a:gd name="connsiteX38" fmla="*/ 4136261 w 7197271"/>
                  <a:gd name="connsiteY38" fmla="*/ 2048031 h 17868900"/>
                  <a:gd name="connsiteX39" fmla="*/ 3455851 w 7197271"/>
                  <a:gd name="connsiteY39" fmla="*/ 1661160 h 17868900"/>
                  <a:gd name="connsiteX40" fmla="*/ 3333931 w 7197271"/>
                  <a:gd name="connsiteY40" fmla="*/ 1287780 h 17868900"/>
                  <a:gd name="connsiteX41" fmla="*/ 3196771 w 7197271"/>
                  <a:gd name="connsiteY41" fmla="*/ 7620 h 17868900"/>
                  <a:gd name="connsiteX42" fmla="*/ 2815771 w 7197271"/>
                  <a:gd name="connsiteY42" fmla="*/ 0 h 17868900"/>
                  <a:gd name="connsiteX43" fmla="*/ 2328091 w 7197271"/>
                  <a:gd name="connsiteY43" fmla="*/ 1158240 h 17868900"/>
                  <a:gd name="connsiteX44" fmla="*/ 2092896 w 7197271"/>
                  <a:gd name="connsiteY44" fmla="*/ 1551004 h 17868900"/>
                  <a:gd name="connsiteX45" fmla="*/ 1809931 w 7197271"/>
                  <a:gd name="connsiteY45" fmla="*/ 1813560 h 17868900"/>
                  <a:gd name="connsiteX46" fmla="*/ 1184176 w 7197271"/>
                  <a:gd name="connsiteY46" fmla="*/ 1789713 h 17868900"/>
                  <a:gd name="connsiteX47" fmla="*/ 423091 w 7197271"/>
                  <a:gd name="connsiteY47" fmla="*/ 1623060 h 17868900"/>
                  <a:gd name="connsiteX48" fmla="*/ 461191 w 7197271"/>
                  <a:gd name="connsiteY48" fmla="*/ 1645920 h 17868900"/>
                  <a:gd name="connsiteX0" fmla="*/ 453571 w 7197271"/>
                  <a:gd name="connsiteY0" fmla="*/ 1676400 h 17868900"/>
                  <a:gd name="connsiteX1" fmla="*/ 491671 w 7197271"/>
                  <a:gd name="connsiteY1" fmla="*/ 2628900 h 17868900"/>
                  <a:gd name="connsiteX2" fmla="*/ 453571 w 7197271"/>
                  <a:gd name="connsiteY2" fmla="*/ 3886200 h 17868900"/>
                  <a:gd name="connsiteX3" fmla="*/ 186871 w 7197271"/>
                  <a:gd name="connsiteY3" fmla="*/ 6743700 h 17868900"/>
                  <a:gd name="connsiteX4" fmla="*/ 97971 w 7197271"/>
                  <a:gd name="connsiteY4" fmla="*/ 8267700 h 17868900"/>
                  <a:gd name="connsiteX5" fmla="*/ 167821 w 7197271"/>
                  <a:gd name="connsiteY5" fmla="*/ 10020300 h 17868900"/>
                  <a:gd name="connsiteX6" fmla="*/ 186871 w 7197271"/>
                  <a:gd name="connsiteY6" fmla="*/ 11004550 h 17868900"/>
                  <a:gd name="connsiteX7" fmla="*/ 186871 w 7197271"/>
                  <a:gd name="connsiteY7" fmla="*/ 13182600 h 17868900"/>
                  <a:gd name="connsiteX8" fmla="*/ 0 w 7197271"/>
                  <a:gd name="connsiteY8" fmla="*/ 17366344 h 17868900"/>
                  <a:gd name="connsiteX9" fmla="*/ 1598385 w 7197271"/>
                  <a:gd name="connsiteY9" fmla="*/ 17471572 h 17868900"/>
                  <a:gd name="connsiteX10" fmla="*/ 2663371 w 7197271"/>
                  <a:gd name="connsiteY10" fmla="*/ 17411700 h 17868900"/>
                  <a:gd name="connsiteX11" fmla="*/ 2472871 w 7197271"/>
                  <a:gd name="connsiteY11" fmla="*/ 11049000 h 17868900"/>
                  <a:gd name="connsiteX12" fmla="*/ 2371271 w 7197271"/>
                  <a:gd name="connsiteY12" fmla="*/ 9575800 h 17868900"/>
                  <a:gd name="connsiteX13" fmla="*/ 2460171 w 7197271"/>
                  <a:gd name="connsiteY13" fmla="*/ 9093200 h 17868900"/>
                  <a:gd name="connsiteX14" fmla="*/ 2510971 w 7197271"/>
                  <a:gd name="connsiteY14" fmla="*/ 8420100 h 17868900"/>
                  <a:gd name="connsiteX15" fmla="*/ 2701471 w 7197271"/>
                  <a:gd name="connsiteY15" fmla="*/ 7683500 h 17868900"/>
                  <a:gd name="connsiteX16" fmla="*/ 3615871 w 7197271"/>
                  <a:gd name="connsiteY16" fmla="*/ 4038600 h 17868900"/>
                  <a:gd name="connsiteX17" fmla="*/ 3844471 w 7197271"/>
                  <a:gd name="connsiteY17" fmla="*/ 5143500 h 17868900"/>
                  <a:gd name="connsiteX18" fmla="*/ 3996871 w 7197271"/>
                  <a:gd name="connsiteY18" fmla="*/ 6972300 h 17868900"/>
                  <a:gd name="connsiteX19" fmla="*/ 4161971 w 7197271"/>
                  <a:gd name="connsiteY19" fmla="*/ 8724900 h 17868900"/>
                  <a:gd name="connsiteX20" fmla="*/ 4187371 w 7197271"/>
                  <a:gd name="connsiteY20" fmla="*/ 9982200 h 17868900"/>
                  <a:gd name="connsiteX21" fmla="*/ 4149271 w 7197271"/>
                  <a:gd name="connsiteY21" fmla="*/ 11163300 h 17868900"/>
                  <a:gd name="connsiteX22" fmla="*/ 4149271 w 7197271"/>
                  <a:gd name="connsiteY22" fmla="*/ 12801600 h 17868900"/>
                  <a:gd name="connsiteX23" fmla="*/ 4111171 w 7197271"/>
                  <a:gd name="connsiteY23" fmla="*/ 13792200 h 17868900"/>
                  <a:gd name="connsiteX24" fmla="*/ 4187371 w 7197271"/>
                  <a:gd name="connsiteY24" fmla="*/ 17792700 h 17868900"/>
                  <a:gd name="connsiteX25" fmla="*/ 6244771 w 7197271"/>
                  <a:gd name="connsiteY25" fmla="*/ 17868900 h 17868900"/>
                  <a:gd name="connsiteX26" fmla="*/ 6892471 w 7197271"/>
                  <a:gd name="connsiteY26" fmla="*/ 17754600 h 17868900"/>
                  <a:gd name="connsiteX27" fmla="*/ 6682921 w 7197271"/>
                  <a:gd name="connsiteY27" fmla="*/ 13525500 h 17868900"/>
                  <a:gd name="connsiteX28" fmla="*/ 6473371 w 7197271"/>
                  <a:gd name="connsiteY28" fmla="*/ 11410950 h 17868900"/>
                  <a:gd name="connsiteX29" fmla="*/ 6378122 w 7197271"/>
                  <a:gd name="connsiteY29" fmla="*/ 10210800 h 17868900"/>
                  <a:gd name="connsiteX30" fmla="*/ 6454321 w 7197271"/>
                  <a:gd name="connsiteY30" fmla="*/ 8820150 h 17868900"/>
                  <a:gd name="connsiteX31" fmla="*/ 6930571 w 7197271"/>
                  <a:gd name="connsiteY31" fmla="*/ 5067300 h 17868900"/>
                  <a:gd name="connsiteX32" fmla="*/ 7121071 w 7197271"/>
                  <a:gd name="connsiteY32" fmla="*/ 4038600 h 17868900"/>
                  <a:gd name="connsiteX33" fmla="*/ 7197271 w 7197271"/>
                  <a:gd name="connsiteY33" fmla="*/ 2705100 h 17868900"/>
                  <a:gd name="connsiteX34" fmla="*/ 7159171 w 7197271"/>
                  <a:gd name="connsiteY34" fmla="*/ 2019300 h 17868900"/>
                  <a:gd name="connsiteX35" fmla="*/ 6125987 w 7197271"/>
                  <a:gd name="connsiteY35" fmla="*/ 1882843 h 17868900"/>
                  <a:gd name="connsiteX36" fmla="*/ 4869780 w 7197271"/>
                  <a:gd name="connsiteY36" fmla="*/ 2011910 h 17868900"/>
                  <a:gd name="connsiteX37" fmla="*/ 4136261 w 7197271"/>
                  <a:gd name="connsiteY37" fmla="*/ 2048031 h 17868900"/>
                  <a:gd name="connsiteX38" fmla="*/ 3455851 w 7197271"/>
                  <a:gd name="connsiteY38" fmla="*/ 1661160 h 17868900"/>
                  <a:gd name="connsiteX39" fmla="*/ 3333931 w 7197271"/>
                  <a:gd name="connsiteY39" fmla="*/ 1287780 h 17868900"/>
                  <a:gd name="connsiteX40" fmla="*/ 3196771 w 7197271"/>
                  <a:gd name="connsiteY40" fmla="*/ 7620 h 17868900"/>
                  <a:gd name="connsiteX41" fmla="*/ 2815771 w 7197271"/>
                  <a:gd name="connsiteY41" fmla="*/ 0 h 17868900"/>
                  <a:gd name="connsiteX42" fmla="*/ 2328091 w 7197271"/>
                  <a:gd name="connsiteY42" fmla="*/ 1158240 h 17868900"/>
                  <a:gd name="connsiteX43" fmla="*/ 2092896 w 7197271"/>
                  <a:gd name="connsiteY43" fmla="*/ 1551004 h 17868900"/>
                  <a:gd name="connsiteX44" fmla="*/ 1809931 w 7197271"/>
                  <a:gd name="connsiteY44" fmla="*/ 1813560 h 17868900"/>
                  <a:gd name="connsiteX45" fmla="*/ 1184176 w 7197271"/>
                  <a:gd name="connsiteY45" fmla="*/ 1789713 h 17868900"/>
                  <a:gd name="connsiteX46" fmla="*/ 423091 w 7197271"/>
                  <a:gd name="connsiteY46" fmla="*/ 1623060 h 17868900"/>
                  <a:gd name="connsiteX47" fmla="*/ 461191 w 7197271"/>
                  <a:gd name="connsiteY47" fmla="*/ 1645920 h 17868900"/>
                  <a:gd name="connsiteX0" fmla="*/ 453571 w 7197271"/>
                  <a:gd name="connsiteY0" fmla="*/ 1676400 h 17868900"/>
                  <a:gd name="connsiteX1" fmla="*/ 416459 w 7197271"/>
                  <a:gd name="connsiteY1" fmla="*/ 2595468 h 17868900"/>
                  <a:gd name="connsiteX2" fmla="*/ 453571 w 7197271"/>
                  <a:gd name="connsiteY2" fmla="*/ 3886200 h 17868900"/>
                  <a:gd name="connsiteX3" fmla="*/ 186871 w 7197271"/>
                  <a:gd name="connsiteY3" fmla="*/ 6743700 h 17868900"/>
                  <a:gd name="connsiteX4" fmla="*/ 97971 w 7197271"/>
                  <a:gd name="connsiteY4" fmla="*/ 8267700 h 17868900"/>
                  <a:gd name="connsiteX5" fmla="*/ 167821 w 7197271"/>
                  <a:gd name="connsiteY5" fmla="*/ 10020300 h 17868900"/>
                  <a:gd name="connsiteX6" fmla="*/ 186871 w 7197271"/>
                  <a:gd name="connsiteY6" fmla="*/ 11004550 h 17868900"/>
                  <a:gd name="connsiteX7" fmla="*/ 186871 w 7197271"/>
                  <a:gd name="connsiteY7" fmla="*/ 13182600 h 17868900"/>
                  <a:gd name="connsiteX8" fmla="*/ 0 w 7197271"/>
                  <a:gd name="connsiteY8" fmla="*/ 17366344 h 17868900"/>
                  <a:gd name="connsiteX9" fmla="*/ 1598385 w 7197271"/>
                  <a:gd name="connsiteY9" fmla="*/ 17471572 h 17868900"/>
                  <a:gd name="connsiteX10" fmla="*/ 2663371 w 7197271"/>
                  <a:gd name="connsiteY10" fmla="*/ 17411700 h 17868900"/>
                  <a:gd name="connsiteX11" fmla="*/ 2472871 w 7197271"/>
                  <a:gd name="connsiteY11" fmla="*/ 11049000 h 17868900"/>
                  <a:gd name="connsiteX12" fmla="*/ 2371271 w 7197271"/>
                  <a:gd name="connsiteY12" fmla="*/ 9575800 h 17868900"/>
                  <a:gd name="connsiteX13" fmla="*/ 2460171 w 7197271"/>
                  <a:gd name="connsiteY13" fmla="*/ 9093200 h 17868900"/>
                  <a:gd name="connsiteX14" fmla="*/ 2510971 w 7197271"/>
                  <a:gd name="connsiteY14" fmla="*/ 8420100 h 17868900"/>
                  <a:gd name="connsiteX15" fmla="*/ 2701471 w 7197271"/>
                  <a:gd name="connsiteY15" fmla="*/ 7683500 h 17868900"/>
                  <a:gd name="connsiteX16" fmla="*/ 3615871 w 7197271"/>
                  <a:gd name="connsiteY16" fmla="*/ 4038600 h 17868900"/>
                  <a:gd name="connsiteX17" fmla="*/ 3844471 w 7197271"/>
                  <a:gd name="connsiteY17" fmla="*/ 5143500 h 17868900"/>
                  <a:gd name="connsiteX18" fmla="*/ 3996871 w 7197271"/>
                  <a:gd name="connsiteY18" fmla="*/ 6972300 h 17868900"/>
                  <a:gd name="connsiteX19" fmla="*/ 4161971 w 7197271"/>
                  <a:gd name="connsiteY19" fmla="*/ 8724900 h 17868900"/>
                  <a:gd name="connsiteX20" fmla="*/ 4187371 w 7197271"/>
                  <a:gd name="connsiteY20" fmla="*/ 9982200 h 17868900"/>
                  <a:gd name="connsiteX21" fmla="*/ 4149271 w 7197271"/>
                  <a:gd name="connsiteY21" fmla="*/ 11163300 h 17868900"/>
                  <a:gd name="connsiteX22" fmla="*/ 4149271 w 7197271"/>
                  <a:gd name="connsiteY22" fmla="*/ 12801600 h 17868900"/>
                  <a:gd name="connsiteX23" fmla="*/ 4111171 w 7197271"/>
                  <a:gd name="connsiteY23" fmla="*/ 13792200 h 17868900"/>
                  <a:gd name="connsiteX24" fmla="*/ 4187371 w 7197271"/>
                  <a:gd name="connsiteY24" fmla="*/ 17792700 h 17868900"/>
                  <a:gd name="connsiteX25" fmla="*/ 6244771 w 7197271"/>
                  <a:gd name="connsiteY25" fmla="*/ 17868900 h 17868900"/>
                  <a:gd name="connsiteX26" fmla="*/ 6892471 w 7197271"/>
                  <a:gd name="connsiteY26" fmla="*/ 17754600 h 17868900"/>
                  <a:gd name="connsiteX27" fmla="*/ 6682921 w 7197271"/>
                  <a:gd name="connsiteY27" fmla="*/ 13525500 h 17868900"/>
                  <a:gd name="connsiteX28" fmla="*/ 6473371 w 7197271"/>
                  <a:gd name="connsiteY28" fmla="*/ 11410950 h 17868900"/>
                  <a:gd name="connsiteX29" fmla="*/ 6378122 w 7197271"/>
                  <a:gd name="connsiteY29" fmla="*/ 10210800 h 17868900"/>
                  <a:gd name="connsiteX30" fmla="*/ 6454321 w 7197271"/>
                  <a:gd name="connsiteY30" fmla="*/ 8820150 h 17868900"/>
                  <a:gd name="connsiteX31" fmla="*/ 6930571 w 7197271"/>
                  <a:gd name="connsiteY31" fmla="*/ 5067300 h 17868900"/>
                  <a:gd name="connsiteX32" fmla="*/ 7121071 w 7197271"/>
                  <a:gd name="connsiteY32" fmla="*/ 4038600 h 17868900"/>
                  <a:gd name="connsiteX33" fmla="*/ 7197271 w 7197271"/>
                  <a:gd name="connsiteY33" fmla="*/ 2705100 h 17868900"/>
                  <a:gd name="connsiteX34" fmla="*/ 7159171 w 7197271"/>
                  <a:gd name="connsiteY34" fmla="*/ 2019300 h 17868900"/>
                  <a:gd name="connsiteX35" fmla="*/ 6125987 w 7197271"/>
                  <a:gd name="connsiteY35" fmla="*/ 1882843 h 17868900"/>
                  <a:gd name="connsiteX36" fmla="*/ 4869780 w 7197271"/>
                  <a:gd name="connsiteY36" fmla="*/ 2011910 h 17868900"/>
                  <a:gd name="connsiteX37" fmla="*/ 4136261 w 7197271"/>
                  <a:gd name="connsiteY37" fmla="*/ 2048031 h 17868900"/>
                  <a:gd name="connsiteX38" fmla="*/ 3455851 w 7197271"/>
                  <a:gd name="connsiteY38" fmla="*/ 1661160 h 17868900"/>
                  <a:gd name="connsiteX39" fmla="*/ 3333931 w 7197271"/>
                  <a:gd name="connsiteY39" fmla="*/ 1287780 h 17868900"/>
                  <a:gd name="connsiteX40" fmla="*/ 3196771 w 7197271"/>
                  <a:gd name="connsiteY40" fmla="*/ 7620 h 17868900"/>
                  <a:gd name="connsiteX41" fmla="*/ 2815771 w 7197271"/>
                  <a:gd name="connsiteY41" fmla="*/ 0 h 17868900"/>
                  <a:gd name="connsiteX42" fmla="*/ 2328091 w 7197271"/>
                  <a:gd name="connsiteY42" fmla="*/ 1158240 h 17868900"/>
                  <a:gd name="connsiteX43" fmla="*/ 2092896 w 7197271"/>
                  <a:gd name="connsiteY43" fmla="*/ 1551004 h 17868900"/>
                  <a:gd name="connsiteX44" fmla="*/ 1809931 w 7197271"/>
                  <a:gd name="connsiteY44" fmla="*/ 1813560 h 17868900"/>
                  <a:gd name="connsiteX45" fmla="*/ 1184176 w 7197271"/>
                  <a:gd name="connsiteY45" fmla="*/ 1789713 h 17868900"/>
                  <a:gd name="connsiteX46" fmla="*/ 423091 w 7197271"/>
                  <a:gd name="connsiteY46" fmla="*/ 1623060 h 17868900"/>
                  <a:gd name="connsiteX47" fmla="*/ 461191 w 7197271"/>
                  <a:gd name="connsiteY47" fmla="*/ 1645920 h 17868900"/>
                  <a:gd name="connsiteX0" fmla="*/ 453571 w 7197271"/>
                  <a:gd name="connsiteY0" fmla="*/ 1676400 h 17868900"/>
                  <a:gd name="connsiteX1" fmla="*/ 416459 w 7197271"/>
                  <a:gd name="connsiteY1" fmla="*/ 2595468 h 17868900"/>
                  <a:gd name="connsiteX2" fmla="*/ 378357 w 7197271"/>
                  <a:gd name="connsiteY2" fmla="*/ 3810941 h 17868900"/>
                  <a:gd name="connsiteX3" fmla="*/ 186871 w 7197271"/>
                  <a:gd name="connsiteY3" fmla="*/ 6743700 h 17868900"/>
                  <a:gd name="connsiteX4" fmla="*/ 97971 w 7197271"/>
                  <a:gd name="connsiteY4" fmla="*/ 8267700 h 17868900"/>
                  <a:gd name="connsiteX5" fmla="*/ 167821 w 7197271"/>
                  <a:gd name="connsiteY5" fmla="*/ 10020300 h 17868900"/>
                  <a:gd name="connsiteX6" fmla="*/ 186871 w 7197271"/>
                  <a:gd name="connsiteY6" fmla="*/ 11004550 h 17868900"/>
                  <a:gd name="connsiteX7" fmla="*/ 186871 w 7197271"/>
                  <a:gd name="connsiteY7" fmla="*/ 13182600 h 17868900"/>
                  <a:gd name="connsiteX8" fmla="*/ 0 w 7197271"/>
                  <a:gd name="connsiteY8" fmla="*/ 17366344 h 17868900"/>
                  <a:gd name="connsiteX9" fmla="*/ 1598385 w 7197271"/>
                  <a:gd name="connsiteY9" fmla="*/ 17471572 h 17868900"/>
                  <a:gd name="connsiteX10" fmla="*/ 2663371 w 7197271"/>
                  <a:gd name="connsiteY10" fmla="*/ 17411700 h 17868900"/>
                  <a:gd name="connsiteX11" fmla="*/ 2472871 w 7197271"/>
                  <a:gd name="connsiteY11" fmla="*/ 11049000 h 17868900"/>
                  <a:gd name="connsiteX12" fmla="*/ 2371271 w 7197271"/>
                  <a:gd name="connsiteY12" fmla="*/ 9575800 h 17868900"/>
                  <a:gd name="connsiteX13" fmla="*/ 2460171 w 7197271"/>
                  <a:gd name="connsiteY13" fmla="*/ 9093200 h 17868900"/>
                  <a:gd name="connsiteX14" fmla="*/ 2510971 w 7197271"/>
                  <a:gd name="connsiteY14" fmla="*/ 8420100 h 17868900"/>
                  <a:gd name="connsiteX15" fmla="*/ 2701471 w 7197271"/>
                  <a:gd name="connsiteY15" fmla="*/ 7683500 h 17868900"/>
                  <a:gd name="connsiteX16" fmla="*/ 3615871 w 7197271"/>
                  <a:gd name="connsiteY16" fmla="*/ 4038600 h 17868900"/>
                  <a:gd name="connsiteX17" fmla="*/ 3844471 w 7197271"/>
                  <a:gd name="connsiteY17" fmla="*/ 5143500 h 17868900"/>
                  <a:gd name="connsiteX18" fmla="*/ 3996871 w 7197271"/>
                  <a:gd name="connsiteY18" fmla="*/ 6972300 h 17868900"/>
                  <a:gd name="connsiteX19" fmla="*/ 4161971 w 7197271"/>
                  <a:gd name="connsiteY19" fmla="*/ 8724900 h 17868900"/>
                  <a:gd name="connsiteX20" fmla="*/ 4187371 w 7197271"/>
                  <a:gd name="connsiteY20" fmla="*/ 9982200 h 17868900"/>
                  <a:gd name="connsiteX21" fmla="*/ 4149271 w 7197271"/>
                  <a:gd name="connsiteY21" fmla="*/ 11163300 h 17868900"/>
                  <a:gd name="connsiteX22" fmla="*/ 4149271 w 7197271"/>
                  <a:gd name="connsiteY22" fmla="*/ 12801600 h 17868900"/>
                  <a:gd name="connsiteX23" fmla="*/ 4111171 w 7197271"/>
                  <a:gd name="connsiteY23" fmla="*/ 13792200 h 17868900"/>
                  <a:gd name="connsiteX24" fmla="*/ 4187371 w 7197271"/>
                  <a:gd name="connsiteY24" fmla="*/ 17792700 h 17868900"/>
                  <a:gd name="connsiteX25" fmla="*/ 6244771 w 7197271"/>
                  <a:gd name="connsiteY25" fmla="*/ 17868900 h 17868900"/>
                  <a:gd name="connsiteX26" fmla="*/ 6892471 w 7197271"/>
                  <a:gd name="connsiteY26" fmla="*/ 17754600 h 17868900"/>
                  <a:gd name="connsiteX27" fmla="*/ 6682921 w 7197271"/>
                  <a:gd name="connsiteY27" fmla="*/ 13525500 h 17868900"/>
                  <a:gd name="connsiteX28" fmla="*/ 6473371 w 7197271"/>
                  <a:gd name="connsiteY28" fmla="*/ 11410950 h 17868900"/>
                  <a:gd name="connsiteX29" fmla="*/ 6378122 w 7197271"/>
                  <a:gd name="connsiteY29" fmla="*/ 10210800 h 17868900"/>
                  <a:gd name="connsiteX30" fmla="*/ 6454321 w 7197271"/>
                  <a:gd name="connsiteY30" fmla="*/ 8820150 h 17868900"/>
                  <a:gd name="connsiteX31" fmla="*/ 6930571 w 7197271"/>
                  <a:gd name="connsiteY31" fmla="*/ 5067300 h 17868900"/>
                  <a:gd name="connsiteX32" fmla="*/ 7121071 w 7197271"/>
                  <a:gd name="connsiteY32" fmla="*/ 4038600 h 17868900"/>
                  <a:gd name="connsiteX33" fmla="*/ 7197271 w 7197271"/>
                  <a:gd name="connsiteY33" fmla="*/ 2705100 h 17868900"/>
                  <a:gd name="connsiteX34" fmla="*/ 7159171 w 7197271"/>
                  <a:gd name="connsiteY34" fmla="*/ 2019300 h 17868900"/>
                  <a:gd name="connsiteX35" fmla="*/ 6125987 w 7197271"/>
                  <a:gd name="connsiteY35" fmla="*/ 1882843 h 17868900"/>
                  <a:gd name="connsiteX36" fmla="*/ 4869780 w 7197271"/>
                  <a:gd name="connsiteY36" fmla="*/ 2011910 h 17868900"/>
                  <a:gd name="connsiteX37" fmla="*/ 4136261 w 7197271"/>
                  <a:gd name="connsiteY37" fmla="*/ 2048031 h 17868900"/>
                  <a:gd name="connsiteX38" fmla="*/ 3455851 w 7197271"/>
                  <a:gd name="connsiteY38" fmla="*/ 1661160 h 17868900"/>
                  <a:gd name="connsiteX39" fmla="*/ 3333931 w 7197271"/>
                  <a:gd name="connsiteY39" fmla="*/ 1287780 h 17868900"/>
                  <a:gd name="connsiteX40" fmla="*/ 3196771 w 7197271"/>
                  <a:gd name="connsiteY40" fmla="*/ 7620 h 17868900"/>
                  <a:gd name="connsiteX41" fmla="*/ 2815771 w 7197271"/>
                  <a:gd name="connsiteY41" fmla="*/ 0 h 17868900"/>
                  <a:gd name="connsiteX42" fmla="*/ 2328091 w 7197271"/>
                  <a:gd name="connsiteY42" fmla="*/ 1158240 h 17868900"/>
                  <a:gd name="connsiteX43" fmla="*/ 2092896 w 7197271"/>
                  <a:gd name="connsiteY43" fmla="*/ 1551004 h 17868900"/>
                  <a:gd name="connsiteX44" fmla="*/ 1809931 w 7197271"/>
                  <a:gd name="connsiteY44" fmla="*/ 1813560 h 17868900"/>
                  <a:gd name="connsiteX45" fmla="*/ 1184176 w 7197271"/>
                  <a:gd name="connsiteY45" fmla="*/ 1789713 h 17868900"/>
                  <a:gd name="connsiteX46" fmla="*/ 423091 w 7197271"/>
                  <a:gd name="connsiteY46" fmla="*/ 1623060 h 17868900"/>
                  <a:gd name="connsiteX47" fmla="*/ 461191 w 7197271"/>
                  <a:gd name="connsiteY47" fmla="*/ 1645920 h 1786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7197271" h="17868900">
                    <a:moveTo>
                      <a:pt x="453571" y="1676400"/>
                    </a:moveTo>
                    <a:lnTo>
                      <a:pt x="416459" y="2595468"/>
                    </a:lnTo>
                    <a:lnTo>
                      <a:pt x="378357" y="3810941"/>
                    </a:lnTo>
                    <a:lnTo>
                      <a:pt x="186871" y="6743700"/>
                    </a:lnTo>
                    <a:lnTo>
                      <a:pt x="97971" y="8267700"/>
                    </a:lnTo>
                    <a:cubicBezTo>
                      <a:pt x="41921" y="9105852"/>
                      <a:pt x="155121" y="9485798"/>
                      <a:pt x="167821" y="10020300"/>
                    </a:cubicBezTo>
                    <a:lnTo>
                      <a:pt x="186871" y="11004550"/>
                    </a:lnTo>
                    <a:lnTo>
                      <a:pt x="186871" y="13182600"/>
                    </a:lnTo>
                    <a:lnTo>
                      <a:pt x="0" y="17366344"/>
                    </a:lnTo>
                    <a:lnTo>
                      <a:pt x="1598385" y="17471572"/>
                    </a:lnTo>
                    <a:lnTo>
                      <a:pt x="2663371" y="17411700"/>
                    </a:lnTo>
                    <a:cubicBezTo>
                      <a:pt x="2542137" y="13805865"/>
                      <a:pt x="2739571" y="14921510"/>
                      <a:pt x="2472871" y="11049000"/>
                    </a:cubicBezTo>
                    <a:lnTo>
                      <a:pt x="2371271" y="9575800"/>
                    </a:lnTo>
                    <a:lnTo>
                      <a:pt x="2460171" y="9093200"/>
                    </a:lnTo>
                    <a:cubicBezTo>
                      <a:pt x="2472871" y="8763000"/>
                      <a:pt x="2460172" y="8804728"/>
                      <a:pt x="2510971" y="8420100"/>
                    </a:cubicBezTo>
                    <a:lnTo>
                      <a:pt x="2701471" y="7683500"/>
                    </a:lnTo>
                    <a:lnTo>
                      <a:pt x="3615871" y="4038600"/>
                    </a:lnTo>
                    <a:cubicBezTo>
                      <a:pt x="3886927" y="5122824"/>
                      <a:pt x="3684557" y="4350914"/>
                      <a:pt x="3844471" y="5143500"/>
                    </a:cubicBezTo>
                    <a:lnTo>
                      <a:pt x="3996871" y="6972300"/>
                    </a:lnTo>
                    <a:lnTo>
                      <a:pt x="4161971" y="8724900"/>
                    </a:lnTo>
                    <a:lnTo>
                      <a:pt x="4187371" y="9982200"/>
                    </a:lnTo>
                    <a:lnTo>
                      <a:pt x="4149271" y="11163300"/>
                    </a:lnTo>
                    <a:lnTo>
                      <a:pt x="4149271" y="12801600"/>
                    </a:lnTo>
                    <a:lnTo>
                      <a:pt x="4111171" y="13792200"/>
                    </a:lnTo>
                    <a:lnTo>
                      <a:pt x="4187371" y="17792700"/>
                    </a:lnTo>
                    <a:lnTo>
                      <a:pt x="6244771" y="17868900"/>
                    </a:lnTo>
                    <a:lnTo>
                      <a:pt x="6892471" y="17754600"/>
                    </a:lnTo>
                    <a:lnTo>
                      <a:pt x="6682921" y="13525500"/>
                    </a:lnTo>
                    <a:lnTo>
                      <a:pt x="6473371" y="11410950"/>
                    </a:lnTo>
                    <a:cubicBezTo>
                      <a:pt x="6441621" y="10864850"/>
                      <a:pt x="6381297" y="10642600"/>
                      <a:pt x="6378122" y="10210800"/>
                    </a:cubicBezTo>
                    <a:cubicBezTo>
                      <a:pt x="6374947" y="9779000"/>
                      <a:pt x="6333671" y="9601200"/>
                      <a:pt x="6454321" y="8820150"/>
                    </a:cubicBezTo>
                    <a:lnTo>
                      <a:pt x="6930571" y="5067300"/>
                    </a:lnTo>
                    <a:lnTo>
                      <a:pt x="7121071" y="4038600"/>
                    </a:lnTo>
                    <a:lnTo>
                      <a:pt x="7197271" y="2705100"/>
                    </a:lnTo>
                    <a:lnTo>
                      <a:pt x="7159171" y="2019300"/>
                    </a:lnTo>
                    <a:lnTo>
                      <a:pt x="6125987" y="1882843"/>
                    </a:lnTo>
                    <a:lnTo>
                      <a:pt x="4869780" y="2011910"/>
                    </a:lnTo>
                    <a:lnTo>
                      <a:pt x="4136261" y="2048031"/>
                    </a:lnTo>
                    <a:lnTo>
                      <a:pt x="3455851" y="1661160"/>
                    </a:lnTo>
                    <a:lnTo>
                      <a:pt x="3333931" y="1287780"/>
                    </a:lnTo>
                    <a:lnTo>
                      <a:pt x="3196771" y="7620"/>
                    </a:lnTo>
                    <a:lnTo>
                      <a:pt x="2815771" y="0"/>
                    </a:lnTo>
                    <a:lnTo>
                      <a:pt x="2328091" y="1158240"/>
                    </a:lnTo>
                    <a:cubicBezTo>
                      <a:pt x="2129461" y="1267056"/>
                      <a:pt x="2230186" y="1551004"/>
                      <a:pt x="2092896" y="1551004"/>
                    </a:cubicBezTo>
                    <a:cubicBezTo>
                      <a:pt x="2235025" y="1497514"/>
                      <a:pt x="1599092" y="1813560"/>
                      <a:pt x="1809931" y="1813560"/>
                    </a:cubicBezTo>
                    <a:cubicBezTo>
                      <a:pt x="1400991" y="1945640"/>
                      <a:pt x="1410236" y="1733833"/>
                      <a:pt x="1184176" y="1789713"/>
                    </a:cubicBezTo>
                    <a:lnTo>
                      <a:pt x="423091" y="1623060"/>
                    </a:lnTo>
                    <a:lnTo>
                      <a:pt x="461191" y="1645920"/>
                    </a:lnTo>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191" name="Freeform 190"/>
              <p:cNvSpPr/>
              <p:nvPr/>
            </p:nvSpPr>
            <p:spPr>
              <a:xfrm>
                <a:off x="4463964" y="2613550"/>
                <a:ext cx="85427" cy="176366"/>
              </a:xfrm>
              <a:custGeom>
                <a:avLst/>
                <a:gdLst>
                  <a:gd name="connsiteX0" fmla="*/ 348343 w 449943"/>
                  <a:gd name="connsiteY0" fmla="*/ 0 h 928914"/>
                  <a:gd name="connsiteX1" fmla="*/ 0 w 449943"/>
                  <a:gd name="connsiteY1" fmla="*/ 928914 h 928914"/>
                  <a:gd name="connsiteX2" fmla="*/ 246743 w 449943"/>
                  <a:gd name="connsiteY2" fmla="*/ 914400 h 928914"/>
                  <a:gd name="connsiteX3" fmla="*/ 449943 w 449943"/>
                  <a:gd name="connsiteY3" fmla="*/ 928914 h 928914"/>
                  <a:gd name="connsiteX4" fmla="*/ 406400 w 449943"/>
                  <a:gd name="connsiteY4" fmla="*/ 275771 h 928914"/>
                  <a:gd name="connsiteX5" fmla="*/ 348343 w 449943"/>
                  <a:gd name="connsiteY5" fmla="*/ 0 h 92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9943" h="928914">
                    <a:moveTo>
                      <a:pt x="348343" y="0"/>
                    </a:moveTo>
                    <a:lnTo>
                      <a:pt x="0" y="928914"/>
                    </a:lnTo>
                    <a:lnTo>
                      <a:pt x="246743" y="914400"/>
                    </a:lnTo>
                    <a:lnTo>
                      <a:pt x="449943" y="928914"/>
                    </a:lnTo>
                    <a:lnTo>
                      <a:pt x="406400" y="275771"/>
                    </a:lnTo>
                    <a:lnTo>
                      <a:pt x="348343"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192" name="Freeform 191"/>
              <p:cNvSpPr/>
              <p:nvPr/>
            </p:nvSpPr>
            <p:spPr>
              <a:xfrm>
                <a:off x="4153945" y="1438578"/>
                <a:ext cx="89217" cy="431615"/>
              </a:xfrm>
              <a:custGeom>
                <a:avLst/>
                <a:gdLst>
                  <a:gd name="connsiteX0" fmla="*/ 25400 w 469900"/>
                  <a:gd name="connsiteY0" fmla="*/ 0 h 2273300"/>
                  <a:gd name="connsiteX1" fmla="*/ 50800 w 469900"/>
                  <a:gd name="connsiteY1" fmla="*/ 342900 h 2273300"/>
                  <a:gd name="connsiteX2" fmla="*/ 215900 w 469900"/>
                  <a:gd name="connsiteY2" fmla="*/ 812800 h 2273300"/>
                  <a:gd name="connsiteX3" fmla="*/ 190500 w 469900"/>
                  <a:gd name="connsiteY3" fmla="*/ 1270000 h 2273300"/>
                  <a:gd name="connsiteX4" fmla="*/ 228600 w 469900"/>
                  <a:gd name="connsiteY4" fmla="*/ 1498600 h 2273300"/>
                  <a:gd name="connsiteX5" fmla="*/ 381000 w 469900"/>
                  <a:gd name="connsiteY5" fmla="*/ 1727200 h 2273300"/>
                  <a:gd name="connsiteX6" fmla="*/ 419100 w 469900"/>
                  <a:gd name="connsiteY6" fmla="*/ 2019300 h 2273300"/>
                  <a:gd name="connsiteX7" fmla="*/ 469900 w 469900"/>
                  <a:gd name="connsiteY7" fmla="*/ 2273300 h 2273300"/>
                  <a:gd name="connsiteX8" fmla="*/ 254000 w 469900"/>
                  <a:gd name="connsiteY8" fmla="*/ 2273300 h 2273300"/>
                  <a:gd name="connsiteX9" fmla="*/ 254000 w 469900"/>
                  <a:gd name="connsiteY9" fmla="*/ 2159000 h 2273300"/>
                  <a:gd name="connsiteX10" fmla="*/ 88900 w 469900"/>
                  <a:gd name="connsiteY10" fmla="*/ 1879600 h 2273300"/>
                  <a:gd name="connsiteX11" fmla="*/ 0 w 469900"/>
                  <a:gd name="connsiteY11" fmla="*/ 1714500 h 2273300"/>
                  <a:gd name="connsiteX12" fmla="*/ 88900 w 469900"/>
                  <a:gd name="connsiteY12" fmla="*/ 1790700 h 2273300"/>
                  <a:gd name="connsiteX13" fmla="*/ 152400 w 469900"/>
                  <a:gd name="connsiteY13" fmla="*/ 1854200 h 2273300"/>
                  <a:gd name="connsiteX14" fmla="*/ 114300 w 469900"/>
                  <a:gd name="connsiteY14" fmla="*/ 1612900 h 2273300"/>
                  <a:gd name="connsiteX15" fmla="*/ 127000 w 469900"/>
                  <a:gd name="connsiteY15" fmla="*/ 1346200 h 2273300"/>
                  <a:gd name="connsiteX16" fmla="*/ 114300 w 469900"/>
                  <a:gd name="connsiteY16" fmla="*/ 1092200 h 2273300"/>
                  <a:gd name="connsiteX17" fmla="*/ 190500 w 469900"/>
                  <a:gd name="connsiteY17" fmla="*/ 825500 h 2273300"/>
                  <a:gd name="connsiteX18" fmla="*/ 88900 w 469900"/>
                  <a:gd name="connsiteY18" fmla="*/ 495300 h 2273300"/>
                  <a:gd name="connsiteX19" fmla="*/ 12700 w 469900"/>
                  <a:gd name="connsiteY19" fmla="*/ 254000 h 2273300"/>
                  <a:gd name="connsiteX20" fmla="*/ 25400 w 469900"/>
                  <a:gd name="connsiteY20" fmla="*/ 0 h 2273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69900" h="2273300">
                    <a:moveTo>
                      <a:pt x="25400" y="0"/>
                    </a:moveTo>
                    <a:lnTo>
                      <a:pt x="50800" y="342900"/>
                    </a:lnTo>
                    <a:lnTo>
                      <a:pt x="215900" y="812800"/>
                    </a:lnTo>
                    <a:cubicBezTo>
                      <a:pt x="189732" y="1244577"/>
                      <a:pt x="190500" y="1091944"/>
                      <a:pt x="190500" y="1270000"/>
                    </a:cubicBezTo>
                    <a:lnTo>
                      <a:pt x="228600" y="1498600"/>
                    </a:lnTo>
                    <a:cubicBezTo>
                      <a:pt x="386080" y="1708573"/>
                      <a:pt x="381000" y="1617133"/>
                      <a:pt x="381000" y="1727200"/>
                    </a:cubicBezTo>
                    <a:cubicBezTo>
                      <a:pt x="420297" y="2002282"/>
                      <a:pt x="419100" y="1904097"/>
                      <a:pt x="419100" y="2019300"/>
                    </a:cubicBezTo>
                    <a:lnTo>
                      <a:pt x="469900" y="2273300"/>
                    </a:lnTo>
                    <a:lnTo>
                      <a:pt x="254000" y="2273300"/>
                    </a:lnTo>
                    <a:lnTo>
                      <a:pt x="254000" y="2159000"/>
                    </a:lnTo>
                    <a:lnTo>
                      <a:pt x="88900" y="1879600"/>
                    </a:lnTo>
                    <a:lnTo>
                      <a:pt x="0" y="1714500"/>
                    </a:lnTo>
                    <a:cubicBezTo>
                      <a:pt x="92345" y="1780461"/>
                      <a:pt x="88900" y="1741583"/>
                      <a:pt x="88900" y="1790700"/>
                    </a:cubicBezTo>
                    <a:lnTo>
                      <a:pt x="152400" y="1854200"/>
                    </a:lnTo>
                    <a:lnTo>
                      <a:pt x="114300" y="1612900"/>
                    </a:lnTo>
                    <a:lnTo>
                      <a:pt x="127000" y="1346200"/>
                    </a:lnTo>
                    <a:lnTo>
                      <a:pt x="114300" y="1092200"/>
                    </a:lnTo>
                    <a:lnTo>
                      <a:pt x="190500" y="825500"/>
                    </a:lnTo>
                    <a:lnTo>
                      <a:pt x="88900" y="495300"/>
                    </a:lnTo>
                    <a:lnTo>
                      <a:pt x="12700" y="254000"/>
                    </a:lnTo>
                    <a:lnTo>
                      <a:pt x="254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193" name="Freeform 192"/>
              <p:cNvSpPr/>
              <p:nvPr/>
            </p:nvSpPr>
            <p:spPr>
              <a:xfrm>
                <a:off x="5123271" y="1983173"/>
                <a:ext cx="130313" cy="470544"/>
              </a:xfrm>
              <a:custGeom>
                <a:avLst/>
                <a:gdLst>
                  <a:gd name="connsiteX0" fmla="*/ 0 w 686352"/>
                  <a:gd name="connsiteY0" fmla="*/ 2364037 h 2478337"/>
                  <a:gd name="connsiteX1" fmla="*/ 25400 w 686352"/>
                  <a:gd name="connsiteY1" fmla="*/ 2008437 h 2478337"/>
                  <a:gd name="connsiteX2" fmla="*/ 0 w 686352"/>
                  <a:gd name="connsiteY2" fmla="*/ 1665537 h 2478337"/>
                  <a:gd name="connsiteX3" fmla="*/ 38100 w 686352"/>
                  <a:gd name="connsiteY3" fmla="*/ 1322637 h 2478337"/>
                  <a:gd name="connsiteX4" fmla="*/ 228600 w 686352"/>
                  <a:gd name="connsiteY4" fmla="*/ 865437 h 2478337"/>
                  <a:gd name="connsiteX5" fmla="*/ 355600 w 686352"/>
                  <a:gd name="connsiteY5" fmla="*/ 497137 h 2478337"/>
                  <a:gd name="connsiteX6" fmla="*/ 508000 w 686352"/>
                  <a:gd name="connsiteY6" fmla="*/ 141537 h 2478337"/>
                  <a:gd name="connsiteX7" fmla="*/ 571500 w 686352"/>
                  <a:gd name="connsiteY7" fmla="*/ 52637 h 2478337"/>
                  <a:gd name="connsiteX8" fmla="*/ 533400 w 686352"/>
                  <a:gd name="connsiteY8" fmla="*/ 217737 h 2478337"/>
                  <a:gd name="connsiteX9" fmla="*/ 546100 w 686352"/>
                  <a:gd name="connsiteY9" fmla="*/ 801937 h 2478337"/>
                  <a:gd name="connsiteX10" fmla="*/ 673100 w 686352"/>
                  <a:gd name="connsiteY10" fmla="*/ 1195637 h 2478337"/>
                  <a:gd name="connsiteX11" fmla="*/ 685800 w 686352"/>
                  <a:gd name="connsiteY11" fmla="*/ 1525837 h 2478337"/>
                  <a:gd name="connsiteX12" fmla="*/ 685800 w 686352"/>
                  <a:gd name="connsiteY12" fmla="*/ 1754437 h 2478337"/>
                  <a:gd name="connsiteX13" fmla="*/ 647700 w 686352"/>
                  <a:gd name="connsiteY13" fmla="*/ 2211637 h 2478337"/>
                  <a:gd name="connsiteX14" fmla="*/ 635000 w 686352"/>
                  <a:gd name="connsiteY14" fmla="*/ 2364037 h 2478337"/>
                  <a:gd name="connsiteX15" fmla="*/ 546100 w 686352"/>
                  <a:gd name="connsiteY15" fmla="*/ 2402137 h 2478337"/>
                  <a:gd name="connsiteX16" fmla="*/ 482600 w 686352"/>
                  <a:gd name="connsiteY16" fmla="*/ 2478337 h 2478337"/>
                  <a:gd name="connsiteX17" fmla="*/ 342900 w 686352"/>
                  <a:gd name="connsiteY17" fmla="*/ 2414837 h 2478337"/>
                  <a:gd name="connsiteX18" fmla="*/ 114300 w 686352"/>
                  <a:gd name="connsiteY18" fmla="*/ 2376737 h 2478337"/>
                  <a:gd name="connsiteX19" fmla="*/ 0 w 686352"/>
                  <a:gd name="connsiteY19" fmla="*/ 2364037 h 247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86352" h="2478337">
                    <a:moveTo>
                      <a:pt x="0" y="2364037"/>
                    </a:moveTo>
                    <a:lnTo>
                      <a:pt x="25400" y="2008437"/>
                    </a:lnTo>
                    <a:lnTo>
                      <a:pt x="0" y="1665537"/>
                    </a:lnTo>
                    <a:lnTo>
                      <a:pt x="38100" y="1322637"/>
                    </a:lnTo>
                    <a:lnTo>
                      <a:pt x="228600" y="865437"/>
                    </a:lnTo>
                    <a:lnTo>
                      <a:pt x="355600" y="497137"/>
                    </a:lnTo>
                    <a:lnTo>
                      <a:pt x="508000" y="141537"/>
                    </a:lnTo>
                    <a:cubicBezTo>
                      <a:pt x="573744" y="36347"/>
                      <a:pt x="571500" y="0"/>
                      <a:pt x="571500" y="52637"/>
                    </a:cubicBezTo>
                    <a:cubicBezTo>
                      <a:pt x="532373" y="209144"/>
                      <a:pt x="533400" y="152674"/>
                      <a:pt x="533400" y="217737"/>
                    </a:cubicBezTo>
                    <a:lnTo>
                      <a:pt x="546100" y="801937"/>
                    </a:lnTo>
                    <a:lnTo>
                      <a:pt x="673100" y="1195637"/>
                    </a:lnTo>
                    <a:cubicBezTo>
                      <a:pt x="686352" y="1500425"/>
                      <a:pt x="685800" y="1390278"/>
                      <a:pt x="685800" y="1525837"/>
                    </a:cubicBezTo>
                    <a:lnTo>
                      <a:pt x="685800" y="1754437"/>
                    </a:lnTo>
                    <a:lnTo>
                      <a:pt x="647700" y="2211637"/>
                    </a:lnTo>
                    <a:lnTo>
                      <a:pt x="635000" y="2364037"/>
                    </a:lnTo>
                    <a:lnTo>
                      <a:pt x="546100" y="2402137"/>
                    </a:lnTo>
                    <a:lnTo>
                      <a:pt x="482600" y="2478337"/>
                    </a:lnTo>
                    <a:cubicBezTo>
                      <a:pt x="351814" y="2412944"/>
                      <a:pt x="402930" y="2414837"/>
                      <a:pt x="342900" y="2414837"/>
                    </a:cubicBezTo>
                    <a:lnTo>
                      <a:pt x="114300" y="2376737"/>
                    </a:lnTo>
                    <a:lnTo>
                      <a:pt x="0" y="23640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194" name="Freeform 193"/>
              <p:cNvSpPr/>
              <p:nvPr/>
            </p:nvSpPr>
            <p:spPr>
              <a:xfrm>
                <a:off x="4339268" y="1323790"/>
                <a:ext cx="190528" cy="825559"/>
              </a:xfrm>
              <a:custGeom>
                <a:avLst/>
                <a:gdLst>
                  <a:gd name="connsiteX0" fmla="*/ 116114 w 1003501"/>
                  <a:gd name="connsiteY0" fmla="*/ 194517 h 4226588"/>
                  <a:gd name="connsiteX1" fmla="*/ 0 w 1003501"/>
                  <a:gd name="connsiteY1" fmla="*/ 470288 h 4226588"/>
                  <a:gd name="connsiteX2" fmla="*/ 14514 w 1003501"/>
                  <a:gd name="connsiteY2" fmla="*/ 1254059 h 4226588"/>
                  <a:gd name="connsiteX3" fmla="*/ 159657 w 1003501"/>
                  <a:gd name="connsiteY3" fmla="*/ 2255545 h 4226588"/>
                  <a:gd name="connsiteX4" fmla="*/ 493485 w 1003501"/>
                  <a:gd name="connsiteY4" fmla="*/ 3097374 h 4226588"/>
                  <a:gd name="connsiteX5" fmla="*/ 841828 w 1003501"/>
                  <a:gd name="connsiteY5" fmla="*/ 3750517 h 4226588"/>
                  <a:gd name="connsiteX6" fmla="*/ 1001485 w 1003501"/>
                  <a:gd name="connsiteY6" fmla="*/ 4084345 h 4226588"/>
                  <a:gd name="connsiteX7" fmla="*/ 870857 w 1003501"/>
                  <a:gd name="connsiteY7" fmla="*/ 3445717 h 4226588"/>
                  <a:gd name="connsiteX8" fmla="*/ 667657 w 1003501"/>
                  <a:gd name="connsiteY8" fmla="*/ 2502288 h 4226588"/>
                  <a:gd name="connsiteX9" fmla="*/ 362857 w 1003501"/>
                  <a:gd name="connsiteY9" fmla="*/ 1965259 h 4226588"/>
                  <a:gd name="connsiteX10" fmla="*/ 696685 w 1003501"/>
                  <a:gd name="connsiteY10" fmla="*/ 2371659 h 4226588"/>
                  <a:gd name="connsiteX11" fmla="*/ 740228 w 1003501"/>
                  <a:gd name="connsiteY11" fmla="*/ 2487774 h 4226588"/>
                  <a:gd name="connsiteX12" fmla="*/ 711200 w 1003501"/>
                  <a:gd name="connsiteY12" fmla="*/ 2124917 h 4226588"/>
                  <a:gd name="connsiteX13" fmla="*/ 740228 w 1003501"/>
                  <a:gd name="connsiteY13" fmla="*/ 1718517 h 4226588"/>
                  <a:gd name="connsiteX14" fmla="*/ 537028 w 1003501"/>
                  <a:gd name="connsiteY14" fmla="*/ 1239545 h 4226588"/>
                  <a:gd name="connsiteX15" fmla="*/ 551543 w 1003501"/>
                  <a:gd name="connsiteY15" fmla="*/ 1094402 h 4226588"/>
                  <a:gd name="connsiteX16" fmla="*/ 624114 w 1003501"/>
                  <a:gd name="connsiteY16" fmla="*/ 1210517 h 4226588"/>
                  <a:gd name="connsiteX17" fmla="*/ 769257 w 1003501"/>
                  <a:gd name="connsiteY17" fmla="*/ 1500802 h 4226588"/>
                  <a:gd name="connsiteX18" fmla="*/ 914400 w 1003501"/>
                  <a:gd name="connsiteY18" fmla="*/ 1689488 h 4226588"/>
                  <a:gd name="connsiteX19" fmla="*/ 841828 w 1003501"/>
                  <a:gd name="connsiteY19" fmla="*/ 934745 h 4226588"/>
                  <a:gd name="connsiteX20" fmla="*/ 508000 w 1003501"/>
                  <a:gd name="connsiteY20" fmla="*/ 470288 h 4226588"/>
                  <a:gd name="connsiteX21" fmla="*/ 116114 w 1003501"/>
                  <a:gd name="connsiteY21" fmla="*/ 194517 h 4226588"/>
                  <a:gd name="connsiteX0" fmla="*/ 116114 w 1003501"/>
                  <a:gd name="connsiteY0" fmla="*/ 194517 h 4226588"/>
                  <a:gd name="connsiteX1" fmla="*/ 0 w 1003501"/>
                  <a:gd name="connsiteY1" fmla="*/ 470288 h 4226588"/>
                  <a:gd name="connsiteX2" fmla="*/ 14514 w 1003501"/>
                  <a:gd name="connsiteY2" fmla="*/ 1254059 h 4226588"/>
                  <a:gd name="connsiteX3" fmla="*/ 159657 w 1003501"/>
                  <a:gd name="connsiteY3" fmla="*/ 2255545 h 4226588"/>
                  <a:gd name="connsiteX4" fmla="*/ 493485 w 1003501"/>
                  <a:gd name="connsiteY4" fmla="*/ 3097374 h 4226588"/>
                  <a:gd name="connsiteX5" fmla="*/ 841828 w 1003501"/>
                  <a:gd name="connsiteY5" fmla="*/ 3750517 h 4226588"/>
                  <a:gd name="connsiteX6" fmla="*/ 1001485 w 1003501"/>
                  <a:gd name="connsiteY6" fmla="*/ 4084345 h 4226588"/>
                  <a:gd name="connsiteX7" fmla="*/ 870857 w 1003501"/>
                  <a:gd name="connsiteY7" fmla="*/ 3445717 h 4226588"/>
                  <a:gd name="connsiteX8" fmla="*/ 667657 w 1003501"/>
                  <a:gd name="connsiteY8" fmla="*/ 2502288 h 4226588"/>
                  <a:gd name="connsiteX9" fmla="*/ 362857 w 1003501"/>
                  <a:gd name="connsiteY9" fmla="*/ 1965259 h 4226588"/>
                  <a:gd name="connsiteX10" fmla="*/ 696685 w 1003501"/>
                  <a:gd name="connsiteY10" fmla="*/ 2371659 h 4226588"/>
                  <a:gd name="connsiteX11" fmla="*/ 740228 w 1003501"/>
                  <a:gd name="connsiteY11" fmla="*/ 2259174 h 4226588"/>
                  <a:gd name="connsiteX12" fmla="*/ 711200 w 1003501"/>
                  <a:gd name="connsiteY12" fmla="*/ 2124917 h 4226588"/>
                  <a:gd name="connsiteX13" fmla="*/ 740228 w 1003501"/>
                  <a:gd name="connsiteY13" fmla="*/ 1718517 h 4226588"/>
                  <a:gd name="connsiteX14" fmla="*/ 537028 w 1003501"/>
                  <a:gd name="connsiteY14" fmla="*/ 1239545 h 4226588"/>
                  <a:gd name="connsiteX15" fmla="*/ 551543 w 1003501"/>
                  <a:gd name="connsiteY15" fmla="*/ 1094402 h 4226588"/>
                  <a:gd name="connsiteX16" fmla="*/ 624114 w 1003501"/>
                  <a:gd name="connsiteY16" fmla="*/ 1210517 h 4226588"/>
                  <a:gd name="connsiteX17" fmla="*/ 769257 w 1003501"/>
                  <a:gd name="connsiteY17" fmla="*/ 1500802 h 4226588"/>
                  <a:gd name="connsiteX18" fmla="*/ 914400 w 1003501"/>
                  <a:gd name="connsiteY18" fmla="*/ 1689488 h 4226588"/>
                  <a:gd name="connsiteX19" fmla="*/ 841828 w 1003501"/>
                  <a:gd name="connsiteY19" fmla="*/ 934745 h 4226588"/>
                  <a:gd name="connsiteX20" fmla="*/ 508000 w 1003501"/>
                  <a:gd name="connsiteY20" fmla="*/ 470288 h 4226588"/>
                  <a:gd name="connsiteX21" fmla="*/ 116114 w 1003501"/>
                  <a:gd name="connsiteY21" fmla="*/ 194517 h 4226588"/>
                  <a:gd name="connsiteX0" fmla="*/ 116114 w 1003501"/>
                  <a:gd name="connsiteY0" fmla="*/ 194517 h 4226588"/>
                  <a:gd name="connsiteX1" fmla="*/ 0 w 1003501"/>
                  <a:gd name="connsiteY1" fmla="*/ 470288 h 4226588"/>
                  <a:gd name="connsiteX2" fmla="*/ 14514 w 1003501"/>
                  <a:gd name="connsiteY2" fmla="*/ 1254059 h 4226588"/>
                  <a:gd name="connsiteX3" fmla="*/ 159657 w 1003501"/>
                  <a:gd name="connsiteY3" fmla="*/ 2255545 h 4226588"/>
                  <a:gd name="connsiteX4" fmla="*/ 493485 w 1003501"/>
                  <a:gd name="connsiteY4" fmla="*/ 3097374 h 4226588"/>
                  <a:gd name="connsiteX5" fmla="*/ 841828 w 1003501"/>
                  <a:gd name="connsiteY5" fmla="*/ 3750517 h 4226588"/>
                  <a:gd name="connsiteX6" fmla="*/ 1001485 w 1003501"/>
                  <a:gd name="connsiteY6" fmla="*/ 4084345 h 4226588"/>
                  <a:gd name="connsiteX7" fmla="*/ 870857 w 1003501"/>
                  <a:gd name="connsiteY7" fmla="*/ 3445717 h 4226588"/>
                  <a:gd name="connsiteX8" fmla="*/ 667657 w 1003501"/>
                  <a:gd name="connsiteY8" fmla="*/ 2502288 h 4226588"/>
                  <a:gd name="connsiteX9" fmla="*/ 667657 w 1003501"/>
                  <a:gd name="connsiteY9" fmla="*/ 2422459 h 4226588"/>
                  <a:gd name="connsiteX10" fmla="*/ 696685 w 1003501"/>
                  <a:gd name="connsiteY10" fmla="*/ 2371659 h 4226588"/>
                  <a:gd name="connsiteX11" fmla="*/ 740228 w 1003501"/>
                  <a:gd name="connsiteY11" fmla="*/ 2259174 h 4226588"/>
                  <a:gd name="connsiteX12" fmla="*/ 711200 w 1003501"/>
                  <a:gd name="connsiteY12" fmla="*/ 2124917 h 4226588"/>
                  <a:gd name="connsiteX13" fmla="*/ 740228 w 1003501"/>
                  <a:gd name="connsiteY13" fmla="*/ 1718517 h 4226588"/>
                  <a:gd name="connsiteX14" fmla="*/ 537028 w 1003501"/>
                  <a:gd name="connsiteY14" fmla="*/ 1239545 h 4226588"/>
                  <a:gd name="connsiteX15" fmla="*/ 551543 w 1003501"/>
                  <a:gd name="connsiteY15" fmla="*/ 1094402 h 4226588"/>
                  <a:gd name="connsiteX16" fmla="*/ 624114 w 1003501"/>
                  <a:gd name="connsiteY16" fmla="*/ 1210517 h 4226588"/>
                  <a:gd name="connsiteX17" fmla="*/ 769257 w 1003501"/>
                  <a:gd name="connsiteY17" fmla="*/ 1500802 h 4226588"/>
                  <a:gd name="connsiteX18" fmla="*/ 914400 w 1003501"/>
                  <a:gd name="connsiteY18" fmla="*/ 1689488 h 4226588"/>
                  <a:gd name="connsiteX19" fmla="*/ 841828 w 1003501"/>
                  <a:gd name="connsiteY19" fmla="*/ 934745 h 4226588"/>
                  <a:gd name="connsiteX20" fmla="*/ 508000 w 1003501"/>
                  <a:gd name="connsiteY20" fmla="*/ 470288 h 4226588"/>
                  <a:gd name="connsiteX21" fmla="*/ 116114 w 1003501"/>
                  <a:gd name="connsiteY21" fmla="*/ 194517 h 4226588"/>
                  <a:gd name="connsiteX0" fmla="*/ 116114 w 1003501"/>
                  <a:gd name="connsiteY0" fmla="*/ 194517 h 4226588"/>
                  <a:gd name="connsiteX1" fmla="*/ 0 w 1003501"/>
                  <a:gd name="connsiteY1" fmla="*/ 470288 h 4226588"/>
                  <a:gd name="connsiteX2" fmla="*/ 14514 w 1003501"/>
                  <a:gd name="connsiteY2" fmla="*/ 1254059 h 4226588"/>
                  <a:gd name="connsiteX3" fmla="*/ 159657 w 1003501"/>
                  <a:gd name="connsiteY3" fmla="*/ 2255545 h 4226588"/>
                  <a:gd name="connsiteX4" fmla="*/ 493485 w 1003501"/>
                  <a:gd name="connsiteY4" fmla="*/ 3097374 h 4226588"/>
                  <a:gd name="connsiteX5" fmla="*/ 841828 w 1003501"/>
                  <a:gd name="connsiteY5" fmla="*/ 3750517 h 4226588"/>
                  <a:gd name="connsiteX6" fmla="*/ 1001485 w 1003501"/>
                  <a:gd name="connsiteY6" fmla="*/ 4084345 h 4226588"/>
                  <a:gd name="connsiteX7" fmla="*/ 870857 w 1003501"/>
                  <a:gd name="connsiteY7" fmla="*/ 3445717 h 4226588"/>
                  <a:gd name="connsiteX8" fmla="*/ 667657 w 1003501"/>
                  <a:gd name="connsiteY8" fmla="*/ 2502288 h 4226588"/>
                  <a:gd name="connsiteX9" fmla="*/ 667657 w 1003501"/>
                  <a:gd name="connsiteY9" fmla="*/ 2422459 h 4226588"/>
                  <a:gd name="connsiteX10" fmla="*/ 696685 w 1003501"/>
                  <a:gd name="connsiteY10" fmla="*/ 2371659 h 4226588"/>
                  <a:gd name="connsiteX11" fmla="*/ 740228 w 1003501"/>
                  <a:gd name="connsiteY11" fmla="*/ 2259174 h 4226588"/>
                  <a:gd name="connsiteX12" fmla="*/ 711200 w 1003501"/>
                  <a:gd name="connsiteY12" fmla="*/ 2124917 h 4226588"/>
                  <a:gd name="connsiteX13" fmla="*/ 740228 w 1003501"/>
                  <a:gd name="connsiteY13" fmla="*/ 1718517 h 4226588"/>
                  <a:gd name="connsiteX14" fmla="*/ 537028 w 1003501"/>
                  <a:gd name="connsiteY14" fmla="*/ 1239545 h 4226588"/>
                  <a:gd name="connsiteX15" fmla="*/ 551543 w 1003501"/>
                  <a:gd name="connsiteY15" fmla="*/ 1094402 h 4226588"/>
                  <a:gd name="connsiteX16" fmla="*/ 624114 w 1003501"/>
                  <a:gd name="connsiteY16" fmla="*/ 1210517 h 4226588"/>
                  <a:gd name="connsiteX17" fmla="*/ 769257 w 1003501"/>
                  <a:gd name="connsiteY17" fmla="*/ 1500802 h 4226588"/>
                  <a:gd name="connsiteX18" fmla="*/ 914400 w 1003501"/>
                  <a:gd name="connsiteY18" fmla="*/ 1689488 h 4226588"/>
                  <a:gd name="connsiteX19" fmla="*/ 841828 w 1003501"/>
                  <a:gd name="connsiteY19" fmla="*/ 553745 h 4226588"/>
                  <a:gd name="connsiteX20" fmla="*/ 508000 w 1003501"/>
                  <a:gd name="connsiteY20" fmla="*/ 470288 h 4226588"/>
                  <a:gd name="connsiteX21" fmla="*/ 116114 w 1003501"/>
                  <a:gd name="connsiteY21" fmla="*/ 194517 h 4226588"/>
                  <a:gd name="connsiteX0" fmla="*/ 116114 w 1003501"/>
                  <a:gd name="connsiteY0" fmla="*/ 194517 h 4226588"/>
                  <a:gd name="connsiteX1" fmla="*/ 0 w 1003501"/>
                  <a:gd name="connsiteY1" fmla="*/ 470288 h 4226588"/>
                  <a:gd name="connsiteX2" fmla="*/ 14514 w 1003501"/>
                  <a:gd name="connsiteY2" fmla="*/ 1254059 h 4226588"/>
                  <a:gd name="connsiteX3" fmla="*/ 159657 w 1003501"/>
                  <a:gd name="connsiteY3" fmla="*/ 2255545 h 4226588"/>
                  <a:gd name="connsiteX4" fmla="*/ 493485 w 1003501"/>
                  <a:gd name="connsiteY4" fmla="*/ 3097374 h 4226588"/>
                  <a:gd name="connsiteX5" fmla="*/ 841828 w 1003501"/>
                  <a:gd name="connsiteY5" fmla="*/ 3750517 h 4226588"/>
                  <a:gd name="connsiteX6" fmla="*/ 1001485 w 1003501"/>
                  <a:gd name="connsiteY6" fmla="*/ 4084345 h 4226588"/>
                  <a:gd name="connsiteX7" fmla="*/ 870857 w 1003501"/>
                  <a:gd name="connsiteY7" fmla="*/ 3445717 h 4226588"/>
                  <a:gd name="connsiteX8" fmla="*/ 667657 w 1003501"/>
                  <a:gd name="connsiteY8" fmla="*/ 2502288 h 4226588"/>
                  <a:gd name="connsiteX9" fmla="*/ 667657 w 1003501"/>
                  <a:gd name="connsiteY9" fmla="*/ 2422459 h 4226588"/>
                  <a:gd name="connsiteX10" fmla="*/ 696685 w 1003501"/>
                  <a:gd name="connsiteY10" fmla="*/ 2371659 h 4226588"/>
                  <a:gd name="connsiteX11" fmla="*/ 740228 w 1003501"/>
                  <a:gd name="connsiteY11" fmla="*/ 2259174 h 4226588"/>
                  <a:gd name="connsiteX12" fmla="*/ 711200 w 1003501"/>
                  <a:gd name="connsiteY12" fmla="*/ 2124917 h 4226588"/>
                  <a:gd name="connsiteX13" fmla="*/ 740228 w 1003501"/>
                  <a:gd name="connsiteY13" fmla="*/ 1718517 h 4226588"/>
                  <a:gd name="connsiteX14" fmla="*/ 537028 w 1003501"/>
                  <a:gd name="connsiteY14" fmla="*/ 1239545 h 4226588"/>
                  <a:gd name="connsiteX15" fmla="*/ 551543 w 1003501"/>
                  <a:gd name="connsiteY15" fmla="*/ 1094402 h 4226588"/>
                  <a:gd name="connsiteX16" fmla="*/ 624114 w 1003501"/>
                  <a:gd name="connsiteY16" fmla="*/ 1210517 h 4226588"/>
                  <a:gd name="connsiteX17" fmla="*/ 769257 w 1003501"/>
                  <a:gd name="connsiteY17" fmla="*/ 1500802 h 4226588"/>
                  <a:gd name="connsiteX18" fmla="*/ 914400 w 1003501"/>
                  <a:gd name="connsiteY18" fmla="*/ 1689488 h 4226588"/>
                  <a:gd name="connsiteX19" fmla="*/ 841828 w 1003501"/>
                  <a:gd name="connsiteY19" fmla="*/ 553745 h 4226588"/>
                  <a:gd name="connsiteX20" fmla="*/ 508000 w 1003501"/>
                  <a:gd name="connsiteY20" fmla="*/ 317888 h 4226588"/>
                  <a:gd name="connsiteX21" fmla="*/ 116114 w 1003501"/>
                  <a:gd name="connsiteY21" fmla="*/ 194517 h 4226588"/>
                  <a:gd name="connsiteX0" fmla="*/ 116114 w 1003501"/>
                  <a:gd name="connsiteY0" fmla="*/ 316113 h 4348184"/>
                  <a:gd name="connsiteX1" fmla="*/ 0 w 1003501"/>
                  <a:gd name="connsiteY1" fmla="*/ 591884 h 4348184"/>
                  <a:gd name="connsiteX2" fmla="*/ 14514 w 1003501"/>
                  <a:gd name="connsiteY2" fmla="*/ 1375655 h 4348184"/>
                  <a:gd name="connsiteX3" fmla="*/ 159657 w 1003501"/>
                  <a:gd name="connsiteY3" fmla="*/ 2377141 h 4348184"/>
                  <a:gd name="connsiteX4" fmla="*/ 493485 w 1003501"/>
                  <a:gd name="connsiteY4" fmla="*/ 3218970 h 4348184"/>
                  <a:gd name="connsiteX5" fmla="*/ 841828 w 1003501"/>
                  <a:gd name="connsiteY5" fmla="*/ 3872113 h 4348184"/>
                  <a:gd name="connsiteX6" fmla="*/ 1001485 w 1003501"/>
                  <a:gd name="connsiteY6" fmla="*/ 4205941 h 4348184"/>
                  <a:gd name="connsiteX7" fmla="*/ 870857 w 1003501"/>
                  <a:gd name="connsiteY7" fmla="*/ 3567313 h 4348184"/>
                  <a:gd name="connsiteX8" fmla="*/ 667657 w 1003501"/>
                  <a:gd name="connsiteY8" fmla="*/ 2623884 h 4348184"/>
                  <a:gd name="connsiteX9" fmla="*/ 667657 w 1003501"/>
                  <a:gd name="connsiteY9" fmla="*/ 2544055 h 4348184"/>
                  <a:gd name="connsiteX10" fmla="*/ 696685 w 1003501"/>
                  <a:gd name="connsiteY10" fmla="*/ 2493255 h 4348184"/>
                  <a:gd name="connsiteX11" fmla="*/ 740228 w 1003501"/>
                  <a:gd name="connsiteY11" fmla="*/ 2380770 h 4348184"/>
                  <a:gd name="connsiteX12" fmla="*/ 711200 w 1003501"/>
                  <a:gd name="connsiteY12" fmla="*/ 2246513 h 4348184"/>
                  <a:gd name="connsiteX13" fmla="*/ 740228 w 1003501"/>
                  <a:gd name="connsiteY13" fmla="*/ 1840113 h 4348184"/>
                  <a:gd name="connsiteX14" fmla="*/ 537028 w 1003501"/>
                  <a:gd name="connsiteY14" fmla="*/ 1361141 h 4348184"/>
                  <a:gd name="connsiteX15" fmla="*/ 551543 w 1003501"/>
                  <a:gd name="connsiteY15" fmla="*/ 1215998 h 4348184"/>
                  <a:gd name="connsiteX16" fmla="*/ 624114 w 1003501"/>
                  <a:gd name="connsiteY16" fmla="*/ 1332113 h 4348184"/>
                  <a:gd name="connsiteX17" fmla="*/ 769257 w 1003501"/>
                  <a:gd name="connsiteY17" fmla="*/ 1622398 h 4348184"/>
                  <a:gd name="connsiteX18" fmla="*/ 914400 w 1003501"/>
                  <a:gd name="connsiteY18" fmla="*/ 1811084 h 4348184"/>
                  <a:gd name="connsiteX19" fmla="*/ 841828 w 1003501"/>
                  <a:gd name="connsiteY19" fmla="*/ 675341 h 4348184"/>
                  <a:gd name="connsiteX20" fmla="*/ 508000 w 1003501"/>
                  <a:gd name="connsiteY20" fmla="*/ 439484 h 4348184"/>
                  <a:gd name="connsiteX21" fmla="*/ 116114 w 1003501"/>
                  <a:gd name="connsiteY21" fmla="*/ 316113 h 4348184"/>
                  <a:gd name="connsiteX0" fmla="*/ 116114 w 1003501"/>
                  <a:gd name="connsiteY0" fmla="*/ 412999 h 4445070"/>
                  <a:gd name="connsiteX1" fmla="*/ 0 w 1003501"/>
                  <a:gd name="connsiteY1" fmla="*/ 688770 h 4445070"/>
                  <a:gd name="connsiteX2" fmla="*/ 14514 w 1003501"/>
                  <a:gd name="connsiteY2" fmla="*/ 1472541 h 4445070"/>
                  <a:gd name="connsiteX3" fmla="*/ 159657 w 1003501"/>
                  <a:gd name="connsiteY3" fmla="*/ 2474027 h 4445070"/>
                  <a:gd name="connsiteX4" fmla="*/ 493485 w 1003501"/>
                  <a:gd name="connsiteY4" fmla="*/ 3315856 h 4445070"/>
                  <a:gd name="connsiteX5" fmla="*/ 841828 w 1003501"/>
                  <a:gd name="connsiteY5" fmla="*/ 3968999 h 4445070"/>
                  <a:gd name="connsiteX6" fmla="*/ 1001485 w 1003501"/>
                  <a:gd name="connsiteY6" fmla="*/ 4302827 h 4445070"/>
                  <a:gd name="connsiteX7" fmla="*/ 870857 w 1003501"/>
                  <a:gd name="connsiteY7" fmla="*/ 3664199 h 4445070"/>
                  <a:gd name="connsiteX8" fmla="*/ 667657 w 1003501"/>
                  <a:gd name="connsiteY8" fmla="*/ 2720770 h 4445070"/>
                  <a:gd name="connsiteX9" fmla="*/ 667657 w 1003501"/>
                  <a:gd name="connsiteY9" fmla="*/ 2640941 h 4445070"/>
                  <a:gd name="connsiteX10" fmla="*/ 696685 w 1003501"/>
                  <a:gd name="connsiteY10" fmla="*/ 2590141 h 4445070"/>
                  <a:gd name="connsiteX11" fmla="*/ 740228 w 1003501"/>
                  <a:gd name="connsiteY11" fmla="*/ 2477656 h 4445070"/>
                  <a:gd name="connsiteX12" fmla="*/ 711200 w 1003501"/>
                  <a:gd name="connsiteY12" fmla="*/ 2343399 h 4445070"/>
                  <a:gd name="connsiteX13" fmla="*/ 740228 w 1003501"/>
                  <a:gd name="connsiteY13" fmla="*/ 1936999 h 4445070"/>
                  <a:gd name="connsiteX14" fmla="*/ 537028 w 1003501"/>
                  <a:gd name="connsiteY14" fmla="*/ 1458027 h 4445070"/>
                  <a:gd name="connsiteX15" fmla="*/ 551543 w 1003501"/>
                  <a:gd name="connsiteY15" fmla="*/ 1312884 h 4445070"/>
                  <a:gd name="connsiteX16" fmla="*/ 624114 w 1003501"/>
                  <a:gd name="connsiteY16" fmla="*/ 1428999 h 4445070"/>
                  <a:gd name="connsiteX17" fmla="*/ 769257 w 1003501"/>
                  <a:gd name="connsiteY17" fmla="*/ 1719284 h 4445070"/>
                  <a:gd name="connsiteX18" fmla="*/ 914400 w 1003501"/>
                  <a:gd name="connsiteY18" fmla="*/ 1907970 h 4445070"/>
                  <a:gd name="connsiteX19" fmla="*/ 841828 w 1003501"/>
                  <a:gd name="connsiteY19" fmla="*/ 772227 h 4445070"/>
                  <a:gd name="connsiteX20" fmla="*/ 508000 w 1003501"/>
                  <a:gd name="connsiteY20" fmla="*/ 307770 h 4445070"/>
                  <a:gd name="connsiteX21" fmla="*/ 116114 w 1003501"/>
                  <a:gd name="connsiteY21" fmla="*/ 412999 h 4445070"/>
                  <a:gd name="connsiteX0" fmla="*/ 116114 w 1003501"/>
                  <a:gd name="connsiteY0" fmla="*/ 316113 h 4348184"/>
                  <a:gd name="connsiteX1" fmla="*/ 0 w 1003501"/>
                  <a:gd name="connsiteY1" fmla="*/ 591884 h 4348184"/>
                  <a:gd name="connsiteX2" fmla="*/ 14514 w 1003501"/>
                  <a:gd name="connsiteY2" fmla="*/ 1375655 h 4348184"/>
                  <a:gd name="connsiteX3" fmla="*/ 159657 w 1003501"/>
                  <a:gd name="connsiteY3" fmla="*/ 2377141 h 4348184"/>
                  <a:gd name="connsiteX4" fmla="*/ 493485 w 1003501"/>
                  <a:gd name="connsiteY4" fmla="*/ 3218970 h 4348184"/>
                  <a:gd name="connsiteX5" fmla="*/ 841828 w 1003501"/>
                  <a:gd name="connsiteY5" fmla="*/ 3872113 h 4348184"/>
                  <a:gd name="connsiteX6" fmla="*/ 1001485 w 1003501"/>
                  <a:gd name="connsiteY6" fmla="*/ 4205941 h 4348184"/>
                  <a:gd name="connsiteX7" fmla="*/ 870857 w 1003501"/>
                  <a:gd name="connsiteY7" fmla="*/ 3567313 h 4348184"/>
                  <a:gd name="connsiteX8" fmla="*/ 667657 w 1003501"/>
                  <a:gd name="connsiteY8" fmla="*/ 2623884 h 4348184"/>
                  <a:gd name="connsiteX9" fmla="*/ 667657 w 1003501"/>
                  <a:gd name="connsiteY9" fmla="*/ 2544055 h 4348184"/>
                  <a:gd name="connsiteX10" fmla="*/ 696685 w 1003501"/>
                  <a:gd name="connsiteY10" fmla="*/ 2493255 h 4348184"/>
                  <a:gd name="connsiteX11" fmla="*/ 740228 w 1003501"/>
                  <a:gd name="connsiteY11" fmla="*/ 2380770 h 4348184"/>
                  <a:gd name="connsiteX12" fmla="*/ 711200 w 1003501"/>
                  <a:gd name="connsiteY12" fmla="*/ 2246513 h 4348184"/>
                  <a:gd name="connsiteX13" fmla="*/ 740228 w 1003501"/>
                  <a:gd name="connsiteY13" fmla="*/ 1840113 h 4348184"/>
                  <a:gd name="connsiteX14" fmla="*/ 537028 w 1003501"/>
                  <a:gd name="connsiteY14" fmla="*/ 1361141 h 4348184"/>
                  <a:gd name="connsiteX15" fmla="*/ 551543 w 1003501"/>
                  <a:gd name="connsiteY15" fmla="*/ 1215998 h 4348184"/>
                  <a:gd name="connsiteX16" fmla="*/ 624114 w 1003501"/>
                  <a:gd name="connsiteY16" fmla="*/ 1332113 h 4348184"/>
                  <a:gd name="connsiteX17" fmla="*/ 769257 w 1003501"/>
                  <a:gd name="connsiteY17" fmla="*/ 1622398 h 4348184"/>
                  <a:gd name="connsiteX18" fmla="*/ 914400 w 1003501"/>
                  <a:gd name="connsiteY18" fmla="*/ 1811084 h 4348184"/>
                  <a:gd name="connsiteX19" fmla="*/ 841828 w 1003501"/>
                  <a:gd name="connsiteY19" fmla="*/ 675341 h 4348184"/>
                  <a:gd name="connsiteX20" fmla="*/ 508000 w 1003501"/>
                  <a:gd name="connsiteY20" fmla="*/ 210884 h 4348184"/>
                  <a:gd name="connsiteX21" fmla="*/ 116114 w 1003501"/>
                  <a:gd name="connsiteY21" fmla="*/ 316113 h 4348184"/>
                  <a:gd name="connsiteX0" fmla="*/ 116114 w 1003501"/>
                  <a:gd name="connsiteY0" fmla="*/ 316113 h 4348184"/>
                  <a:gd name="connsiteX1" fmla="*/ 0 w 1003501"/>
                  <a:gd name="connsiteY1" fmla="*/ 591884 h 4348184"/>
                  <a:gd name="connsiteX2" fmla="*/ 14514 w 1003501"/>
                  <a:gd name="connsiteY2" fmla="*/ 1375655 h 4348184"/>
                  <a:gd name="connsiteX3" fmla="*/ 159657 w 1003501"/>
                  <a:gd name="connsiteY3" fmla="*/ 2377141 h 4348184"/>
                  <a:gd name="connsiteX4" fmla="*/ 493485 w 1003501"/>
                  <a:gd name="connsiteY4" fmla="*/ 3218970 h 4348184"/>
                  <a:gd name="connsiteX5" fmla="*/ 841828 w 1003501"/>
                  <a:gd name="connsiteY5" fmla="*/ 3872113 h 4348184"/>
                  <a:gd name="connsiteX6" fmla="*/ 1001485 w 1003501"/>
                  <a:gd name="connsiteY6" fmla="*/ 4205941 h 4348184"/>
                  <a:gd name="connsiteX7" fmla="*/ 870857 w 1003501"/>
                  <a:gd name="connsiteY7" fmla="*/ 3567313 h 4348184"/>
                  <a:gd name="connsiteX8" fmla="*/ 667657 w 1003501"/>
                  <a:gd name="connsiteY8" fmla="*/ 2623884 h 4348184"/>
                  <a:gd name="connsiteX9" fmla="*/ 667657 w 1003501"/>
                  <a:gd name="connsiteY9" fmla="*/ 2544055 h 4348184"/>
                  <a:gd name="connsiteX10" fmla="*/ 696685 w 1003501"/>
                  <a:gd name="connsiteY10" fmla="*/ 2493255 h 4348184"/>
                  <a:gd name="connsiteX11" fmla="*/ 740228 w 1003501"/>
                  <a:gd name="connsiteY11" fmla="*/ 2380770 h 4348184"/>
                  <a:gd name="connsiteX12" fmla="*/ 711200 w 1003501"/>
                  <a:gd name="connsiteY12" fmla="*/ 2246513 h 4348184"/>
                  <a:gd name="connsiteX13" fmla="*/ 740228 w 1003501"/>
                  <a:gd name="connsiteY13" fmla="*/ 1840113 h 4348184"/>
                  <a:gd name="connsiteX14" fmla="*/ 537028 w 1003501"/>
                  <a:gd name="connsiteY14" fmla="*/ 1361141 h 4348184"/>
                  <a:gd name="connsiteX15" fmla="*/ 551543 w 1003501"/>
                  <a:gd name="connsiteY15" fmla="*/ 1215998 h 4348184"/>
                  <a:gd name="connsiteX16" fmla="*/ 624114 w 1003501"/>
                  <a:gd name="connsiteY16" fmla="*/ 1332113 h 4348184"/>
                  <a:gd name="connsiteX17" fmla="*/ 769257 w 1003501"/>
                  <a:gd name="connsiteY17" fmla="*/ 1622398 h 4348184"/>
                  <a:gd name="connsiteX18" fmla="*/ 914400 w 1003501"/>
                  <a:gd name="connsiteY18" fmla="*/ 1811084 h 4348184"/>
                  <a:gd name="connsiteX19" fmla="*/ 841828 w 1003501"/>
                  <a:gd name="connsiteY19" fmla="*/ 675341 h 4348184"/>
                  <a:gd name="connsiteX20" fmla="*/ 508000 w 1003501"/>
                  <a:gd name="connsiteY20" fmla="*/ 210884 h 4348184"/>
                  <a:gd name="connsiteX21" fmla="*/ 116114 w 1003501"/>
                  <a:gd name="connsiteY21" fmla="*/ 316113 h 4348184"/>
                  <a:gd name="connsiteX0" fmla="*/ 116114 w 1003501"/>
                  <a:gd name="connsiteY0" fmla="*/ 316113 h 4348184"/>
                  <a:gd name="connsiteX1" fmla="*/ 0 w 1003501"/>
                  <a:gd name="connsiteY1" fmla="*/ 591884 h 4348184"/>
                  <a:gd name="connsiteX2" fmla="*/ 14514 w 1003501"/>
                  <a:gd name="connsiteY2" fmla="*/ 1375655 h 4348184"/>
                  <a:gd name="connsiteX3" fmla="*/ 159657 w 1003501"/>
                  <a:gd name="connsiteY3" fmla="*/ 2377141 h 4348184"/>
                  <a:gd name="connsiteX4" fmla="*/ 493485 w 1003501"/>
                  <a:gd name="connsiteY4" fmla="*/ 3218970 h 4348184"/>
                  <a:gd name="connsiteX5" fmla="*/ 841828 w 1003501"/>
                  <a:gd name="connsiteY5" fmla="*/ 3872113 h 4348184"/>
                  <a:gd name="connsiteX6" fmla="*/ 1001485 w 1003501"/>
                  <a:gd name="connsiteY6" fmla="*/ 4205941 h 4348184"/>
                  <a:gd name="connsiteX7" fmla="*/ 870857 w 1003501"/>
                  <a:gd name="connsiteY7" fmla="*/ 3567313 h 4348184"/>
                  <a:gd name="connsiteX8" fmla="*/ 667657 w 1003501"/>
                  <a:gd name="connsiteY8" fmla="*/ 2623884 h 4348184"/>
                  <a:gd name="connsiteX9" fmla="*/ 667657 w 1003501"/>
                  <a:gd name="connsiteY9" fmla="*/ 2544055 h 4348184"/>
                  <a:gd name="connsiteX10" fmla="*/ 696685 w 1003501"/>
                  <a:gd name="connsiteY10" fmla="*/ 2493255 h 4348184"/>
                  <a:gd name="connsiteX11" fmla="*/ 740228 w 1003501"/>
                  <a:gd name="connsiteY11" fmla="*/ 2380770 h 4348184"/>
                  <a:gd name="connsiteX12" fmla="*/ 711200 w 1003501"/>
                  <a:gd name="connsiteY12" fmla="*/ 2246513 h 4348184"/>
                  <a:gd name="connsiteX13" fmla="*/ 740228 w 1003501"/>
                  <a:gd name="connsiteY13" fmla="*/ 1840113 h 4348184"/>
                  <a:gd name="connsiteX14" fmla="*/ 537028 w 1003501"/>
                  <a:gd name="connsiteY14" fmla="*/ 1361141 h 4348184"/>
                  <a:gd name="connsiteX15" fmla="*/ 551543 w 1003501"/>
                  <a:gd name="connsiteY15" fmla="*/ 1215998 h 4348184"/>
                  <a:gd name="connsiteX16" fmla="*/ 624114 w 1003501"/>
                  <a:gd name="connsiteY16" fmla="*/ 1332113 h 4348184"/>
                  <a:gd name="connsiteX17" fmla="*/ 769257 w 1003501"/>
                  <a:gd name="connsiteY17" fmla="*/ 1622398 h 4348184"/>
                  <a:gd name="connsiteX18" fmla="*/ 914400 w 1003501"/>
                  <a:gd name="connsiteY18" fmla="*/ 1811084 h 4348184"/>
                  <a:gd name="connsiteX19" fmla="*/ 841828 w 1003501"/>
                  <a:gd name="connsiteY19" fmla="*/ 675341 h 4348184"/>
                  <a:gd name="connsiteX20" fmla="*/ 890544 w 1003501"/>
                  <a:gd name="connsiteY20" fmla="*/ 196833 h 4348184"/>
                  <a:gd name="connsiteX21" fmla="*/ 508000 w 1003501"/>
                  <a:gd name="connsiteY21" fmla="*/ 210884 h 4348184"/>
                  <a:gd name="connsiteX22" fmla="*/ 116114 w 1003501"/>
                  <a:gd name="connsiteY22" fmla="*/ 316113 h 4348184"/>
                  <a:gd name="connsiteX0" fmla="*/ 116114 w 1003501"/>
                  <a:gd name="connsiteY0" fmla="*/ 316113 h 4348184"/>
                  <a:gd name="connsiteX1" fmla="*/ 0 w 1003501"/>
                  <a:gd name="connsiteY1" fmla="*/ 591884 h 4348184"/>
                  <a:gd name="connsiteX2" fmla="*/ 14514 w 1003501"/>
                  <a:gd name="connsiteY2" fmla="*/ 1375655 h 4348184"/>
                  <a:gd name="connsiteX3" fmla="*/ 159657 w 1003501"/>
                  <a:gd name="connsiteY3" fmla="*/ 2377141 h 4348184"/>
                  <a:gd name="connsiteX4" fmla="*/ 493485 w 1003501"/>
                  <a:gd name="connsiteY4" fmla="*/ 3218970 h 4348184"/>
                  <a:gd name="connsiteX5" fmla="*/ 841828 w 1003501"/>
                  <a:gd name="connsiteY5" fmla="*/ 3872113 h 4348184"/>
                  <a:gd name="connsiteX6" fmla="*/ 1001485 w 1003501"/>
                  <a:gd name="connsiteY6" fmla="*/ 4205941 h 4348184"/>
                  <a:gd name="connsiteX7" fmla="*/ 870857 w 1003501"/>
                  <a:gd name="connsiteY7" fmla="*/ 3567313 h 4348184"/>
                  <a:gd name="connsiteX8" fmla="*/ 667657 w 1003501"/>
                  <a:gd name="connsiteY8" fmla="*/ 2623884 h 4348184"/>
                  <a:gd name="connsiteX9" fmla="*/ 667657 w 1003501"/>
                  <a:gd name="connsiteY9" fmla="*/ 2544055 h 4348184"/>
                  <a:gd name="connsiteX10" fmla="*/ 696685 w 1003501"/>
                  <a:gd name="connsiteY10" fmla="*/ 2493255 h 4348184"/>
                  <a:gd name="connsiteX11" fmla="*/ 740228 w 1003501"/>
                  <a:gd name="connsiteY11" fmla="*/ 2380770 h 4348184"/>
                  <a:gd name="connsiteX12" fmla="*/ 711200 w 1003501"/>
                  <a:gd name="connsiteY12" fmla="*/ 2246513 h 4348184"/>
                  <a:gd name="connsiteX13" fmla="*/ 740228 w 1003501"/>
                  <a:gd name="connsiteY13" fmla="*/ 1840113 h 4348184"/>
                  <a:gd name="connsiteX14" fmla="*/ 537028 w 1003501"/>
                  <a:gd name="connsiteY14" fmla="*/ 1361141 h 4348184"/>
                  <a:gd name="connsiteX15" fmla="*/ 551543 w 1003501"/>
                  <a:gd name="connsiteY15" fmla="*/ 1215998 h 4348184"/>
                  <a:gd name="connsiteX16" fmla="*/ 624114 w 1003501"/>
                  <a:gd name="connsiteY16" fmla="*/ 1332113 h 4348184"/>
                  <a:gd name="connsiteX17" fmla="*/ 769257 w 1003501"/>
                  <a:gd name="connsiteY17" fmla="*/ 1622398 h 4348184"/>
                  <a:gd name="connsiteX18" fmla="*/ 914400 w 1003501"/>
                  <a:gd name="connsiteY18" fmla="*/ 1811084 h 4348184"/>
                  <a:gd name="connsiteX19" fmla="*/ 841828 w 1003501"/>
                  <a:gd name="connsiteY19" fmla="*/ 675341 h 4348184"/>
                  <a:gd name="connsiteX20" fmla="*/ 890544 w 1003501"/>
                  <a:gd name="connsiteY20" fmla="*/ 196833 h 4348184"/>
                  <a:gd name="connsiteX21" fmla="*/ 508000 w 1003501"/>
                  <a:gd name="connsiteY21" fmla="*/ 363284 h 4348184"/>
                  <a:gd name="connsiteX22" fmla="*/ 116114 w 1003501"/>
                  <a:gd name="connsiteY22" fmla="*/ 316113 h 4348184"/>
                  <a:gd name="connsiteX0" fmla="*/ 116114 w 1003501"/>
                  <a:gd name="connsiteY0" fmla="*/ 316113 h 4348184"/>
                  <a:gd name="connsiteX1" fmla="*/ 0 w 1003501"/>
                  <a:gd name="connsiteY1" fmla="*/ 591884 h 4348184"/>
                  <a:gd name="connsiteX2" fmla="*/ 14514 w 1003501"/>
                  <a:gd name="connsiteY2" fmla="*/ 1375655 h 4348184"/>
                  <a:gd name="connsiteX3" fmla="*/ 159657 w 1003501"/>
                  <a:gd name="connsiteY3" fmla="*/ 2377141 h 4348184"/>
                  <a:gd name="connsiteX4" fmla="*/ 493485 w 1003501"/>
                  <a:gd name="connsiteY4" fmla="*/ 3218970 h 4348184"/>
                  <a:gd name="connsiteX5" fmla="*/ 841828 w 1003501"/>
                  <a:gd name="connsiteY5" fmla="*/ 3872113 h 4348184"/>
                  <a:gd name="connsiteX6" fmla="*/ 1001485 w 1003501"/>
                  <a:gd name="connsiteY6" fmla="*/ 4205941 h 4348184"/>
                  <a:gd name="connsiteX7" fmla="*/ 870857 w 1003501"/>
                  <a:gd name="connsiteY7" fmla="*/ 3567313 h 4348184"/>
                  <a:gd name="connsiteX8" fmla="*/ 667657 w 1003501"/>
                  <a:gd name="connsiteY8" fmla="*/ 2623884 h 4348184"/>
                  <a:gd name="connsiteX9" fmla="*/ 667657 w 1003501"/>
                  <a:gd name="connsiteY9" fmla="*/ 2544055 h 4348184"/>
                  <a:gd name="connsiteX10" fmla="*/ 696685 w 1003501"/>
                  <a:gd name="connsiteY10" fmla="*/ 2493255 h 4348184"/>
                  <a:gd name="connsiteX11" fmla="*/ 740228 w 1003501"/>
                  <a:gd name="connsiteY11" fmla="*/ 2380770 h 4348184"/>
                  <a:gd name="connsiteX12" fmla="*/ 711200 w 1003501"/>
                  <a:gd name="connsiteY12" fmla="*/ 2246513 h 4348184"/>
                  <a:gd name="connsiteX13" fmla="*/ 740228 w 1003501"/>
                  <a:gd name="connsiteY13" fmla="*/ 1840113 h 4348184"/>
                  <a:gd name="connsiteX14" fmla="*/ 537028 w 1003501"/>
                  <a:gd name="connsiteY14" fmla="*/ 1361141 h 4348184"/>
                  <a:gd name="connsiteX15" fmla="*/ 551543 w 1003501"/>
                  <a:gd name="connsiteY15" fmla="*/ 1215998 h 4348184"/>
                  <a:gd name="connsiteX16" fmla="*/ 624114 w 1003501"/>
                  <a:gd name="connsiteY16" fmla="*/ 1332113 h 4348184"/>
                  <a:gd name="connsiteX17" fmla="*/ 769257 w 1003501"/>
                  <a:gd name="connsiteY17" fmla="*/ 1622398 h 4348184"/>
                  <a:gd name="connsiteX18" fmla="*/ 914400 w 1003501"/>
                  <a:gd name="connsiteY18" fmla="*/ 1811084 h 4348184"/>
                  <a:gd name="connsiteX19" fmla="*/ 841828 w 1003501"/>
                  <a:gd name="connsiteY19" fmla="*/ 675341 h 4348184"/>
                  <a:gd name="connsiteX20" fmla="*/ 890544 w 1003501"/>
                  <a:gd name="connsiteY20" fmla="*/ 196833 h 4348184"/>
                  <a:gd name="connsiteX21" fmla="*/ 705394 w 1003501"/>
                  <a:gd name="connsiteY21" fmla="*/ 116904 h 4348184"/>
                  <a:gd name="connsiteX22" fmla="*/ 508000 w 1003501"/>
                  <a:gd name="connsiteY22" fmla="*/ 363284 h 4348184"/>
                  <a:gd name="connsiteX23" fmla="*/ 116114 w 1003501"/>
                  <a:gd name="connsiteY23" fmla="*/ 316113 h 4348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03501" h="4348184">
                    <a:moveTo>
                      <a:pt x="116114" y="316113"/>
                    </a:moveTo>
                    <a:lnTo>
                      <a:pt x="0" y="591884"/>
                    </a:lnTo>
                    <a:lnTo>
                      <a:pt x="14514" y="1375655"/>
                    </a:lnTo>
                    <a:lnTo>
                      <a:pt x="159657" y="2377141"/>
                    </a:lnTo>
                    <a:lnTo>
                      <a:pt x="493485" y="3218970"/>
                    </a:lnTo>
                    <a:lnTo>
                      <a:pt x="841828" y="3872113"/>
                    </a:lnTo>
                    <a:cubicBezTo>
                      <a:pt x="1003501" y="4224853"/>
                      <a:pt x="1001485" y="4348184"/>
                      <a:pt x="1001485" y="4205941"/>
                    </a:cubicBezTo>
                    <a:lnTo>
                      <a:pt x="870857" y="3567313"/>
                    </a:lnTo>
                    <a:lnTo>
                      <a:pt x="667657" y="2623884"/>
                    </a:lnTo>
                    <a:lnTo>
                      <a:pt x="667657" y="2544055"/>
                    </a:lnTo>
                    <a:lnTo>
                      <a:pt x="696685" y="2493255"/>
                    </a:lnTo>
                    <a:lnTo>
                      <a:pt x="740228" y="2380770"/>
                    </a:lnTo>
                    <a:lnTo>
                      <a:pt x="711200" y="2246513"/>
                    </a:lnTo>
                    <a:lnTo>
                      <a:pt x="740228" y="1840113"/>
                    </a:lnTo>
                    <a:lnTo>
                      <a:pt x="537028" y="1361141"/>
                    </a:lnTo>
                    <a:lnTo>
                      <a:pt x="551543" y="1215998"/>
                    </a:lnTo>
                    <a:lnTo>
                      <a:pt x="624114" y="1332113"/>
                    </a:lnTo>
                    <a:cubicBezTo>
                      <a:pt x="771510" y="1612165"/>
                      <a:pt x="769257" y="1504006"/>
                      <a:pt x="769257" y="1622398"/>
                    </a:cubicBezTo>
                    <a:cubicBezTo>
                      <a:pt x="917212" y="1829535"/>
                      <a:pt x="914400" y="1908836"/>
                      <a:pt x="914400" y="1811084"/>
                    </a:cubicBezTo>
                    <a:lnTo>
                      <a:pt x="841828" y="675341"/>
                    </a:lnTo>
                    <a:lnTo>
                      <a:pt x="890544" y="196833"/>
                    </a:lnTo>
                    <a:lnTo>
                      <a:pt x="705394" y="116904"/>
                    </a:lnTo>
                    <a:lnTo>
                      <a:pt x="508000" y="363284"/>
                    </a:lnTo>
                    <a:cubicBezTo>
                      <a:pt x="191738" y="363556"/>
                      <a:pt x="52884" y="0"/>
                      <a:pt x="116114" y="31611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195" name="Freeform 194"/>
              <p:cNvSpPr/>
              <p:nvPr/>
            </p:nvSpPr>
            <p:spPr>
              <a:xfrm>
                <a:off x="4472834" y="2959479"/>
                <a:ext cx="292968" cy="593170"/>
              </a:xfrm>
              <a:custGeom>
                <a:avLst/>
                <a:gdLst>
                  <a:gd name="connsiteX0" fmla="*/ 742950 w 1543050"/>
                  <a:gd name="connsiteY0" fmla="*/ 3114675 h 3314700"/>
                  <a:gd name="connsiteX1" fmla="*/ 400050 w 1543050"/>
                  <a:gd name="connsiteY1" fmla="*/ 2257425 h 3314700"/>
                  <a:gd name="connsiteX2" fmla="*/ 314325 w 1543050"/>
                  <a:gd name="connsiteY2" fmla="*/ 914400 h 3314700"/>
                  <a:gd name="connsiteX3" fmla="*/ 314325 w 1543050"/>
                  <a:gd name="connsiteY3" fmla="*/ 0 h 3314700"/>
                  <a:gd name="connsiteX4" fmla="*/ 371475 w 1543050"/>
                  <a:gd name="connsiteY4" fmla="*/ 1143000 h 3314700"/>
                  <a:gd name="connsiteX5" fmla="*/ 485775 w 1543050"/>
                  <a:gd name="connsiteY5" fmla="*/ 2257425 h 3314700"/>
                  <a:gd name="connsiteX6" fmla="*/ 800100 w 1543050"/>
                  <a:gd name="connsiteY6" fmla="*/ 3200400 h 3314700"/>
                  <a:gd name="connsiteX7" fmla="*/ 1028700 w 1543050"/>
                  <a:gd name="connsiteY7" fmla="*/ 2800350 h 3314700"/>
                  <a:gd name="connsiteX8" fmla="*/ 1543050 w 1543050"/>
                  <a:gd name="connsiteY8" fmla="*/ 2343150 h 3314700"/>
                  <a:gd name="connsiteX9" fmla="*/ 1143000 w 1543050"/>
                  <a:gd name="connsiteY9" fmla="*/ 2800350 h 3314700"/>
                  <a:gd name="connsiteX10" fmla="*/ 771525 w 1543050"/>
                  <a:gd name="connsiteY10" fmla="*/ 3228975 h 3314700"/>
                  <a:gd name="connsiteX11" fmla="*/ 1143000 w 1543050"/>
                  <a:gd name="connsiteY11" fmla="*/ 3114675 h 3314700"/>
                  <a:gd name="connsiteX12" fmla="*/ 742950 w 1543050"/>
                  <a:gd name="connsiteY12" fmla="*/ 3314700 h 3314700"/>
                  <a:gd name="connsiteX13" fmla="*/ 228600 w 1543050"/>
                  <a:gd name="connsiteY13" fmla="*/ 2971800 h 3314700"/>
                  <a:gd name="connsiteX14" fmla="*/ 0 w 1543050"/>
                  <a:gd name="connsiteY14" fmla="*/ 2628900 h 3314700"/>
                  <a:gd name="connsiteX15" fmla="*/ 342900 w 1543050"/>
                  <a:gd name="connsiteY15" fmla="*/ 3000375 h 3314700"/>
                  <a:gd name="connsiteX16" fmla="*/ 800100 w 1543050"/>
                  <a:gd name="connsiteY16" fmla="*/ 3286125 h 3314700"/>
                  <a:gd name="connsiteX0" fmla="*/ 742950 w 1543050"/>
                  <a:gd name="connsiteY0" fmla="*/ 3114675 h 3314700"/>
                  <a:gd name="connsiteX1" fmla="*/ 400050 w 1543050"/>
                  <a:gd name="connsiteY1" fmla="*/ 2257425 h 3314700"/>
                  <a:gd name="connsiteX2" fmla="*/ 314325 w 1543050"/>
                  <a:gd name="connsiteY2" fmla="*/ 914400 h 3314700"/>
                  <a:gd name="connsiteX3" fmla="*/ 314325 w 1543050"/>
                  <a:gd name="connsiteY3" fmla="*/ 0 h 3314700"/>
                  <a:gd name="connsiteX4" fmla="*/ 371475 w 1543050"/>
                  <a:gd name="connsiteY4" fmla="*/ 1143000 h 3314700"/>
                  <a:gd name="connsiteX5" fmla="*/ 485775 w 1543050"/>
                  <a:gd name="connsiteY5" fmla="*/ 2257425 h 3314700"/>
                  <a:gd name="connsiteX6" fmla="*/ 800100 w 1543050"/>
                  <a:gd name="connsiteY6" fmla="*/ 3200400 h 3314700"/>
                  <a:gd name="connsiteX7" fmla="*/ 1028700 w 1543050"/>
                  <a:gd name="connsiteY7" fmla="*/ 2800350 h 3314700"/>
                  <a:gd name="connsiteX8" fmla="*/ 1543050 w 1543050"/>
                  <a:gd name="connsiteY8" fmla="*/ 2343150 h 3314700"/>
                  <a:gd name="connsiteX9" fmla="*/ 1143000 w 1543050"/>
                  <a:gd name="connsiteY9" fmla="*/ 2800350 h 3314700"/>
                  <a:gd name="connsiteX10" fmla="*/ 771525 w 1543050"/>
                  <a:gd name="connsiteY10" fmla="*/ 3152775 h 3314700"/>
                  <a:gd name="connsiteX11" fmla="*/ 1143000 w 1543050"/>
                  <a:gd name="connsiteY11" fmla="*/ 3114675 h 3314700"/>
                  <a:gd name="connsiteX12" fmla="*/ 742950 w 1543050"/>
                  <a:gd name="connsiteY12" fmla="*/ 3314700 h 3314700"/>
                  <a:gd name="connsiteX13" fmla="*/ 228600 w 1543050"/>
                  <a:gd name="connsiteY13" fmla="*/ 2971800 h 3314700"/>
                  <a:gd name="connsiteX14" fmla="*/ 0 w 1543050"/>
                  <a:gd name="connsiteY14" fmla="*/ 2628900 h 3314700"/>
                  <a:gd name="connsiteX15" fmla="*/ 342900 w 1543050"/>
                  <a:gd name="connsiteY15" fmla="*/ 3000375 h 3314700"/>
                  <a:gd name="connsiteX16" fmla="*/ 800100 w 1543050"/>
                  <a:gd name="connsiteY16" fmla="*/ 3286125 h 3314700"/>
                  <a:gd name="connsiteX0" fmla="*/ 742950 w 1543050"/>
                  <a:gd name="connsiteY0" fmla="*/ 3114675 h 3314700"/>
                  <a:gd name="connsiteX1" fmla="*/ 400050 w 1543050"/>
                  <a:gd name="connsiteY1" fmla="*/ 2257425 h 3314700"/>
                  <a:gd name="connsiteX2" fmla="*/ 314325 w 1543050"/>
                  <a:gd name="connsiteY2" fmla="*/ 914400 h 3314700"/>
                  <a:gd name="connsiteX3" fmla="*/ 314325 w 1543050"/>
                  <a:gd name="connsiteY3" fmla="*/ 0 h 3314700"/>
                  <a:gd name="connsiteX4" fmla="*/ 371475 w 1543050"/>
                  <a:gd name="connsiteY4" fmla="*/ 1143000 h 3314700"/>
                  <a:gd name="connsiteX5" fmla="*/ 485775 w 1543050"/>
                  <a:gd name="connsiteY5" fmla="*/ 2257425 h 3314700"/>
                  <a:gd name="connsiteX6" fmla="*/ 800100 w 1543050"/>
                  <a:gd name="connsiteY6" fmla="*/ 3200400 h 3314700"/>
                  <a:gd name="connsiteX7" fmla="*/ 1028700 w 1543050"/>
                  <a:gd name="connsiteY7" fmla="*/ 2800350 h 3314700"/>
                  <a:gd name="connsiteX8" fmla="*/ 1543050 w 1543050"/>
                  <a:gd name="connsiteY8" fmla="*/ 2343150 h 3314700"/>
                  <a:gd name="connsiteX9" fmla="*/ 1143000 w 1543050"/>
                  <a:gd name="connsiteY9" fmla="*/ 2800350 h 3314700"/>
                  <a:gd name="connsiteX10" fmla="*/ 771525 w 1543050"/>
                  <a:gd name="connsiteY10" fmla="*/ 3152775 h 3314700"/>
                  <a:gd name="connsiteX11" fmla="*/ 1143000 w 1543050"/>
                  <a:gd name="connsiteY11" fmla="*/ 3114675 h 3314700"/>
                  <a:gd name="connsiteX12" fmla="*/ 742950 w 1543050"/>
                  <a:gd name="connsiteY12" fmla="*/ 3314700 h 3314700"/>
                  <a:gd name="connsiteX13" fmla="*/ 228600 w 1543050"/>
                  <a:gd name="connsiteY13" fmla="*/ 2971800 h 3314700"/>
                  <a:gd name="connsiteX14" fmla="*/ 0 w 1543050"/>
                  <a:gd name="connsiteY14" fmla="*/ 2628900 h 3314700"/>
                  <a:gd name="connsiteX15" fmla="*/ 342900 w 1543050"/>
                  <a:gd name="connsiteY15" fmla="*/ 3000375 h 3314700"/>
                  <a:gd name="connsiteX16" fmla="*/ 723900 w 1543050"/>
                  <a:gd name="connsiteY16" fmla="*/ 3133725 h 3314700"/>
                  <a:gd name="connsiteX0" fmla="*/ 742950 w 1543050"/>
                  <a:gd name="connsiteY0" fmla="*/ 3114675 h 3200400"/>
                  <a:gd name="connsiteX1" fmla="*/ 400050 w 1543050"/>
                  <a:gd name="connsiteY1" fmla="*/ 2257425 h 3200400"/>
                  <a:gd name="connsiteX2" fmla="*/ 314325 w 1543050"/>
                  <a:gd name="connsiteY2" fmla="*/ 914400 h 3200400"/>
                  <a:gd name="connsiteX3" fmla="*/ 314325 w 1543050"/>
                  <a:gd name="connsiteY3" fmla="*/ 0 h 3200400"/>
                  <a:gd name="connsiteX4" fmla="*/ 371475 w 1543050"/>
                  <a:gd name="connsiteY4" fmla="*/ 1143000 h 3200400"/>
                  <a:gd name="connsiteX5" fmla="*/ 485775 w 1543050"/>
                  <a:gd name="connsiteY5" fmla="*/ 2257425 h 3200400"/>
                  <a:gd name="connsiteX6" fmla="*/ 800100 w 1543050"/>
                  <a:gd name="connsiteY6" fmla="*/ 3200400 h 3200400"/>
                  <a:gd name="connsiteX7" fmla="*/ 1028700 w 1543050"/>
                  <a:gd name="connsiteY7" fmla="*/ 2800350 h 3200400"/>
                  <a:gd name="connsiteX8" fmla="*/ 1543050 w 1543050"/>
                  <a:gd name="connsiteY8" fmla="*/ 2343150 h 3200400"/>
                  <a:gd name="connsiteX9" fmla="*/ 1143000 w 1543050"/>
                  <a:gd name="connsiteY9" fmla="*/ 2800350 h 3200400"/>
                  <a:gd name="connsiteX10" fmla="*/ 771525 w 1543050"/>
                  <a:gd name="connsiteY10" fmla="*/ 3152775 h 3200400"/>
                  <a:gd name="connsiteX11" fmla="*/ 1143000 w 1543050"/>
                  <a:gd name="connsiteY11" fmla="*/ 3114675 h 3200400"/>
                  <a:gd name="connsiteX12" fmla="*/ 742950 w 1543050"/>
                  <a:gd name="connsiteY12" fmla="*/ 3162300 h 3200400"/>
                  <a:gd name="connsiteX13" fmla="*/ 228600 w 1543050"/>
                  <a:gd name="connsiteY13" fmla="*/ 2971800 h 3200400"/>
                  <a:gd name="connsiteX14" fmla="*/ 0 w 1543050"/>
                  <a:gd name="connsiteY14" fmla="*/ 2628900 h 3200400"/>
                  <a:gd name="connsiteX15" fmla="*/ 342900 w 1543050"/>
                  <a:gd name="connsiteY15" fmla="*/ 3000375 h 3200400"/>
                  <a:gd name="connsiteX16" fmla="*/ 723900 w 1543050"/>
                  <a:gd name="connsiteY16" fmla="*/ 3133725 h 3200400"/>
                  <a:gd name="connsiteX0" fmla="*/ 742950 w 1543050"/>
                  <a:gd name="connsiteY0" fmla="*/ 3114675 h 3162300"/>
                  <a:gd name="connsiteX1" fmla="*/ 400050 w 1543050"/>
                  <a:gd name="connsiteY1" fmla="*/ 2257425 h 3162300"/>
                  <a:gd name="connsiteX2" fmla="*/ 314325 w 1543050"/>
                  <a:gd name="connsiteY2" fmla="*/ 914400 h 3162300"/>
                  <a:gd name="connsiteX3" fmla="*/ 314325 w 1543050"/>
                  <a:gd name="connsiteY3" fmla="*/ 0 h 3162300"/>
                  <a:gd name="connsiteX4" fmla="*/ 371475 w 1543050"/>
                  <a:gd name="connsiteY4" fmla="*/ 1143000 h 3162300"/>
                  <a:gd name="connsiteX5" fmla="*/ 485775 w 1543050"/>
                  <a:gd name="connsiteY5" fmla="*/ 2257425 h 3162300"/>
                  <a:gd name="connsiteX6" fmla="*/ 800100 w 1543050"/>
                  <a:gd name="connsiteY6" fmla="*/ 3124200 h 3162300"/>
                  <a:gd name="connsiteX7" fmla="*/ 1028700 w 1543050"/>
                  <a:gd name="connsiteY7" fmla="*/ 2800350 h 3162300"/>
                  <a:gd name="connsiteX8" fmla="*/ 1543050 w 1543050"/>
                  <a:gd name="connsiteY8" fmla="*/ 2343150 h 3162300"/>
                  <a:gd name="connsiteX9" fmla="*/ 1143000 w 1543050"/>
                  <a:gd name="connsiteY9" fmla="*/ 2800350 h 3162300"/>
                  <a:gd name="connsiteX10" fmla="*/ 771525 w 1543050"/>
                  <a:gd name="connsiteY10" fmla="*/ 3152775 h 3162300"/>
                  <a:gd name="connsiteX11" fmla="*/ 1143000 w 1543050"/>
                  <a:gd name="connsiteY11" fmla="*/ 3114675 h 3162300"/>
                  <a:gd name="connsiteX12" fmla="*/ 742950 w 1543050"/>
                  <a:gd name="connsiteY12" fmla="*/ 3162300 h 3162300"/>
                  <a:gd name="connsiteX13" fmla="*/ 228600 w 1543050"/>
                  <a:gd name="connsiteY13" fmla="*/ 2971800 h 3162300"/>
                  <a:gd name="connsiteX14" fmla="*/ 0 w 1543050"/>
                  <a:gd name="connsiteY14" fmla="*/ 2628900 h 3162300"/>
                  <a:gd name="connsiteX15" fmla="*/ 342900 w 1543050"/>
                  <a:gd name="connsiteY15" fmla="*/ 3000375 h 3162300"/>
                  <a:gd name="connsiteX16" fmla="*/ 723900 w 1543050"/>
                  <a:gd name="connsiteY16" fmla="*/ 3133725 h 3162300"/>
                  <a:gd name="connsiteX0" fmla="*/ 742950 w 1543050"/>
                  <a:gd name="connsiteY0" fmla="*/ 3114675 h 3152775"/>
                  <a:gd name="connsiteX1" fmla="*/ 400050 w 1543050"/>
                  <a:gd name="connsiteY1" fmla="*/ 2257425 h 3152775"/>
                  <a:gd name="connsiteX2" fmla="*/ 314325 w 1543050"/>
                  <a:gd name="connsiteY2" fmla="*/ 914400 h 3152775"/>
                  <a:gd name="connsiteX3" fmla="*/ 314325 w 1543050"/>
                  <a:gd name="connsiteY3" fmla="*/ 0 h 3152775"/>
                  <a:gd name="connsiteX4" fmla="*/ 371475 w 1543050"/>
                  <a:gd name="connsiteY4" fmla="*/ 1143000 h 3152775"/>
                  <a:gd name="connsiteX5" fmla="*/ 485775 w 1543050"/>
                  <a:gd name="connsiteY5" fmla="*/ 2257425 h 3152775"/>
                  <a:gd name="connsiteX6" fmla="*/ 800100 w 1543050"/>
                  <a:gd name="connsiteY6" fmla="*/ 3124200 h 3152775"/>
                  <a:gd name="connsiteX7" fmla="*/ 1028700 w 1543050"/>
                  <a:gd name="connsiteY7" fmla="*/ 2800350 h 3152775"/>
                  <a:gd name="connsiteX8" fmla="*/ 1543050 w 1543050"/>
                  <a:gd name="connsiteY8" fmla="*/ 2343150 h 3152775"/>
                  <a:gd name="connsiteX9" fmla="*/ 1143000 w 1543050"/>
                  <a:gd name="connsiteY9" fmla="*/ 2800350 h 3152775"/>
                  <a:gd name="connsiteX10" fmla="*/ 771525 w 1543050"/>
                  <a:gd name="connsiteY10" fmla="*/ 3152775 h 3152775"/>
                  <a:gd name="connsiteX11" fmla="*/ 1143000 w 1543050"/>
                  <a:gd name="connsiteY11" fmla="*/ 3114675 h 3152775"/>
                  <a:gd name="connsiteX12" fmla="*/ 833438 w 1543050"/>
                  <a:gd name="connsiteY12" fmla="*/ 3128963 h 3152775"/>
                  <a:gd name="connsiteX13" fmla="*/ 228600 w 1543050"/>
                  <a:gd name="connsiteY13" fmla="*/ 2971800 h 3152775"/>
                  <a:gd name="connsiteX14" fmla="*/ 0 w 1543050"/>
                  <a:gd name="connsiteY14" fmla="*/ 2628900 h 3152775"/>
                  <a:gd name="connsiteX15" fmla="*/ 342900 w 1543050"/>
                  <a:gd name="connsiteY15" fmla="*/ 3000375 h 3152775"/>
                  <a:gd name="connsiteX16" fmla="*/ 723900 w 1543050"/>
                  <a:gd name="connsiteY16" fmla="*/ 3133725 h 3152775"/>
                  <a:gd name="connsiteX0" fmla="*/ 742950 w 1543050"/>
                  <a:gd name="connsiteY0" fmla="*/ 3114675 h 3152775"/>
                  <a:gd name="connsiteX1" fmla="*/ 400050 w 1543050"/>
                  <a:gd name="connsiteY1" fmla="*/ 2257425 h 3152775"/>
                  <a:gd name="connsiteX2" fmla="*/ 314325 w 1543050"/>
                  <a:gd name="connsiteY2" fmla="*/ 914400 h 3152775"/>
                  <a:gd name="connsiteX3" fmla="*/ 314325 w 1543050"/>
                  <a:gd name="connsiteY3" fmla="*/ 0 h 3152775"/>
                  <a:gd name="connsiteX4" fmla="*/ 371475 w 1543050"/>
                  <a:gd name="connsiteY4" fmla="*/ 1143000 h 3152775"/>
                  <a:gd name="connsiteX5" fmla="*/ 485775 w 1543050"/>
                  <a:gd name="connsiteY5" fmla="*/ 2257425 h 3152775"/>
                  <a:gd name="connsiteX6" fmla="*/ 800100 w 1543050"/>
                  <a:gd name="connsiteY6" fmla="*/ 3124200 h 3152775"/>
                  <a:gd name="connsiteX7" fmla="*/ 1028700 w 1543050"/>
                  <a:gd name="connsiteY7" fmla="*/ 2800350 h 3152775"/>
                  <a:gd name="connsiteX8" fmla="*/ 1543050 w 1543050"/>
                  <a:gd name="connsiteY8" fmla="*/ 2343150 h 3152775"/>
                  <a:gd name="connsiteX9" fmla="*/ 1143000 w 1543050"/>
                  <a:gd name="connsiteY9" fmla="*/ 2800350 h 3152775"/>
                  <a:gd name="connsiteX10" fmla="*/ 771525 w 1543050"/>
                  <a:gd name="connsiteY10" fmla="*/ 3152775 h 3152775"/>
                  <a:gd name="connsiteX11" fmla="*/ 1143000 w 1543050"/>
                  <a:gd name="connsiteY11" fmla="*/ 3114675 h 3152775"/>
                  <a:gd name="connsiteX12" fmla="*/ 833438 w 1543050"/>
                  <a:gd name="connsiteY12" fmla="*/ 3128963 h 3152775"/>
                  <a:gd name="connsiteX13" fmla="*/ 228600 w 1543050"/>
                  <a:gd name="connsiteY13" fmla="*/ 2971800 h 3152775"/>
                  <a:gd name="connsiteX14" fmla="*/ 0 w 1543050"/>
                  <a:gd name="connsiteY14" fmla="*/ 2628900 h 3152775"/>
                  <a:gd name="connsiteX15" fmla="*/ 342900 w 1543050"/>
                  <a:gd name="connsiteY15" fmla="*/ 2924175 h 3152775"/>
                  <a:gd name="connsiteX16" fmla="*/ 723900 w 1543050"/>
                  <a:gd name="connsiteY16" fmla="*/ 3133725 h 3152775"/>
                  <a:gd name="connsiteX0" fmla="*/ 742950 w 1543050"/>
                  <a:gd name="connsiteY0" fmla="*/ 3114675 h 3152775"/>
                  <a:gd name="connsiteX1" fmla="*/ 400050 w 1543050"/>
                  <a:gd name="connsiteY1" fmla="*/ 2257425 h 3152775"/>
                  <a:gd name="connsiteX2" fmla="*/ 314325 w 1543050"/>
                  <a:gd name="connsiteY2" fmla="*/ 914400 h 3152775"/>
                  <a:gd name="connsiteX3" fmla="*/ 314325 w 1543050"/>
                  <a:gd name="connsiteY3" fmla="*/ 0 h 3152775"/>
                  <a:gd name="connsiteX4" fmla="*/ 371475 w 1543050"/>
                  <a:gd name="connsiteY4" fmla="*/ 1143000 h 3152775"/>
                  <a:gd name="connsiteX5" fmla="*/ 485775 w 1543050"/>
                  <a:gd name="connsiteY5" fmla="*/ 2257425 h 3152775"/>
                  <a:gd name="connsiteX6" fmla="*/ 800100 w 1543050"/>
                  <a:gd name="connsiteY6" fmla="*/ 3124200 h 3152775"/>
                  <a:gd name="connsiteX7" fmla="*/ 1028700 w 1543050"/>
                  <a:gd name="connsiteY7" fmla="*/ 2800350 h 3152775"/>
                  <a:gd name="connsiteX8" fmla="*/ 1543050 w 1543050"/>
                  <a:gd name="connsiteY8" fmla="*/ 2343150 h 3152775"/>
                  <a:gd name="connsiteX9" fmla="*/ 1143000 w 1543050"/>
                  <a:gd name="connsiteY9" fmla="*/ 2800350 h 3152775"/>
                  <a:gd name="connsiteX10" fmla="*/ 771525 w 1543050"/>
                  <a:gd name="connsiteY10" fmla="*/ 3152775 h 3152775"/>
                  <a:gd name="connsiteX11" fmla="*/ 1143000 w 1543050"/>
                  <a:gd name="connsiteY11" fmla="*/ 3114675 h 3152775"/>
                  <a:gd name="connsiteX12" fmla="*/ 833438 w 1543050"/>
                  <a:gd name="connsiteY12" fmla="*/ 3128963 h 3152775"/>
                  <a:gd name="connsiteX13" fmla="*/ 228600 w 1543050"/>
                  <a:gd name="connsiteY13" fmla="*/ 2971800 h 3152775"/>
                  <a:gd name="connsiteX14" fmla="*/ 0 w 1543050"/>
                  <a:gd name="connsiteY14" fmla="*/ 2628900 h 3152775"/>
                  <a:gd name="connsiteX15" fmla="*/ 342900 w 1543050"/>
                  <a:gd name="connsiteY15" fmla="*/ 2924175 h 3152775"/>
                  <a:gd name="connsiteX16" fmla="*/ 723900 w 1543050"/>
                  <a:gd name="connsiteY16" fmla="*/ 3057525 h 3152775"/>
                  <a:gd name="connsiteX0" fmla="*/ 742950 w 1543050"/>
                  <a:gd name="connsiteY0" fmla="*/ 3114675 h 3152775"/>
                  <a:gd name="connsiteX1" fmla="*/ 400050 w 1543050"/>
                  <a:gd name="connsiteY1" fmla="*/ 2257425 h 3152775"/>
                  <a:gd name="connsiteX2" fmla="*/ 314325 w 1543050"/>
                  <a:gd name="connsiteY2" fmla="*/ 914400 h 3152775"/>
                  <a:gd name="connsiteX3" fmla="*/ 314325 w 1543050"/>
                  <a:gd name="connsiteY3" fmla="*/ 0 h 3152775"/>
                  <a:gd name="connsiteX4" fmla="*/ 371475 w 1543050"/>
                  <a:gd name="connsiteY4" fmla="*/ 1143000 h 3152775"/>
                  <a:gd name="connsiteX5" fmla="*/ 485775 w 1543050"/>
                  <a:gd name="connsiteY5" fmla="*/ 2257425 h 3152775"/>
                  <a:gd name="connsiteX6" fmla="*/ 800100 w 1543050"/>
                  <a:gd name="connsiteY6" fmla="*/ 3124200 h 3152775"/>
                  <a:gd name="connsiteX7" fmla="*/ 1028700 w 1543050"/>
                  <a:gd name="connsiteY7" fmla="*/ 2800350 h 3152775"/>
                  <a:gd name="connsiteX8" fmla="*/ 1543050 w 1543050"/>
                  <a:gd name="connsiteY8" fmla="*/ 2343150 h 3152775"/>
                  <a:gd name="connsiteX9" fmla="*/ 1143000 w 1543050"/>
                  <a:gd name="connsiteY9" fmla="*/ 2800350 h 3152775"/>
                  <a:gd name="connsiteX10" fmla="*/ 771525 w 1543050"/>
                  <a:gd name="connsiteY10" fmla="*/ 3152775 h 3152775"/>
                  <a:gd name="connsiteX11" fmla="*/ 1143000 w 1543050"/>
                  <a:gd name="connsiteY11" fmla="*/ 3114675 h 3152775"/>
                  <a:gd name="connsiteX12" fmla="*/ 833438 w 1543050"/>
                  <a:gd name="connsiteY12" fmla="*/ 3128963 h 3152775"/>
                  <a:gd name="connsiteX13" fmla="*/ 228600 w 1543050"/>
                  <a:gd name="connsiteY13" fmla="*/ 2971800 h 3152775"/>
                  <a:gd name="connsiteX14" fmla="*/ 0 w 1543050"/>
                  <a:gd name="connsiteY14" fmla="*/ 2628900 h 3152775"/>
                  <a:gd name="connsiteX15" fmla="*/ 342900 w 1543050"/>
                  <a:gd name="connsiteY15" fmla="*/ 2924175 h 3152775"/>
                  <a:gd name="connsiteX16" fmla="*/ 723900 w 1543050"/>
                  <a:gd name="connsiteY16" fmla="*/ 3057525 h 3152775"/>
                  <a:gd name="connsiteX0" fmla="*/ 742950 w 1543050"/>
                  <a:gd name="connsiteY0" fmla="*/ 3114675 h 3152775"/>
                  <a:gd name="connsiteX1" fmla="*/ 400050 w 1543050"/>
                  <a:gd name="connsiteY1" fmla="*/ 2257425 h 3152775"/>
                  <a:gd name="connsiteX2" fmla="*/ 314325 w 1543050"/>
                  <a:gd name="connsiteY2" fmla="*/ 914400 h 3152775"/>
                  <a:gd name="connsiteX3" fmla="*/ 314325 w 1543050"/>
                  <a:gd name="connsiteY3" fmla="*/ 0 h 3152775"/>
                  <a:gd name="connsiteX4" fmla="*/ 371475 w 1543050"/>
                  <a:gd name="connsiteY4" fmla="*/ 1143000 h 3152775"/>
                  <a:gd name="connsiteX5" fmla="*/ 485775 w 1543050"/>
                  <a:gd name="connsiteY5" fmla="*/ 2257425 h 3152775"/>
                  <a:gd name="connsiteX6" fmla="*/ 800100 w 1543050"/>
                  <a:gd name="connsiteY6" fmla="*/ 3124200 h 3152775"/>
                  <a:gd name="connsiteX7" fmla="*/ 1028700 w 1543050"/>
                  <a:gd name="connsiteY7" fmla="*/ 2800350 h 3152775"/>
                  <a:gd name="connsiteX8" fmla="*/ 1543050 w 1543050"/>
                  <a:gd name="connsiteY8" fmla="*/ 2343150 h 3152775"/>
                  <a:gd name="connsiteX9" fmla="*/ 1143000 w 1543050"/>
                  <a:gd name="connsiteY9" fmla="*/ 2800350 h 3152775"/>
                  <a:gd name="connsiteX10" fmla="*/ 771525 w 1543050"/>
                  <a:gd name="connsiteY10" fmla="*/ 3152775 h 3152775"/>
                  <a:gd name="connsiteX11" fmla="*/ 1143000 w 1543050"/>
                  <a:gd name="connsiteY11" fmla="*/ 3114675 h 3152775"/>
                  <a:gd name="connsiteX12" fmla="*/ 847726 w 1543050"/>
                  <a:gd name="connsiteY12" fmla="*/ 3086101 h 3152775"/>
                  <a:gd name="connsiteX13" fmla="*/ 228600 w 1543050"/>
                  <a:gd name="connsiteY13" fmla="*/ 2971800 h 3152775"/>
                  <a:gd name="connsiteX14" fmla="*/ 0 w 1543050"/>
                  <a:gd name="connsiteY14" fmla="*/ 2628900 h 3152775"/>
                  <a:gd name="connsiteX15" fmla="*/ 342900 w 1543050"/>
                  <a:gd name="connsiteY15" fmla="*/ 2924175 h 3152775"/>
                  <a:gd name="connsiteX16" fmla="*/ 723900 w 1543050"/>
                  <a:gd name="connsiteY16" fmla="*/ 3057525 h 3152775"/>
                  <a:gd name="connsiteX0" fmla="*/ 742950 w 1543050"/>
                  <a:gd name="connsiteY0" fmla="*/ 3114675 h 3124200"/>
                  <a:gd name="connsiteX1" fmla="*/ 400050 w 1543050"/>
                  <a:gd name="connsiteY1" fmla="*/ 2257425 h 3124200"/>
                  <a:gd name="connsiteX2" fmla="*/ 314325 w 1543050"/>
                  <a:gd name="connsiteY2" fmla="*/ 914400 h 3124200"/>
                  <a:gd name="connsiteX3" fmla="*/ 314325 w 1543050"/>
                  <a:gd name="connsiteY3" fmla="*/ 0 h 3124200"/>
                  <a:gd name="connsiteX4" fmla="*/ 371475 w 1543050"/>
                  <a:gd name="connsiteY4" fmla="*/ 1143000 h 3124200"/>
                  <a:gd name="connsiteX5" fmla="*/ 485775 w 1543050"/>
                  <a:gd name="connsiteY5" fmla="*/ 2257425 h 3124200"/>
                  <a:gd name="connsiteX6" fmla="*/ 800100 w 1543050"/>
                  <a:gd name="connsiteY6" fmla="*/ 3124200 h 3124200"/>
                  <a:gd name="connsiteX7" fmla="*/ 1028700 w 1543050"/>
                  <a:gd name="connsiteY7" fmla="*/ 2800350 h 3124200"/>
                  <a:gd name="connsiteX8" fmla="*/ 1543050 w 1543050"/>
                  <a:gd name="connsiteY8" fmla="*/ 2343150 h 3124200"/>
                  <a:gd name="connsiteX9" fmla="*/ 1143000 w 1543050"/>
                  <a:gd name="connsiteY9" fmla="*/ 2800350 h 3124200"/>
                  <a:gd name="connsiteX10" fmla="*/ 804863 w 1543050"/>
                  <a:gd name="connsiteY10" fmla="*/ 3124200 h 3124200"/>
                  <a:gd name="connsiteX11" fmla="*/ 1143000 w 1543050"/>
                  <a:gd name="connsiteY11" fmla="*/ 3114675 h 3124200"/>
                  <a:gd name="connsiteX12" fmla="*/ 847726 w 1543050"/>
                  <a:gd name="connsiteY12" fmla="*/ 3086101 h 3124200"/>
                  <a:gd name="connsiteX13" fmla="*/ 228600 w 1543050"/>
                  <a:gd name="connsiteY13" fmla="*/ 2971800 h 3124200"/>
                  <a:gd name="connsiteX14" fmla="*/ 0 w 1543050"/>
                  <a:gd name="connsiteY14" fmla="*/ 2628900 h 3124200"/>
                  <a:gd name="connsiteX15" fmla="*/ 342900 w 1543050"/>
                  <a:gd name="connsiteY15" fmla="*/ 2924175 h 3124200"/>
                  <a:gd name="connsiteX16" fmla="*/ 723900 w 1543050"/>
                  <a:gd name="connsiteY16" fmla="*/ 3057525 h 3124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3050" h="3124200">
                    <a:moveTo>
                      <a:pt x="742950" y="3114675"/>
                    </a:moveTo>
                    <a:lnTo>
                      <a:pt x="400050" y="2257425"/>
                    </a:lnTo>
                    <a:lnTo>
                      <a:pt x="314325" y="914400"/>
                    </a:lnTo>
                    <a:lnTo>
                      <a:pt x="314325" y="0"/>
                    </a:lnTo>
                    <a:lnTo>
                      <a:pt x="371475" y="1143000"/>
                    </a:lnTo>
                    <a:lnTo>
                      <a:pt x="485775" y="2257425"/>
                    </a:lnTo>
                    <a:lnTo>
                      <a:pt x="800100" y="3124200"/>
                    </a:lnTo>
                    <a:lnTo>
                      <a:pt x="1028700" y="2800350"/>
                    </a:lnTo>
                    <a:lnTo>
                      <a:pt x="1543050" y="2343150"/>
                    </a:lnTo>
                    <a:lnTo>
                      <a:pt x="1143000" y="2800350"/>
                    </a:lnTo>
                    <a:lnTo>
                      <a:pt x="804863" y="3124200"/>
                    </a:lnTo>
                    <a:lnTo>
                      <a:pt x="1143000" y="3114675"/>
                    </a:lnTo>
                    <a:lnTo>
                      <a:pt x="847726" y="3086101"/>
                    </a:lnTo>
                    <a:lnTo>
                      <a:pt x="228600" y="2971800"/>
                    </a:lnTo>
                    <a:lnTo>
                      <a:pt x="0" y="2628900"/>
                    </a:lnTo>
                    <a:lnTo>
                      <a:pt x="342900" y="2924175"/>
                    </a:lnTo>
                    <a:lnTo>
                      <a:pt x="723900" y="3057525"/>
                    </a:lnTo>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nvGrpSpPr>
              <p:cNvPr id="196" name="Group 111"/>
              <p:cNvGrpSpPr/>
              <p:nvPr/>
            </p:nvGrpSpPr>
            <p:grpSpPr>
              <a:xfrm>
                <a:off x="4358902" y="1058805"/>
                <a:ext cx="757738" cy="1298463"/>
                <a:chOff x="1943100" y="-6838950"/>
                <a:chExt cx="3990975" cy="6838950"/>
              </a:xfrm>
              <a:grpFill/>
            </p:grpSpPr>
            <p:sp>
              <p:nvSpPr>
                <p:cNvPr id="231" name="Freeform 230"/>
                <p:cNvSpPr/>
                <p:nvPr/>
              </p:nvSpPr>
              <p:spPr>
                <a:xfrm>
                  <a:off x="1943100" y="-6838950"/>
                  <a:ext cx="3990975" cy="6781800"/>
                </a:xfrm>
                <a:custGeom>
                  <a:avLst/>
                  <a:gdLst>
                    <a:gd name="connsiteX0" fmla="*/ 3181350 w 3990975"/>
                    <a:gd name="connsiteY0" fmla="*/ 0 h 6781800"/>
                    <a:gd name="connsiteX1" fmla="*/ 3305175 w 3990975"/>
                    <a:gd name="connsiteY1" fmla="*/ 28575 h 6781800"/>
                    <a:gd name="connsiteX2" fmla="*/ 3448050 w 3990975"/>
                    <a:gd name="connsiteY2" fmla="*/ 180975 h 6781800"/>
                    <a:gd name="connsiteX3" fmla="*/ 3600450 w 3990975"/>
                    <a:gd name="connsiteY3" fmla="*/ 447675 h 6781800"/>
                    <a:gd name="connsiteX4" fmla="*/ 3771900 w 3990975"/>
                    <a:gd name="connsiteY4" fmla="*/ 733425 h 6781800"/>
                    <a:gd name="connsiteX5" fmla="*/ 3829050 w 3990975"/>
                    <a:gd name="connsiteY5" fmla="*/ 990600 h 6781800"/>
                    <a:gd name="connsiteX6" fmla="*/ 3924300 w 3990975"/>
                    <a:gd name="connsiteY6" fmla="*/ 1466850 h 6781800"/>
                    <a:gd name="connsiteX7" fmla="*/ 3990975 w 3990975"/>
                    <a:gd name="connsiteY7" fmla="*/ 1876425 h 6781800"/>
                    <a:gd name="connsiteX8" fmla="*/ 3943350 w 3990975"/>
                    <a:gd name="connsiteY8" fmla="*/ 2190750 h 6781800"/>
                    <a:gd name="connsiteX9" fmla="*/ 3876675 w 3990975"/>
                    <a:gd name="connsiteY9" fmla="*/ 2371725 h 6781800"/>
                    <a:gd name="connsiteX10" fmla="*/ 3800475 w 3990975"/>
                    <a:gd name="connsiteY10" fmla="*/ 2276475 h 6781800"/>
                    <a:gd name="connsiteX11" fmla="*/ 3790950 w 3990975"/>
                    <a:gd name="connsiteY11" fmla="*/ 2076450 h 6781800"/>
                    <a:gd name="connsiteX12" fmla="*/ 3590925 w 3990975"/>
                    <a:gd name="connsiteY12" fmla="*/ 1895475 h 6781800"/>
                    <a:gd name="connsiteX13" fmla="*/ 3324225 w 3990975"/>
                    <a:gd name="connsiteY13" fmla="*/ 1733550 h 6781800"/>
                    <a:gd name="connsiteX14" fmla="*/ 3181350 w 3990975"/>
                    <a:gd name="connsiteY14" fmla="*/ 2247900 h 6781800"/>
                    <a:gd name="connsiteX15" fmla="*/ 2628900 w 3990975"/>
                    <a:gd name="connsiteY15" fmla="*/ 3848100 h 6781800"/>
                    <a:gd name="connsiteX16" fmla="*/ 2000250 w 3990975"/>
                    <a:gd name="connsiteY16" fmla="*/ 5172075 h 6781800"/>
                    <a:gd name="connsiteX17" fmla="*/ 1857375 w 3990975"/>
                    <a:gd name="connsiteY17" fmla="*/ 5429250 h 6781800"/>
                    <a:gd name="connsiteX18" fmla="*/ 1666875 w 3990975"/>
                    <a:gd name="connsiteY18" fmla="*/ 5734050 h 6781800"/>
                    <a:gd name="connsiteX19" fmla="*/ 1571625 w 3990975"/>
                    <a:gd name="connsiteY19" fmla="*/ 6096000 h 6781800"/>
                    <a:gd name="connsiteX20" fmla="*/ 1257300 w 3990975"/>
                    <a:gd name="connsiteY20" fmla="*/ 6629400 h 6781800"/>
                    <a:gd name="connsiteX21" fmla="*/ 1143000 w 3990975"/>
                    <a:gd name="connsiteY21" fmla="*/ 6781800 h 6781800"/>
                    <a:gd name="connsiteX22" fmla="*/ 1085850 w 3990975"/>
                    <a:gd name="connsiteY22" fmla="*/ 6257925 h 6781800"/>
                    <a:gd name="connsiteX23" fmla="*/ 933450 w 3990975"/>
                    <a:gd name="connsiteY23" fmla="*/ 5562600 h 6781800"/>
                    <a:gd name="connsiteX24" fmla="*/ 857250 w 3990975"/>
                    <a:gd name="connsiteY24" fmla="*/ 5172075 h 6781800"/>
                    <a:gd name="connsiteX25" fmla="*/ 781050 w 3990975"/>
                    <a:gd name="connsiteY25" fmla="*/ 4705350 h 6781800"/>
                    <a:gd name="connsiteX26" fmla="*/ 742950 w 3990975"/>
                    <a:gd name="connsiteY26" fmla="*/ 4086225 h 6781800"/>
                    <a:gd name="connsiteX27" fmla="*/ 809625 w 3990975"/>
                    <a:gd name="connsiteY27" fmla="*/ 3343275 h 6781800"/>
                    <a:gd name="connsiteX28" fmla="*/ 952500 w 3990975"/>
                    <a:gd name="connsiteY28" fmla="*/ 2552700 h 6781800"/>
                    <a:gd name="connsiteX29" fmla="*/ 1028700 w 3990975"/>
                    <a:gd name="connsiteY29" fmla="*/ 1924050 h 6781800"/>
                    <a:gd name="connsiteX30" fmla="*/ 942975 w 3990975"/>
                    <a:gd name="connsiteY30" fmla="*/ 1762125 h 6781800"/>
                    <a:gd name="connsiteX31" fmla="*/ 866775 w 3990975"/>
                    <a:gd name="connsiteY31" fmla="*/ 1600200 h 6781800"/>
                    <a:gd name="connsiteX32" fmla="*/ 876300 w 3990975"/>
                    <a:gd name="connsiteY32" fmla="*/ 1314450 h 6781800"/>
                    <a:gd name="connsiteX33" fmla="*/ 819150 w 3990975"/>
                    <a:gd name="connsiteY33" fmla="*/ 1276350 h 6781800"/>
                    <a:gd name="connsiteX34" fmla="*/ 685800 w 3990975"/>
                    <a:gd name="connsiteY34" fmla="*/ 1390650 h 6781800"/>
                    <a:gd name="connsiteX35" fmla="*/ 523875 w 3990975"/>
                    <a:gd name="connsiteY35" fmla="*/ 1457325 h 6781800"/>
                    <a:gd name="connsiteX36" fmla="*/ 352425 w 3990975"/>
                    <a:gd name="connsiteY36" fmla="*/ 1495425 h 6781800"/>
                    <a:gd name="connsiteX37" fmla="*/ 133350 w 3990975"/>
                    <a:gd name="connsiteY37" fmla="*/ 1552575 h 6781800"/>
                    <a:gd name="connsiteX38" fmla="*/ 0 w 3990975"/>
                    <a:gd name="connsiteY38" fmla="*/ 1562100 h 6781800"/>
                    <a:gd name="connsiteX39" fmla="*/ 9525 w 3990975"/>
                    <a:gd name="connsiteY39" fmla="*/ 1495425 h 6781800"/>
                    <a:gd name="connsiteX40" fmla="*/ 228600 w 3990975"/>
                    <a:gd name="connsiteY40" fmla="*/ 1371600 h 6781800"/>
                    <a:gd name="connsiteX41" fmla="*/ 542925 w 3990975"/>
                    <a:gd name="connsiteY41" fmla="*/ 1171575 h 6781800"/>
                    <a:gd name="connsiteX42" fmla="*/ 914400 w 3990975"/>
                    <a:gd name="connsiteY42" fmla="*/ 942975 h 6781800"/>
                    <a:gd name="connsiteX43" fmla="*/ 1047750 w 3990975"/>
                    <a:gd name="connsiteY43" fmla="*/ 771525 h 6781800"/>
                    <a:gd name="connsiteX44" fmla="*/ 1238250 w 3990975"/>
                    <a:gd name="connsiteY44" fmla="*/ 552450 h 6781800"/>
                    <a:gd name="connsiteX45" fmla="*/ 1419225 w 3990975"/>
                    <a:gd name="connsiteY45" fmla="*/ 390525 h 6781800"/>
                    <a:gd name="connsiteX46" fmla="*/ 1485900 w 3990975"/>
                    <a:gd name="connsiteY46" fmla="*/ 476250 h 6781800"/>
                    <a:gd name="connsiteX47" fmla="*/ 1476375 w 3990975"/>
                    <a:gd name="connsiteY47" fmla="*/ 885825 h 6781800"/>
                    <a:gd name="connsiteX48" fmla="*/ 1400175 w 3990975"/>
                    <a:gd name="connsiteY48" fmla="*/ 1190625 h 6781800"/>
                    <a:gd name="connsiteX49" fmla="*/ 1323975 w 3990975"/>
                    <a:gd name="connsiteY49" fmla="*/ 1524000 h 6781800"/>
                    <a:gd name="connsiteX50" fmla="*/ 1447800 w 3990975"/>
                    <a:gd name="connsiteY50" fmla="*/ 1885950 h 6781800"/>
                    <a:gd name="connsiteX51" fmla="*/ 1514475 w 3990975"/>
                    <a:gd name="connsiteY51" fmla="*/ 2066925 h 6781800"/>
                    <a:gd name="connsiteX52" fmla="*/ 1600200 w 3990975"/>
                    <a:gd name="connsiteY52" fmla="*/ 2438400 h 6781800"/>
                    <a:gd name="connsiteX53" fmla="*/ 1657350 w 3990975"/>
                    <a:gd name="connsiteY53" fmla="*/ 2686050 h 6781800"/>
                    <a:gd name="connsiteX54" fmla="*/ 1781175 w 3990975"/>
                    <a:gd name="connsiteY54" fmla="*/ 2933700 h 6781800"/>
                    <a:gd name="connsiteX55" fmla="*/ 1981200 w 3990975"/>
                    <a:gd name="connsiteY55" fmla="*/ 2581275 h 6781800"/>
                    <a:gd name="connsiteX56" fmla="*/ 2105025 w 3990975"/>
                    <a:gd name="connsiteY56" fmla="*/ 2209800 h 6781800"/>
                    <a:gd name="connsiteX57" fmla="*/ 2314575 w 3990975"/>
                    <a:gd name="connsiteY57" fmla="*/ 2000250 h 6781800"/>
                    <a:gd name="connsiteX58" fmla="*/ 2543175 w 3990975"/>
                    <a:gd name="connsiteY58" fmla="*/ 1962150 h 6781800"/>
                    <a:gd name="connsiteX59" fmla="*/ 2724150 w 3990975"/>
                    <a:gd name="connsiteY59" fmla="*/ 1895475 h 6781800"/>
                    <a:gd name="connsiteX60" fmla="*/ 2876550 w 3990975"/>
                    <a:gd name="connsiteY60" fmla="*/ 1828800 h 6781800"/>
                    <a:gd name="connsiteX61" fmla="*/ 2952750 w 3990975"/>
                    <a:gd name="connsiteY61" fmla="*/ 1685925 h 6781800"/>
                    <a:gd name="connsiteX62" fmla="*/ 3019425 w 3990975"/>
                    <a:gd name="connsiteY62" fmla="*/ 1552575 h 6781800"/>
                    <a:gd name="connsiteX63" fmla="*/ 3028950 w 3990975"/>
                    <a:gd name="connsiteY63" fmla="*/ 1524000 h 6781800"/>
                    <a:gd name="connsiteX64" fmla="*/ 3162300 w 3990975"/>
                    <a:gd name="connsiteY64" fmla="*/ 1257300 h 6781800"/>
                    <a:gd name="connsiteX65" fmla="*/ 3219450 w 3990975"/>
                    <a:gd name="connsiteY65" fmla="*/ 942975 h 6781800"/>
                    <a:gd name="connsiteX66" fmla="*/ 3381375 w 3990975"/>
                    <a:gd name="connsiteY66" fmla="*/ 657225 h 6781800"/>
                    <a:gd name="connsiteX67" fmla="*/ 3295650 w 3990975"/>
                    <a:gd name="connsiteY67" fmla="*/ 590550 h 6781800"/>
                    <a:gd name="connsiteX68" fmla="*/ 3219450 w 3990975"/>
                    <a:gd name="connsiteY68" fmla="*/ 390525 h 6781800"/>
                    <a:gd name="connsiteX69" fmla="*/ 3181350 w 3990975"/>
                    <a:gd name="connsiteY69" fmla="*/ 0 h 6781800"/>
                    <a:gd name="connsiteX0" fmla="*/ 3181350 w 3990975"/>
                    <a:gd name="connsiteY0" fmla="*/ 0 h 6781800"/>
                    <a:gd name="connsiteX1" fmla="*/ 3305175 w 3990975"/>
                    <a:gd name="connsiteY1" fmla="*/ 28575 h 6781800"/>
                    <a:gd name="connsiteX2" fmla="*/ 3448050 w 3990975"/>
                    <a:gd name="connsiteY2" fmla="*/ 180975 h 6781800"/>
                    <a:gd name="connsiteX3" fmla="*/ 3600450 w 3990975"/>
                    <a:gd name="connsiteY3" fmla="*/ 447675 h 6781800"/>
                    <a:gd name="connsiteX4" fmla="*/ 3771900 w 3990975"/>
                    <a:gd name="connsiteY4" fmla="*/ 733425 h 6781800"/>
                    <a:gd name="connsiteX5" fmla="*/ 3829050 w 3990975"/>
                    <a:gd name="connsiteY5" fmla="*/ 990600 h 6781800"/>
                    <a:gd name="connsiteX6" fmla="*/ 3924300 w 3990975"/>
                    <a:gd name="connsiteY6" fmla="*/ 1466850 h 6781800"/>
                    <a:gd name="connsiteX7" fmla="*/ 3990975 w 3990975"/>
                    <a:gd name="connsiteY7" fmla="*/ 1876425 h 6781800"/>
                    <a:gd name="connsiteX8" fmla="*/ 3943350 w 3990975"/>
                    <a:gd name="connsiteY8" fmla="*/ 2190750 h 6781800"/>
                    <a:gd name="connsiteX9" fmla="*/ 3876675 w 3990975"/>
                    <a:gd name="connsiteY9" fmla="*/ 2371725 h 6781800"/>
                    <a:gd name="connsiteX10" fmla="*/ 3800475 w 3990975"/>
                    <a:gd name="connsiteY10" fmla="*/ 2276475 h 6781800"/>
                    <a:gd name="connsiteX11" fmla="*/ 3790950 w 3990975"/>
                    <a:gd name="connsiteY11" fmla="*/ 2076450 h 6781800"/>
                    <a:gd name="connsiteX12" fmla="*/ 3590925 w 3990975"/>
                    <a:gd name="connsiteY12" fmla="*/ 1895475 h 6781800"/>
                    <a:gd name="connsiteX13" fmla="*/ 3324225 w 3990975"/>
                    <a:gd name="connsiteY13" fmla="*/ 1733550 h 6781800"/>
                    <a:gd name="connsiteX14" fmla="*/ 3181350 w 3990975"/>
                    <a:gd name="connsiteY14" fmla="*/ 2247900 h 6781800"/>
                    <a:gd name="connsiteX15" fmla="*/ 2628900 w 3990975"/>
                    <a:gd name="connsiteY15" fmla="*/ 3848100 h 6781800"/>
                    <a:gd name="connsiteX16" fmla="*/ 2000250 w 3990975"/>
                    <a:gd name="connsiteY16" fmla="*/ 5172075 h 6781800"/>
                    <a:gd name="connsiteX17" fmla="*/ 1857375 w 3990975"/>
                    <a:gd name="connsiteY17" fmla="*/ 5429250 h 6781800"/>
                    <a:gd name="connsiteX18" fmla="*/ 1666875 w 3990975"/>
                    <a:gd name="connsiteY18" fmla="*/ 5734050 h 6781800"/>
                    <a:gd name="connsiteX19" fmla="*/ 1571625 w 3990975"/>
                    <a:gd name="connsiteY19" fmla="*/ 6096000 h 6781800"/>
                    <a:gd name="connsiteX20" fmla="*/ 1257300 w 3990975"/>
                    <a:gd name="connsiteY20" fmla="*/ 6629400 h 6781800"/>
                    <a:gd name="connsiteX21" fmla="*/ 1143000 w 3990975"/>
                    <a:gd name="connsiteY21" fmla="*/ 6781800 h 6781800"/>
                    <a:gd name="connsiteX22" fmla="*/ 1085850 w 3990975"/>
                    <a:gd name="connsiteY22" fmla="*/ 6257925 h 6781800"/>
                    <a:gd name="connsiteX23" fmla="*/ 933450 w 3990975"/>
                    <a:gd name="connsiteY23" fmla="*/ 5562600 h 6781800"/>
                    <a:gd name="connsiteX24" fmla="*/ 857250 w 3990975"/>
                    <a:gd name="connsiteY24" fmla="*/ 5172075 h 6781800"/>
                    <a:gd name="connsiteX25" fmla="*/ 781050 w 3990975"/>
                    <a:gd name="connsiteY25" fmla="*/ 4705350 h 6781800"/>
                    <a:gd name="connsiteX26" fmla="*/ 742950 w 3990975"/>
                    <a:gd name="connsiteY26" fmla="*/ 4086225 h 6781800"/>
                    <a:gd name="connsiteX27" fmla="*/ 809625 w 3990975"/>
                    <a:gd name="connsiteY27" fmla="*/ 3343275 h 6781800"/>
                    <a:gd name="connsiteX28" fmla="*/ 952500 w 3990975"/>
                    <a:gd name="connsiteY28" fmla="*/ 2552700 h 6781800"/>
                    <a:gd name="connsiteX29" fmla="*/ 1028700 w 3990975"/>
                    <a:gd name="connsiteY29" fmla="*/ 1924050 h 6781800"/>
                    <a:gd name="connsiteX30" fmla="*/ 942975 w 3990975"/>
                    <a:gd name="connsiteY30" fmla="*/ 1762125 h 6781800"/>
                    <a:gd name="connsiteX31" fmla="*/ 866775 w 3990975"/>
                    <a:gd name="connsiteY31" fmla="*/ 1600200 h 6781800"/>
                    <a:gd name="connsiteX32" fmla="*/ 876300 w 3990975"/>
                    <a:gd name="connsiteY32" fmla="*/ 1314450 h 6781800"/>
                    <a:gd name="connsiteX33" fmla="*/ 819150 w 3990975"/>
                    <a:gd name="connsiteY33" fmla="*/ 1276350 h 6781800"/>
                    <a:gd name="connsiteX34" fmla="*/ 685800 w 3990975"/>
                    <a:gd name="connsiteY34" fmla="*/ 1390650 h 6781800"/>
                    <a:gd name="connsiteX35" fmla="*/ 523875 w 3990975"/>
                    <a:gd name="connsiteY35" fmla="*/ 1457325 h 6781800"/>
                    <a:gd name="connsiteX36" fmla="*/ 352425 w 3990975"/>
                    <a:gd name="connsiteY36" fmla="*/ 1495425 h 6781800"/>
                    <a:gd name="connsiteX37" fmla="*/ 133350 w 3990975"/>
                    <a:gd name="connsiteY37" fmla="*/ 1552575 h 6781800"/>
                    <a:gd name="connsiteX38" fmla="*/ 0 w 3990975"/>
                    <a:gd name="connsiteY38" fmla="*/ 1562100 h 6781800"/>
                    <a:gd name="connsiteX39" fmla="*/ 9525 w 3990975"/>
                    <a:gd name="connsiteY39" fmla="*/ 1495425 h 6781800"/>
                    <a:gd name="connsiteX40" fmla="*/ 228600 w 3990975"/>
                    <a:gd name="connsiteY40" fmla="*/ 1371600 h 6781800"/>
                    <a:gd name="connsiteX41" fmla="*/ 542925 w 3990975"/>
                    <a:gd name="connsiteY41" fmla="*/ 1171575 h 6781800"/>
                    <a:gd name="connsiteX42" fmla="*/ 914400 w 3990975"/>
                    <a:gd name="connsiteY42" fmla="*/ 942975 h 6781800"/>
                    <a:gd name="connsiteX43" fmla="*/ 1047750 w 3990975"/>
                    <a:gd name="connsiteY43" fmla="*/ 771525 h 6781800"/>
                    <a:gd name="connsiteX44" fmla="*/ 1238250 w 3990975"/>
                    <a:gd name="connsiteY44" fmla="*/ 552450 h 6781800"/>
                    <a:gd name="connsiteX45" fmla="*/ 1419225 w 3990975"/>
                    <a:gd name="connsiteY45" fmla="*/ 390525 h 6781800"/>
                    <a:gd name="connsiteX46" fmla="*/ 1485900 w 3990975"/>
                    <a:gd name="connsiteY46" fmla="*/ 476250 h 6781800"/>
                    <a:gd name="connsiteX47" fmla="*/ 1476375 w 3990975"/>
                    <a:gd name="connsiteY47" fmla="*/ 885825 h 6781800"/>
                    <a:gd name="connsiteX48" fmla="*/ 1400175 w 3990975"/>
                    <a:gd name="connsiteY48" fmla="*/ 1190625 h 6781800"/>
                    <a:gd name="connsiteX49" fmla="*/ 1323975 w 3990975"/>
                    <a:gd name="connsiteY49" fmla="*/ 1524000 h 6781800"/>
                    <a:gd name="connsiteX50" fmla="*/ 1447800 w 3990975"/>
                    <a:gd name="connsiteY50" fmla="*/ 1885950 h 6781800"/>
                    <a:gd name="connsiteX51" fmla="*/ 1514475 w 3990975"/>
                    <a:gd name="connsiteY51" fmla="*/ 2066925 h 6781800"/>
                    <a:gd name="connsiteX52" fmla="*/ 1600200 w 3990975"/>
                    <a:gd name="connsiteY52" fmla="*/ 2438400 h 6781800"/>
                    <a:gd name="connsiteX53" fmla="*/ 1657350 w 3990975"/>
                    <a:gd name="connsiteY53" fmla="*/ 2686050 h 6781800"/>
                    <a:gd name="connsiteX54" fmla="*/ 1781175 w 3990975"/>
                    <a:gd name="connsiteY54" fmla="*/ 2933700 h 6781800"/>
                    <a:gd name="connsiteX55" fmla="*/ 1981200 w 3990975"/>
                    <a:gd name="connsiteY55" fmla="*/ 2581275 h 6781800"/>
                    <a:gd name="connsiteX56" fmla="*/ 2101850 w 3990975"/>
                    <a:gd name="connsiteY56" fmla="*/ 2181225 h 6781800"/>
                    <a:gd name="connsiteX57" fmla="*/ 2314575 w 3990975"/>
                    <a:gd name="connsiteY57" fmla="*/ 2000250 h 6781800"/>
                    <a:gd name="connsiteX58" fmla="*/ 2543175 w 3990975"/>
                    <a:gd name="connsiteY58" fmla="*/ 1962150 h 6781800"/>
                    <a:gd name="connsiteX59" fmla="*/ 2724150 w 3990975"/>
                    <a:gd name="connsiteY59" fmla="*/ 1895475 h 6781800"/>
                    <a:gd name="connsiteX60" fmla="*/ 2876550 w 3990975"/>
                    <a:gd name="connsiteY60" fmla="*/ 1828800 h 6781800"/>
                    <a:gd name="connsiteX61" fmla="*/ 2952750 w 3990975"/>
                    <a:gd name="connsiteY61" fmla="*/ 1685925 h 6781800"/>
                    <a:gd name="connsiteX62" fmla="*/ 3019425 w 3990975"/>
                    <a:gd name="connsiteY62" fmla="*/ 1552575 h 6781800"/>
                    <a:gd name="connsiteX63" fmla="*/ 3028950 w 3990975"/>
                    <a:gd name="connsiteY63" fmla="*/ 1524000 h 6781800"/>
                    <a:gd name="connsiteX64" fmla="*/ 3162300 w 3990975"/>
                    <a:gd name="connsiteY64" fmla="*/ 1257300 h 6781800"/>
                    <a:gd name="connsiteX65" fmla="*/ 3219450 w 3990975"/>
                    <a:gd name="connsiteY65" fmla="*/ 942975 h 6781800"/>
                    <a:gd name="connsiteX66" fmla="*/ 3381375 w 3990975"/>
                    <a:gd name="connsiteY66" fmla="*/ 657225 h 6781800"/>
                    <a:gd name="connsiteX67" fmla="*/ 3295650 w 3990975"/>
                    <a:gd name="connsiteY67" fmla="*/ 590550 h 6781800"/>
                    <a:gd name="connsiteX68" fmla="*/ 3219450 w 3990975"/>
                    <a:gd name="connsiteY68" fmla="*/ 390525 h 6781800"/>
                    <a:gd name="connsiteX69" fmla="*/ 3181350 w 3990975"/>
                    <a:gd name="connsiteY69" fmla="*/ 0 h 6781800"/>
                    <a:gd name="connsiteX0" fmla="*/ 3181350 w 3990975"/>
                    <a:gd name="connsiteY0" fmla="*/ 0 h 6781800"/>
                    <a:gd name="connsiteX1" fmla="*/ 3305175 w 3990975"/>
                    <a:gd name="connsiteY1" fmla="*/ 28575 h 6781800"/>
                    <a:gd name="connsiteX2" fmla="*/ 3448050 w 3990975"/>
                    <a:gd name="connsiteY2" fmla="*/ 180975 h 6781800"/>
                    <a:gd name="connsiteX3" fmla="*/ 3600450 w 3990975"/>
                    <a:gd name="connsiteY3" fmla="*/ 447675 h 6781800"/>
                    <a:gd name="connsiteX4" fmla="*/ 3771900 w 3990975"/>
                    <a:gd name="connsiteY4" fmla="*/ 733425 h 6781800"/>
                    <a:gd name="connsiteX5" fmla="*/ 3829050 w 3990975"/>
                    <a:gd name="connsiteY5" fmla="*/ 990600 h 6781800"/>
                    <a:gd name="connsiteX6" fmla="*/ 3924300 w 3990975"/>
                    <a:gd name="connsiteY6" fmla="*/ 1466850 h 6781800"/>
                    <a:gd name="connsiteX7" fmla="*/ 3990975 w 3990975"/>
                    <a:gd name="connsiteY7" fmla="*/ 1876425 h 6781800"/>
                    <a:gd name="connsiteX8" fmla="*/ 3943350 w 3990975"/>
                    <a:gd name="connsiteY8" fmla="*/ 2190750 h 6781800"/>
                    <a:gd name="connsiteX9" fmla="*/ 3876675 w 3990975"/>
                    <a:gd name="connsiteY9" fmla="*/ 2371725 h 6781800"/>
                    <a:gd name="connsiteX10" fmla="*/ 3800475 w 3990975"/>
                    <a:gd name="connsiteY10" fmla="*/ 2276475 h 6781800"/>
                    <a:gd name="connsiteX11" fmla="*/ 3790950 w 3990975"/>
                    <a:gd name="connsiteY11" fmla="*/ 2076450 h 6781800"/>
                    <a:gd name="connsiteX12" fmla="*/ 3590925 w 3990975"/>
                    <a:gd name="connsiteY12" fmla="*/ 1895475 h 6781800"/>
                    <a:gd name="connsiteX13" fmla="*/ 3324225 w 3990975"/>
                    <a:gd name="connsiteY13" fmla="*/ 1733550 h 6781800"/>
                    <a:gd name="connsiteX14" fmla="*/ 3181350 w 3990975"/>
                    <a:gd name="connsiteY14" fmla="*/ 2247900 h 6781800"/>
                    <a:gd name="connsiteX15" fmla="*/ 2628900 w 3990975"/>
                    <a:gd name="connsiteY15" fmla="*/ 3848100 h 6781800"/>
                    <a:gd name="connsiteX16" fmla="*/ 2000250 w 3990975"/>
                    <a:gd name="connsiteY16" fmla="*/ 5172075 h 6781800"/>
                    <a:gd name="connsiteX17" fmla="*/ 1857375 w 3990975"/>
                    <a:gd name="connsiteY17" fmla="*/ 5429250 h 6781800"/>
                    <a:gd name="connsiteX18" fmla="*/ 1666875 w 3990975"/>
                    <a:gd name="connsiteY18" fmla="*/ 5734050 h 6781800"/>
                    <a:gd name="connsiteX19" fmla="*/ 1571625 w 3990975"/>
                    <a:gd name="connsiteY19" fmla="*/ 6096000 h 6781800"/>
                    <a:gd name="connsiteX20" fmla="*/ 1257300 w 3990975"/>
                    <a:gd name="connsiteY20" fmla="*/ 6629400 h 6781800"/>
                    <a:gd name="connsiteX21" fmla="*/ 1143000 w 3990975"/>
                    <a:gd name="connsiteY21" fmla="*/ 6781800 h 6781800"/>
                    <a:gd name="connsiteX22" fmla="*/ 1085850 w 3990975"/>
                    <a:gd name="connsiteY22" fmla="*/ 6257925 h 6781800"/>
                    <a:gd name="connsiteX23" fmla="*/ 933450 w 3990975"/>
                    <a:gd name="connsiteY23" fmla="*/ 5562600 h 6781800"/>
                    <a:gd name="connsiteX24" fmla="*/ 857250 w 3990975"/>
                    <a:gd name="connsiteY24" fmla="*/ 5172075 h 6781800"/>
                    <a:gd name="connsiteX25" fmla="*/ 781050 w 3990975"/>
                    <a:gd name="connsiteY25" fmla="*/ 4705350 h 6781800"/>
                    <a:gd name="connsiteX26" fmla="*/ 742950 w 3990975"/>
                    <a:gd name="connsiteY26" fmla="*/ 4086225 h 6781800"/>
                    <a:gd name="connsiteX27" fmla="*/ 809625 w 3990975"/>
                    <a:gd name="connsiteY27" fmla="*/ 3343275 h 6781800"/>
                    <a:gd name="connsiteX28" fmla="*/ 952500 w 3990975"/>
                    <a:gd name="connsiteY28" fmla="*/ 2552700 h 6781800"/>
                    <a:gd name="connsiteX29" fmla="*/ 1028700 w 3990975"/>
                    <a:gd name="connsiteY29" fmla="*/ 1924050 h 6781800"/>
                    <a:gd name="connsiteX30" fmla="*/ 942975 w 3990975"/>
                    <a:gd name="connsiteY30" fmla="*/ 1762125 h 6781800"/>
                    <a:gd name="connsiteX31" fmla="*/ 866775 w 3990975"/>
                    <a:gd name="connsiteY31" fmla="*/ 1600200 h 6781800"/>
                    <a:gd name="connsiteX32" fmla="*/ 876300 w 3990975"/>
                    <a:gd name="connsiteY32" fmla="*/ 1314450 h 6781800"/>
                    <a:gd name="connsiteX33" fmla="*/ 819150 w 3990975"/>
                    <a:gd name="connsiteY33" fmla="*/ 1276350 h 6781800"/>
                    <a:gd name="connsiteX34" fmla="*/ 685800 w 3990975"/>
                    <a:gd name="connsiteY34" fmla="*/ 1390650 h 6781800"/>
                    <a:gd name="connsiteX35" fmla="*/ 523875 w 3990975"/>
                    <a:gd name="connsiteY35" fmla="*/ 1457325 h 6781800"/>
                    <a:gd name="connsiteX36" fmla="*/ 352425 w 3990975"/>
                    <a:gd name="connsiteY36" fmla="*/ 1495425 h 6781800"/>
                    <a:gd name="connsiteX37" fmla="*/ 133350 w 3990975"/>
                    <a:gd name="connsiteY37" fmla="*/ 1552575 h 6781800"/>
                    <a:gd name="connsiteX38" fmla="*/ 0 w 3990975"/>
                    <a:gd name="connsiteY38" fmla="*/ 1562100 h 6781800"/>
                    <a:gd name="connsiteX39" fmla="*/ 9525 w 3990975"/>
                    <a:gd name="connsiteY39" fmla="*/ 1495425 h 6781800"/>
                    <a:gd name="connsiteX40" fmla="*/ 228600 w 3990975"/>
                    <a:gd name="connsiteY40" fmla="*/ 1371600 h 6781800"/>
                    <a:gd name="connsiteX41" fmla="*/ 542925 w 3990975"/>
                    <a:gd name="connsiteY41" fmla="*/ 1171575 h 6781800"/>
                    <a:gd name="connsiteX42" fmla="*/ 914400 w 3990975"/>
                    <a:gd name="connsiteY42" fmla="*/ 942975 h 6781800"/>
                    <a:gd name="connsiteX43" fmla="*/ 1047750 w 3990975"/>
                    <a:gd name="connsiteY43" fmla="*/ 771525 h 6781800"/>
                    <a:gd name="connsiteX44" fmla="*/ 1238250 w 3990975"/>
                    <a:gd name="connsiteY44" fmla="*/ 552450 h 6781800"/>
                    <a:gd name="connsiteX45" fmla="*/ 1419225 w 3990975"/>
                    <a:gd name="connsiteY45" fmla="*/ 390525 h 6781800"/>
                    <a:gd name="connsiteX46" fmla="*/ 1485900 w 3990975"/>
                    <a:gd name="connsiteY46" fmla="*/ 476250 h 6781800"/>
                    <a:gd name="connsiteX47" fmla="*/ 1476375 w 3990975"/>
                    <a:gd name="connsiteY47" fmla="*/ 885825 h 6781800"/>
                    <a:gd name="connsiteX48" fmla="*/ 1400175 w 3990975"/>
                    <a:gd name="connsiteY48" fmla="*/ 1190625 h 6781800"/>
                    <a:gd name="connsiteX49" fmla="*/ 1323975 w 3990975"/>
                    <a:gd name="connsiteY49" fmla="*/ 1524000 h 6781800"/>
                    <a:gd name="connsiteX50" fmla="*/ 1447800 w 3990975"/>
                    <a:gd name="connsiteY50" fmla="*/ 1885950 h 6781800"/>
                    <a:gd name="connsiteX51" fmla="*/ 1514475 w 3990975"/>
                    <a:gd name="connsiteY51" fmla="*/ 2066925 h 6781800"/>
                    <a:gd name="connsiteX52" fmla="*/ 1600200 w 3990975"/>
                    <a:gd name="connsiteY52" fmla="*/ 2438400 h 6781800"/>
                    <a:gd name="connsiteX53" fmla="*/ 1657350 w 3990975"/>
                    <a:gd name="connsiteY53" fmla="*/ 2686050 h 6781800"/>
                    <a:gd name="connsiteX54" fmla="*/ 1781175 w 3990975"/>
                    <a:gd name="connsiteY54" fmla="*/ 2933700 h 6781800"/>
                    <a:gd name="connsiteX55" fmla="*/ 1981200 w 3990975"/>
                    <a:gd name="connsiteY55" fmla="*/ 2581275 h 6781800"/>
                    <a:gd name="connsiteX56" fmla="*/ 2101850 w 3990975"/>
                    <a:gd name="connsiteY56" fmla="*/ 2181225 h 6781800"/>
                    <a:gd name="connsiteX57" fmla="*/ 2314575 w 3990975"/>
                    <a:gd name="connsiteY57" fmla="*/ 2000250 h 6781800"/>
                    <a:gd name="connsiteX58" fmla="*/ 2543175 w 3990975"/>
                    <a:gd name="connsiteY58" fmla="*/ 1962150 h 6781800"/>
                    <a:gd name="connsiteX59" fmla="*/ 2724150 w 3990975"/>
                    <a:gd name="connsiteY59" fmla="*/ 1895475 h 6781800"/>
                    <a:gd name="connsiteX60" fmla="*/ 2876550 w 3990975"/>
                    <a:gd name="connsiteY60" fmla="*/ 1828800 h 6781800"/>
                    <a:gd name="connsiteX61" fmla="*/ 2952750 w 3990975"/>
                    <a:gd name="connsiteY61" fmla="*/ 1685925 h 6781800"/>
                    <a:gd name="connsiteX62" fmla="*/ 3019425 w 3990975"/>
                    <a:gd name="connsiteY62" fmla="*/ 1552575 h 6781800"/>
                    <a:gd name="connsiteX63" fmla="*/ 3028950 w 3990975"/>
                    <a:gd name="connsiteY63" fmla="*/ 1524000 h 6781800"/>
                    <a:gd name="connsiteX64" fmla="*/ 3162300 w 3990975"/>
                    <a:gd name="connsiteY64" fmla="*/ 1257300 h 6781800"/>
                    <a:gd name="connsiteX65" fmla="*/ 3219450 w 3990975"/>
                    <a:gd name="connsiteY65" fmla="*/ 942975 h 6781800"/>
                    <a:gd name="connsiteX66" fmla="*/ 3381375 w 3990975"/>
                    <a:gd name="connsiteY66" fmla="*/ 657225 h 6781800"/>
                    <a:gd name="connsiteX67" fmla="*/ 3295650 w 3990975"/>
                    <a:gd name="connsiteY67" fmla="*/ 590550 h 6781800"/>
                    <a:gd name="connsiteX68" fmla="*/ 3219450 w 3990975"/>
                    <a:gd name="connsiteY68" fmla="*/ 390525 h 6781800"/>
                    <a:gd name="connsiteX69" fmla="*/ 3181350 w 3990975"/>
                    <a:gd name="connsiteY69" fmla="*/ 0 h 6781800"/>
                    <a:gd name="connsiteX0" fmla="*/ 3181350 w 3990975"/>
                    <a:gd name="connsiteY0" fmla="*/ 0 h 6781800"/>
                    <a:gd name="connsiteX1" fmla="*/ 3305175 w 3990975"/>
                    <a:gd name="connsiteY1" fmla="*/ 28575 h 6781800"/>
                    <a:gd name="connsiteX2" fmla="*/ 3448050 w 3990975"/>
                    <a:gd name="connsiteY2" fmla="*/ 180975 h 6781800"/>
                    <a:gd name="connsiteX3" fmla="*/ 3600450 w 3990975"/>
                    <a:gd name="connsiteY3" fmla="*/ 447675 h 6781800"/>
                    <a:gd name="connsiteX4" fmla="*/ 3771900 w 3990975"/>
                    <a:gd name="connsiteY4" fmla="*/ 733425 h 6781800"/>
                    <a:gd name="connsiteX5" fmla="*/ 3829050 w 3990975"/>
                    <a:gd name="connsiteY5" fmla="*/ 990600 h 6781800"/>
                    <a:gd name="connsiteX6" fmla="*/ 3924300 w 3990975"/>
                    <a:gd name="connsiteY6" fmla="*/ 1466850 h 6781800"/>
                    <a:gd name="connsiteX7" fmla="*/ 3990975 w 3990975"/>
                    <a:gd name="connsiteY7" fmla="*/ 1876425 h 6781800"/>
                    <a:gd name="connsiteX8" fmla="*/ 3943350 w 3990975"/>
                    <a:gd name="connsiteY8" fmla="*/ 2190750 h 6781800"/>
                    <a:gd name="connsiteX9" fmla="*/ 3876675 w 3990975"/>
                    <a:gd name="connsiteY9" fmla="*/ 2371725 h 6781800"/>
                    <a:gd name="connsiteX10" fmla="*/ 3800475 w 3990975"/>
                    <a:gd name="connsiteY10" fmla="*/ 2276475 h 6781800"/>
                    <a:gd name="connsiteX11" fmla="*/ 3790950 w 3990975"/>
                    <a:gd name="connsiteY11" fmla="*/ 2076450 h 6781800"/>
                    <a:gd name="connsiteX12" fmla="*/ 3590925 w 3990975"/>
                    <a:gd name="connsiteY12" fmla="*/ 1895475 h 6781800"/>
                    <a:gd name="connsiteX13" fmla="*/ 3324225 w 3990975"/>
                    <a:gd name="connsiteY13" fmla="*/ 1733550 h 6781800"/>
                    <a:gd name="connsiteX14" fmla="*/ 3181350 w 3990975"/>
                    <a:gd name="connsiteY14" fmla="*/ 2247900 h 6781800"/>
                    <a:gd name="connsiteX15" fmla="*/ 2628900 w 3990975"/>
                    <a:gd name="connsiteY15" fmla="*/ 3848100 h 6781800"/>
                    <a:gd name="connsiteX16" fmla="*/ 2000250 w 3990975"/>
                    <a:gd name="connsiteY16" fmla="*/ 5172075 h 6781800"/>
                    <a:gd name="connsiteX17" fmla="*/ 1857375 w 3990975"/>
                    <a:gd name="connsiteY17" fmla="*/ 5429250 h 6781800"/>
                    <a:gd name="connsiteX18" fmla="*/ 1666875 w 3990975"/>
                    <a:gd name="connsiteY18" fmla="*/ 5734050 h 6781800"/>
                    <a:gd name="connsiteX19" fmla="*/ 1571625 w 3990975"/>
                    <a:gd name="connsiteY19" fmla="*/ 6096000 h 6781800"/>
                    <a:gd name="connsiteX20" fmla="*/ 1257300 w 3990975"/>
                    <a:gd name="connsiteY20" fmla="*/ 6629400 h 6781800"/>
                    <a:gd name="connsiteX21" fmla="*/ 1143000 w 3990975"/>
                    <a:gd name="connsiteY21" fmla="*/ 6781800 h 6781800"/>
                    <a:gd name="connsiteX22" fmla="*/ 1085850 w 3990975"/>
                    <a:gd name="connsiteY22" fmla="*/ 6257925 h 6781800"/>
                    <a:gd name="connsiteX23" fmla="*/ 933450 w 3990975"/>
                    <a:gd name="connsiteY23" fmla="*/ 5562600 h 6781800"/>
                    <a:gd name="connsiteX24" fmla="*/ 857250 w 3990975"/>
                    <a:gd name="connsiteY24" fmla="*/ 5172075 h 6781800"/>
                    <a:gd name="connsiteX25" fmla="*/ 781050 w 3990975"/>
                    <a:gd name="connsiteY25" fmla="*/ 4705350 h 6781800"/>
                    <a:gd name="connsiteX26" fmla="*/ 742950 w 3990975"/>
                    <a:gd name="connsiteY26" fmla="*/ 4086225 h 6781800"/>
                    <a:gd name="connsiteX27" fmla="*/ 809625 w 3990975"/>
                    <a:gd name="connsiteY27" fmla="*/ 3343275 h 6781800"/>
                    <a:gd name="connsiteX28" fmla="*/ 952500 w 3990975"/>
                    <a:gd name="connsiteY28" fmla="*/ 2552700 h 6781800"/>
                    <a:gd name="connsiteX29" fmla="*/ 1028700 w 3990975"/>
                    <a:gd name="connsiteY29" fmla="*/ 1924050 h 6781800"/>
                    <a:gd name="connsiteX30" fmla="*/ 942975 w 3990975"/>
                    <a:gd name="connsiteY30" fmla="*/ 1762125 h 6781800"/>
                    <a:gd name="connsiteX31" fmla="*/ 866775 w 3990975"/>
                    <a:gd name="connsiteY31" fmla="*/ 1600200 h 6781800"/>
                    <a:gd name="connsiteX32" fmla="*/ 876300 w 3990975"/>
                    <a:gd name="connsiteY32" fmla="*/ 1314450 h 6781800"/>
                    <a:gd name="connsiteX33" fmla="*/ 819150 w 3990975"/>
                    <a:gd name="connsiteY33" fmla="*/ 1276350 h 6781800"/>
                    <a:gd name="connsiteX34" fmla="*/ 685800 w 3990975"/>
                    <a:gd name="connsiteY34" fmla="*/ 1390650 h 6781800"/>
                    <a:gd name="connsiteX35" fmla="*/ 523875 w 3990975"/>
                    <a:gd name="connsiteY35" fmla="*/ 1457325 h 6781800"/>
                    <a:gd name="connsiteX36" fmla="*/ 352425 w 3990975"/>
                    <a:gd name="connsiteY36" fmla="*/ 1495425 h 6781800"/>
                    <a:gd name="connsiteX37" fmla="*/ 133350 w 3990975"/>
                    <a:gd name="connsiteY37" fmla="*/ 1552575 h 6781800"/>
                    <a:gd name="connsiteX38" fmla="*/ 0 w 3990975"/>
                    <a:gd name="connsiteY38" fmla="*/ 1562100 h 6781800"/>
                    <a:gd name="connsiteX39" fmla="*/ 9525 w 3990975"/>
                    <a:gd name="connsiteY39" fmla="*/ 1495425 h 6781800"/>
                    <a:gd name="connsiteX40" fmla="*/ 228600 w 3990975"/>
                    <a:gd name="connsiteY40" fmla="*/ 1371600 h 6781800"/>
                    <a:gd name="connsiteX41" fmla="*/ 542925 w 3990975"/>
                    <a:gd name="connsiteY41" fmla="*/ 1171575 h 6781800"/>
                    <a:gd name="connsiteX42" fmla="*/ 914400 w 3990975"/>
                    <a:gd name="connsiteY42" fmla="*/ 942975 h 6781800"/>
                    <a:gd name="connsiteX43" fmla="*/ 1047750 w 3990975"/>
                    <a:gd name="connsiteY43" fmla="*/ 771525 h 6781800"/>
                    <a:gd name="connsiteX44" fmla="*/ 1238250 w 3990975"/>
                    <a:gd name="connsiteY44" fmla="*/ 552450 h 6781800"/>
                    <a:gd name="connsiteX45" fmla="*/ 1419225 w 3990975"/>
                    <a:gd name="connsiteY45" fmla="*/ 390525 h 6781800"/>
                    <a:gd name="connsiteX46" fmla="*/ 1485900 w 3990975"/>
                    <a:gd name="connsiteY46" fmla="*/ 476250 h 6781800"/>
                    <a:gd name="connsiteX47" fmla="*/ 1476375 w 3990975"/>
                    <a:gd name="connsiteY47" fmla="*/ 885825 h 6781800"/>
                    <a:gd name="connsiteX48" fmla="*/ 1400175 w 3990975"/>
                    <a:gd name="connsiteY48" fmla="*/ 1190625 h 6781800"/>
                    <a:gd name="connsiteX49" fmla="*/ 1323975 w 3990975"/>
                    <a:gd name="connsiteY49" fmla="*/ 1524000 h 6781800"/>
                    <a:gd name="connsiteX50" fmla="*/ 1447800 w 3990975"/>
                    <a:gd name="connsiteY50" fmla="*/ 1885950 h 6781800"/>
                    <a:gd name="connsiteX51" fmla="*/ 1514475 w 3990975"/>
                    <a:gd name="connsiteY51" fmla="*/ 2066925 h 6781800"/>
                    <a:gd name="connsiteX52" fmla="*/ 1600200 w 3990975"/>
                    <a:gd name="connsiteY52" fmla="*/ 2438400 h 6781800"/>
                    <a:gd name="connsiteX53" fmla="*/ 1657350 w 3990975"/>
                    <a:gd name="connsiteY53" fmla="*/ 2686050 h 6781800"/>
                    <a:gd name="connsiteX54" fmla="*/ 1781175 w 3990975"/>
                    <a:gd name="connsiteY54" fmla="*/ 2933700 h 6781800"/>
                    <a:gd name="connsiteX55" fmla="*/ 1981200 w 3990975"/>
                    <a:gd name="connsiteY55" fmla="*/ 2581275 h 6781800"/>
                    <a:gd name="connsiteX56" fmla="*/ 2101850 w 3990975"/>
                    <a:gd name="connsiteY56" fmla="*/ 2181225 h 6781800"/>
                    <a:gd name="connsiteX57" fmla="*/ 2314575 w 3990975"/>
                    <a:gd name="connsiteY57" fmla="*/ 2000250 h 6781800"/>
                    <a:gd name="connsiteX58" fmla="*/ 2543175 w 3990975"/>
                    <a:gd name="connsiteY58" fmla="*/ 1962150 h 6781800"/>
                    <a:gd name="connsiteX59" fmla="*/ 2724150 w 3990975"/>
                    <a:gd name="connsiteY59" fmla="*/ 1895475 h 6781800"/>
                    <a:gd name="connsiteX60" fmla="*/ 2876550 w 3990975"/>
                    <a:gd name="connsiteY60" fmla="*/ 1828800 h 6781800"/>
                    <a:gd name="connsiteX61" fmla="*/ 2952750 w 3990975"/>
                    <a:gd name="connsiteY61" fmla="*/ 1685925 h 6781800"/>
                    <a:gd name="connsiteX62" fmla="*/ 3019425 w 3990975"/>
                    <a:gd name="connsiteY62" fmla="*/ 1552575 h 6781800"/>
                    <a:gd name="connsiteX63" fmla="*/ 3028950 w 3990975"/>
                    <a:gd name="connsiteY63" fmla="*/ 1524000 h 6781800"/>
                    <a:gd name="connsiteX64" fmla="*/ 3162300 w 3990975"/>
                    <a:gd name="connsiteY64" fmla="*/ 1257300 h 6781800"/>
                    <a:gd name="connsiteX65" fmla="*/ 3219450 w 3990975"/>
                    <a:gd name="connsiteY65" fmla="*/ 942975 h 6781800"/>
                    <a:gd name="connsiteX66" fmla="*/ 3381375 w 3990975"/>
                    <a:gd name="connsiteY66" fmla="*/ 657225 h 6781800"/>
                    <a:gd name="connsiteX67" fmla="*/ 3295650 w 3990975"/>
                    <a:gd name="connsiteY67" fmla="*/ 590550 h 6781800"/>
                    <a:gd name="connsiteX68" fmla="*/ 3219450 w 3990975"/>
                    <a:gd name="connsiteY68" fmla="*/ 390525 h 6781800"/>
                    <a:gd name="connsiteX69" fmla="*/ 3181350 w 3990975"/>
                    <a:gd name="connsiteY69" fmla="*/ 0 h 6781800"/>
                    <a:gd name="connsiteX0" fmla="*/ 3181350 w 3990975"/>
                    <a:gd name="connsiteY0" fmla="*/ 0 h 6781800"/>
                    <a:gd name="connsiteX1" fmla="*/ 3305175 w 3990975"/>
                    <a:gd name="connsiteY1" fmla="*/ 28575 h 6781800"/>
                    <a:gd name="connsiteX2" fmla="*/ 3448050 w 3990975"/>
                    <a:gd name="connsiteY2" fmla="*/ 180975 h 6781800"/>
                    <a:gd name="connsiteX3" fmla="*/ 3600450 w 3990975"/>
                    <a:gd name="connsiteY3" fmla="*/ 447675 h 6781800"/>
                    <a:gd name="connsiteX4" fmla="*/ 3771900 w 3990975"/>
                    <a:gd name="connsiteY4" fmla="*/ 733425 h 6781800"/>
                    <a:gd name="connsiteX5" fmla="*/ 3829050 w 3990975"/>
                    <a:gd name="connsiteY5" fmla="*/ 990600 h 6781800"/>
                    <a:gd name="connsiteX6" fmla="*/ 3924300 w 3990975"/>
                    <a:gd name="connsiteY6" fmla="*/ 1466850 h 6781800"/>
                    <a:gd name="connsiteX7" fmla="*/ 3990975 w 3990975"/>
                    <a:gd name="connsiteY7" fmla="*/ 1876425 h 6781800"/>
                    <a:gd name="connsiteX8" fmla="*/ 3943350 w 3990975"/>
                    <a:gd name="connsiteY8" fmla="*/ 2190750 h 6781800"/>
                    <a:gd name="connsiteX9" fmla="*/ 3876675 w 3990975"/>
                    <a:gd name="connsiteY9" fmla="*/ 2371725 h 6781800"/>
                    <a:gd name="connsiteX10" fmla="*/ 3800475 w 3990975"/>
                    <a:gd name="connsiteY10" fmla="*/ 2276475 h 6781800"/>
                    <a:gd name="connsiteX11" fmla="*/ 3790950 w 3990975"/>
                    <a:gd name="connsiteY11" fmla="*/ 2076450 h 6781800"/>
                    <a:gd name="connsiteX12" fmla="*/ 3590925 w 3990975"/>
                    <a:gd name="connsiteY12" fmla="*/ 1895475 h 6781800"/>
                    <a:gd name="connsiteX13" fmla="*/ 3324225 w 3990975"/>
                    <a:gd name="connsiteY13" fmla="*/ 1733550 h 6781800"/>
                    <a:gd name="connsiteX14" fmla="*/ 3181350 w 3990975"/>
                    <a:gd name="connsiteY14" fmla="*/ 2247900 h 6781800"/>
                    <a:gd name="connsiteX15" fmla="*/ 2628900 w 3990975"/>
                    <a:gd name="connsiteY15" fmla="*/ 3848100 h 6781800"/>
                    <a:gd name="connsiteX16" fmla="*/ 2000250 w 3990975"/>
                    <a:gd name="connsiteY16" fmla="*/ 5172075 h 6781800"/>
                    <a:gd name="connsiteX17" fmla="*/ 1857375 w 3990975"/>
                    <a:gd name="connsiteY17" fmla="*/ 5429250 h 6781800"/>
                    <a:gd name="connsiteX18" fmla="*/ 1666875 w 3990975"/>
                    <a:gd name="connsiteY18" fmla="*/ 5734050 h 6781800"/>
                    <a:gd name="connsiteX19" fmla="*/ 1571625 w 3990975"/>
                    <a:gd name="connsiteY19" fmla="*/ 6096000 h 6781800"/>
                    <a:gd name="connsiteX20" fmla="*/ 1257300 w 3990975"/>
                    <a:gd name="connsiteY20" fmla="*/ 6629400 h 6781800"/>
                    <a:gd name="connsiteX21" fmla="*/ 1143000 w 3990975"/>
                    <a:gd name="connsiteY21" fmla="*/ 6781800 h 6781800"/>
                    <a:gd name="connsiteX22" fmla="*/ 1085850 w 3990975"/>
                    <a:gd name="connsiteY22" fmla="*/ 6257925 h 6781800"/>
                    <a:gd name="connsiteX23" fmla="*/ 933450 w 3990975"/>
                    <a:gd name="connsiteY23" fmla="*/ 5562600 h 6781800"/>
                    <a:gd name="connsiteX24" fmla="*/ 857250 w 3990975"/>
                    <a:gd name="connsiteY24" fmla="*/ 5172075 h 6781800"/>
                    <a:gd name="connsiteX25" fmla="*/ 781050 w 3990975"/>
                    <a:gd name="connsiteY25" fmla="*/ 4705350 h 6781800"/>
                    <a:gd name="connsiteX26" fmla="*/ 742950 w 3990975"/>
                    <a:gd name="connsiteY26" fmla="*/ 4086225 h 6781800"/>
                    <a:gd name="connsiteX27" fmla="*/ 809625 w 3990975"/>
                    <a:gd name="connsiteY27" fmla="*/ 3343275 h 6781800"/>
                    <a:gd name="connsiteX28" fmla="*/ 952500 w 3990975"/>
                    <a:gd name="connsiteY28" fmla="*/ 2552700 h 6781800"/>
                    <a:gd name="connsiteX29" fmla="*/ 1028700 w 3990975"/>
                    <a:gd name="connsiteY29" fmla="*/ 1924050 h 6781800"/>
                    <a:gd name="connsiteX30" fmla="*/ 942975 w 3990975"/>
                    <a:gd name="connsiteY30" fmla="*/ 1762125 h 6781800"/>
                    <a:gd name="connsiteX31" fmla="*/ 866775 w 3990975"/>
                    <a:gd name="connsiteY31" fmla="*/ 1600200 h 6781800"/>
                    <a:gd name="connsiteX32" fmla="*/ 876300 w 3990975"/>
                    <a:gd name="connsiteY32" fmla="*/ 1314450 h 6781800"/>
                    <a:gd name="connsiteX33" fmla="*/ 819150 w 3990975"/>
                    <a:gd name="connsiteY33" fmla="*/ 1276350 h 6781800"/>
                    <a:gd name="connsiteX34" fmla="*/ 685800 w 3990975"/>
                    <a:gd name="connsiteY34" fmla="*/ 1390650 h 6781800"/>
                    <a:gd name="connsiteX35" fmla="*/ 523875 w 3990975"/>
                    <a:gd name="connsiteY35" fmla="*/ 1457325 h 6781800"/>
                    <a:gd name="connsiteX36" fmla="*/ 352425 w 3990975"/>
                    <a:gd name="connsiteY36" fmla="*/ 1495425 h 6781800"/>
                    <a:gd name="connsiteX37" fmla="*/ 133350 w 3990975"/>
                    <a:gd name="connsiteY37" fmla="*/ 1552575 h 6781800"/>
                    <a:gd name="connsiteX38" fmla="*/ 0 w 3990975"/>
                    <a:gd name="connsiteY38" fmla="*/ 1562100 h 6781800"/>
                    <a:gd name="connsiteX39" fmla="*/ 9525 w 3990975"/>
                    <a:gd name="connsiteY39" fmla="*/ 1495425 h 6781800"/>
                    <a:gd name="connsiteX40" fmla="*/ 228600 w 3990975"/>
                    <a:gd name="connsiteY40" fmla="*/ 1371600 h 6781800"/>
                    <a:gd name="connsiteX41" fmla="*/ 542925 w 3990975"/>
                    <a:gd name="connsiteY41" fmla="*/ 1171575 h 6781800"/>
                    <a:gd name="connsiteX42" fmla="*/ 914400 w 3990975"/>
                    <a:gd name="connsiteY42" fmla="*/ 942975 h 6781800"/>
                    <a:gd name="connsiteX43" fmla="*/ 1047750 w 3990975"/>
                    <a:gd name="connsiteY43" fmla="*/ 771525 h 6781800"/>
                    <a:gd name="connsiteX44" fmla="*/ 1238250 w 3990975"/>
                    <a:gd name="connsiteY44" fmla="*/ 552450 h 6781800"/>
                    <a:gd name="connsiteX45" fmla="*/ 1419225 w 3990975"/>
                    <a:gd name="connsiteY45" fmla="*/ 390525 h 6781800"/>
                    <a:gd name="connsiteX46" fmla="*/ 1485900 w 3990975"/>
                    <a:gd name="connsiteY46" fmla="*/ 476250 h 6781800"/>
                    <a:gd name="connsiteX47" fmla="*/ 1476375 w 3990975"/>
                    <a:gd name="connsiteY47" fmla="*/ 885825 h 6781800"/>
                    <a:gd name="connsiteX48" fmla="*/ 1400175 w 3990975"/>
                    <a:gd name="connsiteY48" fmla="*/ 1190625 h 6781800"/>
                    <a:gd name="connsiteX49" fmla="*/ 1323975 w 3990975"/>
                    <a:gd name="connsiteY49" fmla="*/ 1524000 h 6781800"/>
                    <a:gd name="connsiteX50" fmla="*/ 1447800 w 3990975"/>
                    <a:gd name="connsiteY50" fmla="*/ 1885950 h 6781800"/>
                    <a:gd name="connsiteX51" fmla="*/ 1514475 w 3990975"/>
                    <a:gd name="connsiteY51" fmla="*/ 2066925 h 6781800"/>
                    <a:gd name="connsiteX52" fmla="*/ 1600200 w 3990975"/>
                    <a:gd name="connsiteY52" fmla="*/ 2438400 h 6781800"/>
                    <a:gd name="connsiteX53" fmla="*/ 1657350 w 3990975"/>
                    <a:gd name="connsiteY53" fmla="*/ 2686050 h 6781800"/>
                    <a:gd name="connsiteX54" fmla="*/ 1781175 w 3990975"/>
                    <a:gd name="connsiteY54" fmla="*/ 2933700 h 6781800"/>
                    <a:gd name="connsiteX55" fmla="*/ 1981200 w 3990975"/>
                    <a:gd name="connsiteY55" fmla="*/ 2581275 h 6781800"/>
                    <a:gd name="connsiteX56" fmla="*/ 2101850 w 3990975"/>
                    <a:gd name="connsiteY56" fmla="*/ 2181225 h 6781800"/>
                    <a:gd name="connsiteX57" fmla="*/ 2314575 w 3990975"/>
                    <a:gd name="connsiteY57" fmla="*/ 2000250 h 6781800"/>
                    <a:gd name="connsiteX58" fmla="*/ 2543175 w 3990975"/>
                    <a:gd name="connsiteY58" fmla="*/ 1962150 h 6781800"/>
                    <a:gd name="connsiteX59" fmla="*/ 2724150 w 3990975"/>
                    <a:gd name="connsiteY59" fmla="*/ 1895475 h 6781800"/>
                    <a:gd name="connsiteX60" fmla="*/ 2876550 w 3990975"/>
                    <a:gd name="connsiteY60" fmla="*/ 1828800 h 6781800"/>
                    <a:gd name="connsiteX61" fmla="*/ 2952750 w 3990975"/>
                    <a:gd name="connsiteY61" fmla="*/ 1685925 h 6781800"/>
                    <a:gd name="connsiteX62" fmla="*/ 3019425 w 3990975"/>
                    <a:gd name="connsiteY62" fmla="*/ 1552575 h 6781800"/>
                    <a:gd name="connsiteX63" fmla="*/ 3028950 w 3990975"/>
                    <a:gd name="connsiteY63" fmla="*/ 1524000 h 6781800"/>
                    <a:gd name="connsiteX64" fmla="*/ 3124200 w 3990975"/>
                    <a:gd name="connsiteY64" fmla="*/ 1235075 h 6781800"/>
                    <a:gd name="connsiteX65" fmla="*/ 3219450 w 3990975"/>
                    <a:gd name="connsiteY65" fmla="*/ 942975 h 6781800"/>
                    <a:gd name="connsiteX66" fmla="*/ 3381375 w 3990975"/>
                    <a:gd name="connsiteY66" fmla="*/ 657225 h 6781800"/>
                    <a:gd name="connsiteX67" fmla="*/ 3295650 w 3990975"/>
                    <a:gd name="connsiteY67" fmla="*/ 590550 h 6781800"/>
                    <a:gd name="connsiteX68" fmla="*/ 3219450 w 3990975"/>
                    <a:gd name="connsiteY68" fmla="*/ 390525 h 6781800"/>
                    <a:gd name="connsiteX69" fmla="*/ 3181350 w 3990975"/>
                    <a:gd name="connsiteY69" fmla="*/ 0 h 6781800"/>
                    <a:gd name="connsiteX0" fmla="*/ 3181350 w 3990975"/>
                    <a:gd name="connsiteY0" fmla="*/ 0 h 6781800"/>
                    <a:gd name="connsiteX1" fmla="*/ 3305175 w 3990975"/>
                    <a:gd name="connsiteY1" fmla="*/ 28575 h 6781800"/>
                    <a:gd name="connsiteX2" fmla="*/ 3448050 w 3990975"/>
                    <a:gd name="connsiteY2" fmla="*/ 180975 h 6781800"/>
                    <a:gd name="connsiteX3" fmla="*/ 3600450 w 3990975"/>
                    <a:gd name="connsiteY3" fmla="*/ 447675 h 6781800"/>
                    <a:gd name="connsiteX4" fmla="*/ 3771900 w 3990975"/>
                    <a:gd name="connsiteY4" fmla="*/ 733425 h 6781800"/>
                    <a:gd name="connsiteX5" fmla="*/ 3829050 w 3990975"/>
                    <a:gd name="connsiteY5" fmla="*/ 990600 h 6781800"/>
                    <a:gd name="connsiteX6" fmla="*/ 3924300 w 3990975"/>
                    <a:gd name="connsiteY6" fmla="*/ 1466850 h 6781800"/>
                    <a:gd name="connsiteX7" fmla="*/ 3990975 w 3990975"/>
                    <a:gd name="connsiteY7" fmla="*/ 1876425 h 6781800"/>
                    <a:gd name="connsiteX8" fmla="*/ 3943350 w 3990975"/>
                    <a:gd name="connsiteY8" fmla="*/ 2190750 h 6781800"/>
                    <a:gd name="connsiteX9" fmla="*/ 3876675 w 3990975"/>
                    <a:gd name="connsiteY9" fmla="*/ 2371725 h 6781800"/>
                    <a:gd name="connsiteX10" fmla="*/ 3800475 w 3990975"/>
                    <a:gd name="connsiteY10" fmla="*/ 2276475 h 6781800"/>
                    <a:gd name="connsiteX11" fmla="*/ 3790950 w 3990975"/>
                    <a:gd name="connsiteY11" fmla="*/ 2076450 h 6781800"/>
                    <a:gd name="connsiteX12" fmla="*/ 3590925 w 3990975"/>
                    <a:gd name="connsiteY12" fmla="*/ 1895475 h 6781800"/>
                    <a:gd name="connsiteX13" fmla="*/ 3324225 w 3990975"/>
                    <a:gd name="connsiteY13" fmla="*/ 1733550 h 6781800"/>
                    <a:gd name="connsiteX14" fmla="*/ 3181350 w 3990975"/>
                    <a:gd name="connsiteY14" fmla="*/ 2247900 h 6781800"/>
                    <a:gd name="connsiteX15" fmla="*/ 2628900 w 3990975"/>
                    <a:gd name="connsiteY15" fmla="*/ 3848100 h 6781800"/>
                    <a:gd name="connsiteX16" fmla="*/ 2000250 w 3990975"/>
                    <a:gd name="connsiteY16" fmla="*/ 5172075 h 6781800"/>
                    <a:gd name="connsiteX17" fmla="*/ 1857375 w 3990975"/>
                    <a:gd name="connsiteY17" fmla="*/ 5429250 h 6781800"/>
                    <a:gd name="connsiteX18" fmla="*/ 1666875 w 3990975"/>
                    <a:gd name="connsiteY18" fmla="*/ 5734050 h 6781800"/>
                    <a:gd name="connsiteX19" fmla="*/ 1571625 w 3990975"/>
                    <a:gd name="connsiteY19" fmla="*/ 6096000 h 6781800"/>
                    <a:gd name="connsiteX20" fmla="*/ 1257300 w 3990975"/>
                    <a:gd name="connsiteY20" fmla="*/ 6629400 h 6781800"/>
                    <a:gd name="connsiteX21" fmla="*/ 1143000 w 3990975"/>
                    <a:gd name="connsiteY21" fmla="*/ 6781800 h 6781800"/>
                    <a:gd name="connsiteX22" fmla="*/ 1085850 w 3990975"/>
                    <a:gd name="connsiteY22" fmla="*/ 6257925 h 6781800"/>
                    <a:gd name="connsiteX23" fmla="*/ 933450 w 3990975"/>
                    <a:gd name="connsiteY23" fmla="*/ 5562600 h 6781800"/>
                    <a:gd name="connsiteX24" fmla="*/ 857250 w 3990975"/>
                    <a:gd name="connsiteY24" fmla="*/ 5172075 h 6781800"/>
                    <a:gd name="connsiteX25" fmla="*/ 781050 w 3990975"/>
                    <a:gd name="connsiteY25" fmla="*/ 4705350 h 6781800"/>
                    <a:gd name="connsiteX26" fmla="*/ 742950 w 3990975"/>
                    <a:gd name="connsiteY26" fmla="*/ 4086225 h 6781800"/>
                    <a:gd name="connsiteX27" fmla="*/ 809625 w 3990975"/>
                    <a:gd name="connsiteY27" fmla="*/ 3343275 h 6781800"/>
                    <a:gd name="connsiteX28" fmla="*/ 952500 w 3990975"/>
                    <a:gd name="connsiteY28" fmla="*/ 2552700 h 6781800"/>
                    <a:gd name="connsiteX29" fmla="*/ 1028700 w 3990975"/>
                    <a:gd name="connsiteY29" fmla="*/ 1924050 h 6781800"/>
                    <a:gd name="connsiteX30" fmla="*/ 942975 w 3990975"/>
                    <a:gd name="connsiteY30" fmla="*/ 1762125 h 6781800"/>
                    <a:gd name="connsiteX31" fmla="*/ 866775 w 3990975"/>
                    <a:gd name="connsiteY31" fmla="*/ 1600200 h 6781800"/>
                    <a:gd name="connsiteX32" fmla="*/ 876300 w 3990975"/>
                    <a:gd name="connsiteY32" fmla="*/ 1314450 h 6781800"/>
                    <a:gd name="connsiteX33" fmla="*/ 819150 w 3990975"/>
                    <a:gd name="connsiteY33" fmla="*/ 1276350 h 6781800"/>
                    <a:gd name="connsiteX34" fmla="*/ 685800 w 3990975"/>
                    <a:gd name="connsiteY34" fmla="*/ 1390650 h 6781800"/>
                    <a:gd name="connsiteX35" fmla="*/ 523875 w 3990975"/>
                    <a:gd name="connsiteY35" fmla="*/ 1457325 h 6781800"/>
                    <a:gd name="connsiteX36" fmla="*/ 352425 w 3990975"/>
                    <a:gd name="connsiteY36" fmla="*/ 1495425 h 6781800"/>
                    <a:gd name="connsiteX37" fmla="*/ 133350 w 3990975"/>
                    <a:gd name="connsiteY37" fmla="*/ 1552575 h 6781800"/>
                    <a:gd name="connsiteX38" fmla="*/ 0 w 3990975"/>
                    <a:gd name="connsiteY38" fmla="*/ 1562100 h 6781800"/>
                    <a:gd name="connsiteX39" fmla="*/ 9525 w 3990975"/>
                    <a:gd name="connsiteY39" fmla="*/ 1495425 h 6781800"/>
                    <a:gd name="connsiteX40" fmla="*/ 228600 w 3990975"/>
                    <a:gd name="connsiteY40" fmla="*/ 1371600 h 6781800"/>
                    <a:gd name="connsiteX41" fmla="*/ 542925 w 3990975"/>
                    <a:gd name="connsiteY41" fmla="*/ 1171575 h 6781800"/>
                    <a:gd name="connsiteX42" fmla="*/ 914400 w 3990975"/>
                    <a:gd name="connsiteY42" fmla="*/ 942975 h 6781800"/>
                    <a:gd name="connsiteX43" fmla="*/ 1047750 w 3990975"/>
                    <a:gd name="connsiteY43" fmla="*/ 771525 h 6781800"/>
                    <a:gd name="connsiteX44" fmla="*/ 1238250 w 3990975"/>
                    <a:gd name="connsiteY44" fmla="*/ 552450 h 6781800"/>
                    <a:gd name="connsiteX45" fmla="*/ 1419225 w 3990975"/>
                    <a:gd name="connsiteY45" fmla="*/ 390525 h 6781800"/>
                    <a:gd name="connsiteX46" fmla="*/ 1485900 w 3990975"/>
                    <a:gd name="connsiteY46" fmla="*/ 476250 h 6781800"/>
                    <a:gd name="connsiteX47" fmla="*/ 1476375 w 3990975"/>
                    <a:gd name="connsiteY47" fmla="*/ 885825 h 6781800"/>
                    <a:gd name="connsiteX48" fmla="*/ 1400175 w 3990975"/>
                    <a:gd name="connsiteY48" fmla="*/ 1190625 h 6781800"/>
                    <a:gd name="connsiteX49" fmla="*/ 1323975 w 3990975"/>
                    <a:gd name="connsiteY49" fmla="*/ 1524000 h 6781800"/>
                    <a:gd name="connsiteX50" fmla="*/ 1447800 w 3990975"/>
                    <a:gd name="connsiteY50" fmla="*/ 1885950 h 6781800"/>
                    <a:gd name="connsiteX51" fmla="*/ 1514475 w 3990975"/>
                    <a:gd name="connsiteY51" fmla="*/ 2066925 h 6781800"/>
                    <a:gd name="connsiteX52" fmla="*/ 1600200 w 3990975"/>
                    <a:gd name="connsiteY52" fmla="*/ 2438400 h 6781800"/>
                    <a:gd name="connsiteX53" fmla="*/ 1657350 w 3990975"/>
                    <a:gd name="connsiteY53" fmla="*/ 2686050 h 6781800"/>
                    <a:gd name="connsiteX54" fmla="*/ 1781175 w 3990975"/>
                    <a:gd name="connsiteY54" fmla="*/ 2933700 h 6781800"/>
                    <a:gd name="connsiteX55" fmla="*/ 1981200 w 3990975"/>
                    <a:gd name="connsiteY55" fmla="*/ 2581275 h 6781800"/>
                    <a:gd name="connsiteX56" fmla="*/ 2101850 w 3990975"/>
                    <a:gd name="connsiteY56" fmla="*/ 2181225 h 6781800"/>
                    <a:gd name="connsiteX57" fmla="*/ 2314575 w 3990975"/>
                    <a:gd name="connsiteY57" fmla="*/ 2000250 h 6781800"/>
                    <a:gd name="connsiteX58" fmla="*/ 2543175 w 3990975"/>
                    <a:gd name="connsiteY58" fmla="*/ 1962150 h 6781800"/>
                    <a:gd name="connsiteX59" fmla="*/ 2724150 w 3990975"/>
                    <a:gd name="connsiteY59" fmla="*/ 1895475 h 6781800"/>
                    <a:gd name="connsiteX60" fmla="*/ 2857500 w 3990975"/>
                    <a:gd name="connsiteY60" fmla="*/ 1787525 h 6781800"/>
                    <a:gd name="connsiteX61" fmla="*/ 2952750 w 3990975"/>
                    <a:gd name="connsiteY61" fmla="*/ 1685925 h 6781800"/>
                    <a:gd name="connsiteX62" fmla="*/ 3019425 w 3990975"/>
                    <a:gd name="connsiteY62" fmla="*/ 1552575 h 6781800"/>
                    <a:gd name="connsiteX63" fmla="*/ 3028950 w 3990975"/>
                    <a:gd name="connsiteY63" fmla="*/ 1524000 h 6781800"/>
                    <a:gd name="connsiteX64" fmla="*/ 3124200 w 3990975"/>
                    <a:gd name="connsiteY64" fmla="*/ 1235075 h 6781800"/>
                    <a:gd name="connsiteX65" fmla="*/ 3219450 w 3990975"/>
                    <a:gd name="connsiteY65" fmla="*/ 942975 h 6781800"/>
                    <a:gd name="connsiteX66" fmla="*/ 3381375 w 3990975"/>
                    <a:gd name="connsiteY66" fmla="*/ 657225 h 6781800"/>
                    <a:gd name="connsiteX67" fmla="*/ 3295650 w 3990975"/>
                    <a:gd name="connsiteY67" fmla="*/ 590550 h 6781800"/>
                    <a:gd name="connsiteX68" fmla="*/ 3219450 w 3990975"/>
                    <a:gd name="connsiteY68" fmla="*/ 390525 h 6781800"/>
                    <a:gd name="connsiteX69" fmla="*/ 3181350 w 3990975"/>
                    <a:gd name="connsiteY69" fmla="*/ 0 h 6781800"/>
                    <a:gd name="connsiteX0" fmla="*/ 3181350 w 3990975"/>
                    <a:gd name="connsiteY0" fmla="*/ 0 h 6781800"/>
                    <a:gd name="connsiteX1" fmla="*/ 3305175 w 3990975"/>
                    <a:gd name="connsiteY1" fmla="*/ 28575 h 6781800"/>
                    <a:gd name="connsiteX2" fmla="*/ 3448050 w 3990975"/>
                    <a:gd name="connsiteY2" fmla="*/ 180975 h 6781800"/>
                    <a:gd name="connsiteX3" fmla="*/ 3600450 w 3990975"/>
                    <a:gd name="connsiteY3" fmla="*/ 447675 h 6781800"/>
                    <a:gd name="connsiteX4" fmla="*/ 3771900 w 3990975"/>
                    <a:gd name="connsiteY4" fmla="*/ 733425 h 6781800"/>
                    <a:gd name="connsiteX5" fmla="*/ 3829050 w 3990975"/>
                    <a:gd name="connsiteY5" fmla="*/ 990600 h 6781800"/>
                    <a:gd name="connsiteX6" fmla="*/ 3924300 w 3990975"/>
                    <a:gd name="connsiteY6" fmla="*/ 1466850 h 6781800"/>
                    <a:gd name="connsiteX7" fmla="*/ 3990975 w 3990975"/>
                    <a:gd name="connsiteY7" fmla="*/ 1876425 h 6781800"/>
                    <a:gd name="connsiteX8" fmla="*/ 3943350 w 3990975"/>
                    <a:gd name="connsiteY8" fmla="*/ 2190750 h 6781800"/>
                    <a:gd name="connsiteX9" fmla="*/ 3876675 w 3990975"/>
                    <a:gd name="connsiteY9" fmla="*/ 2371725 h 6781800"/>
                    <a:gd name="connsiteX10" fmla="*/ 3800475 w 3990975"/>
                    <a:gd name="connsiteY10" fmla="*/ 2276475 h 6781800"/>
                    <a:gd name="connsiteX11" fmla="*/ 3790950 w 3990975"/>
                    <a:gd name="connsiteY11" fmla="*/ 2076450 h 6781800"/>
                    <a:gd name="connsiteX12" fmla="*/ 3590925 w 3990975"/>
                    <a:gd name="connsiteY12" fmla="*/ 1895475 h 6781800"/>
                    <a:gd name="connsiteX13" fmla="*/ 3324225 w 3990975"/>
                    <a:gd name="connsiteY13" fmla="*/ 1733550 h 6781800"/>
                    <a:gd name="connsiteX14" fmla="*/ 3181350 w 3990975"/>
                    <a:gd name="connsiteY14" fmla="*/ 2247900 h 6781800"/>
                    <a:gd name="connsiteX15" fmla="*/ 2628900 w 3990975"/>
                    <a:gd name="connsiteY15" fmla="*/ 3848100 h 6781800"/>
                    <a:gd name="connsiteX16" fmla="*/ 2000250 w 3990975"/>
                    <a:gd name="connsiteY16" fmla="*/ 5172075 h 6781800"/>
                    <a:gd name="connsiteX17" fmla="*/ 1857375 w 3990975"/>
                    <a:gd name="connsiteY17" fmla="*/ 5429250 h 6781800"/>
                    <a:gd name="connsiteX18" fmla="*/ 1666875 w 3990975"/>
                    <a:gd name="connsiteY18" fmla="*/ 5734050 h 6781800"/>
                    <a:gd name="connsiteX19" fmla="*/ 1571625 w 3990975"/>
                    <a:gd name="connsiteY19" fmla="*/ 6096000 h 6781800"/>
                    <a:gd name="connsiteX20" fmla="*/ 1257300 w 3990975"/>
                    <a:gd name="connsiteY20" fmla="*/ 6629400 h 6781800"/>
                    <a:gd name="connsiteX21" fmla="*/ 1143000 w 3990975"/>
                    <a:gd name="connsiteY21" fmla="*/ 6781800 h 6781800"/>
                    <a:gd name="connsiteX22" fmla="*/ 1085850 w 3990975"/>
                    <a:gd name="connsiteY22" fmla="*/ 6257925 h 6781800"/>
                    <a:gd name="connsiteX23" fmla="*/ 933450 w 3990975"/>
                    <a:gd name="connsiteY23" fmla="*/ 5562600 h 6781800"/>
                    <a:gd name="connsiteX24" fmla="*/ 857250 w 3990975"/>
                    <a:gd name="connsiteY24" fmla="*/ 5172075 h 6781800"/>
                    <a:gd name="connsiteX25" fmla="*/ 781050 w 3990975"/>
                    <a:gd name="connsiteY25" fmla="*/ 4705350 h 6781800"/>
                    <a:gd name="connsiteX26" fmla="*/ 742950 w 3990975"/>
                    <a:gd name="connsiteY26" fmla="*/ 4086225 h 6781800"/>
                    <a:gd name="connsiteX27" fmla="*/ 809625 w 3990975"/>
                    <a:gd name="connsiteY27" fmla="*/ 3343275 h 6781800"/>
                    <a:gd name="connsiteX28" fmla="*/ 952500 w 3990975"/>
                    <a:gd name="connsiteY28" fmla="*/ 2552700 h 6781800"/>
                    <a:gd name="connsiteX29" fmla="*/ 1028700 w 3990975"/>
                    <a:gd name="connsiteY29" fmla="*/ 1924050 h 6781800"/>
                    <a:gd name="connsiteX30" fmla="*/ 942975 w 3990975"/>
                    <a:gd name="connsiteY30" fmla="*/ 1762125 h 6781800"/>
                    <a:gd name="connsiteX31" fmla="*/ 866775 w 3990975"/>
                    <a:gd name="connsiteY31" fmla="*/ 1600200 h 6781800"/>
                    <a:gd name="connsiteX32" fmla="*/ 876300 w 3990975"/>
                    <a:gd name="connsiteY32" fmla="*/ 1314450 h 6781800"/>
                    <a:gd name="connsiteX33" fmla="*/ 819150 w 3990975"/>
                    <a:gd name="connsiteY33" fmla="*/ 1276350 h 6781800"/>
                    <a:gd name="connsiteX34" fmla="*/ 685800 w 3990975"/>
                    <a:gd name="connsiteY34" fmla="*/ 1390650 h 6781800"/>
                    <a:gd name="connsiteX35" fmla="*/ 523875 w 3990975"/>
                    <a:gd name="connsiteY35" fmla="*/ 1457325 h 6781800"/>
                    <a:gd name="connsiteX36" fmla="*/ 352425 w 3990975"/>
                    <a:gd name="connsiteY36" fmla="*/ 1495425 h 6781800"/>
                    <a:gd name="connsiteX37" fmla="*/ 133350 w 3990975"/>
                    <a:gd name="connsiteY37" fmla="*/ 1552575 h 6781800"/>
                    <a:gd name="connsiteX38" fmla="*/ 0 w 3990975"/>
                    <a:gd name="connsiteY38" fmla="*/ 1562100 h 6781800"/>
                    <a:gd name="connsiteX39" fmla="*/ 9525 w 3990975"/>
                    <a:gd name="connsiteY39" fmla="*/ 1495425 h 6781800"/>
                    <a:gd name="connsiteX40" fmla="*/ 228600 w 3990975"/>
                    <a:gd name="connsiteY40" fmla="*/ 1371600 h 6781800"/>
                    <a:gd name="connsiteX41" fmla="*/ 542925 w 3990975"/>
                    <a:gd name="connsiteY41" fmla="*/ 1171575 h 6781800"/>
                    <a:gd name="connsiteX42" fmla="*/ 914400 w 3990975"/>
                    <a:gd name="connsiteY42" fmla="*/ 942975 h 6781800"/>
                    <a:gd name="connsiteX43" fmla="*/ 1047750 w 3990975"/>
                    <a:gd name="connsiteY43" fmla="*/ 771525 h 6781800"/>
                    <a:gd name="connsiteX44" fmla="*/ 1238250 w 3990975"/>
                    <a:gd name="connsiteY44" fmla="*/ 552450 h 6781800"/>
                    <a:gd name="connsiteX45" fmla="*/ 1419225 w 3990975"/>
                    <a:gd name="connsiteY45" fmla="*/ 390525 h 6781800"/>
                    <a:gd name="connsiteX46" fmla="*/ 1485900 w 3990975"/>
                    <a:gd name="connsiteY46" fmla="*/ 476250 h 6781800"/>
                    <a:gd name="connsiteX47" fmla="*/ 1476375 w 3990975"/>
                    <a:gd name="connsiteY47" fmla="*/ 885825 h 6781800"/>
                    <a:gd name="connsiteX48" fmla="*/ 1400175 w 3990975"/>
                    <a:gd name="connsiteY48" fmla="*/ 1190625 h 6781800"/>
                    <a:gd name="connsiteX49" fmla="*/ 1323975 w 3990975"/>
                    <a:gd name="connsiteY49" fmla="*/ 1524000 h 6781800"/>
                    <a:gd name="connsiteX50" fmla="*/ 1447800 w 3990975"/>
                    <a:gd name="connsiteY50" fmla="*/ 1885950 h 6781800"/>
                    <a:gd name="connsiteX51" fmla="*/ 1514475 w 3990975"/>
                    <a:gd name="connsiteY51" fmla="*/ 2066925 h 6781800"/>
                    <a:gd name="connsiteX52" fmla="*/ 1600200 w 3990975"/>
                    <a:gd name="connsiteY52" fmla="*/ 2438400 h 6781800"/>
                    <a:gd name="connsiteX53" fmla="*/ 1657350 w 3990975"/>
                    <a:gd name="connsiteY53" fmla="*/ 2686050 h 6781800"/>
                    <a:gd name="connsiteX54" fmla="*/ 1781175 w 3990975"/>
                    <a:gd name="connsiteY54" fmla="*/ 2933700 h 6781800"/>
                    <a:gd name="connsiteX55" fmla="*/ 1981200 w 3990975"/>
                    <a:gd name="connsiteY55" fmla="*/ 2581275 h 6781800"/>
                    <a:gd name="connsiteX56" fmla="*/ 2101850 w 3990975"/>
                    <a:gd name="connsiteY56" fmla="*/ 2181225 h 6781800"/>
                    <a:gd name="connsiteX57" fmla="*/ 2314575 w 3990975"/>
                    <a:gd name="connsiteY57" fmla="*/ 2000250 h 6781800"/>
                    <a:gd name="connsiteX58" fmla="*/ 2543175 w 3990975"/>
                    <a:gd name="connsiteY58" fmla="*/ 1962150 h 6781800"/>
                    <a:gd name="connsiteX59" fmla="*/ 2724150 w 3990975"/>
                    <a:gd name="connsiteY59" fmla="*/ 1895475 h 6781800"/>
                    <a:gd name="connsiteX60" fmla="*/ 2857500 w 3990975"/>
                    <a:gd name="connsiteY60" fmla="*/ 1787525 h 6781800"/>
                    <a:gd name="connsiteX61" fmla="*/ 2952750 w 3990975"/>
                    <a:gd name="connsiteY61" fmla="*/ 1685925 h 6781800"/>
                    <a:gd name="connsiteX62" fmla="*/ 3019425 w 3990975"/>
                    <a:gd name="connsiteY62" fmla="*/ 1552575 h 6781800"/>
                    <a:gd name="connsiteX63" fmla="*/ 2990850 w 3990975"/>
                    <a:gd name="connsiteY63" fmla="*/ 1466850 h 6781800"/>
                    <a:gd name="connsiteX64" fmla="*/ 3124200 w 3990975"/>
                    <a:gd name="connsiteY64" fmla="*/ 1235075 h 6781800"/>
                    <a:gd name="connsiteX65" fmla="*/ 3219450 w 3990975"/>
                    <a:gd name="connsiteY65" fmla="*/ 942975 h 6781800"/>
                    <a:gd name="connsiteX66" fmla="*/ 3381375 w 3990975"/>
                    <a:gd name="connsiteY66" fmla="*/ 657225 h 6781800"/>
                    <a:gd name="connsiteX67" fmla="*/ 3295650 w 3990975"/>
                    <a:gd name="connsiteY67" fmla="*/ 590550 h 6781800"/>
                    <a:gd name="connsiteX68" fmla="*/ 3219450 w 3990975"/>
                    <a:gd name="connsiteY68" fmla="*/ 390525 h 6781800"/>
                    <a:gd name="connsiteX69" fmla="*/ 3181350 w 3990975"/>
                    <a:gd name="connsiteY69" fmla="*/ 0 h 6781800"/>
                    <a:gd name="connsiteX0" fmla="*/ 3181350 w 3990975"/>
                    <a:gd name="connsiteY0" fmla="*/ 0 h 6781800"/>
                    <a:gd name="connsiteX1" fmla="*/ 3305175 w 3990975"/>
                    <a:gd name="connsiteY1" fmla="*/ 28575 h 6781800"/>
                    <a:gd name="connsiteX2" fmla="*/ 3448050 w 3990975"/>
                    <a:gd name="connsiteY2" fmla="*/ 180975 h 6781800"/>
                    <a:gd name="connsiteX3" fmla="*/ 3600450 w 3990975"/>
                    <a:gd name="connsiteY3" fmla="*/ 447675 h 6781800"/>
                    <a:gd name="connsiteX4" fmla="*/ 3771900 w 3990975"/>
                    <a:gd name="connsiteY4" fmla="*/ 733425 h 6781800"/>
                    <a:gd name="connsiteX5" fmla="*/ 3829050 w 3990975"/>
                    <a:gd name="connsiteY5" fmla="*/ 990600 h 6781800"/>
                    <a:gd name="connsiteX6" fmla="*/ 3924300 w 3990975"/>
                    <a:gd name="connsiteY6" fmla="*/ 1466850 h 6781800"/>
                    <a:gd name="connsiteX7" fmla="*/ 3990975 w 3990975"/>
                    <a:gd name="connsiteY7" fmla="*/ 1876425 h 6781800"/>
                    <a:gd name="connsiteX8" fmla="*/ 3943350 w 3990975"/>
                    <a:gd name="connsiteY8" fmla="*/ 2190750 h 6781800"/>
                    <a:gd name="connsiteX9" fmla="*/ 3876675 w 3990975"/>
                    <a:gd name="connsiteY9" fmla="*/ 2371725 h 6781800"/>
                    <a:gd name="connsiteX10" fmla="*/ 3800475 w 3990975"/>
                    <a:gd name="connsiteY10" fmla="*/ 2276475 h 6781800"/>
                    <a:gd name="connsiteX11" fmla="*/ 3790950 w 3990975"/>
                    <a:gd name="connsiteY11" fmla="*/ 2076450 h 6781800"/>
                    <a:gd name="connsiteX12" fmla="*/ 3590925 w 3990975"/>
                    <a:gd name="connsiteY12" fmla="*/ 1895475 h 6781800"/>
                    <a:gd name="connsiteX13" fmla="*/ 3324225 w 3990975"/>
                    <a:gd name="connsiteY13" fmla="*/ 1733550 h 6781800"/>
                    <a:gd name="connsiteX14" fmla="*/ 3181350 w 3990975"/>
                    <a:gd name="connsiteY14" fmla="*/ 2247900 h 6781800"/>
                    <a:gd name="connsiteX15" fmla="*/ 2628900 w 3990975"/>
                    <a:gd name="connsiteY15" fmla="*/ 3848100 h 6781800"/>
                    <a:gd name="connsiteX16" fmla="*/ 2000250 w 3990975"/>
                    <a:gd name="connsiteY16" fmla="*/ 5172075 h 6781800"/>
                    <a:gd name="connsiteX17" fmla="*/ 1857375 w 3990975"/>
                    <a:gd name="connsiteY17" fmla="*/ 5429250 h 6781800"/>
                    <a:gd name="connsiteX18" fmla="*/ 1666875 w 3990975"/>
                    <a:gd name="connsiteY18" fmla="*/ 5734050 h 6781800"/>
                    <a:gd name="connsiteX19" fmla="*/ 1571625 w 3990975"/>
                    <a:gd name="connsiteY19" fmla="*/ 6096000 h 6781800"/>
                    <a:gd name="connsiteX20" fmla="*/ 1257300 w 3990975"/>
                    <a:gd name="connsiteY20" fmla="*/ 6629400 h 6781800"/>
                    <a:gd name="connsiteX21" fmla="*/ 1143000 w 3990975"/>
                    <a:gd name="connsiteY21" fmla="*/ 6781800 h 6781800"/>
                    <a:gd name="connsiteX22" fmla="*/ 1085850 w 3990975"/>
                    <a:gd name="connsiteY22" fmla="*/ 6257925 h 6781800"/>
                    <a:gd name="connsiteX23" fmla="*/ 933450 w 3990975"/>
                    <a:gd name="connsiteY23" fmla="*/ 5562600 h 6781800"/>
                    <a:gd name="connsiteX24" fmla="*/ 857250 w 3990975"/>
                    <a:gd name="connsiteY24" fmla="*/ 5172075 h 6781800"/>
                    <a:gd name="connsiteX25" fmla="*/ 781050 w 3990975"/>
                    <a:gd name="connsiteY25" fmla="*/ 4705350 h 6781800"/>
                    <a:gd name="connsiteX26" fmla="*/ 742950 w 3990975"/>
                    <a:gd name="connsiteY26" fmla="*/ 4086225 h 6781800"/>
                    <a:gd name="connsiteX27" fmla="*/ 809625 w 3990975"/>
                    <a:gd name="connsiteY27" fmla="*/ 3343275 h 6781800"/>
                    <a:gd name="connsiteX28" fmla="*/ 952500 w 3990975"/>
                    <a:gd name="connsiteY28" fmla="*/ 2552700 h 6781800"/>
                    <a:gd name="connsiteX29" fmla="*/ 1028700 w 3990975"/>
                    <a:gd name="connsiteY29" fmla="*/ 1924050 h 6781800"/>
                    <a:gd name="connsiteX30" fmla="*/ 942975 w 3990975"/>
                    <a:gd name="connsiteY30" fmla="*/ 1762125 h 6781800"/>
                    <a:gd name="connsiteX31" fmla="*/ 866775 w 3990975"/>
                    <a:gd name="connsiteY31" fmla="*/ 1600200 h 6781800"/>
                    <a:gd name="connsiteX32" fmla="*/ 876300 w 3990975"/>
                    <a:gd name="connsiteY32" fmla="*/ 1314450 h 6781800"/>
                    <a:gd name="connsiteX33" fmla="*/ 819150 w 3990975"/>
                    <a:gd name="connsiteY33" fmla="*/ 1276350 h 6781800"/>
                    <a:gd name="connsiteX34" fmla="*/ 685800 w 3990975"/>
                    <a:gd name="connsiteY34" fmla="*/ 1390650 h 6781800"/>
                    <a:gd name="connsiteX35" fmla="*/ 523875 w 3990975"/>
                    <a:gd name="connsiteY35" fmla="*/ 1457325 h 6781800"/>
                    <a:gd name="connsiteX36" fmla="*/ 352425 w 3990975"/>
                    <a:gd name="connsiteY36" fmla="*/ 1495425 h 6781800"/>
                    <a:gd name="connsiteX37" fmla="*/ 133350 w 3990975"/>
                    <a:gd name="connsiteY37" fmla="*/ 1552575 h 6781800"/>
                    <a:gd name="connsiteX38" fmla="*/ 0 w 3990975"/>
                    <a:gd name="connsiteY38" fmla="*/ 1562100 h 6781800"/>
                    <a:gd name="connsiteX39" fmla="*/ 9525 w 3990975"/>
                    <a:gd name="connsiteY39" fmla="*/ 1495425 h 6781800"/>
                    <a:gd name="connsiteX40" fmla="*/ 228600 w 3990975"/>
                    <a:gd name="connsiteY40" fmla="*/ 1371600 h 6781800"/>
                    <a:gd name="connsiteX41" fmla="*/ 542925 w 3990975"/>
                    <a:gd name="connsiteY41" fmla="*/ 1171575 h 6781800"/>
                    <a:gd name="connsiteX42" fmla="*/ 914400 w 3990975"/>
                    <a:gd name="connsiteY42" fmla="*/ 942975 h 6781800"/>
                    <a:gd name="connsiteX43" fmla="*/ 1047750 w 3990975"/>
                    <a:gd name="connsiteY43" fmla="*/ 771525 h 6781800"/>
                    <a:gd name="connsiteX44" fmla="*/ 1238250 w 3990975"/>
                    <a:gd name="connsiteY44" fmla="*/ 552450 h 6781800"/>
                    <a:gd name="connsiteX45" fmla="*/ 1419225 w 3990975"/>
                    <a:gd name="connsiteY45" fmla="*/ 390525 h 6781800"/>
                    <a:gd name="connsiteX46" fmla="*/ 1485900 w 3990975"/>
                    <a:gd name="connsiteY46" fmla="*/ 476250 h 6781800"/>
                    <a:gd name="connsiteX47" fmla="*/ 1476375 w 3990975"/>
                    <a:gd name="connsiteY47" fmla="*/ 885825 h 6781800"/>
                    <a:gd name="connsiteX48" fmla="*/ 1400175 w 3990975"/>
                    <a:gd name="connsiteY48" fmla="*/ 1190625 h 6781800"/>
                    <a:gd name="connsiteX49" fmla="*/ 1323975 w 3990975"/>
                    <a:gd name="connsiteY49" fmla="*/ 1524000 h 6781800"/>
                    <a:gd name="connsiteX50" fmla="*/ 1447800 w 3990975"/>
                    <a:gd name="connsiteY50" fmla="*/ 1885950 h 6781800"/>
                    <a:gd name="connsiteX51" fmla="*/ 1514475 w 3990975"/>
                    <a:gd name="connsiteY51" fmla="*/ 2066925 h 6781800"/>
                    <a:gd name="connsiteX52" fmla="*/ 1600200 w 3990975"/>
                    <a:gd name="connsiteY52" fmla="*/ 2438400 h 6781800"/>
                    <a:gd name="connsiteX53" fmla="*/ 1657350 w 3990975"/>
                    <a:gd name="connsiteY53" fmla="*/ 2686050 h 6781800"/>
                    <a:gd name="connsiteX54" fmla="*/ 1781175 w 3990975"/>
                    <a:gd name="connsiteY54" fmla="*/ 2933700 h 6781800"/>
                    <a:gd name="connsiteX55" fmla="*/ 1981200 w 3990975"/>
                    <a:gd name="connsiteY55" fmla="*/ 2581275 h 6781800"/>
                    <a:gd name="connsiteX56" fmla="*/ 2101850 w 3990975"/>
                    <a:gd name="connsiteY56" fmla="*/ 2181225 h 6781800"/>
                    <a:gd name="connsiteX57" fmla="*/ 2314575 w 3990975"/>
                    <a:gd name="connsiteY57" fmla="*/ 2000250 h 6781800"/>
                    <a:gd name="connsiteX58" fmla="*/ 2543175 w 3990975"/>
                    <a:gd name="connsiteY58" fmla="*/ 1962150 h 6781800"/>
                    <a:gd name="connsiteX59" fmla="*/ 2724150 w 3990975"/>
                    <a:gd name="connsiteY59" fmla="*/ 1895475 h 6781800"/>
                    <a:gd name="connsiteX60" fmla="*/ 2857500 w 3990975"/>
                    <a:gd name="connsiteY60" fmla="*/ 1787525 h 6781800"/>
                    <a:gd name="connsiteX61" fmla="*/ 2952750 w 3990975"/>
                    <a:gd name="connsiteY61" fmla="*/ 1685925 h 6781800"/>
                    <a:gd name="connsiteX62" fmla="*/ 3019425 w 3990975"/>
                    <a:gd name="connsiteY62" fmla="*/ 1552575 h 6781800"/>
                    <a:gd name="connsiteX63" fmla="*/ 2990850 w 3990975"/>
                    <a:gd name="connsiteY63" fmla="*/ 1466850 h 6781800"/>
                    <a:gd name="connsiteX64" fmla="*/ 3124200 w 3990975"/>
                    <a:gd name="connsiteY64" fmla="*/ 1235075 h 6781800"/>
                    <a:gd name="connsiteX65" fmla="*/ 3219450 w 3990975"/>
                    <a:gd name="connsiteY65" fmla="*/ 942975 h 6781800"/>
                    <a:gd name="connsiteX66" fmla="*/ 3381375 w 3990975"/>
                    <a:gd name="connsiteY66" fmla="*/ 657225 h 6781800"/>
                    <a:gd name="connsiteX67" fmla="*/ 3295650 w 3990975"/>
                    <a:gd name="connsiteY67" fmla="*/ 590550 h 6781800"/>
                    <a:gd name="connsiteX68" fmla="*/ 3219450 w 3990975"/>
                    <a:gd name="connsiteY68" fmla="*/ 390525 h 6781800"/>
                    <a:gd name="connsiteX69" fmla="*/ 3181350 w 3990975"/>
                    <a:gd name="connsiteY69" fmla="*/ 0 h 6781800"/>
                    <a:gd name="connsiteX0" fmla="*/ 3181350 w 3990975"/>
                    <a:gd name="connsiteY0" fmla="*/ 0 h 6781800"/>
                    <a:gd name="connsiteX1" fmla="*/ 3305175 w 3990975"/>
                    <a:gd name="connsiteY1" fmla="*/ 28575 h 6781800"/>
                    <a:gd name="connsiteX2" fmla="*/ 3448050 w 3990975"/>
                    <a:gd name="connsiteY2" fmla="*/ 180975 h 6781800"/>
                    <a:gd name="connsiteX3" fmla="*/ 3600450 w 3990975"/>
                    <a:gd name="connsiteY3" fmla="*/ 447675 h 6781800"/>
                    <a:gd name="connsiteX4" fmla="*/ 3771900 w 3990975"/>
                    <a:gd name="connsiteY4" fmla="*/ 733425 h 6781800"/>
                    <a:gd name="connsiteX5" fmla="*/ 3829050 w 3990975"/>
                    <a:gd name="connsiteY5" fmla="*/ 990600 h 6781800"/>
                    <a:gd name="connsiteX6" fmla="*/ 3924300 w 3990975"/>
                    <a:gd name="connsiteY6" fmla="*/ 1466850 h 6781800"/>
                    <a:gd name="connsiteX7" fmla="*/ 3990975 w 3990975"/>
                    <a:gd name="connsiteY7" fmla="*/ 1876425 h 6781800"/>
                    <a:gd name="connsiteX8" fmla="*/ 3943350 w 3990975"/>
                    <a:gd name="connsiteY8" fmla="*/ 2190750 h 6781800"/>
                    <a:gd name="connsiteX9" fmla="*/ 3876675 w 3990975"/>
                    <a:gd name="connsiteY9" fmla="*/ 2371725 h 6781800"/>
                    <a:gd name="connsiteX10" fmla="*/ 3800475 w 3990975"/>
                    <a:gd name="connsiteY10" fmla="*/ 2276475 h 6781800"/>
                    <a:gd name="connsiteX11" fmla="*/ 3790950 w 3990975"/>
                    <a:gd name="connsiteY11" fmla="*/ 2076450 h 6781800"/>
                    <a:gd name="connsiteX12" fmla="*/ 3590925 w 3990975"/>
                    <a:gd name="connsiteY12" fmla="*/ 1895475 h 6781800"/>
                    <a:gd name="connsiteX13" fmla="*/ 3324225 w 3990975"/>
                    <a:gd name="connsiteY13" fmla="*/ 1733550 h 6781800"/>
                    <a:gd name="connsiteX14" fmla="*/ 3181350 w 3990975"/>
                    <a:gd name="connsiteY14" fmla="*/ 2247900 h 6781800"/>
                    <a:gd name="connsiteX15" fmla="*/ 2628900 w 3990975"/>
                    <a:gd name="connsiteY15" fmla="*/ 3848100 h 6781800"/>
                    <a:gd name="connsiteX16" fmla="*/ 2000250 w 3990975"/>
                    <a:gd name="connsiteY16" fmla="*/ 5172075 h 6781800"/>
                    <a:gd name="connsiteX17" fmla="*/ 1857375 w 3990975"/>
                    <a:gd name="connsiteY17" fmla="*/ 5429250 h 6781800"/>
                    <a:gd name="connsiteX18" fmla="*/ 1666875 w 3990975"/>
                    <a:gd name="connsiteY18" fmla="*/ 5734050 h 6781800"/>
                    <a:gd name="connsiteX19" fmla="*/ 1571625 w 3990975"/>
                    <a:gd name="connsiteY19" fmla="*/ 6096000 h 6781800"/>
                    <a:gd name="connsiteX20" fmla="*/ 1257300 w 3990975"/>
                    <a:gd name="connsiteY20" fmla="*/ 6629400 h 6781800"/>
                    <a:gd name="connsiteX21" fmla="*/ 1143000 w 3990975"/>
                    <a:gd name="connsiteY21" fmla="*/ 6781800 h 6781800"/>
                    <a:gd name="connsiteX22" fmla="*/ 1085850 w 3990975"/>
                    <a:gd name="connsiteY22" fmla="*/ 6257925 h 6781800"/>
                    <a:gd name="connsiteX23" fmla="*/ 933450 w 3990975"/>
                    <a:gd name="connsiteY23" fmla="*/ 5562600 h 6781800"/>
                    <a:gd name="connsiteX24" fmla="*/ 857250 w 3990975"/>
                    <a:gd name="connsiteY24" fmla="*/ 5172075 h 6781800"/>
                    <a:gd name="connsiteX25" fmla="*/ 781050 w 3990975"/>
                    <a:gd name="connsiteY25" fmla="*/ 4705350 h 6781800"/>
                    <a:gd name="connsiteX26" fmla="*/ 742950 w 3990975"/>
                    <a:gd name="connsiteY26" fmla="*/ 4086225 h 6781800"/>
                    <a:gd name="connsiteX27" fmla="*/ 809625 w 3990975"/>
                    <a:gd name="connsiteY27" fmla="*/ 3343275 h 6781800"/>
                    <a:gd name="connsiteX28" fmla="*/ 952500 w 3990975"/>
                    <a:gd name="connsiteY28" fmla="*/ 2552700 h 6781800"/>
                    <a:gd name="connsiteX29" fmla="*/ 1028700 w 3990975"/>
                    <a:gd name="connsiteY29" fmla="*/ 1924050 h 6781800"/>
                    <a:gd name="connsiteX30" fmla="*/ 942975 w 3990975"/>
                    <a:gd name="connsiteY30" fmla="*/ 1762125 h 6781800"/>
                    <a:gd name="connsiteX31" fmla="*/ 866775 w 3990975"/>
                    <a:gd name="connsiteY31" fmla="*/ 1600200 h 6781800"/>
                    <a:gd name="connsiteX32" fmla="*/ 876300 w 3990975"/>
                    <a:gd name="connsiteY32" fmla="*/ 1314450 h 6781800"/>
                    <a:gd name="connsiteX33" fmla="*/ 819150 w 3990975"/>
                    <a:gd name="connsiteY33" fmla="*/ 1276350 h 6781800"/>
                    <a:gd name="connsiteX34" fmla="*/ 685800 w 3990975"/>
                    <a:gd name="connsiteY34" fmla="*/ 1390650 h 6781800"/>
                    <a:gd name="connsiteX35" fmla="*/ 523875 w 3990975"/>
                    <a:gd name="connsiteY35" fmla="*/ 1457325 h 6781800"/>
                    <a:gd name="connsiteX36" fmla="*/ 352425 w 3990975"/>
                    <a:gd name="connsiteY36" fmla="*/ 1495425 h 6781800"/>
                    <a:gd name="connsiteX37" fmla="*/ 133350 w 3990975"/>
                    <a:gd name="connsiteY37" fmla="*/ 1552575 h 6781800"/>
                    <a:gd name="connsiteX38" fmla="*/ 0 w 3990975"/>
                    <a:gd name="connsiteY38" fmla="*/ 1562100 h 6781800"/>
                    <a:gd name="connsiteX39" fmla="*/ 9525 w 3990975"/>
                    <a:gd name="connsiteY39" fmla="*/ 1495425 h 6781800"/>
                    <a:gd name="connsiteX40" fmla="*/ 228600 w 3990975"/>
                    <a:gd name="connsiteY40" fmla="*/ 1371600 h 6781800"/>
                    <a:gd name="connsiteX41" fmla="*/ 542925 w 3990975"/>
                    <a:gd name="connsiteY41" fmla="*/ 1171575 h 6781800"/>
                    <a:gd name="connsiteX42" fmla="*/ 914400 w 3990975"/>
                    <a:gd name="connsiteY42" fmla="*/ 942975 h 6781800"/>
                    <a:gd name="connsiteX43" fmla="*/ 1047750 w 3990975"/>
                    <a:gd name="connsiteY43" fmla="*/ 771525 h 6781800"/>
                    <a:gd name="connsiteX44" fmla="*/ 1238250 w 3990975"/>
                    <a:gd name="connsiteY44" fmla="*/ 552450 h 6781800"/>
                    <a:gd name="connsiteX45" fmla="*/ 1419225 w 3990975"/>
                    <a:gd name="connsiteY45" fmla="*/ 390525 h 6781800"/>
                    <a:gd name="connsiteX46" fmla="*/ 1485900 w 3990975"/>
                    <a:gd name="connsiteY46" fmla="*/ 476250 h 6781800"/>
                    <a:gd name="connsiteX47" fmla="*/ 1476375 w 3990975"/>
                    <a:gd name="connsiteY47" fmla="*/ 885825 h 6781800"/>
                    <a:gd name="connsiteX48" fmla="*/ 1400175 w 3990975"/>
                    <a:gd name="connsiteY48" fmla="*/ 1190625 h 6781800"/>
                    <a:gd name="connsiteX49" fmla="*/ 1323975 w 3990975"/>
                    <a:gd name="connsiteY49" fmla="*/ 1524000 h 6781800"/>
                    <a:gd name="connsiteX50" fmla="*/ 1447800 w 3990975"/>
                    <a:gd name="connsiteY50" fmla="*/ 1885950 h 6781800"/>
                    <a:gd name="connsiteX51" fmla="*/ 1514475 w 3990975"/>
                    <a:gd name="connsiteY51" fmla="*/ 2066925 h 6781800"/>
                    <a:gd name="connsiteX52" fmla="*/ 1600200 w 3990975"/>
                    <a:gd name="connsiteY52" fmla="*/ 2438400 h 6781800"/>
                    <a:gd name="connsiteX53" fmla="*/ 1657350 w 3990975"/>
                    <a:gd name="connsiteY53" fmla="*/ 2686050 h 6781800"/>
                    <a:gd name="connsiteX54" fmla="*/ 1781175 w 3990975"/>
                    <a:gd name="connsiteY54" fmla="*/ 2933700 h 6781800"/>
                    <a:gd name="connsiteX55" fmla="*/ 1981200 w 3990975"/>
                    <a:gd name="connsiteY55" fmla="*/ 2581275 h 6781800"/>
                    <a:gd name="connsiteX56" fmla="*/ 2101850 w 3990975"/>
                    <a:gd name="connsiteY56" fmla="*/ 2181225 h 6781800"/>
                    <a:gd name="connsiteX57" fmla="*/ 2314575 w 3990975"/>
                    <a:gd name="connsiteY57" fmla="*/ 2000250 h 6781800"/>
                    <a:gd name="connsiteX58" fmla="*/ 2543175 w 3990975"/>
                    <a:gd name="connsiteY58" fmla="*/ 1962150 h 6781800"/>
                    <a:gd name="connsiteX59" fmla="*/ 2724150 w 3990975"/>
                    <a:gd name="connsiteY59" fmla="*/ 1895475 h 6781800"/>
                    <a:gd name="connsiteX60" fmla="*/ 2857500 w 3990975"/>
                    <a:gd name="connsiteY60" fmla="*/ 1787525 h 6781800"/>
                    <a:gd name="connsiteX61" fmla="*/ 2952750 w 3990975"/>
                    <a:gd name="connsiteY61" fmla="*/ 1685925 h 6781800"/>
                    <a:gd name="connsiteX62" fmla="*/ 2962275 w 3990975"/>
                    <a:gd name="connsiteY62" fmla="*/ 1552575 h 6781800"/>
                    <a:gd name="connsiteX63" fmla="*/ 2990850 w 3990975"/>
                    <a:gd name="connsiteY63" fmla="*/ 1466850 h 6781800"/>
                    <a:gd name="connsiteX64" fmla="*/ 3124200 w 3990975"/>
                    <a:gd name="connsiteY64" fmla="*/ 1235075 h 6781800"/>
                    <a:gd name="connsiteX65" fmla="*/ 3219450 w 3990975"/>
                    <a:gd name="connsiteY65" fmla="*/ 942975 h 6781800"/>
                    <a:gd name="connsiteX66" fmla="*/ 3381375 w 3990975"/>
                    <a:gd name="connsiteY66" fmla="*/ 657225 h 6781800"/>
                    <a:gd name="connsiteX67" fmla="*/ 3295650 w 3990975"/>
                    <a:gd name="connsiteY67" fmla="*/ 590550 h 6781800"/>
                    <a:gd name="connsiteX68" fmla="*/ 3219450 w 3990975"/>
                    <a:gd name="connsiteY68" fmla="*/ 390525 h 6781800"/>
                    <a:gd name="connsiteX69" fmla="*/ 3181350 w 3990975"/>
                    <a:gd name="connsiteY69" fmla="*/ 0 h 6781800"/>
                    <a:gd name="connsiteX0" fmla="*/ 3181350 w 3990975"/>
                    <a:gd name="connsiteY0" fmla="*/ 0 h 6781800"/>
                    <a:gd name="connsiteX1" fmla="*/ 3305175 w 3990975"/>
                    <a:gd name="connsiteY1" fmla="*/ 28575 h 6781800"/>
                    <a:gd name="connsiteX2" fmla="*/ 3448050 w 3990975"/>
                    <a:gd name="connsiteY2" fmla="*/ 180975 h 6781800"/>
                    <a:gd name="connsiteX3" fmla="*/ 3600450 w 3990975"/>
                    <a:gd name="connsiteY3" fmla="*/ 447675 h 6781800"/>
                    <a:gd name="connsiteX4" fmla="*/ 3771900 w 3990975"/>
                    <a:gd name="connsiteY4" fmla="*/ 733425 h 6781800"/>
                    <a:gd name="connsiteX5" fmla="*/ 3829050 w 3990975"/>
                    <a:gd name="connsiteY5" fmla="*/ 990600 h 6781800"/>
                    <a:gd name="connsiteX6" fmla="*/ 3924300 w 3990975"/>
                    <a:gd name="connsiteY6" fmla="*/ 1466850 h 6781800"/>
                    <a:gd name="connsiteX7" fmla="*/ 3990975 w 3990975"/>
                    <a:gd name="connsiteY7" fmla="*/ 1876425 h 6781800"/>
                    <a:gd name="connsiteX8" fmla="*/ 3943350 w 3990975"/>
                    <a:gd name="connsiteY8" fmla="*/ 2190750 h 6781800"/>
                    <a:gd name="connsiteX9" fmla="*/ 3876675 w 3990975"/>
                    <a:gd name="connsiteY9" fmla="*/ 2371725 h 6781800"/>
                    <a:gd name="connsiteX10" fmla="*/ 3800475 w 3990975"/>
                    <a:gd name="connsiteY10" fmla="*/ 2276475 h 6781800"/>
                    <a:gd name="connsiteX11" fmla="*/ 3790950 w 3990975"/>
                    <a:gd name="connsiteY11" fmla="*/ 2076450 h 6781800"/>
                    <a:gd name="connsiteX12" fmla="*/ 3590925 w 3990975"/>
                    <a:gd name="connsiteY12" fmla="*/ 1895475 h 6781800"/>
                    <a:gd name="connsiteX13" fmla="*/ 3324225 w 3990975"/>
                    <a:gd name="connsiteY13" fmla="*/ 1733550 h 6781800"/>
                    <a:gd name="connsiteX14" fmla="*/ 3181350 w 3990975"/>
                    <a:gd name="connsiteY14" fmla="*/ 2247900 h 6781800"/>
                    <a:gd name="connsiteX15" fmla="*/ 2628900 w 3990975"/>
                    <a:gd name="connsiteY15" fmla="*/ 3848100 h 6781800"/>
                    <a:gd name="connsiteX16" fmla="*/ 2000250 w 3990975"/>
                    <a:gd name="connsiteY16" fmla="*/ 5172075 h 6781800"/>
                    <a:gd name="connsiteX17" fmla="*/ 1857375 w 3990975"/>
                    <a:gd name="connsiteY17" fmla="*/ 5429250 h 6781800"/>
                    <a:gd name="connsiteX18" fmla="*/ 1666875 w 3990975"/>
                    <a:gd name="connsiteY18" fmla="*/ 5734050 h 6781800"/>
                    <a:gd name="connsiteX19" fmla="*/ 1571625 w 3990975"/>
                    <a:gd name="connsiteY19" fmla="*/ 6096000 h 6781800"/>
                    <a:gd name="connsiteX20" fmla="*/ 1257300 w 3990975"/>
                    <a:gd name="connsiteY20" fmla="*/ 6629400 h 6781800"/>
                    <a:gd name="connsiteX21" fmla="*/ 1143000 w 3990975"/>
                    <a:gd name="connsiteY21" fmla="*/ 6781800 h 6781800"/>
                    <a:gd name="connsiteX22" fmla="*/ 1085850 w 3990975"/>
                    <a:gd name="connsiteY22" fmla="*/ 6257925 h 6781800"/>
                    <a:gd name="connsiteX23" fmla="*/ 933450 w 3990975"/>
                    <a:gd name="connsiteY23" fmla="*/ 5562600 h 6781800"/>
                    <a:gd name="connsiteX24" fmla="*/ 857250 w 3990975"/>
                    <a:gd name="connsiteY24" fmla="*/ 5172075 h 6781800"/>
                    <a:gd name="connsiteX25" fmla="*/ 781050 w 3990975"/>
                    <a:gd name="connsiteY25" fmla="*/ 4705350 h 6781800"/>
                    <a:gd name="connsiteX26" fmla="*/ 742950 w 3990975"/>
                    <a:gd name="connsiteY26" fmla="*/ 4086225 h 6781800"/>
                    <a:gd name="connsiteX27" fmla="*/ 809625 w 3990975"/>
                    <a:gd name="connsiteY27" fmla="*/ 3343275 h 6781800"/>
                    <a:gd name="connsiteX28" fmla="*/ 952500 w 3990975"/>
                    <a:gd name="connsiteY28" fmla="*/ 2552700 h 6781800"/>
                    <a:gd name="connsiteX29" fmla="*/ 1028700 w 3990975"/>
                    <a:gd name="connsiteY29" fmla="*/ 1924050 h 6781800"/>
                    <a:gd name="connsiteX30" fmla="*/ 942975 w 3990975"/>
                    <a:gd name="connsiteY30" fmla="*/ 1762125 h 6781800"/>
                    <a:gd name="connsiteX31" fmla="*/ 866775 w 3990975"/>
                    <a:gd name="connsiteY31" fmla="*/ 1600200 h 6781800"/>
                    <a:gd name="connsiteX32" fmla="*/ 876300 w 3990975"/>
                    <a:gd name="connsiteY32" fmla="*/ 1314450 h 6781800"/>
                    <a:gd name="connsiteX33" fmla="*/ 819150 w 3990975"/>
                    <a:gd name="connsiteY33" fmla="*/ 1276350 h 6781800"/>
                    <a:gd name="connsiteX34" fmla="*/ 685800 w 3990975"/>
                    <a:gd name="connsiteY34" fmla="*/ 1390650 h 6781800"/>
                    <a:gd name="connsiteX35" fmla="*/ 523875 w 3990975"/>
                    <a:gd name="connsiteY35" fmla="*/ 1457325 h 6781800"/>
                    <a:gd name="connsiteX36" fmla="*/ 352425 w 3990975"/>
                    <a:gd name="connsiteY36" fmla="*/ 1495425 h 6781800"/>
                    <a:gd name="connsiteX37" fmla="*/ 133350 w 3990975"/>
                    <a:gd name="connsiteY37" fmla="*/ 1552575 h 6781800"/>
                    <a:gd name="connsiteX38" fmla="*/ 0 w 3990975"/>
                    <a:gd name="connsiteY38" fmla="*/ 1562100 h 6781800"/>
                    <a:gd name="connsiteX39" fmla="*/ 9525 w 3990975"/>
                    <a:gd name="connsiteY39" fmla="*/ 1495425 h 6781800"/>
                    <a:gd name="connsiteX40" fmla="*/ 228600 w 3990975"/>
                    <a:gd name="connsiteY40" fmla="*/ 1371600 h 6781800"/>
                    <a:gd name="connsiteX41" fmla="*/ 542925 w 3990975"/>
                    <a:gd name="connsiteY41" fmla="*/ 1171575 h 6781800"/>
                    <a:gd name="connsiteX42" fmla="*/ 914400 w 3990975"/>
                    <a:gd name="connsiteY42" fmla="*/ 942975 h 6781800"/>
                    <a:gd name="connsiteX43" fmla="*/ 1047750 w 3990975"/>
                    <a:gd name="connsiteY43" fmla="*/ 771525 h 6781800"/>
                    <a:gd name="connsiteX44" fmla="*/ 1238250 w 3990975"/>
                    <a:gd name="connsiteY44" fmla="*/ 552450 h 6781800"/>
                    <a:gd name="connsiteX45" fmla="*/ 1419225 w 3990975"/>
                    <a:gd name="connsiteY45" fmla="*/ 390525 h 6781800"/>
                    <a:gd name="connsiteX46" fmla="*/ 1485900 w 3990975"/>
                    <a:gd name="connsiteY46" fmla="*/ 476250 h 6781800"/>
                    <a:gd name="connsiteX47" fmla="*/ 1476375 w 3990975"/>
                    <a:gd name="connsiteY47" fmla="*/ 885825 h 6781800"/>
                    <a:gd name="connsiteX48" fmla="*/ 1400175 w 3990975"/>
                    <a:gd name="connsiteY48" fmla="*/ 1190625 h 6781800"/>
                    <a:gd name="connsiteX49" fmla="*/ 1323975 w 3990975"/>
                    <a:gd name="connsiteY49" fmla="*/ 1524000 h 6781800"/>
                    <a:gd name="connsiteX50" fmla="*/ 1447800 w 3990975"/>
                    <a:gd name="connsiteY50" fmla="*/ 1885950 h 6781800"/>
                    <a:gd name="connsiteX51" fmla="*/ 1514475 w 3990975"/>
                    <a:gd name="connsiteY51" fmla="*/ 2066925 h 6781800"/>
                    <a:gd name="connsiteX52" fmla="*/ 1600200 w 3990975"/>
                    <a:gd name="connsiteY52" fmla="*/ 2438400 h 6781800"/>
                    <a:gd name="connsiteX53" fmla="*/ 1657350 w 3990975"/>
                    <a:gd name="connsiteY53" fmla="*/ 2686050 h 6781800"/>
                    <a:gd name="connsiteX54" fmla="*/ 1781175 w 3990975"/>
                    <a:gd name="connsiteY54" fmla="*/ 2933700 h 6781800"/>
                    <a:gd name="connsiteX55" fmla="*/ 1981200 w 3990975"/>
                    <a:gd name="connsiteY55" fmla="*/ 2581275 h 6781800"/>
                    <a:gd name="connsiteX56" fmla="*/ 2101850 w 3990975"/>
                    <a:gd name="connsiteY56" fmla="*/ 2181225 h 6781800"/>
                    <a:gd name="connsiteX57" fmla="*/ 2314575 w 3990975"/>
                    <a:gd name="connsiteY57" fmla="*/ 2000250 h 6781800"/>
                    <a:gd name="connsiteX58" fmla="*/ 2543175 w 3990975"/>
                    <a:gd name="connsiteY58" fmla="*/ 1962150 h 6781800"/>
                    <a:gd name="connsiteX59" fmla="*/ 2724150 w 3990975"/>
                    <a:gd name="connsiteY59" fmla="*/ 1895475 h 6781800"/>
                    <a:gd name="connsiteX60" fmla="*/ 2857500 w 3990975"/>
                    <a:gd name="connsiteY60" fmla="*/ 1787525 h 6781800"/>
                    <a:gd name="connsiteX61" fmla="*/ 2895600 w 3990975"/>
                    <a:gd name="connsiteY61" fmla="*/ 1695450 h 6781800"/>
                    <a:gd name="connsiteX62" fmla="*/ 2962275 w 3990975"/>
                    <a:gd name="connsiteY62" fmla="*/ 1552575 h 6781800"/>
                    <a:gd name="connsiteX63" fmla="*/ 2990850 w 3990975"/>
                    <a:gd name="connsiteY63" fmla="*/ 1466850 h 6781800"/>
                    <a:gd name="connsiteX64" fmla="*/ 3124200 w 3990975"/>
                    <a:gd name="connsiteY64" fmla="*/ 1235075 h 6781800"/>
                    <a:gd name="connsiteX65" fmla="*/ 3219450 w 3990975"/>
                    <a:gd name="connsiteY65" fmla="*/ 942975 h 6781800"/>
                    <a:gd name="connsiteX66" fmla="*/ 3381375 w 3990975"/>
                    <a:gd name="connsiteY66" fmla="*/ 657225 h 6781800"/>
                    <a:gd name="connsiteX67" fmla="*/ 3295650 w 3990975"/>
                    <a:gd name="connsiteY67" fmla="*/ 590550 h 6781800"/>
                    <a:gd name="connsiteX68" fmla="*/ 3219450 w 3990975"/>
                    <a:gd name="connsiteY68" fmla="*/ 390525 h 6781800"/>
                    <a:gd name="connsiteX69" fmla="*/ 3181350 w 3990975"/>
                    <a:gd name="connsiteY69" fmla="*/ 0 h 6781800"/>
                    <a:gd name="connsiteX0" fmla="*/ 3181350 w 3990975"/>
                    <a:gd name="connsiteY0" fmla="*/ 0 h 6781800"/>
                    <a:gd name="connsiteX1" fmla="*/ 3305175 w 3990975"/>
                    <a:gd name="connsiteY1" fmla="*/ 28575 h 6781800"/>
                    <a:gd name="connsiteX2" fmla="*/ 3448050 w 3990975"/>
                    <a:gd name="connsiteY2" fmla="*/ 180975 h 6781800"/>
                    <a:gd name="connsiteX3" fmla="*/ 3600450 w 3990975"/>
                    <a:gd name="connsiteY3" fmla="*/ 447675 h 6781800"/>
                    <a:gd name="connsiteX4" fmla="*/ 3771900 w 3990975"/>
                    <a:gd name="connsiteY4" fmla="*/ 733425 h 6781800"/>
                    <a:gd name="connsiteX5" fmla="*/ 3829050 w 3990975"/>
                    <a:gd name="connsiteY5" fmla="*/ 990600 h 6781800"/>
                    <a:gd name="connsiteX6" fmla="*/ 3924300 w 3990975"/>
                    <a:gd name="connsiteY6" fmla="*/ 1466850 h 6781800"/>
                    <a:gd name="connsiteX7" fmla="*/ 3990975 w 3990975"/>
                    <a:gd name="connsiteY7" fmla="*/ 1876425 h 6781800"/>
                    <a:gd name="connsiteX8" fmla="*/ 3943350 w 3990975"/>
                    <a:gd name="connsiteY8" fmla="*/ 2190750 h 6781800"/>
                    <a:gd name="connsiteX9" fmla="*/ 3876675 w 3990975"/>
                    <a:gd name="connsiteY9" fmla="*/ 2371725 h 6781800"/>
                    <a:gd name="connsiteX10" fmla="*/ 3800475 w 3990975"/>
                    <a:gd name="connsiteY10" fmla="*/ 2276475 h 6781800"/>
                    <a:gd name="connsiteX11" fmla="*/ 3790950 w 3990975"/>
                    <a:gd name="connsiteY11" fmla="*/ 2076450 h 6781800"/>
                    <a:gd name="connsiteX12" fmla="*/ 3590925 w 3990975"/>
                    <a:gd name="connsiteY12" fmla="*/ 1895475 h 6781800"/>
                    <a:gd name="connsiteX13" fmla="*/ 3324225 w 3990975"/>
                    <a:gd name="connsiteY13" fmla="*/ 1733550 h 6781800"/>
                    <a:gd name="connsiteX14" fmla="*/ 3181350 w 3990975"/>
                    <a:gd name="connsiteY14" fmla="*/ 2247900 h 6781800"/>
                    <a:gd name="connsiteX15" fmla="*/ 2628900 w 3990975"/>
                    <a:gd name="connsiteY15" fmla="*/ 3848100 h 6781800"/>
                    <a:gd name="connsiteX16" fmla="*/ 2000250 w 3990975"/>
                    <a:gd name="connsiteY16" fmla="*/ 5172075 h 6781800"/>
                    <a:gd name="connsiteX17" fmla="*/ 1857375 w 3990975"/>
                    <a:gd name="connsiteY17" fmla="*/ 5429250 h 6781800"/>
                    <a:gd name="connsiteX18" fmla="*/ 1666875 w 3990975"/>
                    <a:gd name="connsiteY18" fmla="*/ 5734050 h 6781800"/>
                    <a:gd name="connsiteX19" fmla="*/ 1571625 w 3990975"/>
                    <a:gd name="connsiteY19" fmla="*/ 6096000 h 6781800"/>
                    <a:gd name="connsiteX20" fmla="*/ 1257300 w 3990975"/>
                    <a:gd name="connsiteY20" fmla="*/ 6629400 h 6781800"/>
                    <a:gd name="connsiteX21" fmla="*/ 1143000 w 3990975"/>
                    <a:gd name="connsiteY21" fmla="*/ 6781800 h 6781800"/>
                    <a:gd name="connsiteX22" fmla="*/ 1085850 w 3990975"/>
                    <a:gd name="connsiteY22" fmla="*/ 6257925 h 6781800"/>
                    <a:gd name="connsiteX23" fmla="*/ 933450 w 3990975"/>
                    <a:gd name="connsiteY23" fmla="*/ 5562600 h 6781800"/>
                    <a:gd name="connsiteX24" fmla="*/ 857250 w 3990975"/>
                    <a:gd name="connsiteY24" fmla="*/ 5172075 h 6781800"/>
                    <a:gd name="connsiteX25" fmla="*/ 781050 w 3990975"/>
                    <a:gd name="connsiteY25" fmla="*/ 4705350 h 6781800"/>
                    <a:gd name="connsiteX26" fmla="*/ 742950 w 3990975"/>
                    <a:gd name="connsiteY26" fmla="*/ 4086225 h 6781800"/>
                    <a:gd name="connsiteX27" fmla="*/ 809625 w 3990975"/>
                    <a:gd name="connsiteY27" fmla="*/ 3343275 h 6781800"/>
                    <a:gd name="connsiteX28" fmla="*/ 952500 w 3990975"/>
                    <a:gd name="connsiteY28" fmla="*/ 2552700 h 6781800"/>
                    <a:gd name="connsiteX29" fmla="*/ 1028700 w 3990975"/>
                    <a:gd name="connsiteY29" fmla="*/ 1924050 h 6781800"/>
                    <a:gd name="connsiteX30" fmla="*/ 942975 w 3990975"/>
                    <a:gd name="connsiteY30" fmla="*/ 1762125 h 6781800"/>
                    <a:gd name="connsiteX31" fmla="*/ 866775 w 3990975"/>
                    <a:gd name="connsiteY31" fmla="*/ 1600200 h 6781800"/>
                    <a:gd name="connsiteX32" fmla="*/ 876300 w 3990975"/>
                    <a:gd name="connsiteY32" fmla="*/ 1314450 h 6781800"/>
                    <a:gd name="connsiteX33" fmla="*/ 819150 w 3990975"/>
                    <a:gd name="connsiteY33" fmla="*/ 1276350 h 6781800"/>
                    <a:gd name="connsiteX34" fmla="*/ 685800 w 3990975"/>
                    <a:gd name="connsiteY34" fmla="*/ 1390650 h 6781800"/>
                    <a:gd name="connsiteX35" fmla="*/ 523875 w 3990975"/>
                    <a:gd name="connsiteY35" fmla="*/ 1457325 h 6781800"/>
                    <a:gd name="connsiteX36" fmla="*/ 352425 w 3990975"/>
                    <a:gd name="connsiteY36" fmla="*/ 1495425 h 6781800"/>
                    <a:gd name="connsiteX37" fmla="*/ 133350 w 3990975"/>
                    <a:gd name="connsiteY37" fmla="*/ 1552575 h 6781800"/>
                    <a:gd name="connsiteX38" fmla="*/ 0 w 3990975"/>
                    <a:gd name="connsiteY38" fmla="*/ 1562100 h 6781800"/>
                    <a:gd name="connsiteX39" fmla="*/ 9525 w 3990975"/>
                    <a:gd name="connsiteY39" fmla="*/ 1495425 h 6781800"/>
                    <a:gd name="connsiteX40" fmla="*/ 228600 w 3990975"/>
                    <a:gd name="connsiteY40" fmla="*/ 1371600 h 6781800"/>
                    <a:gd name="connsiteX41" fmla="*/ 542925 w 3990975"/>
                    <a:gd name="connsiteY41" fmla="*/ 1171575 h 6781800"/>
                    <a:gd name="connsiteX42" fmla="*/ 914400 w 3990975"/>
                    <a:gd name="connsiteY42" fmla="*/ 942975 h 6781800"/>
                    <a:gd name="connsiteX43" fmla="*/ 1047750 w 3990975"/>
                    <a:gd name="connsiteY43" fmla="*/ 771525 h 6781800"/>
                    <a:gd name="connsiteX44" fmla="*/ 1238250 w 3990975"/>
                    <a:gd name="connsiteY44" fmla="*/ 552450 h 6781800"/>
                    <a:gd name="connsiteX45" fmla="*/ 1419225 w 3990975"/>
                    <a:gd name="connsiteY45" fmla="*/ 390525 h 6781800"/>
                    <a:gd name="connsiteX46" fmla="*/ 1485900 w 3990975"/>
                    <a:gd name="connsiteY46" fmla="*/ 476250 h 6781800"/>
                    <a:gd name="connsiteX47" fmla="*/ 1476375 w 3990975"/>
                    <a:gd name="connsiteY47" fmla="*/ 885825 h 6781800"/>
                    <a:gd name="connsiteX48" fmla="*/ 1400175 w 3990975"/>
                    <a:gd name="connsiteY48" fmla="*/ 1190625 h 6781800"/>
                    <a:gd name="connsiteX49" fmla="*/ 1323975 w 3990975"/>
                    <a:gd name="connsiteY49" fmla="*/ 1524000 h 6781800"/>
                    <a:gd name="connsiteX50" fmla="*/ 1447800 w 3990975"/>
                    <a:gd name="connsiteY50" fmla="*/ 1885950 h 6781800"/>
                    <a:gd name="connsiteX51" fmla="*/ 1514475 w 3990975"/>
                    <a:gd name="connsiteY51" fmla="*/ 2066925 h 6781800"/>
                    <a:gd name="connsiteX52" fmla="*/ 1600200 w 3990975"/>
                    <a:gd name="connsiteY52" fmla="*/ 2438400 h 6781800"/>
                    <a:gd name="connsiteX53" fmla="*/ 1657350 w 3990975"/>
                    <a:gd name="connsiteY53" fmla="*/ 2686050 h 6781800"/>
                    <a:gd name="connsiteX54" fmla="*/ 1781175 w 3990975"/>
                    <a:gd name="connsiteY54" fmla="*/ 2933700 h 6781800"/>
                    <a:gd name="connsiteX55" fmla="*/ 1981200 w 3990975"/>
                    <a:gd name="connsiteY55" fmla="*/ 2581275 h 6781800"/>
                    <a:gd name="connsiteX56" fmla="*/ 2101850 w 3990975"/>
                    <a:gd name="connsiteY56" fmla="*/ 2181225 h 6781800"/>
                    <a:gd name="connsiteX57" fmla="*/ 2314575 w 3990975"/>
                    <a:gd name="connsiteY57" fmla="*/ 2000250 h 6781800"/>
                    <a:gd name="connsiteX58" fmla="*/ 2543175 w 3990975"/>
                    <a:gd name="connsiteY58" fmla="*/ 1962150 h 6781800"/>
                    <a:gd name="connsiteX59" fmla="*/ 2724150 w 3990975"/>
                    <a:gd name="connsiteY59" fmla="*/ 1895475 h 6781800"/>
                    <a:gd name="connsiteX60" fmla="*/ 2857500 w 3990975"/>
                    <a:gd name="connsiteY60" fmla="*/ 1787525 h 6781800"/>
                    <a:gd name="connsiteX61" fmla="*/ 2895600 w 3990975"/>
                    <a:gd name="connsiteY61" fmla="*/ 1695450 h 6781800"/>
                    <a:gd name="connsiteX62" fmla="*/ 2962275 w 3990975"/>
                    <a:gd name="connsiteY62" fmla="*/ 1552575 h 6781800"/>
                    <a:gd name="connsiteX63" fmla="*/ 2990850 w 3990975"/>
                    <a:gd name="connsiteY63" fmla="*/ 1466850 h 6781800"/>
                    <a:gd name="connsiteX64" fmla="*/ 3124200 w 3990975"/>
                    <a:gd name="connsiteY64" fmla="*/ 1235075 h 6781800"/>
                    <a:gd name="connsiteX65" fmla="*/ 3219450 w 3990975"/>
                    <a:gd name="connsiteY65" fmla="*/ 942975 h 6781800"/>
                    <a:gd name="connsiteX66" fmla="*/ 3381375 w 3990975"/>
                    <a:gd name="connsiteY66" fmla="*/ 657225 h 6781800"/>
                    <a:gd name="connsiteX67" fmla="*/ 3295650 w 3990975"/>
                    <a:gd name="connsiteY67" fmla="*/ 590550 h 6781800"/>
                    <a:gd name="connsiteX68" fmla="*/ 3219450 w 3990975"/>
                    <a:gd name="connsiteY68" fmla="*/ 390525 h 6781800"/>
                    <a:gd name="connsiteX69" fmla="*/ 3181350 w 3990975"/>
                    <a:gd name="connsiteY69" fmla="*/ 0 h 6781800"/>
                    <a:gd name="connsiteX0" fmla="*/ 3181350 w 3990975"/>
                    <a:gd name="connsiteY0" fmla="*/ 0 h 6781800"/>
                    <a:gd name="connsiteX1" fmla="*/ 3305175 w 3990975"/>
                    <a:gd name="connsiteY1" fmla="*/ 28575 h 6781800"/>
                    <a:gd name="connsiteX2" fmla="*/ 3448050 w 3990975"/>
                    <a:gd name="connsiteY2" fmla="*/ 180975 h 6781800"/>
                    <a:gd name="connsiteX3" fmla="*/ 3600450 w 3990975"/>
                    <a:gd name="connsiteY3" fmla="*/ 447675 h 6781800"/>
                    <a:gd name="connsiteX4" fmla="*/ 3771900 w 3990975"/>
                    <a:gd name="connsiteY4" fmla="*/ 733425 h 6781800"/>
                    <a:gd name="connsiteX5" fmla="*/ 3829050 w 3990975"/>
                    <a:gd name="connsiteY5" fmla="*/ 990600 h 6781800"/>
                    <a:gd name="connsiteX6" fmla="*/ 3924300 w 3990975"/>
                    <a:gd name="connsiteY6" fmla="*/ 1466850 h 6781800"/>
                    <a:gd name="connsiteX7" fmla="*/ 3990975 w 3990975"/>
                    <a:gd name="connsiteY7" fmla="*/ 1876425 h 6781800"/>
                    <a:gd name="connsiteX8" fmla="*/ 3943350 w 3990975"/>
                    <a:gd name="connsiteY8" fmla="*/ 2190750 h 6781800"/>
                    <a:gd name="connsiteX9" fmla="*/ 3876675 w 3990975"/>
                    <a:gd name="connsiteY9" fmla="*/ 2371725 h 6781800"/>
                    <a:gd name="connsiteX10" fmla="*/ 3800475 w 3990975"/>
                    <a:gd name="connsiteY10" fmla="*/ 2276475 h 6781800"/>
                    <a:gd name="connsiteX11" fmla="*/ 3790950 w 3990975"/>
                    <a:gd name="connsiteY11" fmla="*/ 2076450 h 6781800"/>
                    <a:gd name="connsiteX12" fmla="*/ 3590925 w 3990975"/>
                    <a:gd name="connsiteY12" fmla="*/ 1895475 h 6781800"/>
                    <a:gd name="connsiteX13" fmla="*/ 3324225 w 3990975"/>
                    <a:gd name="connsiteY13" fmla="*/ 1733550 h 6781800"/>
                    <a:gd name="connsiteX14" fmla="*/ 3181350 w 3990975"/>
                    <a:gd name="connsiteY14" fmla="*/ 2247900 h 6781800"/>
                    <a:gd name="connsiteX15" fmla="*/ 2628900 w 3990975"/>
                    <a:gd name="connsiteY15" fmla="*/ 3848100 h 6781800"/>
                    <a:gd name="connsiteX16" fmla="*/ 2000250 w 3990975"/>
                    <a:gd name="connsiteY16" fmla="*/ 5172075 h 6781800"/>
                    <a:gd name="connsiteX17" fmla="*/ 1857375 w 3990975"/>
                    <a:gd name="connsiteY17" fmla="*/ 5429250 h 6781800"/>
                    <a:gd name="connsiteX18" fmla="*/ 1666875 w 3990975"/>
                    <a:gd name="connsiteY18" fmla="*/ 5734050 h 6781800"/>
                    <a:gd name="connsiteX19" fmla="*/ 1571625 w 3990975"/>
                    <a:gd name="connsiteY19" fmla="*/ 6096000 h 6781800"/>
                    <a:gd name="connsiteX20" fmla="*/ 1257300 w 3990975"/>
                    <a:gd name="connsiteY20" fmla="*/ 6629400 h 6781800"/>
                    <a:gd name="connsiteX21" fmla="*/ 1143000 w 3990975"/>
                    <a:gd name="connsiteY21" fmla="*/ 6781800 h 6781800"/>
                    <a:gd name="connsiteX22" fmla="*/ 1085850 w 3990975"/>
                    <a:gd name="connsiteY22" fmla="*/ 6257925 h 6781800"/>
                    <a:gd name="connsiteX23" fmla="*/ 933450 w 3990975"/>
                    <a:gd name="connsiteY23" fmla="*/ 5562600 h 6781800"/>
                    <a:gd name="connsiteX24" fmla="*/ 857250 w 3990975"/>
                    <a:gd name="connsiteY24" fmla="*/ 5172075 h 6781800"/>
                    <a:gd name="connsiteX25" fmla="*/ 781050 w 3990975"/>
                    <a:gd name="connsiteY25" fmla="*/ 4705350 h 6781800"/>
                    <a:gd name="connsiteX26" fmla="*/ 742950 w 3990975"/>
                    <a:gd name="connsiteY26" fmla="*/ 4086225 h 6781800"/>
                    <a:gd name="connsiteX27" fmla="*/ 809625 w 3990975"/>
                    <a:gd name="connsiteY27" fmla="*/ 3343275 h 6781800"/>
                    <a:gd name="connsiteX28" fmla="*/ 952500 w 3990975"/>
                    <a:gd name="connsiteY28" fmla="*/ 2552700 h 6781800"/>
                    <a:gd name="connsiteX29" fmla="*/ 1028700 w 3990975"/>
                    <a:gd name="connsiteY29" fmla="*/ 1924050 h 6781800"/>
                    <a:gd name="connsiteX30" fmla="*/ 942975 w 3990975"/>
                    <a:gd name="connsiteY30" fmla="*/ 1762125 h 6781800"/>
                    <a:gd name="connsiteX31" fmla="*/ 866775 w 3990975"/>
                    <a:gd name="connsiteY31" fmla="*/ 1600200 h 6781800"/>
                    <a:gd name="connsiteX32" fmla="*/ 876300 w 3990975"/>
                    <a:gd name="connsiteY32" fmla="*/ 1314450 h 6781800"/>
                    <a:gd name="connsiteX33" fmla="*/ 819150 w 3990975"/>
                    <a:gd name="connsiteY33" fmla="*/ 1276350 h 6781800"/>
                    <a:gd name="connsiteX34" fmla="*/ 685800 w 3990975"/>
                    <a:gd name="connsiteY34" fmla="*/ 1390650 h 6781800"/>
                    <a:gd name="connsiteX35" fmla="*/ 523875 w 3990975"/>
                    <a:gd name="connsiteY35" fmla="*/ 1457325 h 6781800"/>
                    <a:gd name="connsiteX36" fmla="*/ 352425 w 3990975"/>
                    <a:gd name="connsiteY36" fmla="*/ 1495425 h 6781800"/>
                    <a:gd name="connsiteX37" fmla="*/ 133350 w 3990975"/>
                    <a:gd name="connsiteY37" fmla="*/ 1552575 h 6781800"/>
                    <a:gd name="connsiteX38" fmla="*/ 0 w 3990975"/>
                    <a:gd name="connsiteY38" fmla="*/ 1562100 h 6781800"/>
                    <a:gd name="connsiteX39" fmla="*/ 9525 w 3990975"/>
                    <a:gd name="connsiteY39" fmla="*/ 1495425 h 6781800"/>
                    <a:gd name="connsiteX40" fmla="*/ 228600 w 3990975"/>
                    <a:gd name="connsiteY40" fmla="*/ 1371600 h 6781800"/>
                    <a:gd name="connsiteX41" fmla="*/ 542925 w 3990975"/>
                    <a:gd name="connsiteY41" fmla="*/ 1171575 h 6781800"/>
                    <a:gd name="connsiteX42" fmla="*/ 914400 w 3990975"/>
                    <a:gd name="connsiteY42" fmla="*/ 942975 h 6781800"/>
                    <a:gd name="connsiteX43" fmla="*/ 1047750 w 3990975"/>
                    <a:gd name="connsiteY43" fmla="*/ 771525 h 6781800"/>
                    <a:gd name="connsiteX44" fmla="*/ 1238250 w 3990975"/>
                    <a:gd name="connsiteY44" fmla="*/ 552450 h 6781800"/>
                    <a:gd name="connsiteX45" fmla="*/ 1419225 w 3990975"/>
                    <a:gd name="connsiteY45" fmla="*/ 390525 h 6781800"/>
                    <a:gd name="connsiteX46" fmla="*/ 1485900 w 3990975"/>
                    <a:gd name="connsiteY46" fmla="*/ 476250 h 6781800"/>
                    <a:gd name="connsiteX47" fmla="*/ 1476375 w 3990975"/>
                    <a:gd name="connsiteY47" fmla="*/ 885825 h 6781800"/>
                    <a:gd name="connsiteX48" fmla="*/ 1400175 w 3990975"/>
                    <a:gd name="connsiteY48" fmla="*/ 1190625 h 6781800"/>
                    <a:gd name="connsiteX49" fmla="*/ 1323975 w 3990975"/>
                    <a:gd name="connsiteY49" fmla="*/ 1524000 h 6781800"/>
                    <a:gd name="connsiteX50" fmla="*/ 1447800 w 3990975"/>
                    <a:gd name="connsiteY50" fmla="*/ 1885950 h 6781800"/>
                    <a:gd name="connsiteX51" fmla="*/ 1514475 w 3990975"/>
                    <a:gd name="connsiteY51" fmla="*/ 2066925 h 6781800"/>
                    <a:gd name="connsiteX52" fmla="*/ 1600200 w 3990975"/>
                    <a:gd name="connsiteY52" fmla="*/ 2438400 h 6781800"/>
                    <a:gd name="connsiteX53" fmla="*/ 1657350 w 3990975"/>
                    <a:gd name="connsiteY53" fmla="*/ 2686050 h 6781800"/>
                    <a:gd name="connsiteX54" fmla="*/ 1781175 w 3990975"/>
                    <a:gd name="connsiteY54" fmla="*/ 2933700 h 6781800"/>
                    <a:gd name="connsiteX55" fmla="*/ 1981200 w 3990975"/>
                    <a:gd name="connsiteY55" fmla="*/ 2581275 h 6781800"/>
                    <a:gd name="connsiteX56" fmla="*/ 2101850 w 3990975"/>
                    <a:gd name="connsiteY56" fmla="*/ 2181225 h 6781800"/>
                    <a:gd name="connsiteX57" fmla="*/ 2314575 w 3990975"/>
                    <a:gd name="connsiteY57" fmla="*/ 2000250 h 6781800"/>
                    <a:gd name="connsiteX58" fmla="*/ 2543175 w 3990975"/>
                    <a:gd name="connsiteY58" fmla="*/ 1962150 h 6781800"/>
                    <a:gd name="connsiteX59" fmla="*/ 2724150 w 3990975"/>
                    <a:gd name="connsiteY59" fmla="*/ 1895475 h 6781800"/>
                    <a:gd name="connsiteX60" fmla="*/ 2857500 w 3990975"/>
                    <a:gd name="connsiteY60" fmla="*/ 1787525 h 6781800"/>
                    <a:gd name="connsiteX61" fmla="*/ 2895600 w 3990975"/>
                    <a:gd name="connsiteY61" fmla="*/ 1695450 h 6781800"/>
                    <a:gd name="connsiteX62" fmla="*/ 2962275 w 3990975"/>
                    <a:gd name="connsiteY62" fmla="*/ 1552575 h 6781800"/>
                    <a:gd name="connsiteX63" fmla="*/ 2990850 w 3990975"/>
                    <a:gd name="connsiteY63" fmla="*/ 1466850 h 6781800"/>
                    <a:gd name="connsiteX64" fmla="*/ 3124200 w 3990975"/>
                    <a:gd name="connsiteY64" fmla="*/ 1235075 h 6781800"/>
                    <a:gd name="connsiteX65" fmla="*/ 3219450 w 3990975"/>
                    <a:gd name="connsiteY65" fmla="*/ 942975 h 6781800"/>
                    <a:gd name="connsiteX66" fmla="*/ 3381375 w 3990975"/>
                    <a:gd name="connsiteY66" fmla="*/ 657225 h 6781800"/>
                    <a:gd name="connsiteX67" fmla="*/ 3295650 w 3990975"/>
                    <a:gd name="connsiteY67" fmla="*/ 590550 h 6781800"/>
                    <a:gd name="connsiteX68" fmla="*/ 3219450 w 3990975"/>
                    <a:gd name="connsiteY68" fmla="*/ 390525 h 6781800"/>
                    <a:gd name="connsiteX69" fmla="*/ 3181350 w 3990975"/>
                    <a:gd name="connsiteY69" fmla="*/ 0 h 678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3990975" h="6781800">
                      <a:moveTo>
                        <a:pt x="3181350" y="0"/>
                      </a:moveTo>
                      <a:lnTo>
                        <a:pt x="3305175" y="28575"/>
                      </a:lnTo>
                      <a:lnTo>
                        <a:pt x="3448050" y="180975"/>
                      </a:lnTo>
                      <a:lnTo>
                        <a:pt x="3600450" y="447675"/>
                      </a:lnTo>
                      <a:lnTo>
                        <a:pt x="3771900" y="733425"/>
                      </a:lnTo>
                      <a:lnTo>
                        <a:pt x="3829050" y="990600"/>
                      </a:lnTo>
                      <a:lnTo>
                        <a:pt x="3924300" y="1466850"/>
                      </a:lnTo>
                      <a:cubicBezTo>
                        <a:pt x="3981889" y="1879570"/>
                        <a:pt x="3938852" y="1597025"/>
                        <a:pt x="3990975" y="1876425"/>
                      </a:cubicBezTo>
                      <a:lnTo>
                        <a:pt x="3943350" y="2190750"/>
                      </a:lnTo>
                      <a:lnTo>
                        <a:pt x="3876675" y="2371725"/>
                      </a:lnTo>
                      <a:cubicBezTo>
                        <a:pt x="3798366" y="2283627"/>
                        <a:pt x="3800475" y="2324232"/>
                        <a:pt x="3800475" y="2276475"/>
                      </a:cubicBezTo>
                      <a:lnTo>
                        <a:pt x="3790950" y="2076450"/>
                      </a:lnTo>
                      <a:lnTo>
                        <a:pt x="3590925" y="1895475"/>
                      </a:lnTo>
                      <a:lnTo>
                        <a:pt x="3324225" y="1733550"/>
                      </a:lnTo>
                      <a:lnTo>
                        <a:pt x="3181350" y="2247900"/>
                      </a:lnTo>
                      <a:lnTo>
                        <a:pt x="2628900" y="3848100"/>
                      </a:lnTo>
                      <a:lnTo>
                        <a:pt x="2000250" y="5172075"/>
                      </a:lnTo>
                      <a:lnTo>
                        <a:pt x="1857375" y="5429250"/>
                      </a:lnTo>
                      <a:lnTo>
                        <a:pt x="1666875" y="5734050"/>
                      </a:lnTo>
                      <a:lnTo>
                        <a:pt x="1571625" y="6096000"/>
                      </a:lnTo>
                      <a:lnTo>
                        <a:pt x="1257300" y="6629400"/>
                      </a:lnTo>
                      <a:lnTo>
                        <a:pt x="1143000" y="6781800"/>
                      </a:lnTo>
                      <a:lnTo>
                        <a:pt x="1085850" y="6257925"/>
                      </a:lnTo>
                      <a:lnTo>
                        <a:pt x="933450" y="5562600"/>
                      </a:lnTo>
                      <a:lnTo>
                        <a:pt x="857250" y="5172075"/>
                      </a:lnTo>
                      <a:lnTo>
                        <a:pt x="781050" y="4705350"/>
                      </a:lnTo>
                      <a:lnTo>
                        <a:pt x="742950" y="4086225"/>
                      </a:lnTo>
                      <a:lnTo>
                        <a:pt x="809625" y="3343275"/>
                      </a:lnTo>
                      <a:lnTo>
                        <a:pt x="952500" y="2552700"/>
                      </a:lnTo>
                      <a:lnTo>
                        <a:pt x="1028700" y="1924050"/>
                      </a:lnTo>
                      <a:lnTo>
                        <a:pt x="942975" y="1762125"/>
                      </a:lnTo>
                      <a:lnTo>
                        <a:pt x="866775" y="1600200"/>
                      </a:lnTo>
                      <a:lnTo>
                        <a:pt x="876300" y="1314450"/>
                      </a:lnTo>
                      <a:lnTo>
                        <a:pt x="819150" y="1276350"/>
                      </a:lnTo>
                      <a:lnTo>
                        <a:pt x="685800" y="1390650"/>
                      </a:lnTo>
                      <a:lnTo>
                        <a:pt x="523875" y="1457325"/>
                      </a:lnTo>
                      <a:lnTo>
                        <a:pt x="352425" y="1495425"/>
                      </a:lnTo>
                      <a:lnTo>
                        <a:pt x="133350" y="1552575"/>
                      </a:lnTo>
                      <a:lnTo>
                        <a:pt x="0" y="1562100"/>
                      </a:lnTo>
                      <a:cubicBezTo>
                        <a:pt x="10047" y="1501818"/>
                        <a:pt x="9525" y="1524263"/>
                        <a:pt x="9525" y="1495425"/>
                      </a:cubicBezTo>
                      <a:lnTo>
                        <a:pt x="228600" y="1371600"/>
                      </a:lnTo>
                      <a:lnTo>
                        <a:pt x="542925" y="1171575"/>
                      </a:lnTo>
                      <a:cubicBezTo>
                        <a:pt x="907559" y="941280"/>
                        <a:pt x="762176" y="942975"/>
                        <a:pt x="914400" y="942975"/>
                      </a:cubicBezTo>
                      <a:lnTo>
                        <a:pt x="1047750" y="771525"/>
                      </a:lnTo>
                      <a:lnTo>
                        <a:pt x="1238250" y="552450"/>
                      </a:lnTo>
                      <a:lnTo>
                        <a:pt x="1419225" y="390525"/>
                      </a:lnTo>
                      <a:lnTo>
                        <a:pt x="1485900" y="476250"/>
                      </a:lnTo>
                      <a:lnTo>
                        <a:pt x="1476375" y="885825"/>
                      </a:lnTo>
                      <a:lnTo>
                        <a:pt x="1400175" y="1190625"/>
                      </a:lnTo>
                      <a:lnTo>
                        <a:pt x="1323975" y="1524000"/>
                      </a:lnTo>
                      <a:lnTo>
                        <a:pt x="1447800" y="1885950"/>
                      </a:lnTo>
                      <a:lnTo>
                        <a:pt x="1514475" y="2066925"/>
                      </a:lnTo>
                      <a:lnTo>
                        <a:pt x="1600200" y="2438400"/>
                      </a:lnTo>
                      <a:lnTo>
                        <a:pt x="1657350" y="2686050"/>
                      </a:lnTo>
                      <a:lnTo>
                        <a:pt x="1781175" y="2933700"/>
                      </a:lnTo>
                      <a:lnTo>
                        <a:pt x="1981200" y="2581275"/>
                      </a:lnTo>
                      <a:cubicBezTo>
                        <a:pt x="2107130" y="2222859"/>
                        <a:pt x="2038350" y="2315265"/>
                        <a:pt x="2101850" y="2181225"/>
                      </a:cubicBezTo>
                      <a:lnTo>
                        <a:pt x="2314575" y="2000250"/>
                      </a:lnTo>
                      <a:lnTo>
                        <a:pt x="2543175" y="1962150"/>
                      </a:lnTo>
                      <a:lnTo>
                        <a:pt x="2724150" y="1895475"/>
                      </a:lnTo>
                      <a:cubicBezTo>
                        <a:pt x="2879523" y="1837210"/>
                        <a:pt x="2784475" y="1876704"/>
                        <a:pt x="2857500" y="1787525"/>
                      </a:cubicBezTo>
                      <a:lnTo>
                        <a:pt x="2895600" y="1695450"/>
                      </a:lnTo>
                      <a:cubicBezTo>
                        <a:pt x="2917825" y="1651000"/>
                        <a:pt x="2941114" y="1597541"/>
                        <a:pt x="2962275" y="1552575"/>
                      </a:cubicBezTo>
                      <a:cubicBezTo>
                        <a:pt x="2966550" y="1543490"/>
                        <a:pt x="2990850" y="1466850"/>
                        <a:pt x="2990850" y="1466850"/>
                      </a:cubicBezTo>
                      <a:cubicBezTo>
                        <a:pt x="3125662" y="1206856"/>
                        <a:pt x="3079750" y="1306239"/>
                        <a:pt x="3124200" y="1235075"/>
                      </a:cubicBezTo>
                      <a:cubicBezTo>
                        <a:pt x="3181935" y="927154"/>
                        <a:pt x="3219450" y="1055871"/>
                        <a:pt x="3219450" y="942975"/>
                      </a:cubicBezTo>
                      <a:lnTo>
                        <a:pt x="3381375" y="657225"/>
                      </a:lnTo>
                      <a:lnTo>
                        <a:pt x="3295650" y="590550"/>
                      </a:lnTo>
                      <a:lnTo>
                        <a:pt x="3219450" y="390525"/>
                      </a:lnTo>
                      <a:lnTo>
                        <a:pt x="318135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32" name="Oval 231"/>
                <p:cNvSpPr/>
                <p:nvPr/>
              </p:nvSpPr>
              <p:spPr>
                <a:xfrm>
                  <a:off x="3581400" y="-3581400"/>
                  <a:ext cx="381000" cy="381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33" name="Oval 232"/>
                <p:cNvSpPr/>
                <p:nvPr/>
              </p:nvSpPr>
              <p:spPr>
                <a:xfrm>
                  <a:off x="3429000" y="-1981200"/>
                  <a:ext cx="381000" cy="381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34" name="Oval 233"/>
                <p:cNvSpPr/>
                <p:nvPr/>
              </p:nvSpPr>
              <p:spPr>
                <a:xfrm>
                  <a:off x="3124200" y="-381000"/>
                  <a:ext cx="381000" cy="381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35" name="Freeform 234"/>
                <p:cNvSpPr/>
                <p:nvPr/>
              </p:nvSpPr>
              <p:spPr>
                <a:xfrm>
                  <a:off x="3067050" y="-3905250"/>
                  <a:ext cx="657225" cy="3743325"/>
                </a:xfrm>
                <a:custGeom>
                  <a:avLst/>
                  <a:gdLst>
                    <a:gd name="connsiteX0" fmla="*/ 657225 w 657225"/>
                    <a:gd name="connsiteY0" fmla="*/ 0 h 3743325"/>
                    <a:gd name="connsiteX1" fmla="*/ 447675 w 657225"/>
                    <a:gd name="connsiteY1" fmla="*/ 276225 h 3743325"/>
                    <a:gd name="connsiteX2" fmla="*/ 352425 w 657225"/>
                    <a:gd name="connsiteY2" fmla="*/ 752475 h 3743325"/>
                    <a:gd name="connsiteX3" fmla="*/ 314325 w 657225"/>
                    <a:gd name="connsiteY3" fmla="*/ 1609725 h 3743325"/>
                    <a:gd name="connsiteX4" fmla="*/ 219075 w 657225"/>
                    <a:gd name="connsiteY4" fmla="*/ 2581275 h 3743325"/>
                    <a:gd name="connsiteX5" fmla="*/ 0 w 657225"/>
                    <a:gd name="connsiteY5" fmla="*/ 3743325 h 3743325"/>
                    <a:gd name="connsiteX6" fmla="*/ 9525 w 657225"/>
                    <a:gd name="connsiteY6" fmla="*/ 3467100 h 3743325"/>
                    <a:gd name="connsiteX7" fmla="*/ 200025 w 657225"/>
                    <a:gd name="connsiteY7" fmla="*/ 2371725 h 3743325"/>
                    <a:gd name="connsiteX8" fmla="*/ 295275 w 657225"/>
                    <a:gd name="connsiteY8" fmla="*/ 895350 h 3743325"/>
                    <a:gd name="connsiteX9" fmla="*/ 390525 w 657225"/>
                    <a:gd name="connsiteY9" fmla="*/ 314325 h 3743325"/>
                    <a:gd name="connsiteX10" fmla="*/ 657225 w 657225"/>
                    <a:gd name="connsiteY10" fmla="*/ 0 h 37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57225" h="3743325">
                      <a:moveTo>
                        <a:pt x="657225" y="0"/>
                      </a:moveTo>
                      <a:lnTo>
                        <a:pt x="447675" y="276225"/>
                      </a:lnTo>
                      <a:lnTo>
                        <a:pt x="352425" y="752475"/>
                      </a:lnTo>
                      <a:cubicBezTo>
                        <a:pt x="339437" y="1038212"/>
                        <a:pt x="314325" y="1323693"/>
                        <a:pt x="314325" y="1609725"/>
                      </a:cubicBezTo>
                      <a:lnTo>
                        <a:pt x="219075" y="2581275"/>
                      </a:lnTo>
                      <a:lnTo>
                        <a:pt x="0" y="3743325"/>
                      </a:lnTo>
                      <a:lnTo>
                        <a:pt x="9525" y="3467100"/>
                      </a:lnTo>
                      <a:cubicBezTo>
                        <a:pt x="202865" y="2403731"/>
                        <a:pt x="200025" y="2774326"/>
                        <a:pt x="200025" y="2371725"/>
                      </a:cubicBezTo>
                      <a:cubicBezTo>
                        <a:pt x="231980" y="1879613"/>
                        <a:pt x="295275" y="1388498"/>
                        <a:pt x="295275" y="895350"/>
                      </a:cubicBezTo>
                      <a:lnTo>
                        <a:pt x="390525" y="314325"/>
                      </a:lnTo>
                      <a:lnTo>
                        <a:pt x="657225"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36" name="Freeform 235"/>
                <p:cNvSpPr/>
                <p:nvPr/>
              </p:nvSpPr>
              <p:spPr>
                <a:xfrm>
                  <a:off x="4200525" y="-5173980"/>
                  <a:ext cx="1064894" cy="1188720"/>
                </a:xfrm>
                <a:custGeom>
                  <a:avLst/>
                  <a:gdLst>
                    <a:gd name="connsiteX0" fmla="*/ 777240 w 777240"/>
                    <a:gd name="connsiteY0" fmla="*/ 76200 h 1188720"/>
                    <a:gd name="connsiteX1" fmla="*/ 632460 w 777240"/>
                    <a:gd name="connsiteY1" fmla="*/ 15240 h 1188720"/>
                    <a:gd name="connsiteX2" fmla="*/ 495300 w 777240"/>
                    <a:gd name="connsiteY2" fmla="*/ 0 h 1188720"/>
                    <a:gd name="connsiteX3" fmla="*/ 472440 w 777240"/>
                    <a:gd name="connsiteY3" fmla="*/ 137160 h 1188720"/>
                    <a:gd name="connsiteX4" fmla="*/ 365760 w 777240"/>
                    <a:gd name="connsiteY4" fmla="*/ 167640 h 1188720"/>
                    <a:gd name="connsiteX5" fmla="*/ 236220 w 777240"/>
                    <a:gd name="connsiteY5" fmla="*/ 266700 h 1188720"/>
                    <a:gd name="connsiteX6" fmla="*/ 0 w 777240"/>
                    <a:gd name="connsiteY6" fmla="*/ 365760 h 1188720"/>
                    <a:gd name="connsiteX7" fmla="*/ 167640 w 777240"/>
                    <a:gd name="connsiteY7" fmla="*/ 525780 h 1188720"/>
                    <a:gd name="connsiteX8" fmla="*/ 335280 w 777240"/>
                    <a:gd name="connsiteY8" fmla="*/ 693420 h 1188720"/>
                    <a:gd name="connsiteX9" fmla="*/ 426720 w 777240"/>
                    <a:gd name="connsiteY9" fmla="*/ 990600 h 1188720"/>
                    <a:gd name="connsiteX10" fmla="*/ 434340 w 777240"/>
                    <a:gd name="connsiteY10" fmla="*/ 1188720 h 1188720"/>
                    <a:gd name="connsiteX11" fmla="*/ 624840 w 777240"/>
                    <a:gd name="connsiteY11" fmla="*/ 647700 h 1188720"/>
                    <a:gd name="connsiteX12" fmla="*/ 716280 w 777240"/>
                    <a:gd name="connsiteY12" fmla="*/ 312420 h 1188720"/>
                    <a:gd name="connsiteX13" fmla="*/ 777240 w 777240"/>
                    <a:gd name="connsiteY13" fmla="*/ 76200 h 1188720"/>
                    <a:gd name="connsiteX0" fmla="*/ 979169 w 979169"/>
                    <a:gd name="connsiteY0" fmla="*/ 76200 h 1188720"/>
                    <a:gd name="connsiteX1" fmla="*/ 834389 w 979169"/>
                    <a:gd name="connsiteY1" fmla="*/ 15240 h 1188720"/>
                    <a:gd name="connsiteX2" fmla="*/ 697229 w 979169"/>
                    <a:gd name="connsiteY2" fmla="*/ 0 h 1188720"/>
                    <a:gd name="connsiteX3" fmla="*/ 674369 w 979169"/>
                    <a:gd name="connsiteY3" fmla="*/ 137160 h 1188720"/>
                    <a:gd name="connsiteX4" fmla="*/ 567689 w 979169"/>
                    <a:gd name="connsiteY4" fmla="*/ 167640 h 1188720"/>
                    <a:gd name="connsiteX5" fmla="*/ 438149 w 979169"/>
                    <a:gd name="connsiteY5" fmla="*/ 266700 h 1188720"/>
                    <a:gd name="connsiteX6" fmla="*/ 201929 w 979169"/>
                    <a:gd name="connsiteY6" fmla="*/ 365760 h 1188720"/>
                    <a:gd name="connsiteX7" fmla="*/ 0 w 979169"/>
                    <a:gd name="connsiteY7" fmla="*/ 421006 h 1188720"/>
                    <a:gd name="connsiteX8" fmla="*/ 369569 w 979169"/>
                    <a:gd name="connsiteY8" fmla="*/ 525780 h 1188720"/>
                    <a:gd name="connsiteX9" fmla="*/ 537209 w 979169"/>
                    <a:gd name="connsiteY9" fmla="*/ 693420 h 1188720"/>
                    <a:gd name="connsiteX10" fmla="*/ 628649 w 979169"/>
                    <a:gd name="connsiteY10" fmla="*/ 990600 h 1188720"/>
                    <a:gd name="connsiteX11" fmla="*/ 636269 w 979169"/>
                    <a:gd name="connsiteY11" fmla="*/ 1188720 h 1188720"/>
                    <a:gd name="connsiteX12" fmla="*/ 826769 w 979169"/>
                    <a:gd name="connsiteY12" fmla="*/ 647700 h 1188720"/>
                    <a:gd name="connsiteX13" fmla="*/ 918209 w 979169"/>
                    <a:gd name="connsiteY13" fmla="*/ 312420 h 1188720"/>
                    <a:gd name="connsiteX14" fmla="*/ 979169 w 979169"/>
                    <a:gd name="connsiteY14" fmla="*/ 76200 h 1188720"/>
                    <a:gd name="connsiteX0" fmla="*/ 1064894 w 1064894"/>
                    <a:gd name="connsiteY0" fmla="*/ 76200 h 1188720"/>
                    <a:gd name="connsiteX1" fmla="*/ 920114 w 1064894"/>
                    <a:gd name="connsiteY1" fmla="*/ 15240 h 1188720"/>
                    <a:gd name="connsiteX2" fmla="*/ 782954 w 1064894"/>
                    <a:gd name="connsiteY2" fmla="*/ 0 h 1188720"/>
                    <a:gd name="connsiteX3" fmla="*/ 760094 w 1064894"/>
                    <a:gd name="connsiteY3" fmla="*/ 137160 h 1188720"/>
                    <a:gd name="connsiteX4" fmla="*/ 653414 w 1064894"/>
                    <a:gd name="connsiteY4" fmla="*/ 167640 h 1188720"/>
                    <a:gd name="connsiteX5" fmla="*/ 523874 w 1064894"/>
                    <a:gd name="connsiteY5" fmla="*/ 266700 h 1188720"/>
                    <a:gd name="connsiteX6" fmla="*/ 287654 w 1064894"/>
                    <a:gd name="connsiteY6" fmla="*/ 365760 h 1188720"/>
                    <a:gd name="connsiteX7" fmla="*/ 85725 w 1064894"/>
                    <a:gd name="connsiteY7" fmla="*/ 421006 h 1188720"/>
                    <a:gd name="connsiteX8" fmla="*/ 0 w 1064894"/>
                    <a:gd name="connsiteY8" fmla="*/ 516255 h 1188720"/>
                    <a:gd name="connsiteX9" fmla="*/ 455294 w 1064894"/>
                    <a:gd name="connsiteY9" fmla="*/ 525780 h 1188720"/>
                    <a:gd name="connsiteX10" fmla="*/ 622934 w 1064894"/>
                    <a:gd name="connsiteY10" fmla="*/ 693420 h 1188720"/>
                    <a:gd name="connsiteX11" fmla="*/ 714374 w 1064894"/>
                    <a:gd name="connsiteY11" fmla="*/ 990600 h 1188720"/>
                    <a:gd name="connsiteX12" fmla="*/ 721994 w 1064894"/>
                    <a:gd name="connsiteY12" fmla="*/ 1188720 h 1188720"/>
                    <a:gd name="connsiteX13" fmla="*/ 912494 w 1064894"/>
                    <a:gd name="connsiteY13" fmla="*/ 647700 h 1188720"/>
                    <a:gd name="connsiteX14" fmla="*/ 1003934 w 1064894"/>
                    <a:gd name="connsiteY14" fmla="*/ 312420 h 1188720"/>
                    <a:gd name="connsiteX15" fmla="*/ 1064894 w 1064894"/>
                    <a:gd name="connsiteY15" fmla="*/ 76200 h 1188720"/>
                    <a:gd name="connsiteX0" fmla="*/ 1064894 w 1064894"/>
                    <a:gd name="connsiteY0" fmla="*/ 76200 h 1188720"/>
                    <a:gd name="connsiteX1" fmla="*/ 920114 w 1064894"/>
                    <a:gd name="connsiteY1" fmla="*/ 15240 h 1188720"/>
                    <a:gd name="connsiteX2" fmla="*/ 782954 w 1064894"/>
                    <a:gd name="connsiteY2" fmla="*/ 0 h 1188720"/>
                    <a:gd name="connsiteX3" fmla="*/ 760094 w 1064894"/>
                    <a:gd name="connsiteY3" fmla="*/ 137160 h 1188720"/>
                    <a:gd name="connsiteX4" fmla="*/ 653414 w 1064894"/>
                    <a:gd name="connsiteY4" fmla="*/ 167640 h 1188720"/>
                    <a:gd name="connsiteX5" fmla="*/ 523874 w 1064894"/>
                    <a:gd name="connsiteY5" fmla="*/ 266700 h 1188720"/>
                    <a:gd name="connsiteX6" fmla="*/ 287654 w 1064894"/>
                    <a:gd name="connsiteY6" fmla="*/ 365760 h 1188720"/>
                    <a:gd name="connsiteX7" fmla="*/ 85725 w 1064894"/>
                    <a:gd name="connsiteY7" fmla="*/ 421006 h 1188720"/>
                    <a:gd name="connsiteX8" fmla="*/ 0 w 1064894"/>
                    <a:gd name="connsiteY8" fmla="*/ 516255 h 1188720"/>
                    <a:gd name="connsiteX9" fmla="*/ 455294 w 1064894"/>
                    <a:gd name="connsiteY9" fmla="*/ 525780 h 1188720"/>
                    <a:gd name="connsiteX10" fmla="*/ 622934 w 1064894"/>
                    <a:gd name="connsiteY10" fmla="*/ 693420 h 1188720"/>
                    <a:gd name="connsiteX11" fmla="*/ 714374 w 1064894"/>
                    <a:gd name="connsiteY11" fmla="*/ 990600 h 1188720"/>
                    <a:gd name="connsiteX12" fmla="*/ 721994 w 1064894"/>
                    <a:gd name="connsiteY12" fmla="*/ 1188720 h 1188720"/>
                    <a:gd name="connsiteX13" fmla="*/ 912494 w 1064894"/>
                    <a:gd name="connsiteY13" fmla="*/ 647700 h 1188720"/>
                    <a:gd name="connsiteX14" fmla="*/ 1003934 w 1064894"/>
                    <a:gd name="connsiteY14" fmla="*/ 312420 h 1188720"/>
                    <a:gd name="connsiteX15" fmla="*/ 1064894 w 1064894"/>
                    <a:gd name="connsiteY15" fmla="*/ 76200 h 1188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64894" h="1188720">
                      <a:moveTo>
                        <a:pt x="1064894" y="76200"/>
                      </a:moveTo>
                      <a:lnTo>
                        <a:pt x="920114" y="15240"/>
                      </a:lnTo>
                      <a:lnTo>
                        <a:pt x="782954" y="0"/>
                      </a:lnTo>
                      <a:lnTo>
                        <a:pt x="760094" y="137160"/>
                      </a:lnTo>
                      <a:lnTo>
                        <a:pt x="653414" y="167640"/>
                      </a:lnTo>
                      <a:lnTo>
                        <a:pt x="523874" y="266700"/>
                      </a:lnTo>
                      <a:lnTo>
                        <a:pt x="287654" y="365760"/>
                      </a:lnTo>
                      <a:lnTo>
                        <a:pt x="85725" y="421006"/>
                      </a:lnTo>
                      <a:lnTo>
                        <a:pt x="0" y="516255"/>
                      </a:lnTo>
                      <a:cubicBezTo>
                        <a:pt x="185103" y="452755"/>
                        <a:pt x="303529" y="522605"/>
                        <a:pt x="455294" y="525780"/>
                      </a:cubicBezTo>
                      <a:lnTo>
                        <a:pt x="622934" y="693420"/>
                      </a:lnTo>
                      <a:lnTo>
                        <a:pt x="714374" y="990600"/>
                      </a:lnTo>
                      <a:lnTo>
                        <a:pt x="721994" y="1188720"/>
                      </a:lnTo>
                      <a:lnTo>
                        <a:pt x="912494" y="647700"/>
                      </a:lnTo>
                      <a:lnTo>
                        <a:pt x="1003934" y="312420"/>
                      </a:lnTo>
                      <a:lnTo>
                        <a:pt x="1064894" y="762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37" name="Freeform 236"/>
                <p:cNvSpPr/>
                <p:nvPr/>
              </p:nvSpPr>
              <p:spPr>
                <a:xfrm>
                  <a:off x="3124200" y="-6377940"/>
                  <a:ext cx="373380" cy="1866900"/>
                </a:xfrm>
                <a:custGeom>
                  <a:avLst/>
                  <a:gdLst>
                    <a:gd name="connsiteX0" fmla="*/ 266700 w 373380"/>
                    <a:gd name="connsiteY0" fmla="*/ 7620 h 1866900"/>
                    <a:gd name="connsiteX1" fmla="*/ 137160 w 373380"/>
                    <a:gd name="connsiteY1" fmla="*/ 281940 h 1866900"/>
                    <a:gd name="connsiteX2" fmla="*/ 15240 w 373380"/>
                    <a:gd name="connsiteY2" fmla="*/ 640080 h 1866900"/>
                    <a:gd name="connsiteX3" fmla="*/ 0 w 373380"/>
                    <a:gd name="connsiteY3" fmla="*/ 1066800 h 1866900"/>
                    <a:gd name="connsiteX4" fmla="*/ 129540 w 373380"/>
                    <a:gd name="connsiteY4" fmla="*/ 1371600 h 1866900"/>
                    <a:gd name="connsiteX5" fmla="*/ 289560 w 373380"/>
                    <a:gd name="connsiteY5" fmla="*/ 1638300 h 1866900"/>
                    <a:gd name="connsiteX6" fmla="*/ 373380 w 373380"/>
                    <a:gd name="connsiteY6" fmla="*/ 1866900 h 1866900"/>
                    <a:gd name="connsiteX7" fmla="*/ 304800 w 373380"/>
                    <a:gd name="connsiteY7" fmla="*/ 1584960 h 1866900"/>
                    <a:gd name="connsiteX8" fmla="*/ 205740 w 373380"/>
                    <a:gd name="connsiteY8" fmla="*/ 1295400 h 1866900"/>
                    <a:gd name="connsiteX9" fmla="*/ 137160 w 373380"/>
                    <a:gd name="connsiteY9" fmla="*/ 1066800 h 1866900"/>
                    <a:gd name="connsiteX10" fmla="*/ 259080 w 373380"/>
                    <a:gd name="connsiteY10" fmla="*/ 586740 h 1866900"/>
                    <a:gd name="connsiteX11" fmla="*/ 304800 w 373380"/>
                    <a:gd name="connsiteY11" fmla="*/ 426720 h 1866900"/>
                    <a:gd name="connsiteX12" fmla="*/ 320040 w 373380"/>
                    <a:gd name="connsiteY12" fmla="*/ 53340 h 1866900"/>
                    <a:gd name="connsiteX13" fmla="*/ 320040 w 373380"/>
                    <a:gd name="connsiteY13" fmla="*/ 0 h 1866900"/>
                    <a:gd name="connsiteX14" fmla="*/ 266700 w 373380"/>
                    <a:gd name="connsiteY14" fmla="*/ 7620 h 186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3380" h="1866900">
                      <a:moveTo>
                        <a:pt x="266700" y="7620"/>
                      </a:moveTo>
                      <a:lnTo>
                        <a:pt x="137160" y="281940"/>
                      </a:lnTo>
                      <a:lnTo>
                        <a:pt x="15240" y="640080"/>
                      </a:lnTo>
                      <a:lnTo>
                        <a:pt x="0" y="1066800"/>
                      </a:lnTo>
                      <a:cubicBezTo>
                        <a:pt x="123283" y="1367303"/>
                        <a:pt x="46208" y="1288268"/>
                        <a:pt x="129540" y="1371600"/>
                      </a:cubicBezTo>
                      <a:lnTo>
                        <a:pt x="289560" y="1638300"/>
                      </a:lnTo>
                      <a:lnTo>
                        <a:pt x="373380" y="1866900"/>
                      </a:lnTo>
                      <a:lnTo>
                        <a:pt x="304800" y="1584960"/>
                      </a:lnTo>
                      <a:lnTo>
                        <a:pt x="205740" y="1295400"/>
                      </a:lnTo>
                      <a:lnTo>
                        <a:pt x="137160" y="1066800"/>
                      </a:lnTo>
                      <a:lnTo>
                        <a:pt x="259080" y="586740"/>
                      </a:lnTo>
                      <a:lnTo>
                        <a:pt x="304800" y="426720"/>
                      </a:lnTo>
                      <a:lnTo>
                        <a:pt x="320040" y="53340"/>
                      </a:lnTo>
                      <a:lnTo>
                        <a:pt x="320040" y="0"/>
                      </a:lnTo>
                      <a:lnTo>
                        <a:pt x="266700" y="762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38" name="Freeform 237"/>
                <p:cNvSpPr/>
                <p:nvPr/>
              </p:nvSpPr>
              <p:spPr>
                <a:xfrm>
                  <a:off x="4899660" y="-5562600"/>
                  <a:ext cx="944880" cy="1082040"/>
                </a:xfrm>
                <a:custGeom>
                  <a:avLst/>
                  <a:gdLst>
                    <a:gd name="connsiteX0" fmla="*/ 0 w 944880"/>
                    <a:gd name="connsiteY0" fmla="*/ 350520 h 1082040"/>
                    <a:gd name="connsiteX1" fmla="*/ 30480 w 944880"/>
                    <a:gd name="connsiteY1" fmla="*/ 236220 h 1082040"/>
                    <a:gd name="connsiteX2" fmla="*/ 106680 w 944880"/>
                    <a:gd name="connsiteY2" fmla="*/ 76200 h 1082040"/>
                    <a:gd name="connsiteX3" fmla="*/ 152400 w 944880"/>
                    <a:gd name="connsiteY3" fmla="*/ 0 h 1082040"/>
                    <a:gd name="connsiteX4" fmla="*/ 175260 w 944880"/>
                    <a:gd name="connsiteY4" fmla="*/ 53340 h 1082040"/>
                    <a:gd name="connsiteX5" fmla="*/ 144780 w 944880"/>
                    <a:gd name="connsiteY5" fmla="*/ 137160 h 1082040"/>
                    <a:gd name="connsiteX6" fmla="*/ 129540 w 944880"/>
                    <a:gd name="connsiteY6" fmla="*/ 236220 h 1082040"/>
                    <a:gd name="connsiteX7" fmla="*/ 236220 w 944880"/>
                    <a:gd name="connsiteY7" fmla="*/ 266700 h 1082040"/>
                    <a:gd name="connsiteX8" fmla="*/ 495300 w 944880"/>
                    <a:gd name="connsiteY8" fmla="*/ 388620 h 1082040"/>
                    <a:gd name="connsiteX9" fmla="*/ 739140 w 944880"/>
                    <a:gd name="connsiteY9" fmla="*/ 579120 h 1082040"/>
                    <a:gd name="connsiteX10" fmla="*/ 891540 w 944880"/>
                    <a:gd name="connsiteY10" fmla="*/ 708660 h 1082040"/>
                    <a:gd name="connsiteX11" fmla="*/ 944880 w 944880"/>
                    <a:gd name="connsiteY11" fmla="*/ 1028700 h 1082040"/>
                    <a:gd name="connsiteX12" fmla="*/ 906780 w 944880"/>
                    <a:gd name="connsiteY12" fmla="*/ 1082040 h 1082040"/>
                    <a:gd name="connsiteX13" fmla="*/ 861060 w 944880"/>
                    <a:gd name="connsiteY13" fmla="*/ 1013460 h 1082040"/>
                    <a:gd name="connsiteX14" fmla="*/ 845820 w 944880"/>
                    <a:gd name="connsiteY14" fmla="*/ 800100 h 1082040"/>
                    <a:gd name="connsiteX15" fmla="*/ 655320 w 944880"/>
                    <a:gd name="connsiteY15" fmla="*/ 647700 h 1082040"/>
                    <a:gd name="connsiteX16" fmla="*/ 487680 w 944880"/>
                    <a:gd name="connsiteY16" fmla="*/ 502920 h 1082040"/>
                    <a:gd name="connsiteX17" fmla="*/ 274320 w 944880"/>
                    <a:gd name="connsiteY17" fmla="*/ 388620 h 1082040"/>
                    <a:gd name="connsiteX18" fmla="*/ 53340 w 944880"/>
                    <a:gd name="connsiteY18" fmla="*/ 350520 h 1082040"/>
                    <a:gd name="connsiteX19" fmla="*/ 0 w 944880"/>
                    <a:gd name="connsiteY19" fmla="*/ 350520 h 1082040"/>
                    <a:gd name="connsiteX0" fmla="*/ 0 w 944880"/>
                    <a:gd name="connsiteY0" fmla="*/ 350520 h 1082040"/>
                    <a:gd name="connsiteX1" fmla="*/ 30480 w 944880"/>
                    <a:gd name="connsiteY1" fmla="*/ 236220 h 1082040"/>
                    <a:gd name="connsiteX2" fmla="*/ 106680 w 944880"/>
                    <a:gd name="connsiteY2" fmla="*/ 76200 h 1082040"/>
                    <a:gd name="connsiteX3" fmla="*/ 152400 w 944880"/>
                    <a:gd name="connsiteY3" fmla="*/ 0 h 1082040"/>
                    <a:gd name="connsiteX4" fmla="*/ 175260 w 944880"/>
                    <a:gd name="connsiteY4" fmla="*/ 53340 h 1082040"/>
                    <a:gd name="connsiteX5" fmla="*/ 144780 w 944880"/>
                    <a:gd name="connsiteY5" fmla="*/ 137160 h 1082040"/>
                    <a:gd name="connsiteX6" fmla="*/ 129540 w 944880"/>
                    <a:gd name="connsiteY6" fmla="*/ 236220 h 1082040"/>
                    <a:gd name="connsiteX7" fmla="*/ 236220 w 944880"/>
                    <a:gd name="connsiteY7" fmla="*/ 266700 h 1082040"/>
                    <a:gd name="connsiteX8" fmla="*/ 495300 w 944880"/>
                    <a:gd name="connsiteY8" fmla="*/ 388620 h 1082040"/>
                    <a:gd name="connsiteX9" fmla="*/ 739140 w 944880"/>
                    <a:gd name="connsiteY9" fmla="*/ 579120 h 1082040"/>
                    <a:gd name="connsiteX10" fmla="*/ 891540 w 944880"/>
                    <a:gd name="connsiteY10" fmla="*/ 708660 h 1082040"/>
                    <a:gd name="connsiteX11" fmla="*/ 944880 w 944880"/>
                    <a:gd name="connsiteY11" fmla="*/ 1028700 h 1082040"/>
                    <a:gd name="connsiteX12" fmla="*/ 906780 w 944880"/>
                    <a:gd name="connsiteY12" fmla="*/ 1082040 h 1082040"/>
                    <a:gd name="connsiteX13" fmla="*/ 861060 w 944880"/>
                    <a:gd name="connsiteY13" fmla="*/ 1013460 h 1082040"/>
                    <a:gd name="connsiteX14" fmla="*/ 845820 w 944880"/>
                    <a:gd name="connsiteY14" fmla="*/ 800100 h 1082040"/>
                    <a:gd name="connsiteX15" fmla="*/ 655320 w 944880"/>
                    <a:gd name="connsiteY15" fmla="*/ 647700 h 1082040"/>
                    <a:gd name="connsiteX16" fmla="*/ 487680 w 944880"/>
                    <a:gd name="connsiteY16" fmla="*/ 502920 h 1082040"/>
                    <a:gd name="connsiteX17" fmla="*/ 274320 w 944880"/>
                    <a:gd name="connsiteY17" fmla="*/ 388620 h 1082040"/>
                    <a:gd name="connsiteX18" fmla="*/ 53340 w 944880"/>
                    <a:gd name="connsiteY18" fmla="*/ 350520 h 1082040"/>
                    <a:gd name="connsiteX19" fmla="*/ 0 w 944880"/>
                    <a:gd name="connsiteY19" fmla="*/ 350520 h 1082040"/>
                    <a:gd name="connsiteX0" fmla="*/ 0 w 944880"/>
                    <a:gd name="connsiteY0" fmla="*/ 350520 h 1082040"/>
                    <a:gd name="connsiteX1" fmla="*/ 30480 w 944880"/>
                    <a:gd name="connsiteY1" fmla="*/ 236220 h 1082040"/>
                    <a:gd name="connsiteX2" fmla="*/ 106680 w 944880"/>
                    <a:gd name="connsiteY2" fmla="*/ 76200 h 1082040"/>
                    <a:gd name="connsiteX3" fmla="*/ 152400 w 944880"/>
                    <a:gd name="connsiteY3" fmla="*/ 0 h 1082040"/>
                    <a:gd name="connsiteX4" fmla="*/ 175260 w 944880"/>
                    <a:gd name="connsiteY4" fmla="*/ 53340 h 1082040"/>
                    <a:gd name="connsiteX5" fmla="*/ 144780 w 944880"/>
                    <a:gd name="connsiteY5" fmla="*/ 137160 h 1082040"/>
                    <a:gd name="connsiteX6" fmla="*/ 129540 w 944880"/>
                    <a:gd name="connsiteY6" fmla="*/ 236220 h 1082040"/>
                    <a:gd name="connsiteX7" fmla="*/ 236220 w 944880"/>
                    <a:gd name="connsiteY7" fmla="*/ 266700 h 1082040"/>
                    <a:gd name="connsiteX8" fmla="*/ 495300 w 944880"/>
                    <a:gd name="connsiteY8" fmla="*/ 388620 h 1082040"/>
                    <a:gd name="connsiteX9" fmla="*/ 739140 w 944880"/>
                    <a:gd name="connsiteY9" fmla="*/ 579120 h 1082040"/>
                    <a:gd name="connsiteX10" fmla="*/ 891540 w 944880"/>
                    <a:gd name="connsiteY10" fmla="*/ 708660 h 1082040"/>
                    <a:gd name="connsiteX11" fmla="*/ 944880 w 944880"/>
                    <a:gd name="connsiteY11" fmla="*/ 1028700 h 1082040"/>
                    <a:gd name="connsiteX12" fmla="*/ 906780 w 944880"/>
                    <a:gd name="connsiteY12" fmla="*/ 1082040 h 1082040"/>
                    <a:gd name="connsiteX13" fmla="*/ 861060 w 944880"/>
                    <a:gd name="connsiteY13" fmla="*/ 1013460 h 1082040"/>
                    <a:gd name="connsiteX14" fmla="*/ 845820 w 944880"/>
                    <a:gd name="connsiteY14" fmla="*/ 800100 h 1082040"/>
                    <a:gd name="connsiteX15" fmla="*/ 655320 w 944880"/>
                    <a:gd name="connsiteY15" fmla="*/ 647700 h 1082040"/>
                    <a:gd name="connsiteX16" fmla="*/ 487680 w 944880"/>
                    <a:gd name="connsiteY16" fmla="*/ 502920 h 1082040"/>
                    <a:gd name="connsiteX17" fmla="*/ 274320 w 944880"/>
                    <a:gd name="connsiteY17" fmla="*/ 388620 h 1082040"/>
                    <a:gd name="connsiteX18" fmla="*/ 53340 w 944880"/>
                    <a:gd name="connsiteY18" fmla="*/ 350520 h 1082040"/>
                    <a:gd name="connsiteX19" fmla="*/ 0 w 944880"/>
                    <a:gd name="connsiteY19" fmla="*/ 350520 h 1082040"/>
                    <a:gd name="connsiteX0" fmla="*/ 0 w 944880"/>
                    <a:gd name="connsiteY0" fmla="*/ 350520 h 1082040"/>
                    <a:gd name="connsiteX1" fmla="*/ 30480 w 944880"/>
                    <a:gd name="connsiteY1" fmla="*/ 236220 h 1082040"/>
                    <a:gd name="connsiteX2" fmla="*/ 106680 w 944880"/>
                    <a:gd name="connsiteY2" fmla="*/ 76200 h 1082040"/>
                    <a:gd name="connsiteX3" fmla="*/ 152400 w 944880"/>
                    <a:gd name="connsiteY3" fmla="*/ 0 h 1082040"/>
                    <a:gd name="connsiteX4" fmla="*/ 193040 w 944880"/>
                    <a:gd name="connsiteY4" fmla="*/ 12700 h 1082040"/>
                    <a:gd name="connsiteX5" fmla="*/ 175260 w 944880"/>
                    <a:gd name="connsiteY5" fmla="*/ 53340 h 1082040"/>
                    <a:gd name="connsiteX6" fmla="*/ 144780 w 944880"/>
                    <a:gd name="connsiteY6" fmla="*/ 137160 h 1082040"/>
                    <a:gd name="connsiteX7" fmla="*/ 129540 w 944880"/>
                    <a:gd name="connsiteY7" fmla="*/ 236220 h 1082040"/>
                    <a:gd name="connsiteX8" fmla="*/ 236220 w 944880"/>
                    <a:gd name="connsiteY8" fmla="*/ 266700 h 1082040"/>
                    <a:gd name="connsiteX9" fmla="*/ 495300 w 944880"/>
                    <a:gd name="connsiteY9" fmla="*/ 388620 h 1082040"/>
                    <a:gd name="connsiteX10" fmla="*/ 739140 w 944880"/>
                    <a:gd name="connsiteY10" fmla="*/ 579120 h 1082040"/>
                    <a:gd name="connsiteX11" fmla="*/ 891540 w 944880"/>
                    <a:gd name="connsiteY11" fmla="*/ 708660 h 1082040"/>
                    <a:gd name="connsiteX12" fmla="*/ 944880 w 944880"/>
                    <a:gd name="connsiteY12" fmla="*/ 1028700 h 1082040"/>
                    <a:gd name="connsiteX13" fmla="*/ 906780 w 944880"/>
                    <a:gd name="connsiteY13" fmla="*/ 1082040 h 1082040"/>
                    <a:gd name="connsiteX14" fmla="*/ 861060 w 944880"/>
                    <a:gd name="connsiteY14" fmla="*/ 1013460 h 1082040"/>
                    <a:gd name="connsiteX15" fmla="*/ 845820 w 944880"/>
                    <a:gd name="connsiteY15" fmla="*/ 800100 h 1082040"/>
                    <a:gd name="connsiteX16" fmla="*/ 655320 w 944880"/>
                    <a:gd name="connsiteY16" fmla="*/ 647700 h 1082040"/>
                    <a:gd name="connsiteX17" fmla="*/ 487680 w 944880"/>
                    <a:gd name="connsiteY17" fmla="*/ 502920 h 1082040"/>
                    <a:gd name="connsiteX18" fmla="*/ 274320 w 944880"/>
                    <a:gd name="connsiteY18" fmla="*/ 388620 h 1082040"/>
                    <a:gd name="connsiteX19" fmla="*/ 53340 w 944880"/>
                    <a:gd name="connsiteY19" fmla="*/ 350520 h 1082040"/>
                    <a:gd name="connsiteX20" fmla="*/ 0 w 944880"/>
                    <a:gd name="connsiteY20" fmla="*/ 350520 h 1082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44880" h="1082040">
                      <a:moveTo>
                        <a:pt x="0" y="350520"/>
                      </a:moveTo>
                      <a:lnTo>
                        <a:pt x="30480" y="236220"/>
                      </a:lnTo>
                      <a:lnTo>
                        <a:pt x="106680" y="76200"/>
                      </a:lnTo>
                      <a:lnTo>
                        <a:pt x="152400" y="0"/>
                      </a:lnTo>
                      <a:lnTo>
                        <a:pt x="193040" y="12700"/>
                      </a:lnTo>
                      <a:lnTo>
                        <a:pt x="175260" y="53340"/>
                      </a:lnTo>
                      <a:cubicBezTo>
                        <a:pt x="151368" y="132981"/>
                        <a:pt x="158451" y="88564"/>
                        <a:pt x="144780" y="137160"/>
                      </a:cubicBezTo>
                      <a:lnTo>
                        <a:pt x="129540" y="236220"/>
                      </a:lnTo>
                      <a:lnTo>
                        <a:pt x="236220" y="266700"/>
                      </a:lnTo>
                      <a:cubicBezTo>
                        <a:pt x="489966" y="389728"/>
                        <a:pt x="340552" y="331470"/>
                        <a:pt x="495300" y="388620"/>
                      </a:cubicBezTo>
                      <a:lnTo>
                        <a:pt x="739140" y="579120"/>
                      </a:lnTo>
                      <a:lnTo>
                        <a:pt x="891540" y="708660"/>
                      </a:lnTo>
                      <a:cubicBezTo>
                        <a:pt x="909742" y="815269"/>
                        <a:pt x="944880" y="920548"/>
                        <a:pt x="944880" y="1028700"/>
                      </a:cubicBezTo>
                      <a:lnTo>
                        <a:pt x="906780" y="1082040"/>
                      </a:lnTo>
                      <a:cubicBezTo>
                        <a:pt x="859536" y="1019048"/>
                        <a:pt x="861060" y="1046480"/>
                        <a:pt x="861060" y="1013460"/>
                      </a:cubicBezTo>
                      <a:cubicBezTo>
                        <a:pt x="855793" y="942354"/>
                        <a:pt x="845820" y="871401"/>
                        <a:pt x="845820" y="800100"/>
                      </a:cubicBezTo>
                      <a:lnTo>
                        <a:pt x="655320" y="647700"/>
                      </a:lnTo>
                      <a:lnTo>
                        <a:pt x="487680" y="502920"/>
                      </a:lnTo>
                      <a:lnTo>
                        <a:pt x="274320" y="388620"/>
                      </a:lnTo>
                      <a:lnTo>
                        <a:pt x="53340" y="350520"/>
                      </a:lnTo>
                      <a:lnTo>
                        <a:pt x="0" y="35052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39" name="Freeform 238"/>
                <p:cNvSpPr/>
                <p:nvPr/>
              </p:nvSpPr>
              <p:spPr>
                <a:xfrm>
                  <a:off x="2766060" y="-5610861"/>
                  <a:ext cx="922020" cy="1762760"/>
                </a:xfrm>
                <a:custGeom>
                  <a:avLst/>
                  <a:gdLst>
                    <a:gd name="connsiteX0" fmla="*/ 22860 w 883920"/>
                    <a:gd name="connsiteY0" fmla="*/ 0 h 1645920"/>
                    <a:gd name="connsiteX1" fmla="*/ 167640 w 883920"/>
                    <a:gd name="connsiteY1" fmla="*/ 175260 h 1645920"/>
                    <a:gd name="connsiteX2" fmla="*/ 251460 w 883920"/>
                    <a:gd name="connsiteY2" fmla="*/ 396240 h 1645920"/>
                    <a:gd name="connsiteX3" fmla="*/ 449580 w 883920"/>
                    <a:gd name="connsiteY3" fmla="*/ 632460 h 1645920"/>
                    <a:gd name="connsiteX4" fmla="*/ 624840 w 883920"/>
                    <a:gd name="connsiteY4" fmla="*/ 952500 h 1645920"/>
                    <a:gd name="connsiteX5" fmla="*/ 708660 w 883920"/>
                    <a:gd name="connsiteY5" fmla="*/ 1211580 h 1645920"/>
                    <a:gd name="connsiteX6" fmla="*/ 792480 w 883920"/>
                    <a:gd name="connsiteY6" fmla="*/ 1493520 h 1645920"/>
                    <a:gd name="connsiteX7" fmla="*/ 883920 w 883920"/>
                    <a:gd name="connsiteY7" fmla="*/ 1645920 h 1645920"/>
                    <a:gd name="connsiteX8" fmla="*/ 792480 w 883920"/>
                    <a:gd name="connsiteY8" fmla="*/ 1539240 h 1645920"/>
                    <a:gd name="connsiteX9" fmla="*/ 701040 w 883920"/>
                    <a:gd name="connsiteY9" fmla="*/ 1356360 h 1645920"/>
                    <a:gd name="connsiteX10" fmla="*/ 617220 w 883920"/>
                    <a:gd name="connsiteY10" fmla="*/ 1051560 h 1645920"/>
                    <a:gd name="connsiteX11" fmla="*/ 457200 w 883920"/>
                    <a:gd name="connsiteY11" fmla="*/ 861060 h 1645920"/>
                    <a:gd name="connsiteX12" fmla="*/ 266700 w 883920"/>
                    <a:gd name="connsiteY12" fmla="*/ 792480 h 1645920"/>
                    <a:gd name="connsiteX13" fmla="*/ 137160 w 883920"/>
                    <a:gd name="connsiteY13" fmla="*/ 777240 h 1645920"/>
                    <a:gd name="connsiteX14" fmla="*/ 160020 w 883920"/>
                    <a:gd name="connsiteY14" fmla="*/ 571500 h 1645920"/>
                    <a:gd name="connsiteX15" fmla="*/ 0 w 883920"/>
                    <a:gd name="connsiteY15" fmla="*/ 259080 h 1645920"/>
                    <a:gd name="connsiteX16" fmla="*/ 22860 w 883920"/>
                    <a:gd name="connsiteY16" fmla="*/ 0 h 1645920"/>
                    <a:gd name="connsiteX0" fmla="*/ 22860 w 883920"/>
                    <a:gd name="connsiteY0" fmla="*/ 58595 h 1704515"/>
                    <a:gd name="connsiteX1" fmla="*/ 320040 w 883920"/>
                    <a:gd name="connsiteY1" fmla="*/ 81455 h 1704515"/>
                    <a:gd name="connsiteX2" fmla="*/ 251460 w 883920"/>
                    <a:gd name="connsiteY2" fmla="*/ 454835 h 1704515"/>
                    <a:gd name="connsiteX3" fmla="*/ 449580 w 883920"/>
                    <a:gd name="connsiteY3" fmla="*/ 691055 h 1704515"/>
                    <a:gd name="connsiteX4" fmla="*/ 624840 w 883920"/>
                    <a:gd name="connsiteY4" fmla="*/ 1011095 h 1704515"/>
                    <a:gd name="connsiteX5" fmla="*/ 708660 w 883920"/>
                    <a:gd name="connsiteY5" fmla="*/ 1270175 h 1704515"/>
                    <a:gd name="connsiteX6" fmla="*/ 792480 w 883920"/>
                    <a:gd name="connsiteY6" fmla="*/ 1552115 h 1704515"/>
                    <a:gd name="connsiteX7" fmla="*/ 883920 w 883920"/>
                    <a:gd name="connsiteY7" fmla="*/ 1704515 h 1704515"/>
                    <a:gd name="connsiteX8" fmla="*/ 792480 w 883920"/>
                    <a:gd name="connsiteY8" fmla="*/ 1597835 h 1704515"/>
                    <a:gd name="connsiteX9" fmla="*/ 701040 w 883920"/>
                    <a:gd name="connsiteY9" fmla="*/ 1414955 h 1704515"/>
                    <a:gd name="connsiteX10" fmla="*/ 617220 w 883920"/>
                    <a:gd name="connsiteY10" fmla="*/ 1110155 h 1704515"/>
                    <a:gd name="connsiteX11" fmla="*/ 457200 w 883920"/>
                    <a:gd name="connsiteY11" fmla="*/ 919655 h 1704515"/>
                    <a:gd name="connsiteX12" fmla="*/ 266700 w 883920"/>
                    <a:gd name="connsiteY12" fmla="*/ 851075 h 1704515"/>
                    <a:gd name="connsiteX13" fmla="*/ 137160 w 883920"/>
                    <a:gd name="connsiteY13" fmla="*/ 835835 h 1704515"/>
                    <a:gd name="connsiteX14" fmla="*/ 160020 w 883920"/>
                    <a:gd name="connsiteY14" fmla="*/ 630095 h 1704515"/>
                    <a:gd name="connsiteX15" fmla="*/ 0 w 883920"/>
                    <a:gd name="connsiteY15" fmla="*/ 317675 h 1704515"/>
                    <a:gd name="connsiteX16" fmla="*/ 22860 w 883920"/>
                    <a:gd name="connsiteY16" fmla="*/ 58595 h 1704515"/>
                    <a:gd name="connsiteX0" fmla="*/ 22860 w 883920"/>
                    <a:gd name="connsiteY0" fmla="*/ 95249 h 1741169"/>
                    <a:gd name="connsiteX1" fmla="*/ 160020 w 883920"/>
                    <a:gd name="connsiteY1" fmla="*/ 3810 h 1741169"/>
                    <a:gd name="connsiteX2" fmla="*/ 320040 w 883920"/>
                    <a:gd name="connsiteY2" fmla="*/ 118109 h 1741169"/>
                    <a:gd name="connsiteX3" fmla="*/ 251460 w 883920"/>
                    <a:gd name="connsiteY3" fmla="*/ 491489 h 1741169"/>
                    <a:gd name="connsiteX4" fmla="*/ 449580 w 883920"/>
                    <a:gd name="connsiteY4" fmla="*/ 727709 h 1741169"/>
                    <a:gd name="connsiteX5" fmla="*/ 624840 w 883920"/>
                    <a:gd name="connsiteY5" fmla="*/ 1047749 h 1741169"/>
                    <a:gd name="connsiteX6" fmla="*/ 708660 w 883920"/>
                    <a:gd name="connsiteY6" fmla="*/ 1306829 h 1741169"/>
                    <a:gd name="connsiteX7" fmla="*/ 792480 w 883920"/>
                    <a:gd name="connsiteY7" fmla="*/ 1588769 h 1741169"/>
                    <a:gd name="connsiteX8" fmla="*/ 883920 w 883920"/>
                    <a:gd name="connsiteY8" fmla="*/ 1741169 h 1741169"/>
                    <a:gd name="connsiteX9" fmla="*/ 792480 w 883920"/>
                    <a:gd name="connsiteY9" fmla="*/ 1634489 h 1741169"/>
                    <a:gd name="connsiteX10" fmla="*/ 701040 w 883920"/>
                    <a:gd name="connsiteY10" fmla="*/ 1451609 h 1741169"/>
                    <a:gd name="connsiteX11" fmla="*/ 617220 w 883920"/>
                    <a:gd name="connsiteY11" fmla="*/ 1146809 h 1741169"/>
                    <a:gd name="connsiteX12" fmla="*/ 457200 w 883920"/>
                    <a:gd name="connsiteY12" fmla="*/ 956309 h 1741169"/>
                    <a:gd name="connsiteX13" fmla="*/ 266700 w 883920"/>
                    <a:gd name="connsiteY13" fmla="*/ 887729 h 1741169"/>
                    <a:gd name="connsiteX14" fmla="*/ 137160 w 883920"/>
                    <a:gd name="connsiteY14" fmla="*/ 872489 h 1741169"/>
                    <a:gd name="connsiteX15" fmla="*/ 160020 w 883920"/>
                    <a:gd name="connsiteY15" fmla="*/ 666749 h 1741169"/>
                    <a:gd name="connsiteX16" fmla="*/ 0 w 883920"/>
                    <a:gd name="connsiteY16" fmla="*/ 354329 h 1741169"/>
                    <a:gd name="connsiteX17" fmla="*/ 22860 w 883920"/>
                    <a:gd name="connsiteY17" fmla="*/ 95249 h 1741169"/>
                    <a:gd name="connsiteX0" fmla="*/ 26670 w 887730"/>
                    <a:gd name="connsiteY0" fmla="*/ 101600 h 1747520"/>
                    <a:gd name="connsiteX1" fmla="*/ 163830 w 887730"/>
                    <a:gd name="connsiteY1" fmla="*/ 10161 h 1747520"/>
                    <a:gd name="connsiteX2" fmla="*/ 323850 w 887730"/>
                    <a:gd name="connsiteY2" fmla="*/ 124460 h 1747520"/>
                    <a:gd name="connsiteX3" fmla="*/ 255270 w 887730"/>
                    <a:gd name="connsiteY3" fmla="*/ 497840 h 1747520"/>
                    <a:gd name="connsiteX4" fmla="*/ 453390 w 887730"/>
                    <a:gd name="connsiteY4" fmla="*/ 734060 h 1747520"/>
                    <a:gd name="connsiteX5" fmla="*/ 628650 w 887730"/>
                    <a:gd name="connsiteY5" fmla="*/ 1054100 h 1747520"/>
                    <a:gd name="connsiteX6" fmla="*/ 712470 w 887730"/>
                    <a:gd name="connsiteY6" fmla="*/ 1313180 h 1747520"/>
                    <a:gd name="connsiteX7" fmla="*/ 796290 w 887730"/>
                    <a:gd name="connsiteY7" fmla="*/ 1595120 h 1747520"/>
                    <a:gd name="connsiteX8" fmla="*/ 887730 w 887730"/>
                    <a:gd name="connsiteY8" fmla="*/ 1747520 h 1747520"/>
                    <a:gd name="connsiteX9" fmla="*/ 796290 w 887730"/>
                    <a:gd name="connsiteY9" fmla="*/ 1640840 h 1747520"/>
                    <a:gd name="connsiteX10" fmla="*/ 704850 w 887730"/>
                    <a:gd name="connsiteY10" fmla="*/ 1457960 h 1747520"/>
                    <a:gd name="connsiteX11" fmla="*/ 621030 w 887730"/>
                    <a:gd name="connsiteY11" fmla="*/ 1153160 h 1747520"/>
                    <a:gd name="connsiteX12" fmla="*/ 461010 w 887730"/>
                    <a:gd name="connsiteY12" fmla="*/ 962660 h 1747520"/>
                    <a:gd name="connsiteX13" fmla="*/ 270510 w 887730"/>
                    <a:gd name="connsiteY13" fmla="*/ 894080 h 1747520"/>
                    <a:gd name="connsiteX14" fmla="*/ 140970 w 887730"/>
                    <a:gd name="connsiteY14" fmla="*/ 878840 h 1747520"/>
                    <a:gd name="connsiteX15" fmla="*/ 163830 w 887730"/>
                    <a:gd name="connsiteY15" fmla="*/ 673100 h 1747520"/>
                    <a:gd name="connsiteX16" fmla="*/ 3810 w 887730"/>
                    <a:gd name="connsiteY16" fmla="*/ 360680 h 1747520"/>
                    <a:gd name="connsiteX17" fmla="*/ 26670 w 887730"/>
                    <a:gd name="connsiteY17" fmla="*/ 101600 h 1747520"/>
                    <a:gd name="connsiteX0" fmla="*/ 26670 w 948690"/>
                    <a:gd name="connsiteY0" fmla="*/ 101600 h 1816100"/>
                    <a:gd name="connsiteX1" fmla="*/ 224790 w 948690"/>
                    <a:gd name="connsiteY1" fmla="*/ 78741 h 1816100"/>
                    <a:gd name="connsiteX2" fmla="*/ 384810 w 948690"/>
                    <a:gd name="connsiteY2" fmla="*/ 193040 h 1816100"/>
                    <a:gd name="connsiteX3" fmla="*/ 316230 w 948690"/>
                    <a:gd name="connsiteY3" fmla="*/ 566420 h 1816100"/>
                    <a:gd name="connsiteX4" fmla="*/ 514350 w 948690"/>
                    <a:gd name="connsiteY4" fmla="*/ 802640 h 1816100"/>
                    <a:gd name="connsiteX5" fmla="*/ 689610 w 948690"/>
                    <a:gd name="connsiteY5" fmla="*/ 1122680 h 1816100"/>
                    <a:gd name="connsiteX6" fmla="*/ 773430 w 948690"/>
                    <a:gd name="connsiteY6" fmla="*/ 1381760 h 1816100"/>
                    <a:gd name="connsiteX7" fmla="*/ 857250 w 948690"/>
                    <a:gd name="connsiteY7" fmla="*/ 1663700 h 1816100"/>
                    <a:gd name="connsiteX8" fmla="*/ 948690 w 948690"/>
                    <a:gd name="connsiteY8" fmla="*/ 1816100 h 1816100"/>
                    <a:gd name="connsiteX9" fmla="*/ 857250 w 948690"/>
                    <a:gd name="connsiteY9" fmla="*/ 1709420 h 1816100"/>
                    <a:gd name="connsiteX10" fmla="*/ 765810 w 948690"/>
                    <a:gd name="connsiteY10" fmla="*/ 1526540 h 1816100"/>
                    <a:gd name="connsiteX11" fmla="*/ 681990 w 948690"/>
                    <a:gd name="connsiteY11" fmla="*/ 1221740 h 1816100"/>
                    <a:gd name="connsiteX12" fmla="*/ 521970 w 948690"/>
                    <a:gd name="connsiteY12" fmla="*/ 1031240 h 1816100"/>
                    <a:gd name="connsiteX13" fmla="*/ 331470 w 948690"/>
                    <a:gd name="connsiteY13" fmla="*/ 962660 h 1816100"/>
                    <a:gd name="connsiteX14" fmla="*/ 201930 w 948690"/>
                    <a:gd name="connsiteY14" fmla="*/ 947420 h 1816100"/>
                    <a:gd name="connsiteX15" fmla="*/ 224790 w 948690"/>
                    <a:gd name="connsiteY15" fmla="*/ 741680 h 1816100"/>
                    <a:gd name="connsiteX16" fmla="*/ 64770 w 948690"/>
                    <a:gd name="connsiteY16" fmla="*/ 429260 h 1816100"/>
                    <a:gd name="connsiteX17" fmla="*/ 26670 w 948690"/>
                    <a:gd name="connsiteY17" fmla="*/ 101600 h 1816100"/>
                    <a:gd name="connsiteX0" fmla="*/ 0 w 922020"/>
                    <a:gd name="connsiteY0" fmla="*/ 48260 h 1762760"/>
                    <a:gd name="connsiteX1" fmla="*/ 198120 w 922020"/>
                    <a:gd name="connsiteY1" fmla="*/ 25401 h 1762760"/>
                    <a:gd name="connsiteX2" fmla="*/ 358140 w 922020"/>
                    <a:gd name="connsiteY2" fmla="*/ 139700 h 1762760"/>
                    <a:gd name="connsiteX3" fmla="*/ 289560 w 922020"/>
                    <a:gd name="connsiteY3" fmla="*/ 513080 h 1762760"/>
                    <a:gd name="connsiteX4" fmla="*/ 487680 w 922020"/>
                    <a:gd name="connsiteY4" fmla="*/ 749300 h 1762760"/>
                    <a:gd name="connsiteX5" fmla="*/ 662940 w 922020"/>
                    <a:gd name="connsiteY5" fmla="*/ 1069340 h 1762760"/>
                    <a:gd name="connsiteX6" fmla="*/ 746760 w 922020"/>
                    <a:gd name="connsiteY6" fmla="*/ 1328420 h 1762760"/>
                    <a:gd name="connsiteX7" fmla="*/ 830580 w 922020"/>
                    <a:gd name="connsiteY7" fmla="*/ 1610360 h 1762760"/>
                    <a:gd name="connsiteX8" fmla="*/ 922020 w 922020"/>
                    <a:gd name="connsiteY8" fmla="*/ 1762760 h 1762760"/>
                    <a:gd name="connsiteX9" fmla="*/ 830580 w 922020"/>
                    <a:gd name="connsiteY9" fmla="*/ 1656080 h 1762760"/>
                    <a:gd name="connsiteX10" fmla="*/ 739140 w 922020"/>
                    <a:gd name="connsiteY10" fmla="*/ 1473200 h 1762760"/>
                    <a:gd name="connsiteX11" fmla="*/ 655320 w 922020"/>
                    <a:gd name="connsiteY11" fmla="*/ 1168400 h 1762760"/>
                    <a:gd name="connsiteX12" fmla="*/ 495300 w 922020"/>
                    <a:gd name="connsiteY12" fmla="*/ 977900 h 1762760"/>
                    <a:gd name="connsiteX13" fmla="*/ 304800 w 922020"/>
                    <a:gd name="connsiteY13" fmla="*/ 909320 h 1762760"/>
                    <a:gd name="connsiteX14" fmla="*/ 175260 w 922020"/>
                    <a:gd name="connsiteY14" fmla="*/ 894080 h 1762760"/>
                    <a:gd name="connsiteX15" fmla="*/ 198120 w 922020"/>
                    <a:gd name="connsiteY15" fmla="*/ 688340 h 1762760"/>
                    <a:gd name="connsiteX16" fmla="*/ 38100 w 922020"/>
                    <a:gd name="connsiteY16" fmla="*/ 375920 h 1762760"/>
                    <a:gd name="connsiteX17" fmla="*/ 0 w 922020"/>
                    <a:gd name="connsiteY17" fmla="*/ 48260 h 1762760"/>
                    <a:gd name="connsiteX0" fmla="*/ 0 w 922020"/>
                    <a:gd name="connsiteY0" fmla="*/ 48260 h 1762760"/>
                    <a:gd name="connsiteX1" fmla="*/ 198120 w 922020"/>
                    <a:gd name="connsiteY1" fmla="*/ 25401 h 1762760"/>
                    <a:gd name="connsiteX2" fmla="*/ 335280 w 922020"/>
                    <a:gd name="connsiteY2" fmla="*/ 63500 h 1762760"/>
                    <a:gd name="connsiteX3" fmla="*/ 289560 w 922020"/>
                    <a:gd name="connsiteY3" fmla="*/ 513080 h 1762760"/>
                    <a:gd name="connsiteX4" fmla="*/ 487680 w 922020"/>
                    <a:gd name="connsiteY4" fmla="*/ 749300 h 1762760"/>
                    <a:gd name="connsiteX5" fmla="*/ 662940 w 922020"/>
                    <a:gd name="connsiteY5" fmla="*/ 1069340 h 1762760"/>
                    <a:gd name="connsiteX6" fmla="*/ 746760 w 922020"/>
                    <a:gd name="connsiteY6" fmla="*/ 1328420 h 1762760"/>
                    <a:gd name="connsiteX7" fmla="*/ 830580 w 922020"/>
                    <a:gd name="connsiteY7" fmla="*/ 1610360 h 1762760"/>
                    <a:gd name="connsiteX8" fmla="*/ 922020 w 922020"/>
                    <a:gd name="connsiteY8" fmla="*/ 1762760 h 1762760"/>
                    <a:gd name="connsiteX9" fmla="*/ 830580 w 922020"/>
                    <a:gd name="connsiteY9" fmla="*/ 1656080 h 1762760"/>
                    <a:gd name="connsiteX10" fmla="*/ 739140 w 922020"/>
                    <a:gd name="connsiteY10" fmla="*/ 1473200 h 1762760"/>
                    <a:gd name="connsiteX11" fmla="*/ 655320 w 922020"/>
                    <a:gd name="connsiteY11" fmla="*/ 1168400 h 1762760"/>
                    <a:gd name="connsiteX12" fmla="*/ 495300 w 922020"/>
                    <a:gd name="connsiteY12" fmla="*/ 977900 h 1762760"/>
                    <a:gd name="connsiteX13" fmla="*/ 304800 w 922020"/>
                    <a:gd name="connsiteY13" fmla="*/ 909320 h 1762760"/>
                    <a:gd name="connsiteX14" fmla="*/ 175260 w 922020"/>
                    <a:gd name="connsiteY14" fmla="*/ 894080 h 1762760"/>
                    <a:gd name="connsiteX15" fmla="*/ 198120 w 922020"/>
                    <a:gd name="connsiteY15" fmla="*/ 688340 h 1762760"/>
                    <a:gd name="connsiteX16" fmla="*/ 38100 w 922020"/>
                    <a:gd name="connsiteY16" fmla="*/ 375920 h 1762760"/>
                    <a:gd name="connsiteX17" fmla="*/ 0 w 922020"/>
                    <a:gd name="connsiteY17" fmla="*/ 48260 h 1762760"/>
                    <a:gd name="connsiteX0" fmla="*/ 0 w 922020"/>
                    <a:gd name="connsiteY0" fmla="*/ 48260 h 1762760"/>
                    <a:gd name="connsiteX1" fmla="*/ 198120 w 922020"/>
                    <a:gd name="connsiteY1" fmla="*/ 25401 h 1762760"/>
                    <a:gd name="connsiteX2" fmla="*/ 335280 w 922020"/>
                    <a:gd name="connsiteY2" fmla="*/ 63500 h 1762760"/>
                    <a:gd name="connsiteX3" fmla="*/ 289560 w 922020"/>
                    <a:gd name="connsiteY3" fmla="*/ 513080 h 1762760"/>
                    <a:gd name="connsiteX4" fmla="*/ 487680 w 922020"/>
                    <a:gd name="connsiteY4" fmla="*/ 749300 h 1762760"/>
                    <a:gd name="connsiteX5" fmla="*/ 662940 w 922020"/>
                    <a:gd name="connsiteY5" fmla="*/ 1069340 h 1762760"/>
                    <a:gd name="connsiteX6" fmla="*/ 746760 w 922020"/>
                    <a:gd name="connsiteY6" fmla="*/ 1328420 h 1762760"/>
                    <a:gd name="connsiteX7" fmla="*/ 830580 w 922020"/>
                    <a:gd name="connsiteY7" fmla="*/ 1610360 h 1762760"/>
                    <a:gd name="connsiteX8" fmla="*/ 922020 w 922020"/>
                    <a:gd name="connsiteY8" fmla="*/ 1762760 h 1762760"/>
                    <a:gd name="connsiteX9" fmla="*/ 830580 w 922020"/>
                    <a:gd name="connsiteY9" fmla="*/ 1656080 h 1762760"/>
                    <a:gd name="connsiteX10" fmla="*/ 739140 w 922020"/>
                    <a:gd name="connsiteY10" fmla="*/ 1473200 h 1762760"/>
                    <a:gd name="connsiteX11" fmla="*/ 655320 w 922020"/>
                    <a:gd name="connsiteY11" fmla="*/ 1168400 h 1762760"/>
                    <a:gd name="connsiteX12" fmla="*/ 495300 w 922020"/>
                    <a:gd name="connsiteY12" fmla="*/ 977900 h 1762760"/>
                    <a:gd name="connsiteX13" fmla="*/ 304800 w 922020"/>
                    <a:gd name="connsiteY13" fmla="*/ 909320 h 1762760"/>
                    <a:gd name="connsiteX14" fmla="*/ 175260 w 922020"/>
                    <a:gd name="connsiteY14" fmla="*/ 894080 h 1762760"/>
                    <a:gd name="connsiteX15" fmla="*/ 198120 w 922020"/>
                    <a:gd name="connsiteY15" fmla="*/ 688340 h 1762760"/>
                    <a:gd name="connsiteX16" fmla="*/ 38100 w 922020"/>
                    <a:gd name="connsiteY16" fmla="*/ 375920 h 1762760"/>
                    <a:gd name="connsiteX17" fmla="*/ 0 w 922020"/>
                    <a:gd name="connsiteY17" fmla="*/ 48260 h 1762760"/>
                    <a:gd name="connsiteX0" fmla="*/ 0 w 922020"/>
                    <a:gd name="connsiteY0" fmla="*/ 48260 h 1762760"/>
                    <a:gd name="connsiteX1" fmla="*/ 198120 w 922020"/>
                    <a:gd name="connsiteY1" fmla="*/ 25401 h 1762760"/>
                    <a:gd name="connsiteX2" fmla="*/ 335280 w 922020"/>
                    <a:gd name="connsiteY2" fmla="*/ 63500 h 1762760"/>
                    <a:gd name="connsiteX3" fmla="*/ 289560 w 922020"/>
                    <a:gd name="connsiteY3" fmla="*/ 513080 h 1762760"/>
                    <a:gd name="connsiteX4" fmla="*/ 487680 w 922020"/>
                    <a:gd name="connsiteY4" fmla="*/ 749300 h 1762760"/>
                    <a:gd name="connsiteX5" fmla="*/ 662940 w 922020"/>
                    <a:gd name="connsiteY5" fmla="*/ 1069340 h 1762760"/>
                    <a:gd name="connsiteX6" fmla="*/ 746760 w 922020"/>
                    <a:gd name="connsiteY6" fmla="*/ 1328420 h 1762760"/>
                    <a:gd name="connsiteX7" fmla="*/ 830580 w 922020"/>
                    <a:gd name="connsiteY7" fmla="*/ 1610360 h 1762760"/>
                    <a:gd name="connsiteX8" fmla="*/ 922020 w 922020"/>
                    <a:gd name="connsiteY8" fmla="*/ 1762760 h 1762760"/>
                    <a:gd name="connsiteX9" fmla="*/ 830580 w 922020"/>
                    <a:gd name="connsiteY9" fmla="*/ 1656080 h 1762760"/>
                    <a:gd name="connsiteX10" fmla="*/ 739140 w 922020"/>
                    <a:gd name="connsiteY10" fmla="*/ 1473200 h 1762760"/>
                    <a:gd name="connsiteX11" fmla="*/ 655320 w 922020"/>
                    <a:gd name="connsiteY11" fmla="*/ 1168400 h 1762760"/>
                    <a:gd name="connsiteX12" fmla="*/ 495300 w 922020"/>
                    <a:gd name="connsiteY12" fmla="*/ 977900 h 1762760"/>
                    <a:gd name="connsiteX13" fmla="*/ 304800 w 922020"/>
                    <a:gd name="connsiteY13" fmla="*/ 909320 h 1762760"/>
                    <a:gd name="connsiteX14" fmla="*/ 175260 w 922020"/>
                    <a:gd name="connsiteY14" fmla="*/ 894080 h 1762760"/>
                    <a:gd name="connsiteX15" fmla="*/ 198120 w 922020"/>
                    <a:gd name="connsiteY15" fmla="*/ 688340 h 1762760"/>
                    <a:gd name="connsiteX16" fmla="*/ 38100 w 922020"/>
                    <a:gd name="connsiteY16" fmla="*/ 375920 h 1762760"/>
                    <a:gd name="connsiteX17" fmla="*/ 76200 w 922020"/>
                    <a:gd name="connsiteY17" fmla="*/ 124461 h 1762760"/>
                    <a:gd name="connsiteX18" fmla="*/ 0 w 922020"/>
                    <a:gd name="connsiteY18" fmla="*/ 48260 h 1762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2020" h="1762760">
                      <a:moveTo>
                        <a:pt x="0" y="48260"/>
                      </a:moveTo>
                      <a:cubicBezTo>
                        <a:pt x="72390" y="0"/>
                        <a:pt x="142240" y="22861"/>
                        <a:pt x="198120" y="25401"/>
                      </a:cubicBezTo>
                      <a:cubicBezTo>
                        <a:pt x="254000" y="27941"/>
                        <a:pt x="320040" y="7620"/>
                        <a:pt x="335280" y="63500"/>
                      </a:cubicBezTo>
                      <a:cubicBezTo>
                        <a:pt x="220980" y="198120"/>
                        <a:pt x="304800" y="363220"/>
                        <a:pt x="289560" y="513080"/>
                      </a:cubicBezTo>
                      <a:cubicBezTo>
                        <a:pt x="489344" y="743599"/>
                        <a:pt x="487680" y="640845"/>
                        <a:pt x="487680" y="749300"/>
                      </a:cubicBezTo>
                      <a:lnTo>
                        <a:pt x="662940" y="1069340"/>
                      </a:lnTo>
                      <a:cubicBezTo>
                        <a:pt x="747563" y="1323210"/>
                        <a:pt x="746760" y="1232446"/>
                        <a:pt x="746760" y="1328420"/>
                      </a:cubicBezTo>
                      <a:lnTo>
                        <a:pt x="830580" y="1610360"/>
                      </a:lnTo>
                      <a:lnTo>
                        <a:pt x="922020" y="1762760"/>
                      </a:lnTo>
                      <a:cubicBezTo>
                        <a:pt x="828857" y="1661834"/>
                        <a:pt x="830580" y="1708637"/>
                        <a:pt x="830580" y="1656080"/>
                      </a:cubicBezTo>
                      <a:lnTo>
                        <a:pt x="739140" y="1473200"/>
                      </a:lnTo>
                      <a:cubicBezTo>
                        <a:pt x="662048" y="1172540"/>
                        <a:pt x="735252" y="1248332"/>
                        <a:pt x="655320" y="1168400"/>
                      </a:cubicBezTo>
                      <a:cubicBezTo>
                        <a:pt x="500620" y="982760"/>
                        <a:pt x="559030" y="1041630"/>
                        <a:pt x="495300" y="977900"/>
                      </a:cubicBezTo>
                      <a:lnTo>
                        <a:pt x="304800" y="909320"/>
                      </a:lnTo>
                      <a:lnTo>
                        <a:pt x="175260" y="894080"/>
                      </a:lnTo>
                      <a:lnTo>
                        <a:pt x="198120" y="688340"/>
                      </a:lnTo>
                      <a:lnTo>
                        <a:pt x="38100" y="375920"/>
                      </a:lnTo>
                      <a:lnTo>
                        <a:pt x="76200" y="124461"/>
                      </a:lnTo>
                      <a:lnTo>
                        <a:pt x="0" y="4826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97" name="Group 110"/>
              <p:cNvGrpSpPr/>
              <p:nvPr/>
            </p:nvGrpSpPr>
            <p:grpSpPr>
              <a:xfrm>
                <a:off x="3921952" y="1195748"/>
                <a:ext cx="1637757" cy="1989786"/>
                <a:chOff x="-358302" y="-6117673"/>
                <a:chExt cx="8626002" cy="10480123"/>
              </a:xfrm>
              <a:grpFill/>
            </p:grpSpPr>
            <p:sp>
              <p:nvSpPr>
                <p:cNvPr id="216" name="Freeform 215"/>
                <p:cNvSpPr/>
                <p:nvPr/>
              </p:nvSpPr>
              <p:spPr>
                <a:xfrm>
                  <a:off x="-342900" y="-6117673"/>
                  <a:ext cx="8610600" cy="10480123"/>
                </a:xfrm>
                <a:custGeom>
                  <a:avLst/>
                  <a:gdLst>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66750 w 8610600"/>
                    <a:gd name="connsiteY68" fmla="*/ 6784423 h 10480123"/>
                    <a:gd name="connsiteX69" fmla="*/ 952500 w 8610600"/>
                    <a:gd name="connsiteY69" fmla="*/ 678442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048000 w 8610600"/>
                    <a:gd name="connsiteY73" fmla="*/ 7203523 h 10480123"/>
                    <a:gd name="connsiteX74" fmla="*/ 3009900 w 8610600"/>
                    <a:gd name="connsiteY74" fmla="*/ 7394023 h 10480123"/>
                    <a:gd name="connsiteX75" fmla="*/ 3143250 w 8610600"/>
                    <a:gd name="connsiteY75" fmla="*/ 7432123 h 10480123"/>
                    <a:gd name="connsiteX76" fmla="*/ 3276600 w 8610600"/>
                    <a:gd name="connsiteY76" fmla="*/ 7432123 h 10480123"/>
                    <a:gd name="connsiteX77" fmla="*/ 3295650 w 8610600"/>
                    <a:gd name="connsiteY77" fmla="*/ 7546423 h 10480123"/>
                    <a:gd name="connsiteX78" fmla="*/ 3371850 w 8610600"/>
                    <a:gd name="connsiteY78" fmla="*/ 7603573 h 10480123"/>
                    <a:gd name="connsiteX79" fmla="*/ 3657600 w 8610600"/>
                    <a:gd name="connsiteY79" fmla="*/ 7641673 h 10480123"/>
                    <a:gd name="connsiteX80" fmla="*/ 3657600 w 8610600"/>
                    <a:gd name="connsiteY80" fmla="*/ 7641673 h 10480123"/>
                    <a:gd name="connsiteX81" fmla="*/ 3676650 w 8610600"/>
                    <a:gd name="connsiteY81" fmla="*/ 7813123 h 10480123"/>
                    <a:gd name="connsiteX82" fmla="*/ 3924300 w 8610600"/>
                    <a:gd name="connsiteY82" fmla="*/ 7851223 h 10480123"/>
                    <a:gd name="connsiteX83" fmla="*/ 4324350 w 8610600"/>
                    <a:gd name="connsiteY83" fmla="*/ 7832173 h 10480123"/>
                    <a:gd name="connsiteX84" fmla="*/ 4724400 w 8610600"/>
                    <a:gd name="connsiteY84" fmla="*/ 7717873 h 10480123"/>
                    <a:gd name="connsiteX85" fmla="*/ 5029200 w 8610600"/>
                    <a:gd name="connsiteY85" fmla="*/ 7698823 h 10480123"/>
                    <a:gd name="connsiteX86" fmla="*/ 5181600 w 8610600"/>
                    <a:gd name="connsiteY86" fmla="*/ 7660723 h 10480123"/>
                    <a:gd name="connsiteX87" fmla="*/ 5391150 w 8610600"/>
                    <a:gd name="connsiteY87" fmla="*/ 7584523 h 10480123"/>
                    <a:gd name="connsiteX88" fmla="*/ 5657850 w 8610600"/>
                    <a:gd name="connsiteY88" fmla="*/ 7584523 h 10480123"/>
                    <a:gd name="connsiteX89" fmla="*/ 5867400 w 8610600"/>
                    <a:gd name="connsiteY89" fmla="*/ 7698823 h 10480123"/>
                    <a:gd name="connsiteX90" fmla="*/ 5753100 w 8610600"/>
                    <a:gd name="connsiteY90" fmla="*/ 7279723 h 10480123"/>
                    <a:gd name="connsiteX91" fmla="*/ 5581650 w 8610600"/>
                    <a:gd name="connsiteY91" fmla="*/ 6955873 h 10480123"/>
                    <a:gd name="connsiteX92" fmla="*/ 5391150 w 8610600"/>
                    <a:gd name="connsiteY92" fmla="*/ 6670123 h 10480123"/>
                    <a:gd name="connsiteX93" fmla="*/ 5257800 w 8610600"/>
                    <a:gd name="connsiteY93" fmla="*/ 6574873 h 10480123"/>
                    <a:gd name="connsiteX94" fmla="*/ 4876800 w 8610600"/>
                    <a:gd name="connsiteY94" fmla="*/ 6498673 h 10480123"/>
                    <a:gd name="connsiteX95" fmla="*/ 4629150 w 8610600"/>
                    <a:gd name="connsiteY95" fmla="*/ 6346273 h 10480123"/>
                    <a:gd name="connsiteX96" fmla="*/ 4286250 w 8610600"/>
                    <a:gd name="connsiteY96" fmla="*/ 6384373 h 10480123"/>
                    <a:gd name="connsiteX97" fmla="*/ 3886200 w 8610600"/>
                    <a:gd name="connsiteY97" fmla="*/ 6536773 h 10480123"/>
                    <a:gd name="connsiteX98" fmla="*/ 3600450 w 8610600"/>
                    <a:gd name="connsiteY98" fmla="*/ 6670123 h 10480123"/>
                    <a:gd name="connsiteX99" fmla="*/ 3181350 w 8610600"/>
                    <a:gd name="connsiteY99" fmla="*/ 5774773 h 10480123"/>
                    <a:gd name="connsiteX100" fmla="*/ 2724150 w 8610600"/>
                    <a:gd name="connsiteY100" fmla="*/ 4860373 h 10480123"/>
                    <a:gd name="connsiteX101" fmla="*/ 2381250 w 8610600"/>
                    <a:gd name="connsiteY101" fmla="*/ 4288873 h 10480123"/>
                    <a:gd name="connsiteX102" fmla="*/ 1962150 w 8610600"/>
                    <a:gd name="connsiteY102" fmla="*/ 3869773 h 10480123"/>
                    <a:gd name="connsiteX103" fmla="*/ 1619250 w 8610600"/>
                    <a:gd name="connsiteY103" fmla="*/ 3545923 h 10480123"/>
                    <a:gd name="connsiteX104" fmla="*/ 1009650 w 8610600"/>
                    <a:gd name="connsiteY104" fmla="*/ 3507823 h 10480123"/>
                    <a:gd name="connsiteX105" fmla="*/ 762000 w 8610600"/>
                    <a:gd name="connsiteY105" fmla="*/ 3545923 h 10480123"/>
                    <a:gd name="connsiteX106" fmla="*/ 838200 w 8610600"/>
                    <a:gd name="connsiteY106" fmla="*/ 2917273 h 10480123"/>
                    <a:gd name="connsiteX107" fmla="*/ 838200 w 8610600"/>
                    <a:gd name="connsiteY107" fmla="*/ 2479123 h 10480123"/>
                    <a:gd name="connsiteX108" fmla="*/ 971550 w 8610600"/>
                    <a:gd name="connsiteY108" fmla="*/ 1964773 h 10480123"/>
                    <a:gd name="connsiteX109" fmla="*/ 1028700 w 8610600"/>
                    <a:gd name="connsiteY109" fmla="*/ 1412323 h 10480123"/>
                    <a:gd name="connsiteX110" fmla="*/ 1295400 w 8610600"/>
                    <a:gd name="connsiteY110" fmla="*/ 859873 h 10480123"/>
                    <a:gd name="connsiteX111" fmla="*/ 1562100 w 8610600"/>
                    <a:gd name="connsiteY111" fmla="*/ 745573 h 10480123"/>
                    <a:gd name="connsiteX112" fmla="*/ 1809750 w 8610600"/>
                    <a:gd name="connsiteY112" fmla="*/ 726523 h 10480123"/>
                    <a:gd name="connsiteX113" fmla="*/ 2190750 w 8610600"/>
                    <a:gd name="connsiteY113" fmla="*/ 574123 h 10480123"/>
                    <a:gd name="connsiteX114" fmla="*/ 2457450 w 8610600"/>
                    <a:gd name="connsiteY114" fmla="*/ 478873 h 10480123"/>
                    <a:gd name="connsiteX115" fmla="*/ 2838450 w 8610600"/>
                    <a:gd name="connsiteY115" fmla="*/ 421723 h 10480123"/>
                    <a:gd name="connsiteX116" fmla="*/ 3219450 w 8610600"/>
                    <a:gd name="connsiteY116" fmla="*/ 174073 h 10480123"/>
                    <a:gd name="connsiteX117" fmla="*/ 2857500 w 8610600"/>
                    <a:gd name="connsiteY117" fmla="*/ 440773 h 10480123"/>
                    <a:gd name="connsiteX118" fmla="*/ 2381250 w 8610600"/>
                    <a:gd name="connsiteY118" fmla="*/ 707473 h 10480123"/>
                    <a:gd name="connsiteX119" fmla="*/ 2286000 w 8610600"/>
                    <a:gd name="connsiteY119" fmla="*/ 821773 h 10480123"/>
                    <a:gd name="connsiteX120" fmla="*/ 2400300 w 8610600"/>
                    <a:gd name="connsiteY120" fmla="*/ 840823 h 10480123"/>
                    <a:gd name="connsiteX121" fmla="*/ 2686050 w 8610600"/>
                    <a:gd name="connsiteY121" fmla="*/ 764623 h 10480123"/>
                    <a:gd name="connsiteX122" fmla="*/ 2895600 w 8610600"/>
                    <a:gd name="connsiteY122" fmla="*/ 707473 h 10480123"/>
                    <a:gd name="connsiteX123" fmla="*/ 3143250 w 8610600"/>
                    <a:gd name="connsiteY123" fmla="*/ 555073 h 10480123"/>
                    <a:gd name="connsiteX124" fmla="*/ 3143250 w 8610600"/>
                    <a:gd name="connsiteY124" fmla="*/ 669373 h 10480123"/>
                    <a:gd name="connsiteX125" fmla="*/ 3143250 w 8610600"/>
                    <a:gd name="connsiteY125" fmla="*/ 955123 h 10480123"/>
                    <a:gd name="connsiteX126" fmla="*/ 3314700 w 8610600"/>
                    <a:gd name="connsiteY126" fmla="*/ 1202773 h 10480123"/>
                    <a:gd name="connsiteX127" fmla="*/ 3067050 w 8610600"/>
                    <a:gd name="connsiteY127" fmla="*/ 2802973 h 10480123"/>
                    <a:gd name="connsiteX128" fmla="*/ 3009900 w 8610600"/>
                    <a:gd name="connsiteY128" fmla="*/ 3488773 h 10480123"/>
                    <a:gd name="connsiteX129" fmla="*/ 3162300 w 8610600"/>
                    <a:gd name="connsiteY129" fmla="*/ 4574623 h 10480123"/>
                    <a:gd name="connsiteX130" fmla="*/ 3314700 w 8610600"/>
                    <a:gd name="connsiteY130" fmla="*/ 5355673 h 10480123"/>
                    <a:gd name="connsiteX131" fmla="*/ 3429000 w 8610600"/>
                    <a:gd name="connsiteY131" fmla="*/ 6079573 h 10480123"/>
                    <a:gd name="connsiteX132" fmla="*/ 3714750 w 8610600"/>
                    <a:gd name="connsiteY132" fmla="*/ 5679523 h 10480123"/>
                    <a:gd name="connsiteX133" fmla="*/ 3886200 w 8610600"/>
                    <a:gd name="connsiteY133" fmla="*/ 5355673 h 10480123"/>
                    <a:gd name="connsiteX134" fmla="*/ 3981450 w 8610600"/>
                    <a:gd name="connsiteY134" fmla="*/ 4974673 h 10480123"/>
                    <a:gd name="connsiteX135" fmla="*/ 4248150 w 8610600"/>
                    <a:gd name="connsiteY135" fmla="*/ 4555573 h 10480123"/>
                    <a:gd name="connsiteX136" fmla="*/ 4476750 w 8610600"/>
                    <a:gd name="connsiteY136" fmla="*/ 4041223 h 10480123"/>
                    <a:gd name="connsiteX137" fmla="*/ 4876800 w 8610600"/>
                    <a:gd name="connsiteY137" fmla="*/ 3203023 h 10480123"/>
                    <a:gd name="connsiteX138" fmla="*/ 5181600 w 8610600"/>
                    <a:gd name="connsiteY138" fmla="*/ 2402923 h 10480123"/>
                    <a:gd name="connsiteX139" fmla="*/ 5410200 w 8610600"/>
                    <a:gd name="connsiteY139" fmla="*/ 1679023 h 10480123"/>
                    <a:gd name="connsiteX140" fmla="*/ 5638800 w 8610600"/>
                    <a:gd name="connsiteY140" fmla="*/ 993223 h 10480123"/>
                    <a:gd name="connsiteX141" fmla="*/ 6057900 w 8610600"/>
                    <a:gd name="connsiteY141" fmla="*/ 1336123 h 10480123"/>
                    <a:gd name="connsiteX142" fmla="*/ 6076950 w 8610600"/>
                    <a:gd name="connsiteY142" fmla="*/ 1583773 h 10480123"/>
                    <a:gd name="connsiteX143" fmla="*/ 6153150 w 8610600"/>
                    <a:gd name="connsiteY143" fmla="*/ 1659973 h 10480123"/>
                    <a:gd name="connsiteX144" fmla="*/ 6229350 w 8610600"/>
                    <a:gd name="connsiteY144" fmla="*/ 1488523 h 10480123"/>
                    <a:gd name="connsiteX145" fmla="*/ 6286500 w 8610600"/>
                    <a:gd name="connsiteY145" fmla="*/ 1164673 h 10480123"/>
                    <a:gd name="connsiteX146" fmla="*/ 6229350 w 8610600"/>
                    <a:gd name="connsiteY146" fmla="*/ 707473 h 10480123"/>
                    <a:gd name="connsiteX147" fmla="*/ 6096000 w 8610600"/>
                    <a:gd name="connsiteY147" fmla="*/ 193123 h 10480123"/>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66750 w 8610600"/>
                    <a:gd name="connsiteY68" fmla="*/ 6784423 h 10480123"/>
                    <a:gd name="connsiteX69" fmla="*/ 952500 w 8610600"/>
                    <a:gd name="connsiteY69" fmla="*/ 678442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048000 w 8610600"/>
                    <a:gd name="connsiteY73" fmla="*/ 7203523 h 10480123"/>
                    <a:gd name="connsiteX74" fmla="*/ 3009900 w 8610600"/>
                    <a:gd name="connsiteY74" fmla="*/ 7394023 h 10480123"/>
                    <a:gd name="connsiteX75" fmla="*/ 3143250 w 8610600"/>
                    <a:gd name="connsiteY75" fmla="*/ 7432123 h 10480123"/>
                    <a:gd name="connsiteX76" fmla="*/ 3276600 w 8610600"/>
                    <a:gd name="connsiteY76" fmla="*/ 7432123 h 10480123"/>
                    <a:gd name="connsiteX77" fmla="*/ 3295650 w 8610600"/>
                    <a:gd name="connsiteY77" fmla="*/ 7546423 h 10480123"/>
                    <a:gd name="connsiteX78" fmla="*/ 3371850 w 8610600"/>
                    <a:gd name="connsiteY78" fmla="*/ 7603573 h 10480123"/>
                    <a:gd name="connsiteX79" fmla="*/ 3657600 w 8610600"/>
                    <a:gd name="connsiteY79" fmla="*/ 7641673 h 10480123"/>
                    <a:gd name="connsiteX80" fmla="*/ 3657600 w 8610600"/>
                    <a:gd name="connsiteY80" fmla="*/ 7641673 h 10480123"/>
                    <a:gd name="connsiteX81" fmla="*/ 3676650 w 8610600"/>
                    <a:gd name="connsiteY81" fmla="*/ 7813123 h 10480123"/>
                    <a:gd name="connsiteX82" fmla="*/ 3924300 w 8610600"/>
                    <a:gd name="connsiteY82" fmla="*/ 7851223 h 10480123"/>
                    <a:gd name="connsiteX83" fmla="*/ 4324350 w 8610600"/>
                    <a:gd name="connsiteY83" fmla="*/ 7832173 h 10480123"/>
                    <a:gd name="connsiteX84" fmla="*/ 4724400 w 8610600"/>
                    <a:gd name="connsiteY84" fmla="*/ 7717873 h 10480123"/>
                    <a:gd name="connsiteX85" fmla="*/ 5029200 w 8610600"/>
                    <a:gd name="connsiteY85" fmla="*/ 7698823 h 10480123"/>
                    <a:gd name="connsiteX86" fmla="*/ 5181600 w 8610600"/>
                    <a:gd name="connsiteY86" fmla="*/ 7660723 h 10480123"/>
                    <a:gd name="connsiteX87" fmla="*/ 5391150 w 8610600"/>
                    <a:gd name="connsiteY87" fmla="*/ 7584523 h 10480123"/>
                    <a:gd name="connsiteX88" fmla="*/ 5657850 w 8610600"/>
                    <a:gd name="connsiteY88" fmla="*/ 7584523 h 10480123"/>
                    <a:gd name="connsiteX89" fmla="*/ 5867400 w 8610600"/>
                    <a:gd name="connsiteY89" fmla="*/ 7698823 h 10480123"/>
                    <a:gd name="connsiteX90" fmla="*/ 5753100 w 8610600"/>
                    <a:gd name="connsiteY90" fmla="*/ 7279723 h 10480123"/>
                    <a:gd name="connsiteX91" fmla="*/ 5581650 w 8610600"/>
                    <a:gd name="connsiteY91" fmla="*/ 6955873 h 10480123"/>
                    <a:gd name="connsiteX92" fmla="*/ 5391150 w 8610600"/>
                    <a:gd name="connsiteY92" fmla="*/ 6670123 h 10480123"/>
                    <a:gd name="connsiteX93" fmla="*/ 5257800 w 8610600"/>
                    <a:gd name="connsiteY93" fmla="*/ 6574873 h 10480123"/>
                    <a:gd name="connsiteX94" fmla="*/ 4876800 w 8610600"/>
                    <a:gd name="connsiteY94" fmla="*/ 6498673 h 10480123"/>
                    <a:gd name="connsiteX95" fmla="*/ 4629150 w 8610600"/>
                    <a:gd name="connsiteY95" fmla="*/ 6346273 h 10480123"/>
                    <a:gd name="connsiteX96" fmla="*/ 4286250 w 8610600"/>
                    <a:gd name="connsiteY96" fmla="*/ 6384373 h 10480123"/>
                    <a:gd name="connsiteX97" fmla="*/ 3886200 w 8610600"/>
                    <a:gd name="connsiteY97" fmla="*/ 6536773 h 10480123"/>
                    <a:gd name="connsiteX98" fmla="*/ 3600450 w 8610600"/>
                    <a:gd name="connsiteY98" fmla="*/ 6670123 h 10480123"/>
                    <a:gd name="connsiteX99" fmla="*/ 3181350 w 8610600"/>
                    <a:gd name="connsiteY99" fmla="*/ 5774773 h 10480123"/>
                    <a:gd name="connsiteX100" fmla="*/ 2724150 w 8610600"/>
                    <a:gd name="connsiteY100" fmla="*/ 4860373 h 10480123"/>
                    <a:gd name="connsiteX101" fmla="*/ 2381250 w 8610600"/>
                    <a:gd name="connsiteY101" fmla="*/ 4288873 h 10480123"/>
                    <a:gd name="connsiteX102" fmla="*/ 1962150 w 8610600"/>
                    <a:gd name="connsiteY102" fmla="*/ 3869773 h 10480123"/>
                    <a:gd name="connsiteX103" fmla="*/ 1619250 w 8610600"/>
                    <a:gd name="connsiteY103" fmla="*/ 3545923 h 10480123"/>
                    <a:gd name="connsiteX104" fmla="*/ 1009650 w 8610600"/>
                    <a:gd name="connsiteY104" fmla="*/ 3507823 h 10480123"/>
                    <a:gd name="connsiteX105" fmla="*/ 762000 w 8610600"/>
                    <a:gd name="connsiteY105" fmla="*/ 3545923 h 10480123"/>
                    <a:gd name="connsiteX106" fmla="*/ 838200 w 8610600"/>
                    <a:gd name="connsiteY106" fmla="*/ 2917273 h 10480123"/>
                    <a:gd name="connsiteX107" fmla="*/ 838200 w 8610600"/>
                    <a:gd name="connsiteY107" fmla="*/ 2479123 h 10480123"/>
                    <a:gd name="connsiteX108" fmla="*/ 971550 w 8610600"/>
                    <a:gd name="connsiteY108" fmla="*/ 1964773 h 10480123"/>
                    <a:gd name="connsiteX109" fmla="*/ 1028700 w 8610600"/>
                    <a:gd name="connsiteY109" fmla="*/ 1412323 h 10480123"/>
                    <a:gd name="connsiteX110" fmla="*/ 1295400 w 8610600"/>
                    <a:gd name="connsiteY110" fmla="*/ 859873 h 10480123"/>
                    <a:gd name="connsiteX111" fmla="*/ 1562100 w 8610600"/>
                    <a:gd name="connsiteY111" fmla="*/ 745573 h 10480123"/>
                    <a:gd name="connsiteX112" fmla="*/ 1809750 w 8610600"/>
                    <a:gd name="connsiteY112" fmla="*/ 726523 h 10480123"/>
                    <a:gd name="connsiteX113" fmla="*/ 2190750 w 8610600"/>
                    <a:gd name="connsiteY113" fmla="*/ 574123 h 10480123"/>
                    <a:gd name="connsiteX114" fmla="*/ 2457450 w 8610600"/>
                    <a:gd name="connsiteY114" fmla="*/ 478873 h 10480123"/>
                    <a:gd name="connsiteX115" fmla="*/ 2838450 w 8610600"/>
                    <a:gd name="connsiteY115" fmla="*/ 421723 h 10480123"/>
                    <a:gd name="connsiteX116" fmla="*/ 3219450 w 8610600"/>
                    <a:gd name="connsiteY116" fmla="*/ 174073 h 10480123"/>
                    <a:gd name="connsiteX117" fmla="*/ 2857500 w 8610600"/>
                    <a:gd name="connsiteY117" fmla="*/ 440773 h 10480123"/>
                    <a:gd name="connsiteX118" fmla="*/ 2381250 w 8610600"/>
                    <a:gd name="connsiteY118" fmla="*/ 707473 h 10480123"/>
                    <a:gd name="connsiteX119" fmla="*/ 2286000 w 8610600"/>
                    <a:gd name="connsiteY119" fmla="*/ 821773 h 10480123"/>
                    <a:gd name="connsiteX120" fmla="*/ 2400300 w 8610600"/>
                    <a:gd name="connsiteY120" fmla="*/ 840823 h 10480123"/>
                    <a:gd name="connsiteX121" fmla="*/ 2686050 w 8610600"/>
                    <a:gd name="connsiteY121" fmla="*/ 764623 h 10480123"/>
                    <a:gd name="connsiteX122" fmla="*/ 2895600 w 8610600"/>
                    <a:gd name="connsiteY122" fmla="*/ 707473 h 10480123"/>
                    <a:gd name="connsiteX123" fmla="*/ 3143250 w 8610600"/>
                    <a:gd name="connsiteY123" fmla="*/ 555073 h 10480123"/>
                    <a:gd name="connsiteX124" fmla="*/ 3143250 w 8610600"/>
                    <a:gd name="connsiteY124" fmla="*/ 669373 h 10480123"/>
                    <a:gd name="connsiteX125" fmla="*/ 3143250 w 8610600"/>
                    <a:gd name="connsiteY125" fmla="*/ 955123 h 10480123"/>
                    <a:gd name="connsiteX126" fmla="*/ 3314700 w 8610600"/>
                    <a:gd name="connsiteY126" fmla="*/ 1202773 h 10480123"/>
                    <a:gd name="connsiteX127" fmla="*/ 3067050 w 8610600"/>
                    <a:gd name="connsiteY127" fmla="*/ 2802973 h 10480123"/>
                    <a:gd name="connsiteX128" fmla="*/ 3009900 w 8610600"/>
                    <a:gd name="connsiteY128" fmla="*/ 3488773 h 10480123"/>
                    <a:gd name="connsiteX129" fmla="*/ 3162300 w 8610600"/>
                    <a:gd name="connsiteY129" fmla="*/ 4574623 h 10480123"/>
                    <a:gd name="connsiteX130" fmla="*/ 3314700 w 8610600"/>
                    <a:gd name="connsiteY130" fmla="*/ 5355673 h 10480123"/>
                    <a:gd name="connsiteX131" fmla="*/ 3429000 w 8610600"/>
                    <a:gd name="connsiteY131" fmla="*/ 6079573 h 10480123"/>
                    <a:gd name="connsiteX132" fmla="*/ 3714750 w 8610600"/>
                    <a:gd name="connsiteY132" fmla="*/ 5679523 h 10480123"/>
                    <a:gd name="connsiteX133" fmla="*/ 3886200 w 8610600"/>
                    <a:gd name="connsiteY133" fmla="*/ 5355673 h 10480123"/>
                    <a:gd name="connsiteX134" fmla="*/ 3981450 w 8610600"/>
                    <a:gd name="connsiteY134" fmla="*/ 4974673 h 10480123"/>
                    <a:gd name="connsiteX135" fmla="*/ 4248150 w 8610600"/>
                    <a:gd name="connsiteY135" fmla="*/ 4555573 h 10480123"/>
                    <a:gd name="connsiteX136" fmla="*/ 4476750 w 8610600"/>
                    <a:gd name="connsiteY136" fmla="*/ 4041223 h 10480123"/>
                    <a:gd name="connsiteX137" fmla="*/ 4876800 w 8610600"/>
                    <a:gd name="connsiteY137" fmla="*/ 3203023 h 10480123"/>
                    <a:gd name="connsiteX138" fmla="*/ 5181600 w 8610600"/>
                    <a:gd name="connsiteY138" fmla="*/ 2402923 h 10480123"/>
                    <a:gd name="connsiteX139" fmla="*/ 5410200 w 8610600"/>
                    <a:gd name="connsiteY139" fmla="*/ 1679023 h 10480123"/>
                    <a:gd name="connsiteX140" fmla="*/ 5638800 w 8610600"/>
                    <a:gd name="connsiteY140" fmla="*/ 993223 h 10480123"/>
                    <a:gd name="connsiteX141" fmla="*/ 6057900 w 8610600"/>
                    <a:gd name="connsiteY141" fmla="*/ 1336123 h 10480123"/>
                    <a:gd name="connsiteX142" fmla="*/ 6076950 w 8610600"/>
                    <a:gd name="connsiteY142" fmla="*/ 1583773 h 10480123"/>
                    <a:gd name="connsiteX143" fmla="*/ 6153150 w 8610600"/>
                    <a:gd name="connsiteY143" fmla="*/ 1659973 h 10480123"/>
                    <a:gd name="connsiteX144" fmla="*/ 6229350 w 8610600"/>
                    <a:gd name="connsiteY144" fmla="*/ 1488523 h 10480123"/>
                    <a:gd name="connsiteX145" fmla="*/ 6286500 w 8610600"/>
                    <a:gd name="connsiteY145" fmla="*/ 1164673 h 10480123"/>
                    <a:gd name="connsiteX146" fmla="*/ 6229350 w 8610600"/>
                    <a:gd name="connsiteY146" fmla="*/ 707473 h 10480123"/>
                    <a:gd name="connsiteX147" fmla="*/ 6096000 w 8610600"/>
                    <a:gd name="connsiteY147" fmla="*/ 193123 h 10480123"/>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66750 w 8610600"/>
                    <a:gd name="connsiteY68" fmla="*/ 6784423 h 10480123"/>
                    <a:gd name="connsiteX69" fmla="*/ 952500 w 8610600"/>
                    <a:gd name="connsiteY69" fmla="*/ 678442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048000 w 8610600"/>
                    <a:gd name="connsiteY73" fmla="*/ 7203523 h 10480123"/>
                    <a:gd name="connsiteX74" fmla="*/ 3009900 w 8610600"/>
                    <a:gd name="connsiteY74" fmla="*/ 7394023 h 10480123"/>
                    <a:gd name="connsiteX75" fmla="*/ 3143250 w 8610600"/>
                    <a:gd name="connsiteY75" fmla="*/ 7432123 h 10480123"/>
                    <a:gd name="connsiteX76" fmla="*/ 3276600 w 8610600"/>
                    <a:gd name="connsiteY76" fmla="*/ 7432123 h 10480123"/>
                    <a:gd name="connsiteX77" fmla="*/ 3295650 w 8610600"/>
                    <a:gd name="connsiteY77" fmla="*/ 7546423 h 10480123"/>
                    <a:gd name="connsiteX78" fmla="*/ 3371850 w 8610600"/>
                    <a:gd name="connsiteY78" fmla="*/ 7603573 h 10480123"/>
                    <a:gd name="connsiteX79" fmla="*/ 3657600 w 8610600"/>
                    <a:gd name="connsiteY79" fmla="*/ 7641673 h 10480123"/>
                    <a:gd name="connsiteX80" fmla="*/ 3657600 w 8610600"/>
                    <a:gd name="connsiteY80" fmla="*/ 7641673 h 10480123"/>
                    <a:gd name="connsiteX81" fmla="*/ 3676650 w 8610600"/>
                    <a:gd name="connsiteY81" fmla="*/ 7813123 h 10480123"/>
                    <a:gd name="connsiteX82" fmla="*/ 3924300 w 8610600"/>
                    <a:gd name="connsiteY82" fmla="*/ 7851223 h 10480123"/>
                    <a:gd name="connsiteX83" fmla="*/ 4324350 w 8610600"/>
                    <a:gd name="connsiteY83" fmla="*/ 7832173 h 10480123"/>
                    <a:gd name="connsiteX84" fmla="*/ 4724400 w 8610600"/>
                    <a:gd name="connsiteY84" fmla="*/ 7717873 h 10480123"/>
                    <a:gd name="connsiteX85" fmla="*/ 5029200 w 8610600"/>
                    <a:gd name="connsiteY85" fmla="*/ 7698823 h 10480123"/>
                    <a:gd name="connsiteX86" fmla="*/ 5181600 w 8610600"/>
                    <a:gd name="connsiteY86" fmla="*/ 7660723 h 10480123"/>
                    <a:gd name="connsiteX87" fmla="*/ 5391150 w 8610600"/>
                    <a:gd name="connsiteY87" fmla="*/ 7584523 h 10480123"/>
                    <a:gd name="connsiteX88" fmla="*/ 5657850 w 8610600"/>
                    <a:gd name="connsiteY88" fmla="*/ 7584523 h 10480123"/>
                    <a:gd name="connsiteX89" fmla="*/ 5867400 w 8610600"/>
                    <a:gd name="connsiteY89" fmla="*/ 7698823 h 10480123"/>
                    <a:gd name="connsiteX90" fmla="*/ 5753100 w 8610600"/>
                    <a:gd name="connsiteY90" fmla="*/ 7279723 h 10480123"/>
                    <a:gd name="connsiteX91" fmla="*/ 5581650 w 8610600"/>
                    <a:gd name="connsiteY91" fmla="*/ 6955873 h 10480123"/>
                    <a:gd name="connsiteX92" fmla="*/ 5391150 w 8610600"/>
                    <a:gd name="connsiteY92" fmla="*/ 6670123 h 10480123"/>
                    <a:gd name="connsiteX93" fmla="*/ 5257800 w 8610600"/>
                    <a:gd name="connsiteY93" fmla="*/ 6574873 h 10480123"/>
                    <a:gd name="connsiteX94" fmla="*/ 4910138 w 8610600"/>
                    <a:gd name="connsiteY94" fmla="*/ 6546298 h 10480123"/>
                    <a:gd name="connsiteX95" fmla="*/ 4629150 w 8610600"/>
                    <a:gd name="connsiteY95" fmla="*/ 6346273 h 10480123"/>
                    <a:gd name="connsiteX96" fmla="*/ 4286250 w 8610600"/>
                    <a:gd name="connsiteY96" fmla="*/ 6384373 h 10480123"/>
                    <a:gd name="connsiteX97" fmla="*/ 3886200 w 8610600"/>
                    <a:gd name="connsiteY97" fmla="*/ 6536773 h 10480123"/>
                    <a:gd name="connsiteX98" fmla="*/ 3600450 w 8610600"/>
                    <a:gd name="connsiteY98" fmla="*/ 6670123 h 10480123"/>
                    <a:gd name="connsiteX99" fmla="*/ 3181350 w 8610600"/>
                    <a:gd name="connsiteY99" fmla="*/ 5774773 h 10480123"/>
                    <a:gd name="connsiteX100" fmla="*/ 2724150 w 8610600"/>
                    <a:gd name="connsiteY100" fmla="*/ 4860373 h 10480123"/>
                    <a:gd name="connsiteX101" fmla="*/ 2381250 w 8610600"/>
                    <a:gd name="connsiteY101" fmla="*/ 4288873 h 10480123"/>
                    <a:gd name="connsiteX102" fmla="*/ 1962150 w 8610600"/>
                    <a:gd name="connsiteY102" fmla="*/ 3869773 h 10480123"/>
                    <a:gd name="connsiteX103" fmla="*/ 1619250 w 8610600"/>
                    <a:gd name="connsiteY103" fmla="*/ 3545923 h 10480123"/>
                    <a:gd name="connsiteX104" fmla="*/ 1009650 w 8610600"/>
                    <a:gd name="connsiteY104" fmla="*/ 3507823 h 10480123"/>
                    <a:gd name="connsiteX105" fmla="*/ 762000 w 8610600"/>
                    <a:gd name="connsiteY105" fmla="*/ 3545923 h 10480123"/>
                    <a:gd name="connsiteX106" fmla="*/ 838200 w 8610600"/>
                    <a:gd name="connsiteY106" fmla="*/ 2917273 h 10480123"/>
                    <a:gd name="connsiteX107" fmla="*/ 838200 w 8610600"/>
                    <a:gd name="connsiteY107" fmla="*/ 2479123 h 10480123"/>
                    <a:gd name="connsiteX108" fmla="*/ 971550 w 8610600"/>
                    <a:gd name="connsiteY108" fmla="*/ 1964773 h 10480123"/>
                    <a:gd name="connsiteX109" fmla="*/ 1028700 w 8610600"/>
                    <a:gd name="connsiteY109" fmla="*/ 1412323 h 10480123"/>
                    <a:gd name="connsiteX110" fmla="*/ 1295400 w 8610600"/>
                    <a:gd name="connsiteY110" fmla="*/ 859873 h 10480123"/>
                    <a:gd name="connsiteX111" fmla="*/ 1562100 w 8610600"/>
                    <a:gd name="connsiteY111" fmla="*/ 745573 h 10480123"/>
                    <a:gd name="connsiteX112" fmla="*/ 1809750 w 8610600"/>
                    <a:gd name="connsiteY112" fmla="*/ 726523 h 10480123"/>
                    <a:gd name="connsiteX113" fmla="*/ 2190750 w 8610600"/>
                    <a:gd name="connsiteY113" fmla="*/ 574123 h 10480123"/>
                    <a:gd name="connsiteX114" fmla="*/ 2457450 w 8610600"/>
                    <a:gd name="connsiteY114" fmla="*/ 478873 h 10480123"/>
                    <a:gd name="connsiteX115" fmla="*/ 2838450 w 8610600"/>
                    <a:gd name="connsiteY115" fmla="*/ 421723 h 10480123"/>
                    <a:gd name="connsiteX116" fmla="*/ 3219450 w 8610600"/>
                    <a:gd name="connsiteY116" fmla="*/ 174073 h 10480123"/>
                    <a:gd name="connsiteX117" fmla="*/ 2857500 w 8610600"/>
                    <a:gd name="connsiteY117" fmla="*/ 440773 h 10480123"/>
                    <a:gd name="connsiteX118" fmla="*/ 2381250 w 8610600"/>
                    <a:gd name="connsiteY118" fmla="*/ 707473 h 10480123"/>
                    <a:gd name="connsiteX119" fmla="*/ 2286000 w 8610600"/>
                    <a:gd name="connsiteY119" fmla="*/ 821773 h 10480123"/>
                    <a:gd name="connsiteX120" fmla="*/ 2400300 w 8610600"/>
                    <a:gd name="connsiteY120" fmla="*/ 840823 h 10480123"/>
                    <a:gd name="connsiteX121" fmla="*/ 2686050 w 8610600"/>
                    <a:gd name="connsiteY121" fmla="*/ 764623 h 10480123"/>
                    <a:gd name="connsiteX122" fmla="*/ 2895600 w 8610600"/>
                    <a:gd name="connsiteY122" fmla="*/ 707473 h 10480123"/>
                    <a:gd name="connsiteX123" fmla="*/ 3143250 w 8610600"/>
                    <a:gd name="connsiteY123" fmla="*/ 555073 h 10480123"/>
                    <a:gd name="connsiteX124" fmla="*/ 3143250 w 8610600"/>
                    <a:gd name="connsiteY124" fmla="*/ 669373 h 10480123"/>
                    <a:gd name="connsiteX125" fmla="*/ 3143250 w 8610600"/>
                    <a:gd name="connsiteY125" fmla="*/ 955123 h 10480123"/>
                    <a:gd name="connsiteX126" fmla="*/ 3314700 w 8610600"/>
                    <a:gd name="connsiteY126" fmla="*/ 1202773 h 10480123"/>
                    <a:gd name="connsiteX127" fmla="*/ 3067050 w 8610600"/>
                    <a:gd name="connsiteY127" fmla="*/ 2802973 h 10480123"/>
                    <a:gd name="connsiteX128" fmla="*/ 3009900 w 8610600"/>
                    <a:gd name="connsiteY128" fmla="*/ 3488773 h 10480123"/>
                    <a:gd name="connsiteX129" fmla="*/ 3162300 w 8610600"/>
                    <a:gd name="connsiteY129" fmla="*/ 4574623 h 10480123"/>
                    <a:gd name="connsiteX130" fmla="*/ 3314700 w 8610600"/>
                    <a:gd name="connsiteY130" fmla="*/ 5355673 h 10480123"/>
                    <a:gd name="connsiteX131" fmla="*/ 3429000 w 8610600"/>
                    <a:gd name="connsiteY131" fmla="*/ 6079573 h 10480123"/>
                    <a:gd name="connsiteX132" fmla="*/ 3714750 w 8610600"/>
                    <a:gd name="connsiteY132" fmla="*/ 5679523 h 10480123"/>
                    <a:gd name="connsiteX133" fmla="*/ 3886200 w 8610600"/>
                    <a:gd name="connsiteY133" fmla="*/ 5355673 h 10480123"/>
                    <a:gd name="connsiteX134" fmla="*/ 3981450 w 8610600"/>
                    <a:gd name="connsiteY134" fmla="*/ 4974673 h 10480123"/>
                    <a:gd name="connsiteX135" fmla="*/ 4248150 w 8610600"/>
                    <a:gd name="connsiteY135" fmla="*/ 4555573 h 10480123"/>
                    <a:gd name="connsiteX136" fmla="*/ 4476750 w 8610600"/>
                    <a:gd name="connsiteY136" fmla="*/ 4041223 h 10480123"/>
                    <a:gd name="connsiteX137" fmla="*/ 4876800 w 8610600"/>
                    <a:gd name="connsiteY137" fmla="*/ 3203023 h 10480123"/>
                    <a:gd name="connsiteX138" fmla="*/ 5181600 w 8610600"/>
                    <a:gd name="connsiteY138" fmla="*/ 2402923 h 10480123"/>
                    <a:gd name="connsiteX139" fmla="*/ 5410200 w 8610600"/>
                    <a:gd name="connsiteY139" fmla="*/ 1679023 h 10480123"/>
                    <a:gd name="connsiteX140" fmla="*/ 5638800 w 8610600"/>
                    <a:gd name="connsiteY140" fmla="*/ 993223 h 10480123"/>
                    <a:gd name="connsiteX141" fmla="*/ 6057900 w 8610600"/>
                    <a:gd name="connsiteY141" fmla="*/ 1336123 h 10480123"/>
                    <a:gd name="connsiteX142" fmla="*/ 6076950 w 8610600"/>
                    <a:gd name="connsiteY142" fmla="*/ 1583773 h 10480123"/>
                    <a:gd name="connsiteX143" fmla="*/ 6153150 w 8610600"/>
                    <a:gd name="connsiteY143" fmla="*/ 1659973 h 10480123"/>
                    <a:gd name="connsiteX144" fmla="*/ 6229350 w 8610600"/>
                    <a:gd name="connsiteY144" fmla="*/ 1488523 h 10480123"/>
                    <a:gd name="connsiteX145" fmla="*/ 6286500 w 8610600"/>
                    <a:gd name="connsiteY145" fmla="*/ 1164673 h 10480123"/>
                    <a:gd name="connsiteX146" fmla="*/ 6229350 w 8610600"/>
                    <a:gd name="connsiteY146" fmla="*/ 707473 h 10480123"/>
                    <a:gd name="connsiteX147" fmla="*/ 6096000 w 8610600"/>
                    <a:gd name="connsiteY147" fmla="*/ 193123 h 10480123"/>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66750 w 8610600"/>
                    <a:gd name="connsiteY68" fmla="*/ 6784423 h 10480123"/>
                    <a:gd name="connsiteX69" fmla="*/ 952500 w 8610600"/>
                    <a:gd name="connsiteY69" fmla="*/ 678442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048000 w 8610600"/>
                    <a:gd name="connsiteY73" fmla="*/ 7203523 h 10480123"/>
                    <a:gd name="connsiteX74" fmla="*/ 3009900 w 8610600"/>
                    <a:gd name="connsiteY74" fmla="*/ 7394023 h 10480123"/>
                    <a:gd name="connsiteX75" fmla="*/ 3143250 w 8610600"/>
                    <a:gd name="connsiteY75" fmla="*/ 7432123 h 10480123"/>
                    <a:gd name="connsiteX76" fmla="*/ 3276600 w 8610600"/>
                    <a:gd name="connsiteY76" fmla="*/ 7432123 h 10480123"/>
                    <a:gd name="connsiteX77" fmla="*/ 3295650 w 8610600"/>
                    <a:gd name="connsiteY77" fmla="*/ 7546423 h 10480123"/>
                    <a:gd name="connsiteX78" fmla="*/ 3371850 w 8610600"/>
                    <a:gd name="connsiteY78" fmla="*/ 7603573 h 10480123"/>
                    <a:gd name="connsiteX79" fmla="*/ 3657600 w 8610600"/>
                    <a:gd name="connsiteY79" fmla="*/ 7641673 h 10480123"/>
                    <a:gd name="connsiteX80" fmla="*/ 3657600 w 8610600"/>
                    <a:gd name="connsiteY80" fmla="*/ 7641673 h 10480123"/>
                    <a:gd name="connsiteX81" fmla="*/ 3676650 w 8610600"/>
                    <a:gd name="connsiteY81" fmla="*/ 7813123 h 10480123"/>
                    <a:gd name="connsiteX82" fmla="*/ 3924300 w 8610600"/>
                    <a:gd name="connsiteY82" fmla="*/ 7851223 h 10480123"/>
                    <a:gd name="connsiteX83" fmla="*/ 4324350 w 8610600"/>
                    <a:gd name="connsiteY83" fmla="*/ 7832173 h 10480123"/>
                    <a:gd name="connsiteX84" fmla="*/ 4724400 w 8610600"/>
                    <a:gd name="connsiteY84" fmla="*/ 7717873 h 10480123"/>
                    <a:gd name="connsiteX85" fmla="*/ 5029200 w 8610600"/>
                    <a:gd name="connsiteY85" fmla="*/ 7698823 h 10480123"/>
                    <a:gd name="connsiteX86" fmla="*/ 5181600 w 8610600"/>
                    <a:gd name="connsiteY86" fmla="*/ 7660723 h 10480123"/>
                    <a:gd name="connsiteX87" fmla="*/ 5391150 w 8610600"/>
                    <a:gd name="connsiteY87" fmla="*/ 7584523 h 10480123"/>
                    <a:gd name="connsiteX88" fmla="*/ 5657850 w 8610600"/>
                    <a:gd name="connsiteY88" fmla="*/ 7584523 h 10480123"/>
                    <a:gd name="connsiteX89" fmla="*/ 5867400 w 8610600"/>
                    <a:gd name="connsiteY89" fmla="*/ 7698823 h 10480123"/>
                    <a:gd name="connsiteX90" fmla="*/ 5753100 w 8610600"/>
                    <a:gd name="connsiteY90" fmla="*/ 7279723 h 10480123"/>
                    <a:gd name="connsiteX91" fmla="*/ 5581650 w 8610600"/>
                    <a:gd name="connsiteY91" fmla="*/ 6955873 h 10480123"/>
                    <a:gd name="connsiteX92" fmla="*/ 5391150 w 8610600"/>
                    <a:gd name="connsiteY92" fmla="*/ 6670123 h 10480123"/>
                    <a:gd name="connsiteX93" fmla="*/ 5281613 w 8610600"/>
                    <a:gd name="connsiteY93" fmla="*/ 6617736 h 10480123"/>
                    <a:gd name="connsiteX94" fmla="*/ 4910138 w 8610600"/>
                    <a:gd name="connsiteY94" fmla="*/ 6546298 h 10480123"/>
                    <a:gd name="connsiteX95" fmla="*/ 4629150 w 8610600"/>
                    <a:gd name="connsiteY95" fmla="*/ 6346273 h 10480123"/>
                    <a:gd name="connsiteX96" fmla="*/ 4286250 w 8610600"/>
                    <a:gd name="connsiteY96" fmla="*/ 6384373 h 10480123"/>
                    <a:gd name="connsiteX97" fmla="*/ 3886200 w 8610600"/>
                    <a:gd name="connsiteY97" fmla="*/ 6536773 h 10480123"/>
                    <a:gd name="connsiteX98" fmla="*/ 3600450 w 8610600"/>
                    <a:gd name="connsiteY98" fmla="*/ 6670123 h 10480123"/>
                    <a:gd name="connsiteX99" fmla="*/ 3181350 w 8610600"/>
                    <a:gd name="connsiteY99" fmla="*/ 5774773 h 10480123"/>
                    <a:gd name="connsiteX100" fmla="*/ 2724150 w 8610600"/>
                    <a:gd name="connsiteY100" fmla="*/ 4860373 h 10480123"/>
                    <a:gd name="connsiteX101" fmla="*/ 2381250 w 8610600"/>
                    <a:gd name="connsiteY101" fmla="*/ 4288873 h 10480123"/>
                    <a:gd name="connsiteX102" fmla="*/ 1962150 w 8610600"/>
                    <a:gd name="connsiteY102" fmla="*/ 3869773 h 10480123"/>
                    <a:gd name="connsiteX103" fmla="*/ 1619250 w 8610600"/>
                    <a:gd name="connsiteY103" fmla="*/ 3545923 h 10480123"/>
                    <a:gd name="connsiteX104" fmla="*/ 1009650 w 8610600"/>
                    <a:gd name="connsiteY104" fmla="*/ 3507823 h 10480123"/>
                    <a:gd name="connsiteX105" fmla="*/ 762000 w 8610600"/>
                    <a:gd name="connsiteY105" fmla="*/ 3545923 h 10480123"/>
                    <a:gd name="connsiteX106" fmla="*/ 838200 w 8610600"/>
                    <a:gd name="connsiteY106" fmla="*/ 2917273 h 10480123"/>
                    <a:gd name="connsiteX107" fmla="*/ 838200 w 8610600"/>
                    <a:gd name="connsiteY107" fmla="*/ 2479123 h 10480123"/>
                    <a:gd name="connsiteX108" fmla="*/ 971550 w 8610600"/>
                    <a:gd name="connsiteY108" fmla="*/ 1964773 h 10480123"/>
                    <a:gd name="connsiteX109" fmla="*/ 1028700 w 8610600"/>
                    <a:gd name="connsiteY109" fmla="*/ 1412323 h 10480123"/>
                    <a:gd name="connsiteX110" fmla="*/ 1295400 w 8610600"/>
                    <a:gd name="connsiteY110" fmla="*/ 859873 h 10480123"/>
                    <a:gd name="connsiteX111" fmla="*/ 1562100 w 8610600"/>
                    <a:gd name="connsiteY111" fmla="*/ 745573 h 10480123"/>
                    <a:gd name="connsiteX112" fmla="*/ 1809750 w 8610600"/>
                    <a:gd name="connsiteY112" fmla="*/ 726523 h 10480123"/>
                    <a:gd name="connsiteX113" fmla="*/ 2190750 w 8610600"/>
                    <a:gd name="connsiteY113" fmla="*/ 574123 h 10480123"/>
                    <a:gd name="connsiteX114" fmla="*/ 2457450 w 8610600"/>
                    <a:gd name="connsiteY114" fmla="*/ 478873 h 10480123"/>
                    <a:gd name="connsiteX115" fmla="*/ 2838450 w 8610600"/>
                    <a:gd name="connsiteY115" fmla="*/ 421723 h 10480123"/>
                    <a:gd name="connsiteX116" fmla="*/ 3219450 w 8610600"/>
                    <a:gd name="connsiteY116" fmla="*/ 174073 h 10480123"/>
                    <a:gd name="connsiteX117" fmla="*/ 2857500 w 8610600"/>
                    <a:gd name="connsiteY117" fmla="*/ 440773 h 10480123"/>
                    <a:gd name="connsiteX118" fmla="*/ 2381250 w 8610600"/>
                    <a:gd name="connsiteY118" fmla="*/ 707473 h 10480123"/>
                    <a:gd name="connsiteX119" fmla="*/ 2286000 w 8610600"/>
                    <a:gd name="connsiteY119" fmla="*/ 821773 h 10480123"/>
                    <a:gd name="connsiteX120" fmla="*/ 2400300 w 8610600"/>
                    <a:gd name="connsiteY120" fmla="*/ 840823 h 10480123"/>
                    <a:gd name="connsiteX121" fmla="*/ 2686050 w 8610600"/>
                    <a:gd name="connsiteY121" fmla="*/ 764623 h 10480123"/>
                    <a:gd name="connsiteX122" fmla="*/ 2895600 w 8610600"/>
                    <a:gd name="connsiteY122" fmla="*/ 707473 h 10480123"/>
                    <a:gd name="connsiteX123" fmla="*/ 3143250 w 8610600"/>
                    <a:gd name="connsiteY123" fmla="*/ 555073 h 10480123"/>
                    <a:gd name="connsiteX124" fmla="*/ 3143250 w 8610600"/>
                    <a:gd name="connsiteY124" fmla="*/ 669373 h 10480123"/>
                    <a:gd name="connsiteX125" fmla="*/ 3143250 w 8610600"/>
                    <a:gd name="connsiteY125" fmla="*/ 955123 h 10480123"/>
                    <a:gd name="connsiteX126" fmla="*/ 3314700 w 8610600"/>
                    <a:gd name="connsiteY126" fmla="*/ 1202773 h 10480123"/>
                    <a:gd name="connsiteX127" fmla="*/ 3067050 w 8610600"/>
                    <a:gd name="connsiteY127" fmla="*/ 2802973 h 10480123"/>
                    <a:gd name="connsiteX128" fmla="*/ 3009900 w 8610600"/>
                    <a:gd name="connsiteY128" fmla="*/ 3488773 h 10480123"/>
                    <a:gd name="connsiteX129" fmla="*/ 3162300 w 8610600"/>
                    <a:gd name="connsiteY129" fmla="*/ 4574623 h 10480123"/>
                    <a:gd name="connsiteX130" fmla="*/ 3314700 w 8610600"/>
                    <a:gd name="connsiteY130" fmla="*/ 5355673 h 10480123"/>
                    <a:gd name="connsiteX131" fmla="*/ 3429000 w 8610600"/>
                    <a:gd name="connsiteY131" fmla="*/ 6079573 h 10480123"/>
                    <a:gd name="connsiteX132" fmla="*/ 3714750 w 8610600"/>
                    <a:gd name="connsiteY132" fmla="*/ 5679523 h 10480123"/>
                    <a:gd name="connsiteX133" fmla="*/ 3886200 w 8610600"/>
                    <a:gd name="connsiteY133" fmla="*/ 5355673 h 10480123"/>
                    <a:gd name="connsiteX134" fmla="*/ 3981450 w 8610600"/>
                    <a:gd name="connsiteY134" fmla="*/ 4974673 h 10480123"/>
                    <a:gd name="connsiteX135" fmla="*/ 4248150 w 8610600"/>
                    <a:gd name="connsiteY135" fmla="*/ 4555573 h 10480123"/>
                    <a:gd name="connsiteX136" fmla="*/ 4476750 w 8610600"/>
                    <a:gd name="connsiteY136" fmla="*/ 4041223 h 10480123"/>
                    <a:gd name="connsiteX137" fmla="*/ 4876800 w 8610600"/>
                    <a:gd name="connsiteY137" fmla="*/ 3203023 h 10480123"/>
                    <a:gd name="connsiteX138" fmla="*/ 5181600 w 8610600"/>
                    <a:gd name="connsiteY138" fmla="*/ 2402923 h 10480123"/>
                    <a:gd name="connsiteX139" fmla="*/ 5410200 w 8610600"/>
                    <a:gd name="connsiteY139" fmla="*/ 1679023 h 10480123"/>
                    <a:gd name="connsiteX140" fmla="*/ 5638800 w 8610600"/>
                    <a:gd name="connsiteY140" fmla="*/ 993223 h 10480123"/>
                    <a:gd name="connsiteX141" fmla="*/ 6057900 w 8610600"/>
                    <a:gd name="connsiteY141" fmla="*/ 1336123 h 10480123"/>
                    <a:gd name="connsiteX142" fmla="*/ 6076950 w 8610600"/>
                    <a:gd name="connsiteY142" fmla="*/ 1583773 h 10480123"/>
                    <a:gd name="connsiteX143" fmla="*/ 6153150 w 8610600"/>
                    <a:gd name="connsiteY143" fmla="*/ 1659973 h 10480123"/>
                    <a:gd name="connsiteX144" fmla="*/ 6229350 w 8610600"/>
                    <a:gd name="connsiteY144" fmla="*/ 1488523 h 10480123"/>
                    <a:gd name="connsiteX145" fmla="*/ 6286500 w 8610600"/>
                    <a:gd name="connsiteY145" fmla="*/ 1164673 h 10480123"/>
                    <a:gd name="connsiteX146" fmla="*/ 6229350 w 8610600"/>
                    <a:gd name="connsiteY146" fmla="*/ 707473 h 10480123"/>
                    <a:gd name="connsiteX147" fmla="*/ 6096000 w 8610600"/>
                    <a:gd name="connsiteY147" fmla="*/ 193123 h 10480123"/>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66750 w 8610600"/>
                    <a:gd name="connsiteY68" fmla="*/ 6784423 h 10480123"/>
                    <a:gd name="connsiteX69" fmla="*/ 952500 w 8610600"/>
                    <a:gd name="connsiteY69" fmla="*/ 678442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048000 w 8610600"/>
                    <a:gd name="connsiteY73" fmla="*/ 7203523 h 10480123"/>
                    <a:gd name="connsiteX74" fmla="*/ 3009900 w 8610600"/>
                    <a:gd name="connsiteY74" fmla="*/ 7394023 h 10480123"/>
                    <a:gd name="connsiteX75" fmla="*/ 3143250 w 8610600"/>
                    <a:gd name="connsiteY75" fmla="*/ 7432123 h 10480123"/>
                    <a:gd name="connsiteX76" fmla="*/ 3276600 w 8610600"/>
                    <a:gd name="connsiteY76" fmla="*/ 7432123 h 10480123"/>
                    <a:gd name="connsiteX77" fmla="*/ 3295650 w 8610600"/>
                    <a:gd name="connsiteY77" fmla="*/ 7546423 h 10480123"/>
                    <a:gd name="connsiteX78" fmla="*/ 3371850 w 8610600"/>
                    <a:gd name="connsiteY78" fmla="*/ 7603573 h 10480123"/>
                    <a:gd name="connsiteX79" fmla="*/ 3657600 w 8610600"/>
                    <a:gd name="connsiteY79" fmla="*/ 7641673 h 10480123"/>
                    <a:gd name="connsiteX80" fmla="*/ 3657600 w 8610600"/>
                    <a:gd name="connsiteY80" fmla="*/ 7641673 h 10480123"/>
                    <a:gd name="connsiteX81" fmla="*/ 3676650 w 8610600"/>
                    <a:gd name="connsiteY81" fmla="*/ 7813123 h 10480123"/>
                    <a:gd name="connsiteX82" fmla="*/ 3924300 w 8610600"/>
                    <a:gd name="connsiteY82" fmla="*/ 7851223 h 10480123"/>
                    <a:gd name="connsiteX83" fmla="*/ 4324350 w 8610600"/>
                    <a:gd name="connsiteY83" fmla="*/ 7832173 h 10480123"/>
                    <a:gd name="connsiteX84" fmla="*/ 4724400 w 8610600"/>
                    <a:gd name="connsiteY84" fmla="*/ 7717873 h 10480123"/>
                    <a:gd name="connsiteX85" fmla="*/ 5029200 w 8610600"/>
                    <a:gd name="connsiteY85" fmla="*/ 7698823 h 10480123"/>
                    <a:gd name="connsiteX86" fmla="*/ 5181600 w 8610600"/>
                    <a:gd name="connsiteY86" fmla="*/ 7660723 h 10480123"/>
                    <a:gd name="connsiteX87" fmla="*/ 5391150 w 8610600"/>
                    <a:gd name="connsiteY87" fmla="*/ 7584523 h 10480123"/>
                    <a:gd name="connsiteX88" fmla="*/ 5657850 w 8610600"/>
                    <a:gd name="connsiteY88" fmla="*/ 7584523 h 10480123"/>
                    <a:gd name="connsiteX89" fmla="*/ 5867400 w 8610600"/>
                    <a:gd name="connsiteY89" fmla="*/ 7698823 h 10480123"/>
                    <a:gd name="connsiteX90" fmla="*/ 5753100 w 8610600"/>
                    <a:gd name="connsiteY90" fmla="*/ 7279723 h 10480123"/>
                    <a:gd name="connsiteX91" fmla="*/ 5581650 w 8610600"/>
                    <a:gd name="connsiteY91" fmla="*/ 6955873 h 10480123"/>
                    <a:gd name="connsiteX92" fmla="*/ 5391150 w 8610600"/>
                    <a:gd name="connsiteY92" fmla="*/ 6670123 h 10480123"/>
                    <a:gd name="connsiteX93" fmla="*/ 5281613 w 8610600"/>
                    <a:gd name="connsiteY93" fmla="*/ 6617736 h 10480123"/>
                    <a:gd name="connsiteX94" fmla="*/ 4910138 w 8610600"/>
                    <a:gd name="connsiteY94" fmla="*/ 6546298 h 10480123"/>
                    <a:gd name="connsiteX95" fmla="*/ 4629150 w 8610600"/>
                    <a:gd name="connsiteY95" fmla="*/ 6346273 h 10480123"/>
                    <a:gd name="connsiteX96" fmla="*/ 4286250 w 8610600"/>
                    <a:gd name="connsiteY96" fmla="*/ 6384373 h 10480123"/>
                    <a:gd name="connsiteX97" fmla="*/ 3886200 w 8610600"/>
                    <a:gd name="connsiteY97" fmla="*/ 6536773 h 10480123"/>
                    <a:gd name="connsiteX98" fmla="*/ 3600450 w 8610600"/>
                    <a:gd name="connsiteY98" fmla="*/ 6670123 h 10480123"/>
                    <a:gd name="connsiteX99" fmla="*/ 3181350 w 8610600"/>
                    <a:gd name="connsiteY99" fmla="*/ 5774773 h 10480123"/>
                    <a:gd name="connsiteX100" fmla="*/ 2724150 w 8610600"/>
                    <a:gd name="connsiteY100" fmla="*/ 4860373 h 10480123"/>
                    <a:gd name="connsiteX101" fmla="*/ 2381250 w 8610600"/>
                    <a:gd name="connsiteY101" fmla="*/ 4288873 h 10480123"/>
                    <a:gd name="connsiteX102" fmla="*/ 1962150 w 8610600"/>
                    <a:gd name="connsiteY102" fmla="*/ 3869773 h 10480123"/>
                    <a:gd name="connsiteX103" fmla="*/ 1619250 w 8610600"/>
                    <a:gd name="connsiteY103" fmla="*/ 3545923 h 10480123"/>
                    <a:gd name="connsiteX104" fmla="*/ 1009650 w 8610600"/>
                    <a:gd name="connsiteY104" fmla="*/ 3507823 h 10480123"/>
                    <a:gd name="connsiteX105" fmla="*/ 762000 w 8610600"/>
                    <a:gd name="connsiteY105" fmla="*/ 3545923 h 10480123"/>
                    <a:gd name="connsiteX106" fmla="*/ 838200 w 8610600"/>
                    <a:gd name="connsiteY106" fmla="*/ 2917273 h 10480123"/>
                    <a:gd name="connsiteX107" fmla="*/ 838200 w 8610600"/>
                    <a:gd name="connsiteY107" fmla="*/ 2479123 h 10480123"/>
                    <a:gd name="connsiteX108" fmla="*/ 971550 w 8610600"/>
                    <a:gd name="connsiteY108" fmla="*/ 1964773 h 10480123"/>
                    <a:gd name="connsiteX109" fmla="*/ 1028700 w 8610600"/>
                    <a:gd name="connsiteY109" fmla="*/ 1412323 h 10480123"/>
                    <a:gd name="connsiteX110" fmla="*/ 1295400 w 8610600"/>
                    <a:gd name="connsiteY110" fmla="*/ 859873 h 10480123"/>
                    <a:gd name="connsiteX111" fmla="*/ 1562100 w 8610600"/>
                    <a:gd name="connsiteY111" fmla="*/ 745573 h 10480123"/>
                    <a:gd name="connsiteX112" fmla="*/ 1809750 w 8610600"/>
                    <a:gd name="connsiteY112" fmla="*/ 726523 h 10480123"/>
                    <a:gd name="connsiteX113" fmla="*/ 2190750 w 8610600"/>
                    <a:gd name="connsiteY113" fmla="*/ 574123 h 10480123"/>
                    <a:gd name="connsiteX114" fmla="*/ 2457450 w 8610600"/>
                    <a:gd name="connsiteY114" fmla="*/ 478873 h 10480123"/>
                    <a:gd name="connsiteX115" fmla="*/ 2838450 w 8610600"/>
                    <a:gd name="connsiteY115" fmla="*/ 421723 h 10480123"/>
                    <a:gd name="connsiteX116" fmla="*/ 3219450 w 8610600"/>
                    <a:gd name="connsiteY116" fmla="*/ 174073 h 10480123"/>
                    <a:gd name="connsiteX117" fmla="*/ 2857500 w 8610600"/>
                    <a:gd name="connsiteY117" fmla="*/ 440773 h 10480123"/>
                    <a:gd name="connsiteX118" fmla="*/ 2381250 w 8610600"/>
                    <a:gd name="connsiteY118" fmla="*/ 707473 h 10480123"/>
                    <a:gd name="connsiteX119" fmla="*/ 2286000 w 8610600"/>
                    <a:gd name="connsiteY119" fmla="*/ 821773 h 10480123"/>
                    <a:gd name="connsiteX120" fmla="*/ 2400300 w 8610600"/>
                    <a:gd name="connsiteY120" fmla="*/ 840823 h 10480123"/>
                    <a:gd name="connsiteX121" fmla="*/ 2686050 w 8610600"/>
                    <a:gd name="connsiteY121" fmla="*/ 764623 h 10480123"/>
                    <a:gd name="connsiteX122" fmla="*/ 2895600 w 8610600"/>
                    <a:gd name="connsiteY122" fmla="*/ 707473 h 10480123"/>
                    <a:gd name="connsiteX123" fmla="*/ 3143250 w 8610600"/>
                    <a:gd name="connsiteY123" fmla="*/ 555073 h 10480123"/>
                    <a:gd name="connsiteX124" fmla="*/ 3143250 w 8610600"/>
                    <a:gd name="connsiteY124" fmla="*/ 669373 h 10480123"/>
                    <a:gd name="connsiteX125" fmla="*/ 3143250 w 8610600"/>
                    <a:gd name="connsiteY125" fmla="*/ 955123 h 10480123"/>
                    <a:gd name="connsiteX126" fmla="*/ 3314700 w 8610600"/>
                    <a:gd name="connsiteY126" fmla="*/ 1202773 h 10480123"/>
                    <a:gd name="connsiteX127" fmla="*/ 3067050 w 8610600"/>
                    <a:gd name="connsiteY127" fmla="*/ 2802973 h 10480123"/>
                    <a:gd name="connsiteX128" fmla="*/ 3009900 w 8610600"/>
                    <a:gd name="connsiteY128" fmla="*/ 3488773 h 10480123"/>
                    <a:gd name="connsiteX129" fmla="*/ 3162300 w 8610600"/>
                    <a:gd name="connsiteY129" fmla="*/ 4574623 h 10480123"/>
                    <a:gd name="connsiteX130" fmla="*/ 3314700 w 8610600"/>
                    <a:gd name="connsiteY130" fmla="*/ 5355673 h 10480123"/>
                    <a:gd name="connsiteX131" fmla="*/ 3429000 w 8610600"/>
                    <a:gd name="connsiteY131" fmla="*/ 6079573 h 10480123"/>
                    <a:gd name="connsiteX132" fmla="*/ 3714750 w 8610600"/>
                    <a:gd name="connsiteY132" fmla="*/ 5679523 h 10480123"/>
                    <a:gd name="connsiteX133" fmla="*/ 3886200 w 8610600"/>
                    <a:gd name="connsiteY133" fmla="*/ 5355673 h 10480123"/>
                    <a:gd name="connsiteX134" fmla="*/ 3981450 w 8610600"/>
                    <a:gd name="connsiteY134" fmla="*/ 4974673 h 10480123"/>
                    <a:gd name="connsiteX135" fmla="*/ 4248150 w 8610600"/>
                    <a:gd name="connsiteY135" fmla="*/ 4555573 h 10480123"/>
                    <a:gd name="connsiteX136" fmla="*/ 4476750 w 8610600"/>
                    <a:gd name="connsiteY136" fmla="*/ 4041223 h 10480123"/>
                    <a:gd name="connsiteX137" fmla="*/ 4876800 w 8610600"/>
                    <a:gd name="connsiteY137" fmla="*/ 3203023 h 10480123"/>
                    <a:gd name="connsiteX138" fmla="*/ 5181600 w 8610600"/>
                    <a:gd name="connsiteY138" fmla="*/ 2402923 h 10480123"/>
                    <a:gd name="connsiteX139" fmla="*/ 5410200 w 8610600"/>
                    <a:gd name="connsiteY139" fmla="*/ 1679023 h 10480123"/>
                    <a:gd name="connsiteX140" fmla="*/ 5638800 w 8610600"/>
                    <a:gd name="connsiteY140" fmla="*/ 993223 h 10480123"/>
                    <a:gd name="connsiteX141" fmla="*/ 6057900 w 8610600"/>
                    <a:gd name="connsiteY141" fmla="*/ 1336123 h 10480123"/>
                    <a:gd name="connsiteX142" fmla="*/ 6076950 w 8610600"/>
                    <a:gd name="connsiteY142" fmla="*/ 1583773 h 10480123"/>
                    <a:gd name="connsiteX143" fmla="*/ 6153150 w 8610600"/>
                    <a:gd name="connsiteY143" fmla="*/ 1659973 h 10480123"/>
                    <a:gd name="connsiteX144" fmla="*/ 6229350 w 8610600"/>
                    <a:gd name="connsiteY144" fmla="*/ 1488523 h 10480123"/>
                    <a:gd name="connsiteX145" fmla="*/ 6286500 w 8610600"/>
                    <a:gd name="connsiteY145" fmla="*/ 1164673 h 10480123"/>
                    <a:gd name="connsiteX146" fmla="*/ 6229350 w 8610600"/>
                    <a:gd name="connsiteY146" fmla="*/ 707473 h 10480123"/>
                    <a:gd name="connsiteX147" fmla="*/ 6096000 w 8610600"/>
                    <a:gd name="connsiteY147" fmla="*/ 193123 h 10480123"/>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66750 w 8610600"/>
                    <a:gd name="connsiteY68" fmla="*/ 6784423 h 10480123"/>
                    <a:gd name="connsiteX69" fmla="*/ 952500 w 8610600"/>
                    <a:gd name="connsiteY69" fmla="*/ 678442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048000 w 8610600"/>
                    <a:gd name="connsiteY73" fmla="*/ 7203523 h 10480123"/>
                    <a:gd name="connsiteX74" fmla="*/ 3009900 w 8610600"/>
                    <a:gd name="connsiteY74" fmla="*/ 7394023 h 10480123"/>
                    <a:gd name="connsiteX75" fmla="*/ 3143250 w 8610600"/>
                    <a:gd name="connsiteY75" fmla="*/ 7432123 h 10480123"/>
                    <a:gd name="connsiteX76" fmla="*/ 3276600 w 8610600"/>
                    <a:gd name="connsiteY76" fmla="*/ 7432123 h 10480123"/>
                    <a:gd name="connsiteX77" fmla="*/ 3295650 w 8610600"/>
                    <a:gd name="connsiteY77" fmla="*/ 7546423 h 10480123"/>
                    <a:gd name="connsiteX78" fmla="*/ 3371850 w 8610600"/>
                    <a:gd name="connsiteY78" fmla="*/ 7603573 h 10480123"/>
                    <a:gd name="connsiteX79" fmla="*/ 3657600 w 8610600"/>
                    <a:gd name="connsiteY79" fmla="*/ 7641673 h 10480123"/>
                    <a:gd name="connsiteX80" fmla="*/ 3657600 w 8610600"/>
                    <a:gd name="connsiteY80" fmla="*/ 7641673 h 10480123"/>
                    <a:gd name="connsiteX81" fmla="*/ 3676650 w 8610600"/>
                    <a:gd name="connsiteY81" fmla="*/ 7813123 h 10480123"/>
                    <a:gd name="connsiteX82" fmla="*/ 3924300 w 8610600"/>
                    <a:gd name="connsiteY82" fmla="*/ 7851223 h 10480123"/>
                    <a:gd name="connsiteX83" fmla="*/ 4324350 w 8610600"/>
                    <a:gd name="connsiteY83" fmla="*/ 7832173 h 10480123"/>
                    <a:gd name="connsiteX84" fmla="*/ 4724400 w 8610600"/>
                    <a:gd name="connsiteY84" fmla="*/ 7717873 h 10480123"/>
                    <a:gd name="connsiteX85" fmla="*/ 5029200 w 8610600"/>
                    <a:gd name="connsiteY85" fmla="*/ 7698823 h 10480123"/>
                    <a:gd name="connsiteX86" fmla="*/ 5181600 w 8610600"/>
                    <a:gd name="connsiteY86" fmla="*/ 7660723 h 10480123"/>
                    <a:gd name="connsiteX87" fmla="*/ 5391150 w 8610600"/>
                    <a:gd name="connsiteY87" fmla="*/ 7584523 h 10480123"/>
                    <a:gd name="connsiteX88" fmla="*/ 5657850 w 8610600"/>
                    <a:gd name="connsiteY88" fmla="*/ 7584523 h 10480123"/>
                    <a:gd name="connsiteX89" fmla="*/ 5867400 w 8610600"/>
                    <a:gd name="connsiteY89" fmla="*/ 7698823 h 10480123"/>
                    <a:gd name="connsiteX90" fmla="*/ 5753100 w 8610600"/>
                    <a:gd name="connsiteY90" fmla="*/ 7279723 h 10480123"/>
                    <a:gd name="connsiteX91" fmla="*/ 5581650 w 8610600"/>
                    <a:gd name="connsiteY91" fmla="*/ 6955873 h 10480123"/>
                    <a:gd name="connsiteX92" fmla="*/ 5391150 w 8610600"/>
                    <a:gd name="connsiteY92" fmla="*/ 6670123 h 10480123"/>
                    <a:gd name="connsiteX93" fmla="*/ 5281613 w 8610600"/>
                    <a:gd name="connsiteY93" fmla="*/ 6617736 h 10480123"/>
                    <a:gd name="connsiteX94" fmla="*/ 4910138 w 8610600"/>
                    <a:gd name="connsiteY94" fmla="*/ 6546298 h 10480123"/>
                    <a:gd name="connsiteX95" fmla="*/ 4629150 w 8610600"/>
                    <a:gd name="connsiteY95" fmla="*/ 6346273 h 10480123"/>
                    <a:gd name="connsiteX96" fmla="*/ 4286250 w 8610600"/>
                    <a:gd name="connsiteY96" fmla="*/ 6384373 h 10480123"/>
                    <a:gd name="connsiteX97" fmla="*/ 3874294 w 8610600"/>
                    <a:gd name="connsiteY97" fmla="*/ 6558204 h 10480123"/>
                    <a:gd name="connsiteX98" fmla="*/ 3600450 w 8610600"/>
                    <a:gd name="connsiteY98" fmla="*/ 6670123 h 10480123"/>
                    <a:gd name="connsiteX99" fmla="*/ 3181350 w 8610600"/>
                    <a:gd name="connsiteY99" fmla="*/ 5774773 h 10480123"/>
                    <a:gd name="connsiteX100" fmla="*/ 2724150 w 8610600"/>
                    <a:gd name="connsiteY100" fmla="*/ 4860373 h 10480123"/>
                    <a:gd name="connsiteX101" fmla="*/ 2381250 w 8610600"/>
                    <a:gd name="connsiteY101" fmla="*/ 4288873 h 10480123"/>
                    <a:gd name="connsiteX102" fmla="*/ 1962150 w 8610600"/>
                    <a:gd name="connsiteY102" fmla="*/ 3869773 h 10480123"/>
                    <a:gd name="connsiteX103" fmla="*/ 1619250 w 8610600"/>
                    <a:gd name="connsiteY103" fmla="*/ 3545923 h 10480123"/>
                    <a:gd name="connsiteX104" fmla="*/ 1009650 w 8610600"/>
                    <a:gd name="connsiteY104" fmla="*/ 3507823 h 10480123"/>
                    <a:gd name="connsiteX105" fmla="*/ 762000 w 8610600"/>
                    <a:gd name="connsiteY105" fmla="*/ 3545923 h 10480123"/>
                    <a:gd name="connsiteX106" fmla="*/ 838200 w 8610600"/>
                    <a:gd name="connsiteY106" fmla="*/ 2917273 h 10480123"/>
                    <a:gd name="connsiteX107" fmla="*/ 838200 w 8610600"/>
                    <a:gd name="connsiteY107" fmla="*/ 2479123 h 10480123"/>
                    <a:gd name="connsiteX108" fmla="*/ 971550 w 8610600"/>
                    <a:gd name="connsiteY108" fmla="*/ 1964773 h 10480123"/>
                    <a:gd name="connsiteX109" fmla="*/ 1028700 w 8610600"/>
                    <a:gd name="connsiteY109" fmla="*/ 1412323 h 10480123"/>
                    <a:gd name="connsiteX110" fmla="*/ 1295400 w 8610600"/>
                    <a:gd name="connsiteY110" fmla="*/ 859873 h 10480123"/>
                    <a:gd name="connsiteX111" fmla="*/ 1562100 w 8610600"/>
                    <a:gd name="connsiteY111" fmla="*/ 745573 h 10480123"/>
                    <a:gd name="connsiteX112" fmla="*/ 1809750 w 8610600"/>
                    <a:gd name="connsiteY112" fmla="*/ 726523 h 10480123"/>
                    <a:gd name="connsiteX113" fmla="*/ 2190750 w 8610600"/>
                    <a:gd name="connsiteY113" fmla="*/ 574123 h 10480123"/>
                    <a:gd name="connsiteX114" fmla="*/ 2457450 w 8610600"/>
                    <a:gd name="connsiteY114" fmla="*/ 478873 h 10480123"/>
                    <a:gd name="connsiteX115" fmla="*/ 2838450 w 8610600"/>
                    <a:gd name="connsiteY115" fmla="*/ 421723 h 10480123"/>
                    <a:gd name="connsiteX116" fmla="*/ 3219450 w 8610600"/>
                    <a:gd name="connsiteY116" fmla="*/ 174073 h 10480123"/>
                    <a:gd name="connsiteX117" fmla="*/ 2857500 w 8610600"/>
                    <a:gd name="connsiteY117" fmla="*/ 440773 h 10480123"/>
                    <a:gd name="connsiteX118" fmla="*/ 2381250 w 8610600"/>
                    <a:gd name="connsiteY118" fmla="*/ 707473 h 10480123"/>
                    <a:gd name="connsiteX119" fmla="*/ 2286000 w 8610600"/>
                    <a:gd name="connsiteY119" fmla="*/ 821773 h 10480123"/>
                    <a:gd name="connsiteX120" fmla="*/ 2400300 w 8610600"/>
                    <a:gd name="connsiteY120" fmla="*/ 840823 h 10480123"/>
                    <a:gd name="connsiteX121" fmla="*/ 2686050 w 8610600"/>
                    <a:gd name="connsiteY121" fmla="*/ 764623 h 10480123"/>
                    <a:gd name="connsiteX122" fmla="*/ 2895600 w 8610600"/>
                    <a:gd name="connsiteY122" fmla="*/ 707473 h 10480123"/>
                    <a:gd name="connsiteX123" fmla="*/ 3143250 w 8610600"/>
                    <a:gd name="connsiteY123" fmla="*/ 555073 h 10480123"/>
                    <a:gd name="connsiteX124" fmla="*/ 3143250 w 8610600"/>
                    <a:gd name="connsiteY124" fmla="*/ 669373 h 10480123"/>
                    <a:gd name="connsiteX125" fmla="*/ 3143250 w 8610600"/>
                    <a:gd name="connsiteY125" fmla="*/ 955123 h 10480123"/>
                    <a:gd name="connsiteX126" fmla="*/ 3314700 w 8610600"/>
                    <a:gd name="connsiteY126" fmla="*/ 1202773 h 10480123"/>
                    <a:gd name="connsiteX127" fmla="*/ 3067050 w 8610600"/>
                    <a:gd name="connsiteY127" fmla="*/ 2802973 h 10480123"/>
                    <a:gd name="connsiteX128" fmla="*/ 3009900 w 8610600"/>
                    <a:gd name="connsiteY128" fmla="*/ 3488773 h 10480123"/>
                    <a:gd name="connsiteX129" fmla="*/ 3162300 w 8610600"/>
                    <a:gd name="connsiteY129" fmla="*/ 4574623 h 10480123"/>
                    <a:gd name="connsiteX130" fmla="*/ 3314700 w 8610600"/>
                    <a:gd name="connsiteY130" fmla="*/ 5355673 h 10480123"/>
                    <a:gd name="connsiteX131" fmla="*/ 3429000 w 8610600"/>
                    <a:gd name="connsiteY131" fmla="*/ 6079573 h 10480123"/>
                    <a:gd name="connsiteX132" fmla="*/ 3714750 w 8610600"/>
                    <a:gd name="connsiteY132" fmla="*/ 5679523 h 10480123"/>
                    <a:gd name="connsiteX133" fmla="*/ 3886200 w 8610600"/>
                    <a:gd name="connsiteY133" fmla="*/ 5355673 h 10480123"/>
                    <a:gd name="connsiteX134" fmla="*/ 3981450 w 8610600"/>
                    <a:gd name="connsiteY134" fmla="*/ 4974673 h 10480123"/>
                    <a:gd name="connsiteX135" fmla="*/ 4248150 w 8610600"/>
                    <a:gd name="connsiteY135" fmla="*/ 4555573 h 10480123"/>
                    <a:gd name="connsiteX136" fmla="*/ 4476750 w 8610600"/>
                    <a:gd name="connsiteY136" fmla="*/ 4041223 h 10480123"/>
                    <a:gd name="connsiteX137" fmla="*/ 4876800 w 8610600"/>
                    <a:gd name="connsiteY137" fmla="*/ 3203023 h 10480123"/>
                    <a:gd name="connsiteX138" fmla="*/ 5181600 w 8610600"/>
                    <a:gd name="connsiteY138" fmla="*/ 2402923 h 10480123"/>
                    <a:gd name="connsiteX139" fmla="*/ 5410200 w 8610600"/>
                    <a:gd name="connsiteY139" fmla="*/ 1679023 h 10480123"/>
                    <a:gd name="connsiteX140" fmla="*/ 5638800 w 8610600"/>
                    <a:gd name="connsiteY140" fmla="*/ 993223 h 10480123"/>
                    <a:gd name="connsiteX141" fmla="*/ 6057900 w 8610600"/>
                    <a:gd name="connsiteY141" fmla="*/ 1336123 h 10480123"/>
                    <a:gd name="connsiteX142" fmla="*/ 6076950 w 8610600"/>
                    <a:gd name="connsiteY142" fmla="*/ 1583773 h 10480123"/>
                    <a:gd name="connsiteX143" fmla="*/ 6153150 w 8610600"/>
                    <a:gd name="connsiteY143" fmla="*/ 1659973 h 10480123"/>
                    <a:gd name="connsiteX144" fmla="*/ 6229350 w 8610600"/>
                    <a:gd name="connsiteY144" fmla="*/ 1488523 h 10480123"/>
                    <a:gd name="connsiteX145" fmla="*/ 6286500 w 8610600"/>
                    <a:gd name="connsiteY145" fmla="*/ 1164673 h 10480123"/>
                    <a:gd name="connsiteX146" fmla="*/ 6229350 w 8610600"/>
                    <a:gd name="connsiteY146" fmla="*/ 707473 h 10480123"/>
                    <a:gd name="connsiteX147" fmla="*/ 6096000 w 8610600"/>
                    <a:gd name="connsiteY147" fmla="*/ 193123 h 10480123"/>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66750 w 8610600"/>
                    <a:gd name="connsiteY68" fmla="*/ 6784423 h 10480123"/>
                    <a:gd name="connsiteX69" fmla="*/ 952500 w 8610600"/>
                    <a:gd name="connsiteY69" fmla="*/ 678442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048000 w 8610600"/>
                    <a:gd name="connsiteY73" fmla="*/ 7203523 h 10480123"/>
                    <a:gd name="connsiteX74" fmla="*/ 3009900 w 8610600"/>
                    <a:gd name="connsiteY74" fmla="*/ 7394023 h 10480123"/>
                    <a:gd name="connsiteX75" fmla="*/ 3143250 w 8610600"/>
                    <a:gd name="connsiteY75" fmla="*/ 7432123 h 10480123"/>
                    <a:gd name="connsiteX76" fmla="*/ 3276600 w 8610600"/>
                    <a:gd name="connsiteY76" fmla="*/ 7432123 h 10480123"/>
                    <a:gd name="connsiteX77" fmla="*/ 3295650 w 8610600"/>
                    <a:gd name="connsiteY77" fmla="*/ 7546423 h 10480123"/>
                    <a:gd name="connsiteX78" fmla="*/ 3371850 w 8610600"/>
                    <a:gd name="connsiteY78" fmla="*/ 7603573 h 10480123"/>
                    <a:gd name="connsiteX79" fmla="*/ 3657600 w 8610600"/>
                    <a:gd name="connsiteY79" fmla="*/ 7641673 h 10480123"/>
                    <a:gd name="connsiteX80" fmla="*/ 3657600 w 8610600"/>
                    <a:gd name="connsiteY80" fmla="*/ 7641673 h 10480123"/>
                    <a:gd name="connsiteX81" fmla="*/ 3676650 w 8610600"/>
                    <a:gd name="connsiteY81" fmla="*/ 7813123 h 10480123"/>
                    <a:gd name="connsiteX82" fmla="*/ 3924300 w 8610600"/>
                    <a:gd name="connsiteY82" fmla="*/ 7851223 h 10480123"/>
                    <a:gd name="connsiteX83" fmla="*/ 4324350 w 8610600"/>
                    <a:gd name="connsiteY83" fmla="*/ 7832173 h 10480123"/>
                    <a:gd name="connsiteX84" fmla="*/ 4724400 w 8610600"/>
                    <a:gd name="connsiteY84" fmla="*/ 7717873 h 10480123"/>
                    <a:gd name="connsiteX85" fmla="*/ 5029200 w 8610600"/>
                    <a:gd name="connsiteY85" fmla="*/ 7698823 h 10480123"/>
                    <a:gd name="connsiteX86" fmla="*/ 5243513 w 8610600"/>
                    <a:gd name="connsiteY86" fmla="*/ 7615479 h 10480123"/>
                    <a:gd name="connsiteX87" fmla="*/ 5391150 w 8610600"/>
                    <a:gd name="connsiteY87" fmla="*/ 7584523 h 10480123"/>
                    <a:gd name="connsiteX88" fmla="*/ 5657850 w 8610600"/>
                    <a:gd name="connsiteY88" fmla="*/ 7584523 h 10480123"/>
                    <a:gd name="connsiteX89" fmla="*/ 5867400 w 8610600"/>
                    <a:gd name="connsiteY89" fmla="*/ 7698823 h 10480123"/>
                    <a:gd name="connsiteX90" fmla="*/ 5753100 w 8610600"/>
                    <a:gd name="connsiteY90" fmla="*/ 7279723 h 10480123"/>
                    <a:gd name="connsiteX91" fmla="*/ 5581650 w 8610600"/>
                    <a:gd name="connsiteY91" fmla="*/ 6955873 h 10480123"/>
                    <a:gd name="connsiteX92" fmla="*/ 5391150 w 8610600"/>
                    <a:gd name="connsiteY92" fmla="*/ 6670123 h 10480123"/>
                    <a:gd name="connsiteX93" fmla="*/ 5281613 w 8610600"/>
                    <a:gd name="connsiteY93" fmla="*/ 6617736 h 10480123"/>
                    <a:gd name="connsiteX94" fmla="*/ 4910138 w 8610600"/>
                    <a:gd name="connsiteY94" fmla="*/ 6546298 h 10480123"/>
                    <a:gd name="connsiteX95" fmla="*/ 4629150 w 8610600"/>
                    <a:gd name="connsiteY95" fmla="*/ 6346273 h 10480123"/>
                    <a:gd name="connsiteX96" fmla="*/ 4286250 w 8610600"/>
                    <a:gd name="connsiteY96" fmla="*/ 6384373 h 10480123"/>
                    <a:gd name="connsiteX97" fmla="*/ 3874294 w 8610600"/>
                    <a:gd name="connsiteY97" fmla="*/ 6558204 h 10480123"/>
                    <a:gd name="connsiteX98" fmla="*/ 3600450 w 8610600"/>
                    <a:gd name="connsiteY98" fmla="*/ 6670123 h 10480123"/>
                    <a:gd name="connsiteX99" fmla="*/ 3181350 w 8610600"/>
                    <a:gd name="connsiteY99" fmla="*/ 5774773 h 10480123"/>
                    <a:gd name="connsiteX100" fmla="*/ 2724150 w 8610600"/>
                    <a:gd name="connsiteY100" fmla="*/ 4860373 h 10480123"/>
                    <a:gd name="connsiteX101" fmla="*/ 2381250 w 8610600"/>
                    <a:gd name="connsiteY101" fmla="*/ 4288873 h 10480123"/>
                    <a:gd name="connsiteX102" fmla="*/ 1962150 w 8610600"/>
                    <a:gd name="connsiteY102" fmla="*/ 3869773 h 10480123"/>
                    <a:gd name="connsiteX103" fmla="*/ 1619250 w 8610600"/>
                    <a:gd name="connsiteY103" fmla="*/ 3545923 h 10480123"/>
                    <a:gd name="connsiteX104" fmla="*/ 1009650 w 8610600"/>
                    <a:gd name="connsiteY104" fmla="*/ 3507823 h 10480123"/>
                    <a:gd name="connsiteX105" fmla="*/ 762000 w 8610600"/>
                    <a:gd name="connsiteY105" fmla="*/ 3545923 h 10480123"/>
                    <a:gd name="connsiteX106" fmla="*/ 838200 w 8610600"/>
                    <a:gd name="connsiteY106" fmla="*/ 2917273 h 10480123"/>
                    <a:gd name="connsiteX107" fmla="*/ 838200 w 8610600"/>
                    <a:gd name="connsiteY107" fmla="*/ 2479123 h 10480123"/>
                    <a:gd name="connsiteX108" fmla="*/ 971550 w 8610600"/>
                    <a:gd name="connsiteY108" fmla="*/ 1964773 h 10480123"/>
                    <a:gd name="connsiteX109" fmla="*/ 1028700 w 8610600"/>
                    <a:gd name="connsiteY109" fmla="*/ 1412323 h 10480123"/>
                    <a:gd name="connsiteX110" fmla="*/ 1295400 w 8610600"/>
                    <a:gd name="connsiteY110" fmla="*/ 859873 h 10480123"/>
                    <a:gd name="connsiteX111" fmla="*/ 1562100 w 8610600"/>
                    <a:gd name="connsiteY111" fmla="*/ 745573 h 10480123"/>
                    <a:gd name="connsiteX112" fmla="*/ 1809750 w 8610600"/>
                    <a:gd name="connsiteY112" fmla="*/ 726523 h 10480123"/>
                    <a:gd name="connsiteX113" fmla="*/ 2190750 w 8610600"/>
                    <a:gd name="connsiteY113" fmla="*/ 574123 h 10480123"/>
                    <a:gd name="connsiteX114" fmla="*/ 2457450 w 8610600"/>
                    <a:gd name="connsiteY114" fmla="*/ 478873 h 10480123"/>
                    <a:gd name="connsiteX115" fmla="*/ 2838450 w 8610600"/>
                    <a:gd name="connsiteY115" fmla="*/ 421723 h 10480123"/>
                    <a:gd name="connsiteX116" fmla="*/ 3219450 w 8610600"/>
                    <a:gd name="connsiteY116" fmla="*/ 174073 h 10480123"/>
                    <a:gd name="connsiteX117" fmla="*/ 2857500 w 8610600"/>
                    <a:gd name="connsiteY117" fmla="*/ 440773 h 10480123"/>
                    <a:gd name="connsiteX118" fmla="*/ 2381250 w 8610600"/>
                    <a:gd name="connsiteY118" fmla="*/ 707473 h 10480123"/>
                    <a:gd name="connsiteX119" fmla="*/ 2286000 w 8610600"/>
                    <a:gd name="connsiteY119" fmla="*/ 821773 h 10480123"/>
                    <a:gd name="connsiteX120" fmla="*/ 2400300 w 8610600"/>
                    <a:gd name="connsiteY120" fmla="*/ 840823 h 10480123"/>
                    <a:gd name="connsiteX121" fmla="*/ 2686050 w 8610600"/>
                    <a:gd name="connsiteY121" fmla="*/ 764623 h 10480123"/>
                    <a:gd name="connsiteX122" fmla="*/ 2895600 w 8610600"/>
                    <a:gd name="connsiteY122" fmla="*/ 707473 h 10480123"/>
                    <a:gd name="connsiteX123" fmla="*/ 3143250 w 8610600"/>
                    <a:gd name="connsiteY123" fmla="*/ 555073 h 10480123"/>
                    <a:gd name="connsiteX124" fmla="*/ 3143250 w 8610600"/>
                    <a:gd name="connsiteY124" fmla="*/ 669373 h 10480123"/>
                    <a:gd name="connsiteX125" fmla="*/ 3143250 w 8610600"/>
                    <a:gd name="connsiteY125" fmla="*/ 955123 h 10480123"/>
                    <a:gd name="connsiteX126" fmla="*/ 3314700 w 8610600"/>
                    <a:gd name="connsiteY126" fmla="*/ 1202773 h 10480123"/>
                    <a:gd name="connsiteX127" fmla="*/ 3067050 w 8610600"/>
                    <a:gd name="connsiteY127" fmla="*/ 2802973 h 10480123"/>
                    <a:gd name="connsiteX128" fmla="*/ 3009900 w 8610600"/>
                    <a:gd name="connsiteY128" fmla="*/ 3488773 h 10480123"/>
                    <a:gd name="connsiteX129" fmla="*/ 3162300 w 8610600"/>
                    <a:gd name="connsiteY129" fmla="*/ 4574623 h 10480123"/>
                    <a:gd name="connsiteX130" fmla="*/ 3314700 w 8610600"/>
                    <a:gd name="connsiteY130" fmla="*/ 5355673 h 10480123"/>
                    <a:gd name="connsiteX131" fmla="*/ 3429000 w 8610600"/>
                    <a:gd name="connsiteY131" fmla="*/ 6079573 h 10480123"/>
                    <a:gd name="connsiteX132" fmla="*/ 3714750 w 8610600"/>
                    <a:gd name="connsiteY132" fmla="*/ 5679523 h 10480123"/>
                    <a:gd name="connsiteX133" fmla="*/ 3886200 w 8610600"/>
                    <a:gd name="connsiteY133" fmla="*/ 5355673 h 10480123"/>
                    <a:gd name="connsiteX134" fmla="*/ 3981450 w 8610600"/>
                    <a:gd name="connsiteY134" fmla="*/ 4974673 h 10480123"/>
                    <a:gd name="connsiteX135" fmla="*/ 4248150 w 8610600"/>
                    <a:gd name="connsiteY135" fmla="*/ 4555573 h 10480123"/>
                    <a:gd name="connsiteX136" fmla="*/ 4476750 w 8610600"/>
                    <a:gd name="connsiteY136" fmla="*/ 4041223 h 10480123"/>
                    <a:gd name="connsiteX137" fmla="*/ 4876800 w 8610600"/>
                    <a:gd name="connsiteY137" fmla="*/ 3203023 h 10480123"/>
                    <a:gd name="connsiteX138" fmla="*/ 5181600 w 8610600"/>
                    <a:gd name="connsiteY138" fmla="*/ 2402923 h 10480123"/>
                    <a:gd name="connsiteX139" fmla="*/ 5410200 w 8610600"/>
                    <a:gd name="connsiteY139" fmla="*/ 1679023 h 10480123"/>
                    <a:gd name="connsiteX140" fmla="*/ 5638800 w 8610600"/>
                    <a:gd name="connsiteY140" fmla="*/ 993223 h 10480123"/>
                    <a:gd name="connsiteX141" fmla="*/ 6057900 w 8610600"/>
                    <a:gd name="connsiteY141" fmla="*/ 1336123 h 10480123"/>
                    <a:gd name="connsiteX142" fmla="*/ 6076950 w 8610600"/>
                    <a:gd name="connsiteY142" fmla="*/ 1583773 h 10480123"/>
                    <a:gd name="connsiteX143" fmla="*/ 6153150 w 8610600"/>
                    <a:gd name="connsiteY143" fmla="*/ 1659973 h 10480123"/>
                    <a:gd name="connsiteX144" fmla="*/ 6229350 w 8610600"/>
                    <a:gd name="connsiteY144" fmla="*/ 1488523 h 10480123"/>
                    <a:gd name="connsiteX145" fmla="*/ 6286500 w 8610600"/>
                    <a:gd name="connsiteY145" fmla="*/ 1164673 h 10480123"/>
                    <a:gd name="connsiteX146" fmla="*/ 6229350 w 8610600"/>
                    <a:gd name="connsiteY146" fmla="*/ 707473 h 10480123"/>
                    <a:gd name="connsiteX147" fmla="*/ 6096000 w 8610600"/>
                    <a:gd name="connsiteY147" fmla="*/ 193123 h 10480123"/>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66750 w 8610600"/>
                    <a:gd name="connsiteY68" fmla="*/ 6784423 h 10480123"/>
                    <a:gd name="connsiteX69" fmla="*/ 952500 w 8610600"/>
                    <a:gd name="connsiteY69" fmla="*/ 678442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048000 w 8610600"/>
                    <a:gd name="connsiteY73" fmla="*/ 7203523 h 10480123"/>
                    <a:gd name="connsiteX74" fmla="*/ 3009900 w 8610600"/>
                    <a:gd name="connsiteY74" fmla="*/ 7394023 h 10480123"/>
                    <a:gd name="connsiteX75" fmla="*/ 3143250 w 8610600"/>
                    <a:gd name="connsiteY75" fmla="*/ 7432123 h 10480123"/>
                    <a:gd name="connsiteX76" fmla="*/ 3276600 w 8610600"/>
                    <a:gd name="connsiteY76" fmla="*/ 7432123 h 10480123"/>
                    <a:gd name="connsiteX77" fmla="*/ 3295650 w 8610600"/>
                    <a:gd name="connsiteY77" fmla="*/ 7546423 h 10480123"/>
                    <a:gd name="connsiteX78" fmla="*/ 3371850 w 8610600"/>
                    <a:gd name="connsiteY78" fmla="*/ 7603573 h 10480123"/>
                    <a:gd name="connsiteX79" fmla="*/ 3657600 w 8610600"/>
                    <a:gd name="connsiteY79" fmla="*/ 7641673 h 10480123"/>
                    <a:gd name="connsiteX80" fmla="*/ 3657600 w 8610600"/>
                    <a:gd name="connsiteY80" fmla="*/ 7641673 h 10480123"/>
                    <a:gd name="connsiteX81" fmla="*/ 3676650 w 8610600"/>
                    <a:gd name="connsiteY81" fmla="*/ 7813123 h 10480123"/>
                    <a:gd name="connsiteX82" fmla="*/ 3924300 w 8610600"/>
                    <a:gd name="connsiteY82" fmla="*/ 7851223 h 10480123"/>
                    <a:gd name="connsiteX83" fmla="*/ 4324350 w 8610600"/>
                    <a:gd name="connsiteY83" fmla="*/ 7832173 h 10480123"/>
                    <a:gd name="connsiteX84" fmla="*/ 4724400 w 8610600"/>
                    <a:gd name="connsiteY84" fmla="*/ 7717873 h 10480123"/>
                    <a:gd name="connsiteX85" fmla="*/ 5029200 w 8610600"/>
                    <a:gd name="connsiteY85" fmla="*/ 7698823 h 10480123"/>
                    <a:gd name="connsiteX86" fmla="*/ 5272088 w 8610600"/>
                    <a:gd name="connsiteY86" fmla="*/ 7591667 h 10480123"/>
                    <a:gd name="connsiteX87" fmla="*/ 5391150 w 8610600"/>
                    <a:gd name="connsiteY87" fmla="*/ 7584523 h 10480123"/>
                    <a:gd name="connsiteX88" fmla="*/ 5657850 w 8610600"/>
                    <a:gd name="connsiteY88" fmla="*/ 7584523 h 10480123"/>
                    <a:gd name="connsiteX89" fmla="*/ 5867400 w 8610600"/>
                    <a:gd name="connsiteY89" fmla="*/ 7698823 h 10480123"/>
                    <a:gd name="connsiteX90" fmla="*/ 5753100 w 8610600"/>
                    <a:gd name="connsiteY90" fmla="*/ 7279723 h 10480123"/>
                    <a:gd name="connsiteX91" fmla="*/ 5581650 w 8610600"/>
                    <a:gd name="connsiteY91" fmla="*/ 6955873 h 10480123"/>
                    <a:gd name="connsiteX92" fmla="*/ 5391150 w 8610600"/>
                    <a:gd name="connsiteY92" fmla="*/ 6670123 h 10480123"/>
                    <a:gd name="connsiteX93" fmla="*/ 5281613 w 8610600"/>
                    <a:gd name="connsiteY93" fmla="*/ 6617736 h 10480123"/>
                    <a:gd name="connsiteX94" fmla="*/ 4910138 w 8610600"/>
                    <a:gd name="connsiteY94" fmla="*/ 6546298 h 10480123"/>
                    <a:gd name="connsiteX95" fmla="*/ 4629150 w 8610600"/>
                    <a:gd name="connsiteY95" fmla="*/ 6346273 h 10480123"/>
                    <a:gd name="connsiteX96" fmla="*/ 4286250 w 8610600"/>
                    <a:gd name="connsiteY96" fmla="*/ 6384373 h 10480123"/>
                    <a:gd name="connsiteX97" fmla="*/ 3874294 w 8610600"/>
                    <a:gd name="connsiteY97" fmla="*/ 6558204 h 10480123"/>
                    <a:gd name="connsiteX98" fmla="*/ 3600450 w 8610600"/>
                    <a:gd name="connsiteY98" fmla="*/ 6670123 h 10480123"/>
                    <a:gd name="connsiteX99" fmla="*/ 3181350 w 8610600"/>
                    <a:gd name="connsiteY99" fmla="*/ 5774773 h 10480123"/>
                    <a:gd name="connsiteX100" fmla="*/ 2724150 w 8610600"/>
                    <a:gd name="connsiteY100" fmla="*/ 4860373 h 10480123"/>
                    <a:gd name="connsiteX101" fmla="*/ 2381250 w 8610600"/>
                    <a:gd name="connsiteY101" fmla="*/ 4288873 h 10480123"/>
                    <a:gd name="connsiteX102" fmla="*/ 1962150 w 8610600"/>
                    <a:gd name="connsiteY102" fmla="*/ 3869773 h 10480123"/>
                    <a:gd name="connsiteX103" fmla="*/ 1619250 w 8610600"/>
                    <a:gd name="connsiteY103" fmla="*/ 3545923 h 10480123"/>
                    <a:gd name="connsiteX104" fmla="*/ 1009650 w 8610600"/>
                    <a:gd name="connsiteY104" fmla="*/ 3507823 h 10480123"/>
                    <a:gd name="connsiteX105" fmla="*/ 762000 w 8610600"/>
                    <a:gd name="connsiteY105" fmla="*/ 3545923 h 10480123"/>
                    <a:gd name="connsiteX106" fmla="*/ 838200 w 8610600"/>
                    <a:gd name="connsiteY106" fmla="*/ 2917273 h 10480123"/>
                    <a:gd name="connsiteX107" fmla="*/ 838200 w 8610600"/>
                    <a:gd name="connsiteY107" fmla="*/ 2479123 h 10480123"/>
                    <a:gd name="connsiteX108" fmla="*/ 971550 w 8610600"/>
                    <a:gd name="connsiteY108" fmla="*/ 1964773 h 10480123"/>
                    <a:gd name="connsiteX109" fmla="*/ 1028700 w 8610600"/>
                    <a:gd name="connsiteY109" fmla="*/ 1412323 h 10480123"/>
                    <a:gd name="connsiteX110" fmla="*/ 1295400 w 8610600"/>
                    <a:gd name="connsiteY110" fmla="*/ 859873 h 10480123"/>
                    <a:gd name="connsiteX111" fmla="*/ 1562100 w 8610600"/>
                    <a:gd name="connsiteY111" fmla="*/ 745573 h 10480123"/>
                    <a:gd name="connsiteX112" fmla="*/ 1809750 w 8610600"/>
                    <a:gd name="connsiteY112" fmla="*/ 726523 h 10480123"/>
                    <a:gd name="connsiteX113" fmla="*/ 2190750 w 8610600"/>
                    <a:gd name="connsiteY113" fmla="*/ 574123 h 10480123"/>
                    <a:gd name="connsiteX114" fmla="*/ 2457450 w 8610600"/>
                    <a:gd name="connsiteY114" fmla="*/ 478873 h 10480123"/>
                    <a:gd name="connsiteX115" fmla="*/ 2838450 w 8610600"/>
                    <a:gd name="connsiteY115" fmla="*/ 421723 h 10480123"/>
                    <a:gd name="connsiteX116" fmla="*/ 3219450 w 8610600"/>
                    <a:gd name="connsiteY116" fmla="*/ 174073 h 10480123"/>
                    <a:gd name="connsiteX117" fmla="*/ 2857500 w 8610600"/>
                    <a:gd name="connsiteY117" fmla="*/ 440773 h 10480123"/>
                    <a:gd name="connsiteX118" fmla="*/ 2381250 w 8610600"/>
                    <a:gd name="connsiteY118" fmla="*/ 707473 h 10480123"/>
                    <a:gd name="connsiteX119" fmla="*/ 2286000 w 8610600"/>
                    <a:gd name="connsiteY119" fmla="*/ 821773 h 10480123"/>
                    <a:gd name="connsiteX120" fmla="*/ 2400300 w 8610600"/>
                    <a:gd name="connsiteY120" fmla="*/ 840823 h 10480123"/>
                    <a:gd name="connsiteX121" fmla="*/ 2686050 w 8610600"/>
                    <a:gd name="connsiteY121" fmla="*/ 764623 h 10480123"/>
                    <a:gd name="connsiteX122" fmla="*/ 2895600 w 8610600"/>
                    <a:gd name="connsiteY122" fmla="*/ 707473 h 10480123"/>
                    <a:gd name="connsiteX123" fmla="*/ 3143250 w 8610600"/>
                    <a:gd name="connsiteY123" fmla="*/ 555073 h 10480123"/>
                    <a:gd name="connsiteX124" fmla="*/ 3143250 w 8610600"/>
                    <a:gd name="connsiteY124" fmla="*/ 669373 h 10480123"/>
                    <a:gd name="connsiteX125" fmla="*/ 3143250 w 8610600"/>
                    <a:gd name="connsiteY125" fmla="*/ 955123 h 10480123"/>
                    <a:gd name="connsiteX126" fmla="*/ 3314700 w 8610600"/>
                    <a:gd name="connsiteY126" fmla="*/ 1202773 h 10480123"/>
                    <a:gd name="connsiteX127" fmla="*/ 3067050 w 8610600"/>
                    <a:gd name="connsiteY127" fmla="*/ 2802973 h 10480123"/>
                    <a:gd name="connsiteX128" fmla="*/ 3009900 w 8610600"/>
                    <a:gd name="connsiteY128" fmla="*/ 3488773 h 10480123"/>
                    <a:gd name="connsiteX129" fmla="*/ 3162300 w 8610600"/>
                    <a:gd name="connsiteY129" fmla="*/ 4574623 h 10480123"/>
                    <a:gd name="connsiteX130" fmla="*/ 3314700 w 8610600"/>
                    <a:gd name="connsiteY130" fmla="*/ 5355673 h 10480123"/>
                    <a:gd name="connsiteX131" fmla="*/ 3429000 w 8610600"/>
                    <a:gd name="connsiteY131" fmla="*/ 6079573 h 10480123"/>
                    <a:gd name="connsiteX132" fmla="*/ 3714750 w 8610600"/>
                    <a:gd name="connsiteY132" fmla="*/ 5679523 h 10480123"/>
                    <a:gd name="connsiteX133" fmla="*/ 3886200 w 8610600"/>
                    <a:gd name="connsiteY133" fmla="*/ 5355673 h 10480123"/>
                    <a:gd name="connsiteX134" fmla="*/ 3981450 w 8610600"/>
                    <a:gd name="connsiteY134" fmla="*/ 4974673 h 10480123"/>
                    <a:gd name="connsiteX135" fmla="*/ 4248150 w 8610600"/>
                    <a:gd name="connsiteY135" fmla="*/ 4555573 h 10480123"/>
                    <a:gd name="connsiteX136" fmla="*/ 4476750 w 8610600"/>
                    <a:gd name="connsiteY136" fmla="*/ 4041223 h 10480123"/>
                    <a:gd name="connsiteX137" fmla="*/ 4876800 w 8610600"/>
                    <a:gd name="connsiteY137" fmla="*/ 3203023 h 10480123"/>
                    <a:gd name="connsiteX138" fmla="*/ 5181600 w 8610600"/>
                    <a:gd name="connsiteY138" fmla="*/ 2402923 h 10480123"/>
                    <a:gd name="connsiteX139" fmla="*/ 5410200 w 8610600"/>
                    <a:gd name="connsiteY139" fmla="*/ 1679023 h 10480123"/>
                    <a:gd name="connsiteX140" fmla="*/ 5638800 w 8610600"/>
                    <a:gd name="connsiteY140" fmla="*/ 993223 h 10480123"/>
                    <a:gd name="connsiteX141" fmla="*/ 6057900 w 8610600"/>
                    <a:gd name="connsiteY141" fmla="*/ 1336123 h 10480123"/>
                    <a:gd name="connsiteX142" fmla="*/ 6076950 w 8610600"/>
                    <a:gd name="connsiteY142" fmla="*/ 1583773 h 10480123"/>
                    <a:gd name="connsiteX143" fmla="*/ 6153150 w 8610600"/>
                    <a:gd name="connsiteY143" fmla="*/ 1659973 h 10480123"/>
                    <a:gd name="connsiteX144" fmla="*/ 6229350 w 8610600"/>
                    <a:gd name="connsiteY144" fmla="*/ 1488523 h 10480123"/>
                    <a:gd name="connsiteX145" fmla="*/ 6286500 w 8610600"/>
                    <a:gd name="connsiteY145" fmla="*/ 1164673 h 10480123"/>
                    <a:gd name="connsiteX146" fmla="*/ 6229350 w 8610600"/>
                    <a:gd name="connsiteY146" fmla="*/ 707473 h 10480123"/>
                    <a:gd name="connsiteX147" fmla="*/ 6096000 w 8610600"/>
                    <a:gd name="connsiteY147" fmla="*/ 193123 h 10480123"/>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66750 w 8610600"/>
                    <a:gd name="connsiteY68" fmla="*/ 6784423 h 10480123"/>
                    <a:gd name="connsiteX69" fmla="*/ 952500 w 8610600"/>
                    <a:gd name="connsiteY69" fmla="*/ 678442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048000 w 8610600"/>
                    <a:gd name="connsiteY73" fmla="*/ 7203523 h 10480123"/>
                    <a:gd name="connsiteX74" fmla="*/ 3009900 w 8610600"/>
                    <a:gd name="connsiteY74" fmla="*/ 7394023 h 10480123"/>
                    <a:gd name="connsiteX75" fmla="*/ 3143250 w 8610600"/>
                    <a:gd name="connsiteY75" fmla="*/ 7432123 h 10480123"/>
                    <a:gd name="connsiteX76" fmla="*/ 3276600 w 8610600"/>
                    <a:gd name="connsiteY76" fmla="*/ 7432123 h 10480123"/>
                    <a:gd name="connsiteX77" fmla="*/ 3295650 w 8610600"/>
                    <a:gd name="connsiteY77" fmla="*/ 7546423 h 10480123"/>
                    <a:gd name="connsiteX78" fmla="*/ 3371850 w 8610600"/>
                    <a:gd name="connsiteY78" fmla="*/ 7603573 h 10480123"/>
                    <a:gd name="connsiteX79" fmla="*/ 3657600 w 8610600"/>
                    <a:gd name="connsiteY79" fmla="*/ 7641673 h 10480123"/>
                    <a:gd name="connsiteX80" fmla="*/ 3657600 w 8610600"/>
                    <a:gd name="connsiteY80" fmla="*/ 7641673 h 10480123"/>
                    <a:gd name="connsiteX81" fmla="*/ 3676650 w 8610600"/>
                    <a:gd name="connsiteY81" fmla="*/ 7813123 h 10480123"/>
                    <a:gd name="connsiteX82" fmla="*/ 3924300 w 8610600"/>
                    <a:gd name="connsiteY82" fmla="*/ 7851223 h 10480123"/>
                    <a:gd name="connsiteX83" fmla="*/ 4324350 w 8610600"/>
                    <a:gd name="connsiteY83" fmla="*/ 7832173 h 10480123"/>
                    <a:gd name="connsiteX84" fmla="*/ 4724400 w 8610600"/>
                    <a:gd name="connsiteY84" fmla="*/ 7717873 h 10480123"/>
                    <a:gd name="connsiteX85" fmla="*/ 5098256 w 8610600"/>
                    <a:gd name="connsiteY85" fmla="*/ 7663104 h 10480123"/>
                    <a:gd name="connsiteX86" fmla="*/ 5272088 w 8610600"/>
                    <a:gd name="connsiteY86" fmla="*/ 7591667 h 10480123"/>
                    <a:gd name="connsiteX87" fmla="*/ 5391150 w 8610600"/>
                    <a:gd name="connsiteY87" fmla="*/ 7584523 h 10480123"/>
                    <a:gd name="connsiteX88" fmla="*/ 5657850 w 8610600"/>
                    <a:gd name="connsiteY88" fmla="*/ 7584523 h 10480123"/>
                    <a:gd name="connsiteX89" fmla="*/ 5867400 w 8610600"/>
                    <a:gd name="connsiteY89" fmla="*/ 7698823 h 10480123"/>
                    <a:gd name="connsiteX90" fmla="*/ 5753100 w 8610600"/>
                    <a:gd name="connsiteY90" fmla="*/ 7279723 h 10480123"/>
                    <a:gd name="connsiteX91" fmla="*/ 5581650 w 8610600"/>
                    <a:gd name="connsiteY91" fmla="*/ 6955873 h 10480123"/>
                    <a:gd name="connsiteX92" fmla="*/ 5391150 w 8610600"/>
                    <a:gd name="connsiteY92" fmla="*/ 6670123 h 10480123"/>
                    <a:gd name="connsiteX93" fmla="*/ 5281613 w 8610600"/>
                    <a:gd name="connsiteY93" fmla="*/ 6617736 h 10480123"/>
                    <a:gd name="connsiteX94" fmla="*/ 4910138 w 8610600"/>
                    <a:gd name="connsiteY94" fmla="*/ 6546298 h 10480123"/>
                    <a:gd name="connsiteX95" fmla="*/ 4629150 w 8610600"/>
                    <a:gd name="connsiteY95" fmla="*/ 6346273 h 10480123"/>
                    <a:gd name="connsiteX96" fmla="*/ 4286250 w 8610600"/>
                    <a:gd name="connsiteY96" fmla="*/ 6384373 h 10480123"/>
                    <a:gd name="connsiteX97" fmla="*/ 3874294 w 8610600"/>
                    <a:gd name="connsiteY97" fmla="*/ 6558204 h 10480123"/>
                    <a:gd name="connsiteX98" fmla="*/ 3600450 w 8610600"/>
                    <a:gd name="connsiteY98" fmla="*/ 6670123 h 10480123"/>
                    <a:gd name="connsiteX99" fmla="*/ 3181350 w 8610600"/>
                    <a:gd name="connsiteY99" fmla="*/ 5774773 h 10480123"/>
                    <a:gd name="connsiteX100" fmla="*/ 2724150 w 8610600"/>
                    <a:gd name="connsiteY100" fmla="*/ 4860373 h 10480123"/>
                    <a:gd name="connsiteX101" fmla="*/ 2381250 w 8610600"/>
                    <a:gd name="connsiteY101" fmla="*/ 4288873 h 10480123"/>
                    <a:gd name="connsiteX102" fmla="*/ 1962150 w 8610600"/>
                    <a:gd name="connsiteY102" fmla="*/ 3869773 h 10480123"/>
                    <a:gd name="connsiteX103" fmla="*/ 1619250 w 8610600"/>
                    <a:gd name="connsiteY103" fmla="*/ 3545923 h 10480123"/>
                    <a:gd name="connsiteX104" fmla="*/ 1009650 w 8610600"/>
                    <a:gd name="connsiteY104" fmla="*/ 3507823 h 10480123"/>
                    <a:gd name="connsiteX105" fmla="*/ 762000 w 8610600"/>
                    <a:gd name="connsiteY105" fmla="*/ 3545923 h 10480123"/>
                    <a:gd name="connsiteX106" fmla="*/ 838200 w 8610600"/>
                    <a:gd name="connsiteY106" fmla="*/ 2917273 h 10480123"/>
                    <a:gd name="connsiteX107" fmla="*/ 838200 w 8610600"/>
                    <a:gd name="connsiteY107" fmla="*/ 2479123 h 10480123"/>
                    <a:gd name="connsiteX108" fmla="*/ 971550 w 8610600"/>
                    <a:gd name="connsiteY108" fmla="*/ 1964773 h 10480123"/>
                    <a:gd name="connsiteX109" fmla="*/ 1028700 w 8610600"/>
                    <a:gd name="connsiteY109" fmla="*/ 1412323 h 10480123"/>
                    <a:gd name="connsiteX110" fmla="*/ 1295400 w 8610600"/>
                    <a:gd name="connsiteY110" fmla="*/ 859873 h 10480123"/>
                    <a:gd name="connsiteX111" fmla="*/ 1562100 w 8610600"/>
                    <a:gd name="connsiteY111" fmla="*/ 745573 h 10480123"/>
                    <a:gd name="connsiteX112" fmla="*/ 1809750 w 8610600"/>
                    <a:gd name="connsiteY112" fmla="*/ 726523 h 10480123"/>
                    <a:gd name="connsiteX113" fmla="*/ 2190750 w 8610600"/>
                    <a:gd name="connsiteY113" fmla="*/ 574123 h 10480123"/>
                    <a:gd name="connsiteX114" fmla="*/ 2457450 w 8610600"/>
                    <a:gd name="connsiteY114" fmla="*/ 478873 h 10480123"/>
                    <a:gd name="connsiteX115" fmla="*/ 2838450 w 8610600"/>
                    <a:gd name="connsiteY115" fmla="*/ 421723 h 10480123"/>
                    <a:gd name="connsiteX116" fmla="*/ 3219450 w 8610600"/>
                    <a:gd name="connsiteY116" fmla="*/ 174073 h 10480123"/>
                    <a:gd name="connsiteX117" fmla="*/ 2857500 w 8610600"/>
                    <a:gd name="connsiteY117" fmla="*/ 440773 h 10480123"/>
                    <a:gd name="connsiteX118" fmla="*/ 2381250 w 8610600"/>
                    <a:gd name="connsiteY118" fmla="*/ 707473 h 10480123"/>
                    <a:gd name="connsiteX119" fmla="*/ 2286000 w 8610600"/>
                    <a:gd name="connsiteY119" fmla="*/ 821773 h 10480123"/>
                    <a:gd name="connsiteX120" fmla="*/ 2400300 w 8610600"/>
                    <a:gd name="connsiteY120" fmla="*/ 840823 h 10480123"/>
                    <a:gd name="connsiteX121" fmla="*/ 2686050 w 8610600"/>
                    <a:gd name="connsiteY121" fmla="*/ 764623 h 10480123"/>
                    <a:gd name="connsiteX122" fmla="*/ 2895600 w 8610600"/>
                    <a:gd name="connsiteY122" fmla="*/ 707473 h 10480123"/>
                    <a:gd name="connsiteX123" fmla="*/ 3143250 w 8610600"/>
                    <a:gd name="connsiteY123" fmla="*/ 555073 h 10480123"/>
                    <a:gd name="connsiteX124" fmla="*/ 3143250 w 8610600"/>
                    <a:gd name="connsiteY124" fmla="*/ 669373 h 10480123"/>
                    <a:gd name="connsiteX125" fmla="*/ 3143250 w 8610600"/>
                    <a:gd name="connsiteY125" fmla="*/ 955123 h 10480123"/>
                    <a:gd name="connsiteX126" fmla="*/ 3314700 w 8610600"/>
                    <a:gd name="connsiteY126" fmla="*/ 1202773 h 10480123"/>
                    <a:gd name="connsiteX127" fmla="*/ 3067050 w 8610600"/>
                    <a:gd name="connsiteY127" fmla="*/ 2802973 h 10480123"/>
                    <a:gd name="connsiteX128" fmla="*/ 3009900 w 8610600"/>
                    <a:gd name="connsiteY128" fmla="*/ 3488773 h 10480123"/>
                    <a:gd name="connsiteX129" fmla="*/ 3162300 w 8610600"/>
                    <a:gd name="connsiteY129" fmla="*/ 4574623 h 10480123"/>
                    <a:gd name="connsiteX130" fmla="*/ 3314700 w 8610600"/>
                    <a:gd name="connsiteY130" fmla="*/ 5355673 h 10480123"/>
                    <a:gd name="connsiteX131" fmla="*/ 3429000 w 8610600"/>
                    <a:gd name="connsiteY131" fmla="*/ 6079573 h 10480123"/>
                    <a:gd name="connsiteX132" fmla="*/ 3714750 w 8610600"/>
                    <a:gd name="connsiteY132" fmla="*/ 5679523 h 10480123"/>
                    <a:gd name="connsiteX133" fmla="*/ 3886200 w 8610600"/>
                    <a:gd name="connsiteY133" fmla="*/ 5355673 h 10480123"/>
                    <a:gd name="connsiteX134" fmla="*/ 3981450 w 8610600"/>
                    <a:gd name="connsiteY134" fmla="*/ 4974673 h 10480123"/>
                    <a:gd name="connsiteX135" fmla="*/ 4248150 w 8610600"/>
                    <a:gd name="connsiteY135" fmla="*/ 4555573 h 10480123"/>
                    <a:gd name="connsiteX136" fmla="*/ 4476750 w 8610600"/>
                    <a:gd name="connsiteY136" fmla="*/ 4041223 h 10480123"/>
                    <a:gd name="connsiteX137" fmla="*/ 4876800 w 8610600"/>
                    <a:gd name="connsiteY137" fmla="*/ 3203023 h 10480123"/>
                    <a:gd name="connsiteX138" fmla="*/ 5181600 w 8610600"/>
                    <a:gd name="connsiteY138" fmla="*/ 2402923 h 10480123"/>
                    <a:gd name="connsiteX139" fmla="*/ 5410200 w 8610600"/>
                    <a:gd name="connsiteY139" fmla="*/ 1679023 h 10480123"/>
                    <a:gd name="connsiteX140" fmla="*/ 5638800 w 8610600"/>
                    <a:gd name="connsiteY140" fmla="*/ 993223 h 10480123"/>
                    <a:gd name="connsiteX141" fmla="*/ 6057900 w 8610600"/>
                    <a:gd name="connsiteY141" fmla="*/ 1336123 h 10480123"/>
                    <a:gd name="connsiteX142" fmla="*/ 6076950 w 8610600"/>
                    <a:gd name="connsiteY142" fmla="*/ 1583773 h 10480123"/>
                    <a:gd name="connsiteX143" fmla="*/ 6153150 w 8610600"/>
                    <a:gd name="connsiteY143" fmla="*/ 1659973 h 10480123"/>
                    <a:gd name="connsiteX144" fmla="*/ 6229350 w 8610600"/>
                    <a:gd name="connsiteY144" fmla="*/ 1488523 h 10480123"/>
                    <a:gd name="connsiteX145" fmla="*/ 6286500 w 8610600"/>
                    <a:gd name="connsiteY145" fmla="*/ 1164673 h 10480123"/>
                    <a:gd name="connsiteX146" fmla="*/ 6229350 w 8610600"/>
                    <a:gd name="connsiteY146" fmla="*/ 707473 h 10480123"/>
                    <a:gd name="connsiteX147" fmla="*/ 6096000 w 8610600"/>
                    <a:gd name="connsiteY147" fmla="*/ 193123 h 10480123"/>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66750 w 8610600"/>
                    <a:gd name="connsiteY68" fmla="*/ 6784423 h 10480123"/>
                    <a:gd name="connsiteX69" fmla="*/ 952500 w 8610600"/>
                    <a:gd name="connsiteY69" fmla="*/ 678442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048000 w 8610600"/>
                    <a:gd name="connsiteY73" fmla="*/ 7203523 h 10480123"/>
                    <a:gd name="connsiteX74" fmla="*/ 3009900 w 8610600"/>
                    <a:gd name="connsiteY74" fmla="*/ 7394023 h 10480123"/>
                    <a:gd name="connsiteX75" fmla="*/ 3143250 w 8610600"/>
                    <a:gd name="connsiteY75" fmla="*/ 7432123 h 10480123"/>
                    <a:gd name="connsiteX76" fmla="*/ 3276600 w 8610600"/>
                    <a:gd name="connsiteY76" fmla="*/ 7432123 h 10480123"/>
                    <a:gd name="connsiteX77" fmla="*/ 3295650 w 8610600"/>
                    <a:gd name="connsiteY77" fmla="*/ 7546423 h 10480123"/>
                    <a:gd name="connsiteX78" fmla="*/ 3371850 w 8610600"/>
                    <a:gd name="connsiteY78" fmla="*/ 7603573 h 10480123"/>
                    <a:gd name="connsiteX79" fmla="*/ 3657600 w 8610600"/>
                    <a:gd name="connsiteY79" fmla="*/ 7641673 h 10480123"/>
                    <a:gd name="connsiteX80" fmla="*/ 3657600 w 8610600"/>
                    <a:gd name="connsiteY80" fmla="*/ 7641673 h 10480123"/>
                    <a:gd name="connsiteX81" fmla="*/ 3676650 w 8610600"/>
                    <a:gd name="connsiteY81" fmla="*/ 7813123 h 10480123"/>
                    <a:gd name="connsiteX82" fmla="*/ 3924300 w 8610600"/>
                    <a:gd name="connsiteY82" fmla="*/ 7851223 h 10480123"/>
                    <a:gd name="connsiteX83" fmla="*/ 4341019 w 8610600"/>
                    <a:gd name="connsiteY83" fmla="*/ 7805979 h 10480123"/>
                    <a:gd name="connsiteX84" fmla="*/ 4724400 w 8610600"/>
                    <a:gd name="connsiteY84" fmla="*/ 7717873 h 10480123"/>
                    <a:gd name="connsiteX85" fmla="*/ 5098256 w 8610600"/>
                    <a:gd name="connsiteY85" fmla="*/ 7663104 h 10480123"/>
                    <a:gd name="connsiteX86" fmla="*/ 5272088 w 8610600"/>
                    <a:gd name="connsiteY86" fmla="*/ 7591667 h 10480123"/>
                    <a:gd name="connsiteX87" fmla="*/ 5391150 w 8610600"/>
                    <a:gd name="connsiteY87" fmla="*/ 7584523 h 10480123"/>
                    <a:gd name="connsiteX88" fmla="*/ 5657850 w 8610600"/>
                    <a:gd name="connsiteY88" fmla="*/ 7584523 h 10480123"/>
                    <a:gd name="connsiteX89" fmla="*/ 5867400 w 8610600"/>
                    <a:gd name="connsiteY89" fmla="*/ 7698823 h 10480123"/>
                    <a:gd name="connsiteX90" fmla="*/ 5753100 w 8610600"/>
                    <a:gd name="connsiteY90" fmla="*/ 7279723 h 10480123"/>
                    <a:gd name="connsiteX91" fmla="*/ 5581650 w 8610600"/>
                    <a:gd name="connsiteY91" fmla="*/ 6955873 h 10480123"/>
                    <a:gd name="connsiteX92" fmla="*/ 5391150 w 8610600"/>
                    <a:gd name="connsiteY92" fmla="*/ 6670123 h 10480123"/>
                    <a:gd name="connsiteX93" fmla="*/ 5281613 w 8610600"/>
                    <a:gd name="connsiteY93" fmla="*/ 6617736 h 10480123"/>
                    <a:gd name="connsiteX94" fmla="*/ 4910138 w 8610600"/>
                    <a:gd name="connsiteY94" fmla="*/ 6546298 h 10480123"/>
                    <a:gd name="connsiteX95" fmla="*/ 4629150 w 8610600"/>
                    <a:gd name="connsiteY95" fmla="*/ 6346273 h 10480123"/>
                    <a:gd name="connsiteX96" fmla="*/ 4286250 w 8610600"/>
                    <a:gd name="connsiteY96" fmla="*/ 6384373 h 10480123"/>
                    <a:gd name="connsiteX97" fmla="*/ 3874294 w 8610600"/>
                    <a:gd name="connsiteY97" fmla="*/ 6558204 h 10480123"/>
                    <a:gd name="connsiteX98" fmla="*/ 3600450 w 8610600"/>
                    <a:gd name="connsiteY98" fmla="*/ 6670123 h 10480123"/>
                    <a:gd name="connsiteX99" fmla="*/ 3181350 w 8610600"/>
                    <a:gd name="connsiteY99" fmla="*/ 5774773 h 10480123"/>
                    <a:gd name="connsiteX100" fmla="*/ 2724150 w 8610600"/>
                    <a:gd name="connsiteY100" fmla="*/ 4860373 h 10480123"/>
                    <a:gd name="connsiteX101" fmla="*/ 2381250 w 8610600"/>
                    <a:gd name="connsiteY101" fmla="*/ 4288873 h 10480123"/>
                    <a:gd name="connsiteX102" fmla="*/ 1962150 w 8610600"/>
                    <a:gd name="connsiteY102" fmla="*/ 3869773 h 10480123"/>
                    <a:gd name="connsiteX103" fmla="*/ 1619250 w 8610600"/>
                    <a:gd name="connsiteY103" fmla="*/ 3545923 h 10480123"/>
                    <a:gd name="connsiteX104" fmla="*/ 1009650 w 8610600"/>
                    <a:gd name="connsiteY104" fmla="*/ 3507823 h 10480123"/>
                    <a:gd name="connsiteX105" fmla="*/ 762000 w 8610600"/>
                    <a:gd name="connsiteY105" fmla="*/ 3545923 h 10480123"/>
                    <a:gd name="connsiteX106" fmla="*/ 838200 w 8610600"/>
                    <a:gd name="connsiteY106" fmla="*/ 2917273 h 10480123"/>
                    <a:gd name="connsiteX107" fmla="*/ 838200 w 8610600"/>
                    <a:gd name="connsiteY107" fmla="*/ 2479123 h 10480123"/>
                    <a:gd name="connsiteX108" fmla="*/ 971550 w 8610600"/>
                    <a:gd name="connsiteY108" fmla="*/ 1964773 h 10480123"/>
                    <a:gd name="connsiteX109" fmla="*/ 1028700 w 8610600"/>
                    <a:gd name="connsiteY109" fmla="*/ 1412323 h 10480123"/>
                    <a:gd name="connsiteX110" fmla="*/ 1295400 w 8610600"/>
                    <a:gd name="connsiteY110" fmla="*/ 859873 h 10480123"/>
                    <a:gd name="connsiteX111" fmla="*/ 1562100 w 8610600"/>
                    <a:gd name="connsiteY111" fmla="*/ 745573 h 10480123"/>
                    <a:gd name="connsiteX112" fmla="*/ 1809750 w 8610600"/>
                    <a:gd name="connsiteY112" fmla="*/ 726523 h 10480123"/>
                    <a:gd name="connsiteX113" fmla="*/ 2190750 w 8610600"/>
                    <a:gd name="connsiteY113" fmla="*/ 574123 h 10480123"/>
                    <a:gd name="connsiteX114" fmla="*/ 2457450 w 8610600"/>
                    <a:gd name="connsiteY114" fmla="*/ 478873 h 10480123"/>
                    <a:gd name="connsiteX115" fmla="*/ 2838450 w 8610600"/>
                    <a:gd name="connsiteY115" fmla="*/ 421723 h 10480123"/>
                    <a:gd name="connsiteX116" fmla="*/ 3219450 w 8610600"/>
                    <a:gd name="connsiteY116" fmla="*/ 174073 h 10480123"/>
                    <a:gd name="connsiteX117" fmla="*/ 2857500 w 8610600"/>
                    <a:gd name="connsiteY117" fmla="*/ 440773 h 10480123"/>
                    <a:gd name="connsiteX118" fmla="*/ 2381250 w 8610600"/>
                    <a:gd name="connsiteY118" fmla="*/ 707473 h 10480123"/>
                    <a:gd name="connsiteX119" fmla="*/ 2286000 w 8610600"/>
                    <a:gd name="connsiteY119" fmla="*/ 821773 h 10480123"/>
                    <a:gd name="connsiteX120" fmla="*/ 2400300 w 8610600"/>
                    <a:gd name="connsiteY120" fmla="*/ 840823 h 10480123"/>
                    <a:gd name="connsiteX121" fmla="*/ 2686050 w 8610600"/>
                    <a:gd name="connsiteY121" fmla="*/ 764623 h 10480123"/>
                    <a:gd name="connsiteX122" fmla="*/ 2895600 w 8610600"/>
                    <a:gd name="connsiteY122" fmla="*/ 707473 h 10480123"/>
                    <a:gd name="connsiteX123" fmla="*/ 3143250 w 8610600"/>
                    <a:gd name="connsiteY123" fmla="*/ 555073 h 10480123"/>
                    <a:gd name="connsiteX124" fmla="*/ 3143250 w 8610600"/>
                    <a:gd name="connsiteY124" fmla="*/ 669373 h 10480123"/>
                    <a:gd name="connsiteX125" fmla="*/ 3143250 w 8610600"/>
                    <a:gd name="connsiteY125" fmla="*/ 955123 h 10480123"/>
                    <a:gd name="connsiteX126" fmla="*/ 3314700 w 8610600"/>
                    <a:gd name="connsiteY126" fmla="*/ 1202773 h 10480123"/>
                    <a:gd name="connsiteX127" fmla="*/ 3067050 w 8610600"/>
                    <a:gd name="connsiteY127" fmla="*/ 2802973 h 10480123"/>
                    <a:gd name="connsiteX128" fmla="*/ 3009900 w 8610600"/>
                    <a:gd name="connsiteY128" fmla="*/ 3488773 h 10480123"/>
                    <a:gd name="connsiteX129" fmla="*/ 3162300 w 8610600"/>
                    <a:gd name="connsiteY129" fmla="*/ 4574623 h 10480123"/>
                    <a:gd name="connsiteX130" fmla="*/ 3314700 w 8610600"/>
                    <a:gd name="connsiteY130" fmla="*/ 5355673 h 10480123"/>
                    <a:gd name="connsiteX131" fmla="*/ 3429000 w 8610600"/>
                    <a:gd name="connsiteY131" fmla="*/ 6079573 h 10480123"/>
                    <a:gd name="connsiteX132" fmla="*/ 3714750 w 8610600"/>
                    <a:gd name="connsiteY132" fmla="*/ 5679523 h 10480123"/>
                    <a:gd name="connsiteX133" fmla="*/ 3886200 w 8610600"/>
                    <a:gd name="connsiteY133" fmla="*/ 5355673 h 10480123"/>
                    <a:gd name="connsiteX134" fmla="*/ 3981450 w 8610600"/>
                    <a:gd name="connsiteY134" fmla="*/ 4974673 h 10480123"/>
                    <a:gd name="connsiteX135" fmla="*/ 4248150 w 8610600"/>
                    <a:gd name="connsiteY135" fmla="*/ 4555573 h 10480123"/>
                    <a:gd name="connsiteX136" fmla="*/ 4476750 w 8610600"/>
                    <a:gd name="connsiteY136" fmla="*/ 4041223 h 10480123"/>
                    <a:gd name="connsiteX137" fmla="*/ 4876800 w 8610600"/>
                    <a:gd name="connsiteY137" fmla="*/ 3203023 h 10480123"/>
                    <a:gd name="connsiteX138" fmla="*/ 5181600 w 8610600"/>
                    <a:gd name="connsiteY138" fmla="*/ 2402923 h 10480123"/>
                    <a:gd name="connsiteX139" fmla="*/ 5410200 w 8610600"/>
                    <a:gd name="connsiteY139" fmla="*/ 1679023 h 10480123"/>
                    <a:gd name="connsiteX140" fmla="*/ 5638800 w 8610600"/>
                    <a:gd name="connsiteY140" fmla="*/ 993223 h 10480123"/>
                    <a:gd name="connsiteX141" fmla="*/ 6057900 w 8610600"/>
                    <a:gd name="connsiteY141" fmla="*/ 1336123 h 10480123"/>
                    <a:gd name="connsiteX142" fmla="*/ 6076950 w 8610600"/>
                    <a:gd name="connsiteY142" fmla="*/ 1583773 h 10480123"/>
                    <a:gd name="connsiteX143" fmla="*/ 6153150 w 8610600"/>
                    <a:gd name="connsiteY143" fmla="*/ 1659973 h 10480123"/>
                    <a:gd name="connsiteX144" fmla="*/ 6229350 w 8610600"/>
                    <a:gd name="connsiteY144" fmla="*/ 1488523 h 10480123"/>
                    <a:gd name="connsiteX145" fmla="*/ 6286500 w 8610600"/>
                    <a:gd name="connsiteY145" fmla="*/ 1164673 h 10480123"/>
                    <a:gd name="connsiteX146" fmla="*/ 6229350 w 8610600"/>
                    <a:gd name="connsiteY146" fmla="*/ 707473 h 10480123"/>
                    <a:gd name="connsiteX147" fmla="*/ 6096000 w 8610600"/>
                    <a:gd name="connsiteY147" fmla="*/ 193123 h 10480123"/>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66750 w 8610600"/>
                    <a:gd name="connsiteY68" fmla="*/ 6784423 h 10480123"/>
                    <a:gd name="connsiteX69" fmla="*/ 952500 w 8610600"/>
                    <a:gd name="connsiteY69" fmla="*/ 678442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048000 w 8610600"/>
                    <a:gd name="connsiteY73" fmla="*/ 7203523 h 10480123"/>
                    <a:gd name="connsiteX74" fmla="*/ 3009900 w 8610600"/>
                    <a:gd name="connsiteY74" fmla="*/ 7394023 h 10480123"/>
                    <a:gd name="connsiteX75" fmla="*/ 3143250 w 8610600"/>
                    <a:gd name="connsiteY75" fmla="*/ 7432123 h 10480123"/>
                    <a:gd name="connsiteX76" fmla="*/ 3276600 w 8610600"/>
                    <a:gd name="connsiteY76" fmla="*/ 7432123 h 10480123"/>
                    <a:gd name="connsiteX77" fmla="*/ 3295650 w 8610600"/>
                    <a:gd name="connsiteY77" fmla="*/ 7546423 h 10480123"/>
                    <a:gd name="connsiteX78" fmla="*/ 3371850 w 8610600"/>
                    <a:gd name="connsiteY78" fmla="*/ 7603573 h 10480123"/>
                    <a:gd name="connsiteX79" fmla="*/ 3657600 w 8610600"/>
                    <a:gd name="connsiteY79" fmla="*/ 7641673 h 10480123"/>
                    <a:gd name="connsiteX80" fmla="*/ 3657600 w 8610600"/>
                    <a:gd name="connsiteY80" fmla="*/ 7641673 h 10480123"/>
                    <a:gd name="connsiteX81" fmla="*/ 3698081 w 8610600"/>
                    <a:gd name="connsiteY81" fmla="*/ 7789311 h 10480123"/>
                    <a:gd name="connsiteX82" fmla="*/ 3924300 w 8610600"/>
                    <a:gd name="connsiteY82" fmla="*/ 7851223 h 10480123"/>
                    <a:gd name="connsiteX83" fmla="*/ 4341019 w 8610600"/>
                    <a:gd name="connsiteY83" fmla="*/ 7805979 h 10480123"/>
                    <a:gd name="connsiteX84" fmla="*/ 4724400 w 8610600"/>
                    <a:gd name="connsiteY84" fmla="*/ 7717873 h 10480123"/>
                    <a:gd name="connsiteX85" fmla="*/ 5098256 w 8610600"/>
                    <a:gd name="connsiteY85" fmla="*/ 7663104 h 10480123"/>
                    <a:gd name="connsiteX86" fmla="*/ 5272088 w 8610600"/>
                    <a:gd name="connsiteY86" fmla="*/ 7591667 h 10480123"/>
                    <a:gd name="connsiteX87" fmla="*/ 5391150 w 8610600"/>
                    <a:gd name="connsiteY87" fmla="*/ 7584523 h 10480123"/>
                    <a:gd name="connsiteX88" fmla="*/ 5657850 w 8610600"/>
                    <a:gd name="connsiteY88" fmla="*/ 7584523 h 10480123"/>
                    <a:gd name="connsiteX89" fmla="*/ 5867400 w 8610600"/>
                    <a:gd name="connsiteY89" fmla="*/ 7698823 h 10480123"/>
                    <a:gd name="connsiteX90" fmla="*/ 5753100 w 8610600"/>
                    <a:gd name="connsiteY90" fmla="*/ 7279723 h 10480123"/>
                    <a:gd name="connsiteX91" fmla="*/ 5581650 w 8610600"/>
                    <a:gd name="connsiteY91" fmla="*/ 6955873 h 10480123"/>
                    <a:gd name="connsiteX92" fmla="*/ 5391150 w 8610600"/>
                    <a:gd name="connsiteY92" fmla="*/ 6670123 h 10480123"/>
                    <a:gd name="connsiteX93" fmla="*/ 5281613 w 8610600"/>
                    <a:gd name="connsiteY93" fmla="*/ 6617736 h 10480123"/>
                    <a:gd name="connsiteX94" fmla="*/ 4910138 w 8610600"/>
                    <a:gd name="connsiteY94" fmla="*/ 6546298 h 10480123"/>
                    <a:gd name="connsiteX95" fmla="*/ 4629150 w 8610600"/>
                    <a:gd name="connsiteY95" fmla="*/ 6346273 h 10480123"/>
                    <a:gd name="connsiteX96" fmla="*/ 4286250 w 8610600"/>
                    <a:gd name="connsiteY96" fmla="*/ 6384373 h 10480123"/>
                    <a:gd name="connsiteX97" fmla="*/ 3874294 w 8610600"/>
                    <a:gd name="connsiteY97" fmla="*/ 6558204 h 10480123"/>
                    <a:gd name="connsiteX98" fmla="*/ 3600450 w 8610600"/>
                    <a:gd name="connsiteY98" fmla="*/ 6670123 h 10480123"/>
                    <a:gd name="connsiteX99" fmla="*/ 3181350 w 8610600"/>
                    <a:gd name="connsiteY99" fmla="*/ 5774773 h 10480123"/>
                    <a:gd name="connsiteX100" fmla="*/ 2724150 w 8610600"/>
                    <a:gd name="connsiteY100" fmla="*/ 4860373 h 10480123"/>
                    <a:gd name="connsiteX101" fmla="*/ 2381250 w 8610600"/>
                    <a:gd name="connsiteY101" fmla="*/ 4288873 h 10480123"/>
                    <a:gd name="connsiteX102" fmla="*/ 1962150 w 8610600"/>
                    <a:gd name="connsiteY102" fmla="*/ 3869773 h 10480123"/>
                    <a:gd name="connsiteX103" fmla="*/ 1619250 w 8610600"/>
                    <a:gd name="connsiteY103" fmla="*/ 3545923 h 10480123"/>
                    <a:gd name="connsiteX104" fmla="*/ 1009650 w 8610600"/>
                    <a:gd name="connsiteY104" fmla="*/ 3507823 h 10480123"/>
                    <a:gd name="connsiteX105" fmla="*/ 762000 w 8610600"/>
                    <a:gd name="connsiteY105" fmla="*/ 3545923 h 10480123"/>
                    <a:gd name="connsiteX106" fmla="*/ 838200 w 8610600"/>
                    <a:gd name="connsiteY106" fmla="*/ 2917273 h 10480123"/>
                    <a:gd name="connsiteX107" fmla="*/ 838200 w 8610600"/>
                    <a:gd name="connsiteY107" fmla="*/ 2479123 h 10480123"/>
                    <a:gd name="connsiteX108" fmla="*/ 971550 w 8610600"/>
                    <a:gd name="connsiteY108" fmla="*/ 1964773 h 10480123"/>
                    <a:gd name="connsiteX109" fmla="*/ 1028700 w 8610600"/>
                    <a:gd name="connsiteY109" fmla="*/ 1412323 h 10480123"/>
                    <a:gd name="connsiteX110" fmla="*/ 1295400 w 8610600"/>
                    <a:gd name="connsiteY110" fmla="*/ 859873 h 10480123"/>
                    <a:gd name="connsiteX111" fmla="*/ 1562100 w 8610600"/>
                    <a:gd name="connsiteY111" fmla="*/ 745573 h 10480123"/>
                    <a:gd name="connsiteX112" fmla="*/ 1809750 w 8610600"/>
                    <a:gd name="connsiteY112" fmla="*/ 726523 h 10480123"/>
                    <a:gd name="connsiteX113" fmla="*/ 2190750 w 8610600"/>
                    <a:gd name="connsiteY113" fmla="*/ 574123 h 10480123"/>
                    <a:gd name="connsiteX114" fmla="*/ 2457450 w 8610600"/>
                    <a:gd name="connsiteY114" fmla="*/ 478873 h 10480123"/>
                    <a:gd name="connsiteX115" fmla="*/ 2838450 w 8610600"/>
                    <a:gd name="connsiteY115" fmla="*/ 421723 h 10480123"/>
                    <a:gd name="connsiteX116" fmla="*/ 3219450 w 8610600"/>
                    <a:gd name="connsiteY116" fmla="*/ 174073 h 10480123"/>
                    <a:gd name="connsiteX117" fmla="*/ 2857500 w 8610600"/>
                    <a:gd name="connsiteY117" fmla="*/ 440773 h 10480123"/>
                    <a:gd name="connsiteX118" fmla="*/ 2381250 w 8610600"/>
                    <a:gd name="connsiteY118" fmla="*/ 707473 h 10480123"/>
                    <a:gd name="connsiteX119" fmla="*/ 2286000 w 8610600"/>
                    <a:gd name="connsiteY119" fmla="*/ 821773 h 10480123"/>
                    <a:gd name="connsiteX120" fmla="*/ 2400300 w 8610600"/>
                    <a:gd name="connsiteY120" fmla="*/ 840823 h 10480123"/>
                    <a:gd name="connsiteX121" fmla="*/ 2686050 w 8610600"/>
                    <a:gd name="connsiteY121" fmla="*/ 764623 h 10480123"/>
                    <a:gd name="connsiteX122" fmla="*/ 2895600 w 8610600"/>
                    <a:gd name="connsiteY122" fmla="*/ 707473 h 10480123"/>
                    <a:gd name="connsiteX123" fmla="*/ 3143250 w 8610600"/>
                    <a:gd name="connsiteY123" fmla="*/ 555073 h 10480123"/>
                    <a:gd name="connsiteX124" fmla="*/ 3143250 w 8610600"/>
                    <a:gd name="connsiteY124" fmla="*/ 669373 h 10480123"/>
                    <a:gd name="connsiteX125" fmla="*/ 3143250 w 8610600"/>
                    <a:gd name="connsiteY125" fmla="*/ 955123 h 10480123"/>
                    <a:gd name="connsiteX126" fmla="*/ 3314700 w 8610600"/>
                    <a:gd name="connsiteY126" fmla="*/ 1202773 h 10480123"/>
                    <a:gd name="connsiteX127" fmla="*/ 3067050 w 8610600"/>
                    <a:gd name="connsiteY127" fmla="*/ 2802973 h 10480123"/>
                    <a:gd name="connsiteX128" fmla="*/ 3009900 w 8610600"/>
                    <a:gd name="connsiteY128" fmla="*/ 3488773 h 10480123"/>
                    <a:gd name="connsiteX129" fmla="*/ 3162300 w 8610600"/>
                    <a:gd name="connsiteY129" fmla="*/ 4574623 h 10480123"/>
                    <a:gd name="connsiteX130" fmla="*/ 3314700 w 8610600"/>
                    <a:gd name="connsiteY130" fmla="*/ 5355673 h 10480123"/>
                    <a:gd name="connsiteX131" fmla="*/ 3429000 w 8610600"/>
                    <a:gd name="connsiteY131" fmla="*/ 6079573 h 10480123"/>
                    <a:gd name="connsiteX132" fmla="*/ 3714750 w 8610600"/>
                    <a:gd name="connsiteY132" fmla="*/ 5679523 h 10480123"/>
                    <a:gd name="connsiteX133" fmla="*/ 3886200 w 8610600"/>
                    <a:gd name="connsiteY133" fmla="*/ 5355673 h 10480123"/>
                    <a:gd name="connsiteX134" fmla="*/ 3981450 w 8610600"/>
                    <a:gd name="connsiteY134" fmla="*/ 4974673 h 10480123"/>
                    <a:gd name="connsiteX135" fmla="*/ 4248150 w 8610600"/>
                    <a:gd name="connsiteY135" fmla="*/ 4555573 h 10480123"/>
                    <a:gd name="connsiteX136" fmla="*/ 4476750 w 8610600"/>
                    <a:gd name="connsiteY136" fmla="*/ 4041223 h 10480123"/>
                    <a:gd name="connsiteX137" fmla="*/ 4876800 w 8610600"/>
                    <a:gd name="connsiteY137" fmla="*/ 3203023 h 10480123"/>
                    <a:gd name="connsiteX138" fmla="*/ 5181600 w 8610600"/>
                    <a:gd name="connsiteY138" fmla="*/ 2402923 h 10480123"/>
                    <a:gd name="connsiteX139" fmla="*/ 5410200 w 8610600"/>
                    <a:gd name="connsiteY139" fmla="*/ 1679023 h 10480123"/>
                    <a:gd name="connsiteX140" fmla="*/ 5638800 w 8610600"/>
                    <a:gd name="connsiteY140" fmla="*/ 993223 h 10480123"/>
                    <a:gd name="connsiteX141" fmla="*/ 6057900 w 8610600"/>
                    <a:gd name="connsiteY141" fmla="*/ 1336123 h 10480123"/>
                    <a:gd name="connsiteX142" fmla="*/ 6076950 w 8610600"/>
                    <a:gd name="connsiteY142" fmla="*/ 1583773 h 10480123"/>
                    <a:gd name="connsiteX143" fmla="*/ 6153150 w 8610600"/>
                    <a:gd name="connsiteY143" fmla="*/ 1659973 h 10480123"/>
                    <a:gd name="connsiteX144" fmla="*/ 6229350 w 8610600"/>
                    <a:gd name="connsiteY144" fmla="*/ 1488523 h 10480123"/>
                    <a:gd name="connsiteX145" fmla="*/ 6286500 w 8610600"/>
                    <a:gd name="connsiteY145" fmla="*/ 1164673 h 10480123"/>
                    <a:gd name="connsiteX146" fmla="*/ 6229350 w 8610600"/>
                    <a:gd name="connsiteY146" fmla="*/ 707473 h 10480123"/>
                    <a:gd name="connsiteX147" fmla="*/ 6096000 w 8610600"/>
                    <a:gd name="connsiteY147" fmla="*/ 193123 h 10480123"/>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66750 w 8610600"/>
                    <a:gd name="connsiteY68" fmla="*/ 6784423 h 10480123"/>
                    <a:gd name="connsiteX69" fmla="*/ 952500 w 8610600"/>
                    <a:gd name="connsiteY69" fmla="*/ 678442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048000 w 8610600"/>
                    <a:gd name="connsiteY73" fmla="*/ 7203523 h 10480123"/>
                    <a:gd name="connsiteX74" fmla="*/ 3009900 w 8610600"/>
                    <a:gd name="connsiteY74" fmla="*/ 7394023 h 10480123"/>
                    <a:gd name="connsiteX75" fmla="*/ 3143250 w 8610600"/>
                    <a:gd name="connsiteY75" fmla="*/ 7432123 h 10480123"/>
                    <a:gd name="connsiteX76" fmla="*/ 3276600 w 8610600"/>
                    <a:gd name="connsiteY76" fmla="*/ 7432123 h 10480123"/>
                    <a:gd name="connsiteX77" fmla="*/ 3295650 w 8610600"/>
                    <a:gd name="connsiteY77" fmla="*/ 7546423 h 10480123"/>
                    <a:gd name="connsiteX78" fmla="*/ 3371850 w 8610600"/>
                    <a:gd name="connsiteY78" fmla="*/ 7603573 h 10480123"/>
                    <a:gd name="connsiteX79" fmla="*/ 3657600 w 8610600"/>
                    <a:gd name="connsiteY79" fmla="*/ 7641673 h 10480123"/>
                    <a:gd name="connsiteX80" fmla="*/ 3657600 w 8610600"/>
                    <a:gd name="connsiteY80" fmla="*/ 7641673 h 10480123"/>
                    <a:gd name="connsiteX81" fmla="*/ 3698081 w 8610600"/>
                    <a:gd name="connsiteY81" fmla="*/ 7789311 h 10480123"/>
                    <a:gd name="connsiteX82" fmla="*/ 3926681 w 8610600"/>
                    <a:gd name="connsiteY82" fmla="*/ 7836936 h 10480123"/>
                    <a:gd name="connsiteX83" fmla="*/ 4341019 w 8610600"/>
                    <a:gd name="connsiteY83" fmla="*/ 7805979 h 10480123"/>
                    <a:gd name="connsiteX84" fmla="*/ 4724400 w 8610600"/>
                    <a:gd name="connsiteY84" fmla="*/ 7717873 h 10480123"/>
                    <a:gd name="connsiteX85" fmla="*/ 5098256 w 8610600"/>
                    <a:gd name="connsiteY85" fmla="*/ 7663104 h 10480123"/>
                    <a:gd name="connsiteX86" fmla="*/ 5272088 w 8610600"/>
                    <a:gd name="connsiteY86" fmla="*/ 7591667 h 10480123"/>
                    <a:gd name="connsiteX87" fmla="*/ 5391150 w 8610600"/>
                    <a:gd name="connsiteY87" fmla="*/ 7584523 h 10480123"/>
                    <a:gd name="connsiteX88" fmla="*/ 5657850 w 8610600"/>
                    <a:gd name="connsiteY88" fmla="*/ 7584523 h 10480123"/>
                    <a:gd name="connsiteX89" fmla="*/ 5867400 w 8610600"/>
                    <a:gd name="connsiteY89" fmla="*/ 7698823 h 10480123"/>
                    <a:gd name="connsiteX90" fmla="*/ 5753100 w 8610600"/>
                    <a:gd name="connsiteY90" fmla="*/ 7279723 h 10480123"/>
                    <a:gd name="connsiteX91" fmla="*/ 5581650 w 8610600"/>
                    <a:gd name="connsiteY91" fmla="*/ 6955873 h 10480123"/>
                    <a:gd name="connsiteX92" fmla="*/ 5391150 w 8610600"/>
                    <a:gd name="connsiteY92" fmla="*/ 6670123 h 10480123"/>
                    <a:gd name="connsiteX93" fmla="*/ 5281613 w 8610600"/>
                    <a:gd name="connsiteY93" fmla="*/ 6617736 h 10480123"/>
                    <a:gd name="connsiteX94" fmla="*/ 4910138 w 8610600"/>
                    <a:gd name="connsiteY94" fmla="*/ 6546298 h 10480123"/>
                    <a:gd name="connsiteX95" fmla="*/ 4629150 w 8610600"/>
                    <a:gd name="connsiteY95" fmla="*/ 6346273 h 10480123"/>
                    <a:gd name="connsiteX96" fmla="*/ 4286250 w 8610600"/>
                    <a:gd name="connsiteY96" fmla="*/ 6384373 h 10480123"/>
                    <a:gd name="connsiteX97" fmla="*/ 3874294 w 8610600"/>
                    <a:gd name="connsiteY97" fmla="*/ 6558204 h 10480123"/>
                    <a:gd name="connsiteX98" fmla="*/ 3600450 w 8610600"/>
                    <a:gd name="connsiteY98" fmla="*/ 6670123 h 10480123"/>
                    <a:gd name="connsiteX99" fmla="*/ 3181350 w 8610600"/>
                    <a:gd name="connsiteY99" fmla="*/ 5774773 h 10480123"/>
                    <a:gd name="connsiteX100" fmla="*/ 2724150 w 8610600"/>
                    <a:gd name="connsiteY100" fmla="*/ 4860373 h 10480123"/>
                    <a:gd name="connsiteX101" fmla="*/ 2381250 w 8610600"/>
                    <a:gd name="connsiteY101" fmla="*/ 4288873 h 10480123"/>
                    <a:gd name="connsiteX102" fmla="*/ 1962150 w 8610600"/>
                    <a:gd name="connsiteY102" fmla="*/ 3869773 h 10480123"/>
                    <a:gd name="connsiteX103" fmla="*/ 1619250 w 8610600"/>
                    <a:gd name="connsiteY103" fmla="*/ 3545923 h 10480123"/>
                    <a:gd name="connsiteX104" fmla="*/ 1009650 w 8610600"/>
                    <a:gd name="connsiteY104" fmla="*/ 3507823 h 10480123"/>
                    <a:gd name="connsiteX105" fmla="*/ 762000 w 8610600"/>
                    <a:gd name="connsiteY105" fmla="*/ 3545923 h 10480123"/>
                    <a:gd name="connsiteX106" fmla="*/ 838200 w 8610600"/>
                    <a:gd name="connsiteY106" fmla="*/ 2917273 h 10480123"/>
                    <a:gd name="connsiteX107" fmla="*/ 838200 w 8610600"/>
                    <a:gd name="connsiteY107" fmla="*/ 2479123 h 10480123"/>
                    <a:gd name="connsiteX108" fmla="*/ 971550 w 8610600"/>
                    <a:gd name="connsiteY108" fmla="*/ 1964773 h 10480123"/>
                    <a:gd name="connsiteX109" fmla="*/ 1028700 w 8610600"/>
                    <a:gd name="connsiteY109" fmla="*/ 1412323 h 10480123"/>
                    <a:gd name="connsiteX110" fmla="*/ 1295400 w 8610600"/>
                    <a:gd name="connsiteY110" fmla="*/ 859873 h 10480123"/>
                    <a:gd name="connsiteX111" fmla="*/ 1562100 w 8610600"/>
                    <a:gd name="connsiteY111" fmla="*/ 745573 h 10480123"/>
                    <a:gd name="connsiteX112" fmla="*/ 1809750 w 8610600"/>
                    <a:gd name="connsiteY112" fmla="*/ 726523 h 10480123"/>
                    <a:gd name="connsiteX113" fmla="*/ 2190750 w 8610600"/>
                    <a:gd name="connsiteY113" fmla="*/ 574123 h 10480123"/>
                    <a:gd name="connsiteX114" fmla="*/ 2457450 w 8610600"/>
                    <a:gd name="connsiteY114" fmla="*/ 478873 h 10480123"/>
                    <a:gd name="connsiteX115" fmla="*/ 2838450 w 8610600"/>
                    <a:gd name="connsiteY115" fmla="*/ 421723 h 10480123"/>
                    <a:gd name="connsiteX116" fmla="*/ 3219450 w 8610600"/>
                    <a:gd name="connsiteY116" fmla="*/ 174073 h 10480123"/>
                    <a:gd name="connsiteX117" fmla="*/ 2857500 w 8610600"/>
                    <a:gd name="connsiteY117" fmla="*/ 440773 h 10480123"/>
                    <a:gd name="connsiteX118" fmla="*/ 2381250 w 8610600"/>
                    <a:gd name="connsiteY118" fmla="*/ 707473 h 10480123"/>
                    <a:gd name="connsiteX119" fmla="*/ 2286000 w 8610600"/>
                    <a:gd name="connsiteY119" fmla="*/ 821773 h 10480123"/>
                    <a:gd name="connsiteX120" fmla="*/ 2400300 w 8610600"/>
                    <a:gd name="connsiteY120" fmla="*/ 840823 h 10480123"/>
                    <a:gd name="connsiteX121" fmla="*/ 2686050 w 8610600"/>
                    <a:gd name="connsiteY121" fmla="*/ 764623 h 10480123"/>
                    <a:gd name="connsiteX122" fmla="*/ 2895600 w 8610600"/>
                    <a:gd name="connsiteY122" fmla="*/ 707473 h 10480123"/>
                    <a:gd name="connsiteX123" fmla="*/ 3143250 w 8610600"/>
                    <a:gd name="connsiteY123" fmla="*/ 555073 h 10480123"/>
                    <a:gd name="connsiteX124" fmla="*/ 3143250 w 8610600"/>
                    <a:gd name="connsiteY124" fmla="*/ 669373 h 10480123"/>
                    <a:gd name="connsiteX125" fmla="*/ 3143250 w 8610600"/>
                    <a:gd name="connsiteY125" fmla="*/ 955123 h 10480123"/>
                    <a:gd name="connsiteX126" fmla="*/ 3314700 w 8610600"/>
                    <a:gd name="connsiteY126" fmla="*/ 1202773 h 10480123"/>
                    <a:gd name="connsiteX127" fmla="*/ 3067050 w 8610600"/>
                    <a:gd name="connsiteY127" fmla="*/ 2802973 h 10480123"/>
                    <a:gd name="connsiteX128" fmla="*/ 3009900 w 8610600"/>
                    <a:gd name="connsiteY128" fmla="*/ 3488773 h 10480123"/>
                    <a:gd name="connsiteX129" fmla="*/ 3162300 w 8610600"/>
                    <a:gd name="connsiteY129" fmla="*/ 4574623 h 10480123"/>
                    <a:gd name="connsiteX130" fmla="*/ 3314700 w 8610600"/>
                    <a:gd name="connsiteY130" fmla="*/ 5355673 h 10480123"/>
                    <a:gd name="connsiteX131" fmla="*/ 3429000 w 8610600"/>
                    <a:gd name="connsiteY131" fmla="*/ 6079573 h 10480123"/>
                    <a:gd name="connsiteX132" fmla="*/ 3714750 w 8610600"/>
                    <a:gd name="connsiteY132" fmla="*/ 5679523 h 10480123"/>
                    <a:gd name="connsiteX133" fmla="*/ 3886200 w 8610600"/>
                    <a:gd name="connsiteY133" fmla="*/ 5355673 h 10480123"/>
                    <a:gd name="connsiteX134" fmla="*/ 3981450 w 8610600"/>
                    <a:gd name="connsiteY134" fmla="*/ 4974673 h 10480123"/>
                    <a:gd name="connsiteX135" fmla="*/ 4248150 w 8610600"/>
                    <a:gd name="connsiteY135" fmla="*/ 4555573 h 10480123"/>
                    <a:gd name="connsiteX136" fmla="*/ 4476750 w 8610600"/>
                    <a:gd name="connsiteY136" fmla="*/ 4041223 h 10480123"/>
                    <a:gd name="connsiteX137" fmla="*/ 4876800 w 8610600"/>
                    <a:gd name="connsiteY137" fmla="*/ 3203023 h 10480123"/>
                    <a:gd name="connsiteX138" fmla="*/ 5181600 w 8610600"/>
                    <a:gd name="connsiteY138" fmla="*/ 2402923 h 10480123"/>
                    <a:gd name="connsiteX139" fmla="*/ 5410200 w 8610600"/>
                    <a:gd name="connsiteY139" fmla="*/ 1679023 h 10480123"/>
                    <a:gd name="connsiteX140" fmla="*/ 5638800 w 8610600"/>
                    <a:gd name="connsiteY140" fmla="*/ 993223 h 10480123"/>
                    <a:gd name="connsiteX141" fmla="*/ 6057900 w 8610600"/>
                    <a:gd name="connsiteY141" fmla="*/ 1336123 h 10480123"/>
                    <a:gd name="connsiteX142" fmla="*/ 6076950 w 8610600"/>
                    <a:gd name="connsiteY142" fmla="*/ 1583773 h 10480123"/>
                    <a:gd name="connsiteX143" fmla="*/ 6153150 w 8610600"/>
                    <a:gd name="connsiteY143" fmla="*/ 1659973 h 10480123"/>
                    <a:gd name="connsiteX144" fmla="*/ 6229350 w 8610600"/>
                    <a:gd name="connsiteY144" fmla="*/ 1488523 h 10480123"/>
                    <a:gd name="connsiteX145" fmla="*/ 6286500 w 8610600"/>
                    <a:gd name="connsiteY145" fmla="*/ 1164673 h 10480123"/>
                    <a:gd name="connsiteX146" fmla="*/ 6229350 w 8610600"/>
                    <a:gd name="connsiteY146" fmla="*/ 707473 h 10480123"/>
                    <a:gd name="connsiteX147" fmla="*/ 6096000 w 8610600"/>
                    <a:gd name="connsiteY147" fmla="*/ 193123 h 10480123"/>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66750 w 8610600"/>
                    <a:gd name="connsiteY68" fmla="*/ 6784423 h 10480123"/>
                    <a:gd name="connsiteX69" fmla="*/ 952500 w 8610600"/>
                    <a:gd name="connsiteY69" fmla="*/ 678442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048000 w 8610600"/>
                    <a:gd name="connsiteY73" fmla="*/ 7203523 h 10480123"/>
                    <a:gd name="connsiteX74" fmla="*/ 3009900 w 8610600"/>
                    <a:gd name="connsiteY74" fmla="*/ 7394023 h 10480123"/>
                    <a:gd name="connsiteX75" fmla="*/ 3143250 w 8610600"/>
                    <a:gd name="connsiteY75" fmla="*/ 7432123 h 10480123"/>
                    <a:gd name="connsiteX76" fmla="*/ 3276600 w 8610600"/>
                    <a:gd name="connsiteY76" fmla="*/ 7432123 h 10480123"/>
                    <a:gd name="connsiteX77" fmla="*/ 3295650 w 8610600"/>
                    <a:gd name="connsiteY77" fmla="*/ 7546423 h 10480123"/>
                    <a:gd name="connsiteX78" fmla="*/ 3371850 w 8610600"/>
                    <a:gd name="connsiteY78" fmla="*/ 7603573 h 10480123"/>
                    <a:gd name="connsiteX79" fmla="*/ 3657600 w 8610600"/>
                    <a:gd name="connsiteY79" fmla="*/ 7641673 h 10480123"/>
                    <a:gd name="connsiteX80" fmla="*/ 3657600 w 8610600"/>
                    <a:gd name="connsiteY80" fmla="*/ 7641673 h 10480123"/>
                    <a:gd name="connsiteX81" fmla="*/ 3698081 w 8610600"/>
                    <a:gd name="connsiteY81" fmla="*/ 7789311 h 10480123"/>
                    <a:gd name="connsiteX82" fmla="*/ 3926681 w 8610600"/>
                    <a:gd name="connsiteY82" fmla="*/ 7836936 h 10480123"/>
                    <a:gd name="connsiteX83" fmla="*/ 4341019 w 8610600"/>
                    <a:gd name="connsiteY83" fmla="*/ 7805979 h 10480123"/>
                    <a:gd name="connsiteX84" fmla="*/ 4724400 w 8610600"/>
                    <a:gd name="connsiteY84" fmla="*/ 7717873 h 10480123"/>
                    <a:gd name="connsiteX85" fmla="*/ 5098256 w 8610600"/>
                    <a:gd name="connsiteY85" fmla="*/ 7663104 h 10480123"/>
                    <a:gd name="connsiteX86" fmla="*/ 5272088 w 8610600"/>
                    <a:gd name="connsiteY86" fmla="*/ 7591667 h 10480123"/>
                    <a:gd name="connsiteX87" fmla="*/ 5391150 w 8610600"/>
                    <a:gd name="connsiteY87" fmla="*/ 7584523 h 10480123"/>
                    <a:gd name="connsiteX88" fmla="*/ 5657850 w 8610600"/>
                    <a:gd name="connsiteY88" fmla="*/ 7584523 h 10480123"/>
                    <a:gd name="connsiteX89" fmla="*/ 5867400 w 8610600"/>
                    <a:gd name="connsiteY89" fmla="*/ 7698823 h 10480123"/>
                    <a:gd name="connsiteX90" fmla="*/ 5753100 w 8610600"/>
                    <a:gd name="connsiteY90" fmla="*/ 7279723 h 10480123"/>
                    <a:gd name="connsiteX91" fmla="*/ 5581650 w 8610600"/>
                    <a:gd name="connsiteY91" fmla="*/ 6955873 h 10480123"/>
                    <a:gd name="connsiteX92" fmla="*/ 5391150 w 8610600"/>
                    <a:gd name="connsiteY92" fmla="*/ 6670123 h 10480123"/>
                    <a:gd name="connsiteX93" fmla="*/ 5281613 w 8610600"/>
                    <a:gd name="connsiteY93" fmla="*/ 6617736 h 10480123"/>
                    <a:gd name="connsiteX94" fmla="*/ 4910138 w 8610600"/>
                    <a:gd name="connsiteY94" fmla="*/ 6546298 h 10480123"/>
                    <a:gd name="connsiteX95" fmla="*/ 4629150 w 8610600"/>
                    <a:gd name="connsiteY95" fmla="*/ 6346273 h 10480123"/>
                    <a:gd name="connsiteX96" fmla="*/ 4286250 w 8610600"/>
                    <a:gd name="connsiteY96" fmla="*/ 6384373 h 10480123"/>
                    <a:gd name="connsiteX97" fmla="*/ 3874294 w 8610600"/>
                    <a:gd name="connsiteY97" fmla="*/ 6558204 h 10480123"/>
                    <a:gd name="connsiteX98" fmla="*/ 3600450 w 8610600"/>
                    <a:gd name="connsiteY98" fmla="*/ 6670123 h 10480123"/>
                    <a:gd name="connsiteX99" fmla="*/ 3181350 w 8610600"/>
                    <a:gd name="connsiteY99" fmla="*/ 5774773 h 10480123"/>
                    <a:gd name="connsiteX100" fmla="*/ 2724150 w 8610600"/>
                    <a:gd name="connsiteY100" fmla="*/ 4860373 h 10480123"/>
                    <a:gd name="connsiteX101" fmla="*/ 2381250 w 8610600"/>
                    <a:gd name="connsiteY101" fmla="*/ 4288873 h 10480123"/>
                    <a:gd name="connsiteX102" fmla="*/ 1962150 w 8610600"/>
                    <a:gd name="connsiteY102" fmla="*/ 3869773 h 10480123"/>
                    <a:gd name="connsiteX103" fmla="*/ 1619250 w 8610600"/>
                    <a:gd name="connsiteY103" fmla="*/ 3545923 h 10480123"/>
                    <a:gd name="connsiteX104" fmla="*/ 1009650 w 8610600"/>
                    <a:gd name="connsiteY104" fmla="*/ 3507823 h 10480123"/>
                    <a:gd name="connsiteX105" fmla="*/ 762000 w 8610600"/>
                    <a:gd name="connsiteY105" fmla="*/ 3545923 h 10480123"/>
                    <a:gd name="connsiteX106" fmla="*/ 838200 w 8610600"/>
                    <a:gd name="connsiteY106" fmla="*/ 2917273 h 10480123"/>
                    <a:gd name="connsiteX107" fmla="*/ 838200 w 8610600"/>
                    <a:gd name="connsiteY107" fmla="*/ 2479123 h 10480123"/>
                    <a:gd name="connsiteX108" fmla="*/ 971550 w 8610600"/>
                    <a:gd name="connsiteY108" fmla="*/ 1964773 h 10480123"/>
                    <a:gd name="connsiteX109" fmla="*/ 1028700 w 8610600"/>
                    <a:gd name="connsiteY109" fmla="*/ 1412323 h 10480123"/>
                    <a:gd name="connsiteX110" fmla="*/ 1295400 w 8610600"/>
                    <a:gd name="connsiteY110" fmla="*/ 859873 h 10480123"/>
                    <a:gd name="connsiteX111" fmla="*/ 1562100 w 8610600"/>
                    <a:gd name="connsiteY111" fmla="*/ 745573 h 10480123"/>
                    <a:gd name="connsiteX112" fmla="*/ 1809750 w 8610600"/>
                    <a:gd name="connsiteY112" fmla="*/ 726523 h 10480123"/>
                    <a:gd name="connsiteX113" fmla="*/ 2190750 w 8610600"/>
                    <a:gd name="connsiteY113" fmla="*/ 574123 h 10480123"/>
                    <a:gd name="connsiteX114" fmla="*/ 2457450 w 8610600"/>
                    <a:gd name="connsiteY114" fmla="*/ 478873 h 10480123"/>
                    <a:gd name="connsiteX115" fmla="*/ 2838450 w 8610600"/>
                    <a:gd name="connsiteY115" fmla="*/ 421723 h 10480123"/>
                    <a:gd name="connsiteX116" fmla="*/ 3219450 w 8610600"/>
                    <a:gd name="connsiteY116" fmla="*/ 174073 h 10480123"/>
                    <a:gd name="connsiteX117" fmla="*/ 2857500 w 8610600"/>
                    <a:gd name="connsiteY117" fmla="*/ 440773 h 10480123"/>
                    <a:gd name="connsiteX118" fmla="*/ 2381250 w 8610600"/>
                    <a:gd name="connsiteY118" fmla="*/ 707473 h 10480123"/>
                    <a:gd name="connsiteX119" fmla="*/ 2286000 w 8610600"/>
                    <a:gd name="connsiteY119" fmla="*/ 821773 h 10480123"/>
                    <a:gd name="connsiteX120" fmla="*/ 2400300 w 8610600"/>
                    <a:gd name="connsiteY120" fmla="*/ 840823 h 10480123"/>
                    <a:gd name="connsiteX121" fmla="*/ 2686050 w 8610600"/>
                    <a:gd name="connsiteY121" fmla="*/ 764623 h 10480123"/>
                    <a:gd name="connsiteX122" fmla="*/ 2895600 w 8610600"/>
                    <a:gd name="connsiteY122" fmla="*/ 707473 h 10480123"/>
                    <a:gd name="connsiteX123" fmla="*/ 3143250 w 8610600"/>
                    <a:gd name="connsiteY123" fmla="*/ 555073 h 10480123"/>
                    <a:gd name="connsiteX124" fmla="*/ 3143250 w 8610600"/>
                    <a:gd name="connsiteY124" fmla="*/ 669373 h 10480123"/>
                    <a:gd name="connsiteX125" fmla="*/ 3143250 w 8610600"/>
                    <a:gd name="connsiteY125" fmla="*/ 955123 h 10480123"/>
                    <a:gd name="connsiteX126" fmla="*/ 3314700 w 8610600"/>
                    <a:gd name="connsiteY126" fmla="*/ 1202773 h 10480123"/>
                    <a:gd name="connsiteX127" fmla="*/ 3067050 w 8610600"/>
                    <a:gd name="connsiteY127" fmla="*/ 2802973 h 10480123"/>
                    <a:gd name="connsiteX128" fmla="*/ 3009900 w 8610600"/>
                    <a:gd name="connsiteY128" fmla="*/ 3488773 h 10480123"/>
                    <a:gd name="connsiteX129" fmla="*/ 3162300 w 8610600"/>
                    <a:gd name="connsiteY129" fmla="*/ 4574623 h 10480123"/>
                    <a:gd name="connsiteX130" fmla="*/ 3314700 w 8610600"/>
                    <a:gd name="connsiteY130" fmla="*/ 5355673 h 10480123"/>
                    <a:gd name="connsiteX131" fmla="*/ 3429000 w 8610600"/>
                    <a:gd name="connsiteY131" fmla="*/ 6079573 h 10480123"/>
                    <a:gd name="connsiteX132" fmla="*/ 3714750 w 8610600"/>
                    <a:gd name="connsiteY132" fmla="*/ 5679523 h 10480123"/>
                    <a:gd name="connsiteX133" fmla="*/ 3886200 w 8610600"/>
                    <a:gd name="connsiteY133" fmla="*/ 5355673 h 10480123"/>
                    <a:gd name="connsiteX134" fmla="*/ 3981450 w 8610600"/>
                    <a:gd name="connsiteY134" fmla="*/ 4974673 h 10480123"/>
                    <a:gd name="connsiteX135" fmla="*/ 4248150 w 8610600"/>
                    <a:gd name="connsiteY135" fmla="*/ 4555573 h 10480123"/>
                    <a:gd name="connsiteX136" fmla="*/ 4476750 w 8610600"/>
                    <a:gd name="connsiteY136" fmla="*/ 4041223 h 10480123"/>
                    <a:gd name="connsiteX137" fmla="*/ 4876800 w 8610600"/>
                    <a:gd name="connsiteY137" fmla="*/ 3203023 h 10480123"/>
                    <a:gd name="connsiteX138" fmla="*/ 5181600 w 8610600"/>
                    <a:gd name="connsiteY138" fmla="*/ 2402923 h 10480123"/>
                    <a:gd name="connsiteX139" fmla="*/ 5410200 w 8610600"/>
                    <a:gd name="connsiteY139" fmla="*/ 1679023 h 10480123"/>
                    <a:gd name="connsiteX140" fmla="*/ 5638800 w 8610600"/>
                    <a:gd name="connsiteY140" fmla="*/ 993223 h 10480123"/>
                    <a:gd name="connsiteX141" fmla="*/ 6057900 w 8610600"/>
                    <a:gd name="connsiteY141" fmla="*/ 1336123 h 10480123"/>
                    <a:gd name="connsiteX142" fmla="*/ 6076950 w 8610600"/>
                    <a:gd name="connsiteY142" fmla="*/ 1583773 h 10480123"/>
                    <a:gd name="connsiteX143" fmla="*/ 6153150 w 8610600"/>
                    <a:gd name="connsiteY143" fmla="*/ 1659973 h 10480123"/>
                    <a:gd name="connsiteX144" fmla="*/ 6229350 w 8610600"/>
                    <a:gd name="connsiteY144" fmla="*/ 1488523 h 10480123"/>
                    <a:gd name="connsiteX145" fmla="*/ 6286500 w 8610600"/>
                    <a:gd name="connsiteY145" fmla="*/ 1164673 h 10480123"/>
                    <a:gd name="connsiteX146" fmla="*/ 6229350 w 8610600"/>
                    <a:gd name="connsiteY146" fmla="*/ 707473 h 10480123"/>
                    <a:gd name="connsiteX147" fmla="*/ 6096000 w 8610600"/>
                    <a:gd name="connsiteY147" fmla="*/ 193123 h 10480123"/>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66750 w 8610600"/>
                    <a:gd name="connsiteY68" fmla="*/ 6784423 h 10480123"/>
                    <a:gd name="connsiteX69" fmla="*/ 952500 w 8610600"/>
                    <a:gd name="connsiteY69" fmla="*/ 678442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048000 w 8610600"/>
                    <a:gd name="connsiteY73" fmla="*/ 7203523 h 10480123"/>
                    <a:gd name="connsiteX74" fmla="*/ 3009900 w 8610600"/>
                    <a:gd name="connsiteY74" fmla="*/ 7394023 h 10480123"/>
                    <a:gd name="connsiteX75" fmla="*/ 3143250 w 8610600"/>
                    <a:gd name="connsiteY75" fmla="*/ 7432123 h 10480123"/>
                    <a:gd name="connsiteX76" fmla="*/ 3276600 w 8610600"/>
                    <a:gd name="connsiteY76" fmla="*/ 7432123 h 10480123"/>
                    <a:gd name="connsiteX77" fmla="*/ 3295650 w 8610600"/>
                    <a:gd name="connsiteY77" fmla="*/ 7546423 h 10480123"/>
                    <a:gd name="connsiteX78" fmla="*/ 3371850 w 8610600"/>
                    <a:gd name="connsiteY78" fmla="*/ 7603573 h 10480123"/>
                    <a:gd name="connsiteX79" fmla="*/ 3657600 w 8610600"/>
                    <a:gd name="connsiteY79" fmla="*/ 7641673 h 10480123"/>
                    <a:gd name="connsiteX80" fmla="*/ 3657600 w 8610600"/>
                    <a:gd name="connsiteY80" fmla="*/ 7641673 h 10480123"/>
                    <a:gd name="connsiteX81" fmla="*/ 3698081 w 8610600"/>
                    <a:gd name="connsiteY81" fmla="*/ 7789311 h 10480123"/>
                    <a:gd name="connsiteX82" fmla="*/ 3926681 w 8610600"/>
                    <a:gd name="connsiteY82" fmla="*/ 7836936 h 10480123"/>
                    <a:gd name="connsiteX83" fmla="*/ 4341019 w 8610600"/>
                    <a:gd name="connsiteY83" fmla="*/ 7805979 h 10480123"/>
                    <a:gd name="connsiteX84" fmla="*/ 4724400 w 8610600"/>
                    <a:gd name="connsiteY84" fmla="*/ 7717873 h 10480123"/>
                    <a:gd name="connsiteX85" fmla="*/ 5098256 w 8610600"/>
                    <a:gd name="connsiteY85" fmla="*/ 7663104 h 10480123"/>
                    <a:gd name="connsiteX86" fmla="*/ 5272088 w 8610600"/>
                    <a:gd name="connsiteY86" fmla="*/ 7591667 h 10480123"/>
                    <a:gd name="connsiteX87" fmla="*/ 5391150 w 8610600"/>
                    <a:gd name="connsiteY87" fmla="*/ 7584523 h 10480123"/>
                    <a:gd name="connsiteX88" fmla="*/ 5657850 w 8610600"/>
                    <a:gd name="connsiteY88" fmla="*/ 7584523 h 10480123"/>
                    <a:gd name="connsiteX89" fmla="*/ 5867400 w 8610600"/>
                    <a:gd name="connsiteY89" fmla="*/ 7698823 h 10480123"/>
                    <a:gd name="connsiteX90" fmla="*/ 5753100 w 8610600"/>
                    <a:gd name="connsiteY90" fmla="*/ 7279723 h 10480123"/>
                    <a:gd name="connsiteX91" fmla="*/ 5581650 w 8610600"/>
                    <a:gd name="connsiteY91" fmla="*/ 6955873 h 10480123"/>
                    <a:gd name="connsiteX92" fmla="*/ 5391150 w 8610600"/>
                    <a:gd name="connsiteY92" fmla="*/ 6670123 h 10480123"/>
                    <a:gd name="connsiteX93" fmla="*/ 5281613 w 8610600"/>
                    <a:gd name="connsiteY93" fmla="*/ 6617736 h 10480123"/>
                    <a:gd name="connsiteX94" fmla="*/ 4910138 w 8610600"/>
                    <a:gd name="connsiteY94" fmla="*/ 6546298 h 10480123"/>
                    <a:gd name="connsiteX95" fmla="*/ 4629150 w 8610600"/>
                    <a:gd name="connsiteY95" fmla="*/ 6346273 h 10480123"/>
                    <a:gd name="connsiteX96" fmla="*/ 4286250 w 8610600"/>
                    <a:gd name="connsiteY96" fmla="*/ 6384373 h 10480123"/>
                    <a:gd name="connsiteX97" fmla="*/ 3874294 w 8610600"/>
                    <a:gd name="connsiteY97" fmla="*/ 6558204 h 10480123"/>
                    <a:gd name="connsiteX98" fmla="*/ 3600450 w 8610600"/>
                    <a:gd name="connsiteY98" fmla="*/ 6670123 h 10480123"/>
                    <a:gd name="connsiteX99" fmla="*/ 3181350 w 8610600"/>
                    <a:gd name="connsiteY99" fmla="*/ 5774773 h 10480123"/>
                    <a:gd name="connsiteX100" fmla="*/ 2724150 w 8610600"/>
                    <a:gd name="connsiteY100" fmla="*/ 4860373 h 10480123"/>
                    <a:gd name="connsiteX101" fmla="*/ 2381250 w 8610600"/>
                    <a:gd name="connsiteY101" fmla="*/ 4288873 h 10480123"/>
                    <a:gd name="connsiteX102" fmla="*/ 1962150 w 8610600"/>
                    <a:gd name="connsiteY102" fmla="*/ 3869773 h 10480123"/>
                    <a:gd name="connsiteX103" fmla="*/ 1619250 w 8610600"/>
                    <a:gd name="connsiteY103" fmla="*/ 3545923 h 10480123"/>
                    <a:gd name="connsiteX104" fmla="*/ 1009650 w 8610600"/>
                    <a:gd name="connsiteY104" fmla="*/ 3507823 h 10480123"/>
                    <a:gd name="connsiteX105" fmla="*/ 762000 w 8610600"/>
                    <a:gd name="connsiteY105" fmla="*/ 3545923 h 10480123"/>
                    <a:gd name="connsiteX106" fmla="*/ 838200 w 8610600"/>
                    <a:gd name="connsiteY106" fmla="*/ 2917273 h 10480123"/>
                    <a:gd name="connsiteX107" fmla="*/ 838200 w 8610600"/>
                    <a:gd name="connsiteY107" fmla="*/ 2479123 h 10480123"/>
                    <a:gd name="connsiteX108" fmla="*/ 971550 w 8610600"/>
                    <a:gd name="connsiteY108" fmla="*/ 1964773 h 10480123"/>
                    <a:gd name="connsiteX109" fmla="*/ 1028700 w 8610600"/>
                    <a:gd name="connsiteY109" fmla="*/ 1412323 h 10480123"/>
                    <a:gd name="connsiteX110" fmla="*/ 1295400 w 8610600"/>
                    <a:gd name="connsiteY110" fmla="*/ 859873 h 10480123"/>
                    <a:gd name="connsiteX111" fmla="*/ 1562100 w 8610600"/>
                    <a:gd name="connsiteY111" fmla="*/ 745573 h 10480123"/>
                    <a:gd name="connsiteX112" fmla="*/ 1809750 w 8610600"/>
                    <a:gd name="connsiteY112" fmla="*/ 726523 h 10480123"/>
                    <a:gd name="connsiteX113" fmla="*/ 2190750 w 8610600"/>
                    <a:gd name="connsiteY113" fmla="*/ 574123 h 10480123"/>
                    <a:gd name="connsiteX114" fmla="*/ 2457450 w 8610600"/>
                    <a:gd name="connsiteY114" fmla="*/ 478873 h 10480123"/>
                    <a:gd name="connsiteX115" fmla="*/ 2838450 w 8610600"/>
                    <a:gd name="connsiteY115" fmla="*/ 421723 h 10480123"/>
                    <a:gd name="connsiteX116" fmla="*/ 3219450 w 8610600"/>
                    <a:gd name="connsiteY116" fmla="*/ 174073 h 10480123"/>
                    <a:gd name="connsiteX117" fmla="*/ 2857500 w 8610600"/>
                    <a:gd name="connsiteY117" fmla="*/ 440773 h 10480123"/>
                    <a:gd name="connsiteX118" fmla="*/ 2381250 w 8610600"/>
                    <a:gd name="connsiteY118" fmla="*/ 707473 h 10480123"/>
                    <a:gd name="connsiteX119" fmla="*/ 2286000 w 8610600"/>
                    <a:gd name="connsiteY119" fmla="*/ 821773 h 10480123"/>
                    <a:gd name="connsiteX120" fmla="*/ 2400300 w 8610600"/>
                    <a:gd name="connsiteY120" fmla="*/ 840823 h 10480123"/>
                    <a:gd name="connsiteX121" fmla="*/ 2686050 w 8610600"/>
                    <a:gd name="connsiteY121" fmla="*/ 764623 h 10480123"/>
                    <a:gd name="connsiteX122" fmla="*/ 2895600 w 8610600"/>
                    <a:gd name="connsiteY122" fmla="*/ 707473 h 10480123"/>
                    <a:gd name="connsiteX123" fmla="*/ 3143250 w 8610600"/>
                    <a:gd name="connsiteY123" fmla="*/ 555073 h 10480123"/>
                    <a:gd name="connsiteX124" fmla="*/ 3143250 w 8610600"/>
                    <a:gd name="connsiteY124" fmla="*/ 669373 h 10480123"/>
                    <a:gd name="connsiteX125" fmla="*/ 3143250 w 8610600"/>
                    <a:gd name="connsiteY125" fmla="*/ 955123 h 10480123"/>
                    <a:gd name="connsiteX126" fmla="*/ 3314700 w 8610600"/>
                    <a:gd name="connsiteY126" fmla="*/ 1202773 h 10480123"/>
                    <a:gd name="connsiteX127" fmla="*/ 3067050 w 8610600"/>
                    <a:gd name="connsiteY127" fmla="*/ 2802973 h 10480123"/>
                    <a:gd name="connsiteX128" fmla="*/ 3009900 w 8610600"/>
                    <a:gd name="connsiteY128" fmla="*/ 3488773 h 10480123"/>
                    <a:gd name="connsiteX129" fmla="*/ 3162300 w 8610600"/>
                    <a:gd name="connsiteY129" fmla="*/ 4574623 h 10480123"/>
                    <a:gd name="connsiteX130" fmla="*/ 3314700 w 8610600"/>
                    <a:gd name="connsiteY130" fmla="*/ 5355673 h 10480123"/>
                    <a:gd name="connsiteX131" fmla="*/ 3429000 w 8610600"/>
                    <a:gd name="connsiteY131" fmla="*/ 6079573 h 10480123"/>
                    <a:gd name="connsiteX132" fmla="*/ 3714750 w 8610600"/>
                    <a:gd name="connsiteY132" fmla="*/ 5679523 h 10480123"/>
                    <a:gd name="connsiteX133" fmla="*/ 3886200 w 8610600"/>
                    <a:gd name="connsiteY133" fmla="*/ 5355673 h 10480123"/>
                    <a:gd name="connsiteX134" fmla="*/ 3981450 w 8610600"/>
                    <a:gd name="connsiteY134" fmla="*/ 4974673 h 10480123"/>
                    <a:gd name="connsiteX135" fmla="*/ 4248150 w 8610600"/>
                    <a:gd name="connsiteY135" fmla="*/ 4555573 h 10480123"/>
                    <a:gd name="connsiteX136" fmla="*/ 4476750 w 8610600"/>
                    <a:gd name="connsiteY136" fmla="*/ 4041223 h 10480123"/>
                    <a:gd name="connsiteX137" fmla="*/ 4876800 w 8610600"/>
                    <a:gd name="connsiteY137" fmla="*/ 3203023 h 10480123"/>
                    <a:gd name="connsiteX138" fmla="*/ 5181600 w 8610600"/>
                    <a:gd name="connsiteY138" fmla="*/ 2402923 h 10480123"/>
                    <a:gd name="connsiteX139" fmla="*/ 5410200 w 8610600"/>
                    <a:gd name="connsiteY139" fmla="*/ 1679023 h 10480123"/>
                    <a:gd name="connsiteX140" fmla="*/ 5638800 w 8610600"/>
                    <a:gd name="connsiteY140" fmla="*/ 993223 h 10480123"/>
                    <a:gd name="connsiteX141" fmla="*/ 6057900 w 8610600"/>
                    <a:gd name="connsiteY141" fmla="*/ 1336123 h 10480123"/>
                    <a:gd name="connsiteX142" fmla="*/ 6076950 w 8610600"/>
                    <a:gd name="connsiteY142" fmla="*/ 1583773 h 10480123"/>
                    <a:gd name="connsiteX143" fmla="*/ 6153150 w 8610600"/>
                    <a:gd name="connsiteY143" fmla="*/ 1659973 h 10480123"/>
                    <a:gd name="connsiteX144" fmla="*/ 6229350 w 8610600"/>
                    <a:gd name="connsiteY144" fmla="*/ 1488523 h 10480123"/>
                    <a:gd name="connsiteX145" fmla="*/ 6286500 w 8610600"/>
                    <a:gd name="connsiteY145" fmla="*/ 1164673 h 10480123"/>
                    <a:gd name="connsiteX146" fmla="*/ 6229350 w 8610600"/>
                    <a:gd name="connsiteY146" fmla="*/ 707473 h 10480123"/>
                    <a:gd name="connsiteX147" fmla="*/ 6096000 w 8610600"/>
                    <a:gd name="connsiteY147" fmla="*/ 193123 h 10480123"/>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66750 w 8610600"/>
                    <a:gd name="connsiteY68" fmla="*/ 6784423 h 10480123"/>
                    <a:gd name="connsiteX69" fmla="*/ 952500 w 8610600"/>
                    <a:gd name="connsiteY69" fmla="*/ 678442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048000 w 8610600"/>
                    <a:gd name="connsiteY73" fmla="*/ 7203523 h 10480123"/>
                    <a:gd name="connsiteX74" fmla="*/ 3009900 w 8610600"/>
                    <a:gd name="connsiteY74" fmla="*/ 7394023 h 10480123"/>
                    <a:gd name="connsiteX75" fmla="*/ 3143250 w 8610600"/>
                    <a:gd name="connsiteY75" fmla="*/ 7432123 h 10480123"/>
                    <a:gd name="connsiteX76" fmla="*/ 3276600 w 8610600"/>
                    <a:gd name="connsiteY76" fmla="*/ 7432123 h 10480123"/>
                    <a:gd name="connsiteX77" fmla="*/ 3295650 w 8610600"/>
                    <a:gd name="connsiteY77" fmla="*/ 7546423 h 10480123"/>
                    <a:gd name="connsiteX78" fmla="*/ 3371850 w 8610600"/>
                    <a:gd name="connsiteY78" fmla="*/ 7603573 h 10480123"/>
                    <a:gd name="connsiteX79" fmla="*/ 3657600 w 8610600"/>
                    <a:gd name="connsiteY79" fmla="*/ 7641673 h 10480123"/>
                    <a:gd name="connsiteX80" fmla="*/ 3676650 w 8610600"/>
                    <a:gd name="connsiteY80" fmla="*/ 7605954 h 10480123"/>
                    <a:gd name="connsiteX81" fmla="*/ 3698081 w 8610600"/>
                    <a:gd name="connsiteY81" fmla="*/ 7789311 h 10480123"/>
                    <a:gd name="connsiteX82" fmla="*/ 3926681 w 8610600"/>
                    <a:gd name="connsiteY82" fmla="*/ 7836936 h 10480123"/>
                    <a:gd name="connsiteX83" fmla="*/ 4341019 w 8610600"/>
                    <a:gd name="connsiteY83" fmla="*/ 7805979 h 10480123"/>
                    <a:gd name="connsiteX84" fmla="*/ 4724400 w 8610600"/>
                    <a:gd name="connsiteY84" fmla="*/ 7717873 h 10480123"/>
                    <a:gd name="connsiteX85" fmla="*/ 5098256 w 8610600"/>
                    <a:gd name="connsiteY85" fmla="*/ 7663104 h 10480123"/>
                    <a:gd name="connsiteX86" fmla="*/ 5272088 w 8610600"/>
                    <a:gd name="connsiteY86" fmla="*/ 7591667 h 10480123"/>
                    <a:gd name="connsiteX87" fmla="*/ 5391150 w 8610600"/>
                    <a:gd name="connsiteY87" fmla="*/ 7584523 h 10480123"/>
                    <a:gd name="connsiteX88" fmla="*/ 5657850 w 8610600"/>
                    <a:gd name="connsiteY88" fmla="*/ 7584523 h 10480123"/>
                    <a:gd name="connsiteX89" fmla="*/ 5867400 w 8610600"/>
                    <a:gd name="connsiteY89" fmla="*/ 7698823 h 10480123"/>
                    <a:gd name="connsiteX90" fmla="*/ 5753100 w 8610600"/>
                    <a:gd name="connsiteY90" fmla="*/ 7279723 h 10480123"/>
                    <a:gd name="connsiteX91" fmla="*/ 5581650 w 8610600"/>
                    <a:gd name="connsiteY91" fmla="*/ 6955873 h 10480123"/>
                    <a:gd name="connsiteX92" fmla="*/ 5391150 w 8610600"/>
                    <a:gd name="connsiteY92" fmla="*/ 6670123 h 10480123"/>
                    <a:gd name="connsiteX93" fmla="*/ 5281613 w 8610600"/>
                    <a:gd name="connsiteY93" fmla="*/ 6617736 h 10480123"/>
                    <a:gd name="connsiteX94" fmla="*/ 4910138 w 8610600"/>
                    <a:gd name="connsiteY94" fmla="*/ 6546298 h 10480123"/>
                    <a:gd name="connsiteX95" fmla="*/ 4629150 w 8610600"/>
                    <a:gd name="connsiteY95" fmla="*/ 6346273 h 10480123"/>
                    <a:gd name="connsiteX96" fmla="*/ 4286250 w 8610600"/>
                    <a:gd name="connsiteY96" fmla="*/ 6384373 h 10480123"/>
                    <a:gd name="connsiteX97" fmla="*/ 3874294 w 8610600"/>
                    <a:gd name="connsiteY97" fmla="*/ 6558204 h 10480123"/>
                    <a:gd name="connsiteX98" fmla="*/ 3600450 w 8610600"/>
                    <a:gd name="connsiteY98" fmla="*/ 6670123 h 10480123"/>
                    <a:gd name="connsiteX99" fmla="*/ 3181350 w 8610600"/>
                    <a:gd name="connsiteY99" fmla="*/ 5774773 h 10480123"/>
                    <a:gd name="connsiteX100" fmla="*/ 2724150 w 8610600"/>
                    <a:gd name="connsiteY100" fmla="*/ 4860373 h 10480123"/>
                    <a:gd name="connsiteX101" fmla="*/ 2381250 w 8610600"/>
                    <a:gd name="connsiteY101" fmla="*/ 4288873 h 10480123"/>
                    <a:gd name="connsiteX102" fmla="*/ 1962150 w 8610600"/>
                    <a:gd name="connsiteY102" fmla="*/ 3869773 h 10480123"/>
                    <a:gd name="connsiteX103" fmla="*/ 1619250 w 8610600"/>
                    <a:gd name="connsiteY103" fmla="*/ 3545923 h 10480123"/>
                    <a:gd name="connsiteX104" fmla="*/ 1009650 w 8610600"/>
                    <a:gd name="connsiteY104" fmla="*/ 3507823 h 10480123"/>
                    <a:gd name="connsiteX105" fmla="*/ 762000 w 8610600"/>
                    <a:gd name="connsiteY105" fmla="*/ 3545923 h 10480123"/>
                    <a:gd name="connsiteX106" fmla="*/ 838200 w 8610600"/>
                    <a:gd name="connsiteY106" fmla="*/ 2917273 h 10480123"/>
                    <a:gd name="connsiteX107" fmla="*/ 838200 w 8610600"/>
                    <a:gd name="connsiteY107" fmla="*/ 2479123 h 10480123"/>
                    <a:gd name="connsiteX108" fmla="*/ 971550 w 8610600"/>
                    <a:gd name="connsiteY108" fmla="*/ 1964773 h 10480123"/>
                    <a:gd name="connsiteX109" fmla="*/ 1028700 w 8610600"/>
                    <a:gd name="connsiteY109" fmla="*/ 1412323 h 10480123"/>
                    <a:gd name="connsiteX110" fmla="*/ 1295400 w 8610600"/>
                    <a:gd name="connsiteY110" fmla="*/ 859873 h 10480123"/>
                    <a:gd name="connsiteX111" fmla="*/ 1562100 w 8610600"/>
                    <a:gd name="connsiteY111" fmla="*/ 745573 h 10480123"/>
                    <a:gd name="connsiteX112" fmla="*/ 1809750 w 8610600"/>
                    <a:gd name="connsiteY112" fmla="*/ 726523 h 10480123"/>
                    <a:gd name="connsiteX113" fmla="*/ 2190750 w 8610600"/>
                    <a:gd name="connsiteY113" fmla="*/ 574123 h 10480123"/>
                    <a:gd name="connsiteX114" fmla="*/ 2457450 w 8610600"/>
                    <a:gd name="connsiteY114" fmla="*/ 478873 h 10480123"/>
                    <a:gd name="connsiteX115" fmla="*/ 2838450 w 8610600"/>
                    <a:gd name="connsiteY115" fmla="*/ 421723 h 10480123"/>
                    <a:gd name="connsiteX116" fmla="*/ 3219450 w 8610600"/>
                    <a:gd name="connsiteY116" fmla="*/ 174073 h 10480123"/>
                    <a:gd name="connsiteX117" fmla="*/ 2857500 w 8610600"/>
                    <a:gd name="connsiteY117" fmla="*/ 440773 h 10480123"/>
                    <a:gd name="connsiteX118" fmla="*/ 2381250 w 8610600"/>
                    <a:gd name="connsiteY118" fmla="*/ 707473 h 10480123"/>
                    <a:gd name="connsiteX119" fmla="*/ 2286000 w 8610600"/>
                    <a:gd name="connsiteY119" fmla="*/ 821773 h 10480123"/>
                    <a:gd name="connsiteX120" fmla="*/ 2400300 w 8610600"/>
                    <a:gd name="connsiteY120" fmla="*/ 840823 h 10480123"/>
                    <a:gd name="connsiteX121" fmla="*/ 2686050 w 8610600"/>
                    <a:gd name="connsiteY121" fmla="*/ 764623 h 10480123"/>
                    <a:gd name="connsiteX122" fmla="*/ 2895600 w 8610600"/>
                    <a:gd name="connsiteY122" fmla="*/ 707473 h 10480123"/>
                    <a:gd name="connsiteX123" fmla="*/ 3143250 w 8610600"/>
                    <a:gd name="connsiteY123" fmla="*/ 555073 h 10480123"/>
                    <a:gd name="connsiteX124" fmla="*/ 3143250 w 8610600"/>
                    <a:gd name="connsiteY124" fmla="*/ 669373 h 10480123"/>
                    <a:gd name="connsiteX125" fmla="*/ 3143250 w 8610600"/>
                    <a:gd name="connsiteY125" fmla="*/ 955123 h 10480123"/>
                    <a:gd name="connsiteX126" fmla="*/ 3314700 w 8610600"/>
                    <a:gd name="connsiteY126" fmla="*/ 1202773 h 10480123"/>
                    <a:gd name="connsiteX127" fmla="*/ 3067050 w 8610600"/>
                    <a:gd name="connsiteY127" fmla="*/ 2802973 h 10480123"/>
                    <a:gd name="connsiteX128" fmla="*/ 3009900 w 8610600"/>
                    <a:gd name="connsiteY128" fmla="*/ 3488773 h 10480123"/>
                    <a:gd name="connsiteX129" fmla="*/ 3162300 w 8610600"/>
                    <a:gd name="connsiteY129" fmla="*/ 4574623 h 10480123"/>
                    <a:gd name="connsiteX130" fmla="*/ 3314700 w 8610600"/>
                    <a:gd name="connsiteY130" fmla="*/ 5355673 h 10480123"/>
                    <a:gd name="connsiteX131" fmla="*/ 3429000 w 8610600"/>
                    <a:gd name="connsiteY131" fmla="*/ 6079573 h 10480123"/>
                    <a:gd name="connsiteX132" fmla="*/ 3714750 w 8610600"/>
                    <a:gd name="connsiteY132" fmla="*/ 5679523 h 10480123"/>
                    <a:gd name="connsiteX133" fmla="*/ 3886200 w 8610600"/>
                    <a:gd name="connsiteY133" fmla="*/ 5355673 h 10480123"/>
                    <a:gd name="connsiteX134" fmla="*/ 3981450 w 8610600"/>
                    <a:gd name="connsiteY134" fmla="*/ 4974673 h 10480123"/>
                    <a:gd name="connsiteX135" fmla="*/ 4248150 w 8610600"/>
                    <a:gd name="connsiteY135" fmla="*/ 4555573 h 10480123"/>
                    <a:gd name="connsiteX136" fmla="*/ 4476750 w 8610600"/>
                    <a:gd name="connsiteY136" fmla="*/ 4041223 h 10480123"/>
                    <a:gd name="connsiteX137" fmla="*/ 4876800 w 8610600"/>
                    <a:gd name="connsiteY137" fmla="*/ 3203023 h 10480123"/>
                    <a:gd name="connsiteX138" fmla="*/ 5181600 w 8610600"/>
                    <a:gd name="connsiteY138" fmla="*/ 2402923 h 10480123"/>
                    <a:gd name="connsiteX139" fmla="*/ 5410200 w 8610600"/>
                    <a:gd name="connsiteY139" fmla="*/ 1679023 h 10480123"/>
                    <a:gd name="connsiteX140" fmla="*/ 5638800 w 8610600"/>
                    <a:gd name="connsiteY140" fmla="*/ 993223 h 10480123"/>
                    <a:gd name="connsiteX141" fmla="*/ 6057900 w 8610600"/>
                    <a:gd name="connsiteY141" fmla="*/ 1336123 h 10480123"/>
                    <a:gd name="connsiteX142" fmla="*/ 6076950 w 8610600"/>
                    <a:gd name="connsiteY142" fmla="*/ 1583773 h 10480123"/>
                    <a:gd name="connsiteX143" fmla="*/ 6153150 w 8610600"/>
                    <a:gd name="connsiteY143" fmla="*/ 1659973 h 10480123"/>
                    <a:gd name="connsiteX144" fmla="*/ 6229350 w 8610600"/>
                    <a:gd name="connsiteY144" fmla="*/ 1488523 h 10480123"/>
                    <a:gd name="connsiteX145" fmla="*/ 6286500 w 8610600"/>
                    <a:gd name="connsiteY145" fmla="*/ 1164673 h 10480123"/>
                    <a:gd name="connsiteX146" fmla="*/ 6229350 w 8610600"/>
                    <a:gd name="connsiteY146" fmla="*/ 707473 h 10480123"/>
                    <a:gd name="connsiteX147" fmla="*/ 6096000 w 8610600"/>
                    <a:gd name="connsiteY147" fmla="*/ 193123 h 10480123"/>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66750 w 8610600"/>
                    <a:gd name="connsiteY68" fmla="*/ 6784423 h 10480123"/>
                    <a:gd name="connsiteX69" fmla="*/ 952500 w 8610600"/>
                    <a:gd name="connsiteY69" fmla="*/ 678442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048000 w 8610600"/>
                    <a:gd name="connsiteY73" fmla="*/ 7203523 h 10480123"/>
                    <a:gd name="connsiteX74" fmla="*/ 3009900 w 8610600"/>
                    <a:gd name="connsiteY74" fmla="*/ 7394023 h 10480123"/>
                    <a:gd name="connsiteX75" fmla="*/ 3143250 w 8610600"/>
                    <a:gd name="connsiteY75" fmla="*/ 7432123 h 10480123"/>
                    <a:gd name="connsiteX76" fmla="*/ 3276600 w 8610600"/>
                    <a:gd name="connsiteY76" fmla="*/ 7432123 h 10480123"/>
                    <a:gd name="connsiteX77" fmla="*/ 3295650 w 8610600"/>
                    <a:gd name="connsiteY77" fmla="*/ 7546423 h 10480123"/>
                    <a:gd name="connsiteX78" fmla="*/ 3371850 w 8610600"/>
                    <a:gd name="connsiteY78" fmla="*/ 7603573 h 10480123"/>
                    <a:gd name="connsiteX79" fmla="*/ 3655219 w 8610600"/>
                    <a:gd name="connsiteY79" fmla="*/ 7613098 h 10480123"/>
                    <a:gd name="connsiteX80" fmla="*/ 3676650 w 8610600"/>
                    <a:gd name="connsiteY80" fmla="*/ 7605954 h 10480123"/>
                    <a:gd name="connsiteX81" fmla="*/ 3698081 w 8610600"/>
                    <a:gd name="connsiteY81" fmla="*/ 7789311 h 10480123"/>
                    <a:gd name="connsiteX82" fmla="*/ 3926681 w 8610600"/>
                    <a:gd name="connsiteY82" fmla="*/ 7836936 h 10480123"/>
                    <a:gd name="connsiteX83" fmla="*/ 4341019 w 8610600"/>
                    <a:gd name="connsiteY83" fmla="*/ 7805979 h 10480123"/>
                    <a:gd name="connsiteX84" fmla="*/ 4724400 w 8610600"/>
                    <a:gd name="connsiteY84" fmla="*/ 7717873 h 10480123"/>
                    <a:gd name="connsiteX85" fmla="*/ 5098256 w 8610600"/>
                    <a:gd name="connsiteY85" fmla="*/ 7663104 h 10480123"/>
                    <a:gd name="connsiteX86" fmla="*/ 5272088 w 8610600"/>
                    <a:gd name="connsiteY86" fmla="*/ 7591667 h 10480123"/>
                    <a:gd name="connsiteX87" fmla="*/ 5391150 w 8610600"/>
                    <a:gd name="connsiteY87" fmla="*/ 7584523 h 10480123"/>
                    <a:gd name="connsiteX88" fmla="*/ 5657850 w 8610600"/>
                    <a:gd name="connsiteY88" fmla="*/ 7584523 h 10480123"/>
                    <a:gd name="connsiteX89" fmla="*/ 5867400 w 8610600"/>
                    <a:gd name="connsiteY89" fmla="*/ 7698823 h 10480123"/>
                    <a:gd name="connsiteX90" fmla="*/ 5753100 w 8610600"/>
                    <a:gd name="connsiteY90" fmla="*/ 7279723 h 10480123"/>
                    <a:gd name="connsiteX91" fmla="*/ 5581650 w 8610600"/>
                    <a:gd name="connsiteY91" fmla="*/ 6955873 h 10480123"/>
                    <a:gd name="connsiteX92" fmla="*/ 5391150 w 8610600"/>
                    <a:gd name="connsiteY92" fmla="*/ 6670123 h 10480123"/>
                    <a:gd name="connsiteX93" fmla="*/ 5281613 w 8610600"/>
                    <a:gd name="connsiteY93" fmla="*/ 6617736 h 10480123"/>
                    <a:gd name="connsiteX94" fmla="*/ 4910138 w 8610600"/>
                    <a:gd name="connsiteY94" fmla="*/ 6546298 h 10480123"/>
                    <a:gd name="connsiteX95" fmla="*/ 4629150 w 8610600"/>
                    <a:gd name="connsiteY95" fmla="*/ 6346273 h 10480123"/>
                    <a:gd name="connsiteX96" fmla="*/ 4286250 w 8610600"/>
                    <a:gd name="connsiteY96" fmla="*/ 6384373 h 10480123"/>
                    <a:gd name="connsiteX97" fmla="*/ 3874294 w 8610600"/>
                    <a:gd name="connsiteY97" fmla="*/ 6558204 h 10480123"/>
                    <a:gd name="connsiteX98" fmla="*/ 3600450 w 8610600"/>
                    <a:gd name="connsiteY98" fmla="*/ 6670123 h 10480123"/>
                    <a:gd name="connsiteX99" fmla="*/ 3181350 w 8610600"/>
                    <a:gd name="connsiteY99" fmla="*/ 5774773 h 10480123"/>
                    <a:gd name="connsiteX100" fmla="*/ 2724150 w 8610600"/>
                    <a:gd name="connsiteY100" fmla="*/ 4860373 h 10480123"/>
                    <a:gd name="connsiteX101" fmla="*/ 2381250 w 8610600"/>
                    <a:gd name="connsiteY101" fmla="*/ 4288873 h 10480123"/>
                    <a:gd name="connsiteX102" fmla="*/ 1962150 w 8610600"/>
                    <a:gd name="connsiteY102" fmla="*/ 3869773 h 10480123"/>
                    <a:gd name="connsiteX103" fmla="*/ 1619250 w 8610600"/>
                    <a:gd name="connsiteY103" fmla="*/ 3545923 h 10480123"/>
                    <a:gd name="connsiteX104" fmla="*/ 1009650 w 8610600"/>
                    <a:gd name="connsiteY104" fmla="*/ 3507823 h 10480123"/>
                    <a:gd name="connsiteX105" fmla="*/ 762000 w 8610600"/>
                    <a:gd name="connsiteY105" fmla="*/ 3545923 h 10480123"/>
                    <a:gd name="connsiteX106" fmla="*/ 838200 w 8610600"/>
                    <a:gd name="connsiteY106" fmla="*/ 2917273 h 10480123"/>
                    <a:gd name="connsiteX107" fmla="*/ 838200 w 8610600"/>
                    <a:gd name="connsiteY107" fmla="*/ 2479123 h 10480123"/>
                    <a:gd name="connsiteX108" fmla="*/ 971550 w 8610600"/>
                    <a:gd name="connsiteY108" fmla="*/ 1964773 h 10480123"/>
                    <a:gd name="connsiteX109" fmla="*/ 1028700 w 8610600"/>
                    <a:gd name="connsiteY109" fmla="*/ 1412323 h 10480123"/>
                    <a:gd name="connsiteX110" fmla="*/ 1295400 w 8610600"/>
                    <a:gd name="connsiteY110" fmla="*/ 859873 h 10480123"/>
                    <a:gd name="connsiteX111" fmla="*/ 1562100 w 8610600"/>
                    <a:gd name="connsiteY111" fmla="*/ 745573 h 10480123"/>
                    <a:gd name="connsiteX112" fmla="*/ 1809750 w 8610600"/>
                    <a:gd name="connsiteY112" fmla="*/ 726523 h 10480123"/>
                    <a:gd name="connsiteX113" fmla="*/ 2190750 w 8610600"/>
                    <a:gd name="connsiteY113" fmla="*/ 574123 h 10480123"/>
                    <a:gd name="connsiteX114" fmla="*/ 2457450 w 8610600"/>
                    <a:gd name="connsiteY114" fmla="*/ 478873 h 10480123"/>
                    <a:gd name="connsiteX115" fmla="*/ 2838450 w 8610600"/>
                    <a:gd name="connsiteY115" fmla="*/ 421723 h 10480123"/>
                    <a:gd name="connsiteX116" fmla="*/ 3219450 w 8610600"/>
                    <a:gd name="connsiteY116" fmla="*/ 174073 h 10480123"/>
                    <a:gd name="connsiteX117" fmla="*/ 2857500 w 8610600"/>
                    <a:gd name="connsiteY117" fmla="*/ 440773 h 10480123"/>
                    <a:gd name="connsiteX118" fmla="*/ 2381250 w 8610600"/>
                    <a:gd name="connsiteY118" fmla="*/ 707473 h 10480123"/>
                    <a:gd name="connsiteX119" fmla="*/ 2286000 w 8610600"/>
                    <a:gd name="connsiteY119" fmla="*/ 821773 h 10480123"/>
                    <a:gd name="connsiteX120" fmla="*/ 2400300 w 8610600"/>
                    <a:gd name="connsiteY120" fmla="*/ 840823 h 10480123"/>
                    <a:gd name="connsiteX121" fmla="*/ 2686050 w 8610600"/>
                    <a:gd name="connsiteY121" fmla="*/ 764623 h 10480123"/>
                    <a:gd name="connsiteX122" fmla="*/ 2895600 w 8610600"/>
                    <a:gd name="connsiteY122" fmla="*/ 707473 h 10480123"/>
                    <a:gd name="connsiteX123" fmla="*/ 3143250 w 8610600"/>
                    <a:gd name="connsiteY123" fmla="*/ 555073 h 10480123"/>
                    <a:gd name="connsiteX124" fmla="*/ 3143250 w 8610600"/>
                    <a:gd name="connsiteY124" fmla="*/ 669373 h 10480123"/>
                    <a:gd name="connsiteX125" fmla="*/ 3143250 w 8610600"/>
                    <a:gd name="connsiteY125" fmla="*/ 955123 h 10480123"/>
                    <a:gd name="connsiteX126" fmla="*/ 3314700 w 8610600"/>
                    <a:gd name="connsiteY126" fmla="*/ 1202773 h 10480123"/>
                    <a:gd name="connsiteX127" fmla="*/ 3067050 w 8610600"/>
                    <a:gd name="connsiteY127" fmla="*/ 2802973 h 10480123"/>
                    <a:gd name="connsiteX128" fmla="*/ 3009900 w 8610600"/>
                    <a:gd name="connsiteY128" fmla="*/ 3488773 h 10480123"/>
                    <a:gd name="connsiteX129" fmla="*/ 3162300 w 8610600"/>
                    <a:gd name="connsiteY129" fmla="*/ 4574623 h 10480123"/>
                    <a:gd name="connsiteX130" fmla="*/ 3314700 w 8610600"/>
                    <a:gd name="connsiteY130" fmla="*/ 5355673 h 10480123"/>
                    <a:gd name="connsiteX131" fmla="*/ 3429000 w 8610600"/>
                    <a:gd name="connsiteY131" fmla="*/ 6079573 h 10480123"/>
                    <a:gd name="connsiteX132" fmla="*/ 3714750 w 8610600"/>
                    <a:gd name="connsiteY132" fmla="*/ 5679523 h 10480123"/>
                    <a:gd name="connsiteX133" fmla="*/ 3886200 w 8610600"/>
                    <a:gd name="connsiteY133" fmla="*/ 5355673 h 10480123"/>
                    <a:gd name="connsiteX134" fmla="*/ 3981450 w 8610600"/>
                    <a:gd name="connsiteY134" fmla="*/ 4974673 h 10480123"/>
                    <a:gd name="connsiteX135" fmla="*/ 4248150 w 8610600"/>
                    <a:gd name="connsiteY135" fmla="*/ 4555573 h 10480123"/>
                    <a:gd name="connsiteX136" fmla="*/ 4476750 w 8610600"/>
                    <a:gd name="connsiteY136" fmla="*/ 4041223 h 10480123"/>
                    <a:gd name="connsiteX137" fmla="*/ 4876800 w 8610600"/>
                    <a:gd name="connsiteY137" fmla="*/ 3203023 h 10480123"/>
                    <a:gd name="connsiteX138" fmla="*/ 5181600 w 8610600"/>
                    <a:gd name="connsiteY138" fmla="*/ 2402923 h 10480123"/>
                    <a:gd name="connsiteX139" fmla="*/ 5410200 w 8610600"/>
                    <a:gd name="connsiteY139" fmla="*/ 1679023 h 10480123"/>
                    <a:gd name="connsiteX140" fmla="*/ 5638800 w 8610600"/>
                    <a:gd name="connsiteY140" fmla="*/ 993223 h 10480123"/>
                    <a:gd name="connsiteX141" fmla="*/ 6057900 w 8610600"/>
                    <a:gd name="connsiteY141" fmla="*/ 1336123 h 10480123"/>
                    <a:gd name="connsiteX142" fmla="*/ 6076950 w 8610600"/>
                    <a:gd name="connsiteY142" fmla="*/ 1583773 h 10480123"/>
                    <a:gd name="connsiteX143" fmla="*/ 6153150 w 8610600"/>
                    <a:gd name="connsiteY143" fmla="*/ 1659973 h 10480123"/>
                    <a:gd name="connsiteX144" fmla="*/ 6229350 w 8610600"/>
                    <a:gd name="connsiteY144" fmla="*/ 1488523 h 10480123"/>
                    <a:gd name="connsiteX145" fmla="*/ 6286500 w 8610600"/>
                    <a:gd name="connsiteY145" fmla="*/ 1164673 h 10480123"/>
                    <a:gd name="connsiteX146" fmla="*/ 6229350 w 8610600"/>
                    <a:gd name="connsiteY146" fmla="*/ 707473 h 10480123"/>
                    <a:gd name="connsiteX147" fmla="*/ 6096000 w 8610600"/>
                    <a:gd name="connsiteY147" fmla="*/ 193123 h 10480123"/>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66750 w 8610600"/>
                    <a:gd name="connsiteY68" fmla="*/ 6784423 h 10480123"/>
                    <a:gd name="connsiteX69" fmla="*/ 952500 w 8610600"/>
                    <a:gd name="connsiteY69" fmla="*/ 678442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048000 w 8610600"/>
                    <a:gd name="connsiteY73" fmla="*/ 7203523 h 10480123"/>
                    <a:gd name="connsiteX74" fmla="*/ 3009900 w 8610600"/>
                    <a:gd name="connsiteY74" fmla="*/ 7394023 h 10480123"/>
                    <a:gd name="connsiteX75" fmla="*/ 3143250 w 8610600"/>
                    <a:gd name="connsiteY75" fmla="*/ 7432123 h 10480123"/>
                    <a:gd name="connsiteX76" fmla="*/ 3276600 w 8610600"/>
                    <a:gd name="connsiteY76" fmla="*/ 7432123 h 10480123"/>
                    <a:gd name="connsiteX77" fmla="*/ 3295650 w 8610600"/>
                    <a:gd name="connsiteY77" fmla="*/ 7546423 h 10480123"/>
                    <a:gd name="connsiteX78" fmla="*/ 3393281 w 8610600"/>
                    <a:gd name="connsiteY78" fmla="*/ 7594048 h 10480123"/>
                    <a:gd name="connsiteX79" fmla="*/ 3655219 w 8610600"/>
                    <a:gd name="connsiteY79" fmla="*/ 7613098 h 10480123"/>
                    <a:gd name="connsiteX80" fmla="*/ 3676650 w 8610600"/>
                    <a:gd name="connsiteY80" fmla="*/ 7605954 h 10480123"/>
                    <a:gd name="connsiteX81" fmla="*/ 3698081 w 8610600"/>
                    <a:gd name="connsiteY81" fmla="*/ 7789311 h 10480123"/>
                    <a:gd name="connsiteX82" fmla="*/ 3926681 w 8610600"/>
                    <a:gd name="connsiteY82" fmla="*/ 7836936 h 10480123"/>
                    <a:gd name="connsiteX83" fmla="*/ 4341019 w 8610600"/>
                    <a:gd name="connsiteY83" fmla="*/ 7805979 h 10480123"/>
                    <a:gd name="connsiteX84" fmla="*/ 4724400 w 8610600"/>
                    <a:gd name="connsiteY84" fmla="*/ 7717873 h 10480123"/>
                    <a:gd name="connsiteX85" fmla="*/ 5098256 w 8610600"/>
                    <a:gd name="connsiteY85" fmla="*/ 7663104 h 10480123"/>
                    <a:gd name="connsiteX86" fmla="*/ 5272088 w 8610600"/>
                    <a:gd name="connsiteY86" fmla="*/ 7591667 h 10480123"/>
                    <a:gd name="connsiteX87" fmla="*/ 5391150 w 8610600"/>
                    <a:gd name="connsiteY87" fmla="*/ 7584523 h 10480123"/>
                    <a:gd name="connsiteX88" fmla="*/ 5657850 w 8610600"/>
                    <a:gd name="connsiteY88" fmla="*/ 7584523 h 10480123"/>
                    <a:gd name="connsiteX89" fmla="*/ 5867400 w 8610600"/>
                    <a:gd name="connsiteY89" fmla="*/ 7698823 h 10480123"/>
                    <a:gd name="connsiteX90" fmla="*/ 5753100 w 8610600"/>
                    <a:gd name="connsiteY90" fmla="*/ 7279723 h 10480123"/>
                    <a:gd name="connsiteX91" fmla="*/ 5581650 w 8610600"/>
                    <a:gd name="connsiteY91" fmla="*/ 6955873 h 10480123"/>
                    <a:gd name="connsiteX92" fmla="*/ 5391150 w 8610600"/>
                    <a:gd name="connsiteY92" fmla="*/ 6670123 h 10480123"/>
                    <a:gd name="connsiteX93" fmla="*/ 5281613 w 8610600"/>
                    <a:gd name="connsiteY93" fmla="*/ 6617736 h 10480123"/>
                    <a:gd name="connsiteX94" fmla="*/ 4910138 w 8610600"/>
                    <a:gd name="connsiteY94" fmla="*/ 6546298 h 10480123"/>
                    <a:gd name="connsiteX95" fmla="*/ 4629150 w 8610600"/>
                    <a:gd name="connsiteY95" fmla="*/ 6346273 h 10480123"/>
                    <a:gd name="connsiteX96" fmla="*/ 4286250 w 8610600"/>
                    <a:gd name="connsiteY96" fmla="*/ 6384373 h 10480123"/>
                    <a:gd name="connsiteX97" fmla="*/ 3874294 w 8610600"/>
                    <a:gd name="connsiteY97" fmla="*/ 6558204 h 10480123"/>
                    <a:gd name="connsiteX98" fmla="*/ 3600450 w 8610600"/>
                    <a:gd name="connsiteY98" fmla="*/ 6670123 h 10480123"/>
                    <a:gd name="connsiteX99" fmla="*/ 3181350 w 8610600"/>
                    <a:gd name="connsiteY99" fmla="*/ 5774773 h 10480123"/>
                    <a:gd name="connsiteX100" fmla="*/ 2724150 w 8610600"/>
                    <a:gd name="connsiteY100" fmla="*/ 4860373 h 10480123"/>
                    <a:gd name="connsiteX101" fmla="*/ 2381250 w 8610600"/>
                    <a:gd name="connsiteY101" fmla="*/ 4288873 h 10480123"/>
                    <a:gd name="connsiteX102" fmla="*/ 1962150 w 8610600"/>
                    <a:gd name="connsiteY102" fmla="*/ 3869773 h 10480123"/>
                    <a:gd name="connsiteX103" fmla="*/ 1619250 w 8610600"/>
                    <a:gd name="connsiteY103" fmla="*/ 3545923 h 10480123"/>
                    <a:gd name="connsiteX104" fmla="*/ 1009650 w 8610600"/>
                    <a:gd name="connsiteY104" fmla="*/ 3507823 h 10480123"/>
                    <a:gd name="connsiteX105" fmla="*/ 762000 w 8610600"/>
                    <a:gd name="connsiteY105" fmla="*/ 3545923 h 10480123"/>
                    <a:gd name="connsiteX106" fmla="*/ 838200 w 8610600"/>
                    <a:gd name="connsiteY106" fmla="*/ 2917273 h 10480123"/>
                    <a:gd name="connsiteX107" fmla="*/ 838200 w 8610600"/>
                    <a:gd name="connsiteY107" fmla="*/ 2479123 h 10480123"/>
                    <a:gd name="connsiteX108" fmla="*/ 971550 w 8610600"/>
                    <a:gd name="connsiteY108" fmla="*/ 1964773 h 10480123"/>
                    <a:gd name="connsiteX109" fmla="*/ 1028700 w 8610600"/>
                    <a:gd name="connsiteY109" fmla="*/ 1412323 h 10480123"/>
                    <a:gd name="connsiteX110" fmla="*/ 1295400 w 8610600"/>
                    <a:gd name="connsiteY110" fmla="*/ 859873 h 10480123"/>
                    <a:gd name="connsiteX111" fmla="*/ 1562100 w 8610600"/>
                    <a:gd name="connsiteY111" fmla="*/ 745573 h 10480123"/>
                    <a:gd name="connsiteX112" fmla="*/ 1809750 w 8610600"/>
                    <a:gd name="connsiteY112" fmla="*/ 726523 h 10480123"/>
                    <a:gd name="connsiteX113" fmla="*/ 2190750 w 8610600"/>
                    <a:gd name="connsiteY113" fmla="*/ 574123 h 10480123"/>
                    <a:gd name="connsiteX114" fmla="*/ 2457450 w 8610600"/>
                    <a:gd name="connsiteY114" fmla="*/ 478873 h 10480123"/>
                    <a:gd name="connsiteX115" fmla="*/ 2838450 w 8610600"/>
                    <a:gd name="connsiteY115" fmla="*/ 421723 h 10480123"/>
                    <a:gd name="connsiteX116" fmla="*/ 3219450 w 8610600"/>
                    <a:gd name="connsiteY116" fmla="*/ 174073 h 10480123"/>
                    <a:gd name="connsiteX117" fmla="*/ 2857500 w 8610600"/>
                    <a:gd name="connsiteY117" fmla="*/ 440773 h 10480123"/>
                    <a:gd name="connsiteX118" fmla="*/ 2381250 w 8610600"/>
                    <a:gd name="connsiteY118" fmla="*/ 707473 h 10480123"/>
                    <a:gd name="connsiteX119" fmla="*/ 2286000 w 8610600"/>
                    <a:gd name="connsiteY119" fmla="*/ 821773 h 10480123"/>
                    <a:gd name="connsiteX120" fmla="*/ 2400300 w 8610600"/>
                    <a:gd name="connsiteY120" fmla="*/ 840823 h 10480123"/>
                    <a:gd name="connsiteX121" fmla="*/ 2686050 w 8610600"/>
                    <a:gd name="connsiteY121" fmla="*/ 764623 h 10480123"/>
                    <a:gd name="connsiteX122" fmla="*/ 2895600 w 8610600"/>
                    <a:gd name="connsiteY122" fmla="*/ 707473 h 10480123"/>
                    <a:gd name="connsiteX123" fmla="*/ 3143250 w 8610600"/>
                    <a:gd name="connsiteY123" fmla="*/ 555073 h 10480123"/>
                    <a:gd name="connsiteX124" fmla="*/ 3143250 w 8610600"/>
                    <a:gd name="connsiteY124" fmla="*/ 669373 h 10480123"/>
                    <a:gd name="connsiteX125" fmla="*/ 3143250 w 8610600"/>
                    <a:gd name="connsiteY125" fmla="*/ 955123 h 10480123"/>
                    <a:gd name="connsiteX126" fmla="*/ 3314700 w 8610600"/>
                    <a:gd name="connsiteY126" fmla="*/ 1202773 h 10480123"/>
                    <a:gd name="connsiteX127" fmla="*/ 3067050 w 8610600"/>
                    <a:gd name="connsiteY127" fmla="*/ 2802973 h 10480123"/>
                    <a:gd name="connsiteX128" fmla="*/ 3009900 w 8610600"/>
                    <a:gd name="connsiteY128" fmla="*/ 3488773 h 10480123"/>
                    <a:gd name="connsiteX129" fmla="*/ 3162300 w 8610600"/>
                    <a:gd name="connsiteY129" fmla="*/ 4574623 h 10480123"/>
                    <a:gd name="connsiteX130" fmla="*/ 3314700 w 8610600"/>
                    <a:gd name="connsiteY130" fmla="*/ 5355673 h 10480123"/>
                    <a:gd name="connsiteX131" fmla="*/ 3429000 w 8610600"/>
                    <a:gd name="connsiteY131" fmla="*/ 6079573 h 10480123"/>
                    <a:gd name="connsiteX132" fmla="*/ 3714750 w 8610600"/>
                    <a:gd name="connsiteY132" fmla="*/ 5679523 h 10480123"/>
                    <a:gd name="connsiteX133" fmla="*/ 3886200 w 8610600"/>
                    <a:gd name="connsiteY133" fmla="*/ 5355673 h 10480123"/>
                    <a:gd name="connsiteX134" fmla="*/ 3981450 w 8610600"/>
                    <a:gd name="connsiteY134" fmla="*/ 4974673 h 10480123"/>
                    <a:gd name="connsiteX135" fmla="*/ 4248150 w 8610600"/>
                    <a:gd name="connsiteY135" fmla="*/ 4555573 h 10480123"/>
                    <a:gd name="connsiteX136" fmla="*/ 4476750 w 8610600"/>
                    <a:gd name="connsiteY136" fmla="*/ 4041223 h 10480123"/>
                    <a:gd name="connsiteX137" fmla="*/ 4876800 w 8610600"/>
                    <a:gd name="connsiteY137" fmla="*/ 3203023 h 10480123"/>
                    <a:gd name="connsiteX138" fmla="*/ 5181600 w 8610600"/>
                    <a:gd name="connsiteY138" fmla="*/ 2402923 h 10480123"/>
                    <a:gd name="connsiteX139" fmla="*/ 5410200 w 8610600"/>
                    <a:gd name="connsiteY139" fmla="*/ 1679023 h 10480123"/>
                    <a:gd name="connsiteX140" fmla="*/ 5638800 w 8610600"/>
                    <a:gd name="connsiteY140" fmla="*/ 993223 h 10480123"/>
                    <a:gd name="connsiteX141" fmla="*/ 6057900 w 8610600"/>
                    <a:gd name="connsiteY141" fmla="*/ 1336123 h 10480123"/>
                    <a:gd name="connsiteX142" fmla="*/ 6076950 w 8610600"/>
                    <a:gd name="connsiteY142" fmla="*/ 1583773 h 10480123"/>
                    <a:gd name="connsiteX143" fmla="*/ 6153150 w 8610600"/>
                    <a:gd name="connsiteY143" fmla="*/ 1659973 h 10480123"/>
                    <a:gd name="connsiteX144" fmla="*/ 6229350 w 8610600"/>
                    <a:gd name="connsiteY144" fmla="*/ 1488523 h 10480123"/>
                    <a:gd name="connsiteX145" fmla="*/ 6286500 w 8610600"/>
                    <a:gd name="connsiteY145" fmla="*/ 1164673 h 10480123"/>
                    <a:gd name="connsiteX146" fmla="*/ 6229350 w 8610600"/>
                    <a:gd name="connsiteY146" fmla="*/ 707473 h 10480123"/>
                    <a:gd name="connsiteX147" fmla="*/ 6096000 w 8610600"/>
                    <a:gd name="connsiteY147" fmla="*/ 193123 h 10480123"/>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66750 w 8610600"/>
                    <a:gd name="connsiteY68" fmla="*/ 6784423 h 10480123"/>
                    <a:gd name="connsiteX69" fmla="*/ 952500 w 8610600"/>
                    <a:gd name="connsiteY69" fmla="*/ 678442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048000 w 8610600"/>
                    <a:gd name="connsiteY73" fmla="*/ 7203523 h 10480123"/>
                    <a:gd name="connsiteX74" fmla="*/ 3009900 w 8610600"/>
                    <a:gd name="connsiteY74" fmla="*/ 7394023 h 10480123"/>
                    <a:gd name="connsiteX75" fmla="*/ 3143250 w 8610600"/>
                    <a:gd name="connsiteY75" fmla="*/ 7432123 h 10480123"/>
                    <a:gd name="connsiteX76" fmla="*/ 3276600 w 8610600"/>
                    <a:gd name="connsiteY76" fmla="*/ 7432123 h 10480123"/>
                    <a:gd name="connsiteX77" fmla="*/ 3309938 w 8610600"/>
                    <a:gd name="connsiteY77" fmla="*/ 7498798 h 10480123"/>
                    <a:gd name="connsiteX78" fmla="*/ 3393281 w 8610600"/>
                    <a:gd name="connsiteY78" fmla="*/ 7594048 h 10480123"/>
                    <a:gd name="connsiteX79" fmla="*/ 3655219 w 8610600"/>
                    <a:gd name="connsiteY79" fmla="*/ 7613098 h 10480123"/>
                    <a:gd name="connsiteX80" fmla="*/ 3676650 w 8610600"/>
                    <a:gd name="connsiteY80" fmla="*/ 7605954 h 10480123"/>
                    <a:gd name="connsiteX81" fmla="*/ 3698081 w 8610600"/>
                    <a:gd name="connsiteY81" fmla="*/ 7789311 h 10480123"/>
                    <a:gd name="connsiteX82" fmla="*/ 3926681 w 8610600"/>
                    <a:gd name="connsiteY82" fmla="*/ 7836936 h 10480123"/>
                    <a:gd name="connsiteX83" fmla="*/ 4341019 w 8610600"/>
                    <a:gd name="connsiteY83" fmla="*/ 7805979 h 10480123"/>
                    <a:gd name="connsiteX84" fmla="*/ 4724400 w 8610600"/>
                    <a:gd name="connsiteY84" fmla="*/ 7717873 h 10480123"/>
                    <a:gd name="connsiteX85" fmla="*/ 5098256 w 8610600"/>
                    <a:gd name="connsiteY85" fmla="*/ 7663104 h 10480123"/>
                    <a:gd name="connsiteX86" fmla="*/ 5272088 w 8610600"/>
                    <a:gd name="connsiteY86" fmla="*/ 7591667 h 10480123"/>
                    <a:gd name="connsiteX87" fmla="*/ 5391150 w 8610600"/>
                    <a:gd name="connsiteY87" fmla="*/ 7584523 h 10480123"/>
                    <a:gd name="connsiteX88" fmla="*/ 5657850 w 8610600"/>
                    <a:gd name="connsiteY88" fmla="*/ 7584523 h 10480123"/>
                    <a:gd name="connsiteX89" fmla="*/ 5867400 w 8610600"/>
                    <a:gd name="connsiteY89" fmla="*/ 7698823 h 10480123"/>
                    <a:gd name="connsiteX90" fmla="*/ 5753100 w 8610600"/>
                    <a:gd name="connsiteY90" fmla="*/ 7279723 h 10480123"/>
                    <a:gd name="connsiteX91" fmla="*/ 5581650 w 8610600"/>
                    <a:gd name="connsiteY91" fmla="*/ 6955873 h 10480123"/>
                    <a:gd name="connsiteX92" fmla="*/ 5391150 w 8610600"/>
                    <a:gd name="connsiteY92" fmla="*/ 6670123 h 10480123"/>
                    <a:gd name="connsiteX93" fmla="*/ 5281613 w 8610600"/>
                    <a:gd name="connsiteY93" fmla="*/ 6617736 h 10480123"/>
                    <a:gd name="connsiteX94" fmla="*/ 4910138 w 8610600"/>
                    <a:gd name="connsiteY94" fmla="*/ 6546298 h 10480123"/>
                    <a:gd name="connsiteX95" fmla="*/ 4629150 w 8610600"/>
                    <a:gd name="connsiteY95" fmla="*/ 6346273 h 10480123"/>
                    <a:gd name="connsiteX96" fmla="*/ 4286250 w 8610600"/>
                    <a:gd name="connsiteY96" fmla="*/ 6384373 h 10480123"/>
                    <a:gd name="connsiteX97" fmla="*/ 3874294 w 8610600"/>
                    <a:gd name="connsiteY97" fmla="*/ 6558204 h 10480123"/>
                    <a:gd name="connsiteX98" fmla="*/ 3600450 w 8610600"/>
                    <a:gd name="connsiteY98" fmla="*/ 6670123 h 10480123"/>
                    <a:gd name="connsiteX99" fmla="*/ 3181350 w 8610600"/>
                    <a:gd name="connsiteY99" fmla="*/ 5774773 h 10480123"/>
                    <a:gd name="connsiteX100" fmla="*/ 2724150 w 8610600"/>
                    <a:gd name="connsiteY100" fmla="*/ 4860373 h 10480123"/>
                    <a:gd name="connsiteX101" fmla="*/ 2381250 w 8610600"/>
                    <a:gd name="connsiteY101" fmla="*/ 4288873 h 10480123"/>
                    <a:gd name="connsiteX102" fmla="*/ 1962150 w 8610600"/>
                    <a:gd name="connsiteY102" fmla="*/ 3869773 h 10480123"/>
                    <a:gd name="connsiteX103" fmla="*/ 1619250 w 8610600"/>
                    <a:gd name="connsiteY103" fmla="*/ 3545923 h 10480123"/>
                    <a:gd name="connsiteX104" fmla="*/ 1009650 w 8610600"/>
                    <a:gd name="connsiteY104" fmla="*/ 3507823 h 10480123"/>
                    <a:gd name="connsiteX105" fmla="*/ 762000 w 8610600"/>
                    <a:gd name="connsiteY105" fmla="*/ 3545923 h 10480123"/>
                    <a:gd name="connsiteX106" fmla="*/ 838200 w 8610600"/>
                    <a:gd name="connsiteY106" fmla="*/ 2917273 h 10480123"/>
                    <a:gd name="connsiteX107" fmla="*/ 838200 w 8610600"/>
                    <a:gd name="connsiteY107" fmla="*/ 2479123 h 10480123"/>
                    <a:gd name="connsiteX108" fmla="*/ 971550 w 8610600"/>
                    <a:gd name="connsiteY108" fmla="*/ 1964773 h 10480123"/>
                    <a:gd name="connsiteX109" fmla="*/ 1028700 w 8610600"/>
                    <a:gd name="connsiteY109" fmla="*/ 1412323 h 10480123"/>
                    <a:gd name="connsiteX110" fmla="*/ 1295400 w 8610600"/>
                    <a:gd name="connsiteY110" fmla="*/ 859873 h 10480123"/>
                    <a:gd name="connsiteX111" fmla="*/ 1562100 w 8610600"/>
                    <a:gd name="connsiteY111" fmla="*/ 745573 h 10480123"/>
                    <a:gd name="connsiteX112" fmla="*/ 1809750 w 8610600"/>
                    <a:gd name="connsiteY112" fmla="*/ 726523 h 10480123"/>
                    <a:gd name="connsiteX113" fmla="*/ 2190750 w 8610600"/>
                    <a:gd name="connsiteY113" fmla="*/ 574123 h 10480123"/>
                    <a:gd name="connsiteX114" fmla="*/ 2457450 w 8610600"/>
                    <a:gd name="connsiteY114" fmla="*/ 478873 h 10480123"/>
                    <a:gd name="connsiteX115" fmla="*/ 2838450 w 8610600"/>
                    <a:gd name="connsiteY115" fmla="*/ 421723 h 10480123"/>
                    <a:gd name="connsiteX116" fmla="*/ 3219450 w 8610600"/>
                    <a:gd name="connsiteY116" fmla="*/ 174073 h 10480123"/>
                    <a:gd name="connsiteX117" fmla="*/ 2857500 w 8610600"/>
                    <a:gd name="connsiteY117" fmla="*/ 440773 h 10480123"/>
                    <a:gd name="connsiteX118" fmla="*/ 2381250 w 8610600"/>
                    <a:gd name="connsiteY118" fmla="*/ 707473 h 10480123"/>
                    <a:gd name="connsiteX119" fmla="*/ 2286000 w 8610600"/>
                    <a:gd name="connsiteY119" fmla="*/ 821773 h 10480123"/>
                    <a:gd name="connsiteX120" fmla="*/ 2400300 w 8610600"/>
                    <a:gd name="connsiteY120" fmla="*/ 840823 h 10480123"/>
                    <a:gd name="connsiteX121" fmla="*/ 2686050 w 8610600"/>
                    <a:gd name="connsiteY121" fmla="*/ 764623 h 10480123"/>
                    <a:gd name="connsiteX122" fmla="*/ 2895600 w 8610600"/>
                    <a:gd name="connsiteY122" fmla="*/ 707473 h 10480123"/>
                    <a:gd name="connsiteX123" fmla="*/ 3143250 w 8610600"/>
                    <a:gd name="connsiteY123" fmla="*/ 555073 h 10480123"/>
                    <a:gd name="connsiteX124" fmla="*/ 3143250 w 8610600"/>
                    <a:gd name="connsiteY124" fmla="*/ 669373 h 10480123"/>
                    <a:gd name="connsiteX125" fmla="*/ 3143250 w 8610600"/>
                    <a:gd name="connsiteY125" fmla="*/ 955123 h 10480123"/>
                    <a:gd name="connsiteX126" fmla="*/ 3314700 w 8610600"/>
                    <a:gd name="connsiteY126" fmla="*/ 1202773 h 10480123"/>
                    <a:gd name="connsiteX127" fmla="*/ 3067050 w 8610600"/>
                    <a:gd name="connsiteY127" fmla="*/ 2802973 h 10480123"/>
                    <a:gd name="connsiteX128" fmla="*/ 3009900 w 8610600"/>
                    <a:gd name="connsiteY128" fmla="*/ 3488773 h 10480123"/>
                    <a:gd name="connsiteX129" fmla="*/ 3162300 w 8610600"/>
                    <a:gd name="connsiteY129" fmla="*/ 4574623 h 10480123"/>
                    <a:gd name="connsiteX130" fmla="*/ 3314700 w 8610600"/>
                    <a:gd name="connsiteY130" fmla="*/ 5355673 h 10480123"/>
                    <a:gd name="connsiteX131" fmla="*/ 3429000 w 8610600"/>
                    <a:gd name="connsiteY131" fmla="*/ 6079573 h 10480123"/>
                    <a:gd name="connsiteX132" fmla="*/ 3714750 w 8610600"/>
                    <a:gd name="connsiteY132" fmla="*/ 5679523 h 10480123"/>
                    <a:gd name="connsiteX133" fmla="*/ 3886200 w 8610600"/>
                    <a:gd name="connsiteY133" fmla="*/ 5355673 h 10480123"/>
                    <a:gd name="connsiteX134" fmla="*/ 3981450 w 8610600"/>
                    <a:gd name="connsiteY134" fmla="*/ 4974673 h 10480123"/>
                    <a:gd name="connsiteX135" fmla="*/ 4248150 w 8610600"/>
                    <a:gd name="connsiteY135" fmla="*/ 4555573 h 10480123"/>
                    <a:gd name="connsiteX136" fmla="*/ 4476750 w 8610600"/>
                    <a:gd name="connsiteY136" fmla="*/ 4041223 h 10480123"/>
                    <a:gd name="connsiteX137" fmla="*/ 4876800 w 8610600"/>
                    <a:gd name="connsiteY137" fmla="*/ 3203023 h 10480123"/>
                    <a:gd name="connsiteX138" fmla="*/ 5181600 w 8610600"/>
                    <a:gd name="connsiteY138" fmla="*/ 2402923 h 10480123"/>
                    <a:gd name="connsiteX139" fmla="*/ 5410200 w 8610600"/>
                    <a:gd name="connsiteY139" fmla="*/ 1679023 h 10480123"/>
                    <a:gd name="connsiteX140" fmla="*/ 5638800 w 8610600"/>
                    <a:gd name="connsiteY140" fmla="*/ 993223 h 10480123"/>
                    <a:gd name="connsiteX141" fmla="*/ 6057900 w 8610600"/>
                    <a:gd name="connsiteY141" fmla="*/ 1336123 h 10480123"/>
                    <a:gd name="connsiteX142" fmla="*/ 6076950 w 8610600"/>
                    <a:gd name="connsiteY142" fmla="*/ 1583773 h 10480123"/>
                    <a:gd name="connsiteX143" fmla="*/ 6153150 w 8610600"/>
                    <a:gd name="connsiteY143" fmla="*/ 1659973 h 10480123"/>
                    <a:gd name="connsiteX144" fmla="*/ 6229350 w 8610600"/>
                    <a:gd name="connsiteY144" fmla="*/ 1488523 h 10480123"/>
                    <a:gd name="connsiteX145" fmla="*/ 6286500 w 8610600"/>
                    <a:gd name="connsiteY145" fmla="*/ 1164673 h 10480123"/>
                    <a:gd name="connsiteX146" fmla="*/ 6229350 w 8610600"/>
                    <a:gd name="connsiteY146" fmla="*/ 707473 h 10480123"/>
                    <a:gd name="connsiteX147" fmla="*/ 6096000 w 8610600"/>
                    <a:gd name="connsiteY147" fmla="*/ 193123 h 10480123"/>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66750 w 8610600"/>
                    <a:gd name="connsiteY68" fmla="*/ 6784423 h 10480123"/>
                    <a:gd name="connsiteX69" fmla="*/ 952500 w 8610600"/>
                    <a:gd name="connsiteY69" fmla="*/ 678442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048000 w 8610600"/>
                    <a:gd name="connsiteY73" fmla="*/ 7203523 h 10480123"/>
                    <a:gd name="connsiteX74" fmla="*/ 3009900 w 8610600"/>
                    <a:gd name="connsiteY74" fmla="*/ 7394023 h 10480123"/>
                    <a:gd name="connsiteX75" fmla="*/ 3143250 w 8610600"/>
                    <a:gd name="connsiteY75" fmla="*/ 7432123 h 10480123"/>
                    <a:gd name="connsiteX76" fmla="*/ 3295650 w 8610600"/>
                    <a:gd name="connsiteY76" fmla="*/ 7403548 h 10480123"/>
                    <a:gd name="connsiteX77" fmla="*/ 3309938 w 8610600"/>
                    <a:gd name="connsiteY77" fmla="*/ 7498798 h 10480123"/>
                    <a:gd name="connsiteX78" fmla="*/ 3393281 w 8610600"/>
                    <a:gd name="connsiteY78" fmla="*/ 7594048 h 10480123"/>
                    <a:gd name="connsiteX79" fmla="*/ 3655219 w 8610600"/>
                    <a:gd name="connsiteY79" fmla="*/ 7613098 h 10480123"/>
                    <a:gd name="connsiteX80" fmla="*/ 3676650 w 8610600"/>
                    <a:gd name="connsiteY80" fmla="*/ 7605954 h 10480123"/>
                    <a:gd name="connsiteX81" fmla="*/ 3698081 w 8610600"/>
                    <a:gd name="connsiteY81" fmla="*/ 7789311 h 10480123"/>
                    <a:gd name="connsiteX82" fmla="*/ 3926681 w 8610600"/>
                    <a:gd name="connsiteY82" fmla="*/ 7836936 h 10480123"/>
                    <a:gd name="connsiteX83" fmla="*/ 4341019 w 8610600"/>
                    <a:gd name="connsiteY83" fmla="*/ 7805979 h 10480123"/>
                    <a:gd name="connsiteX84" fmla="*/ 4724400 w 8610600"/>
                    <a:gd name="connsiteY84" fmla="*/ 7717873 h 10480123"/>
                    <a:gd name="connsiteX85" fmla="*/ 5098256 w 8610600"/>
                    <a:gd name="connsiteY85" fmla="*/ 7663104 h 10480123"/>
                    <a:gd name="connsiteX86" fmla="*/ 5272088 w 8610600"/>
                    <a:gd name="connsiteY86" fmla="*/ 7591667 h 10480123"/>
                    <a:gd name="connsiteX87" fmla="*/ 5391150 w 8610600"/>
                    <a:gd name="connsiteY87" fmla="*/ 7584523 h 10480123"/>
                    <a:gd name="connsiteX88" fmla="*/ 5657850 w 8610600"/>
                    <a:gd name="connsiteY88" fmla="*/ 7584523 h 10480123"/>
                    <a:gd name="connsiteX89" fmla="*/ 5867400 w 8610600"/>
                    <a:gd name="connsiteY89" fmla="*/ 7698823 h 10480123"/>
                    <a:gd name="connsiteX90" fmla="*/ 5753100 w 8610600"/>
                    <a:gd name="connsiteY90" fmla="*/ 7279723 h 10480123"/>
                    <a:gd name="connsiteX91" fmla="*/ 5581650 w 8610600"/>
                    <a:gd name="connsiteY91" fmla="*/ 6955873 h 10480123"/>
                    <a:gd name="connsiteX92" fmla="*/ 5391150 w 8610600"/>
                    <a:gd name="connsiteY92" fmla="*/ 6670123 h 10480123"/>
                    <a:gd name="connsiteX93" fmla="*/ 5281613 w 8610600"/>
                    <a:gd name="connsiteY93" fmla="*/ 6617736 h 10480123"/>
                    <a:gd name="connsiteX94" fmla="*/ 4910138 w 8610600"/>
                    <a:gd name="connsiteY94" fmla="*/ 6546298 h 10480123"/>
                    <a:gd name="connsiteX95" fmla="*/ 4629150 w 8610600"/>
                    <a:gd name="connsiteY95" fmla="*/ 6346273 h 10480123"/>
                    <a:gd name="connsiteX96" fmla="*/ 4286250 w 8610600"/>
                    <a:gd name="connsiteY96" fmla="*/ 6384373 h 10480123"/>
                    <a:gd name="connsiteX97" fmla="*/ 3874294 w 8610600"/>
                    <a:gd name="connsiteY97" fmla="*/ 6558204 h 10480123"/>
                    <a:gd name="connsiteX98" fmla="*/ 3600450 w 8610600"/>
                    <a:gd name="connsiteY98" fmla="*/ 6670123 h 10480123"/>
                    <a:gd name="connsiteX99" fmla="*/ 3181350 w 8610600"/>
                    <a:gd name="connsiteY99" fmla="*/ 5774773 h 10480123"/>
                    <a:gd name="connsiteX100" fmla="*/ 2724150 w 8610600"/>
                    <a:gd name="connsiteY100" fmla="*/ 4860373 h 10480123"/>
                    <a:gd name="connsiteX101" fmla="*/ 2381250 w 8610600"/>
                    <a:gd name="connsiteY101" fmla="*/ 4288873 h 10480123"/>
                    <a:gd name="connsiteX102" fmla="*/ 1962150 w 8610600"/>
                    <a:gd name="connsiteY102" fmla="*/ 3869773 h 10480123"/>
                    <a:gd name="connsiteX103" fmla="*/ 1619250 w 8610600"/>
                    <a:gd name="connsiteY103" fmla="*/ 3545923 h 10480123"/>
                    <a:gd name="connsiteX104" fmla="*/ 1009650 w 8610600"/>
                    <a:gd name="connsiteY104" fmla="*/ 3507823 h 10480123"/>
                    <a:gd name="connsiteX105" fmla="*/ 762000 w 8610600"/>
                    <a:gd name="connsiteY105" fmla="*/ 3545923 h 10480123"/>
                    <a:gd name="connsiteX106" fmla="*/ 838200 w 8610600"/>
                    <a:gd name="connsiteY106" fmla="*/ 2917273 h 10480123"/>
                    <a:gd name="connsiteX107" fmla="*/ 838200 w 8610600"/>
                    <a:gd name="connsiteY107" fmla="*/ 2479123 h 10480123"/>
                    <a:gd name="connsiteX108" fmla="*/ 971550 w 8610600"/>
                    <a:gd name="connsiteY108" fmla="*/ 1964773 h 10480123"/>
                    <a:gd name="connsiteX109" fmla="*/ 1028700 w 8610600"/>
                    <a:gd name="connsiteY109" fmla="*/ 1412323 h 10480123"/>
                    <a:gd name="connsiteX110" fmla="*/ 1295400 w 8610600"/>
                    <a:gd name="connsiteY110" fmla="*/ 859873 h 10480123"/>
                    <a:gd name="connsiteX111" fmla="*/ 1562100 w 8610600"/>
                    <a:gd name="connsiteY111" fmla="*/ 745573 h 10480123"/>
                    <a:gd name="connsiteX112" fmla="*/ 1809750 w 8610600"/>
                    <a:gd name="connsiteY112" fmla="*/ 726523 h 10480123"/>
                    <a:gd name="connsiteX113" fmla="*/ 2190750 w 8610600"/>
                    <a:gd name="connsiteY113" fmla="*/ 574123 h 10480123"/>
                    <a:gd name="connsiteX114" fmla="*/ 2457450 w 8610600"/>
                    <a:gd name="connsiteY114" fmla="*/ 478873 h 10480123"/>
                    <a:gd name="connsiteX115" fmla="*/ 2838450 w 8610600"/>
                    <a:gd name="connsiteY115" fmla="*/ 421723 h 10480123"/>
                    <a:gd name="connsiteX116" fmla="*/ 3219450 w 8610600"/>
                    <a:gd name="connsiteY116" fmla="*/ 174073 h 10480123"/>
                    <a:gd name="connsiteX117" fmla="*/ 2857500 w 8610600"/>
                    <a:gd name="connsiteY117" fmla="*/ 440773 h 10480123"/>
                    <a:gd name="connsiteX118" fmla="*/ 2381250 w 8610600"/>
                    <a:gd name="connsiteY118" fmla="*/ 707473 h 10480123"/>
                    <a:gd name="connsiteX119" fmla="*/ 2286000 w 8610600"/>
                    <a:gd name="connsiteY119" fmla="*/ 821773 h 10480123"/>
                    <a:gd name="connsiteX120" fmla="*/ 2400300 w 8610600"/>
                    <a:gd name="connsiteY120" fmla="*/ 840823 h 10480123"/>
                    <a:gd name="connsiteX121" fmla="*/ 2686050 w 8610600"/>
                    <a:gd name="connsiteY121" fmla="*/ 764623 h 10480123"/>
                    <a:gd name="connsiteX122" fmla="*/ 2895600 w 8610600"/>
                    <a:gd name="connsiteY122" fmla="*/ 707473 h 10480123"/>
                    <a:gd name="connsiteX123" fmla="*/ 3143250 w 8610600"/>
                    <a:gd name="connsiteY123" fmla="*/ 555073 h 10480123"/>
                    <a:gd name="connsiteX124" fmla="*/ 3143250 w 8610600"/>
                    <a:gd name="connsiteY124" fmla="*/ 669373 h 10480123"/>
                    <a:gd name="connsiteX125" fmla="*/ 3143250 w 8610600"/>
                    <a:gd name="connsiteY125" fmla="*/ 955123 h 10480123"/>
                    <a:gd name="connsiteX126" fmla="*/ 3314700 w 8610600"/>
                    <a:gd name="connsiteY126" fmla="*/ 1202773 h 10480123"/>
                    <a:gd name="connsiteX127" fmla="*/ 3067050 w 8610600"/>
                    <a:gd name="connsiteY127" fmla="*/ 2802973 h 10480123"/>
                    <a:gd name="connsiteX128" fmla="*/ 3009900 w 8610600"/>
                    <a:gd name="connsiteY128" fmla="*/ 3488773 h 10480123"/>
                    <a:gd name="connsiteX129" fmla="*/ 3162300 w 8610600"/>
                    <a:gd name="connsiteY129" fmla="*/ 4574623 h 10480123"/>
                    <a:gd name="connsiteX130" fmla="*/ 3314700 w 8610600"/>
                    <a:gd name="connsiteY130" fmla="*/ 5355673 h 10480123"/>
                    <a:gd name="connsiteX131" fmla="*/ 3429000 w 8610600"/>
                    <a:gd name="connsiteY131" fmla="*/ 6079573 h 10480123"/>
                    <a:gd name="connsiteX132" fmla="*/ 3714750 w 8610600"/>
                    <a:gd name="connsiteY132" fmla="*/ 5679523 h 10480123"/>
                    <a:gd name="connsiteX133" fmla="*/ 3886200 w 8610600"/>
                    <a:gd name="connsiteY133" fmla="*/ 5355673 h 10480123"/>
                    <a:gd name="connsiteX134" fmla="*/ 3981450 w 8610600"/>
                    <a:gd name="connsiteY134" fmla="*/ 4974673 h 10480123"/>
                    <a:gd name="connsiteX135" fmla="*/ 4248150 w 8610600"/>
                    <a:gd name="connsiteY135" fmla="*/ 4555573 h 10480123"/>
                    <a:gd name="connsiteX136" fmla="*/ 4476750 w 8610600"/>
                    <a:gd name="connsiteY136" fmla="*/ 4041223 h 10480123"/>
                    <a:gd name="connsiteX137" fmla="*/ 4876800 w 8610600"/>
                    <a:gd name="connsiteY137" fmla="*/ 3203023 h 10480123"/>
                    <a:gd name="connsiteX138" fmla="*/ 5181600 w 8610600"/>
                    <a:gd name="connsiteY138" fmla="*/ 2402923 h 10480123"/>
                    <a:gd name="connsiteX139" fmla="*/ 5410200 w 8610600"/>
                    <a:gd name="connsiteY139" fmla="*/ 1679023 h 10480123"/>
                    <a:gd name="connsiteX140" fmla="*/ 5638800 w 8610600"/>
                    <a:gd name="connsiteY140" fmla="*/ 993223 h 10480123"/>
                    <a:gd name="connsiteX141" fmla="*/ 6057900 w 8610600"/>
                    <a:gd name="connsiteY141" fmla="*/ 1336123 h 10480123"/>
                    <a:gd name="connsiteX142" fmla="*/ 6076950 w 8610600"/>
                    <a:gd name="connsiteY142" fmla="*/ 1583773 h 10480123"/>
                    <a:gd name="connsiteX143" fmla="*/ 6153150 w 8610600"/>
                    <a:gd name="connsiteY143" fmla="*/ 1659973 h 10480123"/>
                    <a:gd name="connsiteX144" fmla="*/ 6229350 w 8610600"/>
                    <a:gd name="connsiteY144" fmla="*/ 1488523 h 10480123"/>
                    <a:gd name="connsiteX145" fmla="*/ 6286500 w 8610600"/>
                    <a:gd name="connsiteY145" fmla="*/ 1164673 h 10480123"/>
                    <a:gd name="connsiteX146" fmla="*/ 6229350 w 8610600"/>
                    <a:gd name="connsiteY146" fmla="*/ 707473 h 10480123"/>
                    <a:gd name="connsiteX147" fmla="*/ 6096000 w 8610600"/>
                    <a:gd name="connsiteY147" fmla="*/ 193123 h 10480123"/>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66750 w 8610600"/>
                    <a:gd name="connsiteY68" fmla="*/ 6784423 h 10480123"/>
                    <a:gd name="connsiteX69" fmla="*/ 952500 w 8610600"/>
                    <a:gd name="connsiteY69" fmla="*/ 678442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048000 w 8610600"/>
                    <a:gd name="connsiteY73" fmla="*/ 7203523 h 10480123"/>
                    <a:gd name="connsiteX74" fmla="*/ 3009900 w 8610600"/>
                    <a:gd name="connsiteY74" fmla="*/ 7394023 h 10480123"/>
                    <a:gd name="connsiteX75" fmla="*/ 3174206 w 8610600"/>
                    <a:gd name="connsiteY75" fmla="*/ 7415454 h 10480123"/>
                    <a:gd name="connsiteX76" fmla="*/ 3295650 w 8610600"/>
                    <a:gd name="connsiteY76" fmla="*/ 7403548 h 10480123"/>
                    <a:gd name="connsiteX77" fmla="*/ 3309938 w 8610600"/>
                    <a:gd name="connsiteY77" fmla="*/ 7498798 h 10480123"/>
                    <a:gd name="connsiteX78" fmla="*/ 3393281 w 8610600"/>
                    <a:gd name="connsiteY78" fmla="*/ 7594048 h 10480123"/>
                    <a:gd name="connsiteX79" fmla="*/ 3655219 w 8610600"/>
                    <a:gd name="connsiteY79" fmla="*/ 7613098 h 10480123"/>
                    <a:gd name="connsiteX80" fmla="*/ 3676650 w 8610600"/>
                    <a:gd name="connsiteY80" fmla="*/ 7605954 h 10480123"/>
                    <a:gd name="connsiteX81" fmla="*/ 3698081 w 8610600"/>
                    <a:gd name="connsiteY81" fmla="*/ 7789311 h 10480123"/>
                    <a:gd name="connsiteX82" fmla="*/ 3926681 w 8610600"/>
                    <a:gd name="connsiteY82" fmla="*/ 7836936 h 10480123"/>
                    <a:gd name="connsiteX83" fmla="*/ 4341019 w 8610600"/>
                    <a:gd name="connsiteY83" fmla="*/ 7805979 h 10480123"/>
                    <a:gd name="connsiteX84" fmla="*/ 4724400 w 8610600"/>
                    <a:gd name="connsiteY84" fmla="*/ 7717873 h 10480123"/>
                    <a:gd name="connsiteX85" fmla="*/ 5098256 w 8610600"/>
                    <a:gd name="connsiteY85" fmla="*/ 7663104 h 10480123"/>
                    <a:gd name="connsiteX86" fmla="*/ 5272088 w 8610600"/>
                    <a:gd name="connsiteY86" fmla="*/ 7591667 h 10480123"/>
                    <a:gd name="connsiteX87" fmla="*/ 5391150 w 8610600"/>
                    <a:gd name="connsiteY87" fmla="*/ 7584523 h 10480123"/>
                    <a:gd name="connsiteX88" fmla="*/ 5657850 w 8610600"/>
                    <a:gd name="connsiteY88" fmla="*/ 7584523 h 10480123"/>
                    <a:gd name="connsiteX89" fmla="*/ 5867400 w 8610600"/>
                    <a:gd name="connsiteY89" fmla="*/ 7698823 h 10480123"/>
                    <a:gd name="connsiteX90" fmla="*/ 5753100 w 8610600"/>
                    <a:gd name="connsiteY90" fmla="*/ 7279723 h 10480123"/>
                    <a:gd name="connsiteX91" fmla="*/ 5581650 w 8610600"/>
                    <a:gd name="connsiteY91" fmla="*/ 6955873 h 10480123"/>
                    <a:gd name="connsiteX92" fmla="*/ 5391150 w 8610600"/>
                    <a:gd name="connsiteY92" fmla="*/ 6670123 h 10480123"/>
                    <a:gd name="connsiteX93" fmla="*/ 5281613 w 8610600"/>
                    <a:gd name="connsiteY93" fmla="*/ 6617736 h 10480123"/>
                    <a:gd name="connsiteX94" fmla="*/ 4910138 w 8610600"/>
                    <a:gd name="connsiteY94" fmla="*/ 6546298 h 10480123"/>
                    <a:gd name="connsiteX95" fmla="*/ 4629150 w 8610600"/>
                    <a:gd name="connsiteY95" fmla="*/ 6346273 h 10480123"/>
                    <a:gd name="connsiteX96" fmla="*/ 4286250 w 8610600"/>
                    <a:gd name="connsiteY96" fmla="*/ 6384373 h 10480123"/>
                    <a:gd name="connsiteX97" fmla="*/ 3874294 w 8610600"/>
                    <a:gd name="connsiteY97" fmla="*/ 6558204 h 10480123"/>
                    <a:gd name="connsiteX98" fmla="*/ 3600450 w 8610600"/>
                    <a:gd name="connsiteY98" fmla="*/ 6670123 h 10480123"/>
                    <a:gd name="connsiteX99" fmla="*/ 3181350 w 8610600"/>
                    <a:gd name="connsiteY99" fmla="*/ 5774773 h 10480123"/>
                    <a:gd name="connsiteX100" fmla="*/ 2724150 w 8610600"/>
                    <a:gd name="connsiteY100" fmla="*/ 4860373 h 10480123"/>
                    <a:gd name="connsiteX101" fmla="*/ 2381250 w 8610600"/>
                    <a:gd name="connsiteY101" fmla="*/ 4288873 h 10480123"/>
                    <a:gd name="connsiteX102" fmla="*/ 1962150 w 8610600"/>
                    <a:gd name="connsiteY102" fmla="*/ 3869773 h 10480123"/>
                    <a:gd name="connsiteX103" fmla="*/ 1619250 w 8610600"/>
                    <a:gd name="connsiteY103" fmla="*/ 3545923 h 10480123"/>
                    <a:gd name="connsiteX104" fmla="*/ 1009650 w 8610600"/>
                    <a:gd name="connsiteY104" fmla="*/ 3507823 h 10480123"/>
                    <a:gd name="connsiteX105" fmla="*/ 762000 w 8610600"/>
                    <a:gd name="connsiteY105" fmla="*/ 3545923 h 10480123"/>
                    <a:gd name="connsiteX106" fmla="*/ 838200 w 8610600"/>
                    <a:gd name="connsiteY106" fmla="*/ 2917273 h 10480123"/>
                    <a:gd name="connsiteX107" fmla="*/ 838200 w 8610600"/>
                    <a:gd name="connsiteY107" fmla="*/ 2479123 h 10480123"/>
                    <a:gd name="connsiteX108" fmla="*/ 971550 w 8610600"/>
                    <a:gd name="connsiteY108" fmla="*/ 1964773 h 10480123"/>
                    <a:gd name="connsiteX109" fmla="*/ 1028700 w 8610600"/>
                    <a:gd name="connsiteY109" fmla="*/ 1412323 h 10480123"/>
                    <a:gd name="connsiteX110" fmla="*/ 1295400 w 8610600"/>
                    <a:gd name="connsiteY110" fmla="*/ 859873 h 10480123"/>
                    <a:gd name="connsiteX111" fmla="*/ 1562100 w 8610600"/>
                    <a:gd name="connsiteY111" fmla="*/ 745573 h 10480123"/>
                    <a:gd name="connsiteX112" fmla="*/ 1809750 w 8610600"/>
                    <a:gd name="connsiteY112" fmla="*/ 726523 h 10480123"/>
                    <a:gd name="connsiteX113" fmla="*/ 2190750 w 8610600"/>
                    <a:gd name="connsiteY113" fmla="*/ 574123 h 10480123"/>
                    <a:gd name="connsiteX114" fmla="*/ 2457450 w 8610600"/>
                    <a:gd name="connsiteY114" fmla="*/ 478873 h 10480123"/>
                    <a:gd name="connsiteX115" fmla="*/ 2838450 w 8610600"/>
                    <a:gd name="connsiteY115" fmla="*/ 421723 h 10480123"/>
                    <a:gd name="connsiteX116" fmla="*/ 3219450 w 8610600"/>
                    <a:gd name="connsiteY116" fmla="*/ 174073 h 10480123"/>
                    <a:gd name="connsiteX117" fmla="*/ 2857500 w 8610600"/>
                    <a:gd name="connsiteY117" fmla="*/ 440773 h 10480123"/>
                    <a:gd name="connsiteX118" fmla="*/ 2381250 w 8610600"/>
                    <a:gd name="connsiteY118" fmla="*/ 707473 h 10480123"/>
                    <a:gd name="connsiteX119" fmla="*/ 2286000 w 8610600"/>
                    <a:gd name="connsiteY119" fmla="*/ 821773 h 10480123"/>
                    <a:gd name="connsiteX120" fmla="*/ 2400300 w 8610600"/>
                    <a:gd name="connsiteY120" fmla="*/ 840823 h 10480123"/>
                    <a:gd name="connsiteX121" fmla="*/ 2686050 w 8610600"/>
                    <a:gd name="connsiteY121" fmla="*/ 764623 h 10480123"/>
                    <a:gd name="connsiteX122" fmla="*/ 2895600 w 8610600"/>
                    <a:gd name="connsiteY122" fmla="*/ 707473 h 10480123"/>
                    <a:gd name="connsiteX123" fmla="*/ 3143250 w 8610600"/>
                    <a:gd name="connsiteY123" fmla="*/ 555073 h 10480123"/>
                    <a:gd name="connsiteX124" fmla="*/ 3143250 w 8610600"/>
                    <a:gd name="connsiteY124" fmla="*/ 669373 h 10480123"/>
                    <a:gd name="connsiteX125" fmla="*/ 3143250 w 8610600"/>
                    <a:gd name="connsiteY125" fmla="*/ 955123 h 10480123"/>
                    <a:gd name="connsiteX126" fmla="*/ 3314700 w 8610600"/>
                    <a:gd name="connsiteY126" fmla="*/ 1202773 h 10480123"/>
                    <a:gd name="connsiteX127" fmla="*/ 3067050 w 8610600"/>
                    <a:gd name="connsiteY127" fmla="*/ 2802973 h 10480123"/>
                    <a:gd name="connsiteX128" fmla="*/ 3009900 w 8610600"/>
                    <a:gd name="connsiteY128" fmla="*/ 3488773 h 10480123"/>
                    <a:gd name="connsiteX129" fmla="*/ 3162300 w 8610600"/>
                    <a:gd name="connsiteY129" fmla="*/ 4574623 h 10480123"/>
                    <a:gd name="connsiteX130" fmla="*/ 3314700 w 8610600"/>
                    <a:gd name="connsiteY130" fmla="*/ 5355673 h 10480123"/>
                    <a:gd name="connsiteX131" fmla="*/ 3429000 w 8610600"/>
                    <a:gd name="connsiteY131" fmla="*/ 6079573 h 10480123"/>
                    <a:gd name="connsiteX132" fmla="*/ 3714750 w 8610600"/>
                    <a:gd name="connsiteY132" fmla="*/ 5679523 h 10480123"/>
                    <a:gd name="connsiteX133" fmla="*/ 3886200 w 8610600"/>
                    <a:gd name="connsiteY133" fmla="*/ 5355673 h 10480123"/>
                    <a:gd name="connsiteX134" fmla="*/ 3981450 w 8610600"/>
                    <a:gd name="connsiteY134" fmla="*/ 4974673 h 10480123"/>
                    <a:gd name="connsiteX135" fmla="*/ 4248150 w 8610600"/>
                    <a:gd name="connsiteY135" fmla="*/ 4555573 h 10480123"/>
                    <a:gd name="connsiteX136" fmla="*/ 4476750 w 8610600"/>
                    <a:gd name="connsiteY136" fmla="*/ 4041223 h 10480123"/>
                    <a:gd name="connsiteX137" fmla="*/ 4876800 w 8610600"/>
                    <a:gd name="connsiteY137" fmla="*/ 3203023 h 10480123"/>
                    <a:gd name="connsiteX138" fmla="*/ 5181600 w 8610600"/>
                    <a:gd name="connsiteY138" fmla="*/ 2402923 h 10480123"/>
                    <a:gd name="connsiteX139" fmla="*/ 5410200 w 8610600"/>
                    <a:gd name="connsiteY139" fmla="*/ 1679023 h 10480123"/>
                    <a:gd name="connsiteX140" fmla="*/ 5638800 w 8610600"/>
                    <a:gd name="connsiteY140" fmla="*/ 993223 h 10480123"/>
                    <a:gd name="connsiteX141" fmla="*/ 6057900 w 8610600"/>
                    <a:gd name="connsiteY141" fmla="*/ 1336123 h 10480123"/>
                    <a:gd name="connsiteX142" fmla="*/ 6076950 w 8610600"/>
                    <a:gd name="connsiteY142" fmla="*/ 1583773 h 10480123"/>
                    <a:gd name="connsiteX143" fmla="*/ 6153150 w 8610600"/>
                    <a:gd name="connsiteY143" fmla="*/ 1659973 h 10480123"/>
                    <a:gd name="connsiteX144" fmla="*/ 6229350 w 8610600"/>
                    <a:gd name="connsiteY144" fmla="*/ 1488523 h 10480123"/>
                    <a:gd name="connsiteX145" fmla="*/ 6286500 w 8610600"/>
                    <a:gd name="connsiteY145" fmla="*/ 1164673 h 10480123"/>
                    <a:gd name="connsiteX146" fmla="*/ 6229350 w 8610600"/>
                    <a:gd name="connsiteY146" fmla="*/ 707473 h 10480123"/>
                    <a:gd name="connsiteX147" fmla="*/ 6096000 w 8610600"/>
                    <a:gd name="connsiteY147" fmla="*/ 193123 h 10480123"/>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66750 w 8610600"/>
                    <a:gd name="connsiteY68" fmla="*/ 6784423 h 10480123"/>
                    <a:gd name="connsiteX69" fmla="*/ 952500 w 8610600"/>
                    <a:gd name="connsiteY69" fmla="*/ 678442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048000 w 8610600"/>
                    <a:gd name="connsiteY73" fmla="*/ 7203523 h 10480123"/>
                    <a:gd name="connsiteX74" fmla="*/ 3078956 w 8610600"/>
                    <a:gd name="connsiteY74" fmla="*/ 7403548 h 10480123"/>
                    <a:gd name="connsiteX75" fmla="*/ 3174206 w 8610600"/>
                    <a:gd name="connsiteY75" fmla="*/ 7415454 h 10480123"/>
                    <a:gd name="connsiteX76" fmla="*/ 3295650 w 8610600"/>
                    <a:gd name="connsiteY76" fmla="*/ 7403548 h 10480123"/>
                    <a:gd name="connsiteX77" fmla="*/ 3309938 w 8610600"/>
                    <a:gd name="connsiteY77" fmla="*/ 7498798 h 10480123"/>
                    <a:gd name="connsiteX78" fmla="*/ 3393281 w 8610600"/>
                    <a:gd name="connsiteY78" fmla="*/ 7594048 h 10480123"/>
                    <a:gd name="connsiteX79" fmla="*/ 3655219 w 8610600"/>
                    <a:gd name="connsiteY79" fmla="*/ 7613098 h 10480123"/>
                    <a:gd name="connsiteX80" fmla="*/ 3676650 w 8610600"/>
                    <a:gd name="connsiteY80" fmla="*/ 7605954 h 10480123"/>
                    <a:gd name="connsiteX81" fmla="*/ 3698081 w 8610600"/>
                    <a:gd name="connsiteY81" fmla="*/ 7789311 h 10480123"/>
                    <a:gd name="connsiteX82" fmla="*/ 3926681 w 8610600"/>
                    <a:gd name="connsiteY82" fmla="*/ 7836936 h 10480123"/>
                    <a:gd name="connsiteX83" fmla="*/ 4341019 w 8610600"/>
                    <a:gd name="connsiteY83" fmla="*/ 7805979 h 10480123"/>
                    <a:gd name="connsiteX84" fmla="*/ 4724400 w 8610600"/>
                    <a:gd name="connsiteY84" fmla="*/ 7717873 h 10480123"/>
                    <a:gd name="connsiteX85" fmla="*/ 5098256 w 8610600"/>
                    <a:gd name="connsiteY85" fmla="*/ 7663104 h 10480123"/>
                    <a:gd name="connsiteX86" fmla="*/ 5272088 w 8610600"/>
                    <a:gd name="connsiteY86" fmla="*/ 7591667 h 10480123"/>
                    <a:gd name="connsiteX87" fmla="*/ 5391150 w 8610600"/>
                    <a:gd name="connsiteY87" fmla="*/ 7584523 h 10480123"/>
                    <a:gd name="connsiteX88" fmla="*/ 5657850 w 8610600"/>
                    <a:gd name="connsiteY88" fmla="*/ 7584523 h 10480123"/>
                    <a:gd name="connsiteX89" fmla="*/ 5867400 w 8610600"/>
                    <a:gd name="connsiteY89" fmla="*/ 7698823 h 10480123"/>
                    <a:gd name="connsiteX90" fmla="*/ 5753100 w 8610600"/>
                    <a:gd name="connsiteY90" fmla="*/ 7279723 h 10480123"/>
                    <a:gd name="connsiteX91" fmla="*/ 5581650 w 8610600"/>
                    <a:gd name="connsiteY91" fmla="*/ 6955873 h 10480123"/>
                    <a:gd name="connsiteX92" fmla="*/ 5391150 w 8610600"/>
                    <a:gd name="connsiteY92" fmla="*/ 6670123 h 10480123"/>
                    <a:gd name="connsiteX93" fmla="*/ 5281613 w 8610600"/>
                    <a:gd name="connsiteY93" fmla="*/ 6617736 h 10480123"/>
                    <a:gd name="connsiteX94" fmla="*/ 4910138 w 8610600"/>
                    <a:gd name="connsiteY94" fmla="*/ 6546298 h 10480123"/>
                    <a:gd name="connsiteX95" fmla="*/ 4629150 w 8610600"/>
                    <a:gd name="connsiteY95" fmla="*/ 6346273 h 10480123"/>
                    <a:gd name="connsiteX96" fmla="*/ 4286250 w 8610600"/>
                    <a:gd name="connsiteY96" fmla="*/ 6384373 h 10480123"/>
                    <a:gd name="connsiteX97" fmla="*/ 3874294 w 8610600"/>
                    <a:gd name="connsiteY97" fmla="*/ 6558204 h 10480123"/>
                    <a:gd name="connsiteX98" fmla="*/ 3600450 w 8610600"/>
                    <a:gd name="connsiteY98" fmla="*/ 6670123 h 10480123"/>
                    <a:gd name="connsiteX99" fmla="*/ 3181350 w 8610600"/>
                    <a:gd name="connsiteY99" fmla="*/ 5774773 h 10480123"/>
                    <a:gd name="connsiteX100" fmla="*/ 2724150 w 8610600"/>
                    <a:gd name="connsiteY100" fmla="*/ 4860373 h 10480123"/>
                    <a:gd name="connsiteX101" fmla="*/ 2381250 w 8610600"/>
                    <a:gd name="connsiteY101" fmla="*/ 4288873 h 10480123"/>
                    <a:gd name="connsiteX102" fmla="*/ 1962150 w 8610600"/>
                    <a:gd name="connsiteY102" fmla="*/ 3869773 h 10480123"/>
                    <a:gd name="connsiteX103" fmla="*/ 1619250 w 8610600"/>
                    <a:gd name="connsiteY103" fmla="*/ 3545923 h 10480123"/>
                    <a:gd name="connsiteX104" fmla="*/ 1009650 w 8610600"/>
                    <a:gd name="connsiteY104" fmla="*/ 3507823 h 10480123"/>
                    <a:gd name="connsiteX105" fmla="*/ 762000 w 8610600"/>
                    <a:gd name="connsiteY105" fmla="*/ 3545923 h 10480123"/>
                    <a:gd name="connsiteX106" fmla="*/ 838200 w 8610600"/>
                    <a:gd name="connsiteY106" fmla="*/ 2917273 h 10480123"/>
                    <a:gd name="connsiteX107" fmla="*/ 838200 w 8610600"/>
                    <a:gd name="connsiteY107" fmla="*/ 2479123 h 10480123"/>
                    <a:gd name="connsiteX108" fmla="*/ 971550 w 8610600"/>
                    <a:gd name="connsiteY108" fmla="*/ 1964773 h 10480123"/>
                    <a:gd name="connsiteX109" fmla="*/ 1028700 w 8610600"/>
                    <a:gd name="connsiteY109" fmla="*/ 1412323 h 10480123"/>
                    <a:gd name="connsiteX110" fmla="*/ 1295400 w 8610600"/>
                    <a:gd name="connsiteY110" fmla="*/ 859873 h 10480123"/>
                    <a:gd name="connsiteX111" fmla="*/ 1562100 w 8610600"/>
                    <a:gd name="connsiteY111" fmla="*/ 745573 h 10480123"/>
                    <a:gd name="connsiteX112" fmla="*/ 1809750 w 8610600"/>
                    <a:gd name="connsiteY112" fmla="*/ 726523 h 10480123"/>
                    <a:gd name="connsiteX113" fmla="*/ 2190750 w 8610600"/>
                    <a:gd name="connsiteY113" fmla="*/ 574123 h 10480123"/>
                    <a:gd name="connsiteX114" fmla="*/ 2457450 w 8610600"/>
                    <a:gd name="connsiteY114" fmla="*/ 478873 h 10480123"/>
                    <a:gd name="connsiteX115" fmla="*/ 2838450 w 8610600"/>
                    <a:gd name="connsiteY115" fmla="*/ 421723 h 10480123"/>
                    <a:gd name="connsiteX116" fmla="*/ 3219450 w 8610600"/>
                    <a:gd name="connsiteY116" fmla="*/ 174073 h 10480123"/>
                    <a:gd name="connsiteX117" fmla="*/ 2857500 w 8610600"/>
                    <a:gd name="connsiteY117" fmla="*/ 440773 h 10480123"/>
                    <a:gd name="connsiteX118" fmla="*/ 2381250 w 8610600"/>
                    <a:gd name="connsiteY118" fmla="*/ 707473 h 10480123"/>
                    <a:gd name="connsiteX119" fmla="*/ 2286000 w 8610600"/>
                    <a:gd name="connsiteY119" fmla="*/ 821773 h 10480123"/>
                    <a:gd name="connsiteX120" fmla="*/ 2400300 w 8610600"/>
                    <a:gd name="connsiteY120" fmla="*/ 840823 h 10480123"/>
                    <a:gd name="connsiteX121" fmla="*/ 2686050 w 8610600"/>
                    <a:gd name="connsiteY121" fmla="*/ 764623 h 10480123"/>
                    <a:gd name="connsiteX122" fmla="*/ 2895600 w 8610600"/>
                    <a:gd name="connsiteY122" fmla="*/ 707473 h 10480123"/>
                    <a:gd name="connsiteX123" fmla="*/ 3143250 w 8610600"/>
                    <a:gd name="connsiteY123" fmla="*/ 555073 h 10480123"/>
                    <a:gd name="connsiteX124" fmla="*/ 3143250 w 8610600"/>
                    <a:gd name="connsiteY124" fmla="*/ 669373 h 10480123"/>
                    <a:gd name="connsiteX125" fmla="*/ 3143250 w 8610600"/>
                    <a:gd name="connsiteY125" fmla="*/ 955123 h 10480123"/>
                    <a:gd name="connsiteX126" fmla="*/ 3314700 w 8610600"/>
                    <a:gd name="connsiteY126" fmla="*/ 1202773 h 10480123"/>
                    <a:gd name="connsiteX127" fmla="*/ 3067050 w 8610600"/>
                    <a:gd name="connsiteY127" fmla="*/ 2802973 h 10480123"/>
                    <a:gd name="connsiteX128" fmla="*/ 3009900 w 8610600"/>
                    <a:gd name="connsiteY128" fmla="*/ 3488773 h 10480123"/>
                    <a:gd name="connsiteX129" fmla="*/ 3162300 w 8610600"/>
                    <a:gd name="connsiteY129" fmla="*/ 4574623 h 10480123"/>
                    <a:gd name="connsiteX130" fmla="*/ 3314700 w 8610600"/>
                    <a:gd name="connsiteY130" fmla="*/ 5355673 h 10480123"/>
                    <a:gd name="connsiteX131" fmla="*/ 3429000 w 8610600"/>
                    <a:gd name="connsiteY131" fmla="*/ 6079573 h 10480123"/>
                    <a:gd name="connsiteX132" fmla="*/ 3714750 w 8610600"/>
                    <a:gd name="connsiteY132" fmla="*/ 5679523 h 10480123"/>
                    <a:gd name="connsiteX133" fmla="*/ 3886200 w 8610600"/>
                    <a:gd name="connsiteY133" fmla="*/ 5355673 h 10480123"/>
                    <a:gd name="connsiteX134" fmla="*/ 3981450 w 8610600"/>
                    <a:gd name="connsiteY134" fmla="*/ 4974673 h 10480123"/>
                    <a:gd name="connsiteX135" fmla="*/ 4248150 w 8610600"/>
                    <a:gd name="connsiteY135" fmla="*/ 4555573 h 10480123"/>
                    <a:gd name="connsiteX136" fmla="*/ 4476750 w 8610600"/>
                    <a:gd name="connsiteY136" fmla="*/ 4041223 h 10480123"/>
                    <a:gd name="connsiteX137" fmla="*/ 4876800 w 8610600"/>
                    <a:gd name="connsiteY137" fmla="*/ 3203023 h 10480123"/>
                    <a:gd name="connsiteX138" fmla="*/ 5181600 w 8610600"/>
                    <a:gd name="connsiteY138" fmla="*/ 2402923 h 10480123"/>
                    <a:gd name="connsiteX139" fmla="*/ 5410200 w 8610600"/>
                    <a:gd name="connsiteY139" fmla="*/ 1679023 h 10480123"/>
                    <a:gd name="connsiteX140" fmla="*/ 5638800 w 8610600"/>
                    <a:gd name="connsiteY140" fmla="*/ 993223 h 10480123"/>
                    <a:gd name="connsiteX141" fmla="*/ 6057900 w 8610600"/>
                    <a:gd name="connsiteY141" fmla="*/ 1336123 h 10480123"/>
                    <a:gd name="connsiteX142" fmla="*/ 6076950 w 8610600"/>
                    <a:gd name="connsiteY142" fmla="*/ 1583773 h 10480123"/>
                    <a:gd name="connsiteX143" fmla="*/ 6153150 w 8610600"/>
                    <a:gd name="connsiteY143" fmla="*/ 1659973 h 10480123"/>
                    <a:gd name="connsiteX144" fmla="*/ 6229350 w 8610600"/>
                    <a:gd name="connsiteY144" fmla="*/ 1488523 h 10480123"/>
                    <a:gd name="connsiteX145" fmla="*/ 6286500 w 8610600"/>
                    <a:gd name="connsiteY145" fmla="*/ 1164673 h 10480123"/>
                    <a:gd name="connsiteX146" fmla="*/ 6229350 w 8610600"/>
                    <a:gd name="connsiteY146" fmla="*/ 707473 h 10480123"/>
                    <a:gd name="connsiteX147" fmla="*/ 6096000 w 8610600"/>
                    <a:gd name="connsiteY147" fmla="*/ 193123 h 10480123"/>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66750 w 8610600"/>
                    <a:gd name="connsiteY68" fmla="*/ 6784423 h 10480123"/>
                    <a:gd name="connsiteX69" fmla="*/ 952500 w 8610600"/>
                    <a:gd name="connsiteY69" fmla="*/ 678442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264694 w 8610600"/>
                    <a:gd name="connsiteY73" fmla="*/ 7103511 h 10480123"/>
                    <a:gd name="connsiteX74" fmla="*/ 3048000 w 8610600"/>
                    <a:gd name="connsiteY74" fmla="*/ 7203523 h 10480123"/>
                    <a:gd name="connsiteX75" fmla="*/ 3078956 w 8610600"/>
                    <a:gd name="connsiteY75" fmla="*/ 7403548 h 10480123"/>
                    <a:gd name="connsiteX76" fmla="*/ 3174206 w 8610600"/>
                    <a:gd name="connsiteY76" fmla="*/ 7415454 h 10480123"/>
                    <a:gd name="connsiteX77" fmla="*/ 3295650 w 8610600"/>
                    <a:gd name="connsiteY77" fmla="*/ 7403548 h 10480123"/>
                    <a:gd name="connsiteX78" fmla="*/ 3309938 w 8610600"/>
                    <a:gd name="connsiteY78" fmla="*/ 7498798 h 10480123"/>
                    <a:gd name="connsiteX79" fmla="*/ 3393281 w 8610600"/>
                    <a:gd name="connsiteY79" fmla="*/ 7594048 h 10480123"/>
                    <a:gd name="connsiteX80" fmla="*/ 3655219 w 8610600"/>
                    <a:gd name="connsiteY80" fmla="*/ 7613098 h 10480123"/>
                    <a:gd name="connsiteX81" fmla="*/ 3676650 w 8610600"/>
                    <a:gd name="connsiteY81" fmla="*/ 7605954 h 10480123"/>
                    <a:gd name="connsiteX82" fmla="*/ 3698081 w 8610600"/>
                    <a:gd name="connsiteY82" fmla="*/ 7789311 h 10480123"/>
                    <a:gd name="connsiteX83" fmla="*/ 3926681 w 8610600"/>
                    <a:gd name="connsiteY83" fmla="*/ 7836936 h 10480123"/>
                    <a:gd name="connsiteX84" fmla="*/ 4341019 w 8610600"/>
                    <a:gd name="connsiteY84" fmla="*/ 7805979 h 10480123"/>
                    <a:gd name="connsiteX85" fmla="*/ 4724400 w 8610600"/>
                    <a:gd name="connsiteY85" fmla="*/ 7717873 h 10480123"/>
                    <a:gd name="connsiteX86" fmla="*/ 5098256 w 8610600"/>
                    <a:gd name="connsiteY86" fmla="*/ 7663104 h 10480123"/>
                    <a:gd name="connsiteX87" fmla="*/ 5272088 w 8610600"/>
                    <a:gd name="connsiteY87" fmla="*/ 7591667 h 10480123"/>
                    <a:gd name="connsiteX88" fmla="*/ 5391150 w 8610600"/>
                    <a:gd name="connsiteY88" fmla="*/ 7584523 h 10480123"/>
                    <a:gd name="connsiteX89" fmla="*/ 5657850 w 8610600"/>
                    <a:gd name="connsiteY89" fmla="*/ 7584523 h 10480123"/>
                    <a:gd name="connsiteX90" fmla="*/ 5867400 w 8610600"/>
                    <a:gd name="connsiteY90" fmla="*/ 7698823 h 10480123"/>
                    <a:gd name="connsiteX91" fmla="*/ 5753100 w 8610600"/>
                    <a:gd name="connsiteY91" fmla="*/ 7279723 h 10480123"/>
                    <a:gd name="connsiteX92" fmla="*/ 5581650 w 8610600"/>
                    <a:gd name="connsiteY92" fmla="*/ 6955873 h 10480123"/>
                    <a:gd name="connsiteX93" fmla="*/ 5391150 w 8610600"/>
                    <a:gd name="connsiteY93" fmla="*/ 6670123 h 10480123"/>
                    <a:gd name="connsiteX94" fmla="*/ 5281613 w 8610600"/>
                    <a:gd name="connsiteY94" fmla="*/ 6617736 h 10480123"/>
                    <a:gd name="connsiteX95" fmla="*/ 4910138 w 8610600"/>
                    <a:gd name="connsiteY95" fmla="*/ 6546298 h 10480123"/>
                    <a:gd name="connsiteX96" fmla="*/ 4629150 w 8610600"/>
                    <a:gd name="connsiteY96" fmla="*/ 6346273 h 10480123"/>
                    <a:gd name="connsiteX97" fmla="*/ 4286250 w 8610600"/>
                    <a:gd name="connsiteY97" fmla="*/ 6384373 h 10480123"/>
                    <a:gd name="connsiteX98" fmla="*/ 3874294 w 8610600"/>
                    <a:gd name="connsiteY98" fmla="*/ 6558204 h 10480123"/>
                    <a:gd name="connsiteX99" fmla="*/ 3600450 w 8610600"/>
                    <a:gd name="connsiteY99" fmla="*/ 6670123 h 10480123"/>
                    <a:gd name="connsiteX100" fmla="*/ 3181350 w 8610600"/>
                    <a:gd name="connsiteY100" fmla="*/ 5774773 h 10480123"/>
                    <a:gd name="connsiteX101" fmla="*/ 2724150 w 8610600"/>
                    <a:gd name="connsiteY101" fmla="*/ 4860373 h 10480123"/>
                    <a:gd name="connsiteX102" fmla="*/ 2381250 w 8610600"/>
                    <a:gd name="connsiteY102" fmla="*/ 4288873 h 10480123"/>
                    <a:gd name="connsiteX103" fmla="*/ 1962150 w 8610600"/>
                    <a:gd name="connsiteY103" fmla="*/ 3869773 h 10480123"/>
                    <a:gd name="connsiteX104" fmla="*/ 1619250 w 8610600"/>
                    <a:gd name="connsiteY104" fmla="*/ 3545923 h 10480123"/>
                    <a:gd name="connsiteX105" fmla="*/ 1009650 w 8610600"/>
                    <a:gd name="connsiteY105" fmla="*/ 3507823 h 10480123"/>
                    <a:gd name="connsiteX106" fmla="*/ 762000 w 8610600"/>
                    <a:gd name="connsiteY106" fmla="*/ 3545923 h 10480123"/>
                    <a:gd name="connsiteX107" fmla="*/ 838200 w 8610600"/>
                    <a:gd name="connsiteY107" fmla="*/ 2917273 h 10480123"/>
                    <a:gd name="connsiteX108" fmla="*/ 838200 w 8610600"/>
                    <a:gd name="connsiteY108" fmla="*/ 2479123 h 10480123"/>
                    <a:gd name="connsiteX109" fmla="*/ 971550 w 8610600"/>
                    <a:gd name="connsiteY109" fmla="*/ 1964773 h 10480123"/>
                    <a:gd name="connsiteX110" fmla="*/ 1028700 w 8610600"/>
                    <a:gd name="connsiteY110" fmla="*/ 1412323 h 10480123"/>
                    <a:gd name="connsiteX111" fmla="*/ 1295400 w 8610600"/>
                    <a:gd name="connsiteY111" fmla="*/ 859873 h 10480123"/>
                    <a:gd name="connsiteX112" fmla="*/ 1562100 w 8610600"/>
                    <a:gd name="connsiteY112" fmla="*/ 745573 h 10480123"/>
                    <a:gd name="connsiteX113" fmla="*/ 1809750 w 8610600"/>
                    <a:gd name="connsiteY113" fmla="*/ 726523 h 10480123"/>
                    <a:gd name="connsiteX114" fmla="*/ 2190750 w 8610600"/>
                    <a:gd name="connsiteY114" fmla="*/ 574123 h 10480123"/>
                    <a:gd name="connsiteX115" fmla="*/ 2457450 w 8610600"/>
                    <a:gd name="connsiteY115" fmla="*/ 478873 h 10480123"/>
                    <a:gd name="connsiteX116" fmla="*/ 2838450 w 8610600"/>
                    <a:gd name="connsiteY116" fmla="*/ 421723 h 10480123"/>
                    <a:gd name="connsiteX117" fmla="*/ 3219450 w 8610600"/>
                    <a:gd name="connsiteY117" fmla="*/ 174073 h 10480123"/>
                    <a:gd name="connsiteX118" fmla="*/ 2857500 w 8610600"/>
                    <a:gd name="connsiteY118" fmla="*/ 440773 h 10480123"/>
                    <a:gd name="connsiteX119" fmla="*/ 2381250 w 8610600"/>
                    <a:gd name="connsiteY119" fmla="*/ 707473 h 10480123"/>
                    <a:gd name="connsiteX120" fmla="*/ 2286000 w 8610600"/>
                    <a:gd name="connsiteY120" fmla="*/ 821773 h 10480123"/>
                    <a:gd name="connsiteX121" fmla="*/ 2400300 w 8610600"/>
                    <a:gd name="connsiteY121" fmla="*/ 840823 h 10480123"/>
                    <a:gd name="connsiteX122" fmla="*/ 2686050 w 8610600"/>
                    <a:gd name="connsiteY122" fmla="*/ 764623 h 10480123"/>
                    <a:gd name="connsiteX123" fmla="*/ 2895600 w 8610600"/>
                    <a:gd name="connsiteY123" fmla="*/ 707473 h 10480123"/>
                    <a:gd name="connsiteX124" fmla="*/ 3143250 w 8610600"/>
                    <a:gd name="connsiteY124" fmla="*/ 555073 h 10480123"/>
                    <a:gd name="connsiteX125" fmla="*/ 3143250 w 8610600"/>
                    <a:gd name="connsiteY125" fmla="*/ 669373 h 10480123"/>
                    <a:gd name="connsiteX126" fmla="*/ 3143250 w 8610600"/>
                    <a:gd name="connsiteY126" fmla="*/ 955123 h 10480123"/>
                    <a:gd name="connsiteX127" fmla="*/ 3314700 w 8610600"/>
                    <a:gd name="connsiteY127" fmla="*/ 1202773 h 10480123"/>
                    <a:gd name="connsiteX128" fmla="*/ 3067050 w 8610600"/>
                    <a:gd name="connsiteY128" fmla="*/ 2802973 h 10480123"/>
                    <a:gd name="connsiteX129" fmla="*/ 3009900 w 8610600"/>
                    <a:gd name="connsiteY129" fmla="*/ 3488773 h 10480123"/>
                    <a:gd name="connsiteX130" fmla="*/ 3162300 w 8610600"/>
                    <a:gd name="connsiteY130" fmla="*/ 4574623 h 10480123"/>
                    <a:gd name="connsiteX131" fmla="*/ 3314700 w 8610600"/>
                    <a:gd name="connsiteY131" fmla="*/ 5355673 h 10480123"/>
                    <a:gd name="connsiteX132" fmla="*/ 3429000 w 8610600"/>
                    <a:gd name="connsiteY132" fmla="*/ 6079573 h 10480123"/>
                    <a:gd name="connsiteX133" fmla="*/ 3714750 w 8610600"/>
                    <a:gd name="connsiteY133" fmla="*/ 5679523 h 10480123"/>
                    <a:gd name="connsiteX134" fmla="*/ 3886200 w 8610600"/>
                    <a:gd name="connsiteY134" fmla="*/ 5355673 h 10480123"/>
                    <a:gd name="connsiteX135" fmla="*/ 3981450 w 8610600"/>
                    <a:gd name="connsiteY135" fmla="*/ 4974673 h 10480123"/>
                    <a:gd name="connsiteX136" fmla="*/ 4248150 w 8610600"/>
                    <a:gd name="connsiteY136" fmla="*/ 4555573 h 10480123"/>
                    <a:gd name="connsiteX137" fmla="*/ 4476750 w 8610600"/>
                    <a:gd name="connsiteY137" fmla="*/ 4041223 h 10480123"/>
                    <a:gd name="connsiteX138" fmla="*/ 4876800 w 8610600"/>
                    <a:gd name="connsiteY138" fmla="*/ 3203023 h 10480123"/>
                    <a:gd name="connsiteX139" fmla="*/ 5181600 w 8610600"/>
                    <a:gd name="connsiteY139" fmla="*/ 2402923 h 10480123"/>
                    <a:gd name="connsiteX140" fmla="*/ 5410200 w 8610600"/>
                    <a:gd name="connsiteY140" fmla="*/ 1679023 h 10480123"/>
                    <a:gd name="connsiteX141" fmla="*/ 5638800 w 8610600"/>
                    <a:gd name="connsiteY141" fmla="*/ 993223 h 10480123"/>
                    <a:gd name="connsiteX142" fmla="*/ 6057900 w 8610600"/>
                    <a:gd name="connsiteY142" fmla="*/ 1336123 h 10480123"/>
                    <a:gd name="connsiteX143" fmla="*/ 6076950 w 8610600"/>
                    <a:gd name="connsiteY143" fmla="*/ 1583773 h 10480123"/>
                    <a:gd name="connsiteX144" fmla="*/ 6153150 w 8610600"/>
                    <a:gd name="connsiteY144" fmla="*/ 1659973 h 10480123"/>
                    <a:gd name="connsiteX145" fmla="*/ 6229350 w 8610600"/>
                    <a:gd name="connsiteY145" fmla="*/ 1488523 h 10480123"/>
                    <a:gd name="connsiteX146" fmla="*/ 6286500 w 8610600"/>
                    <a:gd name="connsiteY146" fmla="*/ 1164673 h 10480123"/>
                    <a:gd name="connsiteX147" fmla="*/ 6229350 w 8610600"/>
                    <a:gd name="connsiteY147" fmla="*/ 707473 h 10480123"/>
                    <a:gd name="connsiteX148" fmla="*/ 6096000 w 8610600"/>
                    <a:gd name="connsiteY148" fmla="*/ 193123 h 10480123"/>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66750 w 8610600"/>
                    <a:gd name="connsiteY68" fmla="*/ 6784423 h 10480123"/>
                    <a:gd name="connsiteX69" fmla="*/ 952500 w 8610600"/>
                    <a:gd name="connsiteY69" fmla="*/ 678442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264694 w 8610600"/>
                    <a:gd name="connsiteY73" fmla="*/ 7103511 h 10480123"/>
                    <a:gd name="connsiteX74" fmla="*/ 3064669 w 8610600"/>
                    <a:gd name="connsiteY74" fmla="*/ 7227336 h 10480123"/>
                    <a:gd name="connsiteX75" fmla="*/ 3078956 w 8610600"/>
                    <a:gd name="connsiteY75" fmla="*/ 7403548 h 10480123"/>
                    <a:gd name="connsiteX76" fmla="*/ 3174206 w 8610600"/>
                    <a:gd name="connsiteY76" fmla="*/ 7415454 h 10480123"/>
                    <a:gd name="connsiteX77" fmla="*/ 3295650 w 8610600"/>
                    <a:gd name="connsiteY77" fmla="*/ 7403548 h 10480123"/>
                    <a:gd name="connsiteX78" fmla="*/ 3309938 w 8610600"/>
                    <a:gd name="connsiteY78" fmla="*/ 7498798 h 10480123"/>
                    <a:gd name="connsiteX79" fmla="*/ 3393281 w 8610600"/>
                    <a:gd name="connsiteY79" fmla="*/ 7594048 h 10480123"/>
                    <a:gd name="connsiteX80" fmla="*/ 3655219 w 8610600"/>
                    <a:gd name="connsiteY80" fmla="*/ 7613098 h 10480123"/>
                    <a:gd name="connsiteX81" fmla="*/ 3676650 w 8610600"/>
                    <a:gd name="connsiteY81" fmla="*/ 7605954 h 10480123"/>
                    <a:gd name="connsiteX82" fmla="*/ 3698081 w 8610600"/>
                    <a:gd name="connsiteY82" fmla="*/ 7789311 h 10480123"/>
                    <a:gd name="connsiteX83" fmla="*/ 3926681 w 8610600"/>
                    <a:gd name="connsiteY83" fmla="*/ 7836936 h 10480123"/>
                    <a:gd name="connsiteX84" fmla="*/ 4341019 w 8610600"/>
                    <a:gd name="connsiteY84" fmla="*/ 7805979 h 10480123"/>
                    <a:gd name="connsiteX85" fmla="*/ 4724400 w 8610600"/>
                    <a:gd name="connsiteY85" fmla="*/ 7717873 h 10480123"/>
                    <a:gd name="connsiteX86" fmla="*/ 5098256 w 8610600"/>
                    <a:gd name="connsiteY86" fmla="*/ 7663104 h 10480123"/>
                    <a:gd name="connsiteX87" fmla="*/ 5272088 w 8610600"/>
                    <a:gd name="connsiteY87" fmla="*/ 7591667 h 10480123"/>
                    <a:gd name="connsiteX88" fmla="*/ 5391150 w 8610600"/>
                    <a:gd name="connsiteY88" fmla="*/ 7584523 h 10480123"/>
                    <a:gd name="connsiteX89" fmla="*/ 5657850 w 8610600"/>
                    <a:gd name="connsiteY89" fmla="*/ 7584523 h 10480123"/>
                    <a:gd name="connsiteX90" fmla="*/ 5867400 w 8610600"/>
                    <a:gd name="connsiteY90" fmla="*/ 7698823 h 10480123"/>
                    <a:gd name="connsiteX91" fmla="*/ 5753100 w 8610600"/>
                    <a:gd name="connsiteY91" fmla="*/ 7279723 h 10480123"/>
                    <a:gd name="connsiteX92" fmla="*/ 5581650 w 8610600"/>
                    <a:gd name="connsiteY92" fmla="*/ 6955873 h 10480123"/>
                    <a:gd name="connsiteX93" fmla="*/ 5391150 w 8610600"/>
                    <a:gd name="connsiteY93" fmla="*/ 6670123 h 10480123"/>
                    <a:gd name="connsiteX94" fmla="*/ 5281613 w 8610600"/>
                    <a:gd name="connsiteY94" fmla="*/ 6617736 h 10480123"/>
                    <a:gd name="connsiteX95" fmla="*/ 4910138 w 8610600"/>
                    <a:gd name="connsiteY95" fmla="*/ 6546298 h 10480123"/>
                    <a:gd name="connsiteX96" fmla="*/ 4629150 w 8610600"/>
                    <a:gd name="connsiteY96" fmla="*/ 6346273 h 10480123"/>
                    <a:gd name="connsiteX97" fmla="*/ 4286250 w 8610600"/>
                    <a:gd name="connsiteY97" fmla="*/ 6384373 h 10480123"/>
                    <a:gd name="connsiteX98" fmla="*/ 3874294 w 8610600"/>
                    <a:gd name="connsiteY98" fmla="*/ 6558204 h 10480123"/>
                    <a:gd name="connsiteX99" fmla="*/ 3600450 w 8610600"/>
                    <a:gd name="connsiteY99" fmla="*/ 6670123 h 10480123"/>
                    <a:gd name="connsiteX100" fmla="*/ 3181350 w 8610600"/>
                    <a:gd name="connsiteY100" fmla="*/ 5774773 h 10480123"/>
                    <a:gd name="connsiteX101" fmla="*/ 2724150 w 8610600"/>
                    <a:gd name="connsiteY101" fmla="*/ 4860373 h 10480123"/>
                    <a:gd name="connsiteX102" fmla="*/ 2381250 w 8610600"/>
                    <a:gd name="connsiteY102" fmla="*/ 4288873 h 10480123"/>
                    <a:gd name="connsiteX103" fmla="*/ 1962150 w 8610600"/>
                    <a:gd name="connsiteY103" fmla="*/ 3869773 h 10480123"/>
                    <a:gd name="connsiteX104" fmla="*/ 1619250 w 8610600"/>
                    <a:gd name="connsiteY104" fmla="*/ 3545923 h 10480123"/>
                    <a:gd name="connsiteX105" fmla="*/ 1009650 w 8610600"/>
                    <a:gd name="connsiteY105" fmla="*/ 3507823 h 10480123"/>
                    <a:gd name="connsiteX106" fmla="*/ 762000 w 8610600"/>
                    <a:gd name="connsiteY106" fmla="*/ 3545923 h 10480123"/>
                    <a:gd name="connsiteX107" fmla="*/ 838200 w 8610600"/>
                    <a:gd name="connsiteY107" fmla="*/ 2917273 h 10480123"/>
                    <a:gd name="connsiteX108" fmla="*/ 838200 w 8610600"/>
                    <a:gd name="connsiteY108" fmla="*/ 2479123 h 10480123"/>
                    <a:gd name="connsiteX109" fmla="*/ 971550 w 8610600"/>
                    <a:gd name="connsiteY109" fmla="*/ 1964773 h 10480123"/>
                    <a:gd name="connsiteX110" fmla="*/ 1028700 w 8610600"/>
                    <a:gd name="connsiteY110" fmla="*/ 1412323 h 10480123"/>
                    <a:gd name="connsiteX111" fmla="*/ 1295400 w 8610600"/>
                    <a:gd name="connsiteY111" fmla="*/ 859873 h 10480123"/>
                    <a:gd name="connsiteX112" fmla="*/ 1562100 w 8610600"/>
                    <a:gd name="connsiteY112" fmla="*/ 745573 h 10480123"/>
                    <a:gd name="connsiteX113" fmla="*/ 1809750 w 8610600"/>
                    <a:gd name="connsiteY113" fmla="*/ 726523 h 10480123"/>
                    <a:gd name="connsiteX114" fmla="*/ 2190750 w 8610600"/>
                    <a:gd name="connsiteY114" fmla="*/ 574123 h 10480123"/>
                    <a:gd name="connsiteX115" fmla="*/ 2457450 w 8610600"/>
                    <a:gd name="connsiteY115" fmla="*/ 478873 h 10480123"/>
                    <a:gd name="connsiteX116" fmla="*/ 2838450 w 8610600"/>
                    <a:gd name="connsiteY116" fmla="*/ 421723 h 10480123"/>
                    <a:gd name="connsiteX117" fmla="*/ 3219450 w 8610600"/>
                    <a:gd name="connsiteY117" fmla="*/ 174073 h 10480123"/>
                    <a:gd name="connsiteX118" fmla="*/ 2857500 w 8610600"/>
                    <a:gd name="connsiteY118" fmla="*/ 440773 h 10480123"/>
                    <a:gd name="connsiteX119" fmla="*/ 2381250 w 8610600"/>
                    <a:gd name="connsiteY119" fmla="*/ 707473 h 10480123"/>
                    <a:gd name="connsiteX120" fmla="*/ 2286000 w 8610600"/>
                    <a:gd name="connsiteY120" fmla="*/ 821773 h 10480123"/>
                    <a:gd name="connsiteX121" fmla="*/ 2400300 w 8610600"/>
                    <a:gd name="connsiteY121" fmla="*/ 840823 h 10480123"/>
                    <a:gd name="connsiteX122" fmla="*/ 2686050 w 8610600"/>
                    <a:gd name="connsiteY122" fmla="*/ 764623 h 10480123"/>
                    <a:gd name="connsiteX123" fmla="*/ 2895600 w 8610600"/>
                    <a:gd name="connsiteY123" fmla="*/ 707473 h 10480123"/>
                    <a:gd name="connsiteX124" fmla="*/ 3143250 w 8610600"/>
                    <a:gd name="connsiteY124" fmla="*/ 555073 h 10480123"/>
                    <a:gd name="connsiteX125" fmla="*/ 3143250 w 8610600"/>
                    <a:gd name="connsiteY125" fmla="*/ 669373 h 10480123"/>
                    <a:gd name="connsiteX126" fmla="*/ 3143250 w 8610600"/>
                    <a:gd name="connsiteY126" fmla="*/ 955123 h 10480123"/>
                    <a:gd name="connsiteX127" fmla="*/ 3314700 w 8610600"/>
                    <a:gd name="connsiteY127" fmla="*/ 1202773 h 10480123"/>
                    <a:gd name="connsiteX128" fmla="*/ 3067050 w 8610600"/>
                    <a:gd name="connsiteY128" fmla="*/ 2802973 h 10480123"/>
                    <a:gd name="connsiteX129" fmla="*/ 3009900 w 8610600"/>
                    <a:gd name="connsiteY129" fmla="*/ 3488773 h 10480123"/>
                    <a:gd name="connsiteX130" fmla="*/ 3162300 w 8610600"/>
                    <a:gd name="connsiteY130" fmla="*/ 4574623 h 10480123"/>
                    <a:gd name="connsiteX131" fmla="*/ 3314700 w 8610600"/>
                    <a:gd name="connsiteY131" fmla="*/ 5355673 h 10480123"/>
                    <a:gd name="connsiteX132" fmla="*/ 3429000 w 8610600"/>
                    <a:gd name="connsiteY132" fmla="*/ 6079573 h 10480123"/>
                    <a:gd name="connsiteX133" fmla="*/ 3714750 w 8610600"/>
                    <a:gd name="connsiteY133" fmla="*/ 5679523 h 10480123"/>
                    <a:gd name="connsiteX134" fmla="*/ 3886200 w 8610600"/>
                    <a:gd name="connsiteY134" fmla="*/ 5355673 h 10480123"/>
                    <a:gd name="connsiteX135" fmla="*/ 3981450 w 8610600"/>
                    <a:gd name="connsiteY135" fmla="*/ 4974673 h 10480123"/>
                    <a:gd name="connsiteX136" fmla="*/ 4248150 w 8610600"/>
                    <a:gd name="connsiteY136" fmla="*/ 4555573 h 10480123"/>
                    <a:gd name="connsiteX137" fmla="*/ 4476750 w 8610600"/>
                    <a:gd name="connsiteY137" fmla="*/ 4041223 h 10480123"/>
                    <a:gd name="connsiteX138" fmla="*/ 4876800 w 8610600"/>
                    <a:gd name="connsiteY138" fmla="*/ 3203023 h 10480123"/>
                    <a:gd name="connsiteX139" fmla="*/ 5181600 w 8610600"/>
                    <a:gd name="connsiteY139" fmla="*/ 2402923 h 10480123"/>
                    <a:gd name="connsiteX140" fmla="*/ 5410200 w 8610600"/>
                    <a:gd name="connsiteY140" fmla="*/ 1679023 h 10480123"/>
                    <a:gd name="connsiteX141" fmla="*/ 5638800 w 8610600"/>
                    <a:gd name="connsiteY141" fmla="*/ 993223 h 10480123"/>
                    <a:gd name="connsiteX142" fmla="*/ 6057900 w 8610600"/>
                    <a:gd name="connsiteY142" fmla="*/ 1336123 h 10480123"/>
                    <a:gd name="connsiteX143" fmla="*/ 6076950 w 8610600"/>
                    <a:gd name="connsiteY143" fmla="*/ 1583773 h 10480123"/>
                    <a:gd name="connsiteX144" fmla="*/ 6153150 w 8610600"/>
                    <a:gd name="connsiteY144" fmla="*/ 1659973 h 10480123"/>
                    <a:gd name="connsiteX145" fmla="*/ 6229350 w 8610600"/>
                    <a:gd name="connsiteY145" fmla="*/ 1488523 h 10480123"/>
                    <a:gd name="connsiteX146" fmla="*/ 6286500 w 8610600"/>
                    <a:gd name="connsiteY146" fmla="*/ 1164673 h 10480123"/>
                    <a:gd name="connsiteX147" fmla="*/ 6229350 w 8610600"/>
                    <a:gd name="connsiteY147" fmla="*/ 707473 h 10480123"/>
                    <a:gd name="connsiteX148" fmla="*/ 6096000 w 8610600"/>
                    <a:gd name="connsiteY148" fmla="*/ 193123 h 10480123"/>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66750 w 8610600"/>
                    <a:gd name="connsiteY68" fmla="*/ 6784423 h 10480123"/>
                    <a:gd name="connsiteX69" fmla="*/ 952500 w 8610600"/>
                    <a:gd name="connsiteY69" fmla="*/ 678442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264694 w 8610600"/>
                    <a:gd name="connsiteY73" fmla="*/ 7103511 h 10480123"/>
                    <a:gd name="connsiteX74" fmla="*/ 3064669 w 8610600"/>
                    <a:gd name="connsiteY74" fmla="*/ 7227336 h 10480123"/>
                    <a:gd name="connsiteX75" fmla="*/ 3078956 w 8610600"/>
                    <a:gd name="connsiteY75" fmla="*/ 7403548 h 10480123"/>
                    <a:gd name="connsiteX76" fmla="*/ 3174206 w 8610600"/>
                    <a:gd name="connsiteY76" fmla="*/ 7415454 h 10480123"/>
                    <a:gd name="connsiteX77" fmla="*/ 3295650 w 8610600"/>
                    <a:gd name="connsiteY77" fmla="*/ 7403548 h 10480123"/>
                    <a:gd name="connsiteX78" fmla="*/ 3309938 w 8610600"/>
                    <a:gd name="connsiteY78" fmla="*/ 7498798 h 10480123"/>
                    <a:gd name="connsiteX79" fmla="*/ 3393281 w 8610600"/>
                    <a:gd name="connsiteY79" fmla="*/ 7594048 h 10480123"/>
                    <a:gd name="connsiteX80" fmla="*/ 3655219 w 8610600"/>
                    <a:gd name="connsiteY80" fmla="*/ 7613098 h 10480123"/>
                    <a:gd name="connsiteX81" fmla="*/ 3676650 w 8610600"/>
                    <a:gd name="connsiteY81" fmla="*/ 7605954 h 10480123"/>
                    <a:gd name="connsiteX82" fmla="*/ 3698081 w 8610600"/>
                    <a:gd name="connsiteY82" fmla="*/ 7789311 h 10480123"/>
                    <a:gd name="connsiteX83" fmla="*/ 3926681 w 8610600"/>
                    <a:gd name="connsiteY83" fmla="*/ 7836936 h 10480123"/>
                    <a:gd name="connsiteX84" fmla="*/ 4341019 w 8610600"/>
                    <a:gd name="connsiteY84" fmla="*/ 7805979 h 10480123"/>
                    <a:gd name="connsiteX85" fmla="*/ 4724400 w 8610600"/>
                    <a:gd name="connsiteY85" fmla="*/ 7717873 h 10480123"/>
                    <a:gd name="connsiteX86" fmla="*/ 5098256 w 8610600"/>
                    <a:gd name="connsiteY86" fmla="*/ 7663104 h 10480123"/>
                    <a:gd name="connsiteX87" fmla="*/ 5272088 w 8610600"/>
                    <a:gd name="connsiteY87" fmla="*/ 7591667 h 10480123"/>
                    <a:gd name="connsiteX88" fmla="*/ 5391150 w 8610600"/>
                    <a:gd name="connsiteY88" fmla="*/ 7584523 h 10480123"/>
                    <a:gd name="connsiteX89" fmla="*/ 5657850 w 8610600"/>
                    <a:gd name="connsiteY89" fmla="*/ 7584523 h 10480123"/>
                    <a:gd name="connsiteX90" fmla="*/ 5867400 w 8610600"/>
                    <a:gd name="connsiteY90" fmla="*/ 7698823 h 10480123"/>
                    <a:gd name="connsiteX91" fmla="*/ 5753100 w 8610600"/>
                    <a:gd name="connsiteY91" fmla="*/ 7279723 h 10480123"/>
                    <a:gd name="connsiteX92" fmla="*/ 5581650 w 8610600"/>
                    <a:gd name="connsiteY92" fmla="*/ 6955873 h 10480123"/>
                    <a:gd name="connsiteX93" fmla="*/ 5391150 w 8610600"/>
                    <a:gd name="connsiteY93" fmla="*/ 6670123 h 10480123"/>
                    <a:gd name="connsiteX94" fmla="*/ 5281613 w 8610600"/>
                    <a:gd name="connsiteY94" fmla="*/ 6617736 h 10480123"/>
                    <a:gd name="connsiteX95" fmla="*/ 4910138 w 8610600"/>
                    <a:gd name="connsiteY95" fmla="*/ 6546298 h 10480123"/>
                    <a:gd name="connsiteX96" fmla="*/ 4629150 w 8610600"/>
                    <a:gd name="connsiteY96" fmla="*/ 6346273 h 10480123"/>
                    <a:gd name="connsiteX97" fmla="*/ 4286250 w 8610600"/>
                    <a:gd name="connsiteY97" fmla="*/ 6384373 h 10480123"/>
                    <a:gd name="connsiteX98" fmla="*/ 3874294 w 8610600"/>
                    <a:gd name="connsiteY98" fmla="*/ 6558204 h 10480123"/>
                    <a:gd name="connsiteX99" fmla="*/ 3600450 w 8610600"/>
                    <a:gd name="connsiteY99" fmla="*/ 6689173 h 10480123"/>
                    <a:gd name="connsiteX100" fmla="*/ 3181350 w 8610600"/>
                    <a:gd name="connsiteY100" fmla="*/ 5774773 h 10480123"/>
                    <a:gd name="connsiteX101" fmla="*/ 2724150 w 8610600"/>
                    <a:gd name="connsiteY101" fmla="*/ 4860373 h 10480123"/>
                    <a:gd name="connsiteX102" fmla="*/ 2381250 w 8610600"/>
                    <a:gd name="connsiteY102" fmla="*/ 4288873 h 10480123"/>
                    <a:gd name="connsiteX103" fmla="*/ 1962150 w 8610600"/>
                    <a:gd name="connsiteY103" fmla="*/ 3869773 h 10480123"/>
                    <a:gd name="connsiteX104" fmla="*/ 1619250 w 8610600"/>
                    <a:gd name="connsiteY104" fmla="*/ 3545923 h 10480123"/>
                    <a:gd name="connsiteX105" fmla="*/ 1009650 w 8610600"/>
                    <a:gd name="connsiteY105" fmla="*/ 3507823 h 10480123"/>
                    <a:gd name="connsiteX106" fmla="*/ 762000 w 8610600"/>
                    <a:gd name="connsiteY106" fmla="*/ 3545923 h 10480123"/>
                    <a:gd name="connsiteX107" fmla="*/ 838200 w 8610600"/>
                    <a:gd name="connsiteY107" fmla="*/ 2917273 h 10480123"/>
                    <a:gd name="connsiteX108" fmla="*/ 838200 w 8610600"/>
                    <a:gd name="connsiteY108" fmla="*/ 2479123 h 10480123"/>
                    <a:gd name="connsiteX109" fmla="*/ 971550 w 8610600"/>
                    <a:gd name="connsiteY109" fmla="*/ 1964773 h 10480123"/>
                    <a:gd name="connsiteX110" fmla="*/ 1028700 w 8610600"/>
                    <a:gd name="connsiteY110" fmla="*/ 1412323 h 10480123"/>
                    <a:gd name="connsiteX111" fmla="*/ 1295400 w 8610600"/>
                    <a:gd name="connsiteY111" fmla="*/ 859873 h 10480123"/>
                    <a:gd name="connsiteX112" fmla="*/ 1562100 w 8610600"/>
                    <a:gd name="connsiteY112" fmla="*/ 745573 h 10480123"/>
                    <a:gd name="connsiteX113" fmla="*/ 1809750 w 8610600"/>
                    <a:gd name="connsiteY113" fmla="*/ 726523 h 10480123"/>
                    <a:gd name="connsiteX114" fmla="*/ 2190750 w 8610600"/>
                    <a:gd name="connsiteY114" fmla="*/ 574123 h 10480123"/>
                    <a:gd name="connsiteX115" fmla="*/ 2457450 w 8610600"/>
                    <a:gd name="connsiteY115" fmla="*/ 478873 h 10480123"/>
                    <a:gd name="connsiteX116" fmla="*/ 2838450 w 8610600"/>
                    <a:gd name="connsiteY116" fmla="*/ 421723 h 10480123"/>
                    <a:gd name="connsiteX117" fmla="*/ 3219450 w 8610600"/>
                    <a:gd name="connsiteY117" fmla="*/ 174073 h 10480123"/>
                    <a:gd name="connsiteX118" fmla="*/ 2857500 w 8610600"/>
                    <a:gd name="connsiteY118" fmla="*/ 440773 h 10480123"/>
                    <a:gd name="connsiteX119" fmla="*/ 2381250 w 8610600"/>
                    <a:gd name="connsiteY119" fmla="*/ 707473 h 10480123"/>
                    <a:gd name="connsiteX120" fmla="*/ 2286000 w 8610600"/>
                    <a:gd name="connsiteY120" fmla="*/ 821773 h 10480123"/>
                    <a:gd name="connsiteX121" fmla="*/ 2400300 w 8610600"/>
                    <a:gd name="connsiteY121" fmla="*/ 840823 h 10480123"/>
                    <a:gd name="connsiteX122" fmla="*/ 2686050 w 8610600"/>
                    <a:gd name="connsiteY122" fmla="*/ 764623 h 10480123"/>
                    <a:gd name="connsiteX123" fmla="*/ 2895600 w 8610600"/>
                    <a:gd name="connsiteY123" fmla="*/ 707473 h 10480123"/>
                    <a:gd name="connsiteX124" fmla="*/ 3143250 w 8610600"/>
                    <a:gd name="connsiteY124" fmla="*/ 555073 h 10480123"/>
                    <a:gd name="connsiteX125" fmla="*/ 3143250 w 8610600"/>
                    <a:gd name="connsiteY125" fmla="*/ 669373 h 10480123"/>
                    <a:gd name="connsiteX126" fmla="*/ 3143250 w 8610600"/>
                    <a:gd name="connsiteY126" fmla="*/ 955123 h 10480123"/>
                    <a:gd name="connsiteX127" fmla="*/ 3314700 w 8610600"/>
                    <a:gd name="connsiteY127" fmla="*/ 1202773 h 10480123"/>
                    <a:gd name="connsiteX128" fmla="*/ 3067050 w 8610600"/>
                    <a:gd name="connsiteY128" fmla="*/ 2802973 h 10480123"/>
                    <a:gd name="connsiteX129" fmla="*/ 3009900 w 8610600"/>
                    <a:gd name="connsiteY129" fmla="*/ 3488773 h 10480123"/>
                    <a:gd name="connsiteX130" fmla="*/ 3162300 w 8610600"/>
                    <a:gd name="connsiteY130" fmla="*/ 4574623 h 10480123"/>
                    <a:gd name="connsiteX131" fmla="*/ 3314700 w 8610600"/>
                    <a:gd name="connsiteY131" fmla="*/ 5355673 h 10480123"/>
                    <a:gd name="connsiteX132" fmla="*/ 3429000 w 8610600"/>
                    <a:gd name="connsiteY132" fmla="*/ 6079573 h 10480123"/>
                    <a:gd name="connsiteX133" fmla="*/ 3714750 w 8610600"/>
                    <a:gd name="connsiteY133" fmla="*/ 5679523 h 10480123"/>
                    <a:gd name="connsiteX134" fmla="*/ 3886200 w 8610600"/>
                    <a:gd name="connsiteY134" fmla="*/ 5355673 h 10480123"/>
                    <a:gd name="connsiteX135" fmla="*/ 3981450 w 8610600"/>
                    <a:gd name="connsiteY135" fmla="*/ 4974673 h 10480123"/>
                    <a:gd name="connsiteX136" fmla="*/ 4248150 w 8610600"/>
                    <a:gd name="connsiteY136" fmla="*/ 4555573 h 10480123"/>
                    <a:gd name="connsiteX137" fmla="*/ 4476750 w 8610600"/>
                    <a:gd name="connsiteY137" fmla="*/ 4041223 h 10480123"/>
                    <a:gd name="connsiteX138" fmla="*/ 4876800 w 8610600"/>
                    <a:gd name="connsiteY138" fmla="*/ 3203023 h 10480123"/>
                    <a:gd name="connsiteX139" fmla="*/ 5181600 w 8610600"/>
                    <a:gd name="connsiteY139" fmla="*/ 2402923 h 10480123"/>
                    <a:gd name="connsiteX140" fmla="*/ 5410200 w 8610600"/>
                    <a:gd name="connsiteY140" fmla="*/ 1679023 h 10480123"/>
                    <a:gd name="connsiteX141" fmla="*/ 5638800 w 8610600"/>
                    <a:gd name="connsiteY141" fmla="*/ 993223 h 10480123"/>
                    <a:gd name="connsiteX142" fmla="*/ 6057900 w 8610600"/>
                    <a:gd name="connsiteY142" fmla="*/ 1336123 h 10480123"/>
                    <a:gd name="connsiteX143" fmla="*/ 6076950 w 8610600"/>
                    <a:gd name="connsiteY143" fmla="*/ 1583773 h 10480123"/>
                    <a:gd name="connsiteX144" fmla="*/ 6153150 w 8610600"/>
                    <a:gd name="connsiteY144" fmla="*/ 1659973 h 10480123"/>
                    <a:gd name="connsiteX145" fmla="*/ 6229350 w 8610600"/>
                    <a:gd name="connsiteY145" fmla="*/ 1488523 h 10480123"/>
                    <a:gd name="connsiteX146" fmla="*/ 6286500 w 8610600"/>
                    <a:gd name="connsiteY146" fmla="*/ 1164673 h 10480123"/>
                    <a:gd name="connsiteX147" fmla="*/ 6229350 w 8610600"/>
                    <a:gd name="connsiteY147" fmla="*/ 707473 h 10480123"/>
                    <a:gd name="connsiteX148" fmla="*/ 6096000 w 8610600"/>
                    <a:gd name="connsiteY148" fmla="*/ 193123 h 10480123"/>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66750 w 8610600"/>
                    <a:gd name="connsiteY68" fmla="*/ 6784423 h 10480123"/>
                    <a:gd name="connsiteX69" fmla="*/ 974725 w 8610600"/>
                    <a:gd name="connsiteY69" fmla="*/ 673997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264694 w 8610600"/>
                    <a:gd name="connsiteY73" fmla="*/ 7103511 h 10480123"/>
                    <a:gd name="connsiteX74" fmla="*/ 3064669 w 8610600"/>
                    <a:gd name="connsiteY74" fmla="*/ 7227336 h 10480123"/>
                    <a:gd name="connsiteX75" fmla="*/ 3078956 w 8610600"/>
                    <a:gd name="connsiteY75" fmla="*/ 7403548 h 10480123"/>
                    <a:gd name="connsiteX76" fmla="*/ 3174206 w 8610600"/>
                    <a:gd name="connsiteY76" fmla="*/ 7415454 h 10480123"/>
                    <a:gd name="connsiteX77" fmla="*/ 3295650 w 8610600"/>
                    <a:gd name="connsiteY77" fmla="*/ 7403548 h 10480123"/>
                    <a:gd name="connsiteX78" fmla="*/ 3309938 w 8610600"/>
                    <a:gd name="connsiteY78" fmla="*/ 7498798 h 10480123"/>
                    <a:gd name="connsiteX79" fmla="*/ 3393281 w 8610600"/>
                    <a:gd name="connsiteY79" fmla="*/ 7594048 h 10480123"/>
                    <a:gd name="connsiteX80" fmla="*/ 3655219 w 8610600"/>
                    <a:gd name="connsiteY80" fmla="*/ 7613098 h 10480123"/>
                    <a:gd name="connsiteX81" fmla="*/ 3676650 w 8610600"/>
                    <a:gd name="connsiteY81" fmla="*/ 7605954 h 10480123"/>
                    <a:gd name="connsiteX82" fmla="*/ 3698081 w 8610600"/>
                    <a:gd name="connsiteY82" fmla="*/ 7789311 h 10480123"/>
                    <a:gd name="connsiteX83" fmla="*/ 3926681 w 8610600"/>
                    <a:gd name="connsiteY83" fmla="*/ 7836936 h 10480123"/>
                    <a:gd name="connsiteX84" fmla="*/ 4341019 w 8610600"/>
                    <a:gd name="connsiteY84" fmla="*/ 7805979 h 10480123"/>
                    <a:gd name="connsiteX85" fmla="*/ 4724400 w 8610600"/>
                    <a:gd name="connsiteY85" fmla="*/ 7717873 h 10480123"/>
                    <a:gd name="connsiteX86" fmla="*/ 5098256 w 8610600"/>
                    <a:gd name="connsiteY86" fmla="*/ 7663104 h 10480123"/>
                    <a:gd name="connsiteX87" fmla="*/ 5272088 w 8610600"/>
                    <a:gd name="connsiteY87" fmla="*/ 7591667 h 10480123"/>
                    <a:gd name="connsiteX88" fmla="*/ 5391150 w 8610600"/>
                    <a:gd name="connsiteY88" fmla="*/ 7584523 h 10480123"/>
                    <a:gd name="connsiteX89" fmla="*/ 5657850 w 8610600"/>
                    <a:gd name="connsiteY89" fmla="*/ 7584523 h 10480123"/>
                    <a:gd name="connsiteX90" fmla="*/ 5867400 w 8610600"/>
                    <a:gd name="connsiteY90" fmla="*/ 7698823 h 10480123"/>
                    <a:gd name="connsiteX91" fmla="*/ 5753100 w 8610600"/>
                    <a:gd name="connsiteY91" fmla="*/ 7279723 h 10480123"/>
                    <a:gd name="connsiteX92" fmla="*/ 5581650 w 8610600"/>
                    <a:gd name="connsiteY92" fmla="*/ 6955873 h 10480123"/>
                    <a:gd name="connsiteX93" fmla="*/ 5391150 w 8610600"/>
                    <a:gd name="connsiteY93" fmla="*/ 6670123 h 10480123"/>
                    <a:gd name="connsiteX94" fmla="*/ 5281613 w 8610600"/>
                    <a:gd name="connsiteY94" fmla="*/ 6617736 h 10480123"/>
                    <a:gd name="connsiteX95" fmla="*/ 4910138 w 8610600"/>
                    <a:gd name="connsiteY95" fmla="*/ 6546298 h 10480123"/>
                    <a:gd name="connsiteX96" fmla="*/ 4629150 w 8610600"/>
                    <a:gd name="connsiteY96" fmla="*/ 6346273 h 10480123"/>
                    <a:gd name="connsiteX97" fmla="*/ 4286250 w 8610600"/>
                    <a:gd name="connsiteY97" fmla="*/ 6384373 h 10480123"/>
                    <a:gd name="connsiteX98" fmla="*/ 3874294 w 8610600"/>
                    <a:gd name="connsiteY98" fmla="*/ 6558204 h 10480123"/>
                    <a:gd name="connsiteX99" fmla="*/ 3600450 w 8610600"/>
                    <a:gd name="connsiteY99" fmla="*/ 6689173 h 10480123"/>
                    <a:gd name="connsiteX100" fmla="*/ 3181350 w 8610600"/>
                    <a:gd name="connsiteY100" fmla="*/ 5774773 h 10480123"/>
                    <a:gd name="connsiteX101" fmla="*/ 2724150 w 8610600"/>
                    <a:gd name="connsiteY101" fmla="*/ 4860373 h 10480123"/>
                    <a:gd name="connsiteX102" fmla="*/ 2381250 w 8610600"/>
                    <a:gd name="connsiteY102" fmla="*/ 4288873 h 10480123"/>
                    <a:gd name="connsiteX103" fmla="*/ 1962150 w 8610600"/>
                    <a:gd name="connsiteY103" fmla="*/ 3869773 h 10480123"/>
                    <a:gd name="connsiteX104" fmla="*/ 1619250 w 8610600"/>
                    <a:gd name="connsiteY104" fmla="*/ 3545923 h 10480123"/>
                    <a:gd name="connsiteX105" fmla="*/ 1009650 w 8610600"/>
                    <a:gd name="connsiteY105" fmla="*/ 3507823 h 10480123"/>
                    <a:gd name="connsiteX106" fmla="*/ 762000 w 8610600"/>
                    <a:gd name="connsiteY106" fmla="*/ 3545923 h 10480123"/>
                    <a:gd name="connsiteX107" fmla="*/ 838200 w 8610600"/>
                    <a:gd name="connsiteY107" fmla="*/ 2917273 h 10480123"/>
                    <a:gd name="connsiteX108" fmla="*/ 838200 w 8610600"/>
                    <a:gd name="connsiteY108" fmla="*/ 2479123 h 10480123"/>
                    <a:gd name="connsiteX109" fmla="*/ 971550 w 8610600"/>
                    <a:gd name="connsiteY109" fmla="*/ 1964773 h 10480123"/>
                    <a:gd name="connsiteX110" fmla="*/ 1028700 w 8610600"/>
                    <a:gd name="connsiteY110" fmla="*/ 1412323 h 10480123"/>
                    <a:gd name="connsiteX111" fmla="*/ 1295400 w 8610600"/>
                    <a:gd name="connsiteY111" fmla="*/ 859873 h 10480123"/>
                    <a:gd name="connsiteX112" fmla="*/ 1562100 w 8610600"/>
                    <a:gd name="connsiteY112" fmla="*/ 745573 h 10480123"/>
                    <a:gd name="connsiteX113" fmla="*/ 1809750 w 8610600"/>
                    <a:gd name="connsiteY113" fmla="*/ 726523 h 10480123"/>
                    <a:gd name="connsiteX114" fmla="*/ 2190750 w 8610600"/>
                    <a:gd name="connsiteY114" fmla="*/ 574123 h 10480123"/>
                    <a:gd name="connsiteX115" fmla="*/ 2457450 w 8610600"/>
                    <a:gd name="connsiteY115" fmla="*/ 478873 h 10480123"/>
                    <a:gd name="connsiteX116" fmla="*/ 2838450 w 8610600"/>
                    <a:gd name="connsiteY116" fmla="*/ 421723 h 10480123"/>
                    <a:gd name="connsiteX117" fmla="*/ 3219450 w 8610600"/>
                    <a:gd name="connsiteY117" fmla="*/ 174073 h 10480123"/>
                    <a:gd name="connsiteX118" fmla="*/ 2857500 w 8610600"/>
                    <a:gd name="connsiteY118" fmla="*/ 440773 h 10480123"/>
                    <a:gd name="connsiteX119" fmla="*/ 2381250 w 8610600"/>
                    <a:gd name="connsiteY119" fmla="*/ 707473 h 10480123"/>
                    <a:gd name="connsiteX120" fmla="*/ 2286000 w 8610600"/>
                    <a:gd name="connsiteY120" fmla="*/ 821773 h 10480123"/>
                    <a:gd name="connsiteX121" fmla="*/ 2400300 w 8610600"/>
                    <a:gd name="connsiteY121" fmla="*/ 840823 h 10480123"/>
                    <a:gd name="connsiteX122" fmla="*/ 2686050 w 8610600"/>
                    <a:gd name="connsiteY122" fmla="*/ 764623 h 10480123"/>
                    <a:gd name="connsiteX123" fmla="*/ 2895600 w 8610600"/>
                    <a:gd name="connsiteY123" fmla="*/ 707473 h 10480123"/>
                    <a:gd name="connsiteX124" fmla="*/ 3143250 w 8610600"/>
                    <a:gd name="connsiteY124" fmla="*/ 555073 h 10480123"/>
                    <a:gd name="connsiteX125" fmla="*/ 3143250 w 8610600"/>
                    <a:gd name="connsiteY125" fmla="*/ 669373 h 10480123"/>
                    <a:gd name="connsiteX126" fmla="*/ 3143250 w 8610600"/>
                    <a:gd name="connsiteY126" fmla="*/ 955123 h 10480123"/>
                    <a:gd name="connsiteX127" fmla="*/ 3314700 w 8610600"/>
                    <a:gd name="connsiteY127" fmla="*/ 1202773 h 10480123"/>
                    <a:gd name="connsiteX128" fmla="*/ 3067050 w 8610600"/>
                    <a:gd name="connsiteY128" fmla="*/ 2802973 h 10480123"/>
                    <a:gd name="connsiteX129" fmla="*/ 3009900 w 8610600"/>
                    <a:gd name="connsiteY129" fmla="*/ 3488773 h 10480123"/>
                    <a:gd name="connsiteX130" fmla="*/ 3162300 w 8610600"/>
                    <a:gd name="connsiteY130" fmla="*/ 4574623 h 10480123"/>
                    <a:gd name="connsiteX131" fmla="*/ 3314700 w 8610600"/>
                    <a:gd name="connsiteY131" fmla="*/ 5355673 h 10480123"/>
                    <a:gd name="connsiteX132" fmla="*/ 3429000 w 8610600"/>
                    <a:gd name="connsiteY132" fmla="*/ 6079573 h 10480123"/>
                    <a:gd name="connsiteX133" fmla="*/ 3714750 w 8610600"/>
                    <a:gd name="connsiteY133" fmla="*/ 5679523 h 10480123"/>
                    <a:gd name="connsiteX134" fmla="*/ 3886200 w 8610600"/>
                    <a:gd name="connsiteY134" fmla="*/ 5355673 h 10480123"/>
                    <a:gd name="connsiteX135" fmla="*/ 3981450 w 8610600"/>
                    <a:gd name="connsiteY135" fmla="*/ 4974673 h 10480123"/>
                    <a:gd name="connsiteX136" fmla="*/ 4248150 w 8610600"/>
                    <a:gd name="connsiteY136" fmla="*/ 4555573 h 10480123"/>
                    <a:gd name="connsiteX137" fmla="*/ 4476750 w 8610600"/>
                    <a:gd name="connsiteY137" fmla="*/ 4041223 h 10480123"/>
                    <a:gd name="connsiteX138" fmla="*/ 4876800 w 8610600"/>
                    <a:gd name="connsiteY138" fmla="*/ 3203023 h 10480123"/>
                    <a:gd name="connsiteX139" fmla="*/ 5181600 w 8610600"/>
                    <a:gd name="connsiteY139" fmla="*/ 2402923 h 10480123"/>
                    <a:gd name="connsiteX140" fmla="*/ 5410200 w 8610600"/>
                    <a:gd name="connsiteY140" fmla="*/ 1679023 h 10480123"/>
                    <a:gd name="connsiteX141" fmla="*/ 5638800 w 8610600"/>
                    <a:gd name="connsiteY141" fmla="*/ 993223 h 10480123"/>
                    <a:gd name="connsiteX142" fmla="*/ 6057900 w 8610600"/>
                    <a:gd name="connsiteY142" fmla="*/ 1336123 h 10480123"/>
                    <a:gd name="connsiteX143" fmla="*/ 6076950 w 8610600"/>
                    <a:gd name="connsiteY143" fmla="*/ 1583773 h 10480123"/>
                    <a:gd name="connsiteX144" fmla="*/ 6153150 w 8610600"/>
                    <a:gd name="connsiteY144" fmla="*/ 1659973 h 10480123"/>
                    <a:gd name="connsiteX145" fmla="*/ 6229350 w 8610600"/>
                    <a:gd name="connsiteY145" fmla="*/ 1488523 h 10480123"/>
                    <a:gd name="connsiteX146" fmla="*/ 6286500 w 8610600"/>
                    <a:gd name="connsiteY146" fmla="*/ 1164673 h 10480123"/>
                    <a:gd name="connsiteX147" fmla="*/ 6229350 w 8610600"/>
                    <a:gd name="connsiteY147" fmla="*/ 707473 h 10480123"/>
                    <a:gd name="connsiteX148" fmla="*/ 6096000 w 8610600"/>
                    <a:gd name="connsiteY148" fmla="*/ 193123 h 10480123"/>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85800 w 8610600"/>
                    <a:gd name="connsiteY68" fmla="*/ 6739973 h 10480123"/>
                    <a:gd name="connsiteX69" fmla="*/ 974725 w 8610600"/>
                    <a:gd name="connsiteY69" fmla="*/ 673997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264694 w 8610600"/>
                    <a:gd name="connsiteY73" fmla="*/ 7103511 h 10480123"/>
                    <a:gd name="connsiteX74" fmla="*/ 3064669 w 8610600"/>
                    <a:gd name="connsiteY74" fmla="*/ 7227336 h 10480123"/>
                    <a:gd name="connsiteX75" fmla="*/ 3078956 w 8610600"/>
                    <a:gd name="connsiteY75" fmla="*/ 7403548 h 10480123"/>
                    <a:gd name="connsiteX76" fmla="*/ 3174206 w 8610600"/>
                    <a:gd name="connsiteY76" fmla="*/ 7415454 h 10480123"/>
                    <a:gd name="connsiteX77" fmla="*/ 3295650 w 8610600"/>
                    <a:gd name="connsiteY77" fmla="*/ 7403548 h 10480123"/>
                    <a:gd name="connsiteX78" fmla="*/ 3309938 w 8610600"/>
                    <a:gd name="connsiteY78" fmla="*/ 7498798 h 10480123"/>
                    <a:gd name="connsiteX79" fmla="*/ 3393281 w 8610600"/>
                    <a:gd name="connsiteY79" fmla="*/ 7594048 h 10480123"/>
                    <a:gd name="connsiteX80" fmla="*/ 3655219 w 8610600"/>
                    <a:gd name="connsiteY80" fmla="*/ 7613098 h 10480123"/>
                    <a:gd name="connsiteX81" fmla="*/ 3676650 w 8610600"/>
                    <a:gd name="connsiteY81" fmla="*/ 7605954 h 10480123"/>
                    <a:gd name="connsiteX82" fmla="*/ 3698081 w 8610600"/>
                    <a:gd name="connsiteY82" fmla="*/ 7789311 h 10480123"/>
                    <a:gd name="connsiteX83" fmla="*/ 3926681 w 8610600"/>
                    <a:gd name="connsiteY83" fmla="*/ 7836936 h 10480123"/>
                    <a:gd name="connsiteX84" fmla="*/ 4341019 w 8610600"/>
                    <a:gd name="connsiteY84" fmla="*/ 7805979 h 10480123"/>
                    <a:gd name="connsiteX85" fmla="*/ 4724400 w 8610600"/>
                    <a:gd name="connsiteY85" fmla="*/ 7717873 h 10480123"/>
                    <a:gd name="connsiteX86" fmla="*/ 5098256 w 8610600"/>
                    <a:gd name="connsiteY86" fmla="*/ 7663104 h 10480123"/>
                    <a:gd name="connsiteX87" fmla="*/ 5272088 w 8610600"/>
                    <a:gd name="connsiteY87" fmla="*/ 7591667 h 10480123"/>
                    <a:gd name="connsiteX88" fmla="*/ 5391150 w 8610600"/>
                    <a:gd name="connsiteY88" fmla="*/ 7584523 h 10480123"/>
                    <a:gd name="connsiteX89" fmla="*/ 5657850 w 8610600"/>
                    <a:gd name="connsiteY89" fmla="*/ 7584523 h 10480123"/>
                    <a:gd name="connsiteX90" fmla="*/ 5867400 w 8610600"/>
                    <a:gd name="connsiteY90" fmla="*/ 7698823 h 10480123"/>
                    <a:gd name="connsiteX91" fmla="*/ 5753100 w 8610600"/>
                    <a:gd name="connsiteY91" fmla="*/ 7279723 h 10480123"/>
                    <a:gd name="connsiteX92" fmla="*/ 5581650 w 8610600"/>
                    <a:gd name="connsiteY92" fmla="*/ 6955873 h 10480123"/>
                    <a:gd name="connsiteX93" fmla="*/ 5391150 w 8610600"/>
                    <a:gd name="connsiteY93" fmla="*/ 6670123 h 10480123"/>
                    <a:gd name="connsiteX94" fmla="*/ 5281613 w 8610600"/>
                    <a:gd name="connsiteY94" fmla="*/ 6617736 h 10480123"/>
                    <a:gd name="connsiteX95" fmla="*/ 4910138 w 8610600"/>
                    <a:gd name="connsiteY95" fmla="*/ 6546298 h 10480123"/>
                    <a:gd name="connsiteX96" fmla="*/ 4629150 w 8610600"/>
                    <a:gd name="connsiteY96" fmla="*/ 6346273 h 10480123"/>
                    <a:gd name="connsiteX97" fmla="*/ 4286250 w 8610600"/>
                    <a:gd name="connsiteY97" fmla="*/ 6384373 h 10480123"/>
                    <a:gd name="connsiteX98" fmla="*/ 3874294 w 8610600"/>
                    <a:gd name="connsiteY98" fmla="*/ 6558204 h 10480123"/>
                    <a:gd name="connsiteX99" fmla="*/ 3600450 w 8610600"/>
                    <a:gd name="connsiteY99" fmla="*/ 6689173 h 10480123"/>
                    <a:gd name="connsiteX100" fmla="*/ 3181350 w 8610600"/>
                    <a:gd name="connsiteY100" fmla="*/ 5774773 h 10480123"/>
                    <a:gd name="connsiteX101" fmla="*/ 2724150 w 8610600"/>
                    <a:gd name="connsiteY101" fmla="*/ 4860373 h 10480123"/>
                    <a:gd name="connsiteX102" fmla="*/ 2381250 w 8610600"/>
                    <a:gd name="connsiteY102" fmla="*/ 4288873 h 10480123"/>
                    <a:gd name="connsiteX103" fmla="*/ 1962150 w 8610600"/>
                    <a:gd name="connsiteY103" fmla="*/ 3869773 h 10480123"/>
                    <a:gd name="connsiteX104" fmla="*/ 1619250 w 8610600"/>
                    <a:gd name="connsiteY104" fmla="*/ 3545923 h 10480123"/>
                    <a:gd name="connsiteX105" fmla="*/ 1009650 w 8610600"/>
                    <a:gd name="connsiteY105" fmla="*/ 3507823 h 10480123"/>
                    <a:gd name="connsiteX106" fmla="*/ 762000 w 8610600"/>
                    <a:gd name="connsiteY106" fmla="*/ 3545923 h 10480123"/>
                    <a:gd name="connsiteX107" fmla="*/ 838200 w 8610600"/>
                    <a:gd name="connsiteY107" fmla="*/ 2917273 h 10480123"/>
                    <a:gd name="connsiteX108" fmla="*/ 838200 w 8610600"/>
                    <a:gd name="connsiteY108" fmla="*/ 2479123 h 10480123"/>
                    <a:gd name="connsiteX109" fmla="*/ 971550 w 8610600"/>
                    <a:gd name="connsiteY109" fmla="*/ 1964773 h 10480123"/>
                    <a:gd name="connsiteX110" fmla="*/ 1028700 w 8610600"/>
                    <a:gd name="connsiteY110" fmla="*/ 1412323 h 10480123"/>
                    <a:gd name="connsiteX111" fmla="*/ 1295400 w 8610600"/>
                    <a:gd name="connsiteY111" fmla="*/ 859873 h 10480123"/>
                    <a:gd name="connsiteX112" fmla="*/ 1562100 w 8610600"/>
                    <a:gd name="connsiteY112" fmla="*/ 745573 h 10480123"/>
                    <a:gd name="connsiteX113" fmla="*/ 1809750 w 8610600"/>
                    <a:gd name="connsiteY113" fmla="*/ 726523 h 10480123"/>
                    <a:gd name="connsiteX114" fmla="*/ 2190750 w 8610600"/>
                    <a:gd name="connsiteY114" fmla="*/ 574123 h 10480123"/>
                    <a:gd name="connsiteX115" fmla="*/ 2457450 w 8610600"/>
                    <a:gd name="connsiteY115" fmla="*/ 478873 h 10480123"/>
                    <a:gd name="connsiteX116" fmla="*/ 2838450 w 8610600"/>
                    <a:gd name="connsiteY116" fmla="*/ 421723 h 10480123"/>
                    <a:gd name="connsiteX117" fmla="*/ 3219450 w 8610600"/>
                    <a:gd name="connsiteY117" fmla="*/ 174073 h 10480123"/>
                    <a:gd name="connsiteX118" fmla="*/ 2857500 w 8610600"/>
                    <a:gd name="connsiteY118" fmla="*/ 440773 h 10480123"/>
                    <a:gd name="connsiteX119" fmla="*/ 2381250 w 8610600"/>
                    <a:gd name="connsiteY119" fmla="*/ 707473 h 10480123"/>
                    <a:gd name="connsiteX120" fmla="*/ 2286000 w 8610600"/>
                    <a:gd name="connsiteY120" fmla="*/ 821773 h 10480123"/>
                    <a:gd name="connsiteX121" fmla="*/ 2400300 w 8610600"/>
                    <a:gd name="connsiteY121" fmla="*/ 840823 h 10480123"/>
                    <a:gd name="connsiteX122" fmla="*/ 2686050 w 8610600"/>
                    <a:gd name="connsiteY122" fmla="*/ 764623 h 10480123"/>
                    <a:gd name="connsiteX123" fmla="*/ 2895600 w 8610600"/>
                    <a:gd name="connsiteY123" fmla="*/ 707473 h 10480123"/>
                    <a:gd name="connsiteX124" fmla="*/ 3143250 w 8610600"/>
                    <a:gd name="connsiteY124" fmla="*/ 555073 h 10480123"/>
                    <a:gd name="connsiteX125" fmla="*/ 3143250 w 8610600"/>
                    <a:gd name="connsiteY125" fmla="*/ 669373 h 10480123"/>
                    <a:gd name="connsiteX126" fmla="*/ 3143250 w 8610600"/>
                    <a:gd name="connsiteY126" fmla="*/ 955123 h 10480123"/>
                    <a:gd name="connsiteX127" fmla="*/ 3314700 w 8610600"/>
                    <a:gd name="connsiteY127" fmla="*/ 1202773 h 10480123"/>
                    <a:gd name="connsiteX128" fmla="*/ 3067050 w 8610600"/>
                    <a:gd name="connsiteY128" fmla="*/ 2802973 h 10480123"/>
                    <a:gd name="connsiteX129" fmla="*/ 3009900 w 8610600"/>
                    <a:gd name="connsiteY129" fmla="*/ 3488773 h 10480123"/>
                    <a:gd name="connsiteX130" fmla="*/ 3162300 w 8610600"/>
                    <a:gd name="connsiteY130" fmla="*/ 4574623 h 10480123"/>
                    <a:gd name="connsiteX131" fmla="*/ 3314700 w 8610600"/>
                    <a:gd name="connsiteY131" fmla="*/ 5355673 h 10480123"/>
                    <a:gd name="connsiteX132" fmla="*/ 3429000 w 8610600"/>
                    <a:gd name="connsiteY132" fmla="*/ 6079573 h 10480123"/>
                    <a:gd name="connsiteX133" fmla="*/ 3714750 w 8610600"/>
                    <a:gd name="connsiteY133" fmla="*/ 5679523 h 10480123"/>
                    <a:gd name="connsiteX134" fmla="*/ 3886200 w 8610600"/>
                    <a:gd name="connsiteY134" fmla="*/ 5355673 h 10480123"/>
                    <a:gd name="connsiteX135" fmla="*/ 3981450 w 8610600"/>
                    <a:gd name="connsiteY135" fmla="*/ 4974673 h 10480123"/>
                    <a:gd name="connsiteX136" fmla="*/ 4248150 w 8610600"/>
                    <a:gd name="connsiteY136" fmla="*/ 4555573 h 10480123"/>
                    <a:gd name="connsiteX137" fmla="*/ 4476750 w 8610600"/>
                    <a:gd name="connsiteY137" fmla="*/ 4041223 h 10480123"/>
                    <a:gd name="connsiteX138" fmla="*/ 4876800 w 8610600"/>
                    <a:gd name="connsiteY138" fmla="*/ 3203023 h 10480123"/>
                    <a:gd name="connsiteX139" fmla="*/ 5181600 w 8610600"/>
                    <a:gd name="connsiteY139" fmla="*/ 2402923 h 10480123"/>
                    <a:gd name="connsiteX140" fmla="*/ 5410200 w 8610600"/>
                    <a:gd name="connsiteY140" fmla="*/ 1679023 h 10480123"/>
                    <a:gd name="connsiteX141" fmla="*/ 5638800 w 8610600"/>
                    <a:gd name="connsiteY141" fmla="*/ 993223 h 10480123"/>
                    <a:gd name="connsiteX142" fmla="*/ 6057900 w 8610600"/>
                    <a:gd name="connsiteY142" fmla="*/ 1336123 h 10480123"/>
                    <a:gd name="connsiteX143" fmla="*/ 6076950 w 8610600"/>
                    <a:gd name="connsiteY143" fmla="*/ 1583773 h 10480123"/>
                    <a:gd name="connsiteX144" fmla="*/ 6153150 w 8610600"/>
                    <a:gd name="connsiteY144" fmla="*/ 1659973 h 10480123"/>
                    <a:gd name="connsiteX145" fmla="*/ 6229350 w 8610600"/>
                    <a:gd name="connsiteY145" fmla="*/ 1488523 h 10480123"/>
                    <a:gd name="connsiteX146" fmla="*/ 6286500 w 8610600"/>
                    <a:gd name="connsiteY146" fmla="*/ 1164673 h 10480123"/>
                    <a:gd name="connsiteX147" fmla="*/ 6229350 w 8610600"/>
                    <a:gd name="connsiteY147" fmla="*/ 707473 h 10480123"/>
                    <a:gd name="connsiteX148" fmla="*/ 6096000 w 8610600"/>
                    <a:gd name="connsiteY148" fmla="*/ 193123 h 10480123"/>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85800 w 8610600"/>
                    <a:gd name="connsiteY68" fmla="*/ 6739973 h 10480123"/>
                    <a:gd name="connsiteX69" fmla="*/ 974725 w 8610600"/>
                    <a:gd name="connsiteY69" fmla="*/ 673997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264694 w 8610600"/>
                    <a:gd name="connsiteY73" fmla="*/ 7103511 h 10480123"/>
                    <a:gd name="connsiteX74" fmla="*/ 3064669 w 8610600"/>
                    <a:gd name="connsiteY74" fmla="*/ 7227336 h 10480123"/>
                    <a:gd name="connsiteX75" fmla="*/ 3078956 w 8610600"/>
                    <a:gd name="connsiteY75" fmla="*/ 7403548 h 10480123"/>
                    <a:gd name="connsiteX76" fmla="*/ 3174206 w 8610600"/>
                    <a:gd name="connsiteY76" fmla="*/ 7415454 h 10480123"/>
                    <a:gd name="connsiteX77" fmla="*/ 3295650 w 8610600"/>
                    <a:gd name="connsiteY77" fmla="*/ 7403548 h 10480123"/>
                    <a:gd name="connsiteX78" fmla="*/ 3309938 w 8610600"/>
                    <a:gd name="connsiteY78" fmla="*/ 7498798 h 10480123"/>
                    <a:gd name="connsiteX79" fmla="*/ 3393281 w 8610600"/>
                    <a:gd name="connsiteY79" fmla="*/ 7594048 h 10480123"/>
                    <a:gd name="connsiteX80" fmla="*/ 3655219 w 8610600"/>
                    <a:gd name="connsiteY80" fmla="*/ 7613098 h 10480123"/>
                    <a:gd name="connsiteX81" fmla="*/ 3676650 w 8610600"/>
                    <a:gd name="connsiteY81" fmla="*/ 7605954 h 10480123"/>
                    <a:gd name="connsiteX82" fmla="*/ 3698081 w 8610600"/>
                    <a:gd name="connsiteY82" fmla="*/ 7789311 h 10480123"/>
                    <a:gd name="connsiteX83" fmla="*/ 3926681 w 8610600"/>
                    <a:gd name="connsiteY83" fmla="*/ 7836936 h 10480123"/>
                    <a:gd name="connsiteX84" fmla="*/ 4341019 w 8610600"/>
                    <a:gd name="connsiteY84" fmla="*/ 7805979 h 10480123"/>
                    <a:gd name="connsiteX85" fmla="*/ 4724400 w 8610600"/>
                    <a:gd name="connsiteY85" fmla="*/ 7717873 h 10480123"/>
                    <a:gd name="connsiteX86" fmla="*/ 5098256 w 8610600"/>
                    <a:gd name="connsiteY86" fmla="*/ 7663104 h 10480123"/>
                    <a:gd name="connsiteX87" fmla="*/ 5272088 w 8610600"/>
                    <a:gd name="connsiteY87" fmla="*/ 7591667 h 10480123"/>
                    <a:gd name="connsiteX88" fmla="*/ 5391150 w 8610600"/>
                    <a:gd name="connsiteY88" fmla="*/ 7584523 h 10480123"/>
                    <a:gd name="connsiteX89" fmla="*/ 5657850 w 8610600"/>
                    <a:gd name="connsiteY89" fmla="*/ 7584523 h 10480123"/>
                    <a:gd name="connsiteX90" fmla="*/ 5867400 w 8610600"/>
                    <a:gd name="connsiteY90" fmla="*/ 7698823 h 10480123"/>
                    <a:gd name="connsiteX91" fmla="*/ 5753100 w 8610600"/>
                    <a:gd name="connsiteY91" fmla="*/ 7279723 h 10480123"/>
                    <a:gd name="connsiteX92" fmla="*/ 5581650 w 8610600"/>
                    <a:gd name="connsiteY92" fmla="*/ 6955873 h 10480123"/>
                    <a:gd name="connsiteX93" fmla="*/ 5391150 w 8610600"/>
                    <a:gd name="connsiteY93" fmla="*/ 6670123 h 10480123"/>
                    <a:gd name="connsiteX94" fmla="*/ 5281613 w 8610600"/>
                    <a:gd name="connsiteY94" fmla="*/ 6617736 h 10480123"/>
                    <a:gd name="connsiteX95" fmla="*/ 4910138 w 8610600"/>
                    <a:gd name="connsiteY95" fmla="*/ 6546298 h 10480123"/>
                    <a:gd name="connsiteX96" fmla="*/ 4629150 w 8610600"/>
                    <a:gd name="connsiteY96" fmla="*/ 6346273 h 10480123"/>
                    <a:gd name="connsiteX97" fmla="*/ 4286250 w 8610600"/>
                    <a:gd name="connsiteY97" fmla="*/ 6384373 h 10480123"/>
                    <a:gd name="connsiteX98" fmla="*/ 3874294 w 8610600"/>
                    <a:gd name="connsiteY98" fmla="*/ 6558204 h 10480123"/>
                    <a:gd name="connsiteX99" fmla="*/ 3600450 w 8610600"/>
                    <a:gd name="connsiteY99" fmla="*/ 6689173 h 10480123"/>
                    <a:gd name="connsiteX100" fmla="*/ 3181350 w 8610600"/>
                    <a:gd name="connsiteY100" fmla="*/ 5774773 h 10480123"/>
                    <a:gd name="connsiteX101" fmla="*/ 2724150 w 8610600"/>
                    <a:gd name="connsiteY101" fmla="*/ 4860373 h 10480123"/>
                    <a:gd name="connsiteX102" fmla="*/ 2381250 w 8610600"/>
                    <a:gd name="connsiteY102" fmla="*/ 4288873 h 10480123"/>
                    <a:gd name="connsiteX103" fmla="*/ 1962150 w 8610600"/>
                    <a:gd name="connsiteY103" fmla="*/ 3869773 h 10480123"/>
                    <a:gd name="connsiteX104" fmla="*/ 1619250 w 8610600"/>
                    <a:gd name="connsiteY104" fmla="*/ 3545923 h 10480123"/>
                    <a:gd name="connsiteX105" fmla="*/ 1009650 w 8610600"/>
                    <a:gd name="connsiteY105" fmla="*/ 3507823 h 10480123"/>
                    <a:gd name="connsiteX106" fmla="*/ 762000 w 8610600"/>
                    <a:gd name="connsiteY106" fmla="*/ 3545923 h 10480123"/>
                    <a:gd name="connsiteX107" fmla="*/ 838200 w 8610600"/>
                    <a:gd name="connsiteY107" fmla="*/ 2917273 h 10480123"/>
                    <a:gd name="connsiteX108" fmla="*/ 838200 w 8610600"/>
                    <a:gd name="connsiteY108" fmla="*/ 2479123 h 10480123"/>
                    <a:gd name="connsiteX109" fmla="*/ 971550 w 8610600"/>
                    <a:gd name="connsiteY109" fmla="*/ 1964773 h 10480123"/>
                    <a:gd name="connsiteX110" fmla="*/ 1028700 w 8610600"/>
                    <a:gd name="connsiteY110" fmla="*/ 1412323 h 10480123"/>
                    <a:gd name="connsiteX111" fmla="*/ 1295400 w 8610600"/>
                    <a:gd name="connsiteY111" fmla="*/ 859873 h 10480123"/>
                    <a:gd name="connsiteX112" fmla="*/ 1562100 w 8610600"/>
                    <a:gd name="connsiteY112" fmla="*/ 745573 h 10480123"/>
                    <a:gd name="connsiteX113" fmla="*/ 1809750 w 8610600"/>
                    <a:gd name="connsiteY113" fmla="*/ 726523 h 10480123"/>
                    <a:gd name="connsiteX114" fmla="*/ 2190750 w 8610600"/>
                    <a:gd name="connsiteY114" fmla="*/ 574123 h 10480123"/>
                    <a:gd name="connsiteX115" fmla="*/ 2457450 w 8610600"/>
                    <a:gd name="connsiteY115" fmla="*/ 478873 h 10480123"/>
                    <a:gd name="connsiteX116" fmla="*/ 2838450 w 8610600"/>
                    <a:gd name="connsiteY116" fmla="*/ 421723 h 10480123"/>
                    <a:gd name="connsiteX117" fmla="*/ 3219450 w 8610600"/>
                    <a:gd name="connsiteY117" fmla="*/ 174073 h 10480123"/>
                    <a:gd name="connsiteX118" fmla="*/ 2857500 w 8610600"/>
                    <a:gd name="connsiteY118" fmla="*/ 440773 h 10480123"/>
                    <a:gd name="connsiteX119" fmla="*/ 2381250 w 8610600"/>
                    <a:gd name="connsiteY119" fmla="*/ 707473 h 10480123"/>
                    <a:gd name="connsiteX120" fmla="*/ 2286000 w 8610600"/>
                    <a:gd name="connsiteY120" fmla="*/ 821773 h 10480123"/>
                    <a:gd name="connsiteX121" fmla="*/ 2400300 w 8610600"/>
                    <a:gd name="connsiteY121" fmla="*/ 840823 h 10480123"/>
                    <a:gd name="connsiteX122" fmla="*/ 2686050 w 8610600"/>
                    <a:gd name="connsiteY122" fmla="*/ 764623 h 10480123"/>
                    <a:gd name="connsiteX123" fmla="*/ 2895600 w 8610600"/>
                    <a:gd name="connsiteY123" fmla="*/ 707473 h 10480123"/>
                    <a:gd name="connsiteX124" fmla="*/ 3143250 w 8610600"/>
                    <a:gd name="connsiteY124" fmla="*/ 555073 h 10480123"/>
                    <a:gd name="connsiteX125" fmla="*/ 3143250 w 8610600"/>
                    <a:gd name="connsiteY125" fmla="*/ 669373 h 10480123"/>
                    <a:gd name="connsiteX126" fmla="*/ 3143250 w 8610600"/>
                    <a:gd name="connsiteY126" fmla="*/ 955123 h 10480123"/>
                    <a:gd name="connsiteX127" fmla="*/ 3314700 w 8610600"/>
                    <a:gd name="connsiteY127" fmla="*/ 1202773 h 10480123"/>
                    <a:gd name="connsiteX128" fmla="*/ 3067050 w 8610600"/>
                    <a:gd name="connsiteY128" fmla="*/ 2802973 h 10480123"/>
                    <a:gd name="connsiteX129" fmla="*/ 3009900 w 8610600"/>
                    <a:gd name="connsiteY129" fmla="*/ 3488773 h 10480123"/>
                    <a:gd name="connsiteX130" fmla="*/ 3162300 w 8610600"/>
                    <a:gd name="connsiteY130" fmla="*/ 4574623 h 10480123"/>
                    <a:gd name="connsiteX131" fmla="*/ 3314700 w 8610600"/>
                    <a:gd name="connsiteY131" fmla="*/ 5355673 h 10480123"/>
                    <a:gd name="connsiteX132" fmla="*/ 3429000 w 8610600"/>
                    <a:gd name="connsiteY132" fmla="*/ 6079573 h 10480123"/>
                    <a:gd name="connsiteX133" fmla="*/ 3714750 w 8610600"/>
                    <a:gd name="connsiteY133" fmla="*/ 5679523 h 10480123"/>
                    <a:gd name="connsiteX134" fmla="*/ 3886200 w 8610600"/>
                    <a:gd name="connsiteY134" fmla="*/ 5355673 h 10480123"/>
                    <a:gd name="connsiteX135" fmla="*/ 3981450 w 8610600"/>
                    <a:gd name="connsiteY135" fmla="*/ 4974673 h 10480123"/>
                    <a:gd name="connsiteX136" fmla="*/ 4248150 w 8610600"/>
                    <a:gd name="connsiteY136" fmla="*/ 4555573 h 10480123"/>
                    <a:gd name="connsiteX137" fmla="*/ 4476750 w 8610600"/>
                    <a:gd name="connsiteY137" fmla="*/ 4041223 h 10480123"/>
                    <a:gd name="connsiteX138" fmla="*/ 4876800 w 8610600"/>
                    <a:gd name="connsiteY138" fmla="*/ 3203023 h 10480123"/>
                    <a:gd name="connsiteX139" fmla="*/ 5181600 w 8610600"/>
                    <a:gd name="connsiteY139" fmla="*/ 2402923 h 10480123"/>
                    <a:gd name="connsiteX140" fmla="*/ 5410200 w 8610600"/>
                    <a:gd name="connsiteY140" fmla="*/ 1679023 h 10480123"/>
                    <a:gd name="connsiteX141" fmla="*/ 5638800 w 8610600"/>
                    <a:gd name="connsiteY141" fmla="*/ 993223 h 10480123"/>
                    <a:gd name="connsiteX142" fmla="*/ 6057900 w 8610600"/>
                    <a:gd name="connsiteY142" fmla="*/ 1336123 h 10480123"/>
                    <a:gd name="connsiteX143" fmla="*/ 6076950 w 8610600"/>
                    <a:gd name="connsiteY143" fmla="*/ 1583773 h 10480123"/>
                    <a:gd name="connsiteX144" fmla="*/ 6153150 w 8610600"/>
                    <a:gd name="connsiteY144" fmla="*/ 1659973 h 10480123"/>
                    <a:gd name="connsiteX145" fmla="*/ 6229350 w 8610600"/>
                    <a:gd name="connsiteY145" fmla="*/ 1488523 h 10480123"/>
                    <a:gd name="connsiteX146" fmla="*/ 6286500 w 8610600"/>
                    <a:gd name="connsiteY146" fmla="*/ 1164673 h 10480123"/>
                    <a:gd name="connsiteX147" fmla="*/ 6229350 w 8610600"/>
                    <a:gd name="connsiteY147" fmla="*/ 707473 h 10480123"/>
                    <a:gd name="connsiteX148" fmla="*/ 6096000 w 8610600"/>
                    <a:gd name="connsiteY148" fmla="*/ 193123 h 10480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Lst>
                  <a:rect l="l" t="t" r="r" b="b"/>
                  <a:pathLst>
                    <a:path w="8610600" h="10480123">
                      <a:moveTo>
                        <a:pt x="6096000" y="193123"/>
                      </a:moveTo>
                      <a:lnTo>
                        <a:pt x="6248400" y="402673"/>
                      </a:lnTo>
                      <a:lnTo>
                        <a:pt x="6362700" y="536023"/>
                      </a:lnTo>
                      <a:lnTo>
                        <a:pt x="6838950" y="764623"/>
                      </a:lnTo>
                      <a:lnTo>
                        <a:pt x="7010400" y="917023"/>
                      </a:lnTo>
                      <a:lnTo>
                        <a:pt x="7448550" y="1202773"/>
                      </a:lnTo>
                      <a:lnTo>
                        <a:pt x="7848600" y="1374223"/>
                      </a:lnTo>
                      <a:lnTo>
                        <a:pt x="8020050" y="1374223"/>
                      </a:lnTo>
                      <a:lnTo>
                        <a:pt x="8058150" y="1679023"/>
                      </a:lnTo>
                      <a:lnTo>
                        <a:pt x="8115300" y="2002873"/>
                      </a:lnTo>
                      <a:lnTo>
                        <a:pt x="8115300" y="2345773"/>
                      </a:lnTo>
                      <a:cubicBezTo>
                        <a:pt x="8179755" y="2764727"/>
                        <a:pt x="8305800" y="3179190"/>
                        <a:pt x="8305800" y="3603073"/>
                      </a:cubicBezTo>
                      <a:cubicBezTo>
                        <a:pt x="8325407" y="4720668"/>
                        <a:pt x="8324850" y="4326917"/>
                        <a:pt x="8324850" y="4784173"/>
                      </a:cubicBezTo>
                      <a:cubicBezTo>
                        <a:pt x="8421892" y="5114115"/>
                        <a:pt x="8420100" y="4995501"/>
                        <a:pt x="8420100" y="5127073"/>
                      </a:cubicBezTo>
                      <a:lnTo>
                        <a:pt x="8420100" y="5546173"/>
                      </a:lnTo>
                      <a:lnTo>
                        <a:pt x="8534400" y="5831923"/>
                      </a:lnTo>
                      <a:lnTo>
                        <a:pt x="8553450" y="6289123"/>
                      </a:lnTo>
                      <a:lnTo>
                        <a:pt x="8610600" y="6612973"/>
                      </a:lnTo>
                      <a:lnTo>
                        <a:pt x="8572500" y="6841573"/>
                      </a:lnTo>
                      <a:lnTo>
                        <a:pt x="8534400" y="6917773"/>
                      </a:lnTo>
                      <a:lnTo>
                        <a:pt x="8610600" y="7089223"/>
                      </a:lnTo>
                      <a:cubicBezTo>
                        <a:pt x="8473609" y="7284925"/>
                        <a:pt x="8399738" y="7279723"/>
                        <a:pt x="8496300" y="7279723"/>
                      </a:cubicBezTo>
                      <a:lnTo>
                        <a:pt x="8210550" y="7603573"/>
                      </a:lnTo>
                      <a:lnTo>
                        <a:pt x="7924800" y="7813123"/>
                      </a:lnTo>
                      <a:lnTo>
                        <a:pt x="7486650" y="8003623"/>
                      </a:lnTo>
                      <a:lnTo>
                        <a:pt x="6991350" y="8098873"/>
                      </a:lnTo>
                      <a:lnTo>
                        <a:pt x="6724650" y="8270323"/>
                      </a:lnTo>
                      <a:lnTo>
                        <a:pt x="6972300" y="8898973"/>
                      </a:lnTo>
                      <a:cubicBezTo>
                        <a:pt x="7010927" y="9362501"/>
                        <a:pt x="7010400" y="9203245"/>
                        <a:pt x="7010400" y="9375223"/>
                      </a:cubicBezTo>
                      <a:lnTo>
                        <a:pt x="7200900" y="10080073"/>
                      </a:lnTo>
                      <a:lnTo>
                        <a:pt x="7277100" y="10461073"/>
                      </a:lnTo>
                      <a:lnTo>
                        <a:pt x="6858000" y="10384873"/>
                      </a:lnTo>
                      <a:cubicBezTo>
                        <a:pt x="6635798" y="10404479"/>
                        <a:pt x="6414315" y="10442023"/>
                        <a:pt x="6191250" y="10442023"/>
                      </a:cubicBezTo>
                      <a:lnTo>
                        <a:pt x="4781550" y="10480123"/>
                      </a:lnTo>
                      <a:lnTo>
                        <a:pt x="4095750" y="10480123"/>
                      </a:lnTo>
                      <a:lnTo>
                        <a:pt x="3695700" y="10270573"/>
                      </a:lnTo>
                      <a:lnTo>
                        <a:pt x="3429000" y="9965773"/>
                      </a:lnTo>
                      <a:lnTo>
                        <a:pt x="3333750" y="9622873"/>
                      </a:lnTo>
                      <a:lnTo>
                        <a:pt x="3257550" y="8956123"/>
                      </a:lnTo>
                      <a:lnTo>
                        <a:pt x="3219450" y="8194123"/>
                      </a:lnTo>
                      <a:lnTo>
                        <a:pt x="3219450" y="7432123"/>
                      </a:lnTo>
                      <a:lnTo>
                        <a:pt x="3009900" y="8003623"/>
                      </a:lnTo>
                      <a:lnTo>
                        <a:pt x="2667000" y="8918023"/>
                      </a:lnTo>
                      <a:lnTo>
                        <a:pt x="2400300" y="9622873"/>
                      </a:lnTo>
                      <a:lnTo>
                        <a:pt x="2133600" y="10041973"/>
                      </a:lnTo>
                      <a:lnTo>
                        <a:pt x="1885950" y="10289623"/>
                      </a:lnTo>
                      <a:lnTo>
                        <a:pt x="1524000" y="10308673"/>
                      </a:lnTo>
                      <a:lnTo>
                        <a:pt x="1143000" y="10232473"/>
                      </a:lnTo>
                      <a:lnTo>
                        <a:pt x="838200" y="10175323"/>
                      </a:lnTo>
                      <a:lnTo>
                        <a:pt x="609600" y="10061023"/>
                      </a:lnTo>
                      <a:lnTo>
                        <a:pt x="400050" y="9984823"/>
                      </a:lnTo>
                      <a:lnTo>
                        <a:pt x="552450" y="9451423"/>
                      </a:lnTo>
                      <a:lnTo>
                        <a:pt x="723900" y="8784673"/>
                      </a:lnTo>
                      <a:lnTo>
                        <a:pt x="857250" y="8384623"/>
                      </a:lnTo>
                      <a:lnTo>
                        <a:pt x="1085850" y="7927423"/>
                      </a:lnTo>
                      <a:lnTo>
                        <a:pt x="1085850" y="7584523"/>
                      </a:lnTo>
                      <a:lnTo>
                        <a:pt x="1219200" y="7279723"/>
                      </a:lnTo>
                      <a:lnTo>
                        <a:pt x="971550" y="7470223"/>
                      </a:lnTo>
                      <a:lnTo>
                        <a:pt x="838200" y="7622623"/>
                      </a:lnTo>
                      <a:lnTo>
                        <a:pt x="762000" y="7946473"/>
                      </a:lnTo>
                      <a:lnTo>
                        <a:pt x="476250" y="7984573"/>
                      </a:lnTo>
                      <a:lnTo>
                        <a:pt x="304800" y="7660723"/>
                      </a:lnTo>
                      <a:lnTo>
                        <a:pt x="95250" y="7165423"/>
                      </a:lnTo>
                      <a:lnTo>
                        <a:pt x="0" y="6860623"/>
                      </a:lnTo>
                      <a:lnTo>
                        <a:pt x="171450" y="6841573"/>
                      </a:lnTo>
                      <a:lnTo>
                        <a:pt x="266700" y="6784423"/>
                      </a:lnTo>
                      <a:lnTo>
                        <a:pt x="438150" y="6955873"/>
                      </a:lnTo>
                      <a:lnTo>
                        <a:pt x="571500" y="6879673"/>
                      </a:lnTo>
                      <a:lnTo>
                        <a:pt x="685800" y="6739973"/>
                      </a:lnTo>
                      <a:cubicBezTo>
                        <a:pt x="977886" y="6759445"/>
                        <a:pt x="803275" y="6740184"/>
                        <a:pt x="974725" y="6739973"/>
                      </a:cubicBezTo>
                      <a:lnTo>
                        <a:pt x="1314450" y="6765373"/>
                      </a:lnTo>
                      <a:lnTo>
                        <a:pt x="1771650" y="6860623"/>
                      </a:lnTo>
                      <a:lnTo>
                        <a:pt x="2305050" y="7070173"/>
                      </a:lnTo>
                      <a:cubicBezTo>
                        <a:pt x="2517378" y="7117798"/>
                        <a:pt x="3138091" y="7077317"/>
                        <a:pt x="3264694" y="7103511"/>
                      </a:cubicBezTo>
                      <a:cubicBezTo>
                        <a:pt x="3391297" y="7129705"/>
                        <a:pt x="3059113" y="7184474"/>
                        <a:pt x="3064669" y="7227336"/>
                      </a:cubicBezTo>
                      <a:lnTo>
                        <a:pt x="3078956" y="7403548"/>
                      </a:lnTo>
                      <a:lnTo>
                        <a:pt x="3174206" y="7415454"/>
                      </a:lnTo>
                      <a:lnTo>
                        <a:pt x="3295650" y="7403548"/>
                      </a:lnTo>
                      <a:lnTo>
                        <a:pt x="3309938" y="7498798"/>
                      </a:lnTo>
                      <a:lnTo>
                        <a:pt x="3393281" y="7594048"/>
                      </a:lnTo>
                      <a:lnTo>
                        <a:pt x="3655219" y="7613098"/>
                      </a:lnTo>
                      <a:lnTo>
                        <a:pt x="3676650" y="7605954"/>
                      </a:lnTo>
                      <a:cubicBezTo>
                        <a:pt x="3696332" y="7802772"/>
                        <a:pt x="3681412" y="7691203"/>
                        <a:pt x="3698081" y="7789311"/>
                      </a:cubicBezTo>
                      <a:lnTo>
                        <a:pt x="3926681" y="7836936"/>
                      </a:lnTo>
                      <a:lnTo>
                        <a:pt x="4341019" y="7805979"/>
                      </a:lnTo>
                      <a:lnTo>
                        <a:pt x="4724400" y="7717873"/>
                      </a:lnTo>
                      <a:lnTo>
                        <a:pt x="5098256" y="7663104"/>
                      </a:lnTo>
                      <a:lnTo>
                        <a:pt x="5272088" y="7591667"/>
                      </a:lnTo>
                      <a:lnTo>
                        <a:pt x="5391150" y="7584523"/>
                      </a:lnTo>
                      <a:lnTo>
                        <a:pt x="5657850" y="7584523"/>
                      </a:lnTo>
                      <a:lnTo>
                        <a:pt x="5867400" y="7698823"/>
                      </a:lnTo>
                      <a:cubicBezTo>
                        <a:pt x="5751356" y="7292667"/>
                        <a:pt x="5753100" y="7437459"/>
                        <a:pt x="5753100" y="7279723"/>
                      </a:cubicBezTo>
                      <a:cubicBezTo>
                        <a:pt x="5578537" y="6969388"/>
                        <a:pt x="5581650" y="7091494"/>
                        <a:pt x="5581650" y="6955873"/>
                      </a:cubicBezTo>
                      <a:cubicBezTo>
                        <a:pt x="5387459" y="6684006"/>
                        <a:pt x="5391150" y="6798423"/>
                        <a:pt x="5391150" y="6670123"/>
                      </a:cubicBezTo>
                      <a:cubicBezTo>
                        <a:pt x="5271972" y="6570808"/>
                        <a:pt x="5350258" y="6617736"/>
                        <a:pt x="5281613" y="6617736"/>
                      </a:cubicBezTo>
                      <a:cubicBezTo>
                        <a:pt x="5118506" y="6639566"/>
                        <a:pt x="5029558" y="6665718"/>
                        <a:pt x="4910138" y="6546298"/>
                      </a:cubicBezTo>
                      <a:cubicBezTo>
                        <a:pt x="4676254" y="6390376"/>
                        <a:pt x="4699300" y="6391517"/>
                        <a:pt x="4629150" y="6346273"/>
                      </a:cubicBezTo>
                      <a:cubicBezTo>
                        <a:pt x="4298993" y="6385115"/>
                        <a:pt x="4413994" y="6384373"/>
                        <a:pt x="4286250" y="6384373"/>
                      </a:cubicBezTo>
                      <a:lnTo>
                        <a:pt x="3874294" y="6558204"/>
                      </a:lnTo>
                      <a:lnTo>
                        <a:pt x="3600450" y="6689173"/>
                      </a:lnTo>
                      <a:lnTo>
                        <a:pt x="3181350" y="5774773"/>
                      </a:lnTo>
                      <a:lnTo>
                        <a:pt x="2724150" y="4860373"/>
                      </a:lnTo>
                      <a:lnTo>
                        <a:pt x="2381250" y="4288873"/>
                      </a:lnTo>
                      <a:lnTo>
                        <a:pt x="1962150" y="3869773"/>
                      </a:lnTo>
                      <a:lnTo>
                        <a:pt x="1619250" y="3545923"/>
                      </a:lnTo>
                      <a:lnTo>
                        <a:pt x="1009650" y="3507823"/>
                      </a:lnTo>
                      <a:lnTo>
                        <a:pt x="762000" y="3545923"/>
                      </a:lnTo>
                      <a:lnTo>
                        <a:pt x="838200" y="2917273"/>
                      </a:lnTo>
                      <a:lnTo>
                        <a:pt x="838200" y="2479123"/>
                      </a:lnTo>
                      <a:lnTo>
                        <a:pt x="971550" y="1964773"/>
                      </a:lnTo>
                      <a:lnTo>
                        <a:pt x="1028700" y="1412323"/>
                      </a:lnTo>
                      <a:lnTo>
                        <a:pt x="1295400" y="859873"/>
                      </a:lnTo>
                      <a:lnTo>
                        <a:pt x="1562100" y="745573"/>
                      </a:lnTo>
                      <a:lnTo>
                        <a:pt x="1809750" y="726523"/>
                      </a:lnTo>
                      <a:lnTo>
                        <a:pt x="2190750" y="574123"/>
                      </a:lnTo>
                      <a:lnTo>
                        <a:pt x="2457450" y="478873"/>
                      </a:lnTo>
                      <a:lnTo>
                        <a:pt x="2838450" y="421723"/>
                      </a:lnTo>
                      <a:cubicBezTo>
                        <a:pt x="3224652" y="151382"/>
                        <a:pt x="3219450" y="0"/>
                        <a:pt x="3219450" y="174073"/>
                      </a:cubicBezTo>
                      <a:lnTo>
                        <a:pt x="2857500" y="440773"/>
                      </a:lnTo>
                      <a:lnTo>
                        <a:pt x="2381250" y="707473"/>
                      </a:lnTo>
                      <a:cubicBezTo>
                        <a:pt x="2281510" y="807213"/>
                        <a:pt x="2286000" y="757822"/>
                        <a:pt x="2286000" y="821773"/>
                      </a:cubicBezTo>
                      <a:lnTo>
                        <a:pt x="2400300" y="840823"/>
                      </a:lnTo>
                      <a:lnTo>
                        <a:pt x="2686050" y="764623"/>
                      </a:lnTo>
                      <a:lnTo>
                        <a:pt x="2895600" y="707473"/>
                      </a:lnTo>
                      <a:lnTo>
                        <a:pt x="3143250" y="555073"/>
                      </a:lnTo>
                      <a:lnTo>
                        <a:pt x="3143250" y="669373"/>
                      </a:lnTo>
                      <a:lnTo>
                        <a:pt x="3143250" y="955123"/>
                      </a:lnTo>
                      <a:lnTo>
                        <a:pt x="3314700" y="1202773"/>
                      </a:lnTo>
                      <a:cubicBezTo>
                        <a:pt x="3237467" y="1736969"/>
                        <a:pt x="3448711" y="2421312"/>
                        <a:pt x="3067050" y="2802973"/>
                      </a:cubicBezTo>
                      <a:lnTo>
                        <a:pt x="3009900" y="3488773"/>
                      </a:lnTo>
                      <a:lnTo>
                        <a:pt x="3162300" y="4574623"/>
                      </a:lnTo>
                      <a:lnTo>
                        <a:pt x="3314700" y="5355673"/>
                      </a:lnTo>
                      <a:lnTo>
                        <a:pt x="3429000" y="6079573"/>
                      </a:lnTo>
                      <a:lnTo>
                        <a:pt x="3714750" y="5679523"/>
                      </a:lnTo>
                      <a:lnTo>
                        <a:pt x="3886200" y="5355673"/>
                      </a:lnTo>
                      <a:lnTo>
                        <a:pt x="3981450" y="4974673"/>
                      </a:lnTo>
                      <a:lnTo>
                        <a:pt x="4248150" y="4555573"/>
                      </a:lnTo>
                      <a:lnTo>
                        <a:pt x="4476750" y="4041223"/>
                      </a:lnTo>
                      <a:cubicBezTo>
                        <a:pt x="4882480" y="3229764"/>
                        <a:pt x="4876800" y="3539303"/>
                        <a:pt x="4876800" y="3203023"/>
                      </a:cubicBezTo>
                      <a:lnTo>
                        <a:pt x="5181600" y="2402923"/>
                      </a:lnTo>
                      <a:lnTo>
                        <a:pt x="5410200" y="1679023"/>
                      </a:lnTo>
                      <a:lnTo>
                        <a:pt x="5638800" y="993223"/>
                      </a:lnTo>
                      <a:lnTo>
                        <a:pt x="6057900" y="1336123"/>
                      </a:lnTo>
                      <a:lnTo>
                        <a:pt x="6076950" y="1583773"/>
                      </a:lnTo>
                      <a:lnTo>
                        <a:pt x="6153150" y="1659973"/>
                      </a:lnTo>
                      <a:lnTo>
                        <a:pt x="6229350" y="1488523"/>
                      </a:lnTo>
                      <a:lnTo>
                        <a:pt x="6286500" y="1164673"/>
                      </a:lnTo>
                      <a:lnTo>
                        <a:pt x="6229350" y="707473"/>
                      </a:lnTo>
                      <a:lnTo>
                        <a:pt x="6096000" y="19312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17" name="Freeform 216"/>
                <p:cNvSpPr/>
                <p:nvPr/>
              </p:nvSpPr>
              <p:spPr>
                <a:xfrm>
                  <a:off x="1739900" y="-5524500"/>
                  <a:ext cx="1244600" cy="4953000"/>
                </a:xfrm>
                <a:custGeom>
                  <a:avLst/>
                  <a:gdLst>
                    <a:gd name="connsiteX0" fmla="*/ 152400 w 1244600"/>
                    <a:gd name="connsiteY0" fmla="*/ 0 h 4953000"/>
                    <a:gd name="connsiteX1" fmla="*/ 152400 w 1244600"/>
                    <a:gd name="connsiteY1" fmla="*/ 342900 h 4953000"/>
                    <a:gd name="connsiteX2" fmla="*/ 63500 w 1244600"/>
                    <a:gd name="connsiteY2" fmla="*/ 622300 h 4953000"/>
                    <a:gd name="connsiteX3" fmla="*/ 63500 w 1244600"/>
                    <a:gd name="connsiteY3" fmla="*/ 1054100 h 4953000"/>
                    <a:gd name="connsiteX4" fmla="*/ 165100 w 1244600"/>
                    <a:gd name="connsiteY4" fmla="*/ 1879600 h 4953000"/>
                    <a:gd name="connsiteX5" fmla="*/ 241300 w 1244600"/>
                    <a:gd name="connsiteY5" fmla="*/ 2425700 h 4953000"/>
                    <a:gd name="connsiteX6" fmla="*/ 457200 w 1244600"/>
                    <a:gd name="connsiteY6" fmla="*/ 2984500 h 4953000"/>
                    <a:gd name="connsiteX7" fmla="*/ 673100 w 1244600"/>
                    <a:gd name="connsiteY7" fmla="*/ 3517900 h 4953000"/>
                    <a:gd name="connsiteX8" fmla="*/ 977900 w 1244600"/>
                    <a:gd name="connsiteY8" fmla="*/ 4064000 h 4953000"/>
                    <a:gd name="connsiteX9" fmla="*/ 1117600 w 1244600"/>
                    <a:gd name="connsiteY9" fmla="*/ 4318000 h 4953000"/>
                    <a:gd name="connsiteX10" fmla="*/ 1244600 w 1244600"/>
                    <a:gd name="connsiteY10" fmla="*/ 4953000 h 4953000"/>
                    <a:gd name="connsiteX11" fmla="*/ 1104900 w 1244600"/>
                    <a:gd name="connsiteY11" fmla="*/ 4546600 h 4953000"/>
                    <a:gd name="connsiteX12" fmla="*/ 1003300 w 1244600"/>
                    <a:gd name="connsiteY12" fmla="*/ 4267200 h 4953000"/>
                    <a:gd name="connsiteX13" fmla="*/ 762000 w 1244600"/>
                    <a:gd name="connsiteY13" fmla="*/ 3759200 h 4953000"/>
                    <a:gd name="connsiteX14" fmla="*/ 393700 w 1244600"/>
                    <a:gd name="connsiteY14" fmla="*/ 2933700 h 4953000"/>
                    <a:gd name="connsiteX15" fmla="*/ 190500 w 1244600"/>
                    <a:gd name="connsiteY15" fmla="*/ 2451100 h 4953000"/>
                    <a:gd name="connsiteX16" fmla="*/ 63500 w 1244600"/>
                    <a:gd name="connsiteY16" fmla="*/ 1409700 h 4953000"/>
                    <a:gd name="connsiteX17" fmla="*/ 0 w 1244600"/>
                    <a:gd name="connsiteY17" fmla="*/ 698500 h 4953000"/>
                    <a:gd name="connsiteX18" fmla="*/ 101600 w 1244600"/>
                    <a:gd name="connsiteY18" fmla="*/ 406400 h 4953000"/>
                    <a:gd name="connsiteX19" fmla="*/ 152400 w 1244600"/>
                    <a:gd name="connsiteY19" fmla="*/ 0 h 495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44600" h="4953000">
                      <a:moveTo>
                        <a:pt x="152400" y="0"/>
                      </a:moveTo>
                      <a:lnTo>
                        <a:pt x="152400" y="342900"/>
                      </a:lnTo>
                      <a:lnTo>
                        <a:pt x="63500" y="622300"/>
                      </a:lnTo>
                      <a:lnTo>
                        <a:pt x="63500" y="1054100"/>
                      </a:lnTo>
                      <a:lnTo>
                        <a:pt x="165100" y="1879600"/>
                      </a:lnTo>
                      <a:lnTo>
                        <a:pt x="241300" y="2425700"/>
                      </a:lnTo>
                      <a:lnTo>
                        <a:pt x="457200" y="2984500"/>
                      </a:lnTo>
                      <a:lnTo>
                        <a:pt x="673100" y="3517900"/>
                      </a:lnTo>
                      <a:lnTo>
                        <a:pt x="977900" y="4064000"/>
                      </a:lnTo>
                      <a:lnTo>
                        <a:pt x="1117600" y="4318000"/>
                      </a:lnTo>
                      <a:lnTo>
                        <a:pt x="1244600" y="4953000"/>
                      </a:lnTo>
                      <a:lnTo>
                        <a:pt x="1104900" y="4546600"/>
                      </a:lnTo>
                      <a:lnTo>
                        <a:pt x="1003300" y="4267200"/>
                      </a:lnTo>
                      <a:lnTo>
                        <a:pt x="762000" y="3759200"/>
                      </a:lnTo>
                      <a:lnTo>
                        <a:pt x="393700" y="2933700"/>
                      </a:lnTo>
                      <a:lnTo>
                        <a:pt x="190500" y="2451100"/>
                      </a:lnTo>
                      <a:lnTo>
                        <a:pt x="63500" y="1409700"/>
                      </a:lnTo>
                      <a:lnTo>
                        <a:pt x="0" y="698500"/>
                      </a:lnTo>
                      <a:lnTo>
                        <a:pt x="101600" y="406400"/>
                      </a:lnTo>
                      <a:lnTo>
                        <a:pt x="1524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18" name="Freeform 217"/>
                <p:cNvSpPr/>
                <p:nvPr/>
              </p:nvSpPr>
              <p:spPr>
                <a:xfrm>
                  <a:off x="3733800" y="-5263796"/>
                  <a:ext cx="2683188" cy="3993796"/>
                </a:xfrm>
                <a:custGeom>
                  <a:avLst/>
                  <a:gdLst>
                    <a:gd name="connsiteX0" fmla="*/ 0 w 2683188"/>
                    <a:gd name="connsiteY0" fmla="*/ 3993796 h 3993796"/>
                    <a:gd name="connsiteX1" fmla="*/ 241300 w 2683188"/>
                    <a:gd name="connsiteY1" fmla="*/ 3561996 h 3993796"/>
                    <a:gd name="connsiteX2" fmla="*/ 482600 w 2683188"/>
                    <a:gd name="connsiteY2" fmla="*/ 3041296 h 3993796"/>
                    <a:gd name="connsiteX3" fmla="*/ 723900 w 2683188"/>
                    <a:gd name="connsiteY3" fmla="*/ 2507896 h 3993796"/>
                    <a:gd name="connsiteX4" fmla="*/ 863600 w 2683188"/>
                    <a:gd name="connsiteY4" fmla="*/ 2253896 h 3993796"/>
                    <a:gd name="connsiteX5" fmla="*/ 1066800 w 2683188"/>
                    <a:gd name="connsiteY5" fmla="*/ 1847496 h 3993796"/>
                    <a:gd name="connsiteX6" fmla="*/ 1206500 w 2683188"/>
                    <a:gd name="connsiteY6" fmla="*/ 1402996 h 3993796"/>
                    <a:gd name="connsiteX7" fmla="*/ 1358900 w 2683188"/>
                    <a:gd name="connsiteY7" fmla="*/ 958496 h 3993796"/>
                    <a:gd name="connsiteX8" fmla="*/ 1536700 w 2683188"/>
                    <a:gd name="connsiteY8" fmla="*/ 526696 h 3993796"/>
                    <a:gd name="connsiteX9" fmla="*/ 1562100 w 2683188"/>
                    <a:gd name="connsiteY9" fmla="*/ 755296 h 3993796"/>
                    <a:gd name="connsiteX10" fmla="*/ 1587500 w 2683188"/>
                    <a:gd name="connsiteY10" fmla="*/ 1161696 h 3993796"/>
                    <a:gd name="connsiteX11" fmla="*/ 1663700 w 2683188"/>
                    <a:gd name="connsiteY11" fmla="*/ 1555396 h 3993796"/>
                    <a:gd name="connsiteX12" fmla="*/ 1803400 w 2683188"/>
                    <a:gd name="connsiteY12" fmla="*/ 1517296 h 3993796"/>
                    <a:gd name="connsiteX13" fmla="*/ 1841500 w 2683188"/>
                    <a:gd name="connsiteY13" fmla="*/ 1174396 h 3993796"/>
                    <a:gd name="connsiteX14" fmla="*/ 1866900 w 2683188"/>
                    <a:gd name="connsiteY14" fmla="*/ 691796 h 3993796"/>
                    <a:gd name="connsiteX15" fmla="*/ 1917700 w 2683188"/>
                    <a:gd name="connsiteY15" fmla="*/ 894996 h 3993796"/>
                    <a:gd name="connsiteX16" fmla="*/ 1943100 w 2683188"/>
                    <a:gd name="connsiteY16" fmla="*/ 1136296 h 3993796"/>
                    <a:gd name="connsiteX17" fmla="*/ 2082800 w 2683188"/>
                    <a:gd name="connsiteY17" fmla="*/ 1072796 h 3993796"/>
                    <a:gd name="connsiteX18" fmla="*/ 2247900 w 2683188"/>
                    <a:gd name="connsiteY18" fmla="*/ 920396 h 3993796"/>
                    <a:gd name="connsiteX19" fmla="*/ 2298700 w 2683188"/>
                    <a:gd name="connsiteY19" fmla="*/ 602896 h 3993796"/>
                    <a:gd name="connsiteX20" fmla="*/ 2476500 w 2683188"/>
                    <a:gd name="connsiteY20" fmla="*/ 221896 h 3993796"/>
                    <a:gd name="connsiteX21" fmla="*/ 2679700 w 2683188"/>
                    <a:gd name="connsiteY21" fmla="*/ 94896 h 3993796"/>
                    <a:gd name="connsiteX22" fmla="*/ 2565400 w 2683188"/>
                    <a:gd name="connsiteY22" fmla="*/ 412396 h 3993796"/>
                    <a:gd name="connsiteX23" fmla="*/ 2273300 w 2683188"/>
                    <a:gd name="connsiteY23" fmla="*/ 1136296 h 3993796"/>
                    <a:gd name="connsiteX24" fmla="*/ 1701800 w 2683188"/>
                    <a:gd name="connsiteY24" fmla="*/ 2088796 h 3993796"/>
                    <a:gd name="connsiteX25" fmla="*/ 1270000 w 2683188"/>
                    <a:gd name="connsiteY25" fmla="*/ 2647596 h 3993796"/>
                    <a:gd name="connsiteX26" fmla="*/ 812800 w 2683188"/>
                    <a:gd name="connsiteY26" fmla="*/ 3117496 h 3993796"/>
                    <a:gd name="connsiteX27" fmla="*/ 304800 w 2683188"/>
                    <a:gd name="connsiteY27" fmla="*/ 3549296 h 3993796"/>
                    <a:gd name="connsiteX28" fmla="*/ 0 w 2683188"/>
                    <a:gd name="connsiteY28" fmla="*/ 3993796 h 3993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83188" h="3993796">
                      <a:moveTo>
                        <a:pt x="0" y="3993796"/>
                      </a:moveTo>
                      <a:lnTo>
                        <a:pt x="241300" y="3561996"/>
                      </a:lnTo>
                      <a:lnTo>
                        <a:pt x="482600" y="3041296"/>
                      </a:lnTo>
                      <a:lnTo>
                        <a:pt x="723900" y="2507896"/>
                      </a:lnTo>
                      <a:lnTo>
                        <a:pt x="863600" y="2253896"/>
                      </a:lnTo>
                      <a:lnTo>
                        <a:pt x="1066800" y="1847496"/>
                      </a:lnTo>
                      <a:lnTo>
                        <a:pt x="1206500" y="1402996"/>
                      </a:lnTo>
                      <a:lnTo>
                        <a:pt x="1358900" y="958496"/>
                      </a:lnTo>
                      <a:lnTo>
                        <a:pt x="1536700" y="526696"/>
                      </a:lnTo>
                      <a:lnTo>
                        <a:pt x="1562100" y="755296"/>
                      </a:lnTo>
                      <a:cubicBezTo>
                        <a:pt x="1588063" y="1144744"/>
                        <a:pt x="1587500" y="1009014"/>
                        <a:pt x="1587500" y="1161696"/>
                      </a:cubicBezTo>
                      <a:lnTo>
                        <a:pt x="1663700" y="1555396"/>
                      </a:lnTo>
                      <a:lnTo>
                        <a:pt x="1803400" y="1517296"/>
                      </a:lnTo>
                      <a:cubicBezTo>
                        <a:pt x="1842509" y="1191390"/>
                        <a:pt x="1841500" y="1306389"/>
                        <a:pt x="1841500" y="1174396"/>
                      </a:cubicBezTo>
                      <a:lnTo>
                        <a:pt x="1866900" y="691796"/>
                      </a:lnTo>
                      <a:lnTo>
                        <a:pt x="1917700" y="894996"/>
                      </a:lnTo>
                      <a:cubicBezTo>
                        <a:pt x="1930622" y="1140523"/>
                        <a:pt x="1849855" y="1136296"/>
                        <a:pt x="1943100" y="1136296"/>
                      </a:cubicBezTo>
                      <a:cubicBezTo>
                        <a:pt x="2086778" y="1084049"/>
                        <a:pt x="2082800" y="1135046"/>
                        <a:pt x="2082800" y="1072796"/>
                      </a:cubicBezTo>
                      <a:lnTo>
                        <a:pt x="2247900" y="920396"/>
                      </a:lnTo>
                      <a:cubicBezTo>
                        <a:pt x="2299396" y="611420"/>
                        <a:pt x="2298700" y="718597"/>
                        <a:pt x="2298700" y="602896"/>
                      </a:cubicBezTo>
                      <a:lnTo>
                        <a:pt x="2476500" y="221896"/>
                      </a:lnTo>
                      <a:cubicBezTo>
                        <a:pt x="2683188" y="79798"/>
                        <a:pt x="2679700" y="0"/>
                        <a:pt x="2679700" y="94896"/>
                      </a:cubicBezTo>
                      <a:lnTo>
                        <a:pt x="2565400" y="412396"/>
                      </a:lnTo>
                      <a:lnTo>
                        <a:pt x="2273300" y="1136296"/>
                      </a:lnTo>
                      <a:lnTo>
                        <a:pt x="1701800" y="2088796"/>
                      </a:lnTo>
                      <a:lnTo>
                        <a:pt x="1270000" y="2647596"/>
                      </a:lnTo>
                      <a:lnTo>
                        <a:pt x="812800" y="3117496"/>
                      </a:lnTo>
                      <a:lnTo>
                        <a:pt x="304800" y="3549296"/>
                      </a:lnTo>
                      <a:lnTo>
                        <a:pt x="0" y="399379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19" name="Freeform 218"/>
                <p:cNvSpPr/>
                <p:nvPr/>
              </p:nvSpPr>
              <p:spPr>
                <a:xfrm>
                  <a:off x="6489700" y="-3860800"/>
                  <a:ext cx="762000" cy="3581400"/>
                </a:xfrm>
                <a:custGeom>
                  <a:avLst/>
                  <a:gdLst>
                    <a:gd name="connsiteX0" fmla="*/ 762000 w 762000"/>
                    <a:gd name="connsiteY0" fmla="*/ 0 h 3581400"/>
                    <a:gd name="connsiteX1" fmla="*/ 457200 w 762000"/>
                    <a:gd name="connsiteY1" fmla="*/ 889000 h 3581400"/>
                    <a:gd name="connsiteX2" fmla="*/ 266700 w 762000"/>
                    <a:gd name="connsiteY2" fmla="*/ 1333500 h 3581400"/>
                    <a:gd name="connsiteX3" fmla="*/ 152400 w 762000"/>
                    <a:gd name="connsiteY3" fmla="*/ 1803400 h 3581400"/>
                    <a:gd name="connsiteX4" fmla="*/ 0 w 762000"/>
                    <a:gd name="connsiteY4" fmla="*/ 2095500 h 3581400"/>
                    <a:gd name="connsiteX5" fmla="*/ 25400 w 762000"/>
                    <a:gd name="connsiteY5" fmla="*/ 2641600 h 3581400"/>
                    <a:gd name="connsiteX6" fmla="*/ 152400 w 762000"/>
                    <a:gd name="connsiteY6" fmla="*/ 3124200 h 3581400"/>
                    <a:gd name="connsiteX7" fmla="*/ 165100 w 762000"/>
                    <a:gd name="connsiteY7" fmla="*/ 3581400 h 3581400"/>
                    <a:gd name="connsiteX8" fmla="*/ 254000 w 762000"/>
                    <a:gd name="connsiteY8" fmla="*/ 3416300 h 3581400"/>
                    <a:gd name="connsiteX9" fmla="*/ 457200 w 762000"/>
                    <a:gd name="connsiteY9" fmla="*/ 3302000 h 3581400"/>
                    <a:gd name="connsiteX10" fmla="*/ 177800 w 762000"/>
                    <a:gd name="connsiteY10" fmla="*/ 3162300 h 3581400"/>
                    <a:gd name="connsiteX11" fmla="*/ 177800 w 762000"/>
                    <a:gd name="connsiteY11" fmla="*/ 2806700 h 3581400"/>
                    <a:gd name="connsiteX12" fmla="*/ 292100 w 762000"/>
                    <a:gd name="connsiteY12" fmla="*/ 2438400 h 3581400"/>
                    <a:gd name="connsiteX13" fmla="*/ 609600 w 762000"/>
                    <a:gd name="connsiteY13" fmla="*/ 2133600 h 3581400"/>
                    <a:gd name="connsiteX14" fmla="*/ 622300 w 762000"/>
                    <a:gd name="connsiteY14" fmla="*/ 1943100 h 3581400"/>
                    <a:gd name="connsiteX15" fmla="*/ 342900 w 762000"/>
                    <a:gd name="connsiteY15" fmla="*/ 2209800 h 3581400"/>
                    <a:gd name="connsiteX16" fmla="*/ 304800 w 762000"/>
                    <a:gd name="connsiteY16" fmla="*/ 2260600 h 3581400"/>
                    <a:gd name="connsiteX17" fmla="*/ 152400 w 762000"/>
                    <a:gd name="connsiteY17" fmla="*/ 2413000 h 3581400"/>
                    <a:gd name="connsiteX18" fmla="*/ 177800 w 762000"/>
                    <a:gd name="connsiteY18" fmla="*/ 2095500 h 3581400"/>
                    <a:gd name="connsiteX19" fmla="*/ 342900 w 762000"/>
                    <a:gd name="connsiteY19" fmla="*/ 1625600 h 3581400"/>
                    <a:gd name="connsiteX20" fmla="*/ 457200 w 762000"/>
                    <a:gd name="connsiteY20" fmla="*/ 1282700 h 3581400"/>
                    <a:gd name="connsiteX21" fmla="*/ 558800 w 762000"/>
                    <a:gd name="connsiteY21" fmla="*/ 889000 h 3581400"/>
                    <a:gd name="connsiteX22" fmla="*/ 558800 w 762000"/>
                    <a:gd name="connsiteY22" fmla="*/ 647700 h 3581400"/>
                    <a:gd name="connsiteX23" fmla="*/ 762000 w 762000"/>
                    <a:gd name="connsiteY23" fmla="*/ 0 h 3581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62000" h="3581400">
                      <a:moveTo>
                        <a:pt x="762000" y="0"/>
                      </a:moveTo>
                      <a:lnTo>
                        <a:pt x="457200" y="889000"/>
                      </a:lnTo>
                      <a:lnTo>
                        <a:pt x="266700" y="1333500"/>
                      </a:lnTo>
                      <a:lnTo>
                        <a:pt x="152400" y="1803400"/>
                      </a:lnTo>
                      <a:lnTo>
                        <a:pt x="0" y="2095500"/>
                      </a:lnTo>
                      <a:lnTo>
                        <a:pt x="25400" y="2641600"/>
                      </a:lnTo>
                      <a:lnTo>
                        <a:pt x="152400" y="3124200"/>
                      </a:lnTo>
                      <a:lnTo>
                        <a:pt x="165100" y="3581400"/>
                      </a:lnTo>
                      <a:lnTo>
                        <a:pt x="254000" y="3416300"/>
                      </a:lnTo>
                      <a:lnTo>
                        <a:pt x="457200" y="3302000"/>
                      </a:lnTo>
                      <a:cubicBezTo>
                        <a:pt x="173946" y="3173248"/>
                        <a:pt x="177800" y="3277303"/>
                        <a:pt x="177800" y="3162300"/>
                      </a:cubicBezTo>
                      <a:lnTo>
                        <a:pt x="177800" y="2806700"/>
                      </a:lnTo>
                      <a:lnTo>
                        <a:pt x="292100" y="2438400"/>
                      </a:lnTo>
                      <a:lnTo>
                        <a:pt x="609600" y="2133600"/>
                      </a:lnTo>
                      <a:cubicBezTo>
                        <a:pt x="649360" y="1934798"/>
                        <a:pt x="712458" y="1943100"/>
                        <a:pt x="622300" y="1943100"/>
                      </a:cubicBezTo>
                      <a:cubicBezTo>
                        <a:pt x="529167" y="2032000"/>
                        <a:pt x="433941" y="2118759"/>
                        <a:pt x="342900" y="2209800"/>
                      </a:cubicBezTo>
                      <a:cubicBezTo>
                        <a:pt x="327933" y="2224767"/>
                        <a:pt x="304800" y="2260600"/>
                        <a:pt x="304800" y="2260600"/>
                      </a:cubicBezTo>
                      <a:lnTo>
                        <a:pt x="152400" y="2413000"/>
                      </a:lnTo>
                      <a:lnTo>
                        <a:pt x="177800" y="2095500"/>
                      </a:lnTo>
                      <a:lnTo>
                        <a:pt x="342900" y="1625600"/>
                      </a:lnTo>
                      <a:lnTo>
                        <a:pt x="457200" y="1282700"/>
                      </a:lnTo>
                      <a:cubicBezTo>
                        <a:pt x="561052" y="906238"/>
                        <a:pt x="558800" y="1041752"/>
                        <a:pt x="558800" y="889000"/>
                      </a:cubicBezTo>
                      <a:lnTo>
                        <a:pt x="558800" y="647700"/>
                      </a:lnTo>
                      <a:lnTo>
                        <a:pt x="762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20" name="Freeform 219"/>
                <p:cNvSpPr/>
                <p:nvPr/>
              </p:nvSpPr>
              <p:spPr>
                <a:xfrm>
                  <a:off x="3204029" y="-4401457"/>
                  <a:ext cx="4122057" cy="4847771"/>
                </a:xfrm>
                <a:custGeom>
                  <a:avLst/>
                  <a:gdLst>
                    <a:gd name="connsiteX0" fmla="*/ 4122057 w 4122057"/>
                    <a:gd name="connsiteY0" fmla="*/ 0 h 4847771"/>
                    <a:gd name="connsiteX1" fmla="*/ 3773714 w 4122057"/>
                    <a:gd name="connsiteY1" fmla="*/ 435428 h 4847771"/>
                    <a:gd name="connsiteX2" fmla="*/ 3352800 w 4122057"/>
                    <a:gd name="connsiteY2" fmla="*/ 1494971 h 4847771"/>
                    <a:gd name="connsiteX3" fmla="*/ 2510971 w 4122057"/>
                    <a:gd name="connsiteY3" fmla="*/ 2859314 h 4847771"/>
                    <a:gd name="connsiteX4" fmla="*/ 1161142 w 4122057"/>
                    <a:gd name="connsiteY4" fmla="*/ 3991428 h 4847771"/>
                    <a:gd name="connsiteX5" fmla="*/ 275771 w 4122057"/>
                    <a:gd name="connsiteY5" fmla="*/ 4542971 h 4847771"/>
                    <a:gd name="connsiteX6" fmla="*/ 0 w 4122057"/>
                    <a:gd name="connsiteY6" fmla="*/ 4833257 h 4847771"/>
                    <a:gd name="connsiteX7" fmla="*/ 333828 w 4122057"/>
                    <a:gd name="connsiteY7" fmla="*/ 4630057 h 4847771"/>
                    <a:gd name="connsiteX8" fmla="*/ 1059542 w 4122057"/>
                    <a:gd name="connsiteY8" fmla="*/ 4223657 h 4847771"/>
                    <a:gd name="connsiteX9" fmla="*/ 1567542 w 4122057"/>
                    <a:gd name="connsiteY9" fmla="*/ 4064000 h 4847771"/>
                    <a:gd name="connsiteX10" fmla="*/ 1262742 w 4122057"/>
                    <a:gd name="connsiteY10" fmla="*/ 4267200 h 4847771"/>
                    <a:gd name="connsiteX11" fmla="*/ 653142 w 4122057"/>
                    <a:gd name="connsiteY11" fmla="*/ 4586514 h 4847771"/>
                    <a:gd name="connsiteX12" fmla="*/ 333828 w 4122057"/>
                    <a:gd name="connsiteY12" fmla="*/ 4847771 h 4847771"/>
                    <a:gd name="connsiteX13" fmla="*/ 914400 w 4122057"/>
                    <a:gd name="connsiteY13" fmla="*/ 4630057 h 4847771"/>
                    <a:gd name="connsiteX14" fmla="*/ 1538514 w 4122057"/>
                    <a:gd name="connsiteY14" fmla="*/ 4426857 h 4847771"/>
                    <a:gd name="connsiteX15" fmla="*/ 2119085 w 4122057"/>
                    <a:gd name="connsiteY15" fmla="*/ 4122057 h 4847771"/>
                    <a:gd name="connsiteX16" fmla="*/ 2438400 w 4122057"/>
                    <a:gd name="connsiteY16" fmla="*/ 3599543 h 4847771"/>
                    <a:gd name="connsiteX17" fmla="*/ 2061028 w 4122057"/>
                    <a:gd name="connsiteY17" fmla="*/ 3831771 h 4847771"/>
                    <a:gd name="connsiteX18" fmla="*/ 1727200 w 4122057"/>
                    <a:gd name="connsiteY18" fmla="*/ 3846286 h 4847771"/>
                    <a:gd name="connsiteX19" fmla="*/ 2148114 w 4122057"/>
                    <a:gd name="connsiteY19" fmla="*/ 3425371 h 4847771"/>
                    <a:gd name="connsiteX20" fmla="*/ 2815771 w 4122057"/>
                    <a:gd name="connsiteY20" fmla="*/ 2917371 h 4847771"/>
                    <a:gd name="connsiteX21" fmla="*/ 3004457 w 4122057"/>
                    <a:gd name="connsiteY21" fmla="*/ 2656114 h 4847771"/>
                    <a:gd name="connsiteX22" fmla="*/ 2699657 w 4122057"/>
                    <a:gd name="connsiteY22" fmla="*/ 2830286 h 4847771"/>
                    <a:gd name="connsiteX23" fmla="*/ 3033485 w 4122057"/>
                    <a:gd name="connsiteY23" fmla="*/ 2235200 h 4847771"/>
                    <a:gd name="connsiteX24" fmla="*/ 3643085 w 4122057"/>
                    <a:gd name="connsiteY24" fmla="*/ 1219200 h 4847771"/>
                    <a:gd name="connsiteX25" fmla="*/ 3860800 w 4122057"/>
                    <a:gd name="connsiteY25" fmla="*/ 508000 h 4847771"/>
                    <a:gd name="connsiteX26" fmla="*/ 4122057 w 4122057"/>
                    <a:gd name="connsiteY26" fmla="*/ 0 h 4847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122057" h="4847771">
                      <a:moveTo>
                        <a:pt x="4122057" y="0"/>
                      </a:moveTo>
                      <a:lnTo>
                        <a:pt x="3773714" y="435428"/>
                      </a:lnTo>
                      <a:lnTo>
                        <a:pt x="3352800" y="1494971"/>
                      </a:lnTo>
                      <a:lnTo>
                        <a:pt x="2510971" y="2859314"/>
                      </a:lnTo>
                      <a:lnTo>
                        <a:pt x="1161142" y="3991428"/>
                      </a:lnTo>
                      <a:lnTo>
                        <a:pt x="275771" y="4542971"/>
                      </a:lnTo>
                      <a:lnTo>
                        <a:pt x="0" y="4833257"/>
                      </a:lnTo>
                      <a:lnTo>
                        <a:pt x="333828" y="4630057"/>
                      </a:lnTo>
                      <a:lnTo>
                        <a:pt x="1059542" y="4223657"/>
                      </a:lnTo>
                      <a:lnTo>
                        <a:pt x="1567542" y="4064000"/>
                      </a:lnTo>
                      <a:lnTo>
                        <a:pt x="1262742" y="4267200"/>
                      </a:lnTo>
                      <a:lnTo>
                        <a:pt x="653142" y="4586514"/>
                      </a:lnTo>
                      <a:lnTo>
                        <a:pt x="333828" y="4847771"/>
                      </a:lnTo>
                      <a:lnTo>
                        <a:pt x="914400" y="4630057"/>
                      </a:lnTo>
                      <a:lnTo>
                        <a:pt x="1538514" y="4426857"/>
                      </a:lnTo>
                      <a:cubicBezTo>
                        <a:pt x="2132321" y="4159644"/>
                        <a:pt x="2119085" y="4377815"/>
                        <a:pt x="2119085" y="4122057"/>
                      </a:cubicBezTo>
                      <a:lnTo>
                        <a:pt x="2438400" y="3599543"/>
                      </a:lnTo>
                      <a:lnTo>
                        <a:pt x="2061028" y="3831771"/>
                      </a:lnTo>
                      <a:cubicBezTo>
                        <a:pt x="1722380" y="3861219"/>
                        <a:pt x="1727200" y="3972496"/>
                        <a:pt x="1727200" y="3846286"/>
                      </a:cubicBezTo>
                      <a:lnTo>
                        <a:pt x="2148114" y="3425371"/>
                      </a:lnTo>
                      <a:cubicBezTo>
                        <a:pt x="2819662" y="2929010"/>
                        <a:pt x="2815771" y="3208632"/>
                        <a:pt x="2815771" y="2917371"/>
                      </a:cubicBezTo>
                      <a:lnTo>
                        <a:pt x="3004457" y="2656114"/>
                      </a:lnTo>
                      <a:cubicBezTo>
                        <a:pt x="2695543" y="2847347"/>
                        <a:pt x="2699657" y="2964292"/>
                        <a:pt x="2699657" y="2830286"/>
                      </a:cubicBezTo>
                      <a:lnTo>
                        <a:pt x="3033485" y="2235200"/>
                      </a:lnTo>
                      <a:lnTo>
                        <a:pt x="3643085" y="1219200"/>
                      </a:lnTo>
                      <a:cubicBezTo>
                        <a:pt x="3717035" y="982560"/>
                        <a:pt x="3860800" y="755926"/>
                        <a:pt x="3860800" y="508000"/>
                      </a:cubicBezTo>
                      <a:lnTo>
                        <a:pt x="4122057"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21" name="Freeform 220"/>
                <p:cNvSpPr/>
                <p:nvPr/>
              </p:nvSpPr>
              <p:spPr>
                <a:xfrm>
                  <a:off x="3624943" y="-5170714"/>
                  <a:ext cx="2801257" cy="4281714"/>
                </a:xfrm>
                <a:custGeom>
                  <a:avLst/>
                  <a:gdLst>
                    <a:gd name="connsiteX0" fmla="*/ 43543 w 2801257"/>
                    <a:gd name="connsiteY0" fmla="*/ 4281714 h 4281714"/>
                    <a:gd name="connsiteX1" fmla="*/ 130628 w 2801257"/>
                    <a:gd name="connsiteY1" fmla="*/ 3962400 h 4281714"/>
                    <a:gd name="connsiteX2" fmla="*/ 420914 w 2801257"/>
                    <a:gd name="connsiteY2" fmla="*/ 3541485 h 4281714"/>
                    <a:gd name="connsiteX3" fmla="*/ 957943 w 2801257"/>
                    <a:gd name="connsiteY3" fmla="*/ 3091543 h 4281714"/>
                    <a:gd name="connsiteX4" fmla="*/ 1712686 w 2801257"/>
                    <a:gd name="connsiteY4" fmla="*/ 2206171 h 4281714"/>
                    <a:gd name="connsiteX5" fmla="*/ 2032000 w 2801257"/>
                    <a:gd name="connsiteY5" fmla="*/ 1712685 h 4281714"/>
                    <a:gd name="connsiteX6" fmla="*/ 2380343 w 2801257"/>
                    <a:gd name="connsiteY6" fmla="*/ 1190171 h 4281714"/>
                    <a:gd name="connsiteX7" fmla="*/ 2685143 w 2801257"/>
                    <a:gd name="connsiteY7" fmla="*/ 435428 h 4281714"/>
                    <a:gd name="connsiteX8" fmla="*/ 2801257 w 2801257"/>
                    <a:gd name="connsiteY8" fmla="*/ 0 h 4281714"/>
                    <a:gd name="connsiteX9" fmla="*/ 2423886 w 2801257"/>
                    <a:gd name="connsiteY9" fmla="*/ 986971 h 4281714"/>
                    <a:gd name="connsiteX10" fmla="*/ 1944914 w 2801257"/>
                    <a:gd name="connsiteY10" fmla="*/ 1741714 h 4281714"/>
                    <a:gd name="connsiteX11" fmla="*/ 1582057 w 2801257"/>
                    <a:gd name="connsiteY11" fmla="*/ 2278743 h 4281714"/>
                    <a:gd name="connsiteX12" fmla="*/ 1132114 w 2801257"/>
                    <a:gd name="connsiteY12" fmla="*/ 2844800 h 4281714"/>
                    <a:gd name="connsiteX13" fmla="*/ 333828 w 2801257"/>
                    <a:gd name="connsiteY13" fmla="*/ 3541485 h 4281714"/>
                    <a:gd name="connsiteX14" fmla="*/ 0 w 2801257"/>
                    <a:gd name="connsiteY14" fmla="*/ 4064000 h 4281714"/>
                    <a:gd name="connsiteX15" fmla="*/ 43543 w 2801257"/>
                    <a:gd name="connsiteY15" fmla="*/ 4281714 h 4281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01257" h="4281714">
                      <a:moveTo>
                        <a:pt x="43543" y="4281714"/>
                      </a:moveTo>
                      <a:cubicBezTo>
                        <a:pt x="133408" y="3982160"/>
                        <a:pt x="130628" y="4092450"/>
                        <a:pt x="130628" y="3962400"/>
                      </a:cubicBezTo>
                      <a:lnTo>
                        <a:pt x="420914" y="3541485"/>
                      </a:lnTo>
                      <a:lnTo>
                        <a:pt x="957943" y="3091543"/>
                      </a:lnTo>
                      <a:cubicBezTo>
                        <a:pt x="1719084" y="2227941"/>
                        <a:pt x="1712686" y="2615691"/>
                        <a:pt x="1712686" y="2206171"/>
                      </a:cubicBezTo>
                      <a:cubicBezTo>
                        <a:pt x="2034684" y="1723174"/>
                        <a:pt x="2032000" y="1919084"/>
                        <a:pt x="2032000" y="1712685"/>
                      </a:cubicBezTo>
                      <a:lnTo>
                        <a:pt x="2380343" y="1190171"/>
                      </a:lnTo>
                      <a:lnTo>
                        <a:pt x="2685143" y="435428"/>
                      </a:lnTo>
                      <a:lnTo>
                        <a:pt x="2801257" y="0"/>
                      </a:lnTo>
                      <a:lnTo>
                        <a:pt x="2423886" y="986971"/>
                      </a:lnTo>
                      <a:lnTo>
                        <a:pt x="1944914" y="1741714"/>
                      </a:lnTo>
                      <a:lnTo>
                        <a:pt x="1582057" y="2278743"/>
                      </a:lnTo>
                      <a:lnTo>
                        <a:pt x="1132114" y="2844800"/>
                      </a:lnTo>
                      <a:lnTo>
                        <a:pt x="333828" y="3541485"/>
                      </a:lnTo>
                      <a:lnTo>
                        <a:pt x="0" y="4064000"/>
                      </a:lnTo>
                      <a:lnTo>
                        <a:pt x="43543" y="428171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22" name="Freeform 221"/>
                <p:cNvSpPr/>
                <p:nvPr/>
              </p:nvSpPr>
              <p:spPr>
                <a:xfrm>
                  <a:off x="4911879" y="228600"/>
                  <a:ext cx="2849635" cy="1641877"/>
                </a:xfrm>
                <a:custGeom>
                  <a:avLst/>
                  <a:gdLst>
                    <a:gd name="connsiteX0" fmla="*/ 1746550 w 2849635"/>
                    <a:gd name="connsiteY0" fmla="*/ 116114 h 1641877"/>
                    <a:gd name="connsiteX1" fmla="*/ 1949750 w 2849635"/>
                    <a:gd name="connsiteY1" fmla="*/ 0 h 1641877"/>
                    <a:gd name="connsiteX2" fmla="*/ 2443235 w 2849635"/>
                    <a:gd name="connsiteY2" fmla="*/ 29029 h 1641877"/>
                    <a:gd name="connsiteX3" fmla="*/ 2849635 w 2849635"/>
                    <a:gd name="connsiteY3" fmla="*/ 87086 h 1641877"/>
                    <a:gd name="connsiteX4" fmla="*/ 2399692 w 2849635"/>
                    <a:gd name="connsiteY4" fmla="*/ 87086 h 1641877"/>
                    <a:gd name="connsiteX5" fmla="*/ 1891692 w 2849635"/>
                    <a:gd name="connsiteY5" fmla="*/ 87086 h 1641877"/>
                    <a:gd name="connsiteX6" fmla="*/ 1659464 w 2849635"/>
                    <a:gd name="connsiteY6" fmla="*/ 174171 h 1641877"/>
                    <a:gd name="connsiteX7" fmla="*/ 1920721 w 2849635"/>
                    <a:gd name="connsiteY7" fmla="*/ 203200 h 1641877"/>
                    <a:gd name="connsiteX8" fmla="*/ 2428721 w 2849635"/>
                    <a:gd name="connsiteY8" fmla="*/ 246743 h 1641877"/>
                    <a:gd name="connsiteX9" fmla="*/ 2733521 w 2849635"/>
                    <a:gd name="connsiteY9" fmla="*/ 537029 h 1641877"/>
                    <a:gd name="connsiteX10" fmla="*/ 2617407 w 2849635"/>
                    <a:gd name="connsiteY10" fmla="*/ 580571 h 1641877"/>
                    <a:gd name="connsiteX11" fmla="*/ 2457750 w 2849635"/>
                    <a:gd name="connsiteY11" fmla="*/ 391886 h 1641877"/>
                    <a:gd name="connsiteX12" fmla="*/ 2211007 w 2849635"/>
                    <a:gd name="connsiteY12" fmla="*/ 304800 h 1641877"/>
                    <a:gd name="connsiteX13" fmla="*/ 1703007 w 2849635"/>
                    <a:gd name="connsiteY13" fmla="*/ 275771 h 1641877"/>
                    <a:gd name="connsiteX14" fmla="*/ 1514321 w 2849635"/>
                    <a:gd name="connsiteY14" fmla="*/ 290286 h 1641877"/>
                    <a:gd name="connsiteX15" fmla="*/ 1383692 w 2849635"/>
                    <a:gd name="connsiteY15" fmla="*/ 203200 h 1641877"/>
                    <a:gd name="connsiteX16" fmla="*/ 861178 w 2849635"/>
                    <a:gd name="connsiteY16" fmla="*/ 188686 h 1641877"/>
                    <a:gd name="connsiteX17" fmla="*/ 4835 w 2849635"/>
                    <a:gd name="connsiteY17" fmla="*/ 217714 h 1641877"/>
                    <a:gd name="connsiteX18" fmla="*/ 19350 w 2849635"/>
                    <a:gd name="connsiteY18" fmla="*/ 217714 h 1641877"/>
                    <a:gd name="connsiteX19" fmla="*/ 149978 w 2849635"/>
                    <a:gd name="connsiteY19" fmla="*/ 377371 h 1641877"/>
                    <a:gd name="connsiteX20" fmla="*/ 411235 w 2849635"/>
                    <a:gd name="connsiteY20" fmla="*/ 725714 h 1641877"/>
                    <a:gd name="connsiteX21" fmla="*/ 570892 w 2849635"/>
                    <a:gd name="connsiteY21" fmla="*/ 1074057 h 1641877"/>
                    <a:gd name="connsiteX22" fmla="*/ 701521 w 2849635"/>
                    <a:gd name="connsiteY22" fmla="*/ 1480457 h 1641877"/>
                    <a:gd name="connsiteX23" fmla="*/ 716035 w 2849635"/>
                    <a:gd name="connsiteY23" fmla="*/ 1320800 h 1641877"/>
                    <a:gd name="connsiteX24" fmla="*/ 599921 w 2849635"/>
                    <a:gd name="connsiteY24" fmla="*/ 914400 h 1641877"/>
                    <a:gd name="connsiteX25" fmla="*/ 541864 w 2849635"/>
                    <a:gd name="connsiteY25" fmla="*/ 638629 h 1641877"/>
                    <a:gd name="connsiteX26" fmla="*/ 701521 w 2849635"/>
                    <a:gd name="connsiteY26" fmla="*/ 914400 h 1641877"/>
                    <a:gd name="connsiteX27" fmla="*/ 774092 w 2849635"/>
                    <a:gd name="connsiteY27" fmla="*/ 1175657 h 1641877"/>
                    <a:gd name="connsiteX28" fmla="*/ 759578 w 2849635"/>
                    <a:gd name="connsiteY28" fmla="*/ 841829 h 1641877"/>
                    <a:gd name="connsiteX29" fmla="*/ 628950 w 2849635"/>
                    <a:gd name="connsiteY29" fmla="*/ 537029 h 1641877"/>
                    <a:gd name="connsiteX30" fmla="*/ 962778 w 2849635"/>
                    <a:gd name="connsiteY30" fmla="*/ 551543 h 1641877"/>
                    <a:gd name="connsiteX31" fmla="*/ 1267578 w 2849635"/>
                    <a:gd name="connsiteY31" fmla="*/ 682171 h 1641877"/>
                    <a:gd name="connsiteX32" fmla="*/ 1659464 w 2849635"/>
                    <a:gd name="connsiteY32" fmla="*/ 711200 h 1641877"/>
                    <a:gd name="connsiteX33" fmla="*/ 2051350 w 2849635"/>
                    <a:gd name="connsiteY33" fmla="*/ 885371 h 1641877"/>
                    <a:gd name="connsiteX34" fmla="*/ 1906207 w 2849635"/>
                    <a:gd name="connsiteY34" fmla="*/ 624114 h 1641877"/>
                    <a:gd name="connsiteX35" fmla="*/ 1601407 w 2849635"/>
                    <a:gd name="connsiteY35" fmla="*/ 348343 h 1641877"/>
                    <a:gd name="connsiteX36" fmla="*/ 1557864 w 2849635"/>
                    <a:gd name="connsiteY36" fmla="*/ 261257 h 1641877"/>
                    <a:gd name="connsiteX37" fmla="*/ 1746550 w 2849635"/>
                    <a:gd name="connsiteY37" fmla="*/ 116114 h 1641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49635" h="1641877">
                      <a:moveTo>
                        <a:pt x="1746550" y="116114"/>
                      </a:moveTo>
                      <a:lnTo>
                        <a:pt x="1949750" y="0"/>
                      </a:lnTo>
                      <a:lnTo>
                        <a:pt x="2443235" y="29029"/>
                      </a:lnTo>
                      <a:lnTo>
                        <a:pt x="2849635" y="87086"/>
                      </a:lnTo>
                      <a:lnTo>
                        <a:pt x="2399692" y="87086"/>
                      </a:lnTo>
                      <a:lnTo>
                        <a:pt x="1891692" y="87086"/>
                      </a:lnTo>
                      <a:lnTo>
                        <a:pt x="1659464" y="174171"/>
                      </a:lnTo>
                      <a:lnTo>
                        <a:pt x="1920721" y="203200"/>
                      </a:lnTo>
                      <a:lnTo>
                        <a:pt x="2428721" y="246743"/>
                      </a:lnTo>
                      <a:lnTo>
                        <a:pt x="2733521" y="537029"/>
                      </a:lnTo>
                      <a:lnTo>
                        <a:pt x="2617407" y="580571"/>
                      </a:lnTo>
                      <a:lnTo>
                        <a:pt x="2457750" y="391886"/>
                      </a:lnTo>
                      <a:lnTo>
                        <a:pt x="2211007" y="304800"/>
                      </a:lnTo>
                      <a:lnTo>
                        <a:pt x="1703007" y="275771"/>
                      </a:lnTo>
                      <a:lnTo>
                        <a:pt x="1514321" y="290286"/>
                      </a:lnTo>
                      <a:lnTo>
                        <a:pt x="1383692" y="203200"/>
                      </a:lnTo>
                      <a:cubicBezTo>
                        <a:pt x="1209525" y="198224"/>
                        <a:pt x="1035417" y="188686"/>
                        <a:pt x="861178" y="188686"/>
                      </a:cubicBezTo>
                      <a:lnTo>
                        <a:pt x="4835" y="217714"/>
                      </a:lnTo>
                      <a:cubicBezTo>
                        <a:pt x="0" y="217881"/>
                        <a:pt x="14512" y="217714"/>
                        <a:pt x="19350" y="217714"/>
                      </a:cubicBezTo>
                      <a:lnTo>
                        <a:pt x="149978" y="377371"/>
                      </a:lnTo>
                      <a:lnTo>
                        <a:pt x="411235" y="725714"/>
                      </a:lnTo>
                      <a:lnTo>
                        <a:pt x="570892" y="1074057"/>
                      </a:lnTo>
                      <a:cubicBezTo>
                        <a:pt x="702955" y="1499592"/>
                        <a:pt x="701521" y="1641877"/>
                        <a:pt x="701521" y="1480457"/>
                      </a:cubicBezTo>
                      <a:cubicBezTo>
                        <a:pt x="717104" y="1340212"/>
                        <a:pt x="716035" y="1393640"/>
                        <a:pt x="716035" y="1320800"/>
                      </a:cubicBezTo>
                      <a:cubicBezTo>
                        <a:pt x="598547" y="924275"/>
                        <a:pt x="599921" y="1065156"/>
                        <a:pt x="599921" y="914400"/>
                      </a:cubicBezTo>
                      <a:lnTo>
                        <a:pt x="541864" y="638629"/>
                      </a:lnTo>
                      <a:lnTo>
                        <a:pt x="701521" y="914400"/>
                      </a:lnTo>
                      <a:lnTo>
                        <a:pt x="774092" y="1175657"/>
                      </a:lnTo>
                      <a:cubicBezTo>
                        <a:pt x="769035" y="1064391"/>
                        <a:pt x="759578" y="953210"/>
                        <a:pt x="759578" y="841829"/>
                      </a:cubicBezTo>
                      <a:lnTo>
                        <a:pt x="628950" y="537029"/>
                      </a:lnTo>
                      <a:cubicBezTo>
                        <a:pt x="740216" y="542086"/>
                        <a:pt x="851397" y="551543"/>
                        <a:pt x="962778" y="551543"/>
                      </a:cubicBezTo>
                      <a:lnTo>
                        <a:pt x="1267578" y="682171"/>
                      </a:lnTo>
                      <a:lnTo>
                        <a:pt x="1659464" y="711200"/>
                      </a:lnTo>
                      <a:cubicBezTo>
                        <a:pt x="2041228" y="887399"/>
                        <a:pt x="1898293" y="885371"/>
                        <a:pt x="2051350" y="885371"/>
                      </a:cubicBezTo>
                      <a:cubicBezTo>
                        <a:pt x="1903754" y="634459"/>
                        <a:pt x="1906207" y="734051"/>
                        <a:pt x="1906207" y="624114"/>
                      </a:cubicBezTo>
                      <a:lnTo>
                        <a:pt x="1601407" y="348343"/>
                      </a:lnTo>
                      <a:lnTo>
                        <a:pt x="1557864" y="261257"/>
                      </a:lnTo>
                      <a:lnTo>
                        <a:pt x="1746550" y="11611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23" name="Freeform 222"/>
                <p:cNvSpPr/>
                <p:nvPr/>
              </p:nvSpPr>
              <p:spPr>
                <a:xfrm>
                  <a:off x="446314" y="-5262486"/>
                  <a:ext cx="509202" cy="2775278"/>
                </a:xfrm>
                <a:custGeom>
                  <a:avLst/>
                  <a:gdLst>
                    <a:gd name="connsiteX0" fmla="*/ 290286 w 509202"/>
                    <a:gd name="connsiteY0" fmla="*/ 541715 h 2775278"/>
                    <a:gd name="connsiteX1" fmla="*/ 217715 w 509202"/>
                    <a:gd name="connsiteY1" fmla="*/ 1122286 h 2775278"/>
                    <a:gd name="connsiteX2" fmla="*/ 72572 w 509202"/>
                    <a:gd name="connsiteY2" fmla="*/ 1557715 h 2775278"/>
                    <a:gd name="connsiteX3" fmla="*/ 72572 w 509202"/>
                    <a:gd name="connsiteY3" fmla="*/ 1949600 h 2775278"/>
                    <a:gd name="connsiteX4" fmla="*/ 43543 w 509202"/>
                    <a:gd name="connsiteY4" fmla="*/ 2414057 h 2775278"/>
                    <a:gd name="connsiteX5" fmla="*/ 0 w 509202"/>
                    <a:gd name="connsiteY5" fmla="*/ 2704343 h 2775278"/>
                    <a:gd name="connsiteX6" fmla="*/ 217715 w 509202"/>
                    <a:gd name="connsiteY6" fmla="*/ 2689829 h 2775278"/>
                    <a:gd name="connsiteX7" fmla="*/ 203200 w 509202"/>
                    <a:gd name="connsiteY7" fmla="*/ 2530172 h 2775278"/>
                    <a:gd name="connsiteX8" fmla="*/ 145143 w 509202"/>
                    <a:gd name="connsiteY8" fmla="*/ 2312457 h 2775278"/>
                    <a:gd name="connsiteX9" fmla="*/ 348343 w 509202"/>
                    <a:gd name="connsiteY9" fmla="*/ 2631772 h 2775278"/>
                    <a:gd name="connsiteX10" fmla="*/ 493486 w 509202"/>
                    <a:gd name="connsiteY10" fmla="*/ 2704343 h 2775278"/>
                    <a:gd name="connsiteX11" fmla="*/ 362857 w 509202"/>
                    <a:gd name="connsiteY11" fmla="*/ 2457600 h 2775278"/>
                    <a:gd name="connsiteX12" fmla="*/ 217715 w 509202"/>
                    <a:gd name="connsiteY12" fmla="*/ 2094743 h 2775278"/>
                    <a:gd name="connsiteX13" fmla="*/ 319315 w 509202"/>
                    <a:gd name="connsiteY13" fmla="*/ 1935086 h 2775278"/>
                    <a:gd name="connsiteX14" fmla="*/ 391886 w 509202"/>
                    <a:gd name="connsiteY14" fmla="*/ 1470629 h 2775278"/>
                    <a:gd name="connsiteX15" fmla="*/ 464457 w 509202"/>
                    <a:gd name="connsiteY15" fmla="*/ 1107772 h 2775278"/>
                    <a:gd name="connsiteX16" fmla="*/ 362857 w 509202"/>
                    <a:gd name="connsiteY16" fmla="*/ 585257 h 2775278"/>
                    <a:gd name="connsiteX17" fmla="*/ 508000 w 509202"/>
                    <a:gd name="connsiteY17" fmla="*/ 4686 h 2775278"/>
                    <a:gd name="connsiteX18" fmla="*/ 508000 w 509202"/>
                    <a:gd name="connsiteY18" fmla="*/ 19200 h 2775278"/>
                    <a:gd name="connsiteX19" fmla="*/ 290286 w 509202"/>
                    <a:gd name="connsiteY19" fmla="*/ 541715 h 2775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09202" h="2775278">
                      <a:moveTo>
                        <a:pt x="290286" y="541715"/>
                      </a:moveTo>
                      <a:lnTo>
                        <a:pt x="217715" y="1122286"/>
                      </a:lnTo>
                      <a:cubicBezTo>
                        <a:pt x="70995" y="1547774"/>
                        <a:pt x="72572" y="1394788"/>
                        <a:pt x="72572" y="1557715"/>
                      </a:cubicBezTo>
                      <a:lnTo>
                        <a:pt x="72572" y="1949600"/>
                      </a:lnTo>
                      <a:lnTo>
                        <a:pt x="43543" y="2414057"/>
                      </a:lnTo>
                      <a:lnTo>
                        <a:pt x="0" y="2704343"/>
                      </a:lnTo>
                      <a:lnTo>
                        <a:pt x="217715" y="2689829"/>
                      </a:lnTo>
                      <a:lnTo>
                        <a:pt x="203200" y="2530172"/>
                      </a:lnTo>
                      <a:lnTo>
                        <a:pt x="145143" y="2312457"/>
                      </a:lnTo>
                      <a:lnTo>
                        <a:pt x="348343" y="2631772"/>
                      </a:lnTo>
                      <a:cubicBezTo>
                        <a:pt x="497635" y="2721346"/>
                        <a:pt x="493486" y="2775278"/>
                        <a:pt x="493486" y="2704343"/>
                      </a:cubicBezTo>
                      <a:cubicBezTo>
                        <a:pt x="355008" y="2488934"/>
                        <a:pt x="362857" y="2581665"/>
                        <a:pt x="362857" y="2457600"/>
                      </a:cubicBezTo>
                      <a:lnTo>
                        <a:pt x="217715" y="2094743"/>
                      </a:lnTo>
                      <a:cubicBezTo>
                        <a:pt x="322089" y="1945637"/>
                        <a:pt x="319315" y="2008657"/>
                        <a:pt x="319315" y="1935086"/>
                      </a:cubicBezTo>
                      <a:cubicBezTo>
                        <a:pt x="394352" y="1499869"/>
                        <a:pt x="391886" y="1656547"/>
                        <a:pt x="391886" y="1470629"/>
                      </a:cubicBezTo>
                      <a:lnTo>
                        <a:pt x="464457" y="1107772"/>
                      </a:lnTo>
                      <a:lnTo>
                        <a:pt x="362857" y="585257"/>
                      </a:lnTo>
                      <a:cubicBezTo>
                        <a:pt x="411238" y="391733"/>
                        <a:pt x="458454" y="197915"/>
                        <a:pt x="508000" y="4686"/>
                      </a:cubicBezTo>
                      <a:cubicBezTo>
                        <a:pt x="509202" y="0"/>
                        <a:pt x="508000" y="14362"/>
                        <a:pt x="508000" y="19200"/>
                      </a:cubicBezTo>
                      <a:lnTo>
                        <a:pt x="290286" y="54171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24" name="Freeform 223"/>
                <p:cNvSpPr/>
                <p:nvPr/>
              </p:nvSpPr>
              <p:spPr>
                <a:xfrm>
                  <a:off x="990600" y="-5181600"/>
                  <a:ext cx="1563449" cy="4330555"/>
                </a:xfrm>
                <a:custGeom>
                  <a:avLst/>
                  <a:gdLst>
                    <a:gd name="connsiteX0" fmla="*/ 114300 w 1563449"/>
                    <a:gd name="connsiteY0" fmla="*/ 666750 h 4330555"/>
                    <a:gd name="connsiteX1" fmla="*/ 209550 w 1563449"/>
                    <a:gd name="connsiteY1" fmla="*/ 1257300 h 4330555"/>
                    <a:gd name="connsiteX2" fmla="*/ 533400 w 1563449"/>
                    <a:gd name="connsiteY2" fmla="*/ 1790700 h 4330555"/>
                    <a:gd name="connsiteX3" fmla="*/ 1047750 w 1563449"/>
                    <a:gd name="connsiteY3" fmla="*/ 2628900 h 4330555"/>
                    <a:gd name="connsiteX4" fmla="*/ 1371600 w 1563449"/>
                    <a:gd name="connsiteY4" fmla="*/ 3429000 h 4330555"/>
                    <a:gd name="connsiteX5" fmla="*/ 1562100 w 1563449"/>
                    <a:gd name="connsiteY5" fmla="*/ 4324350 h 4330555"/>
                    <a:gd name="connsiteX6" fmla="*/ 1562100 w 1563449"/>
                    <a:gd name="connsiteY6" fmla="*/ 4305300 h 4330555"/>
                    <a:gd name="connsiteX7" fmla="*/ 933450 w 1563449"/>
                    <a:gd name="connsiteY7" fmla="*/ 3276600 h 4330555"/>
                    <a:gd name="connsiteX8" fmla="*/ 361950 w 1563449"/>
                    <a:gd name="connsiteY8" fmla="*/ 2647950 h 4330555"/>
                    <a:gd name="connsiteX9" fmla="*/ 381000 w 1563449"/>
                    <a:gd name="connsiteY9" fmla="*/ 2114550 h 4330555"/>
                    <a:gd name="connsiteX10" fmla="*/ 152400 w 1563449"/>
                    <a:gd name="connsiteY10" fmla="*/ 1752600 h 4330555"/>
                    <a:gd name="connsiteX11" fmla="*/ 133350 w 1563449"/>
                    <a:gd name="connsiteY11" fmla="*/ 1371600 h 4330555"/>
                    <a:gd name="connsiteX12" fmla="*/ 95250 w 1563449"/>
                    <a:gd name="connsiteY12" fmla="*/ 914400 h 4330555"/>
                    <a:gd name="connsiteX13" fmla="*/ 0 w 1563449"/>
                    <a:gd name="connsiteY13" fmla="*/ 533400 h 4330555"/>
                    <a:gd name="connsiteX14" fmla="*/ 0 w 1563449"/>
                    <a:gd name="connsiteY14" fmla="*/ 171450 h 4330555"/>
                    <a:gd name="connsiteX15" fmla="*/ 95250 w 1563449"/>
                    <a:gd name="connsiteY15" fmla="*/ 0 h 4330555"/>
                    <a:gd name="connsiteX16" fmla="*/ 209550 w 1563449"/>
                    <a:gd name="connsiteY16" fmla="*/ 400050 h 4330555"/>
                    <a:gd name="connsiteX17" fmla="*/ 114300 w 1563449"/>
                    <a:gd name="connsiteY17" fmla="*/ 742950 h 4330555"/>
                    <a:gd name="connsiteX18" fmla="*/ 95250 w 1563449"/>
                    <a:gd name="connsiteY18" fmla="*/ 819150 h 4330555"/>
                    <a:gd name="connsiteX19" fmla="*/ 152400 w 1563449"/>
                    <a:gd name="connsiteY19" fmla="*/ 800100 h 4330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63449" h="4330555">
                      <a:moveTo>
                        <a:pt x="114300" y="666750"/>
                      </a:moveTo>
                      <a:lnTo>
                        <a:pt x="209550" y="1257300"/>
                      </a:lnTo>
                      <a:lnTo>
                        <a:pt x="533400" y="1790700"/>
                      </a:lnTo>
                      <a:lnTo>
                        <a:pt x="1047750" y="2628900"/>
                      </a:lnTo>
                      <a:lnTo>
                        <a:pt x="1371600" y="3429000"/>
                      </a:lnTo>
                      <a:cubicBezTo>
                        <a:pt x="1435100" y="3727450"/>
                        <a:pt x="1497281" y="4026184"/>
                        <a:pt x="1562100" y="4324350"/>
                      </a:cubicBezTo>
                      <a:cubicBezTo>
                        <a:pt x="1563449" y="4330555"/>
                        <a:pt x="1562100" y="4311650"/>
                        <a:pt x="1562100" y="4305300"/>
                      </a:cubicBezTo>
                      <a:lnTo>
                        <a:pt x="933450" y="3276600"/>
                      </a:lnTo>
                      <a:lnTo>
                        <a:pt x="361950" y="2647950"/>
                      </a:lnTo>
                      <a:lnTo>
                        <a:pt x="381000" y="2114550"/>
                      </a:lnTo>
                      <a:lnTo>
                        <a:pt x="152400" y="1752600"/>
                      </a:lnTo>
                      <a:cubicBezTo>
                        <a:pt x="133016" y="1384309"/>
                        <a:pt x="133350" y="1511467"/>
                        <a:pt x="133350" y="1371600"/>
                      </a:cubicBezTo>
                      <a:lnTo>
                        <a:pt x="95250" y="914400"/>
                      </a:lnTo>
                      <a:cubicBezTo>
                        <a:pt x="17200" y="543662"/>
                        <a:pt x="106233" y="639633"/>
                        <a:pt x="0" y="533400"/>
                      </a:cubicBezTo>
                      <a:lnTo>
                        <a:pt x="0" y="171450"/>
                      </a:lnTo>
                      <a:lnTo>
                        <a:pt x="95250" y="0"/>
                      </a:lnTo>
                      <a:cubicBezTo>
                        <a:pt x="230608" y="406074"/>
                        <a:pt x="369163" y="400050"/>
                        <a:pt x="209550" y="400050"/>
                      </a:cubicBezTo>
                      <a:lnTo>
                        <a:pt x="114300" y="742950"/>
                      </a:lnTo>
                      <a:lnTo>
                        <a:pt x="95250" y="819150"/>
                      </a:lnTo>
                      <a:lnTo>
                        <a:pt x="152400" y="800100"/>
                      </a:lnTo>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25" name="Freeform 224"/>
                <p:cNvSpPr/>
                <p:nvPr/>
              </p:nvSpPr>
              <p:spPr>
                <a:xfrm>
                  <a:off x="4916714" y="1462314"/>
                  <a:ext cx="725715" cy="711200"/>
                </a:xfrm>
                <a:custGeom>
                  <a:avLst/>
                  <a:gdLst>
                    <a:gd name="connsiteX0" fmla="*/ 43543 w 725715"/>
                    <a:gd name="connsiteY0" fmla="*/ 43543 h 711200"/>
                    <a:gd name="connsiteX1" fmla="*/ 145143 w 725715"/>
                    <a:gd name="connsiteY1" fmla="*/ 406400 h 711200"/>
                    <a:gd name="connsiteX2" fmla="*/ 449943 w 725715"/>
                    <a:gd name="connsiteY2" fmla="*/ 711200 h 711200"/>
                    <a:gd name="connsiteX3" fmla="*/ 725715 w 725715"/>
                    <a:gd name="connsiteY3" fmla="*/ 711200 h 711200"/>
                    <a:gd name="connsiteX4" fmla="*/ 725715 w 725715"/>
                    <a:gd name="connsiteY4" fmla="*/ 406400 h 711200"/>
                    <a:gd name="connsiteX5" fmla="*/ 624115 w 725715"/>
                    <a:gd name="connsiteY5" fmla="*/ 101600 h 711200"/>
                    <a:gd name="connsiteX6" fmla="*/ 406400 w 725715"/>
                    <a:gd name="connsiteY6" fmla="*/ 14515 h 711200"/>
                    <a:gd name="connsiteX7" fmla="*/ 188686 w 725715"/>
                    <a:gd name="connsiteY7" fmla="*/ 0 h 711200"/>
                    <a:gd name="connsiteX8" fmla="*/ 0 w 725715"/>
                    <a:gd name="connsiteY8" fmla="*/ 14515 h 711200"/>
                    <a:gd name="connsiteX9" fmla="*/ 43543 w 725715"/>
                    <a:gd name="connsiteY9" fmla="*/ 43543 h 71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5715" h="711200">
                      <a:moveTo>
                        <a:pt x="43543" y="43543"/>
                      </a:moveTo>
                      <a:lnTo>
                        <a:pt x="145143" y="406400"/>
                      </a:lnTo>
                      <a:lnTo>
                        <a:pt x="449943" y="711200"/>
                      </a:lnTo>
                      <a:lnTo>
                        <a:pt x="725715" y="711200"/>
                      </a:lnTo>
                      <a:lnTo>
                        <a:pt x="725715" y="406400"/>
                      </a:lnTo>
                      <a:lnTo>
                        <a:pt x="624115" y="101600"/>
                      </a:lnTo>
                      <a:lnTo>
                        <a:pt x="406400" y="14515"/>
                      </a:lnTo>
                      <a:lnTo>
                        <a:pt x="188686" y="0"/>
                      </a:lnTo>
                      <a:lnTo>
                        <a:pt x="0" y="14515"/>
                      </a:lnTo>
                      <a:lnTo>
                        <a:pt x="43543" y="4354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26" name="Freeform 225"/>
                <p:cNvSpPr/>
                <p:nvPr/>
              </p:nvSpPr>
              <p:spPr>
                <a:xfrm>
                  <a:off x="5555343" y="1505857"/>
                  <a:ext cx="2278743" cy="653143"/>
                </a:xfrm>
                <a:custGeom>
                  <a:avLst/>
                  <a:gdLst>
                    <a:gd name="connsiteX0" fmla="*/ 72571 w 2278743"/>
                    <a:gd name="connsiteY0" fmla="*/ 653143 h 653143"/>
                    <a:gd name="connsiteX1" fmla="*/ 449943 w 2278743"/>
                    <a:gd name="connsiteY1" fmla="*/ 537029 h 653143"/>
                    <a:gd name="connsiteX2" fmla="*/ 754743 w 2278743"/>
                    <a:gd name="connsiteY2" fmla="*/ 478972 h 653143"/>
                    <a:gd name="connsiteX3" fmla="*/ 1117600 w 2278743"/>
                    <a:gd name="connsiteY3" fmla="*/ 464457 h 653143"/>
                    <a:gd name="connsiteX4" fmla="*/ 1611086 w 2278743"/>
                    <a:gd name="connsiteY4" fmla="*/ 348343 h 653143"/>
                    <a:gd name="connsiteX5" fmla="*/ 2061028 w 2278743"/>
                    <a:gd name="connsiteY5" fmla="*/ 188686 h 653143"/>
                    <a:gd name="connsiteX6" fmla="*/ 2278743 w 2278743"/>
                    <a:gd name="connsiteY6" fmla="*/ 0 h 653143"/>
                    <a:gd name="connsiteX7" fmla="*/ 2017486 w 2278743"/>
                    <a:gd name="connsiteY7" fmla="*/ 174172 h 653143"/>
                    <a:gd name="connsiteX8" fmla="*/ 1291771 w 2278743"/>
                    <a:gd name="connsiteY8" fmla="*/ 391886 h 653143"/>
                    <a:gd name="connsiteX9" fmla="*/ 870857 w 2278743"/>
                    <a:gd name="connsiteY9" fmla="*/ 449943 h 653143"/>
                    <a:gd name="connsiteX10" fmla="*/ 435428 w 2278743"/>
                    <a:gd name="connsiteY10" fmla="*/ 522514 h 653143"/>
                    <a:gd name="connsiteX11" fmla="*/ 159657 w 2278743"/>
                    <a:gd name="connsiteY11" fmla="*/ 580572 h 653143"/>
                    <a:gd name="connsiteX12" fmla="*/ 101600 w 2278743"/>
                    <a:gd name="connsiteY12" fmla="*/ 275772 h 653143"/>
                    <a:gd name="connsiteX13" fmla="*/ 0 w 2278743"/>
                    <a:gd name="connsiteY13" fmla="*/ 14514 h 653143"/>
                    <a:gd name="connsiteX14" fmla="*/ 145143 w 2278743"/>
                    <a:gd name="connsiteY14" fmla="*/ 551543 h 653143"/>
                    <a:gd name="connsiteX15" fmla="*/ 72571 w 2278743"/>
                    <a:gd name="connsiteY15" fmla="*/ 653143 h 65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78743" h="653143">
                      <a:moveTo>
                        <a:pt x="72571" y="653143"/>
                      </a:moveTo>
                      <a:lnTo>
                        <a:pt x="449943" y="537029"/>
                      </a:lnTo>
                      <a:lnTo>
                        <a:pt x="754743" y="478972"/>
                      </a:lnTo>
                      <a:lnTo>
                        <a:pt x="1117600" y="464457"/>
                      </a:lnTo>
                      <a:lnTo>
                        <a:pt x="1611086" y="348343"/>
                      </a:lnTo>
                      <a:lnTo>
                        <a:pt x="2061028" y="188686"/>
                      </a:lnTo>
                      <a:lnTo>
                        <a:pt x="2278743" y="0"/>
                      </a:lnTo>
                      <a:lnTo>
                        <a:pt x="2017486" y="174172"/>
                      </a:lnTo>
                      <a:lnTo>
                        <a:pt x="1291771" y="391886"/>
                      </a:lnTo>
                      <a:lnTo>
                        <a:pt x="870857" y="449943"/>
                      </a:lnTo>
                      <a:cubicBezTo>
                        <a:pt x="430632" y="508639"/>
                        <a:pt x="435428" y="361573"/>
                        <a:pt x="435428" y="522514"/>
                      </a:cubicBezTo>
                      <a:lnTo>
                        <a:pt x="159657" y="580572"/>
                      </a:lnTo>
                      <a:lnTo>
                        <a:pt x="101600" y="275772"/>
                      </a:lnTo>
                      <a:lnTo>
                        <a:pt x="0" y="14514"/>
                      </a:lnTo>
                      <a:lnTo>
                        <a:pt x="145143" y="551543"/>
                      </a:lnTo>
                      <a:lnTo>
                        <a:pt x="72571" y="65314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27" name="Freeform 226"/>
                <p:cNvSpPr/>
                <p:nvPr/>
              </p:nvSpPr>
              <p:spPr>
                <a:xfrm>
                  <a:off x="-358302" y="633919"/>
                  <a:ext cx="914400" cy="1254868"/>
                </a:xfrm>
                <a:custGeom>
                  <a:avLst/>
                  <a:gdLst>
                    <a:gd name="connsiteX0" fmla="*/ 0 w 914400"/>
                    <a:gd name="connsiteY0" fmla="*/ 107004 h 1254868"/>
                    <a:gd name="connsiteX1" fmla="*/ 136187 w 914400"/>
                    <a:gd name="connsiteY1" fmla="*/ 505838 h 1254868"/>
                    <a:gd name="connsiteX2" fmla="*/ 437745 w 914400"/>
                    <a:gd name="connsiteY2" fmla="*/ 1099226 h 1254868"/>
                    <a:gd name="connsiteX3" fmla="*/ 505838 w 914400"/>
                    <a:gd name="connsiteY3" fmla="*/ 1235413 h 1254868"/>
                    <a:gd name="connsiteX4" fmla="*/ 690664 w 914400"/>
                    <a:gd name="connsiteY4" fmla="*/ 1254868 h 1254868"/>
                    <a:gd name="connsiteX5" fmla="*/ 787940 w 914400"/>
                    <a:gd name="connsiteY5" fmla="*/ 1157592 h 1254868"/>
                    <a:gd name="connsiteX6" fmla="*/ 885217 w 914400"/>
                    <a:gd name="connsiteY6" fmla="*/ 826851 h 1254868"/>
                    <a:gd name="connsiteX7" fmla="*/ 914400 w 914400"/>
                    <a:gd name="connsiteY7" fmla="*/ 291830 h 1254868"/>
                    <a:gd name="connsiteX8" fmla="*/ 856034 w 914400"/>
                    <a:gd name="connsiteY8" fmla="*/ 0 h 1254868"/>
                    <a:gd name="connsiteX9" fmla="*/ 690664 w 914400"/>
                    <a:gd name="connsiteY9" fmla="*/ 9728 h 1254868"/>
                    <a:gd name="connsiteX10" fmla="*/ 583659 w 914400"/>
                    <a:gd name="connsiteY10" fmla="*/ 136187 h 1254868"/>
                    <a:gd name="connsiteX11" fmla="*/ 418289 w 914400"/>
                    <a:gd name="connsiteY11" fmla="*/ 214009 h 1254868"/>
                    <a:gd name="connsiteX12" fmla="*/ 350196 w 914400"/>
                    <a:gd name="connsiteY12" fmla="*/ 87549 h 1254868"/>
                    <a:gd name="connsiteX13" fmla="*/ 223736 w 914400"/>
                    <a:gd name="connsiteY13" fmla="*/ 58366 h 1254868"/>
                    <a:gd name="connsiteX14" fmla="*/ 87549 w 914400"/>
                    <a:gd name="connsiteY14" fmla="*/ 107004 h 1254868"/>
                    <a:gd name="connsiteX15" fmla="*/ 0 w 914400"/>
                    <a:gd name="connsiteY15" fmla="*/ 107004 h 1254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14400" h="1254868">
                      <a:moveTo>
                        <a:pt x="0" y="107004"/>
                      </a:moveTo>
                      <a:lnTo>
                        <a:pt x="136187" y="505838"/>
                      </a:lnTo>
                      <a:cubicBezTo>
                        <a:pt x="234104" y="704935"/>
                        <a:pt x="215873" y="1099226"/>
                        <a:pt x="437745" y="1099226"/>
                      </a:cubicBezTo>
                      <a:lnTo>
                        <a:pt x="505838" y="1235413"/>
                      </a:lnTo>
                      <a:lnTo>
                        <a:pt x="690664" y="1254868"/>
                      </a:lnTo>
                      <a:lnTo>
                        <a:pt x="787940" y="1157592"/>
                      </a:lnTo>
                      <a:lnTo>
                        <a:pt x="885217" y="826851"/>
                      </a:lnTo>
                      <a:lnTo>
                        <a:pt x="914400" y="291830"/>
                      </a:lnTo>
                      <a:lnTo>
                        <a:pt x="856034" y="0"/>
                      </a:lnTo>
                      <a:lnTo>
                        <a:pt x="690664" y="9728"/>
                      </a:lnTo>
                      <a:lnTo>
                        <a:pt x="583659" y="136187"/>
                      </a:lnTo>
                      <a:lnTo>
                        <a:pt x="418289" y="214009"/>
                      </a:lnTo>
                      <a:lnTo>
                        <a:pt x="350196" y="87549"/>
                      </a:lnTo>
                      <a:cubicBezTo>
                        <a:pt x="230318" y="57580"/>
                        <a:pt x="273572" y="58366"/>
                        <a:pt x="223736" y="58366"/>
                      </a:cubicBezTo>
                      <a:lnTo>
                        <a:pt x="87549" y="107004"/>
                      </a:lnTo>
                      <a:lnTo>
                        <a:pt x="0" y="10700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28" name="Freeform 227"/>
                <p:cNvSpPr/>
                <p:nvPr/>
              </p:nvSpPr>
              <p:spPr>
                <a:xfrm>
                  <a:off x="3095625" y="1524000"/>
                  <a:ext cx="3514725" cy="2129101"/>
                </a:xfrm>
                <a:custGeom>
                  <a:avLst/>
                  <a:gdLst>
                    <a:gd name="connsiteX0" fmla="*/ 57150 w 3514725"/>
                    <a:gd name="connsiteY0" fmla="*/ 85725 h 2129101"/>
                    <a:gd name="connsiteX1" fmla="*/ 1000125 w 3514725"/>
                    <a:gd name="connsiteY1" fmla="*/ 857250 h 2129101"/>
                    <a:gd name="connsiteX2" fmla="*/ 1971675 w 3514725"/>
                    <a:gd name="connsiteY2" fmla="*/ 1343025 h 2129101"/>
                    <a:gd name="connsiteX3" fmla="*/ 3028950 w 3514725"/>
                    <a:gd name="connsiteY3" fmla="*/ 1571625 h 2129101"/>
                    <a:gd name="connsiteX4" fmla="*/ 3514725 w 3514725"/>
                    <a:gd name="connsiteY4" fmla="*/ 1943100 h 2129101"/>
                    <a:gd name="connsiteX5" fmla="*/ 3371850 w 3514725"/>
                    <a:gd name="connsiteY5" fmla="*/ 2085975 h 2129101"/>
                    <a:gd name="connsiteX6" fmla="*/ 2600325 w 3514725"/>
                    <a:gd name="connsiteY6" fmla="*/ 1857375 h 2129101"/>
                    <a:gd name="connsiteX7" fmla="*/ 1543050 w 3514725"/>
                    <a:gd name="connsiteY7" fmla="*/ 1514475 h 2129101"/>
                    <a:gd name="connsiteX8" fmla="*/ 2085975 w 3514725"/>
                    <a:gd name="connsiteY8" fmla="*/ 1943100 h 2129101"/>
                    <a:gd name="connsiteX9" fmla="*/ 1943100 w 3514725"/>
                    <a:gd name="connsiteY9" fmla="*/ 2057400 h 2129101"/>
                    <a:gd name="connsiteX10" fmla="*/ 1257300 w 3514725"/>
                    <a:gd name="connsiteY10" fmla="*/ 1657350 h 2129101"/>
                    <a:gd name="connsiteX11" fmla="*/ 628650 w 3514725"/>
                    <a:gd name="connsiteY11" fmla="*/ 1200150 h 2129101"/>
                    <a:gd name="connsiteX12" fmla="*/ 257175 w 3514725"/>
                    <a:gd name="connsiteY12" fmla="*/ 571500 h 2129101"/>
                    <a:gd name="connsiteX13" fmla="*/ 0 w 3514725"/>
                    <a:gd name="connsiteY13" fmla="*/ 0 h 2129101"/>
                    <a:gd name="connsiteX14" fmla="*/ 57150 w 3514725"/>
                    <a:gd name="connsiteY14" fmla="*/ 85725 h 2129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14725" h="2129101">
                      <a:moveTo>
                        <a:pt x="57150" y="85725"/>
                      </a:moveTo>
                      <a:lnTo>
                        <a:pt x="1000125" y="857250"/>
                      </a:lnTo>
                      <a:lnTo>
                        <a:pt x="1971675" y="1343025"/>
                      </a:lnTo>
                      <a:lnTo>
                        <a:pt x="3028950" y="1571625"/>
                      </a:lnTo>
                      <a:lnTo>
                        <a:pt x="3514725" y="1943100"/>
                      </a:lnTo>
                      <a:lnTo>
                        <a:pt x="3371850" y="2085975"/>
                      </a:lnTo>
                      <a:lnTo>
                        <a:pt x="2600325" y="1857375"/>
                      </a:lnTo>
                      <a:lnTo>
                        <a:pt x="1543050" y="1514475"/>
                      </a:lnTo>
                      <a:lnTo>
                        <a:pt x="2085975" y="1943100"/>
                      </a:lnTo>
                      <a:cubicBezTo>
                        <a:pt x="1963260" y="2096494"/>
                        <a:pt x="2014801" y="2129101"/>
                        <a:pt x="1943100" y="2057400"/>
                      </a:cubicBezTo>
                      <a:lnTo>
                        <a:pt x="1257300" y="1657350"/>
                      </a:lnTo>
                      <a:lnTo>
                        <a:pt x="628650" y="1200150"/>
                      </a:lnTo>
                      <a:lnTo>
                        <a:pt x="257175" y="571500"/>
                      </a:lnTo>
                      <a:lnTo>
                        <a:pt x="0" y="0"/>
                      </a:lnTo>
                      <a:lnTo>
                        <a:pt x="57150" y="8572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29" name="Freeform 228"/>
                <p:cNvSpPr/>
                <p:nvPr/>
              </p:nvSpPr>
              <p:spPr>
                <a:xfrm>
                  <a:off x="1323975" y="1238250"/>
                  <a:ext cx="1143000" cy="1047034"/>
                </a:xfrm>
                <a:custGeom>
                  <a:avLst/>
                  <a:gdLst>
                    <a:gd name="connsiteX0" fmla="*/ 1143000 w 1143000"/>
                    <a:gd name="connsiteY0" fmla="*/ 0 h 1047034"/>
                    <a:gd name="connsiteX1" fmla="*/ 628650 w 1143000"/>
                    <a:gd name="connsiteY1" fmla="*/ 600075 h 1047034"/>
                    <a:gd name="connsiteX2" fmla="*/ 0 w 1143000"/>
                    <a:gd name="connsiteY2" fmla="*/ 1028700 h 1047034"/>
                    <a:gd name="connsiteX3" fmla="*/ 542925 w 1143000"/>
                    <a:gd name="connsiteY3" fmla="*/ 828675 h 1047034"/>
                    <a:gd name="connsiteX4" fmla="*/ 1085850 w 1143000"/>
                    <a:gd name="connsiteY4" fmla="*/ 285750 h 1047034"/>
                    <a:gd name="connsiteX5" fmla="*/ 1143000 w 1143000"/>
                    <a:gd name="connsiteY5" fmla="*/ 0 h 1047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 h="1047034">
                      <a:moveTo>
                        <a:pt x="1143000" y="0"/>
                      </a:moveTo>
                      <a:lnTo>
                        <a:pt x="628650" y="600075"/>
                      </a:lnTo>
                      <a:lnTo>
                        <a:pt x="0" y="1028700"/>
                      </a:lnTo>
                      <a:cubicBezTo>
                        <a:pt x="552008" y="854382"/>
                        <a:pt x="542925" y="1047034"/>
                        <a:pt x="542925" y="828675"/>
                      </a:cubicBezTo>
                      <a:lnTo>
                        <a:pt x="1085850" y="285750"/>
                      </a:lnTo>
                      <a:lnTo>
                        <a:pt x="1143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30" name="Freeform 229"/>
                <p:cNvSpPr/>
                <p:nvPr/>
              </p:nvSpPr>
              <p:spPr>
                <a:xfrm>
                  <a:off x="583660" y="680936"/>
                  <a:ext cx="389106" cy="690664"/>
                </a:xfrm>
                <a:custGeom>
                  <a:avLst/>
                  <a:gdLst>
                    <a:gd name="connsiteX0" fmla="*/ 389106 w 389106"/>
                    <a:gd name="connsiteY0" fmla="*/ 38911 h 690664"/>
                    <a:gd name="connsiteX1" fmla="*/ 379378 w 389106"/>
                    <a:gd name="connsiteY1" fmla="*/ 262647 h 690664"/>
                    <a:gd name="connsiteX2" fmla="*/ 321012 w 389106"/>
                    <a:gd name="connsiteY2" fmla="*/ 466928 h 690664"/>
                    <a:gd name="connsiteX3" fmla="*/ 87549 w 389106"/>
                    <a:gd name="connsiteY3" fmla="*/ 622570 h 690664"/>
                    <a:gd name="connsiteX4" fmla="*/ 0 w 389106"/>
                    <a:gd name="connsiteY4" fmla="*/ 690664 h 690664"/>
                    <a:gd name="connsiteX5" fmla="*/ 175097 w 389106"/>
                    <a:gd name="connsiteY5" fmla="*/ 515566 h 690664"/>
                    <a:gd name="connsiteX6" fmla="*/ 252919 w 389106"/>
                    <a:gd name="connsiteY6" fmla="*/ 311285 h 690664"/>
                    <a:gd name="connsiteX7" fmla="*/ 321012 w 389106"/>
                    <a:gd name="connsiteY7" fmla="*/ 0 h 690664"/>
                    <a:gd name="connsiteX8" fmla="*/ 389106 w 389106"/>
                    <a:gd name="connsiteY8" fmla="*/ 38911 h 690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9106" h="690664">
                      <a:moveTo>
                        <a:pt x="389106" y="38911"/>
                      </a:moveTo>
                      <a:cubicBezTo>
                        <a:pt x="385716" y="113483"/>
                        <a:pt x="379378" y="187998"/>
                        <a:pt x="379378" y="262647"/>
                      </a:cubicBezTo>
                      <a:lnTo>
                        <a:pt x="321012" y="466928"/>
                      </a:lnTo>
                      <a:lnTo>
                        <a:pt x="87549" y="622570"/>
                      </a:lnTo>
                      <a:lnTo>
                        <a:pt x="0" y="690664"/>
                      </a:lnTo>
                      <a:lnTo>
                        <a:pt x="175097" y="515566"/>
                      </a:lnTo>
                      <a:cubicBezTo>
                        <a:pt x="254123" y="318002"/>
                        <a:pt x="252919" y="390860"/>
                        <a:pt x="252919" y="311285"/>
                      </a:cubicBezTo>
                      <a:lnTo>
                        <a:pt x="321012" y="0"/>
                      </a:lnTo>
                      <a:cubicBezTo>
                        <a:pt x="382278" y="30633"/>
                        <a:pt x="379378" y="50935"/>
                        <a:pt x="389106" y="3891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98" name="Group 197"/>
              <p:cNvGrpSpPr/>
              <p:nvPr/>
            </p:nvGrpSpPr>
            <p:grpSpPr>
              <a:xfrm>
                <a:off x="3700629" y="1749630"/>
                <a:ext cx="905944" cy="800538"/>
                <a:chOff x="-1349829" y="8897257"/>
                <a:chExt cx="4771572" cy="4216400"/>
              </a:xfrm>
              <a:grpFill/>
            </p:grpSpPr>
            <p:sp>
              <p:nvSpPr>
                <p:cNvPr id="214" name="Freeform 213"/>
                <p:cNvSpPr/>
                <p:nvPr/>
              </p:nvSpPr>
              <p:spPr>
                <a:xfrm>
                  <a:off x="-1349829" y="8897257"/>
                  <a:ext cx="4717143" cy="4122057"/>
                </a:xfrm>
                <a:custGeom>
                  <a:avLst/>
                  <a:gdLst>
                    <a:gd name="connsiteX0" fmla="*/ 0 w 4717143"/>
                    <a:gd name="connsiteY0" fmla="*/ 0 h 4122057"/>
                    <a:gd name="connsiteX1" fmla="*/ 566058 w 4717143"/>
                    <a:gd name="connsiteY1" fmla="*/ 290286 h 4122057"/>
                    <a:gd name="connsiteX2" fmla="*/ 1407886 w 4717143"/>
                    <a:gd name="connsiteY2" fmla="*/ 493486 h 4122057"/>
                    <a:gd name="connsiteX3" fmla="*/ 2191658 w 4717143"/>
                    <a:gd name="connsiteY3" fmla="*/ 464457 h 4122057"/>
                    <a:gd name="connsiteX4" fmla="*/ 2859315 w 4717143"/>
                    <a:gd name="connsiteY4" fmla="*/ 435429 h 4122057"/>
                    <a:gd name="connsiteX5" fmla="*/ 2989943 w 4717143"/>
                    <a:gd name="connsiteY5" fmla="*/ 420914 h 4122057"/>
                    <a:gd name="connsiteX6" fmla="*/ 3120572 w 4717143"/>
                    <a:gd name="connsiteY6" fmla="*/ 798286 h 4122057"/>
                    <a:gd name="connsiteX7" fmla="*/ 3410858 w 4717143"/>
                    <a:gd name="connsiteY7" fmla="*/ 1248229 h 4122057"/>
                    <a:gd name="connsiteX8" fmla="*/ 3991429 w 4717143"/>
                    <a:gd name="connsiteY8" fmla="*/ 2148114 h 4122057"/>
                    <a:gd name="connsiteX9" fmla="*/ 4586515 w 4717143"/>
                    <a:gd name="connsiteY9" fmla="*/ 3338286 h 4122057"/>
                    <a:gd name="connsiteX10" fmla="*/ 4717143 w 4717143"/>
                    <a:gd name="connsiteY10" fmla="*/ 3657600 h 4122057"/>
                    <a:gd name="connsiteX11" fmla="*/ 4296229 w 4717143"/>
                    <a:gd name="connsiteY11" fmla="*/ 4093029 h 4122057"/>
                    <a:gd name="connsiteX12" fmla="*/ 3614058 w 4717143"/>
                    <a:gd name="connsiteY12" fmla="*/ 4122057 h 4122057"/>
                    <a:gd name="connsiteX13" fmla="*/ 2859315 w 4717143"/>
                    <a:gd name="connsiteY13" fmla="*/ 3933372 h 4122057"/>
                    <a:gd name="connsiteX14" fmla="*/ 2206172 w 4717143"/>
                    <a:gd name="connsiteY14" fmla="*/ 3744686 h 4122057"/>
                    <a:gd name="connsiteX15" fmla="*/ 1553029 w 4717143"/>
                    <a:gd name="connsiteY15" fmla="*/ 3759200 h 4122057"/>
                    <a:gd name="connsiteX16" fmla="*/ 1233715 w 4717143"/>
                    <a:gd name="connsiteY16" fmla="*/ 3178629 h 4122057"/>
                    <a:gd name="connsiteX17" fmla="*/ 551543 w 4717143"/>
                    <a:gd name="connsiteY17" fmla="*/ 1436914 h 4122057"/>
                    <a:gd name="connsiteX18" fmla="*/ 0 w 4717143"/>
                    <a:gd name="connsiteY18" fmla="*/ 0 h 4122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17143" h="4122057">
                      <a:moveTo>
                        <a:pt x="0" y="0"/>
                      </a:moveTo>
                      <a:lnTo>
                        <a:pt x="566058" y="290286"/>
                      </a:lnTo>
                      <a:lnTo>
                        <a:pt x="1407886" y="493486"/>
                      </a:lnTo>
                      <a:lnTo>
                        <a:pt x="2191658" y="464457"/>
                      </a:lnTo>
                      <a:lnTo>
                        <a:pt x="2859315" y="435429"/>
                      </a:lnTo>
                      <a:lnTo>
                        <a:pt x="2989943" y="420914"/>
                      </a:lnTo>
                      <a:cubicBezTo>
                        <a:pt x="3122211" y="788324"/>
                        <a:pt x="3120572" y="655220"/>
                        <a:pt x="3120572" y="798286"/>
                      </a:cubicBezTo>
                      <a:lnTo>
                        <a:pt x="3410858" y="1248229"/>
                      </a:lnTo>
                      <a:lnTo>
                        <a:pt x="3991429" y="2148114"/>
                      </a:lnTo>
                      <a:lnTo>
                        <a:pt x="4586515" y="3338286"/>
                      </a:lnTo>
                      <a:lnTo>
                        <a:pt x="4717143" y="3657600"/>
                      </a:lnTo>
                      <a:lnTo>
                        <a:pt x="4296229" y="4093029"/>
                      </a:lnTo>
                      <a:lnTo>
                        <a:pt x="3614058" y="4122057"/>
                      </a:lnTo>
                      <a:lnTo>
                        <a:pt x="2859315" y="3933372"/>
                      </a:lnTo>
                      <a:lnTo>
                        <a:pt x="2206172" y="3744686"/>
                      </a:lnTo>
                      <a:lnTo>
                        <a:pt x="1553029" y="3759200"/>
                      </a:lnTo>
                      <a:lnTo>
                        <a:pt x="1233715" y="3178629"/>
                      </a:lnTo>
                      <a:lnTo>
                        <a:pt x="551543" y="143691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15" name="Freeform 214"/>
                <p:cNvSpPr/>
                <p:nvPr/>
              </p:nvSpPr>
              <p:spPr>
                <a:xfrm>
                  <a:off x="-1295400" y="8991600"/>
                  <a:ext cx="4717143" cy="4122057"/>
                </a:xfrm>
                <a:custGeom>
                  <a:avLst/>
                  <a:gdLst>
                    <a:gd name="connsiteX0" fmla="*/ 0 w 4717143"/>
                    <a:gd name="connsiteY0" fmla="*/ 0 h 4122057"/>
                    <a:gd name="connsiteX1" fmla="*/ 566058 w 4717143"/>
                    <a:gd name="connsiteY1" fmla="*/ 290286 h 4122057"/>
                    <a:gd name="connsiteX2" fmla="*/ 1407886 w 4717143"/>
                    <a:gd name="connsiteY2" fmla="*/ 493486 h 4122057"/>
                    <a:gd name="connsiteX3" fmla="*/ 2191658 w 4717143"/>
                    <a:gd name="connsiteY3" fmla="*/ 464457 h 4122057"/>
                    <a:gd name="connsiteX4" fmla="*/ 2859315 w 4717143"/>
                    <a:gd name="connsiteY4" fmla="*/ 435429 h 4122057"/>
                    <a:gd name="connsiteX5" fmla="*/ 2989943 w 4717143"/>
                    <a:gd name="connsiteY5" fmla="*/ 420914 h 4122057"/>
                    <a:gd name="connsiteX6" fmla="*/ 3120572 w 4717143"/>
                    <a:gd name="connsiteY6" fmla="*/ 798286 h 4122057"/>
                    <a:gd name="connsiteX7" fmla="*/ 3410858 w 4717143"/>
                    <a:gd name="connsiteY7" fmla="*/ 1248229 h 4122057"/>
                    <a:gd name="connsiteX8" fmla="*/ 3991429 w 4717143"/>
                    <a:gd name="connsiteY8" fmla="*/ 2148114 h 4122057"/>
                    <a:gd name="connsiteX9" fmla="*/ 4586515 w 4717143"/>
                    <a:gd name="connsiteY9" fmla="*/ 3338286 h 4122057"/>
                    <a:gd name="connsiteX10" fmla="*/ 4717143 w 4717143"/>
                    <a:gd name="connsiteY10" fmla="*/ 3657600 h 4122057"/>
                    <a:gd name="connsiteX11" fmla="*/ 4296229 w 4717143"/>
                    <a:gd name="connsiteY11" fmla="*/ 4093029 h 4122057"/>
                    <a:gd name="connsiteX12" fmla="*/ 3614058 w 4717143"/>
                    <a:gd name="connsiteY12" fmla="*/ 4122057 h 4122057"/>
                    <a:gd name="connsiteX13" fmla="*/ 2859315 w 4717143"/>
                    <a:gd name="connsiteY13" fmla="*/ 3933372 h 4122057"/>
                    <a:gd name="connsiteX14" fmla="*/ 2206172 w 4717143"/>
                    <a:gd name="connsiteY14" fmla="*/ 3744686 h 4122057"/>
                    <a:gd name="connsiteX15" fmla="*/ 1553029 w 4717143"/>
                    <a:gd name="connsiteY15" fmla="*/ 3759200 h 4122057"/>
                    <a:gd name="connsiteX16" fmla="*/ 1233715 w 4717143"/>
                    <a:gd name="connsiteY16" fmla="*/ 3178629 h 4122057"/>
                    <a:gd name="connsiteX17" fmla="*/ 551543 w 4717143"/>
                    <a:gd name="connsiteY17" fmla="*/ 1436914 h 4122057"/>
                    <a:gd name="connsiteX18" fmla="*/ 0 w 4717143"/>
                    <a:gd name="connsiteY18" fmla="*/ 0 h 4122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17143" h="4122057">
                      <a:moveTo>
                        <a:pt x="0" y="0"/>
                      </a:moveTo>
                      <a:lnTo>
                        <a:pt x="566058" y="290286"/>
                      </a:lnTo>
                      <a:lnTo>
                        <a:pt x="1407886" y="493486"/>
                      </a:lnTo>
                      <a:lnTo>
                        <a:pt x="2191658" y="464457"/>
                      </a:lnTo>
                      <a:lnTo>
                        <a:pt x="2859315" y="435429"/>
                      </a:lnTo>
                      <a:lnTo>
                        <a:pt x="2989943" y="420914"/>
                      </a:lnTo>
                      <a:cubicBezTo>
                        <a:pt x="3122211" y="788324"/>
                        <a:pt x="3120572" y="655220"/>
                        <a:pt x="3120572" y="798286"/>
                      </a:cubicBezTo>
                      <a:lnTo>
                        <a:pt x="3410858" y="1248229"/>
                      </a:lnTo>
                      <a:lnTo>
                        <a:pt x="3991429" y="2148114"/>
                      </a:lnTo>
                      <a:lnTo>
                        <a:pt x="4586515" y="3338286"/>
                      </a:lnTo>
                      <a:lnTo>
                        <a:pt x="4717143" y="3657600"/>
                      </a:lnTo>
                      <a:lnTo>
                        <a:pt x="4296229" y="4093029"/>
                      </a:lnTo>
                      <a:lnTo>
                        <a:pt x="3614058" y="4122057"/>
                      </a:lnTo>
                      <a:lnTo>
                        <a:pt x="2859315" y="3933372"/>
                      </a:lnTo>
                      <a:lnTo>
                        <a:pt x="2206172" y="3744686"/>
                      </a:lnTo>
                      <a:lnTo>
                        <a:pt x="1553029" y="3759200"/>
                      </a:lnTo>
                      <a:lnTo>
                        <a:pt x="1233715" y="3178629"/>
                      </a:lnTo>
                      <a:lnTo>
                        <a:pt x="551543" y="143691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99" name="Group 97"/>
              <p:cNvGrpSpPr/>
              <p:nvPr/>
            </p:nvGrpSpPr>
            <p:grpSpPr>
              <a:xfrm>
                <a:off x="4500038" y="2400054"/>
                <a:ext cx="539888" cy="286273"/>
                <a:chOff x="2762655" y="12188757"/>
                <a:chExt cx="2843567" cy="1507788"/>
              </a:xfrm>
              <a:grpFill/>
            </p:grpSpPr>
            <p:sp>
              <p:nvSpPr>
                <p:cNvPr id="209" name="Freeform 208"/>
                <p:cNvSpPr/>
                <p:nvPr/>
              </p:nvSpPr>
              <p:spPr>
                <a:xfrm>
                  <a:off x="2762655" y="12188757"/>
                  <a:ext cx="2843567" cy="1507788"/>
                </a:xfrm>
                <a:custGeom>
                  <a:avLst/>
                  <a:gdLst>
                    <a:gd name="connsiteX0" fmla="*/ 2840477 w 2843567"/>
                    <a:gd name="connsiteY0" fmla="*/ 1342417 h 1507788"/>
                    <a:gd name="connsiteX1" fmla="*/ 2733473 w 2843567"/>
                    <a:gd name="connsiteY1" fmla="*/ 914400 h 1507788"/>
                    <a:gd name="connsiteX2" fmla="*/ 2548647 w 2843567"/>
                    <a:gd name="connsiteY2" fmla="*/ 603115 h 1507788"/>
                    <a:gd name="connsiteX3" fmla="*/ 2344366 w 2843567"/>
                    <a:gd name="connsiteY3" fmla="*/ 340469 h 1507788"/>
                    <a:gd name="connsiteX4" fmla="*/ 2256817 w 2843567"/>
                    <a:gd name="connsiteY4" fmla="*/ 223737 h 1507788"/>
                    <a:gd name="connsiteX5" fmla="*/ 1935805 w 2843567"/>
                    <a:gd name="connsiteY5" fmla="*/ 233464 h 1507788"/>
                    <a:gd name="connsiteX6" fmla="*/ 1819073 w 2843567"/>
                    <a:gd name="connsiteY6" fmla="*/ 155643 h 1507788"/>
                    <a:gd name="connsiteX7" fmla="*/ 1682885 w 2843567"/>
                    <a:gd name="connsiteY7" fmla="*/ 48639 h 1507788"/>
                    <a:gd name="connsiteX8" fmla="*/ 1605064 w 2843567"/>
                    <a:gd name="connsiteY8" fmla="*/ 0 h 1507788"/>
                    <a:gd name="connsiteX9" fmla="*/ 1342417 w 2843567"/>
                    <a:gd name="connsiteY9" fmla="*/ 29183 h 1507788"/>
                    <a:gd name="connsiteX10" fmla="*/ 914400 w 2843567"/>
                    <a:gd name="connsiteY10" fmla="*/ 175098 h 1507788"/>
                    <a:gd name="connsiteX11" fmla="*/ 554477 w 2843567"/>
                    <a:gd name="connsiteY11" fmla="*/ 340469 h 1507788"/>
                    <a:gd name="connsiteX12" fmla="*/ 165371 w 2843567"/>
                    <a:gd name="connsiteY12" fmla="*/ 554477 h 1507788"/>
                    <a:gd name="connsiteX13" fmla="*/ 116732 w 2843567"/>
                    <a:gd name="connsiteY13" fmla="*/ 671209 h 1507788"/>
                    <a:gd name="connsiteX14" fmla="*/ 145915 w 2843567"/>
                    <a:gd name="connsiteY14" fmla="*/ 739303 h 1507788"/>
                    <a:gd name="connsiteX15" fmla="*/ 223736 w 2843567"/>
                    <a:gd name="connsiteY15" fmla="*/ 787941 h 1507788"/>
                    <a:gd name="connsiteX16" fmla="*/ 77822 w 2843567"/>
                    <a:gd name="connsiteY16" fmla="*/ 817124 h 1507788"/>
                    <a:gd name="connsiteX17" fmla="*/ 9728 w 2843567"/>
                    <a:gd name="connsiteY17" fmla="*/ 865762 h 1507788"/>
                    <a:gd name="connsiteX18" fmla="*/ 0 w 2843567"/>
                    <a:gd name="connsiteY18" fmla="*/ 1001949 h 1507788"/>
                    <a:gd name="connsiteX19" fmla="*/ 48639 w 2843567"/>
                    <a:gd name="connsiteY19" fmla="*/ 1070043 h 1507788"/>
                    <a:gd name="connsiteX20" fmla="*/ 165371 w 2843567"/>
                    <a:gd name="connsiteY20" fmla="*/ 1079771 h 1507788"/>
                    <a:gd name="connsiteX21" fmla="*/ 262647 w 2843567"/>
                    <a:gd name="connsiteY21" fmla="*/ 1070043 h 1507788"/>
                    <a:gd name="connsiteX22" fmla="*/ 282102 w 2843567"/>
                    <a:gd name="connsiteY22" fmla="*/ 1177047 h 1507788"/>
                    <a:gd name="connsiteX23" fmla="*/ 321013 w 2843567"/>
                    <a:gd name="connsiteY23" fmla="*/ 1245141 h 1507788"/>
                    <a:gd name="connsiteX24" fmla="*/ 418290 w 2843567"/>
                    <a:gd name="connsiteY24" fmla="*/ 1264596 h 1507788"/>
                    <a:gd name="connsiteX25" fmla="*/ 544749 w 2843567"/>
                    <a:gd name="connsiteY25" fmla="*/ 1284052 h 1507788"/>
                    <a:gd name="connsiteX26" fmla="*/ 642026 w 2843567"/>
                    <a:gd name="connsiteY26" fmla="*/ 1274324 h 1507788"/>
                    <a:gd name="connsiteX27" fmla="*/ 642026 w 2843567"/>
                    <a:gd name="connsiteY27" fmla="*/ 1352145 h 1507788"/>
                    <a:gd name="connsiteX28" fmla="*/ 661481 w 2843567"/>
                    <a:gd name="connsiteY28" fmla="*/ 1449422 h 1507788"/>
                    <a:gd name="connsiteX29" fmla="*/ 739302 w 2843567"/>
                    <a:gd name="connsiteY29" fmla="*/ 1478605 h 1507788"/>
                    <a:gd name="connsiteX30" fmla="*/ 924128 w 2843567"/>
                    <a:gd name="connsiteY30" fmla="*/ 1507788 h 1507788"/>
                    <a:gd name="connsiteX31" fmla="*/ 1138136 w 2843567"/>
                    <a:gd name="connsiteY31" fmla="*/ 1488332 h 1507788"/>
                    <a:gd name="connsiteX32" fmla="*/ 1332690 w 2843567"/>
                    <a:gd name="connsiteY32" fmla="*/ 1468877 h 1507788"/>
                    <a:gd name="connsiteX33" fmla="*/ 1556426 w 2843567"/>
                    <a:gd name="connsiteY33" fmla="*/ 1410511 h 1507788"/>
                    <a:gd name="connsiteX34" fmla="*/ 1702341 w 2843567"/>
                    <a:gd name="connsiteY34" fmla="*/ 1371600 h 1507788"/>
                    <a:gd name="connsiteX35" fmla="*/ 1964988 w 2843567"/>
                    <a:gd name="connsiteY35" fmla="*/ 1352145 h 1507788"/>
                    <a:gd name="connsiteX36" fmla="*/ 2159541 w 2843567"/>
                    <a:gd name="connsiteY36" fmla="*/ 1303507 h 1507788"/>
                    <a:gd name="connsiteX37" fmla="*/ 2247090 w 2843567"/>
                    <a:gd name="connsiteY37" fmla="*/ 1254869 h 1507788"/>
                    <a:gd name="connsiteX38" fmla="*/ 2626468 w 2843567"/>
                    <a:gd name="connsiteY38" fmla="*/ 1245141 h 1507788"/>
                    <a:gd name="connsiteX39" fmla="*/ 2840477 w 2843567"/>
                    <a:gd name="connsiteY39" fmla="*/ 1342417 h 1507788"/>
                    <a:gd name="connsiteX0" fmla="*/ 2840477 w 2843567"/>
                    <a:gd name="connsiteY0" fmla="*/ 1342417 h 1507788"/>
                    <a:gd name="connsiteX1" fmla="*/ 2733473 w 2843567"/>
                    <a:gd name="connsiteY1" fmla="*/ 914400 h 1507788"/>
                    <a:gd name="connsiteX2" fmla="*/ 2548647 w 2843567"/>
                    <a:gd name="connsiteY2" fmla="*/ 603115 h 1507788"/>
                    <a:gd name="connsiteX3" fmla="*/ 2344366 w 2843567"/>
                    <a:gd name="connsiteY3" fmla="*/ 340469 h 1507788"/>
                    <a:gd name="connsiteX4" fmla="*/ 2279677 w 2843567"/>
                    <a:gd name="connsiteY4" fmla="*/ 261837 h 1507788"/>
                    <a:gd name="connsiteX5" fmla="*/ 1935805 w 2843567"/>
                    <a:gd name="connsiteY5" fmla="*/ 233464 h 1507788"/>
                    <a:gd name="connsiteX6" fmla="*/ 1819073 w 2843567"/>
                    <a:gd name="connsiteY6" fmla="*/ 155643 h 1507788"/>
                    <a:gd name="connsiteX7" fmla="*/ 1682885 w 2843567"/>
                    <a:gd name="connsiteY7" fmla="*/ 48639 h 1507788"/>
                    <a:gd name="connsiteX8" fmla="*/ 1605064 w 2843567"/>
                    <a:gd name="connsiteY8" fmla="*/ 0 h 1507788"/>
                    <a:gd name="connsiteX9" fmla="*/ 1342417 w 2843567"/>
                    <a:gd name="connsiteY9" fmla="*/ 29183 h 1507788"/>
                    <a:gd name="connsiteX10" fmla="*/ 914400 w 2843567"/>
                    <a:gd name="connsiteY10" fmla="*/ 175098 h 1507788"/>
                    <a:gd name="connsiteX11" fmla="*/ 554477 w 2843567"/>
                    <a:gd name="connsiteY11" fmla="*/ 340469 h 1507788"/>
                    <a:gd name="connsiteX12" fmla="*/ 165371 w 2843567"/>
                    <a:gd name="connsiteY12" fmla="*/ 554477 h 1507788"/>
                    <a:gd name="connsiteX13" fmla="*/ 116732 w 2843567"/>
                    <a:gd name="connsiteY13" fmla="*/ 671209 h 1507788"/>
                    <a:gd name="connsiteX14" fmla="*/ 145915 w 2843567"/>
                    <a:gd name="connsiteY14" fmla="*/ 739303 h 1507788"/>
                    <a:gd name="connsiteX15" fmla="*/ 223736 w 2843567"/>
                    <a:gd name="connsiteY15" fmla="*/ 787941 h 1507788"/>
                    <a:gd name="connsiteX16" fmla="*/ 77822 w 2843567"/>
                    <a:gd name="connsiteY16" fmla="*/ 817124 h 1507788"/>
                    <a:gd name="connsiteX17" fmla="*/ 9728 w 2843567"/>
                    <a:gd name="connsiteY17" fmla="*/ 865762 h 1507788"/>
                    <a:gd name="connsiteX18" fmla="*/ 0 w 2843567"/>
                    <a:gd name="connsiteY18" fmla="*/ 1001949 h 1507788"/>
                    <a:gd name="connsiteX19" fmla="*/ 48639 w 2843567"/>
                    <a:gd name="connsiteY19" fmla="*/ 1070043 h 1507788"/>
                    <a:gd name="connsiteX20" fmla="*/ 165371 w 2843567"/>
                    <a:gd name="connsiteY20" fmla="*/ 1079771 h 1507788"/>
                    <a:gd name="connsiteX21" fmla="*/ 262647 w 2843567"/>
                    <a:gd name="connsiteY21" fmla="*/ 1070043 h 1507788"/>
                    <a:gd name="connsiteX22" fmla="*/ 282102 w 2843567"/>
                    <a:gd name="connsiteY22" fmla="*/ 1177047 h 1507788"/>
                    <a:gd name="connsiteX23" fmla="*/ 321013 w 2843567"/>
                    <a:gd name="connsiteY23" fmla="*/ 1245141 h 1507788"/>
                    <a:gd name="connsiteX24" fmla="*/ 418290 w 2843567"/>
                    <a:gd name="connsiteY24" fmla="*/ 1264596 h 1507788"/>
                    <a:gd name="connsiteX25" fmla="*/ 544749 w 2843567"/>
                    <a:gd name="connsiteY25" fmla="*/ 1284052 h 1507788"/>
                    <a:gd name="connsiteX26" fmla="*/ 642026 w 2843567"/>
                    <a:gd name="connsiteY26" fmla="*/ 1274324 h 1507788"/>
                    <a:gd name="connsiteX27" fmla="*/ 642026 w 2843567"/>
                    <a:gd name="connsiteY27" fmla="*/ 1352145 h 1507788"/>
                    <a:gd name="connsiteX28" fmla="*/ 661481 w 2843567"/>
                    <a:gd name="connsiteY28" fmla="*/ 1449422 h 1507788"/>
                    <a:gd name="connsiteX29" fmla="*/ 739302 w 2843567"/>
                    <a:gd name="connsiteY29" fmla="*/ 1478605 h 1507788"/>
                    <a:gd name="connsiteX30" fmla="*/ 924128 w 2843567"/>
                    <a:gd name="connsiteY30" fmla="*/ 1507788 h 1507788"/>
                    <a:gd name="connsiteX31" fmla="*/ 1138136 w 2843567"/>
                    <a:gd name="connsiteY31" fmla="*/ 1488332 h 1507788"/>
                    <a:gd name="connsiteX32" fmla="*/ 1332690 w 2843567"/>
                    <a:gd name="connsiteY32" fmla="*/ 1468877 h 1507788"/>
                    <a:gd name="connsiteX33" fmla="*/ 1556426 w 2843567"/>
                    <a:gd name="connsiteY33" fmla="*/ 1410511 h 1507788"/>
                    <a:gd name="connsiteX34" fmla="*/ 1702341 w 2843567"/>
                    <a:gd name="connsiteY34" fmla="*/ 1371600 h 1507788"/>
                    <a:gd name="connsiteX35" fmla="*/ 1964988 w 2843567"/>
                    <a:gd name="connsiteY35" fmla="*/ 1352145 h 1507788"/>
                    <a:gd name="connsiteX36" fmla="*/ 2159541 w 2843567"/>
                    <a:gd name="connsiteY36" fmla="*/ 1303507 h 1507788"/>
                    <a:gd name="connsiteX37" fmla="*/ 2247090 w 2843567"/>
                    <a:gd name="connsiteY37" fmla="*/ 1254869 h 1507788"/>
                    <a:gd name="connsiteX38" fmla="*/ 2626468 w 2843567"/>
                    <a:gd name="connsiteY38" fmla="*/ 1245141 h 1507788"/>
                    <a:gd name="connsiteX39" fmla="*/ 2840477 w 2843567"/>
                    <a:gd name="connsiteY39" fmla="*/ 1342417 h 1507788"/>
                    <a:gd name="connsiteX0" fmla="*/ 2840477 w 2843567"/>
                    <a:gd name="connsiteY0" fmla="*/ 1342417 h 1507788"/>
                    <a:gd name="connsiteX1" fmla="*/ 2733473 w 2843567"/>
                    <a:gd name="connsiteY1" fmla="*/ 914400 h 1507788"/>
                    <a:gd name="connsiteX2" fmla="*/ 2548647 w 2843567"/>
                    <a:gd name="connsiteY2" fmla="*/ 603115 h 1507788"/>
                    <a:gd name="connsiteX3" fmla="*/ 2344366 w 2843567"/>
                    <a:gd name="connsiteY3" fmla="*/ 340469 h 1507788"/>
                    <a:gd name="connsiteX4" fmla="*/ 2279677 w 2843567"/>
                    <a:gd name="connsiteY4" fmla="*/ 261837 h 1507788"/>
                    <a:gd name="connsiteX5" fmla="*/ 1935805 w 2843567"/>
                    <a:gd name="connsiteY5" fmla="*/ 233464 h 1507788"/>
                    <a:gd name="connsiteX6" fmla="*/ 1819073 w 2843567"/>
                    <a:gd name="connsiteY6" fmla="*/ 155643 h 1507788"/>
                    <a:gd name="connsiteX7" fmla="*/ 1682885 w 2843567"/>
                    <a:gd name="connsiteY7" fmla="*/ 48639 h 1507788"/>
                    <a:gd name="connsiteX8" fmla="*/ 1605064 w 2843567"/>
                    <a:gd name="connsiteY8" fmla="*/ 0 h 1507788"/>
                    <a:gd name="connsiteX9" fmla="*/ 1342417 w 2843567"/>
                    <a:gd name="connsiteY9" fmla="*/ 29183 h 1507788"/>
                    <a:gd name="connsiteX10" fmla="*/ 914400 w 2843567"/>
                    <a:gd name="connsiteY10" fmla="*/ 175098 h 1507788"/>
                    <a:gd name="connsiteX11" fmla="*/ 554477 w 2843567"/>
                    <a:gd name="connsiteY11" fmla="*/ 340469 h 1507788"/>
                    <a:gd name="connsiteX12" fmla="*/ 165371 w 2843567"/>
                    <a:gd name="connsiteY12" fmla="*/ 554477 h 1507788"/>
                    <a:gd name="connsiteX13" fmla="*/ 116732 w 2843567"/>
                    <a:gd name="connsiteY13" fmla="*/ 671209 h 1507788"/>
                    <a:gd name="connsiteX14" fmla="*/ 145915 w 2843567"/>
                    <a:gd name="connsiteY14" fmla="*/ 739303 h 1507788"/>
                    <a:gd name="connsiteX15" fmla="*/ 223736 w 2843567"/>
                    <a:gd name="connsiteY15" fmla="*/ 787941 h 1507788"/>
                    <a:gd name="connsiteX16" fmla="*/ 77822 w 2843567"/>
                    <a:gd name="connsiteY16" fmla="*/ 817124 h 1507788"/>
                    <a:gd name="connsiteX17" fmla="*/ 9728 w 2843567"/>
                    <a:gd name="connsiteY17" fmla="*/ 865762 h 1507788"/>
                    <a:gd name="connsiteX18" fmla="*/ 0 w 2843567"/>
                    <a:gd name="connsiteY18" fmla="*/ 1001949 h 1507788"/>
                    <a:gd name="connsiteX19" fmla="*/ 48639 w 2843567"/>
                    <a:gd name="connsiteY19" fmla="*/ 1070043 h 1507788"/>
                    <a:gd name="connsiteX20" fmla="*/ 165371 w 2843567"/>
                    <a:gd name="connsiteY20" fmla="*/ 1079771 h 1507788"/>
                    <a:gd name="connsiteX21" fmla="*/ 262647 w 2843567"/>
                    <a:gd name="connsiteY21" fmla="*/ 1070043 h 1507788"/>
                    <a:gd name="connsiteX22" fmla="*/ 282102 w 2843567"/>
                    <a:gd name="connsiteY22" fmla="*/ 1177047 h 1507788"/>
                    <a:gd name="connsiteX23" fmla="*/ 321013 w 2843567"/>
                    <a:gd name="connsiteY23" fmla="*/ 1245141 h 1507788"/>
                    <a:gd name="connsiteX24" fmla="*/ 418290 w 2843567"/>
                    <a:gd name="connsiteY24" fmla="*/ 1264596 h 1507788"/>
                    <a:gd name="connsiteX25" fmla="*/ 544749 w 2843567"/>
                    <a:gd name="connsiteY25" fmla="*/ 1284052 h 1507788"/>
                    <a:gd name="connsiteX26" fmla="*/ 642026 w 2843567"/>
                    <a:gd name="connsiteY26" fmla="*/ 1274324 h 1507788"/>
                    <a:gd name="connsiteX27" fmla="*/ 642026 w 2843567"/>
                    <a:gd name="connsiteY27" fmla="*/ 1352145 h 1507788"/>
                    <a:gd name="connsiteX28" fmla="*/ 661481 w 2843567"/>
                    <a:gd name="connsiteY28" fmla="*/ 1449422 h 1507788"/>
                    <a:gd name="connsiteX29" fmla="*/ 739302 w 2843567"/>
                    <a:gd name="connsiteY29" fmla="*/ 1478605 h 1507788"/>
                    <a:gd name="connsiteX30" fmla="*/ 924128 w 2843567"/>
                    <a:gd name="connsiteY30" fmla="*/ 1507788 h 1507788"/>
                    <a:gd name="connsiteX31" fmla="*/ 1138136 w 2843567"/>
                    <a:gd name="connsiteY31" fmla="*/ 1488332 h 1507788"/>
                    <a:gd name="connsiteX32" fmla="*/ 1332690 w 2843567"/>
                    <a:gd name="connsiteY32" fmla="*/ 1468877 h 1507788"/>
                    <a:gd name="connsiteX33" fmla="*/ 1556426 w 2843567"/>
                    <a:gd name="connsiteY33" fmla="*/ 1410511 h 1507788"/>
                    <a:gd name="connsiteX34" fmla="*/ 1702341 w 2843567"/>
                    <a:gd name="connsiteY34" fmla="*/ 1371600 h 1507788"/>
                    <a:gd name="connsiteX35" fmla="*/ 1964988 w 2843567"/>
                    <a:gd name="connsiteY35" fmla="*/ 1352145 h 1507788"/>
                    <a:gd name="connsiteX36" fmla="*/ 2159541 w 2843567"/>
                    <a:gd name="connsiteY36" fmla="*/ 1303507 h 1507788"/>
                    <a:gd name="connsiteX37" fmla="*/ 2247090 w 2843567"/>
                    <a:gd name="connsiteY37" fmla="*/ 1254869 h 1507788"/>
                    <a:gd name="connsiteX38" fmla="*/ 2626468 w 2843567"/>
                    <a:gd name="connsiteY38" fmla="*/ 1245141 h 1507788"/>
                    <a:gd name="connsiteX39" fmla="*/ 2840477 w 2843567"/>
                    <a:gd name="connsiteY39" fmla="*/ 1342417 h 150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843567" h="1507788">
                      <a:moveTo>
                        <a:pt x="2840477" y="1342417"/>
                      </a:moveTo>
                      <a:lnTo>
                        <a:pt x="2733473" y="914400"/>
                      </a:lnTo>
                      <a:lnTo>
                        <a:pt x="2548647" y="603115"/>
                      </a:lnTo>
                      <a:lnTo>
                        <a:pt x="2344366" y="340469"/>
                      </a:lnTo>
                      <a:lnTo>
                        <a:pt x="2279677" y="261837"/>
                      </a:lnTo>
                      <a:cubicBezTo>
                        <a:pt x="2108595" y="281578"/>
                        <a:pt x="2019042" y="316710"/>
                        <a:pt x="1935805" y="233464"/>
                      </a:cubicBezTo>
                      <a:lnTo>
                        <a:pt x="1819073" y="155643"/>
                      </a:lnTo>
                      <a:lnTo>
                        <a:pt x="1682885" y="48639"/>
                      </a:lnTo>
                      <a:lnTo>
                        <a:pt x="1605064" y="0"/>
                      </a:lnTo>
                      <a:lnTo>
                        <a:pt x="1342417" y="29183"/>
                      </a:lnTo>
                      <a:lnTo>
                        <a:pt x="914400" y="175098"/>
                      </a:lnTo>
                      <a:lnTo>
                        <a:pt x="554477" y="340469"/>
                      </a:lnTo>
                      <a:cubicBezTo>
                        <a:pt x="172274" y="556070"/>
                        <a:pt x="320291" y="554477"/>
                        <a:pt x="165371" y="554477"/>
                      </a:cubicBezTo>
                      <a:lnTo>
                        <a:pt x="116732" y="671209"/>
                      </a:lnTo>
                      <a:lnTo>
                        <a:pt x="145915" y="739303"/>
                      </a:lnTo>
                      <a:lnTo>
                        <a:pt x="223736" y="787941"/>
                      </a:lnTo>
                      <a:lnTo>
                        <a:pt x="77822" y="817124"/>
                      </a:lnTo>
                      <a:cubicBezTo>
                        <a:pt x="16965" y="867838"/>
                        <a:pt x="44781" y="865762"/>
                        <a:pt x="9728" y="865762"/>
                      </a:cubicBezTo>
                      <a:lnTo>
                        <a:pt x="0" y="1001949"/>
                      </a:lnTo>
                      <a:lnTo>
                        <a:pt x="48639" y="1070043"/>
                      </a:lnTo>
                      <a:lnTo>
                        <a:pt x="165371" y="1079771"/>
                      </a:lnTo>
                      <a:lnTo>
                        <a:pt x="262647" y="1070043"/>
                      </a:lnTo>
                      <a:lnTo>
                        <a:pt x="282102" y="1177047"/>
                      </a:lnTo>
                      <a:lnTo>
                        <a:pt x="321013" y="1245141"/>
                      </a:lnTo>
                      <a:cubicBezTo>
                        <a:pt x="411727" y="1265299"/>
                        <a:pt x="378667" y="1264596"/>
                        <a:pt x="418290" y="1264596"/>
                      </a:cubicBezTo>
                      <a:lnTo>
                        <a:pt x="544749" y="1284052"/>
                      </a:lnTo>
                      <a:lnTo>
                        <a:pt x="642026" y="1274324"/>
                      </a:lnTo>
                      <a:lnTo>
                        <a:pt x="642026" y="1352145"/>
                      </a:lnTo>
                      <a:lnTo>
                        <a:pt x="661481" y="1449422"/>
                      </a:lnTo>
                      <a:lnTo>
                        <a:pt x="739302" y="1478605"/>
                      </a:lnTo>
                      <a:lnTo>
                        <a:pt x="924128" y="1507788"/>
                      </a:lnTo>
                      <a:lnTo>
                        <a:pt x="1138136" y="1488332"/>
                      </a:lnTo>
                      <a:lnTo>
                        <a:pt x="1332690" y="1468877"/>
                      </a:lnTo>
                      <a:lnTo>
                        <a:pt x="1556426" y="1410511"/>
                      </a:lnTo>
                      <a:lnTo>
                        <a:pt x="1702341" y="1371600"/>
                      </a:lnTo>
                      <a:lnTo>
                        <a:pt x="1964988" y="1352145"/>
                      </a:lnTo>
                      <a:lnTo>
                        <a:pt x="2159541" y="1303507"/>
                      </a:lnTo>
                      <a:lnTo>
                        <a:pt x="2247090" y="1254869"/>
                      </a:lnTo>
                      <a:lnTo>
                        <a:pt x="2626468" y="1245141"/>
                      </a:lnTo>
                      <a:cubicBezTo>
                        <a:pt x="2843567" y="1314217"/>
                        <a:pt x="2765617" y="1313234"/>
                        <a:pt x="2840477" y="134241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10" name="Freeform 209"/>
                <p:cNvSpPr/>
                <p:nvPr/>
              </p:nvSpPr>
              <p:spPr>
                <a:xfrm>
                  <a:off x="2994660" y="12489180"/>
                  <a:ext cx="1173480" cy="480060"/>
                </a:xfrm>
                <a:custGeom>
                  <a:avLst/>
                  <a:gdLst>
                    <a:gd name="connsiteX0" fmla="*/ 0 w 1173480"/>
                    <a:gd name="connsiteY0" fmla="*/ 480060 h 480060"/>
                    <a:gd name="connsiteX1" fmla="*/ 243840 w 1173480"/>
                    <a:gd name="connsiteY1" fmla="*/ 426720 h 480060"/>
                    <a:gd name="connsiteX2" fmla="*/ 480060 w 1173480"/>
                    <a:gd name="connsiteY2" fmla="*/ 312420 h 480060"/>
                    <a:gd name="connsiteX3" fmla="*/ 769620 w 1173480"/>
                    <a:gd name="connsiteY3" fmla="*/ 190500 h 480060"/>
                    <a:gd name="connsiteX4" fmla="*/ 1074420 w 1173480"/>
                    <a:gd name="connsiteY4" fmla="*/ 68580 h 480060"/>
                    <a:gd name="connsiteX5" fmla="*/ 1173480 w 1173480"/>
                    <a:gd name="connsiteY5" fmla="*/ 0 h 480060"/>
                    <a:gd name="connsiteX6" fmla="*/ 1112520 w 1173480"/>
                    <a:gd name="connsiteY6" fmla="*/ 91440 h 480060"/>
                    <a:gd name="connsiteX7" fmla="*/ 739140 w 1173480"/>
                    <a:gd name="connsiteY7" fmla="*/ 228600 h 480060"/>
                    <a:gd name="connsiteX8" fmla="*/ 632460 w 1173480"/>
                    <a:gd name="connsiteY8" fmla="*/ 274320 h 480060"/>
                    <a:gd name="connsiteX9" fmla="*/ 259080 w 1173480"/>
                    <a:gd name="connsiteY9" fmla="*/ 441960 h 480060"/>
                    <a:gd name="connsiteX10" fmla="*/ 0 w 1173480"/>
                    <a:gd name="connsiteY10" fmla="*/ 480060 h 480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3480" h="480060">
                      <a:moveTo>
                        <a:pt x="0" y="480060"/>
                      </a:moveTo>
                      <a:lnTo>
                        <a:pt x="243840" y="426720"/>
                      </a:lnTo>
                      <a:lnTo>
                        <a:pt x="480060" y="312420"/>
                      </a:lnTo>
                      <a:lnTo>
                        <a:pt x="769620" y="190500"/>
                      </a:lnTo>
                      <a:lnTo>
                        <a:pt x="1074420" y="68580"/>
                      </a:lnTo>
                      <a:lnTo>
                        <a:pt x="1173480" y="0"/>
                      </a:lnTo>
                      <a:lnTo>
                        <a:pt x="1112520" y="91440"/>
                      </a:lnTo>
                      <a:lnTo>
                        <a:pt x="739140" y="228600"/>
                      </a:lnTo>
                      <a:lnTo>
                        <a:pt x="632460" y="274320"/>
                      </a:lnTo>
                      <a:lnTo>
                        <a:pt x="259080" y="441960"/>
                      </a:lnTo>
                      <a:lnTo>
                        <a:pt x="0" y="48006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11" name="Freeform 210"/>
                <p:cNvSpPr/>
                <p:nvPr/>
              </p:nvSpPr>
              <p:spPr>
                <a:xfrm>
                  <a:off x="3037880" y="12885420"/>
                  <a:ext cx="1262876" cy="373829"/>
                </a:xfrm>
                <a:custGeom>
                  <a:avLst/>
                  <a:gdLst>
                    <a:gd name="connsiteX0" fmla="*/ 2500 w 1262876"/>
                    <a:gd name="connsiteY0" fmla="*/ 365760 h 373829"/>
                    <a:gd name="connsiteX1" fmla="*/ 330160 w 1262876"/>
                    <a:gd name="connsiteY1" fmla="*/ 304800 h 373829"/>
                    <a:gd name="connsiteX2" fmla="*/ 452080 w 1262876"/>
                    <a:gd name="connsiteY2" fmla="*/ 304800 h 373829"/>
                    <a:gd name="connsiteX3" fmla="*/ 794980 w 1262876"/>
                    <a:gd name="connsiteY3" fmla="*/ 190500 h 373829"/>
                    <a:gd name="connsiteX4" fmla="*/ 1061680 w 1262876"/>
                    <a:gd name="connsiteY4" fmla="*/ 106680 h 373829"/>
                    <a:gd name="connsiteX5" fmla="*/ 1229320 w 1262876"/>
                    <a:gd name="connsiteY5" fmla="*/ 0 h 373829"/>
                    <a:gd name="connsiteX6" fmla="*/ 1229320 w 1262876"/>
                    <a:gd name="connsiteY6" fmla="*/ 0 h 373829"/>
                    <a:gd name="connsiteX7" fmla="*/ 1198840 w 1262876"/>
                    <a:gd name="connsiteY7" fmla="*/ 68580 h 373829"/>
                    <a:gd name="connsiteX8" fmla="*/ 1236940 w 1262876"/>
                    <a:gd name="connsiteY8" fmla="*/ 99060 h 373829"/>
                    <a:gd name="connsiteX9" fmla="*/ 1107400 w 1262876"/>
                    <a:gd name="connsiteY9" fmla="*/ 114300 h 373829"/>
                    <a:gd name="connsiteX10" fmla="*/ 894040 w 1262876"/>
                    <a:gd name="connsiteY10" fmla="*/ 182880 h 373829"/>
                    <a:gd name="connsiteX11" fmla="*/ 459700 w 1262876"/>
                    <a:gd name="connsiteY11" fmla="*/ 335280 h 373829"/>
                    <a:gd name="connsiteX12" fmla="*/ 467320 w 1262876"/>
                    <a:gd name="connsiteY12" fmla="*/ 335280 h 373829"/>
                    <a:gd name="connsiteX13" fmla="*/ 307300 w 1262876"/>
                    <a:gd name="connsiteY13" fmla="*/ 320040 h 373829"/>
                    <a:gd name="connsiteX14" fmla="*/ 2500 w 1262876"/>
                    <a:gd name="connsiteY14" fmla="*/ 373380 h 373829"/>
                    <a:gd name="connsiteX15" fmla="*/ 2500 w 1262876"/>
                    <a:gd name="connsiteY15" fmla="*/ 365760 h 37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62876" h="373829">
                      <a:moveTo>
                        <a:pt x="2500" y="365760"/>
                      </a:moveTo>
                      <a:lnTo>
                        <a:pt x="330160" y="304800"/>
                      </a:lnTo>
                      <a:lnTo>
                        <a:pt x="452080" y="304800"/>
                      </a:lnTo>
                      <a:lnTo>
                        <a:pt x="794980" y="190500"/>
                      </a:lnTo>
                      <a:lnTo>
                        <a:pt x="1061680" y="106680"/>
                      </a:lnTo>
                      <a:lnTo>
                        <a:pt x="1229320" y="0"/>
                      </a:lnTo>
                      <a:lnTo>
                        <a:pt x="1229320" y="0"/>
                      </a:lnTo>
                      <a:lnTo>
                        <a:pt x="1198840" y="68580"/>
                      </a:lnTo>
                      <a:cubicBezTo>
                        <a:pt x="1246673" y="100469"/>
                        <a:pt x="1262876" y="99060"/>
                        <a:pt x="1236940" y="99060"/>
                      </a:cubicBezTo>
                      <a:cubicBezTo>
                        <a:pt x="1112500" y="114615"/>
                        <a:pt x="1155976" y="114300"/>
                        <a:pt x="1107400" y="114300"/>
                      </a:cubicBezTo>
                      <a:lnTo>
                        <a:pt x="894040" y="182880"/>
                      </a:lnTo>
                      <a:lnTo>
                        <a:pt x="459700" y="335280"/>
                      </a:lnTo>
                      <a:cubicBezTo>
                        <a:pt x="457308" y="336134"/>
                        <a:pt x="464780" y="335280"/>
                        <a:pt x="467320" y="335280"/>
                      </a:cubicBezTo>
                      <a:lnTo>
                        <a:pt x="307300" y="320040"/>
                      </a:lnTo>
                      <a:lnTo>
                        <a:pt x="2500" y="373380"/>
                      </a:lnTo>
                      <a:cubicBezTo>
                        <a:pt x="0" y="373829"/>
                        <a:pt x="7580" y="373380"/>
                        <a:pt x="2500" y="36576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12" name="Freeform 211"/>
                <p:cNvSpPr/>
                <p:nvPr/>
              </p:nvSpPr>
              <p:spPr>
                <a:xfrm>
                  <a:off x="3429000" y="13281660"/>
                  <a:ext cx="944880" cy="198120"/>
                </a:xfrm>
                <a:custGeom>
                  <a:avLst/>
                  <a:gdLst>
                    <a:gd name="connsiteX0" fmla="*/ 0 w 944880"/>
                    <a:gd name="connsiteY0" fmla="*/ 198120 h 198120"/>
                    <a:gd name="connsiteX1" fmla="*/ 381000 w 944880"/>
                    <a:gd name="connsiteY1" fmla="*/ 175260 h 198120"/>
                    <a:gd name="connsiteX2" fmla="*/ 655320 w 944880"/>
                    <a:gd name="connsiteY2" fmla="*/ 76200 h 198120"/>
                    <a:gd name="connsiteX3" fmla="*/ 868680 w 944880"/>
                    <a:gd name="connsiteY3" fmla="*/ 7620 h 198120"/>
                    <a:gd name="connsiteX4" fmla="*/ 944880 w 944880"/>
                    <a:gd name="connsiteY4" fmla="*/ 0 h 198120"/>
                    <a:gd name="connsiteX5" fmla="*/ 822960 w 944880"/>
                    <a:gd name="connsiteY5" fmla="*/ 53340 h 198120"/>
                    <a:gd name="connsiteX6" fmla="*/ 480060 w 944880"/>
                    <a:gd name="connsiteY6" fmla="*/ 160020 h 198120"/>
                    <a:gd name="connsiteX7" fmla="*/ 335280 w 944880"/>
                    <a:gd name="connsiteY7" fmla="*/ 190500 h 198120"/>
                    <a:gd name="connsiteX8" fmla="*/ 0 w 944880"/>
                    <a:gd name="connsiteY8" fmla="*/ 198120 h 198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4880" h="198120">
                      <a:moveTo>
                        <a:pt x="0" y="198120"/>
                      </a:moveTo>
                      <a:lnTo>
                        <a:pt x="381000" y="175260"/>
                      </a:lnTo>
                      <a:lnTo>
                        <a:pt x="655320" y="76200"/>
                      </a:lnTo>
                      <a:lnTo>
                        <a:pt x="868680" y="7620"/>
                      </a:lnTo>
                      <a:lnTo>
                        <a:pt x="944880" y="0"/>
                      </a:lnTo>
                      <a:lnTo>
                        <a:pt x="822960" y="53340"/>
                      </a:lnTo>
                      <a:lnTo>
                        <a:pt x="480060" y="160020"/>
                      </a:lnTo>
                      <a:lnTo>
                        <a:pt x="335280" y="190500"/>
                      </a:lnTo>
                      <a:lnTo>
                        <a:pt x="0" y="19812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13" name="Freeform 212"/>
                <p:cNvSpPr/>
                <p:nvPr/>
              </p:nvSpPr>
              <p:spPr>
                <a:xfrm>
                  <a:off x="4389120" y="12275820"/>
                  <a:ext cx="1202020" cy="1240120"/>
                </a:xfrm>
                <a:custGeom>
                  <a:avLst/>
                  <a:gdLst>
                    <a:gd name="connsiteX0" fmla="*/ 0 w 1202020"/>
                    <a:gd name="connsiteY0" fmla="*/ 0 h 1240120"/>
                    <a:gd name="connsiteX1" fmla="*/ 0 w 1202020"/>
                    <a:gd name="connsiteY1" fmla="*/ 190500 h 1240120"/>
                    <a:gd name="connsiteX2" fmla="*/ 91440 w 1202020"/>
                    <a:gd name="connsiteY2" fmla="*/ 403860 h 1240120"/>
                    <a:gd name="connsiteX3" fmla="*/ 137160 w 1202020"/>
                    <a:gd name="connsiteY3" fmla="*/ 586740 h 1240120"/>
                    <a:gd name="connsiteX4" fmla="*/ 137160 w 1202020"/>
                    <a:gd name="connsiteY4" fmla="*/ 655320 h 1240120"/>
                    <a:gd name="connsiteX5" fmla="*/ 220980 w 1202020"/>
                    <a:gd name="connsiteY5" fmla="*/ 830580 h 1240120"/>
                    <a:gd name="connsiteX6" fmla="*/ 220980 w 1202020"/>
                    <a:gd name="connsiteY6" fmla="*/ 1036320 h 1240120"/>
                    <a:gd name="connsiteX7" fmla="*/ 358140 w 1202020"/>
                    <a:gd name="connsiteY7" fmla="*/ 1173480 h 1240120"/>
                    <a:gd name="connsiteX8" fmla="*/ 609600 w 1202020"/>
                    <a:gd name="connsiteY8" fmla="*/ 1120140 h 1240120"/>
                    <a:gd name="connsiteX9" fmla="*/ 830580 w 1202020"/>
                    <a:gd name="connsiteY9" fmla="*/ 1104900 h 1240120"/>
                    <a:gd name="connsiteX10" fmla="*/ 1104900 w 1202020"/>
                    <a:gd name="connsiteY10" fmla="*/ 1127760 h 1240120"/>
                    <a:gd name="connsiteX11" fmla="*/ 1196340 w 1202020"/>
                    <a:gd name="connsiteY11" fmla="*/ 1234440 h 1240120"/>
                    <a:gd name="connsiteX12" fmla="*/ 1188720 w 1202020"/>
                    <a:gd name="connsiteY12" fmla="*/ 1211580 h 1240120"/>
                    <a:gd name="connsiteX13" fmla="*/ 1104900 w 1202020"/>
                    <a:gd name="connsiteY13" fmla="*/ 822960 h 1240120"/>
                    <a:gd name="connsiteX14" fmla="*/ 960120 w 1202020"/>
                    <a:gd name="connsiteY14" fmla="*/ 990600 h 1240120"/>
                    <a:gd name="connsiteX15" fmla="*/ 708660 w 1202020"/>
                    <a:gd name="connsiteY15" fmla="*/ 990600 h 1240120"/>
                    <a:gd name="connsiteX16" fmla="*/ 640080 w 1202020"/>
                    <a:gd name="connsiteY16" fmla="*/ 815340 h 1240120"/>
                    <a:gd name="connsiteX17" fmla="*/ 472440 w 1202020"/>
                    <a:gd name="connsiteY17" fmla="*/ 594360 h 1240120"/>
                    <a:gd name="connsiteX18" fmla="*/ 304800 w 1202020"/>
                    <a:gd name="connsiteY18" fmla="*/ 182880 h 1240120"/>
                    <a:gd name="connsiteX19" fmla="*/ 0 w 1202020"/>
                    <a:gd name="connsiteY19" fmla="*/ 0 h 1240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02020" h="1240120">
                      <a:moveTo>
                        <a:pt x="0" y="0"/>
                      </a:moveTo>
                      <a:lnTo>
                        <a:pt x="0" y="190500"/>
                      </a:lnTo>
                      <a:lnTo>
                        <a:pt x="91440" y="403860"/>
                      </a:lnTo>
                      <a:lnTo>
                        <a:pt x="137160" y="586740"/>
                      </a:lnTo>
                      <a:lnTo>
                        <a:pt x="137160" y="655320"/>
                      </a:lnTo>
                      <a:lnTo>
                        <a:pt x="220980" y="830580"/>
                      </a:lnTo>
                      <a:cubicBezTo>
                        <a:pt x="213266" y="1038858"/>
                        <a:pt x="144733" y="1036320"/>
                        <a:pt x="220980" y="1036320"/>
                      </a:cubicBezTo>
                      <a:lnTo>
                        <a:pt x="358140" y="1173480"/>
                      </a:lnTo>
                      <a:lnTo>
                        <a:pt x="609600" y="1120140"/>
                      </a:lnTo>
                      <a:lnTo>
                        <a:pt x="830580" y="1104900"/>
                      </a:lnTo>
                      <a:lnTo>
                        <a:pt x="1104900" y="1127760"/>
                      </a:lnTo>
                      <a:cubicBezTo>
                        <a:pt x="1135380" y="1163320"/>
                        <a:pt x="1163222" y="1201322"/>
                        <a:pt x="1196340" y="1234440"/>
                      </a:cubicBezTo>
                      <a:cubicBezTo>
                        <a:pt x="1202020" y="1240120"/>
                        <a:pt x="1188720" y="1211580"/>
                        <a:pt x="1188720" y="1211580"/>
                      </a:cubicBezTo>
                      <a:lnTo>
                        <a:pt x="1104900" y="822960"/>
                      </a:lnTo>
                      <a:cubicBezTo>
                        <a:pt x="965402" y="985707"/>
                        <a:pt x="1017416" y="933304"/>
                        <a:pt x="960120" y="990600"/>
                      </a:cubicBezTo>
                      <a:cubicBezTo>
                        <a:pt x="706121" y="998297"/>
                        <a:pt x="708660" y="1082078"/>
                        <a:pt x="708660" y="990600"/>
                      </a:cubicBezTo>
                      <a:lnTo>
                        <a:pt x="640080" y="815340"/>
                      </a:lnTo>
                      <a:lnTo>
                        <a:pt x="472440" y="594360"/>
                      </a:lnTo>
                      <a:lnTo>
                        <a:pt x="30480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200" name="Group 148"/>
              <p:cNvGrpSpPr/>
              <p:nvPr/>
            </p:nvGrpSpPr>
            <p:grpSpPr>
              <a:xfrm>
                <a:off x="3801902" y="2217113"/>
                <a:ext cx="326514" cy="298597"/>
                <a:chOff x="-990600" y="-738187"/>
                <a:chExt cx="1719736" cy="1572700"/>
              </a:xfrm>
              <a:grpFill/>
            </p:grpSpPr>
            <p:sp>
              <p:nvSpPr>
                <p:cNvPr id="204" name="Freeform 203"/>
                <p:cNvSpPr/>
                <p:nvPr/>
              </p:nvSpPr>
              <p:spPr>
                <a:xfrm>
                  <a:off x="-990600" y="-738187"/>
                  <a:ext cx="1719736" cy="1383796"/>
                </a:xfrm>
                <a:custGeom>
                  <a:avLst/>
                  <a:gdLst>
                    <a:gd name="connsiteX0" fmla="*/ 100012 w 1719736"/>
                    <a:gd name="connsiteY0" fmla="*/ 190500 h 1383796"/>
                    <a:gd name="connsiteX1" fmla="*/ 123825 w 1719736"/>
                    <a:gd name="connsiteY1" fmla="*/ 114300 h 1383796"/>
                    <a:gd name="connsiteX2" fmla="*/ 197644 w 1719736"/>
                    <a:gd name="connsiteY2" fmla="*/ 59531 h 1383796"/>
                    <a:gd name="connsiteX3" fmla="*/ 330994 w 1719736"/>
                    <a:gd name="connsiteY3" fmla="*/ 2381 h 1383796"/>
                    <a:gd name="connsiteX4" fmla="*/ 478631 w 1719736"/>
                    <a:gd name="connsiteY4" fmla="*/ 0 h 1383796"/>
                    <a:gd name="connsiteX5" fmla="*/ 633412 w 1719736"/>
                    <a:gd name="connsiteY5" fmla="*/ 54768 h 1383796"/>
                    <a:gd name="connsiteX6" fmla="*/ 831056 w 1719736"/>
                    <a:gd name="connsiteY6" fmla="*/ 145256 h 1383796"/>
                    <a:gd name="connsiteX7" fmla="*/ 1012031 w 1719736"/>
                    <a:gd name="connsiteY7" fmla="*/ 209550 h 1383796"/>
                    <a:gd name="connsiteX8" fmla="*/ 1207294 w 1719736"/>
                    <a:gd name="connsiteY8" fmla="*/ 292893 h 1383796"/>
                    <a:gd name="connsiteX9" fmla="*/ 1283494 w 1719736"/>
                    <a:gd name="connsiteY9" fmla="*/ 354806 h 1383796"/>
                    <a:gd name="connsiteX10" fmla="*/ 1278731 w 1719736"/>
                    <a:gd name="connsiteY10" fmla="*/ 416718 h 1383796"/>
                    <a:gd name="connsiteX11" fmla="*/ 1235869 w 1719736"/>
                    <a:gd name="connsiteY11" fmla="*/ 495300 h 1383796"/>
                    <a:gd name="connsiteX12" fmla="*/ 1181100 w 1719736"/>
                    <a:gd name="connsiteY12" fmla="*/ 531018 h 1383796"/>
                    <a:gd name="connsiteX13" fmla="*/ 1271588 w 1719736"/>
                    <a:gd name="connsiteY13" fmla="*/ 554831 h 1383796"/>
                    <a:gd name="connsiteX14" fmla="*/ 1402556 w 1719736"/>
                    <a:gd name="connsiteY14" fmla="*/ 578643 h 1383796"/>
                    <a:gd name="connsiteX15" fmla="*/ 1554956 w 1719736"/>
                    <a:gd name="connsiteY15" fmla="*/ 595312 h 1383796"/>
                    <a:gd name="connsiteX16" fmla="*/ 1664494 w 1719736"/>
                    <a:gd name="connsiteY16" fmla="*/ 616743 h 1383796"/>
                    <a:gd name="connsiteX17" fmla="*/ 1719263 w 1719736"/>
                    <a:gd name="connsiteY17" fmla="*/ 692943 h 1383796"/>
                    <a:gd name="connsiteX18" fmla="*/ 1714500 w 1719736"/>
                    <a:gd name="connsiteY18" fmla="*/ 785812 h 1383796"/>
                    <a:gd name="connsiteX19" fmla="*/ 1650206 w 1719736"/>
                    <a:gd name="connsiteY19" fmla="*/ 864393 h 1383796"/>
                    <a:gd name="connsiteX20" fmla="*/ 1604963 w 1719736"/>
                    <a:gd name="connsiteY20" fmla="*/ 888206 h 1383796"/>
                    <a:gd name="connsiteX21" fmla="*/ 1609725 w 1719736"/>
                    <a:gd name="connsiteY21" fmla="*/ 964406 h 1383796"/>
                    <a:gd name="connsiteX22" fmla="*/ 1578769 w 1719736"/>
                    <a:gd name="connsiteY22" fmla="*/ 1023937 h 1383796"/>
                    <a:gd name="connsiteX23" fmla="*/ 1507331 w 1719736"/>
                    <a:gd name="connsiteY23" fmla="*/ 1042987 h 1383796"/>
                    <a:gd name="connsiteX24" fmla="*/ 1481138 w 1719736"/>
                    <a:gd name="connsiteY24" fmla="*/ 1052512 h 1383796"/>
                    <a:gd name="connsiteX25" fmla="*/ 1485900 w 1719736"/>
                    <a:gd name="connsiteY25" fmla="*/ 1112043 h 1383796"/>
                    <a:gd name="connsiteX26" fmla="*/ 1462088 w 1719736"/>
                    <a:gd name="connsiteY26" fmla="*/ 1164431 h 1383796"/>
                    <a:gd name="connsiteX27" fmla="*/ 1340644 w 1719736"/>
                    <a:gd name="connsiteY27" fmla="*/ 1254918 h 1383796"/>
                    <a:gd name="connsiteX28" fmla="*/ 1150144 w 1719736"/>
                    <a:gd name="connsiteY28" fmla="*/ 1300162 h 1383796"/>
                    <a:gd name="connsiteX29" fmla="*/ 1028700 w 1719736"/>
                    <a:gd name="connsiteY29" fmla="*/ 1312068 h 1383796"/>
                    <a:gd name="connsiteX30" fmla="*/ 847725 w 1719736"/>
                    <a:gd name="connsiteY30" fmla="*/ 1378743 h 1383796"/>
                    <a:gd name="connsiteX31" fmla="*/ 661987 w 1719736"/>
                    <a:gd name="connsiteY31" fmla="*/ 1366837 h 1383796"/>
                    <a:gd name="connsiteX32" fmla="*/ 519112 w 1719736"/>
                    <a:gd name="connsiteY32" fmla="*/ 1383506 h 1383796"/>
                    <a:gd name="connsiteX33" fmla="*/ 357187 w 1719736"/>
                    <a:gd name="connsiteY33" fmla="*/ 1352550 h 1383796"/>
                    <a:gd name="connsiteX34" fmla="*/ 261937 w 1719736"/>
                    <a:gd name="connsiteY34" fmla="*/ 1316831 h 1383796"/>
                    <a:gd name="connsiteX35" fmla="*/ 195262 w 1719736"/>
                    <a:gd name="connsiteY35" fmla="*/ 1243012 h 1383796"/>
                    <a:gd name="connsiteX36" fmla="*/ 173831 w 1719736"/>
                    <a:gd name="connsiteY36" fmla="*/ 1178718 h 1383796"/>
                    <a:gd name="connsiteX37" fmla="*/ 185737 w 1719736"/>
                    <a:gd name="connsiteY37" fmla="*/ 1100137 h 1383796"/>
                    <a:gd name="connsiteX38" fmla="*/ 157162 w 1719736"/>
                    <a:gd name="connsiteY38" fmla="*/ 1047750 h 1383796"/>
                    <a:gd name="connsiteX39" fmla="*/ 92869 w 1719736"/>
                    <a:gd name="connsiteY39" fmla="*/ 969168 h 1383796"/>
                    <a:gd name="connsiteX40" fmla="*/ 64294 w 1719736"/>
                    <a:gd name="connsiteY40" fmla="*/ 904875 h 1383796"/>
                    <a:gd name="connsiteX41" fmla="*/ 85725 w 1719736"/>
                    <a:gd name="connsiteY41" fmla="*/ 831056 h 1383796"/>
                    <a:gd name="connsiteX42" fmla="*/ 116681 w 1719736"/>
                    <a:gd name="connsiteY42" fmla="*/ 778668 h 1383796"/>
                    <a:gd name="connsiteX43" fmla="*/ 80962 w 1719736"/>
                    <a:gd name="connsiteY43" fmla="*/ 733425 h 1383796"/>
                    <a:gd name="connsiteX44" fmla="*/ 33337 w 1719736"/>
                    <a:gd name="connsiteY44" fmla="*/ 683418 h 1383796"/>
                    <a:gd name="connsiteX45" fmla="*/ 0 w 1719736"/>
                    <a:gd name="connsiteY45" fmla="*/ 619125 h 1383796"/>
                    <a:gd name="connsiteX46" fmla="*/ 2381 w 1719736"/>
                    <a:gd name="connsiteY46" fmla="*/ 554831 h 1383796"/>
                    <a:gd name="connsiteX47" fmla="*/ 40481 w 1719736"/>
                    <a:gd name="connsiteY47" fmla="*/ 502443 h 1383796"/>
                    <a:gd name="connsiteX48" fmla="*/ 102394 w 1719736"/>
                    <a:gd name="connsiteY48" fmla="*/ 452437 h 1383796"/>
                    <a:gd name="connsiteX49" fmla="*/ 133350 w 1719736"/>
                    <a:gd name="connsiteY49" fmla="*/ 385762 h 1383796"/>
                    <a:gd name="connsiteX50" fmla="*/ 126206 w 1719736"/>
                    <a:gd name="connsiteY50" fmla="*/ 304800 h 1383796"/>
                    <a:gd name="connsiteX51" fmla="*/ 100012 w 1719736"/>
                    <a:gd name="connsiteY51" fmla="*/ 190500 h 1383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719736" h="1383796">
                      <a:moveTo>
                        <a:pt x="100012" y="190500"/>
                      </a:moveTo>
                      <a:lnTo>
                        <a:pt x="123825" y="114300"/>
                      </a:lnTo>
                      <a:lnTo>
                        <a:pt x="197644" y="59531"/>
                      </a:lnTo>
                      <a:lnTo>
                        <a:pt x="330994" y="2381"/>
                      </a:lnTo>
                      <a:lnTo>
                        <a:pt x="478631" y="0"/>
                      </a:lnTo>
                      <a:lnTo>
                        <a:pt x="633412" y="54768"/>
                      </a:lnTo>
                      <a:lnTo>
                        <a:pt x="831056" y="145256"/>
                      </a:lnTo>
                      <a:lnTo>
                        <a:pt x="1012031" y="209550"/>
                      </a:lnTo>
                      <a:lnTo>
                        <a:pt x="1207294" y="292893"/>
                      </a:lnTo>
                      <a:cubicBezTo>
                        <a:pt x="1284764" y="350996"/>
                        <a:pt x="1283494" y="318293"/>
                        <a:pt x="1283494" y="354806"/>
                      </a:cubicBezTo>
                      <a:cubicBezTo>
                        <a:pt x="1278599" y="413538"/>
                        <a:pt x="1278731" y="392840"/>
                        <a:pt x="1278731" y="416718"/>
                      </a:cubicBezTo>
                      <a:lnTo>
                        <a:pt x="1235869" y="495300"/>
                      </a:lnTo>
                      <a:cubicBezTo>
                        <a:pt x="1179718" y="527037"/>
                        <a:pt x="1181100" y="505285"/>
                        <a:pt x="1181100" y="531018"/>
                      </a:cubicBezTo>
                      <a:lnTo>
                        <a:pt x="1271588" y="554831"/>
                      </a:lnTo>
                      <a:lnTo>
                        <a:pt x="1402556" y="578643"/>
                      </a:lnTo>
                      <a:lnTo>
                        <a:pt x="1554956" y="595312"/>
                      </a:lnTo>
                      <a:lnTo>
                        <a:pt x="1664494" y="616743"/>
                      </a:lnTo>
                      <a:cubicBezTo>
                        <a:pt x="1719736" y="691199"/>
                        <a:pt x="1719263" y="659923"/>
                        <a:pt x="1719263" y="692943"/>
                      </a:cubicBezTo>
                      <a:cubicBezTo>
                        <a:pt x="1714414" y="782635"/>
                        <a:pt x="1714500" y="751638"/>
                        <a:pt x="1714500" y="785812"/>
                      </a:cubicBezTo>
                      <a:lnTo>
                        <a:pt x="1650206" y="864393"/>
                      </a:lnTo>
                      <a:lnTo>
                        <a:pt x="1604963" y="888206"/>
                      </a:lnTo>
                      <a:lnTo>
                        <a:pt x="1609725" y="964406"/>
                      </a:lnTo>
                      <a:lnTo>
                        <a:pt x="1578769" y="1023937"/>
                      </a:lnTo>
                      <a:lnTo>
                        <a:pt x="1507331" y="1042987"/>
                      </a:lnTo>
                      <a:lnTo>
                        <a:pt x="1481138" y="1052512"/>
                      </a:lnTo>
                      <a:lnTo>
                        <a:pt x="1485900" y="1112043"/>
                      </a:lnTo>
                      <a:lnTo>
                        <a:pt x="1462088" y="1164431"/>
                      </a:lnTo>
                      <a:cubicBezTo>
                        <a:pt x="1421895" y="1194977"/>
                        <a:pt x="1391127" y="1254918"/>
                        <a:pt x="1340644" y="1254918"/>
                      </a:cubicBezTo>
                      <a:lnTo>
                        <a:pt x="1150144" y="1300162"/>
                      </a:lnTo>
                      <a:lnTo>
                        <a:pt x="1028700" y="1312068"/>
                      </a:lnTo>
                      <a:lnTo>
                        <a:pt x="847725" y="1378743"/>
                      </a:lnTo>
                      <a:lnTo>
                        <a:pt x="661987" y="1366837"/>
                      </a:lnTo>
                      <a:cubicBezTo>
                        <a:pt x="523892" y="1383796"/>
                        <a:pt x="571840" y="1383506"/>
                        <a:pt x="519112" y="1383506"/>
                      </a:cubicBezTo>
                      <a:cubicBezTo>
                        <a:pt x="360392" y="1352243"/>
                        <a:pt x="415344" y="1352550"/>
                        <a:pt x="357187" y="1352550"/>
                      </a:cubicBezTo>
                      <a:cubicBezTo>
                        <a:pt x="265034" y="1318598"/>
                        <a:pt x="295452" y="1333585"/>
                        <a:pt x="261937" y="1316831"/>
                      </a:cubicBezTo>
                      <a:lnTo>
                        <a:pt x="195262" y="1243012"/>
                      </a:lnTo>
                      <a:lnTo>
                        <a:pt x="173831" y="1178718"/>
                      </a:lnTo>
                      <a:lnTo>
                        <a:pt x="185737" y="1100137"/>
                      </a:lnTo>
                      <a:lnTo>
                        <a:pt x="157162" y="1047750"/>
                      </a:lnTo>
                      <a:lnTo>
                        <a:pt x="92869" y="969168"/>
                      </a:lnTo>
                      <a:lnTo>
                        <a:pt x="64294" y="904875"/>
                      </a:lnTo>
                      <a:cubicBezTo>
                        <a:pt x="86195" y="834302"/>
                        <a:pt x="85725" y="859920"/>
                        <a:pt x="85725" y="831056"/>
                      </a:cubicBezTo>
                      <a:lnTo>
                        <a:pt x="116681" y="778668"/>
                      </a:lnTo>
                      <a:lnTo>
                        <a:pt x="80962" y="733425"/>
                      </a:lnTo>
                      <a:lnTo>
                        <a:pt x="33337" y="683418"/>
                      </a:lnTo>
                      <a:lnTo>
                        <a:pt x="0" y="619125"/>
                      </a:lnTo>
                      <a:cubicBezTo>
                        <a:pt x="824" y="597695"/>
                        <a:pt x="2381" y="576277"/>
                        <a:pt x="2381" y="554831"/>
                      </a:cubicBezTo>
                      <a:lnTo>
                        <a:pt x="40481" y="502443"/>
                      </a:lnTo>
                      <a:lnTo>
                        <a:pt x="102394" y="452437"/>
                      </a:lnTo>
                      <a:lnTo>
                        <a:pt x="133350" y="385762"/>
                      </a:lnTo>
                      <a:lnTo>
                        <a:pt x="126206" y="304800"/>
                      </a:lnTo>
                      <a:lnTo>
                        <a:pt x="100012" y="1905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05" name="Freeform 204"/>
                <p:cNvSpPr/>
                <p:nvPr/>
              </p:nvSpPr>
              <p:spPr>
                <a:xfrm>
                  <a:off x="-573881" y="-438150"/>
                  <a:ext cx="759619" cy="216694"/>
                </a:xfrm>
                <a:custGeom>
                  <a:avLst/>
                  <a:gdLst>
                    <a:gd name="connsiteX0" fmla="*/ 759619 w 759619"/>
                    <a:gd name="connsiteY0" fmla="*/ 216694 h 216694"/>
                    <a:gd name="connsiteX1" fmla="*/ 581025 w 759619"/>
                    <a:gd name="connsiteY1" fmla="*/ 171450 h 216694"/>
                    <a:gd name="connsiteX2" fmla="*/ 378618 w 759619"/>
                    <a:gd name="connsiteY2" fmla="*/ 100013 h 216694"/>
                    <a:gd name="connsiteX3" fmla="*/ 195262 w 759619"/>
                    <a:gd name="connsiteY3" fmla="*/ 38100 h 216694"/>
                    <a:gd name="connsiteX4" fmla="*/ 0 w 759619"/>
                    <a:gd name="connsiteY4" fmla="*/ 0 h 216694"/>
                    <a:gd name="connsiteX5" fmla="*/ 45243 w 759619"/>
                    <a:gd name="connsiteY5" fmla="*/ 23813 h 216694"/>
                    <a:gd name="connsiteX6" fmla="*/ 138112 w 759619"/>
                    <a:gd name="connsiteY6" fmla="*/ 47625 h 216694"/>
                    <a:gd name="connsiteX7" fmla="*/ 240506 w 759619"/>
                    <a:gd name="connsiteY7" fmla="*/ 61913 h 216694"/>
                    <a:gd name="connsiteX8" fmla="*/ 421481 w 759619"/>
                    <a:gd name="connsiteY8" fmla="*/ 138113 h 216694"/>
                    <a:gd name="connsiteX9" fmla="*/ 642937 w 759619"/>
                    <a:gd name="connsiteY9" fmla="*/ 202406 h 216694"/>
                    <a:gd name="connsiteX10" fmla="*/ 759619 w 759619"/>
                    <a:gd name="connsiteY10" fmla="*/ 216694 h 216694"/>
                    <a:gd name="connsiteX0" fmla="*/ 759619 w 759619"/>
                    <a:gd name="connsiteY0" fmla="*/ 216694 h 216694"/>
                    <a:gd name="connsiteX1" fmla="*/ 581025 w 759619"/>
                    <a:gd name="connsiteY1" fmla="*/ 171450 h 216694"/>
                    <a:gd name="connsiteX2" fmla="*/ 378618 w 759619"/>
                    <a:gd name="connsiteY2" fmla="*/ 100013 h 216694"/>
                    <a:gd name="connsiteX3" fmla="*/ 195262 w 759619"/>
                    <a:gd name="connsiteY3" fmla="*/ 38100 h 216694"/>
                    <a:gd name="connsiteX4" fmla="*/ 0 w 759619"/>
                    <a:gd name="connsiteY4" fmla="*/ 0 h 216694"/>
                    <a:gd name="connsiteX5" fmla="*/ 45243 w 759619"/>
                    <a:gd name="connsiteY5" fmla="*/ 23813 h 216694"/>
                    <a:gd name="connsiteX6" fmla="*/ 138112 w 759619"/>
                    <a:gd name="connsiteY6" fmla="*/ 47625 h 216694"/>
                    <a:gd name="connsiteX7" fmla="*/ 195262 w 759619"/>
                    <a:gd name="connsiteY7" fmla="*/ 69057 h 216694"/>
                    <a:gd name="connsiteX8" fmla="*/ 421481 w 759619"/>
                    <a:gd name="connsiteY8" fmla="*/ 138113 h 216694"/>
                    <a:gd name="connsiteX9" fmla="*/ 642937 w 759619"/>
                    <a:gd name="connsiteY9" fmla="*/ 202406 h 216694"/>
                    <a:gd name="connsiteX10" fmla="*/ 759619 w 759619"/>
                    <a:gd name="connsiteY10" fmla="*/ 216694 h 216694"/>
                    <a:gd name="connsiteX0" fmla="*/ 759619 w 759619"/>
                    <a:gd name="connsiteY0" fmla="*/ 216694 h 216694"/>
                    <a:gd name="connsiteX1" fmla="*/ 581025 w 759619"/>
                    <a:gd name="connsiteY1" fmla="*/ 171450 h 216694"/>
                    <a:gd name="connsiteX2" fmla="*/ 378618 w 759619"/>
                    <a:gd name="connsiteY2" fmla="*/ 100013 h 216694"/>
                    <a:gd name="connsiteX3" fmla="*/ 195262 w 759619"/>
                    <a:gd name="connsiteY3" fmla="*/ 38100 h 216694"/>
                    <a:gd name="connsiteX4" fmla="*/ 0 w 759619"/>
                    <a:gd name="connsiteY4" fmla="*/ 0 h 216694"/>
                    <a:gd name="connsiteX5" fmla="*/ 45243 w 759619"/>
                    <a:gd name="connsiteY5" fmla="*/ 23813 h 216694"/>
                    <a:gd name="connsiteX6" fmla="*/ 138112 w 759619"/>
                    <a:gd name="connsiteY6" fmla="*/ 47625 h 216694"/>
                    <a:gd name="connsiteX7" fmla="*/ 195262 w 759619"/>
                    <a:gd name="connsiteY7" fmla="*/ 69057 h 216694"/>
                    <a:gd name="connsiteX8" fmla="*/ 421481 w 759619"/>
                    <a:gd name="connsiteY8" fmla="*/ 138113 h 216694"/>
                    <a:gd name="connsiteX9" fmla="*/ 642937 w 759619"/>
                    <a:gd name="connsiteY9" fmla="*/ 202406 h 216694"/>
                    <a:gd name="connsiteX10" fmla="*/ 759619 w 759619"/>
                    <a:gd name="connsiteY10" fmla="*/ 216694 h 216694"/>
                    <a:gd name="connsiteX0" fmla="*/ 759619 w 759619"/>
                    <a:gd name="connsiteY0" fmla="*/ 216694 h 216694"/>
                    <a:gd name="connsiteX1" fmla="*/ 581025 w 759619"/>
                    <a:gd name="connsiteY1" fmla="*/ 171450 h 216694"/>
                    <a:gd name="connsiteX2" fmla="*/ 378618 w 759619"/>
                    <a:gd name="connsiteY2" fmla="*/ 100013 h 216694"/>
                    <a:gd name="connsiteX3" fmla="*/ 195262 w 759619"/>
                    <a:gd name="connsiteY3" fmla="*/ 38100 h 216694"/>
                    <a:gd name="connsiteX4" fmla="*/ 0 w 759619"/>
                    <a:gd name="connsiteY4" fmla="*/ 0 h 216694"/>
                    <a:gd name="connsiteX5" fmla="*/ 45243 w 759619"/>
                    <a:gd name="connsiteY5" fmla="*/ 23813 h 216694"/>
                    <a:gd name="connsiteX6" fmla="*/ 138112 w 759619"/>
                    <a:gd name="connsiteY6" fmla="*/ 47625 h 216694"/>
                    <a:gd name="connsiteX7" fmla="*/ 195262 w 759619"/>
                    <a:gd name="connsiteY7" fmla="*/ 69057 h 216694"/>
                    <a:gd name="connsiteX8" fmla="*/ 421481 w 759619"/>
                    <a:gd name="connsiteY8" fmla="*/ 138113 h 216694"/>
                    <a:gd name="connsiteX9" fmla="*/ 642937 w 759619"/>
                    <a:gd name="connsiteY9" fmla="*/ 202406 h 216694"/>
                    <a:gd name="connsiteX10" fmla="*/ 759619 w 759619"/>
                    <a:gd name="connsiteY10" fmla="*/ 216694 h 216694"/>
                    <a:gd name="connsiteX0" fmla="*/ 759619 w 759619"/>
                    <a:gd name="connsiteY0" fmla="*/ 216694 h 216694"/>
                    <a:gd name="connsiteX1" fmla="*/ 581025 w 759619"/>
                    <a:gd name="connsiteY1" fmla="*/ 171450 h 216694"/>
                    <a:gd name="connsiteX2" fmla="*/ 378618 w 759619"/>
                    <a:gd name="connsiteY2" fmla="*/ 100013 h 216694"/>
                    <a:gd name="connsiteX3" fmla="*/ 195262 w 759619"/>
                    <a:gd name="connsiteY3" fmla="*/ 38100 h 216694"/>
                    <a:gd name="connsiteX4" fmla="*/ 0 w 759619"/>
                    <a:gd name="connsiteY4" fmla="*/ 0 h 216694"/>
                    <a:gd name="connsiteX5" fmla="*/ 45243 w 759619"/>
                    <a:gd name="connsiteY5" fmla="*/ 23813 h 216694"/>
                    <a:gd name="connsiteX6" fmla="*/ 128587 w 759619"/>
                    <a:gd name="connsiteY6" fmla="*/ 52388 h 216694"/>
                    <a:gd name="connsiteX7" fmla="*/ 195262 w 759619"/>
                    <a:gd name="connsiteY7" fmla="*/ 69057 h 216694"/>
                    <a:gd name="connsiteX8" fmla="*/ 421481 w 759619"/>
                    <a:gd name="connsiteY8" fmla="*/ 138113 h 216694"/>
                    <a:gd name="connsiteX9" fmla="*/ 642937 w 759619"/>
                    <a:gd name="connsiteY9" fmla="*/ 202406 h 216694"/>
                    <a:gd name="connsiteX10" fmla="*/ 759619 w 759619"/>
                    <a:gd name="connsiteY10" fmla="*/ 216694 h 216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9619" h="216694">
                      <a:moveTo>
                        <a:pt x="759619" y="216694"/>
                      </a:moveTo>
                      <a:lnTo>
                        <a:pt x="581025" y="171450"/>
                      </a:lnTo>
                      <a:lnTo>
                        <a:pt x="378618" y="100013"/>
                      </a:lnTo>
                      <a:cubicBezTo>
                        <a:pt x="317582" y="79132"/>
                        <a:pt x="259771" y="38100"/>
                        <a:pt x="195262" y="38100"/>
                      </a:cubicBezTo>
                      <a:lnTo>
                        <a:pt x="0" y="0"/>
                      </a:lnTo>
                      <a:cubicBezTo>
                        <a:pt x="43556" y="24198"/>
                        <a:pt x="26518" y="23813"/>
                        <a:pt x="45243" y="23813"/>
                      </a:cubicBezTo>
                      <a:lnTo>
                        <a:pt x="128587" y="52388"/>
                      </a:lnTo>
                      <a:lnTo>
                        <a:pt x="195262" y="69057"/>
                      </a:lnTo>
                      <a:cubicBezTo>
                        <a:pt x="274870" y="74271"/>
                        <a:pt x="337391" y="100759"/>
                        <a:pt x="421481" y="138113"/>
                      </a:cubicBezTo>
                      <a:cubicBezTo>
                        <a:pt x="495173" y="159977"/>
                        <a:pt x="566070" y="202406"/>
                        <a:pt x="642937" y="202406"/>
                      </a:cubicBezTo>
                      <a:lnTo>
                        <a:pt x="759619" y="21669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06" name="Freeform 205"/>
                <p:cNvSpPr/>
                <p:nvPr/>
              </p:nvSpPr>
              <p:spPr>
                <a:xfrm>
                  <a:off x="-583406" y="-50006"/>
                  <a:ext cx="1195387" cy="192881"/>
                </a:xfrm>
                <a:custGeom>
                  <a:avLst/>
                  <a:gdLst>
                    <a:gd name="connsiteX0" fmla="*/ 1195387 w 1195387"/>
                    <a:gd name="connsiteY0" fmla="*/ 192881 h 192881"/>
                    <a:gd name="connsiteX1" fmla="*/ 883444 w 1195387"/>
                    <a:gd name="connsiteY1" fmla="*/ 150019 h 192881"/>
                    <a:gd name="connsiteX2" fmla="*/ 628650 w 1195387"/>
                    <a:gd name="connsiteY2" fmla="*/ 97631 h 192881"/>
                    <a:gd name="connsiteX3" fmla="*/ 507206 w 1195387"/>
                    <a:gd name="connsiteY3" fmla="*/ 54769 h 192881"/>
                    <a:gd name="connsiteX4" fmla="*/ 316706 w 1195387"/>
                    <a:gd name="connsiteY4" fmla="*/ 26194 h 192881"/>
                    <a:gd name="connsiteX5" fmla="*/ 164306 w 1195387"/>
                    <a:gd name="connsiteY5" fmla="*/ 0 h 192881"/>
                    <a:gd name="connsiteX6" fmla="*/ 45243 w 1195387"/>
                    <a:gd name="connsiteY6" fmla="*/ 0 h 192881"/>
                    <a:gd name="connsiteX7" fmla="*/ 4762 w 1195387"/>
                    <a:gd name="connsiteY7" fmla="*/ 28575 h 192881"/>
                    <a:gd name="connsiteX8" fmla="*/ 0 w 1195387"/>
                    <a:gd name="connsiteY8" fmla="*/ 50006 h 192881"/>
                    <a:gd name="connsiteX9" fmla="*/ 59531 w 1195387"/>
                    <a:gd name="connsiteY9" fmla="*/ 19050 h 192881"/>
                    <a:gd name="connsiteX10" fmla="*/ 135731 w 1195387"/>
                    <a:gd name="connsiteY10" fmla="*/ 9525 h 192881"/>
                    <a:gd name="connsiteX11" fmla="*/ 369093 w 1195387"/>
                    <a:gd name="connsiteY11" fmla="*/ 45244 h 192881"/>
                    <a:gd name="connsiteX12" fmla="*/ 573881 w 1195387"/>
                    <a:gd name="connsiteY12" fmla="*/ 90487 h 192881"/>
                    <a:gd name="connsiteX13" fmla="*/ 740569 w 1195387"/>
                    <a:gd name="connsiteY13" fmla="*/ 135731 h 192881"/>
                    <a:gd name="connsiteX14" fmla="*/ 942975 w 1195387"/>
                    <a:gd name="connsiteY14" fmla="*/ 164306 h 192881"/>
                    <a:gd name="connsiteX15" fmla="*/ 1195387 w 1195387"/>
                    <a:gd name="connsiteY15" fmla="*/ 192881 h 192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95387" h="192881">
                      <a:moveTo>
                        <a:pt x="1195387" y="192881"/>
                      </a:moveTo>
                      <a:cubicBezTo>
                        <a:pt x="1091421" y="178486"/>
                        <a:pt x="988402" y="150019"/>
                        <a:pt x="883444" y="150019"/>
                      </a:cubicBezTo>
                      <a:lnTo>
                        <a:pt x="628650" y="97631"/>
                      </a:lnTo>
                      <a:lnTo>
                        <a:pt x="507206" y="54769"/>
                      </a:lnTo>
                      <a:cubicBezTo>
                        <a:pt x="443724" y="45126"/>
                        <a:pt x="380916" y="26194"/>
                        <a:pt x="316706" y="26194"/>
                      </a:cubicBezTo>
                      <a:lnTo>
                        <a:pt x="164306" y="0"/>
                      </a:lnTo>
                      <a:lnTo>
                        <a:pt x="45243" y="0"/>
                      </a:lnTo>
                      <a:lnTo>
                        <a:pt x="4762" y="28575"/>
                      </a:lnTo>
                      <a:lnTo>
                        <a:pt x="0" y="50006"/>
                      </a:lnTo>
                      <a:cubicBezTo>
                        <a:pt x="60984" y="23173"/>
                        <a:pt x="59531" y="45492"/>
                        <a:pt x="59531" y="19050"/>
                      </a:cubicBezTo>
                      <a:lnTo>
                        <a:pt x="135731" y="9525"/>
                      </a:lnTo>
                      <a:lnTo>
                        <a:pt x="369093" y="45244"/>
                      </a:lnTo>
                      <a:lnTo>
                        <a:pt x="573881" y="90487"/>
                      </a:lnTo>
                      <a:lnTo>
                        <a:pt x="740569" y="135731"/>
                      </a:lnTo>
                      <a:lnTo>
                        <a:pt x="942975" y="164306"/>
                      </a:lnTo>
                      <a:lnTo>
                        <a:pt x="1195387" y="19288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07" name="Freeform 206"/>
                <p:cNvSpPr/>
                <p:nvPr/>
              </p:nvSpPr>
              <p:spPr>
                <a:xfrm>
                  <a:off x="-593695" y="307181"/>
                  <a:ext cx="1086614" cy="78773"/>
                </a:xfrm>
                <a:custGeom>
                  <a:avLst/>
                  <a:gdLst>
                    <a:gd name="connsiteX0" fmla="*/ 1086614 w 1086614"/>
                    <a:gd name="connsiteY0" fmla="*/ 7144 h 78773"/>
                    <a:gd name="connsiteX1" fmla="*/ 922308 w 1086614"/>
                    <a:gd name="connsiteY1" fmla="*/ 9525 h 78773"/>
                    <a:gd name="connsiteX2" fmla="*/ 677039 w 1086614"/>
                    <a:gd name="connsiteY2" fmla="*/ 40482 h 78773"/>
                    <a:gd name="connsiteX3" fmla="*/ 493682 w 1086614"/>
                    <a:gd name="connsiteY3" fmla="*/ 59532 h 78773"/>
                    <a:gd name="connsiteX4" fmla="*/ 357951 w 1086614"/>
                    <a:gd name="connsiteY4" fmla="*/ 35719 h 78773"/>
                    <a:gd name="connsiteX5" fmla="*/ 215076 w 1086614"/>
                    <a:gd name="connsiteY5" fmla="*/ 33338 h 78773"/>
                    <a:gd name="connsiteX6" fmla="*/ 76964 w 1086614"/>
                    <a:gd name="connsiteY6" fmla="*/ 30957 h 78773"/>
                    <a:gd name="connsiteX7" fmla="*/ 764 w 1086614"/>
                    <a:gd name="connsiteY7" fmla="*/ 50007 h 78773"/>
                    <a:gd name="connsiteX8" fmla="*/ 29339 w 1086614"/>
                    <a:gd name="connsiteY8" fmla="*/ 30957 h 78773"/>
                    <a:gd name="connsiteX9" fmla="*/ 22195 w 1086614"/>
                    <a:gd name="connsiteY9" fmla="*/ 7144 h 78773"/>
                    <a:gd name="connsiteX10" fmla="*/ 86489 w 1086614"/>
                    <a:gd name="connsiteY10" fmla="*/ 28575 h 78773"/>
                    <a:gd name="connsiteX11" fmla="*/ 222220 w 1086614"/>
                    <a:gd name="connsiteY11" fmla="*/ 21432 h 78773"/>
                    <a:gd name="connsiteX12" fmla="*/ 412720 w 1086614"/>
                    <a:gd name="connsiteY12" fmla="*/ 23813 h 78773"/>
                    <a:gd name="connsiteX13" fmla="*/ 503207 w 1086614"/>
                    <a:gd name="connsiteY13" fmla="*/ 42863 h 78773"/>
                    <a:gd name="connsiteX14" fmla="*/ 724664 w 1086614"/>
                    <a:gd name="connsiteY14" fmla="*/ 23813 h 78773"/>
                    <a:gd name="connsiteX15" fmla="*/ 908020 w 1086614"/>
                    <a:gd name="connsiteY15" fmla="*/ 0 h 78773"/>
                    <a:gd name="connsiteX16" fmla="*/ 1086614 w 1086614"/>
                    <a:gd name="connsiteY16" fmla="*/ 7144 h 78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86614" h="78773">
                      <a:moveTo>
                        <a:pt x="1086614" y="7144"/>
                      </a:moveTo>
                      <a:lnTo>
                        <a:pt x="922308" y="9525"/>
                      </a:lnTo>
                      <a:cubicBezTo>
                        <a:pt x="840564" y="19944"/>
                        <a:pt x="759444" y="40482"/>
                        <a:pt x="677039" y="40482"/>
                      </a:cubicBezTo>
                      <a:lnTo>
                        <a:pt x="493682" y="59532"/>
                      </a:lnTo>
                      <a:cubicBezTo>
                        <a:pt x="361152" y="35435"/>
                        <a:pt x="407086" y="35719"/>
                        <a:pt x="357951" y="35719"/>
                      </a:cubicBezTo>
                      <a:lnTo>
                        <a:pt x="215076" y="33338"/>
                      </a:lnTo>
                      <a:lnTo>
                        <a:pt x="76964" y="30957"/>
                      </a:lnTo>
                      <a:cubicBezTo>
                        <a:pt x="0" y="52603"/>
                        <a:pt x="764" y="78773"/>
                        <a:pt x="764" y="50007"/>
                      </a:cubicBezTo>
                      <a:lnTo>
                        <a:pt x="29339" y="30957"/>
                      </a:lnTo>
                      <a:cubicBezTo>
                        <a:pt x="21944" y="8772"/>
                        <a:pt x="22195" y="17055"/>
                        <a:pt x="22195" y="7144"/>
                      </a:cubicBezTo>
                      <a:cubicBezTo>
                        <a:pt x="83417" y="26735"/>
                        <a:pt x="63090" y="16878"/>
                        <a:pt x="86489" y="28575"/>
                      </a:cubicBezTo>
                      <a:lnTo>
                        <a:pt x="222220" y="21432"/>
                      </a:lnTo>
                      <a:lnTo>
                        <a:pt x="412720" y="23813"/>
                      </a:lnTo>
                      <a:lnTo>
                        <a:pt x="503207" y="42863"/>
                      </a:lnTo>
                      <a:cubicBezTo>
                        <a:pt x="713527" y="23298"/>
                        <a:pt x="639438" y="23813"/>
                        <a:pt x="724664" y="23813"/>
                      </a:cubicBezTo>
                      <a:lnTo>
                        <a:pt x="908020" y="0"/>
                      </a:lnTo>
                      <a:lnTo>
                        <a:pt x="1086614" y="714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08" name="Freeform 207"/>
                <p:cNvSpPr/>
                <p:nvPr/>
              </p:nvSpPr>
              <p:spPr>
                <a:xfrm>
                  <a:off x="-700088" y="576263"/>
                  <a:ext cx="1062038" cy="258250"/>
                </a:xfrm>
                <a:custGeom>
                  <a:avLst/>
                  <a:gdLst>
                    <a:gd name="connsiteX0" fmla="*/ 0 w 1062038"/>
                    <a:gd name="connsiteY0" fmla="*/ 28575 h 258250"/>
                    <a:gd name="connsiteX1" fmla="*/ 90488 w 1062038"/>
                    <a:gd name="connsiteY1" fmla="*/ 76200 h 258250"/>
                    <a:gd name="connsiteX2" fmla="*/ 242888 w 1062038"/>
                    <a:gd name="connsiteY2" fmla="*/ 123825 h 258250"/>
                    <a:gd name="connsiteX3" fmla="*/ 361950 w 1062038"/>
                    <a:gd name="connsiteY3" fmla="*/ 171450 h 258250"/>
                    <a:gd name="connsiteX4" fmla="*/ 519113 w 1062038"/>
                    <a:gd name="connsiteY4" fmla="*/ 157162 h 258250"/>
                    <a:gd name="connsiteX5" fmla="*/ 604838 w 1062038"/>
                    <a:gd name="connsiteY5" fmla="*/ 114300 h 258250"/>
                    <a:gd name="connsiteX6" fmla="*/ 676276 w 1062038"/>
                    <a:gd name="connsiteY6" fmla="*/ 147637 h 258250"/>
                    <a:gd name="connsiteX7" fmla="*/ 800101 w 1062038"/>
                    <a:gd name="connsiteY7" fmla="*/ 257175 h 258250"/>
                    <a:gd name="connsiteX8" fmla="*/ 957263 w 1062038"/>
                    <a:gd name="connsiteY8" fmla="*/ 166687 h 258250"/>
                    <a:gd name="connsiteX9" fmla="*/ 1062038 w 1062038"/>
                    <a:gd name="connsiteY9" fmla="*/ 66675 h 258250"/>
                    <a:gd name="connsiteX10" fmla="*/ 781051 w 1062038"/>
                    <a:gd name="connsiteY10" fmla="*/ 71437 h 258250"/>
                    <a:gd name="connsiteX11" fmla="*/ 738188 w 1062038"/>
                    <a:gd name="connsiteY11" fmla="*/ 0 h 258250"/>
                    <a:gd name="connsiteX12" fmla="*/ 552450 w 1062038"/>
                    <a:gd name="connsiteY12" fmla="*/ 61912 h 258250"/>
                    <a:gd name="connsiteX13" fmla="*/ 342900 w 1062038"/>
                    <a:gd name="connsiteY13" fmla="*/ 57150 h 258250"/>
                    <a:gd name="connsiteX14" fmla="*/ 204788 w 1062038"/>
                    <a:gd name="connsiteY14" fmla="*/ 66675 h 258250"/>
                    <a:gd name="connsiteX15" fmla="*/ 71438 w 1062038"/>
                    <a:gd name="connsiteY15" fmla="*/ 33337 h 258250"/>
                    <a:gd name="connsiteX16" fmla="*/ 0 w 1062038"/>
                    <a:gd name="connsiteY16" fmla="*/ 28575 h 258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62038" h="258250">
                      <a:moveTo>
                        <a:pt x="0" y="28575"/>
                      </a:moveTo>
                      <a:cubicBezTo>
                        <a:pt x="87113" y="76971"/>
                        <a:pt x="53036" y="76200"/>
                        <a:pt x="90488" y="76200"/>
                      </a:cubicBezTo>
                      <a:lnTo>
                        <a:pt x="242888" y="123825"/>
                      </a:lnTo>
                      <a:cubicBezTo>
                        <a:pt x="358653" y="172061"/>
                        <a:pt x="315913" y="171450"/>
                        <a:pt x="361950" y="171450"/>
                      </a:cubicBezTo>
                      <a:lnTo>
                        <a:pt x="519113" y="157162"/>
                      </a:lnTo>
                      <a:lnTo>
                        <a:pt x="604838" y="114300"/>
                      </a:lnTo>
                      <a:lnTo>
                        <a:pt x="676276" y="147637"/>
                      </a:lnTo>
                      <a:cubicBezTo>
                        <a:pt x="796506" y="258250"/>
                        <a:pt x="741410" y="257175"/>
                        <a:pt x="800101" y="257175"/>
                      </a:cubicBezTo>
                      <a:lnTo>
                        <a:pt x="957263" y="166687"/>
                      </a:lnTo>
                      <a:lnTo>
                        <a:pt x="1062038" y="66675"/>
                      </a:lnTo>
                      <a:lnTo>
                        <a:pt x="781051" y="71437"/>
                      </a:lnTo>
                      <a:lnTo>
                        <a:pt x="738188" y="0"/>
                      </a:lnTo>
                      <a:lnTo>
                        <a:pt x="552450" y="61912"/>
                      </a:lnTo>
                      <a:lnTo>
                        <a:pt x="342900" y="57150"/>
                      </a:lnTo>
                      <a:lnTo>
                        <a:pt x="204788" y="66675"/>
                      </a:lnTo>
                      <a:lnTo>
                        <a:pt x="71438" y="33337"/>
                      </a:lnTo>
                      <a:lnTo>
                        <a:pt x="0" y="2857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sp>
            <p:nvSpPr>
              <p:cNvPr id="201" name="Freeform 200"/>
              <p:cNvSpPr/>
              <p:nvPr/>
            </p:nvSpPr>
            <p:spPr>
              <a:xfrm>
                <a:off x="4435088" y="2785753"/>
                <a:ext cx="107121" cy="94193"/>
              </a:xfrm>
              <a:custGeom>
                <a:avLst/>
                <a:gdLst>
                  <a:gd name="connsiteX0" fmla="*/ 0 w 564204"/>
                  <a:gd name="connsiteY0" fmla="*/ 457200 h 496111"/>
                  <a:gd name="connsiteX1" fmla="*/ 330740 w 564204"/>
                  <a:gd name="connsiteY1" fmla="*/ 496111 h 496111"/>
                  <a:gd name="connsiteX2" fmla="*/ 564204 w 564204"/>
                  <a:gd name="connsiteY2" fmla="*/ 476655 h 496111"/>
                  <a:gd name="connsiteX3" fmla="*/ 544749 w 564204"/>
                  <a:gd name="connsiteY3" fmla="*/ 136187 h 496111"/>
                  <a:gd name="connsiteX4" fmla="*/ 544749 w 564204"/>
                  <a:gd name="connsiteY4" fmla="*/ 9728 h 496111"/>
                  <a:gd name="connsiteX5" fmla="*/ 389106 w 564204"/>
                  <a:gd name="connsiteY5" fmla="*/ 0 h 496111"/>
                  <a:gd name="connsiteX6" fmla="*/ 175098 w 564204"/>
                  <a:gd name="connsiteY6" fmla="*/ 19455 h 496111"/>
                  <a:gd name="connsiteX7" fmla="*/ 0 w 564204"/>
                  <a:gd name="connsiteY7" fmla="*/ 457200 h 496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4204" h="496111">
                    <a:moveTo>
                      <a:pt x="0" y="457200"/>
                    </a:moveTo>
                    <a:cubicBezTo>
                      <a:pt x="110200" y="470558"/>
                      <a:pt x="219733" y="496111"/>
                      <a:pt x="330740" y="496111"/>
                    </a:cubicBezTo>
                    <a:lnTo>
                      <a:pt x="564204" y="476655"/>
                    </a:lnTo>
                    <a:lnTo>
                      <a:pt x="544749" y="136187"/>
                    </a:lnTo>
                    <a:lnTo>
                      <a:pt x="544749" y="9728"/>
                    </a:lnTo>
                    <a:lnTo>
                      <a:pt x="389106" y="0"/>
                    </a:lnTo>
                    <a:lnTo>
                      <a:pt x="175098" y="19455"/>
                    </a:lnTo>
                    <a:lnTo>
                      <a:pt x="0" y="4572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02" name="Freeform 201"/>
              <p:cNvSpPr/>
              <p:nvPr/>
            </p:nvSpPr>
            <p:spPr>
              <a:xfrm>
                <a:off x="4931304" y="6373283"/>
                <a:ext cx="256117" cy="351367"/>
              </a:xfrm>
              <a:custGeom>
                <a:avLst/>
                <a:gdLst>
                  <a:gd name="connsiteX0" fmla="*/ 199496 w 256117"/>
                  <a:gd name="connsiteY0" fmla="*/ 2117 h 351367"/>
                  <a:gd name="connsiteX1" fmla="*/ 250296 w 256117"/>
                  <a:gd name="connsiteY1" fmla="*/ 103717 h 351367"/>
                  <a:gd name="connsiteX2" fmla="*/ 234421 w 256117"/>
                  <a:gd name="connsiteY2" fmla="*/ 230717 h 351367"/>
                  <a:gd name="connsiteX3" fmla="*/ 199496 w 256117"/>
                  <a:gd name="connsiteY3" fmla="*/ 338667 h 351367"/>
                  <a:gd name="connsiteX4" fmla="*/ 123296 w 256117"/>
                  <a:gd name="connsiteY4" fmla="*/ 306917 h 351367"/>
                  <a:gd name="connsiteX5" fmla="*/ 18521 w 256117"/>
                  <a:gd name="connsiteY5" fmla="*/ 202142 h 351367"/>
                  <a:gd name="connsiteX6" fmla="*/ 12171 w 256117"/>
                  <a:gd name="connsiteY6" fmla="*/ 144992 h 351367"/>
                  <a:gd name="connsiteX7" fmla="*/ 53446 w 256117"/>
                  <a:gd name="connsiteY7" fmla="*/ 91017 h 351367"/>
                  <a:gd name="connsiteX8" fmla="*/ 174096 w 256117"/>
                  <a:gd name="connsiteY8" fmla="*/ 91017 h 351367"/>
                  <a:gd name="connsiteX9" fmla="*/ 199496 w 256117"/>
                  <a:gd name="connsiteY9" fmla="*/ 2117 h 351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6117" h="351367">
                    <a:moveTo>
                      <a:pt x="199496" y="2117"/>
                    </a:moveTo>
                    <a:cubicBezTo>
                      <a:pt x="212196" y="4234"/>
                      <a:pt x="244475" y="65617"/>
                      <a:pt x="250296" y="103717"/>
                    </a:cubicBezTo>
                    <a:cubicBezTo>
                      <a:pt x="256117" y="141817"/>
                      <a:pt x="242888" y="191559"/>
                      <a:pt x="234421" y="230717"/>
                    </a:cubicBezTo>
                    <a:cubicBezTo>
                      <a:pt x="225954" y="269875"/>
                      <a:pt x="218017" y="325967"/>
                      <a:pt x="199496" y="338667"/>
                    </a:cubicBezTo>
                    <a:cubicBezTo>
                      <a:pt x="180975" y="351367"/>
                      <a:pt x="153458" y="329671"/>
                      <a:pt x="123296" y="306917"/>
                    </a:cubicBezTo>
                    <a:cubicBezTo>
                      <a:pt x="93134" y="284163"/>
                      <a:pt x="37042" y="229129"/>
                      <a:pt x="18521" y="202142"/>
                    </a:cubicBezTo>
                    <a:cubicBezTo>
                      <a:pt x="0" y="175155"/>
                      <a:pt x="6350" y="163513"/>
                      <a:pt x="12171" y="144992"/>
                    </a:cubicBezTo>
                    <a:cubicBezTo>
                      <a:pt x="17992" y="126471"/>
                      <a:pt x="26459" y="100013"/>
                      <a:pt x="53446" y="91017"/>
                    </a:cubicBezTo>
                    <a:cubicBezTo>
                      <a:pt x="80433" y="82021"/>
                      <a:pt x="151871" y="106892"/>
                      <a:pt x="174096" y="91017"/>
                    </a:cubicBezTo>
                    <a:cubicBezTo>
                      <a:pt x="196321" y="75142"/>
                      <a:pt x="186796" y="0"/>
                      <a:pt x="199496" y="211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203" name="Freeform 202"/>
              <p:cNvSpPr/>
              <p:nvPr/>
            </p:nvSpPr>
            <p:spPr>
              <a:xfrm>
                <a:off x="3577167" y="6321954"/>
                <a:ext cx="437091" cy="177800"/>
              </a:xfrm>
              <a:custGeom>
                <a:avLst/>
                <a:gdLst>
                  <a:gd name="connsiteX0" fmla="*/ 32808 w 437091"/>
                  <a:gd name="connsiteY0" fmla="*/ 101071 h 177800"/>
                  <a:gd name="connsiteX1" fmla="*/ 7408 w 437091"/>
                  <a:gd name="connsiteY1" fmla="*/ 158221 h 177800"/>
                  <a:gd name="connsiteX2" fmla="*/ 77258 w 437091"/>
                  <a:gd name="connsiteY2" fmla="*/ 177271 h 177800"/>
                  <a:gd name="connsiteX3" fmla="*/ 239183 w 437091"/>
                  <a:gd name="connsiteY3" fmla="*/ 161396 h 177800"/>
                  <a:gd name="connsiteX4" fmla="*/ 353483 w 437091"/>
                  <a:gd name="connsiteY4" fmla="*/ 101071 h 177800"/>
                  <a:gd name="connsiteX5" fmla="*/ 432858 w 437091"/>
                  <a:gd name="connsiteY5" fmla="*/ 12171 h 177800"/>
                  <a:gd name="connsiteX6" fmla="*/ 378883 w 437091"/>
                  <a:gd name="connsiteY6" fmla="*/ 28046 h 177800"/>
                  <a:gd name="connsiteX7" fmla="*/ 236008 w 437091"/>
                  <a:gd name="connsiteY7" fmla="*/ 91546 h 177800"/>
                  <a:gd name="connsiteX8" fmla="*/ 80433 w 437091"/>
                  <a:gd name="connsiteY8" fmla="*/ 123296 h 177800"/>
                  <a:gd name="connsiteX9" fmla="*/ 32808 w 437091"/>
                  <a:gd name="connsiteY9" fmla="*/ 101071 h 177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7091" h="177800">
                    <a:moveTo>
                      <a:pt x="32808" y="101071"/>
                    </a:moveTo>
                    <a:cubicBezTo>
                      <a:pt x="20637" y="106892"/>
                      <a:pt x="0" y="145521"/>
                      <a:pt x="7408" y="158221"/>
                    </a:cubicBezTo>
                    <a:cubicBezTo>
                      <a:pt x="14816" y="170921"/>
                      <a:pt x="38629" y="176742"/>
                      <a:pt x="77258" y="177271"/>
                    </a:cubicBezTo>
                    <a:cubicBezTo>
                      <a:pt x="115887" y="177800"/>
                      <a:pt x="193146" y="174096"/>
                      <a:pt x="239183" y="161396"/>
                    </a:cubicBezTo>
                    <a:cubicBezTo>
                      <a:pt x="285220" y="148696"/>
                      <a:pt x="321204" y="125942"/>
                      <a:pt x="353483" y="101071"/>
                    </a:cubicBezTo>
                    <a:cubicBezTo>
                      <a:pt x="385762" y="76200"/>
                      <a:pt x="428625" y="24342"/>
                      <a:pt x="432858" y="12171"/>
                    </a:cubicBezTo>
                    <a:cubicBezTo>
                      <a:pt x="437091" y="0"/>
                      <a:pt x="411691" y="14817"/>
                      <a:pt x="378883" y="28046"/>
                    </a:cubicBezTo>
                    <a:cubicBezTo>
                      <a:pt x="346075" y="41275"/>
                      <a:pt x="285750" y="75671"/>
                      <a:pt x="236008" y="91546"/>
                    </a:cubicBezTo>
                    <a:cubicBezTo>
                      <a:pt x="186266" y="107421"/>
                      <a:pt x="107420" y="122767"/>
                      <a:pt x="80433" y="123296"/>
                    </a:cubicBezTo>
                    <a:cubicBezTo>
                      <a:pt x="53446" y="123825"/>
                      <a:pt x="44979" y="95250"/>
                      <a:pt x="32808" y="10107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184" name="Group 183"/>
            <p:cNvGrpSpPr/>
            <p:nvPr/>
          </p:nvGrpSpPr>
          <p:grpSpPr>
            <a:xfrm>
              <a:off x="3627441" y="4045747"/>
              <a:ext cx="664918" cy="1768334"/>
              <a:chOff x="3264054" y="4392978"/>
              <a:chExt cx="383762" cy="1020607"/>
            </a:xfrm>
            <a:grpFill/>
          </p:grpSpPr>
          <p:sp>
            <p:nvSpPr>
              <p:cNvPr id="185" name="Freeform 221"/>
              <p:cNvSpPr>
                <a:spLocks noEditPoints="1"/>
              </p:cNvSpPr>
              <p:nvPr/>
            </p:nvSpPr>
            <p:spPr bwMode="auto">
              <a:xfrm>
                <a:off x="3333783" y="4392978"/>
                <a:ext cx="314033" cy="1020607"/>
              </a:xfrm>
              <a:custGeom>
                <a:avLst/>
                <a:gdLst>
                  <a:gd name="T0" fmla="*/ 1231 w 1252"/>
                  <a:gd name="T1" fmla="*/ 1944 h 4069"/>
                  <a:gd name="T2" fmla="*/ 1206 w 1252"/>
                  <a:gd name="T3" fmla="*/ 1651 h 4069"/>
                  <a:gd name="T4" fmla="*/ 1151 w 1252"/>
                  <a:gd name="T5" fmla="*/ 1030 h 4069"/>
                  <a:gd name="T6" fmla="*/ 1110 w 1252"/>
                  <a:gd name="T7" fmla="*/ 772 h 4069"/>
                  <a:gd name="T8" fmla="*/ 949 w 1252"/>
                  <a:gd name="T9" fmla="*/ 676 h 4069"/>
                  <a:gd name="T10" fmla="*/ 772 w 1252"/>
                  <a:gd name="T11" fmla="*/ 570 h 4069"/>
                  <a:gd name="T12" fmla="*/ 787 w 1252"/>
                  <a:gd name="T13" fmla="*/ 474 h 4069"/>
                  <a:gd name="T14" fmla="*/ 868 w 1252"/>
                  <a:gd name="T15" fmla="*/ 328 h 4069"/>
                  <a:gd name="T16" fmla="*/ 868 w 1252"/>
                  <a:gd name="T17" fmla="*/ 272 h 4069"/>
                  <a:gd name="T18" fmla="*/ 858 w 1252"/>
                  <a:gd name="T19" fmla="*/ 96 h 4069"/>
                  <a:gd name="T20" fmla="*/ 737 w 1252"/>
                  <a:gd name="T21" fmla="*/ 5 h 4069"/>
                  <a:gd name="T22" fmla="*/ 570 w 1252"/>
                  <a:gd name="T23" fmla="*/ 20 h 4069"/>
                  <a:gd name="T24" fmla="*/ 479 w 1252"/>
                  <a:gd name="T25" fmla="*/ 146 h 4069"/>
                  <a:gd name="T26" fmla="*/ 459 w 1252"/>
                  <a:gd name="T27" fmla="*/ 277 h 4069"/>
                  <a:gd name="T28" fmla="*/ 494 w 1252"/>
                  <a:gd name="T29" fmla="*/ 439 h 4069"/>
                  <a:gd name="T30" fmla="*/ 510 w 1252"/>
                  <a:gd name="T31" fmla="*/ 530 h 4069"/>
                  <a:gd name="T32" fmla="*/ 464 w 1252"/>
                  <a:gd name="T33" fmla="*/ 611 h 4069"/>
                  <a:gd name="T34" fmla="*/ 176 w 1252"/>
                  <a:gd name="T35" fmla="*/ 732 h 4069"/>
                  <a:gd name="T36" fmla="*/ 70 w 1252"/>
                  <a:gd name="T37" fmla="*/ 1085 h 4069"/>
                  <a:gd name="T38" fmla="*/ 5 w 1252"/>
                  <a:gd name="T39" fmla="*/ 1333 h 4069"/>
                  <a:gd name="T40" fmla="*/ 25 w 1252"/>
                  <a:gd name="T41" fmla="*/ 1540 h 4069"/>
                  <a:gd name="T42" fmla="*/ 65 w 1252"/>
                  <a:gd name="T43" fmla="*/ 1802 h 4069"/>
                  <a:gd name="T44" fmla="*/ 101 w 1252"/>
                  <a:gd name="T45" fmla="*/ 1797 h 4069"/>
                  <a:gd name="T46" fmla="*/ 121 w 1252"/>
                  <a:gd name="T47" fmla="*/ 1939 h 4069"/>
                  <a:gd name="T48" fmla="*/ 257 w 1252"/>
                  <a:gd name="T49" fmla="*/ 2070 h 4069"/>
                  <a:gd name="T50" fmla="*/ 227 w 1252"/>
                  <a:gd name="T51" fmla="*/ 2772 h 4069"/>
                  <a:gd name="T52" fmla="*/ 192 w 1252"/>
                  <a:gd name="T53" fmla="*/ 3852 h 4069"/>
                  <a:gd name="T54" fmla="*/ 242 w 1252"/>
                  <a:gd name="T55" fmla="*/ 3903 h 4069"/>
                  <a:gd name="T56" fmla="*/ 182 w 1252"/>
                  <a:gd name="T57" fmla="*/ 4009 h 4069"/>
                  <a:gd name="T58" fmla="*/ 212 w 1252"/>
                  <a:gd name="T59" fmla="*/ 4059 h 4069"/>
                  <a:gd name="T60" fmla="*/ 378 w 1252"/>
                  <a:gd name="T61" fmla="*/ 4044 h 4069"/>
                  <a:gd name="T62" fmla="*/ 429 w 1252"/>
                  <a:gd name="T63" fmla="*/ 3918 h 4069"/>
                  <a:gd name="T64" fmla="*/ 469 w 1252"/>
                  <a:gd name="T65" fmla="*/ 3559 h 4069"/>
                  <a:gd name="T66" fmla="*/ 515 w 1252"/>
                  <a:gd name="T67" fmla="*/ 2999 h 4069"/>
                  <a:gd name="T68" fmla="*/ 616 w 1252"/>
                  <a:gd name="T69" fmla="*/ 2231 h 4069"/>
                  <a:gd name="T70" fmla="*/ 691 w 1252"/>
                  <a:gd name="T71" fmla="*/ 2544 h 4069"/>
                  <a:gd name="T72" fmla="*/ 747 w 1252"/>
                  <a:gd name="T73" fmla="*/ 3044 h 4069"/>
                  <a:gd name="T74" fmla="*/ 777 w 1252"/>
                  <a:gd name="T75" fmla="*/ 3847 h 4069"/>
                  <a:gd name="T76" fmla="*/ 782 w 1252"/>
                  <a:gd name="T77" fmla="*/ 3963 h 4069"/>
                  <a:gd name="T78" fmla="*/ 893 w 1252"/>
                  <a:gd name="T79" fmla="*/ 4019 h 4069"/>
                  <a:gd name="T80" fmla="*/ 1055 w 1252"/>
                  <a:gd name="T81" fmla="*/ 4059 h 4069"/>
                  <a:gd name="T82" fmla="*/ 1120 w 1252"/>
                  <a:gd name="T83" fmla="*/ 4014 h 4069"/>
                  <a:gd name="T84" fmla="*/ 1009 w 1252"/>
                  <a:gd name="T85" fmla="*/ 3893 h 4069"/>
                  <a:gd name="T86" fmla="*/ 1070 w 1252"/>
                  <a:gd name="T87" fmla="*/ 3665 h 4069"/>
                  <a:gd name="T88" fmla="*/ 1035 w 1252"/>
                  <a:gd name="T89" fmla="*/ 3403 h 4069"/>
                  <a:gd name="T90" fmla="*/ 1040 w 1252"/>
                  <a:gd name="T91" fmla="*/ 2206 h 4069"/>
                  <a:gd name="T92" fmla="*/ 1060 w 1252"/>
                  <a:gd name="T93" fmla="*/ 2009 h 4069"/>
                  <a:gd name="T94" fmla="*/ 1080 w 1252"/>
                  <a:gd name="T95" fmla="*/ 1898 h 4069"/>
                  <a:gd name="T96" fmla="*/ 1125 w 1252"/>
                  <a:gd name="T97" fmla="*/ 1999 h 4069"/>
                  <a:gd name="T98" fmla="*/ 1135 w 1252"/>
                  <a:gd name="T99" fmla="*/ 2085 h 4069"/>
                  <a:gd name="T100" fmla="*/ 1141 w 1252"/>
                  <a:gd name="T101" fmla="*/ 2156 h 4069"/>
                  <a:gd name="T102" fmla="*/ 1110 w 1252"/>
                  <a:gd name="T103" fmla="*/ 2226 h 4069"/>
                  <a:gd name="T104" fmla="*/ 1206 w 1252"/>
                  <a:gd name="T105" fmla="*/ 2201 h 4069"/>
                  <a:gd name="T106" fmla="*/ 1252 w 1252"/>
                  <a:gd name="T107" fmla="*/ 2090 h 4069"/>
                  <a:gd name="T108" fmla="*/ 237 w 1252"/>
                  <a:gd name="T109" fmla="*/ 1686 h 4069"/>
                  <a:gd name="T110" fmla="*/ 207 w 1252"/>
                  <a:gd name="T111" fmla="*/ 1752 h 4069"/>
                  <a:gd name="T112" fmla="*/ 222 w 1252"/>
                  <a:gd name="T113" fmla="*/ 1711 h 4069"/>
                  <a:gd name="T114" fmla="*/ 207 w 1252"/>
                  <a:gd name="T115" fmla="*/ 1524 h 4069"/>
                  <a:gd name="T116" fmla="*/ 197 w 1252"/>
                  <a:gd name="T117" fmla="*/ 1363 h 4069"/>
                  <a:gd name="T118" fmla="*/ 262 w 1252"/>
                  <a:gd name="T119" fmla="*/ 1232 h 40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52" h="4069">
                    <a:moveTo>
                      <a:pt x="1241" y="2014"/>
                    </a:moveTo>
                    <a:lnTo>
                      <a:pt x="1241" y="2014"/>
                    </a:lnTo>
                    <a:lnTo>
                      <a:pt x="1226" y="1969"/>
                    </a:lnTo>
                    <a:lnTo>
                      <a:pt x="1226" y="1949"/>
                    </a:lnTo>
                    <a:lnTo>
                      <a:pt x="1226" y="1949"/>
                    </a:lnTo>
                    <a:lnTo>
                      <a:pt x="1231" y="1944"/>
                    </a:lnTo>
                    <a:lnTo>
                      <a:pt x="1236" y="1933"/>
                    </a:lnTo>
                    <a:lnTo>
                      <a:pt x="1236" y="1903"/>
                    </a:lnTo>
                    <a:lnTo>
                      <a:pt x="1236" y="1858"/>
                    </a:lnTo>
                    <a:lnTo>
                      <a:pt x="1231" y="1807"/>
                    </a:lnTo>
                    <a:lnTo>
                      <a:pt x="1216" y="1706"/>
                    </a:lnTo>
                    <a:lnTo>
                      <a:pt x="1206" y="1651"/>
                    </a:lnTo>
                    <a:lnTo>
                      <a:pt x="1206" y="1651"/>
                    </a:lnTo>
                    <a:lnTo>
                      <a:pt x="1191" y="1535"/>
                    </a:lnTo>
                    <a:lnTo>
                      <a:pt x="1171" y="1343"/>
                    </a:lnTo>
                    <a:lnTo>
                      <a:pt x="1171" y="1343"/>
                    </a:lnTo>
                    <a:lnTo>
                      <a:pt x="1156" y="1161"/>
                    </a:lnTo>
                    <a:lnTo>
                      <a:pt x="1151" y="1030"/>
                    </a:lnTo>
                    <a:lnTo>
                      <a:pt x="1151" y="1030"/>
                    </a:lnTo>
                    <a:lnTo>
                      <a:pt x="1146" y="949"/>
                    </a:lnTo>
                    <a:lnTo>
                      <a:pt x="1130" y="833"/>
                    </a:lnTo>
                    <a:lnTo>
                      <a:pt x="1130" y="833"/>
                    </a:lnTo>
                    <a:lnTo>
                      <a:pt x="1120" y="797"/>
                    </a:lnTo>
                    <a:lnTo>
                      <a:pt x="1110" y="772"/>
                    </a:lnTo>
                    <a:lnTo>
                      <a:pt x="1095" y="752"/>
                    </a:lnTo>
                    <a:lnTo>
                      <a:pt x="1080" y="732"/>
                    </a:lnTo>
                    <a:lnTo>
                      <a:pt x="1045" y="706"/>
                    </a:lnTo>
                    <a:lnTo>
                      <a:pt x="1019" y="696"/>
                    </a:lnTo>
                    <a:lnTo>
                      <a:pt x="1019" y="696"/>
                    </a:lnTo>
                    <a:lnTo>
                      <a:pt x="949" y="676"/>
                    </a:lnTo>
                    <a:lnTo>
                      <a:pt x="908" y="661"/>
                    </a:lnTo>
                    <a:lnTo>
                      <a:pt x="868" y="641"/>
                    </a:lnTo>
                    <a:lnTo>
                      <a:pt x="868" y="641"/>
                    </a:lnTo>
                    <a:lnTo>
                      <a:pt x="807" y="606"/>
                    </a:lnTo>
                    <a:lnTo>
                      <a:pt x="787" y="585"/>
                    </a:lnTo>
                    <a:lnTo>
                      <a:pt x="772" y="570"/>
                    </a:lnTo>
                    <a:lnTo>
                      <a:pt x="772" y="570"/>
                    </a:lnTo>
                    <a:lnTo>
                      <a:pt x="767" y="550"/>
                    </a:lnTo>
                    <a:lnTo>
                      <a:pt x="767" y="530"/>
                    </a:lnTo>
                    <a:lnTo>
                      <a:pt x="782" y="479"/>
                    </a:lnTo>
                    <a:lnTo>
                      <a:pt x="782" y="479"/>
                    </a:lnTo>
                    <a:lnTo>
                      <a:pt x="787" y="474"/>
                    </a:lnTo>
                    <a:lnTo>
                      <a:pt x="797" y="469"/>
                    </a:lnTo>
                    <a:lnTo>
                      <a:pt x="812" y="454"/>
                    </a:lnTo>
                    <a:lnTo>
                      <a:pt x="833" y="424"/>
                    </a:lnTo>
                    <a:lnTo>
                      <a:pt x="833" y="424"/>
                    </a:lnTo>
                    <a:lnTo>
                      <a:pt x="853" y="373"/>
                    </a:lnTo>
                    <a:lnTo>
                      <a:pt x="868" y="328"/>
                    </a:lnTo>
                    <a:lnTo>
                      <a:pt x="868" y="328"/>
                    </a:lnTo>
                    <a:lnTo>
                      <a:pt x="868" y="318"/>
                    </a:lnTo>
                    <a:lnTo>
                      <a:pt x="863" y="313"/>
                    </a:lnTo>
                    <a:lnTo>
                      <a:pt x="858" y="308"/>
                    </a:lnTo>
                    <a:lnTo>
                      <a:pt x="858" y="308"/>
                    </a:lnTo>
                    <a:lnTo>
                      <a:pt x="868" y="272"/>
                    </a:lnTo>
                    <a:lnTo>
                      <a:pt x="873" y="237"/>
                    </a:lnTo>
                    <a:lnTo>
                      <a:pt x="878" y="191"/>
                    </a:lnTo>
                    <a:lnTo>
                      <a:pt x="878" y="191"/>
                    </a:lnTo>
                    <a:lnTo>
                      <a:pt x="878" y="166"/>
                    </a:lnTo>
                    <a:lnTo>
                      <a:pt x="873" y="141"/>
                    </a:lnTo>
                    <a:lnTo>
                      <a:pt x="858" y="96"/>
                    </a:lnTo>
                    <a:lnTo>
                      <a:pt x="838" y="65"/>
                    </a:lnTo>
                    <a:lnTo>
                      <a:pt x="823" y="50"/>
                    </a:lnTo>
                    <a:lnTo>
                      <a:pt x="823" y="50"/>
                    </a:lnTo>
                    <a:lnTo>
                      <a:pt x="797" y="30"/>
                    </a:lnTo>
                    <a:lnTo>
                      <a:pt x="762" y="15"/>
                    </a:lnTo>
                    <a:lnTo>
                      <a:pt x="737" y="5"/>
                    </a:lnTo>
                    <a:lnTo>
                      <a:pt x="706" y="0"/>
                    </a:lnTo>
                    <a:lnTo>
                      <a:pt x="671" y="0"/>
                    </a:lnTo>
                    <a:lnTo>
                      <a:pt x="631" y="0"/>
                    </a:lnTo>
                    <a:lnTo>
                      <a:pt x="631" y="0"/>
                    </a:lnTo>
                    <a:lnTo>
                      <a:pt x="595" y="10"/>
                    </a:lnTo>
                    <a:lnTo>
                      <a:pt x="570" y="20"/>
                    </a:lnTo>
                    <a:lnTo>
                      <a:pt x="545" y="40"/>
                    </a:lnTo>
                    <a:lnTo>
                      <a:pt x="525" y="60"/>
                    </a:lnTo>
                    <a:lnTo>
                      <a:pt x="510" y="80"/>
                    </a:lnTo>
                    <a:lnTo>
                      <a:pt x="500" y="106"/>
                    </a:lnTo>
                    <a:lnTo>
                      <a:pt x="479" y="146"/>
                    </a:lnTo>
                    <a:lnTo>
                      <a:pt x="479" y="146"/>
                    </a:lnTo>
                    <a:lnTo>
                      <a:pt x="469" y="191"/>
                    </a:lnTo>
                    <a:lnTo>
                      <a:pt x="469" y="227"/>
                    </a:lnTo>
                    <a:lnTo>
                      <a:pt x="474" y="267"/>
                    </a:lnTo>
                    <a:lnTo>
                      <a:pt x="474" y="267"/>
                    </a:lnTo>
                    <a:lnTo>
                      <a:pt x="464" y="272"/>
                    </a:lnTo>
                    <a:lnTo>
                      <a:pt x="459" y="277"/>
                    </a:lnTo>
                    <a:lnTo>
                      <a:pt x="454" y="292"/>
                    </a:lnTo>
                    <a:lnTo>
                      <a:pt x="454" y="318"/>
                    </a:lnTo>
                    <a:lnTo>
                      <a:pt x="459" y="348"/>
                    </a:lnTo>
                    <a:lnTo>
                      <a:pt x="474" y="404"/>
                    </a:lnTo>
                    <a:lnTo>
                      <a:pt x="484" y="429"/>
                    </a:lnTo>
                    <a:lnTo>
                      <a:pt x="494" y="439"/>
                    </a:lnTo>
                    <a:lnTo>
                      <a:pt x="494" y="439"/>
                    </a:lnTo>
                    <a:lnTo>
                      <a:pt x="500" y="449"/>
                    </a:lnTo>
                    <a:lnTo>
                      <a:pt x="505" y="459"/>
                    </a:lnTo>
                    <a:lnTo>
                      <a:pt x="510" y="489"/>
                    </a:lnTo>
                    <a:lnTo>
                      <a:pt x="510" y="530"/>
                    </a:lnTo>
                    <a:lnTo>
                      <a:pt x="510" y="530"/>
                    </a:lnTo>
                    <a:lnTo>
                      <a:pt x="505" y="540"/>
                    </a:lnTo>
                    <a:lnTo>
                      <a:pt x="500" y="565"/>
                    </a:lnTo>
                    <a:lnTo>
                      <a:pt x="489" y="590"/>
                    </a:lnTo>
                    <a:lnTo>
                      <a:pt x="479" y="600"/>
                    </a:lnTo>
                    <a:lnTo>
                      <a:pt x="464" y="611"/>
                    </a:lnTo>
                    <a:lnTo>
                      <a:pt x="464" y="611"/>
                    </a:lnTo>
                    <a:lnTo>
                      <a:pt x="409" y="636"/>
                    </a:lnTo>
                    <a:lnTo>
                      <a:pt x="368" y="651"/>
                    </a:lnTo>
                    <a:lnTo>
                      <a:pt x="368" y="651"/>
                    </a:lnTo>
                    <a:lnTo>
                      <a:pt x="197" y="722"/>
                    </a:lnTo>
                    <a:lnTo>
                      <a:pt x="197" y="722"/>
                    </a:lnTo>
                    <a:lnTo>
                      <a:pt x="176" y="732"/>
                    </a:lnTo>
                    <a:lnTo>
                      <a:pt x="156" y="757"/>
                    </a:lnTo>
                    <a:lnTo>
                      <a:pt x="136" y="792"/>
                    </a:lnTo>
                    <a:lnTo>
                      <a:pt x="126" y="823"/>
                    </a:lnTo>
                    <a:lnTo>
                      <a:pt x="126" y="823"/>
                    </a:lnTo>
                    <a:lnTo>
                      <a:pt x="96" y="984"/>
                    </a:lnTo>
                    <a:lnTo>
                      <a:pt x="70" y="1085"/>
                    </a:lnTo>
                    <a:lnTo>
                      <a:pt x="50" y="1156"/>
                    </a:lnTo>
                    <a:lnTo>
                      <a:pt x="50" y="1156"/>
                    </a:lnTo>
                    <a:lnTo>
                      <a:pt x="25" y="1242"/>
                    </a:lnTo>
                    <a:lnTo>
                      <a:pt x="10" y="1307"/>
                    </a:lnTo>
                    <a:lnTo>
                      <a:pt x="10" y="1307"/>
                    </a:lnTo>
                    <a:lnTo>
                      <a:pt x="5" y="1333"/>
                    </a:lnTo>
                    <a:lnTo>
                      <a:pt x="0" y="1363"/>
                    </a:lnTo>
                    <a:lnTo>
                      <a:pt x="0" y="1398"/>
                    </a:lnTo>
                    <a:lnTo>
                      <a:pt x="5" y="1423"/>
                    </a:lnTo>
                    <a:lnTo>
                      <a:pt x="5" y="1423"/>
                    </a:lnTo>
                    <a:lnTo>
                      <a:pt x="15" y="1469"/>
                    </a:lnTo>
                    <a:lnTo>
                      <a:pt x="25" y="1540"/>
                    </a:lnTo>
                    <a:lnTo>
                      <a:pt x="35" y="1656"/>
                    </a:lnTo>
                    <a:lnTo>
                      <a:pt x="35" y="1656"/>
                    </a:lnTo>
                    <a:lnTo>
                      <a:pt x="40" y="1696"/>
                    </a:lnTo>
                    <a:lnTo>
                      <a:pt x="45" y="1747"/>
                    </a:lnTo>
                    <a:lnTo>
                      <a:pt x="55" y="1792"/>
                    </a:lnTo>
                    <a:lnTo>
                      <a:pt x="65" y="1802"/>
                    </a:lnTo>
                    <a:lnTo>
                      <a:pt x="76" y="1807"/>
                    </a:lnTo>
                    <a:lnTo>
                      <a:pt x="76" y="1807"/>
                    </a:lnTo>
                    <a:lnTo>
                      <a:pt x="91" y="1797"/>
                    </a:lnTo>
                    <a:lnTo>
                      <a:pt x="96" y="1797"/>
                    </a:lnTo>
                    <a:lnTo>
                      <a:pt x="101" y="1797"/>
                    </a:lnTo>
                    <a:lnTo>
                      <a:pt x="101" y="1797"/>
                    </a:lnTo>
                    <a:lnTo>
                      <a:pt x="111" y="1812"/>
                    </a:lnTo>
                    <a:lnTo>
                      <a:pt x="111" y="1827"/>
                    </a:lnTo>
                    <a:lnTo>
                      <a:pt x="116" y="1868"/>
                    </a:lnTo>
                    <a:lnTo>
                      <a:pt x="116" y="1868"/>
                    </a:lnTo>
                    <a:lnTo>
                      <a:pt x="116" y="1908"/>
                    </a:lnTo>
                    <a:lnTo>
                      <a:pt x="121" y="1939"/>
                    </a:lnTo>
                    <a:lnTo>
                      <a:pt x="131" y="1964"/>
                    </a:lnTo>
                    <a:lnTo>
                      <a:pt x="146" y="1999"/>
                    </a:lnTo>
                    <a:lnTo>
                      <a:pt x="171" y="2024"/>
                    </a:lnTo>
                    <a:lnTo>
                      <a:pt x="207" y="2050"/>
                    </a:lnTo>
                    <a:lnTo>
                      <a:pt x="257" y="2070"/>
                    </a:lnTo>
                    <a:lnTo>
                      <a:pt x="257" y="2070"/>
                    </a:lnTo>
                    <a:lnTo>
                      <a:pt x="257" y="2267"/>
                    </a:lnTo>
                    <a:lnTo>
                      <a:pt x="257" y="2267"/>
                    </a:lnTo>
                    <a:lnTo>
                      <a:pt x="252" y="2388"/>
                    </a:lnTo>
                    <a:lnTo>
                      <a:pt x="247" y="2534"/>
                    </a:lnTo>
                    <a:lnTo>
                      <a:pt x="227" y="2772"/>
                    </a:lnTo>
                    <a:lnTo>
                      <a:pt x="227" y="2772"/>
                    </a:lnTo>
                    <a:lnTo>
                      <a:pt x="212" y="2964"/>
                    </a:lnTo>
                    <a:lnTo>
                      <a:pt x="202" y="3080"/>
                    </a:lnTo>
                    <a:lnTo>
                      <a:pt x="202" y="3206"/>
                    </a:lnTo>
                    <a:lnTo>
                      <a:pt x="202" y="3206"/>
                    </a:lnTo>
                    <a:lnTo>
                      <a:pt x="192" y="3852"/>
                    </a:lnTo>
                    <a:lnTo>
                      <a:pt x="192" y="3852"/>
                    </a:lnTo>
                    <a:lnTo>
                      <a:pt x="197" y="3872"/>
                    </a:lnTo>
                    <a:lnTo>
                      <a:pt x="202" y="3877"/>
                    </a:lnTo>
                    <a:lnTo>
                      <a:pt x="207" y="3877"/>
                    </a:lnTo>
                    <a:lnTo>
                      <a:pt x="222" y="3888"/>
                    </a:lnTo>
                    <a:lnTo>
                      <a:pt x="232" y="3893"/>
                    </a:lnTo>
                    <a:lnTo>
                      <a:pt x="242" y="3903"/>
                    </a:lnTo>
                    <a:lnTo>
                      <a:pt x="242" y="3903"/>
                    </a:lnTo>
                    <a:lnTo>
                      <a:pt x="247" y="3913"/>
                    </a:lnTo>
                    <a:lnTo>
                      <a:pt x="242" y="3918"/>
                    </a:lnTo>
                    <a:lnTo>
                      <a:pt x="232" y="3938"/>
                    </a:lnTo>
                    <a:lnTo>
                      <a:pt x="197" y="3983"/>
                    </a:lnTo>
                    <a:lnTo>
                      <a:pt x="182" y="4009"/>
                    </a:lnTo>
                    <a:lnTo>
                      <a:pt x="176" y="4029"/>
                    </a:lnTo>
                    <a:lnTo>
                      <a:pt x="176" y="4034"/>
                    </a:lnTo>
                    <a:lnTo>
                      <a:pt x="182" y="4044"/>
                    </a:lnTo>
                    <a:lnTo>
                      <a:pt x="197" y="4054"/>
                    </a:lnTo>
                    <a:lnTo>
                      <a:pt x="212" y="4059"/>
                    </a:lnTo>
                    <a:lnTo>
                      <a:pt x="212" y="4059"/>
                    </a:lnTo>
                    <a:lnTo>
                      <a:pt x="252" y="4064"/>
                    </a:lnTo>
                    <a:lnTo>
                      <a:pt x="288" y="4069"/>
                    </a:lnTo>
                    <a:lnTo>
                      <a:pt x="313" y="4069"/>
                    </a:lnTo>
                    <a:lnTo>
                      <a:pt x="338" y="4064"/>
                    </a:lnTo>
                    <a:lnTo>
                      <a:pt x="363" y="4054"/>
                    </a:lnTo>
                    <a:lnTo>
                      <a:pt x="378" y="4044"/>
                    </a:lnTo>
                    <a:lnTo>
                      <a:pt x="394" y="4034"/>
                    </a:lnTo>
                    <a:lnTo>
                      <a:pt x="404" y="4019"/>
                    </a:lnTo>
                    <a:lnTo>
                      <a:pt x="419" y="3989"/>
                    </a:lnTo>
                    <a:lnTo>
                      <a:pt x="429" y="3958"/>
                    </a:lnTo>
                    <a:lnTo>
                      <a:pt x="429" y="3918"/>
                    </a:lnTo>
                    <a:lnTo>
                      <a:pt x="429" y="3918"/>
                    </a:lnTo>
                    <a:lnTo>
                      <a:pt x="439" y="3867"/>
                    </a:lnTo>
                    <a:lnTo>
                      <a:pt x="439" y="3867"/>
                    </a:lnTo>
                    <a:lnTo>
                      <a:pt x="449" y="3842"/>
                    </a:lnTo>
                    <a:lnTo>
                      <a:pt x="454" y="3797"/>
                    </a:lnTo>
                    <a:lnTo>
                      <a:pt x="464" y="3681"/>
                    </a:lnTo>
                    <a:lnTo>
                      <a:pt x="469" y="3559"/>
                    </a:lnTo>
                    <a:lnTo>
                      <a:pt x="474" y="3473"/>
                    </a:lnTo>
                    <a:lnTo>
                      <a:pt x="474" y="3473"/>
                    </a:lnTo>
                    <a:lnTo>
                      <a:pt x="479" y="3393"/>
                    </a:lnTo>
                    <a:lnTo>
                      <a:pt x="484" y="3266"/>
                    </a:lnTo>
                    <a:lnTo>
                      <a:pt x="500" y="3130"/>
                    </a:lnTo>
                    <a:lnTo>
                      <a:pt x="515" y="2999"/>
                    </a:lnTo>
                    <a:lnTo>
                      <a:pt x="515" y="2999"/>
                    </a:lnTo>
                    <a:lnTo>
                      <a:pt x="545" y="2741"/>
                    </a:lnTo>
                    <a:lnTo>
                      <a:pt x="580" y="2454"/>
                    </a:lnTo>
                    <a:lnTo>
                      <a:pt x="580" y="2454"/>
                    </a:lnTo>
                    <a:lnTo>
                      <a:pt x="595" y="2327"/>
                    </a:lnTo>
                    <a:lnTo>
                      <a:pt x="616" y="2231"/>
                    </a:lnTo>
                    <a:lnTo>
                      <a:pt x="641" y="2146"/>
                    </a:lnTo>
                    <a:lnTo>
                      <a:pt x="641" y="2146"/>
                    </a:lnTo>
                    <a:lnTo>
                      <a:pt x="641" y="2216"/>
                    </a:lnTo>
                    <a:lnTo>
                      <a:pt x="651" y="2287"/>
                    </a:lnTo>
                    <a:lnTo>
                      <a:pt x="666" y="2423"/>
                    </a:lnTo>
                    <a:lnTo>
                      <a:pt x="691" y="2544"/>
                    </a:lnTo>
                    <a:lnTo>
                      <a:pt x="706" y="2656"/>
                    </a:lnTo>
                    <a:lnTo>
                      <a:pt x="706" y="2656"/>
                    </a:lnTo>
                    <a:lnTo>
                      <a:pt x="727" y="2888"/>
                    </a:lnTo>
                    <a:lnTo>
                      <a:pt x="737" y="2984"/>
                    </a:lnTo>
                    <a:lnTo>
                      <a:pt x="747" y="3044"/>
                    </a:lnTo>
                    <a:lnTo>
                      <a:pt x="747" y="3044"/>
                    </a:lnTo>
                    <a:lnTo>
                      <a:pt x="752" y="3085"/>
                    </a:lnTo>
                    <a:lnTo>
                      <a:pt x="757" y="3160"/>
                    </a:lnTo>
                    <a:lnTo>
                      <a:pt x="767" y="3388"/>
                    </a:lnTo>
                    <a:lnTo>
                      <a:pt x="777" y="3756"/>
                    </a:lnTo>
                    <a:lnTo>
                      <a:pt x="777" y="3756"/>
                    </a:lnTo>
                    <a:lnTo>
                      <a:pt x="777" y="3847"/>
                    </a:lnTo>
                    <a:lnTo>
                      <a:pt x="777" y="3882"/>
                    </a:lnTo>
                    <a:lnTo>
                      <a:pt x="787" y="3913"/>
                    </a:lnTo>
                    <a:lnTo>
                      <a:pt x="787" y="3913"/>
                    </a:lnTo>
                    <a:lnTo>
                      <a:pt x="787" y="3938"/>
                    </a:lnTo>
                    <a:lnTo>
                      <a:pt x="787" y="3953"/>
                    </a:lnTo>
                    <a:lnTo>
                      <a:pt x="782" y="3963"/>
                    </a:lnTo>
                    <a:lnTo>
                      <a:pt x="782" y="3978"/>
                    </a:lnTo>
                    <a:lnTo>
                      <a:pt x="782" y="3978"/>
                    </a:lnTo>
                    <a:lnTo>
                      <a:pt x="787" y="3983"/>
                    </a:lnTo>
                    <a:lnTo>
                      <a:pt x="802" y="3994"/>
                    </a:lnTo>
                    <a:lnTo>
                      <a:pt x="838" y="4004"/>
                    </a:lnTo>
                    <a:lnTo>
                      <a:pt x="893" y="4019"/>
                    </a:lnTo>
                    <a:lnTo>
                      <a:pt x="949" y="4039"/>
                    </a:lnTo>
                    <a:lnTo>
                      <a:pt x="949" y="4039"/>
                    </a:lnTo>
                    <a:lnTo>
                      <a:pt x="979" y="4049"/>
                    </a:lnTo>
                    <a:lnTo>
                      <a:pt x="1004" y="4054"/>
                    </a:lnTo>
                    <a:lnTo>
                      <a:pt x="1035" y="4059"/>
                    </a:lnTo>
                    <a:lnTo>
                      <a:pt x="1055" y="4059"/>
                    </a:lnTo>
                    <a:lnTo>
                      <a:pt x="1080" y="4054"/>
                    </a:lnTo>
                    <a:lnTo>
                      <a:pt x="1095" y="4044"/>
                    </a:lnTo>
                    <a:lnTo>
                      <a:pt x="1110" y="4039"/>
                    </a:lnTo>
                    <a:lnTo>
                      <a:pt x="1120" y="4024"/>
                    </a:lnTo>
                    <a:lnTo>
                      <a:pt x="1120" y="4024"/>
                    </a:lnTo>
                    <a:lnTo>
                      <a:pt x="1120" y="4014"/>
                    </a:lnTo>
                    <a:lnTo>
                      <a:pt x="1110" y="3994"/>
                    </a:lnTo>
                    <a:lnTo>
                      <a:pt x="1095" y="3978"/>
                    </a:lnTo>
                    <a:lnTo>
                      <a:pt x="1075" y="3958"/>
                    </a:lnTo>
                    <a:lnTo>
                      <a:pt x="1009" y="3903"/>
                    </a:lnTo>
                    <a:lnTo>
                      <a:pt x="1009" y="3903"/>
                    </a:lnTo>
                    <a:lnTo>
                      <a:pt x="1009" y="3893"/>
                    </a:lnTo>
                    <a:lnTo>
                      <a:pt x="1009" y="3877"/>
                    </a:lnTo>
                    <a:lnTo>
                      <a:pt x="1024" y="3822"/>
                    </a:lnTo>
                    <a:lnTo>
                      <a:pt x="1065" y="3706"/>
                    </a:lnTo>
                    <a:lnTo>
                      <a:pt x="1065" y="3706"/>
                    </a:lnTo>
                    <a:lnTo>
                      <a:pt x="1065" y="3686"/>
                    </a:lnTo>
                    <a:lnTo>
                      <a:pt x="1070" y="3665"/>
                    </a:lnTo>
                    <a:lnTo>
                      <a:pt x="1065" y="3625"/>
                    </a:lnTo>
                    <a:lnTo>
                      <a:pt x="1050" y="3580"/>
                    </a:lnTo>
                    <a:lnTo>
                      <a:pt x="1040" y="3514"/>
                    </a:lnTo>
                    <a:lnTo>
                      <a:pt x="1040" y="3514"/>
                    </a:lnTo>
                    <a:lnTo>
                      <a:pt x="1035" y="3468"/>
                    </a:lnTo>
                    <a:lnTo>
                      <a:pt x="1035" y="3403"/>
                    </a:lnTo>
                    <a:lnTo>
                      <a:pt x="1040" y="3256"/>
                    </a:lnTo>
                    <a:lnTo>
                      <a:pt x="1045" y="3115"/>
                    </a:lnTo>
                    <a:lnTo>
                      <a:pt x="1050" y="3014"/>
                    </a:lnTo>
                    <a:lnTo>
                      <a:pt x="1050" y="3014"/>
                    </a:lnTo>
                    <a:lnTo>
                      <a:pt x="1045" y="2605"/>
                    </a:lnTo>
                    <a:lnTo>
                      <a:pt x="1040" y="2206"/>
                    </a:lnTo>
                    <a:lnTo>
                      <a:pt x="1040" y="2206"/>
                    </a:lnTo>
                    <a:lnTo>
                      <a:pt x="1040" y="2151"/>
                    </a:lnTo>
                    <a:lnTo>
                      <a:pt x="1045" y="2100"/>
                    </a:lnTo>
                    <a:lnTo>
                      <a:pt x="1050" y="2055"/>
                    </a:lnTo>
                    <a:lnTo>
                      <a:pt x="1050" y="2055"/>
                    </a:lnTo>
                    <a:lnTo>
                      <a:pt x="1060" y="2009"/>
                    </a:lnTo>
                    <a:lnTo>
                      <a:pt x="1065" y="1954"/>
                    </a:lnTo>
                    <a:lnTo>
                      <a:pt x="1065" y="1954"/>
                    </a:lnTo>
                    <a:lnTo>
                      <a:pt x="1065" y="1923"/>
                    </a:lnTo>
                    <a:lnTo>
                      <a:pt x="1070" y="1908"/>
                    </a:lnTo>
                    <a:lnTo>
                      <a:pt x="1080" y="1898"/>
                    </a:lnTo>
                    <a:lnTo>
                      <a:pt x="1080" y="1898"/>
                    </a:lnTo>
                    <a:lnTo>
                      <a:pt x="1085" y="1928"/>
                    </a:lnTo>
                    <a:lnTo>
                      <a:pt x="1095" y="1954"/>
                    </a:lnTo>
                    <a:lnTo>
                      <a:pt x="1115" y="1979"/>
                    </a:lnTo>
                    <a:lnTo>
                      <a:pt x="1115" y="1979"/>
                    </a:lnTo>
                    <a:lnTo>
                      <a:pt x="1125" y="1989"/>
                    </a:lnTo>
                    <a:lnTo>
                      <a:pt x="1125" y="1999"/>
                    </a:lnTo>
                    <a:lnTo>
                      <a:pt x="1120" y="2014"/>
                    </a:lnTo>
                    <a:lnTo>
                      <a:pt x="1120" y="2014"/>
                    </a:lnTo>
                    <a:lnTo>
                      <a:pt x="1120" y="2024"/>
                    </a:lnTo>
                    <a:lnTo>
                      <a:pt x="1120" y="2034"/>
                    </a:lnTo>
                    <a:lnTo>
                      <a:pt x="1125" y="2060"/>
                    </a:lnTo>
                    <a:lnTo>
                      <a:pt x="1135" y="2085"/>
                    </a:lnTo>
                    <a:lnTo>
                      <a:pt x="1135" y="2095"/>
                    </a:lnTo>
                    <a:lnTo>
                      <a:pt x="1135" y="2110"/>
                    </a:lnTo>
                    <a:lnTo>
                      <a:pt x="1135" y="2110"/>
                    </a:lnTo>
                    <a:lnTo>
                      <a:pt x="1135" y="2130"/>
                    </a:lnTo>
                    <a:lnTo>
                      <a:pt x="1135" y="2146"/>
                    </a:lnTo>
                    <a:lnTo>
                      <a:pt x="1141" y="2156"/>
                    </a:lnTo>
                    <a:lnTo>
                      <a:pt x="1141" y="2166"/>
                    </a:lnTo>
                    <a:lnTo>
                      <a:pt x="1141" y="2166"/>
                    </a:lnTo>
                    <a:lnTo>
                      <a:pt x="1135" y="2181"/>
                    </a:lnTo>
                    <a:lnTo>
                      <a:pt x="1120" y="2201"/>
                    </a:lnTo>
                    <a:lnTo>
                      <a:pt x="1110" y="2216"/>
                    </a:lnTo>
                    <a:lnTo>
                      <a:pt x="1110" y="2226"/>
                    </a:lnTo>
                    <a:lnTo>
                      <a:pt x="1110" y="2231"/>
                    </a:lnTo>
                    <a:lnTo>
                      <a:pt x="1110" y="2231"/>
                    </a:lnTo>
                    <a:lnTo>
                      <a:pt x="1120" y="2236"/>
                    </a:lnTo>
                    <a:lnTo>
                      <a:pt x="1130" y="2236"/>
                    </a:lnTo>
                    <a:lnTo>
                      <a:pt x="1166" y="2226"/>
                    </a:lnTo>
                    <a:lnTo>
                      <a:pt x="1206" y="2201"/>
                    </a:lnTo>
                    <a:lnTo>
                      <a:pt x="1221" y="2186"/>
                    </a:lnTo>
                    <a:lnTo>
                      <a:pt x="1236" y="2171"/>
                    </a:lnTo>
                    <a:lnTo>
                      <a:pt x="1236" y="2171"/>
                    </a:lnTo>
                    <a:lnTo>
                      <a:pt x="1241" y="2151"/>
                    </a:lnTo>
                    <a:lnTo>
                      <a:pt x="1252" y="2135"/>
                    </a:lnTo>
                    <a:lnTo>
                      <a:pt x="1252" y="2090"/>
                    </a:lnTo>
                    <a:lnTo>
                      <a:pt x="1252" y="2050"/>
                    </a:lnTo>
                    <a:lnTo>
                      <a:pt x="1241" y="2014"/>
                    </a:lnTo>
                    <a:lnTo>
                      <a:pt x="1241" y="2014"/>
                    </a:lnTo>
                    <a:close/>
                    <a:moveTo>
                      <a:pt x="237" y="1565"/>
                    </a:moveTo>
                    <a:lnTo>
                      <a:pt x="237" y="1565"/>
                    </a:lnTo>
                    <a:lnTo>
                      <a:pt x="237" y="1686"/>
                    </a:lnTo>
                    <a:lnTo>
                      <a:pt x="247" y="1762"/>
                    </a:lnTo>
                    <a:lnTo>
                      <a:pt x="247" y="1762"/>
                    </a:lnTo>
                    <a:lnTo>
                      <a:pt x="232" y="1762"/>
                    </a:lnTo>
                    <a:lnTo>
                      <a:pt x="217" y="1757"/>
                    </a:lnTo>
                    <a:lnTo>
                      <a:pt x="207" y="1757"/>
                    </a:lnTo>
                    <a:lnTo>
                      <a:pt x="207" y="1752"/>
                    </a:lnTo>
                    <a:lnTo>
                      <a:pt x="202" y="1742"/>
                    </a:lnTo>
                    <a:lnTo>
                      <a:pt x="207" y="1731"/>
                    </a:lnTo>
                    <a:lnTo>
                      <a:pt x="207" y="1731"/>
                    </a:lnTo>
                    <a:lnTo>
                      <a:pt x="212" y="1726"/>
                    </a:lnTo>
                    <a:lnTo>
                      <a:pt x="217" y="1716"/>
                    </a:lnTo>
                    <a:lnTo>
                      <a:pt x="222" y="1711"/>
                    </a:lnTo>
                    <a:lnTo>
                      <a:pt x="222" y="1701"/>
                    </a:lnTo>
                    <a:lnTo>
                      <a:pt x="222" y="1701"/>
                    </a:lnTo>
                    <a:lnTo>
                      <a:pt x="222" y="1666"/>
                    </a:lnTo>
                    <a:lnTo>
                      <a:pt x="217" y="1615"/>
                    </a:lnTo>
                    <a:lnTo>
                      <a:pt x="212" y="1570"/>
                    </a:lnTo>
                    <a:lnTo>
                      <a:pt x="207" y="1524"/>
                    </a:lnTo>
                    <a:lnTo>
                      <a:pt x="207" y="1524"/>
                    </a:lnTo>
                    <a:lnTo>
                      <a:pt x="202" y="1489"/>
                    </a:lnTo>
                    <a:lnTo>
                      <a:pt x="197" y="1454"/>
                    </a:lnTo>
                    <a:lnTo>
                      <a:pt x="197" y="1413"/>
                    </a:lnTo>
                    <a:lnTo>
                      <a:pt x="197" y="1363"/>
                    </a:lnTo>
                    <a:lnTo>
                      <a:pt x="197" y="1363"/>
                    </a:lnTo>
                    <a:lnTo>
                      <a:pt x="207" y="1322"/>
                    </a:lnTo>
                    <a:lnTo>
                      <a:pt x="222" y="1282"/>
                    </a:lnTo>
                    <a:lnTo>
                      <a:pt x="242" y="1247"/>
                    </a:lnTo>
                    <a:lnTo>
                      <a:pt x="252" y="1237"/>
                    </a:lnTo>
                    <a:lnTo>
                      <a:pt x="262" y="1232"/>
                    </a:lnTo>
                    <a:lnTo>
                      <a:pt x="262" y="1232"/>
                    </a:lnTo>
                    <a:lnTo>
                      <a:pt x="257" y="1302"/>
                    </a:lnTo>
                    <a:lnTo>
                      <a:pt x="247" y="1383"/>
                    </a:lnTo>
                    <a:lnTo>
                      <a:pt x="242" y="1469"/>
                    </a:lnTo>
                    <a:lnTo>
                      <a:pt x="237" y="1565"/>
                    </a:lnTo>
                    <a:lnTo>
                      <a:pt x="237" y="1565"/>
                    </a:lnTo>
                    <a:close/>
                  </a:path>
                </a:pathLst>
              </a:custGeom>
              <a:grp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186" name="Freeform 225"/>
              <p:cNvSpPr>
                <a:spLocks/>
              </p:cNvSpPr>
              <p:nvPr/>
            </p:nvSpPr>
            <p:spPr bwMode="auto">
              <a:xfrm>
                <a:off x="3264054" y="4888107"/>
                <a:ext cx="226746" cy="268383"/>
              </a:xfrm>
              <a:custGeom>
                <a:avLst/>
                <a:gdLst>
                  <a:gd name="T0" fmla="*/ 868 w 904"/>
                  <a:gd name="T1" fmla="*/ 252 h 1070"/>
                  <a:gd name="T2" fmla="*/ 868 w 904"/>
                  <a:gd name="T3" fmla="*/ 252 h 1070"/>
                  <a:gd name="T4" fmla="*/ 581 w 904"/>
                  <a:gd name="T5" fmla="*/ 126 h 1070"/>
                  <a:gd name="T6" fmla="*/ 374 w 904"/>
                  <a:gd name="T7" fmla="*/ 40 h 1070"/>
                  <a:gd name="T8" fmla="*/ 298 w 904"/>
                  <a:gd name="T9" fmla="*/ 10 h 1070"/>
                  <a:gd name="T10" fmla="*/ 263 w 904"/>
                  <a:gd name="T11" fmla="*/ 0 h 1070"/>
                  <a:gd name="T12" fmla="*/ 263 w 904"/>
                  <a:gd name="T13" fmla="*/ 0 h 1070"/>
                  <a:gd name="T14" fmla="*/ 202 w 904"/>
                  <a:gd name="T15" fmla="*/ 5 h 1070"/>
                  <a:gd name="T16" fmla="*/ 182 w 904"/>
                  <a:gd name="T17" fmla="*/ 10 h 1070"/>
                  <a:gd name="T18" fmla="*/ 157 w 904"/>
                  <a:gd name="T19" fmla="*/ 25 h 1070"/>
                  <a:gd name="T20" fmla="*/ 157 w 904"/>
                  <a:gd name="T21" fmla="*/ 25 h 1070"/>
                  <a:gd name="T22" fmla="*/ 152 w 904"/>
                  <a:gd name="T23" fmla="*/ 30 h 1070"/>
                  <a:gd name="T24" fmla="*/ 142 w 904"/>
                  <a:gd name="T25" fmla="*/ 55 h 1070"/>
                  <a:gd name="T26" fmla="*/ 121 w 904"/>
                  <a:gd name="T27" fmla="*/ 121 h 1070"/>
                  <a:gd name="T28" fmla="*/ 71 w 904"/>
                  <a:gd name="T29" fmla="*/ 323 h 1070"/>
                  <a:gd name="T30" fmla="*/ 25 w 904"/>
                  <a:gd name="T31" fmla="*/ 530 h 1070"/>
                  <a:gd name="T32" fmla="*/ 0 w 904"/>
                  <a:gd name="T33" fmla="*/ 661 h 1070"/>
                  <a:gd name="T34" fmla="*/ 0 w 904"/>
                  <a:gd name="T35" fmla="*/ 661 h 1070"/>
                  <a:gd name="T36" fmla="*/ 0 w 904"/>
                  <a:gd name="T37" fmla="*/ 707 h 1070"/>
                  <a:gd name="T38" fmla="*/ 5 w 904"/>
                  <a:gd name="T39" fmla="*/ 722 h 1070"/>
                  <a:gd name="T40" fmla="*/ 10 w 904"/>
                  <a:gd name="T41" fmla="*/ 732 h 1070"/>
                  <a:gd name="T42" fmla="*/ 25 w 904"/>
                  <a:gd name="T43" fmla="*/ 747 h 1070"/>
                  <a:gd name="T44" fmla="*/ 56 w 904"/>
                  <a:gd name="T45" fmla="*/ 772 h 1070"/>
                  <a:gd name="T46" fmla="*/ 56 w 904"/>
                  <a:gd name="T47" fmla="*/ 772 h 1070"/>
                  <a:gd name="T48" fmla="*/ 101 w 904"/>
                  <a:gd name="T49" fmla="*/ 798 h 1070"/>
                  <a:gd name="T50" fmla="*/ 187 w 904"/>
                  <a:gd name="T51" fmla="*/ 838 h 1070"/>
                  <a:gd name="T52" fmla="*/ 424 w 904"/>
                  <a:gd name="T53" fmla="*/ 939 h 1070"/>
                  <a:gd name="T54" fmla="*/ 752 w 904"/>
                  <a:gd name="T55" fmla="*/ 1070 h 1070"/>
                  <a:gd name="T56" fmla="*/ 752 w 904"/>
                  <a:gd name="T57" fmla="*/ 1070 h 1070"/>
                  <a:gd name="T58" fmla="*/ 788 w 904"/>
                  <a:gd name="T59" fmla="*/ 944 h 1070"/>
                  <a:gd name="T60" fmla="*/ 823 w 904"/>
                  <a:gd name="T61" fmla="*/ 813 h 1070"/>
                  <a:gd name="T62" fmla="*/ 858 w 904"/>
                  <a:gd name="T63" fmla="*/ 661 h 1070"/>
                  <a:gd name="T64" fmla="*/ 889 w 904"/>
                  <a:gd name="T65" fmla="*/ 510 h 1070"/>
                  <a:gd name="T66" fmla="*/ 899 w 904"/>
                  <a:gd name="T67" fmla="*/ 444 h 1070"/>
                  <a:gd name="T68" fmla="*/ 904 w 904"/>
                  <a:gd name="T69" fmla="*/ 379 h 1070"/>
                  <a:gd name="T70" fmla="*/ 904 w 904"/>
                  <a:gd name="T71" fmla="*/ 328 h 1070"/>
                  <a:gd name="T72" fmla="*/ 899 w 904"/>
                  <a:gd name="T73" fmla="*/ 288 h 1070"/>
                  <a:gd name="T74" fmla="*/ 894 w 904"/>
                  <a:gd name="T75" fmla="*/ 273 h 1070"/>
                  <a:gd name="T76" fmla="*/ 889 w 904"/>
                  <a:gd name="T77" fmla="*/ 262 h 1070"/>
                  <a:gd name="T78" fmla="*/ 878 w 904"/>
                  <a:gd name="T79" fmla="*/ 252 h 1070"/>
                  <a:gd name="T80" fmla="*/ 868 w 904"/>
                  <a:gd name="T81" fmla="*/ 252 h 1070"/>
                  <a:gd name="T82" fmla="*/ 868 w 904"/>
                  <a:gd name="T83" fmla="*/ 252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04" h="1070">
                    <a:moveTo>
                      <a:pt x="868" y="252"/>
                    </a:moveTo>
                    <a:lnTo>
                      <a:pt x="868" y="252"/>
                    </a:lnTo>
                    <a:lnTo>
                      <a:pt x="581" y="126"/>
                    </a:lnTo>
                    <a:lnTo>
                      <a:pt x="374" y="40"/>
                    </a:lnTo>
                    <a:lnTo>
                      <a:pt x="298" y="10"/>
                    </a:lnTo>
                    <a:lnTo>
                      <a:pt x="263" y="0"/>
                    </a:lnTo>
                    <a:lnTo>
                      <a:pt x="263" y="0"/>
                    </a:lnTo>
                    <a:lnTo>
                      <a:pt x="202" y="5"/>
                    </a:lnTo>
                    <a:lnTo>
                      <a:pt x="182" y="10"/>
                    </a:lnTo>
                    <a:lnTo>
                      <a:pt x="157" y="25"/>
                    </a:lnTo>
                    <a:lnTo>
                      <a:pt x="157" y="25"/>
                    </a:lnTo>
                    <a:lnTo>
                      <a:pt x="152" y="30"/>
                    </a:lnTo>
                    <a:lnTo>
                      <a:pt x="142" y="55"/>
                    </a:lnTo>
                    <a:lnTo>
                      <a:pt x="121" y="121"/>
                    </a:lnTo>
                    <a:lnTo>
                      <a:pt x="71" y="323"/>
                    </a:lnTo>
                    <a:lnTo>
                      <a:pt x="25" y="530"/>
                    </a:lnTo>
                    <a:lnTo>
                      <a:pt x="0" y="661"/>
                    </a:lnTo>
                    <a:lnTo>
                      <a:pt x="0" y="661"/>
                    </a:lnTo>
                    <a:lnTo>
                      <a:pt x="0" y="707"/>
                    </a:lnTo>
                    <a:lnTo>
                      <a:pt x="5" y="722"/>
                    </a:lnTo>
                    <a:lnTo>
                      <a:pt x="10" y="732"/>
                    </a:lnTo>
                    <a:lnTo>
                      <a:pt x="25" y="747"/>
                    </a:lnTo>
                    <a:lnTo>
                      <a:pt x="56" y="772"/>
                    </a:lnTo>
                    <a:lnTo>
                      <a:pt x="56" y="772"/>
                    </a:lnTo>
                    <a:lnTo>
                      <a:pt x="101" y="798"/>
                    </a:lnTo>
                    <a:lnTo>
                      <a:pt x="187" y="838"/>
                    </a:lnTo>
                    <a:lnTo>
                      <a:pt x="424" y="939"/>
                    </a:lnTo>
                    <a:lnTo>
                      <a:pt x="752" y="1070"/>
                    </a:lnTo>
                    <a:lnTo>
                      <a:pt x="752" y="1070"/>
                    </a:lnTo>
                    <a:lnTo>
                      <a:pt x="788" y="944"/>
                    </a:lnTo>
                    <a:lnTo>
                      <a:pt x="823" y="813"/>
                    </a:lnTo>
                    <a:lnTo>
                      <a:pt x="858" y="661"/>
                    </a:lnTo>
                    <a:lnTo>
                      <a:pt x="889" y="510"/>
                    </a:lnTo>
                    <a:lnTo>
                      <a:pt x="899" y="444"/>
                    </a:lnTo>
                    <a:lnTo>
                      <a:pt x="904" y="379"/>
                    </a:lnTo>
                    <a:lnTo>
                      <a:pt x="904" y="328"/>
                    </a:lnTo>
                    <a:lnTo>
                      <a:pt x="899" y="288"/>
                    </a:lnTo>
                    <a:lnTo>
                      <a:pt x="894" y="273"/>
                    </a:lnTo>
                    <a:lnTo>
                      <a:pt x="889" y="262"/>
                    </a:lnTo>
                    <a:lnTo>
                      <a:pt x="878" y="252"/>
                    </a:lnTo>
                    <a:lnTo>
                      <a:pt x="868" y="252"/>
                    </a:lnTo>
                    <a:lnTo>
                      <a:pt x="868" y="252"/>
                    </a:lnTo>
                    <a:close/>
                  </a:path>
                </a:pathLst>
              </a:custGeom>
              <a:grp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grpSp>
      <p:grpSp>
        <p:nvGrpSpPr>
          <p:cNvPr id="382" name="Group 381"/>
          <p:cNvGrpSpPr/>
          <p:nvPr/>
        </p:nvGrpSpPr>
        <p:grpSpPr>
          <a:xfrm>
            <a:off x="5907362" y="3548624"/>
            <a:ext cx="295736" cy="367515"/>
            <a:chOff x="10126585" y="4213025"/>
            <a:chExt cx="484351" cy="601909"/>
          </a:xfrm>
          <a:solidFill>
            <a:srgbClr val="5E83BD"/>
          </a:solidFill>
        </p:grpSpPr>
        <p:grpSp>
          <p:nvGrpSpPr>
            <p:cNvPr id="383" name="Group 382"/>
            <p:cNvGrpSpPr>
              <a:grpSpLocks noChangeAspect="1"/>
            </p:cNvGrpSpPr>
            <p:nvPr/>
          </p:nvGrpSpPr>
          <p:grpSpPr>
            <a:xfrm>
              <a:off x="10126585" y="4284481"/>
              <a:ext cx="484351" cy="530453"/>
              <a:chOff x="223280" y="2346312"/>
              <a:chExt cx="448473" cy="530453"/>
            </a:xfrm>
            <a:grpFill/>
          </p:grpSpPr>
          <p:sp>
            <p:nvSpPr>
              <p:cNvPr id="391" name="Freeform 11"/>
              <p:cNvSpPr>
                <a:spLocks/>
              </p:cNvSpPr>
              <p:nvPr/>
            </p:nvSpPr>
            <p:spPr bwMode="auto">
              <a:xfrm>
                <a:off x="223280" y="2437815"/>
                <a:ext cx="314654" cy="438950"/>
              </a:xfrm>
              <a:custGeom>
                <a:avLst/>
                <a:gdLst>
                  <a:gd name="T0" fmla="*/ 134 w 522"/>
                  <a:gd name="T1" fmla="*/ 350 h 662"/>
                  <a:gd name="T2" fmla="*/ 134 w 522"/>
                  <a:gd name="T3" fmla="*/ 352 h 662"/>
                  <a:gd name="T4" fmla="*/ 134 w 522"/>
                  <a:gd name="T5" fmla="*/ 338 h 662"/>
                  <a:gd name="T6" fmla="*/ 146 w 522"/>
                  <a:gd name="T7" fmla="*/ 288 h 662"/>
                  <a:gd name="T8" fmla="*/ 166 w 522"/>
                  <a:gd name="T9" fmla="*/ 236 h 662"/>
                  <a:gd name="T10" fmla="*/ 188 w 522"/>
                  <a:gd name="T11" fmla="*/ 198 h 662"/>
                  <a:gd name="T12" fmla="*/ 216 w 522"/>
                  <a:gd name="T13" fmla="*/ 160 h 662"/>
                  <a:gd name="T14" fmla="*/ 260 w 522"/>
                  <a:gd name="T15" fmla="*/ 216 h 662"/>
                  <a:gd name="T16" fmla="*/ 264 w 522"/>
                  <a:gd name="T17" fmla="*/ 224 h 662"/>
                  <a:gd name="T18" fmla="*/ 278 w 522"/>
                  <a:gd name="T19" fmla="*/ 232 h 662"/>
                  <a:gd name="T20" fmla="*/ 494 w 522"/>
                  <a:gd name="T21" fmla="*/ 234 h 662"/>
                  <a:gd name="T22" fmla="*/ 504 w 522"/>
                  <a:gd name="T23" fmla="*/ 232 h 662"/>
                  <a:gd name="T24" fmla="*/ 520 w 522"/>
                  <a:gd name="T25" fmla="*/ 218 h 662"/>
                  <a:gd name="T26" fmla="*/ 522 w 522"/>
                  <a:gd name="T27" fmla="*/ 206 h 662"/>
                  <a:gd name="T28" fmla="*/ 514 w 522"/>
                  <a:gd name="T29" fmla="*/ 186 h 662"/>
                  <a:gd name="T30" fmla="*/ 494 w 522"/>
                  <a:gd name="T31" fmla="*/ 178 h 662"/>
                  <a:gd name="T32" fmla="*/ 252 w 522"/>
                  <a:gd name="T33" fmla="*/ 24 h 662"/>
                  <a:gd name="T34" fmla="*/ 248 w 522"/>
                  <a:gd name="T35" fmla="*/ 20 h 662"/>
                  <a:gd name="T36" fmla="*/ 244 w 522"/>
                  <a:gd name="T37" fmla="*/ 12 h 662"/>
                  <a:gd name="T38" fmla="*/ 240 w 522"/>
                  <a:gd name="T39" fmla="*/ 6 h 662"/>
                  <a:gd name="T40" fmla="*/ 226 w 522"/>
                  <a:gd name="T41" fmla="*/ 0 h 662"/>
                  <a:gd name="T42" fmla="*/ 212 w 522"/>
                  <a:gd name="T43" fmla="*/ 0 h 662"/>
                  <a:gd name="T44" fmla="*/ 198 w 522"/>
                  <a:gd name="T45" fmla="*/ 4 h 662"/>
                  <a:gd name="T46" fmla="*/ 192 w 522"/>
                  <a:gd name="T47" fmla="*/ 8 h 662"/>
                  <a:gd name="T48" fmla="*/ 130 w 522"/>
                  <a:gd name="T49" fmla="*/ 68 h 662"/>
                  <a:gd name="T50" fmla="*/ 84 w 522"/>
                  <a:gd name="T51" fmla="*/ 132 h 662"/>
                  <a:gd name="T52" fmla="*/ 50 w 522"/>
                  <a:gd name="T53" fmla="*/ 194 h 662"/>
                  <a:gd name="T54" fmla="*/ 26 w 522"/>
                  <a:gd name="T55" fmla="*/ 252 h 662"/>
                  <a:gd name="T56" fmla="*/ 12 w 522"/>
                  <a:gd name="T57" fmla="*/ 304 h 662"/>
                  <a:gd name="T58" fmla="*/ 0 w 522"/>
                  <a:gd name="T59" fmla="*/ 374 h 662"/>
                  <a:gd name="T60" fmla="*/ 0 w 522"/>
                  <a:gd name="T61" fmla="*/ 386 h 662"/>
                  <a:gd name="T62" fmla="*/ 2 w 522"/>
                  <a:gd name="T63" fmla="*/ 402 h 662"/>
                  <a:gd name="T64" fmla="*/ 10 w 522"/>
                  <a:gd name="T65" fmla="*/ 414 h 662"/>
                  <a:gd name="T66" fmla="*/ 16 w 522"/>
                  <a:gd name="T67" fmla="*/ 418 h 662"/>
                  <a:gd name="T68" fmla="*/ 30 w 522"/>
                  <a:gd name="T69" fmla="*/ 424 h 662"/>
                  <a:gd name="T70" fmla="*/ 250 w 522"/>
                  <a:gd name="T71" fmla="*/ 424 h 662"/>
                  <a:gd name="T72" fmla="*/ 250 w 522"/>
                  <a:gd name="T73" fmla="*/ 624 h 662"/>
                  <a:gd name="T74" fmla="*/ 252 w 522"/>
                  <a:gd name="T75" fmla="*/ 640 h 662"/>
                  <a:gd name="T76" fmla="*/ 260 w 522"/>
                  <a:gd name="T77" fmla="*/ 650 h 662"/>
                  <a:gd name="T78" fmla="*/ 272 w 522"/>
                  <a:gd name="T79" fmla="*/ 658 h 662"/>
                  <a:gd name="T80" fmla="*/ 286 w 522"/>
                  <a:gd name="T81" fmla="*/ 662 h 662"/>
                  <a:gd name="T82" fmla="*/ 294 w 522"/>
                  <a:gd name="T83" fmla="*/ 660 h 662"/>
                  <a:gd name="T84" fmla="*/ 308 w 522"/>
                  <a:gd name="T85" fmla="*/ 656 h 662"/>
                  <a:gd name="T86" fmla="*/ 318 w 522"/>
                  <a:gd name="T87" fmla="*/ 646 h 662"/>
                  <a:gd name="T88" fmla="*/ 324 w 522"/>
                  <a:gd name="T89" fmla="*/ 632 h 662"/>
                  <a:gd name="T90" fmla="*/ 324 w 522"/>
                  <a:gd name="T91" fmla="*/ 388 h 662"/>
                  <a:gd name="T92" fmla="*/ 324 w 522"/>
                  <a:gd name="T93" fmla="*/ 380 h 662"/>
                  <a:gd name="T94" fmla="*/ 318 w 522"/>
                  <a:gd name="T95" fmla="*/ 366 h 662"/>
                  <a:gd name="T96" fmla="*/ 308 w 522"/>
                  <a:gd name="T97" fmla="*/ 356 h 662"/>
                  <a:gd name="T98" fmla="*/ 294 w 522"/>
                  <a:gd name="T99" fmla="*/ 352 h 662"/>
                  <a:gd name="T100" fmla="*/ 288 w 522"/>
                  <a:gd name="T101" fmla="*/ 350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22" h="662">
                    <a:moveTo>
                      <a:pt x="288" y="350"/>
                    </a:moveTo>
                    <a:lnTo>
                      <a:pt x="134" y="350"/>
                    </a:lnTo>
                    <a:lnTo>
                      <a:pt x="134" y="350"/>
                    </a:lnTo>
                    <a:lnTo>
                      <a:pt x="134" y="352"/>
                    </a:lnTo>
                    <a:lnTo>
                      <a:pt x="132" y="350"/>
                    </a:lnTo>
                    <a:lnTo>
                      <a:pt x="134" y="338"/>
                    </a:lnTo>
                    <a:lnTo>
                      <a:pt x="138" y="316"/>
                    </a:lnTo>
                    <a:lnTo>
                      <a:pt x="146" y="288"/>
                    </a:lnTo>
                    <a:lnTo>
                      <a:pt x="158" y="254"/>
                    </a:lnTo>
                    <a:lnTo>
                      <a:pt x="166" y="236"/>
                    </a:lnTo>
                    <a:lnTo>
                      <a:pt x="176" y="216"/>
                    </a:lnTo>
                    <a:lnTo>
                      <a:pt x="188" y="198"/>
                    </a:lnTo>
                    <a:lnTo>
                      <a:pt x="202" y="178"/>
                    </a:lnTo>
                    <a:lnTo>
                      <a:pt x="216" y="160"/>
                    </a:lnTo>
                    <a:lnTo>
                      <a:pt x="234" y="142"/>
                    </a:lnTo>
                    <a:lnTo>
                      <a:pt x="260" y="216"/>
                    </a:lnTo>
                    <a:lnTo>
                      <a:pt x="260" y="216"/>
                    </a:lnTo>
                    <a:lnTo>
                      <a:pt x="264" y="224"/>
                    </a:lnTo>
                    <a:lnTo>
                      <a:pt x="272" y="230"/>
                    </a:lnTo>
                    <a:lnTo>
                      <a:pt x="278" y="232"/>
                    </a:lnTo>
                    <a:lnTo>
                      <a:pt x="288" y="234"/>
                    </a:lnTo>
                    <a:lnTo>
                      <a:pt x="494" y="234"/>
                    </a:lnTo>
                    <a:lnTo>
                      <a:pt x="494" y="234"/>
                    </a:lnTo>
                    <a:lnTo>
                      <a:pt x="504" y="232"/>
                    </a:lnTo>
                    <a:lnTo>
                      <a:pt x="514" y="226"/>
                    </a:lnTo>
                    <a:lnTo>
                      <a:pt x="520" y="218"/>
                    </a:lnTo>
                    <a:lnTo>
                      <a:pt x="522" y="206"/>
                    </a:lnTo>
                    <a:lnTo>
                      <a:pt x="522" y="206"/>
                    </a:lnTo>
                    <a:lnTo>
                      <a:pt x="520" y="196"/>
                    </a:lnTo>
                    <a:lnTo>
                      <a:pt x="514" y="186"/>
                    </a:lnTo>
                    <a:lnTo>
                      <a:pt x="504" y="180"/>
                    </a:lnTo>
                    <a:lnTo>
                      <a:pt x="494" y="178"/>
                    </a:lnTo>
                    <a:lnTo>
                      <a:pt x="306" y="178"/>
                    </a:lnTo>
                    <a:lnTo>
                      <a:pt x="252" y="24"/>
                    </a:lnTo>
                    <a:lnTo>
                      <a:pt x="252" y="24"/>
                    </a:lnTo>
                    <a:lnTo>
                      <a:pt x="248" y="20"/>
                    </a:lnTo>
                    <a:lnTo>
                      <a:pt x="248" y="20"/>
                    </a:lnTo>
                    <a:lnTo>
                      <a:pt x="244" y="12"/>
                    </a:lnTo>
                    <a:lnTo>
                      <a:pt x="244" y="12"/>
                    </a:lnTo>
                    <a:lnTo>
                      <a:pt x="240" y="6"/>
                    </a:lnTo>
                    <a:lnTo>
                      <a:pt x="232" y="2"/>
                    </a:lnTo>
                    <a:lnTo>
                      <a:pt x="226" y="0"/>
                    </a:lnTo>
                    <a:lnTo>
                      <a:pt x="220" y="0"/>
                    </a:lnTo>
                    <a:lnTo>
                      <a:pt x="212" y="0"/>
                    </a:lnTo>
                    <a:lnTo>
                      <a:pt x="206" y="0"/>
                    </a:lnTo>
                    <a:lnTo>
                      <a:pt x="198" y="4"/>
                    </a:lnTo>
                    <a:lnTo>
                      <a:pt x="192" y="8"/>
                    </a:lnTo>
                    <a:lnTo>
                      <a:pt x="192" y="8"/>
                    </a:lnTo>
                    <a:lnTo>
                      <a:pt x="160" y="38"/>
                    </a:lnTo>
                    <a:lnTo>
                      <a:pt x="130" y="68"/>
                    </a:lnTo>
                    <a:lnTo>
                      <a:pt x="106" y="100"/>
                    </a:lnTo>
                    <a:lnTo>
                      <a:pt x="84" y="132"/>
                    </a:lnTo>
                    <a:lnTo>
                      <a:pt x="66" y="164"/>
                    </a:lnTo>
                    <a:lnTo>
                      <a:pt x="50" y="194"/>
                    </a:lnTo>
                    <a:lnTo>
                      <a:pt x="36" y="224"/>
                    </a:lnTo>
                    <a:lnTo>
                      <a:pt x="26" y="252"/>
                    </a:lnTo>
                    <a:lnTo>
                      <a:pt x="18" y="280"/>
                    </a:lnTo>
                    <a:lnTo>
                      <a:pt x="12" y="304"/>
                    </a:lnTo>
                    <a:lnTo>
                      <a:pt x="4" y="346"/>
                    </a:lnTo>
                    <a:lnTo>
                      <a:pt x="0" y="374"/>
                    </a:lnTo>
                    <a:lnTo>
                      <a:pt x="0" y="386"/>
                    </a:lnTo>
                    <a:lnTo>
                      <a:pt x="0" y="386"/>
                    </a:lnTo>
                    <a:lnTo>
                      <a:pt x="0" y="394"/>
                    </a:lnTo>
                    <a:lnTo>
                      <a:pt x="2" y="402"/>
                    </a:lnTo>
                    <a:lnTo>
                      <a:pt x="6" y="408"/>
                    </a:lnTo>
                    <a:lnTo>
                      <a:pt x="10" y="414"/>
                    </a:lnTo>
                    <a:lnTo>
                      <a:pt x="10" y="414"/>
                    </a:lnTo>
                    <a:lnTo>
                      <a:pt x="16" y="418"/>
                    </a:lnTo>
                    <a:lnTo>
                      <a:pt x="22" y="422"/>
                    </a:lnTo>
                    <a:lnTo>
                      <a:pt x="30" y="424"/>
                    </a:lnTo>
                    <a:lnTo>
                      <a:pt x="38" y="424"/>
                    </a:lnTo>
                    <a:lnTo>
                      <a:pt x="250" y="424"/>
                    </a:lnTo>
                    <a:lnTo>
                      <a:pt x="250" y="624"/>
                    </a:lnTo>
                    <a:lnTo>
                      <a:pt x="250" y="624"/>
                    </a:lnTo>
                    <a:lnTo>
                      <a:pt x="250" y="632"/>
                    </a:lnTo>
                    <a:lnTo>
                      <a:pt x="252" y="640"/>
                    </a:lnTo>
                    <a:lnTo>
                      <a:pt x="256" y="646"/>
                    </a:lnTo>
                    <a:lnTo>
                      <a:pt x="260" y="650"/>
                    </a:lnTo>
                    <a:lnTo>
                      <a:pt x="266" y="656"/>
                    </a:lnTo>
                    <a:lnTo>
                      <a:pt x="272" y="658"/>
                    </a:lnTo>
                    <a:lnTo>
                      <a:pt x="280" y="660"/>
                    </a:lnTo>
                    <a:lnTo>
                      <a:pt x="286" y="662"/>
                    </a:lnTo>
                    <a:lnTo>
                      <a:pt x="286" y="662"/>
                    </a:lnTo>
                    <a:lnTo>
                      <a:pt x="294" y="660"/>
                    </a:lnTo>
                    <a:lnTo>
                      <a:pt x="302" y="658"/>
                    </a:lnTo>
                    <a:lnTo>
                      <a:pt x="308" y="656"/>
                    </a:lnTo>
                    <a:lnTo>
                      <a:pt x="314" y="650"/>
                    </a:lnTo>
                    <a:lnTo>
                      <a:pt x="318" y="646"/>
                    </a:lnTo>
                    <a:lnTo>
                      <a:pt x="322" y="640"/>
                    </a:lnTo>
                    <a:lnTo>
                      <a:pt x="324" y="632"/>
                    </a:lnTo>
                    <a:lnTo>
                      <a:pt x="324" y="624"/>
                    </a:lnTo>
                    <a:lnTo>
                      <a:pt x="324" y="388"/>
                    </a:lnTo>
                    <a:lnTo>
                      <a:pt x="324" y="388"/>
                    </a:lnTo>
                    <a:lnTo>
                      <a:pt x="324" y="380"/>
                    </a:lnTo>
                    <a:lnTo>
                      <a:pt x="322" y="372"/>
                    </a:lnTo>
                    <a:lnTo>
                      <a:pt x="318" y="366"/>
                    </a:lnTo>
                    <a:lnTo>
                      <a:pt x="314" y="362"/>
                    </a:lnTo>
                    <a:lnTo>
                      <a:pt x="308" y="356"/>
                    </a:lnTo>
                    <a:lnTo>
                      <a:pt x="302" y="354"/>
                    </a:lnTo>
                    <a:lnTo>
                      <a:pt x="294" y="352"/>
                    </a:lnTo>
                    <a:lnTo>
                      <a:pt x="288" y="350"/>
                    </a:lnTo>
                    <a:lnTo>
                      <a:pt x="288" y="350"/>
                    </a:lnTo>
                    <a:close/>
                  </a:path>
                </a:pathLst>
              </a:custGeom>
              <a:grpFill/>
              <a:ln>
                <a:noFill/>
              </a:ln>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Segoe UI"/>
                  <a:ea typeface="+mn-ea"/>
                  <a:cs typeface="+mn-cs"/>
                </a:endParaRPr>
              </a:p>
            </p:txBody>
          </p:sp>
          <p:sp>
            <p:nvSpPr>
              <p:cNvPr id="392" name="Freeform 12"/>
              <p:cNvSpPr>
                <a:spLocks/>
              </p:cNvSpPr>
              <p:nvPr/>
            </p:nvSpPr>
            <p:spPr bwMode="auto">
              <a:xfrm>
                <a:off x="370360" y="2346312"/>
                <a:ext cx="96446" cy="107417"/>
              </a:xfrm>
              <a:custGeom>
                <a:avLst/>
                <a:gdLst>
                  <a:gd name="T0" fmla="*/ 80 w 160"/>
                  <a:gd name="T1" fmla="*/ 0 h 162"/>
                  <a:gd name="T2" fmla="*/ 80 w 160"/>
                  <a:gd name="T3" fmla="*/ 0 h 162"/>
                  <a:gd name="T4" fmla="*/ 96 w 160"/>
                  <a:gd name="T5" fmla="*/ 2 h 162"/>
                  <a:gd name="T6" fmla="*/ 112 w 160"/>
                  <a:gd name="T7" fmla="*/ 6 h 162"/>
                  <a:gd name="T8" fmla="*/ 126 w 160"/>
                  <a:gd name="T9" fmla="*/ 14 h 162"/>
                  <a:gd name="T10" fmla="*/ 138 w 160"/>
                  <a:gd name="T11" fmla="*/ 24 h 162"/>
                  <a:gd name="T12" fmla="*/ 148 w 160"/>
                  <a:gd name="T13" fmla="*/ 36 h 162"/>
                  <a:gd name="T14" fmla="*/ 154 w 160"/>
                  <a:gd name="T15" fmla="*/ 50 h 162"/>
                  <a:gd name="T16" fmla="*/ 160 w 160"/>
                  <a:gd name="T17" fmla="*/ 64 h 162"/>
                  <a:gd name="T18" fmla="*/ 160 w 160"/>
                  <a:gd name="T19" fmla="*/ 80 h 162"/>
                  <a:gd name="T20" fmla="*/ 160 w 160"/>
                  <a:gd name="T21" fmla="*/ 80 h 162"/>
                  <a:gd name="T22" fmla="*/ 160 w 160"/>
                  <a:gd name="T23" fmla="*/ 96 h 162"/>
                  <a:gd name="T24" fmla="*/ 154 w 160"/>
                  <a:gd name="T25" fmla="*/ 112 h 162"/>
                  <a:gd name="T26" fmla="*/ 148 w 160"/>
                  <a:gd name="T27" fmla="*/ 126 h 162"/>
                  <a:gd name="T28" fmla="*/ 138 w 160"/>
                  <a:gd name="T29" fmla="*/ 138 h 162"/>
                  <a:gd name="T30" fmla="*/ 126 w 160"/>
                  <a:gd name="T31" fmla="*/ 148 h 162"/>
                  <a:gd name="T32" fmla="*/ 112 w 160"/>
                  <a:gd name="T33" fmla="*/ 156 h 162"/>
                  <a:gd name="T34" fmla="*/ 96 w 160"/>
                  <a:gd name="T35" fmla="*/ 160 h 162"/>
                  <a:gd name="T36" fmla="*/ 80 w 160"/>
                  <a:gd name="T37" fmla="*/ 162 h 162"/>
                  <a:gd name="T38" fmla="*/ 80 w 160"/>
                  <a:gd name="T39" fmla="*/ 162 h 162"/>
                  <a:gd name="T40" fmla="*/ 64 w 160"/>
                  <a:gd name="T41" fmla="*/ 160 h 162"/>
                  <a:gd name="T42" fmla="*/ 48 w 160"/>
                  <a:gd name="T43" fmla="*/ 156 h 162"/>
                  <a:gd name="T44" fmla="*/ 34 w 160"/>
                  <a:gd name="T45" fmla="*/ 148 h 162"/>
                  <a:gd name="T46" fmla="*/ 22 w 160"/>
                  <a:gd name="T47" fmla="*/ 138 h 162"/>
                  <a:gd name="T48" fmla="*/ 12 w 160"/>
                  <a:gd name="T49" fmla="*/ 126 h 162"/>
                  <a:gd name="T50" fmla="*/ 6 w 160"/>
                  <a:gd name="T51" fmla="*/ 112 h 162"/>
                  <a:gd name="T52" fmla="*/ 0 w 160"/>
                  <a:gd name="T53" fmla="*/ 96 h 162"/>
                  <a:gd name="T54" fmla="*/ 0 w 160"/>
                  <a:gd name="T55" fmla="*/ 80 h 162"/>
                  <a:gd name="T56" fmla="*/ 0 w 160"/>
                  <a:gd name="T57" fmla="*/ 80 h 162"/>
                  <a:gd name="T58" fmla="*/ 0 w 160"/>
                  <a:gd name="T59" fmla="*/ 64 h 162"/>
                  <a:gd name="T60" fmla="*/ 6 w 160"/>
                  <a:gd name="T61" fmla="*/ 50 h 162"/>
                  <a:gd name="T62" fmla="*/ 12 w 160"/>
                  <a:gd name="T63" fmla="*/ 36 h 162"/>
                  <a:gd name="T64" fmla="*/ 22 w 160"/>
                  <a:gd name="T65" fmla="*/ 24 h 162"/>
                  <a:gd name="T66" fmla="*/ 34 w 160"/>
                  <a:gd name="T67" fmla="*/ 14 h 162"/>
                  <a:gd name="T68" fmla="*/ 48 w 160"/>
                  <a:gd name="T69" fmla="*/ 6 h 162"/>
                  <a:gd name="T70" fmla="*/ 64 w 160"/>
                  <a:gd name="T71" fmla="*/ 2 h 162"/>
                  <a:gd name="T72" fmla="*/ 80 w 160"/>
                  <a:gd name="T73" fmla="*/ 0 h 162"/>
                  <a:gd name="T74" fmla="*/ 80 w 160"/>
                  <a:gd name="T75"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0" h="162">
                    <a:moveTo>
                      <a:pt x="80" y="0"/>
                    </a:moveTo>
                    <a:lnTo>
                      <a:pt x="80" y="0"/>
                    </a:lnTo>
                    <a:lnTo>
                      <a:pt x="96" y="2"/>
                    </a:lnTo>
                    <a:lnTo>
                      <a:pt x="112" y="6"/>
                    </a:lnTo>
                    <a:lnTo>
                      <a:pt x="126" y="14"/>
                    </a:lnTo>
                    <a:lnTo>
                      <a:pt x="138" y="24"/>
                    </a:lnTo>
                    <a:lnTo>
                      <a:pt x="148" y="36"/>
                    </a:lnTo>
                    <a:lnTo>
                      <a:pt x="154" y="50"/>
                    </a:lnTo>
                    <a:lnTo>
                      <a:pt x="160" y="64"/>
                    </a:lnTo>
                    <a:lnTo>
                      <a:pt x="160" y="80"/>
                    </a:lnTo>
                    <a:lnTo>
                      <a:pt x="160" y="80"/>
                    </a:lnTo>
                    <a:lnTo>
                      <a:pt x="160" y="96"/>
                    </a:lnTo>
                    <a:lnTo>
                      <a:pt x="154" y="112"/>
                    </a:lnTo>
                    <a:lnTo>
                      <a:pt x="148" y="126"/>
                    </a:lnTo>
                    <a:lnTo>
                      <a:pt x="138" y="138"/>
                    </a:lnTo>
                    <a:lnTo>
                      <a:pt x="126" y="148"/>
                    </a:lnTo>
                    <a:lnTo>
                      <a:pt x="112" y="156"/>
                    </a:lnTo>
                    <a:lnTo>
                      <a:pt x="96" y="160"/>
                    </a:lnTo>
                    <a:lnTo>
                      <a:pt x="80" y="162"/>
                    </a:lnTo>
                    <a:lnTo>
                      <a:pt x="80" y="162"/>
                    </a:lnTo>
                    <a:lnTo>
                      <a:pt x="64" y="160"/>
                    </a:lnTo>
                    <a:lnTo>
                      <a:pt x="48" y="156"/>
                    </a:lnTo>
                    <a:lnTo>
                      <a:pt x="34" y="148"/>
                    </a:lnTo>
                    <a:lnTo>
                      <a:pt x="22" y="138"/>
                    </a:lnTo>
                    <a:lnTo>
                      <a:pt x="12" y="126"/>
                    </a:lnTo>
                    <a:lnTo>
                      <a:pt x="6" y="112"/>
                    </a:lnTo>
                    <a:lnTo>
                      <a:pt x="0" y="96"/>
                    </a:lnTo>
                    <a:lnTo>
                      <a:pt x="0" y="80"/>
                    </a:lnTo>
                    <a:lnTo>
                      <a:pt x="0" y="80"/>
                    </a:lnTo>
                    <a:lnTo>
                      <a:pt x="0" y="64"/>
                    </a:lnTo>
                    <a:lnTo>
                      <a:pt x="6" y="50"/>
                    </a:lnTo>
                    <a:lnTo>
                      <a:pt x="12" y="36"/>
                    </a:lnTo>
                    <a:lnTo>
                      <a:pt x="22" y="24"/>
                    </a:lnTo>
                    <a:lnTo>
                      <a:pt x="34" y="14"/>
                    </a:lnTo>
                    <a:lnTo>
                      <a:pt x="48" y="6"/>
                    </a:lnTo>
                    <a:lnTo>
                      <a:pt x="64" y="2"/>
                    </a:lnTo>
                    <a:lnTo>
                      <a:pt x="80" y="0"/>
                    </a:lnTo>
                    <a:lnTo>
                      <a:pt x="80" y="0"/>
                    </a:lnTo>
                    <a:close/>
                  </a:path>
                </a:pathLst>
              </a:custGeom>
              <a:grpFill/>
              <a:ln>
                <a:noFill/>
              </a:ln>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Segoe UI"/>
                  <a:ea typeface="+mn-ea"/>
                  <a:cs typeface="+mn-cs"/>
                </a:endParaRPr>
              </a:p>
            </p:txBody>
          </p:sp>
          <p:sp>
            <p:nvSpPr>
              <p:cNvPr id="393" name="Freeform 13"/>
              <p:cNvSpPr>
                <a:spLocks/>
              </p:cNvSpPr>
              <p:nvPr/>
            </p:nvSpPr>
            <p:spPr bwMode="auto">
              <a:xfrm>
                <a:off x="481273" y="2616843"/>
                <a:ext cx="85596" cy="25197"/>
              </a:xfrm>
              <a:custGeom>
                <a:avLst/>
                <a:gdLst>
                  <a:gd name="T0" fmla="*/ 124 w 142"/>
                  <a:gd name="T1" fmla="*/ 0 h 38"/>
                  <a:gd name="T2" fmla="*/ 18 w 142"/>
                  <a:gd name="T3" fmla="*/ 0 h 38"/>
                  <a:gd name="T4" fmla="*/ 18 w 142"/>
                  <a:gd name="T5" fmla="*/ 0 h 38"/>
                  <a:gd name="T6" fmla="*/ 10 w 142"/>
                  <a:gd name="T7" fmla="*/ 2 h 38"/>
                  <a:gd name="T8" fmla="*/ 4 w 142"/>
                  <a:gd name="T9" fmla="*/ 6 h 38"/>
                  <a:gd name="T10" fmla="*/ 0 w 142"/>
                  <a:gd name="T11" fmla="*/ 12 h 38"/>
                  <a:gd name="T12" fmla="*/ 0 w 142"/>
                  <a:gd name="T13" fmla="*/ 20 h 38"/>
                  <a:gd name="T14" fmla="*/ 0 w 142"/>
                  <a:gd name="T15" fmla="*/ 20 h 38"/>
                  <a:gd name="T16" fmla="*/ 0 w 142"/>
                  <a:gd name="T17" fmla="*/ 26 h 38"/>
                  <a:gd name="T18" fmla="*/ 4 w 142"/>
                  <a:gd name="T19" fmla="*/ 32 h 38"/>
                  <a:gd name="T20" fmla="*/ 10 w 142"/>
                  <a:gd name="T21" fmla="*/ 36 h 38"/>
                  <a:gd name="T22" fmla="*/ 18 w 142"/>
                  <a:gd name="T23" fmla="*/ 38 h 38"/>
                  <a:gd name="T24" fmla="*/ 124 w 142"/>
                  <a:gd name="T25" fmla="*/ 38 h 38"/>
                  <a:gd name="T26" fmla="*/ 124 w 142"/>
                  <a:gd name="T27" fmla="*/ 38 h 38"/>
                  <a:gd name="T28" fmla="*/ 132 w 142"/>
                  <a:gd name="T29" fmla="*/ 36 h 38"/>
                  <a:gd name="T30" fmla="*/ 138 w 142"/>
                  <a:gd name="T31" fmla="*/ 32 h 38"/>
                  <a:gd name="T32" fmla="*/ 142 w 142"/>
                  <a:gd name="T33" fmla="*/ 26 h 38"/>
                  <a:gd name="T34" fmla="*/ 142 w 142"/>
                  <a:gd name="T35" fmla="*/ 20 h 38"/>
                  <a:gd name="T36" fmla="*/ 142 w 142"/>
                  <a:gd name="T37" fmla="*/ 20 h 38"/>
                  <a:gd name="T38" fmla="*/ 142 w 142"/>
                  <a:gd name="T39" fmla="*/ 12 h 38"/>
                  <a:gd name="T40" fmla="*/ 138 w 142"/>
                  <a:gd name="T41" fmla="*/ 6 h 38"/>
                  <a:gd name="T42" fmla="*/ 132 w 142"/>
                  <a:gd name="T43" fmla="*/ 2 h 38"/>
                  <a:gd name="T44" fmla="*/ 124 w 142"/>
                  <a:gd name="T45" fmla="*/ 0 h 38"/>
                  <a:gd name="T46" fmla="*/ 124 w 142"/>
                  <a:gd name="T4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2" h="38">
                    <a:moveTo>
                      <a:pt x="124" y="0"/>
                    </a:moveTo>
                    <a:lnTo>
                      <a:pt x="18" y="0"/>
                    </a:lnTo>
                    <a:lnTo>
                      <a:pt x="18" y="0"/>
                    </a:lnTo>
                    <a:lnTo>
                      <a:pt x="10" y="2"/>
                    </a:lnTo>
                    <a:lnTo>
                      <a:pt x="4" y="6"/>
                    </a:lnTo>
                    <a:lnTo>
                      <a:pt x="0" y="12"/>
                    </a:lnTo>
                    <a:lnTo>
                      <a:pt x="0" y="20"/>
                    </a:lnTo>
                    <a:lnTo>
                      <a:pt x="0" y="20"/>
                    </a:lnTo>
                    <a:lnTo>
                      <a:pt x="0" y="26"/>
                    </a:lnTo>
                    <a:lnTo>
                      <a:pt x="4" y="32"/>
                    </a:lnTo>
                    <a:lnTo>
                      <a:pt x="10" y="36"/>
                    </a:lnTo>
                    <a:lnTo>
                      <a:pt x="18" y="38"/>
                    </a:lnTo>
                    <a:lnTo>
                      <a:pt x="124" y="38"/>
                    </a:lnTo>
                    <a:lnTo>
                      <a:pt x="124" y="38"/>
                    </a:lnTo>
                    <a:lnTo>
                      <a:pt x="132" y="36"/>
                    </a:lnTo>
                    <a:lnTo>
                      <a:pt x="138" y="32"/>
                    </a:lnTo>
                    <a:lnTo>
                      <a:pt x="142" y="26"/>
                    </a:lnTo>
                    <a:lnTo>
                      <a:pt x="142" y="20"/>
                    </a:lnTo>
                    <a:lnTo>
                      <a:pt x="142" y="20"/>
                    </a:lnTo>
                    <a:lnTo>
                      <a:pt x="142" y="12"/>
                    </a:lnTo>
                    <a:lnTo>
                      <a:pt x="138" y="6"/>
                    </a:lnTo>
                    <a:lnTo>
                      <a:pt x="132" y="2"/>
                    </a:lnTo>
                    <a:lnTo>
                      <a:pt x="124" y="0"/>
                    </a:lnTo>
                    <a:lnTo>
                      <a:pt x="124" y="0"/>
                    </a:lnTo>
                    <a:close/>
                  </a:path>
                </a:pathLst>
              </a:custGeom>
              <a:grpFill/>
              <a:ln>
                <a:noFill/>
              </a:ln>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Segoe UI"/>
                  <a:ea typeface="+mn-ea"/>
                  <a:cs typeface="+mn-cs"/>
                </a:endParaRPr>
              </a:p>
            </p:txBody>
          </p:sp>
          <p:sp>
            <p:nvSpPr>
              <p:cNvPr id="394" name="Freeform 14"/>
              <p:cNvSpPr>
                <a:spLocks/>
              </p:cNvSpPr>
              <p:nvPr/>
            </p:nvSpPr>
            <p:spPr bwMode="auto">
              <a:xfrm>
                <a:off x="568074" y="2392727"/>
                <a:ext cx="103679" cy="249313"/>
              </a:xfrm>
              <a:custGeom>
                <a:avLst/>
                <a:gdLst>
                  <a:gd name="T0" fmla="*/ 96 w 172"/>
                  <a:gd name="T1" fmla="*/ 224 h 376"/>
                  <a:gd name="T2" fmla="*/ 96 w 172"/>
                  <a:gd name="T3" fmla="*/ 224 h 376"/>
                  <a:gd name="T4" fmla="*/ 94 w 172"/>
                  <a:gd name="T5" fmla="*/ 220 h 376"/>
                  <a:gd name="T6" fmla="*/ 88 w 172"/>
                  <a:gd name="T7" fmla="*/ 218 h 376"/>
                  <a:gd name="T8" fmla="*/ 172 w 172"/>
                  <a:gd name="T9" fmla="*/ 22 h 376"/>
                  <a:gd name="T10" fmla="*/ 122 w 172"/>
                  <a:gd name="T11" fmla="*/ 0 h 376"/>
                  <a:gd name="T12" fmla="*/ 0 w 172"/>
                  <a:gd name="T13" fmla="*/ 282 h 376"/>
                  <a:gd name="T14" fmla="*/ 52 w 172"/>
                  <a:gd name="T15" fmla="*/ 304 h 376"/>
                  <a:gd name="T16" fmla="*/ 72 w 172"/>
                  <a:gd name="T17" fmla="*/ 258 h 376"/>
                  <a:gd name="T18" fmla="*/ 110 w 172"/>
                  <a:gd name="T19" fmla="*/ 338 h 376"/>
                  <a:gd name="T20" fmla="*/ 54 w 172"/>
                  <a:gd name="T21" fmla="*/ 338 h 376"/>
                  <a:gd name="T22" fmla="*/ 54 w 172"/>
                  <a:gd name="T23" fmla="*/ 338 h 376"/>
                  <a:gd name="T24" fmla="*/ 46 w 172"/>
                  <a:gd name="T25" fmla="*/ 340 h 376"/>
                  <a:gd name="T26" fmla="*/ 40 w 172"/>
                  <a:gd name="T27" fmla="*/ 344 h 376"/>
                  <a:gd name="T28" fmla="*/ 38 w 172"/>
                  <a:gd name="T29" fmla="*/ 350 h 376"/>
                  <a:gd name="T30" fmla="*/ 36 w 172"/>
                  <a:gd name="T31" fmla="*/ 358 h 376"/>
                  <a:gd name="T32" fmla="*/ 36 w 172"/>
                  <a:gd name="T33" fmla="*/ 358 h 376"/>
                  <a:gd name="T34" fmla="*/ 38 w 172"/>
                  <a:gd name="T35" fmla="*/ 364 h 376"/>
                  <a:gd name="T36" fmla="*/ 40 w 172"/>
                  <a:gd name="T37" fmla="*/ 370 h 376"/>
                  <a:gd name="T38" fmla="*/ 46 w 172"/>
                  <a:gd name="T39" fmla="*/ 374 h 376"/>
                  <a:gd name="T40" fmla="*/ 54 w 172"/>
                  <a:gd name="T41" fmla="*/ 376 h 376"/>
                  <a:gd name="T42" fmla="*/ 140 w 172"/>
                  <a:gd name="T43" fmla="*/ 376 h 376"/>
                  <a:gd name="T44" fmla="*/ 140 w 172"/>
                  <a:gd name="T45" fmla="*/ 376 h 376"/>
                  <a:gd name="T46" fmla="*/ 148 w 172"/>
                  <a:gd name="T47" fmla="*/ 374 h 376"/>
                  <a:gd name="T48" fmla="*/ 156 w 172"/>
                  <a:gd name="T49" fmla="*/ 368 h 376"/>
                  <a:gd name="T50" fmla="*/ 156 w 172"/>
                  <a:gd name="T51" fmla="*/ 368 h 376"/>
                  <a:gd name="T52" fmla="*/ 158 w 172"/>
                  <a:gd name="T53" fmla="*/ 358 h 376"/>
                  <a:gd name="T54" fmla="*/ 156 w 172"/>
                  <a:gd name="T55" fmla="*/ 350 h 376"/>
                  <a:gd name="T56" fmla="*/ 96 w 172"/>
                  <a:gd name="T57" fmla="*/ 224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2" h="376">
                    <a:moveTo>
                      <a:pt x="96" y="224"/>
                    </a:moveTo>
                    <a:lnTo>
                      <a:pt x="96" y="224"/>
                    </a:lnTo>
                    <a:lnTo>
                      <a:pt x="94" y="220"/>
                    </a:lnTo>
                    <a:lnTo>
                      <a:pt x="88" y="218"/>
                    </a:lnTo>
                    <a:lnTo>
                      <a:pt x="172" y="22"/>
                    </a:lnTo>
                    <a:lnTo>
                      <a:pt x="122" y="0"/>
                    </a:lnTo>
                    <a:lnTo>
                      <a:pt x="0" y="282"/>
                    </a:lnTo>
                    <a:lnTo>
                      <a:pt x="52" y="304"/>
                    </a:lnTo>
                    <a:lnTo>
                      <a:pt x="72" y="258"/>
                    </a:lnTo>
                    <a:lnTo>
                      <a:pt x="110" y="338"/>
                    </a:lnTo>
                    <a:lnTo>
                      <a:pt x="54" y="338"/>
                    </a:lnTo>
                    <a:lnTo>
                      <a:pt x="54" y="338"/>
                    </a:lnTo>
                    <a:lnTo>
                      <a:pt x="46" y="340"/>
                    </a:lnTo>
                    <a:lnTo>
                      <a:pt x="40" y="344"/>
                    </a:lnTo>
                    <a:lnTo>
                      <a:pt x="38" y="350"/>
                    </a:lnTo>
                    <a:lnTo>
                      <a:pt x="36" y="358"/>
                    </a:lnTo>
                    <a:lnTo>
                      <a:pt x="36" y="358"/>
                    </a:lnTo>
                    <a:lnTo>
                      <a:pt x="38" y="364"/>
                    </a:lnTo>
                    <a:lnTo>
                      <a:pt x="40" y="370"/>
                    </a:lnTo>
                    <a:lnTo>
                      <a:pt x="46" y="374"/>
                    </a:lnTo>
                    <a:lnTo>
                      <a:pt x="54" y="376"/>
                    </a:lnTo>
                    <a:lnTo>
                      <a:pt x="140" y="376"/>
                    </a:lnTo>
                    <a:lnTo>
                      <a:pt x="140" y="376"/>
                    </a:lnTo>
                    <a:lnTo>
                      <a:pt x="148" y="374"/>
                    </a:lnTo>
                    <a:lnTo>
                      <a:pt x="156" y="368"/>
                    </a:lnTo>
                    <a:lnTo>
                      <a:pt x="156" y="368"/>
                    </a:lnTo>
                    <a:lnTo>
                      <a:pt x="158" y="358"/>
                    </a:lnTo>
                    <a:lnTo>
                      <a:pt x="156" y="350"/>
                    </a:lnTo>
                    <a:lnTo>
                      <a:pt x="96" y="224"/>
                    </a:lnTo>
                    <a:close/>
                  </a:path>
                </a:pathLst>
              </a:custGeom>
              <a:grpFill/>
              <a:ln>
                <a:noFill/>
              </a:ln>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Segoe UI"/>
                  <a:ea typeface="+mn-ea"/>
                  <a:cs typeface="+mn-cs"/>
                </a:endParaRPr>
              </a:p>
            </p:txBody>
          </p:sp>
          <p:sp>
            <p:nvSpPr>
              <p:cNvPr id="395" name="Rectangle 394"/>
              <p:cNvSpPr/>
              <p:nvPr/>
            </p:nvSpPr>
            <p:spPr bwMode="auto">
              <a:xfrm>
                <a:off x="446928" y="2662225"/>
                <a:ext cx="221285" cy="170718"/>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799"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grpSp>
        <p:grpSp>
          <p:nvGrpSpPr>
            <p:cNvPr id="384" name="Group 383"/>
            <p:cNvGrpSpPr/>
            <p:nvPr/>
          </p:nvGrpSpPr>
          <p:grpSpPr>
            <a:xfrm rot="13971796">
              <a:off x="10451149" y="4189402"/>
              <a:ext cx="98573" cy="145820"/>
              <a:chOff x="2687372" y="3149601"/>
              <a:chExt cx="81465" cy="132564"/>
            </a:xfrm>
            <a:grpFill/>
          </p:grpSpPr>
          <p:sp>
            <p:nvSpPr>
              <p:cNvPr id="385"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w="9525" cap="flat" cmpd="sng" algn="ctr">
                <a:noFill/>
                <a:prstDash val="solid"/>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386"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w="9525" cap="flat" cmpd="sng" algn="ctr">
                <a:noFill/>
                <a:prstDash val="solid"/>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387"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w="9525" cap="flat" cmpd="sng" algn="ctr">
                <a:noFill/>
                <a:prstDash val="solid"/>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388"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w="9525" cap="flat" cmpd="sng" algn="ctr">
                <a:noFill/>
                <a:prstDash val="solid"/>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389"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w="9525" cap="flat" cmpd="sng" algn="ctr">
                <a:noFill/>
                <a:prstDash val="solid"/>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sp>
            <p:nvSpPr>
              <p:cNvPr id="390"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w="9525" cap="flat" cmpd="sng" algn="ctr">
                <a:noFill/>
                <a:prstDash val="solid"/>
                <a:headEnd type="none" w="med" len="med"/>
                <a:tailEnd type="none" w="med" len="med"/>
              </a:ln>
              <a:effectLst/>
              <a:extLst>
                <a:ext uri="{91240B29-F687-4f45-9708-019B960494DF}">
                  <a14:hiddenLine xmlns="" xmlns:a14="http://schemas.microsoft.com/office/drawing/2010/main" w="9525">
                    <a:solidFill>
                      <a:srgbClr val="000000"/>
                    </a:solidFill>
                    <a:round/>
                    <a:headEnd/>
                    <a:tailEnd/>
                  </a14:hiddenLine>
                </a:ext>
              </a:extLst>
            </p:spPr>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100" normalizeH="0" baseline="0" noProof="0">
                  <a:ln w="3175">
                    <a:noFill/>
                  </a:ln>
                  <a:gradFill flip="none" rotWithShape="1">
                    <a:gsLst>
                      <a:gs pos="0">
                        <a:srgbClr val="000000">
                          <a:lumMod val="65000"/>
                          <a:lumOff val="35000"/>
                        </a:srgbClr>
                      </a:gs>
                      <a:gs pos="86000">
                        <a:srgbClr val="000000">
                          <a:lumMod val="65000"/>
                          <a:lumOff val="35000"/>
                        </a:srgbClr>
                      </a:gs>
                    </a:gsLst>
                    <a:lin ang="5400000" scaled="0"/>
                    <a:tileRect/>
                  </a:gradFill>
                  <a:effectLst/>
                  <a:uLnTx/>
                  <a:uFillTx/>
                  <a:latin typeface="Segoe UI"/>
                  <a:ea typeface="+mn-ea"/>
                  <a:cs typeface="Arial" charset="0"/>
                </a:endParaRPr>
              </a:p>
            </p:txBody>
          </p:sp>
        </p:grpSp>
      </p:grpSp>
      <p:sp>
        <p:nvSpPr>
          <p:cNvPr id="108" name="Rectangle 107"/>
          <p:cNvSpPr/>
          <p:nvPr/>
        </p:nvSpPr>
        <p:spPr bwMode="auto">
          <a:xfrm>
            <a:off x="7987960" y="3525119"/>
            <a:ext cx="796682" cy="276999"/>
          </a:xfrm>
          <a:prstGeom prst="rect">
            <a:avLst/>
          </a:prstGeom>
          <a:noFill/>
          <a:ln w="9525" cap="flat" cmpd="sng" algn="ctr">
            <a:noFill/>
            <a:prstDash val="sysDot"/>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ctr" defTabSz="60888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505050"/>
                </a:solidFill>
                <a:effectLst/>
                <a:uLnTx/>
                <a:uFillTx/>
                <a:latin typeface="Segoe UI"/>
                <a:ea typeface="+mn-ea"/>
                <a:cs typeface="+mn-cs"/>
              </a:rPr>
              <a:t>Sensors Telemetry</a:t>
            </a:r>
          </a:p>
        </p:txBody>
      </p:sp>
      <p:grpSp>
        <p:nvGrpSpPr>
          <p:cNvPr id="398" name="Group 397"/>
          <p:cNvGrpSpPr/>
          <p:nvPr/>
        </p:nvGrpSpPr>
        <p:grpSpPr>
          <a:xfrm>
            <a:off x="7498484" y="3374458"/>
            <a:ext cx="570650" cy="463679"/>
            <a:chOff x="7046961" y="2899500"/>
            <a:chExt cx="1590371" cy="1292248"/>
          </a:xfrm>
          <a:solidFill>
            <a:srgbClr val="5E83BD"/>
          </a:solidFill>
        </p:grpSpPr>
        <p:grpSp>
          <p:nvGrpSpPr>
            <p:cNvPr id="399" name="Group 398"/>
            <p:cNvGrpSpPr>
              <a:grpSpLocks noChangeAspect="1"/>
            </p:cNvGrpSpPr>
            <p:nvPr/>
          </p:nvGrpSpPr>
          <p:grpSpPr>
            <a:xfrm rot="1687298">
              <a:off x="7059034" y="3545696"/>
              <a:ext cx="254191" cy="208701"/>
              <a:chOff x="-4435475" y="1371600"/>
              <a:chExt cx="4435475" cy="3641725"/>
            </a:xfrm>
            <a:grpFill/>
          </p:grpSpPr>
          <p:sp>
            <p:nvSpPr>
              <p:cNvPr id="443" name="Freeform 72"/>
              <p:cNvSpPr>
                <a:spLocks/>
              </p:cNvSpPr>
              <p:nvPr/>
            </p:nvSpPr>
            <p:spPr bwMode="auto">
              <a:xfrm>
                <a:off x="-4435475" y="1371600"/>
                <a:ext cx="4435475" cy="3641725"/>
              </a:xfrm>
              <a:custGeom>
                <a:avLst/>
                <a:gdLst>
                  <a:gd name="T0" fmla="*/ 2794 w 2794"/>
                  <a:gd name="T1" fmla="*/ 1290 h 2294"/>
                  <a:gd name="T2" fmla="*/ 2772 w 2794"/>
                  <a:gd name="T3" fmla="*/ 1194 h 2294"/>
                  <a:gd name="T4" fmla="*/ 2698 w 2794"/>
                  <a:gd name="T5" fmla="*/ 1096 h 2294"/>
                  <a:gd name="T6" fmla="*/ 2634 w 2794"/>
                  <a:gd name="T7" fmla="*/ 1056 h 2294"/>
                  <a:gd name="T8" fmla="*/ 2578 w 2794"/>
                  <a:gd name="T9" fmla="*/ 992 h 2294"/>
                  <a:gd name="T10" fmla="*/ 2558 w 2794"/>
                  <a:gd name="T11" fmla="*/ 934 h 2294"/>
                  <a:gd name="T12" fmla="*/ 2490 w 2794"/>
                  <a:gd name="T13" fmla="*/ 880 h 2294"/>
                  <a:gd name="T14" fmla="*/ 2310 w 2794"/>
                  <a:gd name="T15" fmla="*/ 878 h 2294"/>
                  <a:gd name="T16" fmla="*/ 2196 w 2794"/>
                  <a:gd name="T17" fmla="*/ 878 h 2294"/>
                  <a:gd name="T18" fmla="*/ 2148 w 2794"/>
                  <a:gd name="T19" fmla="*/ 854 h 2294"/>
                  <a:gd name="T20" fmla="*/ 2138 w 2794"/>
                  <a:gd name="T21" fmla="*/ 792 h 2294"/>
                  <a:gd name="T22" fmla="*/ 2128 w 2794"/>
                  <a:gd name="T23" fmla="*/ 742 h 2294"/>
                  <a:gd name="T24" fmla="*/ 2102 w 2794"/>
                  <a:gd name="T25" fmla="*/ 696 h 2294"/>
                  <a:gd name="T26" fmla="*/ 2032 w 2794"/>
                  <a:gd name="T27" fmla="*/ 650 h 2294"/>
                  <a:gd name="T28" fmla="*/ 1980 w 2794"/>
                  <a:gd name="T29" fmla="*/ 640 h 2294"/>
                  <a:gd name="T30" fmla="*/ 1960 w 2794"/>
                  <a:gd name="T31" fmla="*/ 638 h 2294"/>
                  <a:gd name="T32" fmla="*/ 1942 w 2794"/>
                  <a:gd name="T33" fmla="*/ 392 h 2294"/>
                  <a:gd name="T34" fmla="*/ 1930 w 2794"/>
                  <a:gd name="T35" fmla="*/ 246 h 2294"/>
                  <a:gd name="T36" fmla="*/ 1852 w 2794"/>
                  <a:gd name="T37" fmla="*/ 182 h 2294"/>
                  <a:gd name="T38" fmla="*/ 1794 w 2794"/>
                  <a:gd name="T39" fmla="*/ 180 h 2294"/>
                  <a:gd name="T40" fmla="*/ 1792 w 2794"/>
                  <a:gd name="T41" fmla="*/ 172 h 2294"/>
                  <a:gd name="T42" fmla="*/ 1786 w 2794"/>
                  <a:gd name="T43" fmla="*/ 94 h 2294"/>
                  <a:gd name="T44" fmla="*/ 1732 w 2794"/>
                  <a:gd name="T45" fmla="*/ 40 h 2294"/>
                  <a:gd name="T46" fmla="*/ 1618 w 2794"/>
                  <a:gd name="T47" fmla="*/ 2 h 2294"/>
                  <a:gd name="T48" fmla="*/ 1092 w 2794"/>
                  <a:gd name="T49" fmla="*/ 0 h 2294"/>
                  <a:gd name="T50" fmla="*/ 728 w 2794"/>
                  <a:gd name="T51" fmla="*/ 6 h 2294"/>
                  <a:gd name="T52" fmla="*/ 646 w 2794"/>
                  <a:gd name="T53" fmla="*/ 36 h 2294"/>
                  <a:gd name="T54" fmla="*/ 576 w 2794"/>
                  <a:gd name="T55" fmla="*/ 166 h 2294"/>
                  <a:gd name="T56" fmla="*/ 536 w 2794"/>
                  <a:gd name="T57" fmla="*/ 172 h 2294"/>
                  <a:gd name="T58" fmla="*/ 446 w 2794"/>
                  <a:gd name="T59" fmla="*/ 220 h 2294"/>
                  <a:gd name="T60" fmla="*/ 424 w 2794"/>
                  <a:gd name="T61" fmla="*/ 312 h 2294"/>
                  <a:gd name="T62" fmla="*/ 412 w 2794"/>
                  <a:gd name="T63" fmla="*/ 640 h 2294"/>
                  <a:gd name="T64" fmla="*/ 324 w 2794"/>
                  <a:gd name="T65" fmla="*/ 644 h 2294"/>
                  <a:gd name="T66" fmla="*/ 248 w 2794"/>
                  <a:gd name="T67" fmla="*/ 682 h 2294"/>
                  <a:gd name="T68" fmla="*/ 206 w 2794"/>
                  <a:gd name="T69" fmla="*/ 738 h 2294"/>
                  <a:gd name="T70" fmla="*/ 170 w 2794"/>
                  <a:gd name="T71" fmla="*/ 766 h 2294"/>
                  <a:gd name="T72" fmla="*/ 52 w 2794"/>
                  <a:gd name="T73" fmla="*/ 872 h 2294"/>
                  <a:gd name="T74" fmla="*/ 14 w 2794"/>
                  <a:gd name="T75" fmla="*/ 994 h 2294"/>
                  <a:gd name="T76" fmla="*/ 8 w 2794"/>
                  <a:gd name="T77" fmla="*/ 1174 h 2294"/>
                  <a:gd name="T78" fmla="*/ 4 w 2794"/>
                  <a:gd name="T79" fmla="*/ 1584 h 2294"/>
                  <a:gd name="T80" fmla="*/ 2 w 2794"/>
                  <a:gd name="T81" fmla="*/ 1824 h 2294"/>
                  <a:gd name="T82" fmla="*/ 24 w 2794"/>
                  <a:gd name="T83" fmla="*/ 1964 h 2294"/>
                  <a:gd name="T84" fmla="*/ 82 w 2794"/>
                  <a:gd name="T85" fmla="*/ 2080 h 2294"/>
                  <a:gd name="T86" fmla="*/ 158 w 2794"/>
                  <a:gd name="T87" fmla="*/ 2154 h 2294"/>
                  <a:gd name="T88" fmla="*/ 240 w 2794"/>
                  <a:gd name="T89" fmla="*/ 2200 h 2294"/>
                  <a:gd name="T90" fmla="*/ 374 w 2794"/>
                  <a:gd name="T91" fmla="*/ 2274 h 2294"/>
                  <a:gd name="T92" fmla="*/ 496 w 2794"/>
                  <a:gd name="T93" fmla="*/ 2292 h 2294"/>
                  <a:gd name="T94" fmla="*/ 922 w 2794"/>
                  <a:gd name="T95" fmla="*/ 2286 h 2294"/>
                  <a:gd name="T96" fmla="*/ 1844 w 2794"/>
                  <a:gd name="T97" fmla="*/ 2280 h 2294"/>
                  <a:gd name="T98" fmla="*/ 2022 w 2794"/>
                  <a:gd name="T99" fmla="*/ 2260 h 2294"/>
                  <a:gd name="T100" fmla="*/ 2082 w 2794"/>
                  <a:gd name="T101" fmla="*/ 2210 h 2294"/>
                  <a:gd name="T102" fmla="*/ 2118 w 2794"/>
                  <a:gd name="T103" fmla="*/ 2126 h 2294"/>
                  <a:gd name="T104" fmla="*/ 2170 w 2794"/>
                  <a:gd name="T105" fmla="*/ 2054 h 2294"/>
                  <a:gd name="T106" fmla="*/ 2232 w 2794"/>
                  <a:gd name="T107" fmla="*/ 2046 h 2294"/>
                  <a:gd name="T108" fmla="*/ 2510 w 2794"/>
                  <a:gd name="T109" fmla="*/ 2042 h 2294"/>
                  <a:gd name="T110" fmla="*/ 2572 w 2794"/>
                  <a:gd name="T111" fmla="*/ 1966 h 2294"/>
                  <a:gd name="T112" fmla="*/ 2576 w 2794"/>
                  <a:gd name="T113" fmla="*/ 1898 h 2294"/>
                  <a:gd name="T114" fmla="*/ 2696 w 2794"/>
                  <a:gd name="T115" fmla="*/ 1852 h 2294"/>
                  <a:gd name="T116" fmla="*/ 2756 w 2794"/>
                  <a:gd name="T117" fmla="*/ 1782 h 2294"/>
                  <a:gd name="T118" fmla="*/ 2786 w 2794"/>
                  <a:gd name="T119" fmla="*/ 1672 h 2294"/>
                  <a:gd name="T120" fmla="*/ 2788 w 2794"/>
                  <a:gd name="T121" fmla="*/ 1464 h 2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94" h="2294">
                    <a:moveTo>
                      <a:pt x="2790" y="1414"/>
                    </a:moveTo>
                    <a:lnTo>
                      <a:pt x="2790" y="1414"/>
                    </a:lnTo>
                    <a:lnTo>
                      <a:pt x="2794" y="1366"/>
                    </a:lnTo>
                    <a:lnTo>
                      <a:pt x="2794" y="1316"/>
                    </a:lnTo>
                    <a:lnTo>
                      <a:pt x="2794" y="1290"/>
                    </a:lnTo>
                    <a:lnTo>
                      <a:pt x="2790" y="1264"/>
                    </a:lnTo>
                    <a:lnTo>
                      <a:pt x="2786" y="1236"/>
                    </a:lnTo>
                    <a:lnTo>
                      <a:pt x="2778" y="1210"/>
                    </a:lnTo>
                    <a:lnTo>
                      <a:pt x="2778" y="1210"/>
                    </a:lnTo>
                    <a:lnTo>
                      <a:pt x="2772" y="1194"/>
                    </a:lnTo>
                    <a:lnTo>
                      <a:pt x="2766" y="1178"/>
                    </a:lnTo>
                    <a:lnTo>
                      <a:pt x="2750" y="1150"/>
                    </a:lnTo>
                    <a:lnTo>
                      <a:pt x="2732" y="1128"/>
                    </a:lnTo>
                    <a:lnTo>
                      <a:pt x="2714" y="1110"/>
                    </a:lnTo>
                    <a:lnTo>
                      <a:pt x="2698" y="1096"/>
                    </a:lnTo>
                    <a:lnTo>
                      <a:pt x="2684" y="1086"/>
                    </a:lnTo>
                    <a:lnTo>
                      <a:pt x="2672" y="1078"/>
                    </a:lnTo>
                    <a:lnTo>
                      <a:pt x="2672" y="1078"/>
                    </a:lnTo>
                    <a:lnTo>
                      <a:pt x="2652" y="1068"/>
                    </a:lnTo>
                    <a:lnTo>
                      <a:pt x="2634" y="1056"/>
                    </a:lnTo>
                    <a:lnTo>
                      <a:pt x="2618" y="1044"/>
                    </a:lnTo>
                    <a:lnTo>
                      <a:pt x="2604" y="1030"/>
                    </a:lnTo>
                    <a:lnTo>
                      <a:pt x="2592" y="1018"/>
                    </a:lnTo>
                    <a:lnTo>
                      <a:pt x="2584" y="1004"/>
                    </a:lnTo>
                    <a:lnTo>
                      <a:pt x="2578" y="992"/>
                    </a:lnTo>
                    <a:lnTo>
                      <a:pt x="2576" y="980"/>
                    </a:lnTo>
                    <a:lnTo>
                      <a:pt x="2576" y="980"/>
                    </a:lnTo>
                    <a:lnTo>
                      <a:pt x="2574" y="966"/>
                    </a:lnTo>
                    <a:lnTo>
                      <a:pt x="2568" y="952"/>
                    </a:lnTo>
                    <a:lnTo>
                      <a:pt x="2558" y="934"/>
                    </a:lnTo>
                    <a:lnTo>
                      <a:pt x="2544" y="916"/>
                    </a:lnTo>
                    <a:lnTo>
                      <a:pt x="2528" y="902"/>
                    </a:lnTo>
                    <a:lnTo>
                      <a:pt x="2510" y="888"/>
                    </a:lnTo>
                    <a:lnTo>
                      <a:pt x="2500" y="884"/>
                    </a:lnTo>
                    <a:lnTo>
                      <a:pt x="2490" y="880"/>
                    </a:lnTo>
                    <a:lnTo>
                      <a:pt x="2480" y="878"/>
                    </a:lnTo>
                    <a:lnTo>
                      <a:pt x="2470" y="878"/>
                    </a:lnTo>
                    <a:lnTo>
                      <a:pt x="2470" y="878"/>
                    </a:lnTo>
                    <a:lnTo>
                      <a:pt x="2422" y="878"/>
                    </a:lnTo>
                    <a:lnTo>
                      <a:pt x="2310" y="878"/>
                    </a:lnTo>
                    <a:lnTo>
                      <a:pt x="2310" y="878"/>
                    </a:lnTo>
                    <a:lnTo>
                      <a:pt x="2232" y="878"/>
                    </a:lnTo>
                    <a:lnTo>
                      <a:pt x="2232" y="878"/>
                    </a:lnTo>
                    <a:lnTo>
                      <a:pt x="2196" y="878"/>
                    </a:lnTo>
                    <a:lnTo>
                      <a:pt x="2196" y="878"/>
                    </a:lnTo>
                    <a:lnTo>
                      <a:pt x="2184" y="878"/>
                    </a:lnTo>
                    <a:lnTo>
                      <a:pt x="2174" y="874"/>
                    </a:lnTo>
                    <a:lnTo>
                      <a:pt x="2164" y="870"/>
                    </a:lnTo>
                    <a:lnTo>
                      <a:pt x="2156" y="862"/>
                    </a:lnTo>
                    <a:lnTo>
                      <a:pt x="2148" y="854"/>
                    </a:lnTo>
                    <a:lnTo>
                      <a:pt x="2144" y="844"/>
                    </a:lnTo>
                    <a:lnTo>
                      <a:pt x="2140" y="832"/>
                    </a:lnTo>
                    <a:lnTo>
                      <a:pt x="2140" y="820"/>
                    </a:lnTo>
                    <a:lnTo>
                      <a:pt x="2140" y="820"/>
                    </a:lnTo>
                    <a:lnTo>
                      <a:pt x="2138" y="792"/>
                    </a:lnTo>
                    <a:lnTo>
                      <a:pt x="2138" y="792"/>
                    </a:lnTo>
                    <a:lnTo>
                      <a:pt x="2138" y="792"/>
                    </a:lnTo>
                    <a:lnTo>
                      <a:pt x="2138" y="780"/>
                    </a:lnTo>
                    <a:lnTo>
                      <a:pt x="2136" y="768"/>
                    </a:lnTo>
                    <a:lnTo>
                      <a:pt x="2128" y="742"/>
                    </a:lnTo>
                    <a:lnTo>
                      <a:pt x="2116" y="716"/>
                    </a:lnTo>
                    <a:lnTo>
                      <a:pt x="2110" y="706"/>
                    </a:lnTo>
                    <a:lnTo>
                      <a:pt x="2102" y="696"/>
                    </a:lnTo>
                    <a:lnTo>
                      <a:pt x="2102" y="696"/>
                    </a:lnTo>
                    <a:lnTo>
                      <a:pt x="2102" y="696"/>
                    </a:lnTo>
                    <a:lnTo>
                      <a:pt x="2090" y="684"/>
                    </a:lnTo>
                    <a:lnTo>
                      <a:pt x="2078" y="674"/>
                    </a:lnTo>
                    <a:lnTo>
                      <a:pt x="2064" y="664"/>
                    </a:lnTo>
                    <a:lnTo>
                      <a:pt x="2048" y="656"/>
                    </a:lnTo>
                    <a:lnTo>
                      <a:pt x="2032" y="650"/>
                    </a:lnTo>
                    <a:lnTo>
                      <a:pt x="2016" y="646"/>
                    </a:lnTo>
                    <a:lnTo>
                      <a:pt x="1998" y="642"/>
                    </a:lnTo>
                    <a:lnTo>
                      <a:pt x="1980" y="640"/>
                    </a:lnTo>
                    <a:lnTo>
                      <a:pt x="1980" y="640"/>
                    </a:lnTo>
                    <a:lnTo>
                      <a:pt x="1980" y="640"/>
                    </a:lnTo>
                    <a:lnTo>
                      <a:pt x="1976" y="640"/>
                    </a:lnTo>
                    <a:lnTo>
                      <a:pt x="1976" y="640"/>
                    </a:lnTo>
                    <a:lnTo>
                      <a:pt x="1976" y="640"/>
                    </a:lnTo>
                    <a:lnTo>
                      <a:pt x="1960" y="638"/>
                    </a:lnTo>
                    <a:lnTo>
                      <a:pt x="1960" y="638"/>
                    </a:lnTo>
                    <a:lnTo>
                      <a:pt x="1942" y="640"/>
                    </a:lnTo>
                    <a:lnTo>
                      <a:pt x="1940" y="640"/>
                    </a:lnTo>
                    <a:lnTo>
                      <a:pt x="1940" y="640"/>
                    </a:lnTo>
                    <a:lnTo>
                      <a:pt x="1942" y="476"/>
                    </a:lnTo>
                    <a:lnTo>
                      <a:pt x="1942" y="392"/>
                    </a:lnTo>
                    <a:lnTo>
                      <a:pt x="1940" y="320"/>
                    </a:lnTo>
                    <a:lnTo>
                      <a:pt x="1940" y="286"/>
                    </a:lnTo>
                    <a:lnTo>
                      <a:pt x="1940" y="286"/>
                    </a:lnTo>
                    <a:lnTo>
                      <a:pt x="1936" y="266"/>
                    </a:lnTo>
                    <a:lnTo>
                      <a:pt x="1930" y="246"/>
                    </a:lnTo>
                    <a:lnTo>
                      <a:pt x="1920" y="228"/>
                    </a:lnTo>
                    <a:lnTo>
                      <a:pt x="1906" y="212"/>
                    </a:lnTo>
                    <a:lnTo>
                      <a:pt x="1890" y="198"/>
                    </a:lnTo>
                    <a:lnTo>
                      <a:pt x="1872" y="188"/>
                    </a:lnTo>
                    <a:lnTo>
                      <a:pt x="1852" y="182"/>
                    </a:lnTo>
                    <a:lnTo>
                      <a:pt x="1830" y="180"/>
                    </a:lnTo>
                    <a:lnTo>
                      <a:pt x="1796" y="180"/>
                    </a:lnTo>
                    <a:lnTo>
                      <a:pt x="1796" y="180"/>
                    </a:lnTo>
                    <a:lnTo>
                      <a:pt x="1794" y="180"/>
                    </a:lnTo>
                    <a:lnTo>
                      <a:pt x="1794" y="180"/>
                    </a:lnTo>
                    <a:lnTo>
                      <a:pt x="1792" y="178"/>
                    </a:lnTo>
                    <a:lnTo>
                      <a:pt x="1792" y="174"/>
                    </a:lnTo>
                    <a:lnTo>
                      <a:pt x="1792" y="174"/>
                    </a:lnTo>
                    <a:lnTo>
                      <a:pt x="1792" y="172"/>
                    </a:lnTo>
                    <a:lnTo>
                      <a:pt x="1792" y="172"/>
                    </a:lnTo>
                    <a:lnTo>
                      <a:pt x="1794" y="152"/>
                    </a:lnTo>
                    <a:lnTo>
                      <a:pt x="1796" y="134"/>
                    </a:lnTo>
                    <a:lnTo>
                      <a:pt x="1794" y="120"/>
                    </a:lnTo>
                    <a:lnTo>
                      <a:pt x="1792" y="110"/>
                    </a:lnTo>
                    <a:lnTo>
                      <a:pt x="1786" y="94"/>
                    </a:lnTo>
                    <a:lnTo>
                      <a:pt x="1784" y="88"/>
                    </a:lnTo>
                    <a:lnTo>
                      <a:pt x="1784" y="88"/>
                    </a:lnTo>
                    <a:lnTo>
                      <a:pt x="1770" y="70"/>
                    </a:lnTo>
                    <a:lnTo>
                      <a:pt x="1752" y="54"/>
                    </a:lnTo>
                    <a:lnTo>
                      <a:pt x="1732" y="40"/>
                    </a:lnTo>
                    <a:lnTo>
                      <a:pt x="1710" y="26"/>
                    </a:lnTo>
                    <a:lnTo>
                      <a:pt x="1688" y="16"/>
                    </a:lnTo>
                    <a:lnTo>
                      <a:pt x="1664" y="8"/>
                    </a:lnTo>
                    <a:lnTo>
                      <a:pt x="1640" y="2"/>
                    </a:lnTo>
                    <a:lnTo>
                      <a:pt x="1618" y="2"/>
                    </a:lnTo>
                    <a:lnTo>
                      <a:pt x="1618" y="2"/>
                    </a:lnTo>
                    <a:lnTo>
                      <a:pt x="1526" y="2"/>
                    </a:lnTo>
                    <a:lnTo>
                      <a:pt x="1306" y="2"/>
                    </a:lnTo>
                    <a:lnTo>
                      <a:pt x="1306" y="2"/>
                    </a:lnTo>
                    <a:lnTo>
                      <a:pt x="1092" y="0"/>
                    </a:lnTo>
                    <a:lnTo>
                      <a:pt x="1092" y="0"/>
                    </a:lnTo>
                    <a:lnTo>
                      <a:pt x="890" y="2"/>
                    </a:lnTo>
                    <a:lnTo>
                      <a:pt x="728" y="6"/>
                    </a:lnTo>
                    <a:lnTo>
                      <a:pt x="728" y="6"/>
                    </a:lnTo>
                    <a:lnTo>
                      <a:pt x="728" y="6"/>
                    </a:lnTo>
                    <a:lnTo>
                      <a:pt x="708" y="8"/>
                    </a:lnTo>
                    <a:lnTo>
                      <a:pt x="684" y="16"/>
                    </a:lnTo>
                    <a:lnTo>
                      <a:pt x="664" y="24"/>
                    </a:lnTo>
                    <a:lnTo>
                      <a:pt x="646" y="36"/>
                    </a:lnTo>
                    <a:lnTo>
                      <a:pt x="646" y="36"/>
                    </a:lnTo>
                    <a:lnTo>
                      <a:pt x="646" y="36"/>
                    </a:lnTo>
                    <a:lnTo>
                      <a:pt x="594" y="74"/>
                    </a:lnTo>
                    <a:lnTo>
                      <a:pt x="594" y="74"/>
                    </a:lnTo>
                    <a:lnTo>
                      <a:pt x="580" y="144"/>
                    </a:lnTo>
                    <a:lnTo>
                      <a:pt x="576" y="166"/>
                    </a:lnTo>
                    <a:lnTo>
                      <a:pt x="572" y="172"/>
                    </a:lnTo>
                    <a:lnTo>
                      <a:pt x="572" y="172"/>
                    </a:lnTo>
                    <a:lnTo>
                      <a:pt x="568" y="172"/>
                    </a:lnTo>
                    <a:lnTo>
                      <a:pt x="536" y="172"/>
                    </a:lnTo>
                    <a:lnTo>
                      <a:pt x="536" y="172"/>
                    </a:lnTo>
                    <a:lnTo>
                      <a:pt x="516" y="176"/>
                    </a:lnTo>
                    <a:lnTo>
                      <a:pt x="496" y="182"/>
                    </a:lnTo>
                    <a:lnTo>
                      <a:pt x="476" y="192"/>
                    </a:lnTo>
                    <a:lnTo>
                      <a:pt x="460" y="204"/>
                    </a:lnTo>
                    <a:lnTo>
                      <a:pt x="446" y="220"/>
                    </a:lnTo>
                    <a:lnTo>
                      <a:pt x="436" y="238"/>
                    </a:lnTo>
                    <a:lnTo>
                      <a:pt x="430" y="258"/>
                    </a:lnTo>
                    <a:lnTo>
                      <a:pt x="426" y="280"/>
                    </a:lnTo>
                    <a:lnTo>
                      <a:pt x="424" y="312"/>
                    </a:lnTo>
                    <a:lnTo>
                      <a:pt x="424" y="312"/>
                    </a:lnTo>
                    <a:lnTo>
                      <a:pt x="424" y="386"/>
                    </a:lnTo>
                    <a:lnTo>
                      <a:pt x="424" y="472"/>
                    </a:lnTo>
                    <a:lnTo>
                      <a:pt x="426" y="640"/>
                    </a:lnTo>
                    <a:lnTo>
                      <a:pt x="412" y="640"/>
                    </a:lnTo>
                    <a:lnTo>
                      <a:pt x="412" y="640"/>
                    </a:lnTo>
                    <a:lnTo>
                      <a:pt x="380" y="638"/>
                    </a:lnTo>
                    <a:lnTo>
                      <a:pt x="380" y="638"/>
                    </a:lnTo>
                    <a:lnTo>
                      <a:pt x="362" y="638"/>
                    </a:lnTo>
                    <a:lnTo>
                      <a:pt x="342" y="640"/>
                    </a:lnTo>
                    <a:lnTo>
                      <a:pt x="324" y="644"/>
                    </a:lnTo>
                    <a:lnTo>
                      <a:pt x="308" y="650"/>
                    </a:lnTo>
                    <a:lnTo>
                      <a:pt x="292" y="656"/>
                    </a:lnTo>
                    <a:lnTo>
                      <a:pt x="276" y="662"/>
                    </a:lnTo>
                    <a:lnTo>
                      <a:pt x="262" y="672"/>
                    </a:lnTo>
                    <a:lnTo>
                      <a:pt x="248" y="682"/>
                    </a:lnTo>
                    <a:lnTo>
                      <a:pt x="248" y="682"/>
                    </a:lnTo>
                    <a:lnTo>
                      <a:pt x="248" y="682"/>
                    </a:lnTo>
                    <a:lnTo>
                      <a:pt x="232" y="700"/>
                    </a:lnTo>
                    <a:lnTo>
                      <a:pt x="216" y="718"/>
                    </a:lnTo>
                    <a:lnTo>
                      <a:pt x="206" y="738"/>
                    </a:lnTo>
                    <a:lnTo>
                      <a:pt x="202" y="746"/>
                    </a:lnTo>
                    <a:lnTo>
                      <a:pt x="200" y="754"/>
                    </a:lnTo>
                    <a:lnTo>
                      <a:pt x="200" y="754"/>
                    </a:lnTo>
                    <a:lnTo>
                      <a:pt x="200" y="754"/>
                    </a:lnTo>
                    <a:lnTo>
                      <a:pt x="170" y="766"/>
                    </a:lnTo>
                    <a:lnTo>
                      <a:pt x="142" y="780"/>
                    </a:lnTo>
                    <a:lnTo>
                      <a:pt x="114" y="798"/>
                    </a:lnTo>
                    <a:lnTo>
                      <a:pt x="92" y="820"/>
                    </a:lnTo>
                    <a:lnTo>
                      <a:pt x="70" y="844"/>
                    </a:lnTo>
                    <a:lnTo>
                      <a:pt x="52" y="872"/>
                    </a:lnTo>
                    <a:lnTo>
                      <a:pt x="38" y="904"/>
                    </a:lnTo>
                    <a:lnTo>
                      <a:pt x="26" y="938"/>
                    </a:lnTo>
                    <a:lnTo>
                      <a:pt x="26" y="938"/>
                    </a:lnTo>
                    <a:lnTo>
                      <a:pt x="20" y="966"/>
                    </a:lnTo>
                    <a:lnTo>
                      <a:pt x="14" y="994"/>
                    </a:lnTo>
                    <a:lnTo>
                      <a:pt x="12" y="1022"/>
                    </a:lnTo>
                    <a:lnTo>
                      <a:pt x="10" y="1050"/>
                    </a:lnTo>
                    <a:lnTo>
                      <a:pt x="8" y="1110"/>
                    </a:lnTo>
                    <a:lnTo>
                      <a:pt x="8" y="1174"/>
                    </a:lnTo>
                    <a:lnTo>
                      <a:pt x="8" y="1174"/>
                    </a:lnTo>
                    <a:lnTo>
                      <a:pt x="8" y="1210"/>
                    </a:lnTo>
                    <a:lnTo>
                      <a:pt x="8" y="1464"/>
                    </a:lnTo>
                    <a:lnTo>
                      <a:pt x="8" y="1464"/>
                    </a:lnTo>
                    <a:lnTo>
                      <a:pt x="6" y="1520"/>
                    </a:lnTo>
                    <a:lnTo>
                      <a:pt x="4" y="1584"/>
                    </a:lnTo>
                    <a:lnTo>
                      <a:pt x="4" y="1584"/>
                    </a:lnTo>
                    <a:lnTo>
                      <a:pt x="2" y="1662"/>
                    </a:lnTo>
                    <a:lnTo>
                      <a:pt x="0" y="1744"/>
                    </a:lnTo>
                    <a:lnTo>
                      <a:pt x="0" y="1784"/>
                    </a:lnTo>
                    <a:lnTo>
                      <a:pt x="2" y="1824"/>
                    </a:lnTo>
                    <a:lnTo>
                      <a:pt x="6" y="1864"/>
                    </a:lnTo>
                    <a:lnTo>
                      <a:pt x="10" y="1902"/>
                    </a:lnTo>
                    <a:lnTo>
                      <a:pt x="10" y="1902"/>
                    </a:lnTo>
                    <a:lnTo>
                      <a:pt x="16" y="1934"/>
                    </a:lnTo>
                    <a:lnTo>
                      <a:pt x="24" y="1964"/>
                    </a:lnTo>
                    <a:lnTo>
                      <a:pt x="34" y="1990"/>
                    </a:lnTo>
                    <a:lnTo>
                      <a:pt x="44" y="2016"/>
                    </a:lnTo>
                    <a:lnTo>
                      <a:pt x="56" y="2040"/>
                    </a:lnTo>
                    <a:lnTo>
                      <a:pt x="70" y="2060"/>
                    </a:lnTo>
                    <a:lnTo>
                      <a:pt x="82" y="2080"/>
                    </a:lnTo>
                    <a:lnTo>
                      <a:pt x="98" y="2098"/>
                    </a:lnTo>
                    <a:lnTo>
                      <a:pt x="112" y="2114"/>
                    </a:lnTo>
                    <a:lnTo>
                      <a:pt x="126" y="2130"/>
                    </a:lnTo>
                    <a:lnTo>
                      <a:pt x="142" y="2142"/>
                    </a:lnTo>
                    <a:lnTo>
                      <a:pt x="158" y="2154"/>
                    </a:lnTo>
                    <a:lnTo>
                      <a:pt x="188" y="2172"/>
                    </a:lnTo>
                    <a:lnTo>
                      <a:pt x="216" y="2186"/>
                    </a:lnTo>
                    <a:lnTo>
                      <a:pt x="216" y="2186"/>
                    </a:lnTo>
                    <a:lnTo>
                      <a:pt x="240" y="2200"/>
                    </a:lnTo>
                    <a:lnTo>
                      <a:pt x="240" y="2200"/>
                    </a:lnTo>
                    <a:lnTo>
                      <a:pt x="282" y="2230"/>
                    </a:lnTo>
                    <a:lnTo>
                      <a:pt x="304" y="2242"/>
                    </a:lnTo>
                    <a:lnTo>
                      <a:pt x="328" y="2254"/>
                    </a:lnTo>
                    <a:lnTo>
                      <a:pt x="350" y="2264"/>
                    </a:lnTo>
                    <a:lnTo>
                      <a:pt x="374" y="2274"/>
                    </a:lnTo>
                    <a:lnTo>
                      <a:pt x="398" y="2280"/>
                    </a:lnTo>
                    <a:lnTo>
                      <a:pt x="422" y="2286"/>
                    </a:lnTo>
                    <a:lnTo>
                      <a:pt x="422" y="2286"/>
                    </a:lnTo>
                    <a:lnTo>
                      <a:pt x="458" y="2290"/>
                    </a:lnTo>
                    <a:lnTo>
                      <a:pt x="496" y="2292"/>
                    </a:lnTo>
                    <a:lnTo>
                      <a:pt x="576" y="2294"/>
                    </a:lnTo>
                    <a:lnTo>
                      <a:pt x="656" y="2292"/>
                    </a:lnTo>
                    <a:lnTo>
                      <a:pt x="730" y="2290"/>
                    </a:lnTo>
                    <a:lnTo>
                      <a:pt x="730" y="2290"/>
                    </a:lnTo>
                    <a:lnTo>
                      <a:pt x="922" y="2286"/>
                    </a:lnTo>
                    <a:lnTo>
                      <a:pt x="1116" y="2284"/>
                    </a:lnTo>
                    <a:lnTo>
                      <a:pt x="1504" y="2282"/>
                    </a:lnTo>
                    <a:lnTo>
                      <a:pt x="1504" y="2282"/>
                    </a:lnTo>
                    <a:lnTo>
                      <a:pt x="1732" y="2282"/>
                    </a:lnTo>
                    <a:lnTo>
                      <a:pt x="1844" y="2280"/>
                    </a:lnTo>
                    <a:lnTo>
                      <a:pt x="1964" y="2274"/>
                    </a:lnTo>
                    <a:lnTo>
                      <a:pt x="1964" y="2274"/>
                    </a:lnTo>
                    <a:lnTo>
                      <a:pt x="1984" y="2272"/>
                    </a:lnTo>
                    <a:lnTo>
                      <a:pt x="2004" y="2268"/>
                    </a:lnTo>
                    <a:lnTo>
                      <a:pt x="2022" y="2260"/>
                    </a:lnTo>
                    <a:lnTo>
                      <a:pt x="2036" y="2252"/>
                    </a:lnTo>
                    <a:lnTo>
                      <a:pt x="2050" y="2242"/>
                    </a:lnTo>
                    <a:lnTo>
                      <a:pt x="2062" y="2232"/>
                    </a:lnTo>
                    <a:lnTo>
                      <a:pt x="2072" y="2220"/>
                    </a:lnTo>
                    <a:lnTo>
                      <a:pt x="2082" y="2210"/>
                    </a:lnTo>
                    <a:lnTo>
                      <a:pt x="2096" y="2186"/>
                    </a:lnTo>
                    <a:lnTo>
                      <a:pt x="2106" y="2166"/>
                    </a:lnTo>
                    <a:lnTo>
                      <a:pt x="2112" y="2148"/>
                    </a:lnTo>
                    <a:lnTo>
                      <a:pt x="2112" y="2148"/>
                    </a:lnTo>
                    <a:lnTo>
                      <a:pt x="2118" y="2126"/>
                    </a:lnTo>
                    <a:lnTo>
                      <a:pt x="2126" y="2108"/>
                    </a:lnTo>
                    <a:lnTo>
                      <a:pt x="2136" y="2090"/>
                    </a:lnTo>
                    <a:lnTo>
                      <a:pt x="2146" y="2076"/>
                    </a:lnTo>
                    <a:lnTo>
                      <a:pt x="2158" y="2064"/>
                    </a:lnTo>
                    <a:lnTo>
                      <a:pt x="2170" y="2054"/>
                    </a:lnTo>
                    <a:lnTo>
                      <a:pt x="2182" y="2048"/>
                    </a:lnTo>
                    <a:lnTo>
                      <a:pt x="2194" y="2046"/>
                    </a:lnTo>
                    <a:lnTo>
                      <a:pt x="2194" y="2046"/>
                    </a:lnTo>
                    <a:lnTo>
                      <a:pt x="2232" y="2046"/>
                    </a:lnTo>
                    <a:lnTo>
                      <a:pt x="2232" y="2046"/>
                    </a:lnTo>
                    <a:lnTo>
                      <a:pt x="2394" y="2048"/>
                    </a:lnTo>
                    <a:lnTo>
                      <a:pt x="2470" y="2048"/>
                    </a:lnTo>
                    <a:lnTo>
                      <a:pt x="2470" y="2048"/>
                    </a:lnTo>
                    <a:lnTo>
                      <a:pt x="2490" y="2048"/>
                    </a:lnTo>
                    <a:lnTo>
                      <a:pt x="2510" y="2042"/>
                    </a:lnTo>
                    <a:lnTo>
                      <a:pt x="2528" y="2032"/>
                    </a:lnTo>
                    <a:lnTo>
                      <a:pt x="2544" y="2018"/>
                    </a:lnTo>
                    <a:lnTo>
                      <a:pt x="2556" y="2004"/>
                    </a:lnTo>
                    <a:lnTo>
                      <a:pt x="2566" y="1986"/>
                    </a:lnTo>
                    <a:lnTo>
                      <a:pt x="2572" y="1966"/>
                    </a:lnTo>
                    <a:lnTo>
                      <a:pt x="2574" y="1944"/>
                    </a:lnTo>
                    <a:lnTo>
                      <a:pt x="2574" y="1944"/>
                    </a:lnTo>
                    <a:lnTo>
                      <a:pt x="2574" y="1922"/>
                    </a:lnTo>
                    <a:lnTo>
                      <a:pt x="2574" y="1906"/>
                    </a:lnTo>
                    <a:lnTo>
                      <a:pt x="2576" y="1898"/>
                    </a:lnTo>
                    <a:lnTo>
                      <a:pt x="2576" y="1898"/>
                    </a:lnTo>
                    <a:lnTo>
                      <a:pt x="2612" y="1892"/>
                    </a:lnTo>
                    <a:lnTo>
                      <a:pt x="2644" y="1880"/>
                    </a:lnTo>
                    <a:lnTo>
                      <a:pt x="2672" y="1868"/>
                    </a:lnTo>
                    <a:lnTo>
                      <a:pt x="2696" y="1852"/>
                    </a:lnTo>
                    <a:lnTo>
                      <a:pt x="2716" y="1836"/>
                    </a:lnTo>
                    <a:lnTo>
                      <a:pt x="2732" y="1818"/>
                    </a:lnTo>
                    <a:lnTo>
                      <a:pt x="2746" y="1800"/>
                    </a:lnTo>
                    <a:lnTo>
                      <a:pt x="2756" y="1782"/>
                    </a:lnTo>
                    <a:lnTo>
                      <a:pt x="2756" y="1782"/>
                    </a:lnTo>
                    <a:lnTo>
                      <a:pt x="2766" y="1760"/>
                    </a:lnTo>
                    <a:lnTo>
                      <a:pt x="2774" y="1738"/>
                    </a:lnTo>
                    <a:lnTo>
                      <a:pt x="2780" y="1716"/>
                    </a:lnTo>
                    <a:lnTo>
                      <a:pt x="2784" y="1694"/>
                    </a:lnTo>
                    <a:lnTo>
                      <a:pt x="2786" y="1672"/>
                    </a:lnTo>
                    <a:lnTo>
                      <a:pt x="2788" y="1652"/>
                    </a:lnTo>
                    <a:lnTo>
                      <a:pt x="2788" y="1612"/>
                    </a:lnTo>
                    <a:lnTo>
                      <a:pt x="2788" y="1612"/>
                    </a:lnTo>
                    <a:lnTo>
                      <a:pt x="2788" y="1594"/>
                    </a:lnTo>
                    <a:lnTo>
                      <a:pt x="2788" y="1464"/>
                    </a:lnTo>
                    <a:lnTo>
                      <a:pt x="2788" y="1464"/>
                    </a:lnTo>
                    <a:lnTo>
                      <a:pt x="2788" y="1442"/>
                    </a:lnTo>
                    <a:lnTo>
                      <a:pt x="2790" y="1414"/>
                    </a:lnTo>
                    <a:lnTo>
                      <a:pt x="2790" y="1414"/>
                    </a:lnTo>
                    <a:close/>
                  </a:path>
                </a:pathLst>
              </a:custGeom>
              <a:grpFill/>
              <a:ln>
                <a:noFill/>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Segoe UI"/>
                  <a:ea typeface="+mn-ea"/>
                  <a:cs typeface="+mn-cs"/>
                </a:endParaRPr>
              </a:p>
            </p:txBody>
          </p:sp>
          <p:grpSp>
            <p:nvGrpSpPr>
              <p:cNvPr id="444" name="Group 443"/>
              <p:cNvGrpSpPr/>
              <p:nvPr/>
            </p:nvGrpSpPr>
            <p:grpSpPr>
              <a:xfrm>
                <a:off x="-4206877" y="1603380"/>
                <a:ext cx="3978266" cy="3168652"/>
                <a:chOff x="-4206875" y="1603375"/>
                <a:chExt cx="3978275" cy="3168650"/>
              </a:xfrm>
              <a:grpFill/>
            </p:grpSpPr>
            <p:sp>
              <p:nvSpPr>
                <p:cNvPr id="445" name="Freeform 73"/>
                <p:cNvSpPr>
                  <a:spLocks/>
                </p:cNvSpPr>
                <p:nvPr/>
              </p:nvSpPr>
              <p:spPr bwMode="auto">
                <a:xfrm>
                  <a:off x="-3292475" y="1603375"/>
                  <a:ext cx="1476375" cy="180975"/>
                </a:xfrm>
                <a:custGeom>
                  <a:avLst/>
                  <a:gdLst>
                    <a:gd name="T0" fmla="*/ 930 w 930"/>
                    <a:gd name="T1" fmla="*/ 0 h 114"/>
                    <a:gd name="T2" fmla="*/ 930 w 930"/>
                    <a:gd name="T3" fmla="*/ 0 h 114"/>
                    <a:gd name="T4" fmla="*/ 928 w 930"/>
                    <a:gd name="T5" fmla="*/ 28 h 114"/>
                    <a:gd name="T6" fmla="*/ 928 w 930"/>
                    <a:gd name="T7" fmla="*/ 54 h 114"/>
                    <a:gd name="T8" fmla="*/ 928 w 930"/>
                    <a:gd name="T9" fmla="*/ 82 h 114"/>
                    <a:gd name="T10" fmla="*/ 928 w 930"/>
                    <a:gd name="T11" fmla="*/ 114 h 114"/>
                    <a:gd name="T12" fmla="*/ 928 w 930"/>
                    <a:gd name="T13" fmla="*/ 114 h 114"/>
                    <a:gd name="T14" fmla="*/ 0 w 930"/>
                    <a:gd name="T15" fmla="*/ 114 h 114"/>
                    <a:gd name="T16" fmla="*/ 0 w 930"/>
                    <a:gd name="T17" fmla="*/ 114 h 114"/>
                    <a:gd name="T18" fmla="*/ 0 w 930"/>
                    <a:gd name="T19" fmla="*/ 82 h 114"/>
                    <a:gd name="T20" fmla="*/ 0 w 930"/>
                    <a:gd name="T21" fmla="*/ 50 h 114"/>
                    <a:gd name="T22" fmla="*/ 0 w 930"/>
                    <a:gd name="T23" fmla="*/ 36 h 114"/>
                    <a:gd name="T24" fmla="*/ 2 w 930"/>
                    <a:gd name="T25" fmla="*/ 22 h 114"/>
                    <a:gd name="T26" fmla="*/ 6 w 930"/>
                    <a:gd name="T27" fmla="*/ 12 h 114"/>
                    <a:gd name="T28" fmla="*/ 12 w 930"/>
                    <a:gd name="T29" fmla="*/ 4 h 114"/>
                    <a:gd name="T30" fmla="*/ 12 w 930"/>
                    <a:gd name="T31" fmla="*/ 4 h 114"/>
                    <a:gd name="T32" fmla="*/ 122 w 930"/>
                    <a:gd name="T33" fmla="*/ 0 h 114"/>
                    <a:gd name="T34" fmla="*/ 236 w 930"/>
                    <a:gd name="T35" fmla="*/ 0 h 114"/>
                    <a:gd name="T36" fmla="*/ 470 w 930"/>
                    <a:gd name="T37" fmla="*/ 0 h 114"/>
                    <a:gd name="T38" fmla="*/ 706 w 930"/>
                    <a:gd name="T39" fmla="*/ 0 h 114"/>
                    <a:gd name="T40" fmla="*/ 930 w 930"/>
                    <a:gd name="T41" fmla="*/ 0 h 114"/>
                    <a:gd name="T42" fmla="*/ 930 w 930"/>
                    <a:gd name="T4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0" h="114">
                      <a:moveTo>
                        <a:pt x="930" y="0"/>
                      </a:moveTo>
                      <a:lnTo>
                        <a:pt x="930" y="0"/>
                      </a:lnTo>
                      <a:lnTo>
                        <a:pt x="928" y="28"/>
                      </a:lnTo>
                      <a:lnTo>
                        <a:pt x="928" y="54"/>
                      </a:lnTo>
                      <a:lnTo>
                        <a:pt x="928" y="82"/>
                      </a:lnTo>
                      <a:lnTo>
                        <a:pt x="928" y="114"/>
                      </a:lnTo>
                      <a:lnTo>
                        <a:pt x="928" y="114"/>
                      </a:lnTo>
                      <a:lnTo>
                        <a:pt x="0" y="114"/>
                      </a:lnTo>
                      <a:lnTo>
                        <a:pt x="0" y="114"/>
                      </a:lnTo>
                      <a:lnTo>
                        <a:pt x="0" y="82"/>
                      </a:lnTo>
                      <a:lnTo>
                        <a:pt x="0" y="50"/>
                      </a:lnTo>
                      <a:lnTo>
                        <a:pt x="0" y="36"/>
                      </a:lnTo>
                      <a:lnTo>
                        <a:pt x="2" y="22"/>
                      </a:lnTo>
                      <a:lnTo>
                        <a:pt x="6" y="12"/>
                      </a:lnTo>
                      <a:lnTo>
                        <a:pt x="12" y="4"/>
                      </a:lnTo>
                      <a:lnTo>
                        <a:pt x="12" y="4"/>
                      </a:lnTo>
                      <a:lnTo>
                        <a:pt x="122" y="0"/>
                      </a:lnTo>
                      <a:lnTo>
                        <a:pt x="236" y="0"/>
                      </a:lnTo>
                      <a:lnTo>
                        <a:pt x="470" y="0"/>
                      </a:lnTo>
                      <a:lnTo>
                        <a:pt x="706" y="0"/>
                      </a:lnTo>
                      <a:lnTo>
                        <a:pt x="930" y="0"/>
                      </a:lnTo>
                      <a:lnTo>
                        <a:pt x="93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Segoe UI"/>
                    <a:ea typeface="+mn-ea"/>
                    <a:cs typeface="+mn-cs"/>
                  </a:endParaRPr>
                </a:p>
              </p:txBody>
            </p:sp>
            <p:sp>
              <p:nvSpPr>
                <p:cNvPr id="446" name="Freeform 74"/>
                <p:cNvSpPr>
                  <a:spLocks/>
                </p:cNvSpPr>
                <p:nvPr/>
              </p:nvSpPr>
              <p:spPr bwMode="auto">
                <a:xfrm>
                  <a:off x="-3533775" y="1873250"/>
                  <a:ext cx="1952625" cy="628650"/>
                </a:xfrm>
                <a:custGeom>
                  <a:avLst/>
                  <a:gdLst>
                    <a:gd name="T0" fmla="*/ 1228 w 1230"/>
                    <a:gd name="T1" fmla="*/ 8 h 396"/>
                    <a:gd name="T2" fmla="*/ 1228 w 1230"/>
                    <a:gd name="T3" fmla="*/ 8 h 396"/>
                    <a:gd name="T4" fmla="*/ 1230 w 1230"/>
                    <a:gd name="T5" fmla="*/ 118 h 396"/>
                    <a:gd name="T6" fmla="*/ 1228 w 1230"/>
                    <a:gd name="T7" fmla="*/ 246 h 396"/>
                    <a:gd name="T8" fmla="*/ 1226 w 1230"/>
                    <a:gd name="T9" fmla="*/ 396 h 396"/>
                    <a:gd name="T10" fmla="*/ 6 w 1230"/>
                    <a:gd name="T11" fmla="*/ 396 h 396"/>
                    <a:gd name="T12" fmla="*/ 6 w 1230"/>
                    <a:gd name="T13" fmla="*/ 396 h 396"/>
                    <a:gd name="T14" fmla="*/ 2 w 1230"/>
                    <a:gd name="T15" fmla="*/ 244 h 396"/>
                    <a:gd name="T16" fmla="*/ 0 w 1230"/>
                    <a:gd name="T17" fmla="*/ 114 h 396"/>
                    <a:gd name="T18" fmla="*/ 0 w 1230"/>
                    <a:gd name="T19" fmla="*/ 52 h 396"/>
                    <a:gd name="T20" fmla="*/ 0 w 1230"/>
                    <a:gd name="T21" fmla="*/ 0 h 396"/>
                    <a:gd name="T22" fmla="*/ 0 w 1230"/>
                    <a:gd name="T23" fmla="*/ 0 h 396"/>
                    <a:gd name="T24" fmla="*/ 300 w 1230"/>
                    <a:gd name="T25" fmla="*/ 2 h 396"/>
                    <a:gd name="T26" fmla="*/ 614 w 1230"/>
                    <a:gd name="T27" fmla="*/ 4 h 396"/>
                    <a:gd name="T28" fmla="*/ 928 w 1230"/>
                    <a:gd name="T29" fmla="*/ 8 h 396"/>
                    <a:gd name="T30" fmla="*/ 1228 w 1230"/>
                    <a:gd name="T31" fmla="*/ 8 h 396"/>
                    <a:gd name="T32" fmla="*/ 1228 w 1230"/>
                    <a:gd name="T33" fmla="*/ 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30" h="396">
                      <a:moveTo>
                        <a:pt x="1228" y="8"/>
                      </a:moveTo>
                      <a:lnTo>
                        <a:pt x="1228" y="8"/>
                      </a:lnTo>
                      <a:lnTo>
                        <a:pt x="1230" y="118"/>
                      </a:lnTo>
                      <a:lnTo>
                        <a:pt x="1228" y="246"/>
                      </a:lnTo>
                      <a:lnTo>
                        <a:pt x="1226" y="396"/>
                      </a:lnTo>
                      <a:lnTo>
                        <a:pt x="6" y="396"/>
                      </a:lnTo>
                      <a:lnTo>
                        <a:pt x="6" y="396"/>
                      </a:lnTo>
                      <a:lnTo>
                        <a:pt x="2" y="244"/>
                      </a:lnTo>
                      <a:lnTo>
                        <a:pt x="0" y="114"/>
                      </a:lnTo>
                      <a:lnTo>
                        <a:pt x="0" y="52"/>
                      </a:lnTo>
                      <a:lnTo>
                        <a:pt x="0" y="0"/>
                      </a:lnTo>
                      <a:lnTo>
                        <a:pt x="0" y="0"/>
                      </a:lnTo>
                      <a:lnTo>
                        <a:pt x="300" y="2"/>
                      </a:lnTo>
                      <a:lnTo>
                        <a:pt x="614" y="4"/>
                      </a:lnTo>
                      <a:lnTo>
                        <a:pt x="928" y="8"/>
                      </a:lnTo>
                      <a:lnTo>
                        <a:pt x="1228" y="8"/>
                      </a:lnTo>
                      <a:lnTo>
                        <a:pt x="1228" y="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Segoe UI"/>
                    <a:ea typeface="+mn-ea"/>
                    <a:cs typeface="+mn-cs"/>
                  </a:endParaRPr>
                </a:p>
              </p:txBody>
            </p:sp>
            <p:sp>
              <p:nvSpPr>
                <p:cNvPr id="447" name="Freeform 75"/>
                <p:cNvSpPr>
                  <a:spLocks/>
                </p:cNvSpPr>
                <p:nvPr/>
              </p:nvSpPr>
              <p:spPr bwMode="auto">
                <a:xfrm>
                  <a:off x="-3905250" y="2613025"/>
                  <a:ext cx="180975" cy="2159000"/>
                </a:xfrm>
                <a:custGeom>
                  <a:avLst/>
                  <a:gdLst>
                    <a:gd name="T0" fmla="*/ 114 w 114"/>
                    <a:gd name="T1" fmla="*/ 2 h 1360"/>
                    <a:gd name="T2" fmla="*/ 114 w 114"/>
                    <a:gd name="T3" fmla="*/ 2 h 1360"/>
                    <a:gd name="T4" fmla="*/ 114 w 114"/>
                    <a:gd name="T5" fmla="*/ 1360 h 1360"/>
                    <a:gd name="T6" fmla="*/ 114 w 114"/>
                    <a:gd name="T7" fmla="*/ 1360 h 1360"/>
                    <a:gd name="T8" fmla="*/ 100 w 114"/>
                    <a:gd name="T9" fmla="*/ 1358 h 1360"/>
                    <a:gd name="T10" fmla="*/ 86 w 114"/>
                    <a:gd name="T11" fmla="*/ 1360 h 1360"/>
                    <a:gd name="T12" fmla="*/ 56 w 114"/>
                    <a:gd name="T13" fmla="*/ 1360 h 1360"/>
                    <a:gd name="T14" fmla="*/ 40 w 114"/>
                    <a:gd name="T15" fmla="*/ 1360 h 1360"/>
                    <a:gd name="T16" fmla="*/ 28 w 114"/>
                    <a:gd name="T17" fmla="*/ 1360 h 1360"/>
                    <a:gd name="T18" fmla="*/ 14 w 114"/>
                    <a:gd name="T19" fmla="*/ 1356 h 1360"/>
                    <a:gd name="T20" fmla="*/ 4 w 114"/>
                    <a:gd name="T21" fmla="*/ 1350 h 1360"/>
                    <a:gd name="T22" fmla="*/ 4 w 114"/>
                    <a:gd name="T23" fmla="*/ 1350 h 1360"/>
                    <a:gd name="T24" fmla="*/ 2 w 114"/>
                    <a:gd name="T25" fmla="*/ 1110 h 1360"/>
                    <a:gd name="T26" fmla="*/ 0 w 114"/>
                    <a:gd name="T27" fmla="*/ 858 h 1360"/>
                    <a:gd name="T28" fmla="*/ 0 w 114"/>
                    <a:gd name="T29" fmla="*/ 342 h 1360"/>
                    <a:gd name="T30" fmla="*/ 0 w 114"/>
                    <a:gd name="T31" fmla="*/ 342 h 1360"/>
                    <a:gd name="T32" fmla="*/ 0 w 114"/>
                    <a:gd name="T33" fmla="*/ 164 h 1360"/>
                    <a:gd name="T34" fmla="*/ 2 w 114"/>
                    <a:gd name="T35" fmla="*/ 78 h 1360"/>
                    <a:gd name="T36" fmla="*/ 4 w 114"/>
                    <a:gd name="T37" fmla="*/ 40 h 1360"/>
                    <a:gd name="T38" fmla="*/ 6 w 114"/>
                    <a:gd name="T39" fmla="*/ 10 h 1360"/>
                    <a:gd name="T40" fmla="*/ 6 w 114"/>
                    <a:gd name="T41" fmla="*/ 10 h 1360"/>
                    <a:gd name="T42" fmla="*/ 16 w 114"/>
                    <a:gd name="T43" fmla="*/ 4 h 1360"/>
                    <a:gd name="T44" fmla="*/ 30 w 114"/>
                    <a:gd name="T45" fmla="*/ 2 h 1360"/>
                    <a:gd name="T46" fmla="*/ 42 w 114"/>
                    <a:gd name="T47" fmla="*/ 0 h 1360"/>
                    <a:gd name="T48" fmla="*/ 56 w 114"/>
                    <a:gd name="T49" fmla="*/ 0 h 1360"/>
                    <a:gd name="T50" fmla="*/ 86 w 114"/>
                    <a:gd name="T51" fmla="*/ 2 h 1360"/>
                    <a:gd name="T52" fmla="*/ 100 w 114"/>
                    <a:gd name="T53" fmla="*/ 2 h 1360"/>
                    <a:gd name="T54" fmla="*/ 114 w 114"/>
                    <a:gd name="T55" fmla="*/ 2 h 1360"/>
                    <a:gd name="T56" fmla="*/ 114 w 11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4" h="1360">
                      <a:moveTo>
                        <a:pt x="114" y="2"/>
                      </a:moveTo>
                      <a:lnTo>
                        <a:pt x="114" y="2"/>
                      </a:lnTo>
                      <a:lnTo>
                        <a:pt x="114" y="1360"/>
                      </a:lnTo>
                      <a:lnTo>
                        <a:pt x="114" y="1360"/>
                      </a:lnTo>
                      <a:lnTo>
                        <a:pt x="100" y="1358"/>
                      </a:lnTo>
                      <a:lnTo>
                        <a:pt x="86" y="1360"/>
                      </a:lnTo>
                      <a:lnTo>
                        <a:pt x="56" y="1360"/>
                      </a:lnTo>
                      <a:lnTo>
                        <a:pt x="40" y="1360"/>
                      </a:lnTo>
                      <a:lnTo>
                        <a:pt x="28" y="1360"/>
                      </a:lnTo>
                      <a:lnTo>
                        <a:pt x="14" y="1356"/>
                      </a:lnTo>
                      <a:lnTo>
                        <a:pt x="4" y="1350"/>
                      </a:lnTo>
                      <a:lnTo>
                        <a:pt x="4" y="1350"/>
                      </a:lnTo>
                      <a:lnTo>
                        <a:pt x="2" y="1110"/>
                      </a:lnTo>
                      <a:lnTo>
                        <a:pt x="0" y="858"/>
                      </a:lnTo>
                      <a:lnTo>
                        <a:pt x="0" y="342"/>
                      </a:lnTo>
                      <a:lnTo>
                        <a:pt x="0" y="342"/>
                      </a:lnTo>
                      <a:lnTo>
                        <a:pt x="0" y="164"/>
                      </a:lnTo>
                      <a:lnTo>
                        <a:pt x="2" y="78"/>
                      </a:lnTo>
                      <a:lnTo>
                        <a:pt x="4" y="40"/>
                      </a:lnTo>
                      <a:lnTo>
                        <a:pt x="6" y="10"/>
                      </a:lnTo>
                      <a:lnTo>
                        <a:pt x="6" y="10"/>
                      </a:lnTo>
                      <a:lnTo>
                        <a:pt x="16" y="4"/>
                      </a:lnTo>
                      <a:lnTo>
                        <a:pt x="30" y="2"/>
                      </a:lnTo>
                      <a:lnTo>
                        <a:pt x="42" y="0"/>
                      </a:lnTo>
                      <a:lnTo>
                        <a:pt x="56" y="0"/>
                      </a:lnTo>
                      <a:lnTo>
                        <a:pt x="86" y="2"/>
                      </a:lnTo>
                      <a:lnTo>
                        <a:pt x="100" y="2"/>
                      </a:lnTo>
                      <a:lnTo>
                        <a:pt x="114" y="2"/>
                      </a:lnTo>
                      <a:lnTo>
                        <a:pt x="11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Segoe UI"/>
                    <a:ea typeface="+mn-ea"/>
                    <a:cs typeface="+mn-cs"/>
                  </a:endParaRPr>
                </a:p>
              </p:txBody>
            </p:sp>
            <p:sp>
              <p:nvSpPr>
                <p:cNvPr id="448" name="Freeform 76"/>
                <p:cNvSpPr>
                  <a:spLocks/>
                </p:cNvSpPr>
                <p:nvPr/>
              </p:nvSpPr>
              <p:spPr bwMode="auto">
                <a:xfrm>
                  <a:off x="-1111250" y="2994025"/>
                  <a:ext cx="536575" cy="1397000"/>
                </a:xfrm>
                <a:custGeom>
                  <a:avLst/>
                  <a:gdLst>
                    <a:gd name="T0" fmla="*/ 338 w 338"/>
                    <a:gd name="T1" fmla="*/ 0 h 880"/>
                    <a:gd name="T2" fmla="*/ 338 w 338"/>
                    <a:gd name="T3" fmla="*/ 0 h 880"/>
                    <a:gd name="T4" fmla="*/ 338 w 338"/>
                    <a:gd name="T5" fmla="*/ 880 h 880"/>
                    <a:gd name="T6" fmla="*/ 338 w 338"/>
                    <a:gd name="T7" fmla="*/ 880 h 880"/>
                    <a:gd name="T8" fmla="*/ 254 w 338"/>
                    <a:gd name="T9" fmla="*/ 880 h 880"/>
                    <a:gd name="T10" fmla="*/ 164 w 338"/>
                    <a:gd name="T11" fmla="*/ 880 h 880"/>
                    <a:gd name="T12" fmla="*/ 80 w 338"/>
                    <a:gd name="T13" fmla="*/ 880 h 880"/>
                    <a:gd name="T14" fmla="*/ 44 w 338"/>
                    <a:gd name="T15" fmla="*/ 878 h 880"/>
                    <a:gd name="T16" fmla="*/ 12 w 338"/>
                    <a:gd name="T17" fmla="*/ 874 h 880"/>
                    <a:gd name="T18" fmla="*/ 12 w 338"/>
                    <a:gd name="T19" fmla="*/ 874 h 880"/>
                    <a:gd name="T20" fmla="*/ 6 w 338"/>
                    <a:gd name="T21" fmla="*/ 796 h 880"/>
                    <a:gd name="T22" fmla="*/ 4 w 338"/>
                    <a:gd name="T23" fmla="*/ 718 h 880"/>
                    <a:gd name="T24" fmla="*/ 2 w 338"/>
                    <a:gd name="T25" fmla="*/ 556 h 880"/>
                    <a:gd name="T26" fmla="*/ 2 w 338"/>
                    <a:gd name="T27" fmla="*/ 222 h 880"/>
                    <a:gd name="T28" fmla="*/ 2 w 338"/>
                    <a:gd name="T29" fmla="*/ 222 h 880"/>
                    <a:gd name="T30" fmla="*/ 2 w 338"/>
                    <a:gd name="T31" fmla="*/ 166 h 880"/>
                    <a:gd name="T32" fmla="*/ 0 w 338"/>
                    <a:gd name="T33" fmla="*/ 106 h 880"/>
                    <a:gd name="T34" fmla="*/ 2 w 338"/>
                    <a:gd name="T35" fmla="*/ 78 h 880"/>
                    <a:gd name="T36" fmla="*/ 4 w 338"/>
                    <a:gd name="T37" fmla="*/ 50 h 880"/>
                    <a:gd name="T38" fmla="*/ 10 w 338"/>
                    <a:gd name="T39" fmla="*/ 26 h 880"/>
                    <a:gd name="T40" fmla="*/ 14 w 338"/>
                    <a:gd name="T41" fmla="*/ 16 h 880"/>
                    <a:gd name="T42" fmla="*/ 20 w 338"/>
                    <a:gd name="T43" fmla="*/ 6 h 880"/>
                    <a:gd name="T44" fmla="*/ 20 w 338"/>
                    <a:gd name="T45" fmla="*/ 6 h 880"/>
                    <a:gd name="T46" fmla="*/ 50 w 338"/>
                    <a:gd name="T47" fmla="*/ 2 h 880"/>
                    <a:gd name="T48" fmla="*/ 86 w 338"/>
                    <a:gd name="T49" fmla="*/ 0 h 880"/>
                    <a:gd name="T50" fmla="*/ 168 w 338"/>
                    <a:gd name="T51" fmla="*/ 0 h 880"/>
                    <a:gd name="T52" fmla="*/ 256 w 338"/>
                    <a:gd name="T53" fmla="*/ 2 h 880"/>
                    <a:gd name="T54" fmla="*/ 338 w 338"/>
                    <a:gd name="T55" fmla="*/ 0 h 880"/>
                    <a:gd name="T56" fmla="*/ 338 w 338"/>
                    <a:gd name="T57" fmla="*/ 0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8" h="880">
                      <a:moveTo>
                        <a:pt x="338" y="0"/>
                      </a:moveTo>
                      <a:lnTo>
                        <a:pt x="338" y="0"/>
                      </a:lnTo>
                      <a:lnTo>
                        <a:pt x="338" y="880"/>
                      </a:lnTo>
                      <a:lnTo>
                        <a:pt x="338" y="880"/>
                      </a:lnTo>
                      <a:lnTo>
                        <a:pt x="254" y="880"/>
                      </a:lnTo>
                      <a:lnTo>
                        <a:pt x="164" y="880"/>
                      </a:lnTo>
                      <a:lnTo>
                        <a:pt x="80" y="880"/>
                      </a:lnTo>
                      <a:lnTo>
                        <a:pt x="44" y="878"/>
                      </a:lnTo>
                      <a:lnTo>
                        <a:pt x="12" y="874"/>
                      </a:lnTo>
                      <a:lnTo>
                        <a:pt x="12" y="874"/>
                      </a:lnTo>
                      <a:lnTo>
                        <a:pt x="6" y="796"/>
                      </a:lnTo>
                      <a:lnTo>
                        <a:pt x="4" y="718"/>
                      </a:lnTo>
                      <a:lnTo>
                        <a:pt x="2" y="556"/>
                      </a:lnTo>
                      <a:lnTo>
                        <a:pt x="2" y="222"/>
                      </a:lnTo>
                      <a:lnTo>
                        <a:pt x="2" y="222"/>
                      </a:lnTo>
                      <a:lnTo>
                        <a:pt x="2" y="166"/>
                      </a:lnTo>
                      <a:lnTo>
                        <a:pt x="0" y="106"/>
                      </a:lnTo>
                      <a:lnTo>
                        <a:pt x="2" y="78"/>
                      </a:lnTo>
                      <a:lnTo>
                        <a:pt x="4" y="50"/>
                      </a:lnTo>
                      <a:lnTo>
                        <a:pt x="10" y="26"/>
                      </a:lnTo>
                      <a:lnTo>
                        <a:pt x="14" y="16"/>
                      </a:lnTo>
                      <a:lnTo>
                        <a:pt x="20" y="6"/>
                      </a:lnTo>
                      <a:lnTo>
                        <a:pt x="20" y="6"/>
                      </a:lnTo>
                      <a:lnTo>
                        <a:pt x="50" y="2"/>
                      </a:lnTo>
                      <a:lnTo>
                        <a:pt x="86" y="0"/>
                      </a:lnTo>
                      <a:lnTo>
                        <a:pt x="168" y="0"/>
                      </a:lnTo>
                      <a:lnTo>
                        <a:pt x="256" y="2"/>
                      </a:lnTo>
                      <a:lnTo>
                        <a:pt x="338" y="0"/>
                      </a:lnTo>
                      <a:lnTo>
                        <a:pt x="33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Segoe UI"/>
                    <a:ea typeface="+mn-ea"/>
                    <a:cs typeface="+mn-cs"/>
                  </a:endParaRPr>
                </a:p>
              </p:txBody>
            </p:sp>
            <p:sp>
              <p:nvSpPr>
                <p:cNvPr id="449" name="Freeform 77"/>
                <p:cNvSpPr>
                  <a:spLocks/>
                </p:cNvSpPr>
                <p:nvPr/>
              </p:nvSpPr>
              <p:spPr bwMode="auto">
                <a:xfrm>
                  <a:off x="-1393825" y="2613025"/>
                  <a:ext cx="133350" cy="2159000"/>
                </a:xfrm>
                <a:custGeom>
                  <a:avLst/>
                  <a:gdLst>
                    <a:gd name="T0" fmla="*/ 4 w 84"/>
                    <a:gd name="T1" fmla="*/ 2 h 1360"/>
                    <a:gd name="T2" fmla="*/ 4 w 84"/>
                    <a:gd name="T3" fmla="*/ 2 h 1360"/>
                    <a:gd name="T4" fmla="*/ 24 w 84"/>
                    <a:gd name="T5" fmla="*/ 2 h 1360"/>
                    <a:gd name="T6" fmla="*/ 46 w 84"/>
                    <a:gd name="T7" fmla="*/ 0 h 1360"/>
                    <a:gd name="T8" fmla="*/ 56 w 84"/>
                    <a:gd name="T9" fmla="*/ 2 h 1360"/>
                    <a:gd name="T10" fmla="*/ 64 w 84"/>
                    <a:gd name="T11" fmla="*/ 2 h 1360"/>
                    <a:gd name="T12" fmla="*/ 72 w 84"/>
                    <a:gd name="T13" fmla="*/ 6 h 1360"/>
                    <a:gd name="T14" fmla="*/ 78 w 84"/>
                    <a:gd name="T15" fmla="*/ 10 h 1360"/>
                    <a:gd name="T16" fmla="*/ 78 w 84"/>
                    <a:gd name="T17" fmla="*/ 10 h 1360"/>
                    <a:gd name="T18" fmla="*/ 82 w 84"/>
                    <a:gd name="T19" fmla="*/ 342 h 1360"/>
                    <a:gd name="T20" fmla="*/ 84 w 84"/>
                    <a:gd name="T21" fmla="*/ 682 h 1360"/>
                    <a:gd name="T22" fmla="*/ 84 w 84"/>
                    <a:gd name="T23" fmla="*/ 852 h 1360"/>
                    <a:gd name="T24" fmla="*/ 82 w 84"/>
                    <a:gd name="T25" fmla="*/ 1020 h 1360"/>
                    <a:gd name="T26" fmla="*/ 80 w 84"/>
                    <a:gd name="T27" fmla="*/ 1188 h 1360"/>
                    <a:gd name="T28" fmla="*/ 76 w 84"/>
                    <a:gd name="T29" fmla="*/ 1350 h 1360"/>
                    <a:gd name="T30" fmla="*/ 76 w 84"/>
                    <a:gd name="T31" fmla="*/ 1350 h 1360"/>
                    <a:gd name="T32" fmla="*/ 70 w 84"/>
                    <a:gd name="T33" fmla="*/ 1356 h 1360"/>
                    <a:gd name="T34" fmla="*/ 62 w 84"/>
                    <a:gd name="T35" fmla="*/ 1358 h 1360"/>
                    <a:gd name="T36" fmla="*/ 52 w 84"/>
                    <a:gd name="T37" fmla="*/ 1360 h 1360"/>
                    <a:gd name="T38" fmla="*/ 42 w 84"/>
                    <a:gd name="T39" fmla="*/ 1360 h 1360"/>
                    <a:gd name="T40" fmla="*/ 20 w 84"/>
                    <a:gd name="T41" fmla="*/ 1360 h 1360"/>
                    <a:gd name="T42" fmla="*/ 0 w 84"/>
                    <a:gd name="T43" fmla="*/ 1360 h 1360"/>
                    <a:gd name="T44" fmla="*/ 0 w 84"/>
                    <a:gd name="T45" fmla="*/ 1360 h 1360"/>
                    <a:gd name="T46" fmla="*/ 0 w 84"/>
                    <a:gd name="T47" fmla="*/ 16 h 1360"/>
                    <a:gd name="T48" fmla="*/ 0 w 84"/>
                    <a:gd name="T49" fmla="*/ 16 h 1360"/>
                    <a:gd name="T50" fmla="*/ 0 w 84"/>
                    <a:gd name="T51" fmla="*/ 6 h 1360"/>
                    <a:gd name="T52" fmla="*/ 2 w 84"/>
                    <a:gd name="T53" fmla="*/ 2 h 1360"/>
                    <a:gd name="T54" fmla="*/ 4 w 84"/>
                    <a:gd name="T55" fmla="*/ 2 h 1360"/>
                    <a:gd name="T56" fmla="*/ 4 w 84"/>
                    <a:gd name="T57" fmla="*/ 2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360">
                      <a:moveTo>
                        <a:pt x="4" y="2"/>
                      </a:moveTo>
                      <a:lnTo>
                        <a:pt x="4" y="2"/>
                      </a:lnTo>
                      <a:lnTo>
                        <a:pt x="24" y="2"/>
                      </a:lnTo>
                      <a:lnTo>
                        <a:pt x="46" y="0"/>
                      </a:lnTo>
                      <a:lnTo>
                        <a:pt x="56" y="2"/>
                      </a:lnTo>
                      <a:lnTo>
                        <a:pt x="64" y="2"/>
                      </a:lnTo>
                      <a:lnTo>
                        <a:pt x="72" y="6"/>
                      </a:lnTo>
                      <a:lnTo>
                        <a:pt x="78" y="10"/>
                      </a:lnTo>
                      <a:lnTo>
                        <a:pt x="78" y="10"/>
                      </a:lnTo>
                      <a:lnTo>
                        <a:pt x="82" y="342"/>
                      </a:lnTo>
                      <a:lnTo>
                        <a:pt x="84" y="682"/>
                      </a:lnTo>
                      <a:lnTo>
                        <a:pt x="84" y="852"/>
                      </a:lnTo>
                      <a:lnTo>
                        <a:pt x="82" y="1020"/>
                      </a:lnTo>
                      <a:lnTo>
                        <a:pt x="80" y="1188"/>
                      </a:lnTo>
                      <a:lnTo>
                        <a:pt x="76" y="1350"/>
                      </a:lnTo>
                      <a:lnTo>
                        <a:pt x="76" y="1350"/>
                      </a:lnTo>
                      <a:lnTo>
                        <a:pt x="70" y="1356"/>
                      </a:lnTo>
                      <a:lnTo>
                        <a:pt x="62" y="1358"/>
                      </a:lnTo>
                      <a:lnTo>
                        <a:pt x="52" y="1360"/>
                      </a:lnTo>
                      <a:lnTo>
                        <a:pt x="42" y="1360"/>
                      </a:lnTo>
                      <a:lnTo>
                        <a:pt x="20" y="1360"/>
                      </a:lnTo>
                      <a:lnTo>
                        <a:pt x="0" y="1360"/>
                      </a:lnTo>
                      <a:lnTo>
                        <a:pt x="0" y="1360"/>
                      </a:lnTo>
                      <a:lnTo>
                        <a:pt x="0" y="16"/>
                      </a:lnTo>
                      <a:lnTo>
                        <a:pt x="0" y="16"/>
                      </a:lnTo>
                      <a:lnTo>
                        <a:pt x="0" y="6"/>
                      </a:lnTo>
                      <a:lnTo>
                        <a:pt x="2" y="2"/>
                      </a:lnTo>
                      <a:lnTo>
                        <a:pt x="4" y="2"/>
                      </a:lnTo>
                      <a:lnTo>
                        <a:pt x="4" y="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Segoe UI"/>
                    <a:ea typeface="+mn-ea"/>
                    <a:cs typeface="+mn-cs"/>
                  </a:endParaRPr>
                </a:p>
              </p:txBody>
            </p:sp>
            <p:sp>
              <p:nvSpPr>
                <p:cNvPr id="450" name="Freeform 78"/>
                <p:cNvSpPr>
                  <a:spLocks/>
                </p:cNvSpPr>
                <p:nvPr/>
              </p:nvSpPr>
              <p:spPr bwMode="auto">
                <a:xfrm>
                  <a:off x="-4206875" y="2781300"/>
                  <a:ext cx="193675" cy="1828800"/>
                </a:xfrm>
                <a:custGeom>
                  <a:avLst/>
                  <a:gdLst>
                    <a:gd name="T0" fmla="*/ 122 w 122"/>
                    <a:gd name="T1" fmla="*/ 0 h 1152"/>
                    <a:gd name="T2" fmla="*/ 122 w 122"/>
                    <a:gd name="T3" fmla="*/ 0 h 1152"/>
                    <a:gd name="T4" fmla="*/ 122 w 122"/>
                    <a:gd name="T5" fmla="*/ 1152 h 1152"/>
                    <a:gd name="T6" fmla="*/ 122 w 122"/>
                    <a:gd name="T7" fmla="*/ 1152 h 1152"/>
                    <a:gd name="T8" fmla="*/ 108 w 122"/>
                    <a:gd name="T9" fmla="*/ 1150 h 1152"/>
                    <a:gd name="T10" fmla="*/ 94 w 122"/>
                    <a:gd name="T11" fmla="*/ 1144 h 1152"/>
                    <a:gd name="T12" fmla="*/ 82 w 122"/>
                    <a:gd name="T13" fmla="*/ 1136 h 1152"/>
                    <a:gd name="T14" fmla="*/ 70 w 122"/>
                    <a:gd name="T15" fmla="*/ 1128 h 1152"/>
                    <a:gd name="T16" fmla="*/ 60 w 122"/>
                    <a:gd name="T17" fmla="*/ 1118 h 1152"/>
                    <a:gd name="T18" fmla="*/ 50 w 122"/>
                    <a:gd name="T19" fmla="*/ 1106 h 1152"/>
                    <a:gd name="T20" fmla="*/ 42 w 122"/>
                    <a:gd name="T21" fmla="*/ 1094 h 1152"/>
                    <a:gd name="T22" fmla="*/ 34 w 122"/>
                    <a:gd name="T23" fmla="*/ 1080 h 1152"/>
                    <a:gd name="T24" fmla="*/ 28 w 122"/>
                    <a:gd name="T25" fmla="*/ 1064 h 1152"/>
                    <a:gd name="T26" fmla="*/ 22 w 122"/>
                    <a:gd name="T27" fmla="*/ 1048 h 1152"/>
                    <a:gd name="T28" fmla="*/ 12 w 122"/>
                    <a:gd name="T29" fmla="*/ 1012 h 1152"/>
                    <a:gd name="T30" fmla="*/ 6 w 122"/>
                    <a:gd name="T31" fmla="*/ 974 h 1152"/>
                    <a:gd name="T32" fmla="*/ 2 w 122"/>
                    <a:gd name="T33" fmla="*/ 932 h 1152"/>
                    <a:gd name="T34" fmla="*/ 0 w 122"/>
                    <a:gd name="T35" fmla="*/ 888 h 1152"/>
                    <a:gd name="T36" fmla="*/ 0 w 122"/>
                    <a:gd name="T37" fmla="*/ 842 h 1152"/>
                    <a:gd name="T38" fmla="*/ 2 w 122"/>
                    <a:gd name="T39" fmla="*/ 750 h 1152"/>
                    <a:gd name="T40" fmla="*/ 6 w 122"/>
                    <a:gd name="T41" fmla="*/ 660 h 1152"/>
                    <a:gd name="T42" fmla="*/ 8 w 122"/>
                    <a:gd name="T43" fmla="*/ 576 h 1152"/>
                    <a:gd name="T44" fmla="*/ 8 w 122"/>
                    <a:gd name="T45" fmla="*/ 576 h 1152"/>
                    <a:gd name="T46" fmla="*/ 8 w 122"/>
                    <a:gd name="T47" fmla="*/ 322 h 1152"/>
                    <a:gd name="T48" fmla="*/ 8 w 122"/>
                    <a:gd name="T49" fmla="*/ 322 h 1152"/>
                    <a:gd name="T50" fmla="*/ 8 w 122"/>
                    <a:gd name="T51" fmla="*/ 262 h 1152"/>
                    <a:gd name="T52" fmla="*/ 8 w 122"/>
                    <a:gd name="T53" fmla="*/ 204 h 1152"/>
                    <a:gd name="T54" fmla="*/ 10 w 122"/>
                    <a:gd name="T55" fmla="*/ 150 h 1152"/>
                    <a:gd name="T56" fmla="*/ 14 w 122"/>
                    <a:gd name="T57" fmla="*/ 126 h 1152"/>
                    <a:gd name="T58" fmla="*/ 18 w 122"/>
                    <a:gd name="T59" fmla="*/ 102 h 1152"/>
                    <a:gd name="T60" fmla="*/ 24 w 122"/>
                    <a:gd name="T61" fmla="*/ 82 h 1152"/>
                    <a:gd name="T62" fmla="*/ 30 w 122"/>
                    <a:gd name="T63" fmla="*/ 62 h 1152"/>
                    <a:gd name="T64" fmla="*/ 40 w 122"/>
                    <a:gd name="T65" fmla="*/ 46 h 1152"/>
                    <a:gd name="T66" fmla="*/ 52 w 122"/>
                    <a:gd name="T67" fmla="*/ 32 h 1152"/>
                    <a:gd name="T68" fmla="*/ 66 w 122"/>
                    <a:gd name="T69" fmla="*/ 20 h 1152"/>
                    <a:gd name="T70" fmla="*/ 82 w 122"/>
                    <a:gd name="T71" fmla="*/ 10 h 1152"/>
                    <a:gd name="T72" fmla="*/ 100 w 122"/>
                    <a:gd name="T73" fmla="*/ 4 h 1152"/>
                    <a:gd name="T74" fmla="*/ 122 w 122"/>
                    <a:gd name="T75" fmla="*/ 0 h 1152"/>
                    <a:gd name="T76" fmla="*/ 122 w 122"/>
                    <a:gd name="T77"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152">
                      <a:moveTo>
                        <a:pt x="122" y="0"/>
                      </a:moveTo>
                      <a:lnTo>
                        <a:pt x="122" y="0"/>
                      </a:lnTo>
                      <a:lnTo>
                        <a:pt x="122" y="1152"/>
                      </a:lnTo>
                      <a:lnTo>
                        <a:pt x="122" y="1152"/>
                      </a:lnTo>
                      <a:lnTo>
                        <a:pt x="108" y="1150"/>
                      </a:lnTo>
                      <a:lnTo>
                        <a:pt x="94" y="1144"/>
                      </a:lnTo>
                      <a:lnTo>
                        <a:pt x="82" y="1136"/>
                      </a:lnTo>
                      <a:lnTo>
                        <a:pt x="70" y="1128"/>
                      </a:lnTo>
                      <a:lnTo>
                        <a:pt x="60" y="1118"/>
                      </a:lnTo>
                      <a:lnTo>
                        <a:pt x="50" y="1106"/>
                      </a:lnTo>
                      <a:lnTo>
                        <a:pt x="42" y="1094"/>
                      </a:lnTo>
                      <a:lnTo>
                        <a:pt x="34" y="1080"/>
                      </a:lnTo>
                      <a:lnTo>
                        <a:pt x="28" y="1064"/>
                      </a:lnTo>
                      <a:lnTo>
                        <a:pt x="22" y="1048"/>
                      </a:lnTo>
                      <a:lnTo>
                        <a:pt x="12" y="1012"/>
                      </a:lnTo>
                      <a:lnTo>
                        <a:pt x="6" y="974"/>
                      </a:lnTo>
                      <a:lnTo>
                        <a:pt x="2" y="932"/>
                      </a:lnTo>
                      <a:lnTo>
                        <a:pt x="0" y="888"/>
                      </a:lnTo>
                      <a:lnTo>
                        <a:pt x="0" y="842"/>
                      </a:lnTo>
                      <a:lnTo>
                        <a:pt x="2" y="750"/>
                      </a:lnTo>
                      <a:lnTo>
                        <a:pt x="6" y="660"/>
                      </a:lnTo>
                      <a:lnTo>
                        <a:pt x="8" y="576"/>
                      </a:lnTo>
                      <a:lnTo>
                        <a:pt x="8" y="576"/>
                      </a:lnTo>
                      <a:lnTo>
                        <a:pt x="8" y="322"/>
                      </a:lnTo>
                      <a:lnTo>
                        <a:pt x="8" y="322"/>
                      </a:lnTo>
                      <a:lnTo>
                        <a:pt x="8" y="262"/>
                      </a:lnTo>
                      <a:lnTo>
                        <a:pt x="8" y="204"/>
                      </a:lnTo>
                      <a:lnTo>
                        <a:pt x="10" y="150"/>
                      </a:lnTo>
                      <a:lnTo>
                        <a:pt x="14" y="126"/>
                      </a:lnTo>
                      <a:lnTo>
                        <a:pt x="18" y="102"/>
                      </a:lnTo>
                      <a:lnTo>
                        <a:pt x="24" y="82"/>
                      </a:lnTo>
                      <a:lnTo>
                        <a:pt x="30" y="62"/>
                      </a:lnTo>
                      <a:lnTo>
                        <a:pt x="40" y="46"/>
                      </a:lnTo>
                      <a:lnTo>
                        <a:pt x="52" y="32"/>
                      </a:lnTo>
                      <a:lnTo>
                        <a:pt x="66" y="20"/>
                      </a:lnTo>
                      <a:lnTo>
                        <a:pt x="82" y="10"/>
                      </a:lnTo>
                      <a:lnTo>
                        <a:pt x="100" y="4"/>
                      </a:lnTo>
                      <a:lnTo>
                        <a:pt x="122" y="0"/>
                      </a:lnTo>
                      <a:lnTo>
                        <a:pt x="12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Segoe UI"/>
                    <a:ea typeface="+mn-ea"/>
                    <a:cs typeface="+mn-cs"/>
                  </a:endParaRPr>
                </a:p>
              </p:txBody>
            </p:sp>
            <p:sp>
              <p:nvSpPr>
                <p:cNvPr id="451" name="Freeform 79"/>
                <p:cNvSpPr>
                  <a:spLocks/>
                </p:cNvSpPr>
                <p:nvPr/>
              </p:nvSpPr>
              <p:spPr bwMode="auto">
                <a:xfrm>
                  <a:off x="-422275" y="3232150"/>
                  <a:ext cx="193675" cy="930275"/>
                </a:xfrm>
                <a:custGeom>
                  <a:avLst/>
                  <a:gdLst>
                    <a:gd name="T0" fmla="*/ 0 w 122"/>
                    <a:gd name="T1" fmla="*/ 586 h 586"/>
                    <a:gd name="T2" fmla="*/ 0 w 122"/>
                    <a:gd name="T3" fmla="*/ 586 h 586"/>
                    <a:gd name="T4" fmla="*/ 0 w 122"/>
                    <a:gd name="T5" fmla="*/ 0 h 586"/>
                    <a:gd name="T6" fmla="*/ 0 w 122"/>
                    <a:gd name="T7" fmla="*/ 0 h 586"/>
                    <a:gd name="T8" fmla="*/ 28 w 122"/>
                    <a:gd name="T9" fmla="*/ 4 h 586"/>
                    <a:gd name="T10" fmla="*/ 52 w 122"/>
                    <a:gd name="T11" fmla="*/ 12 h 586"/>
                    <a:gd name="T12" fmla="*/ 72 w 122"/>
                    <a:gd name="T13" fmla="*/ 22 h 586"/>
                    <a:gd name="T14" fmla="*/ 88 w 122"/>
                    <a:gd name="T15" fmla="*/ 36 h 586"/>
                    <a:gd name="T16" fmla="*/ 100 w 122"/>
                    <a:gd name="T17" fmla="*/ 52 h 586"/>
                    <a:gd name="T18" fmla="*/ 110 w 122"/>
                    <a:gd name="T19" fmla="*/ 72 h 586"/>
                    <a:gd name="T20" fmla="*/ 116 w 122"/>
                    <a:gd name="T21" fmla="*/ 92 h 586"/>
                    <a:gd name="T22" fmla="*/ 120 w 122"/>
                    <a:gd name="T23" fmla="*/ 112 h 586"/>
                    <a:gd name="T24" fmla="*/ 122 w 122"/>
                    <a:gd name="T25" fmla="*/ 134 h 586"/>
                    <a:gd name="T26" fmla="*/ 122 w 122"/>
                    <a:gd name="T27" fmla="*/ 158 h 586"/>
                    <a:gd name="T28" fmla="*/ 120 w 122"/>
                    <a:gd name="T29" fmla="*/ 204 h 586"/>
                    <a:gd name="T30" fmla="*/ 116 w 122"/>
                    <a:gd name="T31" fmla="*/ 250 h 586"/>
                    <a:gd name="T32" fmla="*/ 116 w 122"/>
                    <a:gd name="T33" fmla="*/ 292 h 586"/>
                    <a:gd name="T34" fmla="*/ 116 w 122"/>
                    <a:gd name="T35" fmla="*/ 292 h 586"/>
                    <a:gd name="T36" fmla="*/ 116 w 122"/>
                    <a:gd name="T37" fmla="*/ 422 h 586"/>
                    <a:gd name="T38" fmla="*/ 116 w 122"/>
                    <a:gd name="T39" fmla="*/ 422 h 586"/>
                    <a:gd name="T40" fmla="*/ 116 w 122"/>
                    <a:gd name="T41" fmla="*/ 454 h 586"/>
                    <a:gd name="T42" fmla="*/ 114 w 122"/>
                    <a:gd name="T43" fmla="*/ 482 h 586"/>
                    <a:gd name="T44" fmla="*/ 112 w 122"/>
                    <a:gd name="T45" fmla="*/ 510 h 586"/>
                    <a:gd name="T46" fmla="*/ 110 w 122"/>
                    <a:gd name="T47" fmla="*/ 522 h 586"/>
                    <a:gd name="T48" fmla="*/ 104 w 122"/>
                    <a:gd name="T49" fmla="*/ 534 h 586"/>
                    <a:gd name="T50" fmla="*/ 100 w 122"/>
                    <a:gd name="T51" fmla="*/ 546 h 586"/>
                    <a:gd name="T52" fmla="*/ 92 w 122"/>
                    <a:gd name="T53" fmla="*/ 554 h 586"/>
                    <a:gd name="T54" fmla="*/ 82 w 122"/>
                    <a:gd name="T55" fmla="*/ 564 h 586"/>
                    <a:gd name="T56" fmla="*/ 72 w 122"/>
                    <a:gd name="T57" fmla="*/ 570 h 586"/>
                    <a:gd name="T58" fmla="*/ 58 w 122"/>
                    <a:gd name="T59" fmla="*/ 576 h 586"/>
                    <a:gd name="T60" fmla="*/ 42 w 122"/>
                    <a:gd name="T61" fmla="*/ 582 h 586"/>
                    <a:gd name="T62" fmla="*/ 22 w 122"/>
                    <a:gd name="T63" fmla="*/ 584 h 586"/>
                    <a:gd name="T64" fmla="*/ 0 w 122"/>
                    <a:gd name="T65" fmla="*/ 586 h 586"/>
                    <a:gd name="T66" fmla="*/ 0 w 122"/>
                    <a:gd name="T67" fmla="*/ 586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586">
                      <a:moveTo>
                        <a:pt x="0" y="586"/>
                      </a:moveTo>
                      <a:lnTo>
                        <a:pt x="0" y="586"/>
                      </a:lnTo>
                      <a:lnTo>
                        <a:pt x="0" y="0"/>
                      </a:lnTo>
                      <a:lnTo>
                        <a:pt x="0" y="0"/>
                      </a:lnTo>
                      <a:lnTo>
                        <a:pt x="28" y="4"/>
                      </a:lnTo>
                      <a:lnTo>
                        <a:pt x="52" y="12"/>
                      </a:lnTo>
                      <a:lnTo>
                        <a:pt x="72" y="22"/>
                      </a:lnTo>
                      <a:lnTo>
                        <a:pt x="88" y="36"/>
                      </a:lnTo>
                      <a:lnTo>
                        <a:pt x="100" y="52"/>
                      </a:lnTo>
                      <a:lnTo>
                        <a:pt x="110" y="72"/>
                      </a:lnTo>
                      <a:lnTo>
                        <a:pt x="116" y="92"/>
                      </a:lnTo>
                      <a:lnTo>
                        <a:pt x="120" y="112"/>
                      </a:lnTo>
                      <a:lnTo>
                        <a:pt x="122" y="134"/>
                      </a:lnTo>
                      <a:lnTo>
                        <a:pt x="122" y="158"/>
                      </a:lnTo>
                      <a:lnTo>
                        <a:pt x="120" y="204"/>
                      </a:lnTo>
                      <a:lnTo>
                        <a:pt x="116" y="250"/>
                      </a:lnTo>
                      <a:lnTo>
                        <a:pt x="116" y="292"/>
                      </a:lnTo>
                      <a:lnTo>
                        <a:pt x="116" y="292"/>
                      </a:lnTo>
                      <a:lnTo>
                        <a:pt x="116" y="422"/>
                      </a:lnTo>
                      <a:lnTo>
                        <a:pt x="116" y="422"/>
                      </a:lnTo>
                      <a:lnTo>
                        <a:pt x="116" y="454"/>
                      </a:lnTo>
                      <a:lnTo>
                        <a:pt x="114" y="482"/>
                      </a:lnTo>
                      <a:lnTo>
                        <a:pt x="112" y="510"/>
                      </a:lnTo>
                      <a:lnTo>
                        <a:pt x="110" y="522"/>
                      </a:lnTo>
                      <a:lnTo>
                        <a:pt x="104" y="534"/>
                      </a:lnTo>
                      <a:lnTo>
                        <a:pt x="100" y="546"/>
                      </a:lnTo>
                      <a:lnTo>
                        <a:pt x="92" y="554"/>
                      </a:lnTo>
                      <a:lnTo>
                        <a:pt x="82" y="564"/>
                      </a:lnTo>
                      <a:lnTo>
                        <a:pt x="72" y="570"/>
                      </a:lnTo>
                      <a:lnTo>
                        <a:pt x="58" y="576"/>
                      </a:lnTo>
                      <a:lnTo>
                        <a:pt x="42" y="582"/>
                      </a:lnTo>
                      <a:lnTo>
                        <a:pt x="22" y="584"/>
                      </a:lnTo>
                      <a:lnTo>
                        <a:pt x="0" y="586"/>
                      </a:lnTo>
                      <a:lnTo>
                        <a:pt x="0" y="5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Segoe UI"/>
                    <a:ea typeface="+mn-ea"/>
                    <a:cs typeface="+mn-cs"/>
                  </a:endParaRPr>
                </a:p>
              </p:txBody>
            </p:sp>
            <p:sp>
              <p:nvSpPr>
                <p:cNvPr id="452" name="Freeform 80"/>
                <p:cNvSpPr>
                  <a:spLocks noEditPoints="1"/>
                </p:cNvSpPr>
                <p:nvPr/>
              </p:nvSpPr>
              <p:spPr bwMode="auto">
                <a:xfrm>
                  <a:off x="-3587750" y="2616200"/>
                  <a:ext cx="2066925" cy="2155825"/>
                </a:xfrm>
                <a:custGeom>
                  <a:avLst/>
                  <a:gdLst>
                    <a:gd name="T0" fmla="*/ 4 w 1302"/>
                    <a:gd name="T1" fmla="*/ 166 h 1358"/>
                    <a:gd name="T2" fmla="*/ 2 w 1302"/>
                    <a:gd name="T3" fmla="*/ 1018 h 1358"/>
                    <a:gd name="T4" fmla="*/ 1302 w 1302"/>
                    <a:gd name="T5" fmla="*/ 1358 h 1358"/>
                    <a:gd name="T6" fmla="*/ 1302 w 1302"/>
                    <a:gd name="T7" fmla="*/ 0 h 1358"/>
                    <a:gd name="T8" fmla="*/ 1040 w 1302"/>
                    <a:gd name="T9" fmla="*/ 1220 h 1358"/>
                    <a:gd name="T10" fmla="*/ 216 w 1302"/>
                    <a:gd name="T11" fmla="*/ 1218 h 1358"/>
                    <a:gd name="T12" fmla="*/ 162 w 1302"/>
                    <a:gd name="T13" fmla="*/ 1190 h 1358"/>
                    <a:gd name="T14" fmla="*/ 132 w 1302"/>
                    <a:gd name="T15" fmla="*/ 1138 h 1358"/>
                    <a:gd name="T16" fmla="*/ 132 w 1302"/>
                    <a:gd name="T17" fmla="*/ 1098 h 1358"/>
                    <a:gd name="T18" fmla="*/ 162 w 1302"/>
                    <a:gd name="T19" fmla="*/ 1046 h 1358"/>
                    <a:gd name="T20" fmla="*/ 216 w 1302"/>
                    <a:gd name="T21" fmla="*/ 1018 h 1358"/>
                    <a:gd name="T22" fmla="*/ 1040 w 1302"/>
                    <a:gd name="T23" fmla="*/ 1016 h 1358"/>
                    <a:gd name="T24" fmla="*/ 1098 w 1302"/>
                    <a:gd name="T25" fmla="*/ 1034 h 1358"/>
                    <a:gd name="T26" fmla="*/ 1138 w 1302"/>
                    <a:gd name="T27" fmla="*/ 1078 h 1358"/>
                    <a:gd name="T28" fmla="*/ 1146 w 1302"/>
                    <a:gd name="T29" fmla="*/ 1118 h 1358"/>
                    <a:gd name="T30" fmla="*/ 1128 w 1302"/>
                    <a:gd name="T31" fmla="*/ 1174 h 1358"/>
                    <a:gd name="T32" fmla="*/ 1080 w 1302"/>
                    <a:gd name="T33" fmla="*/ 1212 h 1358"/>
                    <a:gd name="T34" fmla="*/ 1040 w 1302"/>
                    <a:gd name="T35" fmla="*/ 1220 h 1358"/>
                    <a:gd name="T36" fmla="*/ 236 w 1302"/>
                    <a:gd name="T37" fmla="*/ 804 h 1358"/>
                    <a:gd name="T38" fmla="*/ 178 w 1302"/>
                    <a:gd name="T39" fmla="*/ 786 h 1358"/>
                    <a:gd name="T40" fmla="*/ 138 w 1302"/>
                    <a:gd name="T41" fmla="*/ 740 h 1358"/>
                    <a:gd name="T42" fmla="*/ 130 w 1302"/>
                    <a:gd name="T43" fmla="*/ 702 h 1358"/>
                    <a:gd name="T44" fmla="*/ 148 w 1302"/>
                    <a:gd name="T45" fmla="*/ 644 h 1358"/>
                    <a:gd name="T46" fmla="*/ 196 w 1302"/>
                    <a:gd name="T47" fmla="*/ 608 h 1358"/>
                    <a:gd name="T48" fmla="*/ 1040 w 1302"/>
                    <a:gd name="T49" fmla="*/ 600 h 1358"/>
                    <a:gd name="T50" fmla="*/ 1080 w 1302"/>
                    <a:gd name="T51" fmla="*/ 608 h 1358"/>
                    <a:gd name="T52" fmla="*/ 1128 w 1302"/>
                    <a:gd name="T53" fmla="*/ 644 h 1358"/>
                    <a:gd name="T54" fmla="*/ 1146 w 1302"/>
                    <a:gd name="T55" fmla="*/ 702 h 1358"/>
                    <a:gd name="T56" fmla="*/ 1138 w 1302"/>
                    <a:gd name="T57" fmla="*/ 740 h 1358"/>
                    <a:gd name="T58" fmla="*/ 1098 w 1302"/>
                    <a:gd name="T59" fmla="*/ 786 h 1358"/>
                    <a:gd name="T60" fmla="*/ 1040 w 1302"/>
                    <a:gd name="T61" fmla="*/ 804 h 1358"/>
                    <a:gd name="T62" fmla="*/ 236 w 1302"/>
                    <a:gd name="T63" fmla="*/ 386 h 1358"/>
                    <a:gd name="T64" fmla="*/ 196 w 1302"/>
                    <a:gd name="T65" fmla="*/ 378 h 1358"/>
                    <a:gd name="T66" fmla="*/ 148 w 1302"/>
                    <a:gd name="T67" fmla="*/ 342 h 1358"/>
                    <a:gd name="T68" fmla="*/ 130 w 1302"/>
                    <a:gd name="T69" fmla="*/ 284 h 1358"/>
                    <a:gd name="T70" fmla="*/ 138 w 1302"/>
                    <a:gd name="T71" fmla="*/ 246 h 1358"/>
                    <a:gd name="T72" fmla="*/ 178 w 1302"/>
                    <a:gd name="T73" fmla="*/ 200 h 1358"/>
                    <a:gd name="T74" fmla="*/ 236 w 1302"/>
                    <a:gd name="T75" fmla="*/ 182 h 1358"/>
                    <a:gd name="T76" fmla="*/ 1060 w 1302"/>
                    <a:gd name="T77" fmla="*/ 184 h 1358"/>
                    <a:gd name="T78" fmla="*/ 1114 w 1302"/>
                    <a:gd name="T79" fmla="*/ 212 h 1358"/>
                    <a:gd name="T80" fmla="*/ 1144 w 1302"/>
                    <a:gd name="T81" fmla="*/ 264 h 1358"/>
                    <a:gd name="T82" fmla="*/ 1144 w 1302"/>
                    <a:gd name="T83" fmla="*/ 306 h 1358"/>
                    <a:gd name="T84" fmla="*/ 1114 w 1302"/>
                    <a:gd name="T85" fmla="*/ 356 h 1358"/>
                    <a:gd name="T86" fmla="*/ 1060 w 1302"/>
                    <a:gd name="T87" fmla="*/ 384 h 1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2" h="1358">
                      <a:moveTo>
                        <a:pt x="6" y="0"/>
                      </a:moveTo>
                      <a:lnTo>
                        <a:pt x="6" y="0"/>
                      </a:lnTo>
                      <a:lnTo>
                        <a:pt x="4" y="166"/>
                      </a:lnTo>
                      <a:lnTo>
                        <a:pt x="2" y="334"/>
                      </a:lnTo>
                      <a:lnTo>
                        <a:pt x="0" y="676"/>
                      </a:lnTo>
                      <a:lnTo>
                        <a:pt x="2" y="1018"/>
                      </a:lnTo>
                      <a:lnTo>
                        <a:pt x="2" y="1358"/>
                      </a:lnTo>
                      <a:lnTo>
                        <a:pt x="2" y="1358"/>
                      </a:lnTo>
                      <a:lnTo>
                        <a:pt x="1302" y="1358"/>
                      </a:lnTo>
                      <a:lnTo>
                        <a:pt x="1302" y="1358"/>
                      </a:lnTo>
                      <a:lnTo>
                        <a:pt x="1302" y="0"/>
                      </a:lnTo>
                      <a:lnTo>
                        <a:pt x="1302" y="0"/>
                      </a:lnTo>
                      <a:lnTo>
                        <a:pt x="6" y="0"/>
                      </a:lnTo>
                      <a:lnTo>
                        <a:pt x="6" y="0"/>
                      </a:lnTo>
                      <a:close/>
                      <a:moveTo>
                        <a:pt x="1040" y="1220"/>
                      </a:moveTo>
                      <a:lnTo>
                        <a:pt x="236" y="1220"/>
                      </a:lnTo>
                      <a:lnTo>
                        <a:pt x="236" y="1220"/>
                      </a:lnTo>
                      <a:lnTo>
                        <a:pt x="216" y="1218"/>
                      </a:lnTo>
                      <a:lnTo>
                        <a:pt x="196" y="1212"/>
                      </a:lnTo>
                      <a:lnTo>
                        <a:pt x="178" y="1202"/>
                      </a:lnTo>
                      <a:lnTo>
                        <a:pt x="162" y="1190"/>
                      </a:lnTo>
                      <a:lnTo>
                        <a:pt x="148" y="1174"/>
                      </a:lnTo>
                      <a:lnTo>
                        <a:pt x="138" y="1158"/>
                      </a:lnTo>
                      <a:lnTo>
                        <a:pt x="132" y="1138"/>
                      </a:lnTo>
                      <a:lnTo>
                        <a:pt x="130" y="1118"/>
                      </a:lnTo>
                      <a:lnTo>
                        <a:pt x="130" y="1118"/>
                      </a:lnTo>
                      <a:lnTo>
                        <a:pt x="132" y="1098"/>
                      </a:lnTo>
                      <a:lnTo>
                        <a:pt x="138" y="1078"/>
                      </a:lnTo>
                      <a:lnTo>
                        <a:pt x="148" y="1062"/>
                      </a:lnTo>
                      <a:lnTo>
                        <a:pt x="162" y="1046"/>
                      </a:lnTo>
                      <a:lnTo>
                        <a:pt x="178" y="1034"/>
                      </a:lnTo>
                      <a:lnTo>
                        <a:pt x="196" y="1024"/>
                      </a:lnTo>
                      <a:lnTo>
                        <a:pt x="216" y="1018"/>
                      </a:lnTo>
                      <a:lnTo>
                        <a:pt x="236" y="1016"/>
                      </a:lnTo>
                      <a:lnTo>
                        <a:pt x="1040" y="1016"/>
                      </a:lnTo>
                      <a:lnTo>
                        <a:pt x="1040" y="1016"/>
                      </a:lnTo>
                      <a:lnTo>
                        <a:pt x="1060" y="1018"/>
                      </a:lnTo>
                      <a:lnTo>
                        <a:pt x="1080" y="1024"/>
                      </a:lnTo>
                      <a:lnTo>
                        <a:pt x="1098" y="1034"/>
                      </a:lnTo>
                      <a:lnTo>
                        <a:pt x="1114" y="1046"/>
                      </a:lnTo>
                      <a:lnTo>
                        <a:pt x="1128" y="1062"/>
                      </a:lnTo>
                      <a:lnTo>
                        <a:pt x="1138" y="1078"/>
                      </a:lnTo>
                      <a:lnTo>
                        <a:pt x="1144" y="1098"/>
                      </a:lnTo>
                      <a:lnTo>
                        <a:pt x="1146" y="1118"/>
                      </a:lnTo>
                      <a:lnTo>
                        <a:pt x="1146" y="1118"/>
                      </a:lnTo>
                      <a:lnTo>
                        <a:pt x="1144" y="1138"/>
                      </a:lnTo>
                      <a:lnTo>
                        <a:pt x="1138" y="1158"/>
                      </a:lnTo>
                      <a:lnTo>
                        <a:pt x="1128" y="1174"/>
                      </a:lnTo>
                      <a:lnTo>
                        <a:pt x="1114" y="1190"/>
                      </a:lnTo>
                      <a:lnTo>
                        <a:pt x="1098" y="1202"/>
                      </a:lnTo>
                      <a:lnTo>
                        <a:pt x="1080" y="1212"/>
                      </a:lnTo>
                      <a:lnTo>
                        <a:pt x="1060" y="1218"/>
                      </a:lnTo>
                      <a:lnTo>
                        <a:pt x="1040" y="1220"/>
                      </a:lnTo>
                      <a:lnTo>
                        <a:pt x="1040" y="1220"/>
                      </a:lnTo>
                      <a:close/>
                      <a:moveTo>
                        <a:pt x="1040" y="804"/>
                      </a:moveTo>
                      <a:lnTo>
                        <a:pt x="236" y="804"/>
                      </a:lnTo>
                      <a:lnTo>
                        <a:pt x="236" y="804"/>
                      </a:lnTo>
                      <a:lnTo>
                        <a:pt x="216" y="802"/>
                      </a:lnTo>
                      <a:lnTo>
                        <a:pt x="196" y="796"/>
                      </a:lnTo>
                      <a:lnTo>
                        <a:pt x="178" y="786"/>
                      </a:lnTo>
                      <a:lnTo>
                        <a:pt x="162" y="774"/>
                      </a:lnTo>
                      <a:lnTo>
                        <a:pt x="148" y="758"/>
                      </a:lnTo>
                      <a:lnTo>
                        <a:pt x="138" y="740"/>
                      </a:lnTo>
                      <a:lnTo>
                        <a:pt x="132" y="722"/>
                      </a:lnTo>
                      <a:lnTo>
                        <a:pt x="130" y="702"/>
                      </a:lnTo>
                      <a:lnTo>
                        <a:pt x="130" y="702"/>
                      </a:lnTo>
                      <a:lnTo>
                        <a:pt x="132" y="680"/>
                      </a:lnTo>
                      <a:lnTo>
                        <a:pt x="138" y="662"/>
                      </a:lnTo>
                      <a:lnTo>
                        <a:pt x="148" y="644"/>
                      </a:lnTo>
                      <a:lnTo>
                        <a:pt x="162" y="630"/>
                      </a:lnTo>
                      <a:lnTo>
                        <a:pt x="178" y="616"/>
                      </a:lnTo>
                      <a:lnTo>
                        <a:pt x="196" y="608"/>
                      </a:lnTo>
                      <a:lnTo>
                        <a:pt x="216" y="602"/>
                      </a:lnTo>
                      <a:lnTo>
                        <a:pt x="236" y="600"/>
                      </a:lnTo>
                      <a:lnTo>
                        <a:pt x="1040" y="600"/>
                      </a:lnTo>
                      <a:lnTo>
                        <a:pt x="1040" y="600"/>
                      </a:lnTo>
                      <a:lnTo>
                        <a:pt x="1060" y="602"/>
                      </a:lnTo>
                      <a:lnTo>
                        <a:pt x="1080" y="608"/>
                      </a:lnTo>
                      <a:lnTo>
                        <a:pt x="1098" y="616"/>
                      </a:lnTo>
                      <a:lnTo>
                        <a:pt x="1114" y="630"/>
                      </a:lnTo>
                      <a:lnTo>
                        <a:pt x="1128" y="644"/>
                      </a:lnTo>
                      <a:lnTo>
                        <a:pt x="1138" y="662"/>
                      </a:lnTo>
                      <a:lnTo>
                        <a:pt x="1144" y="680"/>
                      </a:lnTo>
                      <a:lnTo>
                        <a:pt x="1146" y="702"/>
                      </a:lnTo>
                      <a:lnTo>
                        <a:pt x="1146" y="702"/>
                      </a:lnTo>
                      <a:lnTo>
                        <a:pt x="1144" y="722"/>
                      </a:lnTo>
                      <a:lnTo>
                        <a:pt x="1138" y="740"/>
                      </a:lnTo>
                      <a:lnTo>
                        <a:pt x="1128" y="758"/>
                      </a:lnTo>
                      <a:lnTo>
                        <a:pt x="1114" y="774"/>
                      </a:lnTo>
                      <a:lnTo>
                        <a:pt x="1098" y="786"/>
                      </a:lnTo>
                      <a:lnTo>
                        <a:pt x="1080" y="796"/>
                      </a:lnTo>
                      <a:lnTo>
                        <a:pt x="1060" y="802"/>
                      </a:lnTo>
                      <a:lnTo>
                        <a:pt x="1040" y="804"/>
                      </a:lnTo>
                      <a:lnTo>
                        <a:pt x="1040" y="804"/>
                      </a:lnTo>
                      <a:close/>
                      <a:moveTo>
                        <a:pt x="1040" y="386"/>
                      </a:moveTo>
                      <a:lnTo>
                        <a:pt x="236" y="386"/>
                      </a:lnTo>
                      <a:lnTo>
                        <a:pt x="236" y="386"/>
                      </a:lnTo>
                      <a:lnTo>
                        <a:pt x="216" y="384"/>
                      </a:lnTo>
                      <a:lnTo>
                        <a:pt x="196" y="378"/>
                      </a:lnTo>
                      <a:lnTo>
                        <a:pt x="178" y="370"/>
                      </a:lnTo>
                      <a:lnTo>
                        <a:pt x="162" y="356"/>
                      </a:lnTo>
                      <a:lnTo>
                        <a:pt x="148" y="342"/>
                      </a:lnTo>
                      <a:lnTo>
                        <a:pt x="138" y="324"/>
                      </a:lnTo>
                      <a:lnTo>
                        <a:pt x="132" y="306"/>
                      </a:lnTo>
                      <a:lnTo>
                        <a:pt x="130" y="284"/>
                      </a:lnTo>
                      <a:lnTo>
                        <a:pt x="130" y="284"/>
                      </a:lnTo>
                      <a:lnTo>
                        <a:pt x="132" y="264"/>
                      </a:lnTo>
                      <a:lnTo>
                        <a:pt x="138" y="246"/>
                      </a:lnTo>
                      <a:lnTo>
                        <a:pt x="148" y="228"/>
                      </a:lnTo>
                      <a:lnTo>
                        <a:pt x="162" y="212"/>
                      </a:lnTo>
                      <a:lnTo>
                        <a:pt x="178" y="200"/>
                      </a:lnTo>
                      <a:lnTo>
                        <a:pt x="196" y="190"/>
                      </a:lnTo>
                      <a:lnTo>
                        <a:pt x="216" y="184"/>
                      </a:lnTo>
                      <a:lnTo>
                        <a:pt x="236" y="182"/>
                      </a:lnTo>
                      <a:lnTo>
                        <a:pt x="1040" y="182"/>
                      </a:lnTo>
                      <a:lnTo>
                        <a:pt x="1040" y="182"/>
                      </a:lnTo>
                      <a:lnTo>
                        <a:pt x="1060" y="184"/>
                      </a:lnTo>
                      <a:lnTo>
                        <a:pt x="1080" y="190"/>
                      </a:lnTo>
                      <a:lnTo>
                        <a:pt x="1098" y="200"/>
                      </a:lnTo>
                      <a:lnTo>
                        <a:pt x="1114" y="212"/>
                      </a:lnTo>
                      <a:lnTo>
                        <a:pt x="1128" y="228"/>
                      </a:lnTo>
                      <a:lnTo>
                        <a:pt x="1138" y="246"/>
                      </a:lnTo>
                      <a:lnTo>
                        <a:pt x="1144" y="264"/>
                      </a:lnTo>
                      <a:lnTo>
                        <a:pt x="1146" y="284"/>
                      </a:lnTo>
                      <a:lnTo>
                        <a:pt x="1146" y="284"/>
                      </a:lnTo>
                      <a:lnTo>
                        <a:pt x="1144" y="306"/>
                      </a:lnTo>
                      <a:lnTo>
                        <a:pt x="1138" y="324"/>
                      </a:lnTo>
                      <a:lnTo>
                        <a:pt x="1128" y="342"/>
                      </a:lnTo>
                      <a:lnTo>
                        <a:pt x="1114" y="356"/>
                      </a:lnTo>
                      <a:lnTo>
                        <a:pt x="1098" y="370"/>
                      </a:lnTo>
                      <a:lnTo>
                        <a:pt x="1080" y="378"/>
                      </a:lnTo>
                      <a:lnTo>
                        <a:pt x="1060" y="384"/>
                      </a:lnTo>
                      <a:lnTo>
                        <a:pt x="1040" y="386"/>
                      </a:lnTo>
                      <a:lnTo>
                        <a:pt x="1040" y="38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Segoe UI"/>
                    <a:ea typeface="+mn-ea"/>
                    <a:cs typeface="+mn-cs"/>
                  </a:endParaRPr>
                </a:p>
              </p:txBody>
            </p:sp>
          </p:grpSp>
        </p:grpSp>
        <p:sp>
          <p:nvSpPr>
            <p:cNvPr id="400" name="Rectangle 399"/>
            <p:cNvSpPr/>
            <p:nvPr/>
          </p:nvSpPr>
          <p:spPr bwMode="auto">
            <a:xfrm rot="2366189">
              <a:off x="7995810" y="3751792"/>
              <a:ext cx="191499" cy="242430"/>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1" name="Rectangle 21"/>
            <p:cNvSpPr/>
            <p:nvPr/>
          </p:nvSpPr>
          <p:spPr bwMode="auto">
            <a:xfrm rot="19936818">
              <a:off x="7991151" y="3018172"/>
              <a:ext cx="204286" cy="541839"/>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2" name="Rectangle 29"/>
            <p:cNvSpPr/>
            <p:nvPr/>
          </p:nvSpPr>
          <p:spPr bwMode="auto">
            <a:xfrm rot="15300000">
              <a:off x="7525417" y="2858863"/>
              <a:ext cx="155096" cy="530061"/>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03" name="Group 402"/>
            <p:cNvGrpSpPr/>
            <p:nvPr/>
          </p:nvGrpSpPr>
          <p:grpSpPr>
            <a:xfrm>
              <a:off x="8085239" y="3471318"/>
              <a:ext cx="372691" cy="372692"/>
              <a:chOff x="5411363" y="1755522"/>
              <a:chExt cx="316187" cy="316187"/>
            </a:xfrm>
            <a:grpFill/>
          </p:grpSpPr>
          <p:sp>
            <p:nvSpPr>
              <p:cNvPr id="440" name="Oval 439"/>
              <p:cNvSpPr/>
              <p:nvPr/>
            </p:nvSpPr>
            <p:spPr bwMode="auto">
              <a:xfrm>
                <a:off x="5411363" y="1755522"/>
                <a:ext cx="316187" cy="316187"/>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1" name="Oval 440"/>
              <p:cNvSpPr/>
              <p:nvPr/>
            </p:nvSpPr>
            <p:spPr bwMode="auto">
              <a:xfrm>
                <a:off x="5462797" y="1806956"/>
                <a:ext cx="213318" cy="213318"/>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42" name="Oval 441"/>
              <p:cNvSpPr/>
              <p:nvPr/>
            </p:nvSpPr>
            <p:spPr bwMode="auto">
              <a:xfrm>
                <a:off x="5506446" y="1850605"/>
                <a:ext cx="126020" cy="12602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04" name="Group 403"/>
            <p:cNvGrpSpPr/>
            <p:nvPr/>
          </p:nvGrpSpPr>
          <p:grpSpPr>
            <a:xfrm flipH="1">
              <a:off x="7802630" y="2899500"/>
              <a:ext cx="270920" cy="270920"/>
              <a:chOff x="4394973" y="1762558"/>
              <a:chExt cx="352210" cy="352210"/>
            </a:xfrm>
            <a:grpFill/>
          </p:grpSpPr>
          <p:grpSp>
            <p:nvGrpSpPr>
              <p:cNvPr id="434" name="Group 433"/>
              <p:cNvGrpSpPr/>
              <p:nvPr/>
            </p:nvGrpSpPr>
            <p:grpSpPr>
              <a:xfrm flipH="1">
                <a:off x="4394973" y="1762558"/>
                <a:ext cx="352210" cy="352210"/>
                <a:chOff x="5411363" y="1755522"/>
                <a:chExt cx="316187" cy="316187"/>
              </a:xfrm>
              <a:grpFill/>
            </p:grpSpPr>
            <p:sp>
              <p:nvSpPr>
                <p:cNvPr id="437" name="Oval 436"/>
                <p:cNvSpPr/>
                <p:nvPr/>
              </p:nvSpPr>
              <p:spPr bwMode="auto">
                <a:xfrm>
                  <a:off x="5411363" y="1755522"/>
                  <a:ext cx="316187" cy="316187"/>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8" name="Oval 437"/>
                <p:cNvSpPr/>
                <p:nvPr/>
              </p:nvSpPr>
              <p:spPr bwMode="auto">
                <a:xfrm>
                  <a:off x="5462797" y="1806956"/>
                  <a:ext cx="213318" cy="213318"/>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9" name="Oval 438"/>
                <p:cNvSpPr/>
                <p:nvPr/>
              </p:nvSpPr>
              <p:spPr bwMode="auto">
                <a:xfrm>
                  <a:off x="5506446" y="1850605"/>
                  <a:ext cx="126020" cy="12602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35" name="Rectangle 434"/>
              <p:cNvSpPr/>
              <p:nvPr/>
            </p:nvSpPr>
            <p:spPr bwMode="auto">
              <a:xfrm flipH="1">
                <a:off x="4553231" y="1789294"/>
                <a:ext cx="35695" cy="286445"/>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6" name="Rectangle 435"/>
              <p:cNvSpPr/>
              <p:nvPr/>
            </p:nvSpPr>
            <p:spPr bwMode="auto">
              <a:xfrm rot="5400000" flipH="1">
                <a:off x="4556016" y="1795437"/>
                <a:ext cx="35695" cy="286447"/>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05" name="Rectangle 404"/>
            <p:cNvSpPr/>
            <p:nvPr/>
          </p:nvSpPr>
          <p:spPr bwMode="auto">
            <a:xfrm rot="11618614">
              <a:off x="7223405" y="3288967"/>
              <a:ext cx="102341" cy="183889"/>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6" name="Oval 405"/>
            <p:cNvSpPr/>
            <p:nvPr/>
          </p:nvSpPr>
          <p:spPr bwMode="auto">
            <a:xfrm rot="11681175">
              <a:off x="7185228" y="3430610"/>
              <a:ext cx="117398" cy="117397"/>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algn="ctr" defTabSz="932192"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07" name="Group 406"/>
            <p:cNvGrpSpPr/>
            <p:nvPr/>
          </p:nvGrpSpPr>
          <p:grpSpPr>
            <a:xfrm rot="818614" flipH="1">
              <a:off x="7252479" y="3507241"/>
              <a:ext cx="104940" cy="288700"/>
              <a:chOff x="5430362" y="1772113"/>
              <a:chExt cx="99173" cy="272835"/>
            </a:xfrm>
            <a:grpFill/>
          </p:grpSpPr>
          <p:sp>
            <p:nvSpPr>
              <p:cNvPr id="432" name="Rectangle 431"/>
              <p:cNvSpPr/>
              <p:nvPr/>
            </p:nvSpPr>
            <p:spPr bwMode="auto">
              <a:xfrm rot="13260000" flipH="1">
                <a:off x="5468027" y="1772113"/>
                <a:ext cx="45719" cy="137160"/>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algn="ctr" defTabSz="932192"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3" name="Diagonal Stripe 432"/>
              <p:cNvSpPr/>
              <p:nvPr/>
            </p:nvSpPr>
            <p:spPr bwMode="auto">
              <a:xfrm rot="19432650">
                <a:off x="5430362" y="1862068"/>
                <a:ext cx="99173" cy="182880"/>
              </a:xfrm>
              <a:prstGeom prst="diagStripe">
                <a:avLst/>
              </a:prstGeom>
              <a:grpFill/>
              <a:ln w="9525" cap="flat" cmpd="sng" algn="ctr">
                <a:no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algn="ctr" defTabSz="932192"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08" name="Group 407"/>
            <p:cNvGrpSpPr/>
            <p:nvPr/>
          </p:nvGrpSpPr>
          <p:grpSpPr>
            <a:xfrm rot="2114316">
              <a:off x="7046961" y="3409566"/>
              <a:ext cx="104940" cy="288698"/>
              <a:chOff x="5422401" y="1772114"/>
              <a:chExt cx="99173" cy="272833"/>
            </a:xfrm>
            <a:grpFill/>
          </p:grpSpPr>
          <p:sp>
            <p:nvSpPr>
              <p:cNvPr id="430" name="Rectangle 429"/>
              <p:cNvSpPr/>
              <p:nvPr/>
            </p:nvSpPr>
            <p:spPr bwMode="auto">
              <a:xfrm rot="13260000" flipH="1">
                <a:off x="5460056" y="1772114"/>
                <a:ext cx="45719" cy="137160"/>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algn="ctr" defTabSz="932192"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1" name="Diagonal Stripe 430"/>
              <p:cNvSpPr/>
              <p:nvPr/>
            </p:nvSpPr>
            <p:spPr bwMode="auto">
              <a:xfrm rot="19432650">
                <a:off x="5422401" y="1862067"/>
                <a:ext cx="99173" cy="182880"/>
              </a:xfrm>
              <a:prstGeom prst="diagStripe">
                <a:avLst/>
              </a:prstGeom>
              <a:grpFill/>
              <a:ln w="9525" cap="flat" cmpd="sng" algn="ctr">
                <a:noFill/>
                <a:prstDash val="solid"/>
                <a:headEnd type="none" w="med" len="med"/>
                <a:tailEnd type="none" w="med" len="med"/>
              </a:ln>
              <a:effectLst/>
            </p:spPr>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marL="0" marR="0" lvl="0" indent="0" algn="ctr" defTabSz="932192"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09" name="Group 408"/>
            <p:cNvGrpSpPr/>
            <p:nvPr/>
          </p:nvGrpSpPr>
          <p:grpSpPr>
            <a:xfrm flipH="1">
              <a:off x="7220235" y="3126350"/>
              <a:ext cx="203190" cy="203190"/>
              <a:chOff x="4394973" y="1762558"/>
              <a:chExt cx="352210" cy="352210"/>
            </a:xfrm>
            <a:grpFill/>
          </p:grpSpPr>
          <p:grpSp>
            <p:nvGrpSpPr>
              <p:cNvPr id="424" name="Group 423"/>
              <p:cNvGrpSpPr/>
              <p:nvPr/>
            </p:nvGrpSpPr>
            <p:grpSpPr>
              <a:xfrm flipH="1">
                <a:off x="4394973" y="1762558"/>
                <a:ext cx="352210" cy="352210"/>
                <a:chOff x="5411363" y="1755522"/>
                <a:chExt cx="316187" cy="316187"/>
              </a:xfrm>
              <a:grpFill/>
            </p:grpSpPr>
            <p:sp>
              <p:nvSpPr>
                <p:cNvPr id="427" name="Oval 426"/>
                <p:cNvSpPr/>
                <p:nvPr/>
              </p:nvSpPr>
              <p:spPr bwMode="auto">
                <a:xfrm>
                  <a:off x="5411363" y="1755522"/>
                  <a:ext cx="316187" cy="316187"/>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8" name="Oval 427"/>
                <p:cNvSpPr/>
                <p:nvPr/>
              </p:nvSpPr>
              <p:spPr bwMode="auto">
                <a:xfrm>
                  <a:off x="5462797" y="1806956"/>
                  <a:ext cx="213318" cy="213318"/>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9" name="Oval 428"/>
                <p:cNvSpPr/>
                <p:nvPr/>
              </p:nvSpPr>
              <p:spPr bwMode="auto">
                <a:xfrm>
                  <a:off x="5506446" y="1850605"/>
                  <a:ext cx="126020" cy="126020"/>
                </a:xfrm>
                <a:prstGeom prst="ellipse">
                  <a:avLst/>
                </a:prstGeom>
                <a:grpFill/>
                <a:ln w="9525" cap="flat" cmpd="sng" algn="ctr">
                  <a:noFill/>
                  <a:prstDash val="solid"/>
                  <a:headEnd type="none" w="med" len="med"/>
                  <a:tailEnd type="none" w="med" len="med"/>
                </a:ln>
                <a:effectLst/>
              </p:spPr>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25" name="Rectangle 424"/>
              <p:cNvSpPr/>
              <p:nvPr/>
            </p:nvSpPr>
            <p:spPr bwMode="auto">
              <a:xfrm flipH="1">
                <a:off x="4553229" y="1795031"/>
                <a:ext cx="35696" cy="264411"/>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6" name="Rectangle 425"/>
              <p:cNvSpPr/>
              <p:nvPr/>
            </p:nvSpPr>
            <p:spPr bwMode="auto">
              <a:xfrm rot="5400000" flipH="1">
                <a:off x="4559388" y="1806456"/>
                <a:ext cx="35696" cy="264411"/>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10" name="Rounded Rectangle 409"/>
            <p:cNvSpPr/>
            <p:nvPr/>
          </p:nvSpPr>
          <p:spPr bwMode="auto">
            <a:xfrm>
              <a:off x="7641539" y="3892159"/>
              <a:ext cx="895004" cy="282209"/>
            </a:xfrm>
            <a:prstGeom prst="round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1" name="Rounded Rectangle 410"/>
            <p:cNvSpPr/>
            <p:nvPr/>
          </p:nvSpPr>
          <p:spPr bwMode="auto">
            <a:xfrm>
              <a:off x="7540750" y="4033262"/>
              <a:ext cx="1096582" cy="158486"/>
            </a:xfrm>
            <a:prstGeom prst="round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12" name="Group 411"/>
            <p:cNvGrpSpPr>
              <a:grpSpLocks noChangeAspect="1"/>
            </p:cNvGrpSpPr>
            <p:nvPr/>
          </p:nvGrpSpPr>
          <p:grpSpPr>
            <a:xfrm>
              <a:off x="8207660" y="3585243"/>
              <a:ext cx="130675" cy="149683"/>
              <a:chOff x="6983648" y="1445099"/>
              <a:chExt cx="547340" cy="626953"/>
            </a:xfrm>
            <a:grpFill/>
          </p:grpSpPr>
          <p:grpSp>
            <p:nvGrpSpPr>
              <p:cNvPr id="420" name="Group 419"/>
              <p:cNvGrpSpPr/>
              <p:nvPr/>
            </p:nvGrpSpPr>
            <p:grpSpPr>
              <a:xfrm>
                <a:off x="7194788" y="1531030"/>
                <a:ext cx="142870" cy="365652"/>
                <a:chOff x="7010248" y="1548085"/>
                <a:chExt cx="1648465" cy="4218961"/>
              </a:xfrm>
              <a:grpFill/>
            </p:grpSpPr>
            <p:sp>
              <p:nvSpPr>
                <p:cNvPr id="422" name="Freeform 10"/>
                <p:cNvSpPr>
                  <a:spLocks/>
                </p:cNvSpPr>
                <p:nvPr/>
              </p:nvSpPr>
              <p:spPr bwMode="auto">
                <a:xfrm>
                  <a:off x="7223058" y="3174844"/>
                  <a:ext cx="1225540" cy="2409829"/>
                </a:xfrm>
                <a:custGeom>
                  <a:avLst/>
                  <a:gdLst>
                    <a:gd name="T0" fmla="*/ 610 w 772"/>
                    <a:gd name="T1" fmla="*/ 0 h 1518"/>
                    <a:gd name="T2" fmla="*/ 162 w 772"/>
                    <a:gd name="T3" fmla="*/ 818 h 1518"/>
                    <a:gd name="T4" fmla="*/ 144 w 772"/>
                    <a:gd name="T5" fmla="*/ 832 h 1518"/>
                    <a:gd name="T6" fmla="*/ 110 w 772"/>
                    <a:gd name="T7" fmla="*/ 862 h 1518"/>
                    <a:gd name="T8" fmla="*/ 80 w 772"/>
                    <a:gd name="T9" fmla="*/ 896 h 1518"/>
                    <a:gd name="T10" fmla="*/ 56 w 772"/>
                    <a:gd name="T11" fmla="*/ 932 h 1518"/>
                    <a:gd name="T12" fmla="*/ 34 w 772"/>
                    <a:gd name="T13" fmla="*/ 974 h 1518"/>
                    <a:gd name="T14" fmla="*/ 18 w 772"/>
                    <a:gd name="T15" fmla="*/ 1016 h 1518"/>
                    <a:gd name="T16" fmla="*/ 6 w 772"/>
                    <a:gd name="T17" fmla="*/ 1062 h 1518"/>
                    <a:gd name="T18" fmla="*/ 0 w 772"/>
                    <a:gd name="T19" fmla="*/ 1108 h 1518"/>
                    <a:gd name="T20" fmla="*/ 0 w 772"/>
                    <a:gd name="T21" fmla="*/ 1132 h 1518"/>
                    <a:gd name="T22" fmla="*/ 8 w 772"/>
                    <a:gd name="T23" fmla="*/ 1210 h 1518"/>
                    <a:gd name="T24" fmla="*/ 30 w 772"/>
                    <a:gd name="T25" fmla="*/ 1282 h 1518"/>
                    <a:gd name="T26" fmla="*/ 66 w 772"/>
                    <a:gd name="T27" fmla="*/ 1348 h 1518"/>
                    <a:gd name="T28" fmla="*/ 112 w 772"/>
                    <a:gd name="T29" fmla="*/ 1406 h 1518"/>
                    <a:gd name="T30" fmla="*/ 170 w 772"/>
                    <a:gd name="T31" fmla="*/ 1452 h 1518"/>
                    <a:gd name="T32" fmla="*/ 236 w 772"/>
                    <a:gd name="T33" fmla="*/ 1488 h 1518"/>
                    <a:gd name="T34" fmla="*/ 308 w 772"/>
                    <a:gd name="T35" fmla="*/ 1510 h 1518"/>
                    <a:gd name="T36" fmla="*/ 386 w 772"/>
                    <a:gd name="T37" fmla="*/ 1518 h 1518"/>
                    <a:gd name="T38" fmla="*/ 426 w 772"/>
                    <a:gd name="T39" fmla="*/ 1516 h 1518"/>
                    <a:gd name="T40" fmla="*/ 500 w 772"/>
                    <a:gd name="T41" fmla="*/ 1502 h 1518"/>
                    <a:gd name="T42" fmla="*/ 570 w 772"/>
                    <a:gd name="T43" fmla="*/ 1472 h 1518"/>
                    <a:gd name="T44" fmla="*/ 632 w 772"/>
                    <a:gd name="T45" fmla="*/ 1430 h 1518"/>
                    <a:gd name="T46" fmla="*/ 684 w 772"/>
                    <a:gd name="T47" fmla="*/ 1378 h 1518"/>
                    <a:gd name="T48" fmla="*/ 726 w 772"/>
                    <a:gd name="T49" fmla="*/ 1316 h 1518"/>
                    <a:gd name="T50" fmla="*/ 756 w 772"/>
                    <a:gd name="T51" fmla="*/ 1248 h 1518"/>
                    <a:gd name="T52" fmla="*/ 770 w 772"/>
                    <a:gd name="T53" fmla="*/ 1172 h 1518"/>
                    <a:gd name="T54" fmla="*/ 772 w 772"/>
                    <a:gd name="T55" fmla="*/ 1132 h 1518"/>
                    <a:gd name="T56" fmla="*/ 770 w 772"/>
                    <a:gd name="T57" fmla="*/ 1084 h 1518"/>
                    <a:gd name="T58" fmla="*/ 760 w 772"/>
                    <a:gd name="T59" fmla="*/ 1038 h 1518"/>
                    <a:gd name="T60" fmla="*/ 748 w 772"/>
                    <a:gd name="T61" fmla="*/ 994 h 1518"/>
                    <a:gd name="T62" fmla="*/ 728 w 772"/>
                    <a:gd name="T63" fmla="*/ 952 h 1518"/>
                    <a:gd name="T64" fmla="*/ 704 w 772"/>
                    <a:gd name="T65" fmla="*/ 914 h 1518"/>
                    <a:gd name="T66" fmla="*/ 676 w 772"/>
                    <a:gd name="T67" fmla="*/ 878 h 1518"/>
                    <a:gd name="T68" fmla="*/ 646 w 772"/>
                    <a:gd name="T69" fmla="*/ 846 h 1518"/>
                    <a:gd name="T70" fmla="*/ 610 w 772"/>
                    <a:gd name="T71" fmla="*/ 818 h 1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72" h="1518">
                      <a:moveTo>
                        <a:pt x="610" y="818"/>
                      </a:moveTo>
                      <a:lnTo>
                        <a:pt x="610" y="0"/>
                      </a:lnTo>
                      <a:lnTo>
                        <a:pt x="162" y="0"/>
                      </a:lnTo>
                      <a:lnTo>
                        <a:pt x="162" y="818"/>
                      </a:lnTo>
                      <a:lnTo>
                        <a:pt x="162" y="818"/>
                      </a:lnTo>
                      <a:lnTo>
                        <a:pt x="144" y="832"/>
                      </a:lnTo>
                      <a:lnTo>
                        <a:pt x="126" y="846"/>
                      </a:lnTo>
                      <a:lnTo>
                        <a:pt x="110" y="862"/>
                      </a:lnTo>
                      <a:lnTo>
                        <a:pt x="96" y="878"/>
                      </a:lnTo>
                      <a:lnTo>
                        <a:pt x="80" y="896"/>
                      </a:lnTo>
                      <a:lnTo>
                        <a:pt x="68" y="914"/>
                      </a:lnTo>
                      <a:lnTo>
                        <a:pt x="56" y="932"/>
                      </a:lnTo>
                      <a:lnTo>
                        <a:pt x="44" y="952"/>
                      </a:lnTo>
                      <a:lnTo>
                        <a:pt x="34" y="974"/>
                      </a:lnTo>
                      <a:lnTo>
                        <a:pt x="26" y="994"/>
                      </a:lnTo>
                      <a:lnTo>
                        <a:pt x="18" y="1016"/>
                      </a:lnTo>
                      <a:lnTo>
                        <a:pt x="12" y="1038"/>
                      </a:lnTo>
                      <a:lnTo>
                        <a:pt x="6" y="1062"/>
                      </a:lnTo>
                      <a:lnTo>
                        <a:pt x="2" y="1084"/>
                      </a:lnTo>
                      <a:lnTo>
                        <a:pt x="0" y="1108"/>
                      </a:lnTo>
                      <a:lnTo>
                        <a:pt x="0" y="1132"/>
                      </a:lnTo>
                      <a:lnTo>
                        <a:pt x="0" y="1132"/>
                      </a:lnTo>
                      <a:lnTo>
                        <a:pt x="2" y="1172"/>
                      </a:lnTo>
                      <a:lnTo>
                        <a:pt x="8" y="1210"/>
                      </a:lnTo>
                      <a:lnTo>
                        <a:pt x="16" y="1248"/>
                      </a:lnTo>
                      <a:lnTo>
                        <a:pt x="30" y="1282"/>
                      </a:lnTo>
                      <a:lnTo>
                        <a:pt x="46" y="1316"/>
                      </a:lnTo>
                      <a:lnTo>
                        <a:pt x="66" y="1348"/>
                      </a:lnTo>
                      <a:lnTo>
                        <a:pt x="88" y="1378"/>
                      </a:lnTo>
                      <a:lnTo>
                        <a:pt x="112" y="1406"/>
                      </a:lnTo>
                      <a:lnTo>
                        <a:pt x="140" y="1430"/>
                      </a:lnTo>
                      <a:lnTo>
                        <a:pt x="170" y="1452"/>
                      </a:lnTo>
                      <a:lnTo>
                        <a:pt x="202" y="1472"/>
                      </a:lnTo>
                      <a:lnTo>
                        <a:pt x="236" y="1488"/>
                      </a:lnTo>
                      <a:lnTo>
                        <a:pt x="272" y="1502"/>
                      </a:lnTo>
                      <a:lnTo>
                        <a:pt x="308" y="1510"/>
                      </a:lnTo>
                      <a:lnTo>
                        <a:pt x="346" y="1516"/>
                      </a:lnTo>
                      <a:lnTo>
                        <a:pt x="386" y="1518"/>
                      </a:lnTo>
                      <a:lnTo>
                        <a:pt x="386" y="1518"/>
                      </a:lnTo>
                      <a:lnTo>
                        <a:pt x="426" y="1516"/>
                      </a:lnTo>
                      <a:lnTo>
                        <a:pt x="464" y="1510"/>
                      </a:lnTo>
                      <a:lnTo>
                        <a:pt x="500" y="1502"/>
                      </a:lnTo>
                      <a:lnTo>
                        <a:pt x="536" y="1488"/>
                      </a:lnTo>
                      <a:lnTo>
                        <a:pt x="570" y="1472"/>
                      </a:lnTo>
                      <a:lnTo>
                        <a:pt x="602" y="1452"/>
                      </a:lnTo>
                      <a:lnTo>
                        <a:pt x="632" y="1430"/>
                      </a:lnTo>
                      <a:lnTo>
                        <a:pt x="660" y="1406"/>
                      </a:lnTo>
                      <a:lnTo>
                        <a:pt x="684" y="1378"/>
                      </a:lnTo>
                      <a:lnTo>
                        <a:pt x="706" y="1348"/>
                      </a:lnTo>
                      <a:lnTo>
                        <a:pt x="726" y="1316"/>
                      </a:lnTo>
                      <a:lnTo>
                        <a:pt x="742" y="1282"/>
                      </a:lnTo>
                      <a:lnTo>
                        <a:pt x="756" y="1248"/>
                      </a:lnTo>
                      <a:lnTo>
                        <a:pt x="764" y="1210"/>
                      </a:lnTo>
                      <a:lnTo>
                        <a:pt x="770" y="1172"/>
                      </a:lnTo>
                      <a:lnTo>
                        <a:pt x="772" y="1132"/>
                      </a:lnTo>
                      <a:lnTo>
                        <a:pt x="772" y="1132"/>
                      </a:lnTo>
                      <a:lnTo>
                        <a:pt x="772" y="1108"/>
                      </a:lnTo>
                      <a:lnTo>
                        <a:pt x="770" y="1084"/>
                      </a:lnTo>
                      <a:lnTo>
                        <a:pt x="766" y="1062"/>
                      </a:lnTo>
                      <a:lnTo>
                        <a:pt x="760" y="1038"/>
                      </a:lnTo>
                      <a:lnTo>
                        <a:pt x="754" y="1016"/>
                      </a:lnTo>
                      <a:lnTo>
                        <a:pt x="748" y="994"/>
                      </a:lnTo>
                      <a:lnTo>
                        <a:pt x="738" y="974"/>
                      </a:lnTo>
                      <a:lnTo>
                        <a:pt x="728" y="952"/>
                      </a:lnTo>
                      <a:lnTo>
                        <a:pt x="716" y="932"/>
                      </a:lnTo>
                      <a:lnTo>
                        <a:pt x="704" y="914"/>
                      </a:lnTo>
                      <a:lnTo>
                        <a:pt x="692" y="896"/>
                      </a:lnTo>
                      <a:lnTo>
                        <a:pt x="676" y="878"/>
                      </a:lnTo>
                      <a:lnTo>
                        <a:pt x="662" y="862"/>
                      </a:lnTo>
                      <a:lnTo>
                        <a:pt x="646" y="846"/>
                      </a:lnTo>
                      <a:lnTo>
                        <a:pt x="628" y="832"/>
                      </a:lnTo>
                      <a:lnTo>
                        <a:pt x="610" y="818"/>
                      </a:lnTo>
                      <a:lnTo>
                        <a:pt x="610" y="818"/>
                      </a:lnTo>
                      <a:close/>
                    </a:path>
                  </a:pathLst>
                </a:custGeom>
                <a:grpFill/>
                <a:ln w="9525">
                  <a:noFill/>
                  <a:round/>
                  <a:headEnd/>
                  <a:tailEnd/>
                </a:ln>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188F"/>
                    </a:solidFill>
                    <a:effectLst/>
                    <a:uLnTx/>
                    <a:uFillTx/>
                    <a:latin typeface="Segoe UI"/>
                    <a:ea typeface="+mn-ea"/>
                    <a:cs typeface="+mn-cs"/>
                  </a:endParaRPr>
                </a:p>
              </p:txBody>
            </p:sp>
            <p:sp>
              <p:nvSpPr>
                <p:cNvPr id="423" name="Freeform 11"/>
                <p:cNvSpPr>
                  <a:spLocks noEditPoints="1"/>
                </p:cNvSpPr>
                <p:nvPr/>
              </p:nvSpPr>
              <p:spPr bwMode="auto">
                <a:xfrm>
                  <a:off x="7010248" y="1548085"/>
                  <a:ext cx="1648465" cy="4218961"/>
                </a:xfrm>
                <a:custGeom>
                  <a:avLst/>
                  <a:gdLst>
                    <a:gd name="T0" fmla="*/ 782 w 944"/>
                    <a:gd name="T1" fmla="*/ 306 h 2416"/>
                    <a:gd name="T2" fmla="*/ 746 w 944"/>
                    <a:gd name="T3" fmla="*/ 178 h 2416"/>
                    <a:gd name="T4" fmla="*/ 670 w 944"/>
                    <a:gd name="T5" fmla="*/ 78 h 2416"/>
                    <a:gd name="T6" fmla="*/ 564 w 944"/>
                    <a:gd name="T7" fmla="*/ 16 h 2416"/>
                    <a:gd name="T8" fmla="*/ 472 w 944"/>
                    <a:gd name="T9" fmla="*/ 0 h 2416"/>
                    <a:gd name="T10" fmla="*/ 350 w 944"/>
                    <a:gd name="T11" fmla="*/ 26 h 2416"/>
                    <a:gd name="T12" fmla="*/ 252 w 944"/>
                    <a:gd name="T13" fmla="*/ 100 h 2416"/>
                    <a:gd name="T14" fmla="*/ 184 w 944"/>
                    <a:gd name="T15" fmla="*/ 208 h 2416"/>
                    <a:gd name="T16" fmla="*/ 160 w 944"/>
                    <a:gd name="T17" fmla="*/ 340 h 2416"/>
                    <a:gd name="T18" fmla="*/ 124 w 944"/>
                    <a:gd name="T19" fmla="*/ 1626 h 2416"/>
                    <a:gd name="T20" fmla="*/ 64 w 944"/>
                    <a:gd name="T21" fmla="*/ 1706 h 2416"/>
                    <a:gd name="T22" fmla="*/ 24 w 944"/>
                    <a:gd name="T23" fmla="*/ 1796 h 2416"/>
                    <a:gd name="T24" fmla="*/ 2 w 944"/>
                    <a:gd name="T25" fmla="*/ 1894 h 2416"/>
                    <a:gd name="T26" fmla="*/ 0 w 944"/>
                    <a:gd name="T27" fmla="*/ 1968 h 2416"/>
                    <a:gd name="T28" fmla="*/ 22 w 944"/>
                    <a:gd name="T29" fmla="*/ 2084 h 2416"/>
                    <a:gd name="T30" fmla="*/ 108 w 944"/>
                    <a:gd name="T31" fmla="*/ 2244 h 2416"/>
                    <a:gd name="T32" fmla="*/ 248 w 944"/>
                    <a:gd name="T33" fmla="*/ 2360 h 2416"/>
                    <a:gd name="T34" fmla="*/ 400 w 944"/>
                    <a:gd name="T35" fmla="*/ 2412 h 2416"/>
                    <a:gd name="T36" fmla="*/ 472 w 944"/>
                    <a:gd name="T37" fmla="*/ 2416 h 2416"/>
                    <a:gd name="T38" fmla="*/ 568 w 944"/>
                    <a:gd name="T39" fmla="*/ 2408 h 2416"/>
                    <a:gd name="T40" fmla="*/ 736 w 944"/>
                    <a:gd name="T41" fmla="*/ 2336 h 2416"/>
                    <a:gd name="T42" fmla="*/ 864 w 944"/>
                    <a:gd name="T43" fmla="*/ 2208 h 2416"/>
                    <a:gd name="T44" fmla="*/ 934 w 944"/>
                    <a:gd name="T45" fmla="*/ 2040 h 2416"/>
                    <a:gd name="T46" fmla="*/ 944 w 944"/>
                    <a:gd name="T47" fmla="*/ 1944 h 2416"/>
                    <a:gd name="T48" fmla="*/ 938 w 944"/>
                    <a:gd name="T49" fmla="*/ 1870 h 2416"/>
                    <a:gd name="T50" fmla="*/ 912 w 944"/>
                    <a:gd name="T51" fmla="*/ 1774 h 2416"/>
                    <a:gd name="T52" fmla="*/ 866 w 944"/>
                    <a:gd name="T53" fmla="*/ 1686 h 2416"/>
                    <a:gd name="T54" fmla="*/ 802 w 944"/>
                    <a:gd name="T55" fmla="*/ 1608 h 2416"/>
                    <a:gd name="T56" fmla="*/ 472 w 944"/>
                    <a:gd name="T57" fmla="*/ 2376 h 2416"/>
                    <a:gd name="T58" fmla="*/ 304 w 944"/>
                    <a:gd name="T59" fmla="*/ 2342 h 2416"/>
                    <a:gd name="T60" fmla="*/ 166 w 944"/>
                    <a:gd name="T61" fmla="*/ 2250 h 2416"/>
                    <a:gd name="T62" fmla="*/ 74 w 944"/>
                    <a:gd name="T63" fmla="*/ 2112 h 2416"/>
                    <a:gd name="T64" fmla="*/ 40 w 944"/>
                    <a:gd name="T65" fmla="*/ 1944 h 2416"/>
                    <a:gd name="T66" fmla="*/ 46 w 944"/>
                    <a:gd name="T67" fmla="*/ 1874 h 2416"/>
                    <a:gd name="T68" fmla="*/ 70 w 944"/>
                    <a:gd name="T69" fmla="*/ 1784 h 2416"/>
                    <a:gd name="T70" fmla="*/ 114 w 944"/>
                    <a:gd name="T71" fmla="*/ 1702 h 2416"/>
                    <a:gd name="T72" fmla="*/ 176 w 944"/>
                    <a:gd name="T73" fmla="*/ 1630 h 2416"/>
                    <a:gd name="T74" fmla="*/ 200 w 944"/>
                    <a:gd name="T75" fmla="*/ 340 h 2416"/>
                    <a:gd name="T76" fmla="*/ 222 w 944"/>
                    <a:gd name="T77" fmla="*/ 224 h 2416"/>
                    <a:gd name="T78" fmla="*/ 280 w 944"/>
                    <a:gd name="T79" fmla="*/ 128 h 2416"/>
                    <a:gd name="T80" fmla="*/ 366 w 944"/>
                    <a:gd name="T81" fmla="*/ 64 h 2416"/>
                    <a:gd name="T82" fmla="*/ 472 w 944"/>
                    <a:gd name="T83" fmla="*/ 40 h 2416"/>
                    <a:gd name="T84" fmla="*/ 544 w 944"/>
                    <a:gd name="T85" fmla="*/ 50 h 2416"/>
                    <a:gd name="T86" fmla="*/ 628 w 944"/>
                    <a:gd name="T87" fmla="*/ 94 h 2416"/>
                    <a:gd name="T88" fmla="*/ 692 w 944"/>
                    <a:gd name="T89" fmla="*/ 164 h 2416"/>
                    <a:gd name="T90" fmla="*/ 734 w 944"/>
                    <a:gd name="T91" fmla="*/ 256 h 2416"/>
                    <a:gd name="T92" fmla="*/ 744 w 944"/>
                    <a:gd name="T93" fmla="*/ 322 h 2416"/>
                    <a:gd name="T94" fmla="*/ 472 w 944"/>
                    <a:gd name="T95" fmla="*/ 416 h 2416"/>
                    <a:gd name="T96" fmla="*/ 472 w 944"/>
                    <a:gd name="T97" fmla="*/ 550 h 2416"/>
                    <a:gd name="T98" fmla="*/ 472 w 944"/>
                    <a:gd name="T99" fmla="*/ 684 h 2416"/>
                    <a:gd name="T100" fmla="*/ 752 w 944"/>
                    <a:gd name="T101" fmla="*/ 1616 h 2416"/>
                    <a:gd name="T102" fmla="*/ 802 w 944"/>
                    <a:gd name="T103" fmla="*/ 1666 h 2416"/>
                    <a:gd name="T104" fmla="*/ 854 w 944"/>
                    <a:gd name="T105" fmla="*/ 1742 h 2416"/>
                    <a:gd name="T106" fmla="*/ 888 w 944"/>
                    <a:gd name="T107" fmla="*/ 1828 h 2416"/>
                    <a:gd name="T108" fmla="*/ 904 w 944"/>
                    <a:gd name="T109" fmla="*/ 1920 h 2416"/>
                    <a:gd name="T110" fmla="*/ 896 w 944"/>
                    <a:gd name="T111" fmla="*/ 2032 h 2416"/>
                    <a:gd name="T112" fmla="*/ 830 w 944"/>
                    <a:gd name="T113" fmla="*/ 2186 h 2416"/>
                    <a:gd name="T114" fmla="*/ 714 w 944"/>
                    <a:gd name="T115" fmla="*/ 2302 h 2416"/>
                    <a:gd name="T116" fmla="*/ 558 w 944"/>
                    <a:gd name="T117" fmla="*/ 2368 h 2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4" h="2416">
                      <a:moveTo>
                        <a:pt x="784" y="1590"/>
                      </a:moveTo>
                      <a:lnTo>
                        <a:pt x="784" y="340"/>
                      </a:lnTo>
                      <a:lnTo>
                        <a:pt x="784" y="340"/>
                      </a:lnTo>
                      <a:lnTo>
                        <a:pt x="782" y="306"/>
                      </a:lnTo>
                      <a:lnTo>
                        <a:pt x="778" y="272"/>
                      </a:lnTo>
                      <a:lnTo>
                        <a:pt x="770" y="240"/>
                      </a:lnTo>
                      <a:lnTo>
                        <a:pt x="760" y="208"/>
                      </a:lnTo>
                      <a:lnTo>
                        <a:pt x="746" y="178"/>
                      </a:lnTo>
                      <a:lnTo>
                        <a:pt x="730" y="150"/>
                      </a:lnTo>
                      <a:lnTo>
                        <a:pt x="712" y="124"/>
                      </a:lnTo>
                      <a:lnTo>
                        <a:pt x="692" y="100"/>
                      </a:lnTo>
                      <a:lnTo>
                        <a:pt x="670" y="78"/>
                      </a:lnTo>
                      <a:lnTo>
                        <a:pt x="646" y="58"/>
                      </a:lnTo>
                      <a:lnTo>
                        <a:pt x="620" y="42"/>
                      </a:lnTo>
                      <a:lnTo>
                        <a:pt x="594" y="26"/>
                      </a:lnTo>
                      <a:lnTo>
                        <a:pt x="564" y="16"/>
                      </a:lnTo>
                      <a:lnTo>
                        <a:pt x="534" y="6"/>
                      </a:lnTo>
                      <a:lnTo>
                        <a:pt x="504" y="2"/>
                      </a:lnTo>
                      <a:lnTo>
                        <a:pt x="472" y="0"/>
                      </a:lnTo>
                      <a:lnTo>
                        <a:pt x="472" y="0"/>
                      </a:lnTo>
                      <a:lnTo>
                        <a:pt x="440" y="2"/>
                      </a:lnTo>
                      <a:lnTo>
                        <a:pt x="410" y="6"/>
                      </a:lnTo>
                      <a:lnTo>
                        <a:pt x="380" y="16"/>
                      </a:lnTo>
                      <a:lnTo>
                        <a:pt x="350" y="26"/>
                      </a:lnTo>
                      <a:lnTo>
                        <a:pt x="324" y="42"/>
                      </a:lnTo>
                      <a:lnTo>
                        <a:pt x="298" y="58"/>
                      </a:lnTo>
                      <a:lnTo>
                        <a:pt x="274" y="78"/>
                      </a:lnTo>
                      <a:lnTo>
                        <a:pt x="252" y="100"/>
                      </a:lnTo>
                      <a:lnTo>
                        <a:pt x="232" y="124"/>
                      </a:lnTo>
                      <a:lnTo>
                        <a:pt x="214" y="150"/>
                      </a:lnTo>
                      <a:lnTo>
                        <a:pt x="198" y="178"/>
                      </a:lnTo>
                      <a:lnTo>
                        <a:pt x="184" y="208"/>
                      </a:lnTo>
                      <a:lnTo>
                        <a:pt x="174" y="240"/>
                      </a:lnTo>
                      <a:lnTo>
                        <a:pt x="166" y="272"/>
                      </a:lnTo>
                      <a:lnTo>
                        <a:pt x="162" y="306"/>
                      </a:lnTo>
                      <a:lnTo>
                        <a:pt x="160" y="340"/>
                      </a:lnTo>
                      <a:lnTo>
                        <a:pt x="160" y="1590"/>
                      </a:lnTo>
                      <a:lnTo>
                        <a:pt x="160" y="1590"/>
                      </a:lnTo>
                      <a:lnTo>
                        <a:pt x="142" y="1608"/>
                      </a:lnTo>
                      <a:lnTo>
                        <a:pt x="124" y="1626"/>
                      </a:lnTo>
                      <a:lnTo>
                        <a:pt x="108" y="1646"/>
                      </a:lnTo>
                      <a:lnTo>
                        <a:pt x="92" y="1664"/>
                      </a:lnTo>
                      <a:lnTo>
                        <a:pt x="78" y="1686"/>
                      </a:lnTo>
                      <a:lnTo>
                        <a:pt x="64" y="1706"/>
                      </a:lnTo>
                      <a:lnTo>
                        <a:pt x="52" y="1728"/>
                      </a:lnTo>
                      <a:lnTo>
                        <a:pt x="42" y="1750"/>
                      </a:lnTo>
                      <a:lnTo>
                        <a:pt x="32" y="1774"/>
                      </a:lnTo>
                      <a:lnTo>
                        <a:pt x="24" y="1796"/>
                      </a:lnTo>
                      <a:lnTo>
                        <a:pt x="16" y="1820"/>
                      </a:lnTo>
                      <a:lnTo>
                        <a:pt x="10" y="1844"/>
                      </a:lnTo>
                      <a:lnTo>
                        <a:pt x="6" y="1870"/>
                      </a:lnTo>
                      <a:lnTo>
                        <a:pt x="2" y="1894"/>
                      </a:lnTo>
                      <a:lnTo>
                        <a:pt x="0" y="1920"/>
                      </a:lnTo>
                      <a:lnTo>
                        <a:pt x="0" y="1944"/>
                      </a:lnTo>
                      <a:lnTo>
                        <a:pt x="0" y="1944"/>
                      </a:lnTo>
                      <a:lnTo>
                        <a:pt x="0" y="1968"/>
                      </a:lnTo>
                      <a:lnTo>
                        <a:pt x="2" y="1992"/>
                      </a:lnTo>
                      <a:lnTo>
                        <a:pt x="6" y="2016"/>
                      </a:lnTo>
                      <a:lnTo>
                        <a:pt x="10" y="2040"/>
                      </a:lnTo>
                      <a:lnTo>
                        <a:pt x="22" y="2084"/>
                      </a:lnTo>
                      <a:lnTo>
                        <a:pt x="38" y="2128"/>
                      </a:lnTo>
                      <a:lnTo>
                        <a:pt x="58" y="2170"/>
                      </a:lnTo>
                      <a:lnTo>
                        <a:pt x="80" y="2208"/>
                      </a:lnTo>
                      <a:lnTo>
                        <a:pt x="108" y="2244"/>
                      </a:lnTo>
                      <a:lnTo>
                        <a:pt x="138" y="2278"/>
                      </a:lnTo>
                      <a:lnTo>
                        <a:pt x="172" y="2308"/>
                      </a:lnTo>
                      <a:lnTo>
                        <a:pt x="208" y="2336"/>
                      </a:lnTo>
                      <a:lnTo>
                        <a:pt x="248" y="2360"/>
                      </a:lnTo>
                      <a:lnTo>
                        <a:pt x="288" y="2380"/>
                      </a:lnTo>
                      <a:lnTo>
                        <a:pt x="332" y="2396"/>
                      </a:lnTo>
                      <a:lnTo>
                        <a:pt x="376" y="2408"/>
                      </a:lnTo>
                      <a:lnTo>
                        <a:pt x="400" y="2412"/>
                      </a:lnTo>
                      <a:lnTo>
                        <a:pt x="424" y="2414"/>
                      </a:lnTo>
                      <a:lnTo>
                        <a:pt x="448" y="2416"/>
                      </a:lnTo>
                      <a:lnTo>
                        <a:pt x="472" y="2416"/>
                      </a:lnTo>
                      <a:lnTo>
                        <a:pt x="472" y="2416"/>
                      </a:lnTo>
                      <a:lnTo>
                        <a:pt x="496" y="2416"/>
                      </a:lnTo>
                      <a:lnTo>
                        <a:pt x="520" y="2414"/>
                      </a:lnTo>
                      <a:lnTo>
                        <a:pt x="544" y="2412"/>
                      </a:lnTo>
                      <a:lnTo>
                        <a:pt x="568" y="2408"/>
                      </a:lnTo>
                      <a:lnTo>
                        <a:pt x="612" y="2396"/>
                      </a:lnTo>
                      <a:lnTo>
                        <a:pt x="656" y="2380"/>
                      </a:lnTo>
                      <a:lnTo>
                        <a:pt x="696" y="2360"/>
                      </a:lnTo>
                      <a:lnTo>
                        <a:pt x="736" y="2336"/>
                      </a:lnTo>
                      <a:lnTo>
                        <a:pt x="772" y="2308"/>
                      </a:lnTo>
                      <a:lnTo>
                        <a:pt x="806" y="2278"/>
                      </a:lnTo>
                      <a:lnTo>
                        <a:pt x="836" y="2244"/>
                      </a:lnTo>
                      <a:lnTo>
                        <a:pt x="864" y="2208"/>
                      </a:lnTo>
                      <a:lnTo>
                        <a:pt x="886" y="2170"/>
                      </a:lnTo>
                      <a:lnTo>
                        <a:pt x="906" y="2128"/>
                      </a:lnTo>
                      <a:lnTo>
                        <a:pt x="922" y="2084"/>
                      </a:lnTo>
                      <a:lnTo>
                        <a:pt x="934" y="2040"/>
                      </a:lnTo>
                      <a:lnTo>
                        <a:pt x="938" y="2016"/>
                      </a:lnTo>
                      <a:lnTo>
                        <a:pt x="942" y="1992"/>
                      </a:lnTo>
                      <a:lnTo>
                        <a:pt x="944" y="1968"/>
                      </a:lnTo>
                      <a:lnTo>
                        <a:pt x="944" y="1944"/>
                      </a:lnTo>
                      <a:lnTo>
                        <a:pt x="944" y="1944"/>
                      </a:lnTo>
                      <a:lnTo>
                        <a:pt x="944" y="1920"/>
                      </a:lnTo>
                      <a:lnTo>
                        <a:pt x="942" y="1894"/>
                      </a:lnTo>
                      <a:lnTo>
                        <a:pt x="938" y="1870"/>
                      </a:lnTo>
                      <a:lnTo>
                        <a:pt x="934" y="1844"/>
                      </a:lnTo>
                      <a:lnTo>
                        <a:pt x="928" y="1820"/>
                      </a:lnTo>
                      <a:lnTo>
                        <a:pt x="920" y="1796"/>
                      </a:lnTo>
                      <a:lnTo>
                        <a:pt x="912" y="1774"/>
                      </a:lnTo>
                      <a:lnTo>
                        <a:pt x="902" y="1750"/>
                      </a:lnTo>
                      <a:lnTo>
                        <a:pt x="892" y="1728"/>
                      </a:lnTo>
                      <a:lnTo>
                        <a:pt x="880" y="1706"/>
                      </a:lnTo>
                      <a:lnTo>
                        <a:pt x="866" y="1686"/>
                      </a:lnTo>
                      <a:lnTo>
                        <a:pt x="852" y="1664"/>
                      </a:lnTo>
                      <a:lnTo>
                        <a:pt x="836" y="1646"/>
                      </a:lnTo>
                      <a:lnTo>
                        <a:pt x="820" y="1626"/>
                      </a:lnTo>
                      <a:lnTo>
                        <a:pt x="802" y="1608"/>
                      </a:lnTo>
                      <a:lnTo>
                        <a:pt x="784" y="1590"/>
                      </a:lnTo>
                      <a:lnTo>
                        <a:pt x="784" y="1590"/>
                      </a:lnTo>
                      <a:close/>
                      <a:moveTo>
                        <a:pt x="472" y="2376"/>
                      </a:moveTo>
                      <a:lnTo>
                        <a:pt x="472" y="2376"/>
                      </a:lnTo>
                      <a:lnTo>
                        <a:pt x="428" y="2374"/>
                      </a:lnTo>
                      <a:lnTo>
                        <a:pt x="386" y="2368"/>
                      </a:lnTo>
                      <a:lnTo>
                        <a:pt x="344" y="2358"/>
                      </a:lnTo>
                      <a:lnTo>
                        <a:pt x="304" y="2342"/>
                      </a:lnTo>
                      <a:lnTo>
                        <a:pt x="266" y="2324"/>
                      </a:lnTo>
                      <a:lnTo>
                        <a:pt x="230" y="2302"/>
                      </a:lnTo>
                      <a:lnTo>
                        <a:pt x="198" y="2278"/>
                      </a:lnTo>
                      <a:lnTo>
                        <a:pt x="166" y="2250"/>
                      </a:lnTo>
                      <a:lnTo>
                        <a:pt x="138" y="2220"/>
                      </a:lnTo>
                      <a:lnTo>
                        <a:pt x="114" y="2186"/>
                      </a:lnTo>
                      <a:lnTo>
                        <a:pt x="92" y="2150"/>
                      </a:lnTo>
                      <a:lnTo>
                        <a:pt x="74" y="2112"/>
                      </a:lnTo>
                      <a:lnTo>
                        <a:pt x="60" y="2074"/>
                      </a:lnTo>
                      <a:lnTo>
                        <a:pt x="48" y="2032"/>
                      </a:lnTo>
                      <a:lnTo>
                        <a:pt x="42" y="1988"/>
                      </a:lnTo>
                      <a:lnTo>
                        <a:pt x="40" y="1944"/>
                      </a:lnTo>
                      <a:lnTo>
                        <a:pt x="40" y="1944"/>
                      </a:lnTo>
                      <a:lnTo>
                        <a:pt x="40" y="1920"/>
                      </a:lnTo>
                      <a:lnTo>
                        <a:pt x="42" y="1898"/>
                      </a:lnTo>
                      <a:lnTo>
                        <a:pt x="46" y="1874"/>
                      </a:lnTo>
                      <a:lnTo>
                        <a:pt x="50" y="1852"/>
                      </a:lnTo>
                      <a:lnTo>
                        <a:pt x="56" y="1828"/>
                      </a:lnTo>
                      <a:lnTo>
                        <a:pt x="62" y="1806"/>
                      </a:lnTo>
                      <a:lnTo>
                        <a:pt x="70" y="1784"/>
                      </a:lnTo>
                      <a:lnTo>
                        <a:pt x="80" y="1764"/>
                      </a:lnTo>
                      <a:lnTo>
                        <a:pt x="90" y="1742"/>
                      </a:lnTo>
                      <a:lnTo>
                        <a:pt x="102" y="1722"/>
                      </a:lnTo>
                      <a:lnTo>
                        <a:pt x="114" y="1702"/>
                      </a:lnTo>
                      <a:lnTo>
                        <a:pt x="128" y="1684"/>
                      </a:lnTo>
                      <a:lnTo>
                        <a:pt x="142" y="1666"/>
                      </a:lnTo>
                      <a:lnTo>
                        <a:pt x="158" y="1648"/>
                      </a:lnTo>
                      <a:lnTo>
                        <a:pt x="176" y="1630"/>
                      </a:lnTo>
                      <a:lnTo>
                        <a:pt x="192" y="1616"/>
                      </a:lnTo>
                      <a:lnTo>
                        <a:pt x="200" y="1610"/>
                      </a:lnTo>
                      <a:lnTo>
                        <a:pt x="200" y="340"/>
                      </a:lnTo>
                      <a:lnTo>
                        <a:pt x="200" y="340"/>
                      </a:lnTo>
                      <a:lnTo>
                        <a:pt x="202" y="310"/>
                      </a:lnTo>
                      <a:lnTo>
                        <a:pt x="206" y="280"/>
                      </a:lnTo>
                      <a:lnTo>
                        <a:pt x="212" y="250"/>
                      </a:lnTo>
                      <a:lnTo>
                        <a:pt x="222" y="224"/>
                      </a:lnTo>
                      <a:lnTo>
                        <a:pt x="232" y="198"/>
                      </a:lnTo>
                      <a:lnTo>
                        <a:pt x="246" y="172"/>
                      </a:lnTo>
                      <a:lnTo>
                        <a:pt x="262" y="150"/>
                      </a:lnTo>
                      <a:lnTo>
                        <a:pt x="280" y="128"/>
                      </a:lnTo>
                      <a:lnTo>
                        <a:pt x="300" y="108"/>
                      </a:lnTo>
                      <a:lnTo>
                        <a:pt x="320" y="92"/>
                      </a:lnTo>
                      <a:lnTo>
                        <a:pt x="342" y="76"/>
                      </a:lnTo>
                      <a:lnTo>
                        <a:pt x="366" y="64"/>
                      </a:lnTo>
                      <a:lnTo>
                        <a:pt x="392" y="54"/>
                      </a:lnTo>
                      <a:lnTo>
                        <a:pt x="418" y="46"/>
                      </a:lnTo>
                      <a:lnTo>
                        <a:pt x="444" y="42"/>
                      </a:lnTo>
                      <a:lnTo>
                        <a:pt x="472" y="40"/>
                      </a:lnTo>
                      <a:lnTo>
                        <a:pt x="472" y="40"/>
                      </a:lnTo>
                      <a:lnTo>
                        <a:pt x="496" y="42"/>
                      </a:lnTo>
                      <a:lnTo>
                        <a:pt x="520" y="44"/>
                      </a:lnTo>
                      <a:lnTo>
                        <a:pt x="544" y="50"/>
                      </a:lnTo>
                      <a:lnTo>
                        <a:pt x="566" y="58"/>
                      </a:lnTo>
                      <a:lnTo>
                        <a:pt x="588" y="68"/>
                      </a:lnTo>
                      <a:lnTo>
                        <a:pt x="608" y="80"/>
                      </a:lnTo>
                      <a:lnTo>
                        <a:pt x="628" y="94"/>
                      </a:lnTo>
                      <a:lnTo>
                        <a:pt x="646" y="110"/>
                      </a:lnTo>
                      <a:lnTo>
                        <a:pt x="662" y="126"/>
                      </a:lnTo>
                      <a:lnTo>
                        <a:pt x="678" y="144"/>
                      </a:lnTo>
                      <a:lnTo>
                        <a:pt x="692" y="164"/>
                      </a:lnTo>
                      <a:lnTo>
                        <a:pt x="706" y="186"/>
                      </a:lnTo>
                      <a:lnTo>
                        <a:pt x="716" y="208"/>
                      </a:lnTo>
                      <a:lnTo>
                        <a:pt x="726" y="232"/>
                      </a:lnTo>
                      <a:lnTo>
                        <a:pt x="734" y="256"/>
                      </a:lnTo>
                      <a:lnTo>
                        <a:pt x="738" y="282"/>
                      </a:lnTo>
                      <a:lnTo>
                        <a:pt x="472" y="282"/>
                      </a:lnTo>
                      <a:lnTo>
                        <a:pt x="472" y="322"/>
                      </a:lnTo>
                      <a:lnTo>
                        <a:pt x="744" y="322"/>
                      </a:lnTo>
                      <a:lnTo>
                        <a:pt x="744" y="322"/>
                      </a:lnTo>
                      <a:lnTo>
                        <a:pt x="744" y="340"/>
                      </a:lnTo>
                      <a:lnTo>
                        <a:pt x="744" y="416"/>
                      </a:lnTo>
                      <a:lnTo>
                        <a:pt x="472" y="416"/>
                      </a:lnTo>
                      <a:lnTo>
                        <a:pt x="472" y="456"/>
                      </a:lnTo>
                      <a:lnTo>
                        <a:pt x="744" y="456"/>
                      </a:lnTo>
                      <a:lnTo>
                        <a:pt x="744" y="550"/>
                      </a:lnTo>
                      <a:lnTo>
                        <a:pt x="472" y="550"/>
                      </a:lnTo>
                      <a:lnTo>
                        <a:pt x="472" y="590"/>
                      </a:lnTo>
                      <a:lnTo>
                        <a:pt x="744" y="590"/>
                      </a:lnTo>
                      <a:lnTo>
                        <a:pt x="744" y="684"/>
                      </a:lnTo>
                      <a:lnTo>
                        <a:pt x="472" y="684"/>
                      </a:lnTo>
                      <a:lnTo>
                        <a:pt x="472" y="724"/>
                      </a:lnTo>
                      <a:lnTo>
                        <a:pt x="744" y="724"/>
                      </a:lnTo>
                      <a:lnTo>
                        <a:pt x="744" y="1610"/>
                      </a:lnTo>
                      <a:lnTo>
                        <a:pt x="752" y="1616"/>
                      </a:lnTo>
                      <a:lnTo>
                        <a:pt x="752" y="1616"/>
                      </a:lnTo>
                      <a:lnTo>
                        <a:pt x="768" y="1630"/>
                      </a:lnTo>
                      <a:lnTo>
                        <a:pt x="786" y="1648"/>
                      </a:lnTo>
                      <a:lnTo>
                        <a:pt x="802" y="1666"/>
                      </a:lnTo>
                      <a:lnTo>
                        <a:pt x="816" y="1684"/>
                      </a:lnTo>
                      <a:lnTo>
                        <a:pt x="830" y="1702"/>
                      </a:lnTo>
                      <a:lnTo>
                        <a:pt x="842" y="1722"/>
                      </a:lnTo>
                      <a:lnTo>
                        <a:pt x="854" y="1742"/>
                      </a:lnTo>
                      <a:lnTo>
                        <a:pt x="864" y="1764"/>
                      </a:lnTo>
                      <a:lnTo>
                        <a:pt x="874" y="1784"/>
                      </a:lnTo>
                      <a:lnTo>
                        <a:pt x="882" y="1806"/>
                      </a:lnTo>
                      <a:lnTo>
                        <a:pt x="888" y="1828"/>
                      </a:lnTo>
                      <a:lnTo>
                        <a:pt x="894" y="1852"/>
                      </a:lnTo>
                      <a:lnTo>
                        <a:pt x="898" y="1874"/>
                      </a:lnTo>
                      <a:lnTo>
                        <a:pt x="902" y="1898"/>
                      </a:lnTo>
                      <a:lnTo>
                        <a:pt x="904" y="1920"/>
                      </a:lnTo>
                      <a:lnTo>
                        <a:pt x="904" y="1944"/>
                      </a:lnTo>
                      <a:lnTo>
                        <a:pt x="904" y="1944"/>
                      </a:lnTo>
                      <a:lnTo>
                        <a:pt x="902" y="1988"/>
                      </a:lnTo>
                      <a:lnTo>
                        <a:pt x="896" y="2032"/>
                      </a:lnTo>
                      <a:lnTo>
                        <a:pt x="884" y="2074"/>
                      </a:lnTo>
                      <a:lnTo>
                        <a:pt x="870" y="2112"/>
                      </a:lnTo>
                      <a:lnTo>
                        <a:pt x="852" y="2150"/>
                      </a:lnTo>
                      <a:lnTo>
                        <a:pt x="830" y="2186"/>
                      </a:lnTo>
                      <a:lnTo>
                        <a:pt x="806" y="2220"/>
                      </a:lnTo>
                      <a:lnTo>
                        <a:pt x="778" y="2250"/>
                      </a:lnTo>
                      <a:lnTo>
                        <a:pt x="746" y="2278"/>
                      </a:lnTo>
                      <a:lnTo>
                        <a:pt x="714" y="2302"/>
                      </a:lnTo>
                      <a:lnTo>
                        <a:pt x="678" y="2324"/>
                      </a:lnTo>
                      <a:lnTo>
                        <a:pt x="640" y="2342"/>
                      </a:lnTo>
                      <a:lnTo>
                        <a:pt x="600" y="2358"/>
                      </a:lnTo>
                      <a:lnTo>
                        <a:pt x="558" y="2368"/>
                      </a:lnTo>
                      <a:lnTo>
                        <a:pt x="516" y="2374"/>
                      </a:lnTo>
                      <a:lnTo>
                        <a:pt x="472" y="2376"/>
                      </a:lnTo>
                      <a:lnTo>
                        <a:pt x="472" y="2376"/>
                      </a:lnTo>
                      <a:close/>
                    </a:path>
                  </a:pathLst>
                </a:custGeom>
                <a:grpFill/>
                <a:ln w="3175">
                  <a:solidFill>
                    <a:schemeClr val="bg1">
                      <a:lumMod val="65000"/>
                    </a:schemeClr>
                  </a:solidFill>
                  <a:round/>
                  <a:headEnd/>
                  <a:tailEnd/>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188F"/>
                    </a:solidFill>
                    <a:effectLst/>
                    <a:uLnTx/>
                    <a:uFillTx/>
                    <a:latin typeface="Segoe UI"/>
                    <a:ea typeface="+mn-ea"/>
                    <a:cs typeface="+mn-cs"/>
                  </a:endParaRPr>
                </a:p>
              </p:txBody>
            </p:sp>
          </p:grpSp>
          <p:sp>
            <p:nvSpPr>
              <p:cNvPr id="421" name="Rounded Rectangle 94"/>
              <p:cNvSpPr>
                <a:spLocks noChangeAspect="1"/>
              </p:cNvSpPr>
              <p:nvPr/>
            </p:nvSpPr>
            <p:spPr bwMode="auto">
              <a:xfrm>
                <a:off x="6983648" y="1445099"/>
                <a:ext cx="547340" cy="626953"/>
              </a:xfrm>
              <a:custGeom>
                <a:avLst/>
                <a:gdLst/>
                <a:ahLst/>
                <a:cxnLst/>
                <a:rect l="l" t="t" r="r" b="b"/>
                <a:pathLst>
                  <a:path w="3843338" h="4402366">
                    <a:moveTo>
                      <a:pt x="2974980" y="3679979"/>
                    </a:moveTo>
                    <a:cubicBezTo>
                      <a:pt x="2936403" y="3679979"/>
                      <a:pt x="2905130" y="3714726"/>
                      <a:pt x="2905130" y="3757589"/>
                    </a:cubicBezTo>
                    <a:cubicBezTo>
                      <a:pt x="2905130" y="3800452"/>
                      <a:pt x="2936403" y="3835199"/>
                      <a:pt x="2974980" y="3835199"/>
                    </a:cubicBezTo>
                    <a:lnTo>
                      <a:pt x="2987428" y="3835200"/>
                    </a:lnTo>
                    <a:cubicBezTo>
                      <a:pt x="3026005" y="3835200"/>
                      <a:pt x="3057278" y="3800453"/>
                      <a:pt x="3057278" y="3757589"/>
                    </a:cubicBezTo>
                    <a:lnTo>
                      <a:pt x="3057279" y="3757589"/>
                    </a:lnTo>
                    <a:cubicBezTo>
                      <a:pt x="3057279" y="3714726"/>
                      <a:pt x="3026006" y="3679979"/>
                      <a:pt x="2987429" y="3679979"/>
                    </a:cubicBezTo>
                    <a:close/>
                    <a:moveTo>
                      <a:pt x="2766049" y="3679979"/>
                    </a:moveTo>
                    <a:cubicBezTo>
                      <a:pt x="2727472" y="3679979"/>
                      <a:pt x="2696199" y="3714726"/>
                      <a:pt x="2696199" y="3757589"/>
                    </a:cubicBezTo>
                    <a:cubicBezTo>
                      <a:pt x="2696199" y="3800452"/>
                      <a:pt x="2727472" y="3835199"/>
                      <a:pt x="2766049" y="3835199"/>
                    </a:cubicBezTo>
                    <a:lnTo>
                      <a:pt x="2779639" y="3835200"/>
                    </a:lnTo>
                    <a:cubicBezTo>
                      <a:pt x="2818216" y="3835200"/>
                      <a:pt x="2849489" y="3800453"/>
                      <a:pt x="2849489" y="3757589"/>
                    </a:cubicBezTo>
                    <a:lnTo>
                      <a:pt x="2849490" y="3757589"/>
                    </a:lnTo>
                    <a:cubicBezTo>
                      <a:pt x="2849490" y="3714726"/>
                      <a:pt x="2818217" y="3679979"/>
                      <a:pt x="2779640" y="3679979"/>
                    </a:cubicBezTo>
                    <a:close/>
                    <a:moveTo>
                      <a:pt x="2239716" y="3679979"/>
                    </a:moveTo>
                    <a:cubicBezTo>
                      <a:pt x="2201139" y="3679979"/>
                      <a:pt x="2169866" y="3714726"/>
                      <a:pt x="2169866" y="3757589"/>
                    </a:cubicBezTo>
                    <a:cubicBezTo>
                      <a:pt x="2169866" y="3800452"/>
                      <a:pt x="2201139" y="3835199"/>
                      <a:pt x="2239716" y="3835199"/>
                    </a:cubicBezTo>
                    <a:lnTo>
                      <a:pt x="2570709" y="3835200"/>
                    </a:lnTo>
                    <a:cubicBezTo>
                      <a:pt x="2609286" y="3835200"/>
                      <a:pt x="2640559" y="3800453"/>
                      <a:pt x="2640559" y="3757589"/>
                    </a:cubicBezTo>
                    <a:lnTo>
                      <a:pt x="2640560" y="3757589"/>
                    </a:lnTo>
                    <a:cubicBezTo>
                      <a:pt x="2640560" y="3714726"/>
                      <a:pt x="2609287" y="3679979"/>
                      <a:pt x="2570710" y="3679979"/>
                    </a:cubicBezTo>
                    <a:close/>
                    <a:moveTo>
                      <a:pt x="588168" y="332699"/>
                    </a:moveTo>
                    <a:lnTo>
                      <a:pt x="588168" y="3490051"/>
                    </a:lnTo>
                    <a:lnTo>
                      <a:pt x="3255168" y="3490051"/>
                    </a:lnTo>
                    <a:lnTo>
                      <a:pt x="3255168" y="332699"/>
                    </a:lnTo>
                    <a:close/>
                    <a:moveTo>
                      <a:pt x="423466" y="0"/>
                    </a:moveTo>
                    <a:lnTo>
                      <a:pt x="3419873" y="0"/>
                    </a:lnTo>
                    <a:cubicBezTo>
                      <a:pt x="3494314" y="0"/>
                      <a:pt x="3554660" y="67051"/>
                      <a:pt x="3554660" y="149763"/>
                    </a:cubicBezTo>
                    <a:lnTo>
                      <a:pt x="3554660" y="3910698"/>
                    </a:lnTo>
                    <a:cubicBezTo>
                      <a:pt x="3554660" y="3993410"/>
                      <a:pt x="3494314" y="4060461"/>
                      <a:pt x="3419873" y="4060461"/>
                    </a:cubicBezTo>
                    <a:lnTo>
                      <a:pt x="2251861" y="4060461"/>
                    </a:lnTo>
                    <a:lnTo>
                      <a:pt x="2251861" y="4206670"/>
                    </a:lnTo>
                    <a:lnTo>
                      <a:pt x="3553070" y="4206670"/>
                    </a:lnTo>
                    <a:cubicBezTo>
                      <a:pt x="3610378" y="4206670"/>
                      <a:pt x="3656836" y="4171150"/>
                      <a:pt x="3656836" y="4127335"/>
                    </a:cubicBezTo>
                    <a:lnTo>
                      <a:pt x="3656836" y="3926364"/>
                    </a:lnTo>
                    <a:lnTo>
                      <a:pt x="3739572" y="3926364"/>
                    </a:lnTo>
                    <a:cubicBezTo>
                      <a:pt x="3796880" y="3926364"/>
                      <a:pt x="3843338" y="3961884"/>
                      <a:pt x="3843338" y="4005699"/>
                    </a:cubicBezTo>
                    <a:lnTo>
                      <a:pt x="3843338" y="4323031"/>
                    </a:lnTo>
                    <a:cubicBezTo>
                      <a:pt x="3843338" y="4366846"/>
                      <a:pt x="3796880" y="4402366"/>
                      <a:pt x="3739572" y="4402366"/>
                    </a:cubicBezTo>
                    <a:lnTo>
                      <a:pt x="103766" y="4402366"/>
                    </a:lnTo>
                    <a:cubicBezTo>
                      <a:pt x="46458" y="4402366"/>
                      <a:pt x="0" y="4366846"/>
                      <a:pt x="0" y="4323031"/>
                    </a:cubicBezTo>
                    <a:lnTo>
                      <a:pt x="0" y="4005699"/>
                    </a:lnTo>
                    <a:cubicBezTo>
                      <a:pt x="0" y="3961884"/>
                      <a:pt x="46458" y="3926364"/>
                      <a:pt x="103766" y="3926364"/>
                    </a:cubicBezTo>
                    <a:lnTo>
                      <a:pt x="186502" y="3926364"/>
                    </a:lnTo>
                    <a:lnTo>
                      <a:pt x="186502" y="4127335"/>
                    </a:lnTo>
                    <a:cubicBezTo>
                      <a:pt x="186502" y="4171150"/>
                      <a:pt x="232960" y="4206670"/>
                      <a:pt x="290268" y="4206670"/>
                    </a:cubicBezTo>
                    <a:lnTo>
                      <a:pt x="1591477" y="4206670"/>
                    </a:lnTo>
                    <a:lnTo>
                      <a:pt x="1591477" y="4060461"/>
                    </a:lnTo>
                    <a:lnTo>
                      <a:pt x="423466" y="4060461"/>
                    </a:lnTo>
                    <a:cubicBezTo>
                      <a:pt x="349025" y="4060461"/>
                      <a:pt x="288679" y="3993410"/>
                      <a:pt x="288679" y="3910698"/>
                    </a:cubicBezTo>
                    <a:lnTo>
                      <a:pt x="288679" y="149763"/>
                    </a:lnTo>
                    <a:cubicBezTo>
                      <a:pt x="288679" y="67051"/>
                      <a:pt x="349025" y="0"/>
                      <a:pt x="423466"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13" name="Group 412"/>
            <p:cNvGrpSpPr/>
            <p:nvPr/>
          </p:nvGrpSpPr>
          <p:grpSpPr>
            <a:xfrm rot="9000000" flipH="1">
              <a:off x="8463802" y="3390265"/>
              <a:ext cx="158752" cy="234845"/>
              <a:chOff x="2687372" y="3149601"/>
              <a:chExt cx="81465" cy="132564"/>
            </a:xfrm>
            <a:grpFill/>
          </p:grpSpPr>
          <p:sp>
            <p:nvSpPr>
              <p:cNvPr id="414"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Segoe UI"/>
                  <a:ea typeface="+mn-ea"/>
                  <a:cs typeface="+mn-cs"/>
                </a:endParaRPr>
              </a:p>
            </p:txBody>
          </p:sp>
          <p:sp>
            <p:nvSpPr>
              <p:cNvPr id="415"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Segoe UI"/>
                  <a:ea typeface="+mn-ea"/>
                  <a:cs typeface="+mn-cs"/>
                </a:endParaRPr>
              </a:p>
            </p:txBody>
          </p:sp>
          <p:sp>
            <p:nvSpPr>
              <p:cNvPr id="416"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Segoe UI"/>
                  <a:ea typeface="+mn-ea"/>
                  <a:cs typeface="+mn-cs"/>
                </a:endParaRPr>
              </a:p>
            </p:txBody>
          </p:sp>
          <p:sp>
            <p:nvSpPr>
              <p:cNvPr id="417"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Segoe UI"/>
                  <a:ea typeface="+mn-ea"/>
                  <a:cs typeface="+mn-cs"/>
                </a:endParaRPr>
              </a:p>
            </p:txBody>
          </p:sp>
          <p:sp>
            <p:nvSpPr>
              <p:cNvPr id="418"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Segoe UI"/>
                  <a:ea typeface="+mn-ea"/>
                  <a:cs typeface="+mn-cs"/>
                </a:endParaRPr>
              </a:p>
            </p:txBody>
          </p:sp>
          <p:sp>
            <p:nvSpPr>
              <p:cNvPr id="419"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Segoe UI"/>
                  <a:ea typeface="+mn-ea"/>
                  <a:cs typeface="+mn-cs"/>
                </a:endParaRPr>
              </a:p>
            </p:txBody>
          </p:sp>
        </p:grpSp>
      </p:grpSp>
      <p:grpSp>
        <p:nvGrpSpPr>
          <p:cNvPr id="453" name="Group 452"/>
          <p:cNvGrpSpPr>
            <a:grpSpLocks noChangeAspect="1"/>
          </p:cNvGrpSpPr>
          <p:nvPr/>
        </p:nvGrpSpPr>
        <p:grpSpPr>
          <a:xfrm>
            <a:off x="6960661" y="2155666"/>
            <a:ext cx="214705" cy="409274"/>
            <a:chOff x="13253772" y="-14449"/>
            <a:chExt cx="3216275" cy="6130925"/>
          </a:xfrm>
          <a:solidFill>
            <a:srgbClr val="5E83BD"/>
          </a:solidFill>
        </p:grpSpPr>
        <p:sp>
          <p:nvSpPr>
            <p:cNvPr id="454" name="Freeform 120"/>
            <p:cNvSpPr>
              <a:spLocks/>
            </p:cNvSpPr>
            <p:nvPr/>
          </p:nvSpPr>
          <p:spPr bwMode="auto">
            <a:xfrm>
              <a:off x="14787297" y="-14449"/>
              <a:ext cx="993775" cy="981075"/>
            </a:xfrm>
            <a:custGeom>
              <a:avLst/>
              <a:gdLst>
                <a:gd name="T0" fmla="*/ 194 w 626"/>
                <a:gd name="T1" fmla="*/ 24 h 618"/>
                <a:gd name="T2" fmla="*/ 232 w 626"/>
                <a:gd name="T3" fmla="*/ 10 h 618"/>
                <a:gd name="T4" fmla="*/ 270 w 626"/>
                <a:gd name="T5" fmla="*/ 2 h 618"/>
                <a:gd name="T6" fmla="*/ 310 w 626"/>
                <a:gd name="T7" fmla="*/ 0 h 618"/>
                <a:gd name="T8" fmla="*/ 348 w 626"/>
                <a:gd name="T9" fmla="*/ 2 h 618"/>
                <a:gd name="T10" fmla="*/ 386 w 626"/>
                <a:gd name="T11" fmla="*/ 10 h 618"/>
                <a:gd name="T12" fmla="*/ 458 w 626"/>
                <a:gd name="T13" fmla="*/ 38 h 618"/>
                <a:gd name="T14" fmla="*/ 522 w 626"/>
                <a:gd name="T15" fmla="*/ 82 h 618"/>
                <a:gd name="T16" fmla="*/ 574 w 626"/>
                <a:gd name="T17" fmla="*/ 140 h 618"/>
                <a:gd name="T18" fmla="*/ 594 w 626"/>
                <a:gd name="T19" fmla="*/ 172 h 618"/>
                <a:gd name="T20" fmla="*/ 610 w 626"/>
                <a:gd name="T21" fmla="*/ 208 h 618"/>
                <a:gd name="T22" fmla="*/ 622 w 626"/>
                <a:gd name="T23" fmla="*/ 246 h 618"/>
                <a:gd name="T24" fmla="*/ 626 w 626"/>
                <a:gd name="T25" fmla="*/ 284 h 618"/>
                <a:gd name="T26" fmla="*/ 626 w 626"/>
                <a:gd name="T27" fmla="*/ 324 h 618"/>
                <a:gd name="T28" fmla="*/ 626 w 626"/>
                <a:gd name="T29" fmla="*/ 348 h 618"/>
                <a:gd name="T30" fmla="*/ 620 w 626"/>
                <a:gd name="T31" fmla="*/ 392 h 618"/>
                <a:gd name="T32" fmla="*/ 608 w 626"/>
                <a:gd name="T33" fmla="*/ 434 h 618"/>
                <a:gd name="T34" fmla="*/ 588 w 626"/>
                <a:gd name="T35" fmla="*/ 472 h 618"/>
                <a:gd name="T36" fmla="*/ 562 w 626"/>
                <a:gd name="T37" fmla="*/ 506 h 618"/>
                <a:gd name="T38" fmla="*/ 532 w 626"/>
                <a:gd name="T39" fmla="*/ 536 h 618"/>
                <a:gd name="T40" fmla="*/ 498 w 626"/>
                <a:gd name="T41" fmla="*/ 560 h 618"/>
                <a:gd name="T42" fmla="*/ 460 w 626"/>
                <a:gd name="T43" fmla="*/ 582 h 618"/>
                <a:gd name="T44" fmla="*/ 420 w 626"/>
                <a:gd name="T45" fmla="*/ 598 h 618"/>
                <a:gd name="T46" fmla="*/ 378 w 626"/>
                <a:gd name="T47" fmla="*/ 610 h 618"/>
                <a:gd name="T48" fmla="*/ 336 w 626"/>
                <a:gd name="T49" fmla="*/ 616 h 618"/>
                <a:gd name="T50" fmla="*/ 292 w 626"/>
                <a:gd name="T51" fmla="*/ 618 h 618"/>
                <a:gd name="T52" fmla="*/ 248 w 626"/>
                <a:gd name="T53" fmla="*/ 612 h 618"/>
                <a:gd name="T54" fmla="*/ 206 w 626"/>
                <a:gd name="T55" fmla="*/ 602 h 618"/>
                <a:gd name="T56" fmla="*/ 166 w 626"/>
                <a:gd name="T57" fmla="*/ 586 h 618"/>
                <a:gd name="T58" fmla="*/ 130 w 626"/>
                <a:gd name="T59" fmla="*/ 562 h 618"/>
                <a:gd name="T60" fmla="*/ 112 w 626"/>
                <a:gd name="T61" fmla="*/ 548 h 618"/>
                <a:gd name="T62" fmla="*/ 80 w 626"/>
                <a:gd name="T63" fmla="*/ 520 h 618"/>
                <a:gd name="T64" fmla="*/ 56 w 626"/>
                <a:gd name="T65" fmla="*/ 490 h 618"/>
                <a:gd name="T66" fmla="*/ 34 w 626"/>
                <a:gd name="T67" fmla="*/ 456 h 618"/>
                <a:gd name="T68" fmla="*/ 18 w 626"/>
                <a:gd name="T69" fmla="*/ 420 h 618"/>
                <a:gd name="T70" fmla="*/ 8 w 626"/>
                <a:gd name="T71" fmla="*/ 382 h 618"/>
                <a:gd name="T72" fmla="*/ 2 w 626"/>
                <a:gd name="T73" fmla="*/ 342 h 618"/>
                <a:gd name="T74" fmla="*/ 4 w 626"/>
                <a:gd name="T75" fmla="*/ 262 h 618"/>
                <a:gd name="T76" fmla="*/ 18 w 626"/>
                <a:gd name="T77" fmla="*/ 204 h 618"/>
                <a:gd name="T78" fmla="*/ 34 w 626"/>
                <a:gd name="T79" fmla="*/ 168 h 618"/>
                <a:gd name="T80" fmla="*/ 54 w 626"/>
                <a:gd name="T81" fmla="*/ 132 h 618"/>
                <a:gd name="T82" fmla="*/ 78 w 626"/>
                <a:gd name="T83" fmla="*/ 102 h 618"/>
                <a:gd name="T84" fmla="*/ 106 w 626"/>
                <a:gd name="T85" fmla="*/ 74 h 618"/>
                <a:gd name="T86" fmla="*/ 138 w 626"/>
                <a:gd name="T87" fmla="*/ 50 h 618"/>
                <a:gd name="T88" fmla="*/ 174 w 626"/>
                <a:gd name="T89" fmla="*/ 32 h 618"/>
                <a:gd name="T90" fmla="*/ 194 w 626"/>
                <a:gd name="T91" fmla="*/ 2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26" h="618">
                  <a:moveTo>
                    <a:pt x="194" y="24"/>
                  </a:moveTo>
                  <a:lnTo>
                    <a:pt x="194" y="24"/>
                  </a:lnTo>
                  <a:lnTo>
                    <a:pt x="212" y="16"/>
                  </a:lnTo>
                  <a:lnTo>
                    <a:pt x="232" y="10"/>
                  </a:lnTo>
                  <a:lnTo>
                    <a:pt x="250" y="6"/>
                  </a:lnTo>
                  <a:lnTo>
                    <a:pt x="270" y="2"/>
                  </a:lnTo>
                  <a:lnTo>
                    <a:pt x="290" y="0"/>
                  </a:lnTo>
                  <a:lnTo>
                    <a:pt x="310" y="0"/>
                  </a:lnTo>
                  <a:lnTo>
                    <a:pt x="328" y="0"/>
                  </a:lnTo>
                  <a:lnTo>
                    <a:pt x="348" y="2"/>
                  </a:lnTo>
                  <a:lnTo>
                    <a:pt x="366" y="4"/>
                  </a:lnTo>
                  <a:lnTo>
                    <a:pt x="386" y="10"/>
                  </a:lnTo>
                  <a:lnTo>
                    <a:pt x="422" y="22"/>
                  </a:lnTo>
                  <a:lnTo>
                    <a:pt x="458" y="38"/>
                  </a:lnTo>
                  <a:lnTo>
                    <a:pt x="492" y="58"/>
                  </a:lnTo>
                  <a:lnTo>
                    <a:pt x="522" y="82"/>
                  </a:lnTo>
                  <a:lnTo>
                    <a:pt x="550" y="110"/>
                  </a:lnTo>
                  <a:lnTo>
                    <a:pt x="574" y="140"/>
                  </a:lnTo>
                  <a:lnTo>
                    <a:pt x="586" y="156"/>
                  </a:lnTo>
                  <a:lnTo>
                    <a:pt x="594" y="172"/>
                  </a:lnTo>
                  <a:lnTo>
                    <a:pt x="604" y="190"/>
                  </a:lnTo>
                  <a:lnTo>
                    <a:pt x="610" y="208"/>
                  </a:lnTo>
                  <a:lnTo>
                    <a:pt x="616" y="226"/>
                  </a:lnTo>
                  <a:lnTo>
                    <a:pt x="622" y="246"/>
                  </a:lnTo>
                  <a:lnTo>
                    <a:pt x="624" y="264"/>
                  </a:lnTo>
                  <a:lnTo>
                    <a:pt x="626" y="284"/>
                  </a:lnTo>
                  <a:lnTo>
                    <a:pt x="626" y="304"/>
                  </a:lnTo>
                  <a:lnTo>
                    <a:pt x="626" y="324"/>
                  </a:lnTo>
                  <a:lnTo>
                    <a:pt x="626" y="324"/>
                  </a:lnTo>
                  <a:lnTo>
                    <a:pt x="626" y="348"/>
                  </a:lnTo>
                  <a:lnTo>
                    <a:pt x="624" y="370"/>
                  </a:lnTo>
                  <a:lnTo>
                    <a:pt x="620" y="392"/>
                  </a:lnTo>
                  <a:lnTo>
                    <a:pt x="614" y="414"/>
                  </a:lnTo>
                  <a:lnTo>
                    <a:pt x="608" y="434"/>
                  </a:lnTo>
                  <a:lnTo>
                    <a:pt x="598" y="452"/>
                  </a:lnTo>
                  <a:lnTo>
                    <a:pt x="588" y="472"/>
                  </a:lnTo>
                  <a:lnTo>
                    <a:pt x="576" y="488"/>
                  </a:lnTo>
                  <a:lnTo>
                    <a:pt x="562" y="506"/>
                  </a:lnTo>
                  <a:lnTo>
                    <a:pt x="548" y="520"/>
                  </a:lnTo>
                  <a:lnTo>
                    <a:pt x="532" y="536"/>
                  </a:lnTo>
                  <a:lnTo>
                    <a:pt x="516" y="548"/>
                  </a:lnTo>
                  <a:lnTo>
                    <a:pt x="498" y="560"/>
                  </a:lnTo>
                  <a:lnTo>
                    <a:pt x="480" y="572"/>
                  </a:lnTo>
                  <a:lnTo>
                    <a:pt x="460" y="582"/>
                  </a:lnTo>
                  <a:lnTo>
                    <a:pt x="442" y="590"/>
                  </a:lnTo>
                  <a:lnTo>
                    <a:pt x="420" y="598"/>
                  </a:lnTo>
                  <a:lnTo>
                    <a:pt x="400" y="604"/>
                  </a:lnTo>
                  <a:lnTo>
                    <a:pt x="378" y="610"/>
                  </a:lnTo>
                  <a:lnTo>
                    <a:pt x="358" y="614"/>
                  </a:lnTo>
                  <a:lnTo>
                    <a:pt x="336" y="616"/>
                  </a:lnTo>
                  <a:lnTo>
                    <a:pt x="314" y="618"/>
                  </a:lnTo>
                  <a:lnTo>
                    <a:pt x="292" y="618"/>
                  </a:lnTo>
                  <a:lnTo>
                    <a:pt x="270" y="616"/>
                  </a:lnTo>
                  <a:lnTo>
                    <a:pt x="248" y="612"/>
                  </a:lnTo>
                  <a:lnTo>
                    <a:pt x="228" y="608"/>
                  </a:lnTo>
                  <a:lnTo>
                    <a:pt x="206" y="602"/>
                  </a:lnTo>
                  <a:lnTo>
                    <a:pt x="186" y="594"/>
                  </a:lnTo>
                  <a:lnTo>
                    <a:pt x="166" y="586"/>
                  </a:lnTo>
                  <a:lnTo>
                    <a:pt x="148" y="574"/>
                  </a:lnTo>
                  <a:lnTo>
                    <a:pt x="130" y="562"/>
                  </a:lnTo>
                  <a:lnTo>
                    <a:pt x="112" y="548"/>
                  </a:lnTo>
                  <a:lnTo>
                    <a:pt x="112" y="548"/>
                  </a:lnTo>
                  <a:lnTo>
                    <a:pt x="96" y="536"/>
                  </a:lnTo>
                  <a:lnTo>
                    <a:pt x="80" y="520"/>
                  </a:lnTo>
                  <a:lnTo>
                    <a:pt x="68" y="506"/>
                  </a:lnTo>
                  <a:lnTo>
                    <a:pt x="56" y="490"/>
                  </a:lnTo>
                  <a:lnTo>
                    <a:pt x="44" y="474"/>
                  </a:lnTo>
                  <a:lnTo>
                    <a:pt x="34" y="456"/>
                  </a:lnTo>
                  <a:lnTo>
                    <a:pt x="26" y="438"/>
                  </a:lnTo>
                  <a:lnTo>
                    <a:pt x="18" y="420"/>
                  </a:lnTo>
                  <a:lnTo>
                    <a:pt x="12" y="400"/>
                  </a:lnTo>
                  <a:lnTo>
                    <a:pt x="8" y="382"/>
                  </a:lnTo>
                  <a:lnTo>
                    <a:pt x="4" y="362"/>
                  </a:lnTo>
                  <a:lnTo>
                    <a:pt x="2" y="342"/>
                  </a:lnTo>
                  <a:lnTo>
                    <a:pt x="0" y="302"/>
                  </a:lnTo>
                  <a:lnTo>
                    <a:pt x="4" y="262"/>
                  </a:lnTo>
                  <a:lnTo>
                    <a:pt x="12" y="222"/>
                  </a:lnTo>
                  <a:lnTo>
                    <a:pt x="18" y="204"/>
                  </a:lnTo>
                  <a:lnTo>
                    <a:pt x="26" y="186"/>
                  </a:lnTo>
                  <a:lnTo>
                    <a:pt x="34" y="168"/>
                  </a:lnTo>
                  <a:lnTo>
                    <a:pt x="42" y="150"/>
                  </a:lnTo>
                  <a:lnTo>
                    <a:pt x="54" y="132"/>
                  </a:lnTo>
                  <a:lnTo>
                    <a:pt x="64" y="116"/>
                  </a:lnTo>
                  <a:lnTo>
                    <a:pt x="78" y="102"/>
                  </a:lnTo>
                  <a:lnTo>
                    <a:pt x="90" y="88"/>
                  </a:lnTo>
                  <a:lnTo>
                    <a:pt x="106" y="74"/>
                  </a:lnTo>
                  <a:lnTo>
                    <a:pt x="120" y="62"/>
                  </a:lnTo>
                  <a:lnTo>
                    <a:pt x="138" y="50"/>
                  </a:lnTo>
                  <a:lnTo>
                    <a:pt x="156" y="40"/>
                  </a:lnTo>
                  <a:lnTo>
                    <a:pt x="174" y="32"/>
                  </a:lnTo>
                  <a:lnTo>
                    <a:pt x="194" y="24"/>
                  </a:lnTo>
                  <a:lnTo>
                    <a:pt x="194" y="2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Segoe UI"/>
                <a:ea typeface="+mn-ea"/>
                <a:cs typeface="+mn-cs"/>
              </a:endParaRPr>
            </a:p>
          </p:txBody>
        </p:sp>
        <p:sp>
          <p:nvSpPr>
            <p:cNvPr id="455" name="Freeform 121"/>
            <p:cNvSpPr>
              <a:spLocks/>
            </p:cNvSpPr>
            <p:nvPr/>
          </p:nvSpPr>
          <p:spPr bwMode="auto">
            <a:xfrm>
              <a:off x="13253772" y="1125376"/>
              <a:ext cx="3216275" cy="4991100"/>
            </a:xfrm>
            <a:custGeom>
              <a:avLst/>
              <a:gdLst>
                <a:gd name="T0" fmla="*/ 690 w 2026"/>
                <a:gd name="T1" fmla="*/ 66 h 3144"/>
                <a:gd name="T2" fmla="*/ 796 w 2026"/>
                <a:gd name="T3" fmla="*/ 14 h 3144"/>
                <a:gd name="T4" fmla="*/ 918 w 2026"/>
                <a:gd name="T5" fmla="*/ 0 h 3144"/>
                <a:gd name="T6" fmla="*/ 1102 w 2026"/>
                <a:gd name="T7" fmla="*/ 0 h 3144"/>
                <a:gd name="T8" fmla="*/ 1476 w 2026"/>
                <a:gd name="T9" fmla="*/ 2 h 3144"/>
                <a:gd name="T10" fmla="*/ 1660 w 2026"/>
                <a:gd name="T11" fmla="*/ 18 h 3144"/>
                <a:gd name="T12" fmla="*/ 1840 w 2026"/>
                <a:gd name="T13" fmla="*/ 68 h 3144"/>
                <a:gd name="T14" fmla="*/ 1910 w 2026"/>
                <a:gd name="T15" fmla="*/ 114 h 3144"/>
                <a:gd name="T16" fmla="*/ 1974 w 2026"/>
                <a:gd name="T17" fmla="*/ 202 h 3144"/>
                <a:gd name="T18" fmla="*/ 2010 w 2026"/>
                <a:gd name="T19" fmla="*/ 310 h 3144"/>
                <a:gd name="T20" fmla="*/ 2026 w 2026"/>
                <a:gd name="T21" fmla="*/ 448 h 3144"/>
                <a:gd name="T22" fmla="*/ 2024 w 2026"/>
                <a:gd name="T23" fmla="*/ 1290 h 3144"/>
                <a:gd name="T24" fmla="*/ 2020 w 2026"/>
                <a:gd name="T25" fmla="*/ 1438 h 3144"/>
                <a:gd name="T26" fmla="*/ 2004 w 2026"/>
                <a:gd name="T27" fmla="*/ 1484 h 3144"/>
                <a:gd name="T28" fmla="*/ 1948 w 2026"/>
                <a:gd name="T29" fmla="*/ 1528 h 3144"/>
                <a:gd name="T30" fmla="*/ 1854 w 2026"/>
                <a:gd name="T31" fmla="*/ 1538 h 3144"/>
                <a:gd name="T32" fmla="*/ 1794 w 2026"/>
                <a:gd name="T33" fmla="*/ 1504 h 3144"/>
                <a:gd name="T34" fmla="*/ 1770 w 2026"/>
                <a:gd name="T35" fmla="*/ 1462 h 3144"/>
                <a:gd name="T36" fmla="*/ 1762 w 2026"/>
                <a:gd name="T37" fmla="*/ 1320 h 3144"/>
                <a:gd name="T38" fmla="*/ 1762 w 2026"/>
                <a:gd name="T39" fmla="*/ 630 h 3144"/>
                <a:gd name="T40" fmla="*/ 1664 w 2026"/>
                <a:gd name="T41" fmla="*/ 514 h 3144"/>
                <a:gd name="T42" fmla="*/ 1664 w 2026"/>
                <a:gd name="T43" fmla="*/ 2966 h 3144"/>
                <a:gd name="T44" fmla="*/ 1634 w 2026"/>
                <a:gd name="T45" fmla="*/ 3058 h 3144"/>
                <a:gd name="T46" fmla="*/ 1564 w 2026"/>
                <a:gd name="T47" fmla="*/ 3122 h 3144"/>
                <a:gd name="T48" fmla="*/ 1472 w 2026"/>
                <a:gd name="T49" fmla="*/ 3144 h 3144"/>
                <a:gd name="T50" fmla="*/ 1400 w 2026"/>
                <a:gd name="T51" fmla="*/ 3126 h 3144"/>
                <a:gd name="T52" fmla="*/ 1358 w 2026"/>
                <a:gd name="T53" fmla="*/ 3104 h 3144"/>
                <a:gd name="T54" fmla="*/ 1330 w 2026"/>
                <a:gd name="T55" fmla="*/ 3044 h 3144"/>
                <a:gd name="T56" fmla="*/ 1318 w 2026"/>
                <a:gd name="T57" fmla="*/ 2796 h 3144"/>
                <a:gd name="T58" fmla="*/ 1320 w 2026"/>
                <a:gd name="T59" fmla="*/ 1900 h 3144"/>
                <a:gd name="T60" fmla="*/ 1226 w 2026"/>
                <a:gd name="T61" fmla="*/ 1530 h 3144"/>
                <a:gd name="T62" fmla="*/ 1222 w 2026"/>
                <a:gd name="T63" fmla="*/ 2268 h 3144"/>
                <a:gd name="T64" fmla="*/ 1220 w 2026"/>
                <a:gd name="T65" fmla="*/ 3008 h 3144"/>
                <a:gd name="T66" fmla="*/ 1194 w 2026"/>
                <a:gd name="T67" fmla="*/ 3070 h 3144"/>
                <a:gd name="T68" fmla="*/ 1148 w 2026"/>
                <a:gd name="T69" fmla="*/ 3114 h 3144"/>
                <a:gd name="T70" fmla="*/ 1090 w 2026"/>
                <a:gd name="T71" fmla="*/ 3136 h 3144"/>
                <a:gd name="T72" fmla="*/ 994 w 2026"/>
                <a:gd name="T73" fmla="*/ 3136 h 3144"/>
                <a:gd name="T74" fmla="*/ 936 w 2026"/>
                <a:gd name="T75" fmla="*/ 3112 h 3144"/>
                <a:gd name="T76" fmla="*/ 890 w 2026"/>
                <a:gd name="T77" fmla="*/ 3070 h 3144"/>
                <a:gd name="T78" fmla="*/ 866 w 2026"/>
                <a:gd name="T79" fmla="*/ 3010 h 3144"/>
                <a:gd name="T80" fmla="*/ 862 w 2026"/>
                <a:gd name="T81" fmla="*/ 2320 h 3144"/>
                <a:gd name="T82" fmla="*/ 860 w 2026"/>
                <a:gd name="T83" fmla="*/ 356 h 3144"/>
                <a:gd name="T84" fmla="*/ 552 w 2026"/>
                <a:gd name="T85" fmla="*/ 718 h 3144"/>
                <a:gd name="T86" fmla="*/ 282 w 2026"/>
                <a:gd name="T87" fmla="*/ 1032 h 3144"/>
                <a:gd name="T88" fmla="*/ 216 w 2026"/>
                <a:gd name="T89" fmla="*/ 1090 h 3144"/>
                <a:gd name="T90" fmla="*/ 164 w 2026"/>
                <a:gd name="T91" fmla="*/ 1104 h 3144"/>
                <a:gd name="T92" fmla="*/ 90 w 2026"/>
                <a:gd name="T93" fmla="*/ 1088 h 3144"/>
                <a:gd name="T94" fmla="*/ 18 w 2026"/>
                <a:gd name="T95" fmla="*/ 1016 h 3144"/>
                <a:gd name="T96" fmla="*/ 0 w 2026"/>
                <a:gd name="T97" fmla="*/ 942 h 3144"/>
                <a:gd name="T98" fmla="*/ 12 w 2026"/>
                <a:gd name="T99" fmla="*/ 890 h 3144"/>
                <a:gd name="T100" fmla="*/ 102 w 2026"/>
                <a:gd name="T101" fmla="*/ 770 h 3144"/>
                <a:gd name="T102" fmla="*/ 646 w 2026"/>
                <a:gd name="T103" fmla="*/ 112 h 3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26" h="3144">
                  <a:moveTo>
                    <a:pt x="646" y="112"/>
                  </a:moveTo>
                  <a:lnTo>
                    <a:pt x="646" y="112"/>
                  </a:lnTo>
                  <a:lnTo>
                    <a:pt x="666" y="88"/>
                  </a:lnTo>
                  <a:lnTo>
                    <a:pt x="690" y="66"/>
                  </a:lnTo>
                  <a:lnTo>
                    <a:pt x="714" y="48"/>
                  </a:lnTo>
                  <a:lnTo>
                    <a:pt x="740" y="34"/>
                  </a:lnTo>
                  <a:lnTo>
                    <a:pt x="768" y="22"/>
                  </a:lnTo>
                  <a:lnTo>
                    <a:pt x="796" y="14"/>
                  </a:lnTo>
                  <a:lnTo>
                    <a:pt x="826" y="8"/>
                  </a:lnTo>
                  <a:lnTo>
                    <a:pt x="856" y="4"/>
                  </a:lnTo>
                  <a:lnTo>
                    <a:pt x="886" y="2"/>
                  </a:lnTo>
                  <a:lnTo>
                    <a:pt x="918" y="0"/>
                  </a:lnTo>
                  <a:lnTo>
                    <a:pt x="980" y="0"/>
                  </a:lnTo>
                  <a:lnTo>
                    <a:pt x="1042" y="2"/>
                  </a:lnTo>
                  <a:lnTo>
                    <a:pt x="1102" y="0"/>
                  </a:lnTo>
                  <a:lnTo>
                    <a:pt x="1102" y="0"/>
                  </a:lnTo>
                  <a:lnTo>
                    <a:pt x="1196" y="2"/>
                  </a:lnTo>
                  <a:lnTo>
                    <a:pt x="1288" y="2"/>
                  </a:lnTo>
                  <a:lnTo>
                    <a:pt x="1382" y="0"/>
                  </a:lnTo>
                  <a:lnTo>
                    <a:pt x="1476" y="2"/>
                  </a:lnTo>
                  <a:lnTo>
                    <a:pt x="1522" y="4"/>
                  </a:lnTo>
                  <a:lnTo>
                    <a:pt x="1568" y="6"/>
                  </a:lnTo>
                  <a:lnTo>
                    <a:pt x="1614" y="12"/>
                  </a:lnTo>
                  <a:lnTo>
                    <a:pt x="1660" y="18"/>
                  </a:lnTo>
                  <a:lnTo>
                    <a:pt x="1706" y="26"/>
                  </a:lnTo>
                  <a:lnTo>
                    <a:pt x="1750" y="38"/>
                  </a:lnTo>
                  <a:lnTo>
                    <a:pt x="1796" y="50"/>
                  </a:lnTo>
                  <a:lnTo>
                    <a:pt x="1840" y="68"/>
                  </a:lnTo>
                  <a:lnTo>
                    <a:pt x="1840" y="68"/>
                  </a:lnTo>
                  <a:lnTo>
                    <a:pt x="1866" y="80"/>
                  </a:lnTo>
                  <a:lnTo>
                    <a:pt x="1888" y="96"/>
                  </a:lnTo>
                  <a:lnTo>
                    <a:pt x="1910" y="114"/>
                  </a:lnTo>
                  <a:lnTo>
                    <a:pt x="1930" y="134"/>
                  </a:lnTo>
                  <a:lnTo>
                    <a:pt x="1946" y="154"/>
                  </a:lnTo>
                  <a:lnTo>
                    <a:pt x="1960" y="178"/>
                  </a:lnTo>
                  <a:lnTo>
                    <a:pt x="1974" y="202"/>
                  </a:lnTo>
                  <a:lnTo>
                    <a:pt x="1984" y="228"/>
                  </a:lnTo>
                  <a:lnTo>
                    <a:pt x="1994" y="254"/>
                  </a:lnTo>
                  <a:lnTo>
                    <a:pt x="2002" y="282"/>
                  </a:lnTo>
                  <a:lnTo>
                    <a:pt x="2010" y="310"/>
                  </a:lnTo>
                  <a:lnTo>
                    <a:pt x="2014" y="338"/>
                  </a:lnTo>
                  <a:lnTo>
                    <a:pt x="2022" y="394"/>
                  </a:lnTo>
                  <a:lnTo>
                    <a:pt x="2026" y="448"/>
                  </a:lnTo>
                  <a:lnTo>
                    <a:pt x="2026" y="448"/>
                  </a:lnTo>
                  <a:lnTo>
                    <a:pt x="2026" y="690"/>
                  </a:lnTo>
                  <a:lnTo>
                    <a:pt x="2026" y="930"/>
                  </a:lnTo>
                  <a:lnTo>
                    <a:pt x="2026" y="1170"/>
                  </a:lnTo>
                  <a:lnTo>
                    <a:pt x="2024" y="1290"/>
                  </a:lnTo>
                  <a:lnTo>
                    <a:pt x="2022" y="1410"/>
                  </a:lnTo>
                  <a:lnTo>
                    <a:pt x="2022" y="1410"/>
                  </a:lnTo>
                  <a:lnTo>
                    <a:pt x="2022" y="1426"/>
                  </a:lnTo>
                  <a:lnTo>
                    <a:pt x="2020" y="1438"/>
                  </a:lnTo>
                  <a:lnTo>
                    <a:pt x="2018" y="1452"/>
                  </a:lnTo>
                  <a:lnTo>
                    <a:pt x="2014" y="1462"/>
                  </a:lnTo>
                  <a:lnTo>
                    <a:pt x="2010" y="1474"/>
                  </a:lnTo>
                  <a:lnTo>
                    <a:pt x="2004" y="1484"/>
                  </a:lnTo>
                  <a:lnTo>
                    <a:pt x="1996" y="1494"/>
                  </a:lnTo>
                  <a:lnTo>
                    <a:pt x="1988" y="1502"/>
                  </a:lnTo>
                  <a:lnTo>
                    <a:pt x="1970" y="1516"/>
                  </a:lnTo>
                  <a:lnTo>
                    <a:pt x="1948" y="1528"/>
                  </a:lnTo>
                  <a:lnTo>
                    <a:pt x="1926" y="1536"/>
                  </a:lnTo>
                  <a:lnTo>
                    <a:pt x="1902" y="1540"/>
                  </a:lnTo>
                  <a:lnTo>
                    <a:pt x="1878" y="1540"/>
                  </a:lnTo>
                  <a:lnTo>
                    <a:pt x="1854" y="1538"/>
                  </a:lnTo>
                  <a:lnTo>
                    <a:pt x="1832" y="1530"/>
                  </a:lnTo>
                  <a:lnTo>
                    <a:pt x="1812" y="1520"/>
                  </a:lnTo>
                  <a:lnTo>
                    <a:pt x="1802" y="1512"/>
                  </a:lnTo>
                  <a:lnTo>
                    <a:pt x="1794" y="1504"/>
                  </a:lnTo>
                  <a:lnTo>
                    <a:pt x="1786" y="1496"/>
                  </a:lnTo>
                  <a:lnTo>
                    <a:pt x="1780" y="1486"/>
                  </a:lnTo>
                  <a:lnTo>
                    <a:pt x="1774" y="1474"/>
                  </a:lnTo>
                  <a:lnTo>
                    <a:pt x="1770" y="1462"/>
                  </a:lnTo>
                  <a:lnTo>
                    <a:pt x="1768" y="1450"/>
                  </a:lnTo>
                  <a:lnTo>
                    <a:pt x="1766" y="1434"/>
                  </a:lnTo>
                  <a:lnTo>
                    <a:pt x="1766" y="1434"/>
                  </a:lnTo>
                  <a:lnTo>
                    <a:pt x="1762" y="1320"/>
                  </a:lnTo>
                  <a:lnTo>
                    <a:pt x="1760" y="1206"/>
                  </a:lnTo>
                  <a:lnTo>
                    <a:pt x="1760" y="976"/>
                  </a:lnTo>
                  <a:lnTo>
                    <a:pt x="1762" y="746"/>
                  </a:lnTo>
                  <a:lnTo>
                    <a:pt x="1762" y="630"/>
                  </a:lnTo>
                  <a:lnTo>
                    <a:pt x="1760" y="516"/>
                  </a:lnTo>
                  <a:lnTo>
                    <a:pt x="1760" y="516"/>
                  </a:lnTo>
                  <a:lnTo>
                    <a:pt x="1664" y="514"/>
                  </a:lnTo>
                  <a:lnTo>
                    <a:pt x="1664" y="514"/>
                  </a:lnTo>
                  <a:lnTo>
                    <a:pt x="1664" y="1726"/>
                  </a:lnTo>
                  <a:lnTo>
                    <a:pt x="1664" y="2940"/>
                  </a:lnTo>
                  <a:lnTo>
                    <a:pt x="1664" y="2940"/>
                  </a:lnTo>
                  <a:lnTo>
                    <a:pt x="1664" y="2966"/>
                  </a:lnTo>
                  <a:lnTo>
                    <a:pt x="1662" y="2992"/>
                  </a:lnTo>
                  <a:lnTo>
                    <a:pt x="1654" y="3016"/>
                  </a:lnTo>
                  <a:lnTo>
                    <a:pt x="1646" y="3038"/>
                  </a:lnTo>
                  <a:lnTo>
                    <a:pt x="1634" y="3058"/>
                  </a:lnTo>
                  <a:lnTo>
                    <a:pt x="1620" y="3078"/>
                  </a:lnTo>
                  <a:lnTo>
                    <a:pt x="1602" y="3094"/>
                  </a:lnTo>
                  <a:lnTo>
                    <a:pt x="1584" y="3110"/>
                  </a:lnTo>
                  <a:lnTo>
                    <a:pt x="1564" y="3122"/>
                  </a:lnTo>
                  <a:lnTo>
                    <a:pt x="1542" y="3132"/>
                  </a:lnTo>
                  <a:lnTo>
                    <a:pt x="1520" y="3138"/>
                  </a:lnTo>
                  <a:lnTo>
                    <a:pt x="1496" y="3142"/>
                  </a:lnTo>
                  <a:lnTo>
                    <a:pt x="1472" y="3144"/>
                  </a:lnTo>
                  <a:lnTo>
                    <a:pt x="1448" y="3142"/>
                  </a:lnTo>
                  <a:lnTo>
                    <a:pt x="1424" y="3136"/>
                  </a:lnTo>
                  <a:lnTo>
                    <a:pt x="1400" y="3126"/>
                  </a:lnTo>
                  <a:lnTo>
                    <a:pt x="1400" y="3126"/>
                  </a:lnTo>
                  <a:lnTo>
                    <a:pt x="1386" y="3122"/>
                  </a:lnTo>
                  <a:lnTo>
                    <a:pt x="1376" y="3118"/>
                  </a:lnTo>
                  <a:lnTo>
                    <a:pt x="1366" y="3112"/>
                  </a:lnTo>
                  <a:lnTo>
                    <a:pt x="1358" y="3104"/>
                  </a:lnTo>
                  <a:lnTo>
                    <a:pt x="1350" y="3096"/>
                  </a:lnTo>
                  <a:lnTo>
                    <a:pt x="1344" y="3086"/>
                  </a:lnTo>
                  <a:lnTo>
                    <a:pt x="1336" y="3066"/>
                  </a:lnTo>
                  <a:lnTo>
                    <a:pt x="1330" y="3044"/>
                  </a:lnTo>
                  <a:lnTo>
                    <a:pt x="1326" y="3020"/>
                  </a:lnTo>
                  <a:lnTo>
                    <a:pt x="1322" y="2974"/>
                  </a:lnTo>
                  <a:lnTo>
                    <a:pt x="1322" y="2974"/>
                  </a:lnTo>
                  <a:lnTo>
                    <a:pt x="1318" y="2796"/>
                  </a:lnTo>
                  <a:lnTo>
                    <a:pt x="1318" y="2616"/>
                  </a:lnTo>
                  <a:lnTo>
                    <a:pt x="1320" y="2258"/>
                  </a:lnTo>
                  <a:lnTo>
                    <a:pt x="1320" y="2080"/>
                  </a:lnTo>
                  <a:lnTo>
                    <a:pt x="1320" y="1900"/>
                  </a:lnTo>
                  <a:lnTo>
                    <a:pt x="1318" y="1722"/>
                  </a:lnTo>
                  <a:lnTo>
                    <a:pt x="1314" y="1542"/>
                  </a:lnTo>
                  <a:lnTo>
                    <a:pt x="1314" y="1542"/>
                  </a:lnTo>
                  <a:lnTo>
                    <a:pt x="1226" y="1530"/>
                  </a:lnTo>
                  <a:lnTo>
                    <a:pt x="1226" y="1530"/>
                  </a:lnTo>
                  <a:lnTo>
                    <a:pt x="1224" y="1714"/>
                  </a:lnTo>
                  <a:lnTo>
                    <a:pt x="1222" y="1900"/>
                  </a:lnTo>
                  <a:lnTo>
                    <a:pt x="1222" y="2268"/>
                  </a:lnTo>
                  <a:lnTo>
                    <a:pt x="1224" y="2638"/>
                  </a:lnTo>
                  <a:lnTo>
                    <a:pt x="1222" y="2824"/>
                  </a:lnTo>
                  <a:lnTo>
                    <a:pt x="1220" y="3008"/>
                  </a:lnTo>
                  <a:lnTo>
                    <a:pt x="1220" y="3008"/>
                  </a:lnTo>
                  <a:lnTo>
                    <a:pt x="1216" y="3026"/>
                  </a:lnTo>
                  <a:lnTo>
                    <a:pt x="1210" y="3042"/>
                  </a:lnTo>
                  <a:lnTo>
                    <a:pt x="1202" y="3056"/>
                  </a:lnTo>
                  <a:lnTo>
                    <a:pt x="1194" y="3070"/>
                  </a:lnTo>
                  <a:lnTo>
                    <a:pt x="1184" y="3084"/>
                  </a:lnTo>
                  <a:lnTo>
                    <a:pt x="1174" y="3094"/>
                  </a:lnTo>
                  <a:lnTo>
                    <a:pt x="1162" y="3104"/>
                  </a:lnTo>
                  <a:lnTo>
                    <a:pt x="1148" y="3114"/>
                  </a:lnTo>
                  <a:lnTo>
                    <a:pt x="1136" y="3120"/>
                  </a:lnTo>
                  <a:lnTo>
                    <a:pt x="1120" y="3128"/>
                  </a:lnTo>
                  <a:lnTo>
                    <a:pt x="1106" y="3132"/>
                  </a:lnTo>
                  <a:lnTo>
                    <a:pt x="1090" y="3136"/>
                  </a:lnTo>
                  <a:lnTo>
                    <a:pt x="1074" y="3140"/>
                  </a:lnTo>
                  <a:lnTo>
                    <a:pt x="1058" y="3140"/>
                  </a:lnTo>
                  <a:lnTo>
                    <a:pt x="1026" y="3140"/>
                  </a:lnTo>
                  <a:lnTo>
                    <a:pt x="994" y="3136"/>
                  </a:lnTo>
                  <a:lnTo>
                    <a:pt x="978" y="3132"/>
                  </a:lnTo>
                  <a:lnTo>
                    <a:pt x="964" y="3126"/>
                  </a:lnTo>
                  <a:lnTo>
                    <a:pt x="948" y="3120"/>
                  </a:lnTo>
                  <a:lnTo>
                    <a:pt x="936" y="3112"/>
                  </a:lnTo>
                  <a:lnTo>
                    <a:pt x="922" y="3102"/>
                  </a:lnTo>
                  <a:lnTo>
                    <a:pt x="910" y="3092"/>
                  </a:lnTo>
                  <a:lnTo>
                    <a:pt x="900" y="3082"/>
                  </a:lnTo>
                  <a:lnTo>
                    <a:pt x="890" y="3070"/>
                  </a:lnTo>
                  <a:lnTo>
                    <a:pt x="882" y="3056"/>
                  </a:lnTo>
                  <a:lnTo>
                    <a:pt x="874" y="3042"/>
                  </a:lnTo>
                  <a:lnTo>
                    <a:pt x="870" y="3026"/>
                  </a:lnTo>
                  <a:lnTo>
                    <a:pt x="866" y="3010"/>
                  </a:lnTo>
                  <a:lnTo>
                    <a:pt x="864" y="2992"/>
                  </a:lnTo>
                  <a:lnTo>
                    <a:pt x="864" y="2974"/>
                  </a:lnTo>
                  <a:lnTo>
                    <a:pt x="864" y="2974"/>
                  </a:lnTo>
                  <a:lnTo>
                    <a:pt x="862" y="2320"/>
                  </a:lnTo>
                  <a:lnTo>
                    <a:pt x="862" y="1664"/>
                  </a:lnTo>
                  <a:lnTo>
                    <a:pt x="862" y="1010"/>
                  </a:lnTo>
                  <a:lnTo>
                    <a:pt x="860" y="356"/>
                  </a:lnTo>
                  <a:lnTo>
                    <a:pt x="860" y="356"/>
                  </a:lnTo>
                  <a:lnTo>
                    <a:pt x="780" y="444"/>
                  </a:lnTo>
                  <a:lnTo>
                    <a:pt x="702" y="534"/>
                  </a:lnTo>
                  <a:lnTo>
                    <a:pt x="628" y="626"/>
                  </a:lnTo>
                  <a:lnTo>
                    <a:pt x="552" y="718"/>
                  </a:lnTo>
                  <a:lnTo>
                    <a:pt x="478" y="810"/>
                  </a:lnTo>
                  <a:lnTo>
                    <a:pt x="400" y="900"/>
                  </a:lnTo>
                  <a:lnTo>
                    <a:pt x="322" y="988"/>
                  </a:lnTo>
                  <a:lnTo>
                    <a:pt x="282" y="1032"/>
                  </a:lnTo>
                  <a:lnTo>
                    <a:pt x="240" y="1074"/>
                  </a:lnTo>
                  <a:lnTo>
                    <a:pt x="240" y="1074"/>
                  </a:lnTo>
                  <a:lnTo>
                    <a:pt x="228" y="1082"/>
                  </a:lnTo>
                  <a:lnTo>
                    <a:pt x="216" y="1090"/>
                  </a:lnTo>
                  <a:lnTo>
                    <a:pt x="202" y="1096"/>
                  </a:lnTo>
                  <a:lnTo>
                    <a:pt x="190" y="1100"/>
                  </a:lnTo>
                  <a:lnTo>
                    <a:pt x="178" y="1104"/>
                  </a:lnTo>
                  <a:lnTo>
                    <a:pt x="164" y="1104"/>
                  </a:lnTo>
                  <a:lnTo>
                    <a:pt x="152" y="1104"/>
                  </a:lnTo>
                  <a:lnTo>
                    <a:pt x="140" y="1104"/>
                  </a:lnTo>
                  <a:lnTo>
                    <a:pt x="114" y="1098"/>
                  </a:lnTo>
                  <a:lnTo>
                    <a:pt x="90" y="1088"/>
                  </a:lnTo>
                  <a:lnTo>
                    <a:pt x="68" y="1074"/>
                  </a:lnTo>
                  <a:lnTo>
                    <a:pt x="50" y="1058"/>
                  </a:lnTo>
                  <a:lnTo>
                    <a:pt x="32" y="1038"/>
                  </a:lnTo>
                  <a:lnTo>
                    <a:pt x="18" y="1016"/>
                  </a:lnTo>
                  <a:lnTo>
                    <a:pt x="8" y="992"/>
                  </a:lnTo>
                  <a:lnTo>
                    <a:pt x="2" y="968"/>
                  </a:lnTo>
                  <a:lnTo>
                    <a:pt x="0" y="954"/>
                  </a:lnTo>
                  <a:lnTo>
                    <a:pt x="0" y="942"/>
                  </a:lnTo>
                  <a:lnTo>
                    <a:pt x="0" y="930"/>
                  </a:lnTo>
                  <a:lnTo>
                    <a:pt x="4" y="916"/>
                  </a:lnTo>
                  <a:lnTo>
                    <a:pt x="8" y="904"/>
                  </a:lnTo>
                  <a:lnTo>
                    <a:pt x="12" y="890"/>
                  </a:lnTo>
                  <a:lnTo>
                    <a:pt x="20" y="878"/>
                  </a:lnTo>
                  <a:lnTo>
                    <a:pt x="28" y="866"/>
                  </a:lnTo>
                  <a:lnTo>
                    <a:pt x="28" y="866"/>
                  </a:lnTo>
                  <a:lnTo>
                    <a:pt x="102" y="770"/>
                  </a:lnTo>
                  <a:lnTo>
                    <a:pt x="178" y="674"/>
                  </a:lnTo>
                  <a:lnTo>
                    <a:pt x="334" y="486"/>
                  </a:lnTo>
                  <a:lnTo>
                    <a:pt x="490" y="300"/>
                  </a:lnTo>
                  <a:lnTo>
                    <a:pt x="646" y="112"/>
                  </a:lnTo>
                  <a:lnTo>
                    <a:pt x="646" y="1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Segoe UI"/>
                <a:ea typeface="+mn-ea"/>
                <a:cs typeface="+mn-cs"/>
              </a:endParaRPr>
            </a:p>
          </p:txBody>
        </p:sp>
      </p:grpSp>
      <p:pic>
        <p:nvPicPr>
          <p:cNvPr id="456" name="Picture 455"/>
          <p:cNvPicPr>
            <a:picLocks noChangeAspect="1"/>
          </p:cNvPicPr>
          <p:nvPr/>
        </p:nvPicPr>
        <p:blipFill>
          <a:blip r:embed="rId3">
            <a:duotone>
              <a:prstClr val="black"/>
              <a:schemeClr val="tx2">
                <a:tint val="45000"/>
                <a:satMod val="400000"/>
              </a:schemeClr>
            </a:duotone>
          </a:blip>
          <a:stretch>
            <a:fillRect/>
          </a:stretch>
        </p:blipFill>
        <p:spPr>
          <a:xfrm>
            <a:off x="7198042" y="2065892"/>
            <a:ext cx="179898" cy="212091"/>
          </a:xfrm>
          <a:prstGeom prst="rect">
            <a:avLst/>
          </a:prstGeom>
        </p:spPr>
      </p:pic>
      <p:grpSp>
        <p:nvGrpSpPr>
          <p:cNvPr id="515" name="Group 514"/>
          <p:cNvGrpSpPr/>
          <p:nvPr/>
        </p:nvGrpSpPr>
        <p:grpSpPr>
          <a:xfrm>
            <a:off x="4302810" y="3149009"/>
            <a:ext cx="490374" cy="448661"/>
            <a:chOff x="4479531" y="3625553"/>
            <a:chExt cx="490374" cy="448661"/>
          </a:xfrm>
          <a:solidFill>
            <a:srgbClr val="5E83BD"/>
          </a:solidFill>
        </p:grpSpPr>
        <p:grpSp>
          <p:nvGrpSpPr>
            <p:cNvPr id="459" name="Group 458"/>
            <p:cNvGrpSpPr/>
            <p:nvPr/>
          </p:nvGrpSpPr>
          <p:grpSpPr>
            <a:xfrm>
              <a:off x="4494021" y="3625553"/>
              <a:ext cx="475884" cy="448661"/>
              <a:chOff x="1048844" y="2929382"/>
              <a:chExt cx="2146850" cy="1792260"/>
            </a:xfrm>
            <a:grpFill/>
          </p:grpSpPr>
          <p:sp>
            <p:nvSpPr>
              <p:cNvPr id="467" name="Rectangle 466"/>
              <p:cNvSpPr/>
              <p:nvPr/>
            </p:nvSpPr>
            <p:spPr bwMode="auto">
              <a:xfrm rot="19233811" flipH="1">
                <a:off x="1672997" y="4111453"/>
                <a:ext cx="265596" cy="33623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8" name="Rectangle 21"/>
              <p:cNvSpPr/>
              <p:nvPr/>
            </p:nvSpPr>
            <p:spPr bwMode="auto">
              <a:xfrm rot="1663182" flipH="1">
                <a:off x="1661723" y="3093970"/>
                <a:ext cx="283331" cy="751494"/>
              </a:xfrm>
              <a:custGeom>
                <a:avLst/>
                <a:gdLst>
                  <a:gd name="connsiteX0" fmla="*/ 0 w 158225"/>
                  <a:gd name="connsiteY0" fmla="*/ 0 h 494769"/>
                  <a:gd name="connsiteX1" fmla="*/ 158225 w 158225"/>
                  <a:gd name="connsiteY1" fmla="*/ 0 h 494769"/>
                  <a:gd name="connsiteX2" fmla="*/ 158225 w 158225"/>
                  <a:gd name="connsiteY2" fmla="*/ 494769 h 494769"/>
                  <a:gd name="connsiteX3" fmla="*/ 0 w 158225"/>
                  <a:gd name="connsiteY3" fmla="*/ 494769 h 494769"/>
                  <a:gd name="connsiteX4" fmla="*/ 0 w 158225"/>
                  <a:gd name="connsiteY4" fmla="*/ 0 h 494769"/>
                  <a:gd name="connsiteX0" fmla="*/ 22401 w 158225"/>
                  <a:gd name="connsiteY0" fmla="*/ 0 h 496448"/>
                  <a:gd name="connsiteX1" fmla="*/ 158225 w 158225"/>
                  <a:gd name="connsiteY1" fmla="*/ 1679 h 496448"/>
                  <a:gd name="connsiteX2" fmla="*/ 158225 w 158225"/>
                  <a:gd name="connsiteY2" fmla="*/ 496448 h 496448"/>
                  <a:gd name="connsiteX3" fmla="*/ 0 w 158225"/>
                  <a:gd name="connsiteY3" fmla="*/ 496448 h 496448"/>
                  <a:gd name="connsiteX4" fmla="*/ 22401 w 158225"/>
                  <a:gd name="connsiteY4" fmla="*/ 0 h 496448"/>
                  <a:gd name="connsiteX0" fmla="*/ 22401 w 193060"/>
                  <a:gd name="connsiteY0" fmla="*/ 0 h 512062"/>
                  <a:gd name="connsiteX1" fmla="*/ 158225 w 193060"/>
                  <a:gd name="connsiteY1" fmla="*/ 1679 h 512062"/>
                  <a:gd name="connsiteX2" fmla="*/ 193060 w 193060"/>
                  <a:gd name="connsiteY2" fmla="*/ 512062 h 512062"/>
                  <a:gd name="connsiteX3" fmla="*/ 0 w 193060"/>
                  <a:gd name="connsiteY3" fmla="*/ 496448 h 512062"/>
                  <a:gd name="connsiteX4" fmla="*/ 22401 w 193060"/>
                  <a:gd name="connsiteY4" fmla="*/ 0 h 512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060" h="512062">
                    <a:moveTo>
                      <a:pt x="22401" y="0"/>
                    </a:moveTo>
                    <a:lnTo>
                      <a:pt x="158225" y="1679"/>
                    </a:lnTo>
                    <a:lnTo>
                      <a:pt x="193060" y="512062"/>
                    </a:lnTo>
                    <a:lnTo>
                      <a:pt x="0" y="496448"/>
                    </a:lnTo>
                    <a:lnTo>
                      <a:pt x="22401"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69" name="Rectangle 29"/>
              <p:cNvSpPr/>
              <p:nvPr/>
            </p:nvSpPr>
            <p:spPr bwMode="auto">
              <a:xfrm rot="6300000" flipH="1">
                <a:off x="2375889" y="2873020"/>
                <a:ext cx="215107" cy="735159"/>
              </a:xfrm>
              <a:custGeom>
                <a:avLst/>
                <a:gdLst>
                  <a:gd name="connsiteX0" fmla="*/ 0 w 123571"/>
                  <a:gd name="connsiteY0" fmla="*/ 0 h 494769"/>
                  <a:gd name="connsiteX1" fmla="*/ 123571 w 123571"/>
                  <a:gd name="connsiteY1" fmla="*/ 0 h 494769"/>
                  <a:gd name="connsiteX2" fmla="*/ 123571 w 123571"/>
                  <a:gd name="connsiteY2" fmla="*/ 494769 h 494769"/>
                  <a:gd name="connsiteX3" fmla="*/ 0 w 123571"/>
                  <a:gd name="connsiteY3" fmla="*/ 494769 h 494769"/>
                  <a:gd name="connsiteX4" fmla="*/ 0 w 123571"/>
                  <a:gd name="connsiteY4" fmla="*/ 0 h 494769"/>
                  <a:gd name="connsiteX0" fmla="*/ 0 w 146572"/>
                  <a:gd name="connsiteY0" fmla="*/ 0 h 500932"/>
                  <a:gd name="connsiteX1" fmla="*/ 123571 w 146572"/>
                  <a:gd name="connsiteY1" fmla="*/ 0 h 500932"/>
                  <a:gd name="connsiteX2" fmla="*/ 146572 w 146572"/>
                  <a:gd name="connsiteY2" fmla="*/ 500932 h 500932"/>
                  <a:gd name="connsiteX3" fmla="*/ 0 w 146572"/>
                  <a:gd name="connsiteY3" fmla="*/ 494769 h 500932"/>
                  <a:gd name="connsiteX4" fmla="*/ 0 w 146572"/>
                  <a:gd name="connsiteY4" fmla="*/ 0 h 500932"/>
                  <a:gd name="connsiteX0" fmla="*/ 23002 w 146572"/>
                  <a:gd name="connsiteY0" fmla="*/ 6163 h 500932"/>
                  <a:gd name="connsiteX1" fmla="*/ 123571 w 146572"/>
                  <a:gd name="connsiteY1" fmla="*/ 0 h 500932"/>
                  <a:gd name="connsiteX2" fmla="*/ 146572 w 146572"/>
                  <a:gd name="connsiteY2" fmla="*/ 500932 h 500932"/>
                  <a:gd name="connsiteX3" fmla="*/ 0 w 146572"/>
                  <a:gd name="connsiteY3" fmla="*/ 494769 h 500932"/>
                  <a:gd name="connsiteX4" fmla="*/ 23002 w 146572"/>
                  <a:gd name="connsiteY4" fmla="*/ 6163 h 500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72" h="500932">
                    <a:moveTo>
                      <a:pt x="23002" y="6163"/>
                    </a:moveTo>
                    <a:lnTo>
                      <a:pt x="123571" y="0"/>
                    </a:lnTo>
                    <a:lnTo>
                      <a:pt x="146572" y="500932"/>
                    </a:lnTo>
                    <a:lnTo>
                      <a:pt x="0" y="494769"/>
                    </a:lnTo>
                    <a:lnTo>
                      <a:pt x="23002" y="616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70" name="Group 469"/>
              <p:cNvGrpSpPr/>
              <p:nvPr/>
            </p:nvGrpSpPr>
            <p:grpSpPr>
              <a:xfrm>
                <a:off x="1297664" y="3722455"/>
                <a:ext cx="516897" cy="516898"/>
                <a:chOff x="4394973" y="1762558"/>
                <a:chExt cx="352210" cy="352210"/>
              </a:xfrm>
              <a:grpFill/>
            </p:grpSpPr>
            <p:grpSp>
              <p:nvGrpSpPr>
                <p:cNvPr id="496" name="Group 495"/>
                <p:cNvGrpSpPr/>
                <p:nvPr/>
              </p:nvGrpSpPr>
              <p:grpSpPr>
                <a:xfrm flipH="1">
                  <a:off x="4394973" y="1762558"/>
                  <a:ext cx="352210" cy="352210"/>
                  <a:chOff x="5411363" y="1755522"/>
                  <a:chExt cx="316187" cy="316187"/>
                </a:xfrm>
                <a:grpFill/>
              </p:grpSpPr>
              <p:sp>
                <p:nvSpPr>
                  <p:cNvPr id="499" name="Oval 498"/>
                  <p:cNvSpPr/>
                  <p:nvPr/>
                </p:nvSpPr>
                <p:spPr bwMode="auto">
                  <a:xfrm>
                    <a:off x="5411363" y="1755522"/>
                    <a:ext cx="316187" cy="31618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0" name="Oval 499"/>
                  <p:cNvSpPr/>
                  <p:nvPr/>
                </p:nvSpPr>
                <p:spPr bwMode="auto">
                  <a:xfrm>
                    <a:off x="5462797" y="1806956"/>
                    <a:ext cx="213318" cy="21331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1" name="Oval 500"/>
                  <p:cNvSpPr/>
                  <p:nvPr/>
                </p:nvSpPr>
                <p:spPr bwMode="auto">
                  <a:xfrm>
                    <a:off x="5506446" y="1850605"/>
                    <a:ext cx="126020" cy="1260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97" name="Rectangle 496"/>
                <p:cNvSpPr/>
                <p:nvPr/>
              </p:nvSpPr>
              <p:spPr bwMode="auto">
                <a:xfrm flipH="1">
                  <a:off x="4553230" y="1780423"/>
                  <a:ext cx="35696" cy="30433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8" name="Rectangle 497"/>
                <p:cNvSpPr/>
                <p:nvPr/>
              </p:nvSpPr>
              <p:spPr bwMode="auto">
                <a:xfrm rot="5400000" flipH="1">
                  <a:off x="4561685" y="1786498"/>
                  <a:ext cx="35696" cy="30433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71" name="Group 470"/>
              <p:cNvGrpSpPr/>
              <p:nvPr/>
            </p:nvGrpSpPr>
            <p:grpSpPr>
              <a:xfrm>
                <a:off x="1830772" y="2929382"/>
                <a:ext cx="375748" cy="375748"/>
                <a:chOff x="4394973" y="1762558"/>
                <a:chExt cx="352210" cy="352210"/>
              </a:xfrm>
              <a:grpFill/>
            </p:grpSpPr>
            <p:grpSp>
              <p:nvGrpSpPr>
                <p:cNvPr id="490" name="Group 489"/>
                <p:cNvGrpSpPr/>
                <p:nvPr/>
              </p:nvGrpSpPr>
              <p:grpSpPr>
                <a:xfrm flipH="1">
                  <a:off x="4394973" y="1762558"/>
                  <a:ext cx="352210" cy="352210"/>
                  <a:chOff x="5411363" y="1755522"/>
                  <a:chExt cx="316187" cy="316187"/>
                </a:xfrm>
                <a:grpFill/>
              </p:grpSpPr>
              <p:sp>
                <p:nvSpPr>
                  <p:cNvPr id="493" name="Oval 492"/>
                  <p:cNvSpPr/>
                  <p:nvPr/>
                </p:nvSpPr>
                <p:spPr bwMode="auto">
                  <a:xfrm>
                    <a:off x="5411363" y="1755522"/>
                    <a:ext cx="316187" cy="31618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4" name="Oval 493"/>
                  <p:cNvSpPr/>
                  <p:nvPr/>
                </p:nvSpPr>
                <p:spPr bwMode="auto">
                  <a:xfrm>
                    <a:off x="5462797" y="1806956"/>
                    <a:ext cx="213318" cy="21331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5" name="Oval 494"/>
                  <p:cNvSpPr/>
                  <p:nvPr/>
                </p:nvSpPr>
                <p:spPr bwMode="auto">
                  <a:xfrm>
                    <a:off x="5506446" y="1850605"/>
                    <a:ext cx="126020" cy="1260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91" name="Rectangle 490"/>
                <p:cNvSpPr/>
                <p:nvPr/>
              </p:nvSpPr>
              <p:spPr bwMode="auto">
                <a:xfrm flipH="1">
                  <a:off x="4553231" y="1789294"/>
                  <a:ext cx="35695" cy="28644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2" name="Rectangle 491"/>
                <p:cNvSpPr/>
                <p:nvPr/>
              </p:nvSpPr>
              <p:spPr bwMode="auto">
                <a:xfrm rot="5400000" flipH="1">
                  <a:off x="4556016" y="1795437"/>
                  <a:ext cx="35695" cy="28644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72" name="Group 471"/>
              <p:cNvGrpSpPr/>
              <p:nvPr/>
            </p:nvGrpSpPr>
            <p:grpSpPr>
              <a:xfrm rot="20781386">
                <a:off x="2789459" y="3462425"/>
                <a:ext cx="406235" cy="662070"/>
                <a:chOff x="6203753" y="1569838"/>
                <a:chExt cx="276805" cy="451130"/>
              </a:xfrm>
              <a:grpFill/>
            </p:grpSpPr>
            <p:sp>
              <p:nvSpPr>
                <p:cNvPr id="482" name="Rectangle 481"/>
                <p:cNvSpPr/>
                <p:nvPr/>
              </p:nvSpPr>
              <p:spPr bwMode="auto">
                <a:xfrm rot="10800000" flipH="1">
                  <a:off x="6289818" y="1569838"/>
                  <a:ext cx="96717" cy="17378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3" name="Oval 482"/>
                <p:cNvSpPr/>
                <p:nvPr/>
              </p:nvSpPr>
              <p:spPr bwMode="auto">
                <a:xfrm rot="10737439" flipH="1">
                  <a:off x="6286686" y="1707639"/>
                  <a:ext cx="110946" cy="110946"/>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84" name="Group 483"/>
                <p:cNvGrpSpPr/>
                <p:nvPr/>
              </p:nvGrpSpPr>
              <p:grpSpPr>
                <a:xfrm>
                  <a:off x="6203753" y="1748133"/>
                  <a:ext cx="99173" cy="272835"/>
                  <a:chOff x="5430362" y="1772113"/>
                  <a:chExt cx="99173" cy="272835"/>
                </a:xfrm>
                <a:grpFill/>
              </p:grpSpPr>
              <p:sp>
                <p:nvSpPr>
                  <p:cNvPr id="488" name="Rectangle 487"/>
                  <p:cNvSpPr/>
                  <p:nvPr/>
                </p:nvSpPr>
                <p:spPr bwMode="auto">
                  <a:xfrm rot="13260000" flipH="1">
                    <a:off x="5468027" y="1772113"/>
                    <a:ext cx="45719" cy="1371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9" name="Diagonal Stripe 488"/>
                  <p:cNvSpPr/>
                  <p:nvPr/>
                </p:nvSpPr>
                <p:spPr bwMode="auto">
                  <a:xfrm rot="19432650">
                    <a:off x="5430362" y="1862068"/>
                    <a:ext cx="99173" cy="182880"/>
                  </a:xfrm>
                  <a:prstGeom prst="diagStrip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85" name="Group 484"/>
                <p:cNvGrpSpPr/>
                <p:nvPr/>
              </p:nvGrpSpPr>
              <p:grpSpPr>
                <a:xfrm flipH="1">
                  <a:off x="6381385" y="1748134"/>
                  <a:ext cx="99173" cy="272833"/>
                  <a:chOff x="5422401" y="1772114"/>
                  <a:chExt cx="99173" cy="272833"/>
                </a:xfrm>
                <a:grpFill/>
              </p:grpSpPr>
              <p:sp>
                <p:nvSpPr>
                  <p:cNvPr id="486" name="Rectangle 485"/>
                  <p:cNvSpPr/>
                  <p:nvPr/>
                </p:nvSpPr>
                <p:spPr bwMode="auto">
                  <a:xfrm rot="13260000" flipH="1">
                    <a:off x="5460058" y="1772114"/>
                    <a:ext cx="45719" cy="13716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7" name="Diagonal Stripe 486"/>
                  <p:cNvSpPr/>
                  <p:nvPr/>
                </p:nvSpPr>
                <p:spPr bwMode="auto">
                  <a:xfrm rot="19432650">
                    <a:off x="5422401" y="1862067"/>
                    <a:ext cx="99173" cy="182880"/>
                  </a:xfrm>
                  <a:prstGeom prst="diagStrip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473" name="Group 472"/>
              <p:cNvGrpSpPr/>
              <p:nvPr/>
            </p:nvGrpSpPr>
            <p:grpSpPr>
              <a:xfrm>
                <a:off x="2732452" y="3244007"/>
                <a:ext cx="281811" cy="281811"/>
                <a:chOff x="4394973" y="1762558"/>
                <a:chExt cx="352210" cy="352210"/>
              </a:xfrm>
              <a:grpFill/>
            </p:grpSpPr>
            <p:grpSp>
              <p:nvGrpSpPr>
                <p:cNvPr id="476" name="Group 475"/>
                <p:cNvGrpSpPr/>
                <p:nvPr/>
              </p:nvGrpSpPr>
              <p:grpSpPr>
                <a:xfrm flipH="1">
                  <a:off x="4394973" y="1762558"/>
                  <a:ext cx="352210" cy="352210"/>
                  <a:chOff x="5411363" y="1755522"/>
                  <a:chExt cx="316187" cy="316187"/>
                </a:xfrm>
                <a:grpFill/>
              </p:grpSpPr>
              <p:sp>
                <p:nvSpPr>
                  <p:cNvPr id="479" name="Oval 478"/>
                  <p:cNvSpPr/>
                  <p:nvPr/>
                </p:nvSpPr>
                <p:spPr bwMode="auto">
                  <a:xfrm>
                    <a:off x="5411363" y="1755522"/>
                    <a:ext cx="316187" cy="31618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0" name="Oval 479"/>
                  <p:cNvSpPr/>
                  <p:nvPr/>
                </p:nvSpPr>
                <p:spPr bwMode="auto">
                  <a:xfrm>
                    <a:off x="5462797" y="1806956"/>
                    <a:ext cx="213318" cy="213318"/>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1" name="Oval 480"/>
                  <p:cNvSpPr/>
                  <p:nvPr/>
                </p:nvSpPr>
                <p:spPr bwMode="auto">
                  <a:xfrm>
                    <a:off x="5506446" y="1850605"/>
                    <a:ext cx="126020" cy="12602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77" name="Rectangle 476"/>
                <p:cNvSpPr/>
                <p:nvPr/>
              </p:nvSpPr>
              <p:spPr bwMode="auto">
                <a:xfrm flipH="1">
                  <a:off x="4553229" y="1795031"/>
                  <a:ext cx="35696" cy="26441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8" name="Rectangle 477"/>
                <p:cNvSpPr/>
                <p:nvPr/>
              </p:nvSpPr>
              <p:spPr bwMode="auto">
                <a:xfrm rot="5400000" flipH="1">
                  <a:off x="4559388" y="1806456"/>
                  <a:ext cx="35696" cy="26441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74" name="Rounded Rectangle 473"/>
              <p:cNvSpPr/>
              <p:nvPr/>
            </p:nvSpPr>
            <p:spPr bwMode="auto">
              <a:xfrm flipH="1">
                <a:off x="1188631" y="4306131"/>
                <a:ext cx="1241311" cy="391405"/>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75" name="Rounded Rectangle 474"/>
              <p:cNvSpPr/>
              <p:nvPr/>
            </p:nvSpPr>
            <p:spPr bwMode="auto">
              <a:xfrm flipH="1">
                <a:off x="1048844" y="4501833"/>
                <a:ext cx="1520885" cy="219809"/>
              </a:xfrm>
              <a:prstGeom prst="round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60" name="Group 459"/>
            <p:cNvGrpSpPr/>
            <p:nvPr/>
          </p:nvGrpSpPr>
          <p:grpSpPr>
            <a:xfrm rot="12600000">
              <a:off x="4479531" y="3768380"/>
              <a:ext cx="71457" cy="119378"/>
              <a:chOff x="2687372" y="3149601"/>
              <a:chExt cx="81465" cy="132564"/>
            </a:xfrm>
            <a:grpFill/>
          </p:grpSpPr>
          <p:sp>
            <p:nvSpPr>
              <p:cNvPr id="461" name="Freeform 75"/>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199" b="0" i="0" u="none" strike="noStrike" kern="1200" cap="none" spc="0" normalizeH="0" baseline="0" noProof="0">
                  <a:ln>
                    <a:noFill/>
                  </a:ln>
                  <a:solidFill>
                    <a:srgbClr val="000000"/>
                  </a:solidFill>
                  <a:effectLst/>
                  <a:uLnTx/>
                  <a:uFillTx/>
                  <a:latin typeface="Segoe UI"/>
                  <a:ea typeface="+mn-ea"/>
                  <a:cs typeface="+mn-cs"/>
                </a:endParaRPr>
              </a:p>
            </p:txBody>
          </p:sp>
          <p:sp>
            <p:nvSpPr>
              <p:cNvPr id="462" name="Freeform 76"/>
              <p:cNvSpPr>
                <a:spLocks/>
              </p:cNvSpPr>
              <p:nvPr/>
            </p:nvSpPr>
            <p:spPr bwMode="auto">
              <a:xfrm>
                <a:off x="2687372" y="3189592"/>
                <a:ext cx="19996" cy="52582"/>
              </a:xfrm>
              <a:custGeom>
                <a:avLst/>
                <a:gdLst>
                  <a:gd name="T0" fmla="*/ 53 w 53"/>
                  <a:gd name="T1" fmla="*/ 71 h 142"/>
                  <a:gd name="T2" fmla="*/ 53 w 53"/>
                  <a:gd name="T3" fmla="*/ 71 h 142"/>
                  <a:gd name="T4" fmla="*/ 53 w 53"/>
                  <a:gd name="T5" fmla="*/ 58 h 142"/>
                  <a:gd name="T6" fmla="*/ 49 w 53"/>
                  <a:gd name="T7" fmla="*/ 45 h 142"/>
                  <a:gd name="T8" fmla="*/ 44 w 53"/>
                  <a:gd name="T9" fmla="*/ 33 h 142"/>
                  <a:gd name="T10" fmla="*/ 37 w 53"/>
                  <a:gd name="T11" fmla="*/ 23 h 142"/>
                  <a:gd name="T12" fmla="*/ 29 w 53"/>
                  <a:gd name="T13" fmla="*/ 14 h 142"/>
                  <a:gd name="T14" fmla="*/ 20 w 53"/>
                  <a:gd name="T15" fmla="*/ 7 h 142"/>
                  <a:gd name="T16" fmla="*/ 10 w 53"/>
                  <a:gd name="T17" fmla="*/ 2 h 142"/>
                  <a:gd name="T18" fmla="*/ 0 w 53"/>
                  <a:gd name="T19" fmla="*/ 0 h 142"/>
                  <a:gd name="T20" fmla="*/ 0 w 53"/>
                  <a:gd name="T21" fmla="*/ 0 h 142"/>
                  <a:gd name="T22" fmla="*/ 8 w 53"/>
                  <a:gd name="T23" fmla="*/ 6 h 142"/>
                  <a:gd name="T24" fmla="*/ 13 w 53"/>
                  <a:gd name="T25" fmla="*/ 15 h 142"/>
                  <a:gd name="T26" fmla="*/ 18 w 53"/>
                  <a:gd name="T27" fmla="*/ 23 h 142"/>
                  <a:gd name="T28" fmla="*/ 22 w 53"/>
                  <a:gd name="T29" fmla="*/ 32 h 142"/>
                  <a:gd name="T30" fmla="*/ 26 w 53"/>
                  <a:gd name="T31" fmla="*/ 41 h 142"/>
                  <a:gd name="T32" fmla="*/ 28 w 53"/>
                  <a:gd name="T33" fmla="*/ 51 h 142"/>
                  <a:gd name="T34" fmla="*/ 29 w 53"/>
                  <a:gd name="T35" fmla="*/ 60 h 142"/>
                  <a:gd name="T36" fmla="*/ 29 w 53"/>
                  <a:gd name="T37" fmla="*/ 71 h 142"/>
                  <a:gd name="T38" fmla="*/ 29 w 53"/>
                  <a:gd name="T39" fmla="*/ 81 h 142"/>
                  <a:gd name="T40" fmla="*/ 28 w 53"/>
                  <a:gd name="T41" fmla="*/ 90 h 142"/>
                  <a:gd name="T42" fmla="*/ 26 w 53"/>
                  <a:gd name="T43" fmla="*/ 100 h 142"/>
                  <a:gd name="T44" fmla="*/ 23 w 53"/>
                  <a:gd name="T45" fmla="*/ 109 h 142"/>
                  <a:gd name="T46" fmla="*/ 18 w 53"/>
                  <a:gd name="T47" fmla="*/ 118 h 142"/>
                  <a:gd name="T48" fmla="*/ 14 w 53"/>
                  <a:gd name="T49" fmla="*/ 126 h 142"/>
                  <a:gd name="T50" fmla="*/ 8 w 53"/>
                  <a:gd name="T51" fmla="*/ 134 h 142"/>
                  <a:gd name="T52" fmla="*/ 1 w 53"/>
                  <a:gd name="T53" fmla="*/ 142 h 142"/>
                  <a:gd name="T54" fmla="*/ 1 w 53"/>
                  <a:gd name="T55" fmla="*/ 142 h 142"/>
                  <a:gd name="T56" fmla="*/ 10 w 53"/>
                  <a:gd name="T57" fmla="*/ 139 h 142"/>
                  <a:gd name="T58" fmla="*/ 20 w 53"/>
                  <a:gd name="T59" fmla="*/ 134 h 142"/>
                  <a:gd name="T60" fmla="*/ 29 w 53"/>
                  <a:gd name="T61" fmla="*/ 126 h 142"/>
                  <a:gd name="T62" fmla="*/ 37 w 53"/>
                  <a:gd name="T63" fmla="*/ 117 h 142"/>
                  <a:gd name="T64" fmla="*/ 44 w 53"/>
                  <a:gd name="T65" fmla="*/ 108 h 142"/>
                  <a:gd name="T66" fmla="*/ 49 w 53"/>
                  <a:gd name="T67" fmla="*/ 96 h 142"/>
                  <a:gd name="T68" fmla="*/ 53 w 53"/>
                  <a:gd name="T69" fmla="*/ 84 h 142"/>
                  <a:gd name="T70" fmla="*/ 53 w 53"/>
                  <a:gd name="T71"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 h="142">
                    <a:moveTo>
                      <a:pt x="53" y="71"/>
                    </a:moveTo>
                    <a:lnTo>
                      <a:pt x="53" y="71"/>
                    </a:lnTo>
                    <a:lnTo>
                      <a:pt x="53" y="58"/>
                    </a:lnTo>
                    <a:lnTo>
                      <a:pt x="49" y="45"/>
                    </a:lnTo>
                    <a:lnTo>
                      <a:pt x="44" y="33"/>
                    </a:lnTo>
                    <a:lnTo>
                      <a:pt x="37" y="23"/>
                    </a:lnTo>
                    <a:lnTo>
                      <a:pt x="29" y="14"/>
                    </a:lnTo>
                    <a:lnTo>
                      <a:pt x="20" y="7"/>
                    </a:lnTo>
                    <a:lnTo>
                      <a:pt x="10" y="2"/>
                    </a:lnTo>
                    <a:lnTo>
                      <a:pt x="0" y="0"/>
                    </a:lnTo>
                    <a:lnTo>
                      <a:pt x="0" y="0"/>
                    </a:lnTo>
                    <a:lnTo>
                      <a:pt x="8" y="6"/>
                    </a:lnTo>
                    <a:lnTo>
                      <a:pt x="13" y="15"/>
                    </a:lnTo>
                    <a:lnTo>
                      <a:pt x="18" y="23"/>
                    </a:lnTo>
                    <a:lnTo>
                      <a:pt x="22" y="32"/>
                    </a:lnTo>
                    <a:lnTo>
                      <a:pt x="26" y="41"/>
                    </a:lnTo>
                    <a:lnTo>
                      <a:pt x="28" y="51"/>
                    </a:lnTo>
                    <a:lnTo>
                      <a:pt x="29" y="60"/>
                    </a:lnTo>
                    <a:lnTo>
                      <a:pt x="29" y="71"/>
                    </a:lnTo>
                    <a:lnTo>
                      <a:pt x="29" y="81"/>
                    </a:lnTo>
                    <a:lnTo>
                      <a:pt x="28" y="90"/>
                    </a:lnTo>
                    <a:lnTo>
                      <a:pt x="26" y="100"/>
                    </a:lnTo>
                    <a:lnTo>
                      <a:pt x="23" y="109"/>
                    </a:lnTo>
                    <a:lnTo>
                      <a:pt x="18" y="118"/>
                    </a:lnTo>
                    <a:lnTo>
                      <a:pt x="14" y="126"/>
                    </a:lnTo>
                    <a:lnTo>
                      <a:pt x="8" y="134"/>
                    </a:lnTo>
                    <a:lnTo>
                      <a:pt x="1" y="142"/>
                    </a:lnTo>
                    <a:lnTo>
                      <a:pt x="1" y="142"/>
                    </a:lnTo>
                    <a:lnTo>
                      <a:pt x="10" y="139"/>
                    </a:lnTo>
                    <a:lnTo>
                      <a:pt x="20" y="134"/>
                    </a:lnTo>
                    <a:lnTo>
                      <a:pt x="29" y="126"/>
                    </a:lnTo>
                    <a:lnTo>
                      <a:pt x="37" y="117"/>
                    </a:lnTo>
                    <a:lnTo>
                      <a:pt x="44" y="108"/>
                    </a:lnTo>
                    <a:lnTo>
                      <a:pt x="49" y="96"/>
                    </a:lnTo>
                    <a:lnTo>
                      <a:pt x="53" y="84"/>
                    </a:lnTo>
                    <a:lnTo>
                      <a:pt x="53" y="71"/>
                    </a:ln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199" b="0" i="0" u="none" strike="noStrike" kern="1200" cap="none" spc="0" normalizeH="0" baseline="0" noProof="0">
                  <a:ln>
                    <a:noFill/>
                  </a:ln>
                  <a:solidFill>
                    <a:srgbClr val="000000"/>
                  </a:solidFill>
                  <a:effectLst/>
                  <a:uLnTx/>
                  <a:uFillTx/>
                  <a:latin typeface="Segoe UI"/>
                  <a:ea typeface="+mn-ea"/>
                  <a:cs typeface="+mn-cs"/>
                </a:endParaRPr>
              </a:p>
            </p:txBody>
          </p:sp>
          <p:sp>
            <p:nvSpPr>
              <p:cNvPr id="463" name="Freeform 77"/>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199" b="0" i="0" u="none" strike="noStrike" kern="1200" cap="none" spc="0" normalizeH="0" baseline="0" noProof="0">
                  <a:ln>
                    <a:noFill/>
                  </a:ln>
                  <a:solidFill>
                    <a:srgbClr val="000000"/>
                  </a:solidFill>
                  <a:effectLst/>
                  <a:uLnTx/>
                  <a:uFillTx/>
                  <a:latin typeface="Segoe UI"/>
                  <a:ea typeface="+mn-ea"/>
                  <a:cs typeface="+mn-cs"/>
                </a:endParaRPr>
              </a:p>
            </p:txBody>
          </p:sp>
          <p:sp>
            <p:nvSpPr>
              <p:cNvPr id="464" name="Freeform 78"/>
              <p:cNvSpPr>
                <a:spLocks/>
              </p:cNvSpPr>
              <p:nvPr/>
            </p:nvSpPr>
            <p:spPr bwMode="auto">
              <a:xfrm>
                <a:off x="2705147" y="3170337"/>
                <a:ext cx="30364" cy="91091"/>
              </a:xfrm>
              <a:custGeom>
                <a:avLst/>
                <a:gdLst>
                  <a:gd name="T0" fmla="*/ 1 w 81"/>
                  <a:gd name="T1" fmla="*/ 245 h 245"/>
                  <a:gd name="T2" fmla="*/ 1 w 81"/>
                  <a:gd name="T3" fmla="*/ 245 h 245"/>
                  <a:gd name="T4" fmla="*/ 16 w 81"/>
                  <a:gd name="T5" fmla="*/ 238 h 245"/>
                  <a:gd name="T6" fmla="*/ 31 w 81"/>
                  <a:gd name="T7" fmla="*/ 227 h 245"/>
                  <a:gd name="T8" fmla="*/ 43 w 81"/>
                  <a:gd name="T9" fmla="*/ 216 h 245"/>
                  <a:gd name="T10" fmla="*/ 56 w 81"/>
                  <a:gd name="T11" fmla="*/ 200 h 245"/>
                  <a:gd name="T12" fmla="*/ 67 w 81"/>
                  <a:gd name="T13" fmla="*/ 183 h 245"/>
                  <a:gd name="T14" fmla="*/ 71 w 81"/>
                  <a:gd name="T15" fmla="*/ 174 h 245"/>
                  <a:gd name="T16" fmla="*/ 74 w 81"/>
                  <a:gd name="T17" fmla="*/ 164 h 245"/>
                  <a:gd name="T18" fmla="*/ 77 w 81"/>
                  <a:gd name="T19" fmla="*/ 155 h 245"/>
                  <a:gd name="T20" fmla="*/ 80 w 81"/>
                  <a:gd name="T21" fmla="*/ 145 h 245"/>
                  <a:gd name="T22" fmla="*/ 81 w 81"/>
                  <a:gd name="T23" fmla="*/ 133 h 245"/>
                  <a:gd name="T24" fmla="*/ 81 w 81"/>
                  <a:gd name="T25" fmla="*/ 123 h 245"/>
                  <a:gd name="T26" fmla="*/ 81 w 81"/>
                  <a:gd name="T27" fmla="*/ 123 h 245"/>
                  <a:gd name="T28" fmla="*/ 81 w 81"/>
                  <a:gd name="T29" fmla="*/ 111 h 245"/>
                  <a:gd name="T30" fmla="*/ 80 w 81"/>
                  <a:gd name="T31" fmla="*/ 101 h 245"/>
                  <a:gd name="T32" fmla="*/ 77 w 81"/>
                  <a:gd name="T33" fmla="*/ 89 h 245"/>
                  <a:gd name="T34" fmla="*/ 74 w 81"/>
                  <a:gd name="T35" fmla="*/ 80 h 245"/>
                  <a:gd name="T36" fmla="*/ 71 w 81"/>
                  <a:gd name="T37" fmla="*/ 70 h 245"/>
                  <a:gd name="T38" fmla="*/ 67 w 81"/>
                  <a:gd name="T39" fmla="*/ 61 h 245"/>
                  <a:gd name="T40" fmla="*/ 56 w 81"/>
                  <a:gd name="T41" fmla="*/ 44 h 245"/>
                  <a:gd name="T42" fmla="*/ 43 w 81"/>
                  <a:gd name="T43" fmla="*/ 30 h 245"/>
                  <a:gd name="T44" fmla="*/ 29 w 81"/>
                  <a:gd name="T45" fmla="*/ 17 h 245"/>
                  <a:gd name="T46" fmla="*/ 15 w 81"/>
                  <a:gd name="T47" fmla="*/ 6 h 245"/>
                  <a:gd name="T48" fmla="*/ 0 w 81"/>
                  <a:gd name="T49" fmla="*/ 0 h 245"/>
                  <a:gd name="T50" fmla="*/ 0 w 81"/>
                  <a:gd name="T51" fmla="*/ 0 h 245"/>
                  <a:gd name="T52" fmla="*/ 11 w 81"/>
                  <a:gd name="T53" fmla="*/ 13 h 245"/>
                  <a:gd name="T54" fmla="*/ 23 w 81"/>
                  <a:gd name="T55" fmla="*/ 26 h 245"/>
                  <a:gd name="T56" fmla="*/ 32 w 81"/>
                  <a:gd name="T57" fmla="*/ 41 h 245"/>
                  <a:gd name="T58" fmla="*/ 40 w 81"/>
                  <a:gd name="T59" fmla="*/ 56 h 245"/>
                  <a:gd name="T60" fmla="*/ 46 w 81"/>
                  <a:gd name="T61" fmla="*/ 72 h 245"/>
                  <a:gd name="T62" fmla="*/ 50 w 81"/>
                  <a:gd name="T63" fmla="*/ 88 h 245"/>
                  <a:gd name="T64" fmla="*/ 54 w 81"/>
                  <a:gd name="T65" fmla="*/ 105 h 245"/>
                  <a:gd name="T66" fmla="*/ 54 w 81"/>
                  <a:gd name="T67" fmla="*/ 123 h 245"/>
                  <a:gd name="T68" fmla="*/ 54 w 81"/>
                  <a:gd name="T69" fmla="*/ 123 h 245"/>
                  <a:gd name="T70" fmla="*/ 54 w 81"/>
                  <a:gd name="T71" fmla="*/ 139 h 245"/>
                  <a:gd name="T72" fmla="*/ 51 w 81"/>
                  <a:gd name="T73" fmla="*/ 156 h 245"/>
                  <a:gd name="T74" fmla="*/ 46 w 81"/>
                  <a:gd name="T75" fmla="*/ 172 h 245"/>
                  <a:gd name="T76" fmla="*/ 40 w 81"/>
                  <a:gd name="T77" fmla="*/ 189 h 245"/>
                  <a:gd name="T78" fmla="*/ 32 w 81"/>
                  <a:gd name="T79" fmla="*/ 204 h 245"/>
                  <a:gd name="T80" fmla="*/ 23 w 81"/>
                  <a:gd name="T81" fmla="*/ 218 h 245"/>
                  <a:gd name="T82" fmla="*/ 12 w 81"/>
                  <a:gd name="T83" fmla="*/ 232 h 245"/>
                  <a:gd name="T84" fmla="*/ 1 w 81"/>
                  <a:gd name="T85"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245">
                    <a:moveTo>
                      <a:pt x="1" y="245"/>
                    </a:moveTo>
                    <a:lnTo>
                      <a:pt x="1" y="245"/>
                    </a:lnTo>
                    <a:lnTo>
                      <a:pt x="16" y="238"/>
                    </a:lnTo>
                    <a:lnTo>
                      <a:pt x="31" y="227"/>
                    </a:lnTo>
                    <a:lnTo>
                      <a:pt x="43" y="216"/>
                    </a:lnTo>
                    <a:lnTo>
                      <a:pt x="56" y="200"/>
                    </a:lnTo>
                    <a:lnTo>
                      <a:pt x="67" y="183"/>
                    </a:lnTo>
                    <a:lnTo>
                      <a:pt x="71" y="174"/>
                    </a:lnTo>
                    <a:lnTo>
                      <a:pt x="74" y="164"/>
                    </a:lnTo>
                    <a:lnTo>
                      <a:pt x="77" y="155"/>
                    </a:lnTo>
                    <a:lnTo>
                      <a:pt x="80" y="145"/>
                    </a:lnTo>
                    <a:lnTo>
                      <a:pt x="81" y="133"/>
                    </a:lnTo>
                    <a:lnTo>
                      <a:pt x="81" y="123"/>
                    </a:lnTo>
                    <a:lnTo>
                      <a:pt x="81" y="123"/>
                    </a:lnTo>
                    <a:lnTo>
                      <a:pt x="81" y="111"/>
                    </a:lnTo>
                    <a:lnTo>
                      <a:pt x="80" y="101"/>
                    </a:lnTo>
                    <a:lnTo>
                      <a:pt x="77" y="89"/>
                    </a:lnTo>
                    <a:lnTo>
                      <a:pt x="74" y="80"/>
                    </a:lnTo>
                    <a:lnTo>
                      <a:pt x="71" y="70"/>
                    </a:lnTo>
                    <a:lnTo>
                      <a:pt x="67" y="61"/>
                    </a:lnTo>
                    <a:lnTo>
                      <a:pt x="56" y="44"/>
                    </a:lnTo>
                    <a:lnTo>
                      <a:pt x="43" y="30"/>
                    </a:lnTo>
                    <a:lnTo>
                      <a:pt x="29" y="17"/>
                    </a:lnTo>
                    <a:lnTo>
                      <a:pt x="15" y="6"/>
                    </a:lnTo>
                    <a:lnTo>
                      <a:pt x="0" y="0"/>
                    </a:lnTo>
                    <a:lnTo>
                      <a:pt x="0" y="0"/>
                    </a:lnTo>
                    <a:lnTo>
                      <a:pt x="11" y="13"/>
                    </a:lnTo>
                    <a:lnTo>
                      <a:pt x="23" y="26"/>
                    </a:lnTo>
                    <a:lnTo>
                      <a:pt x="32" y="41"/>
                    </a:lnTo>
                    <a:lnTo>
                      <a:pt x="40" y="56"/>
                    </a:lnTo>
                    <a:lnTo>
                      <a:pt x="46" y="72"/>
                    </a:lnTo>
                    <a:lnTo>
                      <a:pt x="50" y="88"/>
                    </a:lnTo>
                    <a:lnTo>
                      <a:pt x="54" y="105"/>
                    </a:lnTo>
                    <a:lnTo>
                      <a:pt x="54" y="123"/>
                    </a:lnTo>
                    <a:lnTo>
                      <a:pt x="54" y="123"/>
                    </a:lnTo>
                    <a:lnTo>
                      <a:pt x="54" y="139"/>
                    </a:lnTo>
                    <a:lnTo>
                      <a:pt x="51" y="156"/>
                    </a:lnTo>
                    <a:lnTo>
                      <a:pt x="46" y="172"/>
                    </a:lnTo>
                    <a:lnTo>
                      <a:pt x="40" y="189"/>
                    </a:lnTo>
                    <a:lnTo>
                      <a:pt x="32" y="204"/>
                    </a:lnTo>
                    <a:lnTo>
                      <a:pt x="23" y="218"/>
                    </a:lnTo>
                    <a:lnTo>
                      <a:pt x="12" y="232"/>
                    </a:lnTo>
                    <a:lnTo>
                      <a:pt x="1" y="245"/>
                    </a:ln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199" b="0" i="0" u="none" strike="noStrike" kern="1200" cap="none" spc="0" normalizeH="0" baseline="0" noProof="0">
                  <a:ln>
                    <a:noFill/>
                  </a:ln>
                  <a:solidFill>
                    <a:srgbClr val="000000"/>
                  </a:solidFill>
                  <a:effectLst/>
                  <a:uLnTx/>
                  <a:uFillTx/>
                  <a:latin typeface="Segoe UI"/>
                  <a:ea typeface="+mn-ea"/>
                  <a:cs typeface="+mn-cs"/>
                </a:endParaRPr>
              </a:p>
            </p:txBody>
          </p:sp>
          <p:sp>
            <p:nvSpPr>
              <p:cNvPr id="465" name="Freeform 79"/>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199" b="0" i="0" u="none" strike="noStrike" kern="1200" cap="none" spc="0" normalizeH="0" baseline="0" noProof="0">
                  <a:ln>
                    <a:noFill/>
                  </a:ln>
                  <a:solidFill>
                    <a:srgbClr val="000000"/>
                  </a:solidFill>
                  <a:effectLst/>
                  <a:uLnTx/>
                  <a:uFillTx/>
                  <a:latin typeface="Segoe UI"/>
                  <a:ea typeface="+mn-ea"/>
                  <a:cs typeface="+mn-cs"/>
                </a:endParaRPr>
              </a:p>
            </p:txBody>
          </p:sp>
          <p:sp>
            <p:nvSpPr>
              <p:cNvPr id="466" name="Freeform 80"/>
              <p:cNvSpPr>
                <a:spLocks/>
              </p:cNvSpPr>
              <p:nvPr/>
            </p:nvSpPr>
            <p:spPr bwMode="auto">
              <a:xfrm>
                <a:off x="2729586" y="3149601"/>
                <a:ext cx="39251" cy="132564"/>
              </a:xfrm>
              <a:custGeom>
                <a:avLst/>
                <a:gdLst>
                  <a:gd name="T0" fmla="*/ 0 w 106"/>
                  <a:gd name="T1" fmla="*/ 0 h 358"/>
                  <a:gd name="T2" fmla="*/ 0 w 106"/>
                  <a:gd name="T3" fmla="*/ 0 h 358"/>
                  <a:gd name="T4" fmla="*/ 17 w 106"/>
                  <a:gd name="T5" fmla="*/ 18 h 358"/>
                  <a:gd name="T6" fmla="*/ 31 w 106"/>
                  <a:gd name="T7" fmla="*/ 38 h 358"/>
                  <a:gd name="T8" fmla="*/ 44 w 106"/>
                  <a:gd name="T9" fmla="*/ 60 h 358"/>
                  <a:gd name="T10" fmla="*/ 55 w 106"/>
                  <a:gd name="T11" fmla="*/ 82 h 358"/>
                  <a:gd name="T12" fmla="*/ 64 w 106"/>
                  <a:gd name="T13" fmla="*/ 106 h 358"/>
                  <a:gd name="T14" fmla="*/ 70 w 106"/>
                  <a:gd name="T15" fmla="*/ 129 h 358"/>
                  <a:gd name="T16" fmla="*/ 74 w 106"/>
                  <a:gd name="T17" fmla="*/ 154 h 358"/>
                  <a:gd name="T18" fmla="*/ 75 w 106"/>
                  <a:gd name="T19" fmla="*/ 180 h 358"/>
                  <a:gd name="T20" fmla="*/ 75 w 106"/>
                  <a:gd name="T21" fmla="*/ 180 h 358"/>
                  <a:gd name="T22" fmla="*/ 74 w 106"/>
                  <a:gd name="T23" fmla="*/ 204 h 358"/>
                  <a:gd name="T24" fmla="*/ 70 w 106"/>
                  <a:gd name="T25" fmla="*/ 229 h 358"/>
                  <a:gd name="T26" fmla="*/ 64 w 106"/>
                  <a:gd name="T27" fmla="*/ 252 h 358"/>
                  <a:gd name="T28" fmla="*/ 56 w 106"/>
                  <a:gd name="T29" fmla="*/ 277 h 358"/>
                  <a:gd name="T30" fmla="*/ 46 w 106"/>
                  <a:gd name="T31" fmla="*/ 298 h 358"/>
                  <a:gd name="T32" fmla="*/ 33 w 106"/>
                  <a:gd name="T33" fmla="*/ 319 h 358"/>
                  <a:gd name="T34" fmla="*/ 19 w 106"/>
                  <a:gd name="T35" fmla="*/ 340 h 358"/>
                  <a:gd name="T36" fmla="*/ 2 w 106"/>
                  <a:gd name="T37" fmla="*/ 358 h 358"/>
                  <a:gd name="T38" fmla="*/ 2 w 106"/>
                  <a:gd name="T39" fmla="*/ 358 h 358"/>
                  <a:gd name="T40" fmla="*/ 12 w 106"/>
                  <a:gd name="T41" fmla="*/ 353 h 358"/>
                  <a:gd name="T42" fmla="*/ 21 w 106"/>
                  <a:gd name="T43" fmla="*/ 346 h 358"/>
                  <a:gd name="T44" fmla="*/ 31 w 106"/>
                  <a:gd name="T45" fmla="*/ 340 h 358"/>
                  <a:gd name="T46" fmla="*/ 40 w 106"/>
                  <a:gd name="T47" fmla="*/ 331 h 358"/>
                  <a:gd name="T48" fmla="*/ 50 w 106"/>
                  <a:gd name="T49" fmla="*/ 322 h 358"/>
                  <a:gd name="T50" fmla="*/ 59 w 106"/>
                  <a:gd name="T51" fmla="*/ 313 h 358"/>
                  <a:gd name="T52" fmla="*/ 66 w 106"/>
                  <a:gd name="T53" fmla="*/ 301 h 358"/>
                  <a:gd name="T54" fmla="*/ 74 w 106"/>
                  <a:gd name="T55" fmla="*/ 291 h 358"/>
                  <a:gd name="T56" fmla="*/ 82 w 106"/>
                  <a:gd name="T57" fmla="*/ 278 h 358"/>
                  <a:gd name="T58" fmla="*/ 87 w 106"/>
                  <a:gd name="T59" fmla="*/ 265 h 358"/>
                  <a:gd name="T60" fmla="*/ 93 w 106"/>
                  <a:gd name="T61" fmla="*/ 252 h 358"/>
                  <a:gd name="T62" fmla="*/ 97 w 106"/>
                  <a:gd name="T63" fmla="*/ 239 h 358"/>
                  <a:gd name="T64" fmla="*/ 101 w 106"/>
                  <a:gd name="T65" fmla="*/ 224 h 358"/>
                  <a:gd name="T66" fmla="*/ 104 w 106"/>
                  <a:gd name="T67" fmla="*/ 209 h 358"/>
                  <a:gd name="T68" fmla="*/ 105 w 106"/>
                  <a:gd name="T69" fmla="*/ 194 h 358"/>
                  <a:gd name="T70" fmla="*/ 106 w 106"/>
                  <a:gd name="T71" fmla="*/ 178 h 358"/>
                  <a:gd name="T72" fmla="*/ 106 w 106"/>
                  <a:gd name="T73" fmla="*/ 178 h 358"/>
                  <a:gd name="T74" fmla="*/ 105 w 106"/>
                  <a:gd name="T75" fmla="*/ 163 h 358"/>
                  <a:gd name="T76" fmla="*/ 104 w 106"/>
                  <a:gd name="T77" fmla="*/ 149 h 358"/>
                  <a:gd name="T78" fmla="*/ 101 w 106"/>
                  <a:gd name="T79" fmla="*/ 133 h 358"/>
                  <a:gd name="T80" fmla="*/ 97 w 106"/>
                  <a:gd name="T81" fmla="*/ 119 h 358"/>
                  <a:gd name="T82" fmla="*/ 92 w 106"/>
                  <a:gd name="T83" fmla="*/ 106 h 358"/>
                  <a:gd name="T84" fmla="*/ 87 w 106"/>
                  <a:gd name="T85" fmla="*/ 92 h 358"/>
                  <a:gd name="T86" fmla="*/ 81 w 106"/>
                  <a:gd name="T87" fmla="*/ 80 h 358"/>
                  <a:gd name="T88" fmla="*/ 74 w 106"/>
                  <a:gd name="T89" fmla="*/ 67 h 358"/>
                  <a:gd name="T90" fmla="*/ 66 w 106"/>
                  <a:gd name="T91" fmla="*/ 56 h 358"/>
                  <a:gd name="T92" fmla="*/ 57 w 106"/>
                  <a:gd name="T93" fmla="*/ 45 h 358"/>
                  <a:gd name="T94" fmla="*/ 50 w 106"/>
                  <a:gd name="T95" fmla="*/ 36 h 358"/>
                  <a:gd name="T96" fmla="*/ 40 w 106"/>
                  <a:gd name="T97" fmla="*/ 27 h 358"/>
                  <a:gd name="T98" fmla="*/ 30 w 106"/>
                  <a:gd name="T99" fmla="*/ 18 h 358"/>
                  <a:gd name="T100" fmla="*/ 20 w 106"/>
                  <a:gd name="T101" fmla="*/ 12 h 358"/>
                  <a:gd name="T102" fmla="*/ 11 w 106"/>
                  <a:gd name="T103" fmla="*/ 5 h 358"/>
                  <a:gd name="T104" fmla="*/ 0 w 106"/>
                  <a:gd name="T105" fmla="*/ 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358">
                    <a:moveTo>
                      <a:pt x="0" y="0"/>
                    </a:moveTo>
                    <a:lnTo>
                      <a:pt x="0" y="0"/>
                    </a:lnTo>
                    <a:lnTo>
                      <a:pt x="17" y="18"/>
                    </a:lnTo>
                    <a:lnTo>
                      <a:pt x="31" y="38"/>
                    </a:lnTo>
                    <a:lnTo>
                      <a:pt x="44" y="60"/>
                    </a:lnTo>
                    <a:lnTo>
                      <a:pt x="55" y="82"/>
                    </a:lnTo>
                    <a:lnTo>
                      <a:pt x="64" y="106"/>
                    </a:lnTo>
                    <a:lnTo>
                      <a:pt x="70" y="129"/>
                    </a:lnTo>
                    <a:lnTo>
                      <a:pt x="74" y="154"/>
                    </a:lnTo>
                    <a:lnTo>
                      <a:pt x="75" y="180"/>
                    </a:lnTo>
                    <a:lnTo>
                      <a:pt x="75" y="180"/>
                    </a:lnTo>
                    <a:lnTo>
                      <a:pt x="74" y="204"/>
                    </a:lnTo>
                    <a:lnTo>
                      <a:pt x="70" y="229"/>
                    </a:lnTo>
                    <a:lnTo>
                      <a:pt x="64" y="252"/>
                    </a:lnTo>
                    <a:lnTo>
                      <a:pt x="56" y="277"/>
                    </a:lnTo>
                    <a:lnTo>
                      <a:pt x="46" y="298"/>
                    </a:lnTo>
                    <a:lnTo>
                      <a:pt x="33" y="319"/>
                    </a:lnTo>
                    <a:lnTo>
                      <a:pt x="19" y="340"/>
                    </a:lnTo>
                    <a:lnTo>
                      <a:pt x="2" y="358"/>
                    </a:lnTo>
                    <a:lnTo>
                      <a:pt x="2" y="358"/>
                    </a:lnTo>
                    <a:lnTo>
                      <a:pt x="12" y="353"/>
                    </a:lnTo>
                    <a:lnTo>
                      <a:pt x="21" y="346"/>
                    </a:lnTo>
                    <a:lnTo>
                      <a:pt x="31" y="340"/>
                    </a:lnTo>
                    <a:lnTo>
                      <a:pt x="40" y="331"/>
                    </a:lnTo>
                    <a:lnTo>
                      <a:pt x="50" y="322"/>
                    </a:lnTo>
                    <a:lnTo>
                      <a:pt x="59" y="313"/>
                    </a:lnTo>
                    <a:lnTo>
                      <a:pt x="66" y="301"/>
                    </a:lnTo>
                    <a:lnTo>
                      <a:pt x="74" y="291"/>
                    </a:lnTo>
                    <a:lnTo>
                      <a:pt x="82" y="278"/>
                    </a:lnTo>
                    <a:lnTo>
                      <a:pt x="87" y="265"/>
                    </a:lnTo>
                    <a:lnTo>
                      <a:pt x="93" y="252"/>
                    </a:lnTo>
                    <a:lnTo>
                      <a:pt x="97" y="239"/>
                    </a:lnTo>
                    <a:lnTo>
                      <a:pt x="101" y="224"/>
                    </a:lnTo>
                    <a:lnTo>
                      <a:pt x="104" y="209"/>
                    </a:lnTo>
                    <a:lnTo>
                      <a:pt x="105" y="194"/>
                    </a:lnTo>
                    <a:lnTo>
                      <a:pt x="106" y="178"/>
                    </a:lnTo>
                    <a:lnTo>
                      <a:pt x="106" y="178"/>
                    </a:lnTo>
                    <a:lnTo>
                      <a:pt x="105" y="163"/>
                    </a:lnTo>
                    <a:lnTo>
                      <a:pt x="104" y="149"/>
                    </a:lnTo>
                    <a:lnTo>
                      <a:pt x="101" y="133"/>
                    </a:lnTo>
                    <a:lnTo>
                      <a:pt x="97" y="119"/>
                    </a:lnTo>
                    <a:lnTo>
                      <a:pt x="92" y="106"/>
                    </a:lnTo>
                    <a:lnTo>
                      <a:pt x="87" y="92"/>
                    </a:lnTo>
                    <a:lnTo>
                      <a:pt x="81" y="80"/>
                    </a:lnTo>
                    <a:lnTo>
                      <a:pt x="74" y="67"/>
                    </a:lnTo>
                    <a:lnTo>
                      <a:pt x="66" y="56"/>
                    </a:lnTo>
                    <a:lnTo>
                      <a:pt x="57" y="45"/>
                    </a:lnTo>
                    <a:lnTo>
                      <a:pt x="50" y="36"/>
                    </a:lnTo>
                    <a:lnTo>
                      <a:pt x="40" y="27"/>
                    </a:lnTo>
                    <a:lnTo>
                      <a:pt x="30" y="18"/>
                    </a:lnTo>
                    <a:lnTo>
                      <a:pt x="20" y="12"/>
                    </a:lnTo>
                    <a:lnTo>
                      <a:pt x="11" y="5"/>
                    </a:lnTo>
                    <a:lnTo>
                      <a:pt x="0" y="0"/>
                    </a:ln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199" b="0" i="0" u="none" strike="noStrike" kern="1200" cap="none" spc="0" normalizeH="0" baseline="0" noProof="0">
                  <a:ln>
                    <a:noFill/>
                  </a:ln>
                  <a:solidFill>
                    <a:srgbClr val="000000"/>
                  </a:solidFill>
                  <a:effectLst/>
                  <a:uLnTx/>
                  <a:uFillTx/>
                  <a:latin typeface="Segoe UI"/>
                  <a:ea typeface="+mn-ea"/>
                  <a:cs typeface="+mn-cs"/>
                </a:endParaRPr>
              </a:p>
            </p:txBody>
          </p:sp>
        </p:grpSp>
      </p:grpSp>
      <p:pic>
        <p:nvPicPr>
          <p:cNvPr id="504" name="Picture 503"/>
          <p:cNvPicPr>
            <a:picLocks noChangeAspect="1"/>
          </p:cNvPicPr>
          <p:nvPr/>
        </p:nvPicPr>
        <p:blipFill>
          <a:blip r:embed="rId4">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20000"/>
                    </a14:imgEffect>
                  </a14:imgLayer>
                </a14:imgProps>
              </a:ext>
            </a:extLst>
          </a:blip>
          <a:stretch>
            <a:fillRect/>
          </a:stretch>
        </p:blipFill>
        <p:spPr>
          <a:xfrm>
            <a:off x="4933330" y="2188223"/>
            <a:ext cx="236748" cy="403862"/>
          </a:xfrm>
          <a:prstGeom prst="rect">
            <a:avLst/>
          </a:prstGeom>
        </p:spPr>
      </p:pic>
      <p:sp>
        <p:nvSpPr>
          <p:cNvPr id="505" name="Freeform 6"/>
          <p:cNvSpPr>
            <a:spLocks noChangeAspect="1"/>
          </p:cNvSpPr>
          <p:nvPr/>
        </p:nvSpPr>
        <p:spPr bwMode="auto">
          <a:xfrm>
            <a:off x="5167488" y="2010831"/>
            <a:ext cx="262466" cy="155043"/>
          </a:xfrm>
          <a:custGeom>
            <a:avLst/>
            <a:gdLst/>
            <a:ahLst/>
            <a:cxnLst/>
            <a:rect l="l" t="t" r="r" b="b"/>
            <a:pathLst>
              <a:path w="4248892" h="2509890">
                <a:moveTo>
                  <a:pt x="2664273" y="1991976"/>
                </a:moveTo>
                <a:lnTo>
                  <a:pt x="2569654" y="2016876"/>
                </a:lnTo>
                <a:lnTo>
                  <a:pt x="2473043" y="2035799"/>
                </a:lnTo>
                <a:lnTo>
                  <a:pt x="2381412" y="2045759"/>
                </a:lnTo>
                <a:lnTo>
                  <a:pt x="2293765" y="2051735"/>
                </a:lnTo>
                <a:lnTo>
                  <a:pt x="2293765" y="2130418"/>
                </a:lnTo>
                <a:lnTo>
                  <a:pt x="2328625" y="2127431"/>
                </a:lnTo>
                <a:lnTo>
                  <a:pt x="2366472" y="2124442"/>
                </a:lnTo>
                <a:lnTo>
                  <a:pt x="2425235" y="2114482"/>
                </a:lnTo>
                <a:lnTo>
                  <a:pt x="2484995" y="2102531"/>
                </a:lnTo>
                <a:lnTo>
                  <a:pt x="2522842" y="2089582"/>
                </a:lnTo>
                <a:lnTo>
                  <a:pt x="2563678" y="2076635"/>
                </a:lnTo>
                <a:lnTo>
                  <a:pt x="2623437" y="2054723"/>
                </a:lnTo>
                <a:lnTo>
                  <a:pt x="2642361" y="2032811"/>
                </a:lnTo>
                <a:lnTo>
                  <a:pt x="2658297" y="2004924"/>
                </a:lnTo>
                <a:close/>
                <a:moveTo>
                  <a:pt x="1851545" y="1991976"/>
                </a:moveTo>
                <a:lnTo>
                  <a:pt x="1857521" y="2004924"/>
                </a:lnTo>
                <a:lnTo>
                  <a:pt x="1873457" y="2032811"/>
                </a:lnTo>
                <a:lnTo>
                  <a:pt x="1892381" y="2054723"/>
                </a:lnTo>
                <a:lnTo>
                  <a:pt x="1955128" y="2076635"/>
                </a:lnTo>
                <a:lnTo>
                  <a:pt x="1992976" y="2089582"/>
                </a:lnTo>
                <a:lnTo>
                  <a:pt x="2033812" y="2102531"/>
                </a:lnTo>
                <a:lnTo>
                  <a:pt x="2092575" y="2114482"/>
                </a:lnTo>
                <a:lnTo>
                  <a:pt x="2152335" y="2124442"/>
                </a:lnTo>
                <a:lnTo>
                  <a:pt x="2187194" y="2127431"/>
                </a:lnTo>
                <a:lnTo>
                  <a:pt x="2225042" y="2130418"/>
                </a:lnTo>
                <a:lnTo>
                  <a:pt x="2225042" y="2051735"/>
                </a:lnTo>
                <a:lnTo>
                  <a:pt x="2137395" y="2045759"/>
                </a:lnTo>
                <a:lnTo>
                  <a:pt x="2042775" y="2035799"/>
                </a:lnTo>
                <a:lnTo>
                  <a:pt x="1949152" y="2016876"/>
                </a:lnTo>
                <a:close/>
                <a:moveTo>
                  <a:pt x="3078604" y="1772858"/>
                </a:moveTo>
                <a:lnTo>
                  <a:pt x="3049721" y="1810706"/>
                </a:lnTo>
                <a:lnTo>
                  <a:pt x="3018845" y="1844569"/>
                </a:lnTo>
                <a:lnTo>
                  <a:pt x="2986973" y="1879429"/>
                </a:lnTo>
                <a:lnTo>
                  <a:pt x="2956098" y="1914289"/>
                </a:lnTo>
                <a:lnTo>
                  <a:pt x="2918250" y="1945165"/>
                </a:lnTo>
                <a:lnTo>
                  <a:pt x="2883390" y="1973052"/>
                </a:lnTo>
                <a:lnTo>
                  <a:pt x="2846539" y="2001936"/>
                </a:lnTo>
                <a:lnTo>
                  <a:pt x="2805703" y="2029823"/>
                </a:lnTo>
                <a:lnTo>
                  <a:pt x="2735984" y="2070659"/>
                </a:lnTo>
                <a:lnTo>
                  <a:pt x="2661285" y="2105518"/>
                </a:lnTo>
                <a:lnTo>
                  <a:pt x="2620449" y="2124442"/>
                </a:lnTo>
                <a:lnTo>
                  <a:pt x="2576626" y="2139382"/>
                </a:lnTo>
                <a:lnTo>
                  <a:pt x="2532802" y="2152330"/>
                </a:lnTo>
                <a:lnTo>
                  <a:pt x="2487983" y="2165278"/>
                </a:lnTo>
                <a:lnTo>
                  <a:pt x="2432207" y="2177229"/>
                </a:lnTo>
                <a:lnTo>
                  <a:pt x="2375436" y="2187189"/>
                </a:lnTo>
                <a:lnTo>
                  <a:pt x="2315676" y="2190178"/>
                </a:lnTo>
                <a:lnTo>
                  <a:pt x="2258905" y="2193165"/>
                </a:lnTo>
                <a:lnTo>
                  <a:pt x="2200142" y="2190178"/>
                </a:lnTo>
                <a:lnTo>
                  <a:pt x="2143371" y="2187189"/>
                </a:lnTo>
                <a:lnTo>
                  <a:pt x="2086599" y="2177229"/>
                </a:lnTo>
                <a:lnTo>
                  <a:pt x="2029828" y="2165278"/>
                </a:lnTo>
                <a:lnTo>
                  <a:pt x="1986004" y="2152330"/>
                </a:lnTo>
                <a:lnTo>
                  <a:pt x="1942181" y="2139382"/>
                </a:lnTo>
                <a:lnTo>
                  <a:pt x="1898357" y="2124442"/>
                </a:lnTo>
                <a:lnTo>
                  <a:pt x="1854534" y="2105518"/>
                </a:lnTo>
                <a:lnTo>
                  <a:pt x="1782822" y="2070659"/>
                </a:lnTo>
                <a:lnTo>
                  <a:pt x="1710115" y="2029823"/>
                </a:lnTo>
                <a:lnTo>
                  <a:pt x="1672267" y="2001936"/>
                </a:lnTo>
                <a:lnTo>
                  <a:pt x="1741986" y="1964088"/>
                </a:lnTo>
                <a:lnTo>
                  <a:pt x="1804734" y="1923253"/>
                </a:lnTo>
                <a:lnTo>
                  <a:pt x="1911305" y="1945165"/>
                </a:lnTo>
                <a:lnTo>
                  <a:pt x="2023852" y="1964088"/>
                </a:lnTo>
                <a:lnTo>
                  <a:pt x="2140382" y="1973052"/>
                </a:lnTo>
                <a:lnTo>
                  <a:pt x="2255917" y="1977036"/>
                </a:lnTo>
                <a:lnTo>
                  <a:pt x="2318665" y="1977036"/>
                </a:lnTo>
                <a:lnTo>
                  <a:pt x="2381412" y="1973052"/>
                </a:lnTo>
                <a:lnTo>
                  <a:pt x="2444159" y="1967076"/>
                </a:lnTo>
                <a:lnTo>
                  <a:pt x="2506906" y="1961100"/>
                </a:lnTo>
                <a:lnTo>
                  <a:pt x="2566666" y="1951140"/>
                </a:lnTo>
                <a:lnTo>
                  <a:pt x="2629413" y="1942176"/>
                </a:lnTo>
                <a:lnTo>
                  <a:pt x="2689173" y="1926240"/>
                </a:lnTo>
                <a:lnTo>
                  <a:pt x="2748932" y="1910305"/>
                </a:lnTo>
                <a:lnTo>
                  <a:pt x="2836579" y="1882417"/>
                </a:lnTo>
                <a:lnTo>
                  <a:pt x="2921238" y="1851542"/>
                </a:lnTo>
                <a:lnTo>
                  <a:pt x="3002909" y="1813694"/>
                </a:lnTo>
                <a:close/>
                <a:moveTo>
                  <a:pt x="2011899" y="1710111"/>
                </a:moveTo>
                <a:lnTo>
                  <a:pt x="2011899" y="1713099"/>
                </a:lnTo>
                <a:lnTo>
                  <a:pt x="2007915" y="1713099"/>
                </a:lnTo>
                <a:close/>
                <a:moveTo>
                  <a:pt x="2369459" y="1549758"/>
                </a:moveTo>
                <a:lnTo>
                  <a:pt x="2381411" y="1549758"/>
                </a:lnTo>
                <a:lnTo>
                  <a:pt x="2397347" y="1552746"/>
                </a:lnTo>
                <a:lnTo>
                  <a:pt x="2410295" y="1562706"/>
                </a:lnTo>
                <a:lnTo>
                  <a:pt x="2419259" y="1577645"/>
                </a:lnTo>
                <a:lnTo>
                  <a:pt x="2425235" y="1603541"/>
                </a:lnTo>
                <a:lnTo>
                  <a:pt x="2429219" y="1618481"/>
                </a:lnTo>
                <a:lnTo>
                  <a:pt x="2429219" y="1640393"/>
                </a:lnTo>
                <a:lnTo>
                  <a:pt x="2429219" y="1659316"/>
                </a:lnTo>
                <a:lnTo>
                  <a:pt x="2425235" y="1681228"/>
                </a:lnTo>
                <a:lnTo>
                  <a:pt x="2422247" y="1697164"/>
                </a:lnTo>
                <a:lnTo>
                  <a:pt x="2413283" y="1713100"/>
                </a:lnTo>
                <a:lnTo>
                  <a:pt x="2403323" y="1726048"/>
                </a:lnTo>
                <a:lnTo>
                  <a:pt x="2388383" y="1735012"/>
                </a:lnTo>
                <a:lnTo>
                  <a:pt x="2372447" y="1738000"/>
                </a:lnTo>
                <a:lnTo>
                  <a:pt x="2362487" y="1738000"/>
                </a:lnTo>
                <a:lnTo>
                  <a:pt x="2353524" y="1735012"/>
                </a:lnTo>
                <a:lnTo>
                  <a:pt x="2337588" y="1726048"/>
                </a:lnTo>
                <a:lnTo>
                  <a:pt x="2328624" y="1710112"/>
                </a:lnTo>
                <a:lnTo>
                  <a:pt x="2318664" y="1694176"/>
                </a:lnTo>
                <a:lnTo>
                  <a:pt x="2315676" y="1672264"/>
                </a:lnTo>
                <a:lnTo>
                  <a:pt x="2312688" y="1650353"/>
                </a:lnTo>
                <a:lnTo>
                  <a:pt x="2315676" y="1628441"/>
                </a:lnTo>
                <a:lnTo>
                  <a:pt x="2318664" y="1606529"/>
                </a:lnTo>
                <a:lnTo>
                  <a:pt x="2325636" y="1584617"/>
                </a:lnTo>
                <a:lnTo>
                  <a:pt x="2334599" y="1565693"/>
                </a:lnTo>
                <a:lnTo>
                  <a:pt x="2344559" y="1559717"/>
                </a:lnTo>
                <a:lnTo>
                  <a:pt x="2353524" y="1552746"/>
                </a:lnTo>
                <a:close/>
                <a:moveTo>
                  <a:pt x="2372448" y="1502946"/>
                </a:moveTo>
                <a:lnTo>
                  <a:pt x="2350536" y="1505935"/>
                </a:lnTo>
                <a:lnTo>
                  <a:pt x="2325636" y="1511911"/>
                </a:lnTo>
                <a:lnTo>
                  <a:pt x="2309700" y="1518882"/>
                </a:lnTo>
                <a:lnTo>
                  <a:pt x="2296752" y="1524858"/>
                </a:lnTo>
                <a:lnTo>
                  <a:pt x="2284801" y="1533822"/>
                </a:lnTo>
                <a:lnTo>
                  <a:pt x="2271852" y="1549758"/>
                </a:lnTo>
                <a:lnTo>
                  <a:pt x="2262889" y="1565694"/>
                </a:lnTo>
                <a:lnTo>
                  <a:pt x="2255917" y="1584617"/>
                </a:lnTo>
                <a:lnTo>
                  <a:pt x="2252929" y="1609517"/>
                </a:lnTo>
                <a:lnTo>
                  <a:pt x="2249941" y="1647365"/>
                </a:lnTo>
                <a:lnTo>
                  <a:pt x="2249941" y="1666288"/>
                </a:lnTo>
                <a:lnTo>
                  <a:pt x="2252929" y="1688200"/>
                </a:lnTo>
                <a:lnTo>
                  <a:pt x="2258905" y="1710112"/>
                </a:lnTo>
                <a:lnTo>
                  <a:pt x="2265876" y="1729036"/>
                </a:lnTo>
                <a:lnTo>
                  <a:pt x="2277828" y="1743976"/>
                </a:lnTo>
                <a:lnTo>
                  <a:pt x="2290777" y="1759912"/>
                </a:lnTo>
                <a:lnTo>
                  <a:pt x="2296752" y="1765888"/>
                </a:lnTo>
                <a:lnTo>
                  <a:pt x="2312688" y="1772859"/>
                </a:lnTo>
                <a:lnTo>
                  <a:pt x="2328624" y="1778835"/>
                </a:lnTo>
                <a:lnTo>
                  <a:pt x="2344560" y="1781824"/>
                </a:lnTo>
                <a:lnTo>
                  <a:pt x="2359500" y="1784811"/>
                </a:lnTo>
                <a:lnTo>
                  <a:pt x="2378424" y="1784811"/>
                </a:lnTo>
                <a:lnTo>
                  <a:pt x="2397347" y="1781824"/>
                </a:lnTo>
                <a:lnTo>
                  <a:pt x="2416271" y="1775848"/>
                </a:lnTo>
                <a:lnTo>
                  <a:pt x="2432207" y="1765888"/>
                </a:lnTo>
                <a:lnTo>
                  <a:pt x="2448143" y="1756924"/>
                </a:lnTo>
                <a:lnTo>
                  <a:pt x="2460095" y="1740988"/>
                </a:lnTo>
                <a:lnTo>
                  <a:pt x="2473042" y="1726048"/>
                </a:lnTo>
                <a:lnTo>
                  <a:pt x="2484994" y="1707124"/>
                </a:lnTo>
                <a:lnTo>
                  <a:pt x="2491966" y="1685213"/>
                </a:lnTo>
                <a:lnTo>
                  <a:pt x="2494954" y="1656329"/>
                </a:lnTo>
                <a:lnTo>
                  <a:pt x="2494954" y="1628441"/>
                </a:lnTo>
                <a:lnTo>
                  <a:pt x="2491966" y="1596569"/>
                </a:lnTo>
                <a:lnTo>
                  <a:pt x="2487982" y="1577646"/>
                </a:lnTo>
                <a:lnTo>
                  <a:pt x="2484994" y="1562706"/>
                </a:lnTo>
                <a:lnTo>
                  <a:pt x="2479018" y="1549758"/>
                </a:lnTo>
                <a:lnTo>
                  <a:pt x="2470055" y="1537806"/>
                </a:lnTo>
                <a:lnTo>
                  <a:pt x="2460095" y="1527846"/>
                </a:lnTo>
                <a:lnTo>
                  <a:pt x="2454119" y="1521871"/>
                </a:lnTo>
                <a:lnTo>
                  <a:pt x="2432207" y="1508922"/>
                </a:lnTo>
                <a:lnTo>
                  <a:pt x="2403323" y="1502946"/>
                </a:lnTo>
                <a:close/>
                <a:moveTo>
                  <a:pt x="2754907" y="1440199"/>
                </a:moveTo>
                <a:lnTo>
                  <a:pt x="2742955" y="1443187"/>
                </a:lnTo>
                <a:lnTo>
                  <a:pt x="2711084" y="1452151"/>
                </a:lnTo>
                <a:lnTo>
                  <a:pt x="2591565" y="1518882"/>
                </a:lnTo>
                <a:lnTo>
                  <a:pt x="2617461" y="1555734"/>
                </a:lnTo>
                <a:lnTo>
                  <a:pt x="2692160" y="1511910"/>
                </a:lnTo>
                <a:lnTo>
                  <a:pt x="2692160" y="1559717"/>
                </a:lnTo>
                <a:lnTo>
                  <a:pt x="2692160" y="1685212"/>
                </a:lnTo>
                <a:lnTo>
                  <a:pt x="2598537" y="1703140"/>
                </a:lnTo>
                <a:lnTo>
                  <a:pt x="2598537" y="1750947"/>
                </a:lnTo>
                <a:lnTo>
                  <a:pt x="2658296" y="1738000"/>
                </a:lnTo>
                <a:lnTo>
                  <a:pt x="2721043" y="1726048"/>
                </a:lnTo>
                <a:lnTo>
                  <a:pt x="2742955" y="1719076"/>
                </a:lnTo>
                <a:lnTo>
                  <a:pt x="2783791" y="1707124"/>
                </a:lnTo>
                <a:lnTo>
                  <a:pt x="2846538" y="1685212"/>
                </a:lnTo>
                <a:lnTo>
                  <a:pt x="2846538" y="1640393"/>
                </a:lnTo>
                <a:lnTo>
                  <a:pt x="2783791" y="1659316"/>
                </a:lnTo>
                <a:lnTo>
                  <a:pt x="2754907" y="1669276"/>
                </a:lnTo>
                <a:lnTo>
                  <a:pt x="2754907" y="1540794"/>
                </a:lnTo>
                <a:lnTo>
                  <a:pt x="2754907" y="1481035"/>
                </a:lnTo>
                <a:close/>
                <a:moveTo>
                  <a:pt x="3043745" y="1317693"/>
                </a:moveTo>
                <a:lnTo>
                  <a:pt x="3012869" y="1336617"/>
                </a:lnTo>
                <a:lnTo>
                  <a:pt x="2934186" y="1408328"/>
                </a:lnTo>
                <a:lnTo>
                  <a:pt x="2915262" y="1424264"/>
                </a:lnTo>
                <a:lnTo>
                  <a:pt x="2934186" y="1456135"/>
                </a:lnTo>
                <a:lnTo>
                  <a:pt x="2996933" y="1399364"/>
                </a:lnTo>
                <a:lnTo>
                  <a:pt x="2996933" y="1440200"/>
                </a:lnTo>
                <a:lnTo>
                  <a:pt x="2996933" y="1571670"/>
                </a:lnTo>
                <a:lnTo>
                  <a:pt x="2921238" y="1609517"/>
                </a:lnTo>
                <a:lnTo>
                  <a:pt x="2921238" y="1656329"/>
                </a:lnTo>
                <a:lnTo>
                  <a:pt x="3002909" y="1615493"/>
                </a:lnTo>
                <a:lnTo>
                  <a:pt x="3043745" y="1593582"/>
                </a:lnTo>
                <a:lnTo>
                  <a:pt x="3078605" y="1571670"/>
                </a:lnTo>
                <a:lnTo>
                  <a:pt x="3109480" y="1549758"/>
                </a:lnTo>
                <a:lnTo>
                  <a:pt x="3109480" y="1505935"/>
                </a:lnTo>
                <a:lnTo>
                  <a:pt x="3084581" y="1521871"/>
                </a:lnTo>
                <a:lnTo>
                  <a:pt x="3043745" y="1546770"/>
                </a:lnTo>
                <a:lnTo>
                  <a:pt x="3043745" y="1412312"/>
                </a:lnTo>
                <a:lnTo>
                  <a:pt x="3043745" y="1339604"/>
                </a:lnTo>
                <a:close/>
                <a:moveTo>
                  <a:pt x="3241946" y="1208134"/>
                </a:moveTo>
                <a:lnTo>
                  <a:pt x="3244934" y="1211122"/>
                </a:lnTo>
                <a:lnTo>
                  <a:pt x="3247922" y="1214110"/>
                </a:lnTo>
                <a:lnTo>
                  <a:pt x="3250910" y="1227058"/>
                </a:lnTo>
                <a:lnTo>
                  <a:pt x="3253898" y="1245982"/>
                </a:lnTo>
                <a:lnTo>
                  <a:pt x="3256886" y="1267893"/>
                </a:lnTo>
                <a:lnTo>
                  <a:pt x="3253898" y="1320681"/>
                </a:lnTo>
                <a:lnTo>
                  <a:pt x="3250910" y="1345580"/>
                </a:lnTo>
                <a:lnTo>
                  <a:pt x="3246428" y="1365000"/>
                </a:lnTo>
                <a:lnTo>
                  <a:pt x="3244935" y="1377452"/>
                </a:lnTo>
                <a:lnTo>
                  <a:pt x="3234975" y="1396376"/>
                </a:lnTo>
                <a:lnTo>
                  <a:pt x="3231239" y="1401356"/>
                </a:lnTo>
                <a:lnTo>
                  <a:pt x="3228998" y="1405340"/>
                </a:lnTo>
                <a:lnTo>
                  <a:pt x="3227803" y="1405938"/>
                </a:lnTo>
                <a:lnTo>
                  <a:pt x="3226011" y="1408328"/>
                </a:lnTo>
                <a:lnTo>
                  <a:pt x="3220035" y="1415300"/>
                </a:lnTo>
                <a:lnTo>
                  <a:pt x="3213063" y="1415300"/>
                </a:lnTo>
                <a:lnTo>
                  <a:pt x="3207087" y="1412312"/>
                </a:lnTo>
                <a:lnTo>
                  <a:pt x="3204099" y="1402352"/>
                </a:lnTo>
                <a:lnTo>
                  <a:pt x="3201111" y="1383428"/>
                </a:lnTo>
                <a:lnTo>
                  <a:pt x="3198123" y="1358529"/>
                </a:lnTo>
                <a:lnTo>
                  <a:pt x="3198123" y="1317693"/>
                </a:lnTo>
                <a:lnTo>
                  <a:pt x="3202831" y="1293369"/>
                </a:lnTo>
                <a:lnTo>
                  <a:pt x="3204099" y="1279845"/>
                </a:lnTo>
                <a:lnTo>
                  <a:pt x="3205842" y="1273453"/>
                </a:lnTo>
                <a:lnTo>
                  <a:pt x="3207087" y="1263909"/>
                </a:lnTo>
                <a:lnTo>
                  <a:pt x="3210075" y="1248970"/>
                </a:lnTo>
                <a:lnTo>
                  <a:pt x="3212905" y="1242838"/>
                </a:lnTo>
                <a:lnTo>
                  <a:pt x="3213062" y="1241998"/>
                </a:lnTo>
                <a:lnTo>
                  <a:pt x="3214165" y="1240108"/>
                </a:lnTo>
                <a:lnTo>
                  <a:pt x="3216051" y="1236022"/>
                </a:lnTo>
                <a:lnTo>
                  <a:pt x="3218041" y="1233463"/>
                </a:lnTo>
                <a:lnTo>
                  <a:pt x="3220035" y="1230046"/>
                </a:lnTo>
                <a:lnTo>
                  <a:pt x="3226011" y="1220086"/>
                </a:lnTo>
                <a:lnTo>
                  <a:pt x="3231986" y="1214110"/>
                </a:lnTo>
                <a:lnTo>
                  <a:pt x="3234974" y="1211122"/>
                </a:lnTo>
                <a:close/>
                <a:moveTo>
                  <a:pt x="3256886" y="1154351"/>
                </a:moveTo>
                <a:lnTo>
                  <a:pt x="3250911" y="1157339"/>
                </a:lnTo>
                <a:lnTo>
                  <a:pt x="3237963" y="1164311"/>
                </a:lnTo>
                <a:lnTo>
                  <a:pt x="3226011" y="1173275"/>
                </a:lnTo>
                <a:lnTo>
                  <a:pt x="3204099" y="1208134"/>
                </a:lnTo>
                <a:lnTo>
                  <a:pt x="3188163" y="1233034"/>
                </a:lnTo>
                <a:lnTo>
                  <a:pt x="3179199" y="1260922"/>
                </a:lnTo>
                <a:lnTo>
                  <a:pt x="3169239" y="1292793"/>
                </a:lnTo>
                <a:lnTo>
                  <a:pt x="3163263" y="1320681"/>
                </a:lnTo>
                <a:lnTo>
                  <a:pt x="3160275" y="1358529"/>
                </a:lnTo>
                <a:lnTo>
                  <a:pt x="3160275" y="1393388"/>
                </a:lnTo>
                <a:lnTo>
                  <a:pt x="3163263" y="1421275"/>
                </a:lnTo>
                <a:lnTo>
                  <a:pt x="3169239" y="1446175"/>
                </a:lnTo>
                <a:lnTo>
                  <a:pt x="3175215" y="1459123"/>
                </a:lnTo>
                <a:lnTo>
                  <a:pt x="3182187" y="1468087"/>
                </a:lnTo>
                <a:lnTo>
                  <a:pt x="3188163" y="1471075"/>
                </a:lnTo>
                <a:lnTo>
                  <a:pt x="3194139" y="1475059"/>
                </a:lnTo>
                <a:lnTo>
                  <a:pt x="3204099" y="1475059"/>
                </a:lnTo>
                <a:lnTo>
                  <a:pt x="3213063" y="1468087"/>
                </a:lnTo>
                <a:lnTo>
                  <a:pt x="3226011" y="1459123"/>
                </a:lnTo>
                <a:lnTo>
                  <a:pt x="3234975" y="1446175"/>
                </a:lnTo>
                <a:lnTo>
                  <a:pt x="3244935" y="1430240"/>
                </a:lnTo>
                <a:lnTo>
                  <a:pt x="3253899" y="1415300"/>
                </a:lnTo>
                <a:lnTo>
                  <a:pt x="3263859" y="1393388"/>
                </a:lnTo>
                <a:lnTo>
                  <a:pt x="3269835" y="1367492"/>
                </a:lnTo>
                <a:lnTo>
                  <a:pt x="3272822" y="1342593"/>
                </a:lnTo>
                <a:lnTo>
                  <a:pt x="3278798" y="1311717"/>
                </a:lnTo>
                <a:lnTo>
                  <a:pt x="3278798" y="1248970"/>
                </a:lnTo>
                <a:lnTo>
                  <a:pt x="3278798" y="1220086"/>
                </a:lnTo>
                <a:lnTo>
                  <a:pt x="3275811" y="1195187"/>
                </a:lnTo>
                <a:lnTo>
                  <a:pt x="3272822" y="1173275"/>
                </a:lnTo>
                <a:lnTo>
                  <a:pt x="3266846" y="1161323"/>
                </a:lnTo>
                <a:lnTo>
                  <a:pt x="3266846" y="1157339"/>
                </a:lnTo>
                <a:close/>
                <a:moveTo>
                  <a:pt x="3485964" y="1038816"/>
                </a:moveTo>
                <a:lnTo>
                  <a:pt x="3498912" y="1041804"/>
                </a:lnTo>
                <a:lnTo>
                  <a:pt x="3507876" y="1047780"/>
                </a:lnTo>
                <a:lnTo>
                  <a:pt x="3514848" y="1057740"/>
                </a:lnTo>
                <a:lnTo>
                  <a:pt x="3520823" y="1069692"/>
                </a:lnTo>
                <a:lnTo>
                  <a:pt x="3526799" y="1098575"/>
                </a:lnTo>
                <a:lnTo>
                  <a:pt x="3526799" y="1123475"/>
                </a:lnTo>
                <a:lnTo>
                  <a:pt x="3526799" y="1148375"/>
                </a:lnTo>
                <a:lnTo>
                  <a:pt x="3523812" y="1170287"/>
                </a:lnTo>
                <a:lnTo>
                  <a:pt x="3517836" y="1186222"/>
                </a:lnTo>
                <a:lnTo>
                  <a:pt x="3511860" y="1195187"/>
                </a:lnTo>
                <a:lnTo>
                  <a:pt x="3504888" y="1201162"/>
                </a:lnTo>
                <a:lnTo>
                  <a:pt x="3495924" y="1208134"/>
                </a:lnTo>
                <a:lnTo>
                  <a:pt x="3485964" y="1208134"/>
                </a:lnTo>
                <a:lnTo>
                  <a:pt x="3474012" y="1208134"/>
                </a:lnTo>
                <a:lnTo>
                  <a:pt x="3467040" y="1201162"/>
                </a:lnTo>
                <a:lnTo>
                  <a:pt x="3461064" y="1195187"/>
                </a:lnTo>
                <a:lnTo>
                  <a:pt x="3455088" y="1186222"/>
                </a:lnTo>
                <a:lnTo>
                  <a:pt x="3449112" y="1170287"/>
                </a:lnTo>
                <a:lnTo>
                  <a:pt x="3445128" y="1148375"/>
                </a:lnTo>
                <a:lnTo>
                  <a:pt x="3445128" y="1123475"/>
                </a:lnTo>
                <a:lnTo>
                  <a:pt x="3445128" y="1098575"/>
                </a:lnTo>
                <a:lnTo>
                  <a:pt x="3452100" y="1069692"/>
                </a:lnTo>
                <a:lnTo>
                  <a:pt x="3455088" y="1057740"/>
                </a:lnTo>
                <a:lnTo>
                  <a:pt x="3464052" y="1047780"/>
                </a:lnTo>
                <a:lnTo>
                  <a:pt x="3474012" y="1041804"/>
                </a:lnTo>
                <a:close/>
                <a:moveTo>
                  <a:pt x="1612508" y="1006944"/>
                </a:moveTo>
                <a:lnTo>
                  <a:pt x="1619480" y="1006944"/>
                </a:lnTo>
                <a:lnTo>
                  <a:pt x="1638404" y="1035828"/>
                </a:lnTo>
                <a:lnTo>
                  <a:pt x="1657327" y="1066704"/>
                </a:lnTo>
                <a:lnTo>
                  <a:pt x="1672267" y="1098575"/>
                </a:lnTo>
                <a:lnTo>
                  <a:pt x="1685215" y="1129451"/>
                </a:lnTo>
                <a:lnTo>
                  <a:pt x="1666291" y="1113515"/>
                </a:lnTo>
                <a:lnTo>
                  <a:pt x="1644380" y="1104551"/>
                </a:lnTo>
                <a:lnTo>
                  <a:pt x="1625456" y="1101563"/>
                </a:lnTo>
                <a:lnTo>
                  <a:pt x="1603544" y="1104551"/>
                </a:lnTo>
                <a:lnTo>
                  <a:pt x="1581632" y="1107539"/>
                </a:lnTo>
                <a:lnTo>
                  <a:pt x="1562708" y="1116503"/>
                </a:lnTo>
                <a:lnTo>
                  <a:pt x="1546773" y="1126463"/>
                </a:lnTo>
                <a:lnTo>
                  <a:pt x="1534821" y="1138415"/>
                </a:lnTo>
                <a:lnTo>
                  <a:pt x="1524861" y="1154350"/>
                </a:lnTo>
                <a:lnTo>
                  <a:pt x="1515897" y="1173274"/>
                </a:lnTo>
                <a:lnTo>
                  <a:pt x="1499961" y="1224070"/>
                </a:lnTo>
                <a:lnTo>
                  <a:pt x="1493985" y="1267893"/>
                </a:lnTo>
                <a:lnTo>
                  <a:pt x="1493985" y="1311717"/>
                </a:lnTo>
                <a:lnTo>
                  <a:pt x="1496973" y="1355540"/>
                </a:lnTo>
                <a:lnTo>
                  <a:pt x="1505937" y="1399363"/>
                </a:lnTo>
                <a:lnTo>
                  <a:pt x="1512909" y="1418287"/>
                </a:lnTo>
                <a:lnTo>
                  <a:pt x="1521873" y="1437211"/>
                </a:lnTo>
                <a:lnTo>
                  <a:pt x="1531833" y="1452151"/>
                </a:lnTo>
                <a:lnTo>
                  <a:pt x="1543785" y="1465099"/>
                </a:lnTo>
                <a:lnTo>
                  <a:pt x="1556732" y="1478047"/>
                </a:lnTo>
                <a:lnTo>
                  <a:pt x="1571672" y="1484022"/>
                </a:lnTo>
                <a:lnTo>
                  <a:pt x="1590596" y="1489998"/>
                </a:lnTo>
                <a:lnTo>
                  <a:pt x="1612508" y="1489998"/>
                </a:lnTo>
                <a:lnTo>
                  <a:pt x="1634420" y="1487010"/>
                </a:lnTo>
                <a:lnTo>
                  <a:pt x="1653344" y="1478047"/>
                </a:lnTo>
                <a:lnTo>
                  <a:pt x="1634420" y="1508922"/>
                </a:lnTo>
                <a:lnTo>
                  <a:pt x="1616492" y="1533822"/>
                </a:lnTo>
                <a:lnTo>
                  <a:pt x="1590596" y="1562705"/>
                </a:lnTo>
                <a:lnTo>
                  <a:pt x="1568684" y="1584617"/>
                </a:lnTo>
                <a:lnTo>
                  <a:pt x="1537809" y="1581629"/>
                </a:lnTo>
                <a:lnTo>
                  <a:pt x="1508925" y="1571669"/>
                </a:lnTo>
                <a:lnTo>
                  <a:pt x="1484025" y="1559718"/>
                </a:lnTo>
                <a:lnTo>
                  <a:pt x="1459125" y="1546770"/>
                </a:lnTo>
                <a:lnTo>
                  <a:pt x="1450161" y="1537806"/>
                </a:lnTo>
                <a:lnTo>
                  <a:pt x="1434225" y="1521870"/>
                </a:lnTo>
                <a:lnTo>
                  <a:pt x="1418289" y="1505934"/>
                </a:lnTo>
                <a:lnTo>
                  <a:pt x="1405341" y="1489998"/>
                </a:lnTo>
                <a:lnTo>
                  <a:pt x="1396377" y="1471075"/>
                </a:lnTo>
                <a:lnTo>
                  <a:pt x="1380442" y="1430239"/>
                </a:lnTo>
                <a:lnTo>
                  <a:pt x="1371478" y="1389404"/>
                </a:lnTo>
                <a:lnTo>
                  <a:pt x="1365502" y="1345580"/>
                </a:lnTo>
                <a:lnTo>
                  <a:pt x="1361518" y="1301757"/>
                </a:lnTo>
                <a:lnTo>
                  <a:pt x="1365502" y="1260921"/>
                </a:lnTo>
                <a:lnTo>
                  <a:pt x="1368490" y="1224070"/>
                </a:lnTo>
                <a:lnTo>
                  <a:pt x="1377454" y="1176262"/>
                </a:lnTo>
                <a:lnTo>
                  <a:pt x="1390401" y="1138415"/>
                </a:lnTo>
                <a:lnTo>
                  <a:pt x="1409325" y="1104551"/>
                </a:lnTo>
                <a:lnTo>
                  <a:pt x="1431237" y="1075667"/>
                </a:lnTo>
                <a:lnTo>
                  <a:pt x="1459125" y="1053756"/>
                </a:lnTo>
                <a:lnTo>
                  <a:pt x="1484025" y="1038816"/>
                </a:lnTo>
                <a:lnTo>
                  <a:pt x="1512909" y="1025868"/>
                </a:lnTo>
                <a:lnTo>
                  <a:pt x="1540797" y="1019892"/>
                </a:lnTo>
                <a:lnTo>
                  <a:pt x="1565696" y="1012920"/>
                </a:lnTo>
                <a:close/>
                <a:moveTo>
                  <a:pt x="3730977" y="1000969"/>
                </a:moveTo>
                <a:lnTo>
                  <a:pt x="3643330" y="1035829"/>
                </a:lnTo>
                <a:lnTo>
                  <a:pt x="3662254" y="1072680"/>
                </a:lnTo>
                <a:lnTo>
                  <a:pt x="3719025" y="1050768"/>
                </a:lnTo>
                <a:lnTo>
                  <a:pt x="3719025" y="1205146"/>
                </a:lnTo>
                <a:lnTo>
                  <a:pt x="3649306" y="1205146"/>
                </a:lnTo>
                <a:lnTo>
                  <a:pt x="3649306" y="1248970"/>
                </a:lnTo>
                <a:lnTo>
                  <a:pt x="3834560" y="1248970"/>
                </a:lnTo>
                <a:lnTo>
                  <a:pt x="3834560" y="1205146"/>
                </a:lnTo>
                <a:lnTo>
                  <a:pt x="3762849" y="1205146"/>
                </a:lnTo>
                <a:lnTo>
                  <a:pt x="3762849" y="1000969"/>
                </a:lnTo>
                <a:close/>
                <a:moveTo>
                  <a:pt x="3485964" y="997980"/>
                </a:moveTo>
                <a:lnTo>
                  <a:pt x="3461064" y="1000969"/>
                </a:lnTo>
                <a:lnTo>
                  <a:pt x="3442140" y="1006945"/>
                </a:lnTo>
                <a:lnTo>
                  <a:pt x="3427200" y="1022880"/>
                </a:lnTo>
                <a:lnTo>
                  <a:pt x="3414252" y="1038816"/>
                </a:lnTo>
                <a:lnTo>
                  <a:pt x="3404292" y="1057740"/>
                </a:lnTo>
                <a:lnTo>
                  <a:pt x="3401305" y="1079651"/>
                </a:lnTo>
                <a:lnTo>
                  <a:pt x="3398316" y="1101563"/>
                </a:lnTo>
                <a:lnTo>
                  <a:pt x="3398316" y="1123475"/>
                </a:lnTo>
                <a:lnTo>
                  <a:pt x="3398316" y="1142399"/>
                </a:lnTo>
                <a:lnTo>
                  <a:pt x="3401305" y="1164311"/>
                </a:lnTo>
                <a:lnTo>
                  <a:pt x="3404292" y="1186222"/>
                </a:lnTo>
                <a:lnTo>
                  <a:pt x="3414252" y="1208134"/>
                </a:lnTo>
                <a:lnTo>
                  <a:pt x="3423216" y="1224070"/>
                </a:lnTo>
                <a:lnTo>
                  <a:pt x="3439152" y="1239009"/>
                </a:lnTo>
                <a:lnTo>
                  <a:pt x="3461064" y="1245982"/>
                </a:lnTo>
                <a:lnTo>
                  <a:pt x="3485964" y="1248969"/>
                </a:lnTo>
                <a:lnTo>
                  <a:pt x="3511860" y="1245982"/>
                </a:lnTo>
                <a:lnTo>
                  <a:pt x="3529788" y="1239009"/>
                </a:lnTo>
                <a:lnTo>
                  <a:pt x="3545724" y="1224070"/>
                </a:lnTo>
                <a:lnTo>
                  <a:pt x="3558671" y="1208134"/>
                </a:lnTo>
                <a:lnTo>
                  <a:pt x="3564647" y="1186222"/>
                </a:lnTo>
                <a:lnTo>
                  <a:pt x="3570623" y="1164311"/>
                </a:lnTo>
                <a:lnTo>
                  <a:pt x="3574607" y="1142399"/>
                </a:lnTo>
                <a:lnTo>
                  <a:pt x="3574607" y="1123475"/>
                </a:lnTo>
                <a:lnTo>
                  <a:pt x="3574607" y="1101563"/>
                </a:lnTo>
                <a:lnTo>
                  <a:pt x="3570623" y="1079651"/>
                </a:lnTo>
                <a:lnTo>
                  <a:pt x="3564647" y="1057740"/>
                </a:lnTo>
                <a:lnTo>
                  <a:pt x="3558671" y="1038816"/>
                </a:lnTo>
                <a:lnTo>
                  <a:pt x="3545724" y="1022880"/>
                </a:lnTo>
                <a:lnTo>
                  <a:pt x="3529788" y="1006945"/>
                </a:lnTo>
                <a:lnTo>
                  <a:pt x="3511860" y="1000969"/>
                </a:lnTo>
                <a:close/>
                <a:moveTo>
                  <a:pt x="1073677" y="994992"/>
                </a:moveTo>
                <a:lnTo>
                  <a:pt x="1113516" y="1000968"/>
                </a:lnTo>
                <a:lnTo>
                  <a:pt x="1158336" y="1006944"/>
                </a:lnTo>
                <a:lnTo>
                  <a:pt x="1158336" y="1104551"/>
                </a:lnTo>
                <a:lnTo>
                  <a:pt x="1158336" y="1227057"/>
                </a:lnTo>
                <a:lnTo>
                  <a:pt x="1158336" y="1475059"/>
                </a:lnTo>
                <a:lnTo>
                  <a:pt x="1254947" y="1484022"/>
                </a:lnTo>
                <a:lnTo>
                  <a:pt x="1352554" y="1492986"/>
                </a:lnTo>
                <a:lnTo>
                  <a:pt x="1352554" y="1584617"/>
                </a:lnTo>
                <a:lnTo>
                  <a:pt x="1242995" y="1577645"/>
                </a:lnTo>
                <a:lnTo>
                  <a:pt x="1132440" y="1565693"/>
                </a:lnTo>
                <a:lnTo>
                  <a:pt x="1022881" y="1549758"/>
                </a:lnTo>
                <a:lnTo>
                  <a:pt x="916310" y="1530834"/>
                </a:lnTo>
                <a:lnTo>
                  <a:pt x="900374" y="1505934"/>
                </a:lnTo>
                <a:lnTo>
                  <a:pt x="881451" y="1481034"/>
                </a:lnTo>
                <a:lnTo>
                  <a:pt x="869499" y="1452151"/>
                </a:lnTo>
                <a:lnTo>
                  <a:pt x="856551" y="1427251"/>
                </a:lnTo>
                <a:lnTo>
                  <a:pt x="944198" y="1443187"/>
                </a:lnTo>
                <a:lnTo>
                  <a:pt x="1035829" y="1459123"/>
                </a:lnTo>
                <a:lnTo>
                  <a:pt x="1035829" y="1214110"/>
                </a:lnTo>
                <a:lnTo>
                  <a:pt x="1032841" y="1104551"/>
                </a:lnTo>
                <a:lnTo>
                  <a:pt x="957146" y="1120487"/>
                </a:lnTo>
                <a:lnTo>
                  <a:pt x="881451" y="1132439"/>
                </a:lnTo>
                <a:lnTo>
                  <a:pt x="862527" y="1094591"/>
                </a:lnTo>
                <a:lnTo>
                  <a:pt x="881451" y="1057740"/>
                </a:lnTo>
                <a:lnTo>
                  <a:pt x="903362" y="1022880"/>
                </a:lnTo>
                <a:close/>
                <a:moveTo>
                  <a:pt x="3894320" y="787827"/>
                </a:moveTo>
                <a:lnTo>
                  <a:pt x="4248892" y="1123475"/>
                </a:lnTo>
                <a:lnTo>
                  <a:pt x="3894320" y="1459124"/>
                </a:lnTo>
                <a:lnTo>
                  <a:pt x="3894320" y="1320681"/>
                </a:lnTo>
                <a:lnTo>
                  <a:pt x="3329593" y="1320681"/>
                </a:lnTo>
                <a:lnTo>
                  <a:pt x="3313658" y="1374464"/>
                </a:lnTo>
                <a:lnTo>
                  <a:pt x="3294734" y="1415300"/>
                </a:lnTo>
                <a:lnTo>
                  <a:pt x="3269834" y="1459124"/>
                </a:lnTo>
                <a:lnTo>
                  <a:pt x="3241946" y="1499959"/>
                </a:lnTo>
                <a:lnTo>
                  <a:pt x="3207087" y="1540795"/>
                </a:lnTo>
                <a:lnTo>
                  <a:pt x="3175215" y="1571670"/>
                </a:lnTo>
                <a:lnTo>
                  <a:pt x="3141352" y="1603542"/>
                </a:lnTo>
                <a:lnTo>
                  <a:pt x="3100516" y="1634417"/>
                </a:lnTo>
                <a:lnTo>
                  <a:pt x="3059681" y="1663301"/>
                </a:lnTo>
                <a:lnTo>
                  <a:pt x="2996933" y="1700153"/>
                </a:lnTo>
                <a:lnTo>
                  <a:pt x="2931198" y="1735012"/>
                </a:lnTo>
                <a:lnTo>
                  <a:pt x="2858491" y="1765888"/>
                </a:lnTo>
                <a:lnTo>
                  <a:pt x="2779807" y="1794771"/>
                </a:lnTo>
                <a:lnTo>
                  <a:pt x="2714072" y="1813695"/>
                </a:lnTo>
                <a:lnTo>
                  <a:pt x="2610489" y="1838595"/>
                </a:lnTo>
                <a:lnTo>
                  <a:pt x="2503918" y="1857519"/>
                </a:lnTo>
                <a:lnTo>
                  <a:pt x="2397347" y="1869471"/>
                </a:lnTo>
                <a:lnTo>
                  <a:pt x="2290777" y="1876442"/>
                </a:lnTo>
                <a:lnTo>
                  <a:pt x="2252929" y="1876442"/>
                </a:lnTo>
                <a:lnTo>
                  <a:pt x="2225041" y="1876442"/>
                </a:lnTo>
                <a:lnTo>
                  <a:pt x="2143370" y="1873455"/>
                </a:lnTo>
                <a:lnTo>
                  <a:pt x="2061699" y="1866482"/>
                </a:lnTo>
                <a:lnTo>
                  <a:pt x="1980028" y="1854530"/>
                </a:lnTo>
                <a:lnTo>
                  <a:pt x="1901344" y="1841583"/>
                </a:lnTo>
                <a:lnTo>
                  <a:pt x="1942180" y="1797759"/>
                </a:lnTo>
                <a:lnTo>
                  <a:pt x="1977039" y="1753936"/>
                </a:lnTo>
                <a:lnTo>
                  <a:pt x="2070662" y="1765888"/>
                </a:lnTo>
                <a:lnTo>
                  <a:pt x="2165282" y="1775848"/>
                </a:lnTo>
                <a:lnTo>
                  <a:pt x="2165282" y="1729036"/>
                </a:lnTo>
                <a:lnTo>
                  <a:pt x="2070662" y="1722064"/>
                </a:lnTo>
                <a:lnTo>
                  <a:pt x="2070662" y="1603542"/>
                </a:lnTo>
                <a:lnTo>
                  <a:pt x="2089587" y="1562706"/>
                </a:lnTo>
                <a:lnTo>
                  <a:pt x="2105522" y="1521871"/>
                </a:lnTo>
                <a:lnTo>
                  <a:pt x="2118470" y="1478047"/>
                </a:lnTo>
                <a:lnTo>
                  <a:pt x="2130422" y="1434224"/>
                </a:lnTo>
                <a:lnTo>
                  <a:pt x="2190181" y="1437211"/>
                </a:lnTo>
                <a:lnTo>
                  <a:pt x="2252929" y="1440200"/>
                </a:lnTo>
                <a:lnTo>
                  <a:pt x="2312688" y="1437211"/>
                </a:lnTo>
                <a:lnTo>
                  <a:pt x="2369459" y="1434224"/>
                </a:lnTo>
                <a:lnTo>
                  <a:pt x="2429219" y="1430240"/>
                </a:lnTo>
                <a:lnTo>
                  <a:pt x="2484994" y="1424264"/>
                </a:lnTo>
                <a:lnTo>
                  <a:pt x="2544754" y="1415300"/>
                </a:lnTo>
                <a:lnTo>
                  <a:pt x="2601525" y="1405340"/>
                </a:lnTo>
                <a:lnTo>
                  <a:pt x="2658296" y="1393388"/>
                </a:lnTo>
                <a:lnTo>
                  <a:pt x="2714072" y="1377452"/>
                </a:lnTo>
                <a:lnTo>
                  <a:pt x="2767855" y="1361516"/>
                </a:lnTo>
                <a:lnTo>
                  <a:pt x="2820643" y="1342593"/>
                </a:lnTo>
                <a:lnTo>
                  <a:pt x="2871438" y="1323669"/>
                </a:lnTo>
                <a:lnTo>
                  <a:pt x="2918250" y="1301757"/>
                </a:lnTo>
                <a:lnTo>
                  <a:pt x="2965061" y="1279845"/>
                </a:lnTo>
                <a:lnTo>
                  <a:pt x="3005897" y="1257933"/>
                </a:lnTo>
                <a:lnTo>
                  <a:pt x="3046732" y="1233034"/>
                </a:lnTo>
                <a:lnTo>
                  <a:pt x="3084580" y="1208134"/>
                </a:lnTo>
                <a:lnTo>
                  <a:pt x="3122428" y="1179251"/>
                </a:lnTo>
                <a:lnTo>
                  <a:pt x="3153304" y="1151363"/>
                </a:lnTo>
                <a:lnTo>
                  <a:pt x="3185175" y="1123475"/>
                </a:lnTo>
                <a:lnTo>
                  <a:pt x="3213063" y="1094591"/>
                </a:lnTo>
                <a:lnTo>
                  <a:pt x="3237962" y="1063716"/>
                </a:lnTo>
                <a:lnTo>
                  <a:pt x="3260870" y="1031845"/>
                </a:lnTo>
                <a:lnTo>
                  <a:pt x="3278798" y="1000969"/>
                </a:lnTo>
                <a:lnTo>
                  <a:pt x="3297722" y="969097"/>
                </a:lnTo>
                <a:lnTo>
                  <a:pt x="3313658" y="925273"/>
                </a:lnTo>
                <a:lnTo>
                  <a:pt x="3894320" y="925273"/>
                </a:lnTo>
                <a:close/>
                <a:moveTo>
                  <a:pt x="1233035" y="768902"/>
                </a:moveTo>
                <a:lnTo>
                  <a:pt x="1205148" y="774878"/>
                </a:lnTo>
                <a:lnTo>
                  <a:pt x="1151364" y="784838"/>
                </a:lnTo>
                <a:lnTo>
                  <a:pt x="1113517" y="793802"/>
                </a:lnTo>
                <a:lnTo>
                  <a:pt x="1076665" y="802766"/>
                </a:lnTo>
                <a:lnTo>
                  <a:pt x="1041805" y="815714"/>
                </a:lnTo>
                <a:lnTo>
                  <a:pt x="1010929" y="831650"/>
                </a:lnTo>
                <a:lnTo>
                  <a:pt x="976070" y="850573"/>
                </a:lnTo>
                <a:lnTo>
                  <a:pt x="948182" y="872485"/>
                </a:lnTo>
                <a:lnTo>
                  <a:pt x="916311" y="894397"/>
                </a:lnTo>
                <a:lnTo>
                  <a:pt x="891411" y="916309"/>
                </a:lnTo>
                <a:lnTo>
                  <a:pt x="866511" y="941209"/>
                </a:lnTo>
                <a:lnTo>
                  <a:pt x="840615" y="969096"/>
                </a:lnTo>
                <a:lnTo>
                  <a:pt x="818704" y="1000968"/>
                </a:lnTo>
                <a:lnTo>
                  <a:pt x="799780" y="1028856"/>
                </a:lnTo>
                <a:lnTo>
                  <a:pt x="784840" y="1063715"/>
                </a:lnTo>
                <a:lnTo>
                  <a:pt x="768904" y="1094591"/>
                </a:lnTo>
                <a:lnTo>
                  <a:pt x="758944" y="1129450"/>
                </a:lnTo>
                <a:lnTo>
                  <a:pt x="749980" y="1167298"/>
                </a:lnTo>
                <a:lnTo>
                  <a:pt x="737033" y="1224069"/>
                </a:lnTo>
                <a:lnTo>
                  <a:pt x="734044" y="1251957"/>
                </a:lnTo>
                <a:lnTo>
                  <a:pt x="734044" y="1276856"/>
                </a:lnTo>
                <a:lnTo>
                  <a:pt x="734044" y="1304744"/>
                </a:lnTo>
                <a:lnTo>
                  <a:pt x="737033" y="1333628"/>
                </a:lnTo>
                <a:lnTo>
                  <a:pt x="749980" y="1393387"/>
                </a:lnTo>
                <a:lnTo>
                  <a:pt x="758944" y="1427251"/>
                </a:lnTo>
                <a:lnTo>
                  <a:pt x="768904" y="1462111"/>
                </a:lnTo>
                <a:lnTo>
                  <a:pt x="784840" y="1492986"/>
                </a:lnTo>
                <a:lnTo>
                  <a:pt x="799780" y="1527846"/>
                </a:lnTo>
                <a:lnTo>
                  <a:pt x="818704" y="1555734"/>
                </a:lnTo>
                <a:lnTo>
                  <a:pt x="840615" y="1587605"/>
                </a:lnTo>
                <a:lnTo>
                  <a:pt x="866511" y="1612505"/>
                </a:lnTo>
                <a:lnTo>
                  <a:pt x="891411" y="1640392"/>
                </a:lnTo>
                <a:lnTo>
                  <a:pt x="916311" y="1663300"/>
                </a:lnTo>
                <a:lnTo>
                  <a:pt x="948182" y="1688200"/>
                </a:lnTo>
                <a:lnTo>
                  <a:pt x="976070" y="1707124"/>
                </a:lnTo>
                <a:lnTo>
                  <a:pt x="1010929" y="1726047"/>
                </a:lnTo>
                <a:lnTo>
                  <a:pt x="1041805" y="1740987"/>
                </a:lnTo>
                <a:lnTo>
                  <a:pt x="1076665" y="1756923"/>
                </a:lnTo>
                <a:lnTo>
                  <a:pt x="1113517" y="1765887"/>
                </a:lnTo>
                <a:lnTo>
                  <a:pt x="1151364" y="1775847"/>
                </a:lnTo>
                <a:lnTo>
                  <a:pt x="1205148" y="1784811"/>
                </a:lnTo>
                <a:lnTo>
                  <a:pt x="1233035" y="1791783"/>
                </a:lnTo>
                <a:lnTo>
                  <a:pt x="1264907" y="1791783"/>
                </a:lnTo>
                <a:lnTo>
                  <a:pt x="1292795" y="1791783"/>
                </a:lnTo>
                <a:lnTo>
                  <a:pt x="1317694" y="1784811"/>
                </a:lnTo>
                <a:lnTo>
                  <a:pt x="1374466" y="1775847"/>
                </a:lnTo>
                <a:lnTo>
                  <a:pt x="1412313" y="1765887"/>
                </a:lnTo>
                <a:lnTo>
                  <a:pt x="1450161" y="1756923"/>
                </a:lnTo>
                <a:lnTo>
                  <a:pt x="1484025" y="1740987"/>
                </a:lnTo>
                <a:lnTo>
                  <a:pt x="1515897" y="1726047"/>
                </a:lnTo>
                <a:lnTo>
                  <a:pt x="1546772" y="1707124"/>
                </a:lnTo>
                <a:lnTo>
                  <a:pt x="1578644" y="1688200"/>
                </a:lnTo>
                <a:lnTo>
                  <a:pt x="1606531" y="1663300"/>
                </a:lnTo>
                <a:lnTo>
                  <a:pt x="1634419" y="1640392"/>
                </a:lnTo>
                <a:lnTo>
                  <a:pt x="1660315" y="1612505"/>
                </a:lnTo>
                <a:lnTo>
                  <a:pt x="1682226" y="1587605"/>
                </a:lnTo>
                <a:lnTo>
                  <a:pt x="1704138" y="1555734"/>
                </a:lnTo>
                <a:lnTo>
                  <a:pt x="1723062" y="1527846"/>
                </a:lnTo>
                <a:lnTo>
                  <a:pt x="1738002" y="1492986"/>
                </a:lnTo>
                <a:lnTo>
                  <a:pt x="1753938" y="1462111"/>
                </a:lnTo>
                <a:lnTo>
                  <a:pt x="1766886" y="1427251"/>
                </a:lnTo>
                <a:lnTo>
                  <a:pt x="1775849" y="1393387"/>
                </a:lnTo>
                <a:lnTo>
                  <a:pt x="1782822" y="1364503"/>
                </a:lnTo>
                <a:lnTo>
                  <a:pt x="1785809" y="1333628"/>
                </a:lnTo>
                <a:lnTo>
                  <a:pt x="1785809" y="1276856"/>
                </a:lnTo>
                <a:lnTo>
                  <a:pt x="1785809" y="1224069"/>
                </a:lnTo>
                <a:lnTo>
                  <a:pt x="1782822" y="1195185"/>
                </a:lnTo>
                <a:lnTo>
                  <a:pt x="1775849" y="1167298"/>
                </a:lnTo>
                <a:lnTo>
                  <a:pt x="1766886" y="1129450"/>
                </a:lnTo>
                <a:lnTo>
                  <a:pt x="1753938" y="1094591"/>
                </a:lnTo>
                <a:lnTo>
                  <a:pt x="1738002" y="1063715"/>
                </a:lnTo>
                <a:lnTo>
                  <a:pt x="1723062" y="1028856"/>
                </a:lnTo>
                <a:lnTo>
                  <a:pt x="1704138" y="1000968"/>
                </a:lnTo>
                <a:lnTo>
                  <a:pt x="1682226" y="969096"/>
                </a:lnTo>
                <a:lnTo>
                  <a:pt x="1660315" y="941209"/>
                </a:lnTo>
                <a:lnTo>
                  <a:pt x="1634419" y="916309"/>
                </a:lnTo>
                <a:lnTo>
                  <a:pt x="1606531" y="894397"/>
                </a:lnTo>
                <a:lnTo>
                  <a:pt x="1578644" y="872485"/>
                </a:lnTo>
                <a:lnTo>
                  <a:pt x="1546772" y="850573"/>
                </a:lnTo>
                <a:lnTo>
                  <a:pt x="1515897" y="831650"/>
                </a:lnTo>
                <a:lnTo>
                  <a:pt x="1484025" y="815714"/>
                </a:lnTo>
                <a:lnTo>
                  <a:pt x="1450161" y="802766"/>
                </a:lnTo>
                <a:lnTo>
                  <a:pt x="1412313" y="793802"/>
                </a:lnTo>
                <a:lnTo>
                  <a:pt x="1374466" y="784838"/>
                </a:lnTo>
                <a:lnTo>
                  <a:pt x="1317694" y="774878"/>
                </a:lnTo>
                <a:lnTo>
                  <a:pt x="1292795" y="768902"/>
                </a:lnTo>
                <a:lnTo>
                  <a:pt x="1264907" y="768902"/>
                </a:lnTo>
                <a:close/>
                <a:moveTo>
                  <a:pt x="2541766" y="728068"/>
                </a:moveTo>
                <a:lnTo>
                  <a:pt x="2473042" y="744003"/>
                </a:lnTo>
                <a:lnTo>
                  <a:pt x="2410295" y="752968"/>
                </a:lnTo>
                <a:lnTo>
                  <a:pt x="2347548" y="761931"/>
                </a:lnTo>
                <a:lnTo>
                  <a:pt x="2287788" y="765915"/>
                </a:lnTo>
                <a:lnTo>
                  <a:pt x="2287788" y="1245981"/>
                </a:lnTo>
                <a:lnTo>
                  <a:pt x="2381411" y="1239010"/>
                </a:lnTo>
                <a:lnTo>
                  <a:pt x="2479018" y="1227058"/>
                </a:lnTo>
                <a:lnTo>
                  <a:pt x="2579614" y="1208134"/>
                </a:lnTo>
                <a:lnTo>
                  <a:pt x="2680208" y="1183234"/>
                </a:lnTo>
                <a:lnTo>
                  <a:pt x="2664272" y="1104551"/>
                </a:lnTo>
                <a:lnTo>
                  <a:pt x="2648336" y="1047780"/>
                </a:lnTo>
                <a:lnTo>
                  <a:pt x="2632401" y="988021"/>
                </a:lnTo>
                <a:lnTo>
                  <a:pt x="2617461" y="932245"/>
                </a:lnTo>
                <a:lnTo>
                  <a:pt x="2598537" y="875474"/>
                </a:lnTo>
                <a:lnTo>
                  <a:pt x="2569654" y="799779"/>
                </a:lnTo>
                <a:close/>
                <a:moveTo>
                  <a:pt x="2798731" y="624485"/>
                </a:moveTo>
                <a:lnTo>
                  <a:pt x="2751919" y="649385"/>
                </a:lnTo>
                <a:lnTo>
                  <a:pt x="2705108" y="671297"/>
                </a:lnTo>
                <a:lnTo>
                  <a:pt x="2654312" y="693208"/>
                </a:lnTo>
                <a:lnTo>
                  <a:pt x="2601525" y="709144"/>
                </a:lnTo>
                <a:lnTo>
                  <a:pt x="2629412" y="780855"/>
                </a:lnTo>
                <a:lnTo>
                  <a:pt x="2658296" y="856550"/>
                </a:lnTo>
                <a:lnTo>
                  <a:pt x="2664272" y="872486"/>
                </a:lnTo>
                <a:lnTo>
                  <a:pt x="2699132" y="988021"/>
                </a:lnTo>
                <a:lnTo>
                  <a:pt x="2721043" y="1075668"/>
                </a:lnTo>
                <a:lnTo>
                  <a:pt x="2739967" y="1164310"/>
                </a:lnTo>
                <a:lnTo>
                  <a:pt x="2820643" y="1135427"/>
                </a:lnTo>
                <a:lnTo>
                  <a:pt x="2896338" y="1101563"/>
                </a:lnTo>
                <a:lnTo>
                  <a:pt x="2965061" y="1063716"/>
                </a:lnTo>
                <a:lnTo>
                  <a:pt x="2996933" y="1044792"/>
                </a:lnTo>
                <a:lnTo>
                  <a:pt x="3024820" y="1022880"/>
                </a:lnTo>
                <a:lnTo>
                  <a:pt x="3012869" y="988021"/>
                </a:lnTo>
                <a:lnTo>
                  <a:pt x="2993945" y="941209"/>
                </a:lnTo>
                <a:lnTo>
                  <a:pt x="2975021" y="894398"/>
                </a:lnTo>
                <a:lnTo>
                  <a:pt x="2950121" y="847586"/>
                </a:lnTo>
                <a:lnTo>
                  <a:pt x="2924226" y="799779"/>
                </a:lnTo>
                <a:lnTo>
                  <a:pt x="2896338" y="755955"/>
                </a:lnTo>
                <a:lnTo>
                  <a:pt x="2865462" y="712132"/>
                </a:lnTo>
                <a:lnTo>
                  <a:pt x="2833590" y="668308"/>
                </a:lnTo>
                <a:close/>
                <a:moveTo>
                  <a:pt x="1264906" y="564725"/>
                </a:moveTo>
                <a:lnTo>
                  <a:pt x="1317694" y="567713"/>
                </a:lnTo>
                <a:lnTo>
                  <a:pt x="1346577" y="567713"/>
                </a:lnTo>
                <a:lnTo>
                  <a:pt x="1374465" y="573689"/>
                </a:lnTo>
                <a:lnTo>
                  <a:pt x="1434224" y="583649"/>
                </a:lnTo>
                <a:lnTo>
                  <a:pt x="1490997" y="599585"/>
                </a:lnTo>
                <a:lnTo>
                  <a:pt x="1543784" y="618508"/>
                </a:lnTo>
                <a:lnTo>
                  <a:pt x="1597568" y="643409"/>
                </a:lnTo>
                <a:lnTo>
                  <a:pt x="1647367" y="671296"/>
                </a:lnTo>
                <a:lnTo>
                  <a:pt x="1694178" y="703168"/>
                </a:lnTo>
                <a:lnTo>
                  <a:pt x="1738002" y="737031"/>
                </a:lnTo>
                <a:lnTo>
                  <a:pt x="1778838" y="774879"/>
                </a:lnTo>
                <a:lnTo>
                  <a:pt x="1819673" y="812726"/>
                </a:lnTo>
                <a:lnTo>
                  <a:pt x="1854533" y="856550"/>
                </a:lnTo>
                <a:lnTo>
                  <a:pt x="1886405" y="903361"/>
                </a:lnTo>
                <a:lnTo>
                  <a:pt x="1914292" y="950173"/>
                </a:lnTo>
                <a:lnTo>
                  <a:pt x="1939192" y="1003956"/>
                </a:lnTo>
                <a:lnTo>
                  <a:pt x="1958116" y="1053756"/>
                </a:lnTo>
                <a:lnTo>
                  <a:pt x="1974052" y="1110527"/>
                </a:lnTo>
                <a:lnTo>
                  <a:pt x="1986004" y="1167298"/>
                </a:lnTo>
                <a:lnTo>
                  <a:pt x="1989988" y="1195186"/>
                </a:lnTo>
                <a:lnTo>
                  <a:pt x="1992975" y="1224069"/>
                </a:lnTo>
                <a:lnTo>
                  <a:pt x="1992975" y="1276857"/>
                </a:lnTo>
                <a:lnTo>
                  <a:pt x="1992975" y="1333628"/>
                </a:lnTo>
                <a:lnTo>
                  <a:pt x="1989988" y="1364504"/>
                </a:lnTo>
                <a:lnTo>
                  <a:pt x="1986004" y="1393387"/>
                </a:lnTo>
                <a:lnTo>
                  <a:pt x="1974052" y="1449163"/>
                </a:lnTo>
                <a:lnTo>
                  <a:pt x="1958116" y="1502946"/>
                </a:lnTo>
                <a:lnTo>
                  <a:pt x="1939192" y="1555734"/>
                </a:lnTo>
                <a:lnTo>
                  <a:pt x="1914292" y="1606529"/>
                </a:lnTo>
                <a:lnTo>
                  <a:pt x="1886405" y="1656328"/>
                </a:lnTo>
                <a:lnTo>
                  <a:pt x="1854533" y="1703140"/>
                </a:lnTo>
                <a:lnTo>
                  <a:pt x="1819673" y="1743975"/>
                </a:lnTo>
                <a:lnTo>
                  <a:pt x="1778838" y="1784811"/>
                </a:lnTo>
                <a:lnTo>
                  <a:pt x="1738002" y="1822658"/>
                </a:lnTo>
                <a:lnTo>
                  <a:pt x="1694178" y="1857518"/>
                </a:lnTo>
                <a:lnTo>
                  <a:pt x="1647367" y="1888394"/>
                </a:lnTo>
                <a:lnTo>
                  <a:pt x="1597568" y="1917277"/>
                </a:lnTo>
                <a:lnTo>
                  <a:pt x="1543784" y="1939189"/>
                </a:lnTo>
                <a:lnTo>
                  <a:pt x="1490997" y="1961101"/>
                </a:lnTo>
                <a:lnTo>
                  <a:pt x="1434224" y="1977036"/>
                </a:lnTo>
                <a:lnTo>
                  <a:pt x="1374465" y="1986001"/>
                </a:lnTo>
                <a:lnTo>
                  <a:pt x="1346577" y="1991976"/>
                </a:lnTo>
                <a:lnTo>
                  <a:pt x="1317694" y="1991976"/>
                </a:lnTo>
                <a:lnTo>
                  <a:pt x="1264906" y="1994964"/>
                </a:lnTo>
                <a:lnTo>
                  <a:pt x="1205147" y="1991976"/>
                </a:lnTo>
                <a:lnTo>
                  <a:pt x="1176264" y="1991976"/>
                </a:lnTo>
                <a:lnTo>
                  <a:pt x="1151363" y="1986001"/>
                </a:lnTo>
                <a:lnTo>
                  <a:pt x="1091604" y="1973052"/>
                </a:lnTo>
                <a:lnTo>
                  <a:pt x="1035829" y="1958113"/>
                </a:lnTo>
                <a:lnTo>
                  <a:pt x="982045" y="1939189"/>
                </a:lnTo>
                <a:lnTo>
                  <a:pt x="935234" y="1917277"/>
                </a:lnTo>
                <a:lnTo>
                  <a:pt x="922286" y="1914289"/>
                </a:lnTo>
                <a:lnTo>
                  <a:pt x="913322" y="1910305"/>
                </a:lnTo>
                <a:lnTo>
                  <a:pt x="900374" y="1907317"/>
                </a:lnTo>
                <a:lnTo>
                  <a:pt x="888422" y="1910305"/>
                </a:lnTo>
                <a:lnTo>
                  <a:pt x="875475" y="1914289"/>
                </a:lnTo>
                <a:lnTo>
                  <a:pt x="862527" y="1920265"/>
                </a:lnTo>
                <a:lnTo>
                  <a:pt x="853563" y="1932217"/>
                </a:lnTo>
                <a:lnTo>
                  <a:pt x="275889" y="2493954"/>
                </a:lnTo>
                <a:lnTo>
                  <a:pt x="253977" y="2503914"/>
                </a:lnTo>
                <a:lnTo>
                  <a:pt x="248002" y="2506903"/>
                </a:lnTo>
                <a:lnTo>
                  <a:pt x="235053" y="2509890"/>
                </a:lnTo>
                <a:lnTo>
                  <a:pt x="226090" y="2506903"/>
                </a:lnTo>
                <a:lnTo>
                  <a:pt x="216130" y="2503914"/>
                </a:lnTo>
                <a:lnTo>
                  <a:pt x="194218" y="2493954"/>
                </a:lnTo>
                <a:lnTo>
                  <a:pt x="8964" y="2315673"/>
                </a:lnTo>
                <a:lnTo>
                  <a:pt x="2988" y="2296749"/>
                </a:lnTo>
                <a:lnTo>
                  <a:pt x="0" y="2277825"/>
                </a:lnTo>
                <a:lnTo>
                  <a:pt x="2988" y="2258901"/>
                </a:lnTo>
                <a:lnTo>
                  <a:pt x="5976" y="2249938"/>
                </a:lnTo>
                <a:lnTo>
                  <a:pt x="8964" y="2242965"/>
                </a:lnTo>
                <a:lnTo>
                  <a:pt x="589626" y="1675252"/>
                </a:lnTo>
                <a:lnTo>
                  <a:pt x="596598" y="1666288"/>
                </a:lnTo>
                <a:lnTo>
                  <a:pt x="602574" y="1659316"/>
                </a:lnTo>
                <a:lnTo>
                  <a:pt x="608550" y="1650352"/>
                </a:lnTo>
                <a:lnTo>
                  <a:pt x="611537" y="1637405"/>
                </a:lnTo>
                <a:lnTo>
                  <a:pt x="611537" y="1628440"/>
                </a:lnTo>
                <a:lnTo>
                  <a:pt x="611537" y="1615493"/>
                </a:lnTo>
                <a:lnTo>
                  <a:pt x="608550" y="1606529"/>
                </a:lnTo>
                <a:lnTo>
                  <a:pt x="605561" y="1596569"/>
                </a:lnTo>
                <a:lnTo>
                  <a:pt x="583650" y="1546769"/>
                </a:lnTo>
                <a:lnTo>
                  <a:pt x="561738" y="1496970"/>
                </a:lnTo>
                <a:lnTo>
                  <a:pt x="545802" y="1446175"/>
                </a:lnTo>
                <a:lnTo>
                  <a:pt x="533850" y="1393387"/>
                </a:lnTo>
                <a:lnTo>
                  <a:pt x="529866" y="1364504"/>
                </a:lnTo>
                <a:lnTo>
                  <a:pt x="526879" y="1333628"/>
                </a:lnTo>
                <a:lnTo>
                  <a:pt x="526879" y="1304745"/>
                </a:lnTo>
                <a:lnTo>
                  <a:pt x="523890" y="1276857"/>
                </a:lnTo>
                <a:lnTo>
                  <a:pt x="526879" y="1224069"/>
                </a:lnTo>
                <a:lnTo>
                  <a:pt x="529866" y="1195186"/>
                </a:lnTo>
                <a:lnTo>
                  <a:pt x="533850" y="1167298"/>
                </a:lnTo>
                <a:lnTo>
                  <a:pt x="542814" y="1110527"/>
                </a:lnTo>
                <a:lnTo>
                  <a:pt x="558750" y="1053756"/>
                </a:lnTo>
                <a:lnTo>
                  <a:pt x="580662" y="1003956"/>
                </a:lnTo>
                <a:lnTo>
                  <a:pt x="605561" y="950173"/>
                </a:lnTo>
                <a:lnTo>
                  <a:pt x="633449" y="903361"/>
                </a:lnTo>
                <a:lnTo>
                  <a:pt x="665321" y="856550"/>
                </a:lnTo>
                <a:lnTo>
                  <a:pt x="700181" y="812726"/>
                </a:lnTo>
                <a:lnTo>
                  <a:pt x="741016" y="774879"/>
                </a:lnTo>
                <a:lnTo>
                  <a:pt x="781852" y="737031"/>
                </a:lnTo>
                <a:lnTo>
                  <a:pt x="825675" y="703168"/>
                </a:lnTo>
                <a:lnTo>
                  <a:pt x="875475" y="671296"/>
                </a:lnTo>
                <a:lnTo>
                  <a:pt x="925274" y="643409"/>
                </a:lnTo>
                <a:lnTo>
                  <a:pt x="979058" y="618508"/>
                </a:lnTo>
                <a:lnTo>
                  <a:pt x="1035829" y="599585"/>
                </a:lnTo>
                <a:lnTo>
                  <a:pt x="1091604" y="583649"/>
                </a:lnTo>
                <a:lnTo>
                  <a:pt x="1151363" y="573689"/>
                </a:lnTo>
                <a:lnTo>
                  <a:pt x="1176264" y="567713"/>
                </a:lnTo>
                <a:lnTo>
                  <a:pt x="1205147" y="567713"/>
                </a:lnTo>
                <a:close/>
                <a:moveTo>
                  <a:pt x="2940162" y="483055"/>
                </a:moveTo>
                <a:lnTo>
                  <a:pt x="2934186" y="496003"/>
                </a:lnTo>
                <a:lnTo>
                  <a:pt x="2918250" y="520902"/>
                </a:lnTo>
                <a:lnTo>
                  <a:pt x="2896338" y="545802"/>
                </a:lnTo>
                <a:lnTo>
                  <a:pt x="2874426" y="567714"/>
                </a:lnTo>
                <a:lnTo>
                  <a:pt x="2849526" y="589626"/>
                </a:lnTo>
                <a:lnTo>
                  <a:pt x="2906298" y="662332"/>
                </a:lnTo>
                <a:lnTo>
                  <a:pt x="2959085" y="737032"/>
                </a:lnTo>
                <a:lnTo>
                  <a:pt x="3002909" y="812727"/>
                </a:lnTo>
                <a:lnTo>
                  <a:pt x="3040756" y="891410"/>
                </a:lnTo>
                <a:lnTo>
                  <a:pt x="3059680" y="935233"/>
                </a:lnTo>
                <a:lnTo>
                  <a:pt x="3075616" y="979057"/>
                </a:lnTo>
                <a:lnTo>
                  <a:pt x="3109480" y="941209"/>
                </a:lnTo>
                <a:lnTo>
                  <a:pt x="3135375" y="906350"/>
                </a:lnTo>
                <a:lnTo>
                  <a:pt x="3150315" y="875474"/>
                </a:lnTo>
                <a:lnTo>
                  <a:pt x="3160275" y="850574"/>
                </a:lnTo>
                <a:lnTo>
                  <a:pt x="3163263" y="828663"/>
                </a:lnTo>
                <a:lnTo>
                  <a:pt x="3166251" y="812727"/>
                </a:lnTo>
                <a:lnTo>
                  <a:pt x="3163263" y="799779"/>
                </a:lnTo>
                <a:lnTo>
                  <a:pt x="3147327" y="755955"/>
                </a:lnTo>
                <a:lnTo>
                  <a:pt x="3125416" y="712132"/>
                </a:lnTo>
                <a:lnTo>
                  <a:pt x="3094540" y="652373"/>
                </a:lnTo>
                <a:lnTo>
                  <a:pt x="3053704" y="599586"/>
                </a:lnTo>
                <a:lnTo>
                  <a:pt x="2999921" y="539826"/>
                </a:lnTo>
                <a:lnTo>
                  <a:pt x="2972033" y="507955"/>
                </a:lnTo>
                <a:close/>
                <a:moveTo>
                  <a:pt x="2287788" y="294813"/>
                </a:moveTo>
                <a:lnTo>
                  <a:pt x="2287788" y="690220"/>
                </a:lnTo>
                <a:lnTo>
                  <a:pt x="2344560" y="687232"/>
                </a:lnTo>
                <a:lnTo>
                  <a:pt x="2397347" y="681257"/>
                </a:lnTo>
                <a:lnTo>
                  <a:pt x="2454119" y="671297"/>
                </a:lnTo>
                <a:lnTo>
                  <a:pt x="2510890" y="659345"/>
                </a:lnTo>
                <a:lnTo>
                  <a:pt x="2463082" y="564726"/>
                </a:lnTo>
                <a:lnTo>
                  <a:pt x="2413283" y="477079"/>
                </a:lnTo>
                <a:lnTo>
                  <a:pt x="2359500" y="395408"/>
                </a:lnTo>
                <a:lnTo>
                  <a:pt x="2306712" y="322700"/>
                </a:lnTo>
                <a:lnTo>
                  <a:pt x="2296753" y="307761"/>
                </a:lnTo>
                <a:close/>
                <a:moveTo>
                  <a:pt x="2222053" y="294813"/>
                </a:moveTo>
                <a:lnTo>
                  <a:pt x="2212093" y="307761"/>
                </a:lnTo>
                <a:lnTo>
                  <a:pt x="2206117" y="322700"/>
                </a:lnTo>
                <a:lnTo>
                  <a:pt x="2149346" y="395408"/>
                </a:lnTo>
                <a:lnTo>
                  <a:pt x="2096558" y="477079"/>
                </a:lnTo>
                <a:lnTo>
                  <a:pt x="2045763" y="564726"/>
                </a:lnTo>
                <a:lnTo>
                  <a:pt x="1998951" y="659345"/>
                </a:lnTo>
                <a:lnTo>
                  <a:pt x="2055723" y="671297"/>
                </a:lnTo>
                <a:lnTo>
                  <a:pt x="2111499" y="681257"/>
                </a:lnTo>
                <a:lnTo>
                  <a:pt x="2168270" y="687232"/>
                </a:lnTo>
                <a:lnTo>
                  <a:pt x="2222053" y="690220"/>
                </a:lnTo>
                <a:close/>
                <a:moveTo>
                  <a:pt x="2359500" y="291825"/>
                </a:moveTo>
                <a:lnTo>
                  <a:pt x="2416271" y="367520"/>
                </a:lnTo>
                <a:lnTo>
                  <a:pt x="2473042" y="452179"/>
                </a:lnTo>
                <a:lnTo>
                  <a:pt x="2522842" y="542814"/>
                </a:lnTo>
                <a:lnTo>
                  <a:pt x="2573638" y="643409"/>
                </a:lnTo>
                <a:lnTo>
                  <a:pt x="2620449" y="627473"/>
                </a:lnTo>
                <a:lnTo>
                  <a:pt x="2664273" y="608550"/>
                </a:lnTo>
                <a:lnTo>
                  <a:pt x="2708096" y="589626"/>
                </a:lnTo>
                <a:lnTo>
                  <a:pt x="2748932" y="567714"/>
                </a:lnTo>
                <a:lnTo>
                  <a:pt x="2714072" y="536838"/>
                </a:lnTo>
                <a:lnTo>
                  <a:pt x="2705108" y="526878"/>
                </a:lnTo>
                <a:lnTo>
                  <a:pt x="2667261" y="489031"/>
                </a:lnTo>
                <a:lnTo>
                  <a:pt x="2626425" y="455167"/>
                </a:lnTo>
                <a:lnTo>
                  <a:pt x="2582602" y="423295"/>
                </a:lnTo>
                <a:lnTo>
                  <a:pt x="2541766" y="392420"/>
                </a:lnTo>
                <a:lnTo>
                  <a:pt x="2497942" y="363536"/>
                </a:lnTo>
                <a:lnTo>
                  <a:pt x="2451131" y="338637"/>
                </a:lnTo>
                <a:lnTo>
                  <a:pt x="2407307" y="313737"/>
                </a:lnTo>
                <a:close/>
                <a:moveTo>
                  <a:pt x="2438182" y="259953"/>
                </a:moveTo>
                <a:lnTo>
                  <a:pt x="2506906" y="297801"/>
                </a:lnTo>
                <a:lnTo>
                  <a:pt x="2573637" y="341624"/>
                </a:lnTo>
                <a:lnTo>
                  <a:pt x="2639372" y="389432"/>
                </a:lnTo>
                <a:lnTo>
                  <a:pt x="2705108" y="442219"/>
                </a:lnTo>
                <a:lnTo>
                  <a:pt x="2761879" y="493015"/>
                </a:lnTo>
                <a:lnTo>
                  <a:pt x="2767855" y="501979"/>
                </a:lnTo>
                <a:lnTo>
                  <a:pt x="2798731" y="533850"/>
                </a:lnTo>
                <a:lnTo>
                  <a:pt x="2839566" y="498991"/>
                </a:lnTo>
                <a:lnTo>
                  <a:pt x="2855502" y="480067"/>
                </a:lnTo>
                <a:lnTo>
                  <a:pt x="2868450" y="458155"/>
                </a:lnTo>
                <a:lnTo>
                  <a:pt x="2880402" y="436243"/>
                </a:lnTo>
                <a:lnTo>
                  <a:pt x="2820642" y="398396"/>
                </a:lnTo>
                <a:lnTo>
                  <a:pt x="2757895" y="363536"/>
                </a:lnTo>
                <a:lnTo>
                  <a:pt x="2724032" y="345608"/>
                </a:lnTo>
                <a:lnTo>
                  <a:pt x="2689172" y="332661"/>
                </a:lnTo>
                <a:lnTo>
                  <a:pt x="2629412" y="307761"/>
                </a:lnTo>
                <a:lnTo>
                  <a:pt x="2566665" y="288837"/>
                </a:lnTo>
                <a:lnTo>
                  <a:pt x="2503918" y="272901"/>
                </a:lnTo>
                <a:close/>
                <a:moveTo>
                  <a:pt x="2532802" y="197206"/>
                </a:moveTo>
                <a:lnTo>
                  <a:pt x="2497942" y="201190"/>
                </a:lnTo>
                <a:lnTo>
                  <a:pt x="2460094" y="204178"/>
                </a:lnTo>
                <a:lnTo>
                  <a:pt x="2513878" y="213142"/>
                </a:lnTo>
                <a:lnTo>
                  <a:pt x="2566665" y="226090"/>
                </a:lnTo>
                <a:lnTo>
                  <a:pt x="2617460" y="242026"/>
                </a:lnTo>
                <a:lnTo>
                  <a:pt x="2667260" y="256965"/>
                </a:lnTo>
                <a:lnTo>
                  <a:pt x="2705108" y="272901"/>
                </a:lnTo>
                <a:lnTo>
                  <a:pt x="2742956" y="288837"/>
                </a:lnTo>
                <a:lnTo>
                  <a:pt x="2817655" y="322700"/>
                </a:lnTo>
                <a:lnTo>
                  <a:pt x="2887374" y="367520"/>
                </a:lnTo>
                <a:lnTo>
                  <a:pt x="2883390" y="348596"/>
                </a:lnTo>
                <a:lnTo>
                  <a:pt x="2877414" y="329672"/>
                </a:lnTo>
                <a:lnTo>
                  <a:pt x="2858490" y="291825"/>
                </a:lnTo>
                <a:lnTo>
                  <a:pt x="2827615" y="272901"/>
                </a:lnTo>
                <a:lnTo>
                  <a:pt x="2795743" y="253977"/>
                </a:lnTo>
                <a:lnTo>
                  <a:pt x="2757895" y="238042"/>
                </a:lnTo>
                <a:lnTo>
                  <a:pt x="2724032" y="226090"/>
                </a:lnTo>
                <a:lnTo>
                  <a:pt x="2686184" y="216130"/>
                </a:lnTo>
                <a:lnTo>
                  <a:pt x="2645348" y="207166"/>
                </a:lnTo>
                <a:lnTo>
                  <a:pt x="2588577" y="201190"/>
                </a:lnTo>
                <a:close/>
                <a:moveTo>
                  <a:pt x="1977040" y="197206"/>
                </a:moveTo>
                <a:lnTo>
                  <a:pt x="1920269" y="201190"/>
                </a:lnTo>
                <a:lnTo>
                  <a:pt x="1863497" y="207166"/>
                </a:lnTo>
                <a:lnTo>
                  <a:pt x="1826646" y="216130"/>
                </a:lnTo>
                <a:lnTo>
                  <a:pt x="1788798" y="226090"/>
                </a:lnTo>
                <a:lnTo>
                  <a:pt x="1750951" y="238042"/>
                </a:lnTo>
                <a:lnTo>
                  <a:pt x="1716091" y="253977"/>
                </a:lnTo>
                <a:lnTo>
                  <a:pt x="1682227" y="272901"/>
                </a:lnTo>
                <a:lnTo>
                  <a:pt x="1650355" y="291825"/>
                </a:lnTo>
                <a:lnTo>
                  <a:pt x="1631432" y="329672"/>
                </a:lnTo>
                <a:lnTo>
                  <a:pt x="1625456" y="348596"/>
                </a:lnTo>
                <a:lnTo>
                  <a:pt x="1622468" y="367520"/>
                </a:lnTo>
                <a:lnTo>
                  <a:pt x="1694179" y="326684"/>
                </a:lnTo>
                <a:lnTo>
                  <a:pt x="1766886" y="288837"/>
                </a:lnTo>
                <a:lnTo>
                  <a:pt x="1804734" y="272901"/>
                </a:lnTo>
                <a:lnTo>
                  <a:pt x="1841585" y="256965"/>
                </a:lnTo>
                <a:lnTo>
                  <a:pt x="1892381" y="242026"/>
                </a:lnTo>
                <a:lnTo>
                  <a:pt x="1942180" y="226090"/>
                </a:lnTo>
                <a:lnTo>
                  <a:pt x="1995964" y="213142"/>
                </a:lnTo>
                <a:lnTo>
                  <a:pt x="2048751" y="204178"/>
                </a:lnTo>
                <a:lnTo>
                  <a:pt x="2014887" y="201190"/>
                </a:lnTo>
                <a:close/>
                <a:moveTo>
                  <a:pt x="2476031" y="112547"/>
                </a:moveTo>
                <a:lnTo>
                  <a:pt x="2444159" y="122507"/>
                </a:lnTo>
                <a:lnTo>
                  <a:pt x="2413283" y="134459"/>
                </a:lnTo>
                <a:lnTo>
                  <a:pt x="2381411" y="150395"/>
                </a:lnTo>
                <a:lnTo>
                  <a:pt x="2457107" y="141431"/>
                </a:lnTo>
                <a:lnTo>
                  <a:pt x="2532802" y="138443"/>
                </a:lnTo>
                <a:lnTo>
                  <a:pt x="2560689" y="138443"/>
                </a:lnTo>
                <a:lnTo>
                  <a:pt x="2588577" y="141431"/>
                </a:lnTo>
                <a:lnTo>
                  <a:pt x="2569654" y="128483"/>
                </a:lnTo>
                <a:lnTo>
                  <a:pt x="2547742" y="119519"/>
                </a:lnTo>
                <a:lnTo>
                  <a:pt x="2525830" y="112547"/>
                </a:lnTo>
                <a:lnTo>
                  <a:pt x="2503918" y="112547"/>
                </a:lnTo>
                <a:close/>
                <a:moveTo>
                  <a:pt x="1983016" y="112547"/>
                </a:moveTo>
                <a:lnTo>
                  <a:pt x="1961104" y="119519"/>
                </a:lnTo>
                <a:lnTo>
                  <a:pt x="1942180" y="128483"/>
                </a:lnTo>
                <a:lnTo>
                  <a:pt x="1923256" y="141431"/>
                </a:lnTo>
                <a:lnTo>
                  <a:pt x="1949152" y="138443"/>
                </a:lnTo>
                <a:lnTo>
                  <a:pt x="1977040" y="138443"/>
                </a:lnTo>
                <a:lnTo>
                  <a:pt x="2052735" y="141431"/>
                </a:lnTo>
                <a:lnTo>
                  <a:pt x="2130422" y="150395"/>
                </a:lnTo>
                <a:lnTo>
                  <a:pt x="2096558" y="134459"/>
                </a:lnTo>
                <a:lnTo>
                  <a:pt x="2064687" y="122507"/>
                </a:lnTo>
                <a:lnTo>
                  <a:pt x="2036799" y="112547"/>
                </a:lnTo>
                <a:lnTo>
                  <a:pt x="2004927" y="112547"/>
                </a:lnTo>
                <a:close/>
                <a:moveTo>
                  <a:pt x="2281812" y="59759"/>
                </a:moveTo>
                <a:lnTo>
                  <a:pt x="2281812" y="147406"/>
                </a:lnTo>
                <a:lnTo>
                  <a:pt x="2312688" y="122507"/>
                </a:lnTo>
                <a:lnTo>
                  <a:pt x="2340576" y="103583"/>
                </a:lnTo>
                <a:lnTo>
                  <a:pt x="2372448" y="87647"/>
                </a:lnTo>
                <a:lnTo>
                  <a:pt x="2400335" y="71711"/>
                </a:lnTo>
                <a:lnTo>
                  <a:pt x="2344560" y="65735"/>
                </a:lnTo>
                <a:close/>
                <a:moveTo>
                  <a:pt x="2228029" y="59759"/>
                </a:moveTo>
                <a:lnTo>
                  <a:pt x="2168270" y="65735"/>
                </a:lnTo>
                <a:lnTo>
                  <a:pt x="2108510" y="71711"/>
                </a:lnTo>
                <a:lnTo>
                  <a:pt x="2137394" y="87647"/>
                </a:lnTo>
                <a:lnTo>
                  <a:pt x="2168270" y="103583"/>
                </a:lnTo>
                <a:lnTo>
                  <a:pt x="2200141" y="122507"/>
                </a:lnTo>
                <a:lnTo>
                  <a:pt x="2228029" y="147406"/>
                </a:lnTo>
                <a:close/>
                <a:moveTo>
                  <a:pt x="2209105" y="0"/>
                </a:moveTo>
                <a:lnTo>
                  <a:pt x="2255917" y="0"/>
                </a:lnTo>
                <a:lnTo>
                  <a:pt x="2303724" y="0"/>
                </a:lnTo>
                <a:lnTo>
                  <a:pt x="2347548" y="2988"/>
                </a:lnTo>
                <a:lnTo>
                  <a:pt x="2394359" y="8964"/>
                </a:lnTo>
                <a:lnTo>
                  <a:pt x="2438182" y="18924"/>
                </a:lnTo>
                <a:lnTo>
                  <a:pt x="2482006" y="27888"/>
                </a:lnTo>
                <a:lnTo>
                  <a:pt x="2525829" y="40836"/>
                </a:lnTo>
                <a:lnTo>
                  <a:pt x="2569653" y="53783"/>
                </a:lnTo>
                <a:lnTo>
                  <a:pt x="2610489" y="68724"/>
                </a:lnTo>
                <a:lnTo>
                  <a:pt x="2651324" y="84659"/>
                </a:lnTo>
                <a:lnTo>
                  <a:pt x="2692160" y="103583"/>
                </a:lnTo>
                <a:lnTo>
                  <a:pt x="2730008" y="122507"/>
                </a:lnTo>
                <a:lnTo>
                  <a:pt x="2767855" y="144419"/>
                </a:lnTo>
                <a:lnTo>
                  <a:pt x="2805703" y="169318"/>
                </a:lnTo>
                <a:lnTo>
                  <a:pt x="2839566" y="194218"/>
                </a:lnTo>
                <a:lnTo>
                  <a:pt x="2874426" y="220114"/>
                </a:lnTo>
                <a:lnTo>
                  <a:pt x="2909286" y="248001"/>
                </a:lnTo>
                <a:lnTo>
                  <a:pt x="2962073" y="297801"/>
                </a:lnTo>
                <a:lnTo>
                  <a:pt x="3005897" y="345608"/>
                </a:lnTo>
                <a:lnTo>
                  <a:pt x="3043744" y="392419"/>
                </a:lnTo>
                <a:lnTo>
                  <a:pt x="3078604" y="442219"/>
                </a:lnTo>
                <a:lnTo>
                  <a:pt x="3112467" y="493014"/>
                </a:lnTo>
                <a:lnTo>
                  <a:pt x="3141351" y="548790"/>
                </a:lnTo>
                <a:lnTo>
                  <a:pt x="3169239" y="605561"/>
                </a:lnTo>
                <a:lnTo>
                  <a:pt x="3191151" y="662332"/>
                </a:lnTo>
                <a:lnTo>
                  <a:pt x="3210074" y="725079"/>
                </a:lnTo>
                <a:lnTo>
                  <a:pt x="3223023" y="784839"/>
                </a:lnTo>
                <a:lnTo>
                  <a:pt x="3231986" y="834638"/>
                </a:lnTo>
                <a:lnTo>
                  <a:pt x="3213063" y="884437"/>
                </a:lnTo>
                <a:lnTo>
                  <a:pt x="3201111" y="916309"/>
                </a:lnTo>
                <a:lnTo>
                  <a:pt x="3198123" y="922285"/>
                </a:lnTo>
                <a:lnTo>
                  <a:pt x="3163263" y="969097"/>
                </a:lnTo>
                <a:lnTo>
                  <a:pt x="3125416" y="1009932"/>
                </a:lnTo>
                <a:lnTo>
                  <a:pt x="3084580" y="1050768"/>
                </a:lnTo>
                <a:lnTo>
                  <a:pt x="3040756" y="1088615"/>
                </a:lnTo>
                <a:lnTo>
                  <a:pt x="2993945" y="1123475"/>
                </a:lnTo>
                <a:lnTo>
                  <a:pt x="2943149" y="1151362"/>
                </a:lnTo>
                <a:lnTo>
                  <a:pt x="2893350" y="1179250"/>
                </a:lnTo>
                <a:lnTo>
                  <a:pt x="2839566" y="1208134"/>
                </a:lnTo>
                <a:lnTo>
                  <a:pt x="2751919" y="1236022"/>
                </a:lnTo>
                <a:lnTo>
                  <a:pt x="2751919" y="1239009"/>
                </a:lnTo>
                <a:lnTo>
                  <a:pt x="2692160" y="1257933"/>
                </a:lnTo>
                <a:lnTo>
                  <a:pt x="2692160" y="1254945"/>
                </a:lnTo>
                <a:lnTo>
                  <a:pt x="2595549" y="1279845"/>
                </a:lnTo>
                <a:lnTo>
                  <a:pt x="2497942" y="1298768"/>
                </a:lnTo>
                <a:lnTo>
                  <a:pt x="2438182" y="1304744"/>
                </a:lnTo>
                <a:lnTo>
                  <a:pt x="2378423" y="1308728"/>
                </a:lnTo>
                <a:lnTo>
                  <a:pt x="2315676" y="1311717"/>
                </a:lnTo>
                <a:lnTo>
                  <a:pt x="2255917" y="1314704"/>
                </a:lnTo>
                <a:lnTo>
                  <a:pt x="2146358" y="1311717"/>
                </a:lnTo>
                <a:lnTo>
                  <a:pt x="2149346" y="1251957"/>
                </a:lnTo>
                <a:lnTo>
                  <a:pt x="2149346" y="1239009"/>
                </a:lnTo>
                <a:lnTo>
                  <a:pt x="2222053" y="1245981"/>
                </a:lnTo>
                <a:lnTo>
                  <a:pt x="2222053" y="765915"/>
                </a:lnTo>
                <a:lnTo>
                  <a:pt x="2165281" y="761931"/>
                </a:lnTo>
                <a:lnTo>
                  <a:pt x="2102534" y="752967"/>
                </a:lnTo>
                <a:lnTo>
                  <a:pt x="2036799" y="744003"/>
                </a:lnTo>
                <a:lnTo>
                  <a:pt x="1971064" y="728068"/>
                </a:lnTo>
                <a:lnTo>
                  <a:pt x="1964092" y="737031"/>
                </a:lnTo>
                <a:lnTo>
                  <a:pt x="1936204" y="699184"/>
                </a:lnTo>
                <a:lnTo>
                  <a:pt x="1904332" y="668308"/>
                </a:lnTo>
                <a:lnTo>
                  <a:pt x="1870469" y="636437"/>
                </a:lnTo>
                <a:lnTo>
                  <a:pt x="1835609" y="605561"/>
                </a:lnTo>
                <a:lnTo>
                  <a:pt x="1886404" y="627473"/>
                </a:lnTo>
                <a:lnTo>
                  <a:pt x="1939192" y="643408"/>
                </a:lnTo>
                <a:lnTo>
                  <a:pt x="1986003" y="542814"/>
                </a:lnTo>
                <a:lnTo>
                  <a:pt x="2039787" y="452179"/>
                </a:lnTo>
                <a:lnTo>
                  <a:pt x="2092574" y="367520"/>
                </a:lnTo>
                <a:lnTo>
                  <a:pt x="2149346" y="291825"/>
                </a:lnTo>
                <a:lnTo>
                  <a:pt x="2105522" y="313737"/>
                </a:lnTo>
                <a:lnTo>
                  <a:pt x="2058711" y="338636"/>
                </a:lnTo>
                <a:lnTo>
                  <a:pt x="2014887" y="363536"/>
                </a:lnTo>
                <a:lnTo>
                  <a:pt x="1971064" y="392419"/>
                </a:lnTo>
                <a:lnTo>
                  <a:pt x="1927240" y="423295"/>
                </a:lnTo>
                <a:lnTo>
                  <a:pt x="1886404" y="455167"/>
                </a:lnTo>
                <a:lnTo>
                  <a:pt x="1845569" y="489031"/>
                </a:lnTo>
                <a:lnTo>
                  <a:pt x="1804733" y="526878"/>
                </a:lnTo>
                <a:lnTo>
                  <a:pt x="1794773" y="536838"/>
                </a:lnTo>
                <a:lnTo>
                  <a:pt x="1772862" y="558750"/>
                </a:lnTo>
                <a:lnTo>
                  <a:pt x="1716091" y="526878"/>
                </a:lnTo>
                <a:lnTo>
                  <a:pt x="1741986" y="501978"/>
                </a:lnTo>
                <a:lnTo>
                  <a:pt x="1750950" y="493014"/>
                </a:lnTo>
                <a:lnTo>
                  <a:pt x="1807722" y="442219"/>
                </a:lnTo>
                <a:lnTo>
                  <a:pt x="1870469" y="389432"/>
                </a:lnTo>
                <a:lnTo>
                  <a:pt x="1936204" y="341624"/>
                </a:lnTo>
                <a:lnTo>
                  <a:pt x="2004927" y="297801"/>
                </a:lnTo>
                <a:lnTo>
                  <a:pt x="2074647" y="259953"/>
                </a:lnTo>
                <a:lnTo>
                  <a:pt x="2007915" y="272901"/>
                </a:lnTo>
                <a:lnTo>
                  <a:pt x="1942180" y="288837"/>
                </a:lnTo>
                <a:lnTo>
                  <a:pt x="1879433" y="307761"/>
                </a:lnTo>
                <a:lnTo>
                  <a:pt x="1819673" y="332660"/>
                </a:lnTo>
                <a:lnTo>
                  <a:pt x="1750950" y="363536"/>
                </a:lnTo>
                <a:lnTo>
                  <a:pt x="1688203" y="398395"/>
                </a:lnTo>
                <a:lnTo>
                  <a:pt x="1631431" y="436243"/>
                </a:lnTo>
                <a:lnTo>
                  <a:pt x="1641391" y="458155"/>
                </a:lnTo>
                <a:lnTo>
                  <a:pt x="1657327" y="483055"/>
                </a:lnTo>
                <a:lnTo>
                  <a:pt x="1679239" y="507954"/>
                </a:lnTo>
                <a:lnTo>
                  <a:pt x="1622468" y="480066"/>
                </a:lnTo>
                <a:lnTo>
                  <a:pt x="1562708" y="461143"/>
                </a:lnTo>
                <a:lnTo>
                  <a:pt x="1502949" y="442219"/>
                </a:lnTo>
                <a:lnTo>
                  <a:pt x="1440201" y="430267"/>
                </a:lnTo>
                <a:lnTo>
                  <a:pt x="1472073" y="385448"/>
                </a:lnTo>
                <a:lnTo>
                  <a:pt x="1505937" y="345608"/>
                </a:lnTo>
                <a:lnTo>
                  <a:pt x="1537808" y="307761"/>
                </a:lnTo>
                <a:lnTo>
                  <a:pt x="1568684" y="275889"/>
                </a:lnTo>
                <a:lnTo>
                  <a:pt x="1600556" y="248001"/>
                </a:lnTo>
                <a:lnTo>
                  <a:pt x="1634419" y="220114"/>
                </a:lnTo>
                <a:lnTo>
                  <a:pt x="1669279" y="194218"/>
                </a:lnTo>
                <a:lnTo>
                  <a:pt x="1704139" y="169318"/>
                </a:lnTo>
                <a:lnTo>
                  <a:pt x="1741986" y="144419"/>
                </a:lnTo>
                <a:lnTo>
                  <a:pt x="1778838" y="122507"/>
                </a:lnTo>
                <a:lnTo>
                  <a:pt x="1819673" y="103583"/>
                </a:lnTo>
                <a:lnTo>
                  <a:pt x="1857521" y="84659"/>
                </a:lnTo>
                <a:lnTo>
                  <a:pt x="1898356" y="68724"/>
                </a:lnTo>
                <a:lnTo>
                  <a:pt x="1942180" y="53783"/>
                </a:lnTo>
                <a:lnTo>
                  <a:pt x="1983016" y="40836"/>
                </a:lnTo>
                <a:lnTo>
                  <a:pt x="2026839" y="27888"/>
                </a:lnTo>
                <a:lnTo>
                  <a:pt x="2070663" y="18924"/>
                </a:lnTo>
                <a:lnTo>
                  <a:pt x="2118470" y="8964"/>
                </a:lnTo>
                <a:lnTo>
                  <a:pt x="2162294" y="2988"/>
                </a:lnTo>
                <a:close/>
              </a:path>
            </a:pathLst>
          </a:custGeom>
          <a:solidFill>
            <a:srgbClr val="5E83BD"/>
          </a:solidFill>
          <a:ln>
            <a:noFill/>
          </a:ln>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latin typeface="Segoe UI"/>
              <a:ea typeface="+mn-ea"/>
              <a:cs typeface="+mn-cs"/>
            </a:endParaRPr>
          </a:p>
        </p:txBody>
      </p:sp>
      <p:sp>
        <p:nvSpPr>
          <p:cNvPr id="510" name="Rectangle 509"/>
          <p:cNvSpPr/>
          <p:nvPr/>
        </p:nvSpPr>
        <p:spPr bwMode="auto">
          <a:xfrm>
            <a:off x="3765449" y="3665081"/>
            <a:ext cx="1284161" cy="138499"/>
          </a:xfrm>
          <a:prstGeom prst="rect">
            <a:avLst/>
          </a:prstGeom>
          <a:noFill/>
          <a:ln w="9525" cap="flat" cmpd="sng" algn="ctr">
            <a:noFill/>
            <a:prstDash val="sysDot"/>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ctr" defTabSz="60888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505050"/>
                </a:solidFill>
                <a:effectLst/>
                <a:uLnTx/>
                <a:uFillTx/>
                <a:latin typeface="Segoe UI"/>
                <a:ea typeface="+mn-ea"/>
                <a:cs typeface="+mn-cs"/>
              </a:rPr>
              <a:t>Legacy Automation</a:t>
            </a:r>
          </a:p>
        </p:txBody>
      </p:sp>
      <p:sp>
        <p:nvSpPr>
          <p:cNvPr id="516" name="Freeform 81"/>
          <p:cNvSpPr>
            <a:spLocks/>
          </p:cNvSpPr>
          <p:nvPr/>
        </p:nvSpPr>
        <p:spPr bwMode="black">
          <a:xfrm>
            <a:off x="508853" y="3297167"/>
            <a:ext cx="358394" cy="487998"/>
          </a:xfrm>
          <a:custGeom>
            <a:avLst/>
            <a:gdLst>
              <a:gd name="T0" fmla="*/ 230 w 256"/>
              <a:gd name="T1" fmla="*/ 221 h 349"/>
              <a:gd name="T2" fmla="*/ 256 w 256"/>
              <a:gd name="T3" fmla="*/ 202 h 349"/>
              <a:gd name="T4" fmla="*/ 232 w 256"/>
              <a:gd name="T5" fmla="*/ 184 h 349"/>
              <a:gd name="T6" fmla="*/ 239 w 256"/>
              <a:gd name="T7" fmla="*/ 170 h 349"/>
              <a:gd name="T8" fmla="*/ 217 w 256"/>
              <a:gd name="T9" fmla="*/ 152 h 349"/>
              <a:gd name="T10" fmla="*/ 187 w 256"/>
              <a:gd name="T11" fmla="*/ 152 h 349"/>
              <a:gd name="T12" fmla="*/ 187 w 256"/>
              <a:gd name="T13" fmla="*/ 91 h 349"/>
              <a:gd name="T14" fmla="*/ 217 w 256"/>
              <a:gd name="T15" fmla="*/ 45 h 349"/>
              <a:gd name="T16" fmla="*/ 203 w 256"/>
              <a:gd name="T17" fmla="*/ 10 h 349"/>
              <a:gd name="T18" fmla="*/ 166 w 256"/>
              <a:gd name="T19" fmla="*/ 58 h 349"/>
              <a:gd name="T20" fmla="*/ 130 w 256"/>
              <a:gd name="T21" fmla="*/ 10 h 349"/>
              <a:gd name="T22" fmla="*/ 116 w 256"/>
              <a:gd name="T23" fmla="*/ 45 h 349"/>
              <a:gd name="T24" fmla="*/ 146 w 256"/>
              <a:gd name="T25" fmla="*/ 91 h 349"/>
              <a:gd name="T26" fmla="*/ 146 w 256"/>
              <a:gd name="T27" fmla="*/ 121 h 349"/>
              <a:gd name="T28" fmla="*/ 143 w 256"/>
              <a:gd name="T29" fmla="*/ 119 h 349"/>
              <a:gd name="T30" fmla="*/ 99 w 256"/>
              <a:gd name="T31" fmla="*/ 126 h 349"/>
              <a:gd name="T32" fmla="*/ 45 w 256"/>
              <a:gd name="T33" fmla="*/ 162 h 349"/>
              <a:gd name="T34" fmla="*/ 0 w 256"/>
              <a:gd name="T35" fmla="*/ 162 h 349"/>
              <a:gd name="T36" fmla="*/ 0 w 256"/>
              <a:gd name="T37" fmla="*/ 272 h 349"/>
              <a:gd name="T38" fmla="*/ 70 w 256"/>
              <a:gd name="T39" fmla="*/ 277 h 349"/>
              <a:gd name="T40" fmla="*/ 132 w 256"/>
              <a:gd name="T41" fmla="*/ 286 h 349"/>
              <a:gd name="T42" fmla="*/ 127 w 256"/>
              <a:gd name="T43" fmla="*/ 273 h 349"/>
              <a:gd name="T44" fmla="*/ 139 w 256"/>
              <a:gd name="T45" fmla="*/ 255 h 349"/>
              <a:gd name="T46" fmla="*/ 125 w 256"/>
              <a:gd name="T47" fmla="*/ 237 h 349"/>
              <a:gd name="T48" fmla="*/ 140 w 256"/>
              <a:gd name="T49" fmla="*/ 219 h 349"/>
              <a:gd name="T50" fmla="*/ 125 w 256"/>
              <a:gd name="T51" fmla="*/ 201 h 349"/>
              <a:gd name="T52" fmla="*/ 138 w 256"/>
              <a:gd name="T53" fmla="*/ 185 h 349"/>
              <a:gd name="T54" fmla="*/ 125 w 256"/>
              <a:gd name="T55" fmla="*/ 167 h 349"/>
              <a:gd name="T56" fmla="*/ 146 w 256"/>
              <a:gd name="T57" fmla="*/ 148 h 349"/>
              <a:gd name="T58" fmla="*/ 146 w 256"/>
              <a:gd name="T59" fmla="*/ 155 h 349"/>
              <a:gd name="T60" fmla="*/ 137 w 256"/>
              <a:gd name="T61" fmla="*/ 170 h 349"/>
              <a:gd name="T62" fmla="*/ 146 w 256"/>
              <a:gd name="T63" fmla="*/ 185 h 349"/>
              <a:gd name="T64" fmla="*/ 146 w 256"/>
              <a:gd name="T65" fmla="*/ 188 h 349"/>
              <a:gd name="T66" fmla="*/ 137 w 256"/>
              <a:gd name="T67" fmla="*/ 202 h 349"/>
              <a:gd name="T68" fmla="*/ 146 w 256"/>
              <a:gd name="T69" fmla="*/ 216 h 349"/>
              <a:gd name="T70" fmla="*/ 146 w 256"/>
              <a:gd name="T71" fmla="*/ 224 h 349"/>
              <a:gd name="T72" fmla="*/ 137 w 256"/>
              <a:gd name="T73" fmla="*/ 239 h 349"/>
              <a:gd name="T74" fmla="*/ 146 w 256"/>
              <a:gd name="T75" fmla="*/ 254 h 349"/>
              <a:gd name="T76" fmla="*/ 146 w 256"/>
              <a:gd name="T77" fmla="*/ 261 h 349"/>
              <a:gd name="T78" fmla="*/ 139 w 256"/>
              <a:gd name="T79" fmla="*/ 276 h 349"/>
              <a:gd name="T80" fmla="*/ 146 w 256"/>
              <a:gd name="T81" fmla="*/ 291 h 349"/>
              <a:gd name="T82" fmla="*/ 146 w 256"/>
              <a:gd name="T83" fmla="*/ 324 h 349"/>
              <a:gd name="T84" fmla="*/ 167 w 256"/>
              <a:gd name="T85" fmla="*/ 349 h 349"/>
              <a:gd name="T86" fmla="*/ 187 w 256"/>
              <a:gd name="T87" fmla="*/ 324 h 349"/>
              <a:gd name="T88" fmla="*/ 187 w 256"/>
              <a:gd name="T89" fmla="*/ 294 h 349"/>
              <a:gd name="T90" fmla="*/ 207 w 256"/>
              <a:gd name="T91" fmla="*/ 294 h 349"/>
              <a:gd name="T92" fmla="*/ 226 w 256"/>
              <a:gd name="T93" fmla="*/ 276 h 349"/>
              <a:gd name="T94" fmla="*/ 207 w 256"/>
              <a:gd name="T95" fmla="*/ 257 h 349"/>
              <a:gd name="T96" fmla="*/ 187 w 256"/>
              <a:gd name="T97" fmla="*/ 257 h 349"/>
              <a:gd name="T98" fmla="*/ 187 w 256"/>
              <a:gd name="T99" fmla="*/ 257 h 349"/>
              <a:gd name="T100" fmla="*/ 217 w 256"/>
              <a:gd name="T101" fmla="*/ 257 h 349"/>
              <a:gd name="T102" fmla="*/ 239 w 256"/>
              <a:gd name="T103" fmla="*/ 239 h 349"/>
              <a:gd name="T104" fmla="*/ 217 w 256"/>
              <a:gd name="T105" fmla="*/ 221 h 349"/>
              <a:gd name="T106" fmla="*/ 187 w 256"/>
              <a:gd name="T107" fmla="*/ 221 h 349"/>
              <a:gd name="T108" fmla="*/ 187 w 256"/>
              <a:gd name="T109" fmla="*/ 221 h 349"/>
              <a:gd name="T110" fmla="*/ 230 w 256"/>
              <a:gd name="T111" fmla="*/ 221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49">
                <a:moveTo>
                  <a:pt x="230" y="221"/>
                </a:moveTo>
                <a:cubicBezTo>
                  <a:pt x="245" y="221"/>
                  <a:pt x="256" y="212"/>
                  <a:pt x="256" y="202"/>
                </a:cubicBezTo>
                <a:cubicBezTo>
                  <a:pt x="256" y="192"/>
                  <a:pt x="245" y="184"/>
                  <a:pt x="232" y="184"/>
                </a:cubicBezTo>
                <a:cubicBezTo>
                  <a:pt x="236" y="180"/>
                  <a:pt x="239" y="175"/>
                  <a:pt x="239" y="170"/>
                </a:cubicBezTo>
                <a:cubicBezTo>
                  <a:pt x="239" y="160"/>
                  <a:pt x="229" y="152"/>
                  <a:pt x="217" y="152"/>
                </a:cubicBezTo>
                <a:cubicBezTo>
                  <a:pt x="187" y="152"/>
                  <a:pt x="187" y="152"/>
                  <a:pt x="187" y="152"/>
                </a:cubicBezTo>
                <a:cubicBezTo>
                  <a:pt x="187" y="91"/>
                  <a:pt x="187" y="91"/>
                  <a:pt x="187" y="91"/>
                </a:cubicBezTo>
                <a:cubicBezTo>
                  <a:pt x="205" y="83"/>
                  <a:pt x="217" y="66"/>
                  <a:pt x="217" y="45"/>
                </a:cubicBezTo>
                <a:cubicBezTo>
                  <a:pt x="217" y="31"/>
                  <a:pt x="203" y="0"/>
                  <a:pt x="203" y="10"/>
                </a:cubicBezTo>
                <a:cubicBezTo>
                  <a:pt x="204" y="24"/>
                  <a:pt x="195" y="58"/>
                  <a:pt x="166" y="58"/>
                </a:cubicBezTo>
                <a:cubicBezTo>
                  <a:pt x="140" y="58"/>
                  <a:pt x="129" y="30"/>
                  <a:pt x="130" y="10"/>
                </a:cubicBezTo>
                <a:cubicBezTo>
                  <a:pt x="130" y="3"/>
                  <a:pt x="116" y="32"/>
                  <a:pt x="116" y="45"/>
                </a:cubicBezTo>
                <a:cubicBezTo>
                  <a:pt x="116" y="66"/>
                  <a:pt x="129" y="84"/>
                  <a:pt x="146" y="91"/>
                </a:cubicBezTo>
                <a:cubicBezTo>
                  <a:pt x="146" y="121"/>
                  <a:pt x="146" y="121"/>
                  <a:pt x="146" y="121"/>
                </a:cubicBezTo>
                <a:cubicBezTo>
                  <a:pt x="143" y="119"/>
                  <a:pt x="143" y="119"/>
                  <a:pt x="143" y="119"/>
                </a:cubicBezTo>
                <a:cubicBezTo>
                  <a:pt x="143" y="119"/>
                  <a:pt x="110" y="122"/>
                  <a:pt x="99" y="126"/>
                </a:cubicBezTo>
                <a:cubicBezTo>
                  <a:pt x="87" y="131"/>
                  <a:pt x="63" y="162"/>
                  <a:pt x="45" y="162"/>
                </a:cubicBezTo>
                <a:cubicBezTo>
                  <a:pt x="26" y="162"/>
                  <a:pt x="0" y="162"/>
                  <a:pt x="0" y="162"/>
                </a:cubicBezTo>
                <a:cubicBezTo>
                  <a:pt x="0" y="272"/>
                  <a:pt x="0" y="272"/>
                  <a:pt x="0" y="272"/>
                </a:cubicBezTo>
                <a:cubicBezTo>
                  <a:pt x="0" y="272"/>
                  <a:pt x="47" y="272"/>
                  <a:pt x="70" y="277"/>
                </a:cubicBezTo>
                <a:cubicBezTo>
                  <a:pt x="86" y="280"/>
                  <a:pt x="110" y="284"/>
                  <a:pt x="132" y="286"/>
                </a:cubicBezTo>
                <a:cubicBezTo>
                  <a:pt x="129" y="283"/>
                  <a:pt x="127" y="278"/>
                  <a:pt x="127" y="273"/>
                </a:cubicBezTo>
                <a:cubicBezTo>
                  <a:pt x="127" y="265"/>
                  <a:pt x="132" y="258"/>
                  <a:pt x="139" y="255"/>
                </a:cubicBezTo>
                <a:cubicBezTo>
                  <a:pt x="131" y="252"/>
                  <a:pt x="125" y="245"/>
                  <a:pt x="125" y="237"/>
                </a:cubicBezTo>
                <a:cubicBezTo>
                  <a:pt x="125" y="229"/>
                  <a:pt x="131" y="222"/>
                  <a:pt x="140" y="219"/>
                </a:cubicBezTo>
                <a:cubicBezTo>
                  <a:pt x="131" y="216"/>
                  <a:pt x="125" y="209"/>
                  <a:pt x="125" y="201"/>
                </a:cubicBezTo>
                <a:cubicBezTo>
                  <a:pt x="125" y="194"/>
                  <a:pt x="130" y="188"/>
                  <a:pt x="138" y="185"/>
                </a:cubicBezTo>
                <a:cubicBezTo>
                  <a:pt x="130" y="182"/>
                  <a:pt x="125" y="175"/>
                  <a:pt x="125" y="167"/>
                </a:cubicBezTo>
                <a:cubicBezTo>
                  <a:pt x="125" y="157"/>
                  <a:pt x="135" y="148"/>
                  <a:pt x="146" y="148"/>
                </a:cubicBezTo>
                <a:cubicBezTo>
                  <a:pt x="146" y="155"/>
                  <a:pt x="146" y="155"/>
                  <a:pt x="146" y="155"/>
                </a:cubicBezTo>
                <a:cubicBezTo>
                  <a:pt x="141" y="158"/>
                  <a:pt x="137" y="164"/>
                  <a:pt x="137" y="170"/>
                </a:cubicBezTo>
                <a:cubicBezTo>
                  <a:pt x="137" y="176"/>
                  <a:pt x="141" y="182"/>
                  <a:pt x="146" y="185"/>
                </a:cubicBezTo>
                <a:cubicBezTo>
                  <a:pt x="146" y="188"/>
                  <a:pt x="146" y="188"/>
                  <a:pt x="146" y="188"/>
                </a:cubicBezTo>
                <a:cubicBezTo>
                  <a:pt x="141" y="191"/>
                  <a:pt x="137" y="196"/>
                  <a:pt x="137" y="202"/>
                </a:cubicBezTo>
                <a:cubicBezTo>
                  <a:pt x="137" y="208"/>
                  <a:pt x="141" y="213"/>
                  <a:pt x="146" y="216"/>
                </a:cubicBezTo>
                <a:cubicBezTo>
                  <a:pt x="146" y="224"/>
                  <a:pt x="146" y="224"/>
                  <a:pt x="146" y="224"/>
                </a:cubicBezTo>
                <a:cubicBezTo>
                  <a:pt x="141" y="227"/>
                  <a:pt x="137" y="233"/>
                  <a:pt x="137" y="239"/>
                </a:cubicBezTo>
                <a:cubicBezTo>
                  <a:pt x="137" y="245"/>
                  <a:pt x="141" y="251"/>
                  <a:pt x="146" y="254"/>
                </a:cubicBezTo>
                <a:cubicBezTo>
                  <a:pt x="146" y="261"/>
                  <a:pt x="146" y="261"/>
                  <a:pt x="146" y="261"/>
                </a:cubicBezTo>
                <a:cubicBezTo>
                  <a:pt x="142" y="264"/>
                  <a:pt x="139" y="270"/>
                  <a:pt x="139" y="276"/>
                </a:cubicBezTo>
                <a:cubicBezTo>
                  <a:pt x="139" y="282"/>
                  <a:pt x="142" y="287"/>
                  <a:pt x="146" y="291"/>
                </a:cubicBezTo>
                <a:cubicBezTo>
                  <a:pt x="146" y="324"/>
                  <a:pt x="146" y="324"/>
                  <a:pt x="146" y="324"/>
                </a:cubicBezTo>
                <a:cubicBezTo>
                  <a:pt x="146" y="338"/>
                  <a:pt x="156" y="349"/>
                  <a:pt x="167" y="349"/>
                </a:cubicBezTo>
                <a:cubicBezTo>
                  <a:pt x="178" y="349"/>
                  <a:pt x="187" y="338"/>
                  <a:pt x="187" y="324"/>
                </a:cubicBezTo>
                <a:cubicBezTo>
                  <a:pt x="187" y="294"/>
                  <a:pt x="187" y="294"/>
                  <a:pt x="187" y="294"/>
                </a:cubicBezTo>
                <a:cubicBezTo>
                  <a:pt x="207" y="294"/>
                  <a:pt x="207" y="294"/>
                  <a:pt x="207" y="294"/>
                </a:cubicBezTo>
                <a:cubicBezTo>
                  <a:pt x="217" y="294"/>
                  <a:pt x="226" y="286"/>
                  <a:pt x="226" y="276"/>
                </a:cubicBezTo>
                <a:cubicBezTo>
                  <a:pt x="226" y="266"/>
                  <a:pt x="217" y="257"/>
                  <a:pt x="207" y="257"/>
                </a:cubicBezTo>
                <a:cubicBezTo>
                  <a:pt x="187" y="257"/>
                  <a:pt x="187" y="257"/>
                  <a:pt x="187" y="257"/>
                </a:cubicBezTo>
                <a:cubicBezTo>
                  <a:pt x="187" y="257"/>
                  <a:pt x="187" y="257"/>
                  <a:pt x="187" y="257"/>
                </a:cubicBezTo>
                <a:cubicBezTo>
                  <a:pt x="217" y="257"/>
                  <a:pt x="217" y="257"/>
                  <a:pt x="217" y="257"/>
                </a:cubicBezTo>
                <a:cubicBezTo>
                  <a:pt x="229" y="257"/>
                  <a:pt x="239" y="249"/>
                  <a:pt x="239" y="239"/>
                </a:cubicBezTo>
                <a:cubicBezTo>
                  <a:pt x="239" y="229"/>
                  <a:pt x="229" y="221"/>
                  <a:pt x="217" y="221"/>
                </a:cubicBezTo>
                <a:cubicBezTo>
                  <a:pt x="187" y="221"/>
                  <a:pt x="187" y="221"/>
                  <a:pt x="187" y="221"/>
                </a:cubicBezTo>
                <a:cubicBezTo>
                  <a:pt x="187" y="221"/>
                  <a:pt x="187" y="221"/>
                  <a:pt x="187" y="221"/>
                </a:cubicBezTo>
                <a:lnTo>
                  <a:pt x="230" y="221"/>
                </a:lnTo>
                <a:close/>
              </a:path>
            </a:pathLst>
          </a:custGeom>
          <a:solidFill>
            <a:srgbClr val="5E83BD"/>
          </a:solidFill>
          <a:ln>
            <a:noFill/>
          </a:ln>
        </p:spPr>
        <p:txBody>
          <a:bodyPr vert="horz" wrap="square" lIns="82305" tIns="41153" rIns="82305" bIns="41153"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517" name="Down Arrow 28"/>
          <p:cNvSpPr>
            <a:spLocks noChangeAspect="1"/>
          </p:cNvSpPr>
          <p:nvPr/>
        </p:nvSpPr>
        <p:spPr>
          <a:xfrm>
            <a:off x="10264096" y="3713022"/>
            <a:ext cx="270370" cy="312563"/>
          </a:xfrm>
          <a:custGeom>
            <a:avLst/>
            <a:gdLst/>
            <a:ahLst/>
            <a:cxnLst/>
            <a:rect l="l" t="t" r="r" b="b"/>
            <a:pathLst>
              <a:path w="2019300" h="2334427">
                <a:moveTo>
                  <a:pt x="968576" y="1329015"/>
                </a:moveTo>
                <a:lnTo>
                  <a:pt x="1127023" y="1636940"/>
                </a:lnTo>
                <a:lnTo>
                  <a:pt x="1026873" y="1636940"/>
                </a:lnTo>
                <a:lnTo>
                  <a:pt x="1026873" y="1711680"/>
                </a:lnTo>
                <a:lnTo>
                  <a:pt x="1161403" y="1711680"/>
                </a:lnTo>
                <a:lnTo>
                  <a:pt x="1161403" y="1761007"/>
                </a:lnTo>
                <a:lnTo>
                  <a:pt x="1026873" y="1761007"/>
                </a:lnTo>
                <a:lnTo>
                  <a:pt x="1026873" y="1831262"/>
                </a:lnTo>
                <a:lnTo>
                  <a:pt x="1158414" y="1831262"/>
                </a:lnTo>
                <a:lnTo>
                  <a:pt x="1158414" y="1940381"/>
                </a:lnTo>
                <a:lnTo>
                  <a:pt x="1354230" y="1940381"/>
                </a:lnTo>
                <a:lnTo>
                  <a:pt x="1354230" y="1831262"/>
                </a:lnTo>
                <a:lnTo>
                  <a:pt x="1478297" y="1831262"/>
                </a:lnTo>
                <a:lnTo>
                  <a:pt x="1478297" y="1759513"/>
                </a:lnTo>
                <a:lnTo>
                  <a:pt x="1354230" y="1759513"/>
                </a:lnTo>
                <a:lnTo>
                  <a:pt x="1354230" y="1711680"/>
                </a:lnTo>
                <a:lnTo>
                  <a:pt x="1479792" y="1711680"/>
                </a:lnTo>
                <a:lnTo>
                  <a:pt x="1479792" y="1636940"/>
                </a:lnTo>
                <a:lnTo>
                  <a:pt x="1385621" y="1636940"/>
                </a:lnTo>
                <a:lnTo>
                  <a:pt x="1548464" y="1329484"/>
                </a:lnTo>
                <a:lnTo>
                  <a:pt x="1366960" y="1329015"/>
                </a:lnTo>
                <a:lnTo>
                  <a:pt x="1260059" y="1562201"/>
                </a:lnTo>
                <a:lnTo>
                  <a:pt x="1162898" y="1329015"/>
                </a:lnTo>
                <a:close/>
                <a:moveTo>
                  <a:pt x="788778" y="1313347"/>
                </a:moveTo>
                <a:cubicBezTo>
                  <a:pt x="653978" y="1319885"/>
                  <a:pt x="627201" y="1386882"/>
                  <a:pt x="609166" y="1426624"/>
                </a:cubicBezTo>
                <a:cubicBezTo>
                  <a:pt x="587816" y="1473674"/>
                  <a:pt x="603155" y="1541131"/>
                  <a:pt x="613772" y="1575897"/>
                </a:cubicBezTo>
                <a:lnTo>
                  <a:pt x="546284" y="1575897"/>
                </a:lnTo>
                <a:lnTo>
                  <a:pt x="546284" y="1674334"/>
                </a:lnTo>
                <a:lnTo>
                  <a:pt x="631032" y="1674334"/>
                </a:lnTo>
                <a:cubicBezTo>
                  <a:pt x="637642" y="1766331"/>
                  <a:pt x="570706" y="1807983"/>
                  <a:pt x="543933" y="1832128"/>
                </a:cubicBezTo>
                <a:lnTo>
                  <a:pt x="582721" y="1936149"/>
                </a:lnTo>
                <a:cubicBezTo>
                  <a:pt x="672122" y="1869520"/>
                  <a:pt x="735078" y="1911981"/>
                  <a:pt x="854232" y="1937912"/>
                </a:cubicBezTo>
                <a:cubicBezTo>
                  <a:pt x="911678" y="1946213"/>
                  <a:pt x="943780" y="1932476"/>
                  <a:pt x="993513" y="1913229"/>
                </a:cubicBezTo>
                <a:lnTo>
                  <a:pt x="950465" y="1812294"/>
                </a:lnTo>
                <a:cubicBezTo>
                  <a:pt x="875976" y="1851522"/>
                  <a:pt x="825166" y="1824709"/>
                  <a:pt x="796051" y="1819787"/>
                </a:cubicBezTo>
                <a:cubicBezTo>
                  <a:pt x="758960" y="1813517"/>
                  <a:pt x="747273" y="1801716"/>
                  <a:pt x="683215" y="1818024"/>
                </a:cubicBezTo>
                <a:cubicBezTo>
                  <a:pt x="720216" y="1782485"/>
                  <a:pt x="747754" y="1738212"/>
                  <a:pt x="748395" y="1674334"/>
                </a:cubicBezTo>
                <a:lnTo>
                  <a:pt x="857758" y="1674334"/>
                </a:lnTo>
                <a:lnTo>
                  <a:pt x="857758" y="1575897"/>
                </a:lnTo>
                <a:lnTo>
                  <a:pt x="728575" y="1575897"/>
                </a:lnTo>
                <a:cubicBezTo>
                  <a:pt x="678393" y="1415177"/>
                  <a:pt x="764043" y="1410847"/>
                  <a:pt x="774894" y="1407230"/>
                </a:cubicBezTo>
                <a:cubicBezTo>
                  <a:pt x="826904" y="1396505"/>
                  <a:pt x="863488" y="1440875"/>
                  <a:pt x="864810" y="1491857"/>
                </a:cubicBezTo>
                <a:lnTo>
                  <a:pt x="979409" y="1477753"/>
                </a:lnTo>
                <a:cubicBezTo>
                  <a:pt x="959207" y="1320840"/>
                  <a:pt x="832120" y="1313420"/>
                  <a:pt x="788778" y="1313347"/>
                </a:cubicBezTo>
                <a:close/>
                <a:moveTo>
                  <a:pt x="675630" y="549581"/>
                </a:moveTo>
                <a:lnTo>
                  <a:pt x="676815" y="619485"/>
                </a:lnTo>
                <a:cubicBezTo>
                  <a:pt x="643245" y="622447"/>
                  <a:pt x="561690" y="648513"/>
                  <a:pt x="547670" y="729673"/>
                </a:cubicBezTo>
                <a:cubicBezTo>
                  <a:pt x="516470" y="888834"/>
                  <a:pt x="690243" y="900485"/>
                  <a:pt x="713544" y="933462"/>
                </a:cubicBezTo>
                <a:cubicBezTo>
                  <a:pt x="730329" y="947877"/>
                  <a:pt x="729342" y="985397"/>
                  <a:pt x="694587" y="989149"/>
                </a:cubicBezTo>
                <a:cubicBezTo>
                  <a:pt x="658845" y="992703"/>
                  <a:pt x="594075" y="977300"/>
                  <a:pt x="550039" y="939386"/>
                </a:cubicBezTo>
                <a:lnTo>
                  <a:pt x="550039" y="1066162"/>
                </a:lnTo>
                <a:cubicBezTo>
                  <a:pt x="571564" y="1080380"/>
                  <a:pt x="629225" y="1093413"/>
                  <a:pt x="676815" y="1094597"/>
                </a:cubicBezTo>
                <a:lnTo>
                  <a:pt x="676815" y="1160947"/>
                </a:lnTo>
                <a:lnTo>
                  <a:pt x="757382" y="1160947"/>
                </a:lnTo>
                <a:lnTo>
                  <a:pt x="757382" y="1085119"/>
                </a:lnTo>
                <a:cubicBezTo>
                  <a:pt x="788583" y="1076233"/>
                  <a:pt x="868360" y="1047205"/>
                  <a:pt x="875864" y="957158"/>
                </a:cubicBezTo>
                <a:cubicBezTo>
                  <a:pt x="891267" y="827816"/>
                  <a:pt x="721246" y="800960"/>
                  <a:pt x="701696" y="773512"/>
                </a:cubicBezTo>
                <a:cubicBezTo>
                  <a:pt x="686096" y="762848"/>
                  <a:pt x="684121" y="732636"/>
                  <a:pt x="706435" y="723749"/>
                </a:cubicBezTo>
                <a:cubicBezTo>
                  <a:pt x="729144" y="708939"/>
                  <a:pt x="798654" y="722565"/>
                  <a:pt x="854537" y="752185"/>
                </a:cubicBezTo>
                <a:lnTo>
                  <a:pt x="854537" y="630149"/>
                </a:lnTo>
                <a:cubicBezTo>
                  <a:pt x="821758" y="620868"/>
                  <a:pt x="793717" y="615734"/>
                  <a:pt x="756198" y="614746"/>
                </a:cubicBezTo>
                <a:lnTo>
                  <a:pt x="756198" y="549581"/>
                </a:lnTo>
                <a:close/>
                <a:moveTo>
                  <a:pt x="1334533" y="545575"/>
                </a:moveTo>
                <a:cubicBezTo>
                  <a:pt x="1203526" y="553844"/>
                  <a:pt x="1106677" y="654420"/>
                  <a:pt x="1086074" y="763130"/>
                </a:cubicBezTo>
                <a:lnTo>
                  <a:pt x="1040530" y="763130"/>
                </a:lnTo>
                <a:lnTo>
                  <a:pt x="1026433" y="826024"/>
                </a:lnTo>
                <a:lnTo>
                  <a:pt x="1078484" y="826024"/>
                </a:lnTo>
                <a:cubicBezTo>
                  <a:pt x="1078845" y="844097"/>
                  <a:pt x="1079206" y="862170"/>
                  <a:pt x="1079568" y="880243"/>
                </a:cubicBezTo>
                <a:lnTo>
                  <a:pt x="1038361" y="880243"/>
                </a:lnTo>
                <a:lnTo>
                  <a:pt x="1027518" y="942053"/>
                </a:lnTo>
                <a:lnTo>
                  <a:pt x="1086074" y="942053"/>
                </a:lnTo>
                <a:cubicBezTo>
                  <a:pt x="1103424" y="1053383"/>
                  <a:pt x="1234996" y="1226884"/>
                  <a:pt x="1472114" y="1135073"/>
                </a:cubicBezTo>
                <a:cubicBezTo>
                  <a:pt x="1472114" y="1065311"/>
                  <a:pt x="1471210" y="1045611"/>
                  <a:pt x="1472114" y="1009285"/>
                </a:cubicBezTo>
                <a:cubicBezTo>
                  <a:pt x="1396388" y="1088987"/>
                  <a:pt x="1232827" y="1073444"/>
                  <a:pt x="1212947" y="943137"/>
                </a:cubicBezTo>
                <a:lnTo>
                  <a:pt x="1396207" y="943137"/>
                </a:lnTo>
                <a:lnTo>
                  <a:pt x="1408135" y="878074"/>
                </a:lnTo>
                <a:lnTo>
                  <a:pt x="1204272" y="878074"/>
                </a:lnTo>
                <a:lnTo>
                  <a:pt x="1203187" y="827108"/>
                </a:lnTo>
                <a:lnTo>
                  <a:pt x="1421148" y="827108"/>
                </a:lnTo>
                <a:lnTo>
                  <a:pt x="1433076" y="762045"/>
                </a:lnTo>
                <a:lnTo>
                  <a:pt x="1211862" y="762045"/>
                </a:lnTo>
                <a:cubicBezTo>
                  <a:pt x="1217284" y="693006"/>
                  <a:pt x="1329698" y="594327"/>
                  <a:pt x="1449342" y="682885"/>
                </a:cubicBezTo>
                <a:lnTo>
                  <a:pt x="1475367" y="571194"/>
                </a:lnTo>
                <a:cubicBezTo>
                  <a:pt x="1425666" y="550320"/>
                  <a:pt x="1378202" y="542819"/>
                  <a:pt x="1334533" y="545575"/>
                </a:cubicBezTo>
                <a:close/>
                <a:moveTo>
                  <a:pt x="428627" y="475147"/>
                </a:moveTo>
                <a:lnTo>
                  <a:pt x="1590673" y="475147"/>
                </a:lnTo>
                <a:lnTo>
                  <a:pt x="1590673" y="1645062"/>
                </a:lnTo>
                <a:lnTo>
                  <a:pt x="2019300" y="1645062"/>
                </a:lnTo>
                <a:lnTo>
                  <a:pt x="1009650" y="2334427"/>
                </a:lnTo>
                <a:lnTo>
                  <a:pt x="0" y="1645062"/>
                </a:lnTo>
                <a:lnTo>
                  <a:pt x="428627" y="1645062"/>
                </a:lnTo>
                <a:close/>
                <a:moveTo>
                  <a:pt x="1431495" y="335756"/>
                </a:moveTo>
                <a:cubicBezTo>
                  <a:pt x="1419701" y="335756"/>
                  <a:pt x="1410140" y="354877"/>
                  <a:pt x="1410140" y="378464"/>
                </a:cubicBezTo>
                <a:cubicBezTo>
                  <a:pt x="1410140" y="402051"/>
                  <a:pt x="1419701" y="421172"/>
                  <a:pt x="1431495" y="421172"/>
                </a:cubicBezTo>
                <a:cubicBezTo>
                  <a:pt x="1443289" y="421172"/>
                  <a:pt x="1452850" y="402051"/>
                  <a:pt x="1452850" y="378464"/>
                </a:cubicBezTo>
                <a:cubicBezTo>
                  <a:pt x="1452850" y="354877"/>
                  <a:pt x="1443289" y="335756"/>
                  <a:pt x="1431495" y="335756"/>
                </a:cubicBezTo>
                <a:close/>
                <a:moveTo>
                  <a:pt x="1191024" y="335756"/>
                </a:moveTo>
                <a:cubicBezTo>
                  <a:pt x="1179230" y="335756"/>
                  <a:pt x="1169669" y="354877"/>
                  <a:pt x="1169669" y="378464"/>
                </a:cubicBezTo>
                <a:cubicBezTo>
                  <a:pt x="1169669" y="402051"/>
                  <a:pt x="1179230" y="421172"/>
                  <a:pt x="1191024" y="421172"/>
                </a:cubicBezTo>
                <a:cubicBezTo>
                  <a:pt x="1202818" y="421172"/>
                  <a:pt x="1212379" y="402051"/>
                  <a:pt x="1212379" y="378464"/>
                </a:cubicBezTo>
                <a:cubicBezTo>
                  <a:pt x="1212379" y="354877"/>
                  <a:pt x="1202818" y="335756"/>
                  <a:pt x="1191024" y="335756"/>
                </a:cubicBezTo>
                <a:close/>
                <a:moveTo>
                  <a:pt x="715621" y="335756"/>
                </a:moveTo>
                <a:cubicBezTo>
                  <a:pt x="703827" y="335756"/>
                  <a:pt x="694266" y="354877"/>
                  <a:pt x="694266" y="378464"/>
                </a:cubicBezTo>
                <a:cubicBezTo>
                  <a:pt x="694266" y="402051"/>
                  <a:pt x="703827" y="421172"/>
                  <a:pt x="715621" y="421172"/>
                </a:cubicBezTo>
                <a:cubicBezTo>
                  <a:pt x="727415" y="421172"/>
                  <a:pt x="736976" y="402051"/>
                  <a:pt x="736976" y="378464"/>
                </a:cubicBezTo>
                <a:cubicBezTo>
                  <a:pt x="736976" y="354877"/>
                  <a:pt x="727415" y="335756"/>
                  <a:pt x="715621" y="335756"/>
                </a:cubicBezTo>
                <a:close/>
                <a:moveTo>
                  <a:pt x="475150" y="335756"/>
                </a:moveTo>
                <a:cubicBezTo>
                  <a:pt x="463356" y="335756"/>
                  <a:pt x="453795" y="354877"/>
                  <a:pt x="453795" y="378464"/>
                </a:cubicBezTo>
                <a:cubicBezTo>
                  <a:pt x="453795" y="402051"/>
                  <a:pt x="463356" y="421172"/>
                  <a:pt x="475150" y="421172"/>
                </a:cubicBezTo>
                <a:cubicBezTo>
                  <a:pt x="486944" y="421172"/>
                  <a:pt x="496505" y="402051"/>
                  <a:pt x="496505" y="378464"/>
                </a:cubicBezTo>
                <a:cubicBezTo>
                  <a:pt x="496505" y="354877"/>
                  <a:pt x="486944" y="335756"/>
                  <a:pt x="475150" y="335756"/>
                </a:cubicBezTo>
                <a:close/>
                <a:moveTo>
                  <a:pt x="1325166" y="314326"/>
                </a:moveTo>
                <a:lnTo>
                  <a:pt x="1325166" y="421601"/>
                </a:lnTo>
                <a:lnTo>
                  <a:pt x="1351275" y="421601"/>
                </a:lnTo>
                <a:lnTo>
                  <a:pt x="1351275" y="442602"/>
                </a:lnTo>
                <a:lnTo>
                  <a:pt x="1271244" y="442602"/>
                </a:lnTo>
                <a:lnTo>
                  <a:pt x="1271244" y="422169"/>
                </a:lnTo>
                <a:lnTo>
                  <a:pt x="1297353" y="422169"/>
                </a:lnTo>
                <a:lnTo>
                  <a:pt x="1297353" y="342705"/>
                </a:lnTo>
                <a:lnTo>
                  <a:pt x="1271244" y="347246"/>
                </a:lnTo>
                <a:lnTo>
                  <a:pt x="1271244" y="325110"/>
                </a:lnTo>
                <a:close/>
                <a:moveTo>
                  <a:pt x="1084695" y="314326"/>
                </a:moveTo>
                <a:lnTo>
                  <a:pt x="1084695" y="421601"/>
                </a:lnTo>
                <a:lnTo>
                  <a:pt x="1110804" y="421601"/>
                </a:lnTo>
                <a:lnTo>
                  <a:pt x="1110804" y="442602"/>
                </a:lnTo>
                <a:lnTo>
                  <a:pt x="1030773" y="442602"/>
                </a:lnTo>
                <a:lnTo>
                  <a:pt x="1030773" y="422169"/>
                </a:lnTo>
                <a:lnTo>
                  <a:pt x="1056883" y="422169"/>
                </a:lnTo>
                <a:lnTo>
                  <a:pt x="1056883" y="342705"/>
                </a:lnTo>
                <a:lnTo>
                  <a:pt x="1030773" y="347246"/>
                </a:lnTo>
                <a:lnTo>
                  <a:pt x="1030773" y="325110"/>
                </a:lnTo>
                <a:close/>
                <a:moveTo>
                  <a:pt x="967229" y="314326"/>
                </a:moveTo>
                <a:lnTo>
                  <a:pt x="967229" y="421601"/>
                </a:lnTo>
                <a:lnTo>
                  <a:pt x="993338" y="421601"/>
                </a:lnTo>
                <a:lnTo>
                  <a:pt x="993338" y="442602"/>
                </a:lnTo>
                <a:lnTo>
                  <a:pt x="913307" y="442602"/>
                </a:lnTo>
                <a:lnTo>
                  <a:pt x="913307" y="422169"/>
                </a:lnTo>
                <a:lnTo>
                  <a:pt x="939417" y="422169"/>
                </a:lnTo>
                <a:lnTo>
                  <a:pt x="939417" y="342705"/>
                </a:lnTo>
                <a:lnTo>
                  <a:pt x="913307" y="347246"/>
                </a:lnTo>
                <a:lnTo>
                  <a:pt x="913307" y="325110"/>
                </a:lnTo>
                <a:close/>
                <a:moveTo>
                  <a:pt x="849763" y="314326"/>
                </a:moveTo>
                <a:lnTo>
                  <a:pt x="849763" y="421601"/>
                </a:lnTo>
                <a:lnTo>
                  <a:pt x="875872" y="421601"/>
                </a:lnTo>
                <a:lnTo>
                  <a:pt x="875872" y="442602"/>
                </a:lnTo>
                <a:lnTo>
                  <a:pt x="795841" y="442602"/>
                </a:lnTo>
                <a:lnTo>
                  <a:pt x="795841" y="422169"/>
                </a:lnTo>
                <a:lnTo>
                  <a:pt x="821951" y="422169"/>
                </a:lnTo>
                <a:lnTo>
                  <a:pt x="821951" y="342705"/>
                </a:lnTo>
                <a:lnTo>
                  <a:pt x="795841" y="347246"/>
                </a:lnTo>
                <a:lnTo>
                  <a:pt x="795841" y="325110"/>
                </a:lnTo>
                <a:close/>
                <a:moveTo>
                  <a:pt x="609292" y="314326"/>
                </a:moveTo>
                <a:lnTo>
                  <a:pt x="609292" y="421601"/>
                </a:lnTo>
                <a:lnTo>
                  <a:pt x="635401" y="421601"/>
                </a:lnTo>
                <a:lnTo>
                  <a:pt x="635401" y="442602"/>
                </a:lnTo>
                <a:lnTo>
                  <a:pt x="555370" y="442602"/>
                </a:lnTo>
                <a:lnTo>
                  <a:pt x="555370" y="422169"/>
                </a:lnTo>
                <a:lnTo>
                  <a:pt x="581480" y="422169"/>
                </a:lnTo>
                <a:lnTo>
                  <a:pt x="581480" y="342705"/>
                </a:lnTo>
                <a:lnTo>
                  <a:pt x="555370" y="347246"/>
                </a:lnTo>
                <a:lnTo>
                  <a:pt x="555370" y="325110"/>
                </a:lnTo>
                <a:close/>
                <a:moveTo>
                  <a:pt x="1565634" y="314325"/>
                </a:moveTo>
                <a:lnTo>
                  <a:pt x="1565634" y="421600"/>
                </a:lnTo>
                <a:lnTo>
                  <a:pt x="1591743" y="421600"/>
                </a:lnTo>
                <a:lnTo>
                  <a:pt x="1591743" y="442601"/>
                </a:lnTo>
                <a:lnTo>
                  <a:pt x="1511712" y="442601"/>
                </a:lnTo>
                <a:lnTo>
                  <a:pt x="1511712" y="422168"/>
                </a:lnTo>
                <a:lnTo>
                  <a:pt x="1537821" y="422168"/>
                </a:lnTo>
                <a:lnTo>
                  <a:pt x="1537821" y="342704"/>
                </a:lnTo>
                <a:lnTo>
                  <a:pt x="1511712" y="347245"/>
                </a:lnTo>
                <a:lnTo>
                  <a:pt x="1511712" y="325109"/>
                </a:lnTo>
                <a:close/>
                <a:moveTo>
                  <a:pt x="1431495" y="314325"/>
                </a:moveTo>
                <a:cubicBezTo>
                  <a:pt x="1455125" y="314325"/>
                  <a:pt x="1474280" y="343041"/>
                  <a:pt x="1474280" y="378464"/>
                </a:cubicBezTo>
                <a:cubicBezTo>
                  <a:pt x="1474280" y="413887"/>
                  <a:pt x="1455125" y="442603"/>
                  <a:pt x="1431495" y="442603"/>
                </a:cubicBezTo>
                <a:cubicBezTo>
                  <a:pt x="1407865" y="442603"/>
                  <a:pt x="1388710" y="413887"/>
                  <a:pt x="1388710" y="378464"/>
                </a:cubicBezTo>
                <a:cubicBezTo>
                  <a:pt x="1388710" y="343041"/>
                  <a:pt x="1407865" y="314325"/>
                  <a:pt x="1431495" y="314325"/>
                </a:cubicBezTo>
                <a:close/>
                <a:moveTo>
                  <a:pt x="1191024" y="314325"/>
                </a:moveTo>
                <a:cubicBezTo>
                  <a:pt x="1214654" y="314325"/>
                  <a:pt x="1233809" y="343041"/>
                  <a:pt x="1233809" y="378464"/>
                </a:cubicBezTo>
                <a:cubicBezTo>
                  <a:pt x="1233809" y="413887"/>
                  <a:pt x="1214654" y="442603"/>
                  <a:pt x="1191024" y="442603"/>
                </a:cubicBezTo>
                <a:cubicBezTo>
                  <a:pt x="1167394" y="442603"/>
                  <a:pt x="1148239" y="413887"/>
                  <a:pt x="1148239" y="378464"/>
                </a:cubicBezTo>
                <a:cubicBezTo>
                  <a:pt x="1148239" y="343041"/>
                  <a:pt x="1167394" y="314325"/>
                  <a:pt x="1191024" y="314325"/>
                </a:cubicBezTo>
                <a:close/>
                <a:moveTo>
                  <a:pt x="715621" y="314325"/>
                </a:moveTo>
                <a:cubicBezTo>
                  <a:pt x="739251" y="314325"/>
                  <a:pt x="758406" y="343041"/>
                  <a:pt x="758406" y="378464"/>
                </a:cubicBezTo>
                <a:cubicBezTo>
                  <a:pt x="758406" y="413887"/>
                  <a:pt x="739251" y="442603"/>
                  <a:pt x="715621" y="442603"/>
                </a:cubicBezTo>
                <a:cubicBezTo>
                  <a:pt x="691991" y="442603"/>
                  <a:pt x="672836" y="413887"/>
                  <a:pt x="672836" y="378464"/>
                </a:cubicBezTo>
                <a:cubicBezTo>
                  <a:pt x="672836" y="343041"/>
                  <a:pt x="691991" y="314325"/>
                  <a:pt x="715621" y="314325"/>
                </a:cubicBezTo>
                <a:close/>
                <a:moveTo>
                  <a:pt x="475150" y="314325"/>
                </a:moveTo>
                <a:cubicBezTo>
                  <a:pt x="498780" y="314325"/>
                  <a:pt x="517935" y="343041"/>
                  <a:pt x="517935" y="378464"/>
                </a:cubicBezTo>
                <a:cubicBezTo>
                  <a:pt x="517935" y="413887"/>
                  <a:pt x="498780" y="442603"/>
                  <a:pt x="475150" y="442603"/>
                </a:cubicBezTo>
                <a:cubicBezTo>
                  <a:pt x="451520" y="442603"/>
                  <a:pt x="432365" y="413887"/>
                  <a:pt x="432365" y="378464"/>
                </a:cubicBezTo>
                <a:cubicBezTo>
                  <a:pt x="432365" y="343041"/>
                  <a:pt x="451520" y="314325"/>
                  <a:pt x="475150" y="314325"/>
                </a:cubicBezTo>
                <a:close/>
                <a:moveTo>
                  <a:pt x="1548464" y="178594"/>
                </a:moveTo>
                <a:cubicBezTo>
                  <a:pt x="1536670" y="178594"/>
                  <a:pt x="1527109" y="197715"/>
                  <a:pt x="1527109" y="221302"/>
                </a:cubicBezTo>
                <a:cubicBezTo>
                  <a:pt x="1527109" y="244889"/>
                  <a:pt x="1536670" y="264010"/>
                  <a:pt x="1548464" y="264010"/>
                </a:cubicBezTo>
                <a:cubicBezTo>
                  <a:pt x="1560258" y="264010"/>
                  <a:pt x="1569819" y="244889"/>
                  <a:pt x="1569819" y="221302"/>
                </a:cubicBezTo>
                <a:cubicBezTo>
                  <a:pt x="1569819" y="197715"/>
                  <a:pt x="1560258" y="178594"/>
                  <a:pt x="1548464" y="178594"/>
                </a:cubicBezTo>
                <a:close/>
                <a:moveTo>
                  <a:pt x="1310566" y="178594"/>
                </a:moveTo>
                <a:cubicBezTo>
                  <a:pt x="1298772" y="178594"/>
                  <a:pt x="1289211" y="197715"/>
                  <a:pt x="1289211" y="221302"/>
                </a:cubicBezTo>
                <a:cubicBezTo>
                  <a:pt x="1289211" y="244889"/>
                  <a:pt x="1298772" y="264010"/>
                  <a:pt x="1310566" y="264010"/>
                </a:cubicBezTo>
                <a:cubicBezTo>
                  <a:pt x="1322360" y="264010"/>
                  <a:pt x="1331921" y="244889"/>
                  <a:pt x="1331921" y="221302"/>
                </a:cubicBezTo>
                <a:cubicBezTo>
                  <a:pt x="1331921" y="197715"/>
                  <a:pt x="1322360" y="178594"/>
                  <a:pt x="1310566" y="178594"/>
                </a:cubicBezTo>
                <a:close/>
                <a:moveTo>
                  <a:pt x="956487" y="178593"/>
                </a:moveTo>
                <a:cubicBezTo>
                  <a:pt x="944693" y="178593"/>
                  <a:pt x="935132" y="197714"/>
                  <a:pt x="935132" y="221301"/>
                </a:cubicBezTo>
                <a:cubicBezTo>
                  <a:pt x="935132" y="244888"/>
                  <a:pt x="944693" y="264009"/>
                  <a:pt x="956487" y="264009"/>
                </a:cubicBezTo>
                <a:cubicBezTo>
                  <a:pt x="968281" y="264009"/>
                  <a:pt x="977842" y="244888"/>
                  <a:pt x="977842" y="221301"/>
                </a:cubicBezTo>
                <a:cubicBezTo>
                  <a:pt x="977842" y="197714"/>
                  <a:pt x="968281" y="178593"/>
                  <a:pt x="956487" y="178593"/>
                </a:cubicBezTo>
                <a:close/>
                <a:moveTo>
                  <a:pt x="718588" y="178593"/>
                </a:moveTo>
                <a:cubicBezTo>
                  <a:pt x="706794" y="178593"/>
                  <a:pt x="697233" y="197714"/>
                  <a:pt x="697233" y="221301"/>
                </a:cubicBezTo>
                <a:cubicBezTo>
                  <a:pt x="697233" y="244888"/>
                  <a:pt x="706794" y="264009"/>
                  <a:pt x="718588" y="264009"/>
                </a:cubicBezTo>
                <a:cubicBezTo>
                  <a:pt x="730382" y="264009"/>
                  <a:pt x="739943" y="244888"/>
                  <a:pt x="739943" y="221301"/>
                </a:cubicBezTo>
                <a:cubicBezTo>
                  <a:pt x="739943" y="197714"/>
                  <a:pt x="730382" y="178593"/>
                  <a:pt x="718588" y="178593"/>
                </a:cubicBezTo>
                <a:close/>
                <a:moveTo>
                  <a:pt x="596869" y="178593"/>
                </a:moveTo>
                <a:cubicBezTo>
                  <a:pt x="585075" y="178593"/>
                  <a:pt x="575514" y="197714"/>
                  <a:pt x="575514" y="221301"/>
                </a:cubicBezTo>
                <a:cubicBezTo>
                  <a:pt x="575514" y="244888"/>
                  <a:pt x="585075" y="264009"/>
                  <a:pt x="596869" y="264009"/>
                </a:cubicBezTo>
                <a:cubicBezTo>
                  <a:pt x="608663" y="264009"/>
                  <a:pt x="618224" y="244888"/>
                  <a:pt x="618224" y="221301"/>
                </a:cubicBezTo>
                <a:cubicBezTo>
                  <a:pt x="618224" y="197714"/>
                  <a:pt x="608663" y="178593"/>
                  <a:pt x="596869" y="178593"/>
                </a:cubicBezTo>
                <a:close/>
                <a:moveTo>
                  <a:pt x="475150" y="178593"/>
                </a:moveTo>
                <a:cubicBezTo>
                  <a:pt x="463356" y="178593"/>
                  <a:pt x="453795" y="197714"/>
                  <a:pt x="453795" y="221301"/>
                </a:cubicBezTo>
                <a:cubicBezTo>
                  <a:pt x="453795" y="244888"/>
                  <a:pt x="463356" y="264009"/>
                  <a:pt x="475150" y="264009"/>
                </a:cubicBezTo>
                <a:cubicBezTo>
                  <a:pt x="486944" y="264009"/>
                  <a:pt x="496505" y="244888"/>
                  <a:pt x="496505" y="221301"/>
                </a:cubicBezTo>
                <a:cubicBezTo>
                  <a:pt x="496505" y="197714"/>
                  <a:pt x="486944" y="178593"/>
                  <a:pt x="475150" y="178593"/>
                </a:cubicBezTo>
                <a:close/>
                <a:moveTo>
                  <a:pt x="1548464" y="157163"/>
                </a:moveTo>
                <a:cubicBezTo>
                  <a:pt x="1572094" y="157163"/>
                  <a:pt x="1591249" y="185879"/>
                  <a:pt x="1591249" y="221302"/>
                </a:cubicBezTo>
                <a:cubicBezTo>
                  <a:pt x="1591249" y="256725"/>
                  <a:pt x="1572094" y="285441"/>
                  <a:pt x="1548464" y="285441"/>
                </a:cubicBezTo>
                <a:cubicBezTo>
                  <a:pt x="1524834" y="285441"/>
                  <a:pt x="1505679" y="256725"/>
                  <a:pt x="1505679" y="221302"/>
                </a:cubicBezTo>
                <a:cubicBezTo>
                  <a:pt x="1505679" y="185879"/>
                  <a:pt x="1524834" y="157163"/>
                  <a:pt x="1548464" y="157163"/>
                </a:cubicBezTo>
                <a:close/>
                <a:moveTo>
                  <a:pt x="1443422" y="157163"/>
                </a:moveTo>
                <a:lnTo>
                  <a:pt x="1443422" y="264438"/>
                </a:lnTo>
                <a:lnTo>
                  <a:pt x="1469531" y="264438"/>
                </a:lnTo>
                <a:lnTo>
                  <a:pt x="1469531" y="285439"/>
                </a:lnTo>
                <a:lnTo>
                  <a:pt x="1389500" y="285439"/>
                </a:lnTo>
                <a:lnTo>
                  <a:pt x="1389500" y="265006"/>
                </a:lnTo>
                <a:lnTo>
                  <a:pt x="1415609" y="265006"/>
                </a:lnTo>
                <a:lnTo>
                  <a:pt x="1415609" y="185542"/>
                </a:lnTo>
                <a:lnTo>
                  <a:pt x="1389500" y="190083"/>
                </a:lnTo>
                <a:lnTo>
                  <a:pt x="1389500" y="167947"/>
                </a:lnTo>
                <a:close/>
                <a:moveTo>
                  <a:pt x="1310566" y="157163"/>
                </a:moveTo>
                <a:cubicBezTo>
                  <a:pt x="1334196" y="157163"/>
                  <a:pt x="1353351" y="185879"/>
                  <a:pt x="1353351" y="221302"/>
                </a:cubicBezTo>
                <a:cubicBezTo>
                  <a:pt x="1353351" y="256725"/>
                  <a:pt x="1334196" y="285441"/>
                  <a:pt x="1310566" y="285441"/>
                </a:cubicBezTo>
                <a:cubicBezTo>
                  <a:pt x="1286936" y="285441"/>
                  <a:pt x="1267781" y="256725"/>
                  <a:pt x="1267781" y="221302"/>
                </a:cubicBezTo>
                <a:cubicBezTo>
                  <a:pt x="1267781" y="185879"/>
                  <a:pt x="1286936" y="157163"/>
                  <a:pt x="1310566" y="157163"/>
                </a:cubicBezTo>
                <a:close/>
                <a:moveTo>
                  <a:pt x="1205523" y="157163"/>
                </a:moveTo>
                <a:lnTo>
                  <a:pt x="1205523" y="264438"/>
                </a:lnTo>
                <a:lnTo>
                  <a:pt x="1231632" y="264438"/>
                </a:lnTo>
                <a:lnTo>
                  <a:pt x="1231632" y="285439"/>
                </a:lnTo>
                <a:lnTo>
                  <a:pt x="1151601" y="285439"/>
                </a:lnTo>
                <a:lnTo>
                  <a:pt x="1151601" y="265006"/>
                </a:lnTo>
                <a:lnTo>
                  <a:pt x="1177711" y="265006"/>
                </a:lnTo>
                <a:lnTo>
                  <a:pt x="1177711" y="185542"/>
                </a:lnTo>
                <a:lnTo>
                  <a:pt x="1151601" y="190083"/>
                </a:lnTo>
                <a:lnTo>
                  <a:pt x="1151601" y="167947"/>
                </a:lnTo>
                <a:close/>
                <a:moveTo>
                  <a:pt x="1089343" y="157163"/>
                </a:moveTo>
                <a:lnTo>
                  <a:pt x="1089343" y="264438"/>
                </a:lnTo>
                <a:lnTo>
                  <a:pt x="1115452" y="264438"/>
                </a:lnTo>
                <a:lnTo>
                  <a:pt x="1115452" y="285439"/>
                </a:lnTo>
                <a:lnTo>
                  <a:pt x="1035421" y="285439"/>
                </a:lnTo>
                <a:lnTo>
                  <a:pt x="1035421" y="265006"/>
                </a:lnTo>
                <a:lnTo>
                  <a:pt x="1061531" y="265006"/>
                </a:lnTo>
                <a:lnTo>
                  <a:pt x="1061531" y="185542"/>
                </a:lnTo>
                <a:lnTo>
                  <a:pt x="1035421" y="190083"/>
                </a:lnTo>
                <a:lnTo>
                  <a:pt x="1035421" y="167947"/>
                </a:lnTo>
                <a:close/>
                <a:moveTo>
                  <a:pt x="851444" y="157163"/>
                </a:moveTo>
                <a:lnTo>
                  <a:pt x="851444" y="264438"/>
                </a:lnTo>
                <a:lnTo>
                  <a:pt x="877553" y="264438"/>
                </a:lnTo>
                <a:lnTo>
                  <a:pt x="877553" y="285439"/>
                </a:lnTo>
                <a:lnTo>
                  <a:pt x="797522" y="285439"/>
                </a:lnTo>
                <a:lnTo>
                  <a:pt x="797522" y="265006"/>
                </a:lnTo>
                <a:lnTo>
                  <a:pt x="823632" y="265006"/>
                </a:lnTo>
                <a:lnTo>
                  <a:pt x="823632" y="185542"/>
                </a:lnTo>
                <a:lnTo>
                  <a:pt x="797522" y="190083"/>
                </a:lnTo>
                <a:lnTo>
                  <a:pt x="797522" y="167947"/>
                </a:lnTo>
                <a:close/>
                <a:moveTo>
                  <a:pt x="956487" y="157162"/>
                </a:moveTo>
                <a:cubicBezTo>
                  <a:pt x="980117" y="157162"/>
                  <a:pt x="999272" y="185878"/>
                  <a:pt x="999272" y="221301"/>
                </a:cubicBezTo>
                <a:cubicBezTo>
                  <a:pt x="999272" y="256724"/>
                  <a:pt x="980117" y="285440"/>
                  <a:pt x="956487" y="285440"/>
                </a:cubicBezTo>
                <a:cubicBezTo>
                  <a:pt x="932857" y="285440"/>
                  <a:pt x="913702" y="256724"/>
                  <a:pt x="913702" y="221301"/>
                </a:cubicBezTo>
                <a:cubicBezTo>
                  <a:pt x="913702" y="185878"/>
                  <a:pt x="932857" y="157162"/>
                  <a:pt x="956487" y="157162"/>
                </a:cubicBezTo>
                <a:close/>
                <a:moveTo>
                  <a:pt x="718588" y="157162"/>
                </a:moveTo>
                <a:cubicBezTo>
                  <a:pt x="742218" y="157162"/>
                  <a:pt x="761373" y="185878"/>
                  <a:pt x="761373" y="221301"/>
                </a:cubicBezTo>
                <a:cubicBezTo>
                  <a:pt x="761373" y="256724"/>
                  <a:pt x="742218" y="285440"/>
                  <a:pt x="718588" y="285440"/>
                </a:cubicBezTo>
                <a:cubicBezTo>
                  <a:pt x="694958" y="285440"/>
                  <a:pt x="675803" y="256724"/>
                  <a:pt x="675803" y="221301"/>
                </a:cubicBezTo>
                <a:cubicBezTo>
                  <a:pt x="675803" y="185878"/>
                  <a:pt x="694958" y="157162"/>
                  <a:pt x="718588" y="157162"/>
                </a:cubicBezTo>
                <a:close/>
                <a:moveTo>
                  <a:pt x="596869" y="157162"/>
                </a:moveTo>
                <a:cubicBezTo>
                  <a:pt x="620499" y="157162"/>
                  <a:pt x="639654" y="185878"/>
                  <a:pt x="639654" y="221301"/>
                </a:cubicBezTo>
                <a:cubicBezTo>
                  <a:pt x="639654" y="256724"/>
                  <a:pt x="620499" y="285440"/>
                  <a:pt x="596869" y="285440"/>
                </a:cubicBezTo>
                <a:cubicBezTo>
                  <a:pt x="573239" y="285440"/>
                  <a:pt x="554084" y="256724"/>
                  <a:pt x="554084" y="221301"/>
                </a:cubicBezTo>
                <a:cubicBezTo>
                  <a:pt x="554084" y="185878"/>
                  <a:pt x="573239" y="157162"/>
                  <a:pt x="596869" y="157162"/>
                </a:cubicBezTo>
                <a:close/>
                <a:moveTo>
                  <a:pt x="475150" y="157162"/>
                </a:moveTo>
                <a:cubicBezTo>
                  <a:pt x="498780" y="157162"/>
                  <a:pt x="517935" y="185878"/>
                  <a:pt x="517935" y="221301"/>
                </a:cubicBezTo>
                <a:cubicBezTo>
                  <a:pt x="517935" y="256724"/>
                  <a:pt x="498780" y="285440"/>
                  <a:pt x="475150" y="285440"/>
                </a:cubicBezTo>
                <a:cubicBezTo>
                  <a:pt x="451520" y="285440"/>
                  <a:pt x="432365" y="256724"/>
                  <a:pt x="432365" y="221301"/>
                </a:cubicBezTo>
                <a:cubicBezTo>
                  <a:pt x="432365" y="185878"/>
                  <a:pt x="451520" y="157162"/>
                  <a:pt x="475150" y="157162"/>
                </a:cubicBezTo>
                <a:close/>
                <a:moveTo>
                  <a:pt x="1313021" y="21431"/>
                </a:moveTo>
                <a:cubicBezTo>
                  <a:pt x="1301227" y="21431"/>
                  <a:pt x="1291666" y="40552"/>
                  <a:pt x="1291666" y="64139"/>
                </a:cubicBezTo>
                <a:cubicBezTo>
                  <a:pt x="1291666" y="87726"/>
                  <a:pt x="1301227" y="106847"/>
                  <a:pt x="1313021" y="106847"/>
                </a:cubicBezTo>
                <a:cubicBezTo>
                  <a:pt x="1324815" y="106847"/>
                  <a:pt x="1334376" y="87726"/>
                  <a:pt x="1334376" y="64139"/>
                </a:cubicBezTo>
                <a:cubicBezTo>
                  <a:pt x="1334376" y="40552"/>
                  <a:pt x="1324815" y="21431"/>
                  <a:pt x="1313021" y="21431"/>
                </a:cubicBezTo>
                <a:close/>
                <a:moveTo>
                  <a:pt x="1072838" y="21431"/>
                </a:moveTo>
                <a:cubicBezTo>
                  <a:pt x="1061044" y="21431"/>
                  <a:pt x="1051483" y="40552"/>
                  <a:pt x="1051483" y="64139"/>
                </a:cubicBezTo>
                <a:cubicBezTo>
                  <a:pt x="1051483" y="87726"/>
                  <a:pt x="1061044" y="106847"/>
                  <a:pt x="1072838" y="106847"/>
                </a:cubicBezTo>
                <a:cubicBezTo>
                  <a:pt x="1084632" y="106847"/>
                  <a:pt x="1094193" y="87726"/>
                  <a:pt x="1094193" y="64139"/>
                </a:cubicBezTo>
                <a:cubicBezTo>
                  <a:pt x="1094193" y="40552"/>
                  <a:pt x="1084632" y="21431"/>
                  <a:pt x="1072838" y="21431"/>
                </a:cubicBezTo>
                <a:close/>
                <a:moveTo>
                  <a:pt x="832655" y="21431"/>
                </a:moveTo>
                <a:cubicBezTo>
                  <a:pt x="820861" y="21431"/>
                  <a:pt x="811300" y="40552"/>
                  <a:pt x="811300" y="64139"/>
                </a:cubicBezTo>
                <a:cubicBezTo>
                  <a:pt x="811300" y="87726"/>
                  <a:pt x="820861" y="106847"/>
                  <a:pt x="832655" y="106847"/>
                </a:cubicBezTo>
                <a:cubicBezTo>
                  <a:pt x="844449" y="106847"/>
                  <a:pt x="854010" y="87726"/>
                  <a:pt x="854010" y="64139"/>
                </a:cubicBezTo>
                <a:cubicBezTo>
                  <a:pt x="854010" y="40552"/>
                  <a:pt x="844449" y="21431"/>
                  <a:pt x="832655" y="21431"/>
                </a:cubicBezTo>
                <a:close/>
                <a:moveTo>
                  <a:pt x="475150" y="21431"/>
                </a:moveTo>
                <a:cubicBezTo>
                  <a:pt x="463356" y="21431"/>
                  <a:pt x="453795" y="40552"/>
                  <a:pt x="453795" y="64139"/>
                </a:cubicBezTo>
                <a:cubicBezTo>
                  <a:pt x="453795" y="87726"/>
                  <a:pt x="463356" y="106847"/>
                  <a:pt x="475150" y="106847"/>
                </a:cubicBezTo>
                <a:cubicBezTo>
                  <a:pt x="486944" y="106847"/>
                  <a:pt x="496505" y="87726"/>
                  <a:pt x="496505" y="64139"/>
                </a:cubicBezTo>
                <a:cubicBezTo>
                  <a:pt x="496505" y="40552"/>
                  <a:pt x="486944" y="21431"/>
                  <a:pt x="475150" y="21431"/>
                </a:cubicBezTo>
                <a:close/>
                <a:moveTo>
                  <a:pt x="1564338" y="0"/>
                </a:moveTo>
                <a:lnTo>
                  <a:pt x="1564338" y="107275"/>
                </a:lnTo>
                <a:lnTo>
                  <a:pt x="1590447" y="107275"/>
                </a:lnTo>
                <a:lnTo>
                  <a:pt x="1590447" y="128276"/>
                </a:lnTo>
                <a:lnTo>
                  <a:pt x="1510416" y="128276"/>
                </a:lnTo>
                <a:lnTo>
                  <a:pt x="1510416" y="107843"/>
                </a:lnTo>
                <a:lnTo>
                  <a:pt x="1536525" y="107843"/>
                </a:lnTo>
                <a:lnTo>
                  <a:pt x="1536525" y="28379"/>
                </a:lnTo>
                <a:lnTo>
                  <a:pt x="1510416" y="32920"/>
                </a:lnTo>
                <a:lnTo>
                  <a:pt x="1510416" y="10784"/>
                </a:lnTo>
                <a:close/>
                <a:moveTo>
                  <a:pt x="1447019" y="0"/>
                </a:moveTo>
                <a:lnTo>
                  <a:pt x="1447019" y="107275"/>
                </a:lnTo>
                <a:lnTo>
                  <a:pt x="1473128" y="107275"/>
                </a:lnTo>
                <a:lnTo>
                  <a:pt x="1473128" y="128276"/>
                </a:lnTo>
                <a:lnTo>
                  <a:pt x="1393097" y="128276"/>
                </a:lnTo>
                <a:lnTo>
                  <a:pt x="1393097" y="107843"/>
                </a:lnTo>
                <a:lnTo>
                  <a:pt x="1419206" y="107843"/>
                </a:lnTo>
                <a:lnTo>
                  <a:pt x="1419206" y="28379"/>
                </a:lnTo>
                <a:lnTo>
                  <a:pt x="1393097" y="32920"/>
                </a:lnTo>
                <a:lnTo>
                  <a:pt x="1393097" y="10784"/>
                </a:lnTo>
                <a:close/>
                <a:moveTo>
                  <a:pt x="1313021" y="0"/>
                </a:moveTo>
                <a:cubicBezTo>
                  <a:pt x="1336651" y="0"/>
                  <a:pt x="1355806" y="28716"/>
                  <a:pt x="1355806" y="64139"/>
                </a:cubicBezTo>
                <a:cubicBezTo>
                  <a:pt x="1355806" y="99562"/>
                  <a:pt x="1336651" y="128278"/>
                  <a:pt x="1313021" y="128278"/>
                </a:cubicBezTo>
                <a:cubicBezTo>
                  <a:pt x="1289391" y="128278"/>
                  <a:pt x="1270236" y="99562"/>
                  <a:pt x="1270236" y="64139"/>
                </a:cubicBezTo>
                <a:cubicBezTo>
                  <a:pt x="1270236" y="28716"/>
                  <a:pt x="1289391" y="0"/>
                  <a:pt x="1313021" y="0"/>
                </a:cubicBezTo>
                <a:close/>
                <a:moveTo>
                  <a:pt x="1206836" y="0"/>
                </a:moveTo>
                <a:lnTo>
                  <a:pt x="1206836" y="107275"/>
                </a:lnTo>
                <a:lnTo>
                  <a:pt x="1232945" y="107275"/>
                </a:lnTo>
                <a:lnTo>
                  <a:pt x="1232945" y="128276"/>
                </a:lnTo>
                <a:lnTo>
                  <a:pt x="1152914" y="128276"/>
                </a:lnTo>
                <a:lnTo>
                  <a:pt x="1152914" y="107843"/>
                </a:lnTo>
                <a:lnTo>
                  <a:pt x="1179024" y="107843"/>
                </a:lnTo>
                <a:lnTo>
                  <a:pt x="1179024" y="28379"/>
                </a:lnTo>
                <a:lnTo>
                  <a:pt x="1152914" y="32920"/>
                </a:lnTo>
                <a:lnTo>
                  <a:pt x="1152914" y="10784"/>
                </a:lnTo>
                <a:close/>
                <a:moveTo>
                  <a:pt x="1072838" y="0"/>
                </a:moveTo>
                <a:cubicBezTo>
                  <a:pt x="1096468" y="0"/>
                  <a:pt x="1115623" y="28716"/>
                  <a:pt x="1115623" y="64139"/>
                </a:cubicBezTo>
                <a:cubicBezTo>
                  <a:pt x="1115623" y="99562"/>
                  <a:pt x="1096468" y="128278"/>
                  <a:pt x="1072838" y="128278"/>
                </a:cubicBezTo>
                <a:cubicBezTo>
                  <a:pt x="1049208" y="128278"/>
                  <a:pt x="1030053" y="99562"/>
                  <a:pt x="1030053" y="64139"/>
                </a:cubicBezTo>
                <a:cubicBezTo>
                  <a:pt x="1030053" y="28716"/>
                  <a:pt x="1049208" y="0"/>
                  <a:pt x="1072838" y="0"/>
                </a:cubicBezTo>
                <a:close/>
                <a:moveTo>
                  <a:pt x="966653" y="0"/>
                </a:moveTo>
                <a:lnTo>
                  <a:pt x="966653" y="107275"/>
                </a:lnTo>
                <a:lnTo>
                  <a:pt x="992762" y="107275"/>
                </a:lnTo>
                <a:lnTo>
                  <a:pt x="992762" y="128276"/>
                </a:lnTo>
                <a:lnTo>
                  <a:pt x="912731" y="128276"/>
                </a:lnTo>
                <a:lnTo>
                  <a:pt x="912731" y="107843"/>
                </a:lnTo>
                <a:lnTo>
                  <a:pt x="938841" y="107843"/>
                </a:lnTo>
                <a:lnTo>
                  <a:pt x="938841" y="28379"/>
                </a:lnTo>
                <a:lnTo>
                  <a:pt x="912731" y="32920"/>
                </a:lnTo>
                <a:lnTo>
                  <a:pt x="912731" y="10784"/>
                </a:lnTo>
                <a:close/>
                <a:moveTo>
                  <a:pt x="832655" y="0"/>
                </a:moveTo>
                <a:cubicBezTo>
                  <a:pt x="856285" y="0"/>
                  <a:pt x="875440" y="28716"/>
                  <a:pt x="875440" y="64139"/>
                </a:cubicBezTo>
                <a:cubicBezTo>
                  <a:pt x="875440" y="99562"/>
                  <a:pt x="856285" y="128278"/>
                  <a:pt x="832655" y="128278"/>
                </a:cubicBezTo>
                <a:cubicBezTo>
                  <a:pt x="809025" y="128278"/>
                  <a:pt x="789870" y="99562"/>
                  <a:pt x="789870" y="64139"/>
                </a:cubicBezTo>
                <a:cubicBezTo>
                  <a:pt x="789870" y="28716"/>
                  <a:pt x="809025" y="0"/>
                  <a:pt x="832655" y="0"/>
                </a:cubicBezTo>
                <a:close/>
                <a:moveTo>
                  <a:pt x="726470" y="0"/>
                </a:moveTo>
                <a:lnTo>
                  <a:pt x="726470" y="107275"/>
                </a:lnTo>
                <a:lnTo>
                  <a:pt x="752579" y="107275"/>
                </a:lnTo>
                <a:lnTo>
                  <a:pt x="752579" y="128276"/>
                </a:lnTo>
                <a:lnTo>
                  <a:pt x="672548" y="128276"/>
                </a:lnTo>
                <a:lnTo>
                  <a:pt x="672548" y="107843"/>
                </a:lnTo>
                <a:lnTo>
                  <a:pt x="698658" y="107843"/>
                </a:lnTo>
                <a:lnTo>
                  <a:pt x="698658" y="28379"/>
                </a:lnTo>
                <a:lnTo>
                  <a:pt x="672548" y="32920"/>
                </a:lnTo>
                <a:lnTo>
                  <a:pt x="672548" y="10784"/>
                </a:lnTo>
                <a:close/>
                <a:moveTo>
                  <a:pt x="609148" y="0"/>
                </a:moveTo>
                <a:lnTo>
                  <a:pt x="609148" y="107275"/>
                </a:lnTo>
                <a:lnTo>
                  <a:pt x="635257" y="107275"/>
                </a:lnTo>
                <a:lnTo>
                  <a:pt x="635257" y="128276"/>
                </a:lnTo>
                <a:lnTo>
                  <a:pt x="555226" y="128276"/>
                </a:lnTo>
                <a:lnTo>
                  <a:pt x="555226" y="107843"/>
                </a:lnTo>
                <a:lnTo>
                  <a:pt x="581336" y="107843"/>
                </a:lnTo>
                <a:lnTo>
                  <a:pt x="581336" y="28379"/>
                </a:lnTo>
                <a:lnTo>
                  <a:pt x="555226" y="32920"/>
                </a:lnTo>
                <a:lnTo>
                  <a:pt x="555226" y="10784"/>
                </a:lnTo>
                <a:close/>
                <a:moveTo>
                  <a:pt x="475150" y="0"/>
                </a:moveTo>
                <a:cubicBezTo>
                  <a:pt x="498780" y="0"/>
                  <a:pt x="517935" y="28716"/>
                  <a:pt x="517935" y="64139"/>
                </a:cubicBezTo>
                <a:cubicBezTo>
                  <a:pt x="517935" y="99562"/>
                  <a:pt x="498780" y="128278"/>
                  <a:pt x="475150" y="128278"/>
                </a:cubicBezTo>
                <a:cubicBezTo>
                  <a:pt x="451520" y="128278"/>
                  <a:pt x="432365" y="99562"/>
                  <a:pt x="432365" y="64139"/>
                </a:cubicBezTo>
                <a:cubicBezTo>
                  <a:pt x="432365" y="28716"/>
                  <a:pt x="451520" y="0"/>
                  <a:pt x="475150" y="0"/>
                </a:cubicBezTo>
                <a:close/>
              </a:path>
            </a:pathLst>
          </a:custGeom>
          <a:solidFill>
            <a:srgbClr val="5E83B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marL="0" marR="0" lvl="0" indent="0" algn="r" defTabSz="9141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prstClr val="white"/>
              </a:solidFill>
              <a:effectLst/>
              <a:uLnTx/>
              <a:uFillTx/>
              <a:latin typeface="Segoe UI"/>
              <a:ea typeface="+mn-ea"/>
              <a:cs typeface="+mn-cs"/>
            </a:endParaRPr>
          </a:p>
        </p:txBody>
      </p:sp>
      <p:sp>
        <p:nvSpPr>
          <p:cNvPr id="519" name="Freeform 518"/>
          <p:cNvSpPr/>
          <p:nvPr/>
        </p:nvSpPr>
        <p:spPr>
          <a:xfrm>
            <a:off x="11183578" y="3047999"/>
            <a:ext cx="374259" cy="326709"/>
          </a:xfrm>
          <a:custGeom>
            <a:avLst/>
            <a:gdLst/>
            <a:ahLst/>
            <a:cxnLst/>
            <a:rect l="l" t="t" r="r" b="b"/>
            <a:pathLst>
              <a:path w="5259936" h="4591663">
                <a:moveTo>
                  <a:pt x="0" y="3512322"/>
                </a:moveTo>
                <a:lnTo>
                  <a:pt x="653753" y="3512322"/>
                </a:lnTo>
                <a:lnTo>
                  <a:pt x="653753" y="4591662"/>
                </a:lnTo>
                <a:lnTo>
                  <a:pt x="0" y="4591662"/>
                </a:lnTo>
                <a:close/>
                <a:moveTo>
                  <a:pt x="921237" y="3443955"/>
                </a:moveTo>
                <a:lnTo>
                  <a:pt x="1574990" y="3443955"/>
                </a:lnTo>
                <a:lnTo>
                  <a:pt x="1574990" y="4591662"/>
                </a:lnTo>
                <a:lnTo>
                  <a:pt x="921237" y="4591662"/>
                </a:lnTo>
                <a:close/>
                <a:moveTo>
                  <a:pt x="1842474" y="3187583"/>
                </a:moveTo>
                <a:lnTo>
                  <a:pt x="2496227" y="3187583"/>
                </a:lnTo>
                <a:lnTo>
                  <a:pt x="2496227" y="4591663"/>
                </a:lnTo>
                <a:lnTo>
                  <a:pt x="1842474" y="4591663"/>
                </a:lnTo>
                <a:close/>
                <a:moveTo>
                  <a:pt x="2763711" y="2820112"/>
                </a:moveTo>
                <a:lnTo>
                  <a:pt x="3417464" y="2820112"/>
                </a:lnTo>
                <a:lnTo>
                  <a:pt x="3417464" y="4591663"/>
                </a:lnTo>
                <a:lnTo>
                  <a:pt x="2763711" y="4591663"/>
                </a:lnTo>
                <a:close/>
                <a:moveTo>
                  <a:pt x="3684948" y="2187724"/>
                </a:moveTo>
                <a:lnTo>
                  <a:pt x="4338701" y="2187724"/>
                </a:lnTo>
                <a:lnTo>
                  <a:pt x="4338701" y="4591663"/>
                </a:lnTo>
                <a:lnTo>
                  <a:pt x="3684948" y="4591663"/>
                </a:lnTo>
                <a:close/>
                <a:moveTo>
                  <a:pt x="4606183" y="1828800"/>
                </a:moveTo>
                <a:lnTo>
                  <a:pt x="5259936" y="1828800"/>
                </a:lnTo>
                <a:lnTo>
                  <a:pt x="5259936" y="4591663"/>
                </a:lnTo>
                <a:lnTo>
                  <a:pt x="4606183" y="4591663"/>
                </a:lnTo>
                <a:close/>
                <a:moveTo>
                  <a:pt x="5123203" y="0"/>
                </a:moveTo>
                <a:lnTo>
                  <a:pt x="4730097" y="1683522"/>
                </a:lnTo>
                <a:lnTo>
                  <a:pt x="4379719" y="1401510"/>
                </a:lnTo>
                <a:cubicBezTo>
                  <a:pt x="2644923" y="2999574"/>
                  <a:pt x="1602336" y="3273040"/>
                  <a:pt x="12818" y="3161944"/>
                </a:cubicBezTo>
                <a:cubicBezTo>
                  <a:pt x="1397236" y="3099275"/>
                  <a:pt x="2559465" y="2498221"/>
                  <a:pt x="3832788" y="922946"/>
                </a:cubicBezTo>
                <a:lnTo>
                  <a:pt x="3490957" y="632389"/>
                </a:lnTo>
                <a:close/>
              </a:path>
            </a:pathLst>
          </a:custGeom>
          <a:solidFill>
            <a:srgbClr val="5E83BD"/>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prstClr val="white"/>
              </a:solidFill>
              <a:effectLst/>
              <a:uLnTx/>
              <a:uFillTx/>
              <a:latin typeface="Segoe UI"/>
              <a:ea typeface="+mn-ea"/>
              <a:cs typeface="+mn-cs"/>
            </a:endParaRPr>
          </a:p>
        </p:txBody>
      </p:sp>
      <p:sp>
        <p:nvSpPr>
          <p:cNvPr id="525" name="Rounded Rectangle 4"/>
          <p:cNvSpPr/>
          <p:nvPr/>
        </p:nvSpPr>
        <p:spPr>
          <a:xfrm>
            <a:off x="9248015" y="3186187"/>
            <a:ext cx="321601" cy="256759"/>
          </a:xfrm>
          <a:custGeom>
            <a:avLst/>
            <a:gdLst/>
            <a:ahLst/>
            <a:cxnLst/>
            <a:rect l="l" t="t" r="r" b="b"/>
            <a:pathLst>
              <a:path w="2855842" h="2280047">
                <a:moveTo>
                  <a:pt x="2402205" y="1810634"/>
                </a:moveTo>
                <a:lnTo>
                  <a:pt x="2402205" y="2105204"/>
                </a:lnTo>
                <a:lnTo>
                  <a:pt x="2696775" y="2105204"/>
                </a:lnTo>
                <a:lnTo>
                  <a:pt x="2696775" y="1810634"/>
                </a:lnTo>
                <a:close/>
                <a:moveTo>
                  <a:pt x="2028348" y="1810634"/>
                </a:moveTo>
                <a:lnTo>
                  <a:pt x="2028348" y="2105204"/>
                </a:lnTo>
                <a:lnTo>
                  <a:pt x="2322918" y="2105204"/>
                </a:lnTo>
                <a:lnTo>
                  <a:pt x="2322918" y="1810634"/>
                </a:lnTo>
                <a:close/>
                <a:moveTo>
                  <a:pt x="1654492" y="1810634"/>
                </a:moveTo>
                <a:lnTo>
                  <a:pt x="1654492" y="2105204"/>
                </a:lnTo>
                <a:lnTo>
                  <a:pt x="1949062" y="2105204"/>
                </a:lnTo>
                <a:lnTo>
                  <a:pt x="1949062" y="1810634"/>
                </a:lnTo>
                <a:close/>
                <a:moveTo>
                  <a:pt x="1280636" y="1810634"/>
                </a:moveTo>
                <a:lnTo>
                  <a:pt x="1280636" y="2105204"/>
                </a:lnTo>
                <a:lnTo>
                  <a:pt x="1575206" y="2105204"/>
                </a:lnTo>
                <a:lnTo>
                  <a:pt x="1575206" y="1810634"/>
                </a:lnTo>
                <a:close/>
                <a:moveTo>
                  <a:pt x="906780" y="1810634"/>
                </a:moveTo>
                <a:lnTo>
                  <a:pt x="906780" y="2105204"/>
                </a:lnTo>
                <a:lnTo>
                  <a:pt x="1201350" y="2105204"/>
                </a:lnTo>
                <a:lnTo>
                  <a:pt x="1201350" y="1810634"/>
                </a:lnTo>
                <a:close/>
                <a:moveTo>
                  <a:pt x="532924" y="1810634"/>
                </a:moveTo>
                <a:lnTo>
                  <a:pt x="532924" y="2105204"/>
                </a:lnTo>
                <a:lnTo>
                  <a:pt x="827494" y="2105204"/>
                </a:lnTo>
                <a:lnTo>
                  <a:pt x="827494" y="1810634"/>
                </a:lnTo>
                <a:close/>
                <a:moveTo>
                  <a:pt x="159068" y="1810634"/>
                </a:moveTo>
                <a:lnTo>
                  <a:pt x="159068" y="2105204"/>
                </a:lnTo>
                <a:lnTo>
                  <a:pt x="453638" y="2105204"/>
                </a:lnTo>
                <a:lnTo>
                  <a:pt x="453638" y="1810634"/>
                </a:lnTo>
                <a:close/>
                <a:moveTo>
                  <a:pt x="2402205" y="1444039"/>
                </a:moveTo>
                <a:lnTo>
                  <a:pt x="2402205" y="1738609"/>
                </a:lnTo>
                <a:lnTo>
                  <a:pt x="2696775" y="1738609"/>
                </a:lnTo>
                <a:lnTo>
                  <a:pt x="2696775" y="1444039"/>
                </a:lnTo>
                <a:close/>
                <a:moveTo>
                  <a:pt x="2028348" y="1444039"/>
                </a:moveTo>
                <a:lnTo>
                  <a:pt x="2028348" y="1738609"/>
                </a:lnTo>
                <a:lnTo>
                  <a:pt x="2322918" y="1738609"/>
                </a:lnTo>
                <a:lnTo>
                  <a:pt x="2322918" y="1444039"/>
                </a:lnTo>
                <a:close/>
                <a:moveTo>
                  <a:pt x="1654492" y="1444039"/>
                </a:moveTo>
                <a:lnTo>
                  <a:pt x="1654492" y="1738609"/>
                </a:lnTo>
                <a:lnTo>
                  <a:pt x="1949062" y="1738609"/>
                </a:lnTo>
                <a:lnTo>
                  <a:pt x="1949062" y="1444039"/>
                </a:lnTo>
                <a:close/>
                <a:moveTo>
                  <a:pt x="1280636" y="1444039"/>
                </a:moveTo>
                <a:lnTo>
                  <a:pt x="1280636" y="1738609"/>
                </a:lnTo>
                <a:lnTo>
                  <a:pt x="1575206" y="1738609"/>
                </a:lnTo>
                <a:lnTo>
                  <a:pt x="1575206" y="1444039"/>
                </a:lnTo>
                <a:close/>
                <a:moveTo>
                  <a:pt x="906780" y="1444039"/>
                </a:moveTo>
                <a:lnTo>
                  <a:pt x="906780" y="1738609"/>
                </a:lnTo>
                <a:lnTo>
                  <a:pt x="1201350" y="1738609"/>
                </a:lnTo>
                <a:lnTo>
                  <a:pt x="1201350" y="1444039"/>
                </a:lnTo>
                <a:close/>
                <a:moveTo>
                  <a:pt x="532924" y="1444039"/>
                </a:moveTo>
                <a:lnTo>
                  <a:pt x="532924" y="1738609"/>
                </a:lnTo>
                <a:lnTo>
                  <a:pt x="827494" y="1738609"/>
                </a:lnTo>
                <a:lnTo>
                  <a:pt x="827494" y="1444039"/>
                </a:lnTo>
                <a:close/>
                <a:moveTo>
                  <a:pt x="159068" y="1444039"/>
                </a:moveTo>
                <a:lnTo>
                  <a:pt x="159068" y="1738609"/>
                </a:lnTo>
                <a:lnTo>
                  <a:pt x="453638" y="1738609"/>
                </a:lnTo>
                <a:lnTo>
                  <a:pt x="453638" y="1444039"/>
                </a:lnTo>
                <a:close/>
                <a:moveTo>
                  <a:pt x="2402205" y="1077444"/>
                </a:moveTo>
                <a:lnTo>
                  <a:pt x="2402205" y="1372014"/>
                </a:lnTo>
                <a:lnTo>
                  <a:pt x="2696775" y="1372014"/>
                </a:lnTo>
                <a:lnTo>
                  <a:pt x="2696775" y="1077444"/>
                </a:lnTo>
                <a:close/>
                <a:moveTo>
                  <a:pt x="2028348" y="1077444"/>
                </a:moveTo>
                <a:lnTo>
                  <a:pt x="2028348" y="1372014"/>
                </a:lnTo>
                <a:lnTo>
                  <a:pt x="2322918" y="1372014"/>
                </a:lnTo>
                <a:lnTo>
                  <a:pt x="2322918" y="1077444"/>
                </a:lnTo>
                <a:close/>
                <a:moveTo>
                  <a:pt x="1654492" y="1077444"/>
                </a:moveTo>
                <a:lnTo>
                  <a:pt x="1654492" y="1372014"/>
                </a:lnTo>
                <a:lnTo>
                  <a:pt x="1949062" y="1372014"/>
                </a:lnTo>
                <a:lnTo>
                  <a:pt x="1949062" y="1077444"/>
                </a:lnTo>
                <a:close/>
                <a:moveTo>
                  <a:pt x="1280636" y="1077444"/>
                </a:moveTo>
                <a:lnTo>
                  <a:pt x="1280636" y="1372014"/>
                </a:lnTo>
                <a:lnTo>
                  <a:pt x="1575206" y="1372014"/>
                </a:lnTo>
                <a:lnTo>
                  <a:pt x="1575206" y="1077444"/>
                </a:lnTo>
                <a:close/>
                <a:moveTo>
                  <a:pt x="906780" y="1077444"/>
                </a:moveTo>
                <a:lnTo>
                  <a:pt x="906780" y="1372014"/>
                </a:lnTo>
                <a:lnTo>
                  <a:pt x="1201350" y="1372014"/>
                </a:lnTo>
                <a:lnTo>
                  <a:pt x="1201350" y="1077444"/>
                </a:lnTo>
                <a:close/>
                <a:moveTo>
                  <a:pt x="532924" y="1077444"/>
                </a:moveTo>
                <a:lnTo>
                  <a:pt x="532924" y="1372014"/>
                </a:lnTo>
                <a:lnTo>
                  <a:pt x="827494" y="1372014"/>
                </a:lnTo>
                <a:lnTo>
                  <a:pt x="827494" y="1077444"/>
                </a:lnTo>
                <a:close/>
                <a:moveTo>
                  <a:pt x="159068" y="1077444"/>
                </a:moveTo>
                <a:lnTo>
                  <a:pt x="159068" y="1372014"/>
                </a:lnTo>
                <a:lnTo>
                  <a:pt x="453638" y="1372014"/>
                </a:lnTo>
                <a:lnTo>
                  <a:pt x="453638" y="1077444"/>
                </a:lnTo>
                <a:close/>
                <a:moveTo>
                  <a:pt x="2402205" y="710849"/>
                </a:moveTo>
                <a:lnTo>
                  <a:pt x="2402205" y="1005419"/>
                </a:lnTo>
                <a:lnTo>
                  <a:pt x="2696775" y="1005419"/>
                </a:lnTo>
                <a:lnTo>
                  <a:pt x="2696775" y="710849"/>
                </a:lnTo>
                <a:close/>
                <a:moveTo>
                  <a:pt x="2028348" y="710849"/>
                </a:moveTo>
                <a:lnTo>
                  <a:pt x="2028348" y="1005419"/>
                </a:lnTo>
                <a:lnTo>
                  <a:pt x="2322918" y="1005419"/>
                </a:lnTo>
                <a:lnTo>
                  <a:pt x="2322918" y="710849"/>
                </a:lnTo>
                <a:close/>
                <a:moveTo>
                  <a:pt x="1654492" y="710849"/>
                </a:moveTo>
                <a:lnTo>
                  <a:pt x="1654492" y="1005419"/>
                </a:lnTo>
                <a:lnTo>
                  <a:pt x="1949062" y="1005419"/>
                </a:lnTo>
                <a:lnTo>
                  <a:pt x="1949062" y="710849"/>
                </a:lnTo>
                <a:close/>
                <a:moveTo>
                  <a:pt x="1280636" y="710849"/>
                </a:moveTo>
                <a:lnTo>
                  <a:pt x="1280636" y="1005419"/>
                </a:lnTo>
                <a:lnTo>
                  <a:pt x="1575206" y="1005419"/>
                </a:lnTo>
                <a:lnTo>
                  <a:pt x="1575206" y="710849"/>
                </a:lnTo>
                <a:close/>
                <a:moveTo>
                  <a:pt x="906780" y="710849"/>
                </a:moveTo>
                <a:lnTo>
                  <a:pt x="906780" y="1005419"/>
                </a:lnTo>
                <a:lnTo>
                  <a:pt x="1201350" y="1005419"/>
                </a:lnTo>
                <a:lnTo>
                  <a:pt x="1201350" y="710849"/>
                </a:lnTo>
                <a:close/>
                <a:moveTo>
                  <a:pt x="532924" y="710849"/>
                </a:moveTo>
                <a:lnTo>
                  <a:pt x="532924" y="1005419"/>
                </a:lnTo>
                <a:lnTo>
                  <a:pt x="827494" y="1005419"/>
                </a:lnTo>
                <a:lnTo>
                  <a:pt x="827494" y="710849"/>
                </a:lnTo>
                <a:close/>
                <a:moveTo>
                  <a:pt x="159068" y="710849"/>
                </a:moveTo>
                <a:lnTo>
                  <a:pt x="159068" y="1005419"/>
                </a:lnTo>
                <a:lnTo>
                  <a:pt x="453638" y="1005419"/>
                </a:lnTo>
                <a:lnTo>
                  <a:pt x="453638" y="710849"/>
                </a:lnTo>
                <a:close/>
                <a:moveTo>
                  <a:pt x="159069" y="466884"/>
                </a:moveTo>
                <a:lnTo>
                  <a:pt x="159069" y="616627"/>
                </a:lnTo>
                <a:lnTo>
                  <a:pt x="1949063" y="616627"/>
                </a:lnTo>
                <a:lnTo>
                  <a:pt x="1949063" y="466884"/>
                </a:lnTo>
                <a:close/>
                <a:moveTo>
                  <a:pt x="213021" y="0"/>
                </a:moveTo>
                <a:lnTo>
                  <a:pt x="229822" y="0"/>
                </a:lnTo>
                <a:cubicBezTo>
                  <a:pt x="262883" y="0"/>
                  <a:pt x="289684" y="26801"/>
                  <a:pt x="289684" y="59862"/>
                </a:cubicBezTo>
                <a:lnTo>
                  <a:pt x="289684" y="146447"/>
                </a:lnTo>
                <a:lnTo>
                  <a:pt x="421270" y="146447"/>
                </a:lnTo>
                <a:lnTo>
                  <a:pt x="421270" y="59862"/>
                </a:lnTo>
                <a:cubicBezTo>
                  <a:pt x="421270" y="26801"/>
                  <a:pt x="448071" y="0"/>
                  <a:pt x="481132" y="0"/>
                </a:cubicBezTo>
                <a:lnTo>
                  <a:pt x="497933" y="0"/>
                </a:lnTo>
                <a:cubicBezTo>
                  <a:pt x="530994" y="0"/>
                  <a:pt x="557795" y="26801"/>
                  <a:pt x="557795" y="59862"/>
                </a:cubicBezTo>
                <a:lnTo>
                  <a:pt x="557795" y="146447"/>
                </a:lnTo>
                <a:lnTo>
                  <a:pt x="689381" y="146447"/>
                </a:lnTo>
                <a:lnTo>
                  <a:pt x="689381" y="59862"/>
                </a:lnTo>
                <a:cubicBezTo>
                  <a:pt x="689381" y="26801"/>
                  <a:pt x="716182" y="0"/>
                  <a:pt x="749243" y="0"/>
                </a:cubicBezTo>
                <a:lnTo>
                  <a:pt x="766044" y="0"/>
                </a:lnTo>
                <a:cubicBezTo>
                  <a:pt x="799105" y="0"/>
                  <a:pt x="825906" y="26801"/>
                  <a:pt x="825906" y="59862"/>
                </a:cubicBezTo>
                <a:lnTo>
                  <a:pt x="825906" y="146447"/>
                </a:lnTo>
                <a:lnTo>
                  <a:pt x="957492" y="146447"/>
                </a:lnTo>
                <a:lnTo>
                  <a:pt x="957492" y="59862"/>
                </a:lnTo>
                <a:cubicBezTo>
                  <a:pt x="957492" y="26801"/>
                  <a:pt x="984293" y="0"/>
                  <a:pt x="1017354" y="0"/>
                </a:cubicBezTo>
                <a:lnTo>
                  <a:pt x="1034155" y="0"/>
                </a:lnTo>
                <a:cubicBezTo>
                  <a:pt x="1067216" y="0"/>
                  <a:pt x="1094017" y="26801"/>
                  <a:pt x="1094017" y="59862"/>
                </a:cubicBezTo>
                <a:lnTo>
                  <a:pt x="1094017" y="146447"/>
                </a:lnTo>
                <a:lnTo>
                  <a:pt x="1225603" y="146447"/>
                </a:lnTo>
                <a:lnTo>
                  <a:pt x="1225603" y="59862"/>
                </a:lnTo>
                <a:cubicBezTo>
                  <a:pt x="1225603" y="26801"/>
                  <a:pt x="1252404" y="0"/>
                  <a:pt x="1285465" y="0"/>
                </a:cubicBezTo>
                <a:lnTo>
                  <a:pt x="1302266" y="0"/>
                </a:lnTo>
                <a:cubicBezTo>
                  <a:pt x="1335327" y="0"/>
                  <a:pt x="1362128" y="26801"/>
                  <a:pt x="1362128" y="59862"/>
                </a:cubicBezTo>
                <a:lnTo>
                  <a:pt x="1362128" y="146447"/>
                </a:lnTo>
                <a:lnTo>
                  <a:pt x="1493714" y="146447"/>
                </a:lnTo>
                <a:lnTo>
                  <a:pt x="1493714" y="59862"/>
                </a:lnTo>
                <a:cubicBezTo>
                  <a:pt x="1493714" y="26801"/>
                  <a:pt x="1520515" y="0"/>
                  <a:pt x="1553576" y="0"/>
                </a:cubicBezTo>
                <a:lnTo>
                  <a:pt x="1570377" y="0"/>
                </a:lnTo>
                <a:cubicBezTo>
                  <a:pt x="1603438" y="0"/>
                  <a:pt x="1630239" y="26801"/>
                  <a:pt x="1630239" y="59862"/>
                </a:cubicBezTo>
                <a:lnTo>
                  <a:pt x="1630239" y="146447"/>
                </a:lnTo>
                <a:lnTo>
                  <a:pt x="1761825" y="146447"/>
                </a:lnTo>
                <a:lnTo>
                  <a:pt x="1761825" y="59862"/>
                </a:lnTo>
                <a:cubicBezTo>
                  <a:pt x="1761825" y="26801"/>
                  <a:pt x="1788626" y="0"/>
                  <a:pt x="1821687" y="0"/>
                </a:cubicBezTo>
                <a:lnTo>
                  <a:pt x="1838488" y="0"/>
                </a:lnTo>
                <a:cubicBezTo>
                  <a:pt x="1871549" y="0"/>
                  <a:pt x="1898350" y="26801"/>
                  <a:pt x="1898350" y="59862"/>
                </a:cubicBezTo>
                <a:lnTo>
                  <a:pt x="1898350" y="146447"/>
                </a:lnTo>
                <a:lnTo>
                  <a:pt x="2029936" y="146447"/>
                </a:lnTo>
                <a:lnTo>
                  <a:pt x="2029936" y="59862"/>
                </a:lnTo>
                <a:cubicBezTo>
                  <a:pt x="2029936" y="26801"/>
                  <a:pt x="2056737" y="0"/>
                  <a:pt x="2089798" y="0"/>
                </a:cubicBezTo>
                <a:lnTo>
                  <a:pt x="2106599" y="0"/>
                </a:lnTo>
                <a:cubicBezTo>
                  <a:pt x="2139660" y="0"/>
                  <a:pt x="2166461" y="26801"/>
                  <a:pt x="2166461" y="59862"/>
                </a:cubicBezTo>
                <a:lnTo>
                  <a:pt x="2166461" y="146447"/>
                </a:lnTo>
                <a:lnTo>
                  <a:pt x="2298047" y="146447"/>
                </a:lnTo>
                <a:lnTo>
                  <a:pt x="2298047" y="59862"/>
                </a:lnTo>
                <a:cubicBezTo>
                  <a:pt x="2298047" y="26801"/>
                  <a:pt x="2324848" y="0"/>
                  <a:pt x="2357909" y="0"/>
                </a:cubicBezTo>
                <a:lnTo>
                  <a:pt x="2374710" y="0"/>
                </a:lnTo>
                <a:cubicBezTo>
                  <a:pt x="2407771" y="0"/>
                  <a:pt x="2434572" y="26801"/>
                  <a:pt x="2434572" y="59862"/>
                </a:cubicBezTo>
                <a:lnTo>
                  <a:pt x="2434572" y="146447"/>
                </a:lnTo>
                <a:lnTo>
                  <a:pt x="2566159" y="146447"/>
                </a:lnTo>
                <a:lnTo>
                  <a:pt x="2566159" y="59862"/>
                </a:lnTo>
                <a:cubicBezTo>
                  <a:pt x="2566159" y="26801"/>
                  <a:pt x="2592960" y="0"/>
                  <a:pt x="2626021" y="0"/>
                </a:cubicBezTo>
                <a:lnTo>
                  <a:pt x="2642822" y="0"/>
                </a:lnTo>
                <a:cubicBezTo>
                  <a:pt x="2675883" y="0"/>
                  <a:pt x="2702684" y="26801"/>
                  <a:pt x="2702684" y="59862"/>
                </a:cubicBezTo>
                <a:lnTo>
                  <a:pt x="2702684" y="146447"/>
                </a:lnTo>
                <a:lnTo>
                  <a:pt x="2855842" y="146447"/>
                </a:lnTo>
                <a:lnTo>
                  <a:pt x="2855842" y="2280047"/>
                </a:lnTo>
                <a:lnTo>
                  <a:pt x="0" y="2280047"/>
                </a:lnTo>
                <a:lnTo>
                  <a:pt x="0" y="146447"/>
                </a:lnTo>
                <a:lnTo>
                  <a:pt x="153159" y="146447"/>
                </a:lnTo>
                <a:lnTo>
                  <a:pt x="153159" y="59862"/>
                </a:lnTo>
                <a:cubicBezTo>
                  <a:pt x="153159" y="26801"/>
                  <a:pt x="179960" y="0"/>
                  <a:pt x="213021" y="0"/>
                </a:cubicBezTo>
                <a:close/>
              </a:path>
            </a:pathLst>
          </a:custGeom>
          <a:solidFill>
            <a:srgbClr val="5E83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prstClr val="white"/>
              </a:solidFill>
              <a:effectLst/>
              <a:uLnTx/>
              <a:uFillTx/>
              <a:latin typeface="Segoe UI"/>
              <a:ea typeface="+mn-ea"/>
              <a:cs typeface="+mn-cs"/>
            </a:endParaRPr>
          </a:p>
        </p:txBody>
      </p:sp>
      <p:grpSp>
        <p:nvGrpSpPr>
          <p:cNvPr id="526" name="Group 525"/>
          <p:cNvGrpSpPr/>
          <p:nvPr/>
        </p:nvGrpSpPr>
        <p:grpSpPr bwMode="black">
          <a:xfrm>
            <a:off x="9504102" y="2975553"/>
            <a:ext cx="318018" cy="258721"/>
            <a:chOff x="5184775" y="225425"/>
            <a:chExt cx="1500188" cy="1220788"/>
          </a:xfrm>
          <a:solidFill>
            <a:srgbClr val="5E83BD"/>
          </a:solidFill>
        </p:grpSpPr>
        <p:sp>
          <p:nvSpPr>
            <p:cNvPr id="527"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528"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529"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530" name="Group 529"/>
          <p:cNvGrpSpPr/>
          <p:nvPr/>
        </p:nvGrpSpPr>
        <p:grpSpPr>
          <a:xfrm>
            <a:off x="9896167" y="2350267"/>
            <a:ext cx="1173175" cy="679078"/>
            <a:chOff x="1217517" y="2545386"/>
            <a:chExt cx="1840006" cy="1065064"/>
          </a:xfrm>
          <a:solidFill>
            <a:srgbClr val="5E83BD"/>
          </a:solidFill>
        </p:grpSpPr>
        <p:sp>
          <p:nvSpPr>
            <p:cNvPr id="531" name="Rectangle 6"/>
            <p:cNvSpPr/>
            <p:nvPr/>
          </p:nvSpPr>
          <p:spPr>
            <a:xfrm>
              <a:off x="1217517" y="2545386"/>
              <a:ext cx="1416985" cy="902663"/>
            </a:xfrm>
            <a:custGeom>
              <a:avLst/>
              <a:gdLst/>
              <a:ahLst/>
              <a:cxnLst/>
              <a:rect l="l" t="t" r="r" b="b"/>
              <a:pathLst>
                <a:path w="1416985" h="902663">
                  <a:moveTo>
                    <a:pt x="959531" y="0"/>
                  </a:moveTo>
                  <a:cubicBezTo>
                    <a:pt x="1154831" y="0"/>
                    <a:pt x="1313152" y="128694"/>
                    <a:pt x="1313152" y="287446"/>
                  </a:cubicBezTo>
                  <a:cubicBezTo>
                    <a:pt x="1313152" y="308628"/>
                    <a:pt x="1310333" y="329275"/>
                    <a:pt x="1304790" y="349100"/>
                  </a:cubicBezTo>
                  <a:lnTo>
                    <a:pt x="1306444" y="348857"/>
                  </a:lnTo>
                  <a:lnTo>
                    <a:pt x="1303349" y="350370"/>
                  </a:lnTo>
                  <a:cubicBezTo>
                    <a:pt x="1317408" y="345309"/>
                    <a:pt x="1332485" y="343008"/>
                    <a:pt x="1348066" y="343008"/>
                  </a:cubicBezTo>
                  <a:cubicBezTo>
                    <a:pt x="1372851" y="343008"/>
                    <a:pt x="1396359" y="348829"/>
                    <a:pt x="1416985" y="360196"/>
                  </a:cubicBezTo>
                  <a:lnTo>
                    <a:pt x="1025621" y="543095"/>
                  </a:lnTo>
                  <a:lnTo>
                    <a:pt x="1025621" y="830357"/>
                  </a:lnTo>
                  <a:cubicBezTo>
                    <a:pt x="995938" y="851853"/>
                    <a:pt x="956252" y="864665"/>
                    <a:pt x="912744" y="864665"/>
                  </a:cubicBezTo>
                  <a:cubicBezTo>
                    <a:pt x="853713" y="864665"/>
                    <a:pt x="801718" y="841080"/>
                    <a:pt x="771359" y="805222"/>
                  </a:cubicBezTo>
                  <a:cubicBezTo>
                    <a:pt x="725550" y="863816"/>
                    <a:pt x="640297" y="902663"/>
                    <a:pt x="542838" y="902663"/>
                  </a:cubicBezTo>
                  <a:cubicBezTo>
                    <a:pt x="395508" y="902663"/>
                    <a:pt x="276072" y="813884"/>
                    <a:pt x="276072" y="704369"/>
                  </a:cubicBezTo>
                  <a:cubicBezTo>
                    <a:pt x="276091" y="704153"/>
                    <a:pt x="276111" y="703937"/>
                    <a:pt x="276131" y="703721"/>
                  </a:cubicBezTo>
                  <a:cubicBezTo>
                    <a:pt x="253502" y="711481"/>
                    <a:pt x="228753" y="715513"/>
                    <a:pt x="202872" y="715513"/>
                  </a:cubicBezTo>
                  <a:cubicBezTo>
                    <a:pt x="90829" y="715513"/>
                    <a:pt x="0" y="639927"/>
                    <a:pt x="0" y="546687"/>
                  </a:cubicBezTo>
                  <a:cubicBezTo>
                    <a:pt x="0" y="453447"/>
                    <a:pt x="90829" y="377862"/>
                    <a:pt x="202872" y="377862"/>
                  </a:cubicBezTo>
                  <a:lnTo>
                    <a:pt x="213315" y="378738"/>
                  </a:lnTo>
                  <a:cubicBezTo>
                    <a:pt x="203130" y="356806"/>
                    <a:pt x="197748" y="332866"/>
                    <a:pt x="197748" y="307867"/>
                  </a:cubicBezTo>
                  <a:cubicBezTo>
                    <a:pt x="197748" y="196084"/>
                    <a:pt x="305323" y="105466"/>
                    <a:pt x="438024" y="105466"/>
                  </a:cubicBezTo>
                  <a:cubicBezTo>
                    <a:pt x="516203" y="105466"/>
                    <a:pt x="585661" y="136918"/>
                    <a:pt x="628918" y="186182"/>
                  </a:cubicBezTo>
                  <a:cubicBezTo>
                    <a:pt x="678998" y="77315"/>
                    <a:pt x="808158" y="0"/>
                    <a:pt x="959531"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532" name="Freeform 531"/>
            <p:cNvSpPr/>
            <p:nvPr/>
          </p:nvSpPr>
          <p:spPr>
            <a:xfrm>
              <a:off x="2193926" y="2923699"/>
              <a:ext cx="863597" cy="686751"/>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grp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533" name="Group 532"/>
          <p:cNvGrpSpPr/>
          <p:nvPr/>
        </p:nvGrpSpPr>
        <p:grpSpPr>
          <a:xfrm>
            <a:off x="10097202" y="2608882"/>
            <a:ext cx="342140" cy="325235"/>
            <a:chOff x="1775460" y="599350"/>
            <a:chExt cx="6295391" cy="5984329"/>
          </a:xfrm>
          <a:solidFill>
            <a:schemeClr val="bg1"/>
          </a:solidFill>
        </p:grpSpPr>
        <p:sp>
          <p:nvSpPr>
            <p:cNvPr id="534" name="Freeform 533"/>
            <p:cNvSpPr/>
            <p:nvPr/>
          </p:nvSpPr>
          <p:spPr>
            <a:xfrm>
              <a:off x="1775460" y="1069630"/>
              <a:ext cx="6141720" cy="5514049"/>
            </a:xfrm>
            <a:custGeom>
              <a:avLst/>
              <a:gdLst/>
              <a:ahLst/>
              <a:cxnLst/>
              <a:rect l="l" t="t" r="r" b="b"/>
              <a:pathLst>
                <a:path w="6141720" h="5514049">
                  <a:moveTo>
                    <a:pt x="2437765" y="4651720"/>
                  </a:moveTo>
                  <a:lnTo>
                    <a:pt x="1748790" y="4880320"/>
                  </a:lnTo>
                  <a:lnTo>
                    <a:pt x="3021965" y="5321645"/>
                  </a:lnTo>
                  <a:lnTo>
                    <a:pt x="4457065" y="4893020"/>
                  </a:lnTo>
                  <a:lnTo>
                    <a:pt x="3041015" y="4800945"/>
                  </a:lnTo>
                  <a:close/>
                  <a:moveTo>
                    <a:pt x="1005840" y="4480270"/>
                  </a:moveTo>
                  <a:lnTo>
                    <a:pt x="878840" y="4524720"/>
                  </a:lnTo>
                  <a:lnTo>
                    <a:pt x="1551940" y="4731095"/>
                  </a:lnTo>
                  <a:lnTo>
                    <a:pt x="1678940" y="4686645"/>
                  </a:lnTo>
                  <a:close/>
                  <a:moveTo>
                    <a:pt x="586740" y="4207220"/>
                  </a:moveTo>
                  <a:lnTo>
                    <a:pt x="97790" y="4311995"/>
                  </a:lnTo>
                  <a:lnTo>
                    <a:pt x="789940" y="4556470"/>
                  </a:lnTo>
                  <a:lnTo>
                    <a:pt x="789940" y="4508845"/>
                  </a:lnTo>
                  <a:lnTo>
                    <a:pt x="945515" y="4461220"/>
                  </a:lnTo>
                  <a:lnTo>
                    <a:pt x="945515" y="4365970"/>
                  </a:lnTo>
                  <a:lnTo>
                    <a:pt x="1069340" y="4331045"/>
                  </a:lnTo>
                  <a:close/>
                  <a:moveTo>
                    <a:pt x="3918109" y="3795264"/>
                  </a:moveTo>
                  <a:lnTo>
                    <a:pt x="3587115" y="3809551"/>
                  </a:lnTo>
                  <a:lnTo>
                    <a:pt x="3587115" y="3864320"/>
                  </a:lnTo>
                  <a:lnTo>
                    <a:pt x="3872865" y="3847651"/>
                  </a:lnTo>
                  <a:lnTo>
                    <a:pt x="3872865" y="4278658"/>
                  </a:lnTo>
                  <a:lnTo>
                    <a:pt x="3920490" y="4269133"/>
                  </a:lnTo>
                  <a:cubicBezTo>
                    <a:pt x="3919696" y="4111177"/>
                    <a:pt x="3918903" y="3953220"/>
                    <a:pt x="3918109" y="3795264"/>
                  </a:cubicBezTo>
                  <a:close/>
                  <a:moveTo>
                    <a:pt x="4713446" y="3754783"/>
                  </a:moveTo>
                  <a:lnTo>
                    <a:pt x="4434840" y="3769070"/>
                  </a:lnTo>
                  <a:lnTo>
                    <a:pt x="4434840" y="3819076"/>
                  </a:lnTo>
                  <a:lnTo>
                    <a:pt x="4672965" y="3797645"/>
                  </a:lnTo>
                  <a:lnTo>
                    <a:pt x="4672965" y="4161976"/>
                  </a:lnTo>
                  <a:lnTo>
                    <a:pt x="4713446" y="4157214"/>
                  </a:lnTo>
                  <a:close/>
                  <a:moveTo>
                    <a:pt x="5356384" y="3719064"/>
                  </a:moveTo>
                  <a:lnTo>
                    <a:pt x="5120640" y="3730970"/>
                  </a:lnTo>
                  <a:lnTo>
                    <a:pt x="5120640" y="3766689"/>
                  </a:lnTo>
                  <a:lnTo>
                    <a:pt x="5327809" y="3761926"/>
                  </a:lnTo>
                  <a:lnTo>
                    <a:pt x="5342096" y="4064345"/>
                  </a:lnTo>
                  <a:lnTo>
                    <a:pt x="5370671" y="4059583"/>
                  </a:lnTo>
                  <a:close/>
                  <a:moveTo>
                    <a:pt x="5127784" y="3018976"/>
                  </a:moveTo>
                  <a:lnTo>
                    <a:pt x="5127784" y="3057076"/>
                  </a:lnTo>
                  <a:lnTo>
                    <a:pt x="5323046" y="3076126"/>
                  </a:lnTo>
                  <a:lnTo>
                    <a:pt x="5339715" y="3378545"/>
                  </a:lnTo>
                  <a:lnTo>
                    <a:pt x="5368290" y="3383307"/>
                  </a:lnTo>
                  <a:lnTo>
                    <a:pt x="5356384" y="3049933"/>
                  </a:lnTo>
                  <a:close/>
                  <a:moveTo>
                    <a:pt x="4434840" y="2952301"/>
                  </a:moveTo>
                  <a:lnTo>
                    <a:pt x="4437222" y="2995165"/>
                  </a:lnTo>
                  <a:cubicBezTo>
                    <a:pt x="4671378" y="3011833"/>
                    <a:pt x="4555490" y="3004690"/>
                    <a:pt x="4680109" y="3016595"/>
                  </a:cubicBezTo>
                  <a:lnTo>
                    <a:pt x="4680109" y="3376164"/>
                  </a:lnTo>
                  <a:lnTo>
                    <a:pt x="4718209" y="3380926"/>
                  </a:lnTo>
                  <a:cubicBezTo>
                    <a:pt x="4716621" y="3246782"/>
                    <a:pt x="4715034" y="3112639"/>
                    <a:pt x="4713446" y="2978495"/>
                  </a:cubicBezTo>
                  <a:close/>
                  <a:moveTo>
                    <a:pt x="1129665" y="2921345"/>
                  </a:moveTo>
                  <a:lnTo>
                    <a:pt x="656590" y="2994370"/>
                  </a:lnTo>
                  <a:lnTo>
                    <a:pt x="621665" y="4153245"/>
                  </a:lnTo>
                  <a:lnTo>
                    <a:pt x="1097915" y="4273895"/>
                  </a:lnTo>
                  <a:close/>
                  <a:moveTo>
                    <a:pt x="3589496" y="2868958"/>
                  </a:moveTo>
                  <a:lnTo>
                    <a:pt x="3589496" y="2918964"/>
                  </a:lnTo>
                  <a:lnTo>
                    <a:pt x="3875246" y="2949920"/>
                  </a:lnTo>
                  <a:lnTo>
                    <a:pt x="3875246" y="3380926"/>
                  </a:lnTo>
                  <a:lnTo>
                    <a:pt x="3920490" y="3380926"/>
                  </a:lnTo>
                  <a:lnTo>
                    <a:pt x="3920490" y="2902295"/>
                  </a:lnTo>
                  <a:close/>
                  <a:moveTo>
                    <a:pt x="1139190" y="2728464"/>
                  </a:moveTo>
                  <a:lnTo>
                    <a:pt x="605790" y="2838001"/>
                  </a:lnTo>
                  <a:lnTo>
                    <a:pt x="605790" y="2888008"/>
                  </a:lnTo>
                  <a:lnTo>
                    <a:pt x="1139190" y="2778470"/>
                  </a:lnTo>
                  <a:close/>
                  <a:moveTo>
                    <a:pt x="3048953" y="2621308"/>
                  </a:moveTo>
                  <a:lnTo>
                    <a:pt x="2220278" y="2749895"/>
                  </a:lnTo>
                  <a:lnTo>
                    <a:pt x="2205990" y="4531070"/>
                  </a:lnTo>
                  <a:lnTo>
                    <a:pt x="3029903" y="4731095"/>
                  </a:lnTo>
                  <a:close/>
                  <a:moveTo>
                    <a:pt x="1859915" y="2378420"/>
                  </a:moveTo>
                  <a:lnTo>
                    <a:pt x="1199515" y="2546695"/>
                  </a:lnTo>
                  <a:lnTo>
                    <a:pt x="1161415" y="4340570"/>
                  </a:lnTo>
                  <a:lnTo>
                    <a:pt x="1028065" y="4381845"/>
                  </a:lnTo>
                  <a:lnTo>
                    <a:pt x="1678940" y="4569170"/>
                  </a:lnTo>
                  <a:lnTo>
                    <a:pt x="1824990" y="4515195"/>
                  </a:lnTo>
                  <a:close/>
                  <a:moveTo>
                    <a:pt x="3082290" y="2321270"/>
                  </a:moveTo>
                  <a:lnTo>
                    <a:pt x="2225040" y="2499864"/>
                  </a:lnTo>
                  <a:lnTo>
                    <a:pt x="2225040" y="2571301"/>
                  </a:lnTo>
                  <a:lnTo>
                    <a:pt x="3082290" y="2395089"/>
                  </a:lnTo>
                  <a:close/>
                  <a:moveTo>
                    <a:pt x="3034665" y="1897408"/>
                  </a:moveTo>
                  <a:lnTo>
                    <a:pt x="853440" y="2540345"/>
                  </a:lnTo>
                  <a:lnTo>
                    <a:pt x="853440" y="2716558"/>
                  </a:lnTo>
                  <a:lnTo>
                    <a:pt x="1141571" y="2657026"/>
                  </a:lnTo>
                  <a:lnTo>
                    <a:pt x="1141571" y="2509389"/>
                  </a:lnTo>
                  <a:lnTo>
                    <a:pt x="1860709" y="2306983"/>
                  </a:lnTo>
                  <a:lnTo>
                    <a:pt x="2196465" y="2418901"/>
                  </a:lnTo>
                  <a:lnTo>
                    <a:pt x="3034665" y="2230783"/>
                  </a:lnTo>
                  <a:close/>
                  <a:moveTo>
                    <a:pt x="2139315" y="1759295"/>
                  </a:moveTo>
                  <a:lnTo>
                    <a:pt x="1482090" y="2016470"/>
                  </a:lnTo>
                  <a:lnTo>
                    <a:pt x="1482090" y="2290314"/>
                  </a:lnTo>
                  <a:lnTo>
                    <a:pt x="2139315" y="2095051"/>
                  </a:lnTo>
                  <a:close/>
                  <a:moveTo>
                    <a:pt x="3960971" y="1437826"/>
                  </a:moveTo>
                  <a:lnTo>
                    <a:pt x="2675096" y="1864070"/>
                  </a:lnTo>
                  <a:lnTo>
                    <a:pt x="2675096" y="1937889"/>
                  </a:lnTo>
                  <a:lnTo>
                    <a:pt x="3034665" y="1833114"/>
                  </a:lnTo>
                  <a:lnTo>
                    <a:pt x="3253740" y="1890264"/>
                  </a:lnTo>
                  <a:lnTo>
                    <a:pt x="3844290" y="1721195"/>
                  </a:lnTo>
                  <a:lnTo>
                    <a:pt x="3844290" y="1809301"/>
                  </a:lnTo>
                  <a:lnTo>
                    <a:pt x="3429953" y="1930745"/>
                  </a:lnTo>
                  <a:lnTo>
                    <a:pt x="3960971" y="2080764"/>
                  </a:lnTo>
                  <a:close/>
                  <a:moveTo>
                    <a:pt x="4450467" y="798721"/>
                  </a:moveTo>
                  <a:cubicBezTo>
                    <a:pt x="4330363" y="791764"/>
                    <a:pt x="4200883" y="824655"/>
                    <a:pt x="4170521" y="840133"/>
                  </a:cubicBezTo>
                  <a:lnTo>
                    <a:pt x="4156234" y="1447351"/>
                  </a:lnTo>
                  <a:lnTo>
                    <a:pt x="4603909" y="1623564"/>
                  </a:lnTo>
                  <a:lnTo>
                    <a:pt x="4563428" y="821083"/>
                  </a:lnTo>
                  <a:cubicBezTo>
                    <a:pt x="4529495" y="807788"/>
                    <a:pt x="4490502" y="801041"/>
                    <a:pt x="4450467" y="798721"/>
                  </a:cubicBezTo>
                  <a:close/>
                  <a:moveTo>
                    <a:pt x="2501265" y="767802"/>
                  </a:moveTo>
                  <a:cubicBezTo>
                    <a:pt x="2490351" y="763138"/>
                    <a:pt x="2477056" y="767107"/>
                    <a:pt x="2463165" y="794888"/>
                  </a:cubicBezTo>
                  <a:lnTo>
                    <a:pt x="2434590" y="1761675"/>
                  </a:lnTo>
                  <a:lnTo>
                    <a:pt x="2536984" y="1787869"/>
                  </a:lnTo>
                  <a:lnTo>
                    <a:pt x="2525078" y="792507"/>
                  </a:lnTo>
                  <a:cubicBezTo>
                    <a:pt x="2520712" y="785761"/>
                    <a:pt x="2512179" y="772465"/>
                    <a:pt x="2501265" y="767802"/>
                  </a:cubicBezTo>
                  <a:close/>
                  <a:moveTo>
                    <a:pt x="4302793" y="558846"/>
                  </a:moveTo>
                  <a:cubicBezTo>
                    <a:pt x="4256396" y="562269"/>
                    <a:pt x="4216361" y="576408"/>
                    <a:pt x="4177665" y="597243"/>
                  </a:cubicBezTo>
                  <a:lnTo>
                    <a:pt x="4170521" y="780600"/>
                  </a:lnTo>
                  <a:cubicBezTo>
                    <a:pt x="4199096" y="769488"/>
                    <a:pt x="4272915" y="739325"/>
                    <a:pt x="4349115" y="747262"/>
                  </a:cubicBezTo>
                  <a:lnTo>
                    <a:pt x="4351497" y="559144"/>
                  </a:lnTo>
                  <a:cubicBezTo>
                    <a:pt x="4334431" y="557755"/>
                    <a:pt x="4318259" y="557705"/>
                    <a:pt x="4302793" y="558846"/>
                  </a:cubicBezTo>
                  <a:close/>
                  <a:moveTo>
                    <a:pt x="3202810" y="335363"/>
                  </a:moveTo>
                  <a:cubicBezTo>
                    <a:pt x="3126836" y="339232"/>
                    <a:pt x="3059668" y="355250"/>
                    <a:pt x="3020378" y="375788"/>
                  </a:cubicBezTo>
                  <a:lnTo>
                    <a:pt x="2987040" y="1687857"/>
                  </a:lnTo>
                  <a:lnTo>
                    <a:pt x="3449003" y="1528313"/>
                  </a:lnTo>
                  <a:lnTo>
                    <a:pt x="3387090" y="351975"/>
                  </a:lnTo>
                  <a:cubicBezTo>
                    <a:pt x="3352364" y="343244"/>
                    <a:pt x="3316447" y="338084"/>
                    <a:pt x="3281013" y="335827"/>
                  </a:cubicBezTo>
                  <a:cubicBezTo>
                    <a:pt x="3254438" y="334134"/>
                    <a:pt x="3228135" y="334074"/>
                    <a:pt x="3202810" y="335363"/>
                  </a:cubicBezTo>
                  <a:close/>
                  <a:moveTo>
                    <a:pt x="3210878" y="80513"/>
                  </a:moveTo>
                  <a:cubicBezTo>
                    <a:pt x="3142615" y="74956"/>
                    <a:pt x="3086259" y="86070"/>
                    <a:pt x="3034665" y="113850"/>
                  </a:cubicBezTo>
                  <a:lnTo>
                    <a:pt x="3027521" y="297207"/>
                  </a:lnTo>
                  <a:cubicBezTo>
                    <a:pt x="3056096" y="286095"/>
                    <a:pt x="3129915" y="263076"/>
                    <a:pt x="3206115" y="271013"/>
                  </a:cubicBezTo>
                  <a:close/>
                  <a:moveTo>
                    <a:pt x="3339623" y="1383"/>
                  </a:moveTo>
                  <a:cubicBezTo>
                    <a:pt x="3446502" y="8108"/>
                    <a:pt x="3543419" y="40032"/>
                    <a:pt x="3581400" y="111469"/>
                  </a:cubicBezTo>
                  <a:lnTo>
                    <a:pt x="3672840" y="1460209"/>
                  </a:lnTo>
                  <a:lnTo>
                    <a:pt x="3947160" y="1368769"/>
                  </a:lnTo>
                  <a:lnTo>
                    <a:pt x="4091940" y="1429729"/>
                  </a:lnTo>
                  <a:lnTo>
                    <a:pt x="4130040" y="561049"/>
                  </a:lnTo>
                  <a:cubicBezTo>
                    <a:pt x="4317048" y="361024"/>
                    <a:pt x="4746943" y="489611"/>
                    <a:pt x="4762500" y="561049"/>
                  </a:cubicBezTo>
                  <a:lnTo>
                    <a:pt x="4892040" y="2328889"/>
                  </a:lnTo>
                  <a:lnTo>
                    <a:pt x="5433060" y="2466049"/>
                  </a:lnTo>
                  <a:lnTo>
                    <a:pt x="5448300" y="2793709"/>
                  </a:lnTo>
                  <a:lnTo>
                    <a:pt x="5692140" y="2862289"/>
                  </a:lnTo>
                  <a:lnTo>
                    <a:pt x="5692140" y="3113749"/>
                  </a:lnTo>
                  <a:lnTo>
                    <a:pt x="5631180" y="3128989"/>
                  </a:lnTo>
                  <a:lnTo>
                    <a:pt x="5646420" y="4142449"/>
                  </a:lnTo>
                  <a:lnTo>
                    <a:pt x="6103620" y="4256749"/>
                  </a:lnTo>
                  <a:lnTo>
                    <a:pt x="6141720" y="4462489"/>
                  </a:lnTo>
                  <a:lnTo>
                    <a:pt x="3048000" y="5514049"/>
                  </a:lnTo>
                  <a:lnTo>
                    <a:pt x="0" y="4401529"/>
                  </a:lnTo>
                  <a:lnTo>
                    <a:pt x="0" y="4271989"/>
                  </a:lnTo>
                  <a:lnTo>
                    <a:pt x="556260" y="4165309"/>
                  </a:lnTo>
                  <a:lnTo>
                    <a:pt x="601980" y="3022309"/>
                  </a:lnTo>
                  <a:lnTo>
                    <a:pt x="556260" y="3007069"/>
                  </a:lnTo>
                  <a:lnTo>
                    <a:pt x="556260" y="2786089"/>
                  </a:lnTo>
                  <a:lnTo>
                    <a:pt x="792480" y="2732749"/>
                  </a:lnTo>
                  <a:lnTo>
                    <a:pt x="792480" y="2481289"/>
                  </a:lnTo>
                  <a:lnTo>
                    <a:pt x="1424940" y="2298409"/>
                  </a:lnTo>
                  <a:lnTo>
                    <a:pt x="1424940" y="1970749"/>
                  </a:lnTo>
                  <a:lnTo>
                    <a:pt x="2141220" y="1681189"/>
                  </a:lnTo>
                  <a:lnTo>
                    <a:pt x="2392680" y="1757389"/>
                  </a:lnTo>
                  <a:lnTo>
                    <a:pt x="2423637" y="751549"/>
                  </a:lnTo>
                  <a:cubicBezTo>
                    <a:pt x="2433321" y="709957"/>
                    <a:pt x="2595403" y="687414"/>
                    <a:pt x="2631281" y="748215"/>
                  </a:cubicBezTo>
                  <a:lnTo>
                    <a:pt x="2682240" y="1795489"/>
                  </a:lnTo>
                  <a:lnTo>
                    <a:pt x="2872740" y="1726909"/>
                  </a:lnTo>
                  <a:lnTo>
                    <a:pt x="2948940" y="111469"/>
                  </a:lnTo>
                  <a:cubicBezTo>
                    <a:pt x="2955687" y="48961"/>
                    <a:pt x="3161491" y="-9826"/>
                    <a:pt x="3339623" y="138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535" name="Freeform 534"/>
            <p:cNvSpPr/>
            <p:nvPr/>
          </p:nvSpPr>
          <p:spPr>
            <a:xfrm>
              <a:off x="4167188" y="3940969"/>
              <a:ext cx="435768" cy="557212"/>
            </a:xfrm>
            <a:custGeom>
              <a:avLst/>
              <a:gdLst>
                <a:gd name="connsiteX0" fmla="*/ 435768 w 435768"/>
                <a:gd name="connsiteY0" fmla="*/ 76200 h 557212"/>
                <a:gd name="connsiteX1" fmla="*/ 435768 w 435768"/>
                <a:gd name="connsiteY1" fmla="*/ 0 h 557212"/>
                <a:gd name="connsiteX2" fmla="*/ 4762 w 435768"/>
                <a:gd name="connsiteY2" fmla="*/ 45244 h 557212"/>
                <a:gd name="connsiteX3" fmla="*/ 0 w 435768"/>
                <a:gd name="connsiteY3" fmla="*/ 557212 h 557212"/>
                <a:gd name="connsiteX4" fmla="*/ 64293 w 435768"/>
                <a:gd name="connsiteY4" fmla="*/ 557212 h 557212"/>
                <a:gd name="connsiteX5" fmla="*/ 66675 w 435768"/>
                <a:gd name="connsiteY5" fmla="*/ 104775 h 557212"/>
                <a:gd name="connsiteX6" fmla="*/ 435768 w 435768"/>
                <a:gd name="connsiteY6" fmla="*/ 76200 h 557212"/>
                <a:gd name="connsiteX0" fmla="*/ 435768 w 435768"/>
                <a:gd name="connsiteY0" fmla="*/ 76200 h 557212"/>
                <a:gd name="connsiteX1" fmla="*/ 435768 w 435768"/>
                <a:gd name="connsiteY1" fmla="*/ 0 h 557212"/>
                <a:gd name="connsiteX2" fmla="*/ 4762 w 435768"/>
                <a:gd name="connsiteY2" fmla="*/ 45244 h 557212"/>
                <a:gd name="connsiteX3" fmla="*/ 0 w 435768"/>
                <a:gd name="connsiteY3" fmla="*/ 557212 h 557212"/>
                <a:gd name="connsiteX4" fmla="*/ 64293 w 435768"/>
                <a:gd name="connsiteY4" fmla="*/ 557212 h 557212"/>
                <a:gd name="connsiteX5" fmla="*/ 66675 w 435768"/>
                <a:gd name="connsiteY5" fmla="*/ 109537 h 557212"/>
                <a:gd name="connsiteX6" fmla="*/ 435768 w 435768"/>
                <a:gd name="connsiteY6" fmla="*/ 76200 h 557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768" h="557212">
                  <a:moveTo>
                    <a:pt x="435768" y="76200"/>
                  </a:moveTo>
                  <a:lnTo>
                    <a:pt x="435768" y="0"/>
                  </a:lnTo>
                  <a:lnTo>
                    <a:pt x="4762" y="45244"/>
                  </a:lnTo>
                  <a:cubicBezTo>
                    <a:pt x="3175" y="215900"/>
                    <a:pt x="1587" y="386556"/>
                    <a:pt x="0" y="557212"/>
                  </a:cubicBezTo>
                  <a:lnTo>
                    <a:pt x="64293" y="557212"/>
                  </a:lnTo>
                  <a:lnTo>
                    <a:pt x="66675" y="109537"/>
                  </a:lnTo>
                  <a:lnTo>
                    <a:pt x="435768" y="762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536" name="Freeform 535"/>
            <p:cNvSpPr/>
            <p:nvPr/>
          </p:nvSpPr>
          <p:spPr>
            <a:xfrm>
              <a:off x="4167188" y="4798220"/>
              <a:ext cx="438149" cy="550068"/>
            </a:xfrm>
            <a:custGeom>
              <a:avLst/>
              <a:gdLst>
                <a:gd name="connsiteX0" fmla="*/ 435768 w 435768"/>
                <a:gd name="connsiteY0" fmla="*/ 76200 h 557212"/>
                <a:gd name="connsiteX1" fmla="*/ 435768 w 435768"/>
                <a:gd name="connsiteY1" fmla="*/ 0 h 557212"/>
                <a:gd name="connsiteX2" fmla="*/ 4762 w 435768"/>
                <a:gd name="connsiteY2" fmla="*/ 45244 h 557212"/>
                <a:gd name="connsiteX3" fmla="*/ 0 w 435768"/>
                <a:gd name="connsiteY3" fmla="*/ 557212 h 557212"/>
                <a:gd name="connsiteX4" fmla="*/ 64293 w 435768"/>
                <a:gd name="connsiteY4" fmla="*/ 557212 h 557212"/>
                <a:gd name="connsiteX5" fmla="*/ 66675 w 435768"/>
                <a:gd name="connsiteY5" fmla="*/ 104775 h 557212"/>
                <a:gd name="connsiteX6" fmla="*/ 435768 w 435768"/>
                <a:gd name="connsiteY6" fmla="*/ 76200 h 557212"/>
                <a:gd name="connsiteX0" fmla="*/ 435768 w 435768"/>
                <a:gd name="connsiteY0" fmla="*/ 76200 h 557212"/>
                <a:gd name="connsiteX1" fmla="*/ 435768 w 435768"/>
                <a:gd name="connsiteY1" fmla="*/ 0 h 557212"/>
                <a:gd name="connsiteX2" fmla="*/ 4762 w 435768"/>
                <a:gd name="connsiteY2" fmla="*/ 45244 h 557212"/>
                <a:gd name="connsiteX3" fmla="*/ 0 w 435768"/>
                <a:gd name="connsiteY3" fmla="*/ 557212 h 557212"/>
                <a:gd name="connsiteX4" fmla="*/ 64293 w 435768"/>
                <a:gd name="connsiteY4" fmla="*/ 557212 h 557212"/>
                <a:gd name="connsiteX5" fmla="*/ 66675 w 435768"/>
                <a:gd name="connsiteY5" fmla="*/ 109537 h 557212"/>
                <a:gd name="connsiteX6" fmla="*/ 435768 w 435768"/>
                <a:gd name="connsiteY6" fmla="*/ 76200 h 557212"/>
                <a:gd name="connsiteX0" fmla="*/ 435768 w 435768"/>
                <a:gd name="connsiteY0" fmla="*/ 76200 h 585787"/>
                <a:gd name="connsiteX1" fmla="*/ 435768 w 435768"/>
                <a:gd name="connsiteY1" fmla="*/ 0 h 585787"/>
                <a:gd name="connsiteX2" fmla="*/ 4762 w 435768"/>
                <a:gd name="connsiteY2" fmla="*/ 45244 h 585787"/>
                <a:gd name="connsiteX3" fmla="*/ 0 w 435768"/>
                <a:gd name="connsiteY3" fmla="*/ 585787 h 585787"/>
                <a:gd name="connsiteX4" fmla="*/ 64293 w 435768"/>
                <a:gd name="connsiteY4" fmla="*/ 557212 h 585787"/>
                <a:gd name="connsiteX5" fmla="*/ 66675 w 435768"/>
                <a:gd name="connsiteY5" fmla="*/ 109537 h 585787"/>
                <a:gd name="connsiteX6" fmla="*/ 435768 w 435768"/>
                <a:gd name="connsiteY6" fmla="*/ 76200 h 585787"/>
                <a:gd name="connsiteX0" fmla="*/ 435768 w 435768"/>
                <a:gd name="connsiteY0" fmla="*/ 76200 h 595312"/>
                <a:gd name="connsiteX1" fmla="*/ 435768 w 435768"/>
                <a:gd name="connsiteY1" fmla="*/ 0 h 595312"/>
                <a:gd name="connsiteX2" fmla="*/ 4762 w 435768"/>
                <a:gd name="connsiteY2" fmla="*/ 45244 h 595312"/>
                <a:gd name="connsiteX3" fmla="*/ 0 w 435768"/>
                <a:gd name="connsiteY3" fmla="*/ 585787 h 595312"/>
                <a:gd name="connsiteX4" fmla="*/ 54768 w 435768"/>
                <a:gd name="connsiteY4" fmla="*/ 595312 h 595312"/>
                <a:gd name="connsiteX5" fmla="*/ 66675 w 435768"/>
                <a:gd name="connsiteY5" fmla="*/ 109537 h 595312"/>
                <a:gd name="connsiteX6" fmla="*/ 435768 w 435768"/>
                <a:gd name="connsiteY6" fmla="*/ 76200 h 595312"/>
                <a:gd name="connsiteX0" fmla="*/ 433387 w 435768"/>
                <a:gd name="connsiteY0" fmla="*/ 128588 h 595312"/>
                <a:gd name="connsiteX1" fmla="*/ 435768 w 435768"/>
                <a:gd name="connsiteY1" fmla="*/ 0 h 595312"/>
                <a:gd name="connsiteX2" fmla="*/ 4762 w 435768"/>
                <a:gd name="connsiteY2" fmla="*/ 45244 h 595312"/>
                <a:gd name="connsiteX3" fmla="*/ 0 w 435768"/>
                <a:gd name="connsiteY3" fmla="*/ 585787 h 595312"/>
                <a:gd name="connsiteX4" fmla="*/ 54768 w 435768"/>
                <a:gd name="connsiteY4" fmla="*/ 595312 h 595312"/>
                <a:gd name="connsiteX5" fmla="*/ 66675 w 435768"/>
                <a:gd name="connsiteY5" fmla="*/ 109537 h 595312"/>
                <a:gd name="connsiteX6" fmla="*/ 433387 w 435768"/>
                <a:gd name="connsiteY6" fmla="*/ 128588 h 595312"/>
                <a:gd name="connsiteX0" fmla="*/ 433387 w 438149"/>
                <a:gd name="connsiteY0" fmla="*/ 83344 h 550068"/>
                <a:gd name="connsiteX1" fmla="*/ 438149 w 438149"/>
                <a:gd name="connsiteY1" fmla="*/ 21431 h 550068"/>
                <a:gd name="connsiteX2" fmla="*/ 4762 w 438149"/>
                <a:gd name="connsiteY2" fmla="*/ 0 h 550068"/>
                <a:gd name="connsiteX3" fmla="*/ 0 w 438149"/>
                <a:gd name="connsiteY3" fmla="*/ 540543 h 550068"/>
                <a:gd name="connsiteX4" fmla="*/ 54768 w 438149"/>
                <a:gd name="connsiteY4" fmla="*/ 550068 h 550068"/>
                <a:gd name="connsiteX5" fmla="*/ 66675 w 438149"/>
                <a:gd name="connsiteY5" fmla="*/ 64293 h 550068"/>
                <a:gd name="connsiteX6" fmla="*/ 433387 w 438149"/>
                <a:gd name="connsiteY6" fmla="*/ 83344 h 550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149" h="550068">
                  <a:moveTo>
                    <a:pt x="433387" y="83344"/>
                  </a:moveTo>
                  <a:cubicBezTo>
                    <a:pt x="434181" y="40481"/>
                    <a:pt x="437355" y="64294"/>
                    <a:pt x="438149" y="21431"/>
                  </a:cubicBezTo>
                  <a:lnTo>
                    <a:pt x="4762" y="0"/>
                  </a:lnTo>
                  <a:cubicBezTo>
                    <a:pt x="3175" y="170656"/>
                    <a:pt x="1587" y="369887"/>
                    <a:pt x="0" y="540543"/>
                  </a:cubicBezTo>
                  <a:lnTo>
                    <a:pt x="54768" y="550068"/>
                  </a:lnTo>
                  <a:lnTo>
                    <a:pt x="66675" y="64293"/>
                  </a:lnTo>
                  <a:lnTo>
                    <a:pt x="433387" y="8334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537" name="Freeform 536"/>
            <p:cNvSpPr/>
            <p:nvPr/>
          </p:nvSpPr>
          <p:spPr>
            <a:xfrm>
              <a:off x="4160044" y="3938588"/>
              <a:ext cx="450056" cy="561975"/>
            </a:xfrm>
            <a:custGeom>
              <a:avLst/>
              <a:gdLst>
                <a:gd name="connsiteX0" fmla="*/ 0 w 450056"/>
                <a:gd name="connsiteY0" fmla="*/ 561975 h 561975"/>
                <a:gd name="connsiteX1" fmla="*/ 73819 w 450056"/>
                <a:gd name="connsiteY1" fmla="*/ 561975 h 561975"/>
                <a:gd name="connsiteX2" fmla="*/ 73819 w 450056"/>
                <a:gd name="connsiteY2" fmla="*/ 116681 h 561975"/>
                <a:gd name="connsiteX3" fmla="*/ 450056 w 450056"/>
                <a:gd name="connsiteY3" fmla="*/ 73818 h 561975"/>
                <a:gd name="connsiteX4" fmla="*/ 450056 w 450056"/>
                <a:gd name="connsiteY4" fmla="*/ 0 h 561975"/>
                <a:gd name="connsiteX5" fmla="*/ 7144 w 450056"/>
                <a:gd name="connsiteY5" fmla="*/ 47625 h 561975"/>
                <a:gd name="connsiteX6" fmla="*/ 0 w 450056"/>
                <a:gd name="connsiteY6" fmla="*/ 561975 h 561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056" h="561975">
                  <a:moveTo>
                    <a:pt x="0" y="561975"/>
                  </a:moveTo>
                  <a:lnTo>
                    <a:pt x="73819" y="561975"/>
                  </a:lnTo>
                  <a:lnTo>
                    <a:pt x="73819" y="116681"/>
                  </a:lnTo>
                  <a:lnTo>
                    <a:pt x="450056" y="73818"/>
                  </a:lnTo>
                  <a:lnTo>
                    <a:pt x="450056" y="0"/>
                  </a:lnTo>
                  <a:lnTo>
                    <a:pt x="7144" y="47625"/>
                  </a:lnTo>
                  <a:cubicBezTo>
                    <a:pt x="4763" y="219075"/>
                    <a:pt x="2381" y="390525"/>
                    <a:pt x="0" y="56197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538" name="Freeform 537"/>
            <p:cNvSpPr/>
            <p:nvPr/>
          </p:nvSpPr>
          <p:spPr>
            <a:xfrm>
              <a:off x="4160044" y="4795838"/>
              <a:ext cx="450056" cy="559594"/>
            </a:xfrm>
            <a:custGeom>
              <a:avLst/>
              <a:gdLst>
                <a:gd name="connsiteX0" fmla="*/ 0 w 450056"/>
                <a:gd name="connsiteY0" fmla="*/ 561975 h 561975"/>
                <a:gd name="connsiteX1" fmla="*/ 73819 w 450056"/>
                <a:gd name="connsiteY1" fmla="*/ 561975 h 561975"/>
                <a:gd name="connsiteX2" fmla="*/ 73819 w 450056"/>
                <a:gd name="connsiteY2" fmla="*/ 116681 h 561975"/>
                <a:gd name="connsiteX3" fmla="*/ 450056 w 450056"/>
                <a:gd name="connsiteY3" fmla="*/ 73818 h 561975"/>
                <a:gd name="connsiteX4" fmla="*/ 450056 w 450056"/>
                <a:gd name="connsiteY4" fmla="*/ 0 h 561975"/>
                <a:gd name="connsiteX5" fmla="*/ 7144 w 450056"/>
                <a:gd name="connsiteY5" fmla="*/ 47625 h 561975"/>
                <a:gd name="connsiteX6" fmla="*/ 0 w 450056"/>
                <a:gd name="connsiteY6" fmla="*/ 561975 h 561975"/>
                <a:gd name="connsiteX0" fmla="*/ 0 w 450056"/>
                <a:gd name="connsiteY0" fmla="*/ 561975 h 576262"/>
                <a:gd name="connsiteX1" fmla="*/ 71438 w 450056"/>
                <a:gd name="connsiteY1" fmla="*/ 576262 h 576262"/>
                <a:gd name="connsiteX2" fmla="*/ 73819 w 450056"/>
                <a:gd name="connsiteY2" fmla="*/ 116681 h 576262"/>
                <a:gd name="connsiteX3" fmla="*/ 450056 w 450056"/>
                <a:gd name="connsiteY3" fmla="*/ 73818 h 576262"/>
                <a:gd name="connsiteX4" fmla="*/ 450056 w 450056"/>
                <a:gd name="connsiteY4" fmla="*/ 0 h 576262"/>
                <a:gd name="connsiteX5" fmla="*/ 7144 w 450056"/>
                <a:gd name="connsiteY5" fmla="*/ 47625 h 576262"/>
                <a:gd name="connsiteX6" fmla="*/ 0 w 450056"/>
                <a:gd name="connsiteY6" fmla="*/ 561975 h 576262"/>
                <a:gd name="connsiteX0" fmla="*/ 0 w 450056"/>
                <a:gd name="connsiteY0" fmla="*/ 561975 h 576262"/>
                <a:gd name="connsiteX1" fmla="*/ 71438 w 450056"/>
                <a:gd name="connsiteY1" fmla="*/ 576262 h 576262"/>
                <a:gd name="connsiteX2" fmla="*/ 73819 w 450056"/>
                <a:gd name="connsiteY2" fmla="*/ 116681 h 576262"/>
                <a:gd name="connsiteX3" fmla="*/ 450056 w 450056"/>
                <a:gd name="connsiteY3" fmla="*/ 73818 h 576262"/>
                <a:gd name="connsiteX4" fmla="*/ 450056 w 450056"/>
                <a:gd name="connsiteY4" fmla="*/ 0 h 576262"/>
                <a:gd name="connsiteX5" fmla="*/ 7144 w 450056"/>
                <a:gd name="connsiteY5" fmla="*/ 16668 h 576262"/>
                <a:gd name="connsiteX6" fmla="*/ 0 w 450056"/>
                <a:gd name="connsiteY6" fmla="*/ 561975 h 576262"/>
                <a:gd name="connsiteX0" fmla="*/ 0 w 450056"/>
                <a:gd name="connsiteY0" fmla="*/ 561975 h 576262"/>
                <a:gd name="connsiteX1" fmla="*/ 71438 w 450056"/>
                <a:gd name="connsiteY1" fmla="*/ 576262 h 576262"/>
                <a:gd name="connsiteX2" fmla="*/ 73819 w 450056"/>
                <a:gd name="connsiteY2" fmla="*/ 116681 h 576262"/>
                <a:gd name="connsiteX3" fmla="*/ 450056 w 450056"/>
                <a:gd name="connsiteY3" fmla="*/ 104775 h 576262"/>
                <a:gd name="connsiteX4" fmla="*/ 450056 w 450056"/>
                <a:gd name="connsiteY4" fmla="*/ 0 h 576262"/>
                <a:gd name="connsiteX5" fmla="*/ 7144 w 450056"/>
                <a:gd name="connsiteY5" fmla="*/ 16668 h 576262"/>
                <a:gd name="connsiteX6" fmla="*/ 0 w 450056"/>
                <a:gd name="connsiteY6" fmla="*/ 561975 h 576262"/>
                <a:gd name="connsiteX0" fmla="*/ 0 w 450056"/>
                <a:gd name="connsiteY0" fmla="*/ 545307 h 559594"/>
                <a:gd name="connsiteX1" fmla="*/ 71438 w 450056"/>
                <a:gd name="connsiteY1" fmla="*/ 559594 h 559594"/>
                <a:gd name="connsiteX2" fmla="*/ 73819 w 450056"/>
                <a:gd name="connsiteY2" fmla="*/ 100013 h 559594"/>
                <a:gd name="connsiteX3" fmla="*/ 450056 w 450056"/>
                <a:gd name="connsiteY3" fmla="*/ 88107 h 559594"/>
                <a:gd name="connsiteX4" fmla="*/ 450056 w 450056"/>
                <a:gd name="connsiteY4" fmla="*/ 21432 h 559594"/>
                <a:gd name="connsiteX5" fmla="*/ 7144 w 450056"/>
                <a:gd name="connsiteY5" fmla="*/ 0 h 559594"/>
                <a:gd name="connsiteX6" fmla="*/ 0 w 450056"/>
                <a:gd name="connsiteY6" fmla="*/ 545307 h 559594"/>
                <a:gd name="connsiteX0" fmla="*/ 0 w 450056"/>
                <a:gd name="connsiteY0" fmla="*/ 545307 h 559594"/>
                <a:gd name="connsiteX1" fmla="*/ 71438 w 450056"/>
                <a:gd name="connsiteY1" fmla="*/ 559594 h 559594"/>
                <a:gd name="connsiteX2" fmla="*/ 76200 w 450056"/>
                <a:gd name="connsiteY2" fmla="*/ 71438 h 559594"/>
                <a:gd name="connsiteX3" fmla="*/ 450056 w 450056"/>
                <a:gd name="connsiteY3" fmla="*/ 88107 h 559594"/>
                <a:gd name="connsiteX4" fmla="*/ 450056 w 450056"/>
                <a:gd name="connsiteY4" fmla="*/ 21432 h 559594"/>
                <a:gd name="connsiteX5" fmla="*/ 7144 w 450056"/>
                <a:gd name="connsiteY5" fmla="*/ 0 h 559594"/>
                <a:gd name="connsiteX6" fmla="*/ 0 w 450056"/>
                <a:gd name="connsiteY6" fmla="*/ 545307 h 559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056" h="559594">
                  <a:moveTo>
                    <a:pt x="0" y="545307"/>
                  </a:moveTo>
                  <a:lnTo>
                    <a:pt x="71438" y="559594"/>
                  </a:lnTo>
                  <a:cubicBezTo>
                    <a:pt x="72232" y="406400"/>
                    <a:pt x="75406" y="224632"/>
                    <a:pt x="76200" y="71438"/>
                  </a:cubicBezTo>
                  <a:lnTo>
                    <a:pt x="450056" y="88107"/>
                  </a:lnTo>
                  <a:lnTo>
                    <a:pt x="450056" y="21432"/>
                  </a:lnTo>
                  <a:lnTo>
                    <a:pt x="7144" y="0"/>
                  </a:lnTo>
                  <a:cubicBezTo>
                    <a:pt x="4763" y="171450"/>
                    <a:pt x="2381" y="373857"/>
                    <a:pt x="0" y="54530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539" name="Freeform 538"/>
            <p:cNvSpPr/>
            <p:nvPr/>
          </p:nvSpPr>
          <p:spPr>
            <a:xfrm>
              <a:off x="3088481" y="3907631"/>
              <a:ext cx="321469" cy="490538"/>
            </a:xfrm>
            <a:custGeom>
              <a:avLst/>
              <a:gdLst>
                <a:gd name="connsiteX0" fmla="*/ 0 w 321469"/>
                <a:gd name="connsiteY0" fmla="*/ 490538 h 490538"/>
                <a:gd name="connsiteX1" fmla="*/ 11907 w 321469"/>
                <a:gd name="connsiteY1" fmla="*/ 47625 h 490538"/>
                <a:gd name="connsiteX2" fmla="*/ 321469 w 321469"/>
                <a:gd name="connsiteY2" fmla="*/ 0 h 490538"/>
                <a:gd name="connsiteX3" fmla="*/ 316707 w 321469"/>
                <a:gd name="connsiteY3" fmla="*/ 80963 h 490538"/>
                <a:gd name="connsiteX4" fmla="*/ 80963 w 321469"/>
                <a:gd name="connsiteY4" fmla="*/ 109538 h 490538"/>
                <a:gd name="connsiteX5" fmla="*/ 66675 w 321469"/>
                <a:gd name="connsiteY5" fmla="*/ 490538 h 490538"/>
                <a:gd name="connsiteX6" fmla="*/ 0 w 321469"/>
                <a:gd name="connsiteY6" fmla="*/ 490538 h 490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1469" h="490538">
                  <a:moveTo>
                    <a:pt x="0" y="490538"/>
                  </a:moveTo>
                  <a:lnTo>
                    <a:pt x="11907" y="47625"/>
                  </a:lnTo>
                  <a:lnTo>
                    <a:pt x="321469" y="0"/>
                  </a:lnTo>
                  <a:lnTo>
                    <a:pt x="316707" y="80963"/>
                  </a:lnTo>
                  <a:lnTo>
                    <a:pt x="80963" y="109538"/>
                  </a:lnTo>
                  <a:lnTo>
                    <a:pt x="66675" y="490538"/>
                  </a:lnTo>
                  <a:lnTo>
                    <a:pt x="0" y="49053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540" name="Freeform 539"/>
            <p:cNvSpPr/>
            <p:nvPr/>
          </p:nvSpPr>
          <p:spPr>
            <a:xfrm>
              <a:off x="2528888" y="4133850"/>
              <a:ext cx="278606" cy="364331"/>
            </a:xfrm>
            <a:custGeom>
              <a:avLst/>
              <a:gdLst>
                <a:gd name="connsiteX0" fmla="*/ 11906 w 278606"/>
                <a:gd name="connsiteY0" fmla="*/ 26194 h 364331"/>
                <a:gd name="connsiteX1" fmla="*/ 0 w 278606"/>
                <a:gd name="connsiteY1" fmla="*/ 361950 h 364331"/>
                <a:gd name="connsiteX2" fmla="*/ 64293 w 278606"/>
                <a:gd name="connsiteY2" fmla="*/ 364331 h 364331"/>
                <a:gd name="connsiteX3" fmla="*/ 71437 w 278606"/>
                <a:gd name="connsiteY3" fmla="*/ 95250 h 364331"/>
                <a:gd name="connsiteX4" fmla="*/ 276225 w 278606"/>
                <a:gd name="connsiteY4" fmla="*/ 73819 h 364331"/>
                <a:gd name="connsiteX5" fmla="*/ 278606 w 278606"/>
                <a:gd name="connsiteY5" fmla="*/ 0 h 364331"/>
                <a:gd name="connsiteX6" fmla="*/ 11906 w 278606"/>
                <a:gd name="connsiteY6" fmla="*/ 26194 h 364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8606" h="364331">
                  <a:moveTo>
                    <a:pt x="11906" y="26194"/>
                  </a:moveTo>
                  <a:lnTo>
                    <a:pt x="0" y="361950"/>
                  </a:lnTo>
                  <a:lnTo>
                    <a:pt x="64293" y="364331"/>
                  </a:lnTo>
                  <a:lnTo>
                    <a:pt x="71437" y="95250"/>
                  </a:lnTo>
                  <a:lnTo>
                    <a:pt x="276225" y="73819"/>
                  </a:lnTo>
                  <a:cubicBezTo>
                    <a:pt x="277019" y="49213"/>
                    <a:pt x="277812" y="24606"/>
                    <a:pt x="278606" y="0"/>
                  </a:cubicBezTo>
                  <a:lnTo>
                    <a:pt x="11906" y="2619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541" name="Freeform 540"/>
            <p:cNvSpPr/>
            <p:nvPr/>
          </p:nvSpPr>
          <p:spPr>
            <a:xfrm>
              <a:off x="2509838" y="4695825"/>
              <a:ext cx="285750" cy="366713"/>
            </a:xfrm>
            <a:custGeom>
              <a:avLst/>
              <a:gdLst>
                <a:gd name="connsiteX0" fmla="*/ 0 w 285750"/>
                <a:gd name="connsiteY0" fmla="*/ 354806 h 366713"/>
                <a:gd name="connsiteX1" fmla="*/ 19050 w 285750"/>
                <a:gd name="connsiteY1" fmla="*/ 0 h 366713"/>
                <a:gd name="connsiteX2" fmla="*/ 285750 w 285750"/>
                <a:gd name="connsiteY2" fmla="*/ 16669 h 366713"/>
                <a:gd name="connsiteX3" fmla="*/ 280987 w 285750"/>
                <a:gd name="connsiteY3" fmla="*/ 80963 h 366713"/>
                <a:gd name="connsiteX4" fmla="*/ 80962 w 285750"/>
                <a:gd name="connsiteY4" fmla="*/ 71438 h 366713"/>
                <a:gd name="connsiteX5" fmla="*/ 66675 w 285750"/>
                <a:gd name="connsiteY5" fmla="*/ 366713 h 366713"/>
                <a:gd name="connsiteX6" fmla="*/ 0 w 285750"/>
                <a:gd name="connsiteY6" fmla="*/ 354806 h 366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50" h="366713">
                  <a:moveTo>
                    <a:pt x="0" y="354806"/>
                  </a:moveTo>
                  <a:lnTo>
                    <a:pt x="19050" y="0"/>
                  </a:lnTo>
                  <a:lnTo>
                    <a:pt x="285750" y="16669"/>
                  </a:lnTo>
                  <a:lnTo>
                    <a:pt x="280987" y="80963"/>
                  </a:lnTo>
                  <a:lnTo>
                    <a:pt x="80962" y="71438"/>
                  </a:lnTo>
                  <a:lnTo>
                    <a:pt x="66675" y="366713"/>
                  </a:lnTo>
                  <a:lnTo>
                    <a:pt x="0" y="35480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542" name="Freeform 541"/>
            <p:cNvSpPr/>
            <p:nvPr/>
          </p:nvSpPr>
          <p:spPr>
            <a:xfrm>
              <a:off x="3048000" y="4738688"/>
              <a:ext cx="392906" cy="804862"/>
            </a:xfrm>
            <a:custGeom>
              <a:avLst/>
              <a:gdLst>
                <a:gd name="connsiteX0" fmla="*/ 85725 w 392906"/>
                <a:gd name="connsiteY0" fmla="*/ 685800 h 804862"/>
                <a:gd name="connsiteX1" fmla="*/ 0 w 392906"/>
                <a:gd name="connsiteY1" fmla="*/ 707231 h 804862"/>
                <a:gd name="connsiteX2" fmla="*/ 23813 w 392906"/>
                <a:gd name="connsiteY2" fmla="*/ 0 h 804862"/>
                <a:gd name="connsiteX3" fmla="*/ 392906 w 392906"/>
                <a:gd name="connsiteY3" fmla="*/ 19050 h 804862"/>
                <a:gd name="connsiteX4" fmla="*/ 376238 w 392906"/>
                <a:gd name="connsiteY4" fmla="*/ 804862 h 804862"/>
                <a:gd name="connsiteX5" fmla="*/ 347663 w 392906"/>
                <a:gd name="connsiteY5" fmla="*/ 792956 h 804862"/>
                <a:gd name="connsiteX6" fmla="*/ 364331 w 392906"/>
                <a:gd name="connsiteY6" fmla="*/ 76200 h 804862"/>
                <a:gd name="connsiteX7" fmla="*/ 252413 w 392906"/>
                <a:gd name="connsiteY7" fmla="*/ 71437 h 804862"/>
                <a:gd name="connsiteX8" fmla="*/ 235744 w 392906"/>
                <a:gd name="connsiteY8" fmla="*/ 700087 h 804862"/>
                <a:gd name="connsiteX9" fmla="*/ 197644 w 392906"/>
                <a:gd name="connsiteY9" fmla="*/ 690562 h 804862"/>
                <a:gd name="connsiteX10" fmla="*/ 211931 w 392906"/>
                <a:gd name="connsiteY10" fmla="*/ 69056 h 804862"/>
                <a:gd name="connsiteX11" fmla="*/ 100013 w 392906"/>
                <a:gd name="connsiteY11" fmla="*/ 59531 h 804862"/>
                <a:gd name="connsiteX12" fmla="*/ 85725 w 392906"/>
                <a:gd name="connsiteY12" fmla="*/ 685800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2906" h="804862">
                  <a:moveTo>
                    <a:pt x="85725" y="685800"/>
                  </a:moveTo>
                  <a:lnTo>
                    <a:pt x="0" y="707231"/>
                  </a:lnTo>
                  <a:lnTo>
                    <a:pt x="23813" y="0"/>
                  </a:lnTo>
                  <a:lnTo>
                    <a:pt x="392906" y="19050"/>
                  </a:lnTo>
                  <a:lnTo>
                    <a:pt x="376238" y="804862"/>
                  </a:lnTo>
                  <a:lnTo>
                    <a:pt x="347663" y="792956"/>
                  </a:lnTo>
                  <a:lnTo>
                    <a:pt x="364331" y="76200"/>
                  </a:lnTo>
                  <a:lnTo>
                    <a:pt x="252413" y="71437"/>
                  </a:lnTo>
                  <a:lnTo>
                    <a:pt x="235744" y="700087"/>
                  </a:lnTo>
                  <a:lnTo>
                    <a:pt x="197644" y="690562"/>
                  </a:lnTo>
                  <a:lnTo>
                    <a:pt x="211931" y="69056"/>
                  </a:lnTo>
                  <a:lnTo>
                    <a:pt x="100013" y="59531"/>
                  </a:lnTo>
                  <a:lnTo>
                    <a:pt x="85725" y="6858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543" name="Freeform 542"/>
            <p:cNvSpPr/>
            <p:nvPr/>
          </p:nvSpPr>
          <p:spPr>
            <a:xfrm>
              <a:off x="4262201" y="1501448"/>
              <a:ext cx="1662350" cy="311416"/>
            </a:xfrm>
            <a:custGeom>
              <a:avLst/>
              <a:gdLst>
                <a:gd name="connsiteX0" fmla="*/ 0 w 1654175"/>
                <a:gd name="connsiteY0" fmla="*/ 158750 h 276225"/>
                <a:gd name="connsiteX1" fmla="*/ 311150 w 1654175"/>
                <a:gd name="connsiteY1" fmla="*/ 76200 h 276225"/>
                <a:gd name="connsiteX2" fmla="*/ 1136650 w 1654175"/>
                <a:gd name="connsiteY2" fmla="*/ 238125 h 276225"/>
                <a:gd name="connsiteX3" fmla="*/ 1654175 w 1654175"/>
                <a:gd name="connsiteY3" fmla="*/ 276225 h 276225"/>
                <a:gd name="connsiteX4" fmla="*/ 1177925 w 1654175"/>
                <a:gd name="connsiteY4" fmla="*/ 165100 h 276225"/>
                <a:gd name="connsiteX5" fmla="*/ 238125 w 1654175"/>
                <a:gd name="connsiteY5" fmla="*/ 0 h 276225"/>
                <a:gd name="connsiteX6" fmla="*/ 0 w 1654175"/>
                <a:gd name="connsiteY6" fmla="*/ 158750 h 276225"/>
                <a:gd name="connsiteX0" fmla="*/ 8663 w 1662838"/>
                <a:gd name="connsiteY0" fmla="*/ 158750 h 276225"/>
                <a:gd name="connsiteX1" fmla="*/ 319813 w 1662838"/>
                <a:gd name="connsiteY1" fmla="*/ 76200 h 276225"/>
                <a:gd name="connsiteX2" fmla="*/ 1145313 w 1662838"/>
                <a:gd name="connsiteY2" fmla="*/ 238125 h 276225"/>
                <a:gd name="connsiteX3" fmla="*/ 1662838 w 1662838"/>
                <a:gd name="connsiteY3" fmla="*/ 276225 h 276225"/>
                <a:gd name="connsiteX4" fmla="*/ 1186588 w 1662838"/>
                <a:gd name="connsiteY4" fmla="*/ 165100 h 276225"/>
                <a:gd name="connsiteX5" fmla="*/ 246788 w 1662838"/>
                <a:gd name="connsiteY5" fmla="*/ 0 h 276225"/>
                <a:gd name="connsiteX6" fmla="*/ 8663 w 1662838"/>
                <a:gd name="connsiteY6" fmla="*/ 158750 h 276225"/>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528"/>
                <a:gd name="connsiteX1" fmla="*/ 319612 w 1662637"/>
                <a:gd name="connsiteY1" fmla="*/ 104203 h 304528"/>
                <a:gd name="connsiteX2" fmla="*/ 1145112 w 1662637"/>
                <a:gd name="connsiteY2" fmla="*/ 266128 h 304528"/>
                <a:gd name="connsiteX3" fmla="*/ 1662637 w 1662637"/>
                <a:gd name="connsiteY3" fmla="*/ 304228 h 304528"/>
                <a:gd name="connsiteX4" fmla="*/ 1186387 w 1662637"/>
                <a:gd name="connsiteY4" fmla="*/ 193103 h 304528"/>
                <a:gd name="connsiteX5" fmla="*/ 246587 w 1662637"/>
                <a:gd name="connsiteY5" fmla="*/ 28003 h 304528"/>
                <a:gd name="connsiteX6" fmla="*/ 8462 w 1662637"/>
                <a:gd name="connsiteY6" fmla="*/ 186753 h 304528"/>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2350" h="311416">
                  <a:moveTo>
                    <a:pt x="8175" y="190827"/>
                  </a:moveTo>
                  <a:cubicBezTo>
                    <a:pt x="26167" y="172835"/>
                    <a:pt x="-51092" y="-64231"/>
                    <a:pt x="319325" y="108277"/>
                  </a:cubicBezTo>
                  <a:cubicBezTo>
                    <a:pt x="470667" y="187652"/>
                    <a:pt x="733133" y="400377"/>
                    <a:pt x="1144825" y="270202"/>
                  </a:cubicBezTo>
                  <a:cubicBezTo>
                    <a:pt x="1307808" y="200352"/>
                    <a:pt x="1461267" y="200352"/>
                    <a:pt x="1662350" y="308302"/>
                  </a:cubicBezTo>
                  <a:cubicBezTo>
                    <a:pt x="1592500" y="258560"/>
                    <a:pt x="1405175" y="151669"/>
                    <a:pt x="1186100" y="197177"/>
                  </a:cubicBezTo>
                  <a:cubicBezTo>
                    <a:pt x="720433" y="345344"/>
                    <a:pt x="623067" y="188710"/>
                    <a:pt x="246300" y="32077"/>
                  </a:cubicBezTo>
                  <a:cubicBezTo>
                    <a:pt x="182800" y="-731"/>
                    <a:pt x="-45800" y="-65290"/>
                    <a:pt x="8175" y="19082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544" name="Freeform 543"/>
            <p:cNvSpPr/>
            <p:nvPr/>
          </p:nvSpPr>
          <p:spPr>
            <a:xfrm>
              <a:off x="5030337" y="599350"/>
              <a:ext cx="2926214" cy="590347"/>
            </a:xfrm>
            <a:custGeom>
              <a:avLst/>
              <a:gdLst>
                <a:gd name="connsiteX0" fmla="*/ 0 w 1654175"/>
                <a:gd name="connsiteY0" fmla="*/ 158750 h 276225"/>
                <a:gd name="connsiteX1" fmla="*/ 311150 w 1654175"/>
                <a:gd name="connsiteY1" fmla="*/ 76200 h 276225"/>
                <a:gd name="connsiteX2" fmla="*/ 1136650 w 1654175"/>
                <a:gd name="connsiteY2" fmla="*/ 238125 h 276225"/>
                <a:gd name="connsiteX3" fmla="*/ 1654175 w 1654175"/>
                <a:gd name="connsiteY3" fmla="*/ 276225 h 276225"/>
                <a:gd name="connsiteX4" fmla="*/ 1177925 w 1654175"/>
                <a:gd name="connsiteY4" fmla="*/ 165100 h 276225"/>
                <a:gd name="connsiteX5" fmla="*/ 238125 w 1654175"/>
                <a:gd name="connsiteY5" fmla="*/ 0 h 276225"/>
                <a:gd name="connsiteX6" fmla="*/ 0 w 1654175"/>
                <a:gd name="connsiteY6" fmla="*/ 158750 h 276225"/>
                <a:gd name="connsiteX0" fmla="*/ 8663 w 1662838"/>
                <a:gd name="connsiteY0" fmla="*/ 158750 h 276225"/>
                <a:gd name="connsiteX1" fmla="*/ 319813 w 1662838"/>
                <a:gd name="connsiteY1" fmla="*/ 76200 h 276225"/>
                <a:gd name="connsiteX2" fmla="*/ 1145313 w 1662838"/>
                <a:gd name="connsiteY2" fmla="*/ 238125 h 276225"/>
                <a:gd name="connsiteX3" fmla="*/ 1662838 w 1662838"/>
                <a:gd name="connsiteY3" fmla="*/ 276225 h 276225"/>
                <a:gd name="connsiteX4" fmla="*/ 1186588 w 1662838"/>
                <a:gd name="connsiteY4" fmla="*/ 165100 h 276225"/>
                <a:gd name="connsiteX5" fmla="*/ 246788 w 1662838"/>
                <a:gd name="connsiteY5" fmla="*/ 0 h 276225"/>
                <a:gd name="connsiteX6" fmla="*/ 8663 w 1662838"/>
                <a:gd name="connsiteY6" fmla="*/ 158750 h 276225"/>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528"/>
                <a:gd name="connsiteX1" fmla="*/ 319612 w 1662637"/>
                <a:gd name="connsiteY1" fmla="*/ 104203 h 304528"/>
                <a:gd name="connsiteX2" fmla="*/ 1145112 w 1662637"/>
                <a:gd name="connsiteY2" fmla="*/ 266128 h 304528"/>
                <a:gd name="connsiteX3" fmla="*/ 1662637 w 1662637"/>
                <a:gd name="connsiteY3" fmla="*/ 304228 h 304528"/>
                <a:gd name="connsiteX4" fmla="*/ 1186387 w 1662637"/>
                <a:gd name="connsiteY4" fmla="*/ 193103 h 304528"/>
                <a:gd name="connsiteX5" fmla="*/ 246587 w 1662637"/>
                <a:gd name="connsiteY5" fmla="*/ 28003 h 304528"/>
                <a:gd name="connsiteX6" fmla="*/ 8462 w 1662637"/>
                <a:gd name="connsiteY6" fmla="*/ 186753 h 304528"/>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 name="connsiteX0" fmla="*/ 8175 w 1646273"/>
                <a:gd name="connsiteY0" fmla="*/ 190827 h 445287"/>
                <a:gd name="connsiteX1" fmla="*/ 319325 w 1646273"/>
                <a:gd name="connsiteY1" fmla="*/ 108277 h 445287"/>
                <a:gd name="connsiteX2" fmla="*/ 1144825 w 1646273"/>
                <a:gd name="connsiteY2" fmla="*/ 2702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9325 w 1646273"/>
                <a:gd name="connsiteY1" fmla="*/ 108277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9325 w 1646273"/>
                <a:gd name="connsiteY1" fmla="*/ 108277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2180 w 1646273"/>
                <a:gd name="connsiteY1" fmla="*/ 125400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2180 w 1646273"/>
                <a:gd name="connsiteY1" fmla="*/ 125400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2180 w 1646273"/>
                <a:gd name="connsiteY1" fmla="*/ 125400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7914 w 1646012"/>
                <a:gd name="connsiteY0" fmla="*/ 189281 h 443741"/>
                <a:gd name="connsiteX1" fmla="*/ 311919 w 1646012"/>
                <a:gd name="connsiteY1" fmla="*/ 123854 h 443741"/>
                <a:gd name="connsiteX2" fmla="*/ 1144564 w 1646012"/>
                <a:gd name="connsiteY2" fmla="*/ 300456 h 443741"/>
                <a:gd name="connsiteX3" fmla="*/ 1646012 w 1646012"/>
                <a:gd name="connsiteY3" fmla="*/ 443741 h 443741"/>
                <a:gd name="connsiteX4" fmla="*/ 1185839 w 1646012"/>
                <a:gd name="connsiteY4" fmla="*/ 195631 h 443741"/>
                <a:gd name="connsiteX5" fmla="*/ 254971 w 1646012"/>
                <a:gd name="connsiteY5" fmla="*/ 32977 h 443741"/>
                <a:gd name="connsiteX6" fmla="*/ 7914 w 1646012"/>
                <a:gd name="connsiteY6" fmla="*/ 189281 h 443741"/>
                <a:gd name="connsiteX0" fmla="*/ 8487 w 1646585"/>
                <a:gd name="connsiteY0" fmla="*/ 212527 h 466987"/>
                <a:gd name="connsiteX1" fmla="*/ 312492 w 1646585"/>
                <a:gd name="connsiteY1" fmla="*/ 147100 h 466987"/>
                <a:gd name="connsiteX2" fmla="*/ 1145137 w 1646585"/>
                <a:gd name="connsiteY2" fmla="*/ 323702 h 466987"/>
                <a:gd name="connsiteX3" fmla="*/ 1646585 w 1646585"/>
                <a:gd name="connsiteY3" fmla="*/ 466987 h 466987"/>
                <a:gd name="connsiteX4" fmla="*/ 1186412 w 1646585"/>
                <a:gd name="connsiteY4" fmla="*/ 218877 h 466987"/>
                <a:gd name="connsiteX5" fmla="*/ 255544 w 1646585"/>
                <a:gd name="connsiteY5" fmla="*/ 56223 h 466987"/>
                <a:gd name="connsiteX6" fmla="*/ 8487 w 1646585"/>
                <a:gd name="connsiteY6" fmla="*/ 212527 h 466987"/>
                <a:gd name="connsiteX0" fmla="*/ 8487 w 1646585"/>
                <a:gd name="connsiteY0" fmla="*/ 212527 h 466987"/>
                <a:gd name="connsiteX1" fmla="*/ 312492 w 1646585"/>
                <a:gd name="connsiteY1" fmla="*/ 147100 h 466987"/>
                <a:gd name="connsiteX2" fmla="*/ 1145137 w 1646585"/>
                <a:gd name="connsiteY2" fmla="*/ 323702 h 466987"/>
                <a:gd name="connsiteX3" fmla="*/ 1646585 w 1646585"/>
                <a:gd name="connsiteY3" fmla="*/ 466987 h 466987"/>
                <a:gd name="connsiteX4" fmla="*/ 1186412 w 1646585"/>
                <a:gd name="connsiteY4" fmla="*/ 218877 h 466987"/>
                <a:gd name="connsiteX5" fmla="*/ 255544 w 1646585"/>
                <a:gd name="connsiteY5" fmla="*/ 56223 h 466987"/>
                <a:gd name="connsiteX6" fmla="*/ 8487 w 1646585"/>
                <a:gd name="connsiteY6" fmla="*/ 212527 h 466987"/>
                <a:gd name="connsiteX0" fmla="*/ 8487 w 1646585"/>
                <a:gd name="connsiteY0" fmla="*/ 212527 h 466987"/>
                <a:gd name="connsiteX1" fmla="*/ 312492 w 1646585"/>
                <a:gd name="connsiteY1" fmla="*/ 147100 h 466987"/>
                <a:gd name="connsiteX2" fmla="*/ 1145137 w 1646585"/>
                <a:gd name="connsiteY2" fmla="*/ 323702 h 466987"/>
                <a:gd name="connsiteX3" fmla="*/ 1646585 w 1646585"/>
                <a:gd name="connsiteY3" fmla="*/ 466987 h 466987"/>
                <a:gd name="connsiteX4" fmla="*/ 1186412 w 1646585"/>
                <a:gd name="connsiteY4" fmla="*/ 218877 h 466987"/>
                <a:gd name="connsiteX5" fmla="*/ 255544 w 1646585"/>
                <a:gd name="connsiteY5" fmla="*/ 56223 h 466987"/>
                <a:gd name="connsiteX6" fmla="*/ 8487 w 1646585"/>
                <a:gd name="connsiteY6" fmla="*/ 212527 h 466987"/>
                <a:gd name="connsiteX0" fmla="*/ 7122 w 1645220"/>
                <a:gd name="connsiteY0" fmla="*/ 195482 h 449942"/>
                <a:gd name="connsiteX1" fmla="*/ 311127 w 1645220"/>
                <a:gd name="connsiteY1" fmla="*/ 130055 h 449942"/>
                <a:gd name="connsiteX2" fmla="*/ 1143772 w 1645220"/>
                <a:gd name="connsiteY2" fmla="*/ 306657 h 449942"/>
                <a:gd name="connsiteX3" fmla="*/ 1645220 w 1645220"/>
                <a:gd name="connsiteY3" fmla="*/ 449942 h 449942"/>
                <a:gd name="connsiteX4" fmla="*/ 1185047 w 1645220"/>
                <a:gd name="connsiteY4" fmla="*/ 201832 h 449942"/>
                <a:gd name="connsiteX5" fmla="*/ 304198 w 1645220"/>
                <a:gd name="connsiteY5" fmla="*/ 66086 h 449942"/>
                <a:gd name="connsiteX6" fmla="*/ 7122 w 1645220"/>
                <a:gd name="connsiteY6" fmla="*/ 195482 h 449942"/>
                <a:gd name="connsiteX0" fmla="*/ 8480 w 1646578"/>
                <a:gd name="connsiteY0" fmla="*/ 207867 h 462327"/>
                <a:gd name="connsiteX1" fmla="*/ 312485 w 1646578"/>
                <a:gd name="connsiteY1" fmla="*/ 142440 h 462327"/>
                <a:gd name="connsiteX2" fmla="*/ 1145130 w 1646578"/>
                <a:gd name="connsiteY2" fmla="*/ 319042 h 462327"/>
                <a:gd name="connsiteX3" fmla="*/ 1646578 w 1646578"/>
                <a:gd name="connsiteY3" fmla="*/ 462327 h 462327"/>
                <a:gd name="connsiteX4" fmla="*/ 1186405 w 1646578"/>
                <a:gd name="connsiteY4" fmla="*/ 214217 h 462327"/>
                <a:gd name="connsiteX5" fmla="*/ 305556 w 1646578"/>
                <a:gd name="connsiteY5" fmla="*/ 78471 h 462327"/>
                <a:gd name="connsiteX6" fmla="*/ 8480 w 1646578"/>
                <a:gd name="connsiteY6" fmla="*/ 207867 h 462327"/>
                <a:gd name="connsiteX0" fmla="*/ 8480 w 1646578"/>
                <a:gd name="connsiteY0" fmla="*/ 207867 h 462327"/>
                <a:gd name="connsiteX1" fmla="*/ 312485 w 1646578"/>
                <a:gd name="connsiteY1" fmla="*/ 142440 h 462327"/>
                <a:gd name="connsiteX2" fmla="*/ 1145130 w 1646578"/>
                <a:gd name="connsiteY2" fmla="*/ 319042 h 462327"/>
                <a:gd name="connsiteX3" fmla="*/ 1646578 w 1646578"/>
                <a:gd name="connsiteY3" fmla="*/ 462327 h 462327"/>
                <a:gd name="connsiteX4" fmla="*/ 1198909 w 1646578"/>
                <a:gd name="connsiteY4" fmla="*/ 238679 h 462327"/>
                <a:gd name="connsiteX5" fmla="*/ 305556 w 1646578"/>
                <a:gd name="connsiteY5" fmla="*/ 78471 h 462327"/>
                <a:gd name="connsiteX6" fmla="*/ 8480 w 1646578"/>
                <a:gd name="connsiteY6" fmla="*/ 207867 h 462327"/>
                <a:gd name="connsiteX0" fmla="*/ 7917 w 1646015"/>
                <a:gd name="connsiteY0" fmla="*/ 201136 h 455596"/>
                <a:gd name="connsiteX1" fmla="*/ 311922 w 1646015"/>
                <a:gd name="connsiteY1" fmla="*/ 135709 h 455596"/>
                <a:gd name="connsiteX2" fmla="*/ 1144567 w 1646015"/>
                <a:gd name="connsiteY2" fmla="*/ 312311 h 455596"/>
                <a:gd name="connsiteX3" fmla="*/ 1646015 w 1646015"/>
                <a:gd name="connsiteY3" fmla="*/ 455596 h 455596"/>
                <a:gd name="connsiteX4" fmla="*/ 1198346 w 1646015"/>
                <a:gd name="connsiteY4" fmla="*/ 231948 h 455596"/>
                <a:gd name="connsiteX5" fmla="*/ 323750 w 1646015"/>
                <a:gd name="connsiteY5" fmla="*/ 82748 h 455596"/>
                <a:gd name="connsiteX6" fmla="*/ 7917 w 1646015"/>
                <a:gd name="connsiteY6" fmla="*/ 201136 h 455596"/>
                <a:gd name="connsiteX0" fmla="*/ 8295 w 1646393"/>
                <a:gd name="connsiteY0" fmla="*/ 200370 h 454830"/>
                <a:gd name="connsiteX1" fmla="*/ 312300 w 1646393"/>
                <a:gd name="connsiteY1" fmla="*/ 134943 h 454830"/>
                <a:gd name="connsiteX2" fmla="*/ 1144945 w 1646393"/>
                <a:gd name="connsiteY2" fmla="*/ 311545 h 454830"/>
                <a:gd name="connsiteX3" fmla="*/ 1646393 w 1646393"/>
                <a:gd name="connsiteY3" fmla="*/ 454830 h 454830"/>
                <a:gd name="connsiteX4" fmla="*/ 1198724 w 1646393"/>
                <a:gd name="connsiteY4" fmla="*/ 231182 h 454830"/>
                <a:gd name="connsiteX5" fmla="*/ 324128 w 1646393"/>
                <a:gd name="connsiteY5" fmla="*/ 81982 h 454830"/>
                <a:gd name="connsiteX6" fmla="*/ 8295 w 1646393"/>
                <a:gd name="connsiteY6" fmla="*/ 200370 h 454830"/>
                <a:gd name="connsiteX0" fmla="*/ 8295 w 1646393"/>
                <a:gd name="connsiteY0" fmla="*/ 200370 h 454830"/>
                <a:gd name="connsiteX1" fmla="*/ 312300 w 1646393"/>
                <a:gd name="connsiteY1" fmla="*/ 134943 h 454830"/>
                <a:gd name="connsiteX2" fmla="*/ 1144945 w 1646393"/>
                <a:gd name="connsiteY2" fmla="*/ 311545 h 454830"/>
                <a:gd name="connsiteX3" fmla="*/ 1646393 w 1646393"/>
                <a:gd name="connsiteY3" fmla="*/ 454830 h 454830"/>
                <a:gd name="connsiteX4" fmla="*/ 1198724 w 1646393"/>
                <a:gd name="connsiteY4" fmla="*/ 231182 h 454830"/>
                <a:gd name="connsiteX5" fmla="*/ 324128 w 1646393"/>
                <a:gd name="connsiteY5" fmla="*/ 81982 h 454830"/>
                <a:gd name="connsiteX6" fmla="*/ 8295 w 1646393"/>
                <a:gd name="connsiteY6" fmla="*/ 200370 h 454830"/>
                <a:gd name="connsiteX0" fmla="*/ 8295 w 1646393"/>
                <a:gd name="connsiteY0" fmla="*/ 200370 h 454830"/>
                <a:gd name="connsiteX1" fmla="*/ 312300 w 1646393"/>
                <a:gd name="connsiteY1" fmla="*/ 134943 h 454830"/>
                <a:gd name="connsiteX2" fmla="*/ 1144945 w 1646393"/>
                <a:gd name="connsiteY2" fmla="*/ 311545 h 454830"/>
                <a:gd name="connsiteX3" fmla="*/ 1646393 w 1646393"/>
                <a:gd name="connsiteY3" fmla="*/ 454830 h 454830"/>
                <a:gd name="connsiteX4" fmla="*/ 1198724 w 1646393"/>
                <a:gd name="connsiteY4" fmla="*/ 231182 h 454830"/>
                <a:gd name="connsiteX5" fmla="*/ 324128 w 1646393"/>
                <a:gd name="connsiteY5" fmla="*/ 81982 h 454830"/>
                <a:gd name="connsiteX6" fmla="*/ 8295 w 1646393"/>
                <a:gd name="connsiteY6" fmla="*/ 200370 h 454830"/>
                <a:gd name="connsiteX0" fmla="*/ 8295 w 1646393"/>
                <a:gd name="connsiteY0" fmla="*/ 200370 h 454830"/>
                <a:gd name="connsiteX1" fmla="*/ 312300 w 1646393"/>
                <a:gd name="connsiteY1" fmla="*/ 134943 h 454830"/>
                <a:gd name="connsiteX2" fmla="*/ 1144945 w 1646393"/>
                <a:gd name="connsiteY2" fmla="*/ 311545 h 454830"/>
                <a:gd name="connsiteX3" fmla="*/ 1646393 w 1646393"/>
                <a:gd name="connsiteY3" fmla="*/ 454830 h 454830"/>
                <a:gd name="connsiteX4" fmla="*/ 1198724 w 1646393"/>
                <a:gd name="connsiteY4" fmla="*/ 231182 h 454830"/>
                <a:gd name="connsiteX5" fmla="*/ 324128 w 1646393"/>
                <a:gd name="connsiteY5" fmla="*/ 81982 h 454830"/>
                <a:gd name="connsiteX6" fmla="*/ 8295 w 1646393"/>
                <a:gd name="connsiteY6" fmla="*/ 200370 h 454830"/>
                <a:gd name="connsiteX0" fmla="*/ 8295 w 1646393"/>
                <a:gd name="connsiteY0" fmla="*/ 200370 h 454830"/>
                <a:gd name="connsiteX1" fmla="*/ 312300 w 1646393"/>
                <a:gd name="connsiteY1" fmla="*/ 134943 h 454830"/>
                <a:gd name="connsiteX2" fmla="*/ 547329 w 1646393"/>
                <a:gd name="connsiteY2" fmla="*/ 306941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47329 w 1646393"/>
                <a:gd name="connsiteY2" fmla="*/ 306941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47329 w 1646393"/>
                <a:gd name="connsiteY2" fmla="*/ 306941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47329 w 1646393"/>
                <a:gd name="connsiteY2" fmla="*/ 306941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83503 w 1646393"/>
                <a:gd name="connsiteY2" fmla="*/ 316114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83503 w 1646393"/>
                <a:gd name="connsiteY2" fmla="*/ 316114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83503 w 1646393"/>
                <a:gd name="connsiteY2" fmla="*/ 316114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83503 w 1646393"/>
                <a:gd name="connsiteY2" fmla="*/ 316114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46393" h="454830">
                  <a:moveTo>
                    <a:pt x="8295" y="200370"/>
                  </a:moveTo>
                  <a:cubicBezTo>
                    <a:pt x="26287" y="182378"/>
                    <a:pt x="-22389" y="-76704"/>
                    <a:pt x="312300" y="134943"/>
                  </a:cubicBezTo>
                  <a:cubicBezTo>
                    <a:pt x="413304" y="203768"/>
                    <a:pt x="460807" y="246318"/>
                    <a:pt x="583503" y="316114"/>
                  </a:cubicBezTo>
                  <a:cubicBezTo>
                    <a:pt x="840177" y="475806"/>
                    <a:pt x="1022504" y="350802"/>
                    <a:pt x="1144945" y="311545"/>
                  </a:cubicBezTo>
                  <a:cubicBezTo>
                    <a:pt x="1307928" y="241695"/>
                    <a:pt x="1469426" y="330368"/>
                    <a:pt x="1646393" y="454830"/>
                  </a:cubicBezTo>
                  <a:cubicBezTo>
                    <a:pt x="1576543" y="405088"/>
                    <a:pt x="1417799" y="185674"/>
                    <a:pt x="1198724" y="231182"/>
                  </a:cubicBezTo>
                  <a:cubicBezTo>
                    <a:pt x="733057" y="379349"/>
                    <a:pt x="817456" y="395171"/>
                    <a:pt x="324128" y="81982"/>
                  </a:cubicBezTo>
                  <a:cubicBezTo>
                    <a:pt x="175775" y="-32162"/>
                    <a:pt x="-45680" y="-55747"/>
                    <a:pt x="8295" y="20037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545" name="Freeform 544"/>
            <p:cNvSpPr/>
            <p:nvPr/>
          </p:nvSpPr>
          <p:spPr>
            <a:xfrm>
              <a:off x="6408501" y="1253798"/>
              <a:ext cx="1662350" cy="311416"/>
            </a:xfrm>
            <a:custGeom>
              <a:avLst/>
              <a:gdLst>
                <a:gd name="connsiteX0" fmla="*/ 0 w 1654175"/>
                <a:gd name="connsiteY0" fmla="*/ 158750 h 276225"/>
                <a:gd name="connsiteX1" fmla="*/ 311150 w 1654175"/>
                <a:gd name="connsiteY1" fmla="*/ 76200 h 276225"/>
                <a:gd name="connsiteX2" fmla="*/ 1136650 w 1654175"/>
                <a:gd name="connsiteY2" fmla="*/ 238125 h 276225"/>
                <a:gd name="connsiteX3" fmla="*/ 1654175 w 1654175"/>
                <a:gd name="connsiteY3" fmla="*/ 276225 h 276225"/>
                <a:gd name="connsiteX4" fmla="*/ 1177925 w 1654175"/>
                <a:gd name="connsiteY4" fmla="*/ 165100 h 276225"/>
                <a:gd name="connsiteX5" fmla="*/ 238125 w 1654175"/>
                <a:gd name="connsiteY5" fmla="*/ 0 h 276225"/>
                <a:gd name="connsiteX6" fmla="*/ 0 w 1654175"/>
                <a:gd name="connsiteY6" fmla="*/ 158750 h 276225"/>
                <a:gd name="connsiteX0" fmla="*/ 8663 w 1662838"/>
                <a:gd name="connsiteY0" fmla="*/ 158750 h 276225"/>
                <a:gd name="connsiteX1" fmla="*/ 319813 w 1662838"/>
                <a:gd name="connsiteY1" fmla="*/ 76200 h 276225"/>
                <a:gd name="connsiteX2" fmla="*/ 1145313 w 1662838"/>
                <a:gd name="connsiteY2" fmla="*/ 238125 h 276225"/>
                <a:gd name="connsiteX3" fmla="*/ 1662838 w 1662838"/>
                <a:gd name="connsiteY3" fmla="*/ 276225 h 276225"/>
                <a:gd name="connsiteX4" fmla="*/ 1186588 w 1662838"/>
                <a:gd name="connsiteY4" fmla="*/ 165100 h 276225"/>
                <a:gd name="connsiteX5" fmla="*/ 246788 w 1662838"/>
                <a:gd name="connsiteY5" fmla="*/ 0 h 276225"/>
                <a:gd name="connsiteX6" fmla="*/ 8663 w 1662838"/>
                <a:gd name="connsiteY6" fmla="*/ 158750 h 276225"/>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528"/>
                <a:gd name="connsiteX1" fmla="*/ 319612 w 1662637"/>
                <a:gd name="connsiteY1" fmla="*/ 104203 h 304528"/>
                <a:gd name="connsiteX2" fmla="*/ 1145112 w 1662637"/>
                <a:gd name="connsiteY2" fmla="*/ 266128 h 304528"/>
                <a:gd name="connsiteX3" fmla="*/ 1662637 w 1662637"/>
                <a:gd name="connsiteY3" fmla="*/ 304228 h 304528"/>
                <a:gd name="connsiteX4" fmla="*/ 1186387 w 1662637"/>
                <a:gd name="connsiteY4" fmla="*/ 193103 h 304528"/>
                <a:gd name="connsiteX5" fmla="*/ 246587 w 1662637"/>
                <a:gd name="connsiteY5" fmla="*/ 28003 h 304528"/>
                <a:gd name="connsiteX6" fmla="*/ 8462 w 1662637"/>
                <a:gd name="connsiteY6" fmla="*/ 186753 h 304528"/>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2350" h="311416">
                  <a:moveTo>
                    <a:pt x="8175" y="190827"/>
                  </a:moveTo>
                  <a:cubicBezTo>
                    <a:pt x="26167" y="172835"/>
                    <a:pt x="-51092" y="-64231"/>
                    <a:pt x="319325" y="108277"/>
                  </a:cubicBezTo>
                  <a:cubicBezTo>
                    <a:pt x="470667" y="187652"/>
                    <a:pt x="733133" y="400377"/>
                    <a:pt x="1144825" y="270202"/>
                  </a:cubicBezTo>
                  <a:cubicBezTo>
                    <a:pt x="1307808" y="200352"/>
                    <a:pt x="1461267" y="200352"/>
                    <a:pt x="1662350" y="308302"/>
                  </a:cubicBezTo>
                  <a:cubicBezTo>
                    <a:pt x="1592500" y="258560"/>
                    <a:pt x="1405175" y="151669"/>
                    <a:pt x="1186100" y="197177"/>
                  </a:cubicBezTo>
                  <a:cubicBezTo>
                    <a:pt x="720433" y="345344"/>
                    <a:pt x="623067" y="188710"/>
                    <a:pt x="246300" y="32077"/>
                  </a:cubicBezTo>
                  <a:cubicBezTo>
                    <a:pt x="182800" y="-731"/>
                    <a:pt x="-45800" y="-65290"/>
                    <a:pt x="8175" y="19082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cxnSp>
        <p:nvCxnSpPr>
          <p:cNvPr id="550" name="Straight Connector 549"/>
          <p:cNvCxnSpPr>
            <a:cxnSpLocks/>
          </p:cNvCxnSpPr>
          <p:nvPr/>
        </p:nvCxnSpPr>
        <p:spPr>
          <a:xfrm>
            <a:off x="11409434" y="2337991"/>
            <a:ext cx="91994" cy="65564"/>
          </a:xfrm>
          <a:prstGeom prst="line">
            <a:avLst/>
          </a:prstGeom>
          <a:ln w="63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53" name="Straight Connector 552"/>
          <p:cNvCxnSpPr/>
          <p:nvPr/>
        </p:nvCxnSpPr>
        <p:spPr>
          <a:xfrm>
            <a:off x="5326793" y="2251276"/>
            <a:ext cx="337324" cy="0"/>
          </a:xfrm>
          <a:prstGeom prst="line">
            <a:avLst/>
          </a:prstGeom>
          <a:noFill/>
          <a:ln w="12700" cap="flat" cmpd="sng" algn="ctr">
            <a:solidFill>
              <a:srgbClr val="FFFFFF">
                <a:lumMod val="65000"/>
              </a:srgbClr>
            </a:solidFill>
            <a:prstDash val="solid"/>
            <a:headEnd type="none"/>
            <a:tailEnd type="triangle" w="med" len="med"/>
          </a:ln>
          <a:effectLst/>
        </p:spPr>
      </p:cxnSp>
      <p:cxnSp>
        <p:nvCxnSpPr>
          <p:cNvPr id="554" name="Straight Connector 553"/>
          <p:cNvCxnSpPr/>
          <p:nvPr/>
        </p:nvCxnSpPr>
        <p:spPr>
          <a:xfrm flipH="1">
            <a:off x="5326793" y="2410108"/>
            <a:ext cx="337324" cy="0"/>
          </a:xfrm>
          <a:prstGeom prst="line">
            <a:avLst/>
          </a:prstGeom>
          <a:noFill/>
          <a:ln w="12700" cap="flat" cmpd="sng" algn="ctr">
            <a:solidFill>
              <a:srgbClr val="FFFFFF">
                <a:lumMod val="65000"/>
              </a:srgbClr>
            </a:solidFill>
            <a:prstDash val="solid"/>
            <a:headEnd type="none"/>
            <a:tailEnd type="triangle" w="med" len="med"/>
          </a:ln>
          <a:effectLst/>
        </p:spPr>
      </p:cxnSp>
      <p:cxnSp>
        <p:nvCxnSpPr>
          <p:cNvPr id="557" name="Straight Connector 556"/>
          <p:cNvCxnSpPr/>
          <p:nvPr/>
        </p:nvCxnSpPr>
        <p:spPr>
          <a:xfrm>
            <a:off x="6521462" y="2251276"/>
            <a:ext cx="337324" cy="0"/>
          </a:xfrm>
          <a:prstGeom prst="line">
            <a:avLst/>
          </a:prstGeom>
          <a:noFill/>
          <a:ln w="12700" cap="flat" cmpd="sng" algn="ctr">
            <a:solidFill>
              <a:srgbClr val="FFFFFF">
                <a:lumMod val="65000"/>
              </a:srgbClr>
            </a:solidFill>
            <a:prstDash val="solid"/>
            <a:headEnd type="none"/>
            <a:tailEnd type="triangle" w="med" len="med"/>
          </a:ln>
          <a:effectLst/>
        </p:spPr>
      </p:cxnSp>
      <p:cxnSp>
        <p:nvCxnSpPr>
          <p:cNvPr id="558" name="Straight Connector 557"/>
          <p:cNvCxnSpPr/>
          <p:nvPr/>
        </p:nvCxnSpPr>
        <p:spPr>
          <a:xfrm flipH="1">
            <a:off x="6521462" y="2410108"/>
            <a:ext cx="337324" cy="0"/>
          </a:xfrm>
          <a:prstGeom prst="line">
            <a:avLst/>
          </a:prstGeom>
          <a:noFill/>
          <a:ln w="12700" cap="flat" cmpd="sng" algn="ctr">
            <a:solidFill>
              <a:srgbClr val="FFFFFF">
                <a:lumMod val="65000"/>
              </a:srgbClr>
            </a:solidFill>
            <a:prstDash val="solid"/>
            <a:headEnd type="none"/>
            <a:tailEnd type="triangle" w="med" len="med"/>
          </a:ln>
          <a:effectLst/>
        </p:spPr>
      </p:cxnSp>
      <p:cxnSp>
        <p:nvCxnSpPr>
          <p:cNvPr id="559" name="Straight Connector 558"/>
          <p:cNvCxnSpPr/>
          <p:nvPr/>
        </p:nvCxnSpPr>
        <p:spPr>
          <a:xfrm rot="5400000" flipH="1">
            <a:off x="6073491" y="2710153"/>
            <a:ext cx="182880" cy="0"/>
          </a:xfrm>
          <a:prstGeom prst="line">
            <a:avLst/>
          </a:prstGeom>
          <a:noFill/>
          <a:ln w="12700" cap="flat" cmpd="sng" algn="ctr">
            <a:solidFill>
              <a:srgbClr val="FFFFFF">
                <a:lumMod val="65000"/>
              </a:srgbClr>
            </a:solidFill>
            <a:prstDash val="solid"/>
            <a:headEnd type="none"/>
            <a:tailEnd type="triangle" w="med" len="med"/>
          </a:ln>
          <a:effectLst/>
        </p:spPr>
      </p:cxnSp>
      <p:cxnSp>
        <p:nvCxnSpPr>
          <p:cNvPr id="560" name="Straight Connector 559"/>
          <p:cNvCxnSpPr/>
          <p:nvPr/>
        </p:nvCxnSpPr>
        <p:spPr>
          <a:xfrm rot="16200000" flipH="1" flipV="1">
            <a:off x="5917609" y="2710153"/>
            <a:ext cx="182880" cy="0"/>
          </a:xfrm>
          <a:prstGeom prst="line">
            <a:avLst/>
          </a:prstGeom>
          <a:noFill/>
          <a:ln w="12700" cap="flat" cmpd="sng" algn="ctr">
            <a:solidFill>
              <a:srgbClr val="FFFFFF">
                <a:lumMod val="65000"/>
              </a:srgbClr>
            </a:solidFill>
            <a:prstDash val="solid"/>
            <a:headEnd type="none"/>
            <a:tailEnd type="triangle" w="med" len="med"/>
          </a:ln>
          <a:effectLst/>
        </p:spPr>
      </p:cxnSp>
      <p:cxnSp>
        <p:nvCxnSpPr>
          <p:cNvPr id="561" name="Straight Connector 560"/>
          <p:cNvCxnSpPr/>
          <p:nvPr/>
        </p:nvCxnSpPr>
        <p:spPr>
          <a:xfrm flipV="1">
            <a:off x="4997526" y="3138286"/>
            <a:ext cx="350389" cy="182482"/>
          </a:xfrm>
          <a:prstGeom prst="line">
            <a:avLst/>
          </a:prstGeom>
          <a:noFill/>
          <a:ln w="12700" cap="flat" cmpd="sng" algn="ctr">
            <a:solidFill>
              <a:srgbClr val="FFFFFF">
                <a:lumMod val="65000"/>
              </a:srgbClr>
            </a:solidFill>
            <a:prstDash val="solid"/>
            <a:headEnd type="none"/>
            <a:tailEnd type="triangle" w="med" len="med"/>
          </a:ln>
          <a:effectLst/>
        </p:spPr>
      </p:cxnSp>
      <p:cxnSp>
        <p:nvCxnSpPr>
          <p:cNvPr id="564" name="Straight Connector 563"/>
          <p:cNvCxnSpPr/>
          <p:nvPr/>
        </p:nvCxnSpPr>
        <p:spPr>
          <a:xfrm flipH="1">
            <a:off x="5025771" y="3236346"/>
            <a:ext cx="340785" cy="184216"/>
          </a:xfrm>
          <a:prstGeom prst="line">
            <a:avLst/>
          </a:prstGeom>
          <a:noFill/>
          <a:ln w="12700" cap="flat" cmpd="sng" algn="ctr">
            <a:solidFill>
              <a:srgbClr val="FFFFFF">
                <a:lumMod val="65000"/>
              </a:srgbClr>
            </a:solidFill>
            <a:prstDash val="solid"/>
            <a:headEnd type="none"/>
            <a:tailEnd type="triangle" w="med" len="med"/>
          </a:ln>
          <a:effectLst/>
        </p:spPr>
      </p:cxnSp>
      <p:cxnSp>
        <p:nvCxnSpPr>
          <p:cNvPr id="567" name="Straight Connector 566"/>
          <p:cNvCxnSpPr/>
          <p:nvPr/>
        </p:nvCxnSpPr>
        <p:spPr>
          <a:xfrm>
            <a:off x="6930940" y="3354043"/>
            <a:ext cx="336762" cy="140748"/>
          </a:xfrm>
          <a:prstGeom prst="line">
            <a:avLst/>
          </a:prstGeom>
          <a:noFill/>
          <a:ln w="12700" cap="flat" cmpd="sng" algn="ctr">
            <a:solidFill>
              <a:srgbClr val="FFFFFF">
                <a:lumMod val="65000"/>
              </a:srgbClr>
            </a:solidFill>
            <a:prstDash val="solid"/>
            <a:headEnd type="none"/>
            <a:tailEnd type="triangle" w="med" len="med"/>
          </a:ln>
          <a:effectLst/>
        </p:spPr>
      </p:cxnSp>
      <p:cxnSp>
        <p:nvCxnSpPr>
          <p:cNvPr id="568" name="Straight Connector 567"/>
          <p:cNvCxnSpPr/>
          <p:nvPr/>
        </p:nvCxnSpPr>
        <p:spPr>
          <a:xfrm flipH="1" flipV="1">
            <a:off x="6952489" y="3262978"/>
            <a:ext cx="368434" cy="148283"/>
          </a:xfrm>
          <a:prstGeom prst="line">
            <a:avLst/>
          </a:prstGeom>
          <a:noFill/>
          <a:ln w="12700" cap="flat" cmpd="sng" algn="ctr">
            <a:solidFill>
              <a:srgbClr val="FFFFFF">
                <a:lumMod val="65000"/>
              </a:srgbClr>
            </a:solidFill>
            <a:prstDash val="solid"/>
            <a:headEnd type="none"/>
            <a:tailEnd type="triangle" w="med" len="med"/>
          </a:ln>
          <a:effectLst/>
        </p:spPr>
      </p:cxnSp>
      <p:cxnSp>
        <p:nvCxnSpPr>
          <p:cNvPr id="575" name="Straight Connector 574"/>
          <p:cNvCxnSpPr/>
          <p:nvPr/>
        </p:nvCxnSpPr>
        <p:spPr>
          <a:xfrm rot="5400000" flipH="1">
            <a:off x="6073491" y="3397650"/>
            <a:ext cx="182880" cy="0"/>
          </a:xfrm>
          <a:prstGeom prst="line">
            <a:avLst/>
          </a:prstGeom>
          <a:noFill/>
          <a:ln w="12700" cap="flat" cmpd="sng" algn="ctr">
            <a:solidFill>
              <a:srgbClr val="FFFFFF">
                <a:lumMod val="65000"/>
              </a:srgbClr>
            </a:solidFill>
            <a:prstDash val="solid"/>
            <a:headEnd type="none"/>
            <a:tailEnd type="triangle" w="med" len="med"/>
          </a:ln>
          <a:effectLst/>
        </p:spPr>
      </p:cxnSp>
      <p:cxnSp>
        <p:nvCxnSpPr>
          <p:cNvPr id="576" name="Straight Connector 575"/>
          <p:cNvCxnSpPr/>
          <p:nvPr/>
        </p:nvCxnSpPr>
        <p:spPr>
          <a:xfrm rot="16200000" flipH="1" flipV="1">
            <a:off x="5917609" y="3397650"/>
            <a:ext cx="182880" cy="0"/>
          </a:xfrm>
          <a:prstGeom prst="line">
            <a:avLst/>
          </a:prstGeom>
          <a:noFill/>
          <a:ln w="12700" cap="flat" cmpd="sng" algn="ctr">
            <a:solidFill>
              <a:srgbClr val="FFFFFF">
                <a:lumMod val="65000"/>
              </a:srgbClr>
            </a:solidFill>
            <a:prstDash val="solid"/>
            <a:headEnd type="none"/>
            <a:tailEnd type="triangle" w="med" len="med"/>
          </a:ln>
          <a:effectLst/>
        </p:spPr>
      </p:cxnSp>
      <p:sp>
        <p:nvSpPr>
          <p:cNvPr id="457" name="Trapezoid 14"/>
          <p:cNvSpPr>
            <a:spLocks noChangeAspect="1"/>
          </p:cNvSpPr>
          <p:nvPr/>
        </p:nvSpPr>
        <p:spPr bwMode="auto">
          <a:xfrm>
            <a:off x="6012331" y="1990308"/>
            <a:ext cx="141827" cy="116489"/>
          </a:xfrm>
          <a:custGeom>
            <a:avLst/>
            <a:gdLst/>
            <a:ahLst/>
            <a:cxnLst/>
            <a:rect l="l" t="t" r="r" b="b"/>
            <a:pathLst>
              <a:path w="920437" h="755997">
                <a:moveTo>
                  <a:pt x="218877" y="579309"/>
                </a:moveTo>
                <a:cubicBezTo>
                  <a:pt x="211545" y="579309"/>
                  <a:pt x="205601" y="585252"/>
                  <a:pt x="205601" y="592584"/>
                </a:cubicBezTo>
                <a:lnTo>
                  <a:pt x="205601" y="645686"/>
                </a:lnTo>
                <a:cubicBezTo>
                  <a:pt x="205601" y="653018"/>
                  <a:pt x="211545" y="658962"/>
                  <a:pt x="218877" y="658962"/>
                </a:cubicBezTo>
                <a:lnTo>
                  <a:pt x="303295" y="658962"/>
                </a:lnTo>
                <a:cubicBezTo>
                  <a:pt x="310627" y="658962"/>
                  <a:pt x="316571" y="653018"/>
                  <a:pt x="316571" y="645686"/>
                </a:cubicBezTo>
                <a:lnTo>
                  <a:pt x="316571" y="592584"/>
                </a:lnTo>
                <a:cubicBezTo>
                  <a:pt x="316571" y="585252"/>
                  <a:pt x="310627" y="579309"/>
                  <a:pt x="303295" y="579309"/>
                </a:cubicBezTo>
                <a:close/>
                <a:moveTo>
                  <a:pt x="71144" y="579309"/>
                </a:moveTo>
                <a:cubicBezTo>
                  <a:pt x="63812" y="579309"/>
                  <a:pt x="57868" y="585252"/>
                  <a:pt x="57868" y="592584"/>
                </a:cubicBezTo>
                <a:lnTo>
                  <a:pt x="57868" y="645686"/>
                </a:lnTo>
                <a:cubicBezTo>
                  <a:pt x="57868" y="653018"/>
                  <a:pt x="63812" y="658962"/>
                  <a:pt x="71144" y="658962"/>
                </a:cubicBezTo>
                <a:lnTo>
                  <a:pt x="155562" y="658962"/>
                </a:lnTo>
                <a:cubicBezTo>
                  <a:pt x="162894" y="658962"/>
                  <a:pt x="168838" y="653018"/>
                  <a:pt x="168838" y="645686"/>
                </a:cubicBezTo>
                <a:lnTo>
                  <a:pt x="168838" y="592584"/>
                </a:lnTo>
                <a:cubicBezTo>
                  <a:pt x="168838" y="585252"/>
                  <a:pt x="162894" y="579309"/>
                  <a:pt x="155562" y="579309"/>
                </a:cubicBezTo>
                <a:close/>
                <a:moveTo>
                  <a:pt x="382550" y="513749"/>
                </a:moveTo>
                <a:cubicBezTo>
                  <a:pt x="374310" y="513749"/>
                  <a:pt x="367630" y="520429"/>
                  <a:pt x="367630" y="528669"/>
                </a:cubicBezTo>
                <a:cubicBezTo>
                  <a:pt x="367630" y="536909"/>
                  <a:pt x="374310" y="543588"/>
                  <a:pt x="382550" y="543588"/>
                </a:cubicBezTo>
                <a:lnTo>
                  <a:pt x="798148" y="543589"/>
                </a:lnTo>
                <a:cubicBezTo>
                  <a:pt x="806388" y="543589"/>
                  <a:pt x="813068" y="536909"/>
                  <a:pt x="813068" y="528669"/>
                </a:cubicBezTo>
                <a:cubicBezTo>
                  <a:pt x="813068" y="520429"/>
                  <a:pt x="806388" y="513749"/>
                  <a:pt x="798148" y="513749"/>
                </a:cubicBezTo>
                <a:close/>
                <a:moveTo>
                  <a:pt x="382550" y="450435"/>
                </a:moveTo>
                <a:cubicBezTo>
                  <a:pt x="374310" y="450435"/>
                  <a:pt x="367630" y="457115"/>
                  <a:pt x="367630" y="465355"/>
                </a:cubicBezTo>
                <a:cubicBezTo>
                  <a:pt x="367630" y="473595"/>
                  <a:pt x="374310" y="480274"/>
                  <a:pt x="382550" y="480274"/>
                </a:cubicBezTo>
                <a:lnTo>
                  <a:pt x="798148" y="480275"/>
                </a:lnTo>
                <a:cubicBezTo>
                  <a:pt x="806388" y="480275"/>
                  <a:pt x="813068" y="473595"/>
                  <a:pt x="813068" y="465355"/>
                </a:cubicBezTo>
                <a:cubicBezTo>
                  <a:pt x="813068" y="457115"/>
                  <a:pt x="806388" y="450435"/>
                  <a:pt x="798148" y="450435"/>
                </a:cubicBezTo>
                <a:close/>
                <a:moveTo>
                  <a:pt x="218877" y="449015"/>
                </a:moveTo>
                <a:cubicBezTo>
                  <a:pt x="211545" y="449015"/>
                  <a:pt x="205601" y="454959"/>
                  <a:pt x="205601" y="462291"/>
                </a:cubicBezTo>
                <a:lnTo>
                  <a:pt x="205601" y="515393"/>
                </a:lnTo>
                <a:cubicBezTo>
                  <a:pt x="205601" y="522725"/>
                  <a:pt x="211545" y="528669"/>
                  <a:pt x="218877" y="528669"/>
                </a:cubicBezTo>
                <a:lnTo>
                  <a:pt x="303295" y="528669"/>
                </a:lnTo>
                <a:cubicBezTo>
                  <a:pt x="310627" y="528669"/>
                  <a:pt x="316571" y="522725"/>
                  <a:pt x="316571" y="515393"/>
                </a:cubicBezTo>
                <a:lnTo>
                  <a:pt x="316571" y="462291"/>
                </a:lnTo>
                <a:cubicBezTo>
                  <a:pt x="316571" y="454959"/>
                  <a:pt x="310627" y="449015"/>
                  <a:pt x="303295" y="449015"/>
                </a:cubicBezTo>
                <a:close/>
                <a:moveTo>
                  <a:pt x="71144" y="449015"/>
                </a:moveTo>
                <a:cubicBezTo>
                  <a:pt x="63812" y="449015"/>
                  <a:pt x="57868" y="454959"/>
                  <a:pt x="57868" y="462291"/>
                </a:cubicBezTo>
                <a:lnTo>
                  <a:pt x="57868" y="515393"/>
                </a:lnTo>
                <a:cubicBezTo>
                  <a:pt x="57868" y="522725"/>
                  <a:pt x="63812" y="528669"/>
                  <a:pt x="71144" y="528669"/>
                </a:cubicBezTo>
                <a:lnTo>
                  <a:pt x="155562" y="528669"/>
                </a:lnTo>
                <a:cubicBezTo>
                  <a:pt x="162894" y="528669"/>
                  <a:pt x="168838" y="522725"/>
                  <a:pt x="168838" y="515393"/>
                </a:cubicBezTo>
                <a:lnTo>
                  <a:pt x="168838" y="462291"/>
                </a:lnTo>
                <a:cubicBezTo>
                  <a:pt x="168838" y="454959"/>
                  <a:pt x="162894" y="449015"/>
                  <a:pt x="155562" y="449015"/>
                </a:cubicBezTo>
                <a:close/>
                <a:moveTo>
                  <a:pt x="218877" y="310075"/>
                </a:moveTo>
                <a:cubicBezTo>
                  <a:pt x="211545" y="310075"/>
                  <a:pt x="205601" y="316019"/>
                  <a:pt x="205601" y="323351"/>
                </a:cubicBezTo>
                <a:lnTo>
                  <a:pt x="205601" y="376453"/>
                </a:lnTo>
                <a:cubicBezTo>
                  <a:pt x="205601" y="383785"/>
                  <a:pt x="211545" y="389729"/>
                  <a:pt x="218877" y="389729"/>
                </a:cubicBezTo>
                <a:lnTo>
                  <a:pt x="303295" y="389729"/>
                </a:lnTo>
                <a:cubicBezTo>
                  <a:pt x="310627" y="389729"/>
                  <a:pt x="316571" y="383785"/>
                  <a:pt x="316571" y="376453"/>
                </a:cubicBezTo>
                <a:lnTo>
                  <a:pt x="316571" y="323351"/>
                </a:lnTo>
                <a:cubicBezTo>
                  <a:pt x="316571" y="316019"/>
                  <a:pt x="310627" y="310075"/>
                  <a:pt x="303295" y="310075"/>
                </a:cubicBezTo>
                <a:close/>
                <a:moveTo>
                  <a:pt x="71144" y="310075"/>
                </a:moveTo>
                <a:cubicBezTo>
                  <a:pt x="63812" y="310075"/>
                  <a:pt x="57868" y="316019"/>
                  <a:pt x="57868" y="323351"/>
                </a:cubicBezTo>
                <a:lnTo>
                  <a:pt x="57868" y="376453"/>
                </a:lnTo>
                <a:cubicBezTo>
                  <a:pt x="57868" y="383785"/>
                  <a:pt x="63812" y="389729"/>
                  <a:pt x="71144" y="389729"/>
                </a:cubicBezTo>
                <a:lnTo>
                  <a:pt x="155562" y="389729"/>
                </a:lnTo>
                <a:cubicBezTo>
                  <a:pt x="162894" y="389729"/>
                  <a:pt x="168838" y="383785"/>
                  <a:pt x="168838" y="376453"/>
                </a:cubicBezTo>
                <a:lnTo>
                  <a:pt x="168838" y="323351"/>
                </a:lnTo>
                <a:cubicBezTo>
                  <a:pt x="168838" y="316019"/>
                  <a:pt x="162894" y="310075"/>
                  <a:pt x="155562" y="310075"/>
                </a:cubicBezTo>
                <a:close/>
                <a:moveTo>
                  <a:pt x="90752" y="0"/>
                </a:moveTo>
                <a:lnTo>
                  <a:pt x="138377" y="0"/>
                </a:lnTo>
                <a:lnTo>
                  <a:pt x="161924" y="255819"/>
                </a:lnTo>
                <a:lnTo>
                  <a:pt x="162416" y="255813"/>
                </a:lnTo>
                <a:lnTo>
                  <a:pt x="193412" y="255813"/>
                </a:lnTo>
                <a:lnTo>
                  <a:pt x="216959" y="0"/>
                </a:lnTo>
                <a:lnTo>
                  <a:pt x="264584" y="0"/>
                </a:lnTo>
                <a:lnTo>
                  <a:pt x="288130" y="255813"/>
                </a:lnTo>
                <a:lnTo>
                  <a:pt x="367630" y="255813"/>
                </a:lnTo>
                <a:lnTo>
                  <a:pt x="367630" y="344796"/>
                </a:lnTo>
                <a:lnTo>
                  <a:pt x="920437" y="344796"/>
                </a:lnTo>
                <a:lnTo>
                  <a:pt x="920437" y="755997"/>
                </a:lnTo>
                <a:lnTo>
                  <a:pt x="484727" y="755997"/>
                </a:lnTo>
                <a:lnTo>
                  <a:pt x="484727" y="570820"/>
                </a:lnTo>
                <a:lnTo>
                  <a:pt x="364907" y="570820"/>
                </a:lnTo>
                <a:lnTo>
                  <a:pt x="364907" y="753274"/>
                </a:lnTo>
                <a:lnTo>
                  <a:pt x="0" y="753274"/>
                </a:lnTo>
                <a:lnTo>
                  <a:pt x="0" y="257654"/>
                </a:lnTo>
                <a:lnTo>
                  <a:pt x="67106" y="256893"/>
                </a:lnTo>
                <a:close/>
              </a:path>
            </a:pathLst>
          </a:cu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91416" tIns="182832"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8" name="Trapezoid 14"/>
          <p:cNvSpPr>
            <a:spLocks noChangeAspect="1"/>
          </p:cNvSpPr>
          <p:nvPr/>
        </p:nvSpPr>
        <p:spPr bwMode="auto">
          <a:xfrm>
            <a:off x="5828322" y="2127182"/>
            <a:ext cx="264765" cy="217463"/>
          </a:xfrm>
          <a:custGeom>
            <a:avLst/>
            <a:gdLst/>
            <a:ahLst/>
            <a:cxnLst/>
            <a:rect l="l" t="t" r="r" b="b"/>
            <a:pathLst>
              <a:path w="920437" h="755997">
                <a:moveTo>
                  <a:pt x="218877" y="579309"/>
                </a:moveTo>
                <a:cubicBezTo>
                  <a:pt x="211545" y="579309"/>
                  <a:pt x="205601" y="585252"/>
                  <a:pt x="205601" y="592584"/>
                </a:cubicBezTo>
                <a:lnTo>
                  <a:pt x="205601" y="645686"/>
                </a:lnTo>
                <a:cubicBezTo>
                  <a:pt x="205601" y="653018"/>
                  <a:pt x="211545" y="658962"/>
                  <a:pt x="218877" y="658962"/>
                </a:cubicBezTo>
                <a:lnTo>
                  <a:pt x="303295" y="658962"/>
                </a:lnTo>
                <a:cubicBezTo>
                  <a:pt x="310627" y="658962"/>
                  <a:pt x="316571" y="653018"/>
                  <a:pt x="316571" y="645686"/>
                </a:cubicBezTo>
                <a:lnTo>
                  <a:pt x="316571" y="592584"/>
                </a:lnTo>
                <a:cubicBezTo>
                  <a:pt x="316571" y="585252"/>
                  <a:pt x="310627" y="579309"/>
                  <a:pt x="303295" y="579309"/>
                </a:cubicBezTo>
                <a:close/>
                <a:moveTo>
                  <a:pt x="71144" y="579309"/>
                </a:moveTo>
                <a:cubicBezTo>
                  <a:pt x="63812" y="579309"/>
                  <a:pt x="57868" y="585252"/>
                  <a:pt x="57868" y="592584"/>
                </a:cubicBezTo>
                <a:lnTo>
                  <a:pt x="57868" y="645686"/>
                </a:lnTo>
                <a:cubicBezTo>
                  <a:pt x="57868" y="653018"/>
                  <a:pt x="63812" y="658962"/>
                  <a:pt x="71144" y="658962"/>
                </a:cubicBezTo>
                <a:lnTo>
                  <a:pt x="155562" y="658962"/>
                </a:lnTo>
                <a:cubicBezTo>
                  <a:pt x="162894" y="658962"/>
                  <a:pt x="168838" y="653018"/>
                  <a:pt x="168838" y="645686"/>
                </a:cubicBezTo>
                <a:lnTo>
                  <a:pt x="168838" y="592584"/>
                </a:lnTo>
                <a:cubicBezTo>
                  <a:pt x="168838" y="585252"/>
                  <a:pt x="162894" y="579309"/>
                  <a:pt x="155562" y="579309"/>
                </a:cubicBezTo>
                <a:close/>
                <a:moveTo>
                  <a:pt x="382550" y="513749"/>
                </a:moveTo>
                <a:cubicBezTo>
                  <a:pt x="374310" y="513749"/>
                  <a:pt x="367630" y="520429"/>
                  <a:pt x="367630" y="528669"/>
                </a:cubicBezTo>
                <a:cubicBezTo>
                  <a:pt x="367630" y="536909"/>
                  <a:pt x="374310" y="543588"/>
                  <a:pt x="382550" y="543588"/>
                </a:cubicBezTo>
                <a:lnTo>
                  <a:pt x="798148" y="543589"/>
                </a:lnTo>
                <a:cubicBezTo>
                  <a:pt x="806388" y="543589"/>
                  <a:pt x="813068" y="536909"/>
                  <a:pt x="813068" y="528669"/>
                </a:cubicBezTo>
                <a:cubicBezTo>
                  <a:pt x="813068" y="520429"/>
                  <a:pt x="806388" y="513749"/>
                  <a:pt x="798148" y="513749"/>
                </a:cubicBezTo>
                <a:close/>
                <a:moveTo>
                  <a:pt x="382550" y="450435"/>
                </a:moveTo>
                <a:cubicBezTo>
                  <a:pt x="374310" y="450435"/>
                  <a:pt x="367630" y="457115"/>
                  <a:pt x="367630" y="465355"/>
                </a:cubicBezTo>
                <a:cubicBezTo>
                  <a:pt x="367630" y="473595"/>
                  <a:pt x="374310" y="480274"/>
                  <a:pt x="382550" y="480274"/>
                </a:cubicBezTo>
                <a:lnTo>
                  <a:pt x="798148" y="480275"/>
                </a:lnTo>
                <a:cubicBezTo>
                  <a:pt x="806388" y="480275"/>
                  <a:pt x="813068" y="473595"/>
                  <a:pt x="813068" y="465355"/>
                </a:cubicBezTo>
                <a:cubicBezTo>
                  <a:pt x="813068" y="457115"/>
                  <a:pt x="806388" y="450435"/>
                  <a:pt x="798148" y="450435"/>
                </a:cubicBezTo>
                <a:close/>
                <a:moveTo>
                  <a:pt x="218877" y="449015"/>
                </a:moveTo>
                <a:cubicBezTo>
                  <a:pt x="211545" y="449015"/>
                  <a:pt x="205601" y="454959"/>
                  <a:pt x="205601" y="462291"/>
                </a:cubicBezTo>
                <a:lnTo>
                  <a:pt x="205601" y="515393"/>
                </a:lnTo>
                <a:cubicBezTo>
                  <a:pt x="205601" y="522725"/>
                  <a:pt x="211545" y="528669"/>
                  <a:pt x="218877" y="528669"/>
                </a:cubicBezTo>
                <a:lnTo>
                  <a:pt x="303295" y="528669"/>
                </a:lnTo>
                <a:cubicBezTo>
                  <a:pt x="310627" y="528669"/>
                  <a:pt x="316571" y="522725"/>
                  <a:pt x="316571" y="515393"/>
                </a:cubicBezTo>
                <a:lnTo>
                  <a:pt x="316571" y="462291"/>
                </a:lnTo>
                <a:cubicBezTo>
                  <a:pt x="316571" y="454959"/>
                  <a:pt x="310627" y="449015"/>
                  <a:pt x="303295" y="449015"/>
                </a:cubicBezTo>
                <a:close/>
                <a:moveTo>
                  <a:pt x="71144" y="449015"/>
                </a:moveTo>
                <a:cubicBezTo>
                  <a:pt x="63812" y="449015"/>
                  <a:pt x="57868" y="454959"/>
                  <a:pt x="57868" y="462291"/>
                </a:cubicBezTo>
                <a:lnTo>
                  <a:pt x="57868" y="515393"/>
                </a:lnTo>
                <a:cubicBezTo>
                  <a:pt x="57868" y="522725"/>
                  <a:pt x="63812" y="528669"/>
                  <a:pt x="71144" y="528669"/>
                </a:cubicBezTo>
                <a:lnTo>
                  <a:pt x="155562" y="528669"/>
                </a:lnTo>
                <a:cubicBezTo>
                  <a:pt x="162894" y="528669"/>
                  <a:pt x="168838" y="522725"/>
                  <a:pt x="168838" y="515393"/>
                </a:cubicBezTo>
                <a:lnTo>
                  <a:pt x="168838" y="462291"/>
                </a:lnTo>
                <a:cubicBezTo>
                  <a:pt x="168838" y="454959"/>
                  <a:pt x="162894" y="449015"/>
                  <a:pt x="155562" y="449015"/>
                </a:cubicBezTo>
                <a:close/>
                <a:moveTo>
                  <a:pt x="218877" y="310075"/>
                </a:moveTo>
                <a:cubicBezTo>
                  <a:pt x="211545" y="310075"/>
                  <a:pt x="205601" y="316019"/>
                  <a:pt x="205601" y="323351"/>
                </a:cubicBezTo>
                <a:lnTo>
                  <a:pt x="205601" y="376453"/>
                </a:lnTo>
                <a:cubicBezTo>
                  <a:pt x="205601" y="383785"/>
                  <a:pt x="211545" y="389729"/>
                  <a:pt x="218877" y="389729"/>
                </a:cubicBezTo>
                <a:lnTo>
                  <a:pt x="303295" y="389729"/>
                </a:lnTo>
                <a:cubicBezTo>
                  <a:pt x="310627" y="389729"/>
                  <a:pt x="316571" y="383785"/>
                  <a:pt x="316571" y="376453"/>
                </a:cubicBezTo>
                <a:lnTo>
                  <a:pt x="316571" y="323351"/>
                </a:lnTo>
                <a:cubicBezTo>
                  <a:pt x="316571" y="316019"/>
                  <a:pt x="310627" y="310075"/>
                  <a:pt x="303295" y="310075"/>
                </a:cubicBezTo>
                <a:close/>
                <a:moveTo>
                  <a:pt x="71144" y="310075"/>
                </a:moveTo>
                <a:cubicBezTo>
                  <a:pt x="63812" y="310075"/>
                  <a:pt x="57868" y="316019"/>
                  <a:pt x="57868" y="323351"/>
                </a:cubicBezTo>
                <a:lnTo>
                  <a:pt x="57868" y="376453"/>
                </a:lnTo>
                <a:cubicBezTo>
                  <a:pt x="57868" y="383785"/>
                  <a:pt x="63812" y="389729"/>
                  <a:pt x="71144" y="389729"/>
                </a:cubicBezTo>
                <a:lnTo>
                  <a:pt x="155562" y="389729"/>
                </a:lnTo>
                <a:cubicBezTo>
                  <a:pt x="162894" y="389729"/>
                  <a:pt x="168838" y="383785"/>
                  <a:pt x="168838" y="376453"/>
                </a:cubicBezTo>
                <a:lnTo>
                  <a:pt x="168838" y="323351"/>
                </a:lnTo>
                <a:cubicBezTo>
                  <a:pt x="168838" y="316019"/>
                  <a:pt x="162894" y="310075"/>
                  <a:pt x="155562" y="310075"/>
                </a:cubicBezTo>
                <a:close/>
                <a:moveTo>
                  <a:pt x="90752" y="0"/>
                </a:moveTo>
                <a:lnTo>
                  <a:pt x="138377" y="0"/>
                </a:lnTo>
                <a:lnTo>
                  <a:pt x="161924" y="255819"/>
                </a:lnTo>
                <a:lnTo>
                  <a:pt x="162416" y="255813"/>
                </a:lnTo>
                <a:lnTo>
                  <a:pt x="193412" y="255813"/>
                </a:lnTo>
                <a:lnTo>
                  <a:pt x="216959" y="0"/>
                </a:lnTo>
                <a:lnTo>
                  <a:pt x="264584" y="0"/>
                </a:lnTo>
                <a:lnTo>
                  <a:pt x="288130" y="255813"/>
                </a:lnTo>
                <a:lnTo>
                  <a:pt x="367630" y="255813"/>
                </a:lnTo>
                <a:lnTo>
                  <a:pt x="367630" y="344796"/>
                </a:lnTo>
                <a:lnTo>
                  <a:pt x="920437" y="344796"/>
                </a:lnTo>
                <a:lnTo>
                  <a:pt x="920437" y="755997"/>
                </a:lnTo>
                <a:lnTo>
                  <a:pt x="484727" y="755997"/>
                </a:lnTo>
                <a:lnTo>
                  <a:pt x="484727" y="570820"/>
                </a:lnTo>
                <a:lnTo>
                  <a:pt x="364907" y="570820"/>
                </a:lnTo>
                <a:lnTo>
                  <a:pt x="364907" y="753274"/>
                </a:lnTo>
                <a:lnTo>
                  <a:pt x="0" y="753274"/>
                </a:lnTo>
                <a:lnTo>
                  <a:pt x="0" y="257654"/>
                </a:lnTo>
                <a:lnTo>
                  <a:pt x="67106" y="256893"/>
                </a:lnTo>
                <a:close/>
              </a:path>
            </a:pathLst>
          </a:cu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91416" tIns="182832"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2" name="Trapezoid 14"/>
          <p:cNvSpPr>
            <a:spLocks noChangeAspect="1"/>
          </p:cNvSpPr>
          <p:nvPr/>
        </p:nvSpPr>
        <p:spPr bwMode="auto">
          <a:xfrm>
            <a:off x="5985493" y="2429275"/>
            <a:ext cx="139475" cy="114557"/>
          </a:xfrm>
          <a:custGeom>
            <a:avLst/>
            <a:gdLst/>
            <a:ahLst/>
            <a:cxnLst/>
            <a:rect l="l" t="t" r="r" b="b"/>
            <a:pathLst>
              <a:path w="920437" h="755997">
                <a:moveTo>
                  <a:pt x="218877" y="579309"/>
                </a:moveTo>
                <a:cubicBezTo>
                  <a:pt x="211545" y="579309"/>
                  <a:pt x="205601" y="585252"/>
                  <a:pt x="205601" y="592584"/>
                </a:cubicBezTo>
                <a:lnTo>
                  <a:pt x="205601" y="645686"/>
                </a:lnTo>
                <a:cubicBezTo>
                  <a:pt x="205601" y="653018"/>
                  <a:pt x="211545" y="658962"/>
                  <a:pt x="218877" y="658962"/>
                </a:cubicBezTo>
                <a:lnTo>
                  <a:pt x="303295" y="658962"/>
                </a:lnTo>
                <a:cubicBezTo>
                  <a:pt x="310627" y="658962"/>
                  <a:pt x="316571" y="653018"/>
                  <a:pt x="316571" y="645686"/>
                </a:cubicBezTo>
                <a:lnTo>
                  <a:pt x="316571" y="592584"/>
                </a:lnTo>
                <a:cubicBezTo>
                  <a:pt x="316571" y="585252"/>
                  <a:pt x="310627" y="579309"/>
                  <a:pt x="303295" y="579309"/>
                </a:cubicBezTo>
                <a:close/>
                <a:moveTo>
                  <a:pt x="71144" y="579309"/>
                </a:moveTo>
                <a:cubicBezTo>
                  <a:pt x="63812" y="579309"/>
                  <a:pt x="57868" y="585252"/>
                  <a:pt x="57868" y="592584"/>
                </a:cubicBezTo>
                <a:lnTo>
                  <a:pt x="57868" y="645686"/>
                </a:lnTo>
                <a:cubicBezTo>
                  <a:pt x="57868" y="653018"/>
                  <a:pt x="63812" y="658962"/>
                  <a:pt x="71144" y="658962"/>
                </a:cubicBezTo>
                <a:lnTo>
                  <a:pt x="155562" y="658962"/>
                </a:lnTo>
                <a:cubicBezTo>
                  <a:pt x="162894" y="658962"/>
                  <a:pt x="168838" y="653018"/>
                  <a:pt x="168838" y="645686"/>
                </a:cubicBezTo>
                <a:lnTo>
                  <a:pt x="168838" y="592584"/>
                </a:lnTo>
                <a:cubicBezTo>
                  <a:pt x="168838" y="585252"/>
                  <a:pt x="162894" y="579309"/>
                  <a:pt x="155562" y="579309"/>
                </a:cubicBezTo>
                <a:close/>
                <a:moveTo>
                  <a:pt x="382550" y="513749"/>
                </a:moveTo>
                <a:cubicBezTo>
                  <a:pt x="374310" y="513749"/>
                  <a:pt x="367630" y="520429"/>
                  <a:pt x="367630" y="528669"/>
                </a:cubicBezTo>
                <a:cubicBezTo>
                  <a:pt x="367630" y="536909"/>
                  <a:pt x="374310" y="543588"/>
                  <a:pt x="382550" y="543588"/>
                </a:cubicBezTo>
                <a:lnTo>
                  <a:pt x="798148" y="543589"/>
                </a:lnTo>
                <a:cubicBezTo>
                  <a:pt x="806388" y="543589"/>
                  <a:pt x="813068" y="536909"/>
                  <a:pt x="813068" y="528669"/>
                </a:cubicBezTo>
                <a:cubicBezTo>
                  <a:pt x="813068" y="520429"/>
                  <a:pt x="806388" y="513749"/>
                  <a:pt x="798148" y="513749"/>
                </a:cubicBezTo>
                <a:close/>
                <a:moveTo>
                  <a:pt x="382550" y="450435"/>
                </a:moveTo>
                <a:cubicBezTo>
                  <a:pt x="374310" y="450435"/>
                  <a:pt x="367630" y="457115"/>
                  <a:pt x="367630" y="465355"/>
                </a:cubicBezTo>
                <a:cubicBezTo>
                  <a:pt x="367630" y="473595"/>
                  <a:pt x="374310" y="480274"/>
                  <a:pt x="382550" y="480274"/>
                </a:cubicBezTo>
                <a:lnTo>
                  <a:pt x="798148" y="480275"/>
                </a:lnTo>
                <a:cubicBezTo>
                  <a:pt x="806388" y="480275"/>
                  <a:pt x="813068" y="473595"/>
                  <a:pt x="813068" y="465355"/>
                </a:cubicBezTo>
                <a:cubicBezTo>
                  <a:pt x="813068" y="457115"/>
                  <a:pt x="806388" y="450435"/>
                  <a:pt x="798148" y="450435"/>
                </a:cubicBezTo>
                <a:close/>
                <a:moveTo>
                  <a:pt x="218877" y="449015"/>
                </a:moveTo>
                <a:cubicBezTo>
                  <a:pt x="211545" y="449015"/>
                  <a:pt x="205601" y="454959"/>
                  <a:pt x="205601" y="462291"/>
                </a:cubicBezTo>
                <a:lnTo>
                  <a:pt x="205601" y="515393"/>
                </a:lnTo>
                <a:cubicBezTo>
                  <a:pt x="205601" y="522725"/>
                  <a:pt x="211545" y="528669"/>
                  <a:pt x="218877" y="528669"/>
                </a:cubicBezTo>
                <a:lnTo>
                  <a:pt x="303295" y="528669"/>
                </a:lnTo>
                <a:cubicBezTo>
                  <a:pt x="310627" y="528669"/>
                  <a:pt x="316571" y="522725"/>
                  <a:pt x="316571" y="515393"/>
                </a:cubicBezTo>
                <a:lnTo>
                  <a:pt x="316571" y="462291"/>
                </a:lnTo>
                <a:cubicBezTo>
                  <a:pt x="316571" y="454959"/>
                  <a:pt x="310627" y="449015"/>
                  <a:pt x="303295" y="449015"/>
                </a:cubicBezTo>
                <a:close/>
                <a:moveTo>
                  <a:pt x="71144" y="449015"/>
                </a:moveTo>
                <a:cubicBezTo>
                  <a:pt x="63812" y="449015"/>
                  <a:pt x="57868" y="454959"/>
                  <a:pt x="57868" y="462291"/>
                </a:cubicBezTo>
                <a:lnTo>
                  <a:pt x="57868" y="515393"/>
                </a:lnTo>
                <a:cubicBezTo>
                  <a:pt x="57868" y="522725"/>
                  <a:pt x="63812" y="528669"/>
                  <a:pt x="71144" y="528669"/>
                </a:cubicBezTo>
                <a:lnTo>
                  <a:pt x="155562" y="528669"/>
                </a:lnTo>
                <a:cubicBezTo>
                  <a:pt x="162894" y="528669"/>
                  <a:pt x="168838" y="522725"/>
                  <a:pt x="168838" y="515393"/>
                </a:cubicBezTo>
                <a:lnTo>
                  <a:pt x="168838" y="462291"/>
                </a:lnTo>
                <a:cubicBezTo>
                  <a:pt x="168838" y="454959"/>
                  <a:pt x="162894" y="449015"/>
                  <a:pt x="155562" y="449015"/>
                </a:cubicBezTo>
                <a:close/>
                <a:moveTo>
                  <a:pt x="218877" y="310075"/>
                </a:moveTo>
                <a:cubicBezTo>
                  <a:pt x="211545" y="310075"/>
                  <a:pt x="205601" y="316019"/>
                  <a:pt x="205601" y="323351"/>
                </a:cubicBezTo>
                <a:lnTo>
                  <a:pt x="205601" y="376453"/>
                </a:lnTo>
                <a:cubicBezTo>
                  <a:pt x="205601" y="383785"/>
                  <a:pt x="211545" y="389729"/>
                  <a:pt x="218877" y="389729"/>
                </a:cubicBezTo>
                <a:lnTo>
                  <a:pt x="303295" y="389729"/>
                </a:lnTo>
                <a:cubicBezTo>
                  <a:pt x="310627" y="389729"/>
                  <a:pt x="316571" y="383785"/>
                  <a:pt x="316571" y="376453"/>
                </a:cubicBezTo>
                <a:lnTo>
                  <a:pt x="316571" y="323351"/>
                </a:lnTo>
                <a:cubicBezTo>
                  <a:pt x="316571" y="316019"/>
                  <a:pt x="310627" y="310075"/>
                  <a:pt x="303295" y="310075"/>
                </a:cubicBezTo>
                <a:close/>
                <a:moveTo>
                  <a:pt x="71144" y="310075"/>
                </a:moveTo>
                <a:cubicBezTo>
                  <a:pt x="63812" y="310075"/>
                  <a:pt x="57868" y="316019"/>
                  <a:pt x="57868" y="323351"/>
                </a:cubicBezTo>
                <a:lnTo>
                  <a:pt x="57868" y="376453"/>
                </a:lnTo>
                <a:cubicBezTo>
                  <a:pt x="57868" y="383785"/>
                  <a:pt x="63812" y="389729"/>
                  <a:pt x="71144" y="389729"/>
                </a:cubicBezTo>
                <a:lnTo>
                  <a:pt x="155562" y="389729"/>
                </a:lnTo>
                <a:cubicBezTo>
                  <a:pt x="162894" y="389729"/>
                  <a:pt x="168838" y="383785"/>
                  <a:pt x="168838" y="376453"/>
                </a:cubicBezTo>
                <a:lnTo>
                  <a:pt x="168838" y="323351"/>
                </a:lnTo>
                <a:cubicBezTo>
                  <a:pt x="168838" y="316019"/>
                  <a:pt x="162894" y="310075"/>
                  <a:pt x="155562" y="310075"/>
                </a:cubicBezTo>
                <a:close/>
                <a:moveTo>
                  <a:pt x="90752" y="0"/>
                </a:moveTo>
                <a:lnTo>
                  <a:pt x="138377" y="0"/>
                </a:lnTo>
                <a:lnTo>
                  <a:pt x="161924" y="255819"/>
                </a:lnTo>
                <a:lnTo>
                  <a:pt x="162416" y="255813"/>
                </a:lnTo>
                <a:lnTo>
                  <a:pt x="193412" y="255813"/>
                </a:lnTo>
                <a:lnTo>
                  <a:pt x="216959" y="0"/>
                </a:lnTo>
                <a:lnTo>
                  <a:pt x="264584" y="0"/>
                </a:lnTo>
                <a:lnTo>
                  <a:pt x="288130" y="255813"/>
                </a:lnTo>
                <a:lnTo>
                  <a:pt x="367630" y="255813"/>
                </a:lnTo>
                <a:lnTo>
                  <a:pt x="367630" y="344796"/>
                </a:lnTo>
                <a:lnTo>
                  <a:pt x="920437" y="344796"/>
                </a:lnTo>
                <a:lnTo>
                  <a:pt x="920437" y="755997"/>
                </a:lnTo>
                <a:lnTo>
                  <a:pt x="484727" y="755997"/>
                </a:lnTo>
                <a:lnTo>
                  <a:pt x="484727" y="570820"/>
                </a:lnTo>
                <a:lnTo>
                  <a:pt x="364907" y="570820"/>
                </a:lnTo>
                <a:lnTo>
                  <a:pt x="364907" y="753274"/>
                </a:lnTo>
                <a:lnTo>
                  <a:pt x="0" y="753274"/>
                </a:lnTo>
                <a:lnTo>
                  <a:pt x="0" y="257654"/>
                </a:lnTo>
                <a:lnTo>
                  <a:pt x="67106" y="256893"/>
                </a:lnTo>
                <a:close/>
              </a:path>
            </a:pathLst>
          </a:cu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91416" tIns="182832"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6" name="Trapezoid 14"/>
          <p:cNvSpPr>
            <a:spLocks noChangeAspect="1"/>
          </p:cNvSpPr>
          <p:nvPr/>
        </p:nvSpPr>
        <p:spPr bwMode="auto">
          <a:xfrm>
            <a:off x="6147357" y="2227293"/>
            <a:ext cx="209744" cy="172272"/>
          </a:xfrm>
          <a:custGeom>
            <a:avLst/>
            <a:gdLst/>
            <a:ahLst/>
            <a:cxnLst/>
            <a:rect l="l" t="t" r="r" b="b"/>
            <a:pathLst>
              <a:path w="920437" h="755997">
                <a:moveTo>
                  <a:pt x="218877" y="579309"/>
                </a:moveTo>
                <a:cubicBezTo>
                  <a:pt x="211545" y="579309"/>
                  <a:pt x="205601" y="585252"/>
                  <a:pt x="205601" y="592584"/>
                </a:cubicBezTo>
                <a:lnTo>
                  <a:pt x="205601" y="645686"/>
                </a:lnTo>
                <a:cubicBezTo>
                  <a:pt x="205601" y="653018"/>
                  <a:pt x="211545" y="658962"/>
                  <a:pt x="218877" y="658962"/>
                </a:cubicBezTo>
                <a:lnTo>
                  <a:pt x="303295" y="658962"/>
                </a:lnTo>
                <a:cubicBezTo>
                  <a:pt x="310627" y="658962"/>
                  <a:pt x="316571" y="653018"/>
                  <a:pt x="316571" y="645686"/>
                </a:cubicBezTo>
                <a:lnTo>
                  <a:pt x="316571" y="592584"/>
                </a:lnTo>
                <a:cubicBezTo>
                  <a:pt x="316571" y="585252"/>
                  <a:pt x="310627" y="579309"/>
                  <a:pt x="303295" y="579309"/>
                </a:cubicBezTo>
                <a:close/>
                <a:moveTo>
                  <a:pt x="71144" y="579309"/>
                </a:moveTo>
                <a:cubicBezTo>
                  <a:pt x="63812" y="579309"/>
                  <a:pt x="57868" y="585252"/>
                  <a:pt x="57868" y="592584"/>
                </a:cubicBezTo>
                <a:lnTo>
                  <a:pt x="57868" y="645686"/>
                </a:lnTo>
                <a:cubicBezTo>
                  <a:pt x="57868" y="653018"/>
                  <a:pt x="63812" y="658962"/>
                  <a:pt x="71144" y="658962"/>
                </a:cubicBezTo>
                <a:lnTo>
                  <a:pt x="155562" y="658962"/>
                </a:lnTo>
                <a:cubicBezTo>
                  <a:pt x="162894" y="658962"/>
                  <a:pt x="168838" y="653018"/>
                  <a:pt x="168838" y="645686"/>
                </a:cubicBezTo>
                <a:lnTo>
                  <a:pt x="168838" y="592584"/>
                </a:lnTo>
                <a:cubicBezTo>
                  <a:pt x="168838" y="585252"/>
                  <a:pt x="162894" y="579309"/>
                  <a:pt x="155562" y="579309"/>
                </a:cubicBezTo>
                <a:close/>
                <a:moveTo>
                  <a:pt x="382550" y="513749"/>
                </a:moveTo>
                <a:cubicBezTo>
                  <a:pt x="374310" y="513749"/>
                  <a:pt x="367630" y="520429"/>
                  <a:pt x="367630" y="528669"/>
                </a:cubicBezTo>
                <a:cubicBezTo>
                  <a:pt x="367630" y="536909"/>
                  <a:pt x="374310" y="543588"/>
                  <a:pt x="382550" y="543588"/>
                </a:cubicBezTo>
                <a:lnTo>
                  <a:pt x="798148" y="543589"/>
                </a:lnTo>
                <a:cubicBezTo>
                  <a:pt x="806388" y="543589"/>
                  <a:pt x="813068" y="536909"/>
                  <a:pt x="813068" y="528669"/>
                </a:cubicBezTo>
                <a:cubicBezTo>
                  <a:pt x="813068" y="520429"/>
                  <a:pt x="806388" y="513749"/>
                  <a:pt x="798148" y="513749"/>
                </a:cubicBezTo>
                <a:close/>
                <a:moveTo>
                  <a:pt x="382550" y="450435"/>
                </a:moveTo>
                <a:cubicBezTo>
                  <a:pt x="374310" y="450435"/>
                  <a:pt x="367630" y="457115"/>
                  <a:pt x="367630" y="465355"/>
                </a:cubicBezTo>
                <a:cubicBezTo>
                  <a:pt x="367630" y="473595"/>
                  <a:pt x="374310" y="480274"/>
                  <a:pt x="382550" y="480274"/>
                </a:cubicBezTo>
                <a:lnTo>
                  <a:pt x="798148" y="480275"/>
                </a:lnTo>
                <a:cubicBezTo>
                  <a:pt x="806388" y="480275"/>
                  <a:pt x="813068" y="473595"/>
                  <a:pt x="813068" y="465355"/>
                </a:cubicBezTo>
                <a:cubicBezTo>
                  <a:pt x="813068" y="457115"/>
                  <a:pt x="806388" y="450435"/>
                  <a:pt x="798148" y="450435"/>
                </a:cubicBezTo>
                <a:close/>
                <a:moveTo>
                  <a:pt x="218877" y="449015"/>
                </a:moveTo>
                <a:cubicBezTo>
                  <a:pt x="211545" y="449015"/>
                  <a:pt x="205601" y="454959"/>
                  <a:pt x="205601" y="462291"/>
                </a:cubicBezTo>
                <a:lnTo>
                  <a:pt x="205601" y="515393"/>
                </a:lnTo>
                <a:cubicBezTo>
                  <a:pt x="205601" y="522725"/>
                  <a:pt x="211545" y="528669"/>
                  <a:pt x="218877" y="528669"/>
                </a:cubicBezTo>
                <a:lnTo>
                  <a:pt x="303295" y="528669"/>
                </a:lnTo>
                <a:cubicBezTo>
                  <a:pt x="310627" y="528669"/>
                  <a:pt x="316571" y="522725"/>
                  <a:pt x="316571" y="515393"/>
                </a:cubicBezTo>
                <a:lnTo>
                  <a:pt x="316571" y="462291"/>
                </a:lnTo>
                <a:cubicBezTo>
                  <a:pt x="316571" y="454959"/>
                  <a:pt x="310627" y="449015"/>
                  <a:pt x="303295" y="449015"/>
                </a:cubicBezTo>
                <a:close/>
                <a:moveTo>
                  <a:pt x="71144" y="449015"/>
                </a:moveTo>
                <a:cubicBezTo>
                  <a:pt x="63812" y="449015"/>
                  <a:pt x="57868" y="454959"/>
                  <a:pt x="57868" y="462291"/>
                </a:cubicBezTo>
                <a:lnTo>
                  <a:pt x="57868" y="515393"/>
                </a:lnTo>
                <a:cubicBezTo>
                  <a:pt x="57868" y="522725"/>
                  <a:pt x="63812" y="528669"/>
                  <a:pt x="71144" y="528669"/>
                </a:cubicBezTo>
                <a:lnTo>
                  <a:pt x="155562" y="528669"/>
                </a:lnTo>
                <a:cubicBezTo>
                  <a:pt x="162894" y="528669"/>
                  <a:pt x="168838" y="522725"/>
                  <a:pt x="168838" y="515393"/>
                </a:cubicBezTo>
                <a:lnTo>
                  <a:pt x="168838" y="462291"/>
                </a:lnTo>
                <a:cubicBezTo>
                  <a:pt x="168838" y="454959"/>
                  <a:pt x="162894" y="449015"/>
                  <a:pt x="155562" y="449015"/>
                </a:cubicBezTo>
                <a:close/>
                <a:moveTo>
                  <a:pt x="218877" y="310075"/>
                </a:moveTo>
                <a:cubicBezTo>
                  <a:pt x="211545" y="310075"/>
                  <a:pt x="205601" y="316019"/>
                  <a:pt x="205601" y="323351"/>
                </a:cubicBezTo>
                <a:lnTo>
                  <a:pt x="205601" y="376453"/>
                </a:lnTo>
                <a:cubicBezTo>
                  <a:pt x="205601" y="383785"/>
                  <a:pt x="211545" y="389729"/>
                  <a:pt x="218877" y="389729"/>
                </a:cubicBezTo>
                <a:lnTo>
                  <a:pt x="303295" y="389729"/>
                </a:lnTo>
                <a:cubicBezTo>
                  <a:pt x="310627" y="389729"/>
                  <a:pt x="316571" y="383785"/>
                  <a:pt x="316571" y="376453"/>
                </a:cubicBezTo>
                <a:lnTo>
                  <a:pt x="316571" y="323351"/>
                </a:lnTo>
                <a:cubicBezTo>
                  <a:pt x="316571" y="316019"/>
                  <a:pt x="310627" y="310075"/>
                  <a:pt x="303295" y="310075"/>
                </a:cubicBezTo>
                <a:close/>
                <a:moveTo>
                  <a:pt x="71144" y="310075"/>
                </a:moveTo>
                <a:cubicBezTo>
                  <a:pt x="63812" y="310075"/>
                  <a:pt x="57868" y="316019"/>
                  <a:pt x="57868" y="323351"/>
                </a:cubicBezTo>
                <a:lnTo>
                  <a:pt x="57868" y="376453"/>
                </a:lnTo>
                <a:cubicBezTo>
                  <a:pt x="57868" y="383785"/>
                  <a:pt x="63812" y="389729"/>
                  <a:pt x="71144" y="389729"/>
                </a:cubicBezTo>
                <a:lnTo>
                  <a:pt x="155562" y="389729"/>
                </a:lnTo>
                <a:cubicBezTo>
                  <a:pt x="162894" y="389729"/>
                  <a:pt x="168838" y="383785"/>
                  <a:pt x="168838" y="376453"/>
                </a:cubicBezTo>
                <a:lnTo>
                  <a:pt x="168838" y="323351"/>
                </a:lnTo>
                <a:cubicBezTo>
                  <a:pt x="168838" y="316019"/>
                  <a:pt x="162894" y="310075"/>
                  <a:pt x="155562" y="310075"/>
                </a:cubicBezTo>
                <a:close/>
                <a:moveTo>
                  <a:pt x="90752" y="0"/>
                </a:moveTo>
                <a:lnTo>
                  <a:pt x="138377" y="0"/>
                </a:lnTo>
                <a:lnTo>
                  <a:pt x="161924" y="255819"/>
                </a:lnTo>
                <a:lnTo>
                  <a:pt x="162416" y="255813"/>
                </a:lnTo>
                <a:lnTo>
                  <a:pt x="193412" y="255813"/>
                </a:lnTo>
                <a:lnTo>
                  <a:pt x="216959" y="0"/>
                </a:lnTo>
                <a:lnTo>
                  <a:pt x="264584" y="0"/>
                </a:lnTo>
                <a:lnTo>
                  <a:pt x="288130" y="255813"/>
                </a:lnTo>
                <a:lnTo>
                  <a:pt x="367630" y="255813"/>
                </a:lnTo>
                <a:lnTo>
                  <a:pt x="367630" y="344796"/>
                </a:lnTo>
                <a:lnTo>
                  <a:pt x="920437" y="344796"/>
                </a:lnTo>
                <a:lnTo>
                  <a:pt x="920437" y="755997"/>
                </a:lnTo>
                <a:lnTo>
                  <a:pt x="484727" y="755997"/>
                </a:lnTo>
                <a:lnTo>
                  <a:pt x="484727" y="570820"/>
                </a:lnTo>
                <a:lnTo>
                  <a:pt x="364907" y="570820"/>
                </a:lnTo>
                <a:lnTo>
                  <a:pt x="364907" y="753274"/>
                </a:lnTo>
                <a:lnTo>
                  <a:pt x="0" y="753274"/>
                </a:lnTo>
                <a:lnTo>
                  <a:pt x="0" y="257654"/>
                </a:lnTo>
                <a:lnTo>
                  <a:pt x="67106" y="256893"/>
                </a:lnTo>
                <a:close/>
              </a:path>
            </a:pathLst>
          </a:custGeom>
          <a:solidFill>
            <a:schemeClr val="bg1">
              <a:lumMod val="95000"/>
            </a:schemeClr>
          </a:solidFill>
          <a:ln w="9525" cap="flat" cmpd="sng" algn="ctr">
            <a:noFill/>
            <a:prstDash val="solid"/>
            <a:headEnd type="none" w="med" len="med"/>
            <a:tailEnd type="none" w="med" len="med"/>
          </a:ln>
          <a:effectLst/>
        </p:spPr>
        <p:txBody>
          <a:bodyPr rot="0" spcFirstLastPara="0" vertOverflow="overflow" horzOverflow="overflow" vert="horz" wrap="square" lIns="91416" tIns="182832"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799" b="0" i="0" u="none" strike="noStrike" kern="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6" name="Picture 25"/>
          <p:cNvPicPr>
            <a:picLocks noChangeAspect="1"/>
          </p:cNvPicPr>
          <p:nvPr/>
        </p:nvPicPr>
        <p:blipFill>
          <a:blip r:embed="rId6"/>
          <a:stretch>
            <a:fillRect/>
          </a:stretch>
        </p:blipFill>
        <p:spPr>
          <a:xfrm>
            <a:off x="5761725" y="1980486"/>
            <a:ext cx="638175" cy="638175"/>
          </a:xfrm>
          <a:prstGeom prst="rect">
            <a:avLst/>
          </a:prstGeom>
        </p:spPr>
      </p:pic>
      <p:sp>
        <p:nvSpPr>
          <p:cNvPr id="508" name="Text Placeholder 6"/>
          <p:cNvSpPr txBox="1">
            <a:spLocks/>
          </p:cNvSpPr>
          <p:nvPr/>
        </p:nvSpPr>
        <p:spPr>
          <a:xfrm>
            <a:off x="8389559" y="142996"/>
            <a:ext cx="3361765" cy="373063"/>
          </a:xfrm>
          <a:prstGeom prst="rect">
            <a:avLst/>
          </a:prstGeom>
        </p:spPr>
        <p:txBody>
          <a:bodyPr vert="horz" lIns="320040" tIns="53325" rIns="53325" bIns="53325" rtlCol="0">
            <a:noAutofit/>
          </a:bodyPr>
          <a:lstStyle>
            <a:lvl1pPr marL="0" indent="0" algn="l" defTabSz="1088105" rtl="0" eaLnBrk="1" latinLnBrk="0" hangingPunct="1">
              <a:spcBef>
                <a:spcPts val="1800"/>
              </a:spcBef>
              <a:buClr>
                <a:srgbClr val="0072C6"/>
              </a:buClr>
              <a:buSzPct val="100000"/>
              <a:buFont typeface="Wingdings" pitchFamily="2" charset="2"/>
              <a:buNone/>
              <a:defRPr sz="2800" kern="1200">
                <a:solidFill>
                  <a:schemeClr val="tx1"/>
                </a:solidFill>
                <a:latin typeface="Segoe UI Light" pitchFamily="34" charset="0"/>
                <a:ea typeface="Segoe UI" pitchFamily="34" charset="0"/>
                <a:cs typeface="Segoe UI" pitchFamily="34" charset="0"/>
              </a:defRPr>
            </a:lvl1pPr>
            <a:lvl2pPr marL="281674" indent="0" algn="l" defTabSz="1088105" rtl="0" eaLnBrk="1" latinLnBrk="0" hangingPunct="1">
              <a:spcBef>
                <a:spcPct val="20000"/>
              </a:spcBef>
              <a:buFont typeface="Arial" pitchFamily="34" charset="0"/>
              <a:buNone/>
              <a:defRPr sz="1800" kern="1200">
                <a:solidFill>
                  <a:schemeClr val="tx1"/>
                </a:solidFill>
                <a:latin typeface="Segoe UI" pitchFamily="34" charset="0"/>
                <a:ea typeface="Segoe UI" pitchFamily="34" charset="0"/>
                <a:cs typeface="Segoe UI" pitchFamily="34" charset="0"/>
              </a:defRPr>
            </a:lvl2pPr>
            <a:lvl3pPr marL="588476" indent="0" algn="l" defTabSz="1088105" rtl="0" eaLnBrk="1" latinLnBrk="0" hangingPunct="1">
              <a:spcBef>
                <a:spcPct val="20000"/>
              </a:spcBef>
              <a:buFont typeface="Arial" pitchFamily="34" charset="0"/>
              <a:buNone/>
              <a:defRPr sz="1600" kern="1200">
                <a:solidFill>
                  <a:schemeClr val="tx1"/>
                </a:solidFill>
                <a:latin typeface="Segoe UI" pitchFamily="34" charset="0"/>
                <a:ea typeface="Segoe UI" pitchFamily="34" charset="0"/>
                <a:cs typeface="Segoe UI" pitchFamily="34" charset="0"/>
              </a:defRPr>
            </a:lvl3pPr>
            <a:lvl4pPr marL="87015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4pPr>
            <a:lvl5pPr marL="110554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marL="0" marR="0" lvl="0" indent="0" algn="l" defTabSz="1088105" rtl="0" eaLnBrk="1" fontAlgn="auto" latinLnBrk="0" hangingPunct="1">
              <a:lnSpc>
                <a:spcPct val="100000"/>
              </a:lnSpc>
              <a:spcBef>
                <a:spcPts val="1800"/>
              </a:spcBef>
              <a:spcAft>
                <a:spcPts val="0"/>
              </a:spcAft>
              <a:buClr>
                <a:srgbClr val="0072C6"/>
              </a:buClr>
              <a:buSzPct val="100000"/>
              <a:buFont typeface="Wingdings" pitchFamily="2" charset="2"/>
              <a:buNone/>
              <a:tabLst/>
              <a:defRPr/>
            </a:pPr>
            <a:r>
              <a:rPr kumimoji="0" lang="en-US" sz="2800" b="0" i="0" u="none" strike="noStrike" kern="1200" cap="none" spc="0" normalizeH="0" baseline="0" noProof="0">
                <a:ln>
                  <a:noFill/>
                </a:ln>
                <a:solidFill>
                  <a:srgbClr val="505050"/>
                </a:solidFill>
                <a:effectLst/>
                <a:uLnTx/>
                <a:uFillTx/>
                <a:latin typeface="Segoe UI Light" pitchFamily="34" charset="0"/>
                <a:cs typeface="Segoe UI" pitchFamily="34" charset="0"/>
              </a:rPr>
              <a:t>Solution Storyboard</a:t>
            </a:r>
          </a:p>
        </p:txBody>
      </p:sp>
      <p:sp>
        <p:nvSpPr>
          <p:cNvPr id="552" name="Rectangle 551">
            <a:extLst>
              <a:ext uri="{FF2B5EF4-FFF2-40B4-BE49-F238E27FC236}">
                <a16:creationId xmlns:a16="http://schemas.microsoft.com/office/drawing/2014/main" id="{ECE1C763-89D8-4B4E-B465-F33214F2D92B}"/>
              </a:ext>
            </a:extLst>
          </p:cNvPr>
          <p:cNvSpPr/>
          <p:nvPr/>
        </p:nvSpPr>
        <p:spPr bwMode="auto">
          <a:xfrm>
            <a:off x="1264145" y="4216111"/>
            <a:ext cx="1242328" cy="138499"/>
          </a:xfrm>
          <a:prstGeom prst="rect">
            <a:avLst/>
          </a:prstGeom>
          <a:noFill/>
          <a:ln w="9525" cap="flat" cmpd="sng" algn="ctr">
            <a:noFill/>
            <a:prstDash val="sysDot"/>
            <a:headEnd type="none" w="med" len="med"/>
            <a:tailEnd type="none" w="med" len="med"/>
          </a:ln>
          <a:effectLst/>
        </p:spPr>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marL="0" marR="0" lvl="0" indent="0" algn="l" defTabSz="608884" rtl="0" eaLnBrk="1" fontAlgn="auto" latinLnBrk="0" hangingPunct="1">
              <a:lnSpc>
                <a:spcPct val="100000"/>
              </a:lnSpc>
              <a:spcBef>
                <a:spcPts val="0"/>
              </a:spcBef>
              <a:spcAft>
                <a:spcPts val="0"/>
              </a:spcAft>
              <a:buClrTx/>
              <a:buSzTx/>
              <a:buFontTx/>
              <a:buNone/>
              <a:tabLst/>
              <a:defRPr/>
            </a:pPr>
            <a:r>
              <a:rPr lang="en-US" sz="900" kern="0" dirty="0">
                <a:solidFill>
                  <a:srgbClr val="505050"/>
                </a:solidFill>
                <a:latin typeface="Segoe UI"/>
              </a:rPr>
              <a:t>Consumer Demand data</a:t>
            </a:r>
            <a:endParaRPr kumimoji="0" lang="en-US" sz="900" b="0" i="0" u="none" strike="noStrike" kern="0" cap="none" spc="0" normalizeH="0" baseline="0" noProof="0" dirty="0">
              <a:ln>
                <a:noFill/>
              </a:ln>
              <a:solidFill>
                <a:srgbClr val="505050"/>
              </a:solidFill>
              <a:effectLst/>
              <a:uLnTx/>
              <a:uFillTx/>
              <a:latin typeface="Segoe UI"/>
              <a:ea typeface="+mn-ea"/>
              <a:cs typeface="+mn-cs"/>
            </a:endParaRPr>
          </a:p>
        </p:txBody>
      </p:sp>
      <p:sp>
        <p:nvSpPr>
          <p:cNvPr id="555" name="Freeform 517">
            <a:extLst>
              <a:ext uri="{FF2B5EF4-FFF2-40B4-BE49-F238E27FC236}">
                <a16:creationId xmlns:a16="http://schemas.microsoft.com/office/drawing/2014/main" id="{4CD58BF8-60A3-4F5D-BBB5-DAFEAF1D0103}"/>
              </a:ext>
            </a:extLst>
          </p:cNvPr>
          <p:cNvSpPr/>
          <p:nvPr/>
        </p:nvSpPr>
        <p:spPr bwMode="auto">
          <a:xfrm>
            <a:off x="1766600" y="3802482"/>
            <a:ext cx="441249" cy="395212"/>
          </a:xfrm>
          <a:custGeom>
            <a:avLst/>
            <a:gdLst/>
            <a:ahLst/>
            <a:cxnLst/>
            <a:rect l="l" t="t" r="r" b="b"/>
            <a:pathLst>
              <a:path w="3122295" h="2796540">
                <a:moveTo>
                  <a:pt x="2522220" y="125349"/>
                </a:moveTo>
                <a:lnTo>
                  <a:pt x="2931795" y="906399"/>
                </a:lnTo>
                <a:lnTo>
                  <a:pt x="3122295" y="673037"/>
                </a:lnTo>
                <a:lnTo>
                  <a:pt x="3055620" y="1420749"/>
                </a:lnTo>
                <a:lnTo>
                  <a:pt x="2407920" y="1020699"/>
                </a:lnTo>
                <a:lnTo>
                  <a:pt x="2707958" y="1011174"/>
                </a:lnTo>
                <a:lnTo>
                  <a:pt x="2484120" y="568262"/>
                </a:lnTo>
                <a:lnTo>
                  <a:pt x="2055495" y="1125474"/>
                </a:lnTo>
                <a:lnTo>
                  <a:pt x="1479233" y="1130237"/>
                </a:lnTo>
                <a:lnTo>
                  <a:pt x="1255395" y="2449449"/>
                </a:lnTo>
                <a:lnTo>
                  <a:pt x="927746" y="1969847"/>
                </a:lnTo>
                <a:lnTo>
                  <a:pt x="531495" y="2363724"/>
                </a:lnTo>
                <a:lnTo>
                  <a:pt x="529178" y="2361308"/>
                </a:lnTo>
                <a:lnTo>
                  <a:pt x="526733" y="2363724"/>
                </a:lnTo>
                <a:lnTo>
                  <a:pt x="360045" y="2187512"/>
                </a:lnTo>
                <a:lnTo>
                  <a:pt x="562985" y="1992499"/>
                </a:lnTo>
                <a:lnTo>
                  <a:pt x="967264" y="1589818"/>
                </a:lnTo>
                <a:lnTo>
                  <a:pt x="1117283" y="1813655"/>
                </a:lnTo>
                <a:lnTo>
                  <a:pt x="1116725" y="1815227"/>
                </a:lnTo>
                <a:lnTo>
                  <a:pt x="1117283" y="1816037"/>
                </a:lnTo>
                <a:lnTo>
                  <a:pt x="1274445" y="892112"/>
                </a:lnTo>
                <a:lnTo>
                  <a:pt x="1941195" y="896874"/>
                </a:lnTo>
                <a:close/>
                <a:moveTo>
                  <a:pt x="0" y="0"/>
                </a:moveTo>
                <a:lnTo>
                  <a:pt x="256032" y="0"/>
                </a:lnTo>
                <a:lnTo>
                  <a:pt x="256032" y="2540508"/>
                </a:lnTo>
                <a:lnTo>
                  <a:pt x="3063240" y="2540508"/>
                </a:lnTo>
                <a:lnTo>
                  <a:pt x="3063240" y="2796540"/>
                </a:lnTo>
                <a:lnTo>
                  <a:pt x="256032" y="2796540"/>
                </a:lnTo>
                <a:lnTo>
                  <a:pt x="0" y="2796540"/>
                </a:lnTo>
                <a:lnTo>
                  <a:pt x="0" y="2540508"/>
                </a:lnTo>
                <a:close/>
              </a:path>
            </a:pathLst>
          </a:custGeom>
          <a:solidFill>
            <a:srgbClr val="5E83B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5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6" name="Rectangle 555">
            <a:extLst>
              <a:ext uri="{FF2B5EF4-FFF2-40B4-BE49-F238E27FC236}">
                <a16:creationId xmlns:a16="http://schemas.microsoft.com/office/drawing/2014/main" id="{1D38BFB1-1971-4221-B93F-B634EBC35089}"/>
              </a:ext>
            </a:extLst>
          </p:cNvPr>
          <p:cNvSpPr/>
          <p:nvPr/>
        </p:nvSpPr>
        <p:spPr bwMode="auto">
          <a:xfrm>
            <a:off x="7379151" y="2240042"/>
            <a:ext cx="1284161" cy="276999"/>
          </a:xfrm>
          <a:prstGeom prst="rect">
            <a:avLst/>
          </a:prstGeom>
          <a:noFill/>
          <a:ln w="9525" cap="flat" cmpd="sng" algn="ctr">
            <a:noFill/>
            <a:prstDash val="sysDot"/>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ctr" defTabSz="60888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505050"/>
                </a:solidFill>
                <a:effectLst/>
                <a:uLnTx/>
                <a:uFillTx/>
                <a:latin typeface="Segoe UI"/>
                <a:ea typeface="+mn-ea"/>
                <a:cs typeface="+mn-cs"/>
              </a:rPr>
              <a:t>Consumer demand patterns</a:t>
            </a:r>
          </a:p>
        </p:txBody>
      </p:sp>
      <p:grpSp>
        <p:nvGrpSpPr>
          <p:cNvPr id="565" name="Group 564">
            <a:extLst>
              <a:ext uri="{FF2B5EF4-FFF2-40B4-BE49-F238E27FC236}">
                <a16:creationId xmlns:a16="http://schemas.microsoft.com/office/drawing/2014/main" id="{C1AA99DF-617C-4167-9868-14F0D0C74A84}"/>
              </a:ext>
            </a:extLst>
          </p:cNvPr>
          <p:cNvGrpSpPr/>
          <p:nvPr/>
        </p:nvGrpSpPr>
        <p:grpSpPr>
          <a:xfrm>
            <a:off x="3866891" y="2123458"/>
            <a:ext cx="438921" cy="498411"/>
            <a:chOff x="3627441" y="3959993"/>
            <a:chExt cx="1632784" cy="1854088"/>
          </a:xfrm>
          <a:solidFill>
            <a:srgbClr val="5E83BD"/>
          </a:solidFill>
        </p:grpSpPr>
        <p:grpSp>
          <p:nvGrpSpPr>
            <p:cNvPr id="566" name="Group 565">
              <a:extLst>
                <a:ext uri="{FF2B5EF4-FFF2-40B4-BE49-F238E27FC236}">
                  <a16:creationId xmlns:a16="http://schemas.microsoft.com/office/drawing/2014/main" id="{2F65E9F9-82F4-48FF-B3CE-6C340751DE21}"/>
                </a:ext>
              </a:extLst>
            </p:cNvPr>
            <p:cNvGrpSpPr/>
            <p:nvPr/>
          </p:nvGrpSpPr>
          <p:grpSpPr>
            <a:xfrm>
              <a:off x="4264192" y="3959993"/>
              <a:ext cx="515612" cy="1724832"/>
              <a:chOff x="6465549" y="1926296"/>
              <a:chExt cx="1155091" cy="3864066"/>
            </a:xfrm>
            <a:grpFill/>
          </p:grpSpPr>
          <p:grpSp>
            <p:nvGrpSpPr>
              <p:cNvPr id="664" name="Group 243">
                <a:extLst>
                  <a:ext uri="{FF2B5EF4-FFF2-40B4-BE49-F238E27FC236}">
                    <a16:creationId xmlns:a16="http://schemas.microsoft.com/office/drawing/2014/main" id="{C1B11A47-6E19-49C0-B732-E583874CF18C}"/>
                  </a:ext>
                </a:extLst>
              </p:cNvPr>
              <p:cNvGrpSpPr/>
              <p:nvPr/>
            </p:nvGrpSpPr>
            <p:grpSpPr>
              <a:xfrm>
                <a:off x="7136718" y="5397244"/>
                <a:ext cx="338027" cy="393118"/>
                <a:chOff x="4724400" y="5433395"/>
                <a:chExt cx="327645" cy="381043"/>
              </a:xfrm>
              <a:grpFill/>
            </p:grpSpPr>
            <p:sp>
              <p:nvSpPr>
                <p:cNvPr id="730" name="Freeform 156">
                  <a:extLst>
                    <a:ext uri="{FF2B5EF4-FFF2-40B4-BE49-F238E27FC236}">
                      <a16:creationId xmlns:a16="http://schemas.microsoft.com/office/drawing/2014/main" id="{3E273143-0826-4917-AD1A-9CEBB7EE2279}"/>
                    </a:ext>
                  </a:extLst>
                </p:cNvPr>
                <p:cNvSpPr/>
                <p:nvPr/>
              </p:nvSpPr>
              <p:spPr bwMode="auto">
                <a:xfrm>
                  <a:off x="4724400" y="5433395"/>
                  <a:ext cx="327645" cy="381043"/>
                </a:xfrm>
                <a:custGeom>
                  <a:avLst/>
                  <a:gdLst>
                    <a:gd name="connsiteX0" fmla="*/ 17533 w 567791"/>
                    <a:gd name="connsiteY0" fmla="*/ 66085 h 613646"/>
                    <a:gd name="connsiteX1" fmla="*/ 17533 w 567791"/>
                    <a:gd name="connsiteY1" fmla="*/ 163189 h 613646"/>
                    <a:gd name="connsiteX2" fmla="*/ 122729 w 567791"/>
                    <a:gd name="connsiteY2" fmla="*/ 252202 h 613646"/>
                    <a:gd name="connsiteX3" fmla="*/ 171282 w 567791"/>
                    <a:gd name="connsiteY3" fmla="*/ 276478 h 613646"/>
                    <a:gd name="connsiteX4" fmla="*/ 203650 w 567791"/>
                    <a:gd name="connsiteY4" fmla="*/ 478779 h 613646"/>
                    <a:gd name="connsiteX5" fmla="*/ 316938 w 567791"/>
                    <a:gd name="connsiteY5" fmla="*/ 567791 h 613646"/>
                    <a:gd name="connsiteX6" fmla="*/ 414043 w 567791"/>
                    <a:gd name="connsiteY6" fmla="*/ 608251 h 613646"/>
                    <a:gd name="connsiteX7" fmla="*/ 551607 w 567791"/>
                    <a:gd name="connsiteY7" fmla="*/ 535423 h 613646"/>
                    <a:gd name="connsiteX8" fmla="*/ 511147 w 567791"/>
                    <a:gd name="connsiteY8" fmla="*/ 349306 h 613646"/>
                    <a:gd name="connsiteX9" fmla="*/ 349306 w 567791"/>
                    <a:gd name="connsiteY9" fmla="*/ 163189 h 613646"/>
                    <a:gd name="connsiteX10" fmla="*/ 300754 w 567791"/>
                    <a:gd name="connsiteY10" fmla="*/ 49901 h 613646"/>
                    <a:gd name="connsiteX11" fmla="*/ 122729 w 567791"/>
                    <a:gd name="connsiteY11" fmla="*/ 1349 h 613646"/>
                    <a:gd name="connsiteX12" fmla="*/ 17533 w 567791"/>
                    <a:gd name="connsiteY12" fmla="*/ 66085 h 613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7791" h="613646">
                      <a:moveTo>
                        <a:pt x="17533" y="66085"/>
                      </a:moveTo>
                      <a:cubicBezTo>
                        <a:pt x="0" y="93058"/>
                        <a:pt x="0" y="132170"/>
                        <a:pt x="17533" y="163189"/>
                      </a:cubicBezTo>
                      <a:cubicBezTo>
                        <a:pt x="35066" y="194208"/>
                        <a:pt x="97104" y="233321"/>
                        <a:pt x="122729" y="252202"/>
                      </a:cubicBezTo>
                      <a:cubicBezTo>
                        <a:pt x="148354" y="271084"/>
                        <a:pt x="157795" y="238715"/>
                        <a:pt x="171282" y="276478"/>
                      </a:cubicBezTo>
                      <a:cubicBezTo>
                        <a:pt x="184769" y="314241"/>
                        <a:pt x="179374" y="430227"/>
                        <a:pt x="203650" y="478779"/>
                      </a:cubicBezTo>
                      <a:cubicBezTo>
                        <a:pt x="227926" y="527331"/>
                        <a:pt x="281873" y="546212"/>
                        <a:pt x="316938" y="567791"/>
                      </a:cubicBezTo>
                      <a:cubicBezTo>
                        <a:pt x="352003" y="589370"/>
                        <a:pt x="374932" y="613646"/>
                        <a:pt x="414043" y="608251"/>
                      </a:cubicBezTo>
                      <a:cubicBezTo>
                        <a:pt x="453154" y="602856"/>
                        <a:pt x="535423" y="578580"/>
                        <a:pt x="551607" y="535423"/>
                      </a:cubicBezTo>
                      <a:cubicBezTo>
                        <a:pt x="567791" y="492266"/>
                        <a:pt x="544864" y="411345"/>
                        <a:pt x="511147" y="349306"/>
                      </a:cubicBezTo>
                      <a:cubicBezTo>
                        <a:pt x="477430" y="287267"/>
                        <a:pt x="384372" y="213090"/>
                        <a:pt x="349306" y="163189"/>
                      </a:cubicBezTo>
                      <a:cubicBezTo>
                        <a:pt x="314241" y="113288"/>
                        <a:pt x="338517" y="76874"/>
                        <a:pt x="300754" y="49901"/>
                      </a:cubicBezTo>
                      <a:cubicBezTo>
                        <a:pt x="262991" y="22928"/>
                        <a:pt x="171281" y="0"/>
                        <a:pt x="122729" y="1349"/>
                      </a:cubicBezTo>
                      <a:cubicBezTo>
                        <a:pt x="74177" y="2698"/>
                        <a:pt x="35066" y="39112"/>
                        <a:pt x="17533" y="6608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731" name="Freeform 342">
                  <a:extLst>
                    <a:ext uri="{FF2B5EF4-FFF2-40B4-BE49-F238E27FC236}">
                      <a16:creationId xmlns:a16="http://schemas.microsoft.com/office/drawing/2014/main" id="{106F9648-3871-42CB-B2C7-157E587F64C3}"/>
                    </a:ext>
                  </a:extLst>
                </p:cNvPr>
                <p:cNvSpPr/>
                <p:nvPr/>
              </p:nvSpPr>
              <p:spPr bwMode="auto">
                <a:xfrm>
                  <a:off x="4863961" y="5624103"/>
                  <a:ext cx="177244" cy="172652"/>
                </a:xfrm>
                <a:custGeom>
                  <a:avLst/>
                  <a:gdLst>
                    <a:gd name="connsiteX0" fmla="*/ 6145 w 337164"/>
                    <a:gd name="connsiteY0" fmla="*/ 175751 h 305210"/>
                    <a:gd name="connsiteX1" fmla="*/ 72513 w 337164"/>
                    <a:gd name="connsiteY1" fmla="*/ 232287 h 305210"/>
                    <a:gd name="connsiteX2" fmla="*/ 168377 w 337164"/>
                    <a:gd name="connsiteY2" fmla="*/ 296197 h 305210"/>
                    <a:gd name="connsiteX3" fmla="*/ 261784 w 337164"/>
                    <a:gd name="connsiteY3" fmla="*/ 286364 h 305210"/>
                    <a:gd name="connsiteX4" fmla="*/ 328151 w 337164"/>
                    <a:gd name="connsiteY4" fmla="*/ 224913 h 305210"/>
                    <a:gd name="connsiteX5" fmla="*/ 315861 w 337164"/>
                    <a:gd name="connsiteY5" fmla="*/ 131506 h 305210"/>
                    <a:gd name="connsiteX6" fmla="*/ 259326 w 337164"/>
                    <a:gd name="connsiteY6" fmla="*/ 20893 h 305210"/>
                    <a:gd name="connsiteX7" fmla="*/ 242119 w 337164"/>
                    <a:gd name="connsiteY7" fmla="*/ 6145 h 305210"/>
                    <a:gd name="connsiteX8" fmla="*/ 249493 w 337164"/>
                    <a:gd name="connsiteY8" fmla="*/ 38100 h 305210"/>
                    <a:gd name="connsiteX9" fmla="*/ 215080 w 337164"/>
                    <a:gd name="connsiteY9" fmla="*/ 111842 h 305210"/>
                    <a:gd name="connsiteX10" fmla="*/ 109384 w 337164"/>
                    <a:gd name="connsiteY10" fmla="*/ 168377 h 305210"/>
                    <a:gd name="connsiteX11" fmla="*/ 6145 w 337164"/>
                    <a:gd name="connsiteY11" fmla="*/ 175751 h 305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7164" h="305210">
                      <a:moveTo>
                        <a:pt x="6145" y="175751"/>
                      </a:moveTo>
                      <a:cubicBezTo>
                        <a:pt x="0" y="186403"/>
                        <a:pt x="45474" y="212213"/>
                        <a:pt x="72513" y="232287"/>
                      </a:cubicBezTo>
                      <a:cubicBezTo>
                        <a:pt x="99552" y="252361"/>
                        <a:pt x="136832" y="287184"/>
                        <a:pt x="168377" y="296197"/>
                      </a:cubicBezTo>
                      <a:cubicBezTo>
                        <a:pt x="199922" y="305210"/>
                        <a:pt x="235155" y="298245"/>
                        <a:pt x="261784" y="286364"/>
                      </a:cubicBezTo>
                      <a:cubicBezTo>
                        <a:pt x="288413" y="274483"/>
                        <a:pt x="319138" y="250723"/>
                        <a:pt x="328151" y="224913"/>
                      </a:cubicBezTo>
                      <a:cubicBezTo>
                        <a:pt x="337164" y="199103"/>
                        <a:pt x="327332" y="165509"/>
                        <a:pt x="315861" y="131506"/>
                      </a:cubicBezTo>
                      <a:cubicBezTo>
                        <a:pt x="304390" y="97503"/>
                        <a:pt x="271616" y="41786"/>
                        <a:pt x="259326" y="20893"/>
                      </a:cubicBezTo>
                      <a:cubicBezTo>
                        <a:pt x="247036" y="0"/>
                        <a:pt x="243758" y="3277"/>
                        <a:pt x="242119" y="6145"/>
                      </a:cubicBezTo>
                      <a:cubicBezTo>
                        <a:pt x="240480" y="9013"/>
                        <a:pt x="253999" y="20484"/>
                        <a:pt x="249493" y="38100"/>
                      </a:cubicBezTo>
                      <a:cubicBezTo>
                        <a:pt x="244987" y="55716"/>
                        <a:pt x="238431" y="90129"/>
                        <a:pt x="215080" y="111842"/>
                      </a:cubicBezTo>
                      <a:cubicBezTo>
                        <a:pt x="191729" y="133555"/>
                        <a:pt x="141748" y="158955"/>
                        <a:pt x="109384" y="168377"/>
                      </a:cubicBezTo>
                      <a:cubicBezTo>
                        <a:pt x="77020" y="177799"/>
                        <a:pt x="12290" y="165099"/>
                        <a:pt x="6145" y="17575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665" name="Group 242">
                <a:extLst>
                  <a:ext uri="{FF2B5EF4-FFF2-40B4-BE49-F238E27FC236}">
                    <a16:creationId xmlns:a16="http://schemas.microsoft.com/office/drawing/2014/main" id="{66AEEE01-3C3E-4885-AEDC-6D38D94DA934}"/>
                  </a:ext>
                </a:extLst>
              </p:cNvPr>
              <p:cNvGrpSpPr/>
              <p:nvPr/>
            </p:nvGrpSpPr>
            <p:grpSpPr>
              <a:xfrm rot="269533">
                <a:off x="6687194" y="5368627"/>
                <a:ext cx="304307" cy="416438"/>
                <a:chOff x="4267200" y="5419952"/>
                <a:chExt cx="286397" cy="391930"/>
              </a:xfrm>
              <a:grpFill/>
            </p:grpSpPr>
            <p:sp>
              <p:nvSpPr>
                <p:cNvPr id="728" name="Freeform 339">
                  <a:extLst>
                    <a:ext uri="{FF2B5EF4-FFF2-40B4-BE49-F238E27FC236}">
                      <a16:creationId xmlns:a16="http://schemas.microsoft.com/office/drawing/2014/main" id="{51026C6E-0995-4C20-9810-5147C6F99A4D}"/>
                    </a:ext>
                  </a:extLst>
                </p:cNvPr>
                <p:cNvSpPr/>
                <p:nvPr/>
              </p:nvSpPr>
              <p:spPr bwMode="auto">
                <a:xfrm>
                  <a:off x="4267200" y="5419952"/>
                  <a:ext cx="286397" cy="391930"/>
                </a:xfrm>
                <a:custGeom>
                  <a:avLst/>
                  <a:gdLst>
                    <a:gd name="connsiteX0" fmla="*/ 447759 w 496311"/>
                    <a:gd name="connsiteY0" fmla="*/ 151051 h 631178"/>
                    <a:gd name="connsiteX1" fmla="*/ 480127 w 496311"/>
                    <a:gd name="connsiteY1" fmla="*/ 248156 h 631178"/>
                    <a:gd name="connsiteX2" fmla="*/ 463943 w 496311"/>
                    <a:gd name="connsiteY2" fmla="*/ 296708 h 631178"/>
                    <a:gd name="connsiteX3" fmla="*/ 366839 w 496311"/>
                    <a:gd name="connsiteY3" fmla="*/ 369536 h 631178"/>
                    <a:gd name="connsiteX4" fmla="*/ 366839 w 496311"/>
                    <a:gd name="connsiteY4" fmla="*/ 515193 h 631178"/>
                    <a:gd name="connsiteX5" fmla="*/ 221182 w 496311"/>
                    <a:gd name="connsiteY5" fmla="*/ 604205 h 631178"/>
                    <a:gd name="connsiteX6" fmla="*/ 91710 w 496311"/>
                    <a:gd name="connsiteY6" fmla="*/ 620389 h 631178"/>
                    <a:gd name="connsiteX7" fmla="*/ 2697 w 496311"/>
                    <a:gd name="connsiteY7" fmla="*/ 539469 h 631178"/>
                    <a:gd name="connsiteX8" fmla="*/ 107894 w 496311"/>
                    <a:gd name="connsiteY8" fmla="*/ 312892 h 631178"/>
                    <a:gd name="connsiteX9" fmla="*/ 188814 w 496311"/>
                    <a:gd name="connsiteY9" fmla="*/ 118683 h 631178"/>
                    <a:gd name="connsiteX10" fmla="*/ 188814 w 496311"/>
                    <a:gd name="connsiteY10" fmla="*/ 5395 h 631178"/>
                    <a:gd name="connsiteX11" fmla="*/ 447759 w 496311"/>
                    <a:gd name="connsiteY11" fmla="*/ 151051 h 631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6311" h="631178">
                      <a:moveTo>
                        <a:pt x="447759" y="151051"/>
                      </a:moveTo>
                      <a:cubicBezTo>
                        <a:pt x="496311" y="191511"/>
                        <a:pt x="477430" y="223880"/>
                        <a:pt x="480127" y="248156"/>
                      </a:cubicBezTo>
                      <a:cubicBezTo>
                        <a:pt x="482824" y="272432"/>
                        <a:pt x="482824" y="276478"/>
                        <a:pt x="463943" y="296708"/>
                      </a:cubicBezTo>
                      <a:cubicBezTo>
                        <a:pt x="445062" y="316938"/>
                        <a:pt x="383023" y="333122"/>
                        <a:pt x="366839" y="369536"/>
                      </a:cubicBezTo>
                      <a:cubicBezTo>
                        <a:pt x="350655" y="405950"/>
                        <a:pt x="391115" y="476082"/>
                        <a:pt x="366839" y="515193"/>
                      </a:cubicBezTo>
                      <a:cubicBezTo>
                        <a:pt x="342563" y="554305"/>
                        <a:pt x="267037" y="586672"/>
                        <a:pt x="221182" y="604205"/>
                      </a:cubicBezTo>
                      <a:cubicBezTo>
                        <a:pt x="175327" y="621738"/>
                        <a:pt x="128124" y="631178"/>
                        <a:pt x="91710" y="620389"/>
                      </a:cubicBezTo>
                      <a:cubicBezTo>
                        <a:pt x="55296" y="609600"/>
                        <a:pt x="0" y="590719"/>
                        <a:pt x="2697" y="539469"/>
                      </a:cubicBezTo>
                      <a:cubicBezTo>
                        <a:pt x="5394" y="488220"/>
                        <a:pt x="76875" y="383023"/>
                        <a:pt x="107894" y="312892"/>
                      </a:cubicBezTo>
                      <a:cubicBezTo>
                        <a:pt x="138913" y="242761"/>
                        <a:pt x="175327" y="169932"/>
                        <a:pt x="188814" y="118683"/>
                      </a:cubicBezTo>
                      <a:cubicBezTo>
                        <a:pt x="202301" y="67434"/>
                        <a:pt x="147005" y="0"/>
                        <a:pt x="188814" y="5395"/>
                      </a:cubicBezTo>
                      <a:cubicBezTo>
                        <a:pt x="230623" y="10790"/>
                        <a:pt x="399207" y="110591"/>
                        <a:pt x="447759" y="15105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729" name="Freeform 340">
                  <a:extLst>
                    <a:ext uri="{FF2B5EF4-FFF2-40B4-BE49-F238E27FC236}">
                      <a16:creationId xmlns:a16="http://schemas.microsoft.com/office/drawing/2014/main" id="{AD426863-926B-46ED-ABD9-AD1B764857A0}"/>
                    </a:ext>
                  </a:extLst>
                </p:cNvPr>
                <p:cNvSpPr/>
                <p:nvPr/>
              </p:nvSpPr>
              <p:spPr bwMode="auto">
                <a:xfrm>
                  <a:off x="4273916" y="5645567"/>
                  <a:ext cx="194233" cy="150617"/>
                </a:xfrm>
                <a:custGeom>
                  <a:avLst/>
                  <a:gdLst>
                    <a:gd name="connsiteX0" fmla="*/ 353533 w 369481"/>
                    <a:gd name="connsiteY0" fmla="*/ 24366 h 266257"/>
                    <a:gd name="connsiteX1" fmla="*/ 361507 w 369481"/>
                    <a:gd name="connsiteY1" fmla="*/ 128033 h 266257"/>
                    <a:gd name="connsiteX2" fmla="*/ 305686 w 369481"/>
                    <a:gd name="connsiteY2" fmla="*/ 191829 h 266257"/>
                    <a:gd name="connsiteX3" fmla="*/ 167463 w 369481"/>
                    <a:gd name="connsiteY3" fmla="*/ 252966 h 266257"/>
                    <a:gd name="connsiteX4" fmla="*/ 85060 w 369481"/>
                    <a:gd name="connsiteY4" fmla="*/ 255624 h 266257"/>
                    <a:gd name="connsiteX5" fmla="*/ 7974 w 369481"/>
                    <a:gd name="connsiteY5" fmla="*/ 189171 h 266257"/>
                    <a:gd name="connsiteX6" fmla="*/ 37214 w 369481"/>
                    <a:gd name="connsiteY6" fmla="*/ 93478 h 266257"/>
                    <a:gd name="connsiteX7" fmla="*/ 85060 w 369481"/>
                    <a:gd name="connsiteY7" fmla="*/ 5759 h 266257"/>
                    <a:gd name="connsiteX8" fmla="*/ 93035 w 369481"/>
                    <a:gd name="connsiteY8" fmla="*/ 58922 h 266257"/>
                    <a:gd name="connsiteX9" fmla="*/ 167463 w 369481"/>
                    <a:gd name="connsiteY9" fmla="*/ 88161 h 266257"/>
                    <a:gd name="connsiteX10" fmla="*/ 255181 w 369481"/>
                    <a:gd name="connsiteY10" fmla="*/ 88161 h 266257"/>
                    <a:gd name="connsiteX11" fmla="*/ 318977 w 369481"/>
                    <a:gd name="connsiteY11" fmla="*/ 74871 h 266257"/>
                    <a:gd name="connsiteX12" fmla="*/ 353533 w 369481"/>
                    <a:gd name="connsiteY12" fmla="*/ 24366 h 266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9481" h="266257">
                      <a:moveTo>
                        <a:pt x="353533" y="24366"/>
                      </a:moveTo>
                      <a:cubicBezTo>
                        <a:pt x="360621" y="33226"/>
                        <a:pt x="369481" y="100123"/>
                        <a:pt x="361507" y="128033"/>
                      </a:cubicBezTo>
                      <a:cubicBezTo>
                        <a:pt x="353533" y="155943"/>
                        <a:pt x="338027" y="171007"/>
                        <a:pt x="305686" y="191829"/>
                      </a:cubicBezTo>
                      <a:cubicBezTo>
                        <a:pt x="273345" y="212651"/>
                        <a:pt x="204234" y="242334"/>
                        <a:pt x="167463" y="252966"/>
                      </a:cubicBezTo>
                      <a:cubicBezTo>
                        <a:pt x="130692" y="263598"/>
                        <a:pt x="111642" y="266257"/>
                        <a:pt x="85060" y="255624"/>
                      </a:cubicBezTo>
                      <a:cubicBezTo>
                        <a:pt x="58479" y="244992"/>
                        <a:pt x="15948" y="216195"/>
                        <a:pt x="7974" y="189171"/>
                      </a:cubicBezTo>
                      <a:cubicBezTo>
                        <a:pt x="0" y="162147"/>
                        <a:pt x="24366" y="124047"/>
                        <a:pt x="37214" y="93478"/>
                      </a:cubicBezTo>
                      <a:cubicBezTo>
                        <a:pt x="50062" y="62909"/>
                        <a:pt x="75757" y="11518"/>
                        <a:pt x="85060" y="5759"/>
                      </a:cubicBezTo>
                      <a:cubicBezTo>
                        <a:pt x="94364" y="0"/>
                        <a:pt x="79301" y="45188"/>
                        <a:pt x="93035" y="58922"/>
                      </a:cubicBezTo>
                      <a:cubicBezTo>
                        <a:pt x="106769" y="72656"/>
                        <a:pt x="140439" y="83288"/>
                        <a:pt x="167463" y="88161"/>
                      </a:cubicBezTo>
                      <a:cubicBezTo>
                        <a:pt x="194487" y="93034"/>
                        <a:pt x="229929" y="90376"/>
                        <a:pt x="255181" y="88161"/>
                      </a:cubicBezTo>
                      <a:cubicBezTo>
                        <a:pt x="280433" y="85946"/>
                        <a:pt x="303471" y="84175"/>
                        <a:pt x="318977" y="74871"/>
                      </a:cubicBezTo>
                      <a:cubicBezTo>
                        <a:pt x="334483" y="65567"/>
                        <a:pt x="346445" y="15506"/>
                        <a:pt x="353533" y="2436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sp>
            <p:nvSpPr>
              <p:cNvPr id="666" name="Freeform 277">
                <a:extLst>
                  <a:ext uri="{FF2B5EF4-FFF2-40B4-BE49-F238E27FC236}">
                    <a16:creationId xmlns:a16="http://schemas.microsoft.com/office/drawing/2014/main" id="{71200931-54A8-4859-9DC8-0919C27E6AF4}"/>
                  </a:ext>
                </a:extLst>
              </p:cNvPr>
              <p:cNvSpPr/>
              <p:nvPr/>
            </p:nvSpPr>
            <p:spPr bwMode="auto">
              <a:xfrm>
                <a:off x="6611343" y="3619880"/>
                <a:ext cx="876104" cy="1959551"/>
              </a:xfrm>
              <a:custGeom>
                <a:avLst/>
                <a:gdLst>
                  <a:gd name="connsiteX0" fmla="*/ 178025 w 1467356"/>
                  <a:gd name="connsiteY0" fmla="*/ 44506 h 2956290"/>
                  <a:gd name="connsiteX1" fmla="*/ 299406 w 1467356"/>
                  <a:gd name="connsiteY1" fmla="*/ 117334 h 2956290"/>
                  <a:gd name="connsiteX2" fmla="*/ 493615 w 1467356"/>
                  <a:gd name="connsiteY2" fmla="*/ 165886 h 2956290"/>
                  <a:gd name="connsiteX3" fmla="*/ 687823 w 1467356"/>
                  <a:gd name="connsiteY3" fmla="*/ 182070 h 2956290"/>
                  <a:gd name="connsiteX4" fmla="*/ 865848 w 1467356"/>
                  <a:gd name="connsiteY4" fmla="*/ 149702 h 2956290"/>
                  <a:gd name="connsiteX5" fmla="*/ 946769 w 1467356"/>
                  <a:gd name="connsiteY5" fmla="*/ 101150 h 2956290"/>
                  <a:gd name="connsiteX6" fmla="*/ 1181438 w 1467356"/>
                  <a:gd name="connsiteY6" fmla="*/ 303451 h 2956290"/>
                  <a:gd name="connsiteX7" fmla="*/ 1351370 w 1467356"/>
                  <a:gd name="connsiteY7" fmla="*/ 424831 h 2956290"/>
                  <a:gd name="connsiteX8" fmla="*/ 1327094 w 1467356"/>
                  <a:gd name="connsiteY8" fmla="*/ 530028 h 2956290"/>
                  <a:gd name="connsiteX9" fmla="*/ 1246174 w 1467356"/>
                  <a:gd name="connsiteY9" fmla="*/ 788973 h 2956290"/>
                  <a:gd name="connsiteX10" fmla="*/ 1221898 w 1467356"/>
                  <a:gd name="connsiteY10" fmla="*/ 1590085 h 2956290"/>
                  <a:gd name="connsiteX11" fmla="*/ 1262358 w 1467356"/>
                  <a:gd name="connsiteY11" fmla="*/ 1727649 h 2956290"/>
                  <a:gd name="connsiteX12" fmla="*/ 1294726 w 1467356"/>
                  <a:gd name="connsiteY12" fmla="*/ 2075607 h 2956290"/>
                  <a:gd name="connsiteX13" fmla="*/ 1335186 w 1467356"/>
                  <a:gd name="connsiteY13" fmla="*/ 2294092 h 2956290"/>
                  <a:gd name="connsiteX14" fmla="*/ 1367554 w 1467356"/>
                  <a:gd name="connsiteY14" fmla="*/ 2593497 h 2956290"/>
                  <a:gd name="connsiteX15" fmla="*/ 1310910 w 1467356"/>
                  <a:gd name="connsiteY15" fmla="*/ 2714877 h 2956290"/>
                  <a:gd name="connsiteX16" fmla="*/ 1391830 w 1467356"/>
                  <a:gd name="connsiteY16" fmla="*/ 2755338 h 2956290"/>
                  <a:gd name="connsiteX17" fmla="*/ 1391830 w 1467356"/>
                  <a:gd name="connsiteY17" fmla="*/ 2949547 h 2956290"/>
                  <a:gd name="connsiteX18" fmla="*/ 938676 w 1467356"/>
                  <a:gd name="connsiteY18" fmla="*/ 2795798 h 2956290"/>
                  <a:gd name="connsiteX19" fmla="*/ 914400 w 1467356"/>
                  <a:gd name="connsiteY19" fmla="*/ 2625865 h 2956290"/>
                  <a:gd name="connsiteX20" fmla="*/ 809204 w 1467356"/>
                  <a:gd name="connsiteY20" fmla="*/ 1986594 h 2956290"/>
                  <a:gd name="connsiteX21" fmla="*/ 801112 w 1467356"/>
                  <a:gd name="connsiteY21" fmla="*/ 1671005 h 2956290"/>
                  <a:gd name="connsiteX22" fmla="*/ 760652 w 1467356"/>
                  <a:gd name="connsiteY22" fmla="*/ 1242127 h 2956290"/>
                  <a:gd name="connsiteX23" fmla="*/ 695915 w 1467356"/>
                  <a:gd name="connsiteY23" fmla="*/ 934630 h 2956290"/>
                  <a:gd name="connsiteX24" fmla="*/ 647363 w 1467356"/>
                  <a:gd name="connsiteY24" fmla="*/ 1120747 h 2956290"/>
                  <a:gd name="connsiteX25" fmla="*/ 614995 w 1467356"/>
                  <a:gd name="connsiteY25" fmla="*/ 1776201 h 2956290"/>
                  <a:gd name="connsiteX26" fmla="*/ 598811 w 1467356"/>
                  <a:gd name="connsiteY26" fmla="*/ 1913766 h 2956290"/>
                  <a:gd name="connsiteX27" fmla="*/ 631179 w 1467356"/>
                  <a:gd name="connsiteY27" fmla="*/ 2051331 h 2956290"/>
                  <a:gd name="connsiteX28" fmla="*/ 639271 w 1467356"/>
                  <a:gd name="connsiteY28" fmla="*/ 2544945 h 2956290"/>
                  <a:gd name="connsiteX29" fmla="*/ 687823 w 1467356"/>
                  <a:gd name="connsiteY29" fmla="*/ 2836258 h 2956290"/>
                  <a:gd name="connsiteX30" fmla="*/ 655455 w 1467356"/>
                  <a:gd name="connsiteY30" fmla="*/ 2892902 h 2956290"/>
                  <a:gd name="connsiteX31" fmla="*/ 380326 w 1467356"/>
                  <a:gd name="connsiteY31" fmla="*/ 2860534 h 2956290"/>
                  <a:gd name="connsiteX32" fmla="*/ 323682 w 1467356"/>
                  <a:gd name="connsiteY32" fmla="*/ 2803890 h 2956290"/>
                  <a:gd name="connsiteX33" fmla="*/ 226577 w 1467356"/>
                  <a:gd name="connsiteY33" fmla="*/ 2116067 h 2956290"/>
                  <a:gd name="connsiteX34" fmla="*/ 161841 w 1467356"/>
                  <a:gd name="connsiteY34" fmla="*/ 1857122 h 2956290"/>
                  <a:gd name="connsiteX35" fmla="*/ 137565 w 1467356"/>
                  <a:gd name="connsiteY35" fmla="*/ 1622453 h 2956290"/>
                  <a:gd name="connsiteX36" fmla="*/ 80921 w 1467356"/>
                  <a:gd name="connsiteY36" fmla="*/ 772789 h 2956290"/>
                  <a:gd name="connsiteX37" fmla="*/ 8092 w 1467356"/>
                  <a:gd name="connsiteY37" fmla="*/ 513844 h 2956290"/>
                  <a:gd name="connsiteX38" fmla="*/ 32369 w 1467356"/>
                  <a:gd name="connsiteY38" fmla="*/ 384371 h 2956290"/>
                  <a:gd name="connsiteX39" fmla="*/ 178025 w 1467356"/>
                  <a:gd name="connsiteY39" fmla="*/ 44506 h 2956290"/>
                  <a:gd name="connsiteX0" fmla="*/ 178025 w 1467356"/>
                  <a:gd name="connsiteY0" fmla="*/ 5610 h 2917394"/>
                  <a:gd name="connsiteX1" fmla="*/ 299406 w 1467356"/>
                  <a:gd name="connsiteY1" fmla="*/ 78438 h 2917394"/>
                  <a:gd name="connsiteX2" fmla="*/ 493615 w 1467356"/>
                  <a:gd name="connsiteY2" fmla="*/ 126990 h 2917394"/>
                  <a:gd name="connsiteX3" fmla="*/ 687823 w 1467356"/>
                  <a:gd name="connsiteY3" fmla="*/ 143174 h 2917394"/>
                  <a:gd name="connsiteX4" fmla="*/ 865848 w 1467356"/>
                  <a:gd name="connsiteY4" fmla="*/ 110806 h 2917394"/>
                  <a:gd name="connsiteX5" fmla="*/ 946769 w 1467356"/>
                  <a:gd name="connsiteY5" fmla="*/ 62254 h 2917394"/>
                  <a:gd name="connsiteX6" fmla="*/ 1181438 w 1467356"/>
                  <a:gd name="connsiteY6" fmla="*/ 264555 h 2917394"/>
                  <a:gd name="connsiteX7" fmla="*/ 1351370 w 1467356"/>
                  <a:gd name="connsiteY7" fmla="*/ 385935 h 2917394"/>
                  <a:gd name="connsiteX8" fmla="*/ 1327094 w 1467356"/>
                  <a:gd name="connsiteY8" fmla="*/ 491132 h 2917394"/>
                  <a:gd name="connsiteX9" fmla="*/ 1246174 w 1467356"/>
                  <a:gd name="connsiteY9" fmla="*/ 750077 h 2917394"/>
                  <a:gd name="connsiteX10" fmla="*/ 1221898 w 1467356"/>
                  <a:gd name="connsiteY10" fmla="*/ 1551189 h 2917394"/>
                  <a:gd name="connsiteX11" fmla="*/ 1262358 w 1467356"/>
                  <a:gd name="connsiteY11" fmla="*/ 1688753 h 2917394"/>
                  <a:gd name="connsiteX12" fmla="*/ 1294726 w 1467356"/>
                  <a:gd name="connsiteY12" fmla="*/ 2036711 h 2917394"/>
                  <a:gd name="connsiteX13" fmla="*/ 1335186 w 1467356"/>
                  <a:gd name="connsiteY13" fmla="*/ 2255196 h 2917394"/>
                  <a:gd name="connsiteX14" fmla="*/ 1367554 w 1467356"/>
                  <a:gd name="connsiteY14" fmla="*/ 2554601 h 2917394"/>
                  <a:gd name="connsiteX15" fmla="*/ 1310910 w 1467356"/>
                  <a:gd name="connsiteY15" fmla="*/ 2675981 h 2917394"/>
                  <a:gd name="connsiteX16" fmla="*/ 1391830 w 1467356"/>
                  <a:gd name="connsiteY16" fmla="*/ 2716442 h 2917394"/>
                  <a:gd name="connsiteX17" fmla="*/ 1391830 w 1467356"/>
                  <a:gd name="connsiteY17" fmla="*/ 2910651 h 2917394"/>
                  <a:gd name="connsiteX18" fmla="*/ 938676 w 1467356"/>
                  <a:gd name="connsiteY18" fmla="*/ 2756902 h 2917394"/>
                  <a:gd name="connsiteX19" fmla="*/ 914400 w 1467356"/>
                  <a:gd name="connsiteY19" fmla="*/ 2586969 h 2917394"/>
                  <a:gd name="connsiteX20" fmla="*/ 809204 w 1467356"/>
                  <a:gd name="connsiteY20" fmla="*/ 1947698 h 2917394"/>
                  <a:gd name="connsiteX21" fmla="*/ 801112 w 1467356"/>
                  <a:gd name="connsiteY21" fmla="*/ 1632109 h 2917394"/>
                  <a:gd name="connsiteX22" fmla="*/ 760652 w 1467356"/>
                  <a:gd name="connsiteY22" fmla="*/ 1203231 h 2917394"/>
                  <a:gd name="connsiteX23" fmla="*/ 695915 w 1467356"/>
                  <a:gd name="connsiteY23" fmla="*/ 895734 h 2917394"/>
                  <a:gd name="connsiteX24" fmla="*/ 647363 w 1467356"/>
                  <a:gd name="connsiteY24" fmla="*/ 1081851 h 2917394"/>
                  <a:gd name="connsiteX25" fmla="*/ 614995 w 1467356"/>
                  <a:gd name="connsiteY25" fmla="*/ 1737305 h 2917394"/>
                  <a:gd name="connsiteX26" fmla="*/ 598811 w 1467356"/>
                  <a:gd name="connsiteY26" fmla="*/ 1874870 h 2917394"/>
                  <a:gd name="connsiteX27" fmla="*/ 631179 w 1467356"/>
                  <a:gd name="connsiteY27" fmla="*/ 2012435 h 2917394"/>
                  <a:gd name="connsiteX28" fmla="*/ 639271 w 1467356"/>
                  <a:gd name="connsiteY28" fmla="*/ 2506049 h 2917394"/>
                  <a:gd name="connsiteX29" fmla="*/ 687823 w 1467356"/>
                  <a:gd name="connsiteY29" fmla="*/ 2797362 h 2917394"/>
                  <a:gd name="connsiteX30" fmla="*/ 655455 w 1467356"/>
                  <a:gd name="connsiteY30" fmla="*/ 2854006 h 2917394"/>
                  <a:gd name="connsiteX31" fmla="*/ 380326 w 1467356"/>
                  <a:gd name="connsiteY31" fmla="*/ 2821638 h 2917394"/>
                  <a:gd name="connsiteX32" fmla="*/ 323682 w 1467356"/>
                  <a:gd name="connsiteY32" fmla="*/ 2764994 h 2917394"/>
                  <a:gd name="connsiteX33" fmla="*/ 226577 w 1467356"/>
                  <a:gd name="connsiteY33" fmla="*/ 2077171 h 2917394"/>
                  <a:gd name="connsiteX34" fmla="*/ 161841 w 1467356"/>
                  <a:gd name="connsiteY34" fmla="*/ 1818226 h 2917394"/>
                  <a:gd name="connsiteX35" fmla="*/ 137565 w 1467356"/>
                  <a:gd name="connsiteY35" fmla="*/ 1583557 h 2917394"/>
                  <a:gd name="connsiteX36" fmla="*/ 80921 w 1467356"/>
                  <a:gd name="connsiteY36" fmla="*/ 733893 h 2917394"/>
                  <a:gd name="connsiteX37" fmla="*/ 8092 w 1467356"/>
                  <a:gd name="connsiteY37" fmla="*/ 474948 h 2917394"/>
                  <a:gd name="connsiteX38" fmla="*/ 32369 w 1467356"/>
                  <a:gd name="connsiteY38" fmla="*/ 345475 h 2917394"/>
                  <a:gd name="connsiteX39" fmla="*/ 178025 w 1467356"/>
                  <a:gd name="connsiteY39" fmla="*/ 5610 h 2917394"/>
                  <a:gd name="connsiteX0" fmla="*/ 178025 w 1467356"/>
                  <a:gd name="connsiteY0" fmla="*/ 5610 h 2917394"/>
                  <a:gd name="connsiteX1" fmla="*/ 299406 w 1467356"/>
                  <a:gd name="connsiteY1" fmla="*/ 78438 h 2917394"/>
                  <a:gd name="connsiteX2" fmla="*/ 493615 w 1467356"/>
                  <a:gd name="connsiteY2" fmla="*/ 126990 h 2917394"/>
                  <a:gd name="connsiteX3" fmla="*/ 687823 w 1467356"/>
                  <a:gd name="connsiteY3" fmla="*/ 143174 h 2917394"/>
                  <a:gd name="connsiteX4" fmla="*/ 865848 w 1467356"/>
                  <a:gd name="connsiteY4" fmla="*/ 110806 h 2917394"/>
                  <a:gd name="connsiteX5" fmla="*/ 946769 w 1467356"/>
                  <a:gd name="connsiteY5" fmla="*/ 62254 h 2917394"/>
                  <a:gd name="connsiteX6" fmla="*/ 1181438 w 1467356"/>
                  <a:gd name="connsiteY6" fmla="*/ 264555 h 2917394"/>
                  <a:gd name="connsiteX7" fmla="*/ 1351370 w 1467356"/>
                  <a:gd name="connsiteY7" fmla="*/ 385935 h 2917394"/>
                  <a:gd name="connsiteX8" fmla="*/ 1327094 w 1467356"/>
                  <a:gd name="connsiteY8" fmla="*/ 491132 h 2917394"/>
                  <a:gd name="connsiteX9" fmla="*/ 1246174 w 1467356"/>
                  <a:gd name="connsiteY9" fmla="*/ 750077 h 2917394"/>
                  <a:gd name="connsiteX10" fmla="*/ 1221898 w 1467356"/>
                  <a:gd name="connsiteY10" fmla="*/ 1551189 h 2917394"/>
                  <a:gd name="connsiteX11" fmla="*/ 1262358 w 1467356"/>
                  <a:gd name="connsiteY11" fmla="*/ 1688753 h 2917394"/>
                  <a:gd name="connsiteX12" fmla="*/ 1294726 w 1467356"/>
                  <a:gd name="connsiteY12" fmla="*/ 2036711 h 2917394"/>
                  <a:gd name="connsiteX13" fmla="*/ 1335186 w 1467356"/>
                  <a:gd name="connsiteY13" fmla="*/ 2255196 h 2917394"/>
                  <a:gd name="connsiteX14" fmla="*/ 1367554 w 1467356"/>
                  <a:gd name="connsiteY14" fmla="*/ 2554601 h 2917394"/>
                  <a:gd name="connsiteX15" fmla="*/ 1310910 w 1467356"/>
                  <a:gd name="connsiteY15" fmla="*/ 2675981 h 2917394"/>
                  <a:gd name="connsiteX16" fmla="*/ 1391830 w 1467356"/>
                  <a:gd name="connsiteY16" fmla="*/ 2716442 h 2917394"/>
                  <a:gd name="connsiteX17" fmla="*/ 1391830 w 1467356"/>
                  <a:gd name="connsiteY17" fmla="*/ 2910651 h 2917394"/>
                  <a:gd name="connsiteX18" fmla="*/ 938676 w 1467356"/>
                  <a:gd name="connsiteY18" fmla="*/ 2756902 h 2917394"/>
                  <a:gd name="connsiteX19" fmla="*/ 914400 w 1467356"/>
                  <a:gd name="connsiteY19" fmla="*/ 2586969 h 2917394"/>
                  <a:gd name="connsiteX20" fmla="*/ 809204 w 1467356"/>
                  <a:gd name="connsiteY20" fmla="*/ 1947698 h 2917394"/>
                  <a:gd name="connsiteX21" fmla="*/ 801112 w 1467356"/>
                  <a:gd name="connsiteY21" fmla="*/ 1632109 h 2917394"/>
                  <a:gd name="connsiteX22" fmla="*/ 760652 w 1467356"/>
                  <a:gd name="connsiteY22" fmla="*/ 1203231 h 2917394"/>
                  <a:gd name="connsiteX23" fmla="*/ 695915 w 1467356"/>
                  <a:gd name="connsiteY23" fmla="*/ 895734 h 2917394"/>
                  <a:gd name="connsiteX24" fmla="*/ 647363 w 1467356"/>
                  <a:gd name="connsiteY24" fmla="*/ 1081851 h 2917394"/>
                  <a:gd name="connsiteX25" fmla="*/ 614995 w 1467356"/>
                  <a:gd name="connsiteY25" fmla="*/ 1737305 h 2917394"/>
                  <a:gd name="connsiteX26" fmla="*/ 598811 w 1467356"/>
                  <a:gd name="connsiteY26" fmla="*/ 1874870 h 2917394"/>
                  <a:gd name="connsiteX27" fmla="*/ 631179 w 1467356"/>
                  <a:gd name="connsiteY27" fmla="*/ 2012435 h 2917394"/>
                  <a:gd name="connsiteX28" fmla="*/ 639271 w 1467356"/>
                  <a:gd name="connsiteY28" fmla="*/ 2506049 h 2917394"/>
                  <a:gd name="connsiteX29" fmla="*/ 687823 w 1467356"/>
                  <a:gd name="connsiteY29" fmla="*/ 2797362 h 2917394"/>
                  <a:gd name="connsiteX30" fmla="*/ 655455 w 1467356"/>
                  <a:gd name="connsiteY30" fmla="*/ 2854006 h 2917394"/>
                  <a:gd name="connsiteX31" fmla="*/ 380326 w 1467356"/>
                  <a:gd name="connsiteY31" fmla="*/ 2821638 h 2917394"/>
                  <a:gd name="connsiteX32" fmla="*/ 323682 w 1467356"/>
                  <a:gd name="connsiteY32" fmla="*/ 2764994 h 2917394"/>
                  <a:gd name="connsiteX33" fmla="*/ 226577 w 1467356"/>
                  <a:gd name="connsiteY33" fmla="*/ 2077171 h 2917394"/>
                  <a:gd name="connsiteX34" fmla="*/ 161841 w 1467356"/>
                  <a:gd name="connsiteY34" fmla="*/ 1818226 h 2917394"/>
                  <a:gd name="connsiteX35" fmla="*/ 137565 w 1467356"/>
                  <a:gd name="connsiteY35" fmla="*/ 1583557 h 2917394"/>
                  <a:gd name="connsiteX36" fmla="*/ 80921 w 1467356"/>
                  <a:gd name="connsiteY36" fmla="*/ 733893 h 2917394"/>
                  <a:gd name="connsiteX37" fmla="*/ 8092 w 1467356"/>
                  <a:gd name="connsiteY37" fmla="*/ 474948 h 2917394"/>
                  <a:gd name="connsiteX38" fmla="*/ 32369 w 1467356"/>
                  <a:gd name="connsiteY38" fmla="*/ 345475 h 2917394"/>
                  <a:gd name="connsiteX39" fmla="*/ 178025 w 1467356"/>
                  <a:gd name="connsiteY39" fmla="*/ 5610 h 2917394"/>
                  <a:gd name="connsiteX0" fmla="*/ 178025 w 1455471"/>
                  <a:gd name="connsiteY0" fmla="*/ 5610 h 2929279"/>
                  <a:gd name="connsiteX1" fmla="*/ 299406 w 1455471"/>
                  <a:gd name="connsiteY1" fmla="*/ 78438 h 2929279"/>
                  <a:gd name="connsiteX2" fmla="*/ 493615 w 1455471"/>
                  <a:gd name="connsiteY2" fmla="*/ 126990 h 2929279"/>
                  <a:gd name="connsiteX3" fmla="*/ 687823 w 1455471"/>
                  <a:gd name="connsiteY3" fmla="*/ 143174 h 2929279"/>
                  <a:gd name="connsiteX4" fmla="*/ 865848 w 1455471"/>
                  <a:gd name="connsiteY4" fmla="*/ 110806 h 2929279"/>
                  <a:gd name="connsiteX5" fmla="*/ 946769 w 1455471"/>
                  <a:gd name="connsiteY5" fmla="*/ 62254 h 2929279"/>
                  <a:gd name="connsiteX6" fmla="*/ 1181438 w 1455471"/>
                  <a:gd name="connsiteY6" fmla="*/ 264555 h 2929279"/>
                  <a:gd name="connsiteX7" fmla="*/ 1351370 w 1455471"/>
                  <a:gd name="connsiteY7" fmla="*/ 385935 h 2929279"/>
                  <a:gd name="connsiteX8" fmla="*/ 1327094 w 1455471"/>
                  <a:gd name="connsiteY8" fmla="*/ 491132 h 2929279"/>
                  <a:gd name="connsiteX9" fmla="*/ 1246174 w 1455471"/>
                  <a:gd name="connsiteY9" fmla="*/ 750077 h 2929279"/>
                  <a:gd name="connsiteX10" fmla="*/ 1221898 w 1455471"/>
                  <a:gd name="connsiteY10" fmla="*/ 1551189 h 2929279"/>
                  <a:gd name="connsiteX11" fmla="*/ 1262358 w 1455471"/>
                  <a:gd name="connsiteY11" fmla="*/ 1688753 h 2929279"/>
                  <a:gd name="connsiteX12" fmla="*/ 1294726 w 1455471"/>
                  <a:gd name="connsiteY12" fmla="*/ 2036711 h 2929279"/>
                  <a:gd name="connsiteX13" fmla="*/ 1335186 w 1455471"/>
                  <a:gd name="connsiteY13" fmla="*/ 2255196 h 2929279"/>
                  <a:gd name="connsiteX14" fmla="*/ 1367554 w 1455471"/>
                  <a:gd name="connsiteY14" fmla="*/ 2554601 h 2929279"/>
                  <a:gd name="connsiteX15" fmla="*/ 1310910 w 1455471"/>
                  <a:gd name="connsiteY15" fmla="*/ 2675981 h 2929279"/>
                  <a:gd name="connsiteX16" fmla="*/ 1391830 w 1455471"/>
                  <a:gd name="connsiteY16" fmla="*/ 2716442 h 2929279"/>
                  <a:gd name="connsiteX17" fmla="*/ 1391830 w 1455471"/>
                  <a:gd name="connsiteY17" fmla="*/ 2910651 h 2929279"/>
                  <a:gd name="connsiteX18" fmla="*/ 1009986 w 1455471"/>
                  <a:gd name="connsiteY18" fmla="*/ 2828211 h 2929279"/>
                  <a:gd name="connsiteX19" fmla="*/ 914400 w 1455471"/>
                  <a:gd name="connsiteY19" fmla="*/ 2586969 h 2929279"/>
                  <a:gd name="connsiteX20" fmla="*/ 809204 w 1455471"/>
                  <a:gd name="connsiteY20" fmla="*/ 1947698 h 2929279"/>
                  <a:gd name="connsiteX21" fmla="*/ 801112 w 1455471"/>
                  <a:gd name="connsiteY21" fmla="*/ 1632109 h 2929279"/>
                  <a:gd name="connsiteX22" fmla="*/ 760652 w 1455471"/>
                  <a:gd name="connsiteY22" fmla="*/ 1203231 h 2929279"/>
                  <a:gd name="connsiteX23" fmla="*/ 695915 w 1455471"/>
                  <a:gd name="connsiteY23" fmla="*/ 895734 h 2929279"/>
                  <a:gd name="connsiteX24" fmla="*/ 647363 w 1455471"/>
                  <a:gd name="connsiteY24" fmla="*/ 1081851 h 2929279"/>
                  <a:gd name="connsiteX25" fmla="*/ 614995 w 1455471"/>
                  <a:gd name="connsiteY25" fmla="*/ 1737305 h 2929279"/>
                  <a:gd name="connsiteX26" fmla="*/ 598811 w 1455471"/>
                  <a:gd name="connsiteY26" fmla="*/ 1874870 h 2929279"/>
                  <a:gd name="connsiteX27" fmla="*/ 631179 w 1455471"/>
                  <a:gd name="connsiteY27" fmla="*/ 2012435 h 2929279"/>
                  <a:gd name="connsiteX28" fmla="*/ 639271 w 1455471"/>
                  <a:gd name="connsiteY28" fmla="*/ 2506049 h 2929279"/>
                  <a:gd name="connsiteX29" fmla="*/ 687823 w 1455471"/>
                  <a:gd name="connsiteY29" fmla="*/ 2797362 h 2929279"/>
                  <a:gd name="connsiteX30" fmla="*/ 655455 w 1455471"/>
                  <a:gd name="connsiteY30" fmla="*/ 2854006 h 2929279"/>
                  <a:gd name="connsiteX31" fmla="*/ 380326 w 1455471"/>
                  <a:gd name="connsiteY31" fmla="*/ 2821638 h 2929279"/>
                  <a:gd name="connsiteX32" fmla="*/ 323682 w 1455471"/>
                  <a:gd name="connsiteY32" fmla="*/ 2764994 h 2929279"/>
                  <a:gd name="connsiteX33" fmla="*/ 226577 w 1455471"/>
                  <a:gd name="connsiteY33" fmla="*/ 2077171 h 2929279"/>
                  <a:gd name="connsiteX34" fmla="*/ 161841 w 1455471"/>
                  <a:gd name="connsiteY34" fmla="*/ 1818226 h 2929279"/>
                  <a:gd name="connsiteX35" fmla="*/ 137565 w 1455471"/>
                  <a:gd name="connsiteY35" fmla="*/ 1583557 h 2929279"/>
                  <a:gd name="connsiteX36" fmla="*/ 80921 w 1455471"/>
                  <a:gd name="connsiteY36" fmla="*/ 733893 h 2929279"/>
                  <a:gd name="connsiteX37" fmla="*/ 8092 w 1455471"/>
                  <a:gd name="connsiteY37" fmla="*/ 474948 h 2929279"/>
                  <a:gd name="connsiteX38" fmla="*/ 32369 w 1455471"/>
                  <a:gd name="connsiteY38" fmla="*/ 345475 h 2929279"/>
                  <a:gd name="connsiteX39" fmla="*/ 178025 w 1455471"/>
                  <a:gd name="connsiteY39" fmla="*/ 5610 h 2929279"/>
                  <a:gd name="connsiteX0" fmla="*/ 178025 w 1455471"/>
                  <a:gd name="connsiteY0" fmla="*/ 5610 h 2929279"/>
                  <a:gd name="connsiteX1" fmla="*/ 299406 w 1455471"/>
                  <a:gd name="connsiteY1" fmla="*/ 78438 h 2929279"/>
                  <a:gd name="connsiteX2" fmla="*/ 493615 w 1455471"/>
                  <a:gd name="connsiteY2" fmla="*/ 126990 h 2929279"/>
                  <a:gd name="connsiteX3" fmla="*/ 687823 w 1455471"/>
                  <a:gd name="connsiteY3" fmla="*/ 143174 h 2929279"/>
                  <a:gd name="connsiteX4" fmla="*/ 865848 w 1455471"/>
                  <a:gd name="connsiteY4" fmla="*/ 110806 h 2929279"/>
                  <a:gd name="connsiteX5" fmla="*/ 946769 w 1455471"/>
                  <a:gd name="connsiteY5" fmla="*/ 62254 h 2929279"/>
                  <a:gd name="connsiteX6" fmla="*/ 1181438 w 1455471"/>
                  <a:gd name="connsiteY6" fmla="*/ 264555 h 2929279"/>
                  <a:gd name="connsiteX7" fmla="*/ 1351370 w 1455471"/>
                  <a:gd name="connsiteY7" fmla="*/ 385935 h 2929279"/>
                  <a:gd name="connsiteX8" fmla="*/ 1327094 w 1455471"/>
                  <a:gd name="connsiteY8" fmla="*/ 491132 h 2929279"/>
                  <a:gd name="connsiteX9" fmla="*/ 1246174 w 1455471"/>
                  <a:gd name="connsiteY9" fmla="*/ 750077 h 2929279"/>
                  <a:gd name="connsiteX10" fmla="*/ 1221898 w 1455471"/>
                  <a:gd name="connsiteY10" fmla="*/ 1551189 h 2929279"/>
                  <a:gd name="connsiteX11" fmla="*/ 1262358 w 1455471"/>
                  <a:gd name="connsiteY11" fmla="*/ 1688753 h 2929279"/>
                  <a:gd name="connsiteX12" fmla="*/ 1294726 w 1455471"/>
                  <a:gd name="connsiteY12" fmla="*/ 2036711 h 2929279"/>
                  <a:gd name="connsiteX13" fmla="*/ 1335186 w 1455471"/>
                  <a:gd name="connsiteY13" fmla="*/ 2255196 h 2929279"/>
                  <a:gd name="connsiteX14" fmla="*/ 1367554 w 1455471"/>
                  <a:gd name="connsiteY14" fmla="*/ 2554601 h 2929279"/>
                  <a:gd name="connsiteX15" fmla="*/ 1310910 w 1455471"/>
                  <a:gd name="connsiteY15" fmla="*/ 2675981 h 2929279"/>
                  <a:gd name="connsiteX16" fmla="*/ 1391830 w 1455471"/>
                  <a:gd name="connsiteY16" fmla="*/ 2716442 h 2929279"/>
                  <a:gd name="connsiteX17" fmla="*/ 1391830 w 1455471"/>
                  <a:gd name="connsiteY17" fmla="*/ 2910651 h 2929279"/>
                  <a:gd name="connsiteX18" fmla="*/ 1009986 w 1455471"/>
                  <a:gd name="connsiteY18" fmla="*/ 2828211 h 2929279"/>
                  <a:gd name="connsiteX19" fmla="*/ 914400 w 1455471"/>
                  <a:gd name="connsiteY19" fmla="*/ 2586969 h 2929279"/>
                  <a:gd name="connsiteX20" fmla="*/ 809204 w 1455471"/>
                  <a:gd name="connsiteY20" fmla="*/ 1947698 h 2929279"/>
                  <a:gd name="connsiteX21" fmla="*/ 801112 w 1455471"/>
                  <a:gd name="connsiteY21" fmla="*/ 1632109 h 2929279"/>
                  <a:gd name="connsiteX22" fmla="*/ 760652 w 1455471"/>
                  <a:gd name="connsiteY22" fmla="*/ 1203231 h 2929279"/>
                  <a:gd name="connsiteX23" fmla="*/ 695915 w 1455471"/>
                  <a:gd name="connsiteY23" fmla="*/ 895734 h 2929279"/>
                  <a:gd name="connsiteX24" fmla="*/ 647363 w 1455471"/>
                  <a:gd name="connsiteY24" fmla="*/ 1081851 h 2929279"/>
                  <a:gd name="connsiteX25" fmla="*/ 614995 w 1455471"/>
                  <a:gd name="connsiteY25" fmla="*/ 1737305 h 2929279"/>
                  <a:gd name="connsiteX26" fmla="*/ 598811 w 1455471"/>
                  <a:gd name="connsiteY26" fmla="*/ 1874870 h 2929279"/>
                  <a:gd name="connsiteX27" fmla="*/ 631179 w 1455471"/>
                  <a:gd name="connsiteY27" fmla="*/ 2012435 h 2929279"/>
                  <a:gd name="connsiteX28" fmla="*/ 639271 w 1455471"/>
                  <a:gd name="connsiteY28" fmla="*/ 2506049 h 2929279"/>
                  <a:gd name="connsiteX29" fmla="*/ 687823 w 1455471"/>
                  <a:gd name="connsiteY29" fmla="*/ 2797362 h 2929279"/>
                  <a:gd name="connsiteX30" fmla="*/ 655455 w 1455471"/>
                  <a:gd name="connsiteY30" fmla="*/ 2854006 h 2929279"/>
                  <a:gd name="connsiteX31" fmla="*/ 380326 w 1455471"/>
                  <a:gd name="connsiteY31" fmla="*/ 2821638 h 2929279"/>
                  <a:gd name="connsiteX32" fmla="*/ 323682 w 1455471"/>
                  <a:gd name="connsiteY32" fmla="*/ 2764994 h 2929279"/>
                  <a:gd name="connsiteX33" fmla="*/ 226577 w 1455471"/>
                  <a:gd name="connsiteY33" fmla="*/ 2077171 h 2929279"/>
                  <a:gd name="connsiteX34" fmla="*/ 161841 w 1455471"/>
                  <a:gd name="connsiteY34" fmla="*/ 1818226 h 2929279"/>
                  <a:gd name="connsiteX35" fmla="*/ 137565 w 1455471"/>
                  <a:gd name="connsiteY35" fmla="*/ 1583557 h 2929279"/>
                  <a:gd name="connsiteX36" fmla="*/ 80921 w 1455471"/>
                  <a:gd name="connsiteY36" fmla="*/ 733893 h 2929279"/>
                  <a:gd name="connsiteX37" fmla="*/ 8092 w 1455471"/>
                  <a:gd name="connsiteY37" fmla="*/ 474948 h 2929279"/>
                  <a:gd name="connsiteX38" fmla="*/ 32369 w 1455471"/>
                  <a:gd name="connsiteY38" fmla="*/ 345475 h 2929279"/>
                  <a:gd name="connsiteX39" fmla="*/ 178025 w 1455471"/>
                  <a:gd name="connsiteY39" fmla="*/ 5610 h 2929279"/>
                  <a:gd name="connsiteX0" fmla="*/ 178025 w 1455471"/>
                  <a:gd name="connsiteY0" fmla="*/ 5610 h 2929279"/>
                  <a:gd name="connsiteX1" fmla="*/ 299406 w 1455471"/>
                  <a:gd name="connsiteY1" fmla="*/ 78438 h 2929279"/>
                  <a:gd name="connsiteX2" fmla="*/ 493615 w 1455471"/>
                  <a:gd name="connsiteY2" fmla="*/ 126990 h 2929279"/>
                  <a:gd name="connsiteX3" fmla="*/ 687823 w 1455471"/>
                  <a:gd name="connsiteY3" fmla="*/ 143174 h 2929279"/>
                  <a:gd name="connsiteX4" fmla="*/ 865848 w 1455471"/>
                  <a:gd name="connsiteY4" fmla="*/ 110806 h 2929279"/>
                  <a:gd name="connsiteX5" fmla="*/ 946769 w 1455471"/>
                  <a:gd name="connsiteY5" fmla="*/ 62254 h 2929279"/>
                  <a:gd name="connsiteX6" fmla="*/ 1181438 w 1455471"/>
                  <a:gd name="connsiteY6" fmla="*/ 264555 h 2929279"/>
                  <a:gd name="connsiteX7" fmla="*/ 1351370 w 1455471"/>
                  <a:gd name="connsiteY7" fmla="*/ 385935 h 2929279"/>
                  <a:gd name="connsiteX8" fmla="*/ 1327094 w 1455471"/>
                  <a:gd name="connsiteY8" fmla="*/ 491132 h 2929279"/>
                  <a:gd name="connsiteX9" fmla="*/ 1246174 w 1455471"/>
                  <a:gd name="connsiteY9" fmla="*/ 750077 h 2929279"/>
                  <a:gd name="connsiteX10" fmla="*/ 1221898 w 1455471"/>
                  <a:gd name="connsiteY10" fmla="*/ 1551189 h 2929279"/>
                  <a:gd name="connsiteX11" fmla="*/ 1262358 w 1455471"/>
                  <a:gd name="connsiteY11" fmla="*/ 1688753 h 2929279"/>
                  <a:gd name="connsiteX12" fmla="*/ 1294726 w 1455471"/>
                  <a:gd name="connsiteY12" fmla="*/ 2036711 h 2929279"/>
                  <a:gd name="connsiteX13" fmla="*/ 1335186 w 1455471"/>
                  <a:gd name="connsiteY13" fmla="*/ 2255196 h 2929279"/>
                  <a:gd name="connsiteX14" fmla="*/ 1367554 w 1455471"/>
                  <a:gd name="connsiteY14" fmla="*/ 2554601 h 2929279"/>
                  <a:gd name="connsiteX15" fmla="*/ 1310910 w 1455471"/>
                  <a:gd name="connsiteY15" fmla="*/ 2675981 h 2929279"/>
                  <a:gd name="connsiteX16" fmla="*/ 1391830 w 1455471"/>
                  <a:gd name="connsiteY16" fmla="*/ 2716442 h 2929279"/>
                  <a:gd name="connsiteX17" fmla="*/ 1391830 w 1455471"/>
                  <a:gd name="connsiteY17" fmla="*/ 2910651 h 2929279"/>
                  <a:gd name="connsiteX18" fmla="*/ 1009986 w 1455471"/>
                  <a:gd name="connsiteY18" fmla="*/ 2828211 h 2929279"/>
                  <a:gd name="connsiteX19" fmla="*/ 914400 w 1455471"/>
                  <a:gd name="connsiteY19" fmla="*/ 2586969 h 2929279"/>
                  <a:gd name="connsiteX20" fmla="*/ 809204 w 1455471"/>
                  <a:gd name="connsiteY20" fmla="*/ 1947698 h 2929279"/>
                  <a:gd name="connsiteX21" fmla="*/ 801112 w 1455471"/>
                  <a:gd name="connsiteY21" fmla="*/ 1632109 h 2929279"/>
                  <a:gd name="connsiteX22" fmla="*/ 760652 w 1455471"/>
                  <a:gd name="connsiteY22" fmla="*/ 1203231 h 2929279"/>
                  <a:gd name="connsiteX23" fmla="*/ 695915 w 1455471"/>
                  <a:gd name="connsiteY23" fmla="*/ 895734 h 2929279"/>
                  <a:gd name="connsiteX24" fmla="*/ 647363 w 1455471"/>
                  <a:gd name="connsiteY24" fmla="*/ 1081851 h 2929279"/>
                  <a:gd name="connsiteX25" fmla="*/ 614995 w 1455471"/>
                  <a:gd name="connsiteY25" fmla="*/ 1737305 h 2929279"/>
                  <a:gd name="connsiteX26" fmla="*/ 598811 w 1455471"/>
                  <a:gd name="connsiteY26" fmla="*/ 1874870 h 2929279"/>
                  <a:gd name="connsiteX27" fmla="*/ 631179 w 1455471"/>
                  <a:gd name="connsiteY27" fmla="*/ 2012435 h 2929279"/>
                  <a:gd name="connsiteX28" fmla="*/ 639271 w 1455471"/>
                  <a:gd name="connsiteY28" fmla="*/ 2506049 h 2929279"/>
                  <a:gd name="connsiteX29" fmla="*/ 687823 w 1455471"/>
                  <a:gd name="connsiteY29" fmla="*/ 2797362 h 2929279"/>
                  <a:gd name="connsiteX30" fmla="*/ 655455 w 1455471"/>
                  <a:gd name="connsiteY30" fmla="*/ 2854006 h 2929279"/>
                  <a:gd name="connsiteX31" fmla="*/ 380326 w 1455471"/>
                  <a:gd name="connsiteY31" fmla="*/ 2821638 h 2929279"/>
                  <a:gd name="connsiteX32" fmla="*/ 323682 w 1455471"/>
                  <a:gd name="connsiteY32" fmla="*/ 2764994 h 2929279"/>
                  <a:gd name="connsiteX33" fmla="*/ 226577 w 1455471"/>
                  <a:gd name="connsiteY33" fmla="*/ 2077171 h 2929279"/>
                  <a:gd name="connsiteX34" fmla="*/ 161841 w 1455471"/>
                  <a:gd name="connsiteY34" fmla="*/ 1818226 h 2929279"/>
                  <a:gd name="connsiteX35" fmla="*/ 137565 w 1455471"/>
                  <a:gd name="connsiteY35" fmla="*/ 1583557 h 2929279"/>
                  <a:gd name="connsiteX36" fmla="*/ 80921 w 1455471"/>
                  <a:gd name="connsiteY36" fmla="*/ 733893 h 2929279"/>
                  <a:gd name="connsiteX37" fmla="*/ 8092 w 1455471"/>
                  <a:gd name="connsiteY37" fmla="*/ 474948 h 2929279"/>
                  <a:gd name="connsiteX38" fmla="*/ 32369 w 1455471"/>
                  <a:gd name="connsiteY38" fmla="*/ 345475 h 2929279"/>
                  <a:gd name="connsiteX39" fmla="*/ 178025 w 1455471"/>
                  <a:gd name="connsiteY39" fmla="*/ 5610 h 2929279"/>
                  <a:gd name="connsiteX0" fmla="*/ 178025 w 1455471"/>
                  <a:gd name="connsiteY0" fmla="*/ 5610 h 2929279"/>
                  <a:gd name="connsiteX1" fmla="*/ 299406 w 1455471"/>
                  <a:gd name="connsiteY1" fmla="*/ 78438 h 2929279"/>
                  <a:gd name="connsiteX2" fmla="*/ 493615 w 1455471"/>
                  <a:gd name="connsiteY2" fmla="*/ 126990 h 2929279"/>
                  <a:gd name="connsiteX3" fmla="*/ 687823 w 1455471"/>
                  <a:gd name="connsiteY3" fmla="*/ 143174 h 2929279"/>
                  <a:gd name="connsiteX4" fmla="*/ 865848 w 1455471"/>
                  <a:gd name="connsiteY4" fmla="*/ 110806 h 2929279"/>
                  <a:gd name="connsiteX5" fmla="*/ 946769 w 1455471"/>
                  <a:gd name="connsiteY5" fmla="*/ 62254 h 2929279"/>
                  <a:gd name="connsiteX6" fmla="*/ 1181438 w 1455471"/>
                  <a:gd name="connsiteY6" fmla="*/ 264555 h 2929279"/>
                  <a:gd name="connsiteX7" fmla="*/ 1351370 w 1455471"/>
                  <a:gd name="connsiteY7" fmla="*/ 385935 h 2929279"/>
                  <a:gd name="connsiteX8" fmla="*/ 1327094 w 1455471"/>
                  <a:gd name="connsiteY8" fmla="*/ 491132 h 2929279"/>
                  <a:gd name="connsiteX9" fmla="*/ 1246174 w 1455471"/>
                  <a:gd name="connsiteY9" fmla="*/ 750077 h 2929279"/>
                  <a:gd name="connsiteX10" fmla="*/ 1221898 w 1455471"/>
                  <a:gd name="connsiteY10" fmla="*/ 1551189 h 2929279"/>
                  <a:gd name="connsiteX11" fmla="*/ 1262358 w 1455471"/>
                  <a:gd name="connsiteY11" fmla="*/ 1688753 h 2929279"/>
                  <a:gd name="connsiteX12" fmla="*/ 1294726 w 1455471"/>
                  <a:gd name="connsiteY12" fmla="*/ 2036711 h 2929279"/>
                  <a:gd name="connsiteX13" fmla="*/ 1335186 w 1455471"/>
                  <a:gd name="connsiteY13" fmla="*/ 2255196 h 2929279"/>
                  <a:gd name="connsiteX14" fmla="*/ 1367554 w 1455471"/>
                  <a:gd name="connsiteY14" fmla="*/ 2554601 h 2929279"/>
                  <a:gd name="connsiteX15" fmla="*/ 1310910 w 1455471"/>
                  <a:gd name="connsiteY15" fmla="*/ 2675981 h 2929279"/>
                  <a:gd name="connsiteX16" fmla="*/ 1391830 w 1455471"/>
                  <a:gd name="connsiteY16" fmla="*/ 2716442 h 2929279"/>
                  <a:gd name="connsiteX17" fmla="*/ 1391830 w 1455471"/>
                  <a:gd name="connsiteY17" fmla="*/ 2910651 h 2929279"/>
                  <a:gd name="connsiteX18" fmla="*/ 1009986 w 1455471"/>
                  <a:gd name="connsiteY18" fmla="*/ 2828211 h 2929279"/>
                  <a:gd name="connsiteX19" fmla="*/ 914400 w 1455471"/>
                  <a:gd name="connsiteY19" fmla="*/ 2586969 h 2929279"/>
                  <a:gd name="connsiteX20" fmla="*/ 809204 w 1455471"/>
                  <a:gd name="connsiteY20" fmla="*/ 1947698 h 2929279"/>
                  <a:gd name="connsiteX21" fmla="*/ 801112 w 1455471"/>
                  <a:gd name="connsiteY21" fmla="*/ 1632109 h 2929279"/>
                  <a:gd name="connsiteX22" fmla="*/ 760652 w 1455471"/>
                  <a:gd name="connsiteY22" fmla="*/ 1203231 h 2929279"/>
                  <a:gd name="connsiteX23" fmla="*/ 695915 w 1455471"/>
                  <a:gd name="connsiteY23" fmla="*/ 895734 h 2929279"/>
                  <a:gd name="connsiteX24" fmla="*/ 647363 w 1455471"/>
                  <a:gd name="connsiteY24" fmla="*/ 1081851 h 2929279"/>
                  <a:gd name="connsiteX25" fmla="*/ 614995 w 1455471"/>
                  <a:gd name="connsiteY25" fmla="*/ 1737305 h 2929279"/>
                  <a:gd name="connsiteX26" fmla="*/ 598811 w 1455471"/>
                  <a:gd name="connsiteY26" fmla="*/ 1874870 h 2929279"/>
                  <a:gd name="connsiteX27" fmla="*/ 631179 w 1455471"/>
                  <a:gd name="connsiteY27" fmla="*/ 2012435 h 2929279"/>
                  <a:gd name="connsiteX28" fmla="*/ 639271 w 1455471"/>
                  <a:gd name="connsiteY28" fmla="*/ 2506049 h 2929279"/>
                  <a:gd name="connsiteX29" fmla="*/ 687823 w 1455471"/>
                  <a:gd name="connsiteY29" fmla="*/ 2797362 h 2929279"/>
                  <a:gd name="connsiteX30" fmla="*/ 655455 w 1455471"/>
                  <a:gd name="connsiteY30" fmla="*/ 2854006 h 2929279"/>
                  <a:gd name="connsiteX31" fmla="*/ 380326 w 1455471"/>
                  <a:gd name="connsiteY31" fmla="*/ 2821638 h 2929279"/>
                  <a:gd name="connsiteX32" fmla="*/ 323682 w 1455471"/>
                  <a:gd name="connsiteY32" fmla="*/ 2764994 h 2929279"/>
                  <a:gd name="connsiteX33" fmla="*/ 226577 w 1455471"/>
                  <a:gd name="connsiteY33" fmla="*/ 2077171 h 2929279"/>
                  <a:gd name="connsiteX34" fmla="*/ 161841 w 1455471"/>
                  <a:gd name="connsiteY34" fmla="*/ 1818226 h 2929279"/>
                  <a:gd name="connsiteX35" fmla="*/ 137565 w 1455471"/>
                  <a:gd name="connsiteY35" fmla="*/ 1583557 h 2929279"/>
                  <a:gd name="connsiteX36" fmla="*/ 80921 w 1455471"/>
                  <a:gd name="connsiteY36" fmla="*/ 733893 h 2929279"/>
                  <a:gd name="connsiteX37" fmla="*/ 8092 w 1455471"/>
                  <a:gd name="connsiteY37" fmla="*/ 474948 h 2929279"/>
                  <a:gd name="connsiteX38" fmla="*/ 32369 w 1455471"/>
                  <a:gd name="connsiteY38" fmla="*/ 345475 h 2929279"/>
                  <a:gd name="connsiteX39" fmla="*/ 178025 w 1455471"/>
                  <a:gd name="connsiteY39" fmla="*/ 5610 h 2929279"/>
                  <a:gd name="connsiteX0" fmla="*/ 178025 w 1455471"/>
                  <a:gd name="connsiteY0" fmla="*/ 5610 h 2929279"/>
                  <a:gd name="connsiteX1" fmla="*/ 299406 w 1455471"/>
                  <a:gd name="connsiteY1" fmla="*/ 78438 h 2929279"/>
                  <a:gd name="connsiteX2" fmla="*/ 493615 w 1455471"/>
                  <a:gd name="connsiteY2" fmla="*/ 126990 h 2929279"/>
                  <a:gd name="connsiteX3" fmla="*/ 687823 w 1455471"/>
                  <a:gd name="connsiteY3" fmla="*/ 143174 h 2929279"/>
                  <a:gd name="connsiteX4" fmla="*/ 865848 w 1455471"/>
                  <a:gd name="connsiteY4" fmla="*/ 110806 h 2929279"/>
                  <a:gd name="connsiteX5" fmla="*/ 946769 w 1455471"/>
                  <a:gd name="connsiteY5" fmla="*/ 62254 h 2929279"/>
                  <a:gd name="connsiteX6" fmla="*/ 1181438 w 1455471"/>
                  <a:gd name="connsiteY6" fmla="*/ 264555 h 2929279"/>
                  <a:gd name="connsiteX7" fmla="*/ 1351370 w 1455471"/>
                  <a:gd name="connsiteY7" fmla="*/ 385935 h 2929279"/>
                  <a:gd name="connsiteX8" fmla="*/ 1327094 w 1455471"/>
                  <a:gd name="connsiteY8" fmla="*/ 491132 h 2929279"/>
                  <a:gd name="connsiteX9" fmla="*/ 1246174 w 1455471"/>
                  <a:gd name="connsiteY9" fmla="*/ 750077 h 2929279"/>
                  <a:gd name="connsiteX10" fmla="*/ 1221898 w 1455471"/>
                  <a:gd name="connsiteY10" fmla="*/ 1551189 h 2929279"/>
                  <a:gd name="connsiteX11" fmla="*/ 1262358 w 1455471"/>
                  <a:gd name="connsiteY11" fmla="*/ 1688753 h 2929279"/>
                  <a:gd name="connsiteX12" fmla="*/ 1294726 w 1455471"/>
                  <a:gd name="connsiteY12" fmla="*/ 2036711 h 2929279"/>
                  <a:gd name="connsiteX13" fmla="*/ 1335186 w 1455471"/>
                  <a:gd name="connsiteY13" fmla="*/ 2255196 h 2929279"/>
                  <a:gd name="connsiteX14" fmla="*/ 1367554 w 1455471"/>
                  <a:gd name="connsiteY14" fmla="*/ 2554601 h 2929279"/>
                  <a:gd name="connsiteX15" fmla="*/ 1310910 w 1455471"/>
                  <a:gd name="connsiteY15" fmla="*/ 2675981 h 2929279"/>
                  <a:gd name="connsiteX16" fmla="*/ 1391830 w 1455471"/>
                  <a:gd name="connsiteY16" fmla="*/ 2716442 h 2929279"/>
                  <a:gd name="connsiteX17" fmla="*/ 1391830 w 1455471"/>
                  <a:gd name="connsiteY17" fmla="*/ 2910651 h 2929279"/>
                  <a:gd name="connsiteX18" fmla="*/ 1009986 w 1455471"/>
                  <a:gd name="connsiteY18" fmla="*/ 2828211 h 2929279"/>
                  <a:gd name="connsiteX19" fmla="*/ 914400 w 1455471"/>
                  <a:gd name="connsiteY19" fmla="*/ 2586969 h 2929279"/>
                  <a:gd name="connsiteX20" fmla="*/ 809204 w 1455471"/>
                  <a:gd name="connsiteY20" fmla="*/ 1947698 h 2929279"/>
                  <a:gd name="connsiteX21" fmla="*/ 801112 w 1455471"/>
                  <a:gd name="connsiteY21" fmla="*/ 1632109 h 2929279"/>
                  <a:gd name="connsiteX22" fmla="*/ 760652 w 1455471"/>
                  <a:gd name="connsiteY22" fmla="*/ 1203231 h 2929279"/>
                  <a:gd name="connsiteX23" fmla="*/ 695915 w 1455471"/>
                  <a:gd name="connsiteY23" fmla="*/ 895734 h 2929279"/>
                  <a:gd name="connsiteX24" fmla="*/ 647363 w 1455471"/>
                  <a:gd name="connsiteY24" fmla="*/ 1081851 h 2929279"/>
                  <a:gd name="connsiteX25" fmla="*/ 614995 w 1455471"/>
                  <a:gd name="connsiteY25" fmla="*/ 1737305 h 2929279"/>
                  <a:gd name="connsiteX26" fmla="*/ 598811 w 1455471"/>
                  <a:gd name="connsiteY26" fmla="*/ 1874870 h 2929279"/>
                  <a:gd name="connsiteX27" fmla="*/ 631179 w 1455471"/>
                  <a:gd name="connsiteY27" fmla="*/ 2012435 h 2929279"/>
                  <a:gd name="connsiteX28" fmla="*/ 639271 w 1455471"/>
                  <a:gd name="connsiteY28" fmla="*/ 2506049 h 2929279"/>
                  <a:gd name="connsiteX29" fmla="*/ 687823 w 1455471"/>
                  <a:gd name="connsiteY29" fmla="*/ 2797362 h 2929279"/>
                  <a:gd name="connsiteX30" fmla="*/ 655455 w 1455471"/>
                  <a:gd name="connsiteY30" fmla="*/ 2854006 h 2929279"/>
                  <a:gd name="connsiteX31" fmla="*/ 380326 w 1455471"/>
                  <a:gd name="connsiteY31" fmla="*/ 2821638 h 2929279"/>
                  <a:gd name="connsiteX32" fmla="*/ 323682 w 1455471"/>
                  <a:gd name="connsiteY32" fmla="*/ 2764994 h 2929279"/>
                  <a:gd name="connsiteX33" fmla="*/ 226577 w 1455471"/>
                  <a:gd name="connsiteY33" fmla="*/ 2077171 h 2929279"/>
                  <a:gd name="connsiteX34" fmla="*/ 161841 w 1455471"/>
                  <a:gd name="connsiteY34" fmla="*/ 1818226 h 2929279"/>
                  <a:gd name="connsiteX35" fmla="*/ 137565 w 1455471"/>
                  <a:gd name="connsiteY35" fmla="*/ 1583557 h 2929279"/>
                  <a:gd name="connsiteX36" fmla="*/ 80921 w 1455471"/>
                  <a:gd name="connsiteY36" fmla="*/ 733893 h 2929279"/>
                  <a:gd name="connsiteX37" fmla="*/ 8092 w 1455471"/>
                  <a:gd name="connsiteY37" fmla="*/ 474948 h 2929279"/>
                  <a:gd name="connsiteX38" fmla="*/ 32369 w 1455471"/>
                  <a:gd name="connsiteY38" fmla="*/ 345475 h 2929279"/>
                  <a:gd name="connsiteX39" fmla="*/ 178025 w 1455471"/>
                  <a:gd name="connsiteY39" fmla="*/ 5610 h 2929279"/>
                  <a:gd name="connsiteX0" fmla="*/ 178025 w 1455471"/>
                  <a:gd name="connsiteY0" fmla="*/ 5610 h 2959949"/>
                  <a:gd name="connsiteX1" fmla="*/ 299406 w 1455471"/>
                  <a:gd name="connsiteY1" fmla="*/ 78438 h 2959949"/>
                  <a:gd name="connsiteX2" fmla="*/ 493615 w 1455471"/>
                  <a:gd name="connsiteY2" fmla="*/ 126990 h 2959949"/>
                  <a:gd name="connsiteX3" fmla="*/ 687823 w 1455471"/>
                  <a:gd name="connsiteY3" fmla="*/ 143174 h 2959949"/>
                  <a:gd name="connsiteX4" fmla="*/ 865848 w 1455471"/>
                  <a:gd name="connsiteY4" fmla="*/ 110806 h 2959949"/>
                  <a:gd name="connsiteX5" fmla="*/ 946769 w 1455471"/>
                  <a:gd name="connsiteY5" fmla="*/ 62254 h 2959949"/>
                  <a:gd name="connsiteX6" fmla="*/ 1181438 w 1455471"/>
                  <a:gd name="connsiteY6" fmla="*/ 264555 h 2959949"/>
                  <a:gd name="connsiteX7" fmla="*/ 1351370 w 1455471"/>
                  <a:gd name="connsiteY7" fmla="*/ 385935 h 2959949"/>
                  <a:gd name="connsiteX8" fmla="*/ 1327094 w 1455471"/>
                  <a:gd name="connsiteY8" fmla="*/ 491132 h 2959949"/>
                  <a:gd name="connsiteX9" fmla="*/ 1246174 w 1455471"/>
                  <a:gd name="connsiteY9" fmla="*/ 750077 h 2959949"/>
                  <a:gd name="connsiteX10" fmla="*/ 1221898 w 1455471"/>
                  <a:gd name="connsiteY10" fmla="*/ 1551189 h 2959949"/>
                  <a:gd name="connsiteX11" fmla="*/ 1262358 w 1455471"/>
                  <a:gd name="connsiteY11" fmla="*/ 1688753 h 2959949"/>
                  <a:gd name="connsiteX12" fmla="*/ 1294726 w 1455471"/>
                  <a:gd name="connsiteY12" fmla="*/ 2036711 h 2959949"/>
                  <a:gd name="connsiteX13" fmla="*/ 1335186 w 1455471"/>
                  <a:gd name="connsiteY13" fmla="*/ 2255196 h 2959949"/>
                  <a:gd name="connsiteX14" fmla="*/ 1367554 w 1455471"/>
                  <a:gd name="connsiteY14" fmla="*/ 2554601 h 2959949"/>
                  <a:gd name="connsiteX15" fmla="*/ 1310910 w 1455471"/>
                  <a:gd name="connsiteY15" fmla="*/ 2675981 h 2959949"/>
                  <a:gd name="connsiteX16" fmla="*/ 1391830 w 1455471"/>
                  <a:gd name="connsiteY16" fmla="*/ 2716442 h 2959949"/>
                  <a:gd name="connsiteX17" fmla="*/ 1391830 w 1455471"/>
                  <a:gd name="connsiteY17" fmla="*/ 2910651 h 2959949"/>
                  <a:gd name="connsiteX18" fmla="*/ 1009986 w 1455471"/>
                  <a:gd name="connsiteY18" fmla="*/ 2828211 h 2959949"/>
                  <a:gd name="connsiteX19" fmla="*/ 914400 w 1455471"/>
                  <a:gd name="connsiteY19" fmla="*/ 2586969 h 2959949"/>
                  <a:gd name="connsiteX20" fmla="*/ 809204 w 1455471"/>
                  <a:gd name="connsiteY20" fmla="*/ 1947698 h 2959949"/>
                  <a:gd name="connsiteX21" fmla="*/ 801112 w 1455471"/>
                  <a:gd name="connsiteY21" fmla="*/ 1632109 h 2959949"/>
                  <a:gd name="connsiteX22" fmla="*/ 760652 w 1455471"/>
                  <a:gd name="connsiteY22" fmla="*/ 1203231 h 2959949"/>
                  <a:gd name="connsiteX23" fmla="*/ 695915 w 1455471"/>
                  <a:gd name="connsiteY23" fmla="*/ 895734 h 2959949"/>
                  <a:gd name="connsiteX24" fmla="*/ 647363 w 1455471"/>
                  <a:gd name="connsiteY24" fmla="*/ 1081851 h 2959949"/>
                  <a:gd name="connsiteX25" fmla="*/ 614995 w 1455471"/>
                  <a:gd name="connsiteY25" fmla="*/ 1737305 h 2959949"/>
                  <a:gd name="connsiteX26" fmla="*/ 598811 w 1455471"/>
                  <a:gd name="connsiteY26" fmla="*/ 1874870 h 2959949"/>
                  <a:gd name="connsiteX27" fmla="*/ 631179 w 1455471"/>
                  <a:gd name="connsiteY27" fmla="*/ 2012435 h 2959949"/>
                  <a:gd name="connsiteX28" fmla="*/ 639271 w 1455471"/>
                  <a:gd name="connsiteY28" fmla="*/ 2506049 h 2959949"/>
                  <a:gd name="connsiteX29" fmla="*/ 687823 w 1455471"/>
                  <a:gd name="connsiteY29" fmla="*/ 2797362 h 2959949"/>
                  <a:gd name="connsiteX30" fmla="*/ 655455 w 1455471"/>
                  <a:gd name="connsiteY30" fmla="*/ 2854006 h 2959949"/>
                  <a:gd name="connsiteX31" fmla="*/ 380326 w 1455471"/>
                  <a:gd name="connsiteY31" fmla="*/ 2821638 h 2959949"/>
                  <a:gd name="connsiteX32" fmla="*/ 323682 w 1455471"/>
                  <a:gd name="connsiteY32" fmla="*/ 2764994 h 2959949"/>
                  <a:gd name="connsiteX33" fmla="*/ 226577 w 1455471"/>
                  <a:gd name="connsiteY33" fmla="*/ 2077171 h 2959949"/>
                  <a:gd name="connsiteX34" fmla="*/ 161841 w 1455471"/>
                  <a:gd name="connsiteY34" fmla="*/ 1818226 h 2959949"/>
                  <a:gd name="connsiteX35" fmla="*/ 137565 w 1455471"/>
                  <a:gd name="connsiteY35" fmla="*/ 1583557 h 2959949"/>
                  <a:gd name="connsiteX36" fmla="*/ 80921 w 1455471"/>
                  <a:gd name="connsiteY36" fmla="*/ 733893 h 2959949"/>
                  <a:gd name="connsiteX37" fmla="*/ 8092 w 1455471"/>
                  <a:gd name="connsiteY37" fmla="*/ 474948 h 2959949"/>
                  <a:gd name="connsiteX38" fmla="*/ 32369 w 1455471"/>
                  <a:gd name="connsiteY38" fmla="*/ 345475 h 2959949"/>
                  <a:gd name="connsiteX39" fmla="*/ 178025 w 1455471"/>
                  <a:gd name="connsiteY39" fmla="*/ 5610 h 2959949"/>
                  <a:gd name="connsiteX0" fmla="*/ 178025 w 1455471"/>
                  <a:gd name="connsiteY0" fmla="*/ 5610 h 2959949"/>
                  <a:gd name="connsiteX1" fmla="*/ 299406 w 1455471"/>
                  <a:gd name="connsiteY1" fmla="*/ 78438 h 2959949"/>
                  <a:gd name="connsiteX2" fmla="*/ 493615 w 1455471"/>
                  <a:gd name="connsiteY2" fmla="*/ 126990 h 2959949"/>
                  <a:gd name="connsiteX3" fmla="*/ 687823 w 1455471"/>
                  <a:gd name="connsiteY3" fmla="*/ 143174 h 2959949"/>
                  <a:gd name="connsiteX4" fmla="*/ 865848 w 1455471"/>
                  <a:gd name="connsiteY4" fmla="*/ 110806 h 2959949"/>
                  <a:gd name="connsiteX5" fmla="*/ 946769 w 1455471"/>
                  <a:gd name="connsiteY5" fmla="*/ 62254 h 2959949"/>
                  <a:gd name="connsiteX6" fmla="*/ 1181438 w 1455471"/>
                  <a:gd name="connsiteY6" fmla="*/ 264555 h 2959949"/>
                  <a:gd name="connsiteX7" fmla="*/ 1351370 w 1455471"/>
                  <a:gd name="connsiteY7" fmla="*/ 385935 h 2959949"/>
                  <a:gd name="connsiteX8" fmla="*/ 1327094 w 1455471"/>
                  <a:gd name="connsiteY8" fmla="*/ 491132 h 2959949"/>
                  <a:gd name="connsiteX9" fmla="*/ 1246174 w 1455471"/>
                  <a:gd name="connsiteY9" fmla="*/ 750077 h 2959949"/>
                  <a:gd name="connsiteX10" fmla="*/ 1221898 w 1455471"/>
                  <a:gd name="connsiteY10" fmla="*/ 1551189 h 2959949"/>
                  <a:gd name="connsiteX11" fmla="*/ 1262358 w 1455471"/>
                  <a:gd name="connsiteY11" fmla="*/ 1688753 h 2959949"/>
                  <a:gd name="connsiteX12" fmla="*/ 1294726 w 1455471"/>
                  <a:gd name="connsiteY12" fmla="*/ 2036711 h 2959949"/>
                  <a:gd name="connsiteX13" fmla="*/ 1335186 w 1455471"/>
                  <a:gd name="connsiteY13" fmla="*/ 2255196 h 2959949"/>
                  <a:gd name="connsiteX14" fmla="*/ 1367554 w 1455471"/>
                  <a:gd name="connsiteY14" fmla="*/ 2554601 h 2959949"/>
                  <a:gd name="connsiteX15" fmla="*/ 1310910 w 1455471"/>
                  <a:gd name="connsiteY15" fmla="*/ 2675981 h 2959949"/>
                  <a:gd name="connsiteX16" fmla="*/ 1391830 w 1455471"/>
                  <a:gd name="connsiteY16" fmla="*/ 2716442 h 2959949"/>
                  <a:gd name="connsiteX17" fmla="*/ 1391830 w 1455471"/>
                  <a:gd name="connsiteY17" fmla="*/ 2910651 h 2959949"/>
                  <a:gd name="connsiteX18" fmla="*/ 1009986 w 1455471"/>
                  <a:gd name="connsiteY18" fmla="*/ 2828211 h 2959949"/>
                  <a:gd name="connsiteX19" fmla="*/ 940330 w 1455471"/>
                  <a:gd name="connsiteY19" fmla="*/ 2580488 h 2959949"/>
                  <a:gd name="connsiteX20" fmla="*/ 809204 w 1455471"/>
                  <a:gd name="connsiteY20" fmla="*/ 1947698 h 2959949"/>
                  <a:gd name="connsiteX21" fmla="*/ 801112 w 1455471"/>
                  <a:gd name="connsiteY21" fmla="*/ 1632109 h 2959949"/>
                  <a:gd name="connsiteX22" fmla="*/ 760652 w 1455471"/>
                  <a:gd name="connsiteY22" fmla="*/ 1203231 h 2959949"/>
                  <a:gd name="connsiteX23" fmla="*/ 695915 w 1455471"/>
                  <a:gd name="connsiteY23" fmla="*/ 895734 h 2959949"/>
                  <a:gd name="connsiteX24" fmla="*/ 647363 w 1455471"/>
                  <a:gd name="connsiteY24" fmla="*/ 1081851 h 2959949"/>
                  <a:gd name="connsiteX25" fmla="*/ 614995 w 1455471"/>
                  <a:gd name="connsiteY25" fmla="*/ 1737305 h 2959949"/>
                  <a:gd name="connsiteX26" fmla="*/ 598811 w 1455471"/>
                  <a:gd name="connsiteY26" fmla="*/ 1874870 h 2959949"/>
                  <a:gd name="connsiteX27" fmla="*/ 631179 w 1455471"/>
                  <a:gd name="connsiteY27" fmla="*/ 2012435 h 2959949"/>
                  <a:gd name="connsiteX28" fmla="*/ 639271 w 1455471"/>
                  <a:gd name="connsiteY28" fmla="*/ 2506049 h 2959949"/>
                  <a:gd name="connsiteX29" fmla="*/ 687823 w 1455471"/>
                  <a:gd name="connsiteY29" fmla="*/ 2797362 h 2959949"/>
                  <a:gd name="connsiteX30" fmla="*/ 655455 w 1455471"/>
                  <a:gd name="connsiteY30" fmla="*/ 2854006 h 2959949"/>
                  <a:gd name="connsiteX31" fmla="*/ 380326 w 1455471"/>
                  <a:gd name="connsiteY31" fmla="*/ 2821638 h 2959949"/>
                  <a:gd name="connsiteX32" fmla="*/ 323682 w 1455471"/>
                  <a:gd name="connsiteY32" fmla="*/ 2764994 h 2959949"/>
                  <a:gd name="connsiteX33" fmla="*/ 226577 w 1455471"/>
                  <a:gd name="connsiteY33" fmla="*/ 2077171 h 2959949"/>
                  <a:gd name="connsiteX34" fmla="*/ 161841 w 1455471"/>
                  <a:gd name="connsiteY34" fmla="*/ 1818226 h 2959949"/>
                  <a:gd name="connsiteX35" fmla="*/ 137565 w 1455471"/>
                  <a:gd name="connsiteY35" fmla="*/ 1583557 h 2959949"/>
                  <a:gd name="connsiteX36" fmla="*/ 80921 w 1455471"/>
                  <a:gd name="connsiteY36" fmla="*/ 733893 h 2959949"/>
                  <a:gd name="connsiteX37" fmla="*/ 8092 w 1455471"/>
                  <a:gd name="connsiteY37" fmla="*/ 474948 h 2959949"/>
                  <a:gd name="connsiteX38" fmla="*/ 32369 w 1455471"/>
                  <a:gd name="connsiteY38" fmla="*/ 345475 h 2959949"/>
                  <a:gd name="connsiteX39" fmla="*/ 178025 w 1455471"/>
                  <a:gd name="connsiteY39" fmla="*/ 5610 h 2959949"/>
                  <a:gd name="connsiteX0" fmla="*/ 178025 w 1455471"/>
                  <a:gd name="connsiteY0" fmla="*/ 5610 h 2959949"/>
                  <a:gd name="connsiteX1" fmla="*/ 299406 w 1455471"/>
                  <a:gd name="connsiteY1" fmla="*/ 78438 h 2959949"/>
                  <a:gd name="connsiteX2" fmla="*/ 493615 w 1455471"/>
                  <a:gd name="connsiteY2" fmla="*/ 126990 h 2959949"/>
                  <a:gd name="connsiteX3" fmla="*/ 687823 w 1455471"/>
                  <a:gd name="connsiteY3" fmla="*/ 143174 h 2959949"/>
                  <a:gd name="connsiteX4" fmla="*/ 865848 w 1455471"/>
                  <a:gd name="connsiteY4" fmla="*/ 110806 h 2959949"/>
                  <a:gd name="connsiteX5" fmla="*/ 946769 w 1455471"/>
                  <a:gd name="connsiteY5" fmla="*/ 62254 h 2959949"/>
                  <a:gd name="connsiteX6" fmla="*/ 1181438 w 1455471"/>
                  <a:gd name="connsiteY6" fmla="*/ 264555 h 2959949"/>
                  <a:gd name="connsiteX7" fmla="*/ 1351370 w 1455471"/>
                  <a:gd name="connsiteY7" fmla="*/ 385935 h 2959949"/>
                  <a:gd name="connsiteX8" fmla="*/ 1327094 w 1455471"/>
                  <a:gd name="connsiteY8" fmla="*/ 491132 h 2959949"/>
                  <a:gd name="connsiteX9" fmla="*/ 1246174 w 1455471"/>
                  <a:gd name="connsiteY9" fmla="*/ 750077 h 2959949"/>
                  <a:gd name="connsiteX10" fmla="*/ 1221898 w 1455471"/>
                  <a:gd name="connsiteY10" fmla="*/ 1551189 h 2959949"/>
                  <a:gd name="connsiteX11" fmla="*/ 1262358 w 1455471"/>
                  <a:gd name="connsiteY11" fmla="*/ 1688753 h 2959949"/>
                  <a:gd name="connsiteX12" fmla="*/ 1294726 w 1455471"/>
                  <a:gd name="connsiteY12" fmla="*/ 2036711 h 2959949"/>
                  <a:gd name="connsiteX13" fmla="*/ 1335186 w 1455471"/>
                  <a:gd name="connsiteY13" fmla="*/ 2255196 h 2959949"/>
                  <a:gd name="connsiteX14" fmla="*/ 1367554 w 1455471"/>
                  <a:gd name="connsiteY14" fmla="*/ 2554601 h 2959949"/>
                  <a:gd name="connsiteX15" fmla="*/ 1310910 w 1455471"/>
                  <a:gd name="connsiteY15" fmla="*/ 2675981 h 2959949"/>
                  <a:gd name="connsiteX16" fmla="*/ 1391830 w 1455471"/>
                  <a:gd name="connsiteY16" fmla="*/ 2716442 h 2959949"/>
                  <a:gd name="connsiteX17" fmla="*/ 1391830 w 1455471"/>
                  <a:gd name="connsiteY17" fmla="*/ 2910651 h 2959949"/>
                  <a:gd name="connsiteX18" fmla="*/ 1009986 w 1455471"/>
                  <a:gd name="connsiteY18" fmla="*/ 2828211 h 2959949"/>
                  <a:gd name="connsiteX19" fmla="*/ 940330 w 1455471"/>
                  <a:gd name="connsiteY19" fmla="*/ 2580488 h 2959949"/>
                  <a:gd name="connsiteX20" fmla="*/ 838376 w 1455471"/>
                  <a:gd name="connsiteY20" fmla="*/ 1947699 h 2959949"/>
                  <a:gd name="connsiteX21" fmla="*/ 801112 w 1455471"/>
                  <a:gd name="connsiteY21" fmla="*/ 1632109 h 2959949"/>
                  <a:gd name="connsiteX22" fmla="*/ 760652 w 1455471"/>
                  <a:gd name="connsiteY22" fmla="*/ 1203231 h 2959949"/>
                  <a:gd name="connsiteX23" fmla="*/ 695915 w 1455471"/>
                  <a:gd name="connsiteY23" fmla="*/ 895734 h 2959949"/>
                  <a:gd name="connsiteX24" fmla="*/ 647363 w 1455471"/>
                  <a:gd name="connsiteY24" fmla="*/ 1081851 h 2959949"/>
                  <a:gd name="connsiteX25" fmla="*/ 614995 w 1455471"/>
                  <a:gd name="connsiteY25" fmla="*/ 1737305 h 2959949"/>
                  <a:gd name="connsiteX26" fmla="*/ 598811 w 1455471"/>
                  <a:gd name="connsiteY26" fmla="*/ 1874870 h 2959949"/>
                  <a:gd name="connsiteX27" fmla="*/ 631179 w 1455471"/>
                  <a:gd name="connsiteY27" fmla="*/ 2012435 h 2959949"/>
                  <a:gd name="connsiteX28" fmla="*/ 639271 w 1455471"/>
                  <a:gd name="connsiteY28" fmla="*/ 2506049 h 2959949"/>
                  <a:gd name="connsiteX29" fmla="*/ 687823 w 1455471"/>
                  <a:gd name="connsiteY29" fmla="*/ 2797362 h 2959949"/>
                  <a:gd name="connsiteX30" fmla="*/ 655455 w 1455471"/>
                  <a:gd name="connsiteY30" fmla="*/ 2854006 h 2959949"/>
                  <a:gd name="connsiteX31" fmla="*/ 380326 w 1455471"/>
                  <a:gd name="connsiteY31" fmla="*/ 2821638 h 2959949"/>
                  <a:gd name="connsiteX32" fmla="*/ 323682 w 1455471"/>
                  <a:gd name="connsiteY32" fmla="*/ 2764994 h 2959949"/>
                  <a:gd name="connsiteX33" fmla="*/ 226577 w 1455471"/>
                  <a:gd name="connsiteY33" fmla="*/ 2077171 h 2959949"/>
                  <a:gd name="connsiteX34" fmla="*/ 161841 w 1455471"/>
                  <a:gd name="connsiteY34" fmla="*/ 1818226 h 2959949"/>
                  <a:gd name="connsiteX35" fmla="*/ 137565 w 1455471"/>
                  <a:gd name="connsiteY35" fmla="*/ 1583557 h 2959949"/>
                  <a:gd name="connsiteX36" fmla="*/ 80921 w 1455471"/>
                  <a:gd name="connsiteY36" fmla="*/ 733893 h 2959949"/>
                  <a:gd name="connsiteX37" fmla="*/ 8092 w 1455471"/>
                  <a:gd name="connsiteY37" fmla="*/ 474948 h 2959949"/>
                  <a:gd name="connsiteX38" fmla="*/ 32369 w 1455471"/>
                  <a:gd name="connsiteY38" fmla="*/ 345475 h 2959949"/>
                  <a:gd name="connsiteX39" fmla="*/ 178025 w 1455471"/>
                  <a:gd name="connsiteY39" fmla="*/ 5610 h 2959949"/>
                  <a:gd name="connsiteX0" fmla="*/ 178025 w 1455471"/>
                  <a:gd name="connsiteY0" fmla="*/ 5610 h 2959949"/>
                  <a:gd name="connsiteX1" fmla="*/ 299406 w 1455471"/>
                  <a:gd name="connsiteY1" fmla="*/ 78438 h 2959949"/>
                  <a:gd name="connsiteX2" fmla="*/ 493615 w 1455471"/>
                  <a:gd name="connsiteY2" fmla="*/ 126990 h 2959949"/>
                  <a:gd name="connsiteX3" fmla="*/ 687823 w 1455471"/>
                  <a:gd name="connsiteY3" fmla="*/ 143174 h 2959949"/>
                  <a:gd name="connsiteX4" fmla="*/ 865848 w 1455471"/>
                  <a:gd name="connsiteY4" fmla="*/ 110806 h 2959949"/>
                  <a:gd name="connsiteX5" fmla="*/ 946769 w 1455471"/>
                  <a:gd name="connsiteY5" fmla="*/ 62254 h 2959949"/>
                  <a:gd name="connsiteX6" fmla="*/ 1181438 w 1455471"/>
                  <a:gd name="connsiteY6" fmla="*/ 264555 h 2959949"/>
                  <a:gd name="connsiteX7" fmla="*/ 1351370 w 1455471"/>
                  <a:gd name="connsiteY7" fmla="*/ 385935 h 2959949"/>
                  <a:gd name="connsiteX8" fmla="*/ 1327094 w 1455471"/>
                  <a:gd name="connsiteY8" fmla="*/ 491132 h 2959949"/>
                  <a:gd name="connsiteX9" fmla="*/ 1246174 w 1455471"/>
                  <a:gd name="connsiteY9" fmla="*/ 750077 h 2959949"/>
                  <a:gd name="connsiteX10" fmla="*/ 1221898 w 1455471"/>
                  <a:gd name="connsiteY10" fmla="*/ 1551189 h 2959949"/>
                  <a:gd name="connsiteX11" fmla="*/ 1262358 w 1455471"/>
                  <a:gd name="connsiteY11" fmla="*/ 1688753 h 2959949"/>
                  <a:gd name="connsiteX12" fmla="*/ 1294726 w 1455471"/>
                  <a:gd name="connsiteY12" fmla="*/ 2036711 h 2959949"/>
                  <a:gd name="connsiteX13" fmla="*/ 1335186 w 1455471"/>
                  <a:gd name="connsiteY13" fmla="*/ 2255196 h 2959949"/>
                  <a:gd name="connsiteX14" fmla="*/ 1367554 w 1455471"/>
                  <a:gd name="connsiteY14" fmla="*/ 2554601 h 2959949"/>
                  <a:gd name="connsiteX15" fmla="*/ 1310910 w 1455471"/>
                  <a:gd name="connsiteY15" fmla="*/ 2675981 h 2959949"/>
                  <a:gd name="connsiteX16" fmla="*/ 1391830 w 1455471"/>
                  <a:gd name="connsiteY16" fmla="*/ 2716442 h 2959949"/>
                  <a:gd name="connsiteX17" fmla="*/ 1391830 w 1455471"/>
                  <a:gd name="connsiteY17" fmla="*/ 2910651 h 2959949"/>
                  <a:gd name="connsiteX18" fmla="*/ 1009986 w 1455471"/>
                  <a:gd name="connsiteY18" fmla="*/ 2828211 h 2959949"/>
                  <a:gd name="connsiteX19" fmla="*/ 940330 w 1455471"/>
                  <a:gd name="connsiteY19" fmla="*/ 2580488 h 2959949"/>
                  <a:gd name="connsiteX20" fmla="*/ 838376 w 1455471"/>
                  <a:gd name="connsiteY20" fmla="*/ 1947699 h 2959949"/>
                  <a:gd name="connsiteX21" fmla="*/ 801112 w 1455471"/>
                  <a:gd name="connsiteY21" fmla="*/ 1632109 h 2959949"/>
                  <a:gd name="connsiteX22" fmla="*/ 750929 w 1455471"/>
                  <a:gd name="connsiteY22" fmla="*/ 1212955 h 2959949"/>
                  <a:gd name="connsiteX23" fmla="*/ 695915 w 1455471"/>
                  <a:gd name="connsiteY23" fmla="*/ 895734 h 2959949"/>
                  <a:gd name="connsiteX24" fmla="*/ 647363 w 1455471"/>
                  <a:gd name="connsiteY24" fmla="*/ 1081851 h 2959949"/>
                  <a:gd name="connsiteX25" fmla="*/ 614995 w 1455471"/>
                  <a:gd name="connsiteY25" fmla="*/ 1737305 h 2959949"/>
                  <a:gd name="connsiteX26" fmla="*/ 598811 w 1455471"/>
                  <a:gd name="connsiteY26" fmla="*/ 1874870 h 2959949"/>
                  <a:gd name="connsiteX27" fmla="*/ 631179 w 1455471"/>
                  <a:gd name="connsiteY27" fmla="*/ 2012435 h 2959949"/>
                  <a:gd name="connsiteX28" fmla="*/ 639271 w 1455471"/>
                  <a:gd name="connsiteY28" fmla="*/ 2506049 h 2959949"/>
                  <a:gd name="connsiteX29" fmla="*/ 687823 w 1455471"/>
                  <a:gd name="connsiteY29" fmla="*/ 2797362 h 2959949"/>
                  <a:gd name="connsiteX30" fmla="*/ 655455 w 1455471"/>
                  <a:gd name="connsiteY30" fmla="*/ 2854006 h 2959949"/>
                  <a:gd name="connsiteX31" fmla="*/ 380326 w 1455471"/>
                  <a:gd name="connsiteY31" fmla="*/ 2821638 h 2959949"/>
                  <a:gd name="connsiteX32" fmla="*/ 323682 w 1455471"/>
                  <a:gd name="connsiteY32" fmla="*/ 2764994 h 2959949"/>
                  <a:gd name="connsiteX33" fmla="*/ 226577 w 1455471"/>
                  <a:gd name="connsiteY33" fmla="*/ 2077171 h 2959949"/>
                  <a:gd name="connsiteX34" fmla="*/ 161841 w 1455471"/>
                  <a:gd name="connsiteY34" fmla="*/ 1818226 h 2959949"/>
                  <a:gd name="connsiteX35" fmla="*/ 137565 w 1455471"/>
                  <a:gd name="connsiteY35" fmla="*/ 1583557 h 2959949"/>
                  <a:gd name="connsiteX36" fmla="*/ 80921 w 1455471"/>
                  <a:gd name="connsiteY36" fmla="*/ 733893 h 2959949"/>
                  <a:gd name="connsiteX37" fmla="*/ 8092 w 1455471"/>
                  <a:gd name="connsiteY37" fmla="*/ 474948 h 2959949"/>
                  <a:gd name="connsiteX38" fmla="*/ 32369 w 1455471"/>
                  <a:gd name="connsiteY38" fmla="*/ 345475 h 2959949"/>
                  <a:gd name="connsiteX39" fmla="*/ 178025 w 1455471"/>
                  <a:gd name="connsiteY39" fmla="*/ 5610 h 2959949"/>
                  <a:gd name="connsiteX0" fmla="*/ 178025 w 1455471"/>
                  <a:gd name="connsiteY0" fmla="*/ 5610 h 2959949"/>
                  <a:gd name="connsiteX1" fmla="*/ 299406 w 1455471"/>
                  <a:gd name="connsiteY1" fmla="*/ 78438 h 2959949"/>
                  <a:gd name="connsiteX2" fmla="*/ 493615 w 1455471"/>
                  <a:gd name="connsiteY2" fmla="*/ 126990 h 2959949"/>
                  <a:gd name="connsiteX3" fmla="*/ 687823 w 1455471"/>
                  <a:gd name="connsiteY3" fmla="*/ 143174 h 2959949"/>
                  <a:gd name="connsiteX4" fmla="*/ 865848 w 1455471"/>
                  <a:gd name="connsiteY4" fmla="*/ 110806 h 2959949"/>
                  <a:gd name="connsiteX5" fmla="*/ 946769 w 1455471"/>
                  <a:gd name="connsiteY5" fmla="*/ 62254 h 2959949"/>
                  <a:gd name="connsiteX6" fmla="*/ 1181438 w 1455471"/>
                  <a:gd name="connsiteY6" fmla="*/ 264555 h 2959949"/>
                  <a:gd name="connsiteX7" fmla="*/ 1351370 w 1455471"/>
                  <a:gd name="connsiteY7" fmla="*/ 385935 h 2959949"/>
                  <a:gd name="connsiteX8" fmla="*/ 1327094 w 1455471"/>
                  <a:gd name="connsiteY8" fmla="*/ 491132 h 2959949"/>
                  <a:gd name="connsiteX9" fmla="*/ 1246174 w 1455471"/>
                  <a:gd name="connsiteY9" fmla="*/ 750077 h 2959949"/>
                  <a:gd name="connsiteX10" fmla="*/ 1221898 w 1455471"/>
                  <a:gd name="connsiteY10" fmla="*/ 1551189 h 2959949"/>
                  <a:gd name="connsiteX11" fmla="*/ 1262358 w 1455471"/>
                  <a:gd name="connsiteY11" fmla="*/ 1747097 h 2959949"/>
                  <a:gd name="connsiteX12" fmla="*/ 1294726 w 1455471"/>
                  <a:gd name="connsiteY12" fmla="*/ 2036711 h 2959949"/>
                  <a:gd name="connsiteX13" fmla="*/ 1335186 w 1455471"/>
                  <a:gd name="connsiteY13" fmla="*/ 2255196 h 2959949"/>
                  <a:gd name="connsiteX14" fmla="*/ 1367554 w 1455471"/>
                  <a:gd name="connsiteY14" fmla="*/ 2554601 h 2959949"/>
                  <a:gd name="connsiteX15" fmla="*/ 1310910 w 1455471"/>
                  <a:gd name="connsiteY15" fmla="*/ 2675981 h 2959949"/>
                  <a:gd name="connsiteX16" fmla="*/ 1391830 w 1455471"/>
                  <a:gd name="connsiteY16" fmla="*/ 2716442 h 2959949"/>
                  <a:gd name="connsiteX17" fmla="*/ 1391830 w 1455471"/>
                  <a:gd name="connsiteY17" fmla="*/ 2910651 h 2959949"/>
                  <a:gd name="connsiteX18" fmla="*/ 1009986 w 1455471"/>
                  <a:gd name="connsiteY18" fmla="*/ 2828211 h 2959949"/>
                  <a:gd name="connsiteX19" fmla="*/ 940330 w 1455471"/>
                  <a:gd name="connsiteY19" fmla="*/ 2580488 h 2959949"/>
                  <a:gd name="connsiteX20" fmla="*/ 838376 w 1455471"/>
                  <a:gd name="connsiteY20" fmla="*/ 1947699 h 2959949"/>
                  <a:gd name="connsiteX21" fmla="*/ 801112 w 1455471"/>
                  <a:gd name="connsiteY21" fmla="*/ 1632109 h 2959949"/>
                  <a:gd name="connsiteX22" fmla="*/ 750929 w 1455471"/>
                  <a:gd name="connsiteY22" fmla="*/ 1212955 h 2959949"/>
                  <a:gd name="connsiteX23" fmla="*/ 695915 w 1455471"/>
                  <a:gd name="connsiteY23" fmla="*/ 895734 h 2959949"/>
                  <a:gd name="connsiteX24" fmla="*/ 647363 w 1455471"/>
                  <a:gd name="connsiteY24" fmla="*/ 1081851 h 2959949"/>
                  <a:gd name="connsiteX25" fmla="*/ 614995 w 1455471"/>
                  <a:gd name="connsiteY25" fmla="*/ 1737305 h 2959949"/>
                  <a:gd name="connsiteX26" fmla="*/ 598811 w 1455471"/>
                  <a:gd name="connsiteY26" fmla="*/ 1874870 h 2959949"/>
                  <a:gd name="connsiteX27" fmla="*/ 631179 w 1455471"/>
                  <a:gd name="connsiteY27" fmla="*/ 2012435 h 2959949"/>
                  <a:gd name="connsiteX28" fmla="*/ 639271 w 1455471"/>
                  <a:gd name="connsiteY28" fmla="*/ 2506049 h 2959949"/>
                  <a:gd name="connsiteX29" fmla="*/ 687823 w 1455471"/>
                  <a:gd name="connsiteY29" fmla="*/ 2797362 h 2959949"/>
                  <a:gd name="connsiteX30" fmla="*/ 655455 w 1455471"/>
                  <a:gd name="connsiteY30" fmla="*/ 2854006 h 2959949"/>
                  <a:gd name="connsiteX31" fmla="*/ 380326 w 1455471"/>
                  <a:gd name="connsiteY31" fmla="*/ 2821638 h 2959949"/>
                  <a:gd name="connsiteX32" fmla="*/ 323682 w 1455471"/>
                  <a:gd name="connsiteY32" fmla="*/ 2764994 h 2959949"/>
                  <a:gd name="connsiteX33" fmla="*/ 226577 w 1455471"/>
                  <a:gd name="connsiteY33" fmla="*/ 2077171 h 2959949"/>
                  <a:gd name="connsiteX34" fmla="*/ 161841 w 1455471"/>
                  <a:gd name="connsiteY34" fmla="*/ 1818226 h 2959949"/>
                  <a:gd name="connsiteX35" fmla="*/ 137565 w 1455471"/>
                  <a:gd name="connsiteY35" fmla="*/ 1583557 h 2959949"/>
                  <a:gd name="connsiteX36" fmla="*/ 80921 w 1455471"/>
                  <a:gd name="connsiteY36" fmla="*/ 733893 h 2959949"/>
                  <a:gd name="connsiteX37" fmla="*/ 8092 w 1455471"/>
                  <a:gd name="connsiteY37" fmla="*/ 474948 h 2959949"/>
                  <a:gd name="connsiteX38" fmla="*/ 32369 w 1455471"/>
                  <a:gd name="connsiteY38" fmla="*/ 345475 h 2959949"/>
                  <a:gd name="connsiteX39" fmla="*/ 178025 w 1455471"/>
                  <a:gd name="connsiteY39" fmla="*/ 5610 h 2959949"/>
                  <a:gd name="connsiteX0" fmla="*/ 178025 w 1455471"/>
                  <a:gd name="connsiteY0" fmla="*/ 5610 h 2959949"/>
                  <a:gd name="connsiteX1" fmla="*/ 299406 w 1455471"/>
                  <a:gd name="connsiteY1" fmla="*/ 78438 h 2959949"/>
                  <a:gd name="connsiteX2" fmla="*/ 493615 w 1455471"/>
                  <a:gd name="connsiteY2" fmla="*/ 126990 h 2959949"/>
                  <a:gd name="connsiteX3" fmla="*/ 687823 w 1455471"/>
                  <a:gd name="connsiteY3" fmla="*/ 143174 h 2959949"/>
                  <a:gd name="connsiteX4" fmla="*/ 865848 w 1455471"/>
                  <a:gd name="connsiteY4" fmla="*/ 110806 h 2959949"/>
                  <a:gd name="connsiteX5" fmla="*/ 946769 w 1455471"/>
                  <a:gd name="connsiteY5" fmla="*/ 62254 h 2959949"/>
                  <a:gd name="connsiteX6" fmla="*/ 1181438 w 1455471"/>
                  <a:gd name="connsiteY6" fmla="*/ 264555 h 2959949"/>
                  <a:gd name="connsiteX7" fmla="*/ 1351370 w 1455471"/>
                  <a:gd name="connsiteY7" fmla="*/ 385935 h 2959949"/>
                  <a:gd name="connsiteX8" fmla="*/ 1327094 w 1455471"/>
                  <a:gd name="connsiteY8" fmla="*/ 491132 h 2959949"/>
                  <a:gd name="connsiteX9" fmla="*/ 1246174 w 1455471"/>
                  <a:gd name="connsiteY9" fmla="*/ 750077 h 2959949"/>
                  <a:gd name="connsiteX10" fmla="*/ 1221898 w 1455471"/>
                  <a:gd name="connsiteY10" fmla="*/ 1551189 h 2959949"/>
                  <a:gd name="connsiteX11" fmla="*/ 1262358 w 1455471"/>
                  <a:gd name="connsiteY11" fmla="*/ 1747097 h 2959949"/>
                  <a:gd name="connsiteX12" fmla="*/ 1294726 w 1455471"/>
                  <a:gd name="connsiteY12" fmla="*/ 2036711 h 2959949"/>
                  <a:gd name="connsiteX13" fmla="*/ 1338427 w 1455471"/>
                  <a:gd name="connsiteY13" fmla="*/ 2332987 h 2959949"/>
                  <a:gd name="connsiteX14" fmla="*/ 1367554 w 1455471"/>
                  <a:gd name="connsiteY14" fmla="*/ 2554601 h 2959949"/>
                  <a:gd name="connsiteX15" fmla="*/ 1310910 w 1455471"/>
                  <a:gd name="connsiteY15" fmla="*/ 2675981 h 2959949"/>
                  <a:gd name="connsiteX16" fmla="*/ 1391830 w 1455471"/>
                  <a:gd name="connsiteY16" fmla="*/ 2716442 h 2959949"/>
                  <a:gd name="connsiteX17" fmla="*/ 1391830 w 1455471"/>
                  <a:gd name="connsiteY17" fmla="*/ 2910651 h 2959949"/>
                  <a:gd name="connsiteX18" fmla="*/ 1009986 w 1455471"/>
                  <a:gd name="connsiteY18" fmla="*/ 2828211 h 2959949"/>
                  <a:gd name="connsiteX19" fmla="*/ 940330 w 1455471"/>
                  <a:gd name="connsiteY19" fmla="*/ 2580488 h 2959949"/>
                  <a:gd name="connsiteX20" fmla="*/ 838376 w 1455471"/>
                  <a:gd name="connsiteY20" fmla="*/ 1947699 h 2959949"/>
                  <a:gd name="connsiteX21" fmla="*/ 801112 w 1455471"/>
                  <a:gd name="connsiteY21" fmla="*/ 1632109 h 2959949"/>
                  <a:gd name="connsiteX22" fmla="*/ 750929 w 1455471"/>
                  <a:gd name="connsiteY22" fmla="*/ 1212955 h 2959949"/>
                  <a:gd name="connsiteX23" fmla="*/ 695915 w 1455471"/>
                  <a:gd name="connsiteY23" fmla="*/ 895734 h 2959949"/>
                  <a:gd name="connsiteX24" fmla="*/ 647363 w 1455471"/>
                  <a:gd name="connsiteY24" fmla="*/ 1081851 h 2959949"/>
                  <a:gd name="connsiteX25" fmla="*/ 614995 w 1455471"/>
                  <a:gd name="connsiteY25" fmla="*/ 1737305 h 2959949"/>
                  <a:gd name="connsiteX26" fmla="*/ 598811 w 1455471"/>
                  <a:gd name="connsiteY26" fmla="*/ 1874870 h 2959949"/>
                  <a:gd name="connsiteX27" fmla="*/ 631179 w 1455471"/>
                  <a:gd name="connsiteY27" fmla="*/ 2012435 h 2959949"/>
                  <a:gd name="connsiteX28" fmla="*/ 639271 w 1455471"/>
                  <a:gd name="connsiteY28" fmla="*/ 2506049 h 2959949"/>
                  <a:gd name="connsiteX29" fmla="*/ 687823 w 1455471"/>
                  <a:gd name="connsiteY29" fmla="*/ 2797362 h 2959949"/>
                  <a:gd name="connsiteX30" fmla="*/ 655455 w 1455471"/>
                  <a:gd name="connsiteY30" fmla="*/ 2854006 h 2959949"/>
                  <a:gd name="connsiteX31" fmla="*/ 380326 w 1455471"/>
                  <a:gd name="connsiteY31" fmla="*/ 2821638 h 2959949"/>
                  <a:gd name="connsiteX32" fmla="*/ 323682 w 1455471"/>
                  <a:gd name="connsiteY32" fmla="*/ 2764994 h 2959949"/>
                  <a:gd name="connsiteX33" fmla="*/ 226577 w 1455471"/>
                  <a:gd name="connsiteY33" fmla="*/ 2077171 h 2959949"/>
                  <a:gd name="connsiteX34" fmla="*/ 161841 w 1455471"/>
                  <a:gd name="connsiteY34" fmla="*/ 1818226 h 2959949"/>
                  <a:gd name="connsiteX35" fmla="*/ 137565 w 1455471"/>
                  <a:gd name="connsiteY35" fmla="*/ 1583557 h 2959949"/>
                  <a:gd name="connsiteX36" fmla="*/ 80921 w 1455471"/>
                  <a:gd name="connsiteY36" fmla="*/ 733893 h 2959949"/>
                  <a:gd name="connsiteX37" fmla="*/ 8092 w 1455471"/>
                  <a:gd name="connsiteY37" fmla="*/ 474948 h 2959949"/>
                  <a:gd name="connsiteX38" fmla="*/ 32369 w 1455471"/>
                  <a:gd name="connsiteY38" fmla="*/ 345475 h 2959949"/>
                  <a:gd name="connsiteX39" fmla="*/ 178025 w 1455471"/>
                  <a:gd name="connsiteY39" fmla="*/ 5610 h 2959949"/>
                  <a:gd name="connsiteX0" fmla="*/ 178025 w 1455471"/>
                  <a:gd name="connsiteY0" fmla="*/ 5610 h 2959949"/>
                  <a:gd name="connsiteX1" fmla="*/ 299406 w 1455471"/>
                  <a:gd name="connsiteY1" fmla="*/ 78438 h 2959949"/>
                  <a:gd name="connsiteX2" fmla="*/ 493615 w 1455471"/>
                  <a:gd name="connsiteY2" fmla="*/ 126990 h 2959949"/>
                  <a:gd name="connsiteX3" fmla="*/ 687823 w 1455471"/>
                  <a:gd name="connsiteY3" fmla="*/ 143174 h 2959949"/>
                  <a:gd name="connsiteX4" fmla="*/ 865848 w 1455471"/>
                  <a:gd name="connsiteY4" fmla="*/ 110806 h 2959949"/>
                  <a:gd name="connsiteX5" fmla="*/ 946769 w 1455471"/>
                  <a:gd name="connsiteY5" fmla="*/ 62254 h 2959949"/>
                  <a:gd name="connsiteX6" fmla="*/ 1181438 w 1455471"/>
                  <a:gd name="connsiteY6" fmla="*/ 264555 h 2959949"/>
                  <a:gd name="connsiteX7" fmla="*/ 1351370 w 1455471"/>
                  <a:gd name="connsiteY7" fmla="*/ 385935 h 2959949"/>
                  <a:gd name="connsiteX8" fmla="*/ 1327094 w 1455471"/>
                  <a:gd name="connsiteY8" fmla="*/ 491132 h 2959949"/>
                  <a:gd name="connsiteX9" fmla="*/ 1246174 w 1455471"/>
                  <a:gd name="connsiteY9" fmla="*/ 750077 h 2959949"/>
                  <a:gd name="connsiteX10" fmla="*/ 1221898 w 1455471"/>
                  <a:gd name="connsiteY10" fmla="*/ 1551189 h 2959949"/>
                  <a:gd name="connsiteX11" fmla="*/ 1262358 w 1455471"/>
                  <a:gd name="connsiteY11" fmla="*/ 1747097 h 2959949"/>
                  <a:gd name="connsiteX12" fmla="*/ 1294726 w 1455471"/>
                  <a:gd name="connsiteY12" fmla="*/ 2036711 h 2959949"/>
                  <a:gd name="connsiteX13" fmla="*/ 1338427 w 1455471"/>
                  <a:gd name="connsiteY13" fmla="*/ 2332987 h 2959949"/>
                  <a:gd name="connsiteX14" fmla="*/ 1367554 w 1455471"/>
                  <a:gd name="connsiteY14" fmla="*/ 2554601 h 2959949"/>
                  <a:gd name="connsiteX15" fmla="*/ 1346565 w 1455471"/>
                  <a:gd name="connsiteY15" fmla="*/ 2663016 h 2959949"/>
                  <a:gd name="connsiteX16" fmla="*/ 1391830 w 1455471"/>
                  <a:gd name="connsiteY16" fmla="*/ 2716442 h 2959949"/>
                  <a:gd name="connsiteX17" fmla="*/ 1391830 w 1455471"/>
                  <a:gd name="connsiteY17" fmla="*/ 2910651 h 2959949"/>
                  <a:gd name="connsiteX18" fmla="*/ 1009986 w 1455471"/>
                  <a:gd name="connsiteY18" fmla="*/ 2828211 h 2959949"/>
                  <a:gd name="connsiteX19" fmla="*/ 940330 w 1455471"/>
                  <a:gd name="connsiteY19" fmla="*/ 2580488 h 2959949"/>
                  <a:gd name="connsiteX20" fmla="*/ 838376 w 1455471"/>
                  <a:gd name="connsiteY20" fmla="*/ 1947699 h 2959949"/>
                  <a:gd name="connsiteX21" fmla="*/ 801112 w 1455471"/>
                  <a:gd name="connsiteY21" fmla="*/ 1632109 h 2959949"/>
                  <a:gd name="connsiteX22" fmla="*/ 750929 w 1455471"/>
                  <a:gd name="connsiteY22" fmla="*/ 1212955 h 2959949"/>
                  <a:gd name="connsiteX23" fmla="*/ 695915 w 1455471"/>
                  <a:gd name="connsiteY23" fmla="*/ 895734 h 2959949"/>
                  <a:gd name="connsiteX24" fmla="*/ 647363 w 1455471"/>
                  <a:gd name="connsiteY24" fmla="*/ 1081851 h 2959949"/>
                  <a:gd name="connsiteX25" fmla="*/ 614995 w 1455471"/>
                  <a:gd name="connsiteY25" fmla="*/ 1737305 h 2959949"/>
                  <a:gd name="connsiteX26" fmla="*/ 598811 w 1455471"/>
                  <a:gd name="connsiteY26" fmla="*/ 1874870 h 2959949"/>
                  <a:gd name="connsiteX27" fmla="*/ 631179 w 1455471"/>
                  <a:gd name="connsiteY27" fmla="*/ 2012435 h 2959949"/>
                  <a:gd name="connsiteX28" fmla="*/ 639271 w 1455471"/>
                  <a:gd name="connsiteY28" fmla="*/ 2506049 h 2959949"/>
                  <a:gd name="connsiteX29" fmla="*/ 687823 w 1455471"/>
                  <a:gd name="connsiteY29" fmla="*/ 2797362 h 2959949"/>
                  <a:gd name="connsiteX30" fmla="*/ 655455 w 1455471"/>
                  <a:gd name="connsiteY30" fmla="*/ 2854006 h 2959949"/>
                  <a:gd name="connsiteX31" fmla="*/ 380326 w 1455471"/>
                  <a:gd name="connsiteY31" fmla="*/ 2821638 h 2959949"/>
                  <a:gd name="connsiteX32" fmla="*/ 323682 w 1455471"/>
                  <a:gd name="connsiteY32" fmla="*/ 2764994 h 2959949"/>
                  <a:gd name="connsiteX33" fmla="*/ 226577 w 1455471"/>
                  <a:gd name="connsiteY33" fmla="*/ 2077171 h 2959949"/>
                  <a:gd name="connsiteX34" fmla="*/ 161841 w 1455471"/>
                  <a:gd name="connsiteY34" fmla="*/ 1818226 h 2959949"/>
                  <a:gd name="connsiteX35" fmla="*/ 137565 w 1455471"/>
                  <a:gd name="connsiteY35" fmla="*/ 1583557 h 2959949"/>
                  <a:gd name="connsiteX36" fmla="*/ 80921 w 1455471"/>
                  <a:gd name="connsiteY36" fmla="*/ 733893 h 2959949"/>
                  <a:gd name="connsiteX37" fmla="*/ 8092 w 1455471"/>
                  <a:gd name="connsiteY37" fmla="*/ 474948 h 2959949"/>
                  <a:gd name="connsiteX38" fmla="*/ 32369 w 1455471"/>
                  <a:gd name="connsiteY38" fmla="*/ 345475 h 2959949"/>
                  <a:gd name="connsiteX39" fmla="*/ 178025 w 1455471"/>
                  <a:gd name="connsiteY39" fmla="*/ 5610 h 2959949"/>
                  <a:gd name="connsiteX0" fmla="*/ 178025 w 1456551"/>
                  <a:gd name="connsiteY0" fmla="*/ 5610 h 2959949"/>
                  <a:gd name="connsiteX1" fmla="*/ 299406 w 1456551"/>
                  <a:gd name="connsiteY1" fmla="*/ 78438 h 2959949"/>
                  <a:gd name="connsiteX2" fmla="*/ 493615 w 1456551"/>
                  <a:gd name="connsiteY2" fmla="*/ 126990 h 2959949"/>
                  <a:gd name="connsiteX3" fmla="*/ 687823 w 1456551"/>
                  <a:gd name="connsiteY3" fmla="*/ 143174 h 2959949"/>
                  <a:gd name="connsiteX4" fmla="*/ 865848 w 1456551"/>
                  <a:gd name="connsiteY4" fmla="*/ 110806 h 2959949"/>
                  <a:gd name="connsiteX5" fmla="*/ 946769 w 1456551"/>
                  <a:gd name="connsiteY5" fmla="*/ 62254 h 2959949"/>
                  <a:gd name="connsiteX6" fmla="*/ 1181438 w 1456551"/>
                  <a:gd name="connsiteY6" fmla="*/ 264555 h 2959949"/>
                  <a:gd name="connsiteX7" fmla="*/ 1351370 w 1456551"/>
                  <a:gd name="connsiteY7" fmla="*/ 385935 h 2959949"/>
                  <a:gd name="connsiteX8" fmla="*/ 1327094 w 1456551"/>
                  <a:gd name="connsiteY8" fmla="*/ 491132 h 2959949"/>
                  <a:gd name="connsiteX9" fmla="*/ 1246174 w 1456551"/>
                  <a:gd name="connsiteY9" fmla="*/ 750077 h 2959949"/>
                  <a:gd name="connsiteX10" fmla="*/ 1221898 w 1456551"/>
                  <a:gd name="connsiteY10" fmla="*/ 1551189 h 2959949"/>
                  <a:gd name="connsiteX11" fmla="*/ 1262358 w 1456551"/>
                  <a:gd name="connsiteY11" fmla="*/ 1747097 h 2959949"/>
                  <a:gd name="connsiteX12" fmla="*/ 1294726 w 1456551"/>
                  <a:gd name="connsiteY12" fmla="*/ 2036711 h 2959949"/>
                  <a:gd name="connsiteX13" fmla="*/ 1338427 w 1456551"/>
                  <a:gd name="connsiteY13" fmla="*/ 2332987 h 2959949"/>
                  <a:gd name="connsiteX14" fmla="*/ 1367554 w 1456551"/>
                  <a:gd name="connsiteY14" fmla="*/ 2554601 h 2959949"/>
                  <a:gd name="connsiteX15" fmla="*/ 1346565 w 1456551"/>
                  <a:gd name="connsiteY15" fmla="*/ 2663016 h 2959949"/>
                  <a:gd name="connsiteX16" fmla="*/ 1398312 w 1456551"/>
                  <a:gd name="connsiteY16" fmla="*/ 2797474 h 2959949"/>
                  <a:gd name="connsiteX17" fmla="*/ 1391830 w 1456551"/>
                  <a:gd name="connsiteY17" fmla="*/ 2910651 h 2959949"/>
                  <a:gd name="connsiteX18" fmla="*/ 1009986 w 1456551"/>
                  <a:gd name="connsiteY18" fmla="*/ 2828211 h 2959949"/>
                  <a:gd name="connsiteX19" fmla="*/ 940330 w 1456551"/>
                  <a:gd name="connsiteY19" fmla="*/ 2580488 h 2959949"/>
                  <a:gd name="connsiteX20" fmla="*/ 838376 w 1456551"/>
                  <a:gd name="connsiteY20" fmla="*/ 1947699 h 2959949"/>
                  <a:gd name="connsiteX21" fmla="*/ 801112 w 1456551"/>
                  <a:gd name="connsiteY21" fmla="*/ 1632109 h 2959949"/>
                  <a:gd name="connsiteX22" fmla="*/ 750929 w 1456551"/>
                  <a:gd name="connsiteY22" fmla="*/ 1212955 h 2959949"/>
                  <a:gd name="connsiteX23" fmla="*/ 695915 w 1456551"/>
                  <a:gd name="connsiteY23" fmla="*/ 895734 h 2959949"/>
                  <a:gd name="connsiteX24" fmla="*/ 647363 w 1456551"/>
                  <a:gd name="connsiteY24" fmla="*/ 1081851 h 2959949"/>
                  <a:gd name="connsiteX25" fmla="*/ 614995 w 1456551"/>
                  <a:gd name="connsiteY25" fmla="*/ 1737305 h 2959949"/>
                  <a:gd name="connsiteX26" fmla="*/ 598811 w 1456551"/>
                  <a:gd name="connsiteY26" fmla="*/ 1874870 h 2959949"/>
                  <a:gd name="connsiteX27" fmla="*/ 631179 w 1456551"/>
                  <a:gd name="connsiteY27" fmla="*/ 2012435 h 2959949"/>
                  <a:gd name="connsiteX28" fmla="*/ 639271 w 1456551"/>
                  <a:gd name="connsiteY28" fmla="*/ 2506049 h 2959949"/>
                  <a:gd name="connsiteX29" fmla="*/ 687823 w 1456551"/>
                  <a:gd name="connsiteY29" fmla="*/ 2797362 h 2959949"/>
                  <a:gd name="connsiteX30" fmla="*/ 655455 w 1456551"/>
                  <a:gd name="connsiteY30" fmla="*/ 2854006 h 2959949"/>
                  <a:gd name="connsiteX31" fmla="*/ 380326 w 1456551"/>
                  <a:gd name="connsiteY31" fmla="*/ 2821638 h 2959949"/>
                  <a:gd name="connsiteX32" fmla="*/ 323682 w 1456551"/>
                  <a:gd name="connsiteY32" fmla="*/ 2764994 h 2959949"/>
                  <a:gd name="connsiteX33" fmla="*/ 226577 w 1456551"/>
                  <a:gd name="connsiteY33" fmla="*/ 2077171 h 2959949"/>
                  <a:gd name="connsiteX34" fmla="*/ 161841 w 1456551"/>
                  <a:gd name="connsiteY34" fmla="*/ 1818226 h 2959949"/>
                  <a:gd name="connsiteX35" fmla="*/ 137565 w 1456551"/>
                  <a:gd name="connsiteY35" fmla="*/ 1583557 h 2959949"/>
                  <a:gd name="connsiteX36" fmla="*/ 80921 w 1456551"/>
                  <a:gd name="connsiteY36" fmla="*/ 733893 h 2959949"/>
                  <a:gd name="connsiteX37" fmla="*/ 8092 w 1456551"/>
                  <a:gd name="connsiteY37" fmla="*/ 474948 h 2959949"/>
                  <a:gd name="connsiteX38" fmla="*/ 32369 w 1456551"/>
                  <a:gd name="connsiteY38" fmla="*/ 345475 h 2959949"/>
                  <a:gd name="connsiteX39" fmla="*/ 178025 w 1456551"/>
                  <a:gd name="connsiteY39" fmla="*/ 5610 h 2959949"/>
                  <a:gd name="connsiteX0" fmla="*/ 178025 w 1479241"/>
                  <a:gd name="connsiteY0" fmla="*/ 5610 h 2959949"/>
                  <a:gd name="connsiteX1" fmla="*/ 299406 w 1479241"/>
                  <a:gd name="connsiteY1" fmla="*/ 78438 h 2959949"/>
                  <a:gd name="connsiteX2" fmla="*/ 493615 w 1479241"/>
                  <a:gd name="connsiteY2" fmla="*/ 126990 h 2959949"/>
                  <a:gd name="connsiteX3" fmla="*/ 687823 w 1479241"/>
                  <a:gd name="connsiteY3" fmla="*/ 143174 h 2959949"/>
                  <a:gd name="connsiteX4" fmla="*/ 865848 w 1479241"/>
                  <a:gd name="connsiteY4" fmla="*/ 110806 h 2959949"/>
                  <a:gd name="connsiteX5" fmla="*/ 946769 w 1479241"/>
                  <a:gd name="connsiteY5" fmla="*/ 62254 h 2959949"/>
                  <a:gd name="connsiteX6" fmla="*/ 1181438 w 1479241"/>
                  <a:gd name="connsiteY6" fmla="*/ 264555 h 2959949"/>
                  <a:gd name="connsiteX7" fmla="*/ 1351370 w 1479241"/>
                  <a:gd name="connsiteY7" fmla="*/ 385935 h 2959949"/>
                  <a:gd name="connsiteX8" fmla="*/ 1327094 w 1479241"/>
                  <a:gd name="connsiteY8" fmla="*/ 491132 h 2959949"/>
                  <a:gd name="connsiteX9" fmla="*/ 1246174 w 1479241"/>
                  <a:gd name="connsiteY9" fmla="*/ 750077 h 2959949"/>
                  <a:gd name="connsiteX10" fmla="*/ 1221898 w 1479241"/>
                  <a:gd name="connsiteY10" fmla="*/ 1551189 h 2959949"/>
                  <a:gd name="connsiteX11" fmla="*/ 1262358 w 1479241"/>
                  <a:gd name="connsiteY11" fmla="*/ 1747097 h 2959949"/>
                  <a:gd name="connsiteX12" fmla="*/ 1294726 w 1479241"/>
                  <a:gd name="connsiteY12" fmla="*/ 2036711 h 2959949"/>
                  <a:gd name="connsiteX13" fmla="*/ 1338427 w 1479241"/>
                  <a:gd name="connsiteY13" fmla="*/ 2332987 h 2959949"/>
                  <a:gd name="connsiteX14" fmla="*/ 1367554 w 1479241"/>
                  <a:gd name="connsiteY14" fmla="*/ 2554601 h 2959949"/>
                  <a:gd name="connsiteX15" fmla="*/ 1346565 w 1479241"/>
                  <a:gd name="connsiteY15" fmla="*/ 2663016 h 2959949"/>
                  <a:gd name="connsiteX16" fmla="*/ 1398312 w 1479241"/>
                  <a:gd name="connsiteY16" fmla="*/ 2797474 h 2959949"/>
                  <a:gd name="connsiteX17" fmla="*/ 1414520 w 1479241"/>
                  <a:gd name="connsiteY17" fmla="*/ 2910651 h 2959949"/>
                  <a:gd name="connsiteX18" fmla="*/ 1009986 w 1479241"/>
                  <a:gd name="connsiteY18" fmla="*/ 2828211 h 2959949"/>
                  <a:gd name="connsiteX19" fmla="*/ 940330 w 1479241"/>
                  <a:gd name="connsiteY19" fmla="*/ 2580488 h 2959949"/>
                  <a:gd name="connsiteX20" fmla="*/ 838376 w 1479241"/>
                  <a:gd name="connsiteY20" fmla="*/ 1947699 h 2959949"/>
                  <a:gd name="connsiteX21" fmla="*/ 801112 w 1479241"/>
                  <a:gd name="connsiteY21" fmla="*/ 1632109 h 2959949"/>
                  <a:gd name="connsiteX22" fmla="*/ 750929 w 1479241"/>
                  <a:gd name="connsiteY22" fmla="*/ 1212955 h 2959949"/>
                  <a:gd name="connsiteX23" fmla="*/ 695915 w 1479241"/>
                  <a:gd name="connsiteY23" fmla="*/ 895734 h 2959949"/>
                  <a:gd name="connsiteX24" fmla="*/ 647363 w 1479241"/>
                  <a:gd name="connsiteY24" fmla="*/ 1081851 h 2959949"/>
                  <a:gd name="connsiteX25" fmla="*/ 614995 w 1479241"/>
                  <a:gd name="connsiteY25" fmla="*/ 1737305 h 2959949"/>
                  <a:gd name="connsiteX26" fmla="*/ 598811 w 1479241"/>
                  <a:gd name="connsiteY26" fmla="*/ 1874870 h 2959949"/>
                  <a:gd name="connsiteX27" fmla="*/ 631179 w 1479241"/>
                  <a:gd name="connsiteY27" fmla="*/ 2012435 h 2959949"/>
                  <a:gd name="connsiteX28" fmla="*/ 639271 w 1479241"/>
                  <a:gd name="connsiteY28" fmla="*/ 2506049 h 2959949"/>
                  <a:gd name="connsiteX29" fmla="*/ 687823 w 1479241"/>
                  <a:gd name="connsiteY29" fmla="*/ 2797362 h 2959949"/>
                  <a:gd name="connsiteX30" fmla="*/ 655455 w 1479241"/>
                  <a:gd name="connsiteY30" fmla="*/ 2854006 h 2959949"/>
                  <a:gd name="connsiteX31" fmla="*/ 380326 w 1479241"/>
                  <a:gd name="connsiteY31" fmla="*/ 2821638 h 2959949"/>
                  <a:gd name="connsiteX32" fmla="*/ 323682 w 1479241"/>
                  <a:gd name="connsiteY32" fmla="*/ 2764994 h 2959949"/>
                  <a:gd name="connsiteX33" fmla="*/ 226577 w 1479241"/>
                  <a:gd name="connsiteY33" fmla="*/ 2077171 h 2959949"/>
                  <a:gd name="connsiteX34" fmla="*/ 161841 w 1479241"/>
                  <a:gd name="connsiteY34" fmla="*/ 1818226 h 2959949"/>
                  <a:gd name="connsiteX35" fmla="*/ 137565 w 1479241"/>
                  <a:gd name="connsiteY35" fmla="*/ 1583557 h 2959949"/>
                  <a:gd name="connsiteX36" fmla="*/ 80921 w 1479241"/>
                  <a:gd name="connsiteY36" fmla="*/ 733893 h 2959949"/>
                  <a:gd name="connsiteX37" fmla="*/ 8092 w 1479241"/>
                  <a:gd name="connsiteY37" fmla="*/ 474948 h 2959949"/>
                  <a:gd name="connsiteX38" fmla="*/ 32369 w 1479241"/>
                  <a:gd name="connsiteY38" fmla="*/ 345475 h 2959949"/>
                  <a:gd name="connsiteX39" fmla="*/ 178025 w 1479241"/>
                  <a:gd name="connsiteY39" fmla="*/ 5610 h 2959949"/>
                  <a:gd name="connsiteX0" fmla="*/ 178025 w 1414520"/>
                  <a:gd name="connsiteY0" fmla="*/ 5610 h 2959949"/>
                  <a:gd name="connsiteX1" fmla="*/ 299406 w 1414520"/>
                  <a:gd name="connsiteY1" fmla="*/ 78438 h 2959949"/>
                  <a:gd name="connsiteX2" fmla="*/ 493615 w 1414520"/>
                  <a:gd name="connsiteY2" fmla="*/ 126990 h 2959949"/>
                  <a:gd name="connsiteX3" fmla="*/ 687823 w 1414520"/>
                  <a:gd name="connsiteY3" fmla="*/ 143174 h 2959949"/>
                  <a:gd name="connsiteX4" fmla="*/ 865848 w 1414520"/>
                  <a:gd name="connsiteY4" fmla="*/ 110806 h 2959949"/>
                  <a:gd name="connsiteX5" fmla="*/ 946769 w 1414520"/>
                  <a:gd name="connsiteY5" fmla="*/ 62254 h 2959949"/>
                  <a:gd name="connsiteX6" fmla="*/ 1181438 w 1414520"/>
                  <a:gd name="connsiteY6" fmla="*/ 264555 h 2959949"/>
                  <a:gd name="connsiteX7" fmla="*/ 1351370 w 1414520"/>
                  <a:gd name="connsiteY7" fmla="*/ 385935 h 2959949"/>
                  <a:gd name="connsiteX8" fmla="*/ 1327094 w 1414520"/>
                  <a:gd name="connsiteY8" fmla="*/ 491132 h 2959949"/>
                  <a:gd name="connsiteX9" fmla="*/ 1246174 w 1414520"/>
                  <a:gd name="connsiteY9" fmla="*/ 750077 h 2959949"/>
                  <a:gd name="connsiteX10" fmla="*/ 1221898 w 1414520"/>
                  <a:gd name="connsiteY10" fmla="*/ 1551189 h 2959949"/>
                  <a:gd name="connsiteX11" fmla="*/ 1262358 w 1414520"/>
                  <a:gd name="connsiteY11" fmla="*/ 1747097 h 2959949"/>
                  <a:gd name="connsiteX12" fmla="*/ 1294726 w 1414520"/>
                  <a:gd name="connsiteY12" fmla="*/ 2036711 h 2959949"/>
                  <a:gd name="connsiteX13" fmla="*/ 1338427 w 1414520"/>
                  <a:gd name="connsiteY13" fmla="*/ 2332987 h 2959949"/>
                  <a:gd name="connsiteX14" fmla="*/ 1367554 w 1414520"/>
                  <a:gd name="connsiteY14" fmla="*/ 2554601 h 2959949"/>
                  <a:gd name="connsiteX15" fmla="*/ 1346565 w 1414520"/>
                  <a:gd name="connsiteY15" fmla="*/ 2663016 h 2959949"/>
                  <a:gd name="connsiteX16" fmla="*/ 1398312 w 1414520"/>
                  <a:gd name="connsiteY16" fmla="*/ 2797474 h 2959949"/>
                  <a:gd name="connsiteX17" fmla="*/ 1414520 w 1414520"/>
                  <a:gd name="connsiteY17" fmla="*/ 2910651 h 2959949"/>
                  <a:gd name="connsiteX18" fmla="*/ 1009986 w 1414520"/>
                  <a:gd name="connsiteY18" fmla="*/ 2828211 h 2959949"/>
                  <a:gd name="connsiteX19" fmla="*/ 940330 w 1414520"/>
                  <a:gd name="connsiteY19" fmla="*/ 2580488 h 2959949"/>
                  <a:gd name="connsiteX20" fmla="*/ 838376 w 1414520"/>
                  <a:gd name="connsiteY20" fmla="*/ 1947699 h 2959949"/>
                  <a:gd name="connsiteX21" fmla="*/ 801112 w 1414520"/>
                  <a:gd name="connsiteY21" fmla="*/ 1632109 h 2959949"/>
                  <a:gd name="connsiteX22" fmla="*/ 750929 w 1414520"/>
                  <a:gd name="connsiteY22" fmla="*/ 1212955 h 2959949"/>
                  <a:gd name="connsiteX23" fmla="*/ 695915 w 1414520"/>
                  <a:gd name="connsiteY23" fmla="*/ 895734 h 2959949"/>
                  <a:gd name="connsiteX24" fmla="*/ 647363 w 1414520"/>
                  <a:gd name="connsiteY24" fmla="*/ 1081851 h 2959949"/>
                  <a:gd name="connsiteX25" fmla="*/ 614995 w 1414520"/>
                  <a:gd name="connsiteY25" fmla="*/ 1737305 h 2959949"/>
                  <a:gd name="connsiteX26" fmla="*/ 598811 w 1414520"/>
                  <a:gd name="connsiteY26" fmla="*/ 1874870 h 2959949"/>
                  <a:gd name="connsiteX27" fmla="*/ 631179 w 1414520"/>
                  <a:gd name="connsiteY27" fmla="*/ 2012435 h 2959949"/>
                  <a:gd name="connsiteX28" fmla="*/ 639271 w 1414520"/>
                  <a:gd name="connsiteY28" fmla="*/ 2506049 h 2959949"/>
                  <a:gd name="connsiteX29" fmla="*/ 687823 w 1414520"/>
                  <a:gd name="connsiteY29" fmla="*/ 2797362 h 2959949"/>
                  <a:gd name="connsiteX30" fmla="*/ 655455 w 1414520"/>
                  <a:gd name="connsiteY30" fmla="*/ 2854006 h 2959949"/>
                  <a:gd name="connsiteX31" fmla="*/ 380326 w 1414520"/>
                  <a:gd name="connsiteY31" fmla="*/ 2821638 h 2959949"/>
                  <a:gd name="connsiteX32" fmla="*/ 323682 w 1414520"/>
                  <a:gd name="connsiteY32" fmla="*/ 2764994 h 2959949"/>
                  <a:gd name="connsiteX33" fmla="*/ 226577 w 1414520"/>
                  <a:gd name="connsiteY33" fmla="*/ 2077171 h 2959949"/>
                  <a:gd name="connsiteX34" fmla="*/ 161841 w 1414520"/>
                  <a:gd name="connsiteY34" fmla="*/ 1818226 h 2959949"/>
                  <a:gd name="connsiteX35" fmla="*/ 137565 w 1414520"/>
                  <a:gd name="connsiteY35" fmla="*/ 1583557 h 2959949"/>
                  <a:gd name="connsiteX36" fmla="*/ 80921 w 1414520"/>
                  <a:gd name="connsiteY36" fmla="*/ 733893 h 2959949"/>
                  <a:gd name="connsiteX37" fmla="*/ 8092 w 1414520"/>
                  <a:gd name="connsiteY37" fmla="*/ 474948 h 2959949"/>
                  <a:gd name="connsiteX38" fmla="*/ 32369 w 1414520"/>
                  <a:gd name="connsiteY38" fmla="*/ 345475 h 2959949"/>
                  <a:gd name="connsiteX39" fmla="*/ 178025 w 1414520"/>
                  <a:gd name="connsiteY39" fmla="*/ 5610 h 2959949"/>
                  <a:gd name="connsiteX0" fmla="*/ 178025 w 1414520"/>
                  <a:gd name="connsiteY0" fmla="*/ 5610 h 2959949"/>
                  <a:gd name="connsiteX1" fmla="*/ 299406 w 1414520"/>
                  <a:gd name="connsiteY1" fmla="*/ 78438 h 2959949"/>
                  <a:gd name="connsiteX2" fmla="*/ 493615 w 1414520"/>
                  <a:gd name="connsiteY2" fmla="*/ 126990 h 2959949"/>
                  <a:gd name="connsiteX3" fmla="*/ 687823 w 1414520"/>
                  <a:gd name="connsiteY3" fmla="*/ 143174 h 2959949"/>
                  <a:gd name="connsiteX4" fmla="*/ 865848 w 1414520"/>
                  <a:gd name="connsiteY4" fmla="*/ 110806 h 2959949"/>
                  <a:gd name="connsiteX5" fmla="*/ 946769 w 1414520"/>
                  <a:gd name="connsiteY5" fmla="*/ 62254 h 2959949"/>
                  <a:gd name="connsiteX6" fmla="*/ 1181438 w 1414520"/>
                  <a:gd name="connsiteY6" fmla="*/ 264555 h 2959949"/>
                  <a:gd name="connsiteX7" fmla="*/ 1351370 w 1414520"/>
                  <a:gd name="connsiteY7" fmla="*/ 385935 h 2959949"/>
                  <a:gd name="connsiteX8" fmla="*/ 1327094 w 1414520"/>
                  <a:gd name="connsiteY8" fmla="*/ 491132 h 2959949"/>
                  <a:gd name="connsiteX9" fmla="*/ 1246174 w 1414520"/>
                  <a:gd name="connsiteY9" fmla="*/ 750077 h 2959949"/>
                  <a:gd name="connsiteX10" fmla="*/ 1221898 w 1414520"/>
                  <a:gd name="connsiteY10" fmla="*/ 1551189 h 2959949"/>
                  <a:gd name="connsiteX11" fmla="*/ 1262358 w 1414520"/>
                  <a:gd name="connsiteY11" fmla="*/ 1747097 h 2959949"/>
                  <a:gd name="connsiteX12" fmla="*/ 1294726 w 1414520"/>
                  <a:gd name="connsiteY12" fmla="*/ 2036711 h 2959949"/>
                  <a:gd name="connsiteX13" fmla="*/ 1338427 w 1414520"/>
                  <a:gd name="connsiteY13" fmla="*/ 2332987 h 2959949"/>
                  <a:gd name="connsiteX14" fmla="*/ 1367554 w 1414520"/>
                  <a:gd name="connsiteY14" fmla="*/ 2554601 h 2959949"/>
                  <a:gd name="connsiteX15" fmla="*/ 1346565 w 1414520"/>
                  <a:gd name="connsiteY15" fmla="*/ 2663016 h 2959949"/>
                  <a:gd name="connsiteX16" fmla="*/ 1398312 w 1414520"/>
                  <a:gd name="connsiteY16" fmla="*/ 2797474 h 2959949"/>
                  <a:gd name="connsiteX17" fmla="*/ 1414520 w 1414520"/>
                  <a:gd name="connsiteY17" fmla="*/ 2910651 h 2959949"/>
                  <a:gd name="connsiteX18" fmla="*/ 1009986 w 1414520"/>
                  <a:gd name="connsiteY18" fmla="*/ 2828211 h 2959949"/>
                  <a:gd name="connsiteX19" fmla="*/ 940330 w 1414520"/>
                  <a:gd name="connsiteY19" fmla="*/ 2580488 h 2959949"/>
                  <a:gd name="connsiteX20" fmla="*/ 838376 w 1414520"/>
                  <a:gd name="connsiteY20" fmla="*/ 1947699 h 2959949"/>
                  <a:gd name="connsiteX21" fmla="*/ 801112 w 1414520"/>
                  <a:gd name="connsiteY21" fmla="*/ 1632109 h 2959949"/>
                  <a:gd name="connsiteX22" fmla="*/ 750929 w 1414520"/>
                  <a:gd name="connsiteY22" fmla="*/ 1212955 h 2959949"/>
                  <a:gd name="connsiteX23" fmla="*/ 695915 w 1414520"/>
                  <a:gd name="connsiteY23" fmla="*/ 895734 h 2959949"/>
                  <a:gd name="connsiteX24" fmla="*/ 647363 w 1414520"/>
                  <a:gd name="connsiteY24" fmla="*/ 1081851 h 2959949"/>
                  <a:gd name="connsiteX25" fmla="*/ 614995 w 1414520"/>
                  <a:gd name="connsiteY25" fmla="*/ 1737305 h 2959949"/>
                  <a:gd name="connsiteX26" fmla="*/ 598811 w 1414520"/>
                  <a:gd name="connsiteY26" fmla="*/ 1874870 h 2959949"/>
                  <a:gd name="connsiteX27" fmla="*/ 631179 w 1414520"/>
                  <a:gd name="connsiteY27" fmla="*/ 2012435 h 2959949"/>
                  <a:gd name="connsiteX28" fmla="*/ 639271 w 1414520"/>
                  <a:gd name="connsiteY28" fmla="*/ 2506049 h 2959949"/>
                  <a:gd name="connsiteX29" fmla="*/ 687823 w 1414520"/>
                  <a:gd name="connsiteY29" fmla="*/ 2797362 h 2959949"/>
                  <a:gd name="connsiteX30" fmla="*/ 655455 w 1414520"/>
                  <a:gd name="connsiteY30" fmla="*/ 2854006 h 2959949"/>
                  <a:gd name="connsiteX31" fmla="*/ 380326 w 1414520"/>
                  <a:gd name="connsiteY31" fmla="*/ 2821638 h 2959949"/>
                  <a:gd name="connsiteX32" fmla="*/ 323682 w 1414520"/>
                  <a:gd name="connsiteY32" fmla="*/ 2764994 h 2959949"/>
                  <a:gd name="connsiteX33" fmla="*/ 226577 w 1414520"/>
                  <a:gd name="connsiteY33" fmla="*/ 2077171 h 2959949"/>
                  <a:gd name="connsiteX34" fmla="*/ 161841 w 1414520"/>
                  <a:gd name="connsiteY34" fmla="*/ 1818226 h 2959949"/>
                  <a:gd name="connsiteX35" fmla="*/ 137565 w 1414520"/>
                  <a:gd name="connsiteY35" fmla="*/ 1583557 h 2959949"/>
                  <a:gd name="connsiteX36" fmla="*/ 80921 w 1414520"/>
                  <a:gd name="connsiteY36" fmla="*/ 733893 h 2959949"/>
                  <a:gd name="connsiteX37" fmla="*/ 8092 w 1414520"/>
                  <a:gd name="connsiteY37" fmla="*/ 474948 h 2959949"/>
                  <a:gd name="connsiteX38" fmla="*/ 32369 w 1414520"/>
                  <a:gd name="connsiteY38" fmla="*/ 345475 h 2959949"/>
                  <a:gd name="connsiteX39" fmla="*/ 178025 w 1414520"/>
                  <a:gd name="connsiteY39" fmla="*/ 5610 h 2959949"/>
                  <a:gd name="connsiteX0" fmla="*/ 178025 w 1414520"/>
                  <a:gd name="connsiteY0" fmla="*/ 5610 h 2959949"/>
                  <a:gd name="connsiteX1" fmla="*/ 299406 w 1414520"/>
                  <a:gd name="connsiteY1" fmla="*/ 78438 h 2959949"/>
                  <a:gd name="connsiteX2" fmla="*/ 493615 w 1414520"/>
                  <a:gd name="connsiteY2" fmla="*/ 126990 h 2959949"/>
                  <a:gd name="connsiteX3" fmla="*/ 687823 w 1414520"/>
                  <a:gd name="connsiteY3" fmla="*/ 143174 h 2959949"/>
                  <a:gd name="connsiteX4" fmla="*/ 865848 w 1414520"/>
                  <a:gd name="connsiteY4" fmla="*/ 110806 h 2959949"/>
                  <a:gd name="connsiteX5" fmla="*/ 946769 w 1414520"/>
                  <a:gd name="connsiteY5" fmla="*/ 62254 h 2959949"/>
                  <a:gd name="connsiteX6" fmla="*/ 1181438 w 1414520"/>
                  <a:gd name="connsiteY6" fmla="*/ 264555 h 2959949"/>
                  <a:gd name="connsiteX7" fmla="*/ 1351370 w 1414520"/>
                  <a:gd name="connsiteY7" fmla="*/ 385935 h 2959949"/>
                  <a:gd name="connsiteX8" fmla="*/ 1327094 w 1414520"/>
                  <a:gd name="connsiteY8" fmla="*/ 491132 h 2959949"/>
                  <a:gd name="connsiteX9" fmla="*/ 1246174 w 1414520"/>
                  <a:gd name="connsiteY9" fmla="*/ 750077 h 2959949"/>
                  <a:gd name="connsiteX10" fmla="*/ 1221898 w 1414520"/>
                  <a:gd name="connsiteY10" fmla="*/ 1551189 h 2959949"/>
                  <a:gd name="connsiteX11" fmla="*/ 1262358 w 1414520"/>
                  <a:gd name="connsiteY11" fmla="*/ 1747097 h 2959949"/>
                  <a:gd name="connsiteX12" fmla="*/ 1294726 w 1414520"/>
                  <a:gd name="connsiteY12" fmla="*/ 2036711 h 2959949"/>
                  <a:gd name="connsiteX13" fmla="*/ 1338427 w 1414520"/>
                  <a:gd name="connsiteY13" fmla="*/ 2332987 h 2959949"/>
                  <a:gd name="connsiteX14" fmla="*/ 1367554 w 1414520"/>
                  <a:gd name="connsiteY14" fmla="*/ 2554601 h 2959949"/>
                  <a:gd name="connsiteX15" fmla="*/ 1346565 w 1414520"/>
                  <a:gd name="connsiteY15" fmla="*/ 2663016 h 2959949"/>
                  <a:gd name="connsiteX16" fmla="*/ 1398312 w 1414520"/>
                  <a:gd name="connsiteY16" fmla="*/ 2797474 h 2959949"/>
                  <a:gd name="connsiteX17" fmla="*/ 1414520 w 1414520"/>
                  <a:gd name="connsiteY17" fmla="*/ 2910651 h 2959949"/>
                  <a:gd name="connsiteX18" fmla="*/ 1009986 w 1414520"/>
                  <a:gd name="connsiteY18" fmla="*/ 2828211 h 2959949"/>
                  <a:gd name="connsiteX19" fmla="*/ 940330 w 1414520"/>
                  <a:gd name="connsiteY19" fmla="*/ 2580488 h 2959949"/>
                  <a:gd name="connsiteX20" fmla="*/ 838376 w 1414520"/>
                  <a:gd name="connsiteY20" fmla="*/ 1947699 h 2959949"/>
                  <a:gd name="connsiteX21" fmla="*/ 801112 w 1414520"/>
                  <a:gd name="connsiteY21" fmla="*/ 1632109 h 2959949"/>
                  <a:gd name="connsiteX22" fmla="*/ 750929 w 1414520"/>
                  <a:gd name="connsiteY22" fmla="*/ 1212955 h 2959949"/>
                  <a:gd name="connsiteX23" fmla="*/ 695915 w 1414520"/>
                  <a:gd name="connsiteY23" fmla="*/ 895734 h 2959949"/>
                  <a:gd name="connsiteX24" fmla="*/ 647363 w 1414520"/>
                  <a:gd name="connsiteY24" fmla="*/ 1081851 h 2959949"/>
                  <a:gd name="connsiteX25" fmla="*/ 614995 w 1414520"/>
                  <a:gd name="connsiteY25" fmla="*/ 1737305 h 2959949"/>
                  <a:gd name="connsiteX26" fmla="*/ 598811 w 1414520"/>
                  <a:gd name="connsiteY26" fmla="*/ 1874870 h 2959949"/>
                  <a:gd name="connsiteX27" fmla="*/ 631179 w 1414520"/>
                  <a:gd name="connsiteY27" fmla="*/ 2012435 h 2959949"/>
                  <a:gd name="connsiteX28" fmla="*/ 639271 w 1414520"/>
                  <a:gd name="connsiteY28" fmla="*/ 2506049 h 2959949"/>
                  <a:gd name="connsiteX29" fmla="*/ 687823 w 1414520"/>
                  <a:gd name="connsiteY29" fmla="*/ 2797362 h 2959949"/>
                  <a:gd name="connsiteX30" fmla="*/ 655455 w 1414520"/>
                  <a:gd name="connsiteY30" fmla="*/ 2854006 h 2959949"/>
                  <a:gd name="connsiteX31" fmla="*/ 380326 w 1414520"/>
                  <a:gd name="connsiteY31" fmla="*/ 2821638 h 2959949"/>
                  <a:gd name="connsiteX32" fmla="*/ 323682 w 1414520"/>
                  <a:gd name="connsiteY32" fmla="*/ 2764994 h 2959949"/>
                  <a:gd name="connsiteX33" fmla="*/ 226577 w 1414520"/>
                  <a:gd name="connsiteY33" fmla="*/ 2077171 h 2959949"/>
                  <a:gd name="connsiteX34" fmla="*/ 161841 w 1414520"/>
                  <a:gd name="connsiteY34" fmla="*/ 1818226 h 2959949"/>
                  <a:gd name="connsiteX35" fmla="*/ 137565 w 1414520"/>
                  <a:gd name="connsiteY35" fmla="*/ 1583557 h 2959949"/>
                  <a:gd name="connsiteX36" fmla="*/ 80921 w 1414520"/>
                  <a:gd name="connsiteY36" fmla="*/ 733893 h 2959949"/>
                  <a:gd name="connsiteX37" fmla="*/ 8092 w 1414520"/>
                  <a:gd name="connsiteY37" fmla="*/ 474948 h 2959949"/>
                  <a:gd name="connsiteX38" fmla="*/ 32369 w 1414520"/>
                  <a:gd name="connsiteY38" fmla="*/ 345475 h 2959949"/>
                  <a:gd name="connsiteX39" fmla="*/ 178025 w 1414520"/>
                  <a:gd name="connsiteY39" fmla="*/ 5610 h 2959949"/>
                  <a:gd name="connsiteX0" fmla="*/ 178025 w 1414520"/>
                  <a:gd name="connsiteY0" fmla="*/ 5610 h 2959949"/>
                  <a:gd name="connsiteX1" fmla="*/ 299406 w 1414520"/>
                  <a:gd name="connsiteY1" fmla="*/ 78438 h 2959949"/>
                  <a:gd name="connsiteX2" fmla="*/ 493615 w 1414520"/>
                  <a:gd name="connsiteY2" fmla="*/ 126990 h 2959949"/>
                  <a:gd name="connsiteX3" fmla="*/ 687823 w 1414520"/>
                  <a:gd name="connsiteY3" fmla="*/ 143174 h 2959949"/>
                  <a:gd name="connsiteX4" fmla="*/ 865848 w 1414520"/>
                  <a:gd name="connsiteY4" fmla="*/ 110806 h 2959949"/>
                  <a:gd name="connsiteX5" fmla="*/ 946769 w 1414520"/>
                  <a:gd name="connsiteY5" fmla="*/ 62254 h 2959949"/>
                  <a:gd name="connsiteX6" fmla="*/ 1181438 w 1414520"/>
                  <a:gd name="connsiteY6" fmla="*/ 264555 h 2959949"/>
                  <a:gd name="connsiteX7" fmla="*/ 1351370 w 1414520"/>
                  <a:gd name="connsiteY7" fmla="*/ 385935 h 2959949"/>
                  <a:gd name="connsiteX8" fmla="*/ 1327094 w 1414520"/>
                  <a:gd name="connsiteY8" fmla="*/ 491132 h 2959949"/>
                  <a:gd name="connsiteX9" fmla="*/ 1246174 w 1414520"/>
                  <a:gd name="connsiteY9" fmla="*/ 750077 h 2959949"/>
                  <a:gd name="connsiteX10" fmla="*/ 1221898 w 1414520"/>
                  <a:gd name="connsiteY10" fmla="*/ 1551189 h 2959949"/>
                  <a:gd name="connsiteX11" fmla="*/ 1262358 w 1414520"/>
                  <a:gd name="connsiteY11" fmla="*/ 1747097 h 2959949"/>
                  <a:gd name="connsiteX12" fmla="*/ 1294726 w 1414520"/>
                  <a:gd name="connsiteY12" fmla="*/ 2036711 h 2959949"/>
                  <a:gd name="connsiteX13" fmla="*/ 1338427 w 1414520"/>
                  <a:gd name="connsiteY13" fmla="*/ 2332987 h 2959949"/>
                  <a:gd name="connsiteX14" fmla="*/ 1367554 w 1414520"/>
                  <a:gd name="connsiteY14" fmla="*/ 2554601 h 2959949"/>
                  <a:gd name="connsiteX15" fmla="*/ 1346565 w 1414520"/>
                  <a:gd name="connsiteY15" fmla="*/ 2663016 h 2959949"/>
                  <a:gd name="connsiteX16" fmla="*/ 1398312 w 1414520"/>
                  <a:gd name="connsiteY16" fmla="*/ 2797474 h 2959949"/>
                  <a:gd name="connsiteX17" fmla="*/ 1414520 w 1414520"/>
                  <a:gd name="connsiteY17" fmla="*/ 2910651 h 2959949"/>
                  <a:gd name="connsiteX18" fmla="*/ 1009986 w 1414520"/>
                  <a:gd name="connsiteY18" fmla="*/ 2828211 h 2959949"/>
                  <a:gd name="connsiteX19" fmla="*/ 940330 w 1414520"/>
                  <a:gd name="connsiteY19" fmla="*/ 2580488 h 2959949"/>
                  <a:gd name="connsiteX20" fmla="*/ 838376 w 1414520"/>
                  <a:gd name="connsiteY20" fmla="*/ 1947699 h 2959949"/>
                  <a:gd name="connsiteX21" fmla="*/ 801112 w 1414520"/>
                  <a:gd name="connsiteY21" fmla="*/ 1632109 h 2959949"/>
                  <a:gd name="connsiteX22" fmla="*/ 750929 w 1414520"/>
                  <a:gd name="connsiteY22" fmla="*/ 1212955 h 2959949"/>
                  <a:gd name="connsiteX23" fmla="*/ 695915 w 1414520"/>
                  <a:gd name="connsiteY23" fmla="*/ 895734 h 2959949"/>
                  <a:gd name="connsiteX24" fmla="*/ 647363 w 1414520"/>
                  <a:gd name="connsiteY24" fmla="*/ 1081851 h 2959949"/>
                  <a:gd name="connsiteX25" fmla="*/ 614995 w 1414520"/>
                  <a:gd name="connsiteY25" fmla="*/ 1737305 h 2959949"/>
                  <a:gd name="connsiteX26" fmla="*/ 598811 w 1414520"/>
                  <a:gd name="connsiteY26" fmla="*/ 1874870 h 2959949"/>
                  <a:gd name="connsiteX27" fmla="*/ 631179 w 1414520"/>
                  <a:gd name="connsiteY27" fmla="*/ 2012435 h 2959949"/>
                  <a:gd name="connsiteX28" fmla="*/ 639271 w 1414520"/>
                  <a:gd name="connsiteY28" fmla="*/ 2506049 h 2959949"/>
                  <a:gd name="connsiteX29" fmla="*/ 687823 w 1414520"/>
                  <a:gd name="connsiteY29" fmla="*/ 2797362 h 2959949"/>
                  <a:gd name="connsiteX30" fmla="*/ 655455 w 1414520"/>
                  <a:gd name="connsiteY30" fmla="*/ 2854006 h 2959949"/>
                  <a:gd name="connsiteX31" fmla="*/ 380326 w 1414520"/>
                  <a:gd name="connsiteY31" fmla="*/ 2821638 h 2959949"/>
                  <a:gd name="connsiteX32" fmla="*/ 323682 w 1414520"/>
                  <a:gd name="connsiteY32" fmla="*/ 2764994 h 2959949"/>
                  <a:gd name="connsiteX33" fmla="*/ 226577 w 1414520"/>
                  <a:gd name="connsiteY33" fmla="*/ 2077171 h 2959949"/>
                  <a:gd name="connsiteX34" fmla="*/ 161841 w 1414520"/>
                  <a:gd name="connsiteY34" fmla="*/ 1818226 h 2959949"/>
                  <a:gd name="connsiteX35" fmla="*/ 137565 w 1414520"/>
                  <a:gd name="connsiteY35" fmla="*/ 1583557 h 2959949"/>
                  <a:gd name="connsiteX36" fmla="*/ 80921 w 1414520"/>
                  <a:gd name="connsiteY36" fmla="*/ 733893 h 2959949"/>
                  <a:gd name="connsiteX37" fmla="*/ 8092 w 1414520"/>
                  <a:gd name="connsiteY37" fmla="*/ 474948 h 2959949"/>
                  <a:gd name="connsiteX38" fmla="*/ 32369 w 1414520"/>
                  <a:gd name="connsiteY38" fmla="*/ 345475 h 2959949"/>
                  <a:gd name="connsiteX39" fmla="*/ 178025 w 1414520"/>
                  <a:gd name="connsiteY39" fmla="*/ 5610 h 2959949"/>
                  <a:gd name="connsiteX0" fmla="*/ 178025 w 1414520"/>
                  <a:gd name="connsiteY0" fmla="*/ 5610 h 2959949"/>
                  <a:gd name="connsiteX1" fmla="*/ 299406 w 1414520"/>
                  <a:gd name="connsiteY1" fmla="*/ 78438 h 2959949"/>
                  <a:gd name="connsiteX2" fmla="*/ 493615 w 1414520"/>
                  <a:gd name="connsiteY2" fmla="*/ 126990 h 2959949"/>
                  <a:gd name="connsiteX3" fmla="*/ 687823 w 1414520"/>
                  <a:gd name="connsiteY3" fmla="*/ 143174 h 2959949"/>
                  <a:gd name="connsiteX4" fmla="*/ 865848 w 1414520"/>
                  <a:gd name="connsiteY4" fmla="*/ 110806 h 2959949"/>
                  <a:gd name="connsiteX5" fmla="*/ 946769 w 1414520"/>
                  <a:gd name="connsiteY5" fmla="*/ 62254 h 2959949"/>
                  <a:gd name="connsiteX6" fmla="*/ 1181438 w 1414520"/>
                  <a:gd name="connsiteY6" fmla="*/ 264555 h 2959949"/>
                  <a:gd name="connsiteX7" fmla="*/ 1351370 w 1414520"/>
                  <a:gd name="connsiteY7" fmla="*/ 385935 h 2959949"/>
                  <a:gd name="connsiteX8" fmla="*/ 1327094 w 1414520"/>
                  <a:gd name="connsiteY8" fmla="*/ 491132 h 2959949"/>
                  <a:gd name="connsiteX9" fmla="*/ 1246174 w 1414520"/>
                  <a:gd name="connsiteY9" fmla="*/ 750077 h 2959949"/>
                  <a:gd name="connsiteX10" fmla="*/ 1221898 w 1414520"/>
                  <a:gd name="connsiteY10" fmla="*/ 1551189 h 2959949"/>
                  <a:gd name="connsiteX11" fmla="*/ 1262358 w 1414520"/>
                  <a:gd name="connsiteY11" fmla="*/ 1747097 h 2959949"/>
                  <a:gd name="connsiteX12" fmla="*/ 1294726 w 1414520"/>
                  <a:gd name="connsiteY12" fmla="*/ 2036711 h 2959949"/>
                  <a:gd name="connsiteX13" fmla="*/ 1338427 w 1414520"/>
                  <a:gd name="connsiteY13" fmla="*/ 2332987 h 2959949"/>
                  <a:gd name="connsiteX14" fmla="*/ 1367554 w 1414520"/>
                  <a:gd name="connsiteY14" fmla="*/ 2554601 h 2959949"/>
                  <a:gd name="connsiteX15" fmla="*/ 1346565 w 1414520"/>
                  <a:gd name="connsiteY15" fmla="*/ 2663016 h 2959949"/>
                  <a:gd name="connsiteX16" fmla="*/ 1398312 w 1414520"/>
                  <a:gd name="connsiteY16" fmla="*/ 2797474 h 2959949"/>
                  <a:gd name="connsiteX17" fmla="*/ 1414520 w 1414520"/>
                  <a:gd name="connsiteY17" fmla="*/ 2910651 h 2959949"/>
                  <a:gd name="connsiteX18" fmla="*/ 1009986 w 1414520"/>
                  <a:gd name="connsiteY18" fmla="*/ 2828211 h 2959949"/>
                  <a:gd name="connsiteX19" fmla="*/ 940330 w 1414520"/>
                  <a:gd name="connsiteY19" fmla="*/ 2580488 h 2959949"/>
                  <a:gd name="connsiteX20" fmla="*/ 838376 w 1414520"/>
                  <a:gd name="connsiteY20" fmla="*/ 1947699 h 2959949"/>
                  <a:gd name="connsiteX21" fmla="*/ 801112 w 1414520"/>
                  <a:gd name="connsiteY21" fmla="*/ 1632109 h 2959949"/>
                  <a:gd name="connsiteX22" fmla="*/ 750929 w 1414520"/>
                  <a:gd name="connsiteY22" fmla="*/ 1212955 h 2959949"/>
                  <a:gd name="connsiteX23" fmla="*/ 695915 w 1414520"/>
                  <a:gd name="connsiteY23" fmla="*/ 895734 h 2959949"/>
                  <a:gd name="connsiteX24" fmla="*/ 647363 w 1414520"/>
                  <a:gd name="connsiteY24" fmla="*/ 1081851 h 2959949"/>
                  <a:gd name="connsiteX25" fmla="*/ 614995 w 1414520"/>
                  <a:gd name="connsiteY25" fmla="*/ 1737305 h 2959949"/>
                  <a:gd name="connsiteX26" fmla="*/ 598811 w 1414520"/>
                  <a:gd name="connsiteY26" fmla="*/ 1874870 h 2959949"/>
                  <a:gd name="connsiteX27" fmla="*/ 631179 w 1414520"/>
                  <a:gd name="connsiteY27" fmla="*/ 2012435 h 2959949"/>
                  <a:gd name="connsiteX28" fmla="*/ 639271 w 1414520"/>
                  <a:gd name="connsiteY28" fmla="*/ 2506049 h 2959949"/>
                  <a:gd name="connsiteX29" fmla="*/ 687823 w 1414520"/>
                  <a:gd name="connsiteY29" fmla="*/ 2797362 h 2959949"/>
                  <a:gd name="connsiteX30" fmla="*/ 655455 w 1414520"/>
                  <a:gd name="connsiteY30" fmla="*/ 2854006 h 2959949"/>
                  <a:gd name="connsiteX31" fmla="*/ 380326 w 1414520"/>
                  <a:gd name="connsiteY31" fmla="*/ 2821638 h 2959949"/>
                  <a:gd name="connsiteX32" fmla="*/ 323682 w 1414520"/>
                  <a:gd name="connsiteY32" fmla="*/ 2764994 h 2959949"/>
                  <a:gd name="connsiteX33" fmla="*/ 226577 w 1414520"/>
                  <a:gd name="connsiteY33" fmla="*/ 2077171 h 2959949"/>
                  <a:gd name="connsiteX34" fmla="*/ 161841 w 1414520"/>
                  <a:gd name="connsiteY34" fmla="*/ 1818226 h 2959949"/>
                  <a:gd name="connsiteX35" fmla="*/ 137565 w 1414520"/>
                  <a:gd name="connsiteY35" fmla="*/ 1583557 h 2959949"/>
                  <a:gd name="connsiteX36" fmla="*/ 80921 w 1414520"/>
                  <a:gd name="connsiteY36" fmla="*/ 733893 h 2959949"/>
                  <a:gd name="connsiteX37" fmla="*/ 8092 w 1414520"/>
                  <a:gd name="connsiteY37" fmla="*/ 474948 h 2959949"/>
                  <a:gd name="connsiteX38" fmla="*/ 32369 w 1414520"/>
                  <a:gd name="connsiteY38" fmla="*/ 345475 h 2959949"/>
                  <a:gd name="connsiteX39" fmla="*/ 178025 w 1414520"/>
                  <a:gd name="connsiteY39" fmla="*/ 5610 h 2959949"/>
                  <a:gd name="connsiteX0" fmla="*/ 178025 w 1414520"/>
                  <a:gd name="connsiteY0" fmla="*/ 5610 h 2959949"/>
                  <a:gd name="connsiteX1" fmla="*/ 299406 w 1414520"/>
                  <a:gd name="connsiteY1" fmla="*/ 78438 h 2959949"/>
                  <a:gd name="connsiteX2" fmla="*/ 493615 w 1414520"/>
                  <a:gd name="connsiteY2" fmla="*/ 126990 h 2959949"/>
                  <a:gd name="connsiteX3" fmla="*/ 687823 w 1414520"/>
                  <a:gd name="connsiteY3" fmla="*/ 143174 h 2959949"/>
                  <a:gd name="connsiteX4" fmla="*/ 865848 w 1414520"/>
                  <a:gd name="connsiteY4" fmla="*/ 110806 h 2959949"/>
                  <a:gd name="connsiteX5" fmla="*/ 946769 w 1414520"/>
                  <a:gd name="connsiteY5" fmla="*/ 62254 h 2959949"/>
                  <a:gd name="connsiteX6" fmla="*/ 1181438 w 1414520"/>
                  <a:gd name="connsiteY6" fmla="*/ 264555 h 2959949"/>
                  <a:gd name="connsiteX7" fmla="*/ 1351370 w 1414520"/>
                  <a:gd name="connsiteY7" fmla="*/ 385935 h 2959949"/>
                  <a:gd name="connsiteX8" fmla="*/ 1327094 w 1414520"/>
                  <a:gd name="connsiteY8" fmla="*/ 491132 h 2959949"/>
                  <a:gd name="connsiteX9" fmla="*/ 1246174 w 1414520"/>
                  <a:gd name="connsiteY9" fmla="*/ 750077 h 2959949"/>
                  <a:gd name="connsiteX10" fmla="*/ 1221898 w 1414520"/>
                  <a:gd name="connsiteY10" fmla="*/ 1551189 h 2959949"/>
                  <a:gd name="connsiteX11" fmla="*/ 1262358 w 1414520"/>
                  <a:gd name="connsiteY11" fmla="*/ 1747097 h 2959949"/>
                  <a:gd name="connsiteX12" fmla="*/ 1294726 w 1414520"/>
                  <a:gd name="connsiteY12" fmla="*/ 2036711 h 2959949"/>
                  <a:gd name="connsiteX13" fmla="*/ 1338427 w 1414520"/>
                  <a:gd name="connsiteY13" fmla="*/ 2332987 h 2959949"/>
                  <a:gd name="connsiteX14" fmla="*/ 1367554 w 1414520"/>
                  <a:gd name="connsiteY14" fmla="*/ 2554601 h 2959949"/>
                  <a:gd name="connsiteX15" fmla="*/ 1346565 w 1414520"/>
                  <a:gd name="connsiteY15" fmla="*/ 2663016 h 2959949"/>
                  <a:gd name="connsiteX16" fmla="*/ 1398312 w 1414520"/>
                  <a:gd name="connsiteY16" fmla="*/ 2797474 h 2959949"/>
                  <a:gd name="connsiteX17" fmla="*/ 1414520 w 1414520"/>
                  <a:gd name="connsiteY17" fmla="*/ 2910651 h 2959949"/>
                  <a:gd name="connsiteX18" fmla="*/ 1009986 w 1414520"/>
                  <a:gd name="connsiteY18" fmla="*/ 2828211 h 2959949"/>
                  <a:gd name="connsiteX19" fmla="*/ 940330 w 1414520"/>
                  <a:gd name="connsiteY19" fmla="*/ 2580488 h 2959949"/>
                  <a:gd name="connsiteX20" fmla="*/ 838376 w 1414520"/>
                  <a:gd name="connsiteY20" fmla="*/ 1947699 h 2959949"/>
                  <a:gd name="connsiteX21" fmla="*/ 801112 w 1414520"/>
                  <a:gd name="connsiteY21" fmla="*/ 1632109 h 2959949"/>
                  <a:gd name="connsiteX22" fmla="*/ 750929 w 1414520"/>
                  <a:gd name="connsiteY22" fmla="*/ 1212955 h 2959949"/>
                  <a:gd name="connsiteX23" fmla="*/ 695915 w 1414520"/>
                  <a:gd name="connsiteY23" fmla="*/ 895734 h 2959949"/>
                  <a:gd name="connsiteX24" fmla="*/ 647363 w 1414520"/>
                  <a:gd name="connsiteY24" fmla="*/ 1081851 h 2959949"/>
                  <a:gd name="connsiteX25" fmla="*/ 614995 w 1414520"/>
                  <a:gd name="connsiteY25" fmla="*/ 1737305 h 2959949"/>
                  <a:gd name="connsiteX26" fmla="*/ 598811 w 1414520"/>
                  <a:gd name="connsiteY26" fmla="*/ 1874870 h 2959949"/>
                  <a:gd name="connsiteX27" fmla="*/ 631179 w 1414520"/>
                  <a:gd name="connsiteY27" fmla="*/ 2012435 h 2959949"/>
                  <a:gd name="connsiteX28" fmla="*/ 639271 w 1414520"/>
                  <a:gd name="connsiteY28" fmla="*/ 2506049 h 2959949"/>
                  <a:gd name="connsiteX29" fmla="*/ 687823 w 1414520"/>
                  <a:gd name="connsiteY29" fmla="*/ 2797362 h 2959949"/>
                  <a:gd name="connsiteX30" fmla="*/ 655455 w 1414520"/>
                  <a:gd name="connsiteY30" fmla="*/ 2854006 h 2959949"/>
                  <a:gd name="connsiteX31" fmla="*/ 380326 w 1414520"/>
                  <a:gd name="connsiteY31" fmla="*/ 2821638 h 2959949"/>
                  <a:gd name="connsiteX32" fmla="*/ 323682 w 1414520"/>
                  <a:gd name="connsiteY32" fmla="*/ 2764994 h 2959949"/>
                  <a:gd name="connsiteX33" fmla="*/ 226577 w 1414520"/>
                  <a:gd name="connsiteY33" fmla="*/ 2077171 h 2959949"/>
                  <a:gd name="connsiteX34" fmla="*/ 161841 w 1414520"/>
                  <a:gd name="connsiteY34" fmla="*/ 1818226 h 2959949"/>
                  <a:gd name="connsiteX35" fmla="*/ 137565 w 1414520"/>
                  <a:gd name="connsiteY35" fmla="*/ 1583557 h 2959949"/>
                  <a:gd name="connsiteX36" fmla="*/ 80921 w 1414520"/>
                  <a:gd name="connsiteY36" fmla="*/ 733893 h 2959949"/>
                  <a:gd name="connsiteX37" fmla="*/ 8092 w 1414520"/>
                  <a:gd name="connsiteY37" fmla="*/ 474948 h 2959949"/>
                  <a:gd name="connsiteX38" fmla="*/ 32369 w 1414520"/>
                  <a:gd name="connsiteY38" fmla="*/ 345475 h 2959949"/>
                  <a:gd name="connsiteX39" fmla="*/ 178025 w 1414520"/>
                  <a:gd name="connsiteY39" fmla="*/ 5610 h 2959949"/>
                  <a:gd name="connsiteX0" fmla="*/ 178025 w 1414520"/>
                  <a:gd name="connsiteY0" fmla="*/ 5610 h 2959949"/>
                  <a:gd name="connsiteX1" fmla="*/ 299406 w 1414520"/>
                  <a:gd name="connsiteY1" fmla="*/ 78438 h 2959949"/>
                  <a:gd name="connsiteX2" fmla="*/ 493615 w 1414520"/>
                  <a:gd name="connsiteY2" fmla="*/ 126990 h 2959949"/>
                  <a:gd name="connsiteX3" fmla="*/ 687823 w 1414520"/>
                  <a:gd name="connsiteY3" fmla="*/ 143174 h 2959949"/>
                  <a:gd name="connsiteX4" fmla="*/ 865848 w 1414520"/>
                  <a:gd name="connsiteY4" fmla="*/ 110806 h 2959949"/>
                  <a:gd name="connsiteX5" fmla="*/ 946769 w 1414520"/>
                  <a:gd name="connsiteY5" fmla="*/ 62254 h 2959949"/>
                  <a:gd name="connsiteX6" fmla="*/ 1181438 w 1414520"/>
                  <a:gd name="connsiteY6" fmla="*/ 264555 h 2959949"/>
                  <a:gd name="connsiteX7" fmla="*/ 1351370 w 1414520"/>
                  <a:gd name="connsiteY7" fmla="*/ 385935 h 2959949"/>
                  <a:gd name="connsiteX8" fmla="*/ 1327094 w 1414520"/>
                  <a:gd name="connsiteY8" fmla="*/ 491132 h 2959949"/>
                  <a:gd name="connsiteX9" fmla="*/ 1246174 w 1414520"/>
                  <a:gd name="connsiteY9" fmla="*/ 750077 h 2959949"/>
                  <a:gd name="connsiteX10" fmla="*/ 1221898 w 1414520"/>
                  <a:gd name="connsiteY10" fmla="*/ 1551189 h 2959949"/>
                  <a:gd name="connsiteX11" fmla="*/ 1262358 w 1414520"/>
                  <a:gd name="connsiteY11" fmla="*/ 1747097 h 2959949"/>
                  <a:gd name="connsiteX12" fmla="*/ 1294726 w 1414520"/>
                  <a:gd name="connsiteY12" fmla="*/ 2036711 h 2959949"/>
                  <a:gd name="connsiteX13" fmla="*/ 1338427 w 1414520"/>
                  <a:gd name="connsiteY13" fmla="*/ 2332987 h 2959949"/>
                  <a:gd name="connsiteX14" fmla="*/ 1367554 w 1414520"/>
                  <a:gd name="connsiteY14" fmla="*/ 2554601 h 2959949"/>
                  <a:gd name="connsiteX15" fmla="*/ 1346565 w 1414520"/>
                  <a:gd name="connsiteY15" fmla="*/ 2663016 h 2959949"/>
                  <a:gd name="connsiteX16" fmla="*/ 1398312 w 1414520"/>
                  <a:gd name="connsiteY16" fmla="*/ 2797474 h 2959949"/>
                  <a:gd name="connsiteX17" fmla="*/ 1414520 w 1414520"/>
                  <a:gd name="connsiteY17" fmla="*/ 2910651 h 2959949"/>
                  <a:gd name="connsiteX18" fmla="*/ 1009986 w 1414520"/>
                  <a:gd name="connsiteY18" fmla="*/ 2828211 h 2959949"/>
                  <a:gd name="connsiteX19" fmla="*/ 940330 w 1414520"/>
                  <a:gd name="connsiteY19" fmla="*/ 2580488 h 2959949"/>
                  <a:gd name="connsiteX20" fmla="*/ 838376 w 1414520"/>
                  <a:gd name="connsiteY20" fmla="*/ 1947699 h 2959949"/>
                  <a:gd name="connsiteX21" fmla="*/ 801112 w 1414520"/>
                  <a:gd name="connsiteY21" fmla="*/ 1632109 h 2959949"/>
                  <a:gd name="connsiteX22" fmla="*/ 750929 w 1414520"/>
                  <a:gd name="connsiteY22" fmla="*/ 1212955 h 2959949"/>
                  <a:gd name="connsiteX23" fmla="*/ 695915 w 1414520"/>
                  <a:gd name="connsiteY23" fmla="*/ 895734 h 2959949"/>
                  <a:gd name="connsiteX24" fmla="*/ 647363 w 1414520"/>
                  <a:gd name="connsiteY24" fmla="*/ 1081851 h 2959949"/>
                  <a:gd name="connsiteX25" fmla="*/ 614995 w 1414520"/>
                  <a:gd name="connsiteY25" fmla="*/ 1737305 h 2959949"/>
                  <a:gd name="connsiteX26" fmla="*/ 598811 w 1414520"/>
                  <a:gd name="connsiteY26" fmla="*/ 1874870 h 2959949"/>
                  <a:gd name="connsiteX27" fmla="*/ 631179 w 1414520"/>
                  <a:gd name="connsiteY27" fmla="*/ 2012435 h 2959949"/>
                  <a:gd name="connsiteX28" fmla="*/ 639271 w 1414520"/>
                  <a:gd name="connsiteY28" fmla="*/ 2506049 h 2959949"/>
                  <a:gd name="connsiteX29" fmla="*/ 687823 w 1414520"/>
                  <a:gd name="connsiteY29" fmla="*/ 2797362 h 2959949"/>
                  <a:gd name="connsiteX30" fmla="*/ 655455 w 1414520"/>
                  <a:gd name="connsiteY30" fmla="*/ 2854006 h 2959949"/>
                  <a:gd name="connsiteX31" fmla="*/ 419222 w 1414520"/>
                  <a:gd name="connsiteY31" fmla="*/ 2844327 h 2959949"/>
                  <a:gd name="connsiteX32" fmla="*/ 323682 w 1414520"/>
                  <a:gd name="connsiteY32" fmla="*/ 2764994 h 2959949"/>
                  <a:gd name="connsiteX33" fmla="*/ 226577 w 1414520"/>
                  <a:gd name="connsiteY33" fmla="*/ 2077171 h 2959949"/>
                  <a:gd name="connsiteX34" fmla="*/ 161841 w 1414520"/>
                  <a:gd name="connsiteY34" fmla="*/ 1818226 h 2959949"/>
                  <a:gd name="connsiteX35" fmla="*/ 137565 w 1414520"/>
                  <a:gd name="connsiteY35" fmla="*/ 1583557 h 2959949"/>
                  <a:gd name="connsiteX36" fmla="*/ 80921 w 1414520"/>
                  <a:gd name="connsiteY36" fmla="*/ 733893 h 2959949"/>
                  <a:gd name="connsiteX37" fmla="*/ 8092 w 1414520"/>
                  <a:gd name="connsiteY37" fmla="*/ 474948 h 2959949"/>
                  <a:gd name="connsiteX38" fmla="*/ 32369 w 1414520"/>
                  <a:gd name="connsiteY38" fmla="*/ 345475 h 2959949"/>
                  <a:gd name="connsiteX39" fmla="*/ 178025 w 1414520"/>
                  <a:gd name="connsiteY39" fmla="*/ 5610 h 2959949"/>
                  <a:gd name="connsiteX0" fmla="*/ 178025 w 1414520"/>
                  <a:gd name="connsiteY0" fmla="*/ 5610 h 2959949"/>
                  <a:gd name="connsiteX1" fmla="*/ 299406 w 1414520"/>
                  <a:gd name="connsiteY1" fmla="*/ 78438 h 2959949"/>
                  <a:gd name="connsiteX2" fmla="*/ 493615 w 1414520"/>
                  <a:gd name="connsiteY2" fmla="*/ 126990 h 2959949"/>
                  <a:gd name="connsiteX3" fmla="*/ 687823 w 1414520"/>
                  <a:gd name="connsiteY3" fmla="*/ 143174 h 2959949"/>
                  <a:gd name="connsiteX4" fmla="*/ 865848 w 1414520"/>
                  <a:gd name="connsiteY4" fmla="*/ 110806 h 2959949"/>
                  <a:gd name="connsiteX5" fmla="*/ 946769 w 1414520"/>
                  <a:gd name="connsiteY5" fmla="*/ 62254 h 2959949"/>
                  <a:gd name="connsiteX6" fmla="*/ 1181438 w 1414520"/>
                  <a:gd name="connsiteY6" fmla="*/ 264555 h 2959949"/>
                  <a:gd name="connsiteX7" fmla="*/ 1351370 w 1414520"/>
                  <a:gd name="connsiteY7" fmla="*/ 385935 h 2959949"/>
                  <a:gd name="connsiteX8" fmla="*/ 1327094 w 1414520"/>
                  <a:gd name="connsiteY8" fmla="*/ 491132 h 2959949"/>
                  <a:gd name="connsiteX9" fmla="*/ 1246174 w 1414520"/>
                  <a:gd name="connsiteY9" fmla="*/ 750077 h 2959949"/>
                  <a:gd name="connsiteX10" fmla="*/ 1221898 w 1414520"/>
                  <a:gd name="connsiteY10" fmla="*/ 1551189 h 2959949"/>
                  <a:gd name="connsiteX11" fmla="*/ 1262358 w 1414520"/>
                  <a:gd name="connsiteY11" fmla="*/ 1747097 h 2959949"/>
                  <a:gd name="connsiteX12" fmla="*/ 1294726 w 1414520"/>
                  <a:gd name="connsiteY12" fmla="*/ 2036711 h 2959949"/>
                  <a:gd name="connsiteX13" fmla="*/ 1338427 w 1414520"/>
                  <a:gd name="connsiteY13" fmla="*/ 2332987 h 2959949"/>
                  <a:gd name="connsiteX14" fmla="*/ 1367554 w 1414520"/>
                  <a:gd name="connsiteY14" fmla="*/ 2554601 h 2959949"/>
                  <a:gd name="connsiteX15" fmla="*/ 1346565 w 1414520"/>
                  <a:gd name="connsiteY15" fmla="*/ 2663016 h 2959949"/>
                  <a:gd name="connsiteX16" fmla="*/ 1398312 w 1414520"/>
                  <a:gd name="connsiteY16" fmla="*/ 2797474 h 2959949"/>
                  <a:gd name="connsiteX17" fmla="*/ 1414520 w 1414520"/>
                  <a:gd name="connsiteY17" fmla="*/ 2910651 h 2959949"/>
                  <a:gd name="connsiteX18" fmla="*/ 1009986 w 1414520"/>
                  <a:gd name="connsiteY18" fmla="*/ 2828211 h 2959949"/>
                  <a:gd name="connsiteX19" fmla="*/ 940330 w 1414520"/>
                  <a:gd name="connsiteY19" fmla="*/ 2580488 h 2959949"/>
                  <a:gd name="connsiteX20" fmla="*/ 838376 w 1414520"/>
                  <a:gd name="connsiteY20" fmla="*/ 1947699 h 2959949"/>
                  <a:gd name="connsiteX21" fmla="*/ 801112 w 1414520"/>
                  <a:gd name="connsiteY21" fmla="*/ 1632109 h 2959949"/>
                  <a:gd name="connsiteX22" fmla="*/ 750929 w 1414520"/>
                  <a:gd name="connsiteY22" fmla="*/ 1212955 h 2959949"/>
                  <a:gd name="connsiteX23" fmla="*/ 695915 w 1414520"/>
                  <a:gd name="connsiteY23" fmla="*/ 895734 h 2959949"/>
                  <a:gd name="connsiteX24" fmla="*/ 647363 w 1414520"/>
                  <a:gd name="connsiteY24" fmla="*/ 1081851 h 2959949"/>
                  <a:gd name="connsiteX25" fmla="*/ 614995 w 1414520"/>
                  <a:gd name="connsiteY25" fmla="*/ 1737305 h 2959949"/>
                  <a:gd name="connsiteX26" fmla="*/ 598811 w 1414520"/>
                  <a:gd name="connsiteY26" fmla="*/ 1874870 h 2959949"/>
                  <a:gd name="connsiteX27" fmla="*/ 631179 w 1414520"/>
                  <a:gd name="connsiteY27" fmla="*/ 2012435 h 2959949"/>
                  <a:gd name="connsiteX28" fmla="*/ 639271 w 1414520"/>
                  <a:gd name="connsiteY28" fmla="*/ 2506049 h 2959949"/>
                  <a:gd name="connsiteX29" fmla="*/ 687823 w 1414520"/>
                  <a:gd name="connsiteY29" fmla="*/ 2797362 h 2959949"/>
                  <a:gd name="connsiteX30" fmla="*/ 655455 w 1414520"/>
                  <a:gd name="connsiteY30" fmla="*/ 2854006 h 2959949"/>
                  <a:gd name="connsiteX31" fmla="*/ 419222 w 1414520"/>
                  <a:gd name="connsiteY31" fmla="*/ 2844327 h 2959949"/>
                  <a:gd name="connsiteX32" fmla="*/ 323682 w 1414520"/>
                  <a:gd name="connsiteY32" fmla="*/ 2764994 h 2959949"/>
                  <a:gd name="connsiteX33" fmla="*/ 226577 w 1414520"/>
                  <a:gd name="connsiteY33" fmla="*/ 2077171 h 2959949"/>
                  <a:gd name="connsiteX34" fmla="*/ 161841 w 1414520"/>
                  <a:gd name="connsiteY34" fmla="*/ 1818226 h 2959949"/>
                  <a:gd name="connsiteX35" fmla="*/ 137565 w 1414520"/>
                  <a:gd name="connsiteY35" fmla="*/ 1583557 h 2959949"/>
                  <a:gd name="connsiteX36" fmla="*/ 80921 w 1414520"/>
                  <a:gd name="connsiteY36" fmla="*/ 733893 h 2959949"/>
                  <a:gd name="connsiteX37" fmla="*/ 8092 w 1414520"/>
                  <a:gd name="connsiteY37" fmla="*/ 474948 h 2959949"/>
                  <a:gd name="connsiteX38" fmla="*/ 32369 w 1414520"/>
                  <a:gd name="connsiteY38" fmla="*/ 345475 h 2959949"/>
                  <a:gd name="connsiteX39" fmla="*/ 178025 w 1414520"/>
                  <a:gd name="connsiteY39" fmla="*/ 5610 h 2959949"/>
                  <a:gd name="connsiteX0" fmla="*/ 178025 w 1414520"/>
                  <a:gd name="connsiteY0" fmla="*/ 5610 h 2959949"/>
                  <a:gd name="connsiteX1" fmla="*/ 299406 w 1414520"/>
                  <a:gd name="connsiteY1" fmla="*/ 78438 h 2959949"/>
                  <a:gd name="connsiteX2" fmla="*/ 493615 w 1414520"/>
                  <a:gd name="connsiteY2" fmla="*/ 126990 h 2959949"/>
                  <a:gd name="connsiteX3" fmla="*/ 687823 w 1414520"/>
                  <a:gd name="connsiteY3" fmla="*/ 143174 h 2959949"/>
                  <a:gd name="connsiteX4" fmla="*/ 865848 w 1414520"/>
                  <a:gd name="connsiteY4" fmla="*/ 110806 h 2959949"/>
                  <a:gd name="connsiteX5" fmla="*/ 946769 w 1414520"/>
                  <a:gd name="connsiteY5" fmla="*/ 62254 h 2959949"/>
                  <a:gd name="connsiteX6" fmla="*/ 1181438 w 1414520"/>
                  <a:gd name="connsiteY6" fmla="*/ 264555 h 2959949"/>
                  <a:gd name="connsiteX7" fmla="*/ 1351370 w 1414520"/>
                  <a:gd name="connsiteY7" fmla="*/ 385935 h 2959949"/>
                  <a:gd name="connsiteX8" fmla="*/ 1327094 w 1414520"/>
                  <a:gd name="connsiteY8" fmla="*/ 491132 h 2959949"/>
                  <a:gd name="connsiteX9" fmla="*/ 1246174 w 1414520"/>
                  <a:gd name="connsiteY9" fmla="*/ 750077 h 2959949"/>
                  <a:gd name="connsiteX10" fmla="*/ 1221898 w 1414520"/>
                  <a:gd name="connsiteY10" fmla="*/ 1551189 h 2959949"/>
                  <a:gd name="connsiteX11" fmla="*/ 1262358 w 1414520"/>
                  <a:gd name="connsiteY11" fmla="*/ 1747097 h 2959949"/>
                  <a:gd name="connsiteX12" fmla="*/ 1294726 w 1414520"/>
                  <a:gd name="connsiteY12" fmla="*/ 2036711 h 2959949"/>
                  <a:gd name="connsiteX13" fmla="*/ 1338427 w 1414520"/>
                  <a:gd name="connsiteY13" fmla="*/ 2332987 h 2959949"/>
                  <a:gd name="connsiteX14" fmla="*/ 1367554 w 1414520"/>
                  <a:gd name="connsiteY14" fmla="*/ 2554601 h 2959949"/>
                  <a:gd name="connsiteX15" fmla="*/ 1346565 w 1414520"/>
                  <a:gd name="connsiteY15" fmla="*/ 2663016 h 2959949"/>
                  <a:gd name="connsiteX16" fmla="*/ 1398312 w 1414520"/>
                  <a:gd name="connsiteY16" fmla="*/ 2797474 h 2959949"/>
                  <a:gd name="connsiteX17" fmla="*/ 1414520 w 1414520"/>
                  <a:gd name="connsiteY17" fmla="*/ 2910651 h 2959949"/>
                  <a:gd name="connsiteX18" fmla="*/ 1009986 w 1414520"/>
                  <a:gd name="connsiteY18" fmla="*/ 2828211 h 2959949"/>
                  <a:gd name="connsiteX19" fmla="*/ 940330 w 1414520"/>
                  <a:gd name="connsiteY19" fmla="*/ 2580488 h 2959949"/>
                  <a:gd name="connsiteX20" fmla="*/ 838376 w 1414520"/>
                  <a:gd name="connsiteY20" fmla="*/ 1947699 h 2959949"/>
                  <a:gd name="connsiteX21" fmla="*/ 801112 w 1414520"/>
                  <a:gd name="connsiteY21" fmla="*/ 1632109 h 2959949"/>
                  <a:gd name="connsiteX22" fmla="*/ 750929 w 1414520"/>
                  <a:gd name="connsiteY22" fmla="*/ 1212955 h 2959949"/>
                  <a:gd name="connsiteX23" fmla="*/ 695915 w 1414520"/>
                  <a:gd name="connsiteY23" fmla="*/ 895734 h 2959949"/>
                  <a:gd name="connsiteX24" fmla="*/ 647363 w 1414520"/>
                  <a:gd name="connsiteY24" fmla="*/ 1081851 h 2959949"/>
                  <a:gd name="connsiteX25" fmla="*/ 614995 w 1414520"/>
                  <a:gd name="connsiteY25" fmla="*/ 1737305 h 2959949"/>
                  <a:gd name="connsiteX26" fmla="*/ 598811 w 1414520"/>
                  <a:gd name="connsiteY26" fmla="*/ 1874870 h 2959949"/>
                  <a:gd name="connsiteX27" fmla="*/ 631179 w 1414520"/>
                  <a:gd name="connsiteY27" fmla="*/ 2012435 h 2959949"/>
                  <a:gd name="connsiteX28" fmla="*/ 639271 w 1414520"/>
                  <a:gd name="connsiteY28" fmla="*/ 2506049 h 2959949"/>
                  <a:gd name="connsiteX29" fmla="*/ 687823 w 1414520"/>
                  <a:gd name="connsiteY29" fmla="*/ 2797362 h 2959949"/>
                  <a:gd name="connsiteX30" fmla="*/ 655455 w 1414520"/>
                  <a:gd name="connsiteY30" fmla="*/ 2854006 h 2959949"/>
                  <a:gd name="connsiteX31" fmla="*/ 419222 w 1414520"/>
                  <a:gd name="connsiteY31" fmla="*/ 2844327 h 2959949"/>
                  <a:gd name="connsiteX32" fmla="*/ 323682 w 1414520"/>
                  <a:gd name="connsiteY32" fmla="*/ 2764994 h 2959949"/>
                  <a:gd name="connsiteX33" fmla="*/ 226577 w 1414520"/>
                  <a:gd name="connsiteY33" fmla="*/ 2077171 h 2959949"/>
                  <a:gd name="connsiteX34" fmla="*/ 161841 w 1414520"/>
                  <a:gd name="connsiteY34" fmla="*/ 1818226 h 2959949"/>
                  <a:gd name="connsiteX35" fmla="*/ 137565 w 1414520"/>
                  <a:gd name="connsiteY35" fmla="*/ 1583557 h 2959949"/>
                  <a:gd name="connsiteX36" fmla="*/ 80921 w 1414520"/>
                  <a:gd name="connsiteY36" fmla="*/ 733893 h 2959949"/>
                  <a:gd name="connsiteX37" fmla="*/ 8092 w 1414520"/>
                  <a:gd name="connsiteY37" fmla="*/ 474948 h 2959949"/>
                  <a:gd name="connsiteX38" fmla="*/ 32369 w 1414520"/>
                  <a:gd name="connsiteY38" fmla="*/ 345475 h 2959949"/>
                  <a:gd name="connsiteX39" fmla="*/ 178025 w 1414520"/>
                  <a:gd name="connsiteY39" fmla="*/ 5610 h 2959949"/>
                  <a:gd name="connsiteX0" fmla="*/ 178025 w 1414520"/>
                  <a:gd name="connsiteY0" fmla="*/ 5610 h 2959949"/>
                  <a:gd name="connsiteX1" fmla="*/ 299406 w 1414520"/>
                  <a:gd name="connsiteY1" fmla="*/ 78438 h 2959949"/>
                  <a:gd name="connsiteX2" fmla="*/ 493615 w 1414520"/>
                  <a:gd name="connsiteY2" fmla="*/ 126990 h 2959949"/>
                  <a:gd name="connsiteX3" fmla="*/ 687823 w 1414520"/>
                  <a:gd name="connsiteY3" fmla="*/ 143174 h 2959949"/>
                  <a:gd name="connsiteX4" fmla="*/ 865848 w 1414520"/>
                  <a:gd name="connsiteY4" fmla="*/ 110806 h 2959949"/>
                  <a:gd name="connsiteX5" fmla="*/ 946769 w 1414520"/>
                  <a:gd name="connsiteY5" fmla="*/ 62254 h 2959949"/>
                  <a:gd name="connsiteX6" fmla="*/ 1181438 w 1414520"/>
                  <a:gd name="connsiteY6" fmla="*/ 264555 h 2959949"/>
                  <a:gd name="connsiteX7" fmla="*/ 1351370 w 1414520"/>
                  <a:gd name="connsiteY7" fmla="*/ 385935 h 2959949"/>
                  <a:gd name="connsiteX8" fmla="*/ 1327094 w 1414520"/>
                  <a:gd name="connsiteY8" fmla="*/ 491132 h 2959949"/>
                  <a:gd name="connsiteX9" fmla="*/ 1246174 w 1414520"/>
                  <a:gd name="connsiteY9" fmla="*/ 750077 h 2959949"/>
                  <a:gd name="connsiteX10" fmla="*/ 1221898 w 1414520"/>
                  <a:gd name="connsiteY10" fmla="*/ 1551189 h 2959949"/>
                  <a:gd name="connsiteX11" fmla="*/ 1262358 w 1414520"/>
                  <a:gd name="connsiteY11" fmla="*/ 1747097 h 2959949"/>
                  <a:gd name="connsiteX12" fmla="*/ 1294726 w 1414520"/>
                  <a:gd name="connsiteY12" fmla="*/ 2036711 h 2959949"/>
                  <a:gd name="connsiteX13" fmla="*/ 1338427 w 1414520"/>
                  <a:gd name="connsiteY13" fmla="*/ 2332987 h 2959949"/>
                  <a:gd name="connsiteX14" fmla="*/ 1367554 w 1414520"/>
                  <a:gd name="connsiteY14" fmla="*/ 2554601 h 2959949"/>
                  <a:gd name="connsiteX15" fmla="*/ 1346565 w 1414520"/>
                  <a:gd name="connsiteY15" fmla="*/ 2663016 h 2959949"/>
                  <a:gd name="connsiteX16" fmla="*/ 1398312 w 1414520"/>
                  <a:gd name="connsiteY16" fmla="*/ 2797474 h 2959949"/>
                  <a:gd name="connsiteX17" fmla="*/ 1414520 w 1414520"/>
                  <a:gd name="connsiteY17" fmla="*/ 2910651 h 2959949"/>
                  <a:gd name="connsiteX18" fmla="*/ 1009986 w 1414520"/>
                  <a:gd name="connsiteY18" fmla="*/ 2828211 h 2959949"/>
                  <a:gd name="connsiteX19" fmla="*/ 940330 w 1414520"/>
                  <a:gd name="connsiteY19" fmla="*/ 2580488 h 2959949"/>
                  <a:gd name="connsiteX20" fmla="*/ 838376 w 1414520"/>
                  <a:gd name="connsiteY20" fmla="*/ 1947699 h 2959949"/>
                  <a:gd name="connsiteX21" fmla="*/ 801112 w 1414520"/>
                  <a:gd name="connsiteY21" fmla="*/ 1632109 h 2959949"/>
                  <a:gd name="connsiteX22" fmla="*/ 750929 w 1414520"/>
                  <a:gd name="connsiteY22" fmla="*/ 1212955 h 2959949"/>
                  <a:gd name="connsiteX23" fmla="*/ 695915 w 1414520"/>
                  <a:gd name="connsiteY23" fmla="*/ 895734 h 2959949"/>
                  <a:gd name="connsiteX24" fmla="*/ 647363 w 1414520"/>
                  <a:gd name="connsiteY24" fmla="*/ 1081851 h 2959949"/>
                  <a:gd name="connsiteX25" fmla="*/ 614995 w 1414520"/>
                  <a:gd name="connsiteY25" fmla="*/ 1737305 h 2959949"/>
                  <a:gd name="connsiteX26" fmla="*/ 598811 w 1414520"/>
                  <a:gd name="connsiteY26" fmla="*/ 1874870 h 2959949"/>
                  <a:gd name="connsiteX27" fmla="*/ 631179 w 1414520"/>
                  <a:gd name="connsiteY27" fmla="*/ 2012435 h 2959949"/>
                  <a:gd name="connsiteX28" fmla="*/ 639271 w 1414520"/>
                  <a:gd name="connsiteY28" fmla="*/ 2506049 h 2959949"/>
                  <a:gd name="connsiteX29" fmla="*/ 687823 w 1414520"/>
                  <a:gd name="connsiteY29" fmla="*/ 2797362 h 2959949"/>
                  <a:gd name="connsiteX30" fmla="*/ 655455 w 1414520"/>
                  <a:gd name="connsiteY30" fmla="*/ 2854006 h 2959949"/>
                  <a:gd name="connsiteX31" fmla="*/ 419222 w 1414520"/>
                  <a:gd name="connsiteY31" fmla="*/ 2844327 h 2959949"/>
                  <a:gd name="connsiteX32" fmla="*/ 323682 w 1414520"/>
                  <a:gd name="connsiteY32" fmla="*/ 2764994 h 2959949"/>
                  <a:gd name="connsiteX33" fmla="*/ 226577 w 1414520"/>
                  <a:gd name="connsiteY33" fmla="*/ 2077171 h 2959949"/>
                  <a:gd name="connsiteX34" fmla="*/ 161841 w 1414520"/>
                  <a:gd name="connsiteY34" fmla="*/ 1818226 h 2959949"/>
                  <a:gd name="connsiteX35" fmla="*/ 137565 w 1414520"/>
                  <a:gd name="connsiteY35" fmla="*/ 1583557 h 2959949"/>
                  <a:gd name="connsiteX36" fmla="*/ 80921 w 1414520"/>
                  <a:gd name="connsiteY36" fmla="*/ 733893 h 2959949"/>
                  <a:gd name="connsiteX37" fmla="*/ 8092 w 1414520"/>
                  <a:gd name="connsiteY37" fmla="*/ 474948 h 2959949"/>
                  <a:gd name="connsiteX38" fmla="*/ 32369 w 1414520"/>
                  <a:gd name="connsiteY38" fmla="*/ 345475 h 2959949"/>
                  <a:gd name="connsiteX39" fmla="*/ 178025 w 1414520"/>
                  <a:gd name="connsiteY39" fmla="*/ 5610 h 2959949"/>
                  <a:gd name="connsiteX0" fmla="*/ 178025 w 1414520"/>
                  <a:gd name="connsiteY0" fmla="*/ 5610 h 2964163"/>
                  <a:gd name="connsiteX1" fmla="*/ 299406 w 1414520"/>
                  <a:gd name="connsiteY1" fmla="*/ 78438 h 2964163"/>
                  <a:gd name="connsiteX2" fmla="*/ 493615 w 1414520"/>
                  <a:gd name="connsiteY2" fmla="*/ 126990 h 2964163"/>
                  <a:gd name="connsiteX3" fmla="*/ 687823 w 1414520"/>
                  <a:gd name="connsiteY3" fmla="*/ 143174 h 2964163"/>
                  <a:gd name="connsiteX4" fmla="*/ 865848 w 1414520"/>
                  <a:gd name="connsiteY4" fmla="*/ 110806 h 2964163"/>
                  <a:gd name="connsiteX5" fmla="*/ 946769 w 1414520"/>
                  <a:gd name="connsiteY5" fmla="*/ 62254 h 2964163"/>
                  <a:gd name="connsiteX6" fmla="*/ 1181438 w 1414520"/>
                  <a:gd name="connsiteY6" fmla="*/ 264555 h 2964163"/>
                  <a:gd name="connsiteX7" fmla="*/ 1351370 w 1414520"/>
                  <a:gd name="connsiteY7" fmla="*/ 385935 h 2964163"/>
                  <a:gd name="connsiteX8" fmla="*/ 1327094 w 1414520"/>
                  <a:gd name="connsiteY8" fmla="*/ 491132 h 2964163"/>
                  <a:gd name="connsiteX9" fmla="*/ 1246174 w 1414520"/>
                  <a:gd name="connsiteY9" fmla="*/ 750077 h 2964163"/>
                  <a:gd name="connsiteX10" fmla="*/ 1221898 w 1414520"/>
                  <a:gd name="connsiteY10" fmla="*/ 1551189 h 2964163"/>
                  <a:gd name="connsiteX11" fmla="*/ 1262358 w 1414520"/>
                  <a:gd name="connsiteY11" fmla="*/ 1747097 h 2964163"/>
                  <a:gd name="connsiteX12" fmla="*/ 1294726 w 1414520"/>
                  <a:gd name="connsiteY12" fmla="*/ 2036711 h 2964163"/>
                  <a:gd name="connsiteX13" fmla="*/ 1338427 w 1414520"/>
                  <a:gd name="connsiteY13" fmla="*/ 2332987 h 2964163"/>
                  <a:gd name="connsiteX14" fmla="*/ 1367554 w 1414520"/>
                  <a:gd name="connsiteY14" fmla="*/ 2554601 h 2964163"/>
                  <a:gd name="connsiteX15" fmla="*/ 1346565 w 1414520"/>
                  <a:gd name="connsiteY15" fmla="*/ 2663016 h 2964163"/>
                  <a:gd name="connsiteX16" fmla="*/ 1398312 w 1414520"/>
                  <a:gd name="connsiteY16" fmla="*/ 2797474 h 2964163"/>
                  <a:gd name="connsiteX17" fmla="*/ 1414520 w 1414520"/>
                  <a:gd name="connsiteY17" fmla="*/ 2910651 h 2964163"/>
                  <a:gd name="connsiteX18" fmla="*/ 1009986 w 1414520"/>
                  <a:gd name="connsiteY18" fmla="*/ 2828211 h 2964163"/>
                  <a:gd name="connsiteX19" fmla="*/ 940330 w 1414520"/>
                  <a:gd name="connsiteY19" fmla="*/ 2580488 h 2964163"/>
                  <a:gd name="connsiteX20" fmla="*/ 838376 w 1414520"/>
                  <a:gd name="connsiteY20" fmla="*/ 1947699 h 2964163"/>
                  <a:gd name="connsiteX21" fmla="*/ 801112 w 1414520"/>
                  <a:gd name="connsiteY21" fmla="*/ 1632109 h 2964163"/>
                  <a:gd name="connsiteX22" fmla="*/ 750929 w 1414520"/>
                  <a:gd name="connsiteY22" fmla="*/ 1212955 h 2964163"/>
                  <a:gd name="connsiteX23" fmla="*/ 695915 w 1414520"/>
                  <a:gd name="connsiteY23" fmla="*/ 895734 h 2964163"/>
                  <a:gd name="connsiteX24" fmla="*/ 647363 w 1414520"/>
                  <a:gd name="connsiteY24" fmla="*/ 1081851 h 2964163"/>
                  <a:gd name="connsiteX25" fmla="*/ 614995 w 1414520"/>
                  <a:gd name="connsiteY25" fmla="*/ 1737305 h 2964163"/>
                  <a:gd name="connsiteX26" fmla="*/ 598811 w 1414520"/>
                  <a:gd name="connsiteY26" fmla="*/ 1874870 h 2964163"/>
                  <a:gd name="connsiteX27" fmla="*/ 631179 w 1414520"/>
                  <a:gd name="connsiteY27" fmla="*/ 2012435 h 2964163"/>
                  <a:gd name="connsiteX28" fmla="*/ 639271 w 1414520"/>
                  <a:gd name="connsiteY28" fmla="*/ 2506049 h 2964163"/>
                  <a:gd name="connsiteX29" fmla="*/ 687823 w 1414520"/>
                  <a:gd name="connsiteY29" fmla="*/ 2797362 h 2964163"/>
                  <a:gd name="connsiteX30" fmla="*/ 655455 w 1414520"/>
                  <a:gd name="connsiteY30" fmla="*/ 2854006 h 2964163"/>
                  <a:gd name="connsiteX31" fmla="*/ 419222 w 1414520"/>
                  <a:gd name="connsiteY31" fmla="*/ 2844327 h 2964163"/>
                  <a:gd name="connsiteX32" fmla="*/ 343130 w 1414520"/>
                  <a:gd name="connsiteY32" fmla="*/ 2855751 h 2964163"/>
                  <a:gd name="connsiteX33" fmla="*/ 226577 w 1414520"/>
                  <a:gd name="connsiteY33" fmla="*/ 2077171 h 2964163"/>
                  <a:gd name="connsiteX34" fmla="*/ 161841 w 1414520"/>
                  <a:gd name="connsiteY34" fmla="*/ 1818226 h 2964163"/>
                  <a:gd name="connsiteX35" fmla="*/ 137565 w 1414520"/>
                  <a:gd name="connsiteY35" fmla="*/ 1583557 h 2964163"/>
                  <a:gd name="connsiteX36" fmla="*/ 80921 w 1414520"/>
                  <a:gd name="connsiteY36" fmla="*/ 733893 h 2964163"/>
                  <a:gd name="connsiteX37" fmla="*/ 8092 w 1414520"/>
                  <a:gd name="connsiteY37" fmla="*/ 474948 h 2964163"/>
                  <a:gd name="connsiteX38" fmla="*/ 32369 w 1414520"/>
                  <a:gd name="connsiteY38" fmla="*/ 345475 h 2964163"/>
                  <a:gd name="connsiteX39" fmla="*/ 178025 w 1414520"/>
                  <a:gd name="connsiteY39" fmla="*/ 5610 h 2964163"/>
                  <a:gd name="connsiteX0" fmla="*/ 178025 w 1414520"/>
                  <a:gd name="connsiteY0" fmla="*/ 5610 h 2959949"/>
                  <a:gd name="connsiteX1" fmla="*/ 299406 w 1414520"/>
                  <a:gd name="connsiteY1" fmla="*/ 78438 h 2959949"/>
                  <a:gd name="connsiteX2" fmla="*/ 493615 w 1414520"/>
                  <a:gd name="connsiteY2" fmla="*/ 126990 h 2959949"/>
                  <a:gd name="connsiteX3" fmla="*/ 687823 w 1414520"/>
                  <a:gd name="connsiteY3" fmla="*/ 143174 h 2959949"/>
                  <a:gd name="connsiteX4" fmla="*/ 865848 w 1414520"/>
                  <a:gd name="connsiteY4" fmla="*/ 110806 h 2959949"/>
                  <a:gd name="connsiteX5" fmla="*/ 946769 w 1414520"/>
                  <a:gd name="connsiteY5" fmla="*/ 62254 h 2959949"/>
                  <a:gd name="connsiteX6" fmla="*/ 1181438 w 1414520"/>
                  <a:gd name="connsiteY6" fmla="*/ 264555 h 2959949"/>
                  <a:gd name="connsiteX7" fmla="*/ 1351370 w 1414520"/>
                  <a:gd name="connsiteY7" fmla="*/ 385935 h 2959949"/>
                  <a:gd name="connsiteX8" fmla="*/ 1327094 w 1414520"/>
                  <a:gd name="connsiteY8" fmla="*/ 491132 h 2959949"/>
                  <a:gd name="connsiteX9" fmla="*/ 1246174 w 1414520"/>
                  <a:gd name="connsiteY9" fmla="*/ 750077 h 2959949"/>
                  <a:gd name="connsiteX10" fmla="*/ 1221898 w 1414520"/>
                  <a:gd name="connsiteY10" fmla="*/ 1551189 h 2959949"/>
                  <a:gd name="connsiteX11" fmla="*/ 1262358 w 1414520"/>
                  <a:gd name="connsiteY11" fmla="*/ 1747097 h 2959949"/>
                  <a:gd name="connsiteX12" fmla="*/ 1294726 w 1414520"/>
                  <a:gd name="connsiteY12" fmla="*/ 2036711 h 2959949"/>
                  <a:gd name="connsiteX13" fmla="*/ 1338427 w 1414520"/>
                  <a:gd name="connsiteY13" fmla="*/ 2332987 h 2959949"/>
                  <a:gd name="connsiteX14" fmla="*/ 1367554 w 1414520"/>
                  <a:gd name="connsiteY14" fmla="*/ 2554601 h 2959949"/>
                  <a:gd name="connsiteX15" fmla="*/ 1346565 w 1414520"/>
                  <a:gd name="connsiteY15" fmla="*/ 2663016 h 2959949"/>
                  <a:gd name="connsiteX16" fmla="*/ 1398312 w 1414520"/>
                  <a:gd name="connsiteY16" fmla="*/ 2797474 h 2959949"/>
                  <a:gd name="connsiteX17" fmla="*/ 1414520 w 1414520"/>
                  <a:gd name="connsiteY17" fmla="*/ 2910651 h 2959949"/>
                  <a:gd name="connsiteX18" fmla="*/ 1009986 w 1414520"/>
                  <a:gd name="connsiteY18" fmla="*/ 2828211 h 2959949"/>
                  <a:gd name="connsiteX19" fmla="*/ 940330 w 1414520"/>
                  <a:gd name="connsiteY19" fmla="*/ 2580488 h 2959949"/>
                  <a:gd name="connsiteX20" fmla="*/ 838376 w 1414520"/>
                  <a:gd name="connsiteY20" fmla="*/ 1947699 h 2959949"/>
                  <a:gd name="connsiteX21" fmla="*/ 801112 w 1414520"/>
                  <a:gd name="connsiteY21" fmla="*/ 1632109 h 2959949"/>
                  <a:gd name="connsiteX22" fmla="*/ 750929 w 1414520"/>
                  <a:gd name="connsiteY22" fmla="*/ 1212955 h 2959949"/>
                  <a:gd name="connsiteX23" fmla="*/ 695915 w 1414520"/>
                  <a:gd name="connsiteY23" fmla="*/ 895734 h 2959949"/>
                  <a:gd name="connsiteX24" fmla="*/ 647363 w 1414520"/>
                  <a:gd name="connsiteY24" fmla="*/ 1081851 h 2959949"/>
                  <a:gd name="connsiteX25" fmla="*/ 614995 w 1414520"/>
                  <a:gd name="connsiteY25" fmla="*/ 1737305 h 2959949"/>
                  <a:gd name="connsiteX26" fmla="*/ 598811 w 1414520"/>
                  <a:gd name="connsiteY26" fmla="*/ 1874870 h 2959949"/>
                  <a:gd name="connsiteX27" fmla="*/ 631179 w 1414520"/>
                  <a:gd name="connsiteY27" fmla="*/ 2012435 h 2959949"/>
                  <a:gd name="connsiteX28" fmla="*/ 639271 w 1414520"/>
                  <a:gd name="connsiteY28" fmla="*/ 2506049 h 2959949"/>
                  <a:gd name="connsiteX29" fmla="*/ 687823 w 1414520"/>
                  <a:gd name="connsiteY29" fmla="*/ 2797362 h 2959949"/>
                  <a:gd name="connsiteX30" fmla="*/ 655455 w 1414520"/>
                  <a:gd name="connsiteY30" fmla="*/ 2854006 h 2959949"/>
                  <a:gd name="connsiteX31" fmla="*/ 419222 w 1414520"/>
                  <a:gd name="connsiteY31" fmla="*/ 2844327 h 2959949"/>
                  <a:gd name="connsiteX32" fmla="*/ 343130 w 1414520"/>
                  <a:gd name="connsiteY32" fmla="*/ 2855751 h 2959949"/>
                  <a:gd name="connsiteX33" fmla="*/ 226577 w 1414520"/>
                  <a:gd name="connsiteY33" fmla="*/ 2077171 h 2959949"/>
                  <a:gd name="connsiteX34" fmla="*/ 161841 w 1414520"/>
                  <a:gd name="connsiteY34" fmla="*/ 1818226 h 2959949"/>
                  <a:gd name="connsiteX35" fmla="*/ 137565 w 1414520"/>
                  <a:gd name="connsiteY35" fmla="*/ 1583557 h 2959949"/>
                  <a:gd name="connsiteX36" fmla="*/ 80921 w 1414520"/>
                  <a:gd name="connsiteY36" fmla="*/ 733893 h 2959949"/>
                  <a:gd name="connsiteX37" fmla="*/ 8092 w 1414520"/>
                  <a:gd name="connsiteY37" fmla="*/ 474948 h 2959949"/>
                  <a:gd name="connsiteX38" fmla="*/ 32369 w 1414520"/>
                  <a:gd name="connsiteY38" fmla="*/ 345475 h 2959949"/>
                  <a:gd name="connsiteX39" fmla="*/ 178025 w 1414520"/>
                  <a:gd name="connsiteY39" fmla="*/ 5610 h 2959949"/>
                  <a:gd name="connsiteX0" fmla="*/ 178025 w 1414520"/>
                  <a:gd name="connsiteY0" fmla="*/ 5610 h 2959949"/>
                  <a:gd name="connsiteX1" fmla="*/ 299406 w 1414520"/>
                  <a:gd name="connsiteY1" fmla="*/ 78438 h 2959949"/>
                  <a:gd name="connsiteX2" fmla="*/ 493615 w 1414520"/>
                  <a:gd name="connsiteY2" fmla="*/ 126990 h 2959949"/>
                  <a:gd name="connsiteX3" fmla="*/ 687823 w 1414520"/>
                  <a:gd name="connsiteY3" fmla="*/ 143174 h 2959949"/>
                  <a:gd name="connsiteX4" fmla="*/ 865848 w 1414520"/>
                  <a:gd name="connsiteY4" fmla="*/ 110806 h 2959949"/>
                  <a:gd name="connsiteX5" fmla="*/ 946769 w 1414520"/>
                  <a:gd name="connsiteY5" fmla="*/ 62254 h 2959949"/>
                  <a:gd name="connsiteX6" fmla="*/ 1181438 w 1414520"/>
                  <a:gd name="connsiteY6" fmla="*/ 264555 h 2959949"/>
                  <a:gd name="connsiteX7" fmla="*/ 1351370 w 1414520"/>
                  <a:gd name="connsiteY7" fmla="*/ 385935 h 2959949"/>
                  <a:gd name="connsiteX8" fmla="*/ 1327094 w 1414520"/>
                  <a:gd name="connsiteY8" fmla="*/ 491132 h 2959949"/>
                  <a:gd name="connsiteX9" fmla="*/ 1246174 w 1414520"/>
                  <a:gd name="connsiteY9" fmla="*/ 750077 h 2959949"/>
                  <a:gd name="connsiteX10" fmla="*/ 1221898 w 1414520"/>
                  <a:gd name="connsiteY10" fmla="*/ 1551189 h 2959949"/>
                  <a:gd name="connsiteX11" fmla="*/ 1262358 w 1414520"/>
                  <a:gd name="connsiteY11" fmla="*/ 1747097 h 2959949"/>
                  <a:gd name="connsiteX12" fmla="*/ 1294726 w 1414520"/>
                  <a:gd name="connsiteY12" fmla="*/ 2036711 h 2959949"/>
                  <a:gd name="connsiteX13" fmla="*/ 1338427 w 1414520"/>
                  <a:gd name="connsiteY13" fmla="*/ 2332987 h 2959949"/>
                  <a:gd name="connsiteX14" fmla="*/ 1367554 w 1414520"/>
                  <a:gd name="connsiteY14" fmla="*/ 2554601 h 2959949"/>
                  <a:gd name="connsiteX15" fmla="*/ 1346565 w 1414520"/>
                  <a:gd name="connsiteY15" fmla="*/ 2663016 h 2959949"/>
                  <a:gd name="connsiteX16" fmla="*/ 1398312 w 1414520"/>
                  <a:gd name="connsiteY16" fmla="*/ 2797474 h 2959949"/>
                  <a:gd name="connsiteX17" fmla="*/ 1414520 w 1414520"/>
                  <a:gd name="connsiteY17" fmla="*/ 2910651 h 2959949"/>
                  <a:gd name="connsiteX18" fmla="*/ 1009986 w 1414520"/>
                  <a:gd name="connsiteY18" fmla="*/ 2828211 h 2959949"/>
                  <a:gd name="connsiteX19" fmla="*/ 940330 w 1414520"/>
                  <a:gd name="connsiteY19" fmla="*/ 2580488 h 2959949"/>
                  <a:gd name="connsiteX20" fmla="*/ 838376 w 1414520"/>
                  <a:gd name="connsiteY20" fmla="*/ 1947699 h 2959949"/>
                  <a:gd name="connsiteX21" fmla="*/ 801112 w 1414520"/>
                  <a:gd name="connsiteY21" fmla="*/ 1632109 h 2959949"/>
                  <a:gd name="connsiteX22" fmla="*/ 750929 w 1414520"/>
                  <a:gd name="connsiteY22" fmla="*/ 1212955 h 2959949"/>
                  <a:gd name="connsiteX23" fmla="*/ 695915 w 1414520"/>
                  <a:gd name="connsiteY23" fmla="*/ 895734 h 2959949"/>
                  <a:gd name="connsiteX24" fmla="*/ 647363 w 1414520"/>
                  <a:gd name="connsiteY24" fmla="*/ 1081851 h 2959949"/>
                  <a:gd name="connsiteX25" fmla="*/ 614995 w 1414520"/>
                  <a:gd name="connsiteY25" fmla="*/ 1737305 h 2959949"/>
                  <a:gd name="connsiteX26" fmla="*/ 598811 w 1414520"/>
                  <a:gd name="connsiteY26" fmla="*/ 1874870 h 2959949"/>
                  <a:gd name="connsiteX27" fmla="*/ 631179 w 1414520"/>
                  <a:gd name="connsiteY27" fmla="*/ 2012435 h 2959949"/>
                  <a:gd name="connsiteX28" fmla="*/ 639271 w 1414520"/>
                  <a:gd name="connsiteY28" fmla="*/ 2506049 h 2959949"/>
                  <a:gd name="connsiteX29" fmla="*/ 687823 w 1414520"/>
                  <a:gd name="connsiteY29" fmla="*/ 2797362 h 2959949"/>
                  <a:gd name="connsiteX30" fmla="*/ 655455 w 1414520"/>
                  <a:gd name="connsiteY30" fmla="*/ 2854006 h 2959949"/>
                  <a:gd name="connsiteX31" fmla="*/ 380326 w 1414520"/>
                  <a:gd name="connsiteY31" fmla="*/ 2912394 h 2959949"/>
                  <a:gd name="connsiteX32" fmla="*/ 343130 w 1414520"/>
                  <a:gd name="connsiteY32" fmla="*/ 2855751 h 2959949"/>
                  <a:gd name="connsiteX33" fmla="*/ 226577 w 1414520"/>
                  <a:gd name="connsiteY33" fmla="*/ 2077171 h 2959949"/>
                  <a:gd name="connsiteX34" fmla="*/ 161841 w 1414520"/>
                  <a:gd name="connsiteY34" fmla="*/ 1818226 h 2959949"/>
                  <a:gd name="connsiteX35" fmla="*/ 137565 w 1414520"/>
                  <a:gd name="connsiteY35" fmla="*/ 1583557 h 2959949"/>
                  <a:gd name="connsiteX36" fmla="*/ 80921 w 1414520"/>
                  <a:gd name="connsiteY36" fmla="*/ 733893 h 2959949"/>
                  <a:gd name="connsiteX37" fmla="*/ 8092 w 1414520"/>
                  <a:gd name="connsiteY37" fmla="*/ 474948 h 2959949"/>
                  <a:gd name="connsiteX38" fmla="*/ 32369 w 1414520"/>
                  <a:gd name="connsiteY38" fmla="*/ 345475 h 2959949"/>
                  <a:gd name="connsiteX39" fmla="*/ 178025 w 1414520"/>
                  <a:gd name="connsiteY39" fmla="*/ 5610 h 2959949"/>
                  <a:gd name="connsiteX0" fmla="*/ 178025 w 1414520"/>
                  <a:gd name="connsiteY0" fmla="*/ 5610 h 2959949"/>
                  <a:gd name="connsiteX1" fmla="*/ 299406 w 1414520"/>
                  <a:gd name="connsiteY1" fmla="*/ 78438 h 2959949"/>
                  <a:gd name="connsiteX2" fmla="*/ 493615 w 1414520"/>
                  <a:gd name="connsiteY2" fmla="*/ 126990 h 2959949"/>
                  <a:gd name="connsiteX3" fmla="*/ 687823 w 1414520"/>
                  <a:gd name="connsiteY3" fmla="*/ 143174 h 2959949"/>
                  <a:gd name="connsiteX4" fmla="*/ 865848 w 1414520"/>
                  <a:gd name="connsiteY4" fmla="*/ 110806 h 2959949"/>
                  <a:gd name="connsiteX5" fmla="*/ 946769 w 1414520"/>
                  <a:gd name="connsiteY5" fmla="*/ 62254 h 2959949"/>
                  <a:gd name="connsiteX6" fmla="*/ 1181438 w 1414520"/>
                  <a:gd name="connsiteY6" fmla="*/ 264555 h 2959949"/>
                  <a:gd name="connsiteX7" fmla="*/ 1351370 w 1414520"/>
                  <a:gd name="connsiteY7" fmla="*/ 385935 h 2959949"/>
                  <a:gd name="connsiteX8" fmla="*/ 1327094 w 1414520"/>
                  <a:gd name="connsiteY8" fmla="*/ 491132 h 2959949"/>
                  <a:gd name="connsiteX9" fmla="*/ 1246174 w 1414520"/>
                  <a:gd name="connsiteY9" fmla="*/ 750077 h 2959949"/>
                  <a:gd name="connsiteX10" fmla="*/ 1221898 w 1414520"/>
                  <a:gd name="connsiteY10" fmla="*/ 1551189 h 2959949"/>
                  <a:gd name="connsiteX11" fmla="*/ 1262358 w 1414520"/>
                  <a:gd name="connsiteY11" fmla="*/ 1747097 h 2959949"/>
                  <a:gd name="connsiteX12" fmla="*/ 1294726 w 1414520"/>
                  <a:gd name="connsiteY12" fmla="*/ 2036711 h 2959949"/>
                  <a:gd name="connsiteX13" fmla="*/ 1338427 w 1414520"/>
                  <a:gd name="connsiteY13" fmla="*/ 2332987 h 2959949"/>
                  <a:gd name="connsiteX14" fmla="*/ 1367554 w 1414520"/>
                  <a:gd name="connsiteY14" fmla="*/ 2554601 h 2959949"/>
                  <a:gd name="connsiteX15" fmla="*/ 1346565 w 1414520"/>
                  <a:gd name="connsiteY15" fmla="*/ 2663016 h 2959949"/>
                  <a:gd name="connsiteX16" fmla="*/ 1398312 w 1414520"/>
                  <a:gd name="connsiteY16" fmla="*/ 2797474 h 2959949"/>
                  <a:gd name="connsiteX17" fmla="*/ 1414520 w 1414520"/>
                  <a:gd name="connsiteY17" fmla="*/ 2910651 h 2959949"/>
                  <a:gd name="connsiteX18" fmla="*/ 1009986 w 1414520"/>
                  <a:gd name="connsiteY18" fmla="*/ 2828211 h 2959949"/>
                  <a:gd name="connsiteX19" fmla="*/ 940330 w 1414520"/>
                  <a:gd name="connsiteY19" fmla="*/ 2580488 h 2959949"/>
                  <a:gd name="connsiteX20" fmla="*/ 838376 w 1414520"/>
                  <a:gd name="connsiteY20" fmla="*/ 1947699 h 2959949"/>
                  <a:gd name="connsiteX21" fmla="*/ 801112 w 1414520"/>
                  <a:gd name="connsiteY21" fmla="*/ 1632109 h 2959949"/>
                  <a:gd name="connsiteX22" fmla="*/ 750929 w 1414520"/>
                  <a:gd name="connsiteY22" fmla="*/ 1212955 h 2959949"/>
                  <a:gd name="connsiteX23" fmla="*/ 695915 w 1414520"/>
                  <a:gd name="connsiteY23" fmla="*/ 895734 h 2959949"/>
                  <a:gd name="connsiteX24" fmla="*/ 647363 w 1414520"/>
                  <a:gd name="connsiteY24" fmla="*/ 1081851 h 2959949"/>
                  <a:gd name="connsiteX25" fmla="*/ 614995 w 1414520"/>
                  <a:gd name="connsiteY25" fmla="*/ 1737305 h 2959949"/>
                  <a:gd name="connsiteX26" fmla="*/ 598811 w 1414520"/>
                  <a:gd name="connsiteY26" fmla="*/ 1874870 h 2959949"/>
                  <a:gd name="connsiteX27" fmla="*/ 631179 w 1414520"/>
                  <a:gd name="connsiteY27" fmla="*/ 2012435 h 2959949"/>
                  <a:gd name="connsiteX28" fmla="*/ 639271 w 1414520"/>
                  <a:gd name="connsiteY28" fmla="*/ 2506049 h 2959949"/>
                  <a:gd name="connsiteX29" fmla="*/ 687823 w 1414520"/>
                  <a:gd name="connsiteY29" fmla="*/ 2797362 h 2959949"/>
                  <a:gd name="connsiteX30" fmla="*/ 655455 w 1414520"/>
                  <a:gd name="connsiteY30" fmla="*/ 2854006 h 2959949"/>
                  <a:gd name="connsiteX31" fmla="*/ 380326 w 1414520"/>
                  <a:gd name="connsiteY31" fmla="*/ 2912394 h 2959949"/>
                  <a:gd name="connsiteX32" fmla="*/ 343130 w 1414520"/>
                  <a:gd name="connsiteY32" fmla="*/ 2855751 h 2959949"/>
                  <a:gd name="connsiteX33" fmla="*/ 226577 w 1414520"/>
                  <a:gd name="connsiteY33" fmla="*/ 2077171 h 2959949"/>
                  <a:gd name="connsiteX34" fmla="*/ 161841 w 1414520"/>
                  <a:gd name="connsiteY34" fmla="*/ 1818226 h 2959949"/>
                  <a:gd name="connsiteX35" fmla="*/ 137565 w 1414520"/>
                  <a:gd name="connsiteY35" fmla="*/ 1583557 h 2959949"/>
                  <a:gd name="connsiteX36" fmla="*/ 80921 w 1414520"/>
                  <a:gd name="connsiteY36" fmla="*/ 733893 h 2959949"/>
                  <a:gd name="connsiteX37" fmla="*/ 8092 w 1414520"/>
                  <a:gd name="connsiteY37" fmla="*/ 474948 h 2959949"/>
                  <a:gd name="connsiteX38" fmla="*/ 32369 w 1414520"/>
                  <a:gd name="connsiteY38" fmla="*/ 345475 h 2959949"/>
                  <a:gd name="connsiteX39" fmla="*/ 178025 w 1414520"/>
                  <a:gd name="connsiteY39" fmla="*/ 5610 h 2959949"/>
                  <a:gd name="connsiteX0" fmla="*/ 178025 w 1414520"/>
                  <a:gd name="connsiteY0" fmla="*/ 5610 h 2959949"/>
                  <a:gd name="connsiteX1" fmla="*/ 299406 w 1414520"/>
                  <a:gd name="connsiteY1" fmla="*/ 78438 h 2959949"/>
                  <a:gd name="connsiteX2" fmla="*/ 493615 w 1414520"/>
                  <a:gd name="connsiteY2" fmla="*/ 126990 h 2959949"/>
                  <a:gd name="connsiteX3" fmla="*/ 687823 w 1414520"/>
                  <a:gd name="connsiteY3" fmla="*/ 143174 h 2959949"/>
                  <a:gd name="connsiteX4" fmla="*/ 865848 w 1414520"/>
                  <a:gd name="connsiteY4" fmla="*/ 110806 h 2959949"/>
                  <a:gd name="connsiteX5" fmla="*/ 946769 w 1414520"/>
                  <a:gd name="connsiteY5" fmla="*/ 62254 h 2959949"/>
                  <a:gd name="connsiteX6" fmla="*/ 1181438 w 1414520"/>
                  <a:gd name="connsiteY6" fmla="*/ 264555 h 2959949"/>
                  <a:gd name="connsiteX7" fmla="*/ 1351370 w 1414520"/>
                  <a:gd name="connsiteY7" fmla="*/ 385935 h 2959949"/>
                  <a:gd name="connsiteX8" fmla="*/ 1327094 w 1414520"/>
                  <a:gd name="connsiteY8" fmla="*/ 491132 h 2959949"/>
                  <a:gd name="connsiteX9" fmla="*/ 1246174 w 1414520"/>
                  <a:gd name="connsiteY9" fmla="*/ 750077 h 2959949"/>
                  <a:gd name="connsiteX10" fmla="*/ 1221898 w 1414520"/>
                  <a:gd name="connsiteY10" fmla="*/ 1551189 h 2959949"/>
                  <a:gd name="connsiteX11" fmla="*/ 1262358 w 1414520"/>
                  <a:gd name="connsiteY11" fmla="*/ 1747097 h 2959949"/>
                  <a:gd name="connsiteX12" fmla="*/ 1294726 w 1414520"/>
                  <a:gd name="connsiteY12" fmla="*/ 2036711 h 2959949"/>
                  <a:gd name="connsiteX13" fmla="*/ 1338427 w 1414520"/>
                  <a:gd name="connsiteY13" fmla="*/ 2332987 h 2959949"/>
                  <a:gd name="connsiteX14" fmla="*/ 1367554 w 1414520"/>
                  <a:gd name="connsiteY14" fmla="*/ 2554601 h 2959949"/>
                  <a:gd name="connsiteX15" fmla="*/ 1346565 w 1414520"/>
                  <a:gd name="connsiteY15" fmla="*/ 2663016 h 2959949"/>
                  <a:gd name="connsiteX16" fmla="*/ 1398312 w 1414520"/>
                  <a:gd name="connsiteY16" fmla="*/ 2797474 h 2959949"/>
                  <a:gd name="connsiteX17" fmla="*/ 1414520 w 1414520"/>
                  <a:gd name="connsiteY17" fmla="*/ 2910651 h 2959949"/>
                  <a:gd name="connsiteX18" fmla="*/ 1009986 w 1414520"/>
                  <a:gd name="connsiteY18" fmla="*/ 2828211 h 2959949"/>
                  <a:gd name="connsiteX19" fmla="*/ 940330 w 1414520"/>
                  <a:gd name="connsiteY19" fmla="*/ 2580488 h 2959949"/>
                  <a:gd name="connsiteX20" fmla="*/ 838376 w 1414520"/>
                  <a:gd name="connsiteY20" fmla="*/ 1947699 h 2959949"/>
                  <a:gd name="connsiteX21" fmla="*/ 801112 w 1414520"/>
                  <a:gd name="connsiteY21" fmla="*/ 1632109 h 2959949"/>
                  <a:gd name="connsiteX22" fmla="*/ 750929 w 1414520"/>
                  <a:gd name="connsiteY22" fmla="*/ 1212955 h 2959949"/>
                  <a:gd name="connsiteX23" fmla="*/ 695915 w 1414520"/>
                  <a:gd name="connsiteY23" fmla="*/ 895734 h 2959949"/>
                  <a:gd name="connsiteX24" fmla="*/ 647363 w 1414520"/>
                  <a:gd name="connsiteY24" fmla="*/ 1081851 h 2959949"/>
                  <a:gd name="connsiteX25" fmla="*/ 614995 w 1414520"/>
                  <a:gd name="connsiteY25" fmla="*/ 1737305 h 2959949"/>
                  <a:gd name="connsiteX26" fmla="*/ 598811 w 1414520"/>
                  <a:gd name="connsiteY26" fmla="*/ 1874870 h 2959949"/>
                  <a:gd name="connsiteX27" fmla="*/ 631179 w 1414520"/>
                  <a:gd name="connsiteY27" fmla="*/ 2012435 h 2959949"/>
                  <a:gd name="connsiteX28" fmla="*/ 639271 w 1414520"/>
                  <a:gd name="connsiteY28" fmla="*/ 2506049 h 2959949"/>
                  <a:gd name="connsiteX29" fmla="*/ 687823 w 1414520"/>
                  <a:gd name="connsiteY29" fmla="*/ 2797362 h 2959949"/>
                  <a:gd name="connsiteX30" fmla="*/ 652214 w 1414520"/>
                  <a:gd name="connsiteY30" fmla="*/ 2886419 h 2959949"/>
                  <a:gd name="connsiteX31" fmla="*/ 380326 w 1414520"/>
                  <a:gd name="connsiteY31" fmla="*/ 2912394 h 2959949"/>
                  <a:gd name="connsiteX32" fmla="*/ 343130 w 1414520"/>
                  <a:gd name="connsiteY32" fmla="*/ 2855751 h 2959949"/>
                  <a:gd name="connsiteX33" fmla="*/ 226577 w 1414520"/>
                  <a:gd name="connsiteY33" fmla="*/ 2077171 h 2959949"/>
                  <a:gd name="connsiteX34" fmla="*/ 161841 w 1414520"/>
                  <a:gd name="connsiteY34" fmla="*/ 1818226 h 2959949"/>
                  <a:gd name="connsiteX35" fmla="*/ 137565 w 1414520"/>
                  <a:gd name="connsiteY35" fmla="*/ 1583557 h 2959949"/>
                  <a:gd name="connsiteX36" fmla="*/ 80921 w 1414520"/>
                  <a:gd name="connsiteY36" fmla="*/ 733893 h 2959949"/>
                  <a:gd name="connsiteX37" fmla="*/ 8092 w 1414520"/>
                  <a:gd name="connsiteY37" fmla="*/ 474948 h 2959949"/>
                  <a:gd name="connsiteX38" fmla="*/ 32369 w 1414520"/>
                  <a:gd name="connsiteY38" fmla="*/ 345475 h 2959949"/>
                  <a:gd name="connsiteX39" fmla="*/ 178025 w 1414520"/>
                  <a:gd name="connsiteY39" fmla="*/ 5610 h 2959949"/>
                  <a:gd name="connsiteX0" fmla="*/ 178025 w 1414520"/>
                  <a:gd name="connsiteY0" fmla="*/ 5610 h 2959949"/>
                  <a:gd name="connsiteX1" fmla="*/ 299406 w 1414520"/>
                  <a:gd name="connsiteY1" fmla="*/ 78438 h 2959949"/>
                  <a:gd name="connsiteX2" fmla="*/ 493615 w 1414520"/>
                  <a:gd name="connsiteY2" fmla="*/ 126990 h 2959949"/>
                  <a:gd name="connsiteX3" fmla="*/ 687823 w 1414520"/>
                  <a:gd name="connsiteY3" fmla="*/ 143174 h 2959949"/>
                  <a:gd name="connsiteX4" fmla="*/ 865848 w 1414520"/>
                  <a:gd name="connsiteY4" fmla="*/ 110806 h 2959949"/>
                  <a:gd name="connsiteX5" fmla="*/ 946769 w 1414520"/>
                  <a:gd name="connsiteY5" fmla="*/ 62254 h 2959949"/>
                  <a:gd name="connsiteX6" fmla="*/ 1181438 w 1414520"/>
                  <a:gd name="connsiteY6" fmla="*/ 264555 h 2959949"/>
                  <a:gd name="connsiteX7" fmla="*/ 1351370 w 1414520"/>
                  <a:gd name="connsiteY7" fmla="*/ 385935 h 2959949"/>
                  <a:gd name="connsiteX8" fmla="*/ 1327094 w 1414520"/>
                  <a:gd name="connsiteY8" fmla="*/ 491132 h 2959949"/>
                  <a:gd name="connsiteX9" fmla="*/ 1246174 w 1414520"/>
                  <a:gd name="connsiteY9" fmla="*/ 750077 h 2959949"/>
                  <a:gd name="connsiteX10" fmla="*/ 1221898 w 1414520"/>
                  <a:gd name="connsiteY10" fmla="*/ 1551189 h 2959949"/>
                  <a:gd name="connsiteX11" fmla="*/ 1262358 w 1414520"/>
                  <a:gd name="connsiteY11" fmla="*/ 1747097 h 2959949"/>
                  <a:gd name="connsiteX12" fmla="*/ 1294726 w 1414520"/>
                  <a:gd name="connsiteY12" fmla="*/ 2036711 h 2959949"/>
                  <a:gd name="connsiteX13" fmla="*/ 1338427 w 1414520"/>
                  <a:gd name="connsiteY13" fmla="*/ 2332987 h 2959949"/>
                  <a:gd name="connsiteX14" fmla="*/ 1367554 w 1414520"/>
                  <a:gd name="connsiteY14" fmla="*/ 2554601 h 2959949"/>
                  <a:gd name="connsiteX15" fmla="*/ 1346565 w 1414520"/>
                  <a:gd name="connsiteY15" fmla="*/ 2663016 h 2959949"/>
                  <a:gd name="connsiteX16" fmla="*/ 1398312 w 1414520"/>
                  <a:gd name="connsiteY16" fmla="*/ 2797474 h 2959949"/>
                  <a:gd name="connsiteX17" fmla="*/ 1414520 w 1414520"/>
                  <a:gd name="connsiteY17" fmla="*/ 2910651 h 2959949"/>
                  <a:gd name="connsiteX18" fmla="*/ 1009986 w 1414520"/>
                  <a:gd name="connsiteY18" fmla="*/ 2828211 h 2959949"/>
                  <a:gd name="connsiteX19" fmla="*/ 940330 w 1414520"/>
                  <a:gd name="connsiteY19" fmla="*/ 2580488 h 2959949"/>
                  <a:gd name="connsiteX20" fmla="*/ 838376 w 1414520"/>
                  <a:gd name="connsiteY20" fmla="*/ 1947699 h 2959949"/>
                  <a:gd name="connsiteX21" fmla="*/ 801112 w 1414520"/>
                  <a:gd name="connsiteY21" fmla="*/ 1632109 h 2959949"/>
                  <a:gd name="connsiteX22" fmla="*/ 750929 w 1414520"/>
                  <a:gd name="connsiteY22" fmla="*/ 1212955 h 2959949"/>
                  <a:gd name="connsiteX23" fmla="*/ 695915 w 1414520"/>
                  <a:gd name="connsiteY23" fmla="*/ 895734 h 2959949"/>
                  <a:gd name="connsiteX24" fmla="*/ 647363 w 1414520"/>
                  <a:gd name="connsiteY24" fmla="*/ 1081851 h 2959949"/>
                  <a:gd name="connsiteX25" fmla="*/ 614995 w 1414520"/>
                  <a:gd name="connsiteY25" fmla="*/ 1737305 h 2959949"/>
                  <a:gd name="connsiteX26" fmla="*/ 598811 w 1414520"/>
                  <a:gd name="connsiteY26" fmla="*/ 1874870 h 2959949"/>
                  <a:gd name="connsiteX27" fmla="*/ 631179 w 1414520"/>
                  <a:gd name="connsiteY27" fmla="*/ 2012435 h 2959949"/>
                  <a:gd name="connsiteX28" fmla="*/ 665201 w 1414520"/>
                  <a:gd name="connsiteY28" fmla="*/ 2506049 h 2959949"/>
                  <a:gd name="connsiteX29" fmla="*/ 687823 w 1414520"/>
                  <a:gd name="connsiteY29" fmla="*/ 2797362 h 2959949"/>
                  <a:gd name="connsiteX30" fmla="*/ 652214 w 1414520"/>
                  <a:gd name="connsiteY30" fmla="*/ 2886419 h 2959949"/>
                  <a:gd name="connsiteX31" fmla="*/ 380326 w 1414520"/>
                  <a:gd name="connsiteY31" fmla="*/ 2912394 h 2959949"/>
                  <a:gd name="connsiteX32" fmla="*/ 343130 w 1414520"/>
                  <a:gd name="connsiteY32" fmla="*/ 2855751 h 2959949"/>
                  <a:gd name="connsiteX33" fmla="*/ 226577 w 1414520"/>
                  <a:gd name="connsiteY33" fmla="*/ 2077171 h 2959949"/>
                  <a:gd name="connsiteX34" fmla="*/ 161841 w 1414520"/>
                  <a:gd name="connsiteY34" fmla="*/ 1818226 h 2959949"/>
                  <a:gd name="connsiteX35" fmla="*/ 137565 w 1414520"/>
                  <a:gd name="connsiteY35" fmla="*/ 1583557 h 2959949"/>
                  <a:gd name="connsiteX36" fmla="*/ 80921 w 1414520"/>
                  <a:gd name="connsiteY36" fmla="*/ 733893 h 2959949"/>
                  <a:gd name="connsiteX37" fmla="*/ 8092 w 1414520"/>
                  <a:gd name="connsiteY37" fmla="*/ 474948 h 2959949"/>
                  <a:gd name="connsiteX38" fmla="*/ 32369 w 1414520"/>
                  <a:gd name="connsiteY38" fmla="*/ 345475 h 2959949"/>
                  <a:gd name="connsiteX39" fmla="*/ 178025 w 1414520"/>
                  <a:gd name="connsiteY39" fmla="*/ 5610 h 2959949"/>
                  <a:gd name="connsiteX0" fmla="*/ 178025 w 1414520"/>
                  <a:gd name="connsiteY0" fmla="*/ 5610 h 2959949"/>
                  <a:gd name="connsiteX1" fmla="*/ 299406 w 1414520"/>
                  <a:gd name="connsiteY1" fmla="*/ 78438 h 2959949"/>
                  <a:gd name="connsiteX2" fmla="*/ 493615 w 1414520"/>
                  <a:gd name="connsiteY2" fmla="*/ 126990 h 2959949"/>
                  <a:gd name="connsiteX3" fmla="*/ 687823 w 1414520"/>
                  <a:gd name="connsiteY3" fmla="*/ 143174 h 2959949"/>
                  <a:gd name="connsiteX4" fmla="*/ 865848 w 1414520"/>
                  <a:gd name="connsiteY4" fmla="*/ 110806 h 2959949"/>
                  <a:gd name="connsiteX5" fmla="*/ 946769 w 1414520"/>
                  <a:gd name="connsiteY5" fmla="*/ 62254 h 2959949"/>
                  <a:gd name="connsiteX6" fmla="*/ 1181438 w 1414520"/>
                  <a:gd name="connsiteY6" fmla="*/ 264555 h 2959949"/>
                  <a:gd name="connsiteX7" fmla="*/ 1351370 w 1414520"/>
                  <a:gd name="connsiteY7" fmla="*/ 385935 h 2959949"/>
                  <a:gd name="connsiteX8" fmla="*/ 1327094 w 1414520"/>
                  <a:gd name="connsiteY8" fmla="*/ 491132 h 2959949"/>
                  <a:gd name="connsiteX9" fmla="*/ 1246174 w 1414520"/>
                  <a:gd name="connsiteY9" fmla="*/ 750077 h 2959949"/>
                  <a:gd name="connsiteX10" fmla="*/ 1221898 w 1414520"/>
                  <a:gd name="connsiteY10" fmla="*/ 1551189 h 2959949"/>
                  <a:gd name="connsiteX11" fmla="*/ 1262358 w 1414520"/>
                  <a:gd name="connsiteY11" fmla="*/ 1747097 h 2959949"/>
                  <a:gd name="connsiteX12" fmla="*/ 1294726 w 1414520"/>
                  <a:gd name="connsiteY12" fmla="*/ 2036711 h 2959949"/>
                  <a:gd name="connsiteX13" fmla="*/ 1338427 w 1414520"/>
                  <a:gd name="connsiteY13" fmla="*/ 2332987 h 2959949"/>
                  <a:gd name="connsiteX14" fmla="*/ 1367554 w 1414520"/>
                  <a:gd name="connsiteY14" fmla="*/ 2554601 h 2959949"/>
                  <a:gd name="connsiteX15" fmla="*/ 1346565 w 1414520"/>
                  <a:gd name="connsiteY15" fmla="*/ 2663016 h 2959949"/>
                  <a:gd name="connsiteX16" fmla="*/ 1398312 w 1414520"/>
                  <a:gd name="connsiteY16" fmla="*/ 2797474 h 2959949"/>
                  <a:gd name="connsiteX17" fmla="*/ 1414520 w 1414520"/>
                  <a:gd name="connsiteY17" fmla="*/ 2910651 h 2959949"/>
                  <a:gd name="connsiteX18" fmla="*/ 1009986 w 1414520"/>
                  <a:gd name="connsiteY18" fmla="*/ 2828211 h 2959949"/>
                  <a:gd name="connsiteX19" fmla="*/ 940330 w 1414520"/>
                  <a:gd name="connsiteY19" fmla="*/ 2580488 h 2959949"/>
                  <a:gd name="connsiteX20" fmla="*/ 838376 w 1414520"/>
                  <a:gd name="connsiteY20" fmla="*/ 1947699 h 2959949"/>
                  <a:gd name="connsiteX21" fmla="*/ 801112 w 1414520"/>
                  <a:gd name="connsiteY21" fmla="*/ 1632109 h 2959949"/>
                  <a:gd name="connsiteX22" fmla="*/ 750929 w 1414520"/>
                  <a:gd name="connsiteY22" fmla="*/ 1212955 h 2959949"/>
                  <a:gd name="connsiteX23" fmla="*/ 695915 w 1414520"/>
                  <a:gd name="connsiteY23" fmla="*/ 895734 h 2959949"/>
                  <a:gd name="connsiteX24" fmla="*/ 647363 w 1414520"/>
                  <a:gd name="connsiteY24" fmla="*/ 1081851 h 2959949"/>
                  <a:gd name="connsiteX25" fmla="*/ 614995 w 1414520"/>
                  <a:gd name="connsiteY25" fmla="*/ 1737305 h 2959949"/>
                  <a:gd name="connsiteX26" fmla="*/ 598811 w 1414520"/>
                  <a:gd name="connsiteY26" fmla="*/ 1874870 h 2959949"/>
                  <a:gd name="connsiteX27" fmla="*/ 608490 w 1414520"/>
                  <a:gd name="connsiteY27" fmla="*/ 2038365 h 2959949"/>
                  <a:gd name="connsiteX28" fmla="*/ 665201 w 1414520"/>
                  <a:gd name="connsiteY28" fmla="*/ 2506049 h 2959949"/>
                  <a:gd name="connsiteX29" fmla="*/ 687823 w 1414520"/>
                  <a:gd name="connsiteY29" fmla="*/ 2797362 h 2959949"/>
                  <a:gd name="connsiteX30" fmla="*/ 652214 w 1414520"/>
                  <a:gd name="connsiteY30" fmla="*/ 2886419 h 2959949"/>
                  <a:gd name="connsiteX31" fmla="*/ 380326 w 1414520"/>
                  <a:gd name="connsiteY31" fmla="*/ 2912394 h 2959949"/>
                  <a:gd name="connsiteX32" fmla="*/ 343130 w 1414520"/>
                  <a:gd name="connsiteY32" fmla="*/ 2855751 h 2959949"/>
                  <a:gd name="connsiteX33" fmla="*/ 226577 w 1414520"/>
                  <a:gd name="connsiteY33" fmla="*/ 2077171 h 2959949"/>
                  <a:gd name="connsiteX34" fmla="*/ 161841 w 1414520"/>
                  <a:gd name="connsiteY34" fmla="*/ 1818226 h 2959949"/>
                  <a:gd name="connsiteX35" fmla="*/ 137565 w 1414520"/>
                  <a:gd name="connsiteY35" fmla="*/ 1583557 h 2959949"/>
                  <a:gd name="connsiteX36" fmla="*/ 80921 w 1414520"/>
                  <a:gd name="connsiteY36" fmla="*/ 733893 h 2959949"/>
                  <a:gd name="connsiteX37" fmla="*/ 8092 w 1414520"/>
                  <a:gd name="connsiteY37" fmla="*/ 474948 h 2959949"/>
                  <a:gd name="connsiteX38" fmla="*/ 32369 w 1414520"/>
                  <a:gd name="connsiteY38" fmla="*/ 345475 h 2959949"/>
                  <a:gd name="connsiteX39" fmla="*/ 178025 w 1414520"/>
                  <a:gd name="connsiteY39" fmla="*/ 5610 h 2959949"/>
                  <a:gd name="connsiteX0" fmla="*/ 178025 w 1414520"/>
                  <a:gd name="connsiteY0" fmla="*/ 5610 h 2959949"/>
                  <a:gd name="connsiteX1" fmla="*/ 299406 w 1414520"/>
                  <a:gd name="connsiteY1" fmla="*/ 78438 h 2959949"/>
                  <a:gd name="connsiteX2" fmla="*/ 493615 w 1414520"/>
                  <a:gd name="connsiteY2" fmla="*/ 126990 h 2959949"/>
                  <a:gd name="connsiteX3" fmla="*/ 687823 w 1414520"/>
                  <a:gd name="connsiteY3" fmla="*/ 143174 h 2959949"/>
                  <a:gd name="connsiteX4" fmla="*/ 865848 w 1414520"/>
                  <a:gd name="connsiteY4" fmla="*/ 110806 h 2959949"/>
                  <a:gd name="connsiteX5" fmla="*/ 946769 w 1414520"/>
                  <a:gd name="connsiteY5" fmla="*/ 62254 h 2959949"/>
                  <a:gd name="connsiteX6" fmla="*/ 1181438 w 1414520"/>
                  <a:gd name="connsiteY6" fmla="*/ 264555 h 2959949"/>
                  <a:gd name="connsiteX7" fmla="*/ 1351370 w 1414520"/>
                  <a:gd name="connsiteY7" fmla="*/ 385935 h 2959949"/>
                  <a:gd name="connsiteX8" fmla="*/ 1327094 w 1414520"/>
                  <a:gd name="connsiteY8" fmla="*/ 491132 h 2959949"/>
                  <a:gd name="connsiteX9" fmla="*/ 1246174 w 1414520"/>
                  <a:gd name="connsiteY9" fmla="*/ 750077 h 2959949"/>
                  <a:gd name="connsiteX10" fmla="*/ 1221898 w 1414520"/>
                  <a:gd name="connsiteY10" fmla="*/ 1551189 h 2959949"/>
                  <a:gd name="connsiteX11" fmla="*/ 1262358 w 1414520"/>
                  <a:gd name="connsiteY11" fmla="*/ 1747097 h 2959949"/>
                  <a:gd name="connsiteX12" fmla="*/ 1294726 w 1414520"/>
                  <a:gd name="connsiteY12" fmla="*/ 2036711 h 2959949"/>
                  <a:gd name="connsiteX13" fmla="*/ 1338427 w 1414520"/>
                  <a:gd name="connsiteY13" fmla="*/ 2332987 h 2959949"/>
                  <a:gd name="connsiteX14" fmla="*/ 1367554 w 1414520"/>
                  <a:gd name="connsiteY14" fmla="*/ 2554601 h 2959949"/>
                  <a:gd name="connsiteX15" fmla="*/ 1346565 w 1414520"/>
                  <a:gd name="connsiteY15" fmla="*/ 2663016 h 2959949"/>
                  <a:gd name="connsiteX16" fmla="*/ 1398312 w 1414520"/>
                  <a:gd name="connsiteY16" fmla="*/ 2797474 h 2959949"/>
                  <a:gd name="connsiteX17" fmla="*/ 1414520 w 1414520"/>
                  <a:gd name="connsiteY17" fmla="*/ 2910651 h 2959949"/>
                  <a:gd name="connsiteX18" fmla="*/ 1009986 w 1414520"/>
                  <a:gd name="connsiteY18" fmla="*/ 2828211 h 2959949"/>
                  <a:gd name="connsiteX19" fmla="*/ 940330 w 1414520"/>
                  <a:gd name="connsiteY19" fmla="*/ 2580488 h 2959949"/>
                  <a:gd name="connsiteX20" fmla="*/ 838376 w 1414520"/>
                  <a:gd name="connsiteY20" fmla="*/ 1947699 h 2959949"/>
                  <a:gd name="connsiteX21" fmla="*/ 801112 w 1414520"/>
                  <a:gd name="connsiteY21" fmla="*/ 1632109 h 2959949"/>
                  <a:gd name="connsiteX22" fmla="*/ 750929 w 1414520"/>
                  <a:gd name="connsiteY22" fmla="*/ 1212955 h 2959949"/>
                  <a:gd name="connsiteX23" fmla="*/ 695915 w 1414520"/>
                  <a:gd name="connsiteY23" fmla="*/ 895734 h 2959949"/>
                  <a:gd name="connsiteX24" fmla="*/ 647363 w 1414520"/>
                  <a:gd name="connsiteY24" fmla="*/ 1081851 h 2959949"/>
                  <a:gd name="connsiteX25" fmla="*/ 621478 w 1414520"/>
                  <a:gd name="connsiteY25" fmla="*/ 1669237 h 2959949"/>
                  <a:gd name="connsiteX26" fmla="*/ 598811 w 1414520"/>
                  <a:gd name="connsiteY26" fmla="*/ 1874870 h 2959949"/>
                  <a:gd name="connsiteX27" fmla="*/ 608490 w 1414520"/>
                  <a:gd name="connsiteY27" fmla="*/ 2038365 h 2959949"/>
                  <a:gd name="connsiteX28" fmla="*/ 665201 w 1414520"/>
                  <a:gd name="connsiteY28" fmla="*/ 2506049 h 2959949"/>
                  <a:gd name="connsiteX29" fmla="*/ 687823 w 1414520"/>
                  <a:gd name="connsiteY29" fmla="*/ 2797362 h 2959949"/>
                  <a:gd name="connsiteX30" fmla="*/ 652214 w 1414520"/>
                  <a:gd name="connsiteY30" fmla="*/ 2886419 h 2959949"/>
                  <a:gd name="connsiteX31" fmla="*/ 380326 w 1414520"/>
                  <a:gd name="connsiteY31" fmla="*/ 2912394 h 2959949"/>
                  <a:gd name="connsiteX32" fmla="*/ 343130 w 1414520"/>
                  <a:gd name="connsiteY32" fmla="*/ 2855751 h 2959949"/>
                  <a:gd name="connsiteX33" fmla="*/ 226577 w 1414520"/>
                  <a:gd name="connsiteY33" fmla="*/ 2077171 h 2959949"/>
                  <a:gd name="connsiteX34" fmla="*/ 161841 w 1414520"/>
                  <a:gd name="connsiteY34" fmla="*/ 1818226 h 2959949"/>
                  <a:gd name="connsiteX35" fmla="*/ 137565 w 1414520"/>
                  <a:gd name="connsiteY35" fmla="*/ 1583557 h 2959949"/>
                  <a:gd name="connsiteX36" fmla="*/ 80921 w 1414520"/>
                  <a:gd name="connsiteY36" fmla="*/ 733893 h 2959949"/>
                  <a:gd name="connsiteX37" fmla="*/ 8092 w 1414520"/>
                  <a:gd name="connsiteY37" fmla="*/ 474948 h 2959949"/>
                  <a:gd name="connsiteX38" fmla="*/ 32369 w 1414520"/>
                  <a:gd name="connsiteY38" fmla="*/ 345475 h 2959949"/>
                  <a:gd name="connsiteX39" fmla="*/ 178025 w 1414520"/>
                  <a:gd name="connsiteY39" fmla="*/ 5610 h 2959949"/>
                  <a:gd name="connsiteX0" fmla="*/ 178025 w 1414520"/>
                  <a:gd name="connsiteY0" fmla="*/ 5610 h 2959949"/>
                  <a:gd name="connsiteX1" fmla="*/ 299406 w 1414520"/>
                  <a:gd name="connsiteY1" fmla="*/ 78438 h 2959949"/>
                  <a:gd name="connsiteX2" fmla="*/ 493615 w 1414520"/>
                  <a:gd name="connsiteY2" fmla="*/ 126990 h 2959949"/>
                  <a:gd name="connsiteX3" fmla="*/ 687823 w 1414520"/>
                  <a:gd name="connsiteY3" fmla="*/ 143174 h 2959949"/>
                  <a:gd name="connsiteX4" fmla="*/ 865848 w 1414520"/>
                  <a:gd name="connsiteY4" fmla="*/ 110806 h 2959949"/>
                  <a:gd name="connsiteX5" fmla="*/ 946769 w 1414520"/>
                  <a:gd name="connsiteY5" fmla="*/ 62254 h 2959949"/>
                  <a:gd name="connsiteX6" fmla="*/ 1181438 w 1414520"/>
                  <a:gd name="connsiteY6" fmla="*/ 264555 h 2959949"/>
                  <a:gd name="connsiteX7" fmla="*/ 1351370 w 1414520"/>
                  <a:gd name="connsiteY7" fmla="*/ 385935 h 2959949"/>
                  <a:gd name="connsiteX8" fmla="*/ 1327094 w 1414520"/>
                  <a:gd name="connsiteY8" fmla="*/ 491132 h 2959949"/>
                  <a:gd name="connsiteX9" fmla="*/ 1246174 w 1414520"/>
                  <a:gd name="connsiteY9" fmla="*/ 750077 h 2959949"/>
                  <a:gd name="connsiteX10" fmla="*/ 1221898 w 1414520"/>
                  <a:gd name="connsiteY10" fmla="*/ 1551189 h 2959949"/>
                  <a:gd name="connsiteX11" fmla="*/ 1262358 w 1414520"/>
                  <a:gd name="connsiteY11" fmla="*/ 1747097 h 2959949"/>
                  <a:gd name="connsiteX12" fmla="*/ 1294726 w 1414520"/>
                  <a:gd name="connsiteY12" fmla="*/ 2036711 h 2959949"/>
                  <a:gd name="connsiteX13" fmla="*/ 1338427 w 1414520"/>
                  <a:gd name="connsiteY13" fmla="*/ 2332987 h 2959949"/>
                  <a:gd name="connsiteX14" fmla="*/ 1367554 w 1414520"/>
                  <a:gd name="connsiteY14" fmla="*/ 2554601 h 2959949"/>
                  <a:gd name="connsiteX15" fmla="*/ 1346565 w 1414520"/>
                  <a:gd name="connsiteY15" fmla="*/ 2663016 h 2959949"/>
                  <a:gd name="connsiteX16" fmla="*/ 1398312 w 1414520"/>
                  <a:gd name="connsiteY16" fmla="*/ 2797474 h 2959949"/>
                  <a:gd name="connsiteX17" fmla="*/ 1414520 w 1414520"/>
                  <a:gd name="connsiteY17" fmla="*/ 2910651 h 2959949"/>
                  <a:gd name="connsiteX18" fmla="*/ 1009986 w 1414520"/>
                  <a:gd name="connsiteY18" fmla="*/ 2828211 h 2959949"/>
                  <a:gd name="connsiteX19" fmla="*/ 940330 w 1414520"/>
                  <a:gd name="connsiteY19" fmla="*/ 2580488 h 2959949"/>
                  <a:gd name="connsiteX20" fmla="*/ 838376 w 1414520"/>
                  <a:gd name="connsiteY20" fmla="*/ 1947699 h 2959949"/>
                  <a:gd name="connsiteX21" fmla="*/ 801112 w 1414520"/>
                  <a:gd name="connsiteY21" fmla="*/ 1632109 h 2959949"/>
                  <a:gd name="connsiteX22" fmla="*/ 750929 w 1414520"/>
                  <a:gd name="connsiteY22" fmla="*/ 1212955 h 2959949"/>
                  <a:gd name="connsiteX23" fmla="*/ 695915 w 1414520"/>
                  <a:gd name="connsiteY23" fmla="*/ 895734 h 2959949"/>
                  <a:gd name="connsiteX24" fmla="*/ 647363 w 1414520"/>
                  <a:gd name="connsiteY24" fmla="*/ 1081851 h 2959949"/>
                  <a:gd name="connsiteX25" fmla="*/ 621478 w 1414520"/>
                  <a:gd name="connsiteY25" fmla="*/ 1669237 h 2959949"/>
                  <a:gd name="connsiteX26" fmla="*/ 598811 w 1414520"/>
                  <a:gd name="connsiteY26" fmla="*/ 1874870 h 2959949"/>
                  <a:gd name="connsiteX27" fmla="*/ 608490 w 1414520"/>
                  <a:gd name="connsiteY27" fmla="*/ 2038365 h 2959949"/>
                  <a:gd name="connsiteX28" fmla="*/ 665201 w 1414520"/>
                  <a:gd name="connsiteY28" fmla="*/ 2506049 h 2959949"/>
                  <a:gd name="connsiteX29" fmla="*/ 687823 w 1414520"/>
                  <a:gd name="connsiteY29" fmla="*/ 2797362 h 2959949"/>
                  <a:gd name="connsiteX30" fmla="*/ 652214 w 1414520"/>
                  <a:gd name="connsiteY30" fmla="*/ 2886419 h 2959949"/>
                  <a:gd name="connsiteX31" fmla="*/ 380326 w 1414520"/>
                  <a:gd name="connsiteY31" fmla="*/ 2912394 h 2959949"/>
                  <a:gd name="connsiteX32" fmla="*/ 343130 w 1414520"/>
                  <a:gd name="connsiteY32" fmla="*/ 2855751 h 2959949"/>
                  <a:gd name="connsiteX33" fmla="*/ 226577 w 1414520"/>
                  <a:gd name="connsiteY33" fmla="*/ 2077171 h 2959949"/>
                  <a:gd name="connsiteX34" fmla="*/ 161841 w 1414520"/>
                  <a:gd name="connsiteY34" fmla="*/ 1818226 h 2959949"/>
                  <a:gd name="connsiteX35" fmla="*/ 137565 w 1414520"/>
                  <a:gd name="connsiteY35" fmla="*/ 1583557 h 2959949"/>
                  <a:gd name="connsiteX36" fmla="*/ 80921 w 1414520"/>
                  <a:gd name="connsiteY36" fmla="*/ 733893 h 2959949"/>
                  <a:gd name="connsiteX37" fmla="*/ 8092 w 1414520"/>
                  <a:gd name="connsiteY37" fmla="*/ 474948 h 2959949"/>
                  <a:gd name="connsiteX38" fmla="*/ 32369 w 1414520"/>
                  <a:gd name="connsiteY38" fmla="*/ 345475 h 2959949"/>
                  <a:gd name="connsiteX39" fmla="*/ 178025 w 1414520"/>
                  <a:gd name="connsiteY39" fmla="*/ 5610 h 2959949"/>
                  <a:gd name="connsiteX0" fmla="*/ 178025 w 1414520"/>
                  <a:gd name="connsiteY0" fmla="*/ 5610 h 2959949"/>
                  <a:gd name="connsiteX1" fmla="*/ 299406 w 1414520"/>
                  <a:gd name="connsiteY1" fmla="*/ 78438 h 2959949"/>
                  <a:gd name="connsiteX2" fmla="*/ 493615 w 1414520"/>
                  <a:gd name="connsiteY2" fmla="*/ 126990 h 2959949"/>
                  <a:gd name="connsiteX3" fmla="*/ 687823 w 1414520"/>
                  <a:gd name="connsiteY3" fmla="*/ 143174 h 2959949"/>
                  <a:gd name="connsiteX4" fmla="*/ 865848 w 1414520"/>
                  <a:gd name="connsiteY4" fmla="*/ 110806 h 2959949"/>
                  <a:gd name="connsiteX5" fmla="*/ 946769 w 1414520"/>
                  <a:gd name="connsiteY5" fmla="*/ 62254 h 2959949"/>
                  <a:gd name="connsiteX6" fmla="*/ 1181438 w 1414520"/>
                  <a:gd name="connsiteY6" fmla="*/ 264555 h 2959949"/>
                  <a:gd name="connsiteX7" fmla="*/ 1351370 w 1414520"/>
                  <a:gd name="connsiteY7" fmla="*/ 385935 h 2959949"/>
                  <a:gd name="connsiteX8" fmla="*/ 1327094 w 1414520"/>
                  <a:gd name="connsiteY8" fmla="*/ 491132 h 2959949"/>
                  <a:gd name="connsiteX9" fmla="*/ 1246174 w 1414520"/>
                  <a:gd name="connsiteY9" fmla="*/ 750077 h 2959949"/>
                  <a:gd name="connsiteX10" fmla="*/ 1221898 w 1414520"/>
                  <a:gd name="connsiteY10" fmla="*/ 1551189 h 2959949"/>
                  <a:gd name="connsiteX11" fmla="*/ 1262358 w 1414520"/>
                  <a:gd name="connsiteY11" fmla="*/ 1747097 h 2959949"/>
                  <a:gd name="connsiteX12" fmla="*/ 1294726 w 1414520"/>
                  <a:gd name="connsiteY12" fmla="*/ 2036711 h 2959949"/>
                  <a:gd name="connsiteX13" fmla="*/ 1338427 w 1414520"/>
                  <a:gd name="connsiteY13" fmla="*/ 2332987 h 2959949"/>
                  <a:gd name="connsiteX14" fmla="*/ 1367554 w 1414520"/>
                  <a:gd name="connsiteY14" fmla="*/ 2554601 h 2959949"/>
                  <a:gd name="connsiteX15" fmla="*/ 1346565 w 1414520"/>
                  <a:gd name="connsiteY15" fmla="*/ 2663016 h 2959949"/>
                  <a:gd name="connsiteX16" fmla="*/ 1398312 w 1414520"/>
                  <a:gd name="connsiteY16" fmla="*/ 2797474 h 2959949"/>
                  <a:gd name="connsiteX17" fmla="*/ 1414520 w 1414520"/>
                  <a:gd name="connsiteY17" fmla="*/ 2910651 h 2959949"/>
                  <a:gd name="connsiteX18" fmla="*/ 1009986 w 1414520"/>
                  <a:gd name="connsiteY18" fmla="*/ 2828211 h 2959949"/>
                  <a:gd name="connsiteX19" fmla="*/ 940330 w 1414520"/>
                  <a:gd name="connsiteY19" fmla="*/ 2580488 h 2959949"/>
                  <a:gd name="connsiteX20" fmla="*/ 838376 w 1414520"/>
                  <a:gd name="connsiteY20" fmla="*/ 1947699 h 2959949"/>
                  <a:gd name="connsiteX21" fmla="*/ 801112 w 1414520"/>
                  <a:gd name="connsiteY21" fmla="*/ 1632109 h 2959949"/>
                  <a:gd name="connsiteX22" fmla="*/ 750929 w 1414520"/>
                  <a:gd name="connsiteY22" fmla="*/ 1212955 h 2959949"/>
                  <a:gd name="connsiteX23" fmla="*/ 695915 w 1414520"/>
                  <a:gd name="connsiteY23" fmla="*/ 895734 h 2959949"/>
                  <a:gd name="connsiteX24" fmla="*/ 647363 w 1414520"/>
                  <a:gd name="connsiteY24" fmla="*/ 1081851 h 2959949"/>
                  <a:gd name="connsiteX25" fmla="*/ 621478 w 1414520"/>
                  <a:gd name="connsiteY25" fmla="*/ 1669237 h 2959949"/>
                  <a:gd name="connsiteX26" fmla="*/ 598811 w 1414520"/>
                  <a:gd name="connsiteY26" fmla="*/ 1874870 h 2959949"/>
                  <a:gd name="connsiteX27" fmla="*/ 634421 w 1414520"/>
                  <a:gd name="connsiteY27" fmla="*/ 2116156 h 2959949"/>
                  <a:gd name="connsiteX28" fmla="*/ 665201 w 1414520"/>
                  <a:gd name="connsiteY28" fmla="*/ 2506049 h 2959949"/>
                  <a:gd name="connsiteX29" fmla="*/ 687823 w 1414520"/>
                  <a:gd name="connsiteY29" fmla="*/ 2797362 h 2959949"/>
                  <a:gd name="connsiteX30" fmla="*/ 652214 w 1414520"/>
                  <a:gd name="connsiteY30" fmla="*/ 2886419 h 2959949"/>
                  <a:gd name="connsiteX31" fmla="*/ 380326 w 1414520"/>
                  <a:gd name="connsiteY31" fmla="*/ 2912394 h 2959949"/>
                  <a:gd name="connsiteX32" fmla="*/ 343130 w 1414520"/>
                  <a:gd name="connsiteY32" fmla="*/ 2855751 h 2959949"/>
                  <a:gd name="connsiteX33" fmla="*/ 226577 w 1414520"/>
                  <a:gd name="connsiteY33" fmla="*/ 2077171 h 2959949"/>
                  <a:gd name="connsiteX34" fmla="*/ 161841 w 1414520"/>
                  <a:gd name="connsiteY34" fmla="*/ 1818226 h 2959949"/>
                  <a:gd name="connsiteX35" fmla="*/ 137565 w 1414520"/>
                  <a:gd name="connsiteY35" fmla="*/ 1583557 h 2959949"/>
                  <a:gd name="connsiteX36" fmla="*/ 80921 w 1414520"/>
                  <a:gd name="connsiteY36" fmla="*/ 733893 h 2959949"/>
                  <a:gd name="connsiteX37" fmla="*/ 8092 w 1414520"/>
                  <a:gd name="connsiteY37" fmla="*/ 474948 h 2959949"/>
                  <a:gd name="connsiteX38" fmla="*/ 32369 w 1414520"/>
                  <a:gd name="connsiteY38" fmla="*/ 345475 h 2959949"/>
                  <a:gd name="connsiteX39" fmla="*/ 178025 w 1414520"/>
                  <a:gd name="connsiteY39" fmla="*/ 5610 h 2959949"/>
                  <a:gd name="connsiteX0" fmla="*/ 178025 w 1414520"/>
                  <a:gd name="connsiteY0" fmla="*/ 5610 h 2959949"/>
                  <a:gd name="connsiteX1" fmla="*/ 299406 w 1414520"/>
                  <a:gd name="connsiteY1" fmla="*/ 78438 h 2959949"/>
                  <a:gd name="connsiteX2" fmla="*/ 493615 w 1414520"/>
                  <a:gd name="connsiteY2" fmla="*/ 126990 h 2959949"/>
                  <a:gd name="connsiteX3" fmla="*/ 687823 w 1414520"/>
                  <a:gd name="connsiteY3" fmla="*/ 143174 h 2959949"/>
                  <a:gd name="connsiteX4" fmla="*/ 865848 w 1414520"/>
                  <a:gd name="connsiteY4" fmla="*/ 110806 h 2959949"/>
                  <a:gd name="connsiteX5" fmla="*/ 946769 w 1414520"/>
                  <a:gd name="connsiteY5" fmla="*/ 62254 h 2959949"/>
                  <a:gd name="connsiteX6" fmla="*/ 1181438 w 1414520"/>
                  <a:gd name="connsiteY6" fmla="*/ 264555 h 2959949"/>
                  <a:gd name="connsiteX7" fmla="*/ 1351370 w 1414520"/>
                  <a:gd name="connsiteY7" fmla="*/ 385935 h 2959949"/>
                  <a:gd name="connsiteX8" fmla="*/ 1327094 w 1414520"/>
                  <a:gd name="connsiteY8" fmla="*/ 491132 h 2959949"/>
                  <a:gd name="connsiteX9" fmla="*/ 1246174 w 1414520"/>
                  <a:gd name="connsiteY9" fmla="*/ 750077 h 2959949"/>
                  <a:gd name="connsiteX10" fmla="*/ 1221898 w 1414520"/>
                  <a:gd name="connsiteY10" fmla="*/ 1551189 h 2959949"/>
                  <a:gd name="connsiteX11" fmla="*/ 1262358 w 1414520"/>
                  <a:gd name="connsiteY11" fmla="*/ 1747097 h 2959949"/>
                  <a:gd name="connsiteX12" fmla="*/ 1294726 w 1414520"/>
                  <a:gd name="connsiteY12" fmla="*/ 2036711 h 2959949"/>
                  <a:gd name="connsiteX13" fmla="*/ 1338427 w 1414520"/>
                  <a:gd name="connsiteY13" fmla="*/ 2332987 h 2959949"/>
                  <a:gd name="connsiteX14" fmla="*/ 1367554 w 1414520"/>
                  <a:gd name="connsiteY14" fmla="*/ 2554601 h 2959949"/>
                  <a:gd name="connsiteX15" fmla="*/ 1346565 w 1414520"/>
                  <a:gd name="connsiteY15" fmla="*/ 2663016 h 2959949"/>
                  <a:gd name="connsiteX16" fmla="*/ 1398312 w 1414520"/>
                  <a:gd name="connsiteY16" fmla="*/ 2797474 h 2959949"/>
                  <a:gd name="connsiteX17" fmla="*/ 1414520 w 1414520"/>
                  <a:gd name="connsiteY17" fmla="*/ 2910651 h 2959949"/>
                  <a:gd name="connsiteX18" fmla="*/ 1009986 w 1414520"/>
                  <a:gd name="connsiteY18" fmla="*/ 2828211 h 2959949"/>
                  <a:gd name="connsiteX19" fmla="*/ 940330 w 1414520"/>
                  <a:gd name="connsiteY19" fmla="*/ 2580488 h 2959949"/>
                  <a:gd name="connsiteX20" fmla="*/ 838376 w 1414520"/>
                  <a:gd name="connsiteY20" fmla="*/ 1947699 h 2959949"/>
                  <a:gd name="connsiteX21" fmla="*/ 801112 w 1414520"/>
                  <a:gd name="connsiteY21" fmla="*/ 1632109 h 2959949"/>
                  <a:gd name="connsiteX22" fmla="*/ 750929 w 1414520"/>
                  <a:gd name="connsiteY22" fmla="*/ 1212955 h 2959949"/>
                  <a:gd name="connsiteX23" fmla="*/ 695915 w 1414520"/>
                  <a:gd name="connsiteY23" fmla="*/ 895734 h 2959949"/>
                  <a:gd name="connsiteX24" fmla="*/ 647363 w 1414520"/>
                  <a:gd name="connsiteY24" fmla="*/ 1081851 h 2959949"/>
                  <a:gd name="connsiteX25" fmla="*/ 621478 w 1414520"/>
                  <a:gd name="connsiteY25" fmla="*/ 1669237 h 2959949"/>
                  <a:gd name="connsiteX26" fmla="*/ 598811 w 1414520"/>
                  <a:gd name="connsiteY26" fmla="*/ 1874870 h 2959949"/>
                  <a:gd name="connsiteX27" fmla="*/ 634421 w 1414520"/>
                  <a:gd name="connsiteY27" fmla="*/ 2116156 h 2959949"/>
                  <a:gd name="connsiteX28" fmla="*/ 678166 w 1414520"/>
                  <a:gd name="connsiteY28" fmla="*/ 2506049 h 2959949"/>
                  <a:gd name="connsiteX29" fmla="*/ 687823 w 1414520"/>
                  <a:gd name="connsiteY29" fmla="*/ 2797362 h 2959949"/>
                  <a:gd name="connsiteX30" fmla="*/ 652214 w 1414520"/>
                  <a:gd name="connsiteY30" fmla="*/ 2886419 h 2959949"/>
                  <a:gd name="connsiteX31" fmla="*/ 380326 w 1414520"/>
                  <a:gd name="connsiteY31" fmla="*/ 2912394 h 2959949"/>
                  <a:gd name="connsiteX32" fmla="*/ 343130 w 1414520"/>
                  <a:gd name="connsiteY32" fmla="*/ 2855751 h 2959949"/>
                  <a:gd name="connsiteX33" fmla="*/ 226577 w 1414520"/>
                  <a:gd name="connsiteY33" fmla="*/ 2077171 h 2959949"/>
                  <a:gd name="connsiteX34" fmla="*/ 161841 w 1414520"/>
                  <a:gd name="connsiteY34" fmla="*/ 1818226 h 2959949"/>
                  <a:gd name="connsiteX35" fmla="*/ 137565 w 1414520"/>
                  <a:gd name="connsiteY35" fmla="*/ 1583557 h 2959949"/>
                  <a:gd name="connsiteX36" fmla="*/ 80921 w 1414520"/>
                  <a:gd name="connsiteY36" fmla="*/ 733893 h 2959949"/>
                  <a:gd name="connsiteX37" fmla="*/ 8092 w 1414520"/>
                  <a:gd name="connsiteY37" fmla="*/ 474948 h 2959949"/>
                  <a:gd name="connsiteX38" fmla="*/ 32369 w 1414520"/>
                  <a:gd name="connsiteY38" fmla="*/ 345475 h 2959949"/>
                  <a:gd name="connsiteX39" fmla="*/ 178025 w 1414520"/>
                  <a:gd name="connsiteY39" fmla="*/ 5610 h 2959949"/>
                  <a:gd name="connsiteX0" fmla="*/ 178025 w 1414520"/>
                  <a:gd name="connsiteY0" fmla="*/ 5610 h 2959949"/>
                  <a:gd name="connsiteX1" fmla="*/ 299406 w 1414520"/>
                  <a:gd name="connsiteY1" fmla="*/ 78438 h 2959949"/>
                  <a:gd name="connsiteX2" fmla="*/ 493615 w 1414520"/>
                  <a:gd name="connsiteY2" fmla="*/ 126990 h 2959949"/>
                  <a:gd name="connsiteX3" fmla="*/ 687823 w 1414520"/>
                  <a:gd name="connsiteY3" fmla="*/ 143174 h 2959949"/>
                  <a:gd name="connsiteX4" fmla="*/ 865848 w 1414520"/>
                  <a:gd name="connsiteY4" fmla="*/ 110806 h 2959949"/>
                  <a:gd name="connsiteX5" fmla="*/ 946769 w 1414520"/>
                  <a:gd name="connsiteY5" fmla="*/ 62254 h 2959949"/>
                  <a:gd name="connsiteX6" fmla="*/ 1181438 w 1414520"/>
                  <a:gd name="connsiteY6" fmla="*/ 264555 h 2959949"/>
                  <a:gd name="connsiteX7" fmla="*/ 1351370 w 1414520"/>
                  <a:gd name="connsiteY7" fmla="*/ 385935 h 2959949"/>
                  <a:gd name="connsiteX8" fmla="*/ 1327094 w 1414520"/>
                  <a:gd name="connsiteY8" fmla="*/ 491132 h 2959949"/>
                  <a:gd name="connsiteX9" fmla="*/ 1246174 w 1414520"/>
                  <a:gd name="connsiteY9" fmla="*/ 750077 h 2959949"/>
                  <a:gd name="connsiteX10" fmla="*/ 1221898 w 1414520"/>
                  <a:gd name="connsiteY10" fmla="*/ 1551189 h 2959949"/>
                  <a:gd name="connsiteX11" fmla="*/ 1262358 w 1414520"/>
                  <a:gd name="connsiteY11" fmla="*/ 1747097 h 2959949"/>
                  <a:gd name="connsiteX12" fmla="*/ 1294726 w 1414520"/>
                  <a:gd name="connsiteY12" fmla="*/ 2036711 h 2959949"/>
                  <a:gd name="connsiteX13" fmla="*/ 1338427 w 1414520"/>
                  <a:gd name="connsiteY13" fmla="*/ 2332987 h 2959949"/>
                  <a:gd name="connsiteX14" fmla="*/ 1367554 w 1414520"/>
                  <a:gd name="connsiteY14" fmla="*/ 2554601 h 2959949"/>
                  <a:gd name="connsiteX15" fmla="*/ 1346565 w 1414520"/>
                  <a:gd name="connsiteY15" fmla="*/ 2663016 h 2959949"/>
                  <a:gd name="connsiteX16" fmla="*/ 1398312 w 1414520"/>
                  <a:gd name="connsiteY16" fmla="*/ 2797474 h 2959949"/>
                  <a:gd name="connsiteX17" fmla="*/ 1414520 w 1414520"/>
                  <a:gd name="connsiteY17" fmla="*/ 2910651 h 2959949"/>
                  <a:gd name="connsiteX18" fmla="*/ 1009986 w 1414520"/>
                  <a:gd name="connsiteY18" fmla="*/ 2828211 h 2959949"/>
                  <a:gd name="connsiteX19" fmla="*/ 940330 w 1414520"/>
                  <a:gd name="connsiteY19" fmla="*/ 2580488 h 2959949"/>
                  <a:gd name="connsiteX20" fmla="*/ 838376 w 1414520"/>
                  <a:gd name="connsiteY20" fmla="*/ 1947699 h 2959949"/>
                  <a:gd name="connsiteX21" fmla="*/ 801112 w 1414520"/>
                  <a:gd name="connsiteY21" fmla="*/ 1632109 h 2959949"/>
                  <a:gd name="connsiteX22" fmla="*/ 750929 w 1414520"/>
                  <a:gd name="connsiteY22" fmla="*/ 1212955 h 2959949"/>
                  <a:gd name="connsiteX23" fmla="*/ 695915 w 1414520"/>
                  <a:gd name="connsiteY23" fmla="*/ 895734 h 2959949"/>
                  <a:gd name="connsiteX24" fmla="*/ 647363 w 1414520"/>
                  <a:gd name="connsiteY24" fmla="*/ 1081851 h 2959949"/>
                  <a:gd name="connsiteX25" fmla="*/ 602031 w 1414520"/>
                  <a:gd name="connsiteY25" fmla="*/ 1669237 h 2959949"/>
                  <a:gd name="connsiteX26" fmla="*/ 598811 w 1414520"/>
                  <a:gd name="connsiteY26" fmla="*/ 1874870 h 2959949"/>
                  <a:gd name="connsiteX27" fmla="*/ 634421 w 1414520"/>
                  <a:gd name="connsiteY27" fmla="*/ 2116156 h 2959949"/>
                  <a:gd name="connsiteX28" fmla="*/ 678166 w 1414520"/>
                  <a:gd name="connsiteY28" fmla="*/ 2506049 h 2959949"/>
                  <a:gd name="connsiteX29" fmla="*/ 687823 w 1414520"/>
                  <a:gd name="connsiteY29" fmla="*/ 2797362 h 2959949"/>
                  <a:gd name="connsiteX30" fmla="*/ 652214 w 1414520"/>
                  <a:gd name="connsiteY30" fmla="*/ 2886419 h 2959949"/>
                  <a:gd name="connsiteX31" fmla="*/ 380326 w 1414520"/>
                  <a:gd name="connsiteY31" fmla="*/ 2912394 h 2959949"/>
                  <a:gd name="connsiteX32" fmla="*/ 343130 w 1414520"/>
                  <a:gd name="connsiteY32" fmla="*/ 2855751 h 2959949"/>
                  <a:gd name="connsiteX33" fmla="*/ 226577 w 1414520"/>
                  <a:gd name="connsiteY33" fmla="*/ 2077171 h 2959949"/>
                  <a:gd name="connsiteX34" fmla="*/ 161841 w 1414520"/>
                  <a:gd name="connsiteY34" fmla="*/ 1818226 h 2959949"/>
                  <a:gd name="connsiteX35" fmla="*/ 137565 w 1414520"/>
                  <a:gd name="connsiteY35" fmla="*/ 1583557 h 2959949"/>
                  <a:gd name="connsiteX36" fmla="*/ 80921 w 1414520"/>
                  <a:gd name="connsiteY36" fmla="*/ 733893 h 2959949"/>
                  <a:gd name="connsiteX37" fmla="*/ 8092 w 1414520"/>
                  <a:gd name="connsiteY37" fmla="*/ 474948 h 2959949"/>
                  <a:gd name="connsiteX38" fmla="*/ 32369 w 1414520"/>
                  <a:gd name="connsiteY38" fmla="*/ 345475 h 2959949"/>
                  <a:gd name="connsiteX39" fmla="*/ 178025 w 1414520"/>
                  <a:gd name="connsiteY39" fmla="*/ 5610 h 2959949"/>
                  <a:gd name="connsiteX0" fmla="*/ 178025 w 1414520"/>
                  <a:gd name="connsiteY0" fmla="*/ 5610 h 2959949"/>
                  <a:gd name="connsiteX1" fmla="*/ 299406 w 1414520"/>
                  <a:gd name="connsiteY1" fmla="*/ 78438 h 2959949"/>
                  <a:gd name="connsiteX2" fmla="*/ 493615 w 1414520"/>
                  <a:gd name="connsiteY2" fmla="*/ 126990 h 2959949"/>
                  <a:gd name="connsiteX3" fmla="*/ 687823 w 1414520"/>
                  <a:gd name="connsiteY3" fmla="*/ 143174 h 2959949"/>
                  <a:gd name="connsiteX4" fmla="*/ 865848 w 1414520"/>
                  <a:gd name="connsiteY4" fmla="*/ 110806 h 2959949"/>
                  <a:gd name="connsiteX5" fmla="*/ 946769 w 1414520"/>
                  <a:gd name="connsiteY5" fmla="*/ 62254 h 2959949"/>
                  <a:gd name="connsiteX6" fmla="*/ 1181438 w 1414520"/>
                  <a:gd name="connsiteY6" fmla="*/ 264555 h 2959949"/>
                  <a:gd name="connsiteX7" fmla="*/ 1351370 w 1414520"/>
                  <a:gd name="connsiteY7" fmla="*/ 385935 h 2959949"/>
                  <a:gd name="connsiteX8" fmla="*/ 1327094 w 1414520"/>
                  <a:gd name="connsiteY8" fmla="*/ 491132 h 2959949"/>
                  <a:gd name="connsiteX9" fmla="*/ 1246174 w 1414520"/>
                  <a:gd name="connsiteY9" fmla="*/ 750077 h 2959949"/>
                  <a:gd name="connsiteX10" fmla="*/ 1221898 w 1414520"/>
                  <a:gd name="connsiteY10" fmla="*/ 1551189 h 2959949"/>
                  <a:gd name="connsiteX11" fmla="*/ 1262358 w 1414520"/>
                  <a:gd name="connsiteY11" fmla="*/ 1747097 h 2959949"/>
                  <a:gd name="connsiteX12" fmla="*/ 1294726 w 1414520"/>
                  <a:gd name="connsiteY12" fmla="*/ 2036711 h 2959949"/>
                  <a:gd name="connsiteX13" fmla="*/ 1338427 w 1414520"/>
                  <a:gd name="connsiteY13" fmla="*/ 2332987 h 2959949"/>
                  <a:gd name="connsiteX14" fmla="*/ 1367554 w 1414520"/>
                  <a:gd name="connsiteY14" fmla="*/ 2554601 h 2959949"/>
                  <a:gd name="connsiteX15" fmla="*/ 1346565 w 1414520"/>
                  <a:gd name="connsiteY15" fmla="*/ 2663016 h 2959949"/>
                  <a:gd name="connsiteX16" fmla="*/ 1398312 w 1414520"/>
                  <a:gd name="connsiteY16" fmla="*/ 2797474 h 2959949"/>
                  <a:gd name="connsiteX17" fmla="*/ 1414520 w 1414520"/>
                  <a:gd name="connsiteY17" fmla="*/ 2910651 h 2959949"/>
                  <a:gd name="connsiteX18" fmla="*/ 1009986 w 1414520"/>
                  <a:gd name="connsiteY18" fmla="*/ 2828211 h 2959949"/>
                  <a:gd name="connsiteX19" fmla="*/ 940330 w 1414520"/>
                  <a:gd name="connsiteY19" fmla="*/ 2580488 h 2959949"/>
                  <a:gd name="connsiteX20" fmla="*/ 838376 w 1414520"/>
                  <a:gd name="connsiteY20" fmla="*/ 1947699 h 2959949"/>
                  <a:gd name="connsiteX21" fmla="*/ 801112 w 1414520"/>
                  <a:gd name="connsiteY21" fmla="*/ 1632109 h 2959949"/>
                  <a:gd name="connsiteX22" fmla="*/ 750929 w 1414520"/>
                  <a:gd name="connsiteY22" fmla="*/ 1212955 h 2959949"/>
                  <a:gd name="connsiteX23" fmla="*/ 695915 w 1414520"/>
                  <a:gd name="connsiteY23" fmla="*/ 895734 h 2959949"/>
                  <a:gd name="connsiteX24" fmla="*/ 647363 w 1414520"/>
                  <a:gd name="connsiteY24" fmla="*/ 1081851 h 2959949"/>
                  <a:gd name="connsiteX25" fmla="*/ 602031 w 1414520"/>
                  <a:gd name="connsiteY25" fmla="*/ 1669237 h 2959949"/>
                  <a:gd name="connsiteX26" fmla="*/ 598811 w 1414520"/>
                  <a:gd name="connsiteY26" fmla="*/ 1874870 h 2959949"/>
                  <a:gd name="connsiteX27" fmla="*/ 634421 w 1414520"/>
                  <a:gd name="connsiteY27" fmla="*/ 2116156 h 2959949"/>
                  <a:gd name="connsiteX28" fmla="*/ 678166 w 1414520"/>
                  <a:gd name="connsiteY28" fmla="*/ 2506049 h 2959949"/>
                  <a:gd name="connsiteX29" fmla="*/ 687823 w 1414520"/>
                  <a:gd name="connsiteY29" fmla="*/ 2797362 h 2959949"/>
                  <a:gd name="connsiteX30" fmla="*/ 652214 w 1414520"/>
                  <a:gd name="connsiteY30" fmla="*/ 2886419 h 2959949"/>
                  <a:gd name="connsiteX31" fmla="*/ 380326 w 1414520"/>
                  <a:gd name="connsiteY31" fmla="*/ 2912394 h 2959949"/>
                  <a:gd name="connsiteX32" fmla="*/ 294369 w 1414520"/>
                  <a:gd name="connsiteY32" fmla="*/ 2863878 h 2959949"/>
                  <a:gd name="connsiteX33" fmla="*/ 226577 w 1414520"/>
                  <a:gd name="connsiteY33" fmla="*/ 2077171 h 2959949"/>
                  <a:gd name="connsiteX34" fmla="*/ 161841 w 1414520"/>
                  <a:gd name="connsiteY34" fmla="*/ 1818226 h 2959949"/>
                  <a:gd name="connsiteX35" fmla="*/ 137565 w 1414520"/>
                  <a:gd name="connsiteY35" fmla="*/ 1583557 h 2959949"/>
                  <a:gd name="connsiteX36" fmla="*/ 80921 w 1414520"/>
                  <a:gd name="connsiteY36" fmla="*/ 733893 h 2959949"/>
                  <a:gd name="connsiteX37" fmla="*/ 8092 w 1414520"/>
                  <a:gd name="connsiteY37" fmla="*/ 474948 h 2959949"/>
                  <a:gd name="connsiteX38" fmla="*/ 32369 w 1414520"/>
                  <a:gd name="connsiteY38" fmla="*/ 345475 h 2959949"/>
                  <a:gd name="connsiteX39" fmla="*/ 178025 w 1414520"/>
                  <a:gd name="connsiteY39" fmla="*/ 5610 h 2959949"/>
                  <a:gd name="connsiteX0" fmla="*/ 178025 w 1414520"/>
                  <a:gd name="connsiteY0" fmla="*/ 5610 h 2959949"/>
                  <a:gd name="connsiteX1" fmla="*/ 299406 w 1414520"/>
                  <a:gd name="connsiteY1" fmla="*/ 78438 h 2959949"/>
                  <a:gd name="connsiteX2" fmla="*/ 493615 w 1414520"/>
                  <a:gd name="connsiteY2" fmla="*/ 126990 h 2959949"/>
                  <a:gd name="connsiteX3" fmla="*/ 687823 w 1414520"/>
                  <a:gd name="connsiteY3" fmla="*/ 143174 h 2959949"/>
                  <a:gd name="connsiteX4" fmla="*/ 865848 w 1414520"/>
                  <a:gd name="connsiteY4" fmla="*/ 110806 h 2959949"/>
                  <a:gd name="connsiteX5" fmla="*/ 946769 w 1414520"/>
                  <a:gd name="connsiteY5" fmla="*/ 62254 h 2959949"/>
                  <a:gd name="connsiteX6" fmla="*/ 1181438 w 1414520"/>
                  <a:gd name="connsiteY6" fmla="*/ 264555 h 2959949"/>
                  <a:gd name="connsiteX7" fmla="*/ 1351370 w 1414520"/>
                  <a:gd name="connsiteY7" fmla="*/ 385935 h 2959949"/>
                  <a:gd name="connsiteX8" fmla="*/ 1327094 w 1414520"/>
                  <a:gd name="connsiteY8" fmla="*/ 491132 h 2959949"/>
                  <a:gd name="connsiteX9" fmla="*/ 1246174 w 1414520"/>
                  <a:gd name="connsiteY9" fmla="*/ 750077 h 2959949"/>
                  <a:gd name="connsiteX10" fmla="*/ 1221898 w 1414520"/>
                  <a:gd name="connsiteY10" fmla="*/ 1551189 h 2959949"/>
                  <a:gd name="connsiteX11" fmla="*/ 1262358 w 1414520"/>
                  <a:gd name="connsiteY11" fmla="*/ 1747097 h 2959949"/>
                  <a:gd name="connsiteX12" fmla="*/ 1294726 w 1414520"/>
                  <a:gd name="connsiteY12" fmla="*/ 2036711 h 2959949"/>
                  <a:gd name="connsiteX13" fmla="*/ 1338427 w 1414520"/>
                  <a:gd name="connsiteY13" fmla="*/ 2332987 h 2959949"/>
                  <a:gd name="connsiteX14" fmla="*/ 1367554 w 1414520"/>
                  <a:gd name="connsiteY14" fmla="*/ 2554601 h 2959949"/>
                  <a:gd name="connsiteX15" fmla="*/ 1346565 w 1414520"/>
                  <a:gd name="connsiteY15" fmla="*/ 2663016 h 2959949"/>
                  <a:gd name="connsiteX16" fmla="*/ 1398312 w 1414520"/>
                  <a:gd name="connsiteY16" fmla="*/ 2797474 h 2959949"/>
                  <a:gd name="connsiteX17" fmla="*/ 1414520 w 1414520"/>
                  <a:gd name="connsiteY17" fmla="*/ 2910651 h 2959949"/>
                  <a:gd name="connsiteX18" fmla="*/ 1009986 w 1414520"/>
                  <a:gd name="connsiteY18" fmla="*/ 2828211 h 2959949"/>
                  <a:gd name="connsiteX19" fmla="*/ 940330 w 1414520"/>
                  <a:gd name="connsiteY19" fmla="*/ 2580488 h 2959949"/>
                  <a:gd name="connsiteX20" fmla="*/ 838376 w 1414520"/>
                  <a:gd name="connsiteY20" fmla="*/ 1947699 h 2959949"/>
                  <a:gd name="connsiteX21" fmla="*/ 801112 w 1414520"/>
                  <a:gd name="connsiteY21" fmla="*/ 1632109 h 2959949"/>
                  <a:gd name="connsiteX22" fmla="*/ 750929 w 1414520"/>
                  <a:gd name="connsiteY22" fmla="*/ 1212955 h 2959949"/>
                  <a:gd name="connsiteX23" fmla="*/ 695915 w 1414520"/>
                  <a:gd name="connsiteY23" fmla="*/ 895734 h 2959949"/>
                  <a:gd name="connsiteX24" fmla="*/ 647363 w 1414520"/>
                  <a:gd name="connsiteY24" fmla="*/ 1081851 h 2959949"/>
                  <a:gd name="connsiteX25" fmla="*/ 602031 w 1414520"/>
                  <a:gd name="connsiteY25" fmla="*/ 1669237 h 2959949"/>
                  <a:gd name="connsiteX26" fmla="*/ 598811 w 1414520"/>
                  <a:gd name="connsiteY26" fmla="*/ 1874870 h 2959949"/>
                  <a:gd name="connsiteX27" fmla="*/ 634421 w 1414520"/>
                  <a:gd name="connsiteY27" fmla="*/ 2116156 h 2959949"/>
                  <a:gd name="connsiteX28" fmla="*/ 678166 w 1414520"/>
                  <a:gd name="connsiteY28" fmla="*/ 2506049 h 2959949"/>
                  <a:gd name="connsiteX29" fmla="*/ 687823 w 1414520"/>
                  <a:gd name="connsiteY29" fmla="*/ 2797362 h 2959949"/>
                  <a:gd name="connsiteX30" fmla="*/ 652214 w 1414520"/>
                  <a:gd name="connsiteY30" fmla="*/ 2886419 h 2959949"/>
                  <a:gd name="connsiteX31" fmla="*/ 380326 w 1414520"/>
                  <a:gd name="connsiteY31" fmla="*/ 2912394 h 2959949"/>
                  <a:gd name="connsiteX32" fmla="*/ 294369 w 1414520"/>
                  <a:gd name="connsiteY32" fmla="*/ 2863878 h 2959949"/>
                  <a:gd name="connsiteX33" fmla="*/ 226577 w 1414520"/>
                  <a:gd name="connsiteY33" fmla="*/ 2077171 h 2959949"/>
                  <a:gd name="connsiteX34" fmla="*/ 161841 w 1414520"/>
                  <a:gd name="connsiteY34" fmla="*/ 1818226 h 2959949"/>
                  <a:gd name="connsiteX35" fmla="*/ 137565 w 1414520"/>
                  <a:gd name="connsiteY35" fmla="*/ 1583557 h 2959949"/>
                  <a:gd name="connsiteX36" fmla="*/ 80921 w 1414520"/>
                  <a:gd name="connsiteY36" fmla="*/ 733893 h 2959949"/>
                  <a:gd name="connsiteX37" fmla="*/ 8092 w 1414520"/>
                  <a:gd name="connsiteY37" fmla="*/ 474948 h 2959949"/>
                  <a:gd name="connsiteX38" fmla="*/ 32369 w 1414520"/>
                  <a:gd name="connsiteY38" fmla="*/ 345475 h 2959949"/>
                  <a:gd name="connsiteX39" fmla="*/ 178025 w 1414520"/>
                  <a:gd name="connsiteY39" fmla="*/ 5610 h 2959949"/>
                  <a:gd name="connsiteX0" fmla="*/ 178025 w 1414520"/>
                  <a:gd name="connsiteY0" fmla="*/ 5610 h 2979185"/>
                  <a:gd name="connsiteX1" fmla="*/ 299406 w 1414520"/>
                  <a:gd name="connsiteY1" fmla="*/ 78438 h 2979185"/>
                  <a:gd name="connsiteX2" fmla="*/ 493615 w 1414520"/>
                  <a:gd name="connsiteY2" fmla="*/ 126990 h 2979185"/>
                  <a:gd name="connsiteX3" fmla="*/ 687823 w 1414520"/>
                  <a:gd name="connsiteY3" fmla="*/ 143174 h 2979185"/>
                  <a:gd name="connsiteX4" fmla="*/ 865848 w 1414520"/>
                  <a:gd name="connsiteY4" fmla="*/ 110806 h 2979185"/>
                  <a:gd name="connsiteX5" fmla="*/ 946769 w 1414520"/>
                  <a:gd name="connsiteY5" fmla="*/ 62254 h 2979185"/>
                  <a:gd name="connsiteX6" fmla="*/ 1181438 w 1414520"/>
                  <a:gd name="connsiteY6" fmla="*/ 264555 h 2979185"/>
                  <a:gd name="connsiteX7" fmla="*/ 1351370 w 1414520"/>
                  <a:gd name="connsiteY7" fmla="*/ 385935 h 2979185"/>
                  <a:gd name="connsiteX8" fmla="*/ 1327094 w 1414520"/>
                  <a:gd name="connsiteY8" fmla="*/ 491132 h 2979185"/>
                  <a:gd name="connsiteX9" fmla="*/ 1246174 w 1414520"/>
                  <a:gd name="connsiteY9" fmla="*/ 750077 h 2979185"/>
                  <a:gd name="connsiteX10" fmla="*/ 1221898 w 1414520"/>
                  <a:gd name="connsiteY10" fmla="*/ 1551189 h 2979185"/>
                  <a:gd name="connsiteX11" fmla="*/ 1262358 w 1414520"/>
                  <a:gd name="connsiteY11" fmla="*/ 1747097 h 2979185"/>
                  <a:gd name="connsiteX12" fmla="*/ 1294726 w 1414520"/>
                  <a:gd name="connsiteY12" fmla="*/ 2036711 h 2979185"/>
                  <a:gd name="connsiteX13" fmla="*/ 1338427 w 1414520"/>
                  <a:gd name="connsiteY13" fmla="*/ 2332987 h 2979185"/>
                  <a:gd name="connsiteX14" fmla="*/ 1367554 w 1414520"/>
                  <a:gd name="connsiteY14" fmla="*/ 2554601 h 2979185"/>
                  <a:gd name="connsiteX15" fmla="*/ 1346565 w 1414520"/>
                  <a:gd name="connsiteY15" fmla="*/ 2663016 h 2979185"/>
                  <a:gd name="connsiteX16" fmla="*/ 1398312 w 1414520"/>
                  <a:gd name="connsiteY16" fmla="*/ 2797474 h 2979185"/>
                  <a:gd name="connsiteX17" fmla="*/ 1414520 w 1414520"/>
                  <a:gd name="connsiteY17" fmla="*/ 2910651 h 2979185"/>
                  <a:gd name="connsiteX18" fmla="*/ 1009986 w 1414520"/>
                  <a:gd name="connsiteY18" fmla="*/ 2828211 h 2979185"/>
                  <a:gd name="connsiteX19" fmla="*/ 940330 w 1414520"/>
                  <a:gd name="connsiteY19" fmla="*/ 2580488 h 2979185"/>
                  <a:gd name="connsiteX20" fmla="*/ 838376 w 1414520"/>
                  <a:gd name="connsiteY20" fmla="*/ 1947699 h 2979185"/>
                  <a:gd name="connsiteX21" fmla="*/ 801112 w 1414520"/>
                  <a:gd name="connsiteY21" fmla="*/ 1632109 h 2979185"/>
                  <a:gd name="connsiteX22" fmla="*/ 750929 w 1414520"/>
                  <a:gd name="connsiteY22" fmla="*/ 1212955 h 2979185"/>
                  <a:gd name="connsiteX23" fmla="*/ 695915 w 1414520"/>
                  <a:gd name="connsiteY23" fmla="*/ 895734 h 2979185"/>
                  <a:gd name="connsiteX24" fmla="*/ 647363 w 1414520"/>
                  <a:gd name="connsiteY24" fmla="*/ 1081851 h 2979185"/>
                  <a:gd name="connsiteX25" fmla="*/ 602031 w 1414520"/>
                  <a:gd name="connsiteY25" fmla="*/ 1669237 h 2979185"/>
                  <a:gd name="connsiteX26" fmla="*/ 598811 w 1414520"/>
                  <a:gd name="connsiteY26" fmla="*/ 1874870 h 2979185"/>
                  <a:gd name="connsiteX27" fmla="*/ 634421 w 1414520"/>
                  <a:gd name="connsiteY27" fmla="*/ 2116156 h 2979185"/>
                  <a:gd name="connsiteX28" fmla="*/ 678166 w 1414520"/>
                  <a:gd name="connsiteY28" fmla="*/ 2506049 h 2979185"/>
                  <a:gd name="connsiteX29" fmla="*/ 687823 w 1414520"/>
                  <a:gd name="connsiteY29" fmla="*/ 2797362 h 2979185"/>
                  <a:gd name="connsiteX30" fmla="*/ 652214 w 1414520"/>
                  <a:gd name="connsiteY30" fmla="*/ 2886419 h 2979185"/>
                  <a:gd name="connsiteX31" fmla="*/ 286866 w 1414520"/>
                  <a:gd name="connsiteY31" fmla="*/ 2944902 h 2979185"/>
                  <a:gd name="connsiteX32" fmla="*/ 294369 w 1414520"/>
                  <a:gd name="connsiteY32" fmla="*/ 2863878 h 2979185"/>
                  <a:gd name="connsiteX33" fmla="*/ 226577 w 1414520"/>
                  <a:gd name="connsiteY33" fmla="*/ 2077171 h 2979185"/>
                  <a:gd name="connsiteX34" fmla="*/ 161841 w 1414520"/>
                  <a:gd name="connsiteY34" fmla="*/ 1818226 h 2979185"/>
                  <a:gd name="connsiteX35" fmla="*/ 137565 w 1414520"/>
                  <a:gd name="connsiteY35" fmla="*/ 1583557 h 2979185"/>
                  <a:gd name="connsiteX36" fmla="*/ 80921 w 1414520"/>
                  <a:gd name="connsiteY36" fmla="*/ 733893 h 2979185"/>
                  <a:gd name="connsiteX37" fmla="*/ 8092 w 1414520"/>
                  <a:gd name="connsiteY37" fmla="*/ 474948 h 2979185"/>
                  <a:gd name="connsiteX38" fmla="*/ 32369 w 1414520"/>
                  <a:gd name="connsiteY38" fmla="*/ 345475 h 2979185"/>
                  <a:gd name="connsiteX39" fmla="*/ 178025 w 1414520"/>
                  <a:gd name="connsiteY39" fmla="*/ 5610 h 2979185"/>
                  <a:gd name="connsiteX0" fmla="*/ 178025 w 1414520"/>
                  <a:gd name="connsiteY0" fmla="*/ 5610 h 2979185"/>
                  <a:gd name="connsiteX1" fmla="*/ 299406 w 1414520"/>
                  <a:gd name="connsiteY1" fmla="*/ 78438 h 2979185"/>
                  <a:gd name="connsiteX2" fmla="*/ 493615 w 1414520"/>
                  <a:gd name="connsiteY2" fmla="*/ 126990 h 2979185"/>
                  <a:gd name="connsiteX3" fmla="*/ 687823 w 1414520"/>
                  <a:gd name="connsiteY3" fmla="*/ 143174 h 2979185"/>
                  <a:gd name="connsiteX4" fmla="*/ 865848 w 1414520"/>
                  <a:gd name="connsiteY4" fmla="*/ 110806 h 2979185"/>
                  <a:gd name="connsiteX5" fmla="*/ 946769 w 1414520"/>
                  <a:gd name="connsiteY5" fmla="*/ 62254 h 2979185"/>
                  <a:gd name="connsiteX6" fmla="*/ 1181438 w 1414520"/>
                  <a:gd name="connsiteY6" fmla="*/ 264555 h 2979185"/>
                  <a:gd name="connsiteX7" fmla="*/ 1351370 w 1414520"/>
                  <a:gd name="connsiteY7" fmla="*/ 385935 h 2979185"/>
                  <a:gd name="connsiteX8" fmla="*/ 1327094 w 1414520"/>
                  <a:gd name="connsiteY8" fmla="*/ 491132 h 2979185"/>
                  <a:gd name="connsiteX9" fmla="*/ 1246174 w 1414520"/>
                  <a:gd name="connsiteY9" fmla="*/ 750077 h 2979185"/>
                  <a:gd name="connsiteX10" fmla="*/ 1221898 w 1414520"/>
                  <a:gd name="connsiteY10" fmla="*/ 1551189 h 2979185"/>
                  <a:gd name="connsiteX11" fmla="*/ 1262358 w 1414520"/>
                  <a:gd name="connsiteY11" fmla="*/ 1747097 h 2979185"/>
                  <a:gd name="connsiteX12" fmla="*/ 1294726 w 1414520"/>
                  <a:gd name="connsiteY12" fmla="*/ 2036711 h 2979185"/>
                  <a:gd name="connsiteX13" fmla="*/ 1338427 w 1414520"/>
                  <a:gd name="connsiteY13" fmla="*/ 2332987 h 2979185"/>
                  <a:gd name="connsiteX14" fmla="*/ 1367554 w 1414520"/>
                  <a:gd name="connsiteY14" fmla="*/ 2554601 h 2979185"/>
                  <a:gd name="connsiteX15" fmla="*/ 1346565 w 1414520"/>
                  <a:gd name="connsiteY15" fmla="*/ 2663016 h 2979185"/>
                  <a:gd name="connsiteX16" fmla="*/ 1398312 w 1414520"/>
                  <a:gd name="connsiteY16" fmla="*/ 2797474 h 2979185"/>
                  <a:gd name="connsiteX17" fmla="*/ 1414520 w 1414520"/>
                  <a:gd name="connsiteY17" fmla="*/ 2910651 h 2979185"/>
                  <a:gd name="connsiteX18" fmla="*/ 1009986 w 1414520"/>
                  <a:gd name="connsiteY18" fmla="*/ 2828211 h 2979185"/>
                  <a:gd name="connsiteX19" fmla="*/ 940330 w 1414520"/>
                  <a:gd name="connsiteY19" fmla="*/ 2580488 h 2979185"/>
                  <a:gd name="connsiteX20" fmla="*/ 838376 w 1414520"/>
                  <a:gd name="connsiteY20" fmla="*/ 1947699 h 2979185"/>
                  <a:gd name="connsiteX21" fmla="*/ 801112 w 1414520"/>
                  <a:gd name="connsiteY21" fmla="*/ 1632109 h 2979185"/>
                  <a:gd name="connsiteX22" fmla="*/ 750929 w 1414520"/>
                  <a:gd name="connsiteY22" fmla="*/ 1212955 h 2979185"/>
                  <a:gd name="connsiteX23" fmla="*/ 695915 w 1414520"/>
                  <a:gd name="connsiteY23" fmla="*/ 895734 h 2979185"/>
                  <a:gd name="connsiteX24" fmla="*/ 647363 w 1414520"/>
                  <a:gd name="connsiteY24" fmla="*/ 1081851 h 2979185"/>
                  <a:gd name="connsiteX25" fmla="*/ 602031 w 1414520"/>
                  <a:gd name="connsiteY25" fmla="*/ 1669237 h 2979185"/>
                  <a:gd name="connsiteX26" fmla="*/ 598811 w 1414520"/>
                  <a:gd name="connsiteY26" fmla="*/ 1874870 h 2979185"/>
                  <a:gd name="connsiteX27" fmla="*/ 634421 w 1414520"/>
                  <a:gd name="connsiteY27" fmla="*/ 2116156 h 2979185"/>
                  <a:gd name="connsiteX28" fmla="*/ 678166 w 1414520"/>
                  <a:gd name="connsiteY28" fmla="*/ 2506049 h 2979185"/>
                  <a:gd name="connsiteX29" fmla="*/ 687823 w 1414520"/>
                  <a:gd name="connsiteY29" fmla="*/ 2797362 h 2979185"/>
                  <a:gd name="connsiteX30" fmla="*/ 652214 w 1414520"/>
                  <a:gd name="connsiteY30" fmla="*/ 2886419 h 2979185"/>
                  <a:gd name="connsiteX31" fmla="*/ 286866 w 1414520"/>
                  <a:gd name="connsiteY31" fmla="*/ 2944902 h 2979185"/>
                  <a:gd name="connsiteX32" fmla="*/ 257798 w 1414520"/>
                  <a:gd name="connsiteY32" fmla="*/ 2863879 h 2979185"/>
                  <a:gd name="connsiteX33" fmla="*/ 226577 w 1414520"/>
                  <a:gd name="connsiteY33" fmla="*/ 2077171 h 2979185"/>
                  <a:gd name="connsiteX34" fmla="*/ 161841 w 1414520"/>
                  <a:gd name="connsiteY34" fmla="*/ 1818226 h 2979185"/>
                  <a:gd name="connsiteX35" fmla="*/ 137565 w 1414520"/>
                  <a:gd name="connsiteY35" fmla="*/ 1583557 h 2979185"/>
                  <a:gd name="connsiteX36" fmla="*/ 80921 w 1414520"/>
                  <a:gd name="connsiteY36" fmla="*/ 733893 h 2979185"/>
                  <a:gd name="connsiteX37" fmla="*/ 8092 w 1414520"/>
                  <a:gd name="connsiteY37" fmla="*/ 474948 h 2979185"/>
                  <a:gd name="connsiteX38" fmla="*/ 32369 w 1414520"/>
                  <a:gd name="connsiteY38" fmla="*/ 345475 h 2979185"/>
                  <a:gd name="connsiteX39" fmla="*/ 178025 w 1414520"/>
                  <a:gd name="connsiteY39" fmla="*/ 5610 h 2979185"/>
                  <a:gd name="connsiteX0" fmla="*/ 178025 w 1414520"/>
                  <a:gd name="connsiteY0" fmla="*/ 5610 h 2979185"/>
                  <a:gd name="connsiteX1" fmla="*/ 299406 w 1414520"/>
                  <a:gd name="connsiteY1" fmla="*/ 78438 h 2979185"/>
                  <a:gd name="connsiteX2" fmla="*/ 493615 w 1414520"/>
                  <a:gd name="connsiteY2" fmla="*/ 126990 h 2979185"/>
                  <a:gd name="connsiteX3" fmla="*/ 687823 w 1414520"/>
                  <a:gd name="connsiteY3" fmla="*/ 143174 h 2979185"/>
                  <a:gd name="connsiteX4" fmla="*/ 865848 w 1414520"/>
                  <a:gd name="connsiteY4" fmla="*/ 110806 h 2979185"/>
                  <a:gd name="connsiteX5" fmla="*/ 946769 w 1414520"/>
                  <a:gd name="connsiteY5" fmla="*/ 62254 h 2979185"/>
                  <a:gd name="connsiteX6" fmla="*/ 1181438 w 1414520"/>
                  <a:gd name="connsiteY6" fmla="*/ 264555 h 2979185"/>
                  <a:gd name="connsiteX7" fmla="*/ 1351370 w 1414520"/>
                  <a:gd name="connsiteY7" fmla="*/ 385935 h 2979185"/>
                  <a:gd name="connsiteX8" fmla="*/ 1327094 w 1414520"/>
                  <a:gd name="connsiteY8" fmla="*/ 491132 h 2979185"/>
                  <a:gd name="connsiteX9" fmla="*/ 1246174 w 1414520"/>
                  <a:gd name="connsiteY9" fmla="*/ 750077 h 2979185"/>
                  <a:gd name="connsiteX10" fmla="*/ 1221898 w 1414520"/>
                  <a:gd name="connsiteY10" fmla="*/ 1551189 h 2979185"/>
                  <a:gd name="connsiteX11" fmla="*/ 1262358 w 1414520"/>
                  <a:gd name="connsiteY11" fmla="*/ 1747097 h 2979185"/>
                  <a:gd name="connsiteX12" fmla="*/ 1294726 w 1414520"/>
                  <a:gd name="connsiteY12" fmla="*/ 2036711 h 2979185"/>
                  <a:gd name="connsiteX13" fmla="*/ 1338427 w 1414520"/>
                  <a:gd name="connsiteY13" fmla="*/ 2332987 h 2979185"/>
                  <a:gd name="connsiteX14" fmla="*/ 1367554 w 1414520"/>
                  <a:gd name="connsiteY14" fmla="*/ 2554601 h 2979185"/>
                  <a:gd name="connsiteX15" fmla="*/ 1346565 w 1414520"/>
                  <a:gd name="connsiteY15" fmla="*/ 2663016 h 2979185"/>
                  <a:gd name="connsiteX16" fmla="*/ 1398312 w 1414520"/>
                  <a:gd name="connsiteY16" fmla="*/ 2797474 h 2979185"/>
                  <a:gd name="connsiteX17" fmla="*/ 1414520 w 1414520"/>
                  <a:gd name="connsiteY17" fmla="*/ 2910651 h 2979185"/>
                  <a:gd name="connsiteX18" fmla="*/ 1009986 w 1414520"/>
                  <a:gd name="connsiteY18" fmla="*/ 2828211 h 2979185"/>
                  <a:gd name="connsiteX19" fmla="*/ 940330 w 1414520"/>
                  <a:gd name="connsiteY19" fmla="*/ 2580488 h 2979185"/>
                  <a:gd name="connsiteX20" fmla="*/ 838376 w 1414520"/>
                  <a:gd name="connsiteY20" fmla="*/ 1947699 h 2979185"/>
                  <a:gd name="connsiteX21" fmla="*/ 801112 w 1414520"/>
                  <a:gd name="connsiteY21" fmla="*/ 1632109 h 2979185"/>
                  <a:gd name="connsiteX22" fmla="*/ 750929 w 1414520"/>
                  <a:gd name="connsiteY22" fmla="*/ 1212955 h 2979185"/>
                  <a:gd name="connsiteX23" fmla="*/ 695915 w 1414520"/>
                  <a:gd name="connsiteY23" fmla="*/ 895734 h 2979185"/>
                  <a:gd name="connsiteX24" fmla="*/ 647363 w 1414520"/>
                  <a:gd name="connsiteY24" fmla="*/ 1081851 h 2979185"/>
                  <a:gd name="connsiteX25" fmla="*/ 602031 w 1414520"/>
                  <a:gd name="connsiteY25" fmla="*/ 1669237 h 2979185"/>
                  <a:gd name="connsiteX26" fmla="*/ 598811 w 1414520"/>
                  <a:gd name="connsiteY26" fmla="*/ 1874870 h 2979185"/>
                  <a:gd name="connsiteX27" fmla="*/ 634421 w 1414520"/>
                  <a:gd name="connsiteY27" fmla="*/ 2116156 h 2979185"/>
                  <a:gd name="connsiteX28" fmla="*/ 678166 w 1414520"/>
                  <a:gd name="connsiteY28" fmla="*/ 2506049 h 2979185"/>
                  <a:gd name="connsiteX29" fmla="*/ 687823 w 1414520"/>
                  <a:gd name="connsiteY29" fmla="*/ 2797362 h 2979185"/>
                  <a:gd name="connsiteX30" fmla="*/ 652214 w 1414520"/>
                  <a:gd name="connsiteY30" fmla="*/ 2886419 h 2979185"/>
                  <a:gd name="connsiteX31" fmla="*/ 286866 w 1414520"/>
                  <a:gd name="connsiteY31" fmla="*/ 2944902 h 2979185"/>
                  <a:gd name="connsiteX32" fmla="*/ 257798 w 1414520"/>
                  <a:gd name="connsiteY32" fmla="*/ 2863879 h 2979185"/>
                  <a:gd name="connsiteX33" fmla="*/ 226577 w 1414520"/>
                  <a:gd name="connsiteY33" fmla="*/ 2077171 h 2979185"/>
                  <a:gd name="connsiteX34" fmla="*/ 161841 w 1414520"/>
                  <a:gd name="connsiteY34" fmla="*/ 1818226 h 2979185"/>
                  <a:gd name="connsiteX35" fmla="*/ 137565 w 1414520"/>
                  <a:gd name="connsiteY35" fmla="*/ 1583557 h 2979185"/>
                  <a:gd name="connsiteX36" fmla="*/ 80921 w 1414520"/>
                  <a:gd name="connsiteY36" fmla="*/ 733893 h 2979185"/>
                  <a:gd name="connsiteX37" fmla="*/ 8092 w 1414520"/>
                  <a:gd name="connsiteY37" fmla="*/ 474948 h 2979185"/>
                  <a:gd name="connsiteX38" fmla="*/ 32369 w 1414520"/>
                  <a:gd name="connsiteY38" fmla="*/ 345475 h 2979185"/>
                  <a:gd name="connsiteX39" fmla="*/ 178025 w 1414520"/>
                  <a:gd name="connsiteY39" fmla="*/ 5610 h 2979185"/>
                  <a:gd name="connsiteX0" fmla="*/ 178025 w 1414520"/>
                  <a:gd name="connsiteY0" fmla="*/ 5610 h 2979185"/>
                  <a:gd name="connsiteX1" fmla="*/ 299406 w 1414520"/>
                  <a:gd name="connsiteY1" fmla="*/ 78438 h 2979185"/>
                  <a:gd name="connsiteX2" fmla="*/ 493615 w 1414520"/>
                  <a:gd name="connsiteY2" fmla="*/ 126990 h 2979185"/>
                  <a:gd name="connsiteX3" fmla="*/ 687823 w 1414520"/>
                  <a:gd name="connsiteY3" fmla="*/ 143174 h 2979185"/>
                  <a:gd name="connsiteX4" fmla="*/ 865848 w 1414520"/>
                  <a:gd name="connsiteY4" fmla="*/ 110806 h 2979185"/>
                  <a:gd name="connsiteX5" fmla="*/ 946769 w 1414520"/>
                  <a:gd name="connsiteY5" fmla="*/ 62254 h 2979185"/>
                  <a:gd name="connsiteX6" fmla="*/ 1181438 w 1414520"/>
                  <a:gd name="connsiteY6" fmla="*/ 264555 h 2979185"/>
                  <a:gd name="connsiteX7" fmla="*/ 1351370 w 1414520"/>
                  <a:gd name="connsiteY7" fmla="*/ 385935 h 2979185"/>
                  <a:gd name="connsiteX8" fmla="*/ 1327094 w 1414520"/>
                  <a:gd name="connsiteY8" fmla="*/ 491132 h 2979185"/>
                  <a:gd name="connsiteX9" fmla="*/ 1246174 w 1414520"/>
                  <a:gd name="connsiteY9" fmla="*/ 750077 h 2979185"/>
                  <a:gd name="connsiteX10" fmla="*/ 1221898 w 1414520"/>
                  <a:gd name="connsiteY10" fmla="*/ 1551189 h 2979185"/>
                  <a:gd name="connsiteX11" fmla="*/ 1262358 w 1414520"/>
                  <a:gd name="connsiteY11" fmla="*/ 1747097 h 2979185"/>
                  <a:gd name="connsiteX12" fmla="*/ 1294726 w 1414520"/>
                  <a:gd name="connsiteY12" fmla="*/ 2036711 h 2979185"/>
                  <a:gd name="connsiteX13" fmla="*/ 1338427 w 1414520"/>
                  <a:gd name="connsiteY13" fmla="*/ 2332987 h 2979185"/>
                  <a:gd name="connsiteX14" fmla="*/ 1367554 w 1414520"/>
                  <a:gd name="connsiteY14" fmla="*/ 2554601 h 2979185"/>
                  <a:gd name="connsiteX15" fmla="*/ 1346565 w 1414520"/>
                  <a:gd name="connsiteY15" fmla="*/ 2663016 h 2979185"/>
                  <a:gd name="connsiteX16" fmla="*/ 1398312 w 1414520"/>
                  <a:gd name="connsiteY16" fmla="*/ 2797474 h 2979185"/>
                  <a:gd name="connsiteX17" fmla="*/ 1414520 w 1414520"/>
                  <a:gd name="connsiteY17" fmla="*/ 2910651 h 2979185"/>
                  <a:gd name="connsiteX18" fmla="*/ 1009986 w 1414520"/>
                  <a:gd name="connsiteY18" fmla="*/ 2828211 h 2979185"/>
                  <a:gd name="connsiteX19" fmla="*/ 940330 w 1414520"/>
                  <a:gd name="connsiteY19" fmla="*/ 2580488 h 2979185"/>
                  <a:gd name="connsiteX20" fmla="*/ 838376 w 1414520"/>
                  <a:gd name="connsiteY20" fmla="*/ 1947699 h 2979185"/>
                  <a:gd name="connsiteX21" fmla="*/ 801112 w 1414520"/>
                  <a:gd name="connsiteY21" fmla="*/ 1632109 h 2979185"/>
                  <a:gd name="connsiteX22" fmla="*/ 750929 w 1414520"/>
                  <a:gd name="connsiteY22" fmla="*/ 1212955 h 2979185"/>
                  <a:gd name="connsiteX23" fmla="*/ 695915 w 1414520"/>
                  <a:gd name="connsiteY23" fmla="*/ 895734 h 2979185"/>
                  <a:gd name="connsiteX24" fmla="*/ 647363 w 1414520"/>
                  <a:gd name="connsiteY24" fmla="*/ 1081851 h 2979185"/>
                  <a:gd name="connsiteX25" fmla="*/ 602031 w 1414520"/>
                  <a:gd name="connsiteY25" fmla="*/ 1669237 h 2979185"/>
                  <a:gd name="connsiteX26" fmla="*/ 598811 w 1414520"/>
                  <a:gd name="connsiteY26" fmla="*/ 1874870 h 2979185"/>
                  <a:gd name="connsiteX27" fmla="*/ 634421 w 1414520"/>
                  <a:gd name="connsiteY27" fmla="*/ 2116156 h 2979185"/>
                  <a:gd name="connsiteX28" fmla="*/ 678166 w 1414520"/>
                  <a:gd name="connsiteY28" fmla="*/ 2506049 h 2979185"/>
                  <a:gd name="connsiteX29" fmla="*/ 687823 w 1414520"/>
                  <a:gd name="connsiteY29" fmla="*/ 2797362 h 2979185"/>
                  <a:gd name="connsiteX30" fmla="*/ 652214 w 1414520"/>
                  <a:gd name="connsiteY30" fmla="*/ 2886419 h 2979185"/>
                  <a:gd name="connsiteX31" fmla="*/ 286866 w 1414520"/>
                  <a:gd name="connsiteY31" fmla="*/ 2944902 h 2979185"/>
                  <a:gd name="connsiteX32" fmla="*/ 237481 w 1414520"/>
                  <a:gd name="connsiteY32" fmla="*/ 2863879 h 2979185"/>
                  <a:gd name="connsiteX33" fmla="*/ 226577 w 1414520"/>
                  <a:gd name="connsiteY33" fmla="*/ 2077171 h 2979185"/>
                  <a:gd name="connsiteX34" fmla="*/ 161841 w 1414520"/>
                  <a:gd name="connsiteY34" fmla="*/ 1818226 h 2979185"/>
                  <a:gd name="connsiteX35" fmla="*/ 137565 w 1414520"/>
                  <a:gd name="connsiteY35" fmla="*/ 1583557 h 2979185"/>
                  <a:gd name="connsiteX36" fmla="*/ 80921 w 1414520"/>
                  <a:gd name="connsiteY36" fmla="*/ 733893 h 2979185"/>
                  <a:gd name="connsiteX37" fmla="*/ 8092 w 1414520"/>
                  <a:gd name="connsiteY37" fmla="*/ 474948 h 2979185"/>
                  <a:gd name="connsiteX38" fmla="*/ 32369 w 1414520"/>
                  <a:gd name="connsiteY38" fmla="*/ 345475 h 2979185"/>
                  <a:gd name="connsiteX39" fmla="*/ 178025 w 1414520"/>
                  <a:gd name="connsiteY39" fmla="*/ 5610 h 2979185"/>
                  <a:gd name="connsiteX0" fmla="*/ 178025 w 1414520"/>
                  <a:gd name="connsiteY0" fmla="*/ 5610 h 2979185"/>
                  <a:gd name="connsiteX1" fmla="*/ 299406 w 1414520"/>
                  <a:gd name="connsiteY1" fmla="*/ 78438 h 2979185"/>
                  <a:gd name="connsiteX2" fmla="*/ 493615 w 1414520"/>
                  <a:gd name="connsiteY2" fmla="*/ 126990 h 2979185"/>
                  <a:gd name="connsiteX3" fmla="*/ 687823 w 1414520"/>
                  <a:gd name="connsiteY3" fmla="*/ 143174 h 2979185"/>
                  <a:gd name="connsiteX4" fmla="*/ 865848 w 1414520"/>
                  <a:gd name="connsiteY4" fmla="*/ 110806 h 2979185"/>
                  <a:gd name="connsiteX5" fmla="*/ 946769 w 1414520"/>
                  <a:gd name="connsiteY5" fmla="*/ 62254 h 2979185"/>
                  <a:gd name="connsiteX6" fmla="*/ 1181438 w 1414520"/>
                  <a:gd name="connsiteY6" fmla="*/ 264555 h 2979185"/>
                  <a:gd name="connsiteX7" fmla="*/ 1351370 w 1414520"/>
                  <a:gd name="connsiteY7" fmla="*/ 385935 h 2979185"/>
                  <a:gd name="connsiteX8" fmla="*/ 1327094 w 1414520"/>
                  <a:gd name="connsiteY8" fmla="*/ 491132 h 2979185"/>
                  <a:gd name="connsiteX9" fmla="*/ 1246174 w 1414520"/>
                  <a:gd name="connsiteY9" fmla="*/ 750077 h 2979185"/>
                  <a:gd name="connsiteX10" fmla="*/ 1221898 w 1414520"/>
                  <a:gd name="connsiteY10" fmla="*/ 1551189 h 2979185"/>
                  <a:gd name="connsiteX11" fmla="*/ 1262358 w 1414520"/>
                  <a:gd name="connsiteY11" fmla="*/ 1747097 h 2979185"/>
                  <a:gd name="connsiteX12" fmla="*/ 1294726 w 1414520"/>
                  <a:gd name="connsiteY12" fmla="*/ 2036711 h 2979185"/>
                  <a:gd name="connsiteX13" fmla="*/ 1338427 w 1414520"/>
                  <a:gd name="connsiteY13" fmla="*/ 2332987 h 2979185"/>
                  <a:gd name="connsiteX14" fmla="*/ 1367554 w 1414520"/>
                  <a:gd name="connsiteY14" fmla="*/ 2554601 h 2979185"/>
                  <a:gd name="connsiteX15" fmla="*/ 1346565 w 1414520"/>
                  <a:gd name="connsiteY15" fmla="*/ 2663016 h 2979185"/>
                  <a:gd name="connsiteX16" fmla="*/ 1398312 w 1414520"/>
                  <a:gd name="connsiteY16" fmla="*/ 2797474 h 2979185"/>
                  <a:gd name="connsiteX17" fmla="*/ 1414520 w 1414520"/>
                  <a:gd name="connsiteY17" fmla="*/ 2910651 h 2979185"/>
                  <a:gd name="connsiteX18" fmla="*/ 1009986 w 1414520"/>
                  <a:gd name="connsiteY18" fmla="*/ 2828211 h 2979185"/>
                  <a:gd name="connsiteX19" fmla="*/ 940330 w 1414520"/>
                  <a:gd name="connsiteY19" fmla="*/ 2580488 h 2979185"/>
                  <a:gd name="connsiteX20" fmla="*/ 838376 w 1414520"/>
                  <a:gd name="connsiteY20" fmla="*/ 1947699 h 2979185"/>
                  <a:gd name="connsiteX21" fmla="*/ 801112 w 1414520"/>
                  <a:gd name="connsiteY21" fmla="*/ 1632109 h 2979185"/>
                  <a:gd name="connsiteX22" fmla="*/ 750929 w 1414520"/>
                  <a:gd name="connsiteY22" fmla="*/ 1212955 h 2979185"/>
                  <a:gd name="connsiteX23" fmla="*/ 695915 w 1414520"/>
                  <a:gd name="connsiteY23" fmla="*/ 895734 h 2979185"/>
                  <a:gd name="connsiteX24" fmla="*/ 647363 w 1414520"/>
                  <a:gd name="connsiteY24" fmla="*/ 1081851 h 2979185"/>
                  <a:gd name="connsiteX25" fmla="*/ 602031 w 1414520"/>
                  <a:gd name="connsiteY25" fmla="*/ 1669237 h 2979185"/>
                  <a:gd name="connsiteX26" fmla="*/ 598811 w 1414520"/>
                  <a:gd name="connsiteY26" fmla="*/ 1874870 h 2979185"/>
                  <a:gd name="connsiteX27" fmla="*/ 634421 w 1414520"/>
                  <a:gd name="connsiteY27" fmla="*/ 2116156 h 2979185"/>
                  <a:gd name="connsiteX28" fmla="*/ 678166 w 1414520"/>
                  <a:gd name="connsiteY28" fmla="*/ 2506049 h 2979185"/>
                  <a:gd name="connsiteX29" fmla="*/ 687823 w 1414520"/>
                  <a:gd name="connsiteY29" fmla="*/ 2797362 h 2979185"/>
                  <a:gd name="connsiteX30" fmla="*/ 575008 w 1414520"/>
                  <a:gd name="connsiteY30" fmla="*/ 2910800 h 2979185"/>
                  <a:gd name="connsiteX31" fmla="*/ 286866 w 1414520"/>
                  <a:gd name="connsiteY31" fmla="*/ 2944902 h 2979185"/>
                  <a:gd name="connsiteX32" fmla="*/ 237481 w 1414520"/>
                  <a:gd name="connsiteY32" fmla="*/ 2863879 h 2979185"/>
                  <a:gd name="connsiteX33" fmla="*/ 226577 w 1414520"/>
                  <a:gd name="connsiteY33" fmla="*/ 2077171 h 2979185"/>
                  <a:gd name="connsiteX34" fmla="*/ 161841 w 1414520"/>
                  <a:gd name="connsiteY34" fmla="*/ 1818226 h 2979185"/>
                  <a:gd name="connsiteX35" fmla="*/ 137565 w 1414520"/>
                  <a:gd name="connsiteY35" fmla="*/ 1583557 h 2979185"/>
                  <a:gd name="connsiteX36" fmla="*/ 80921 w 1414520"/>
                  <a:gd name="connsiteY36" fmla="*/ 733893 h 2979185"/>
                  <a:gd name="connsiteX37" fmla="*/ 8092 w 1414520"/>
                  <a:gd name="connsiteY37" fmla="*/ 474948 h 2979185"/>
                  <a:gd name="connsiteX38" fmla="*/ 32369 w 1414520"/>
                  <a:gd name="connsiteY38" fmla="*/ 345475 h 2979185"/>
                  <a:gd name="connsiteX39" fmla="*/ 178025 w 1414520"/>
                  <a:gd name="connsiteY39" fmla="*/ 5610 h 2979185"/>
                  <a:gd name="connsiteX0" fmla="*/ 178025 w 1414520"/>
                  <a:gd name="connsiteY0" fmla="*/ 5610 h 2979185"/>
                  <a:gd name="connsiteX1" fmla="*/ 299406 w 1414520"/>
                  <a:gd name="connsiteY1" fmla="*/ 78438 h 2979185"/>
                  <a:gd name="connsiteX2" fmla="*/ 493615 w 1414520"/>
                  <a:gd name="connsiteY2" fmla="*/ 126990 h 2979185"/>
                  <a:gd name="connsiteX3" fmla="*/ 687823 w 1414520"/>
                  <a:gd name="connsiteY3" fmla="*/ 143174 h 2979185"/>
                  <a:gd name="connsiteX4" fmla="*/ 865848 w 1414520"/>
                  <a:gd name="connsiteY4" fmla="*/ 110806 h 2979185"/>
                  <a:gd name="connsiteX5" fmla="*/ 946769 w 1414520"/>
                  <a:gd name="connsiteY5" fmla="*/ 62254 h 2979185"/>
                  <a:gd name="connsiteX6" fmla="*/ 1181438 w 1414520"/>
                  <a:gd name="connsiteY6" fmla="*/ 264555 h 2979185"/>
                  <a:gd name="connsiteX7" fmla="*/ 1351370 w 1414520"/>
                  <a:gd name="connsiteY7" fmla="*/ 385935 h 2979185"/>
                  <a:gd name="connsiteX8" fmla="*/ 1327094 w 1414520"/>
                  <a:gd name="connsiteY8" fmla="*/ 491132 h 2979185"/>
                  <a:gd name="connsiteX9" fmla="*/ 1246174 w 1414520"/>
                  <a:gd name="connsiteY9" fmla="*/ 750077 h 2979185"/>
                  <a:gd name="connsiteX10" fmla="*/ 1221898 w 1414520"/>
                  <a:gd name="connsiteY10" fmla="*/ 1551189 h 2979185"/>
                  <a:gd name="connsiteX11" fmla="*/ 1262358 w 1414520"/>
                  <a:gd name="connsiteY11" fmla="*/ 1747097 h 2979185"/>
                  <a:gd name="connsiteX12" fmla="*/ 1294726 w 1414520"/>
                  <a:gd name="connsiteY12" fmla="*/ 2036711 h 2979185"/>
                  <a:gd name="connsiteX13" fmla="*/ 1338427 w 1414520"/>
                  <a:gd name="connsiteY13" fmla="*/ 2332987 h 2979185"/>
                  <a:gd name="connsiteX14" fmla="*/ 1367554 w 1414520"/>
                  <a:gd name="connsiteY14" fmla="*/ 2554601 h 2979185"/>
                  <a:gd name="connsiteX15" fmla="*/ 1346565 w 1414520"/>
                  <a:gd name="connsiteY15" fmla="*/ 2663016 h 2979185"/>
                  <a:gd name="connsiteX16" fmla="*/ 1398312 w 1414520"/>
                  <a:gd name="connsiteY16" fmla="*/ 2797474 h 2979185"/>
                  <a:gd name="connsiteX17" fmla="*/ 1414520 w 1414520"/>
                  <a:gd name="connsiteY17" fmla="*/ 2910651 h 2979185"/>
                  <a:gd name="connsiteX18" fmla="*/ 1009986 w 1414520"/>
                  <a:gd name="connsiteY18" fmla="*/ 2828211 h 2979185"/>
                  <a:gd name="connsiteX19" fmla="*/ 940330 w 1414520"/>
                  <a:gd name="connsiteY19" fmla="*/ 2580488 h 2979185"/>
                  <a:gd name="connsiteX20" fmla="*/ 838376 w 1414520"/>
                  <a:gd name="connsiteY20" fmla="*/ 1947699 h 2979185"/>
                  <a:gd name="connsiteX21" fmla="*/ 801112 w 1414520"/>
                  <a:gd name="connsiteY21" fmla="*/ 1632109 h 2979185"/>
                  <a:gd name="connsiteX22" fmla="*/ 750929 w 1414520"/>
                  <a:gd name="connsiteY22" fmla="*/ 1212955 h 2979185"/>
                  <a:gd name="connsiteX23" fmla="*/ 695915 w 1414520"/>
                  <a:gd name="connsiteY23" fmla="*/ 895734 h 2979185"/>
                  <a:gd name="connsiteX24" fmla="*/ 647363 w 1414520"/>
                  <a:gd name="connsiteY24" fmla="*/ 1081851 h 2979185"/>
                  <a:gd name="connsiteX25" fmla="*/ 602031 w 1414520"/>
                  <a:gd name="connsiteY25" fmla="*/ 1669237 h 2979185"/>
                  <a:gd name="connsiteX26" fmla="*/ 598811 w 1414520"/>
                  <a:gd name="connsiteY26" fmla="*/ 1874870 h 2979185"/>
                  <a:gd name="connsiteX27" fmla="*/ 634421 w 1414520"/>
                  <a:gd name="connsiteY27" fmla="*/ 2116156 h 2979185"/>
                  <a:gd name="connsiteX28" fmla="*/ 678166 w 1414520"/>
                  <a:gd name="connsiteY28" fmla="*/ 2506049 h 2979185"/>
                  <a:gd name="connsiteX29" fmla="*/ 630935 w 1414520"/>
                  <a:gd name="connsiteY29" fmla="*/ 2809553 h 2979185"/>
                  <a:gd name="connsiteX30" fmla="*/ 575008 w 1414520"/>
                  <a:gd name="connsiteY30" fmla="*/ 2910800 h 2979185"/>
                  <a:gd name="connsiteX31" fmla="*/ 286866 w 1414520"/>
                  <a:gd name="connsiteY31" fmla="*/ 2944902 h 2979185"/>
                  <a:gd name="connsiteX32" fmla="*/ 237481 w 1414520"/>
                  <a:gd name="connsiteY32" fmla="*/ 2863879 h 2979185"/>
                  <a:gd name="connsiteX33" fmla="*/ 226577 w 1414520"/>
                  <a:gd name="connsiteY33" fmla="*/ 2077171 h 2979185"/>
                  <a:gd name="connsiteX34" fmla="*/ 161841 w 1414520"/>
                  <a:gd name="connsiteY34" fmla="*/ 1818226 h 2979185"/>
                  <a:gd name="connsiteX35" fmla="*/ 137565 w 1414520"/>
                  <a:gd name="connsiteY35" fmla="*/ 1583557 h 2979185"/>
                  <a:gd name="connsiteX36" fmla="*/ 80921 w 1414520"/>
                  <a:gd name="connsiteY36" fmla="*/ 733893 h 2979185"/>
                  <a:gd name="connsiteX37" fmla="*/ 8092 w 1414520"/>
                  <a:gd name="connsiteY37" fmla="*/ 474948 h 2979185"/>
                  <a:gd name="connsiteX38" fmla="*/ 32369 w 1414520"/>
                  <a:gd name="connsiteY38" fmla="*/ 345475 h 2979185"/>
                  <a:gd name="connsiteX39" fmla="*/ 178025 w 1414520"/>
                  <a:gd name="connsiteY39" fmla="*/ 5610 h 2979185"/>
                  <a:gd name="connsiteX0" fmla="*/ 178025 w 1414520"/>
                  <a:gd name="connsiteY0" fmla="*/ 5610 h 2979185"/>
                  <a:gd name="connsiteX1" fmla="*/ 299406 w 1414520"/>
                  <a:gd name="connsiteY1" fmla="*/ 78438 h 2979185"/>
                  <a:gd name="connsiteX2" fmla="*/ 493615 w 1414520"/>
                  <a:gd name="connsiteY2" fmla="*/ 126990 h 2979185"/>
                  <a:gd name="connsiteX3" fmla="*/ 687823 w 1414520"/>
                  <a:gd name="connsiteY3" fmla="*/ 143174 h 2979185"/>
                  <a:gd name="connsiteX4" fmla="*/ 865848 w 1414520"/>
                  <a:gd name="connsiteY4" fmla="*/ 110806 h 2979185"/>
                  <a:gd name="connsiteX5" fmla="*/ 946769 w 1414520"/>
                  <a:gd name="connsiteY5" fmla="*/ 62254 h 2979185"/>
                  <a:gd name="connsiteX6" fmla="*/ 1181438 w 1414520"/>
                  <a:gd name="connsiteY6" fmla="*/ 264555 h 2979185"/>
                  <a:gd name="connsiteX7" fmla="*/ 1351370 w 1414520"/>
                  <a:gd name="connsiteY7" fmla="*/ 385935 h 2979185"/>
                  <a:gd name="connsiteX8" fmla="*/ 1327094 w 1414520"/>
                  <a:gd name="connsiteY8" fmla="*/ 491132 h 2979185"/>
                  <a:gd name="connsiteX9" fmla="*/ 1246174 w 1414520"/>
                  <a:gd name="connsiteY9" fmla="*/ 750077 h 2979185"/>
                  <a:gd name="connsiteX10" fmla="*/ 1221898 w 1414520"/>
                  <a:gd name="connsiteY10" fmla="*/ 1551189 h 2979185"/>
                  <a:gd name="connsiteX11" fmla="*/ 1262358 w 1414520"/>
                  <a:gd name="connsiteY11" fmla="*/ 1747097 h 2979185"/>
                  <a:gd name="connsiteX12" fmla="*/ 1294726 w 1414520"/>
                  <a:gd name="connsiteY12" fmla="*/ 2036711 h 2979185"/>
                  <a:gd name="connsiteX13" fmla="*/ 1338427 w 1414520"/>
                  <a:gd name="connsiteY13" fmla="*/ 2332987 h 2979185"/>
                  <a:gd name="connsiteX14" fmla="*/ 1367554 w 1414520"/>
                  <a:gd name="connsiteY14" fmla="*/ 2554601 h 2979185"/>
                  <a:gd name="connsiteX15" fmla="*/ 1346565 w 1414520"/>
                  <a:gd name="connsiteY15" fmla="*/ 2663016 h 2979185"/>
                  <a:gd name="connsiteX16" fmla="*/ 1398312 w 1414520"/>
                  <a:gd name="connsiteY16" fmla="*/ 2797474 h 2979185"/>
                  <a:gd name="connsiteX17" fmla="*/ 1414520 w 1414520"/>
                  <a:gd name="connsiteY17" fmla="*/ 2910651 h 2979185"/>
                  <a:gd name="connsiteX18" fmla="*/ 1009986 w 1414520"/>
                  <a:gd name="connsiteY18" fmla="*/ 2828211 h 2979185"/>
                  <a:gd name="connsiteX19" fmla="*/ 940330 w 1414520"/>
                  <a:gd name="connsiteY19" fmla="*/ 2580488 h 2979185"/>
                  <a:gd name="connsiteX20" fmla="*/ 838376 w 1414520"/>
                  <a:gd name="connsiteY20" fmla="*/ 1947699 h 2979185"/>
                  <a:gd name="connsiteX21" fmla="*/ 801112 w 1414520"/>
                  <a:gd name="connsiteY21" fmla="*/ 1632109 h 2979185"/>
                  <a:gd name="connsiteX22" fmla="*/ 750929 w 1414520"/>
                  <a:gd name="connsiteY22" fmla="*/ 1212955 h 2979185"/>
                  <a:gd name="connsiteX23" fmla="*/ 695915 w 1414520"/>
                  <a:gd name="connsiteY23" fmla="*/ 895734 h 2979185"/>
                  <a:gd name="connsiteX24" fmla="*/ 647363 w 1414520"/>
                  <a:gd name="connsiteY24" fmla="*/ 1081851 h 2979185"/>
                  <a:gd name="connsiteX25" fmla="*/ 602031 w 1414520"/>
                  <a:gd name="connsiteY25" fmla="*/ 1669237 h 2979185"/>
                  <a:gd name="connsiteX26" fmla="*/ 598811 w 1414520"/>
                  <a:gd name="connsiteY26" fmla="*/ 1874870 h 2979185"/>
                  <a:gd name="connsiteX27" fmla="*/ 634421 w 1414520"/>
                  <a:gd name="connsiteY27" fmla="*/ 2116156 h 2979185"/>
                  <a:gd name="connsiteX28" fmla="*/ 629404 w 1414520"/>
                  <a:gd name="connsiteY28" fmla="*/ 2510114 h 2979185"/>
                  <a:gd name="connsiteX29" fmla="*/ 630935 w 1414520"/>
                  <a:gd name="connsiteY29" fmla="*/ 2809553 h 2979185"/>
                  <a:gd name="connsiteX30" fmla="*/ 575008 w 1414520"/>
                  <a:gd name="connsiteY30" fmla="*/ 2910800 h 2979185"/>
                  <a:gd name="connsiteX31" fmla="*/ 286866 w 1414520"/>
                  <a:gd name="connsiteY31" fmla="*/ 2944902 h 2979185"/>
                  <a:gd name="connsiteX32" fmla="*/ 237481 w 1414520"/>
                  <a:gd name="connsiteY32" fmla="*/ 2863879 h 2979185"/>
                  <a:gd name="connsiteX33" fmla="*/ 226577 w 1414520"/>
                  <a:gd name="connsiteY33" fmla="*/ 2077171 h 2979185"/>
                  <a:gd name="connsiteX34" fmla="*/ 161841 w 1414520"/>
                  <a:gd name="connsiteY34" fmla="*/ 1818226 h 2979185"/>
                  <a:gd name="connsiteX35" fmla="*/ 137565 w 1414520"/>
                  <a:gd name="connsiteY35" fmla="*/ 1583557 h 2979185"/>
                  <a:gd name="connsiteX36" fmla="*/ 80921 w 1414520"/>
                  <a:gd name="connsiteY36" fmla="*/ 733893 h 2979185"/>
                  <a:gd name="connsiteX37" fmla="*/ 8092 w 1414520"/>
                  <a:gd name="connsiteY37" fmla="*/ 474948 h 2979185"/>
                  <a:gd name="connsiteX38" fmla="*/ 32369 w 1414520"/>
                  <a:gd name="connsiteY38" fmla="*/ 345475 h 2979185"/>
                  <a:gd name="connsiteX39" fmla="*/ 178025 w 1414520"/>
                  <a:gd name="connsiteY39" fmla="*/ 5610 h 2979185"/>
                  <a:gd name="connsiteX0" fmla="*/ 178025 w 1414520"/>
                  <a:gd name="connsiteY0" fmla="*/ 5610 h 2979185"/>
                  <a:gd name="connsiteX1" fmla="*/ 299406 w 1414520"/>
                  <a:gd name="connsiteY1" fmla="*/ 78438 h 2979185"/>
                  <a:gd name="connsiteX2" fmla="*/ 493615 w 1414520"/>
                  <a:gd name="connsiteY2" fmla="*/ 126990 h 2979185"/>
                  <a:gd name="connsiteX3" fmla="*/ 687823 w 1414520"/>
                  <a:gd name="connsiteY3" fmla="*/ 143174 h 2979185"/>
                  <a:gd name="connsiteX4" fmla="*/ 865848 w 1414520"/>
                  <a:gd name="connsiteY4" fmla="*/ 110806 h 2979185"/>
                  <a:gd name="connsiteX5" fmla="*/ 946769 w 1414520"/>
                  <a:gd name="connsiteY5" fmla="*/ 62254 h 2979185"/>
                  <a:gd name="connsiteX6" fmla="*/ 1181438 w 1414520"/>
                  <a:gd name="connsiteY6" fmla="*/ 264555 h 2979185"/>
                  <a:gd name="connsiteX7" fmla="*/ 1351370 w 1414520"/>
                  <a:gd name="connsiteY7" fmla="*/ 385935 h 2979185"/>
                  <a:gd name="connsiteX8" fmla="*/ 1327094 w 1414520"/>
                  <a:gd name="connsiteY8" fmla="*/ 491132 h 2979185"/>
                  <a:gd name="connsiteX9" fmla="*/ 1246174 w 1414520"/>
                  <a:gd name="connsiteY9" fmla="*/ 750077 h 2979185"/>
                  <a:gd name="connsiteX10" fmla="*/ 1221898 w 1414520"/>
                  <a:gd name="connsiteY10" fmla="*/ 1551189 h 2979185"/>
                  <a:gd name="connsiteX11" fmla="*/ 1262358 w 1414520"/>
                  <a:gd name="connsiteY11" fmla="*/ 1747097 h 2979185"/>
                  <a:gd name="connsiteX12" fmla="*/ 1294726 w 1414520"/>
                  <a:gd name="connsiteY12" fmla="*/ 2036711 h 2979185"/>
                  <a:gd name="connsiteX13" fmla="*/ 1338427 w 1414520"/>
                  <a:gd name="connsiteY13" fmla="*/ 2332987 h 2979185"/>
                  <a:gd name="connsiteX14" fmla="*/ 1367554 w 1414520"/>
                  <a:gd name="connsiteY14" fmla="*/ 2554601 h 2979185"/>
                  <a:gd name="connsiteX15" fmla="*/ 1346565 w 1414520"/>
                  <a:gd name="connsiteY15" fmla="*/ 2663016 h 2979185"/>
                  <a:gd name="connsiteX16" fmla="*/ 1398312 w 1414520"/>
                  <a:gd name="connsiteY16" fmla="*/ 2797474 h 2979185"/>
                  <a:gd name="connsiteX17" fmla="*/ 1414520 w 1414520"/>
                  <a:gd name="connsiteY17" fmla="*/ 2910651 h 2979185"/>
                  <a:gd name="connsiteX18" fmla="*/ 1009986 w 1414520"/>
                  <a:gd name="connsiteY18" fmla="*/ 2828211 h 2979185"/>
                  <a:gd name="connsiteX19" fmla="*/ 940330 w 1414520"/>
                  <a:gd name="connsiteY19" fmla="*/ 2580488 h 2979185"/>
                  <a:gd name="connsiteX20" fmla="*/ 838376 w 1414520"/>
                  <a:gd name="connsiteY20" fmla="*/ 1947699 h 2979185"/>
                  <a:gd name="connsiteX21" fmla="*/ 801112 w 1414520"/>
                  <a:gd name="connsiteY21" fmla="*/ 1632109 h 2979185"/>
                  <a:gd name="connsiteX22" fmla="*/ 750929 w 1414520"/>
                  <a:gd name="connsiteY22" fmla="*/ 1212955 h 2979185"/>
                  <a:gd name="connsiteX23" fmla="*/ 695915 w 1414520"/>
                  <a:gd name="connsiteY23" fmla="*/ 895734 h 2979185"/>
                  <a:gd name="connsiteX24" fmla="*/ 647363 w 1414520"/>
                  <a:gd name="connsiteY24" fmla="*/ 1081851 h 2979185"/>
                  <a:gd name="connsiteX25" fmla="*/ 602031 w 1414520"/>
                  <a:gd name="connsiteY25" fmla="*/ 1669237 h 2979185"/>
                  <a:gd name="connsiteX26" fmla="*/ 598811 w 1414520"/>
                  <a:gd name="connsiteY26" fmla="*/ 1874870 h 2979185"/>
                  <a:gd name="connsiteX27" fmla="*/ 634421 w 1414520"/>
                  <a:gd name="connsiteY27" fmla="*/ 2116156 h 2979185"/>
                  <a:gd name="connsiteX28" fmla="*/ 629404 w 1414520"/>
                  <a:gd name="connsiteY28" fmla="*/ 2510114 h 2979185"/>
                  <a:gd name="connsiteX29" fmla="*/ 614682 w 1414520"/>
                  <a:gd name="connsiteY29" fmla="*/ 2809553 h 2979185"/>
                  <a:gd name="connsiteX30" fmla="*/ 575008 w 1414520"/>
                  <a:gd name="connsiteY30" fmla="*/ 2910800 h 2979185"/>
                  <a:gd name="connsiteX31" fmla="*/ 286866 w 1414520"/>
                  <a:gd name="connsiteY31" fmla="*/ 2944902 h 2979185"/>
                  <a:gd name="connsiteX32" fmla="*/ 237481 w 1414520"/>
                  <a:gd name="connsiteY32" fmla="*/ 2863879 h 2979185"/>
                  <a:gd name="connsiteX33" fmla="*/ 226577 w 1414520"/>
                  <a:gd name="connsiteY33" fmla="*/ 2077171 h 2979185"/>
                  <a:gd name="connsiteX34" fmla="*/ 161841 w 1414520"/>
                  <a:gd name="connsiteY34" fmla="*/ 1818226 h 2979185"/>
                  <a:gd name="connsiteX35" fmla="*/ 137565 w 1414520"/>
                  <a:gd name="connsiteY35" fmla="*/ 1583557 h 2979185"/>
                  <a:gd name="connsiteX36" fmla="*/ 80921 w 1414520"/>
                  <a:gd name="connsiteY36" fmla="*/ 733893 h 2979185"/>
                  <a:gd name="connsiteX37" fmla="*/ 8092 w 1414520"/>
                  <a:gd name="connsiteY37" fmla="*/ 474948 h 2979185"/>
                  <a:gd name="connsiteX38" fmla="*/ 32369 w 1414520"/>
                  <a:gd name="connsiteY38" fmla="*/ 345475 h 2979185"/>
                  <a:gd name="connsiteX39" fmla="*/ 178025 w 1414520"/>
                  <a:gd name="connsiteY39" fmla="*/ 5610 h 2979185"/>
                  <a:gd name="connsiteX0" fmla="*/ 178025 w 1414520"/>
                  <a:gd name="connsiteY0" fmla="*/ 5610 h 2979185"/>
                  <a:gd name="connsiteX1" fmla="*/ 299406 w 1414520"/>
                  <a:gd name="connsiteY1" fmla="*/ 78438 h 2979185"/>
                  <a:gd name="connsiteX2" fmla="*/ 493615 w 1414520"/>
                  <a:gd name="connsiteY2" fmla="*/ 126990 h 2979185"/>
                  <a:gd name="connsiteX3" fmla="*/ 687823 w 1414520"/>
                  <a:gd name="connsiteY3" fmla="*/ 143174 h 2979185"/>
                  <a:gd name="connsiteX4" fmla="*/ 865848 w 1414520"/>
                  <a:gd name="connsiteY4" fmla="*/ 110806 h 2979185"/>
                  <a:gd name="connsiteX5" fmla="*/ 946769 w 1414520"/>
                  <a:gd name="connsiteY5" fmla="*/ 62254 h 2979185"/>
                  <a:gd name="connsiteX6" fmla="*/ 1181438 w 1414520"/>
                  <a:gd name="connsiteY6" fmla="*/ 264555 h 2979185"/>
                  <a:gd name="connsiteX7" fmla="*/ 1351370 w 1414520"/>
                  <a:gd name="connsiteY7" fmla="*/ 385935 h 2979185"/>
                  <a:gd name="connsiteX8" fmla="*/ 1327094 w 1414520"/>
                  <a:gd name="connsiteY8" fmla="*/ 491132 h 2979185"/>
                  <a:gd name="connsiteX9" fmla="*/ 1246174 w 1414520"/>
                  <a:gd name="connsiteY9" fmla="*/ 750077 h 2979185"/>
                  <a:gd name="connsiteX10" fmla="*/ 1221898 w 1414520"/>
                  <a:gd name="connsiteY10" fmla="*/ 1551189 h 2979185"/>
                  <a:gd name="connsiteX11" fmla="*/ 1262358 w 1414520"/>
                  <a:gd name="connsiteY11" fmla="*/ 1747097 h 2979185"/>
                  <a:gd name="connsiteX12" fmla="*/ 1294726 w 1414520"/>
                  <a:gd name="connsiteY12" fmla="*/ 2036711 h 2979185"/>
                  <a:gd name="connsiteX13" fmla="*/ 1338427 w 1414520"/>
                  <a:gd name="connsiteY13" fmla="*/ 2332987 h 2979185"/>
                  <a:gd name="connsiteX14" fmla="*/ 1367554 w 1414520"/>
                  <a:gd name="connsiteY14" fmla="*/ 2554601 h 2979185"/>
                  <a:gd name="connsiteX15" fmla="*/ 1346565 w 1414520"/>
                  <a:gd name="connsiteY15" fmla="*/ 2663016 h 2979185"/>
                  <a:gd name="connsiteX16" fmla="*/ 1398312 w 1414520"/>
                  <a:gd name="connsiteY16" fmla="*/ 2797474 h 2979185"/>
                  <a:gd name="connsiteX17" fmla="*/ 1414520 w 1414520"/>
                  <a:gd name="connsiteY17" fmla="*/ 2910651 h 2979185"/>
                  <a:gd name="connsiteX18" fmla="*/ 1009986 w 1414520"/>
                  <a:gd name="connsiteY18" fmla="*/ 2828211 h 2979185"/>
                  <a:gd name="connsiteX19" fmla="*/ 940330 w 1414520"/>
                  <a:gd name="connsiteY19" fmla="*/ 2580488 h 2979185"/>
                  <a:gd name="connsiteX20" fmla="*/ 838376 w 1414520"/>
                  <a:gd name="connsiteY20" fmla="*/ 1947699 h 2979185"/>
                  <a:gd name="connsiteX21" fmla="*/ 801112 w 1414520"/>
                  <a:gd name="connsiteY21" fmla="*/ 1632109 h 2979185"/>
                  <a:gd name="connsiteX22" fmla="*/ 750929 w 1414520"/>
                  <a:gd name="connsiteY22" fmla="*/ 1212955 h 2979185"/>
                  <a:gd name="connsiteX23" fmla="*/ 695915 w 1414520"/>
                  <a:gd name="connsiteY23" fmla="*/ 895734 h 2979185"/>
                  <a:gd name="connsiteX24" fmla="*/ 647363 w 1414520"/>
                  <a:gd name="connsiteY24" fmla="*/ 1081851 h 2979185"/>
                  <a:gd name="connsiteX25" fmla="*/ 602031 w 1414520"/>
                  <a:gd name="connsiteY25" fmla="*/ 1669237 h 2979185"/>
                  <a:gd name="connsiteX26" fmla="*/ 598811 w 1414520"/>
                  <a:gd name="connsiteY26" fmla="*/ 1874870 h 2979185"/>
                  <a:gd name="connsiteX27" fmla="*/ 634421 w 1414520"/>
                  <a:gd name="connsiteY27" fmla="*/ 2116156 h 2979185"/>
                  <a:gd name="connsiteX28" fmla="*/ 637531 w 1414520"/>
                  <a:gd name="connsiteY28" fmla="*/ 2510114 h 2979185"/>
                  <a:gd name="connsiteX29" fmla="*/ 614682 w 1414520"/>
                  <a:gd name="connsiteY29" fmla="*/ 2809553 h 2979185"/>
                  <a:gd name="connsiteX30" fmla="*/ 575008 w 1414520"/>
                  <a:gd name="connsiteY30" fmla="*/ 2910800 h 2979185"/>
                  <a:gd name="connsiteX31" fmla="*/ 286866 w 1414520"/>
                  <a:gd name="connsiteY31" fmla="*/ 2944902 h 2979185"/>
                  <a:gd name="connsiteX32" fmla="*/ 237481 w 1414520"/>
                  <a:gd name="connsiteY32" fmla="*/ 2863879 h 2979185"/>
                  <a:gd name="connsiteX33" fmla="*/ 226577 w 1414520"/>
                  <a:gd name="connsiteY33" fmla="*/ 2077171 h 2979185"/>
                  <a:gd name="connsiteX34" fmla="*/ 161841 w 1414520"/>
                  <a:gd name="connsiteY34" fmla="*/ 1818226 h 2979185"/>
                  <a:gd name="connsiteX35" fmla="*/ 137565 w 1414520"/>
                  <a:gd name="connsiteY35" fmla="*/ 1583557 h 2979185"/>
                  <a:gd name="connsiteX36" fmla="*/ 80921 w 1414520"/>
                  <a:gd name="connsiteY36" fmla="*/ 733893 h 2979185"/>
                  <a:gd name="connsiteX37" fmla="*/ 8092 w 1414520"/>
                  <a:gd name="connsiteY37" fmla="*/ 474948 h 2979185"/>
                  <a:gd name="connsiteX38" fmla="*/ 32369 w 1414520"/>
                  <a:gd name="connsiteY38" fmla="*/ 345475 h 2979185"/>
                  <a:gd name="connsiteX39" fmla="*/ 178025 w 1414520"/>
                  <a:gd name="connsiteY39" fmla="*/ 5610 h 2979185"/>
                  <a:gd name="connsiteX0" fmla="*/ 178025 w 1414520"/>
                  <a:gd name="connsiteY0" fmla="*/ 5610 h 2979185"/>
                  <a:gd name="connsiteX1" fmla="*/ 299406 w 1414520"/>
                  <a:gd name="connsiteY1" fmla="*/ 78438 h 2979185"/>
                  <a:gd name="connsiteX2" fmla="*/ 493615 w 1414520"/>
                  <a:gd name="connsiteY2" fmla="*/ 126990 h 2979185"/>
                  <a:gd name="connsiteX3" fmla="*/ 687823 w 1414520"/>
                  <a:gd name="connsiteY3" fmla="*/ 143174 h 2979185"/>
                  <a:gd name="connsiteX4" fmla="*/ 865848 w 1414520"/>
                  <a:gd name="connsiteY4" fmla="*/ 110806 h 2979185"/>
                  <a:gd name="connsiteX5" fmla="*/ 946769 w 1414520"/>
                  <a:gd name="connsiteY5" fmla="*/ 62254 h 2979185"/>
                  <a:gd name="connsiteX6" fmla="*/ 1181438 w 1414520"/>
                  <a:gd name="connsiteY6" fmla="*/ 264555 h 2979185"/>
                  <a:gd name="connsiteX7" fmla="*/ 1351370 w 1414520"/>
                  <a:gd name="connsiteY7" fmla="*/ 385935 h 2979185"/>
                  <a:gd name="connsiteX8" fmla="*/ 1327094 w 1414520"/>
                  <a:gd name="connsiteY8" fmla="*/ 491132 h 2979185"/>
                  <a:gd name="connsiteX9" fmla="*/ 1246174 w 1414520"/>
                  <a:gd name="connsiteY9" fmla="*/ 750077 h 2979185"/>
                  <a:gd name="connsiteX10" fmla="*/ 1221898 w 1414520"/>
                  <a:gd name="connsiteY10" fmla="*/ 1551189 h 2979185"/>
                  <a:gd name="connsiteX11" fmla="*/ 1262358 w 1414520"/>
                  <a:gd name="connsiteY11" fmla="*/ 1747097 h 2979185"/>
                  <a:gd name="connsiteX12" fmla="*/ 1294726 w 1414520"/>
                  <a:gd name="connsiteY12" fmla="*/ 2036711 h 2979185"/>
                  <a:gd name="connsiteX13" fmla="*/ 1338427 w 1414520"/>
                  <a:gd name="connsiteY13" fmla="*/ 2332987 h 2979185"/>
                  <a:gd name="connsiteX14" fmla="*/ 1367554 w 1414520"/>
                  <a:gd name="connsiteY14" fmla="*/ 2554601 h 2979185"/>
                  <a:gd name="connsiteX15" fmla="*/ 1346565 w 1414520"/>
                  <a:gd name="connsiteY15" fmla="*/ 2663016 h 2979185"/>
                  <a:gd name="connsiteX16" fmla="*/ 1398312 w 1414520"/>
                  <a:gd name="connsiteY16" fmla="*/ 2797474 h 2979185"/>
                  <a:gd name="connsiteX17" fmla="*/ 1414520 w 1414520"/>
                  <a:gd name="connsiteY17" fmla="*/ 2910651 h 2979185"/>
                  <a:gd name="connsiteX18" fmla="*/ 1009986 w 1414520"/>
                  <a:gd name="connsiteY18" fmla="*/ 2828211 h 2979185"/>
                  <a:gd name="connsiteX19" fmla="*/ 940330 w 1414520"/>
                  <a:gd name="connsiteY19" fmla="*/ 2580488 h 2979185"/>
                  <a:gd name="connsiteX20" fmla="*/ 838376 w 1414520"/>
                  <a:gd name="connsiteY20" fmla="*/ 1947699 h 2979185"/>
                  <a:gd name="connsiteX21" fmla="*/ 801112 w 1414520"/>
                  <a:gd name="connsiteY21" fmla="*/ 1632109 h 2979185"/>
                  <a:gd name="connsiteX22" fmla="*/ 750929 w 1414520"/>
                  <a:gd name="connsiteY22" fmla="*/ 1212955 h 2979185"/>
                  <a:gd name="connsiteX23" fmla="*/ 695915 w 1414520"/>
                  <a:gd name="connsiteY23" fmla="*/ 895734 h 2979185"/>
                  <a:gd name="connsiteX24" fmla="*/ 647363 w 1414520"/>
                  <a:gd name="connsiteY24" fmla="*/ 1081851 h 2979185"/>
                  <a:gd name="connsiteX25" fmla="*/ 602031 w 1414520"/>
                  <a:gd name="connsiteY25" fmla="*/ 1669237 h 2979185"/>
                  <a:gd name="connsiteX26" fmla="*/ 598811 w 1414520"/>
                  <a:gd name="connsiteY26" fmla="*/ 1822045 h 2979185"/>
                  <a:gd name="connsiteX27" fmla="*/ 634421 w 1414520"/>
                  <a:gd name="connsiteY27" fmla="*/ 2116156 h 2979185"/>
                  <a:gd name="connsiteX28" fmla="*/ 637531 w 1414520"/>
                  <a:gd name="connsiteY28" fmla="*/ 2510114 h 2979185"/>
                  <a:gd name="connsiteX29" fmla="*/ 614682 w 1414520"/>
                  <a:gd name="connsiteY29" fmla="*/ 2809553 h 2979185"/>
                  <a:gd name="connsiteX30" fmla="*/ 575008 w 1414520"/>
                  <a:gd name="connsiteY30" fmla="*/ 2910800 h 2979185"/>
                  <a:gd name="connsiteX31" fmla="*/ 286866 w 1414520"/>
                  <a:gd name="connsiteY31" fmla="*/ 2944902 h 2979185"/>
                  <a:gd name="connsiteX32" fmla="*/ 237481 w 1414520"/>
                  <a:gd name="connsiteY32" fmla="*/ 2863879 h 2979185"/>
                  <a:gd name="connsiteX33" fmla="*/ 226577 w 1414520"/>
                  <a:gd name="connsiteY33" fmla="*/ 2077171 h 2979185"/>
                  <a:gd name="connsiteX34" fmla="*/ 161841 w 1414520"/>
                  <a:gd name="connsiteY34" fmla="*/ 1818226 h 2979185"/>
                  <a:gd name="connsiteX35" fmla="*/ 137565 w 1414520"/>
                  <a:gd name="connsiteY35" fmla="*/ 1583557 h 2979185"/>
                  <a:gd name="connsiteX36" fmla="*/ 80921 w 1414520"/>
                  <a:gd name="connsiteY36" fmla="*/ 733893 h 2979185"/>
                  <a:gd name="connsiteX37" fmla="*/ 8092 w 1414520"/>
                  <a:gd name="connsiteY37" fmla="*/ 474948 h 2979185"/>
                  <a:gd name="connsiteX38" fmla="*/ 32369 w 1414520"/>
                  <a:gd name="connsiteY38" fmla="*/ 345475 h 2979185"/>
                  <a:gd name="connsiteX39" fmla="*/ 178025 w 1414520"/>
                  <a:gd name="connsiteY39" fmla="*/ 5610 h 2979185"/>
                  <a:gd name="connsiteX0" fmla="*/ 178025 w 1414520"/>
                  <a:gd name="connsiteY0" fmla="*/ 5610 h 2979185"/>
                  <a:gd name="connsiteX1" fmla="*/ 299406 w 1414520"/>
                  <a:gd name="connsiteY1" fmla="*/ 78438 h 2979185"/>
                  <a:gd name="connsiteX2" fmla="*/ 493615 w 1414520"/>
                  <a:gd name="connsiteY2" fmla="*/ 126990 h 2979185"/>
                  <a:gd name="connsiteX3" fmla="*/ 687823 w 1414520"/>
                  <a:gd name="connsiteY3" fmla="*/ 143174 h 2979185"/>
                  <a:gd name="connsiteX4" fmla="*/ 865848 w 1414520"/>
                  <a:gd name="connsiteY4" fmla="*/ 110806 h 2979185"/>
                  <a:gd name="connsiteX5" fmla="*/ 946769 w 1414520"/>
                  <a:gd name="connsiteY5" fmla="*/ 62254 h 2979185"/>
                  <a:gd name="connsiteX6" fmla="*/ 1181438 w 1414520"/>
                  <a:gd name="connsiteY6" fmla="*/ 264555 h 2979185"/>
                  <a:gd name="connsiteX7" fmla="*/ 1351370 w 1414520"/>
                  <a:gd name="connsiteY7" fmla="*/ 385935 h 2979185"/>
                  <a:gd name="connsiteX8" fmla="*/ 1327094 w 1414520"/>
                  <a:gd name="connsiteY8" fmla="*/ 491132 h 2979185"/>
                  <a:gd name="connsiteX9" fmla="*/ 1246174 w 1414520"/>
                  <a:gd name="connsiteY9" fmla="*/ 750077 h 2979185"/>
                  <a:gd name="connsiteX10" fmla="*/ 1221898 w 1414520"/>
                  <a:gd name="connsiteY10" fmla="*/ 1551189 h 2979185"/>
                  <a:gd name="connsiteX11" fmla="*/ 1262358 w 1414520"/>
                  <a:gd name="connsiteY11" fmla="*/ 1747097 h 2979185"/>
                  <a:gd name="connsiteX12" fmla="*/ 1294726 w 1414520"/>
                  <a:gd name="connsiteY12" fmla="*/ 2036711 h 2979185"/>
                  <a:gd name="connsiteX13" fmla="*/ 1338427 w 1414520"/>
                  <a:gd name="connsiteY13" fmla="*/ 2332987 h 2979185"/>
                  <a:gd name="connsiteX14" fmla="*/ 1367554 w 1414520"/>
                  <a:gd name="connsiteY14" fmla="*/ 2554601 h 2979185"/>
                  <a:gd name="connsiteX15" fmla="*/ 1346565 w 1414520"/>
                  <a:gd name="connsiteY15" fmla="*/ 2663016 h 2979185"/>
                  <a:gd name="connsiteX16" fmla="*/ 1398312 w 1414520"/>
                  <a:gd name="connsiteY16" fmla="*/ 2797474 h 2979185"/>
                  <a:gd name="connsiteX17" fmla="*/ 1414520 w 1414520"/>
                  <a:gd name="connsiteY17" fmla="*/ 2910651 h 2979185"/>
                  <a:gd name="connsiteX18" fmla="*/ 1009986 w 1414520"/>
                  <a:gd name="connsiteY18" fmla="*/ 2828211 h 2979185"/>
                  <a:gd name="connsiteX19" fmla="*/ 940330 w 1414520"/>
                  <a:gd name="connsiteY19" fmla="*/ 2580488 h 2979185"/>
                  <a:gd name="connsiteX20" fmla="*/ 838376 w 1414520"/>
                  <a:gd name="connsiteY20" fmla="*/ 1947699 h 2979185"/>
                  <a:gd name="connsiteX21" fmla="*/ 801112 w 1414520"/>
                  <a:gd name="connsiteY21" fmla="*/ 1632109 h 2979185"/>
                  <a:gd name="connsiteX22" fmla="*/ 750929 w 1414520"/>
                  <a:gd name="connsiteY22" fmla="*/ 1212955 h 2979185"/>
                  <a:gd name="connsiteX23" fmla="*/ 695915 w 1414520"/>
                  <a:gd name="connsiteY23" fmla="*/ 895734 h 2979185"/>
                  <a:gd name="connsiteX24" fmla="*/ 647363 w 1414520"/>
                  <a:gd name="connsiteY24" fmla="*/ 1081851 h 2979185"/>
                  <a:gd name="connsiteX25" fmla="*/ 602031 w 1414520"/>
                  <a:gd name="connsiteY25" fmla="*/ 1669237 h 2979185"/>
                  <a:gd name="connsiteX26" fmla="*/ 598811 w 1414520"/>
                  <a:gd name="connsiteY26" fmla="*/ 1822045 h 2979185"/>
                  <a:gd name="connsiteX27" fmla="*/ 597850 w 1414520"/>
                  <a:gd name="connsiteY27" fmla="*/ 2132410 h 2979185"/>
                  <a:gd name="connsiteX28" fmla="*/ 637531 w 1414520"/>
                  <a:gd name="connsiteY28" fmla="*/ 2510114 h 2979185"/>
                  <a:gd name="connsiteX29" fmla="*/ 614682 w 1414520"/>
                  <a:gd name="connsiteY29" fmla="*/ 2809553 h 2979185"/>
                  <a:gd name="connsiteX30" fmla="*/ 575008 w 1414520"/>
                  <a:gd name="connsiteY30" fmla="*/ 2910800 h 2979185"/>
                  <a:gd name="connsiteX31" fmla="*/ 286866 w 1414520"/>
                  <a:gd name="connsiteY31" fmla="*/ 2944902 h 2979185"/>
                  <a:gd name="connsiteX32" fmla="*/ 237481 w 1414520"/>
                  <a:gd name="connsiteY32" fmla="*/ 2863879 h 2979185"/>
                  <a:gd name="connsiteX33" fmla="*/ 226577 w 1414520"/>
                  <a:gd name="connsiteY33" fmla="*/ 2077171 h 2979185"/>
                  <a:gd name="connsiteX34" fmla="*/ 161841 w 1414520"/>
                  <a:gd name="connsiteY34" fmla="*/ 1818226 h 2979185"/>
                  <a:gd name="connsiteX35" fmla="*/ 137565 w 1414520"/>
                  <a:gd name="connsiteY35" fmla="*/ 1583557 h 2979185"/>
                  <a:gd name="connsiteX36" fmla="*/ 80921 w 1414520"/>
                  <a:gd name="connsiteY36" fmla="*/ 733893 h 2979185"/>
                  <a:gd name="connsiteX37" fmla="*/ 8092 w 1414520"/>
                  <a:gd name="connsiteY37" fmla="*/ 474948 h 2979185"/>
                  <a:gd name="connsiteX38" fmla="*/ 32369 w 1414520"/>
                  <a:gd name="connsiteY38" fmla="*/ 345475 h 2979185"/>
                  <a:gd name="connsiteX39" fmla="*/ 178025 w 1414520"/>
                  <a:gd name="connsiteY39" fmla="*/ 5610 h 2979185"/>
                  <a:gd name="connsiteX0" fmla="*/ 178025 w 1414520"/>
                  <a:gd name="connsiteY0" fmla="*/ 5610 h 2979185"/>
                  <a:gd name="connsiteX1" fmla="*/ 299406 w 1414520"/>
                  <a:gd name="connsiteY1" fmla="*/ 78438 h 2979185"/>
                  <a:gd name="connsiteX2" fmla="*/ 493615 w 1414520"/>
                  <a:gd name="connsiteY2" fmla="*/ 126990 h 2979185"/>
                  <a:gd name="connsiteX3" fmla="*/ 687823 w 1414520"/>
                  <a:gd name="connsiteY3" fmla="*/ 143174 h 2979185"/>
                  <a:gd name="connsiteX4" fmla="*/ 865848 w 1414520"/>
                  <a:gd name="connsiteY4" fmla="*/ 110806 h 2979185"/>
                  <a:gd name="connsiteX5" fmla="*/ 946769 w 1414520"/>
                  <a:gd name="connsiteY5" fmla="*/ 62254 h 2979185"/>
                  <a:gd name="connsiteX6" fmla="*/ 1181438 w 1414520"/>
                  <a:gd name="connsiteY6" fmla="*/ 264555 h 2979185"/>
                  <a:gd name="connsiteX7" fmla="*/ 1351370 w 1414520"/>
                  <a:gd name="connsiteY7" fmla="*/ 385935 h 2979185"/>
                  <a:gd name="connsiteX8" fmla="*/ 1327094 w 1414520"/>
                  <a:gd name="connsiteY8" fmla="*/ 491132 h 2979185"/>
                  <a:gd name="connsiteX9" fmla="*/ 1246174 w 1414520"/>
                  <a:gd name="connsiteY9" fmla="*/ 750077 h 2979185"/>
                  <a:gd name="connsiteX10" fmla="*/ 1221898 w 1414520"/>
                  <a:gd name="connsiteY10" fmla="*/ 1551189 h 2979185"/>
                  <a:gd name="connsiteX11" fmla="*/ 1262358 w 1414520"/>
                  <a:gd name="connsiteY11" fmla="*/ 1747097 h 2979185"/>
                  <a:gd name="connsiteX12" fmla="*/ 1294726 w 1414520"/>
                  <a:gd name="connsiteY12" fmla="*/ 2036711 h 2979185"/>
                  <a:gd name="connsiteX13" fmla="*/ 1338427 w 1414520"/>
                  <a:gd name="connsiteY13" fmla="*/ 2332987 h 2979185"/>
                  <a:gd name="connsiteX14" fmla="*/ 1367554 w 1414520"/>
                  <a:gd name="connsiteY14" fmla="*/ 2554601 h 2979185"/>
                  <a:gd name="connsiteX15" fmla="*/ 1346565 w 1414520"/>
                  <a:gd name="connsiteY15" fmla="*/ 2663016 h 2979185"/>
                  <a:gd name="connsiteX16" fmla="*/ 1398312 w 1414520"/>
                  <a:gd name="connsiteY16" fmla="*/ 2797474 h 2979185"/>
                  <a:gd name="connsiteX17" fmla="*/ 1414520 w 1414520"/>
                  <a:gd name="connsiteY17" fmla="*/ 2910651 h 2979185"/>
                  <a:gd name="connsiteX18" fmla="*/ 1009986 w 1414520"/>
                  <a:gd name="connsiteY18" fmla="*/ 2828211 h 2979185"/>
                  <a:gd name="connsiteX19" fmla="*/ 940330 w 1414520"/>
                  <a:gd name="connsiteY19" fmla="*/ 2580488 h 2979185"/>
                  <a:gd name="connsiteX20" fmla="*/ 838376 w 1414520"/>
                  <a:gd name="connsiteY20" fmla="*/ 1947699 h 2979185"/>
                  <a:gd name="connsiteX21" fmla="*/ 801112 w 1414520"/>
                  <a:gd name="connsiteY21" fmla="*/ 1632109 h 2979185"/>
                  <a:gd name="connsiteX22" fmla="*/ 750929 w 1414520"/>
                  <a:gd name="connsiteY22" fmla="*/ 1212955 h 2979185"/>
                  <a:gd name="connsiteX23" fmla="*/ 695915 w 1414520"/>
                  <a:gd name="connsiteY23" fmla="*/ 895734 h 2979185"/>
                  <a:gd name="connsiteX24" fmla="*/ 647363 w 1414520"/>
                  <a:gd name="connsiteY24" fmla="*/ 1081851 h 2979185"/>
                  <a:gd name="connsiteX25" fmla="*/ 602031 w 1414520"/>
                  <a:gd name="connsiteY25" fmla="*/ 1669237 h 2979185"/>
                  <a:gd name="connsiteX26" fmla="*/ 578493 w 1414520"/>
                  <a:gd name="connsiteY26" fmla="*/ 1822045 h 2979185"/>
                  <a:gd name="connsiteX27" fmla="*/ 597850 w 1414520"/>
                  <a:gd name="connsiteY27" fmla="*/ 2132410 h 2979185"/>
                  <a:gd name="connsiteX28" fmla="*/ 637531 w 1414520"/>
                  <a:gd name="connsiteY28" fmla="*/ 2510114 h 2979185"/>
                  <a:gd name="connsiteX29" fmla="*/ 614682 w 1414520"/>
                  <a:gd name="connsiteY29" fmla="*/ 2809553 h 2979185"/>
                  <a:gd name="connsiteX30" fmla="*/ 575008 w 1414520"/>
                  <a:gd name="connsiteY30" fmla="*/ 2910800 h 2979185"/>
                  <a:gd name="connsiteX31" fmla="*/ 286866 w 1414520"/>
                  <a:gd name="connsiteY31" fmla="*/ 2944902 h 2979185"/>
                  <a:gd name="connsiteX32" fmla="*/ 237481 w 1414520"/>
                  <a:gd name="connsiteY32" fmla="*/ 2863879 h 2979185"/>
                  <a:gd name="connsiteX33" fmla="*/ 226577 w 1414520"/>
                  <a:gd name="connsiteY33" fmla="*/ 2077171 h 2979185"/>
                  <a:gd name="connsiteX34" fmla="*/ 161841 w 1414520"/>
                  <a:gd name="connsiteY34" fmla="*/ 1818226 h 2979185"/>
                  <a:gd name="connsiteX35" fmla="*/ 137565 w 1414520"/>
                  <a:gd name="connsiteY35" fmla="*/ 1583557 h 2979185"/>
                  <a:gd name="connsiteX36" fmla="*/ 80921 w 1414520"/>
                  <a:gd name="connsiteY36" fmla="*/ 733893 h 2979185"/>
                  <a:gd name="connsiteX37" fmla="*/ 8092 w 1414520"/>
                  <a:gd name="connsiteY37" fmla="*/ 474948 h 2979185"/>
                  <a:gd name="connsiteX38" fmla="*/ 32369 w 1414520"/>
                  <a:gd name="connsiteY38" fmla="*/ 345475 h 2979185"/>
                  <a:gd name="connsiteX39" fmla="*/ 178025 w 1414520"/>
                  <a:gd name="connsiteY39" fmla="*/ 5610 h 2979185"/>
                  <a:gd name="connsiteX0" fmla="*/ 178025 w 1414520"/>
                  <a:gd name="connsiteY0" fmla="*/ 5610 h 2979185"/>
                  <a:gd name="connsiteX1" fmla="*/ 299406 w 1414520"/>
                  <a:gd name="connsiteY1" fmla="*/ 78438 h 2979185"/>
                  <a:gd name="connsiteX2" fmla="*/ 493615 w 1414520"/>
                  <a:gd name="connsiteY2" fmla="*/ 126990 h 2979185"/>
                  <a:gd name="connsiteX3" fmla="*/ 687823 w 1414520"/>
                  <a:gd name="connsiteY3" fmla="*/ 143174 h 2979185"/>
                  <a:gd name="connsiteX4" fmla="*/ 865848 w 1414520"/>
                  <a:gd name="connsiteY4" fmla="*/ 110806 h 2979185"/>
                  <a:gd name="connsiteX5" fmla="*/ 946769 w 1414520"/>
                  <a:gd name="connsiteY5" fmla="*/ 62254 h 2979185"/>
                  <a:gd name="connsiteX6" fmla="*/ 1181438 w 1414520"/>
                  <a:gd name="connsiteY6" fmla="*/ 264555 h 2979185"/>
                  <a:gd name="connsiteX7" fmla="*/ 1351370 w 1414520"/>
                  <a:gd name="connsiteY7" fmla="*/ 385935 h 2979185"/>
                  <a:gd name="connsiteX8" fmla="*/ 1327094 w 1414520"/>
                  <a:gd name="connsiteY8" fmla="*/ 491132 h 2979185"/>
                  <a:gd name="connsiteX9" fmla="*/ 1246174 w 1414520"/>
                  <a:gd name="connsiteY9" fmla="*/ 750077 h 2979185"/>
                  <a:gd name="connsiteX10" fmla="*/ 1221898 w 1414520"/>
                  <a:gd name="connsiteY10" fmla="*/ 1551189 h 2979185"/>
                  <a:gd name="connsiteX11" fmla="*/ 1262358 w 1414520"/>
                  <a:gd name="connsiteY11" fmla="*/ 1747097 h 2979185"/>
                  <a:gd name="connsiteX12" fmla="*/ 1294726 w 1414520"/>
                  <a:gd name="connsiteY12" fmla="*/ 2036711 h 2979185"/>
                  <a:gd name="connsiteX13" fmla="*/ 1338427 w 1414520"/>
                  <a:gd name="connsiteY13" fmla="*/ 2332987 h 2979185"/>
                  <a:gd name="connsiteX14" fmla="*/ 1367554 w 1414520"/>
                  <a:gd name="connsiteY14" fmla="*/ 2554601 h 2979185"/>
                  <a:gd name="connsiteX15" fmla="*/ 1346565 w 1414520"/>
                  <a:gd name="connsiteY15" fmla="*/ 2663016 h 2979185"/>
                  <a:gd name="connsiteX16" fmla="*/ 1398312 w 1414520"/>
                  <a:gd name="connsiteY16" fmla="*/ 2797474 h 2979185"/>
                  <a:gd name="connsiteX17" fmla="*/ 1414520 w 1414520"/>
                  <a:gd name="connsiteY17" fmla="*/ 2910651 h 2979185"/>
                  <a:gd name="connsiteX18" fmla="*/ 1009986 w 1414520"/>
                  <a:gd name="connsiteY18" fmla="*/ 2828211 h 2979185"/>
                  <a:gd name="connsiteX19" fmla="*/ 940330 w 1414520"/>
                  <a:gd name="connsiteY19" fmla="*/ 2580488 h 2979185"/>
                  <a:gd name="connsiteX20" fmla="*/ 838376 w 1414520"/>
                  <a:gd name="connsiteY20" fmla="*/ 1947699 h 2979185"/>
                  <a:gd name="connsiteX21" fmla="*/ 801112 w 1414520"/>
                  <a:gd name="connsiteY21" fmla="*/ 1632109 h 2979185"/>
                  <a:gd name="connsiteX22" fmla="*/ 750929 w 1414520"/>
                  <a:gd name="connsiteY22" fmla="*/ 1212955 h 2979185"/>
                  <a:gd name="connsiteX23" fmla="*/ 695915 w 1414520"/>
                  <a:gd name="connsiteY23" fmla="*/ 895734 h 2979185"/>
                  <a:gd name="connsiteX24" fmla="*/ 667680 w 1414520"/>
                  <a:gd name="connsiteY24" fmla="*/ 1081852 h 2979185"/>
                  <a:gd name="connsiteX25" fmla="*/ 602031 w 1414520"/>
                  <a:gd name="connsiteY25" fmla="*/ 1669237 h 2979185"/>
                  <a:gd name="connsiteX26" fmla="*/ 578493 w 1414520"/>
                  <a:gd name="connsiteY26" fmla="*/ 1822045 h 2979185"/>
                  <a:gd name="connsiteX27" fmla="*/ 597850 w 1414520"/>
                  <a:gd name="connsiteY27" fmla="*/ 2132410 h 2979185"/>
                  <a:gd name="connsiteX28" fmla="*/ 637531 w 1414520"/>
                  <a:gd name="connsiteY28" fmla="*/ 2510114 h 2979185"/>
                  <a:gd name="connsiteX29" fmla="*/ 614682 w 1414520"/>
                  <a:gd name="connsiteY29" fmla="*/ 2809553 h 2979185"/>
                  <a:gd name="connsiteX30" fmla="*/ 575008 w 1414520"/>
                  <a:gd name="connsiteY30" fmla="*/ 2910800 h 2979185"/>
                  <a:gd name="connsiteX31" fmla="*/ 286866 w 1414520"/>
                  <a:gd name="connsiteY31" fmla="*/ 2944902 h 2979185"/>
                  <a:gd name="connsiteX32" fmla="*/ 237481 w 1414520"/>
                  <a:gd name="connsiteY32" fmla="*/ 2863879 h 2979185"/>
                  <a:gd name="connsiteX33" fmla="*/ 226577 w 1414520"/>
                  <a:gd name="connsiteY33" fmla="*/ 2077171 h 2979185"/>
                  <a:gd name="connsiteX34" fmla="*/ 161841 w 1414520"/>
                  <a:gd name="connsiteY34" fmla="*/ 1818226 h 2979185"/>
                  <a:gd name="connsiteX35" fmla="*/ 137565 w 1414520"/>
                  <a:gd name="connsiteY35" fmla="*/ 1583557 h 2979185"/>
                  <a:gd name="connsiteX36" fmla="*/ 80921 w 1414520"/>
                  <a:gd name="connsiteY36" fmla="*/ 733893 h 2979185"/>
                  <a:gd name="connsiteX37" fmla="*/ 8092 w 1414520"/>
                  <a:gd name="connsiteY37" fmla="*/ 474948 h 2979185"/>
                  <a:gd name="connsiteX38" fmla="*/ 32369 w 1414520"/>
                  <a:gd name="connsiteY38" fmla="*/ 345475 h 2979185"/>
                  <a:gd name="connsiteX39" fmla="*/ 178025 w 1414520"/>
                  <a:gd name="connsiteY39" fmla="*/ 5610 h 2979185"/>
                  <a:gd name="connsiteX0" fmla="*/ 178025 w 1414520"/>
                  <a:gd name="connsiteY0" fmla="*/ 5610 h 2979185"/>
                  <a:gd name="connsiteX1" fmla="*/ 299406 w 1414520"/>
                  <a:gd name="connsiteY1" fmla="*/ 78438 h 2979185"/>
                  <a:gd name="connsiteX2" fmla="*/ 493615 w 1414520"/>
                  <a:gd name="connsiteY2" fmla="*/ 126990 h 2979185"/>
                  <a:gd name="connsiteX3" fmla="*/ 687823 w 1414520"/>
                  <a:gd name="connsiteY3" fmla="*/ 143174 h 2979185"/>
                  <a:gd name="connsiteX4" fmla="*/ 865848 w 1414520"/>
                  <a:gd name="connsiteY4" fmla="*/ 110806 h 2979185"/>
                  <a:gd name="connsiteX5" fmla="*/ 946769 w 1414520"/>
                  <a:gd name="connsiteY5" fmla="*/ 62254 h 2979185"/>
                  <a:gd name="connsiteX6" fmla="*/ 1181438 w 1414520"/>
                  <a:gd name="connsiteY6" fmla="*/ 264555 h 2979185"/>
                  <a:gd name="connsiteX7" fmla="*/ 1351370 w 1414520"/>
                  <a:gd name="connsiteY7" fmla="*/ 385935 h 2979185"/>
                  <a:gd name="connsiteX8" fmla="*/ 1327094 w 1414520"/>
                  <a:gd name="connsiteY8" fmla="*/ 491132 h 2979185"/>
                  <a:gd name="connsiteX9" fmla="*/ 1246174 w 1414520"/>
                  <a:gd name="connsiteY9" fmla="*/ 750077 h 2979185"/>
                  <a:gd name="connsiteX10" fmla="*/ 1221898 w 1414520"/>
                  <a:gd name="connsiteY10" fmla="*/ 1551189 h 2979185"/>
                  <a:gd name="connsiteX11" fmla="*/ 1262358 w 1414520"/>
                  <a:gd name="connsiteY11" fmla="*/ 1747097 h 2979185"/>
                  <a:gd name="connsiteX12" fmla="*/ 1294726 w 1414520"/>
                  <a:gd name="connsiteY12" fmla="*/ 2036711 h 2979185"/>
                  <a:gd name="connsiteX13" fmla="*/ 1338427 w 1414520"/>
                  <a:gd name="connsiteY13" fmla="*/ 2332987 h 2979185"/>
                  <a:gd name="connsiteX14" fmla="*/ 1367554 w 1414520"/>
                  <a:gd name="connsiteY14" fmla="*/ 2554601 h 2979185"/>
                  <a:gd name="connsiteX15" fmla="*/ 1346565 w 1414520"/>
                  <a:gd name="connsiteY15" fmla="*/ 2663016 h 2979185"/>
                  <a:gd name="connsiteX16" fmla="*/ 1398312 w 1414520"/>
                  <a:gd name="connsiteY16" fmla="*/ 2797474 h 2979185"/>
                  <a:gd name="connsiteX17" fmla="*/ 1414520 w 1414520"/>
                  <a:gd name="connsiteY17" fmla="*/ 2910651 h 2979185"/>
                  <a:gd name="connsiteX18" fmla="*/ 1009986 w 1414520"/>
                  <a:gd name="connsiteY18" fmla="*/ 2828211 h 2979185"/>
                  <a:gd name="connsiteX19" fmla="*/ 940330 w 1414520"/>
                  <a:gd name="connsiteY19" fmla="*/ 2580488 h 2979185"/>
                  <a:gd name="connsiteX20" fmla="*/ 838376 w 1414520"/>
                  <a:gd name="connsiteY20" fmla="*/ 1947699 h 2979185"/>
                  <a:gd name="connsiteX21" fmla="*/ 801112 w 1414520"/>
                  <a:gd name="connsiteY21" fmla="*/ 1632109 h 2979185"/>
                  <a:gd name="connsiteX22" fmla="*/ 750929 w 1414520"/>
                  <a:gd name="connsiteY22" fmla="*/ 1212955 h 2979185"/>
                  <a:gd name="connsiteX23" fmla="*/ 695915 w 1414520"/>
                  <a:gd name="connsiteY23" fmla="*/ 895734 h 2979185"/>
                  <a:gd name="connsiteX24" fmla="*/ 667680 w 1414520"/>
                  <a:gd name="connsiteY24" fmla="*/ 1081852 h 2979185"/>
                  <a:gd name="connsiteX25" fmla="*/ 602031 w 1414520"/>
                  <a:gd name="connsiteY25" fmla="*/ 1669237 h 2979185"/>
                  <a:gd name="connsiteX26" fmla="*/ 600414 w 1414520"/>
                  <a:gd name="connsiteY26" fmla="*/ 1822045 h 2979185"/>
                  <a:gd name="connsiteX27" fmla="*/ 597850 w 1414520"/>
                  <a:gd name="connsiteY27" fmla="*/ 2132410 h 2979185"/>
                  <a:gd name="connsiteX28" fmla="*/ 637531 w 1414520"/>
                  <a:gd name="connsiteY28" fmla="*/ 2510114 h 2979185"/>
                  <a:gd name="connsiteX29" fmla="*/ 614682 w 1414520"/>
                  <a:gd name="connsiteY29" fmla="*/ 2809553 h 2979185"/>
                  <a:gd name="connsiteX30" fmla="*/ 575008 w 1414520"/>
                  <a:gd name="connsiteY30" fmla="*/ 2910800 h 2979185"/>
                  <a:gd name="connsiteX31" fmla="*/ 286866 w 1414520"/>
                  <a:gd name="connsiteY31" fmla="*/ 2944902 h 2979185"/>
                  <a:gd name="connsiteX32" fmla="*/ 237481 w 1414520"/>
                  <a:gd name="connsiteY32" fmla="*/ 2863879 h 2979185"/>
                  <a:gd name="connsiteX33" fmla="*/ 226577 w 1414520"/>
                  <a:gd name="connsiteY33" fmla="*/ 2077171 h 2979185"/>
                  <a:gd name="connsiteX34" fmla="*/ 161841 w 1414520"/>
                  <a:gd name="connsiteY34" fmla="*/ 1818226 h 2979185"/>
                  <a:gd name="connsiteX35" fmla="*/ 137565 w 1414520"/>
                  <a:gd name="connsiteY35" fmla="*/ 1583557 h 2979185"/>
                  <a:gd name="connsiteX36" fmla="*/ 80921 w 1414520"/>
                  <a:gd name="connsiteY36" fmla="*/ 733893 h 2979185"/>
                  <a:gd name="connsiteX37" fmla="*/ 8092 w 1414520"/>
                  <a:gd name="connsiteY37" fmla="*/ 474948 h 2979185"/>
                  <a:gd name="connsiteX38" fmla="*/ 32369 w 1414520"/>
                  <a:gd name="connsiteY38" fmla="*/ 345475 h 2979185"/>
                  <a:gd name="connsiteX39" fmla="*/ 178025 w 1414520"/>
                  <a:gd name="connsiteY39" fmla="*/ 5610 h 2979185"/>
                  <a:gd name="connsiteX0" fmla="*/ 178025 w 1414520"/>
                  <a:gd name="connsiteY0" fmla="*/ 5610 h 2979185"/>
                  <a:gd name="connsiteX1" fmla="*/ 299406 w 1414520"/>
                  <a:gd name="connsiteY1" fmla="*/ 78438 h 2979185"/>
                  <a:gd name="connsiteX2" fmla="*/ 493615 w 1414520"/>
                  <a:gd name="connsiteY2" fmla="*/ 126990 h 2979185"/>
                  <a:gd name="connsiteX3" fmla="*/ 687823 w 1414520"/>
                  <a:gd name="connsiteY3" fmla="*/ 143174 h 2979185"/>
                  <a:gd name="connsiteX4" fmla="*/ 865848 w 1414520"/>
                  <a:gd name="connsiteY4" fmla="*/ 110806 h 2979185"/>
                  <a:gd name="connsiteX5" fmla="*/ 946769 w 1414520"/>
                  <a:gd name="connsiteY5" fmla="*/ 62254 h 2979185"/>
                  <a:gd name="connsiteX6" fmla="*/ 1181438 w 1414520"/>
                  <a:gd name="connsiteY6" fmla="*/ 264555 h 2979185"/>
                  <a:gd name="connsiteX7" fmla="*/ 1351370 w 1414520"/>
                  <a:gd name="connsiteY7" fmla="*/ 385935 h 2979185"/>
                  <a:gd name="connsiteX8" fmla="*/ 1327094 w 1414520"/>
                  <a:gd name="connsiteY8" fmla="*/ 491132 h 2979185"/>
                  <a:gd name="connsiteX9" fmla="*/ 1246174 w 1414520"/>
                  <a:gd name="connsiteY9" fmla="*/ 750077 h 2979185"/>
                  <a:gd name="connsiteX10" fmla="*/ 1221898 w 1414520"/>
                  <a:gd name="connsiteY10" fmla="*/ 1551189 h 2979185"/>
                  <a:gd name="connsiteX11" fmla="*/ 1262358 w 1414520"/>
                  <a:gd name="connsiteY11" fmla="*/ 1747097 h 2979185"/>
                  <a:gd name="connsiteX12" fmla="*/ 1294726 w 1414520"/>
                  <a:gd name="connsiteY12" fmla="*/ 2036711 h 2979185"/>
                  <a:gd name="connsiteX13" fmla="*/ 1338427 w 1414520"/>
                  <a:gd name="connsiteY13" fmla="*/ 2332987 h 2979185"/>
                  <a:gd name="connsiteX14" fmla="*/ 1367554 w 1414520"/>
                  <a:gd name="connsiteY14" fmla="*/ 2554601 h 2979185"/>
                  <a:gd name="connsiteX15" fmla="*/ 1346565 w 1414520"/>
                  <a:gd name="connsiteY15" fmla="*/ 2663016 h 2979185"/>
                  <a:gd name="connsiteX16" fmla="*/ 1398312 w 1414520"/>
                  <a:gd name="connsiteY16" fmla="*/ 2797474 h 2979185"/>
                  <a:gd name="connsiteX17" fmla="*/ 1414520 w 1414520"/>
                  <a:gd name="connsiteY17" fmla="*/ 2910651 h 2979185"/>
                  <a:gd name="connsiteX18" fmla="*/ 1009986 w 1414520"/>
                  <a:gd name="connsiteY18" fmla="*/ 2828211 h 2979185"/>
                  <a:gd name="connsiteX19" fmla="*/ 940330 w 1414520"/>
                  <a:gd name="connsiteY19" fmla="*/ 2580488 h 2979185"/>
                  <a:gd name="connsiteX20" fmla="*/ 838376 w 1414520"/>
                  <a:gd name="connsiteY20" fmla="*/ 1947699 h 2979185"/>
                  <a:gd name="connsiteX21" fmla="*/ 801112 w 1414520"/>
                  <a:gd name="connsiteY21" fmla="*/ 1632109 h 2979185"/>
                  <a:gd name="connsiteX22" fmla="*/ 750929 w 1414520"/>
                  <a:gd name="connsiteY22" fmla="*/ 1212955 h 2979185"/>
                  <a:gd name="connsiteX23" fmla="*/ 695915 w 1414520"/>
                  <a:gd name="connsiteY23" fmla="*/ 895734 h 2979185"/>
                  <a:gd name="connsiteX24" fmla="*/ 667680 w 1414520"/>
                  <a:gd name="connsiteY24" fmla="*/ 1081852 h 2979185"/>
                  <a:gd name="connsiteX25" fmla="*/ 602031 w 1414520"/>
                  <a:gd name="connsiteY25" fmla="*/ 1669237 h 2979185"/>
                  <a:gd name="connsiteX26" fmla="*/ 597850 w 1414520"/>
                  <a:gd name="connsiteY26" fmla="*/ 2132410 h 2979185"/>
                  <a:gd name="connsiteX27" fmla="*/ 637531 w 1414520"/>
                  <a:gd name="connsiteY27" fmla="*/ 2510114 h 2979185"/>
                  <a:gd name="connsiteX28" fmla="*/ 614682 w 1414520"/>
                  <a:gd name="connsiteY28" fmla="*/ 2809553 h 2979185"/>
                  <a:gd name="connsiteX29" fmla="*/ 575008 w 1414520"/>
                  <a:gd name="connsiteY29" fmla="*/ 2910800 h 2979185"/>
                  <a:gd name="connsiteX30" fmla="*/ 286866 w 1414520"/>
                  <a:gd name="connsiteY30" fmla="*/ 2944902 h 2979185"/>
                  <a:gd name="connsiteX31" fmla="*/ 237481 w 1414520"/>
                  <a:gd name="connsiteY31" fmla="*/ 2863879 h 2979185"/>
                  <a:gd name="connsiteX32" fmla="*/ 226577 w 1414520"/>
                  <a:gd name="connsiteY32" fmla="*/ 2077171 h 2979185"/>
                  <a:gd name="connsiteX33" fmla="*/ 161841 w 1414520"/>
                  <a:gd name="connsiteY33" fmla="*/ 1818226 h 2979185"/>
                  <a:gd name="connsiteX34" fmla="*/ 137565 w 1414520"/>
                  <a:gd name="connsiteY34" fmla="*/ 1583557 h 2979185"/>
                  <a:gd name="connsiteX35" fmla="*/ 80921 w 1414520"/>
                  <a:gd name="connsiteY35" fmla="*/ 733893 h 2979185"/>
                  <a:gd name="connsiteX36" fmla="*/ 8092 w 1414520"/>
                  <a:gd name="connsiteY36" fmla="*/ 474948 h 2979185"/>
                  <a:gd name="connsiteX37" fmla="*/ 32369 w 1414520"/>
                  <a:gd name="connsiteY37" fmla="*/ 345475 h 2979185"/>
                  <a:gd name="connsiteX38" fmla="*/ 178025 w 1414520"/>
                  <a:gd name="connsiteY38" fmla="*/ 5610 h 2979185"/>
                  <a:gd name="connsiteX0" fmla="*/ 178025 w 1414520"/>
                  <a:gd name="connsiteY0" fmla="*/ 5610 h 2979185"/>
                  <a:gd name="connsiteX1" fmla="*/ 299406 w 1414520"/>
                  <a:gd name="connsiteY1" fmla="*/ 78438 h 2979185"/>
                  <a:gd name="connsiteX2" fmla="*/ 493615 w 1414520"/>
                  <a:gd name="connsiteY2" fmla="*/ 126990 h 2979185"/>
                  <a:gd name="connsiteX3" fmla="*/ 687823 w 1414520"/>
                  <a:gd name="connsiteY3" fmla="*/ 143174 h 2979185"/>
                  <a:gd name="connsiteX4" fmla="*/ 865848 w 1414520"/>
                  <a:gd name="connsiteY4" fmla="*/ 110806 h 2979185"/>
                  <a:gd name="connsiteX5" fmla="*/ 946769 w 1414520"/>
                  <a:gd name="connsiteY5" fmla="*/ 62254 h 2979185"/>
                  <a:gd name="connsiteX6" fmla="*/ 1181438 w 1414520"/>
                  <a:gd name="connsiteY6" fmla="*/ 264555 h 2979185"/>
                  <a:gd name="connsiteX7" fmla="*/ 1351370 w 1414520"/>
                  <a:gd name="connsiteY7" fmla="*/ 385935 h 2979185"/>
                  <a:gd name="connsiteX8" fmla="*/ 1327094 w 1414520"/>
                  <a:gd name="connsiteY8" fmla="*/ 491132 h 2979185"/>
                  <a:gd name="connsiteX9" fmla="*/ 1246174 w 1414520"/>
                  <a:gd name="connsiteY9" fmla="*/ 750077 h 2979185"/>
                  <a:gd name="connsiteX10" fmla="*/ 1221898 w 1414520"/>
                  <a:gd name="connsiteY10" fmla="*/ 1551189 h 2979185"/>
                  <a:gd name="connsiteX11" fmla="*/ 1262358 w 1414520"/>
                  <a:gd name="connsiteY11" fmla="*/ 1747097 h 2979185"/>
                  <a:gd name="connsiteX12" fmla="*/ 1294726 w 1414520"/>
                  <a:gd name="connsiteY12" fmla="*/ 2036711 h 2979185"/>
                  <a:gd name="connsiteX13" fmla="*/ 1338427 w 1414520"/>
                  <a:gd name="connsiteY13" fmla="*/ 2332987 h 2979185"/>
                  <a:gd name="connsiteX14" fmla="*/ 1367554 w 1414520"/>
                  <a:gd name="connsiteY14" fmla="*/ 2554601 h 2979185"/>
                  <a:gd name="connsiteX15" fmla="*/ 1346565 w 1414520"/>
                  <a:gd name="connsiteY15" fmla="*/ 2663016 h 2979185"/>
                  <a:gd name="connsiteX16" fmla="*/ 1398312 w 1414520"/>
                  <a:gd name="connsiteY16" fmla="*/ 2797474 h 2979185"/>
                  <a:gd name="connsiteX17" fmla="*/ 1414520 w 1414520"/>
                  <a:gd name="connsiteY17" fmla="*/ 2910651 h 2979185"/>
                  <a:gd name="connsiteX18" fmla="*/ 1009986 w 1414520"/>
                  <a:gd name="connsiteY18" fmla="*/ 2828211 h 2979185"/>
                  <a:gd name="connsiteX19" fmla="*/ 940330 w 1414520"/>
                  <a:gd name="connsiteY19" fmla="*/ 2580488 h 2979185"/>
                  <a:gd name="connsiteX20" fmla="*/ 838376 w 1414520"/>
                  <a:gd name="connsiteY20" fmla="*/ 1947699 h 2979185"/>
                  <a:gd name="connsiteX21" fmla="*/ 801112 w 1414520"/>
                  <a:gd name="connsiteY21" fmla="*/ 1632109 h 2979185"/>
                  <a:gd name="connsiteX22" fmla="*/ 750929 w 1414520"/>
                  <a:gd name="connsiteY22" fmla="*/ 1212955 h 2979185"/>
                  <a:gd name="connsiteX23" fmla="*/ 695915 w 1414520"/>
                  <a:gd name="connsiteY23" fmla="*/ 895734 h 2979185"/>
                  <a:gd name="connsiteX24" fmla="*/ 667680 w 1414520"/>
                  <a:gd name="connsiteY24" fmla="*/ 1081852 h 2979185"/>
                  <a:gd name="connsiteX25" fmla="*/ 602031 w 1414520"/>
                  <a:gd name="connsiteY25" fmla="*/ 1669237 h 2979185"/>
                  <a:gd name="connsiteX26" fmla="*/ 637531 w 1414520"/>
                  <a:gd name="connsiteY26" fmla="*/ 2510114 h 2979185"/>
                  <a:gd name="connsiteX27" fmla="*/ 614682 w 1414520"/>
                  <a:gd name="connsiteY27" fmla="*/ 2809553 h 2979185"/>
                  <a:gd name="connsiteX28" fmla="*/ 575008 w 1414520"/>
                  <a:gd name="connsiteY28" fmla="*/ 2910800 h 2979185"/>
                  <a:gd name="connsiteX29" fmla="*/ 286866 w 1414520"/>
                  <a:gd name="connsiteY29" fmla="*/ 2944902 h 2979185"/>
                  <a:gd name="connsiteX30" fmla="*/ 237481 w 1414520"/>
                  <a:gd name="connsiteY30" fmla="*/ 2863879 h 2979185"/>
                  <a:gd name="connsiteX31" fmla="*/ 226577 w 1414520"/>
                  <a:gd name="connsiteY31" fmla="*/ 2077171 h 2979185"/>
                  <a:gd name="connsiteX32" fmla="*/ 161841 w 1414520"/>
                  <a:gd name="connsiteY32" fmla="*/ 1818226 h 2979185"/>
                  <a:gd name="connsiteX33" fmla="*/ 137565 w 1414520"/>
                  <a:gd name="connsiteY33" fmla="*/ 1583557 h 2979185"/>
                  <a:gd name="connsiteX34" fmla="*/ 80921 w 1414520"/>
                  <a:gd name="connsiteY34" fmla="*/ 733893 h 2979185"/>
                  <a:gd name="connsiteX35" fmla="*/ 8092 w 1414520"/>
                  <a:gd name="connsiteY35" fmla="*/ 474948 h 2979185"/>
                  <a:gd name="connsiteX36" fmla="*/ 32369 w 1414520"/>
                  <a:gd name="connsiteY36" fmla="*/ 345475 h 2979185"/>
                  <a:gd name="connsiteX37" fmla="*/ 178025 w 1414520"/>
                  <a:gd name="connsiteY37" fmla="*/ 5610 h 2979185"/>
                  <a:gd name="connsiteX0" fmla="*/ 178025 w 1414520"/>
                  <a:gd name="connsiteY0" fmla="*/ 5610 h 2979185"/>
                  <a:gd name="connsiteX1" fmla="*/ 299406 w 1414520"/>
                  <a:gd name="connsiteY1" fmla="*/ 78438 h 2979185"/>
                  <a:gd name="connsiteX2" fmla="*/ 493615 w 1414520"/>
                  <a:gd name="connsiteY2" fmla="*/ 126990 h 2979185"/>
                  <a:gd name="connsiteX3" fmla="*/ 687823 w 1414520"/>
                  <a:gd name="connsiteY3" fmla="*/ 143174 h 2979185"/>
                  <a:gd name="connsiteX4" fmla="*/ 865848 w 1414520"/>
                  <a:gd name="connsiteY4" fmla="*/ 110806 h 2979185"/>
                  <a:gd name="connsiteX5" fmla="*/ 946769 w 1414520"/>
                  <a:gd name="connsiteY5" fmla="*/ 62254 h 2979185"/>
                  <a:gd name="connsiteX6" fmla="*/ 1181438 w 1414520"/>
                  <a:gd name="connsiteY6" fmla="*/ 264555 h 2979185"/>
                  <a:gd name="connsiteX7" fmla="*/ 1351370 w 1414520"/>
                  <a:gd name="connsiteY7" fmla="*/ 385935 h 2979185"/>
                  <a:gd name="connsiteX8" fmla="*/ 1327094 w 1414520"/>
                  <a:gd name="connsiteY8" fmla="*/ 491132 h 2979185"/>
                  <a:gd name="connsiteX9" fmla="*/ 1246174 w 1414520"/>
                  <a:gd name="connsiteY9" fmla="*/ 750077 h 2979185"/>
                  <a:gd name="connsiteX10" fmla="*/ 1221898 w 1414520"/>
                  <a:gd name="connsiteY10" fmla="*/ 1551189 h 2979185"/>
                  <a:gd name="connsiteX11" fmla="*/ 1262358 w 1414520"/>
                  <a:gd name="connsiteY11" fmla="*/ 1747097 h 2979185"/>
                  <a:gd name="connsiteX12" fmla="*/ 1294726 w 1414520"/>
                  <a:gd name="connsiteY12" fmla="*/ 2036711 h 2979185"/>
                  <a:gd name="connsiteX13" fmla="*/ 1338427 w 1414520"/>
                  <a:gd name="connsiteY13" fmla="*/ 2332987 h 2979185"/>
                  <a:gd name="connsiteX14" fmla="*/ 1367554 w 1414520"/>
                  <a:gd name="connsiteY14" fmla="*/ 2554601 h 2979185"/>
                  <a:gd name="connsiteX15" fmla="*/ 1346565 w 1414520"/>
                  <a:gd name="connsiteY15" fmla="*/ 2663016 h 2979185"/>
                  <a:gd name="connsiteX16" fmla="*/ 1398312 w 1414520"/>
                  <a:gd name="connsiteY16" fmla="*/ 2797474 h 2979185"/>
                  <a:gd name="connsiteX17" fmla="*/ 1414520 w 1414520"/>
                  <a:gd name="connsiteY17" fmla="*/ 2910651 h 2979185"/>
                  <a:gd name="connsiteX18" fmla="*/ 733122 w 1414520"/>
                  <a:gd name="connsiteY18" fmla="*/ 2833685 h 2979185"/>
                  <a:gd name="connsiteX19" fmla="*/ 940330 w 1414520"/>
                  <a:gd name="connsiteY19" fmla="*/ 2580488 h 2979185"/>
                  <a:gd name="connsiteX20" fmla="*/ 838376 w 1414520"/>
                  <a:gd name="connsiteY20" fmla="*/ 1947699 h 2979185"/>
                  <a:gd name="connsiteX21" fmla="*/ 801112 w 1414520"/>
                  <a:gd name="connsiteY21" fmla="*/ 1632109 h 2979185"/>
                  <a:gd name="connsiteX22" fmla="*/ 750929 w 1414520"/>
                  <a:gd name="connsiteY22" fmla="*/ 1212955 h 2979185"/>
                  <a:gd name="connsiteX23" fmla="*/ 695915 w 1414520"/>
                  <a:gd name="connsiteY23" fmla="*/ 895734 h 2979185"/>
                  <a:gd name="connsiteX24" fmla="*/ 667680 w 1414520"/>
                  <a:gd name="connsiteY24" fmla="*/ 1081852 h 2979185"/>
                  <a:gd name="connsiteX25" fmla="*/ 602031 w 1414520"/>
                  <a:gd name="connsiteY25" fmla="*/ 1669237 h 2979185"/>
                  <a:gd name="connsiteX26" fmla="*/ 637531 w 1414520"/>
                  <a:gd name="connsiteY26" fmla="*/ 2510114 h 2979185"/>
                  <a:gd name="connsiteX27" fmla="*/ 614682 w 1414520"/>
                  <a:gd name="connsiteY27" fmla="*/ 2809553 h 2979185"/>
                  <a:gd name="connsiteX28" fmla="*/ 575008 w 1414520"/>
                  <a:gd name="connsiteY28" fmla="*/ 2910800 h 2979185"/>
                  <a:gd name="connsiteX29" fmla="*/ 286866 w 1414520"/>
                  <a:gd name="connsiteY29" fmla="*/ 2944902 h 2979185"/>
                  <a:gd name="connsiteX30" fmla="*/ 237481 w 1414520"/>
                  <a:gd name="connsiteY30" fmla="*/ 2863879 h 2979185"/>
                  <a:gd name="connsiteX31" fmla="*/ 226577 w 1414520"/>
                  <a:gd name="connsiteY31" fmla="*/ 2077171 h 2979185"/>
                  <a:gd name="connsiteX32" fmla="*/ 161841 w 1414520"/>
                  <a:gd name="connsiteY32" fmla="*/ 1818226 h 2979185"/>
                  <a:gd name="connsiteX33" fmla="*/ 137565 w 1414520"/>
                  <a:gd name="connsiteY33" fmla="*/ 1583557 h 2979185"/>
                  <a:gd name="connsiteX34" fmla="*/ 80921 w 1414520"/>
                  <a:gd name="connsiteY34" fmla="*/ 733893 h 2979185"/>
                  <a:gd name="connsiteX35" fmla="*/ 8092 w 1414520"/>
                  <a:gd name="connsiteY35" fmla="*/ 474948 h 2979185"/>
                  <a:gd name="connsiteX36" fmla="*/ 32369 w 1414520"/>
                  <a:gd name="connsiteY36" fmla="*/ 345475 h 2979185"/>
                  <a:gd name="connsiteX37" fmla="*/ 178025 w 1414520"/>
                  <a:gd name="connsiteY37" fmla="*/ 5610 h 2979185"/>
                  <a:gd name="connsiteX0" fmla="*/ 178025 w 1414520"/>
                  <a:gd name="connsiteY0" fmla="*/ 5610 h 2979185"/>
                  <a:gd name="connsiteX1" fmla="*/ 299406 w 1414520"/>
                  <a:gd name="connsiteY1" fmla="*/ 78438 h 2979185"/>
                  <a:gd name="connsiteX2" fmla="*/ 493615 w 1414520"/>
                  <a:gd name="connsiteY2" fmla="*/ 126990 h 2979185"/>
                  <a:gd name="connsiteX3" fmla="*/ 687823 w 1414520"/>
                  <a:gd name="connsiteY3" fmla="*/ 143174 h 2979185"/>
                  <a:gd name="connsiteX4" fmla="*/ 865848 w 1414520"/>
                  <a:gd name="connsiteY4" fmla="*/ 110806 h 2979185"/>
                  <a:gd name="connsiteX5" fmla="*/ 946769 w 1414520"/>
                  <a:gd name="connsiteY5" fmla="*/ 62254 h 2979185"/>
                  <a:gd name="connsiteX6" fmla="*/ 1181438 w 1414520"/>
                  <a:gd name="connsiteY6" fmla="*/ 264555 h 2979185"/>
                  <a:gd name="connsiteX7" fmla="*/ 1351370 w 1414520"/>
                  <a:gd name="connsiteY7" fmla="*/ 385935 h 2979185"/>
                  <a:gd name="connsiteX8" fmla="*/ 1327094 w 1414520"/>
                  <a:gd name="connsiteY8" fmla="*/ 491132 h 2979185"/>
                  <a:gd name="connsiteX9" fmla="*/ 1246174 w 1414520"/>
                  <a:gd name="connsiteY9" fmla="*/ 750077 h 2979185"/>
                  <a:gd name="connsiteX10" fmla="*/ 1221898 w 1414520"/>
                  <a:gd name="connsiteY10" fmla="*/ 1551189 h 2979185"/>
                  <a:gd name="connsiteX11" fmla="*/ 1262358 w 1414520"/>
                  <a:gd name="connsiteY11" fmla="*/ 1747097 h 2979185"/>
                  <a:gd name="connsiteX12" fmla="*/ 1294726 w 1414520"/>
                  <a:gd name="connsiteY12" fmla="*/ 2036711 h 2979185"/>
                  <a:gd name="connsiteX13" fmla="*/ 1338427 w 1414520"/>
                  <a:gd name="connsiteY13" fmla="*/ 2332987 h 2979185"/>
                  <a:gd name="connsiteX14" fmla="*/ 1367554 w 1414520"/>
                  <a:gd name="connsiteY14" fmla="*/ 2554601 h 2979185"/>
                  <a:gd name="connsiteX15" fmla="*/ 1346565 w 1414520"/>
                  <a:gd name="connsiteY15" fmla="*/ 2663016 h 2979185"/>
                  <a:gd name="connsiteX16" fmla="*/ 1398312 w 1414520"/>
                  <a:gd name="connsiteY16" fmla="*/ 2797474 h 2979185"/>
                  <a:gd name="connsiteX17" fmla="*/ 1414520 w 1414520"/>
                  <a:gd name="connsiteY17" fmla="*/ 2910651 h 2979185"/>
                  <a:gd name="connsiteX18" fmla="*/ 733122 w 1414520"/>
                  <a:gd name="connsiteY18" fmla="*/ 2833685 h 2979185"/>
                  <a:gd name="connsiteX19" fmla="*/ 769500 w 1414520"/>
                  <a:gd name="connsiteY19" fmla="*/ 2580487 h 2979185"/>
                  <a:gd name="connsiteX20" fmla="*/ 838376 w 1414520"/>
                  <a:gd name="connsiteY20" fmla="*/ 1947699 h 2979185"/>
                  <a:gd name="connsiteX21" fmla="*/ 801112 w 1414520"/>
                  <a:gd name="connsiteY21" fmla="*/ 1632109 h 2979185"/>
                  <a:gd name="connsiteX22" fmla="*/ 750929 w 1414520"/>
                  <a:gd name="connsiteY22" fmla="*/ 1212955 h 2979185"/>
                  <a:gd name="connsiteX23" fmla="*/ 695915 w 1414520"/>
                  <a:gd name="connsiteY23" fmla="*/ 895734 h 2979185"/>
                  <a:gd name="connsiteX24" fmla="*/ 667680 w 1414520"/>
                  <a:gd name="connsiteY24" fmla="*/ 1081852 h 2979185"/>
                  <a:gd name="connsiteX25" fmla="*/ 602031 w 1414520"/>
                  <a:gd name="connsiteY25" fmla="*/ 1669237 h 2979185"/>
                  <a:gd name="connsiteX26" fmla="*/ 637531 w 1414520"/>
                  <a:gd name="connsiteY26" fmla="*/ 2510114 h 2979185"/>
                  <a:gd name="connsiteX27" fmla="*/ 614682 w 1414520"/>
                  <a:gd name="connsiteY27" fmla="*/ 2809553 h 2979185"/>
                  <a:gd name="connsiteX28" fmla="*/ 575008 w 1414520"/>
                  <a:gd name="connsiteY28" fmla="*/ 2910800 h 2979185"/>
                  <a:gd name="connsiteX29" fmla="*/ 286866 w 1414520"/>
                  <a:gd name="connsiteY29" fmla="*/ 2944902 h 2979185"/>
                  <a:gd name="connsiteX30" fmla="*/ 237481 w 1414520"/>
                  <a:gd name="connsiteY30" fmla="*/ 2863879 h 2979185"/>
                  <a:gd name="connsiteX31" fmla="*/ 226577 w 1414520"/>
                  <a:gd name="connsiteY31" fmla="*/ 2077171 h 2979185"/>
                  <a:gd name="connsiteX32" fmla="*/ 161841 w 1414520"/>
                  <a:gd name="connsiteY32" fmla="*/ 1818226 h 2979185"/>
                  <a:gd name="connsiteX33" fmla="*/ 137565 w 1414520"/>
                  <a:gd name="connsiteY33" fmla="*/ 1583557 h 2979185"/>
                  <a:gd name="connsiteX34" fmla="*/ 80921 w 1414520"/>
                  <a:gd name="connsiteY34" fmla="*/ 733893 h 2979185"/>
                  <a:gd name="connsiteX35" fmla="*/ 8092 w 1414520"/>
                  <a:gd name="connsiteY35" fmla="*/ 474948 h 2979185"/>
                  <a:gd name="connsiteX36" fmla="*/ 32369 w 1414520"/>
                  <a:gd name="connsiteY36" fmla="*/ 345475 h 2979185"/>
                  <a:gd name="connsiteX37" fmla="*/ 178025 w 1414520"/>
                  <a:gd name="connsiteY37" fmla="*/ 5610 h 2979185"/>
                  <a:gd name="connsiteX0" fmla="*/ 178025 w 1414520"/>
                  <a:gd name="connsiteY0" fmla="*/ 5610 h 2979185"/>
                  <a:gd name="connsiteX1" fmla="*/ 299406 w 1414520"/>
                  <a:gd name="connsiteY1" fmla="*/ 78438 h 2979185"/>
                  <a:gd name="connsiteX2" fmla="*/ 493615 w 1414520"/>
                  <a:gd name="connsiteY2" fmla="*/ 126990 h 2979185"/>
                  <a:gd name="connsiteX3" fmla="*/ 687823 w 1414520"/>
                  <a:gd name="connsiteY3" fmla="*/ 143174 h 2979185"/>
                  <a:gd name="connsiteX4" fmla="*/ 865848 w 1414520"/>
                  <a:gd name="connsiteY4" fmla="*/ 110806 h 2979185"/>
                  <a:gd name="connsiteX5" fmla="*/ 946769 w 1414520"/>
                  <a:gd name="connsiteY5" fmla="*/ 62254 h 2979185"/>
                  <a:gd name="connsiteX6" fmla="*/ 1181438 w 1414520"/>
                  <a:gd name="connsiteY6" fmla="*/ 264555 h 2979185"/>
                  <a:gd name="connsiteX7" fmla="*/ 1351370 w 1414520"/>
                  <a:gd name="connsiteY7" fmla="*/ 385935 h 2979185"/>
                  <a:gd name="connsiteX8" fmla="*/ 1327094 w 1414520"/>
                  <a:gd name="connsiteY8" fmla="*/ 491132 h 2979185"/>
                  <a:gd name="connsiteX9" fmla="*/ 1246174 w 1414520"/>
                  <a:gd name="connsiteY9" fmla="*/ 750077 h 2979185"/>
                  <a:gd name="connsiteX10" fmla="*/ 1221898 w 1414520"/>
                  <a:gd name="connsiteY10" fmla="*/ 1551189 h 2979185"/>
                  <a:gd name="connsiteX11" fmla="*/ 1262358 w 1414520"/>
                  <a:gd name="connsiteY11" fmla="*/ 1747097 h 2979185"/>
                  <a:gd name="connsiteX12" fmla="*/ 1294726 w 1414520"/>
                  <a:gd name="connsiteY12" fmla="*/ 2036711 h 2979185"/>
                  <a:gd name="connsiteX13" fmla="*/ 1338427 w 1414520"/>
                  <a:gd name="connsiteY13" fmla="*/ 2332987 h 2979185"/>
                  <a:gd name="connsiteX14" fmla="*/ 1367554 w 1414520"/>
                  <a:gd name="connsiteY14" fmla="*/ 2554601 h 2979185"/>
                  <a:gd name="connsiteX15" fmla="*/ 1346565 w 1414520"/>
                  <a:gd name="connsiteY15" fmla="*/ 2663016 h 2979185"/>
                  <a:gd name="connsiteX16" fmla="*/ 1398312 w 1414520"/>
                  <a:gd name="connsiteY16" fmla="*/ 2797474 h 2979185"/>
                  <a:gd name="connsiteX17" fmla="*/ 1414520 w 1414520"/>
                  <a:gd name="connsiteY17" fmla="*/ 2910651 h 2979185"/>
                  <a:gd name="connsiteX18" fmla="*/ 733122 w 1414520"/>
                  <a:gd name="connsiteY18" fmla="*/ 2833685 h 2979185"/>
                  <a:gd name="connsiteX19" fmla="*/ 769500 w 1414520"/>
                  <a:gd name="connsiteY19" fmla="*/ 2580487 h 2979185"/>
                  <a:gd name="connsiteX20" fmla="*/ 773578 w 1414520"/>
                  <a:gd name="connsiteY20" fmla="*/ 1953175 h 2979185"/>
                  <a:gd name="connsiteX21" fmla="*/ 801112 w 1414520"/>
                  <a:gd name="connsiteY21" fmla="*/ 1632109 h 2979185"/>
                  <a:gd name="connsiteX22" fmla="*/ 750929 w 1414520"/>
                  <a:gd name="connsiteY22" fmla="*/ 1212955 h 2979185"/>
                  <a:gd name="connsiteX23" fmla="*/ 695915 w 1414520"/>
                  <a:gd name="connsiteY23" fmla="*/ 895734 h 2979185"/>
                  <a:gd name="connsiteX24" fmla="*/ 667680 w 1414520"/>
                  <a:gd name="connsiteY24" fmla="*/ 1081852 h 2979185"/>
                  <a:gd name="connsiteX25" fmla="*/ 602031 w 1414520"/>
                  <a:gd name="connsiteY25" fmla="*/ 1669237 h 2979185"/>
                  <a:gd name="connsiteX26" fmla="*/ 637531 w 1414520"/>
                  <a:gd name="connsiteY26" fmla="*/ 2510114 h 2979185"/>
                  <a:gd name="connsiteX27" fmla="*/ 614682 w 1414520"/>
                  <a:gd name="connsiteY27" fmla="*/ 2809553 h 2979185"/>
                  <a:gd name="connsiteX28" fmla="*/ 575008 w 1414520"/>
                  <a:gd name="connsiteY28" fmla="*/ 2910800 h 2979185"/>
                  <a:gd name="connsiteX29" fmla="*/ 286866 w 1414520"/>
                  <a:gd name="connsiteY29" fmla="*/ 2944902 h 2979185"/>
                  <a:gd name="connsiteX30" fmla="*/ 237481 w 1414520"/>
                  <a:gd name="connsiteY30" fmla="*/ 2863879 h 2979185"/>
                  <a:gd name="connsiteX31" fmla="*/ 226577 w 1414520"/>
                  <a:gd name="connsiteY31" fmla="*/ 2077171 h 2979185"/>
                  <a:gd name="connsiteX32" fmla="*/ 161841 w 1414520"/>
                  <a:gd name="connsiteY32" fmla="*/ 1818226 h 2979185"/>
                  <a:gd name="connsiteX33" fmla="*/ 137565 w 1414520"/>
                  <a:gd name="connsiteY33" fmla="*/ 1583557 h 2979185"/>
                  <a:gd name="connsiteX34" fmla="*/ 80921 w 1414520"/>
                  <a:gd name="connsiteY34" fmla="*/ 733893 h 2979185"/>
                  <a:gd name="connsiteX35" fmla="*/ 8092 w 1414520"/>
                  <a:gd name="connsiteY35" fmla="*/ 474948 h 2979185"/>
                  <a:gd name="connsiteX36" fmla="*/ 32369 w 1414520"/>
                  <a:gd name="connsiteY36" fmla="*/ 345475 h 2979185"/>
                  <a:gd name="connsiteX37" fmla="*/ 178025 w 1414520"/>
                  <a:gd name="connsiteY37" fmla="*/ 5610 h 2979185"/>
                  <a:gd name="connsiteX0" fmla="*/ 178025 w 1414520"/>
                  <a:gd name="connsiteY0" fmla="*/ 5610 h 2979185"/>
                  <a:gd name="connsiteX1" fmla="*/ 299406 w 1414520"/>
                  <a:gd name="connsiteY1" fmla="*/ 78438 h 2979185"/>
                  <a:gd name="connsiteX2" fmla="*/ 493615 w 1414520"/>
                  <a:gd name="connsiteY2" fmla="*/ 126990 h 2979185"/>
                  <a:gd name="connsiteX3" fmla="*/ 687823 w 1414520"/>
                  <a:gd name="connsiteY3" fmla="*/ 143174 h 2979185"/>
                  <a:gd name="connsiteX4" fmla="*/ 865848 w 1414520"/>
                  <a:gd name="connsiteY4" fmla="*/ 110806 h 2979185"/>
                  <a:gd name="connsiteX5" fmla="*/ 946769 w 1414520"/>
                  <a:gd name="connsiteY5" fmla="*/ 62254 h 2979185"/>
                  <a:gd name="connsiteX6" fmla="*/ 1181438 w 1414520"/>
                  <a:gd name="connsiteY6" fmla="*/ 264555 h 2979185"/>
                  <a:gd name="connsiteX7" fmla="*/ 1351370 w 1414520"/>
                  <a:gd name="connsiteY7" fmla="*/ 385935 h 2979185"/>
                  <a:gd name="connsiteX8" fmla="*/ 1327094 w 1414520"/>
                  <a:gd name="connsiteY8" fmla="*/ 491132 h 2979185"/>
                  <a:gd name="connsiteX9" fmla="*/ 1246174 w 1414520"/>
                  <a:gd name="connsiteY9" fmla="*/ 750077 h 2979185"/>
                  <a:gd name="connsiteX10" fmla="*/ 1221898 w 1414520"/>
                  <a:gd name="connsiteY10" fmla="*/ 1551189 h 2979185"/>
                  <a:gd name="connsiteX11" fmla="*/ 1262358 w 1414520"/>
                  <a:gd name="connsiteY11" fmla="*/ 1747097 h 2979185"/>
                  <a:gd name="connsiteX12" fmla="*/ 1294726 w 1414520"/>
                  <a:gd name="connsiteY12" fmla="*/ 2036711 h 2979185"/>
                  <a:gd name="connsiteX13" fmla="*/ 1338427 w 1414520"/>
                  <a:gd name="connsiteY13" fmla="*/ 2332987 h 2979185"/>
                  <a:gd name="connsiteX14" fmla="*/ 1367554 w 1414520"/>
                  <a:gd name="connsiteY14" fmla="*/ 2554601 h 2979185"/>
                  <a:gd name="connsiteX15" fmla="*/ 1346565 w 1414520"/>
                  <a:gd name="connsiteY15" fmla="*/ 2663016 h 2979185"/>
                  <a:gd name="connsiteX16" fmla="*/ 1398312 w 1414520"/>
                  <a:gd name="connsiteY16" fmla="*/ 2797474 h 2979185"/>
                  <a:gd name="connsiteX17" fmla="*/ 1414520 w 1414520"/>
                  <a:gd name="connsiteY17" fmla="*/ 2910651 h 2979185"/>
                  <a:gd name="connsiteX18" fmla="*/ 733122 w 1414520"/>
                  <a:gd name="connsiteY18" fmla="*/ 2833685 h 2979185"/>
                  <a:gd name="connsiteX19" fmla="*/ 769500 w 1414520"/>
                  <a:gd name="connsiteY19" fmla="*/ 2580487 h 2979185"/>
                  <a:gd name="connsiteX20" fmla="*/ 773578 w 1414520"/>
                  <a:gd name="connsiteY20" fmla="*/ 1953175 h 2979185"/>
                  <a:gd name="connsiteX21" fmla="*/ 753987 w 1414520"/>
                  <a:gd name="connsiteY21" fmla="*/ 1632109 h 2979185"/>
                  <a:gd name="connsiteX22" fmla="*/ 750929 w 1414520"/>
                  <a:gd name="connsiteY22" fmla="*/ 1212955 h 2979185"/>
                  <a:gd name="connsiteX23" fmla="*/ 695915 w 1414520"/>
                  <a:gd name="connsiteY23" fmla="*/ 895734 h 2979185"/>
                  <a:gd name="connsiteX24" fmla="*/ 667680 w 1414520"/>
                  <a:gd name="connsiteY24" fmla="*/ 1081852 h 2979185"/>
                  <a:gd name="connsiteX25" fmla="*/ 602031 w 1414520"/>
                  <a:gd name="connsiteY25" fmla="*/ 1669237 h 2979185"/>
                  <a:gd name="connsiteX26" fmla="*/ 637531 w 1414520"/>
                  <a:gd name="connsiteY26" fmla="*/ 2510114 h 2979185"/>
                  <a:gd name="connsiteX27" fmla="*/ 614682 w 1414520"/>
                  <a:gd name="connsiteY27" fmla="*/ 2809553 h 2979185"/>
                  <a:gd name="connsiteX28" fmla="*/ 575008 w 1414520"/>
                  <a:gd name="connsiteY28" fmla="*/ 2910800 h 2979185"/>
                  <a:gd name="connsiteX29" fmla="*/ 286866 w 1414520"/>
                  <a:gd name="connsiteY29" fmla="*/ 2944902 h 2979185"/>
                  <a:gd name="connsiteX30" fmla="*/ 237481 w 1414520"/>
                  <a:gd name="connsiteY30" fmla="*/ 2863879 h 2979185"/>
                  <a:gd name="connsiteX31" fmla="*/ 226577 w 1414520"/>
                  <a:gd name="connsiteY31" fmla="*/ 2077171 h 2979185"/>
                  <a:gd name="connsiteX32" fmla="*/ 161841 w 1414520"/>
                  <a:gd name="connsiteY32" fmla="*/ 1818226 h 2979185"/>
                  <a:gd name="connsiteX33" fmla="*/ 137565 w 1414520"/>
                  <a:gd name="connsiteY33" fmla="*/ 1583557 h 2979185"/>
                  <a:gd name="connsiteX34" fmla="*/ 80921 w 1414520"/>
                  <a:gd name="connsiteY34" fmla="*/ 733893 h 2979185"/>
                  <a:gd name="connsiteX35" fmla="*/ 8092 w 1414520"/>
                  <a:gd name="connsiteY35" fmla="*/ 474948 h 2979185"/>
                  <a:gd name="connsiteX36" fmla="*/ 32369 w 1414520"/>
                  <a:gd name="connsiteY36" fmla="*/ 345475 h 2979185"/>
                  <a:gd name="connsiteX37" fmla="*/ 178025 w 1414520"/>
                  <a:gd name="connsiteY37" fmla="*/ 5610 h 2979185"/>
                  <a:gd name="connsiteX0" fmla="*/ 178025 w 1414520"/>
                  <a:gd name="connsiteY0" fmla="*/ 5610 h 2979185"/>
                  <a:gd name="connsiteX1" fmla="*/ 299406 w 1414520"/>
                  <a:gd name="connsiteY1" fmla="*/ 78438 h 2979185"/>
                  <a:gd name="connsiteX2" fmla="*/ 493615 w 1414520"/>
                  <a:gd name="connsiteY2" fmla="*/ 126990 h 2979185"/>
                  <a:gd name="connsiteX3" fmla="*/ 687823 w 1414520"/>
                  <a:gd name="connsiteY3" fmla="*/ 143174 h 2979185"/>
                  <a:gd name="connsiteX4" fmla="*/ 865848 w 1414520"/>
                  <a:gd name="connsiteY4" fmla="*/ 110806 h 2979185"/>
                  <a:gd name="connsiteX5" fmla="*/ 946769 w 1414520"/>
                  <a:gd name="connsiteY5" fmla="*/ 62254 h 2979185"/>
                  <a:gd name="connsiteX6" fmla="*/ 1181438 w 1414520"/>
                  <a:gd name="connsiteY6" fmla="*/ 264555 h 2979185"/>
                  <a:gd name="connsiteX7" fmla="*/ 1351370 w 1414520"/>
                  <a:gd name="connsiteY7" fmla="*/ 385935 h 2979185"/>
                  <a:gd name="connsiteX8" fmla="*/ 1327094 w 1414520"/>
                  <a:gd name="connsiteY8" fmla="*/ 491132 h 2979185"/>
                  <a:gd name="connsiteX9" fmla="*/ 1246174 w 1414520"/>
                  <a:gd name="connsiteY9" fmla="*/ 750077 h 2979185"/>
                  <a:gd name="connsiteX10" fmla="*/ 1221898 w 1414520"/>
                  <a:gd name="connsiteY10" fmla="*/ 1551189 h 2979185"/>
                  <a:gd name="connsiteX11" fmla="*/ 1262358 w 1414520"/>
                  <a:gd name="connsiteY11" fmla="*/ 1747097 h 2979185"/>
                  <a:gd name="connsiteX12" fmla="*/ 1294726 w 1414520"/>
                  <a:gd name="connsiteY12" fmla="*/ 2036711 h 2979185"/>
                  <a:gd name="connsiteX13" fmla="*/ 1338427 w 1414520"/>
                  <a:gd name="connsiteY13" fmla="*/ 2332987 h 2979185"/>
                  <a:gd name="connsiteX14" fmla="*/ 1367554 w 1414520"/>
                  <a:gd name="connsiteY14" fmla="*/ 2554601 h 2979185"/>
                  <a:gd name="connsiteX15" fmla="*/ 1346565 w 1414520"/>
                  <a:gd name="connsiteY15" fmla="*/ 2663016 h 2979185"/>
                  <a:gd name="connsiteX16" fmla="*/ 1398312 w 1414520"/>
                  <a:gd name="connsiteY16" fmla="*/ 2797474 h 2979185"/>
                  <a:gd name="connsiteX17" fmla="*/ 1414520 w 1414520"/>
                  <a:gd name="connsiteY17" fmla="*/ 2910651 h 2979185"/>
                  <a:gd name="connsiteX18" fmla="*/ 733122 w 1414520"/>
                  <a:gd name="connsiteY18" fmla="*/ 2833685 h 2979185"/>
                  <a:gd name="connsiteX19" fmla="*/ 769500 w 1414520"/>
                  <a:gd name="connsiteY19" fmla="*/ 2580487 h 2979185"/>
                  <a:gd name="connsiteX20" fmla="*/ 773578 w 1414520"/>
                  <a:gd name="connsiteY20" fmla="*/ 1953175 h 2979185"/>
                  <a:gd name="connsiteX21" fmla="*/ 753987 w 1414520"/>
                  <a:gd name="connsiteY21" fmla="*/ 1632109 h 2979185"/>
                  <a:gd name="connsiteX22" fmla="*/ 721477 w 1414520"/>
                  <a:gd name="connsiteY22" fmla="*/ 1212956 h 2979185"/>
                  <a:gd name="connsiteX23" fmla="*/ 695915 w 1414520"/>
                  <a:gd name="connsiteY23" fmla="*/ 895734 h 2979185"/>
                  <a:gd name="connsiteX24" fmla="*/ 667680 w 1414520"/>
                  <a:gd name="connsiteY24" fmla="*/ 1081852 h 2979185"/>
                  <a:gd name="connsiteX25" fmla="*/ 602031 w 1414520"/>
                  <a:gd name="connsiteY25" fmla="*/ 1669237 h 2979185"/>
                  <a:gd name="connsiteX26" fmla="*/ 637531 w 1414520"/>
                  <a:gd name="connsiteY26" fmla="*/ 2510114 h 2979185"/>
                  <a:gd name="connsiteX27" fmla="*/ 614682 w 1414520"/>
                  <a:gd name="connsiteY27" fmla="*/ 2809553 h 2979185"/>
                  <a:gd name="connsiteX28" fmla="*/ 575008 w 1414520"/>
                  <a:gd name="connsiteY28" fmla="*/ 2910800 h 2979185"/>
                  <a:gd name="connsiteX29" fmla="*/ 286866 w 1414520"/>
                  <a:gd name="connsiteY29" fmla="*/ 2944902 h 2979185"/>
                  <a:gd name="connsiteX30" fmla="*/ 237481 w 1414520"/>
                  <a:gd name="connsiteY30" fmla="*/ 2863879 h 2979185"/>
                  <a:gd name="connsiteX31" fmla="*/ 226577 w 1414520"/>
                  <a:gd name="connsiteY31" fmla="*/ 2077171 h 2979185"/>
                  <a:gd name="connsiteX32" fmla="*/ 161841 w 1414520"/>
                  <a:gd name="connsiteY32" fmla="*/ 1818226 h 2979185"/>
                  <a:gd name="connsiteX33" fmla="*/ 137565 w 1414520"/>
                  <a:gd name="connsiteY33" fmla="*/ 1583557 h 2979185"/>
                  <a:gd name="connsiteX34" fmla="*/ 80921 w 1414520"/>
                  <a:gd name="connsiteY34" fmla="*/ 733893 h 2979185"/>
                  <a:gd name="connsiteX35" fmla="*/ 8092 w 1414520"/>
                  <a:gd name="connsiteY35" fmla="*/ 474948 h 2979185"/>
                  <a:gd name="connsiteX36" fmla="*/ 32369 w 1414520"/>
                  <a:gd name="connsiteY36" fmla="*/ 345475 h 2979185"/>
                  <a:gd name="connsiteX37" fmla="*/ 178025 w 1414520"/>
                  <a:gd name="connsiteY37" fmla="*/ 5610 h 2979185"/>
                  <a:gd name="connsiteX0" fmla="*/ 178025 w 1414520"/>
                  <a:gd name="connsiteY0" fmla="*/ 5610 h 2979185"/>
                  <a:gd name="connsiteX1" fmla="*/ 299406 w 1414520"/>
                  <a:gd name="connsiteY1" fmla="*/ 78438 h 2979185"/>
                  <a:gd name="connsiteX2" fmla="*/ 493615 w 1414520"/>
                  <a:gd name="connsiteY2" fmla="*/ 126990 h 2979185"/>
                  <a:gd name="connsiteX3" fmla="*/ 687823 w 1414520"/>
                  <a:gd name="connsiteY3" fmla="*/ 143174 h 2979185"/>
                  <a:gd name="connsiteX4" fmla="*/ 865848 w 1414520"/>
                  <a:gd name="connsiteY4" fmla="*/ 110806 h 2979185"/>
                  <a:gd name="connsiteX5" fmla="*/ 946769 w 1414520"/>
                  <a:gd name="connsiteY5" fmla="*/ 62254 h 2979185"/>
                  <a:gd name="connsiteX6" fmla="*/ 1181438 w 1414520"/>
                  <a:gd name="connsiteY6" fmla="*/ 264555 h 2979185"/>
                  <a:gd name="connsiteX7" fmla="*/ 1351370 w 1414520"/>
                  <a:gd name="connsiteY7" fmla="*/ 385935 h 2979185"/>
                  <a:gd name="connsiteX8" fmla="*/ 1327094 w 1414520"/>
                  <a:gd name="connsiteY8" fmla="*/ 491132 h 2979185"/>
                  <a:gd name="connsiteX9" fmla="*/ 1246174 w 1414520"/>
                  <a:gd name="connsiteY9" fmla="*/ 750077 h 2979185"/>
                  <a:gd name="connsiteX10" fmla="*/ 1221898 w 1414520"/>
                  <a:gd name="connsiteY10" fmla="*/ 1551189 h 2979185"/>
                  <a:gd name="connsiteX11" fmla="*/ 1262358 w 1414520"/>
                  <a:gd name="connsiteY11" fmla="*/ 1747097 h 2979185"/>
                  <a:gd name="connsiteX12" fmla="*/ 1171022 w 1414520"/>
                  <a:gd name="connsiteY12" fmla="*/ 2064083 h 2979185"/>
                  <a:gd name="connsiteX13" fmla="*/ 1338427 w 1414520"/>
                  <a:gd name="connsiteY13" fmla="*/ 2332987 h 2979185"/>
                  <a:gd name="connsiteX14" fmla="*/ 1367554 w 1414520"/>
                  <a:gd name="connsiteY14" fmla="*/ 2554601 h 2979185"/>
                  <a:gd name="connsiteX15" fmla="*/ 1346565 w 1414520"/>
                  <a:gd name="connsiteY15" fmla="*/ 2663016 h 2979185"/>
                  <a:gd name="connsiteX16" fmla="*/ 1398312 w 1414520"/>
                  <a:gd name="connsiteY16" fmla="*/ 2797474 h 2979185"/>
                  <a:gd name="connsiteX17" fmla="*/ 1414520 w 1414520"/>
                  <a:gd name="connsiteY17" fmla="*/ 2910651 h 2979185"/>
                  <a:gd name="connsiteX18" fmla="*/ 733122 w 1414520"/>
                  <a:gd name="connsiteY18" fmla="*/ 2833685 h 2979185"/>
                  <a:gd name="connsiteX19" fmla="*/ 769500 w 1414520"/>
                  <a:gd name="connsiteY19" fmla="*/ 2580487 h 2979185"/>
                  <a:gd name="connsiteX20" fmla="*/ 773578 w 1414520"/>
                  <a:gd name="connsiteY20" fmla="*/ 1953175 h 2979185"/>
                  <a:gd name="connsiteX21" fmla="*/ 753987 w 1414520"/>
                  <a:gd name="connsiteY21" fmla="*/ 1632109 h 2979185"/>
                  <a:gd name="connsiteX22" fmla="*/ 721477 w 1414520"/>
                  <a:gd name="connsiteY22" fmla="*/ 1212956 h 2979185"/>
                  <a:gd name="connsiteX23" fmla="*/ 695915 w 1414520"/>
                  <a:gd name="connsiteY23" fmla="*/ 895734 h 2979185"/>
                  <a:gd name="connsiteX24" fmla="*/ 667680 w 1414520"/>
                  <a:gd name="connsiteY24" fmla="*/ 1081852 h 2979185"/>
                  <a:gd name="connsiteX25" fmla="*/ 602031 w 1414520"/>
                  <a:gd name="connsiteY25" fmla="*/ 1669237 h 2979185"/>
                  <a:gd name="connsiteX26" fmla="*/ 637531 w 1414520"/>
                  <a:gd name="connsiteY26" fmla="*/ 2510114 h 2979185"/>
                  <a:gd name="connsiteX27" fmla="*/ 614682 w 1414520"/>
                  <a:gd name="connsiteY27" fmla="*/ 2809553 h 2979185"/>
                  <a:gd name="connsiteX28" fmla="*/ 575008 w 1414520"/>
                  <a:gd name="connsiteY28" fmla="*/ 2910800 h 2979185"/>
                  <a:gd name="connsiteX29" fmla="*/ 286866 w 1414520"/>
                  <a:gd name="connsiteY29" fmla="*/ 2944902 h 2979185"/>
                  <a:gd name="connsiteX30" fmla="*/ 237481 w 1414520"/>
                  <a:gd name="connsiteY30" fmla="*/ 2863879 h 2979185"/>
                  <a:gd name="connsiteX31" fmla="*/ 226577 w 1414520"/>
                  <a:gd name="connsiteY31" fmla="*/ 2077171 h 2979185"/>
                  <a:gd name="connsiteX32" fmla="*/ 161841 w 1414520"/>
                  <a:gd name="connsiteY32" fmla="*/ 1818226 h 2979185"/>
                  <a:gd name="connsiteX33" fmla="*/ 137565 w 1414520"/>
                  <a:gd name="connsiteY33" fmla="*/ 1583557 h 2979185"/>
                  <a:gd name="connsiteX34" fmla="*/ 80921 w 1414520"/>
                  <a:gd name="connsiteY34" fmla="*/ 733893 h 2979185"/>
                  <a:gd name="connsiteX35" fmla="*/ 8092 w 1414520"/>
                  <a:gd name="connsiteY35" fmla="*/ 474948 h 2979185"/>
                  <a:gd name="connsiteX36" fmla="*/ 32369 w 1414520"/>
                  <a:gd name="connsiteY36" fmla="*/ 345475 h 2979185"/>
                  <a:gd name="connsiteX37" fmla="*/ 178025 w 1414520"/>
                  <a:gd name="connsiteY37" fmla="*/ 5610 h 2979185"/>
                  <a:gd name="connsiteX0" fmla="*/ 178025 w 1414520"/>
                  <a:gd name="connsiteY0" fmla="*/ 5610 h 2979185"/>
                  <a:gd name="connsiteX1" fmla="*/ 299406 w 1414520"/>
                  <a:gd name="connsiteY1" fmla="*/ 78438 h 2979185"/>
                  <a:gd name="connsiteX2" fmla="*/ 493615 w 1414520"/>
                  <a:gd name="connsiteY2" fmla="*/ 126990 h 2979185"/>
                  <a:gd name="connsiteX3" fmla="*/ 687823 w 1414520"/>
                  <a:gd name="connsiteY3" fmla="*/ 143174 h 2979185"/>
                  <a:gd name="connsiteX4" fmla="*/ 865848 w 1414520"/>
                  <a:gd name="connsiteY4" fmla="*/ 110806 h 2979185"/>
                  <a:gd name="connsiteX5" fmla="*/ 946769 w 1414520"/>
                  <a:gd name="connsiteY5" fmla="*/ 62254 h 2979185"/>
                  <a:gd name="connsiteX6" fmla="*/ 1181438 w 1414520"/>
                  <a:gd name="connsiteY6" fmla="*/ 264555 h 2979185"/>
                  <a:gd name="connsiteX7" fmla="*/ 1351370 w 1414520"/>
                  <a:gd name="connsiteY7" fmla="*/ 385935 h 2979185"/>
                  <a:gd name="connsiteX8" fmla="*/ 1327094 w 1414520"/>
                  <a:gd name="connsiteY8" fmla="*/ 491132 h 2979185"/>
                  <a:gd name="connsiteX9" fmla="*/ 1246174 w 1414520"/>
                  <a:gd name="connsiteY9" fmla="*/ 750077 h 2979185"/>
                  <a:gd name="connsiteX10" fmla="*/ 1221898 w 1414520"/>
                  <a:gd name="connsiteY10" fmla="*/ 1551189 h 2979185"/>
                  <a:gd name="connsiteX11" fmla="*/ 1197562 w 1414520"/>
                  <a:gd name="connsiteY11" fmla="*/ 1758047 h 2979185"/>
                  <a:gd name="connsiteX12" fmla="*/ 1171022 w 1414520"/>
                  <a:gd name="connsiteY12" fmla="*/ 2064083 h 2979185"/>
                  <a:gd name="connsiteX13" fmla="*/ 1338427 w 1414520"/>
                  <a:gd name="connsiteY13" fmla="*/ 2332987 h 2979185"/>
                  <a:gd name="connsiteX14" fmla="*/ 1367554 w 1414520"/>
                  <a:gd name="connsiteY14" fmla="*/ 2554601 h 2979185"/>
                  <a:gd name="connsiteX15" fmla="*/ 1346565 w 1414520"/>
                  <a:gd name="connsiteY15" fmla="*/ 2663016 h 2979185"/>
                  <a:gd name="connsiteX16" fmla="*/ 1398312 w 1414520"/>
                  <a:gd name="connsiteY16" fmla="*/ 2797474 h 2979185"/>
                  <a:gd name="connsiteX17" fmla="*/ 1414520 w 1414520"/>
                  <a:gd name="connsiteY17" fmla="*/ 2910651 h 2979185"/>
                  <a:gd name="connsiteX18" fmla="*/ 733122 w 1414520"/>
                  <a:gd name="connsiteY18" fmla="*/ 2833685 h 2979185"/>
                  <a:gd name="connsiteX19" fmla="*/ 769500 w 1414520"/>
                  <a:gd name="connsiteY19" fmla="*/ 2580487 h 2979185"/>
                  <a:gd name="connsiteX20" fmla="*/ 773578 w 1414520"/>
                  <a:gd name="connsiteY20" fmla="*/ 1953175 h 2979185"/>
                  <a:gd name="connsiteX21" fmla="*/ 753987 w 1414520"/>
                  <a:gd name="connsiteY21" fmla="*/ 1632109 h 2979185"/>
                  <a:gd name="connsiteX22" fmla="*/ 721477 w 1414520"/>
                  <a:gd name="connsiteY22" fmla="*/ 1212956 h 2979185"/>
                  <a:gd name="connsiteX23" fmla="*/ 695915 w 1414520"/>
                  <a:gd name="connsiteY23" fmla="*/ 895734 h 2979185"/>
                  <a:gd name="connsiteX24" fmla="*/ 667680 w 1414520"/>
                  <a:gd name="connsiteY24" fmla="*/ 1081852 h 2979185"/>
                  <a:gd name="connsiteX25" fmla="*/ 602031 w 1414520"/>
                  <a:gd name="connsiteY25" fmla="*/ 1669237 h 2979185"/>
                  <a:gd name="connsiteX26" fmla="*/ 637531 w 1414520"/>
                  <a:gd name="connsiteY26" fmla="*/ 2510114 h 2979185"/>
                  <a:gd name="connsiteX27" fmla="*/ 614682 w 1414520"/>
                  <a:gd name="connsiteY27" fmla="*/ 2809553 h 2979185"/>
                  <a:gd name="connsiteX28" fmla="*/ 575008 w 1414520"/>
                  <a:gd name="connsiteY28" fmla="*/ 2910800 h 2979185"/>
                  <a:gd name="connsiteX29" fmla="*/ 286866 w 1414520"/>
                  <a:gd name="connsiteY29" fmla="*/ 2944902 h 2979185"/>
                  <a:gd name="connsiteX30" fmla="*/ 237481 w 1414520"/>
                  <a:gd name="connsiteY30" fmla="*/ 2863879 h 2979185"/>
                  <a:gd name="connsiteX31" fmla="*/ 226577 w 1414520"/>
                  <a:gd name="connsiteY31" fmla="*/ 2077171 h 2979185"/>
                  <a:gd name="connsiteX32" fmla="*/ 161841 w 1414520"/>
                  <a:gd name="connsiteY32" fmla="*/ 1818226 h 2979185"/>
                  <a:gd name="connsiteX33" fmla="*/ 137565 w 1414520"/>
                  <a:gd name="connsiteY33" fmla="*/ 1583557 h 2979185"/>
                  <a:gd name="connsiteX34" fmla="*/ 80921 w 1414520"/>
                  <a:gd name="connsiteY34" fmla="*/ 733893 h 2979185"/>
                  <a:gd name="connsiteX35" fmla="*/ 8092 w 1414520"/>
                  <a:gd name="connsiteY35" fmla="*/ 474948 h 2979185"/>
                  <a:gd name="connsiteX36" fmla="*/ 32369 w 1414520"/>
                  <a:gd name="connsiteY36" fmla="*/ 345475 h 2979185"/>
                  <a:gd name="connsiteX37" fmla="*/ 178025 w 1414520"/>
                  <a:gd name="connsiteY37" fmla="*/ 5610 h 2979185"/>
                  <a:gd name="connsiteX0" fmla="*/ 178025 w 1414520"/>
                  <a:gd name="connsiteY0" fmla="*/ 5610 h 2979185"/>
                  <a:gd name="connsiteX1" fmla="*/ 299406 w 1414520"/>
                  <a:gd name="connsiteY1" fmla="*/ 78438 h 2979185"/>
                  <a:gd name="connsiteX2" fmla="*/ 493615 w 1414520"/>
                  <a:gd name="connsiteY2" fmla="*/ 126990 h 2979185"/>
                  <a:gd name="connsiteX3" fmla="*/ 687823 w 1414520"/>
                  <a:gd name="connsiteY3" fmla="*/ 143174 h 2979185"/>
                  <a:gd name="connsiteX4" fmla="*/ 865848 w 1414520"/>
                  <a:gd name="connsiteY4" fmla="*/ 110806 h 2979185"/>
                  <a:gd name="connsiteX5" fmla="*/ 946769 w 1414520"/>
                  <a:gd name="connsiteY5" fmla="*/ 62254 h 2979185"/>
                  <a:gd name="connsiteX6" fmla="*/ 1181438 w 1414520"/>
                  <a:gd name="connsiteY6" fmla="*/ 264555 h 2979185"/>
                  <a:gd name="connsiteX7" fmla="*/ 1351370 w 1414520"/>
                  <a:gd name="connsiteY7" fmla="*/ 385935 h 2979185"/>
                  <a:gd name="connsiteX8" fmla="*/ 1327094 w 1414520"/>
                  <a:gd name="connsiteY8" fmla="*/ 491132 h 2979185"/>
                  <a:gd name="connsiteX9" fmla="*/ 1246174 w 1414520"/>
                  <a:gd name="connsiteY9" fmla="*/ 750077 h 2979185"/>
                  <a:gd name="connsiteX10" fmla="*/ 1221898 w 1414520"/>
                  <a:gd name="connsiteY10" fmla="*/ 1551189 h 2979185"/>
                  <a:gd name="connsiteX11" fmla="*/ 1197562 w 1414520"/>
                  <a:gd name="connsiteY11" fmla="*/ 1758047 h 2979185"/>
                  <a:gd name="connsiteX12" fmla="*/ 1171022 w 1414520"/>
                  <a:gd name="connsiteY12" fmla="*/ 2064083 h 2979185"/>
                  <a:gd name="connsiteX13" fmla="*/ 1108688 w 1414520"/>
                  <a:gd name="connsiteY13" fmla="*/ 2442473 h 2979185"/>
                  <a:gd name="connsiteX14" fmla="*/ 1367554 w 1414520"/>
                  <a:gd name="connsiteY14" fmla="*/ 2554601 h 2979185"/>
                  <a:gd name="connsiteX15" fmla="*/ 1346565 w 1414520"/>
                  <a:gd name="connsiteY15" fmla="*/ 2663016 h 2979185"/>
                  <a:gd name="connsiteX16" fmla="*/ 1398312 w 1414520"/>
                  <a:gd name="connsiteY16" fmla="*/ 2797474 h 2979185"/>
                  <a:gd name="connsiteX17" fmla="*/ 1414520 w 1414520"/>
                  <a:gd name="connsiteY17" fmla="*/ 2910651 h 2979185"/>
                  <a:gd name="connsiteX18" fmla="*/ 733122 w 1414520"/>
                  <a:gd name="connsiteY18" fmla="*/ 2833685 h 2979185"/>
                  <a:gd name="connsiteX19" fmla="*/ 769500 w 1414520"/>
                  <a:gd name="connsiteY19" fmla="*/ 2580487 h 2979185"/>
                  <a:gd name="connsiteX20" fmla="*/ 773578 w 1414520"/>
                  <a:gd name="connsiteY20" fmla="*/ 1953175 h 2979185"/>
                  <a:gd name="connsiteX21" fmla="*/ 753987 w 1414520"/>
                  <a:gd name="connsiteY21" fmla="*/ 1632109 h 2979185"/>
                  <a:gd name="connsiteX22" fmla="*/ 721477 w 1414520"/>
                  <a:gd name="connsiteY22" fmla="*/ 1212956 h 2979185"/>
                  <a:gd name="connsiteX23" fmla="*/ 695915 w 1414520"/>
                  <a:gd name="connsiteY23" fmla="*/ 895734 h 2979185"/>
                  <a:gd name="connsiteX24" fmla="*/ 667680 w 1414520"/>
                  <a:gd name="connsiteY24" fmla="*/ 1081852 h 2979185"/>
                  <a:gd name="connsiteX25" fmla="*/ 602031 w 1414520"/>
                  <a:gd name="connsiteY25" fmla="*/ 1669237 h 2979185"/>
                  <a:gd name="connsiteX26" fmla="*/ 637531 w 1414520"/>
                  <a:gd name="connsiteY26" fmla="*/ 2510114 h 2979185"/>
                  <a:gd name="connsiteX27" fmla="*/ 614682 w 1414520"/>
                  <a:gd name="connsiteY27" fmla="*/ 2809553 h 2979185"/>
                  <a:gd name="connsiteX28" fmla="*/ 575008 w 1414520"/>
                  <a:gd name="connsiteY28" fmla="*/ 2910800 h 2979185"/>
                  <a:gd name="connsiteX29" fmla="*/ 286866 w 1414520"/>
                  <a:gd name="connsiteY29" fmla="*/ 2944902 h 2979185"/>
                  <a:gd name="connsiteX30" fmla="*/ 237481 w 1414520"/>
                  <a:gd name="connsiteY30" fmla="*/ 2863879 h 2979185"/>
                  <a:gd name="connsiteX31" fmla="*/ 226577 w 1414520"/>
                  <a:gd name="connsiteY31" fmla="*/ 2077171 h 2979185"/>
                  <a:gd name="connsiteX32" fmla="*/ 161841 w 1414520"/>
                  <a:gd name="connsiteY32" fmla="*/ 1818226 h 2979185"/>
                  <a:gd name="connsiteX33" fmla="*/ 137565 w 1414520"/>
                  <a:gd name="connsiteY33" fmla="*/ 1583557 h 2979185"/>
                  <a:gd name="connsiteX34" fmla="*/ 80921 w 1414520"/>
                  <a:gd name="connsiteY34" fmla="*/ 733893 h 2979185"/>
                  <a:gd name="connsiteX35" fmla="*/ 8092 w 1414520"/>
                  <a:gd name="connsiteY35" fmla="*/ 474948 h 2979185"/>
                  <a:gd name="connsiteX36" fmla="*/ 32369 w 1414520"/>
                  <a:gd name="connsiteY36" fmla="*/ 345475 h 2979185"/>
                  <a:gd name="connsiteX37" fmla="*/ 178025 w 1414520"/>
                  <a:gd name="connsiteY37" fmla="*/ 5610 h 2979185"/>
                  <a:gd name="connsiteX0" fmla="*/ 178025 w 1414520"/>
                  <a:gd name="connsiteY0" fmla="*/ 5610 h 2979185"/>
                  <a:gd name="connsiteX1" fmla="*/ 299406 w 1414520"/>
                  <a:gd name="connsiteY1" fmla="*/ 78438 h 2979185"/>
                  <a:gd name="connsiteX2" fmla="*/ 493615 w 1414520"/>
                  <a:gd name="connsiteY2" fmla="*/ 126990 h 2979185"/>
                  <a:gd name="connsiteX3" fmla="*/ 687823 w 1414520"/>
                  <a:gd name="connsiteY3" fmla="*/ 143174 h 2979185"/>
                  <a:gd name="connsiteX4" fmla="*/ 865848 w 1414520"/>
                  <a:gd name="connsiteY4" fmla="*/ 110806 h 2979185"/>
                  <a:gd name="connsiteX5" fmla="*/ 946769 w 1414520"/>
                  <a:gd name="connsiteY5" fmla="*/ 62254 h 2979185"/>
                  <a:gd name="connsiteX6" fmla="*/ 1181438 w 1414520"/>
                  <a:gd name="connsiteY6" fmla="*/ 264555 h 2979185"/>
                  <a:gd name="connsiteX7" fmla="*/ 1351370 w 1414520"/>
                  <a:gd name="connsiteY7" fmla="*/ 385935 h 2979185"/>
                  <a:gd name="connsiteX8" fmla="*/ 1327094 w 1414520"/>
                  <a:gd name="connsiteY8" fmla="*/ 491132 h 2979185"/>
                  <a:gd name="connsiteX9" fmla="*/ 1246174 w 1414520"/>
                  <a:gd name="connsiteY9" fmla="*/ 750077 h 2979185"/>
                  <a:gd name="connsiteX10" fmla="*/ 1221898 w 1414520"/>
                  <a:gd name="connsiteY10" fmla="*/ 1551189 h 2979185"/>
                  <a:gd name="connsiteX11" fmla="*/ 1197562 w 1414520"/>
                  <a:gd name="connsiteY11" fmla="*/ 1758047 h 2979185"/>
                  <a:gd name="connsiteX12" fmla="*/ 1171022 w 1414520"/>
                  <a:gd name="connsiteY12" fmla="*/ 2064083 h 2979185"/>
                  <a:gd name="connsiteX13" fmla="*/ 1108688 w 1414520"/>
                  <a:gd name="connsiteY13" fmla="*/ 2442473 h 2979185"/>
                  <a:gd name="connsiteX14" fmla="*/ 1346565 w 1414520"/>
                  <a:gd name="connsiteY14" fmla="*/ 2663016 h 2979185"/>
                  <a:gd name="connsiteX15" fmla="*/ 1398312 w 1414520"/>
                  <a:gd name="connsiteY15" fmla="*/ 2797474 h 2979185"/>
                  <a:gd name="connsiteX16" fmla="*/ 1414520 w 1414520"/>
                  <a:gd name="connsiteY16" fmla="*/ 2910651 h 2979185"/>
                  <a:gd name="connsiteX17" fmla="*/ 733122 w 1414520"/>
                  <a:gd name="connsiteY17" fmla="*/ 2833685 h 2979185"/>
                  <a:gd name="connsiteX18" fmla="*/ 769500 w 1414520"/>
                  <a:gd name="connsiteY18" fmla="*/ 2580487 h 2979185"/>
                  <a:gd name="connsiteX19" fmla="*/ 773578 w 1414520"/>
                  <a:gd name="connsiteY19" fmla="*/ 1953175 h 2979185"/>
                  <a:gd name="connsiteX20" fmla="*/ 753987 w 1414520"/>
                  <a:gd name="connsiteY20" fmla="*/ 1632109 h 2979185"/>
                  <a:gd name="connsiteX21" fmla="*/ 721477 w 1414520"/>
                  <a:gd name="connsiteY21" fmla="*/ 1212956 h 2979185"/>
                  <a:gd name="connsiteX22" fmla="*/ 695915 w 1414520"/>
                  <a:gd name="connsiteY22" fmla="*/ 895734 h 2979185"/>
                  <a:gd name="connsiteX23" fmla="*/ 667680 w 1414520"/>
                  <a:gd name="connsiteY23" fmla="*/ 1081852 h 2979185"/>
                  <a:gd name="connsiteX24" fmla="*/ 602031 w 1414520"/>
                  <a:gd name="connsiteY24" fmla="*/ 1669237 h 2979185"/>
                  <a:gd name="connsiteX25" fmla="*/ 637531 w 1414520"/>
                  <a:gd name="connsiteY25" fmla="*/ 2510114 h 2979185"/>
                  <a:gd name="connsiteX26" fmla="*/ 614682 w 1414520"/>
                  <a:gd name="connsiteY26" fmla="*/ 2809553 h 2979185"/>
                  <a:gd name="connsiteX27" fmla="*/ 575008 w 1414520"/>
                  <a:gd name="connsiteY27" fmla="*/ 2910800 h 2979185"/>
                  <a:gd name="connsiteX28" fmla="*/ 286866 w 1414520"/>
                  <a:gd name="connsiteY28" fmla="*/ 2944902 h 2979185"/>
                  <a:gd name="connsiteX29" fmla="*/ 237481 w 1414520"/>
                  <a:gd name="connsiteY29" fmla="*/ 2863879 h 2979185"/>
                  <a:gd name="connsiteX30" fmla="*/ 226577 w 1414520"/>
                  <a:gd name="connsiteY30" fmla="*/ 2077171 h 2979185"/>
                  <a:gd name="connsiteX31" fmla="*/ 161841 w 1414520"/>
                  <a:gd name="connsiteY31" fmla="*/ 1818226 h 2979185"/>
                  <a:gd name="connsiteX32" fmla="*/ 137565 w 1414520"/>
                  <a:gd name="connsiteY32" fmla="*/ 1583557 h 2979185"/>
                  <a:gd name="connsiteX33" fmla="*/ 80921 w 1414520"/>
                  <a:gd name="connsiteY33" fmla="*/ 733893 h 2979185"/>
                  <a:gd name="connsiteX34" fmla="*/ 8092 w 1414520"/>
                  <a:gd name="connsiteY34" fmla="*/ 474948 h 2979185"/>
                  <a:gd name="connsiteX35" fmla="*/ 32369 w 1414520"/>
                  <a:gd name="connsiteY35" fmla="*/ 345475 h 2979185"/>
                  <a:gd name="connsiteX36" fmla="*/ 178025 w 1414520"/>
                  <a:gd name="connsiteY36" fmla="*/ 5610 h 2979185"/>
                  <a:gd name="connsiteX0" fmla="*/ 178025 w 1414520"/>
                  <a:gd name="connsiteY0" fmla="*/ 5610 h 2979185"/>
                  <a:gd name="connsiteX1" fmla="*/ 299406 w 1414520"/>
                  <a:gd name="connsiteY1" fmla="*/ 78438 h 2979185"/>
                  <a:gd name="connsiteX2" fmla="*/ 493615 w 1414520"/>
                  <a:gd name="connsiteY2" fmla="*/ 126990 h 2979185"/>
                  <a:gd name="connsiteX3" fmla="*/ 687823 w 1414520"/>
                  <a:gd name="connsiteY3" fmla="*/ 143174 h 2979185"/>
                  <a:gd name="connsiteX4" fmla="*/ 865848 w 1414520"/>
                  <a:gd name="connsiteY4" fmla="*/ 110806 h 2979185"/>
                  <a:gd name="connsiteX5" fmla="*/ 946769 w 1414520"/>
                  <a:gd name="connsiteY5" fmla="*/ 62254 h 2979185"/>
                  <a:gd name="connsiteX6" fmla="*/ 1181438 w 1414520"/>
                  <a:gd name="connsiteY6" fmla="*/ 264555 h 2979185"/>
                  <a:gd name="connsiteX7" fmla="*/ 1351370 w 1414520"/>
                  <a:gd name="connsiteY7" fmla="*/ 385935 h 2979185"/>
                  <a:gd name="connsiteX8" fmla="*/ 1327094 w 1414520"/>
                  <a:gd name="connsiteY8" fmla="*/ 491132 h 2979185"/>
                  <a:gd name="connsiteX9" fmla="*/ 1246174 w 1414520"/>
                  <a:gd name="connsiteY9" fmla="*/ 750077 h 2979185"/>
                  <a:gd name="connsiteX10" fmla="*/ 1221898 w 1414520"/>
                  <a:gd name="connsiteY10" fmla="*/ 1551189 h 2979185"/>
                  <a:gd name="connsiteX11" fmla="*/ 1197562 w 1414520"/>
                  <a:gd name="connsiteY11" fmla="*/ 1758047 h 2979185"/>
                  <a:gd name="connsiteX12" fmla="*/ 1171022 w 1414520"/>
                  <a:gd name="connsiteY12" fmla="*/ 2064083 h 2979185"/>
                  <a:gd name="connsiteX13" fmla="*/ 1108688 w 1414520"/>
                  <a:gd name="connsiteY13" fmla="*/ 2442473 h 2979185"/>
                  <a:gd name="connsiteX14" fmla="*/ 1398312 w 1414520"/>
                  <a:gd name="connsiteY14" fmla="*/ 2797474 h 2979185"/>
                  <a:gd name="connsiteX15" fmla="*/ 1414520 w 1414520"/>
                  <a:gd name="connsiteY15" fmla="*/ 2910651 h 2979185"/>
                  <a:gd name="connsiteX16" fmla="*/ 733122 w 1414520"/>
                  <a:gd name="connsiteY16" fmla="*/ 2833685 h 2979185"/>
                  <a:gd name="connsiteX17" fmla="*/ 769500 w 1414520"/>
                  <a:gd name="connsiteY17" fmla="*/ 2580487 h 2979185"/>
                  <a:gd name="connsiteX18" fmla="*/ 773578 w 1414520"/>
                  <a:gd name="connsiteY18" fmla="*/ 1953175 h 2979185"/>
                  <a:gd name="connsiteX19" fmla="*/ 753987 w 1414520"/>
                  <a:gd name="connsiteY19" fmla="*/ 1632109 h 2979185"/>
                  <a:gd name="connsiteX20" fmla="*/ 721477 w 1414520"/>
                  <a:gd name="connsiteY20" fmla="*/ 1212956 h 2979185"/>
                  <a:gd name="connsiteX21" fmla="*/ 695915 w 1414520"/>
                  <a:gd name="connsiteY21" fmla="*/ 895734 h 2979185"/>
                  <a:gd name="connsiteX22" fmla="*/ 667680 w 1414520"/>
                  <a:gd name="connsiteY22" fmla="*/ 1081852 h 2979185"/>
                  <a:gd name="connsiteX23" fmla="*/ 602031 w 1414520"/>
                  <a:gd name="connsiteY23" fmla="*/ 1669237 h 2979185"/>
                  <a:gd name="connsiteX24" fmla="*/ 637531 w 1414520"/>
                  <a:gd name="connsiteY24" fmla="*/ 2510114 h 2979185"/>
                  <a:gd name="connsiteX25" fmla="*/ 614682 w 1414520"/>
                  <a:gd name="connsiteY25" fmla="*/ 2809553 h 2979185"/>
                  <a:gd name="connsiteX26" fmla="*/ 575008 w 1414520"/>
                  <a:gd name="connsiteY26" fmla="*/ 2910800 h 2979185"/>
                  <a:gd name="connsiteX27" fmla="*/ 286866 w 1414520"/>
                  <a:gd name="connsiteY27" fmla="*/ 2944902 h 2979185"/>
                  <a:gd name="connsiteX28" fmla="*/ 237481 w 1414520"/>
                  <a:gd name="connsiteY28" fmla="*/ 2863879 h 2979185"/>
                  <a:gd name="connsiteX29" fmla="*/ 226577 w 1414520"/>
                  <a:gd name="connsiteY29" fmla="*/ 2077171 h 2979185"/>
                  <a:gd name="connsiteX30" fmla="*/ 161841 w 1414520"/>
                  <a:gd name="connsiteY30" fmla="*/ 1818226 h 2979185"/>
                  <a:gd name="connsiteX31" fmla="*/ 137565 w 1414520"/>
                  <a:gd name="connsiteY31" fmla="*/ 1583557 h 2979185"/>
                  <a:gd name="connsiteX32" fmla="*/ 80921 w 1414520"/>
                  <a:gd name="connsiteY32" fmla="*/ 733893 h 2979185"/>
                  <a:gd name="connsiteX33" fmla="*/ 8092 w 1414520"/>
                  <a:gd name="connsiteY33" fmla="*/ 474948 h 2979185"/>
                  <a:gd name="connsiteX34" fmla="*/ 32369 w 1414520"/>
                  <a:gd name="connsiteY34" fmla="*/ 345475 h 2979185"/>
                  <a:gd name="connsiteX35" fmla="*/ 178025 w 1414520"/>
                  <a:gd name="connsiteY35" fmla="*/ 5610 h 2979185"/>
                  <a:gd name="connsiteX0" fmla="*/ 178025 w 1477114"/>
                  <a:gd name="connsiteY0" fmla="*/ 5610 h 2979185"/>
                  <a:gd name="connsiteX1" fmla="*/ 299406 w 1477114"/>
                  <a:gd name="connsiteY1" fmla="*/ 78438 h 2979185"/>
                  <a:gd name="connsiteX2" fmla="*/ 493615 w 1477114"/>
                  <a:gd name="connsiteY2" fmla="*/ 126990 h 2979185"/>
                  <a:gd name="connsiteX3" fmla="*/ 687823 w 1477114"/>
                  <a:gd name="connsiteY3" fmla="*/ 143174 h 2979185"/>
                  <a:gd name="connsiteX4" fmla="*/ 865848 w 1477114"/>
                  <a:gd name="connsiteY4" fmla="*/ 110806 h 2979185"/>
                  <a:gd name="connsiteX5" fmla="*/ 946769 w 1477114"/>
                  <a:gd name="connsiteY5" fmla="*/ 62254 h 2979185"/>
                  <a:gd name="connsiteX6" fmla="*/ 1181438 w 1477114"/>
                  <a:gd name="connsiteY6" fmla="*/ 264555 h 2979185"/>
                  <a:gd name="connsiteX7" fmla="*/ 1351370 w 1477114"/>
                  <a:gd name="connsiteY7" fmla="*/ 385935 h 2979185"/>
                  <a:gd name="connsiteX8" fmla="*/ 1327094 w 1477114"/>
                  <a:gd name="connsiteY8" fmla="*/ 491132 h 2979185"/>
                  <a:gd name="connsiteX9" fmla="*/ 1246174 w 1477114"/>
                  <a:gd name="connsiteY9" fmla="*/ 750077 h 2979185"/>
                  <a:gd name="connsiteX10" fmla="*/ 1221898 w 1477114"/>
                  <a:gd name="connsiteY10" fmla="*/ 1551189 h 2979185"/>
                  <a:gd name="connsiteX11" fmla="*/ 1197562 w 1477114"/>
                  <a:gd name="connsiteY11" fmla="*/ 1758047 h 2979185"/>
                  <a:gd name="connsiteX12" fmla="*/ 1171022 w 1477114"/>
                  <a:gd name="connsiteY12" fmla="*/ 2064083 h 2979185"/>
                  <a:gd name="connsiteX13" fmla="*/ 1108688 w 1477114"/>
                  <a:gd name="connsiteY13" fmla="*/ 2442473 h 2979185"/>
                  <a:gd name="connsiteX14" fmla="*/ 1414520 w 1477114"/>
                  <a:gd name="connsiteY14" fmla="*/ 2910651 h 2979185"/>
                  <a:gd name="connsiteX15" fmla="*/ 733122 w 1477114"/>
                  <a:gd name="connsiteY15" fmla="*/ 2833685 h 2979185"/>
                  <a:gd name="connsiteX16" fmla="*/ 769500 w 1477114"/>
                  <a:gd name="connsiteY16" fmla="*/ 2580487 h 2979185"/>
                  <a:gd name="connsiteX17" fmla="*/ 773578 w 1477114"/>
                  <a:gd name="connsiteY17" fmla="*/ 1953175 h 2979185"/>
                  <a:gd name="connsiteX18" fmla="*/ 753987 w 1477114"/>
                  <a:gd name="connsiteY18" fmla="*/ 1632109 h 2979185"/>
                  <a:gd name="connsiteX19" fmla="*/ 721477 w 1477114"/>
                  <a:gd name="connsiteY19" fmla="*/ 1212956 h 2979185"/>
                  <a:gd name="connsiteX20" fmla="*/ 695915 w 1477114"/>
                  <a:gd name="connsiteY20" fmla="*/ 895734 h 2979185"/>
                  <a:gd name="connsiteX21" fmla="*/ 667680 w 1477114"/>
                  <a:gd name="connsiteY21" fmla="*/ 1081852 h 2979185"/>
                  <a:gd name="connsiteX22" fmla="*/ 602031 w 1477114"/>
                  <a:gd name="connsiteY22" fmla="*/ 1669237 h 2979185"/>
                  <a:gd name="connsiteX23" fmla="*/ 637531 w 1477114"/>
                  <a:gd name="connsiteY23" fmla="*/ 2510114 h 2979185"/>
                  <a:gd name="connsiteX24" fmla="*/ 614682 w 1477114"/>
                  <a:gd name="connsiteY24" fmla="*/ 2809553 h 2979185"/>
                  <a:gd name="connsiteX25" fmla="*/ 575008 w 1477114"/>
                  <a:gd name="connsiteY25" fmla="*/ 2910800 h 2979185"/>
                  <a:gd name="connsiteX26" fmla="*/ 286866 w 1477114"/>
                  <a:gd name="connsiteY26" fmla="*/ 2944902 h 2979185"/>
                  <a:gd name="connsiteX27" fmla="*/ 237481 w 1477114"/>
                  <a:gd name="connsiteY27" fmla="*/ 2863879 h 2979185"/>
                  <a:gd name="connsiteX28" fmla="*/ 226577 w 1477114"/>
                  <a:gd name="connsiteY28" fmla="*/ 2077171 h 2979185"/>
                  <a:gd name="connsiteX29" fmla="*/ 161841 w 1477114"/>
                  <a:gd name="connsiteY29" fmla="*/ 1818226 h 2979185"/>
                  <a:gd name="connsiteX30" fmla="*/ 137565 w 1477114"/>
                  <a:gd name="connsiteY30" fmla="*/ 1583557 h 2979185"/>
                  <a:gd name="connsiteX31" fmla="*/ 80921 w 1477114"/>
                  <a:gd name="connsiteY31" fmla="*/ 733893 h 2979185"/>
                  <a:gd name="connsiteX32" fmla="*/ 8092 w 1477114"/>
                  <a:gd name="connsiteY32" fmla="*/ 474948 h 2979185"/>
                  <a:gd name="connsiteX33" fmla="*/ 32369 w 1477114"/>
                  <a:gd name="connsiteY33" fmla="*/ 345475 h 2979185"/>
                  <a:gd name="connsiteX34" fmla="*/ 178025 w 1477114"/>
                  <a:gd name="connsiteY34" fmla="*/ 5610 h 2979185"/>
                  <a:gd name="connsiteX0" fmla="*/ 178025 w 1375647"/>
                  <a:gd name="connsiteY0" fmla="*/ 5610 h 2979185"/>
                  <a:gd name="connsiteX1" fmla="*/ 299406 w 1375647"/>
                  <a:gd name="connsiteY1" fmla="*/ 78438 h 2979185"/>
                  <a:gd name="connsiteX2" fmla="*/ 493615 w 1375647"/>
                  <a:gd name="connsiteY2" fmla="*/ 126990 h 2979185"/>
                  <a:gd name="connsiteX3" fmla="*/ 687823 w 1375647"/>
                  <a:gd name="connsiteY3" fmla="*/ 143174 h 2979185"/>
                  <a:gd name="connsiteX4" fmla="*/ 865848 w 1375647"/>
                  <a:gd name="connsiteY4" fmla="*/ 110806 h 2979185"/>
                  <a:gd name="connsiteX5" fmla="*/ 946769 w 1375647"/>
                  <a:gd name="connsiteY5" fmla="*/ 62254 h 2979185"/>
                  <a:gd name="connsiteX6" fmla="*/ 1181438 w 1375647"/>
                  <a:gd name="connsiteY6" fmla="*/ 264555 h 2979185"/>
                  <a:gd name="connsiteX7" fmla="*/ 1351370 w 1375647"/>
                  <a:gd name="connsiteY7" fmla="*/ 385935 h 2979185"/>
                  <a:gd name="connsiteX8" fmla="*/ 1327094 w 1375647"/>
                  <a:gd name="connsiteY8" fmla="*/ 491132 h 2979185"/>
                  <a:gd name="connsiteX9" fmla="*/ 1246174 w 1375647"/>
                  <a:gd name="connsiteY9" fmla="*/ 750077 h 2979185"/>
                  <a:gd name="connsiteX10" fmla="*/ 1221898 w 1375647"/>
                  <a:gd name="connsiteY10" fmla="*/ 1551189 h 2979185"/>
                  <a:gd name="connsiteX11" fmla="*/ 1197562 w 1375647"/>
                  <a:gd name="connsiteY11" fmla="*/ 1758047 h 2979185"/>
                  <a:gd name="connsiteX12" fmla="*/ 1171022 w 1375647"/>
                  <a:gd name="connsiteY12" fmla="*/ 2064083 h 2979185"/>
                  <a:gd name="connsiteX13" fmla="*/ 1108688 w 1375647"/>
                  <a:gd name="connsiteY13" fmla="*/ 2442473 h 2979185"/>
                  <a:gd name="connsiteX14" fmla="*/ 1102313 w 1375647"/>
                  <a:gd name="connsiteY14" fmla="*/ 2916125 h 2979185"/>
                  <a:gd name="connsiteX15" fmla="*/ 733122 w 1375647"/>
                  <a:gd name="connsiteY15" fmla="*/ 2833685 h 2979185"/>
                  <a:gd name="connsiteX16" fmla="*/ 769500 w 1375647"/>
                  <a:gd name="connsiteY16" fmla="*/ 2580487 h 2979185"/>
                  <a:gd name="connsiteX17" fmla="*/ 773578 w 1375647"/>
                  <a:gd name="connsiteY17" fmla="*/ 1953175 h 2979185"/>
                  <a:gd name="connsiteX18" fmla="*/ 753987 w 1375647"/>
                  <a:gd name="connsiteY18" fmla="*/ 1632109 h 2979185"/>
                  <a:gd name="connsiteX19" fmla="*/ 721477 w 1375647"/>
                  <a:gd name="connsiteY19" fmla="*/ 1212956 h 2979185"/>
                  <a:gd name="connsiteX20" fmla="*/ 695915 w 1375647"/>
                  <a:gd name="connsiteY20" fmla="*/ 895734 h 2979185"/>
                  <a:gd name="connsiteX21" fmla="*/ 667680 w 1375647"/>
                  <a:gd name="connsiteY21" fmla="*/ 1081852 h 2979185"/>
                  <a:gd name="connsiteX22" fmla="*/ 602031 w 1375647"/>
                  <a:gd name="connsiteY22" fmla="*/ 1669237 h 2979185"/>
                  <a:gd name="connsiteX23" fmla="*/ 637531 w 1375647"/>
                  <a:gd name="connsiteY23" fmla="*/ 2510114 h 2979185"/>
                  <a:gd name="connsiteX24" fmla="*/ 614682 w 1375647"/>
                  <a:gd name="connsiteY24" fmla="*/ 2809553 h 2979185"/>
                  <a:gd name="connsiteX25" fmla="*/ 575008 w 1375647"/>
                  <a:gd name="connsiteY25" fmla="*/ 2910800 h 2979185"/>
                  <a:gd name="connsiteX26" fmla="*/ 286866 w 1375647"/>
                  <a:gd name="connsiteY26" fmla="*/ 2944902 h 2979185"/>
                  <a:gd name="connsiteX27" fmla="*/ 237481 w 1375647"/>
                  <a:gd name="connsiteY27" fmla="*/ 2863879 h 2979185"/>
                  <a:gd name="connsiteX28" fmla="*/ 226577 w 1375647"/>
                  <a:gd name="connsiteY28" fmla="*/ 2077171 h 2979185"/>
                  <a:gd name="connsiteX29" fmla="*/ 161841 w 1375647"/>
                  <a:gd name="connsiteY29" fmla="*/ 1818226 h 2979185"/>
                  <a:gd name="connsiteX30" fmla="*/ 137565 w 1375647"/>
                  <a:gd name="connsiteY30" fmla="*/ 1583557 h 2979185"/>
                  <a:gd name="connsiteX31" fmla="*/ 80921 w 1375647"/>
                  <a:gd name="connsiteY31" fmla="*/ 733893 h 2979185"/>
                  <a:gd name="connsiteX32" fmla="*/ 8092 w 1375647"/>
                  <a:gd name="connsiteY32" fmla="*/ 474948 h 2979185"/>
                  <a:gd name="connsiteX33" fmla="*/ 32369 w 1375647"/>
                  <a:gd name="connsiteY33" fmla="*/ 345475 h 2979185"/>
                  <a:gd name="connsiteX34" fmla="*/ 178025 w 1375647"/>
                  <a:gd name="connsiteY34" fmla="*/ 5610 h 2979185"/>
                  <a:gd name="connsiteX0" fmla="*/ 178025 w 1375645"/>
                  <a:gd name="connsiteY0" fmla="*/ 5610 h 2979185"/>
                  <a:gd name="connsiteX1" fmla="*/ 299406 w 1375645"/>
                  <a:gd name="connsiteY1" fmla="*/ 78438 h 2979185"/>
                  <a:gd name="connsiteX2" fmla="*/ 493615 w 1375645"/>
                  <a:gd name="connsiteY2" fmla="*/ 126990 h 2979185"/>
                  <a:gd name="connsiteX3" fmla="*/ 687823 w 1375645"/>
                  <a:gd name="connsiteY3" fmla="*/ 143174 h 2979185"/>
                  <a:gd name="connsiteX4" fmla="*/ 865848 w 1375645"/>
                  <a:gd name="connsiteY4" fmla="*/ 110806 h 2979185"/>
                  <a:gd name="connsiteX5" fmla="*/ 946769 w 1375645"/>
                  <a:gd name="connsiteY5" fmla="*/ 62254 h 2979185"/>
                  <a:gd name="connsiteX6" fmla="*/ 1181438 w 1375645"/>
                  <a:gd name="connsiteY6" fmla="*/ 264555 h 2979185"/>
                  <a:gd name="connsiteX7" fmla="*/ 1351370 w 1375645"/>
                  <a:gd name="connsiteY7" fmla="*/ 385935 h 2979185"/>
                  <a:gd name="connsiteX8" fmla="*/ 1327094 w 1375645"/>
                  <a:gd name="connsiteY8" fmla="*/ 491132 h 2979185"/>
                  <a:gd name="connsiteX9" fmla="*/ 1246174 w 1375645"/>
                  <a:gd name="connsiteY9" fmla="*/ 750077 h 2979185"/>
                  <a:gd name="connsiteX10" fmla="*/ 1221898 w 1375645"/>
                  <a:gd name="connsiteY10" fmla="*/ 1551189 h 2979185"/>
                  <a:gd name="connsiteX11" fmla="*/ 1197562 w 1375645"/>
                  <a:gd name="connsiteY11" fmla="*/ 1758047 h 2979185"/>
                  <a:gd name="connsiteX12" fmla="*/ 1171022 w 1375645"/>
                  <a:gd name="connsiteY12" fmla="*/ 2064083 h 2979185"/>
                  <a:gd name="connsiteX13" fmla="*/ 1108688 w 1375645"/>
                  <a:gd name="connsiteY13" fmla="*/ 2442473 h 2979185"/>
                  <a:gd name="connsiteX14" fmla="*/ 1102313 w 1375645"/>
                  <a:gd name="connsiteY14" fmla="*/ 2916125 h 2979185"/>
                  <a:gd name="connsiteX15" fmla="*/ 691887 w 1375645"/>
                  <a:gd name="connsiteY15" fmla="*/ 2800839 h 2979185"/>
                  <a:gd name="connsiteX16" fmla="*/ 769500 w 1375645"/>
                  <a:gd name="connsiteY16" fmla="*/ 2580487 h 2979185"/>
                  <a:gd name="connsiteX17" fmla="*/ 773578 w 1375645"/>
                  <a:gd name="connsiteY17" fmla="*/ 1953175 h 2979185"/>
                  <a:gd name="connsiteX18" fmla="*/ 753987 w 1375645"/>
                  <a:gd name="connsiteY18" fmla="*/ 1632109 h 2979185"/>
                  <a:gd name="connsiteX19" fmla="*/ 721477 w 1375645"/>
                  <a:gd name="connsiteY19" fmla="*/ 1212956 h 2979185"/>
                  <a:gd name="connsiteX20" fmla="*/ 695915 w 1375645"/>
                  <a:gd name="connsiteY20" fmla="*/ 895734 h 2979185"/>
                  <a:gd name="connsiteX21" fmla="*/ 667680 w 1375645"/>
                  <a:gd name="connsiteY21" fmla="*/ 1081852 h 2979185"/>
                  <a:gd name="connsiteX22" fmla="*/ 602031 w 1375645"/>
                  <a:gd name="connsiteY22" fmla="*/ 1669237 h 2979185"/>
                  <a:gd name="connsiteX23" fmla="*/ 637531 w 1375645"/>
                  <a:gd name="connsiteY23" fmla="*/ 2510114 h 2979185"/>
                  <a:gd name="connsiteX24" fmla="*/ 614682 w 1375645"/>
                  <a:gd name="connsiteY24" fmla="*/ 2809553 h 2979185"/>
                  <a:gd name="connsiteX25" fmla="*/ 575008 w 1375645"/>
                  <a:gd name="connsiteY25" fmla="*/ 2910800 h 2979185"/>
                  <a:gd name="connsiteX26" fmla="*/ 286866 w 1375645"/>
                  <a:gd name="connsiteY26" fmla="*/ 2944902 h 2979185"/>
                  <a:gd name="connsiteX27" fmla="*/ 237481 w 1375645"/>
                  <a:gd name="connsiteY27" fmla="*/ 2863879 h 2979185"/>
                  <a:gd name="connsiteX28" fmla="*/ 226577 w 1375645"/>
                  <a:gd name="connsiteY28" fmla="*/ 2077171 h 2979185"/>
                  <a:gd name="connsiteX29" fmla="*/ 161841 w 1375645"/>
                  <a:gd name="connsiteY29" fmla="*/ 1818226 h 2979185"/>
                  <a:gd name="connsiteX30" fmla="*/ 137565 w 1375645"/>
                  <a:gd name="connsiteY30" fmla="*/ 1583557 h 2979185"/>
                  <a:gd name="connsiteX31" fmla="*/ 80921 w 1375645"/>
                  <a:gd name="connsiteY31" fmla="*/ 733893 h 2979185"/>
                  <a:gd name="connsiteX32" fmla="*/ 8092 w 1375645"/>
                  <a:gd name="connsiteY32" fmla="*/ 474948 h 2979185"/>
                  <a:gd name="connsiteX33" fmla="*/ 32369 w 1375645"/>
                  <a:gd name="connsiteY33" fmla="*/ 345475 h 2979185"/>
                  <a:gd name="connsiteX34" fmla="*/ 178025 w 1375645"/>
                  <a:gd name="connsiteY34" fmla="*/ 5610 h 2979185"/>
                  <a:gd name="connsiteX0" fmla="*/ 178025 w 1375647"/>
                  <a:gd name="connsiteY0" fmla="*/ 5610 h 2979185"/>
                  <a:gd name="connsiteX1" fmla="*/ 299406 w 1375647"/>
                  <a:gd name="connsiteY1" fmla="*/ 78438 h 2979185"/>
                  <a:gd name="connsiteX2" fmla="*/ 493615 w 1375647"/>
                  <a:gd name="connsiteY2" fmla="*/ 126990 h 2979185"/>
                  <a:gd name="connsiteX3" fmla="*/ 687823 w 1375647"/>
                  <a:gd name="connsiteY3" fmla="*/ 143174 h 2979185"/>
                  <a:gd name="connsiteX4" fmla="*/ 865848 w 1375647"/>
                  <a:gd name="connsiteY4" fmla="*/ 110806 h 2979185"/>
                  <a:gd name="connsiteX5" fmla="*/ 946769 w 1375647"/>
                  <a:gd name="connsiteY5" fmla="*/ 62254 h 2979185"/>
                  <a:gd name="connsiteX6" fmla="*/ 1181438 w 1375647"/>
                  <a:gd name="connsiteY6" fmla="*/ 264555 h 2979185"/>
                  <a:gd name="connsiteX7" fmla="*/ 1351370 w 1375647"/>
                  <a:gd name="connsiteY7" fmla="*/ 385935 h 2979185"/>
                  <a:gd name="connsiteX8" fmla="*/ 1327094 w 1375647"/>
                  <a:gd name="connsiteY8" fmla="*/ 491132 h 2979185"/>
                  <a:gd name="connsiteX9" fmla="*/ 1246174 w 1375647"/>
                  <a:gd name="connsiteY9" fmla="*/ 750077 h 2979185"/>
                  <a:gd name="connsiteX10" fmla="*/ 1221898 w 1375647"/>
                  <a:gd name="connsiteY10" fmla="*/ 1551189 h 2979185"/>
                  <a:gd name="connsiteX11" fmla="*/ 1197562 w 1375647"/>
                  <a:gd name="connsiteY11" fmla="*/ 1758047 h 2979185"/>
                  <a:gd name="connsiteX12" fmla="*/ 1171022 w 1375647"/>
                  <a:gd name="connsiteY12" fmla="*/ 2064083 h 2979185"/>
                  <a:gd name="connsiteX13" fmla="*/ 1108688 w 1375647"/>
                  <a:gd name="connsiteY13" fmla="*/ 2442473 h 2979185"/>
                  <a:gd name="connsiteX14" fmla="*/ 1102313 w 1375647"/>
                  <a:gd name="connsiteY14" fmla="*/ 2916125 h 2979185"/>
                  <a:gd name="connsiteX15" fmla="*/ 691887 w 1375647"/>
                  <a:gd name="connsiteY15" fmla="*/ 2800839 h 2979185"/>
                  <a:gd name="connsiteX16" fmla="*/ 734157 w 1375647"/>
                  <a:gd name="connsiteY16" fmla="*/ 2580487 h 2979185"/>
                  <a:gd name="connsiteX17" fmla="*/ 773578 w 1375647"/>
                  <a:gd name="connsiteY17" fmla="*/ 1953175 h 2979185"/>
                  <a:gd name="connsiteX18" fmla="*/ 753987 w 1375647"/>
                  <a:gd name="connsiteY18" fmla="*/ 1632109 h 2979185"/>
                  <a:gd name="connsiteX19" fmla="*/ 721477 w 1375647"/>
                  <a:gd name="connsiteY19" fmla="*/ 1212956 h 2979185"/>
                  <a:gd name="connsiteX20" fmla="*/ 695915 w 1375647"/>
                  <a:gd name="connsiteY20" fmla="*/ 895734 h 2979185"/>
                  <a:gd name="connsiteX21" fmla="*/ 667680 w 1375647"/>
                  <a:gd name="connsiteY21" fmla="*/ 1081852 h 2979185"/>
                  <a:gd name="connsiteX22" fmla="*/ 602031 w 1375647"/>
                  <a:gd name="connsiteY22" fmla="*/ 1669237 h 2979185"/>
                  <a:gd name="connsiteX23" fmla="*/ 637531 w 1375647"/>
                  <a:gd name="connsiteY23" fmla="*/ 2510114 h 2979185"/>
                  <a:gd name="connsiteX24" fmla="*/ 614682 w 1375647"/>
                  <a:gd name="connsiteY24" fmla="*/ 2809553 h 2979185"/>
                  <a:gd name="connsiteX25" fmla="*/ 575008 w 1375647"/>
                  <a:gd name="connsiteY25" fmla="*/ 2910800 h 2979185"/>
                  <a:gd name="connsiteX26" fmla="*/ 286866 w 1375647"/>
                  <a:gd name="connsiteY26" fmla="*/ 2944902 h 2979185"/>
                  <a:gd name="connsiteX27" fmla="*/ 237481 w 1375647"/>
                  <a:gd name="connsiteY27" fmla="*/ 2863879 h 2979185"/>
                  <a:gd name="connsiteX28" fmla="*/ 226577 w 1375647"/>
                  <a:gd name="connsiteY28" fmla="*/ 2077171 h 2979185"/>
                  <a:gd name="connsiteX29" fmla="*/ 161841 w 1375647"/>
                  <a:gd name="connsiteY29" fmla="*/ 1818226 h 2979185"/>
                  <a:gd name="connsiteX30" fmla="*/ 137565 w 1375647"/>
                  <a:gd name="connsiteY30" fmla="*/ 1583557 h 2979185"/>
                  <a:gd name="connsiteX31" fmla="*/ 80921 w 1375647"/>
                  <a:gd name="connsiteY31" fmla="*/ 733893 h 2979185"/>
                  <a:gd name="connsiteX32" fmla="*/ 8092 w 1375647"/>
                  <a:gd name="connsiteY32" fmla="*/ 474948 h 2979185"/>
                  <a:gd name="connsiteX33" fmla="*/ 32369 w 1375647"/>
                  <a:gd name="connsiteY33" fmla="*/ 345475 h 2979185"/>
                  <a:gd name="connsiteX34" fmla="*/ 178025 w 1375647"/>
                  <a:gd name="connsiteY34" fmla="*/ 5610 h 2979185"/>
                  <a:gd name="connsiteX0" fmla="*/ 178025 w 1375645"/>
                  <a:gd name="connsiteY0" fmla="*/ 5610 h 2979185"/>
                  <a:gd name="connsiteX1" fmla="*/ 299406 w 1375645"/>
                  <a:gd name="connsiteY1" fmla="*/ 78438 h 2979185"/>
                  <a:gd name="connsiteX2" fmla="*/ 493615 w 1375645"/>
                  <a:gd name="connsiteY2" fmla="*/ 126990 h 2979185"/>
                  <a:gd name="connsiteX3" fmla="*/ 687823 w 1375645"/>
                  <a:gd name="connsiteY3" fmla="*/ 143174 h 2979185"/>
                  <a:gd name="connsiteX4" fmla="*/ 865848 w 1375645"/>
                  <a:gd name="connsiteY4" fmla="*/ 110806 h 2979185"/>
                  <a:gd name="connsiteX5" fmla="*/ 946769 w 1375645"/>
                  <a:gd name="connsiteY5" fmla="*/ 62254 h 2979185"/>
                  <a:gd name="connsiteX6" fmla="*/ 1181438 w 1375645"/>
                  <a:gd name="connsiteY6" fmla="*/ 264555 h 2979185"/>
                  <a:gd name="connsiteX7" fmla="*/ 1351370 w 1375645"/>
                  <a:gd name="connsiteY7" fmla="*/ 385935 h 2979185"/>
                  <a:gd name="connsiteX8" fmla="*/ 1327094 w 1375645"/>
                  <a:gd name="connsiteY8" fmla="*/ 491132 h 2979185"/>
                  <a:gd name="connsiteX9" fmla="*/ 1246174 w 1375645"/>
                  <a:gd name="connsiteY9" fmla="*/ 750077 h 2979185"/>
                  <a:gd name="connsiteX10" fmla="*/ 1221898 w 1375645"/>
                  <a:gd name="connsiteY10" fmla="*/ 1551189 h 2979185"/>
                  <a:gd name="connsiteX11" fmla="*/ 1197562 w 1375645"/>
                  <a:gd name="connsiteY11" fmla="*/ 1758047 h 2979185"/>
                  <a:gd name="connsiteX12" fmla="*/ 1171022 w 1375645"/>
                  <a:gd name="connsiteY12" fmla="*/ 2064083 h 2979185"/>
                  <a:gd name="connsiteX13" fmla="*/ 1108688 w 1375645"/>
                  <a:gd name="connsiteY13" fmla="*/ 2442473 h 2979185"/>
                  <a:gd name="connsiteX14" fmla="*/ 1102313 w 1375645"/>
                  <a:gd name="connsiteY14" fmla="*/ 2916125 h 2979185"/>
                  <a:gd name="connsiteX15" fmla="*/ 691887 w 1375645"/>
                  <a:gd name="connsiteY15" fmla="*/ 2800839 h 2979185"/>
                  <a:gd name="connsiteX16" fmla="*/ 716485 w 1375645"/>
                  <a:gd name="connsiteY16" fmla="*/ 2575012 h 2979185"/>
                  <a:gd name="connsiteX17" fmla="*/ 773578 w 1375645"/>
                  <a:gd name="connsiteY17" fmla="*/ 1953175 h 2979185"/>
                  <a:gd name="connsiteX18" fmla="*/ 753987 w 1375645"/>
                  <a:gd name="connsiteY18" fmla="*/ 1632109 h 2979185"/>
                  <a:gd name="connsiteX19" fmla="*/ 721477 w 1375645"/>
                  <a:gd name="connsiteY19" fmla="*/ 1212956 h 2979185"/>
                  <a:gd name="connsiteX20" fmla="*/ 695915 w 1375645"/>
                  <a:gd name="connsiteY20" fmla="*/ 895734 h 2979185"/>
                  <a:gd name="connsiteX21" fmla="*/ 667680 w 1375645"/>
                  <a:gd name="connsiteY21" fmla="*/ 1081852 h 2979185"/>
                  <a:gd name="connsiteX22" fmla="*/ 602031 w 1375645"/>
                  <a:gd name="connsiteY22" fmla="*/ 1669237 h 2979185"/>
                  <a:gd name="connsiteX23" fmla="*/ 637531 w 1375645"/>
                  <a:gd name="connsiteY23" fmla="*/ 2510114 h 2979185"/>
                  <a:gd name="connsiteX24" fmla="*/ 614682 w 1375645"/>
                  <a:gd name="connsiteY24" fmla="*/ 2809553 h 2979185"/>
                  <a:gd name="connsiteX25" fmla="*/ 575008 w 1375645"/>
                  <a:gd name="connsiteY25" fmla="*/ 2910800 h 2979185"/>
                  <a:gd name="connsiteX26" fmla="*/ 286866 w 1375645"/>
                  <a:gd name="connsiteY26" fmla="*/ 2944902 h 2979185"/>
                  <a:gd name="connsiteX27" fmla="*/ 237481 w 1375645"/>
                  <a:gd name="connsiteY27" fmla="*/ 2863879 h 2979185"/>
                  <a:gd name="connsiteX28" fmla="*/ 226577 w 1375645"/>
                  <a:gd name="connsiteY28" fmla="*/ 2077171 h 2979185"/>
                  <a:gd name="connsiteX29" fmla="*/ 161841 w 1375645"/>
                  <a:gd name="connsiteY29" fmla="*/ 1818226 h 2979185"/>
                  <a:gd name="connsiteX30" fmla="*/ 137565 w 1375645"/>
                  <a:gd name="connsiteY30" fmla="*/ 1583557 h 2979185"/>
                  <a:gd name="connsiteX31" fmla="*/ 80921 w 1375645"/>
                  <a:gd name="connsiteY31" fmla="*/ 733893 h 2979185"/>
                  <a:gd name="connsiteX32" fmla="*/ 8092 w 1375645"/>
                  <a:gd name="connsiteY32" fmla="*/ 474948 h 2979185"/>
                  <a:gd name="connsiteX33" fmla="*/ 32369 w 1375645"/>
                  <a:gd name="connsiteY33" fmla="*/ 345475 h 2979185"/>
                  <a:gd name="connsiteX34" fmla="*/ 178025 w 1375645"/>
                  <a:gd name="connsiteY34" fmla="*/ 5610 h 2979185"/>
                  <a:gd name="connsiteX0" fmla="*/ 178025 w 1375647"/>
                  <a:gd name="connsiteY0" fmla="*/ 5610 h 2979185"/>
                  <a:gd name="connsiteX1" fmla="*/ 299406 w 1375647"/>
                  <a:gd name="connsiteY1" fmla="*/ 78438 h 2979185"/>
                  <a:gd name="connsiteX2" fmla="*/ 493615 w 1375647"/>
                  <a:gd name="connsiteY2" fmla="*/ 126990 h 2979185"/>
                  <a:gd name="connsiteX3" fmla="*/ 687823 w 1375647"/>
                  <a:gd name="connsiteY3" fmla="*/ 143174 h 2979185"/>
                  <a:gd name="connsiteX4" fmla="*/ 865848 w 1375647"/>
                  <a:gd name="connsiteY4" fmla="*/ 110806 h 2979185"/>
                  <a:gd name="connsiteX5" fmla="*/ 946769 w 1375647"/>
                  <a:gd name="connsiteY5" fmla="*/ 62254 h 2979185"/>
                  <a:gd name="connsiteX6" fmla="*/ 1181438 w 1375647"/>
                  <a:gd name="connsiteY6" fmla="*/ 264555 h 2979185"/>
                  <a:gd name="connsiteX7" fmla="*/ 1351370 w 1375647"/>
                  <a:gd name="connsiteY7" fmla="*/ 385935 h 2979185"/>
                  <a:gd name="connsiteX8" fmla="*/ 1327094 w 1375647"/>
                  <a:gd name="connsiteY8" fmla="*/ 491132 h 2979185"/>
                  <a:gd name="connsiteX9" fmla="*/ 1246174 w 1375647"/>
                  <a:gd name="connsiteY9" fmla="*/ 750077 h 2979185"/>
                  <a:gd name="connsiteX10" fmla="*/ 1221898 w 1375647"/>
                  <a:gd name="connsiteY10" fmla="*/ 1551189 h 2979185"/>
                  <a:gd name="connsiteX11" fmla="*/ 1197562 w 1375647"/>
                  <a:gd name="connsiteY11" fmla="*/ 1758047 h 2979185"/>
                  <a:gd name="connsiteX12" fmla="*/ 1171022 w 1375647"/>
                  <a:gd name="connsiteY12" fmla="*/ 2064083 h 2979185"/>
                  <a:gd name="connsiteX13" fmla="*/ 1108688 w 1375647"/>
                  <a:gd name="connsiteY13" fmla="*/ 2442473 h 2979185"/>
                  <a:gd name="connsiteX14" fmla="*/ 1102313 w 1375647"/>
                  <a:gd name="connsiteY14" fmla="*/ 2916125 h 2979185"/>
                  <a:gd name="connsiteX15" fmla="*/ 691887 w 1375647"/>
                  <a:gd name="connsiteY15" fmla="*/ 2800839 h 2979185"/>
                  <a:gd name="connsiteX16" fmla="*/ 716485 w 1375647"/>
                  <a:gd name="connsiteY16" fmla="*/ 2575012 h 2979185"/>
                  <a:gd name="connsiteX17" fmla="*/ 773578 w 1375647"/>
                  <a:gd name="connsiteY17" fmla="*/ 1953175 h 2979185"/>
                  <a:gd name="connsiteX18" fmla="*/ 753987 w 1375647"/>
                  <a:gd name="connsiteY18" fmla="*/ 1632109 h 2979185"/>
                  <a:gd name="connsiteX19" fmla="*/ 721477 w 1375647"/>
                  <a:gd name="connsiteY19" fmla="*/ 1212956 h 2979185"/>
                  <a:gd name="connsiteX20" fmla="*/ 695915 w 1375647"/>
                  <a:gd name="connsiteY20" fmla="*/ 895734 h 2979185"/>
                  <a:gd name="connsiteX21" fmla="*/ 667680 w 1375647"/>
                  <a:gd name="connsiteY21" fmla="*/ 1081852 h 2979185"/>
                  <a:gd name="connsiteX22" fmla="*/ 602031 w 1375647"/>
                  <a:gd name="connsiteY22" fmla="*/ 1669237 h 2979185"/>
                  <a:gd name="connsiteX23" fmla="*/ 637531 w 1375647"/>
                  <a:gd name="connsiteY23" fmla="*/ 2510114 h 2979185"/>
                  <a:gd name="connsiteX24" fmla="*/ 614682 w 1375647"/>
                  <a:gd name="connsiteY24" fmla="*/ 2809553 h 2979185"/>
                  <a:gd name="connsiteX25" fmla="*/ 575008 w 1375647"/>
                  <a:gd name="connsiteY25" fmla="*/ 2910800 h 2979185"/>
                  <a:gd name="connsiteX26" fmla="*/ 286866 w 1375647"/>
                  <a:gd name="connsiteY26" fmla="*/ 2944902 h 2979185"/>
                  <a:gd name="connsiteX27" fmla="*/ 237481 w 1375647"/>
                  <a:gd name="connsiteY27" fmla="*/ 2863879 h 2979185"/>
                  <a:gd name="connsiteX28" fmla="*/ 226577 w 1375647"/>
                  <a:gd name="connsiteY28" fmla="*/ 2077171 h 2979185"/>
                  <a:gd name="connsiteX29" fmla="*/ 161841 w 1375647"/>
                  <a:gd name="connsiteY29" fmla="*/ 1818226 h 2979185"/>
                  <a:gd name="connsiteX30" fmla="*/ 137565 w 1375647"/>
                  <a:gd name="connsiteY30" fmla="*/ 1583557 h 2979185"/>
                  <a:gd name="connsiteX31" fmla="*/ 80921 w 1375647"/>
                  <a:gd name="connsiteY31" fmla="*/ 733893 h 2979185"/>
                  <a:gd name="connsiteX32" fmla="*/ 8092 w 1375647"/>
                  <a:gd name="connsiteY32" fmla="*/ 474948 h 2979185"/>
                  <a:gd name="connsiteX33" fmla="*/ 32369 w 1375647"/>
                  <a:gd name="connsiteY33" fmla="*/ 345475 h 2979185"/>
                  <a:gd name="connsiteX34" fmla="*/ 178025 w 1375647"/>
                  <a:gd name="connsiteY34" fmla="*/ 5610 h 2979185"/>
                  <a:gd name="connsiteX0" fmla="*/ 178025 w 1375645"/>
                  <a:gd name="connsiteY0" fmla="*/ 5610 h 2979185"/>
                  <a:gd name="connsiteX1" fmla="*/ 299406 w 1375645"/>
                  <a:gd name="connsiteY1" fmla="*/ 78438 h 2979185"/>
                  <a:gd name="connsiteX2" fmla="*/ 493615 w 1375645"/>
                  <a:gd name="connsiteY2" fmla="*/ 126990 h 2979185"/>
                  <a:gd name="connsiteX3" fmla="*/ 687823 w 1375645"/>
                  <a:gd name="connsiteY3" fmla="*/ 143174 h 2979185"/>
                  <a:gd name="connsiteX4" fmla="*/ 865848 w 1375645"/>
                  <a:gd name="connsiteY4" fmla="*/ 110806 h 2979185"/>
                  <a:gd name="connsiteX5" fmla="*/ 946769 w 1375645"/>
                  <a:gd name="connsiteY5" fmla="*/ 62254 h 2979185"/>
                  <a:gd name="connsiteX6" fmla="*/ 1181438 w 1375645"/>
                  <a:gd name="connsiteY6" fmla="*/ 264555 h 2979185"/>
                  <a:gd name="connsiteX7" fmla="*/ 1351370 w 1375645"/>
                  <a:gd name="connsiteY7" fmla="*/ 385935 h 2979185"/>
                  <a:gd name="connsiteX8" fmla="*/ 1327094 w 1375645"/>
                  <a:gd name="connsiteY8" fmla="*/ 491132 h 2979185"/>
                  <a:gd name="connsiteX9" fmla="*/ 1246174 w 1375645"/>
                  <a:gd name="connsiteY9" fmla="*/ 750077 h 2979185"/>
                  <a:gd name="connsiteX10" fmla="*/ 1221898 w 1375645"/>
                  <a:gd name="connsiteY10" fmla="*/ 1551189 h 2979185"/>
                  <a:gd name="connsiteX11" fmla="*/ 1197562 w 1375645"/>
                  <a:gd name="connsiteY11" fmla="*/ 1758047 h 2979185"/>
                  <a:gd name="connsiteX12" fmla="*/ 1171022 w 1375645"/>
                  <a:gd name="connsiteY12" fmla="*/ 2064083 h 2979185"/>
                  <a:gd name="connsiteX13" fmla="*/ 1108688 w 1375645"/>
                  <a:gd name="connsiteY13" fmla="*/ 2442473 h 2979185"/>
                  <a:gd name="connsiteX14" fmla="*/ 1102313 w 1375645"/>
                  <a:gd name="connsiteY14" fmla="*/ 2916125 h 2979185"/>
                  <a:gd name="connsiteX15" fmla="*/ 691887 w 1375645"/>
                  <a:gd name="connsiteY15" fmla="*/ 2800839 h 2979185"/>
                  <a:gd name="connsiteX16" fmla="*/ 716485 w 1375645"/>
                  <a:gd name="connsiteY16" fmla="*/ 2575012 h 2979185"/>
                  <a:gd name="connsiteX17" fmla="*/ 773578 w 1375645"/>
                  <a:gd name="connsiteY17" fmla="*/ 1953175 h 2979185"/>
                  <a:gd name="connsiteX18" fmla="*/ 753987 w 1375645"/>
                  <a:gd name="connsiteY18" fmla="*/ 1632109 h 2979185"/>
                  <a:gd name="connsiteX19" fmla="*/ 721477 w 1375645"/>
                  <a:gd name="connsiteY19" fmla="*/ 1212956 h 2979185"/>
                  <a:gd name="connsiteX20" fmla="*/ 695915 w 1375645"/>
                  <a:gd name="connsiteY20" fmla="*/ 895734 h 2979185"/>
                  <a:gd name="connsiteX21" fmla="*/ 667680 w 1375645"/>
                  <a:gd name="connsiteY21" fmla="*/ 1081852 h 2979185"/>
                  <a:gd name="connsiteX22" fmla="*/ 602031 w 1375645"/>
                  <a:gd name="connsiteY22" fmla="*/ 1669237 h 2979185"/>
                  <a:gd name="connsiteX23" fmla="*/ 637531 w 1375645"/>
                  <a:gd name="connsiteY23" fmla="*/ 2510114 h 2979185"/>
                  <a:gd name="connsiteX24" fmla="*/ 614682 w 1375645"/>
                  <a:gd name="connsiteY24" fmla="*/ 2809553 h 2979185"/>
                  <a:gd name="connsiteX25" fmla="*/ 575008 w 1375645"/>
                  <a:gd name="connsiteY25" fmla="*/ 2910800 h 2979185"/>
                  <a:gd name="connsiteX26" fmla="*/ 286866 w 1375645"/>
                  <a:gd name="connsiteY26" fmla="*/ 2944902 h 2979185"/>
                  <a:gd name="connsiteX27" fmla="*/ 237481 w 1375645"/>
                  <a:gd name="connsiteY27" fmla="*/ 2863879 h 2979185"/>
                  <a:gd name="connsiteX28" fmla="*/ 226577 w 1375645"/>
                  <a:gd name="connsiteY28" fmla="*/ 2077171 h 2979185"/>
                  <a:gd name="connsiteX29" fmla="*/ 161841 w 1375645"/>
                  <a:gd name="connsiteY29" fmla="*/ 1818226 h 2979185"/>
                  <a:gd name="connsiteX30" fmla="*/ 137565 w 1375645"/>
                  <a:gd name="connsiteY30" fmla="*/ 1583557 h 2979185"/>
                  <a:gd name="connsiteX31" fmla="*/ 80921 w 1375645"/>
                  <a:gd name="connsiteY31" fmla="*/ 733893 h 2979185"/>
                  <a:gd name="connsiteX32" fmla="*/ 8092 w 1375645"/>
                  <a:gd name="connsiteY32" fmla="*/ 474948 h 2979185"/>
                  <a:gd name="connsiteX33" fmla="*/ 32369 w 1375645"/>
                  <a:gd name="connsiteY33" fmla="*/ 345475 h 2979185"/>
                  <a:gd name="connsiteX34" fmla="*/ 178025 w 1375645"/>
                  <a:gd name="connsiteY34" fmla="*/ 5610 h 2979185"/>
                  <a:gd name="connsiteX0" fmla="*/ 178025 w 1375647"/>
                  <a:gd name="connsiteY0" fmla="*/ 5610 h 2997889"/>
                  <a:gd name="connsiteX1" fmla="*/ 299406 w 1375647"/>
                  <a:gd name="connsiteY1" fmla="*/ 78438 h 2997889"/>
                  <a:gd name="connsiteX2" fmla="*/ 493615 w 1375647"/>
                  <a:gd name="connsiteY2" fmla="*/ 126990 h 2997889"/>
                  <a:gd name="connsiteX3" fmla="*/ 687823 w 1375647"/>
                  <a:gd name="connsiteY3" fmla="*/ 143174 h 2997889"/>
                  <a:gd name="connsiteX4" fmla="*/ 865848 w 1375647"/>
                  <a:gd name="connsiteY4" fmla="*/ 110806 h 2997889"/>
                  <a:gd name="connsiteX5" fmla="*/ 946769 w 1375647"/>
                  <a:gd name="connsiteY5" fmla="*/ 62254 h 2997889"/>
                  <a:gd name="connsiteX6" fmla="*/ 1181438 w 1375647"/>
                  <a:gd name="connsiteY6" fmla="*/ 264555 h 2997889"/>
                  <a:gd name="connsiteX7" fmla="*/ 1351370 w 1375647"/>
                  <a:gd name="connsiteY7" fmla="*/ 385935 h 2997889"/>
                  <a:gd name="connsiteX8" fmla="*/ 1327094 w 1375647"/>
                  <a:gd name="connsiteY8" fmla="*/ 491132 h 2997889"/>
                  <a:gd name="connsiteX9" fmla="*/ 1246174 w 1375647"/>
                  <a:gd name="connsiteY9" fmla="*/ 750077 h 2997889"/>
                  <a:gd name="connsiteX10" fmla="*/ 1221898 w 1375647"/>
                  <a:gd name="connsiteY10" fmla="*/ 1551189 h 2997889"/>
                  <a:gd name="connsiteX11" fmla="*/ 1197562 w 1375647"/>
                  <a:gd name="connsiteY11" fmla="*/ 1758047 h 2997889"/>
                  <a:gd name="connsiteX12" fmla="*/ 1171022 w 1375647"/>
                  <a:gd name="connsiteY12" fmla="*/ 2064083 h 2997889"/>
                  <a:gd name="connsiteX13" fmla="*/ 1108688 w 1375647"/>
                  <a:gd name="connsiteY13" fmla="*/ 2442473 h 2997889"/>
                  <a:gd name="connsiteX14" fmla="*/ 1049295 w 1375647"/>
                  <a:gd name="connsiteY14" fmla="*/ 2992766 h 2997889"/>
                  <a:gd name="connsiteX15" fmla="*/ 691887 w 1375647"/>
                  <a:gd name="connsiteY15" fmla="*/ 2800839 h 2997889"/>
                  <a:gd name="connsiteX16" fmla="*/ 716485 w 1375647"/>
                  <a:gd name="connsiteY16" fmla="*/ 2575012 h 2997889"/>
                  <a:gd name="connsiteX17" fmla="*/ 773578 w 1375647"/>
                  <a:gd name="connsiteY17" fmla="*/ 1953175 h 2997889"/>
                  <a:gd name="connsiteX18" fmla="*/ 753987 w 1375647"/>
                  <a:gd name="connsiteY18" fmla="*/ 1632109 h 2997889"/>
                  <a:gd name="connsiteX19" fmla="*/ 721477 w 1375647"/>
                  <a:gd name="connsiteY19" fmla="*/ 1212956 h 2997889"/>
                  <a:gd name="connsiteX20" fmla="*/ 695915 w 1375647"/>
                  <a:gd name="connsiteY20" fmla="*/ 895734 h 2997889"/>
                  <a:gd name="connsiteX21" fmla="*/ 667680 w 1375647"/>
                  <a:gd name="connsiteY21" fmla="*/ 1081852 h 2997889"/>
                  <a:gd name="connsiteX22" fmla="*/ 602031 w 1375647"/>
                  <a:gd name="connsiteY22" fmla="*/ 1669237 h 2997889"/>
                  <a:gd name="connsiteX23" fmla="*/ 637531 w 1375647"/>
                  <a:gd name="connsiteY23" fmla="*/ 2510114 h 2997889"/>
                  <a:gd name="connsiteX24" fmla="*/ 614682 w 1375647"/>
                  <a:gd name="connsiteY24" fmla="*/ 2809553 h 2997889"/>
                  <a:gd name="connsiteX25" fmla="*/ 575008 w 1375647"/>
                  <a:gd name="connsiteY25" fmla="*/ 2910800 h 2997889"/>
                  <a:gd name="connsiteX26" fmla="*/ 286866 w 1375647"/>
                  <a:gd name="connsiteY26" fmla="*/ 2944902 h 2997889"/>
                  <a:gd name="connsiteX27" fmla="*/ 237481 w 1375647"/>
                  <a:gd name="connsiteY27" fmla="*/ 2863879 h 2997889"/>
                  <a:gd name="connsiteX28" fmla="*/ 226577 w 1375647"/>
                  <a:gd name="connsiteY28" fmla="*/ 2077171 h 2997889"/>
                  <a:gd name="connsiteX29" fmla="*/ 161841 w 1375647"/>
                  <a:gd name="connsiteY29" fmla="*/ 1818226 h 2997889"/>
                  <a:gd name="connsiteX30" fmla="*/ 137565 w 1375647"/>
                  <a:gd name="connsiteY30" fmla="*/ 1583557 h 2997889"/>
                  <a:gd name="connsiteX31" fmla="*/ 80921 w 1375647"/>
                  <a:gd name="connsiteY31" fmla="*/ 733893 h 2997889"/>
                  <a:gd name="connsiteX32" fmla="*/ 8092 w 1375647"/>
                  <a:gd name="connsiteY32" fmla="*/ 474948 h 2997889"/>
                  <a:gd name="connsiteX33" fmla="*/ 32369 w 1375647"/>
                  <a:gd name="connsiteY33" fmla="*/ 345475 h 2997889"/>
                  <a:gd name="connsiteX34" fmla="*/ 178025 w 1375647"/>
                  <a:gd name="connsiteY34" fmla="*/ 5610 h 2997889"/>
                  <a:gd name="connsiteX0" fmla="*/ 178025 w 1375645"/>
                  <a:gd name="connsiteY0" fmla="*/ 5610 h 2997889"/>
                  <a:gd name="connsiteX1" fmla="*/ 299406 w 1375645"/>
                  <a:gd name="connsiteY1" fmla="*/ 78438 h 2997889"/>
                  <a:gd name="connsiteX2" fmla="*/ 493615 w 1375645"/>
                  <a:gd name="connsiteY2" fmla="*/ 126990 h 2997889"/>
                  <a:gd name="connsiteX3" fmla="*/ 687823 w 1375645"/>
                  <a:gd name="connsiteY3" fmla="*/ 143174 h 2997889"/>
                  <a:gd name="connsiteX4" fmla="*/ 865848 w 1375645"/>
                  <a:gd name="connsiteY4" fmla="*/ 110806 h 2997889"/>
                  <a:gd name="connsiteX5" fmla="*/ 946769 w 1375645"/>
                  <a:gd name="connsiteY5" fmla="*/ 62254 h 2997889"/>
                  <a:gd name="connsiteX6" fmla="*/ 1181438 w 1375645"/>
                  <a:gd name="connsiteY6" fmla="*/ 264555 h 2997889"/>
                  <a:gd name="connsiteX7" fmla="*/ 1351370 w 1375645"/>
                  <a:gd name="connsiteY7" fmla="*/ 385935 h 2997889"/>
                  <a:gd name="connsiteX8" fmla="*/ 1327094 w 1375645"/>
                  <a:gd name="connsiteY8" fmla="*/ 491132 h 2997889"/>
                  <a:gd name="connsiteX9" fmla="*/ 1246174 w 1375645"/>
                  <a:gd name="connsiteY9" fmla="*/ 750077 h 2997889"/>
                  <a:gd name="connsiteX10" fmla="*/ 1221898 w 1375645"/>
                  <a:gd name="connsiteY10" fmla="*/ 1551189 h 2997889"/>
                  <a:gd name="connsiteX11" fmla="*/ 1197562 w 1375645"/>
                  <a:gd name="connsiteY11" fmla="*/ 1758047 h 2997889"/>
                  <a:gd name="connsiteX12" fmla="*/ 1171022 w 1375645"/>
                  <a:gd name="connsiteY12" fmla="*/ 2064083 h 2997889"/>
                  <a:gd name="connsiteX13" fmla="*/ 1108688 w 1375645"/>
                  <a:gd name="connsiteY13" fmla="*/ 2442473 h 2997889"/>
                  <a:gd name="connsiteX14" fmla="*/ 1049295 w 1375645"/>
                  <a:gd name="connsiteY14" fmla="*/ 2992766 h 2997889"/>
                  <a:gd name="connsiteX15" fmla="*/ 691887 w 1375645"/>
                  <a:gd name="connsiteY15" fmla="*/ 2800839 h 2997889"/>
                  <a:gd name="connsiteX16" fmla="*/ 716485 w 1375645"/>
                  <a:gd name="connsiteY16" fmla="*/ 2575012 h 2997889"/>
                  <a:gd name="connsiteX17" fmla="*/ 773578 w 1375645"/>
                  <a:gd name="connsiteY17" fmla="*/ 1953175 h 2997889"/>
                  <a:gd name="connsiteX18" fmla="*/ 753987 w 1375645"/>
                  <a:gd name="connsiteY18" fmla="*/ 1632109 h 2997889"/>
                  <a:gd name="connsiteX19" fmla="*/ 721477 w 1375645"/>
                  <a:gd name="connsiteY19" fmla="*/ 1212956 h 2997889"/>
                  <a:gd name="connsiteX20" fmla="*/ 695915 w 1375645"/>
                  <a:gd name="connsiteY20" fmla="*/ 895734 h 2997889"/>
                  <a:gd name="connsiteX21" fmla="*/ 667680 w 1375645"/>
                  <a:gd name="connsiteY21" fmla="*/ 1081852 h 2997889"/>
                  <a:gd name="connsiteX22" fmla="*/ 602031 w 1375645"/>
                  <a:gd name="connsiteY22" fmla="*/ 1669237 h 2997889"/>
                  <a:gd name="connsiteX23" fmla="*/ 637531 w 1375645"/>
                  <a:gd name="connsiteY23" fmla="*/ 2510114 h 2997889"/>
                  <a:gd name="connsiteX24" fmla="*/ 614682 w 1375645"/>
                  <a:gd name="connsiteY24" fmla="*/ 2809553 h 2997889"/>
                  <a:gd name="connsiteX25" fmla="*/ 575008 w 1375645"/>
                  <a:gd name="connsiteY25" fmla="*/ 2910800 h 2997889"/>
                  <a:gd name="connsiteX26" fmla="*/ 286866 w 1375645"/>
                  <a:gd name="connsiteY26" fmla="*/ 2944902 h 2997889"/>
                  <a:gd name="connsiteX27" fmla="*/ 237481 w 1375645"/>
                  <a:gd name="connsiteY27" fmla="*/ 2863879 h 2997889"/>
                  <a:gd name="connsiteX28" fmla="*/ 226577 w 1375645"/>
                  <a:gd name="connsiteY28" fmla="*/ 2077171 h 2997889"/>
                  <a:gd name="connsiteX29" fmla="*/ 161841 w 1375645"/>
                  <a:gd name="connsiteY29" fmla="*/ 1818226 h 2997889"/>
                  <a:gd name="connsiteX30" fmla="*/ 137565 w 1375645"/>
                  <a:gd name="connsiteY30" fmla="*/ 1583557 h 2997889"/>
                  <a:gd name="connsiteX31" fmla="*/ 80921 w 1375645"/>
                  <a:gd name="connsiteY31" fmla="*/ 733893 h 2997889"/>
                  <a:gd name="connsiteX32" fmla="*/ 8092 w 1375645"/>
                  <a:gd name="connsiteY32" fmla="*/ 474948 h 2997889"/>
                  <a:gd name="connsiteX33" fmla="*/ 32369 w 1375645"/>
                  <a:gd name="connsiteY33" fmla="*/ 345475 h 2997889"/>
                  <a:gd name="connsiteX34" fmla="*/ 178025 w 1375645"/>
                  <a:gd name="connsiteY34" fmla="*/ 5610 h 2997889"/>
                  <a:gd name="connsiteX0" fmla="*/ 178025 w 1375647"/>
                  <a:gd name="connsiteY0" fmla="*/ 5610 h 2997889"/>
                  <a:gd name="connsiteX1" fmla="*/ 299406 w 1375647"/>
                  <a:gd name="connsiteY1" fmla="*/ 78438 h 2997889"/>
                  <a:gd name="connsiteX2" fmla="*/ 493615 w 1375647"/>
                  <a:gd name="connsiteY2" fmla="*/ 126990 h 2997889"/>
                  <a:gd name="connsiteX3" fmla="*/ 687823 w 1375647"/>
                  <a:gd name="connsiteY3" fmla="*/ 143174 h 2997889"/>
                  <a:gd name="connsiteX4" fmla="*/ 865848 w 1375647"/>
                  <a:gd name="connsiteY4" fmla="*/ 110806 h 2997889"/>
                  <a:gd name="connsiteX5" fmla="*/ 946769 w 1375647"/>
                  <a:gd name="connsiteY5" fmla="*/ 62254 h 2997889"/>
                  <a:gd name="connsiteX6" fmla="*/ 1181438 w 1375647"/>
                  <a:gd name="connsiteY6" fmla="*/ 264555 h 2997889"/>
                  <a:gd name="connsiteX7" fmla="*/ 1351370 w 1375647"/>
                  <a:gd name="connsiteY7" fmla="*/ 385935 h 2997889"/>
                  <a:gd name="connsiteX8" fmla="*/ 1327094 w 1375647"/>
                  <a:gd name="connsiteY8" fmla="*/ 491132 h 2997889"/>
                  <a:gd name="connsiteX9" fmla="*/ 1246174 w 1375647"/>
                  <a:gd name="connsiteY9" fmla="*/ 750077 h 2997889"/>
                  <a:gd name="connsiteX10" fmla="*/ 1221898 w 1375647"/>
                  <a:gd name="connsiteY10" fmla="*/ 1551189 h 2997889"/>
                  <a:gd name="connsiteX11" fmla="*/ 1197562 w 1375647"/>
                  <a:gd name="connsiteY11" fmla="*/ 1758047 h 2997889"/>
                  <a:gd name="connsiteX12" fmla="*/ 1171022 w 1375647"/>
                  <a:gd name="connsiteY12" fmla="*/ 2064083 h 2997889"/>
                  <a:gd name="connsiteX13" fmla="*/ 1108688 w 1375647"/>
                  <a:gd name="connsiteY13" fmla="*/ 2442473 h 2997889"/>
                  <a:gd name="connsiteX14" fmla="*/ 1049295 w 1375647"/>
                  <a:gd name="connsiteY14" fmla="*/ 2992766 h 2997889"/>
                  <a:gd name="connsiteX15" fmla="*/ 691887 w 1375647"/>
                  <a:gd name="connsiteY15" fmla="*/ 2800839 h 2997889"/>
                  <a:gd name="connsiteX16" fmla="*/ 716485 w 1375647"/>
                  <a:gd name="connsiteY16" fmla="*/ 2575012 h 2997889"/>
                  <a:gd name="connsiteX17" fmla="*/ 773578 w 1375647"/>
                  <a:gd name="connsiteY17" fmla="*/ 1953175 h 2997889"/>
                  <a:gd name="connsiteX18" fmla="*/ 753987 w 1375647"/>
                  <a:gd name="connsiteY18" fmla="*/ 1632109 h 2997889"/>
                  <a:gd name="connsiteX19" fmla="*/ 721477 w 1375647"/>
                  <a:gd name="connsiteY19" fmla="*/ 1212956 h 2997889"/>
                  <a:gd name="connsiteX20" fmla="*/ 695915 w 1375647"/>
                  <a:gd name="connsiteY20" fmla="*/ 895734 h 2997889"/>
                  <a:gd name="connsiteX21" fmla="*/ 667680 w 1375647"/>
                  <a:gd name="connsiteY21" fmla="*/ 1081852 h 2997889"/>
                  <a:gd name="connsiteX22" fmla="*/ 602031 w 1375647"/>
                  <a:gd name="connsiteY22" fmla="*/ 1669237 h 2997889"/>
                  <a:gd name="connsiteX23" fmla="*/ 637531 w 1375647"/>
                  <a:gd name="connsiteY23" fmla="*/ 2510114 h 2997889"/>
                  <a:gd name="connsiteX24" fmla="*/ 614682 w 1375647"/>
                  <a:gd name="connsiteY24" fmla="*/ 2809553 h 2997889"/>
                  <a:gd name="connsiteX25" fmla="*/ 575008 w 1375647"/>
                  <a:gd name="connsiteY25" fmla="*/ 2910800 h 2997889"/>
                  <a:gd name="connsiteX26" fmla="*/ 286866 w 1375647"/>
                  <a:gd name="connsiteY26" fmla="*/ 2944902 h 2997889"/>
                  <a:gd name="connsiteX27" fmla="*/ 237481 w 1375647"/>
                  <a:gd name="connsiteY27" fmla="*/ 2863879 h 2997889"/>
                  <a:gd name="connsiteX28" fmla="*/ 226577 w 1375647"/>
                  <a:gd name="connsiteY28" fmla="*/ 2077171 h 2997889"/>
                  <a:gd name="connsiteX29" fmla="*/ 161841 w 1375647"/>
                  <a:gd name="connsiteY29" fmla="*/ 1818226 h 2997889"/>
                  <a:gd name="connsiteX30" fmla="*/ 137565 w 1375647"/>
                  <a:gd name="connsiteY30" fmla="*/ 1583557 h 2997889"/>
                  <a:gd name="connsiteX31" fmla="*/ 80921 w 1375647"/>
                  <a:gd name="connsiteY31" fmla="*/ 733893 h 2997889"/>
                  <a:gd name="connsiteX32" fmla="*/ 8092 w 1375647"/>
                  <a:gd name="connsiteY32" fmla="*/ 474948 h 2997889"/>
                  <a:gd name="connsiteX33" fmla="*/ 32369 w 1375647"/>
                  <a:gd name="connsiteY33" fmla="*/ 345475 h 2997889"/>
                  <a:gd name="connsiteX34" fmla="*/ 178025 w 1375647"/>
                  <a:gd name="connsiteY34" fmla="*/ 5610 h 2997889"/>
                  <a:gd name="connsiteX0" fmla="*/ 178025 w 1375645"/>
                  <a:gd name="connsiteY0" fmla="*/ 5610 h 2997889"/>
                  <a:gd name="connsiteX1" fmla="*/ 299406 w 1375645"/>
                  <a:gd name="connsiteY1" fmla="*/ 78438 h 2997889"/>
                  <a:gd name="connsiteX2" fmla="*/ 493615 w 1375645"/>
                  <a:gd name="connsiteY2" fmla="*/ 126990 h 2997889"/>
                  <a:gd name="connsiteX3" fmla="*/ 687823 w 1375645"/>
                  <a:gd name="connsiteY3" fmla="*/ 143174 h 2997889"/>
                  <a:gd name="connsiteX4" fmla="*/ 865848 w 1375645"/>
                  <a:gd name="connsiteY4" fmla="*/ 110806 h 2997889"/>
                  <a:gd name="connsiteX5" fmla="*/ 946769 w 1375645"/>
                  <a:gd name="connsiteY5" fmla="*/ 62254 h 2997889"/>
                  <a:gd name="connsiteX6" fmla="*/ 1181438 w 1375645"/>
                  <a:gd name="connsiteY6" fmla="*/ 264555 h 2997889"/>
                  <a:gd name="connsiteX7" fmla="*/ 1351370 w 1375645"/>
                  <a:gd name="connsiteY7" fmla="*/ 385935 h 2997889"/>
                  <a:gd name="connsiteX8" fmla="*/ 1327094 w 1375645"/>
                  <a:gd name="connsiteY8" fmla="*/ 491132 h 2997889"/>
                  <a:gd name="connsiteX9" fmla="*/ 1246174 w 1375645"/>
                  <a:gd name="connsiteY9" fmla="*/ 750077 h 2997889"/>
                  <a:gd name="connsiteX10" fmla="*/ 1221898 w 1375645"/>
                  <a:gd name="connsiteY10" fmla="*/ 1551189 h 2997889"/>
                  <a:gd name="connsiteX11" fmla="*/ 1197562 w 1375645"/>
                  <a:gd name="connsiteY11" fmla="*/ 1758047 h 2997889"/>
                  <a:gd name="connsiteX12" fmla="*/ 1171022 w 1375645"/>
                  <a:gd name="connsiteY12" fmla="*/ 2064083 h 2997889"/>
                  <a:gd name="connsiteX13" fmla="*/ 1108688 w 1375645"/>
                  <a:gd name="connsiteY13" fmla="*/ 2442473 h 2997889"/>
                  <a:gd name="connsiteX14" fmla="*/ 1102313 w 1375645"/>
                  <a:gd name="connsiteY14" fmla="*/ 2992766 h 2997889"/>
                  <a:gd name="connsiteX15" fmla="*/ 691887 w 1375645"/>
                  <a:gd name="connsiteY15" fmla="*/ 2800839 h 2997889"/>
                  <a:gd name="connsiteX16" fmla="*/ 716485 w 1375645"/>
                  <a:gd name="connsiteY16" fmla="*/ 2575012 h 2997889"/>
                  <a:gd name="connsiteX17" fmla="*/ 773578 w 1375645"/>
                  <a:gd name="connsiteY17" fmla="*/ 1953175 h 2997889"/>
                  <a:gd name="connsiteX18" fmla="*/ 753987 w 1375645"/>
                  <a:gd name="connsiteY18" fmla="*/ 1632109 h 2997889"/>
                  <a:gd name="connsiteX19" fmla="*/ 721477 w 1375645"/>
                  <a:gd name="connsiteY19" fmla="*/ 1212956 h 2997889"/>
                  <a:gd name="connsiteX20" fmla="*/ 695915 w 1375645"/>
                  <a:gd name="connsiteY20" fmla="*/ 895734 h 2997889"/>
                  <a:gd name="connsiteX21" fmla="*/ 667680 w 1375645"/>
                  <a:gd name="connsiteY21" fmla="*/ 1081852 h 2997889"/>
                  <a:gd name="connsiteX22" fmla="*/ 602031 w 1375645"/>
                  <a:gd name="connsiteY22" fmla="*/ 1669237 h 2997889"/>
                  <a:gd name="connsiteX23" fmla="*/ 637531 w 1375645"/>
                  <a:gd name="connsiteY23" fmla="*/ 2510114 h 2997889"/>
                  <a:gd name="connsiteX24" fmla="*/ 614682 w 1375645"/>
                  <a:gd name="connsiteY24" fmla="*/ 2809553 h 2997889"/>
                  <a:gd name="connsiteX25" fmla="*/ 575008 w 1375645"/>
                  <a:gd name="connsiteY25" fmla="*/ 2910800 h 2997889"/>
                  <a:gd name="connsiteX26" fmla="*/ 286866 w 1375645"/>
                  <a:gd name="connsiteY26" fmla="*/ 2944902 h 2997889"/>
                  <a:gd name="connsiteX27" fmla="*/ 237481 w 1375645"/>
                  <a:gd name="connsiteY27" fmla="*/ 2863879 h 2997889"/>
                  <a:gd name="connsiteX28" fmla="*/ 226577 w 1375645"/>
                  <a:gd name="connsiteY28" fmla="*/ 2077171 h 2997889"/>
                  <a:gd name="connsiteX29" fmla="*/ 161841 w 1375645"/>
                  <a:gd name="connsiteY29" fmla="*/ 1818226 h 2997889"/>
                  <a:gd name="connsiteX30" fmla="*/ 137565 w 1375645"/>
                  <a:gd name="connsiteY30" fmla="*/ 1583557 h 2997889"/>
                  <a:gd name="connsiteX31" fmla="*/ 80921 w 1375645"/>
                  <a:gd name="connsiteY31" fmla="*/ 733893 h 2997889"/>
                  <a:gd name="connsiteX32" fmla="*/ 8092 w 1375645"/>
                  <a:gd name="connsiteY32" fmla="*/ 474948 h 2997889"/>
                  <a:gd name="connsiteX33" fmla="*/ 32369 w 1375645"/>
                  <a:gd name="connsiteY33" fmla="*/ 345475 h 2997889"/>
                  <a:gd name="connsiteX34" fmla="*/ 178025 w 1375645"/>
                  <a:gd name="connsiteY34" fmla="*/ 5610 h 2997889"/>
                  <a:gd name="connsiteX0" fmla="*/ 178025 w 1375647"/>
                  <a:gd name="connsiteY0" fmla="*/ 5610 h 2997889"/>
                  <a:gd name="connsiteX1" fmla="*/ 299406 w 1375647"/>
                  <a:gd name="connsiteY1" fmla="*/ 78438 h 2997889"/>
                  <a:gd name="connsiteX2" fmla="*/ 493615 w 1375647"/>
                  <a:gd name="connsiteY2" fmla="*/ 126990 h 2997889"/>
                  <a:gd name="connsiteX3" fmla="*/ 687823 w 1375647"/>
                  <a:gd name="connsiteY3" fmla="*/ 143174 h 2997889"/>
                  <a:gd name="connsiteX4" fmla="*/ 865848 w 1375647"/>
                  <a:gd name="connsiteY4" fmla="*/ 110806 h 2997889"/>
                  <a:gd name="connsiteX5" fmla="*/ 946769 w 1375647"/>
                  <a:gd name="connsiteY5" fmla="*/ 62254 h 2997889"/>
                  <a:gd name="connsiteX6" fmla="*/ 1181438 w 1375647"/>
                  <a:gd name="connsiteY6" fmla="*/ 264555 h 2997889"/>
                  <a:gd name="connsiteX7" fmla="*/ 1351370 w 1375647"/>
                  <a:gd name="connsiteY7" fmla="*/ 385935 h 2997889"/>
                  <a:gd name="connsiteX8" fmla="*/ 1327094 w 1375647"/>
                  <a:gd name="connsiteY8" fmla="*/ 491132 h 2997889"/>
                  <a:gd name="connsiteX9" fmla="*/ 1246174 w 1375647"/>
                  <a:gd name="connsiteY9" fmla="*/ 750077 h 2997889"/>
                  <a:gd name="connsiteX10" fmla="*/ 1221898 w 1375647"/>
                  <a:gd name="connsiteY10" fmla="*/ 1551189 h 2997889"/>
                  <a:gd name="connsiteX11" fmla="*/ 1197562 w 1375647"/>
                  <a:gd name="connsiteY11" fmla="*/ 1758047 h 2997889"/>
                  <a:gd name="connsiteX12" fmla="*/ 1171022 w 1375647"/>
                  <a:gd name="connsiteY12" fmla="*/ 2064083 h 2997889"/>
                  <a:gd name="connsiteX13" fmla="*/ 1108688 w 1375647"/>
                  <a:gd name="connsiteY13" fmla="*/ 2442473 h 2997889"/>
                  <a:gd name="connsiteX14" fmla="*/ 1102313 w 1375647"/>
                  <a:gd name="connsiteY14" fmla="*/ 2992766 h 2997889"/>
                  <a:gd name="connsiteX15" fmla="*/ 691887 w 1375647"/>
                  <a:gd name="connsiteY15" fmla="*/ 2800839 h 2997889"/>
                  <a:gd name="connsiteX16" fmla="*/ 716485 w 1375647"/>
                  <a:gd name="connsiteY16" fmla="*/ 2575012 h 2997889"/>
                  <a:gd name="connsiteX17" fmla="*/ 773578 w 1375647"/>
                  <a:gd name="connsiteY17" fmla="*/ 1953175 h 2997889"/>
                  <a:gd name="connsiteX18" fmla="*/ 753987 w 1375647"/>
                  <a:gd name="connsiteY18" fmla="*/ 1632109 h 2997889"/>
                  <a:gd name="connsiteX19" fmla="*/ 721477 w 1375647"/>
                  <a:gd name="connsiteY19" fmla="*/ 1212956 h 2997889"/>
                  <a:gd name="connsiteX20" fmla="*/ 695915 w 1375647"/>
                  <a:gd name="connsiteY20" fmla="*/ 895734 h 2997889"/>
                  <a:gd name="connsiteX21" fmla="*/ 667680 w 1375647"/>
                  <a:gd name="connsiteY21" fmla="*/ 1081852 h 2997889"/>
                  <a:gd name="connsiteX22" fmla="*/ 602031 w 1375647"/>
                  <a:gd name="connsiteY22" fmla="*/ 1669237 h 2997889"/>
                  <a:gd name="connsiteX23" fmla="*/ 637531 w 1375647"/>
                  <a:gd name="connsiteY23" fmla="*/ 2510114 h 2997889"/>
                  <a:gd name="connsiteX24" fmla="*/ 614682 w 1375647"/>
                  <a:gd name="connsiteY24" fmla="*/ 2809553 h 2997889"/>
                  <a:gd name="connsiteX25" fmla="*/ 575008 w 1375647"/>
                  <a:gd name="connsiteY25" fmla="*/ 2910800 h 2997889"/>
                  <a:gd name="connsiteX26" fmla="*/ 286866 w 1375647"/>
                  <a:gd name="connsiteY26" fmla="*/ 2944902 h 2997889"/>
                  <a:gd name="connsiteX27" fmla="*/ 237481 w 1375647"/>
                  <a:gd name="connsiteY27" fmla="*/ 2863879 h 2997889"/>
                  <a:gd name="connsiteX28" fmla="*/ 226577 w 1375647"/>
                  <a:gd name="connsiteY28" fmla="*/ 2077171 h 2997889"/>
                  <a:gd name="connsiteX29" fmla="*/ 161841 w 1375647"/>
                  <a:gd name="connsiteY29" fmla="*/ 1818226 h 2997889"/>
                  <a:gd name="connsiteX30" fmla="*/ 137565 w 1375647"/>
                  <a:gd name="connsiteY30" fmla="*/ 1583557 h 2997889"/>
                  <a:gd name="connsiteX31" fmla="*/ 80921 w 1375647"/>
                  <a:gd name="connsiteY31" fmla="*/ 733893 h 2997889"/>
                  <a:gd name="connsiteX32" fmla="*/ 8092 w 1375647"/>
                  <a:gd name="connsiteY32" fmla="*/ 474948 h 2997889"/>
                  <a:gd name="connsiteX33" fmla="*/ 32369 w 1375647"/>
                  <a:gd name="connsiteY33" fmla="*/ 345475 h 2997889"/>
                  <a:gd name="connsiteX34" fmla="*/ 178025 w 1375647"/>
                  <a:gd name="connsiteY34" fmla="*/ 5610 h 2997889"/>
                  <a:gd name="connsiteX0" fmla="*/ 178025 w 1375645"/>
                  <a:gd name="connsiteY0" fmla="*/ 5610 h 2997889"/>
                  <a:gd name="connsiteX1" fmla="*/ 299406 w 1375645"/>
                  <a:gd name="connsiteY1" fmla="*/ 78438 h 2997889"/>
                  <a:gd name="connsiteX2" fmla="*/ 493615 w 1375645"/>
                  <a:gd name="connsiteY2" fmla="*/ 126990 h 2997889"/>
                  <a:gd name="connsiteX3" fmla="*/ 687823 w 1375645"/>
                  <a:gd name="connsiteY3" fmla="*/ 143174 h 2997889"/>
                  <a:gd name="connsiteX4" fmla="*/ 865848 w 1375645"/>
                  <a:gd name="connsiteY4" fmla="*/ 110806 h 2997889"/>
                  <a:gd name="connsiteX5" fmla="*/ 946769 w 1375645"/>
                  <a:gd name="connsiteY5" fmla="*/ 62254 h 2997889"/>
                  <a:gd name="connsiteX6" fmla="*/ 1181438 w 1375645"/>
                  <a:gd name="connsiteY6" fmla="*/ 264555 h 2997889"/>
                  <a:gd name="connsiteX7" fmla="*/ 1351370 w 1375645"/>
                  <a:gd name="connsiteY7" fmla="*/ 385935 h 2997889"/>
                  <a:gd name="connsiteX8" fmla="*/ 1327094 w 1375645"/>
                  <a:gd name="connsiteY8" fmla="*/ 491132 h 2997889"/>
                  <a:gd name="connsiteX9" fmla="*/ 1246174 w 1375645"/>
                  <a:gd name="connsiteY9" fmla="*/ 750077 h 2997889"/>
                  <a:gd name="connsiteX10" fmla="*/ 1221898 w 1375645"/>
                  <a:gd name="connsiteY10" fmla="*/ 1551189 h 2997889"/>
                  <a:gd name="connsiteX11" fmla="*/ 1197562 w 1375645"/>
                  <a:gd name="connsiteY11" fmla="*/ 1758047 h 2997889"/>
                  <a:gd name="connsiteX12" fmla="*/ 1171022 w 1375645"/>
                  <a:gd name="connsiteY12" fmla="*/ 2064083 h 2997889"/>
                  <a:gd name="connsiteX13" fmla="*/ 1108688 w 1375645"/>
                  <a:gd name="connsiteY13" fmla="*/ 2617650 h 2997889"/>
                  <a:gd name="connsiteX14" fmla="*/ 1102313 w 1375645"/>
                  <a:gd name="connsiteY14" fmla="*/ 2992766 h 2997889"/>
                  <a:gd name="connsiteX15" fmla="*/ 691887 w 1375645"/>
                  <a:gd name="connsiteY15" fmla="*/ 2800839 h 2997889"/>
                  <a:gd name="connsiteX16" fmla="*/ 716485 w 1375645"/>
                  <a:gd name="connsiteY16" fmla="*/ 2575012 h 2997889"/>
                  <a:gd name="connsiteX17" fmla="*/ 773578 w 1375645"/>
                  <a:gd name="connsiteY17" fmla="*/ 1953175 h 2997889"/>
                  <a:gd name="connsiteX18" fmla="*/ 753987 w 1375645"/>
                  <a:gd name="connsiteY18" fmla="*/ 1632109 h 2997889"/>
                  <a:gd name="connsiteX19" fmla="*/ 721477 w 1375645"/>
                  <a:gd name="connsiteY19" fmla="*/ 1212956 h 2997889"/>
                  <a:gd name="connsiteX20" fmla="*/ 695915 w 1375645"/>
                  <a:gd name="connsiteY20" fmla="*/ 895734 h 2997889"/>
                  <a:gd name="connsiteX21" fmla="*/ 667680 w 1375645"/>
                  <a:gd name="connsiteY21" fmla="*/ 1081852 h 2997889"/>
                  <a:gd name="connsiteX22" fmla="*/ 602031 w 1375645"/>
                  <a:gd name="connsiteY22" fmla="*/ 1669237 h 2997889"/>
                  <a:gd name="connsiteX23" fmla="*/ 637531 w 1375645"/>
                  <a:gd name="connsiteY23" fmla="*/ 2510114 h 2997889"/>
                  <a:gd name="connsiteX24" fmla="*/ 614682 w 1375645"/>
                  <a:gd name="connsiteY24" fmla="*/ 2809553 h 2997889"/>
                  <a:gd name="connsiteX25" fmla="*/ 575008 w 1375645"/>
                  <a:gd name="connsiteY25" fmla="*/ 2910800 h 2997889"/>
                  <a:gd name="connsiteX26" fmla="*/ 286866 w 1375645"/>
                  <a:gd name="connsiteY26" fmla="*/ 2944902 h 2997889"/>
                  <a:gd name="connsiteX27" fmla="*/ 237481 w 1375645"/>
                  <a:gd name="connsiteY27" fmla="*/ 2863879 h 2997889"/>
                  <a:gd name="connsiteX28" fmla="*/ 226577 w 1375645"/>
                  <a:gd name="connsiteY28" fmla="*/ 2077171 h 2997889"/>
                  <a:gd name="connsiteX29" fmla="*/ 161841 w 1375645"/>
                  <a:gd name="connsiteY29" fmla="*/ 1818226 h 2997889"/>
                  <a:gd name="connsiteX30" fmla="*/ 137565 w 1375645"/>
                  <a:gd name="connsiteY30" fmla="*/ 1583557 h 2997889"/>
                  <a:gd name="connsiteX31" fmla="*/ 80921 w 1375645"/>
                  <a:gd name="connsiteY31" fmla="*/ 733893 h 2997889"/>
                  <a:gd name="connsiteX32" fmla="*/ 8092 w 1375645"/>
                  <a:gd name="connsiteY32" fmla="*/ 474948 h 2997889"/>
                  <a:gd name="connsiteX33" fmla="*/ 32369 w 1375645"/>
                  <a:gd name="connsiteY33" fmla="*/ 345475 h 2997889"/>
                  <a:gd name="connsiteX34" fmla="*/ 178025 w 1375645"/>
                  <a:gd name="connsiteY34" fmla="*/ 5610 h 2997889"/>
                  <a:gd name="connsiteX0" fmla="*/ 178025 w 1375647"/>
                  <a:gd name="connsiteY0" fmla="*/ 5610 h 2997889"/>
                  <a:gd name="connsiteX1" fmla="*/ 299406 w 1375647"/>
                  <a:gd name="connsiteY1" fmla="*/ 78438 h 2997889"/>
                  <a:gd name="connsiteX2" fmla="*/ 493615 w 1375647"/>
                  <a:gd name="connsiteY2" fmla="*/ 126990 h 2997889"/>
                  <a:gd name="connsiteX3" fmla="*/ 687823 w 1375647"/>
                  <a:gd name="connsiteY3" fmla="*/ 143174 h 2997889"/>
                  <a:gd name="connsiteX4" fmla="*/ 865848 w 1375647"/>
                  <a:gd name="connsiteY4" fmla="*/ 110806 h 2997889"/>
                  <a:gd name="connsiteX5" fmla="*/ 946769 w 1375647"/>
                  <a:gd name="connsiteY5" fmla="*/ 62254 h 2997889"/>
                  <a:gd name="connsiteX6" fmla="*/ 1181438 w 1375647"/>
                  <a:gd name="connsiteY6" fmla="*/ 264555 h 2997889"/>
                  <a:gd name="connsiteX7" fmla="*/ 1351370 w 1375647"/>
                  <a:gd name="connsiteY7" fmla="*/ 385935 h 2997889"/>
                  <a:gd name="connsiteX8" fmla="*/ 1327094 w 1375647"/>
                  <a:gd name="connsiteY8" fmla="*/ 491132 h 2997889"/>
                  <a:gd name="connsiteX9" fmla="*/ 1246174 w 1375647"/>
                  <a:gd name="connsiteY9" fmla="*/ 750077 h 2997889"/>
                  <a:gd name="connsiteX10" fmla="*/ 1221898 w 1375647"/>
                  <a:gd name="connsiteY10" fmla="*/ 1551189 h 2997889"/>
                  <a:gd name="connsiteX11" fmla="*/ 1203453 w 1375647"/>
                  <a:gd name="connsiteY11" fmla="*/ 1801841 h 2997889"/>
                  <a:gd name="connsiteX12" fmla="*/ 1171022 w 1375647"/>
                  <a:gd name="connsiteY12" fmla="*/ 2064083 h 2997889"/>
                  <a:gd name="connsiteX13" fmla="*/ 1108688 w 1375647"/>
                  <a:gd name="connsiteY13" fmla="*/ 2617650 h 2997889"/>
                  <a:gd name="connsiteX14" fmla="*/ 1102313 w 1375647"/>
                  <a:gd name="connsiteY14" fmla="*/ 2992766 h 2997889"/>
                  <a:gd name="connsiteX15" fmla="*/ 691887 w 1375647"/>
                  <a:gd name="connsiteY15" fmla="*/ 2800839 h 2997889"/>
                  <a:gd name="connsiteX16" fmla="*/ 716485 w 1375647"/>
                  <a:gd name="connsiteY16" fmla="*/ 2575012 h 2997889"/>
                  <a:gd name="connsiteX17" fmla="*/ 773578 w 1375647"/>
                  <a:gd name="connsiteY17" fmla="*/ 1953175 h 2997889"/>
                  <a:gd name="connsiteX18" fmla="*/ 753987 w 1375647"/>
                  <a:gd name="connsiteY18" fmla="*/ 1632109 h 2997889"/>
                  <a:gd name="connsiteX19" fmla="*/ 721477 w 1375647"/>
                  <a:gd name="connsiteY19" fmla="*/ 1212956 h 2997889"/>
                  <a:gd name="connsiteX20" fmla="*/ 695915 w 1375647"/>
                  <a:gd name="connsiteY20" fmla="*/ 895734 h 2997889"/>
                  <a:gd name="connsiteX21" fmla="*/ 667680 w 1375647"/>
                  <a:gd name="connsiteY21" fmla="*/ 1081852 h 2997889"/>
                  <a:gd name="connsiteX22" fmla="*/ 602031 w 1375647"/>
                  <a:gd name="connsiteY22" fmla="*/ 1669237 h 2997889"/>
                  <a:gd name="connsiteX23" fmla="*/ 637531 w 1375647"/>
                  <a:gd name="connsiteY23" fmla="*/ 2510114 h 2997889"/>
                  <a:gd name="connsiteX24" fmla="*/ 614682 w 1375647"/>
                  <a:gd name="connsiteY24" fmla="*/ 2809553 h 2997889"/>
                  <a:gd name="connsiteX25" fmla="*/ 575008 w 1375647"/>
                  <a:gd name="connsiteY25" fmla="*/ 2910800 h 2997889"/>
                  <a:gd name="connsiteX26" fmla="*/ 286866 w 1375647"/>
                  <a:gd name="connsiteY26" fmla="*/ 2944902 h 2997889"/>
                  <a:gd name="connsiteX27" fmla="*/ 237481 w 1375647"/>
                  <a:gd name="connsiteY27" fmla="*/ 2863879 h 2997889"/>
                  <a:gd name="connsiteX28" fmla="*/ 226577 w 1375647"/>
                  <a:gd name="connsiteY28" fmla="*/ 2077171 h 2997889"/>
                  <a:gd name="connsiteX29" fmla="*/ 161841 w 1375647"/>
                  <a:gd name="connsiteY29" fmla="*/ 1818226 h 2997889"/>
                  <a:gd name="connsiteX30" fmla="*/ 137565 w 1375647"/>
                  <a:gd name="connsiteY30" fmla="*/ 1583557 h 2997889"/>
                  <a:gd name="connsiteX31" fmla="*/ 80921 w 1375647"/>
                  <a:gd name="connsiteY31" fmla="*/ 733893 h 2997889"/>
                  <a:gd name="connsiteX32" fmla="*/ 8092 w 1375647"/>
                  <a:gd name="connsiteY32" fmla="*/ 474948 h 2997889"/>
                  <a:gd name="connsiteX33" fmla="*/ 32369 w 1375647"/>
                  <a:gd name="connsiteY33" fmla="*/ 345475 h 2997889"/>
                  <a:gd name="connsiteX34" fmla="*/ 178025 w 1375647"/>
                  <a:gd name="connsiteY34" fmla="*/ 5610 h 2997889"/>
                  <a:gd name="connsiteX0" fmla="*/ 178025 w 1375645"/>
                  <a:gd name="connsiteY0" fmla="*/ 5610 h 2982550"/>
                  <a:gd name="connsiteX1" fmla="*/ 299406 w 1375645"/>
                  <a:gd name="connsiteY1" fmla="*/ 78438 h 2982550"/>
                  <a:gd name="connsiteX2" fmla="*/ 493615 w 1375645"/>
                  <a:gd name="connsiteY2" fmla="*/ 126990 h 2982550"/>
                  <a:gd name="connsiteX3" fmla="*/ 687823 w 1375645"/>
                  <a:gd name="connsiteY3" fmla="*/ 143174 h 2982550"/>
                  <a:gd name="connsiteX4" fmla="*/ 865848 w 1375645"/>
                  <a:gd name="connsiteY4" fmla="*/ 110806 h 2982550"/>
                  <a:gd name="connsiteX5" fmla="*/ 946769 w 1375645"/>
                  <a:gd name="connsiteY5" fmla="*/ 62254 h 2982550"/>
                  <a:gd name="connsiteX6" fmla="*/ 1181438 w 1375645"/>
                  <a:gd name="connsiteY6" fmla="*/ 264555 h 2982550"/>
                  <a:gd name="connsiteX7" fmla="*/ 1351370 w 1375645"/>
                  <a:gd name="connsiteY7" fmla="*/ 385935 h 2982550"/>
                  <a:gd name="connsiteX8" fmla="*/ 1327094 w 1375645"/>
                  <a:gd name="connsiteY8" fmla="*/ 491132 h 2982550"/>
                  <a:gd name="connsiteX9" fmla="*/ 1246174 w 1375645"/>
                  <a:gd name="connsiteY9" fmla="*/ 750077 h 2982550"/>
                  <a:gd name="connsiteX10" fmla="*/ 1221898 w 1375645"/>
                  <a:gd name="connsiteY10" fmla="*/ 1551189 h 2982550"/>
                  <a:gd name="connsiteX11" fmla="*/ 1203453 w 1375645"/>
                  <a:gd name="connsiteY11" fmla="*/ 1801841 h 2982550"/>
                  <a:gd name="connsiteX12" fmla="*/ 1171022 w 1375645"/>
                  <a:gd name="connsiteY12" fmla="*/ 2064083 h 2982550"/>
                  <a:gd name="connsiteX13" fmla="*/ 1108688 w 1375645"/>
                  <a:gd name="connsiteY13" fmla="*/ 2617650 h 2982550"/>
                  <a:gd name="connsiteX14" fmla="*/ 1155960 w 1375645"/>
                  <a:gd name="connsiteY14" fmla="*/ 2977427 h 2982550"/>
                  <a:gd name="connsiteX15" fmla="*/ 691887 w 1375645"/>
                  <a:gd name="connsiteY15" fmla="*/ 2800839 h 2982550"/>
                  <a:gd name="connsiteX16" fmla="*/ 716485 w 1375645"/>
                  <a:gd name="connsiteY16" fmla="*/ 2575012 h 2982550"/>
                  <a:gd name="connsiteX17" fmla="*/ 773578 w 1375645"/>
                  <a:gd name="connsiteY17" fmla="*/ 1953175 h 2982550"/>
                  <a:gd name="connsiteX18" fmla="*/ 753987 w 1375645"/>
                  <a:gd name="connsiteY18" fmla="*/ 1632109 h 2982550"/>
                  <a:gd name="connsiteX19" fmla="*/ 721477 w 1375645"/>
                  <a:gd name="connsiteY19" fmla="*/ 1212956 h 2982550"/>
                  <a:gd name="connsiteX20" fmla="*/ 695915 w 1375645"/>
                  <a:gd name="connsiteY20" fmla="*/ 895734 h 2982550"/>
                  <a:gd name="connsiteX21" fmla="*/ 667680 w 1375645"/>
                  <a:gd name="connsiteY21" fmla="*/ 1081852 h 2982550"/>
                  <a:gd name="connsiteX22" fmla="*/ 602031 w 1375645"/>
                  <a:gd name="connsiteY22" fmla="*/ 1669237 h 2982550"/>
                  <a:gd name="connsiteX23" fmla="*/ 637531 w 1375645"/>
                  <a:gd name="connsiteY23" fmla="*/ 2510114 h 2982550"/>
                  <a:gd name="connsiteX24" fmla="*/ 614682 w 1375645"/>
                  <a:gd name="connsiteY24" fmla="*/ 2809553 h 2982550"/>
                  <a:gd name="connsiteX25" fmla="*/ 575008 w 1375645"/>
                  <a:gd name="connsiteY25" fmla="*/ 2910800 h 2982550"/>
                  <a:gd name="connsiteX26" fmla="*/ 286866 w 1375645"/>
                  <a:gd name="connsiteY26" fmla="*/ 2944902 h 2982550"/>
                  <a:gd name="connsiteX27" fmla="*/ 237481 w 1375645"/>
                  <a:gd name="connsiteY27" fmla="*/ 2863879 h 2982550"/>
                  <a:gd name="connsiteX28" fmla="*/ 226577 w 1375645"/>
                  <a:gd name="connsiteY28" fmla="*/ 2077171 h 2982550"/>
                  <a:gd name="connsiteX29" fmla="*/ 161841 w 1375645"/>
                  <a:gd name="connsiteY29" fmla="*/ 1818226 h 2982550"/>
                  <a:gd name="connsiteX30" fmla="*/ 137565 w 1375645"/>
                  <a:gd name="connsiteY30" fmla="*/ 1583557 h 2982550"/>
                  <a:gd name="connsiteX31" fmla="*/ 80921 w 1375645"/>
                  <a:gd name="connsiteY31" fmla="*/ 733893 h 2982550"/>
                  <a:gd name="connsiteX32" fmla="*/ 8092 w 1375645"/>
                  <a:gd name="connsiteY32" fmla="*/ 474948 h 2982550"/>
                  <a:gd name="connsiteX33" fmla="*/ 32369 w 1375645"/>
                  <a:gd name="connsiteY33" fmla="*/ 345475 h 2982550"/>
                  <a:gd name="connsiteX34" fmla="*/ 178025 w 1375645"/>
                  <a:gd name="connsiteY34" fmla="*/ 5610 h 2982550"/>
                  <a:gd name="connsiteX0" fmla="*/ 178025 w 1375647"/>
                  <a:gd name="connsiteY0" fmla="*/ 5610 h 2982550"/>
                  <a:gd name="connsiteX1" fmla="*/ 299406 w 1375647"/>
                  <a:gd name="connsiteY1" fmla="*/ 78438 h 2982550"/>
                  <a:gd name="connsiteX2" fmla="*/ 493615 w 1375647"/>
                  <a:gd name="connsiteY2" fmla="*/ 126990 h 2982550"/>
                  <a:gd name="connsiteX3" fmla="*/ 687823 w 1375647"/>
                  <a:gd name="connsiteY3" fmla="*/ 143174 h 2982550"/>
                  <a:gd name="connsiteX4" fmla="*/ 865848 w 1375647"/>
                  <a:gd name="connsiteY4" fmla="*/ 110806 h 2982550"/>
                  <a:gd name="connsiteX5" fmla="*/ 946769 w 1375647"/>
                  <a:gd name="connsiteY5" fmla="*/ 62254 h 2982550"/>
                  <a:gd name="connsiteX6" fmla="*/ 1181438 w 1375647"/>
                  <a:gd name="connsiteY6" fmla="*/ 264555 h 2982550"/>
                  <a:gd name="connsiteX7" fmla="*/ 1351370 w 1375647"/>
                  <a:gd name="connsiteY7" fmla="*/ 385935 h 2982550"/>
                  <a:gd name="connsiteX8" fmla="*/ 1327094 w 1375647"/>
                  <a:gd name="connsiteY8" fmla="*/ 491132 h 2982550"/>
                  <a:gd name="connsiteX9" fmla="*/ 1246174 w 1375647"/>
                  <a:gd name="connsiteY9" fmla="*/ 750077 h 2982550"/>
                  <a:gd name="connsiteX10" fmla="*/ 1221898 w 1375647"/>
                  <a:gd name="connsiteY10" fmla="*/ 1551189 h 2982550"/>
                  <a:gd name="connsiteX11" fmla="*/ 1203453 w 1375647"/>
                  <a:gd name="connsiteY11" fmla="*/ 1801841 h 2982550"/>
                  <a:gd name="connsiteX12" fmla="*/ 1171022 w 1375647"/>
                  <a:gd name="connsiteY12" fmla="*/ 2064083 h 2982550"/>
                  <a:gd name="connsiteX13" fmla="*/ 1108688 w 1375647"/>
                  <a:gd name="connsiteY13" fmla="*/ 2617650 h 2982550"/>
                  <a:gd name="connsiteX14" fmla="*/ 1155960 w 1375647"/>
                  <a:gd name="connsiteY14" fmla="*/ 2977427 h 2982550"/>
                  <a:gd name="connsiteX15" fmla="*/ 782673 w 1375647"/>
                  <a:gd name="connsiteY15" fmla="*/ 2846858 h 2982550"/>
                  <a:gd name="connsiteX16" fmla="*/ 716485 w 1375647"/>
                  <a:gd name="connsiteY16" fmla="*/ 2575012 h 2982550"/>
                  <a:gd name="connsiteX17" fmla="*/ 773578 w 1375647"/>
                  <a:gd name="connsiteY17" fmla="*/ 1953175 h 2982550"/>
                  <a:gd name="connsiteX18" fmla="*/ 753987 w 1375647"/>
                  <a:gd name="connsiteY18" fmla="*/ 1632109 h 2982550"/>
                  <a:gd name="connsiteX19" fmla="*/ 721477 w 1375647"/>
                  <a:gd name="connsiteY19" fmla="*/ 1212956 h 2982550"/>
                  <a:gd name="connsiteX20" fmla="*/ 695915 w 1375647"/>
                  <a:gd name="connsiteY20" fmla="*/ 895734 h 2982550"/>
                  <a:gd name="connsiteX21" fmla="*/ 667680 w 1375647"/>
                  <a:gd name="connsiteY21" fmla="*/ 1081852 h 2982550"/>
                  <a:gd name="connsiteX22" fmla="*/ 602031 w 1375647"/>
                  <a:gd name="connsiteY22" fmla="*/ 1669237 h 2982550"/>
                  <a:gd name="connsiteX23" fmla="*/ 637531 w 1375647"/>
                  <a:gd name="connsiteY23" fmla="*/ 2510114 h 2982550"/>
                  <a:gd name="connsiteX24" fmla="*/ 614682 w 1375647"/>
                  <a:gd name="connsiteY24" fmla="*/ 2809553 h 2982550"/>
                  <a:gd name="connsiteX25" fmla="*/ 575008 w 1375647"/>
                  <a:gd name="connsiteY25" fmla="*/ 2910800 h 2982550"/>
                  <a:gd name="connsiteX26" fmla="*/ 286866 w 1375647"/>
                  <a:gd name="connsiteY26" fmla="*/ 2944902 h 2982550"/>
                  <a:gd name="connsiteX27" fmla="*/ 237481 w 1375647"/>
                  <a:gd name="connsiteY27" fmla="*/ 2863879 h 2982550"/>
                  <a:gd name="connsiteX28" fmla="*/ 226577 w 1375647"/>
                  <a:gd name="connsiteY28" fmla="*/ 2077171 h 2982550"/>
                  <a:gd name="connsiteX29" fmla="*/ 161841 w 1375647"/>
                  <a:gd name="connsiteY29" fmla="*/ 1818226 h 2982550"/>
                  <a:gd name="connsiteX30" fmla="*/ 137565 w 1375647"/>
                  <a:gd name="connsiteY30" fmla="*/ 1583557 h 2982550"/>
                  <a:gd name="connsiteX31" fmla="*/ 80921 w 1375647"/>
                  <a:gd name="connsiteY31" fmla="*/ 733893 h 2982550"/>
                  <a:gd name="connsiteX32" fmla="*/ 8092 w 1375647"/>
                  <a:gd name="connsiteY32" fmla="*/ 474948 h 2982550"/>
                  <a:gd name="connsiteX33" fmla="*/ 32369 w 1375647"/>
                  <a:gd name="connsiteY33" fmla="*/ 345475 h 2982550"/>
                  <a:gd name="connsiteX34" fmla="*/ 178025 w 1375647"/>
                  <a:gd name="connsiteY34" fmla="*/ 5610 h 2982550"/>
                  <a:gd name="connsiteX0" fmla="*/ 178025 w 1375645"/>
                  <a:gd name="connsiteY0" fmla="*/ 5610 h 2982550"/>
                  <a:gd name="connsiteX1" fmla="*/ 299406 w 1375645"/>
                  <a:gd name="connsiteY1" fmla="*/ 78438 h 2982550"/>
                  <a:gd name="connsiteX2" fmla="*/ 493615 w 1375645"/>
                  <a:gd name="connsiteY2" fmla="*/ 126990 h 2982550"/>
                  <a:gd name="connsiteX3" fmla="*/ 687823 w 1375645"/>
                  <a:gd name="connsiteY3" fmla="*/ 143174 h 2982550"/>
                  <a:gd name="connsiteX4" fmla="*/ 865848 w 1375645"/>
                  <a:gd name="connsiteY4" fmla="*/ 110806 h 2982550"/>
                  <a:gd name="connsiteX5" fmla="*/ 946769 w 1375645"/>
                  <a:gd name="connsiteY5" fmla="*/ 62254 h 2982550"/>
                  <a:gd name="connsiteX6" fmla="*/ 1181438 w 1375645"/>
                  <a:gd name="connsiteY6" fmla="*/ 264555 h 2982550"/>
                  <a:gd name="connsiteX7" fmla="*/ 1351370 w 1375645"/>
                  <a:gd name="connsiteY7" fmla="*/ 385935 h 2982550"/>
                  <a:gd name="connsiteX8" fmla="*/ 1327094 w 1375645"/>
                  <a:gd name="connsiteY8" fmla="*/ 491132 h 2982550"/>
                  <a:gd name="connsiteX9" fmla="*/ 1246174 w 1375645"/>
                  <a:gd name="connsiteY9" fmla="*/ 750077 h 2982550"/>
                  <a:gd name="connsiteX10" fmla="*/ 1221898 w 1375645"/>
                  <a:gd name="connsiteY10" fmla="*/ 1551189 h 2982550"/>
                  <a:gd name="connsiteX11" fmla="*/ 1203453 w 1375645"/>
                  <a:gd name="connsiteY11" fmla="*/ 1801841 h 2982550"/>
                  <a:gd name="connsiteX12" fmla="*/ 1171022 w 1375645"/>
                  <a:gd name="connsiteY12" fmla="*/ 2064083 h 2982550"/>
                  <a:gd name="connsiteX13" fmla="*/ 1108688 w 1375645"/>
                  <a:gd name="connsiteY13" fmla="*/ 2617650 h 2982550"/>
                  <a:gd name="connsiteX14" fmla="*/ 1155960 w 1375645"/>
                  <a:gd name="connsiteY14" fmla="*/ 2977427 h 2982550"/>
                  <a:gd name="connsiteX15" fmla="*/ 782673 w 1375645"/>
                  <a:gd name="connsiteY15" fmla="*/ 2846858 h 2982550"/>
                  <a:gd name="connsiteX16" fmla="*/ 778382 w 1375645"/>
                  <a:gd name="connsiteY16" fmla="*/ 2575013 h 2982550"/>
                  <a:gd name="connsiteX17" fmla="*/ 773578 w 1375645"/>
                  <a:gd name="connsiteY17" fmla="*/ 1953175 h 2982550"/>
                  <a:gd name="connsiteX18" fmla="*/ 753987 w 1375645"/>
                  <a:gd name="connsiteY18" fmla="*/ 1632109 h 2982550"/>
                  <a:gd name="connsiteX19" fmla="*/ 721477 w 1375645"/>
                  <a:gd name="connsiteY19" fmla="*/ 1212956 h 2982550"/>
                  <a:gd name="connsiteX20" fmla="*/ 695915 w 1375645"/>
                  <a:gd name="connsiteY20" fmla="*/ 895734 h 2982550"/>
                  <a:gd name="connsiteX21" fmla="*/ 667680 w 1375645"/>
                  <a:gd name="connsiteY21" fmla="*/ 1081852 h 2982550"/>
                  <a:gd name="connsiteX22" fmla="*/ 602031 w 1375645"/>
                  <a:gd name="connsiteY22" fmla="*/ 1669237 h 2982550"/>
                  <a:gd name="connsiteX23" fmla="*/ 637531 w 1375645"/>
                  <a:gd name="connsiteY23" fmla="*/ 2510114 h 2982550"/>
                  <a:gd name="connsiteX24" fmla="*/ 614682 w 1375645"/>
                  <a:gd name="connsiteY24" fmla="*/ 2809553 h 2982550"/>
                  <a:gd name="connsiteX25" fmla="*/ 575008 w 1375645"/>
                  <a:gd name="connsiteY25" fmla="*/ 2910800 h 2982550"/>
                  <a:gd name="connsiteX26" fmla="*/ 286866 w 1375645"/>
                  <a:gd name="connsiteY26" fmla="*/ 2944902 h 2982550"/>
                  <a:gd name="connsiteX27" fmla="*/ 237481 w 1375645"/>
                  <a:gd name="connsiteY27" fmla="*/ 2863879 h 2982550"/>
                  <a:gd name="connsiteX28" fmla="*/ 226577 w 1375645"/>
                  <a:gd name="connsiteY28" fmla="*/ 2077171 h 2982550"/>
                  <a:gd name="connsiteX29" fmla="*/ 161841 w 1375645"/>
                  <a:gd name="connsiteY29" fmla="*/ 1818226 h 2982550"/>
                  <a:gd name="connsiteX30" fmla="*/ 137565 w 1375645"/>
                  <a:gd name="connsiteY30" fmla="*/ 1583557 h 2982550"/>
                  <a:gd name="connsiteX31" fmla="*/ 80921 w 1375645"/>
                  <a:gd name="connsiteY31" fmla="*/ 733893 h 2982550"/>
                  <a:gd name="connsiteX32" fmla="*/ 8092 w 1375645"/>
                  <a:gd name="connsiteY32" fmla="*/ 474948 h 2982550"/>
                  <a:gd name="connsiteX33" fmla="*/ 32369 w 1375645"/>
                  <a:gd name="connsiteY33" fmla="*/ 345475 h 2982550"/>
                  <a:gd name="connsiteX34" fmla="*/ 178025 w 1375645"/>
                  <a:gd name="connsiteY34" fmla="*/ 5610 h 2982550"/>
                  <a:gd name="connsiteX0" fmla="*/ 178025 w 1375647"/>
                  <a:gd name="connsiteY0" fmla="*/ 5610 h 2982550"/>
                  <a:gd name="connsiteX1" fmla="*/ 299406 w 1375647"/>
                  <a:gd name="connsiteY1" fmla="*/ 78438 h 2982550"/>
                  <a:gd name="connsiteX2" fmla="*/ 493615 w 1375647"/>
                  <a:gd name="connsiteY2" fmla="*/ 126990 h 2982550"/>
                  <a:gd name="connsiteX3" fmla="*/ 687823 w 1375647"/>
                  <a:gd name="connsiteY3" fmla="*/ 143174 h 2982550"/>
                  <a:gd name="connsiteX4" fmla="*/ 865848 w 1375647"/>
                  <a:gd name="connsiteY4" fmla="*/ 110806 h 2982550"/>
                  <a:gd name="connsiteX5" fmla="*/ 946769 w 1375647"/>
                  <a:gd name="connsiteY5" fmla="*/ 62254 h 2982550"/>
                  <a:gd name="connsiteX6" fmla="*/ 1181438 w 1375647"/>
                  <a:gd name="connsiteY6" fmla="*/ 264555 h 2982550"/>
                  <a:gd name="connsiteX7" fmla="*/ 1351370 w 1375647"/>
                  <a:gd name="connsiteY7" fmla="*/ 385935 h 2982550"/>
                  <a:gd name="connsiteX8" fmla="*/ 1327094 w 1375647"/>
                  <a:gd name="connsiteY8" fmla="*/ 491132 h 2982550"/>
                  <a:gd name="connsiteX9" fmla="*/ 1246174 w 1375647"/>
                  <a:gd name="connsiteY9" fmla="*/ 750077 h 2982550"/>
                  <a:gd name="connsiteX10" fmla="*/ 1221898 w 1375647"/>
                  <a:gd name="connsiteY10" fmla="*/ 1551189 h 2982550"/>
                  <a:gd name="connsiteX11" fmla="*/ 1203453 w 1375647"/>
                  <a:gd name="connsiteY11" fmla="*/ 1801841 h 2982550"/>
                  <a:gd name="connsiteX12" fmla="*/ 1171022 w 1375647"/>
                  <a:gd name="connsiteY12" fmla="*/ 2064083 h 2982550"/>
                  <a:gd name="connsiteX13" fmla="*/ 1108688 w 1375647"/>
                  <a:gd name="connsiteY13" fmla="*/ 2617650 h 2982550"/>
                  <a:gd name="connsiteX14" fmla="*/ 1155960 w 1375647"/>
                  <a:gd name="connsiteY14" fmla="*/ 2977427 h 2982550"/>
                  <a:gd name="connsiteX15" fmla="*/ 782673 w 1375647"/>
                  <a:gd name="connsiteY15" fmla="*/ 2846858 h 2982550"/>
                  <a:gd name="connsiteX16" fmla="*/ 778382 w 1375647"/>
                  <a:gd name="connsiteY16" fmla="*/ 2575013 h 2982550"/>
                  <a:gd name="connsiteX17" fmla="*/ 773578 w 1375647"/>
                  <a:gd name="connsiteY17" fmla="*/ 1953175 h 2982550"/>
                  <a:gd name="connsiteX18" fmla="*/ 753987 w 1375647"/>
                  <a:gd name="connsiteY18" fmla="*/ 1632109 h 2982550"/>
                  <a:gd name="connsiteX19" fmla="*/ 721477 w 1375647"/>
                  <a:gd name="connsiteY19" fmla="*/ 1212956 h 2982550"/>
                  <a:gd name="connsiteX20" fmla="*/ 695915 w 1375647"/>
                  <a:gd name="connsiteY20" fmla="*/ 895734 h 2982550"/>
                  <a:gd name="connsiteX21" fmla="*/ 667680 w 1375647"/>
                  <a:gd name="connsiteY21" fmla="*/ 1081852 h 2982550"/>
                  <a:gd name="connsiteX22" fmla="*/ 602031 w 1375647"/>
                  <a:gd name="connsiteY22" fmla="*/ 1669237 h 2982550"/>
                  <a:gd name="connsiteX23" fmla="*/ 637531 w 1375647"/>
                  <a:gd name="connsiteY23" fmla="*/ 2510114 h 2982550"/>
                  <a:gd name="connsiteX24" fmla="*/ 614682 w 1375647"/>
                  <a:gd name="connsiteY24" fmla="*/ 2809553 h 2982550"/>
                  <a:gd name="connsiteX25" fmla="*/ 575008 w 1375647"/>
                  <a:gd name="connsiteY25" fmla="*/ 2910800 h 2982550"/>
                  <a:gd name="connsiteX26" fmla="*/ 286866 w 1375647"/>
                  <a:gd name="connsiteY26" fmla="*/ 2944902 h 2982550"/>
                  <a:gd name="connsiteX27" fmla="*/ 237481 w 1375647"/>
                  <a:gd name="connsiteY27" fmla="*/ 2863879 h 2982550"/>
                  <a:gd name="connsiteX28" fmla="*/ 226577 w 1375647"/>
                  <a:gd name="connsiteY28" fmla="*/ 2077171 h 2982550"/>
                  <a:gd name="connsiteX29" fmla="*/ 161841 w 1375647"/>
                  <a:gd name="connsiteY29" fmla="*/ 1818226 h 2982550"/>
                  <a:gd name="connsiteX30" fmla="*/ 137565 w 1375647"/>
                  <a:gd name="connsiteY30" fmla="*/ 1583557 h 2982550"/>
                  <a:gd name="connsiteX31" fmla="*/ 80921 w 1375647"/>
                  <a:gd name="connsiteY31" fmla="*/ 733893 h 2982550"/>
                  <a:gd name="connsiteX32" fmla="*/ 8092 w 1375647"/>
                  <a:gd name="connsiteY32" fmla="*/ 474948 h 2982550"/>
                  <a:gd name="connsiteX33" fmla="*/ 32369 w 1375647"/>
                  <a:gd name="connsiteY33" fmla="*/ 345475 h 2982550"/>
                  <a:gd name="connsiteX34" fmla="*/ 178025 w 1375647"/>
                  <a:gd name="connsiteY34" fmla="*/ 5610 h 2982550"/>
                  <a:gd name="connsiteX0" fmla="*/ 178025 w 1375645"/>
                  <a:gd name="connsiteY0" fmla="*/ 5610 h 2982550"/>
                  <a:gd name="connsiteX1" fmla="*/ 299406 w 1375645"/>
                  <a:gd name="connsiteY1" fmla="*/ 78438 h 2982550"/>
                  <a:gd name="connsiteX2" fmla="*/ 493615 w 1375645"/>
                  <a:gd name="connsiteY2" fmla="*/ 126990 h 2982550"/>
                  <a:gd name="connsiteX3" fmla="*/ 687823 w 1375645"/>
                  <a:gd name="connsiteY3" fmla="*/ 143174 h 2982550"/>
                  <a:gd name="connsiteX4" fmla="*/ 865848 w 1375645"/>
                  <a:gd name="connsiteY4" fmla="*/ 110806 h 2982550"/>
                  <a:gd name="connsiteX5" fmla="*/ 946769 w 1375645"/>
                  <a:gd name="connsiteY5" fmla="*/ 62254 h 2982550"/>
                  <a:gd name="connsiteX6" fmla="*/ 1181438 w 1375645"/>
                  <a:gd name="connsiteY6" fmla="*/ 264555 h 2982550"/>
                  <a:gd name="connsiteX7" fmla="*/ 1351370 w 1375645"/>
                  <a:gd name="connsiteY7" fmla="*/ 385935 h 2982550"/>
                  <a:gd name="connsiteX8" fmla="*/ 1327094 w 1375645"/>
                  <a:gd name="connsiteY8" fmla="*/ 491132 h 2982550"/>
                  <a:gd name="connsiteX9" fmla="*/ 1246174 w 1375645"/>
                  <a:gd name="connsiteY9" fmla="*/ 750077 h 2982550"/>
                  <a:gd name="connsiteX10" fmla="*/ 1221898 w 1375645"/>
                  <a:gd name="connsiteY10" fmla="*/ 1551189 h 2982550"/>
                  <a:gd name="connsiteX11" fmla="*/ 1203453 w 1375645"/>
                  <a:gd name="connsiteY11" fmla="*/ 1801841 h 2982550"/>
                  <a:gd name="connsiteX12" fmla="*/ 1171022 w 1375645"/>
                  <a:gd name="connsiteY12" fmla="*/ 2064083 h 2982550"/>
                  <a:gd name="connsiteX13" fmla="*/ 1108688 w 1375645"/>
                  <a:gd name="connsiteY13" fmla="*/ 2617650 h 2982550"/>
                  <a:gd name="connsiteX14" fmla="*/ 1155960 w 1375645"/>
                  <a:gd name="connsiteY14" fmla="*/ 2977427 h 2982550"/>
                  <a:gd name="connsiteX15" fmla="*/ 782673 w 1375645"/>
                  <a:gd name="connsiteY15" fmla="*/ 2846858 h 2982550"/>
                  <a:gd name="connsiteX16" fmla="*/ 761876 w 1375645"/>
                  <a:gd name="connsiteY16" fmla="*/ 2575013 h 2982550"/>
                  <a:gd name="connsiteX17" fmla="*/ 773578 w 1375645"/>
                  <a:gd name="connsiteY17" fmla="*/ 1953175 h 2982550"/>
                  <a:gd name="connsiteX18" fmla="*/ 753987 w 1375645"/>
                  <a:gd name="connsiteY18" fmla="*/ 1632109 h 2982550"/>
                  <a:gd name="connsiteX19" fmla="*/ 721477 w 1375645"/>
                  <a:gd name="connsiteY19" fmla="*/ 1212956 h 2982550"/>
                  <a:gd name="connsiteX20" fmla="*/ 695915 w 1375645"/>
                  <a:gd name="connsiteY20" fmla="*/ 895734 h 2982550"/>
                  <a:gd name="connsiteX21" fmla="*/ 667680 w 1375645"/>
                  <a:gd name="connsiteY21" fmla="*/ 1081852 h 2982550"/>
                  <a:gd name="connsiteX22" fmla="*/ 602031 w 1375645"/>
                  <a:gd name="connsiteY22" fmla="*/ 1669237 h 2982550"/>
                  <a:gd name="connsiteX23" fmla="*/ 637531 w 1375645"/>
                  <a:gd name="connsiteY23" fmla="*/ 2510114 h 2982550"/>
                  <a:gd name="connsiteX24" fmla="*/ 614682 w 1375645"/>
                  <a:gd name="connsiteY24" fmla="*/ 2809553 h 2982550"/>
                  <a:gd name="connsiteX25" fmla="*/ 575008 w 1375645"/>
                  <a:gd name="connsiteY25" fmla="*/ 2910800 h 2982550"/>
                  <a:gd name="connsiteX26" fmla="*/ 286866 w 1375645"/>
                  <a:gd name="connsiteY26" fmla="*/ 2944902 h 2982550"/>
                  <a:gd name="connsiteX27" fmla="*/ 237481 w 1375645"/>
                  <a:gd name="connsiteY27" fmla="*/ 2863879 h 2982550"/>
                  <a:gd name="connsiteX28" fmla="*/ 226577 w 1375645"/>
                  <a:gd name="connsiteY28" fmla="*/ 2077171 h 2982550"/>
                  <a:gd name="connsiteX29" fmla="*/ 161841 w 1375645"/>
                  <a:gd name="connsiteY29" fmla="*/ 1818226 h 2982550"/>
                  <a:gd name="connsiteX30" fmla="*/ 137565 w 1375645"/>
                  <a:gd name="connsiteY30" fmla="*/ 1583557 h 2982550"/>
                  <a:gd name="connsiteX31" fmla="*/ 80921 w 1375645"/>
                  <a:gd name="connsiteY31" fmla="*/ 733893 h 2982550"/>
                  <a:gd name="connsiteX32" fmla="*/ 8092 w 1375645"/>
                  <a:gd name="connsiteY32" fmla="*/ 474948 h 2982550"/>
                  <a:gd name="connsiteX33" fmla="*/ 32369 w 1375645"/>
                  <a:gd name="connsiteY33" fmla="*/ 345475 h 2982550"/>
                  <a:gd name="connsiteX34" fmla="*/ 178025 w 1375645"/>
                  <a:gd name="connsiteY34" fmla="*/ 5610 h 2982550"/>
                  <a:gd name="connsiteX0" fmla="*/ 178025 w 1375647"/>
                  <a:gd name="connsiteY0" fmla="*/ 5610 h 2982550"/>
                  <a:gd name="connsiteX1" fmla="*/ 299406 w 1375647"/>
                  <a:gd name="connsiteY1" fmla="*/ 78438 h 2982550"/>
                  <a:gd name="connsiteX2" fmla="*/ 493615 w 1375647"/>
                  <a:gd name="connsiteY2" fmla="*/ 126990 h 2982550"/>
                  <a:gd name="connsiteX3" fmla="*/ 687823 w 1375647"/>
                  <a:gd name="connsiteY3" fmla="*/ 143174 h 2982550"/>
                  <a:gd name="connsiteX4" fmla="*/ 865848 w 1375647"/>
                  <a:gd name="connsiteY4" fmla="*/ 110806 h 2982550"/>
                  <a:gd name="connsiteX5" fmla="*/ 946769 w 1375647"/>
                  <a:gd name="connsiteY5" fmla="*/ 62254 h 2982550"/>
                  <a:gd name="connsiteX6" fmla="*/ 1181438 w 1375647"/>
                  <a:gd name="connsiteY6" fmla="*/ 264555 h 2982550"/>
                  <a:gd name="connsiteX7" fmla="*/ 1351370 w 1375647"/>
                  <a:gd name="connsiteY7" fmla="*/ 385935 h 2982550"/>
                  <a:gd name="connsiteX8" fmla="*/ 1327094 w 1375647"/>
                  <a:gd name="connsiteY8" fmla="*/ 491132 h 2982550"/>
                  <a:gd name="connsiteX9" fmla="*/ 1246174 w 1375647"/>
                  <a:gd name="connsiteY9" fmla="*/ 750077 h 2982550"/>
                  <a:gd name="connsiteX10" fmla="*/ 1221898 w 1375647"/>
                  <a:gd name="connsiteY10" fmla="*/ 1551189 h 2982550"/>
                  <a:gd name="connsiteX11" fmla="*/ 1203453 w 1375647"/>
                  <a:gd name="connsiteY11" fmla="*/ 1801841 h 2982550"/>
                  <a:gd name="connsiteX12" fmla="*/ 1171022 w 1375647"/>
                  <a:gd name="connsiteY12" fmla="*/ 2064083 h 2982550"/>
                  <a:gd name="connsiteX13" fmla="*/ 1108688 w 1375647"/>
                  <a:gd name="connsiteY13" fmla="*/ 2617650 h 2982550"/>
                  <a:gd name="connsiteX14" fmla="*/ 1155960 w 1375647"/>
                  <a:gd name="connsiteY14" fmla="*/ 2977427 h 2982550"/>
                  <a:gd name="connsiteX15" fmla="*/ 782673 w 1375647"/>
                  <a:gd name="connsiteY15" fmla="*/ 2846858 h 2982550"/>
                  <a:gd name="connsiteX16" fmla="*/ 761876 w 1375647"/>
                  <a:gd name="connsiteY16" fmla="*/ 2575013 h 2982550"/>
                  <a:gd name="connsiteX17" fmla="*/ 773578 w 1375647"/>
                  <a:gd name="connsiteY17" fmla="*/ 1953175 h 2982550"/>
                  <a:gd name="connsiteX18" fmla="*/ 753987 w 1375647"/>
                  <a:gd name="connsiteY18" fmla="*/ 1632109 h 2982550"/>
                  <a:gd name="connsiteX19" fmla="*/ 721477 w 1375647"/>
                  <a:gd name="connsiteY19" fmla="*/ 1212956 h 2982550"/>
                  <a:gd name="connsiteX20" fmla="*/ 695915 w 1375647"/>
                  <a:gd name="connsiteY20" fmla="*/ 895734 h 2982550"/>
                  <a:gd name="connsiteX21" fmla="*/ 667680 w 1375647"/>
                  <a:gd name="connsiteY21" fmla="*/ 1081852 h 2982550"/>
                  <a:gd name="connsiteX22" fmla="*/ 602031 w 1375647"/>
                  <a:gd name="connsiteY22" fmla="*/ 1669237 h 2982550"/>
                  <a:gd name="connsiteX23" fmla="*/ 637531 w 1375647"/>
                  <a:gd name="connsiteY23" fmla="*/ 2510114 h 2982550"/>
                  <a:gd name="connsiteX24" fmla="*/ 614682 w 1375647"/>
                  <a:gd name="connsiteY24" fmla="*/ 2809553 h 2982550"/>
                  <a:gd name="connsiteX25" fmla="*/ 575008 w 1375647"/>
                  <a:gd name="connsiteY25" fmla="*/ 2910800 h 2982550"/>
                  <a:gd name="connsiteX26" fmla="*/ 286866 w 1375647"/>
                  <a:gd name="connsiteY26" fmla="*/ 2944902 h 2982550"/>
                  <a:gd name="connsiteX27" fmla="*/ 237481 w 1375647"/>
                  <a:gd name="connsiteY27" fmla="*/ 2863879 h 2982550"/>
                  <a:gd name="connsiteX28" fmla="*/ 226577 w 1375647"/>
                  <a:gd name="connsiteY28" fmla="*/ 2077171 h 2982550"/>
                  <a:gd name="connsiteX29" fmla="*/ 161841 w 1375647"/>
                  <a:gd name="connsiteY29" fmla="*/ 1818226 h 2982550"/>
                  <a:gd name="connsiteX30" fmla="*/ 137565 w 1375647"/>
                  <a:gd name="connsiteY30" fmla="*/ 1583557 h 2982550"/>
                  <a:gd name="connsiteX31" fmla="*/ 80921 w 1375647"/>
                  <a:gd name="connsiteY31" fmla="*/ 733893 h 2982550"/>
                  <a:gd name="connsiteX32" fmla="*/ 8092 w 1375647"/>
                  <a:gd name="connsiteY32" fmla="*/ 474948 h 2982550"/>
                  <a:gd name="connsiteX33" fmla="*/ 32369 w 1375647"/>
                  <a:gd name="connsiteY33" fmla="*/ 345475 h 2982550"/>
                  <a:gd name="connsiteX34" fmla="*/ 178025 w 1375647"/>
                  <a:gd name="connsiteY34" fmla="*/ 5610 h 2982550"/>
                  <a:gd name="connsiteX0" fmla="*/ 178025 w 1375645"/>
                  <a:gd name="connsiteY0" fmla="*/ 5610 h 2982550"/>
                  <a:gd name="connsiteX1" fmla="*/ 299406 w 1375645"/>
                  <a:gd name="connsiteY1" fmla="*/ 78438 h 2982550"/>
                  <a:gd name="connsiteX2" fmla="*/ 493615 w 1375645"/>
                  <a:gd name="connsiteY2" fmla="*/ 126990 h 2982550"/>
                  <a:gd name="connsiteX3" fmla="*/ 687823 w 1375645"/>
                  <a:gd name="connsiteY3" fmla="*/ 143174 h 2982550"/>
                  <a:gd name="connsiteX4" fmla="*/ 865848 w 1375645"/>
                  <a:gd name="connsiteY4" fmla="*/ 110806 h 2982550"/>
                  <a:gd name="connsiteX5" fmla="*/ 946769 w 1375645"/>
                  <a:gd name="connsiteY5" fmla="*/ 62254 h 2982550"/>
                  <a:gd name="connsiteX6" fmla="*/ 1181438 w 1375645"/>
                  <a:gd name="connsiteY6" fmla="*/ 264555 h 2982550"/>
                  <a:gd name="connsiteX7" fmla="*/ 1351370 w 1375645"/>
                  <a:gd name="connsiteY7" fmla="*/ 385935 h 2982550"/>
                  <a:gd name="connsiteX8" fmla="*/ 1327094 w 1375645"/>
                  <a:gd name="connsiteY8" fmla="*/ 491132 h 2982550"/>
                  <a:gd name="connsiteX9" fmla="*/ 1246174 w 1375645"/>
                  <a:gd name="connsiteY9" fmla="*/ 750077 h 2982550"/>
                  <a:gd name="connsiteX10" fmla="*/ 1221898 w 1375645"/>
                  <a:gd name="connsiteY10" fmla="*/ 1551189 h 2982550"/>
                  <a:gd name="connsiteX11" fmla="*/ 1203453 w 1375645"/>
                  <a:gd name="connsiteY11" fmla="*/ 1801841 h 2982550"/>
                  <a:gd name="connsiteX12" fmla="*/ 1171022 w 1375645"/>
                  <a:gd name="connsiteY12" fmla="*/ 2064083 h 2982550"/>
                  <a:gd name="connsiteX13" fmla="*/ 1108688 w 1375645"/>
                  <a:gd name="connsiteY13" fmla="*/ 2617650 h 2982550"/>
                  <a:gd name="connsiteX14" fmla="*/ 1155960 w 1375645"/>
                  <a:gd name="connsiteY14" fmla="*/ 2977427 h 2982550"/>
                  <a:gd name="connsiteX15" fmla="*/ 782673 w 1375645"/>
                  <a:gd name="connsiteY15" fmla="*/ 2846858 h 2982550"/>
                  <a:gd name="connsiteX16" fmla="*/ 761876 w 1375645"/>
                  <a:gd name="connsiteY16" fmla="*/ 2575013 h 2982550"/>
                  <a:gd name="connsiteX17" fmla="*/ 752944 w 1375645"/>
                  <a:gd name="connsiteY17" fmla="*/ 1953176 h 2982550"/>
                  <a:gd name="connsiteX18" fmla="*/ 753987 w 1375645"/>
                  <a:gd name="connsiteY18" fmla="*/ 1632109 h 2982550"/>
                  <a:gd name="connsiteX19" fmla="*/ 721477 w 1375645"/>
                  <a:gd name="connsiteY19" fmla="*/ 1212956 h 2982550"/>
                  <a:gd name="connsiteX20" fmla="*/ 695915 w 1375645"/>
                  <a:gd name="connsiteY20" fmla="*/ 895734 h 2982550"/>
                  <a:gd name="connsiteX21" fmla="*/ 667680 w 1375645"/>
                  <a:gd name="connsiteY21" fmla="*/ 1081852 h 2982550"/>
                  <a:gd name="connsiteX22" fmla="*/ 602031 w 1375645"/>
                  <a:gd name="connsiteY22" fmla="*/ 1669237 h 2982550"/>
                  <a:gd name="connsiteX23" fmla="*/ 637531 w 1375645"/>
                  <a:gd name="connsiteY23" fmla="*/ 2510114 h 2982550"/>
                  <a:gd name="connsiteX24" fmla="*/ 614682 w 1375645"/>
                  <a:gd name="connsiteY24" fmla="*/ 2809553 h 2982550"/>
                  <a:gd name="connsiteX25" fmla="*/ 575008 w 1375645"/>
                  <a:gd name="connsiteY25" fmla="*/ 2910800 h 2982550"/>
                  <a:gd name="connsiteX26" fmla="*/ 286866 w 1375645"/>
                  <a:gd name="connsiteY26" fmla="*/ 2944902 h 2982550"/>
                  <a:gd name="connsiteX27" fmla="*/ 237481 w 1375645"/>
                  <a:gd name="connsiteY27" fmla="*/ 2863879 h 2982550"/>
                  <a:gd name="connsiteX28" fmla="*/ 226577 w 1375645"/>
                  <a:gd name="connsiteY28" fmla="*/ 2077171 h 2982550"/>
                  <a:gd name="connsiteX29" fmla="*/ 161841 w 1375645"/>
                  <a:gd name="connsiteY29" fmla="*/ 1818226 h 2982550"/>
                  <a:gd name="connsiteX30" fmla="*/ 137565 w 1375645"/>
                  <a:gd name="connsiteY30" fmla="*/ 1583557 h 2982550"/>
                  <a:gd name="connsiteX31" fmla="*/ 80921 w 1375645"/>
                  <a:gd name="connsiteY31" fmla="*/ 733893 h 2982550"/>
                  <a:gd name="connsiteX32" fmla="*/ 8092 w 1375645"/>
                  <a:gd name="connsiteY32" fmla="*/ 474948 h 2982550"/>
                  <a:gd name="connsiteX33" fmla="*/ 32369 w 1375645"/>
                  <a:gd name="connsiteY33" fmla="*/ 345475 h 2982550"/>
                  <a:gd name="connsiteX34" fmla="*/ 178025 w 1375645"/>
                  <a:gd name="connsiteY34" fmla="*/ 5610 h 2982550"/>
                  <a:gd name="connsiteX0" fmla="*/ 178025 w 1375647"/>
                  <a:gd name="connsiteY0" fmla="*/ 5610 h 2982550"/>
                  <a:gd name="connsiteX1" fmla="*/ 299406 w 1375647"/>
                  <a:gd name="connsiteY1" fmla="*/ 78438 h 2982550"/>
                  <a:gd name="connsiteX2" fmla="*/ 493615 w 1375647"/>
                  <a:gd name="connsiteY2" fmla="*/ 126990 h 2982550"/>
                  <a:gd name="connsiteX3" fmla="*/ 687823 w 1375647"/>
                  <a:gd name="connsiteY3" fmla="*/ 143174 h 2982550"/>
                  <a:gd name="connsiteX4" fmla="*/ 865848 w 1375647"/>
                  <a:gd name="connsiteY4" fmla="*/ 110806 h 2982550"/>
                  <a:gd name="connsiteX5" fmla="*/ 946769 w 1375647"/>
                  <a:gd name="connsiteY5" fmla="*/ 62254 h 2982550"/>
                  <a:gd name="connsiteX6" fmla="*/ 1181438 w 1375647"/>
                  <a:gd name="connsiteY6" fmla="*/ 264555 h 2982550"/>
                  <a:gd name="connsiteX7" fmla="*/ 1351370 w 1375647"/>
                  <a:gd name="connsiteY7" fmla="*/ 385935 h 2982550"/>
                  <a:gd name="connsiteX8" fmla="*/ 1327094 w 1375647"/>
                  <a:gd name="connsiteY8" fmla="*/ 491132 h 2982550"/>
                  <a:gd name="connsiteX9" fmla="*/ 1246174 w 1375647"/>
                  <a:gd name="connsiteY9" fmla="*/ 750077 h 2982550"/>
                  <a:gd name="connsiteX10" fmla="*/ 1221898 w 1375647"/>
                  <a:gd name="connsiteY10" fmla="*/ 1551189 h 2982550"/>
                  <a:gd name="connsiteX11" fmla="*/ 1203453 w 1375647"/>
                  <a:gd name="connsiteY11" fmla="*/ 1801841 h 2982550"/>
                  <a:gd name="connsiteX12" fmla="*/ 1171022 w 1375647"/>
                  <a:gd name="connsiteY12" fmla="*/ 2064083 h 2982550"/>
                  <a:gd name="connsiteX13" fmla="*/ 1108688 w 1375647"/>
                  <a:gd name="connsiteY13" fmla="*/ 2617650 h 2982550"/>
                  <a:gd name="connsiteX14" fmla="*/ 1155960 w 1375647"/>
                  <a:gd name="connsiteY14" fmla="*/ 2977427 h 2982550"/>
                  <a:gd name="connsiteX15" fmla="*/ 782673 w 1375647"/>
                  <a:gd name="connsiteY15" fmla="*/ 2846858 h 2982550"/>
                  <a:gd name="connsiteX16" fmla="*/ 782510 w 1375647"/>
                  <a:gd name="connsiteY16" fmla="*/ 2575013 h 2982550"/>
                  <a:gd name="connsiteX17" fmla="*/ 752944 w 1375647"/>
                  <a:gd name="connsiteY17" fmla="*/ 1953176 h 2982550"/>
                  <a:gd name="connsiteX18" fmla="*/ 753987 w 1375647"/>
                  <a:gd name="connsiteY18" fmla="*/ 1632109 h 2982550"/>
                  <a:gd name="connsiteX19" fmla="*/ 721477 w 1375647"/>
                  <a:gd name="connsiteY19" fmla="*/ 1212956 h 2982550"/>
                  <a:gd name="connsiteX20" fmla="*/ 695915 w 1375647"/>
                  <a:gd name="connsiteY20" fmla="*/ 895734 h 2982550"/>
                  <a:gd name="connsiteX21" fmla="*/ 667680 w 1375647"/>
                  <a:gd name="connsiteY21" fmla="*/ 1081852 h 2982550"/>
                  <a:gd name="connsiteX22" fmla="*/ 602031 w 1375647"/>
                  <a:gd name="connsiteY22" fmla="*/ 1669237 h 2982550"/>
                  <a:gd name="connsiteX23" fmla="*/ 637531 w 1375647"/>
                  <a:gd name="connsiteY23" fmla="*/ 2510114 h 2982550"/>
                  <a:gd name="connsiteX24" fmla="*/ 614682 w 1375647"/>
                  <a:gd name="connsiteY24" fmla="*/ 2809553 h 2982550"/>
                  <a:gd name="connsiteX25" fmla="*/ 575008 w 1375647"/>
                  <a:gd name="connsiteY25" fmla="*/ 2910800 h 2982550"/>
                  <a:gd name="connsiteX26" fmla="*/ 286866 w 1375647"/>
                  <a:gd name="connsiteY26" fmla="*/ 2944902 h 2982550"/>
                  <a:gd name="connsiteX27" fmla="*/ 237481 w 1375647"/>
                  <a:gd name="connsiteY27" fmla="*/ 2863879 h 2982550"/>
                  <a:gd name="connsiteX28" fmla="*/ 226577 w 1375647"/>
                  <a:gd name="connsiteY28" fmla="*/ 2077171 h 2982550"/>
                  <a:gd name="connsiteX29" fmla="*/ 161841 w 1375647"/>
                  <a:gd name="connsiteY29" fmla="*/ 1818226 h 2982550"/>
                  <a:gd name="connsiteX30" fmla="*/ 137565 w 1375647"/>
                  <a:gd name="connsiteY30" fmla="*/ 1583557 h 2982550"/>
                  <a:gd name="connsiteX31" fmla="*/ 80921 w 1375647"/>
                  <a:gd name="connsiteY31" fmla="*/ 733893 h 2982550"/>
                  <a:gd name="connsiteX32" fmla="*/ 8092 w 1375647"/>
                  <a:gd name="connsiteY32" fmla="*/ 474948 h 2982550"/>
                  <a:gd name="connsiteX33" fmla="*/ 32369 w 1375647"/>
                  <a:gd name="connsiteY33" fmla="*/ 345475 h 2982550"/>
                  <a:gd name="connsiteX34" fmla="*/ 178025 w 1375647"/>
                  <a:gd name="connsiteY34" fmla="*/ 5610 h 2982550"/>
                  <a:gd name="connsiteX0" fmla="*/ 178025 w 1375645"/>
                  <a:gd name="connsiteY0" fmla="*/ 5610 h 2998616"/>
                  <a:gd name="connsiteX1" fmla="*/ 299406 w 1375645"/>
                  <a:gd name="connsiteY1" fmla="*/ 78438 h 2998616"/>
                  <a:gd name="connsiteX2" fmla="*/ 493615 w 1375645"/>
                  <a:gd name="connsiteY2" fmla="*/ 126990 h 2998616"/>
                  <a:gd name="connsiteX3" fmla="*/ 687823 w 1375645"/>
                  <a:gd name="connsiteY3" fmla="*/ 143174 h 2998616"/>
                  <a:gd name="connsiteX4" fmla="*/ 865848 w 1375645"/>
                  <a:gd name="connsiteY4" fmla="*/ 110806 h 2998616"/>
                  <a:gd name="connsiteX5" fmla="*/ 946769 w 1375645"/>
                  <a:gd name="connsiteY5" fmla="*/ 62254 h 2998616"/>
                  <a:gd name="connsiteX6" fmla="*/ 1181438 w 1375645"/>
                  <a:gd name="connsiteY6" fmla="*/ 264555 h 2998616"/>
                  <a:gd name="connsiteX7" fmla="*/ 1351370 w 1375645"/>
                  <a:gd name="connsiteY7" fmla="*/ 385935 h 2998616"/>
                  <a:gd name="connsiteX8" fmla="*/ 1327094 w 1375645"/>
                  <a:gd name="connsiteY8" fmla="*/ 491132 h 2998616"/>
                  <a:gd name="connsiteX9" fmla="*/ 1246174 w 1375645"/>
                  <a:gd name="connsiteY9" fmla="*/ 750077 h 2998616"/>
                  <a:gd name="connsiteX10" fmla="*/ 1221898 w 1375645"/>
                  <a:gd name="connsiteY10" fmla="*/ 1551189 h 2998616"/>
                  <a:gd name="connsiteX11" fmla="*/ 1203453 w 1375645"/>
                  <a:gd name="connsiteY11" fmla="*/ 1801841 h 2998616"/>
                  <a:gd name="connsiteX12" fmla="*/ 1171022 w 1375645"/>
                  <a:gd name="connsiteY12" fmla="*/ 2064083 h 2998616"/>
                  <a:gd name="connsiteX13" fmla="*/ 1108688 w 1375645"/>
                  <a:gd name="connsiteY13" fmla="*/ 2617650 h 2998616"/>
                  <a:gd name="connsiteX14" fmla="*/ 1202056 w 1375645"/>
                  <a:gd name="connsiteY14" fmla="*/ 2993493 h 2998616"/>
                  <a:gd name="connsiteX15" fmla="*/ 782673 w 1375645"/>
                  <a:gd name="connsiteY15" fmla="*/ 2846858 h 2998616"/>
                  <a:gd name="connsiteX16" fmla="*/ 782510 w 1375645"/>
                  <a:gd name="connsiteY16" fmla="*/ 2575013 h 2998616"/>
                  <a:gd name="connsiteX17" fmla="*/ 752944 w 1375645"/>
                  <a:gd name="connsiteY17" fmla="*/ 1953176 h 2998616"/>
                  <a:gd name="connsiteX18" fmla="*/ 753987 w 1375645"/>
                  <a:gd name="connsiteY18" fmla="*/ 1632109 h 2998616"/>
                  <a:gd name="connsiteX19" fmla="*/ 721477 w 1375645"/>
                  <a:gd name="connsiteY19" fmla="*/ 1212956 h 2998616"/>
                  <a:gd name="connsiteX20" fmla="*/ 695915 w 1375645"/>
                  <a:gd name="connsiteY20" fmla="*/ 895734 h 2998616"/>
                  <a:gd name="connsiteX21" fmla="*/ 667680 w 1375645"/>
                  <a:gd name="connsiteY21" fmla="*/ 1081852 h 2998616"/>
                  <a:gd name="connsiteX22" fmla="*/ 602031 w 1375645"/>
                  <a:gd name="connsiteY22" fmla="*/ 1669237 h 2998616"/>
                  <a:gd name="connsiteX23" fmla="*/ 637531 w 1375645"/>
                  <a:gd name="connsiteY23" fmla="*/ 2510114 h 2998616"/>
                  <a:gd name="connsiteX24" fmla="*/ 614682 w 1375645"/>
                  <a:gd name="connsiteY24" fmla="*/ 2809553 h 2998616"/>
                  <a:gd name="connsiteX25" fmla="*/ 575008 w 1375645"/>
                  <a:gd name="connsiteY25" fmla="*/ 2910800 h 2998616"/>
                  <a:gd name="connsiteX26" fmla="*/ 286866 w 1375645"/>
                  <a:gd name="connsiteY26" fmla="*/ 2944902 h 2998616"/>
                  <a:gd name="connsiteX27" fmla="*/ 237481 w 1375645"/>
                  <a:gd name="connsiteY27" fmla="*/ 2863879 h 2998616"/>
                  <a:gd name="connsiteX28" fmla="*/ 226577 w 1375645"/>
                  <a:gd name="connsiteY28" fmla="*/ 2077171 h 2998616"/>
                  <a:gd name="connsiteX29" fmla="*/ 161841 w 1375645"/>
                  <a:gd name="connsiteY29" fmla="*/ 1818226 h 2998616"/>
                  <a:gd name="connsiteX30" fmla="*/ 137565 w 1375645"/>
                  <a:gd name="connsiteY30" fmla="*/ 1583557 h 2998616"/>
                  <a:gd name="connsiteX31" fmla="*/ 80921 w 1375645"/>
                  <a:gd name="connsiteY31" fmla="*/ 733893 h 2998616"/>
                  <a:gd name="connsiteX32" fmla="*/ 8092 w 1375645"/>
                  <a:gd name="connsiteY32" fmla="*/ 474948 h 2998616"/>
                  <a:gd name="connsiteX33" fmla="*/ 32369 w 1375645"/>
                  <a:gd name="connsiteY33" fmla="*/ 345475 h 2998616"/>
                  <a:gd name="connsiteX34" fmla="*/ 178025 w 1375645"/>
                  <a:gd name="connsiteY34" fmla="*/ 5610 h 2998616"/>
                  <a:gd name="connsiteX0" fmla="*/ 178025 w 1375647"/>
                  <a:gd name="connsiteY0" fmla="*/ 5610 h 3036099"/>
                  <a:gd name="connsiteX1" fmla="*/ 299406 w 1375647"/>
                  <a:gd name="connsiteY1" fmla="*/ 78438 h 3036099"/>
                  <a:gd name="connsiteX2" fmla="*/ 493615 w 1375647"/>
                  <a:gd name="connsiteY2" fmla="*/ 126990 h 3036099"/>
                  <a:gd name="connsiteX3" fmla="*/ 687823 w 1375647"/>
                  <a:gd name="connsiteY3" fmla="*/ 143174 h 3036099"/>
                  <a:gd name="connsiteX4" fmla="*/ 865848 w 1375647"/>
                  <a:gd name="connsiteY4" fmla="*/ 110806 h 3036099"/>
                  <a:gd name="connsiteX5" fmla="*/ 946769 w 1375647"/>
                  <a:gd name="connsiteY5" fmla="*/ 62254 h 3036099"/>
                  <a:gd name="connsiteX6" fmla="*/ 1181438 w 1375647"/>
                  <a:gd name="connsiteY6" fmla="*/ 264555 h 3036099"/>
                  <a:gd name="connsiteX7" fmla="*/ 1351370 w 1375647"/>
                  <a:gd name="connsiteY7" fmla="*/ 385935 h 3036099"/>
                  <a:gd name="connsiteX8" fmla="*/ 1327094 w 1375647"/>
                  <a:gd name="connsiteY8" fmla="*/ 491132 h 3036099"/>
                  <a:gd name="connsiteX9" fmla="*/ 1246174 w 1375647"/>
                  <a:gd name="connsiteY9" fmla="*/ 750077 h 3036099"/>
                  <a:gd name="connsiteX10" fmla="*/ 1221898 w 1375647"/>
                  <a:gd name="connsiteY10" fmla="*/ 1551189 h 3036099"/>
                  <a:gd name="connsiteX11" fmla="*/ 1203453 w 1375647"/>
                  <a:gd name="connsiteY11" fmla="*/ 1801841 h 3036099"/>
                  <a:gd name="connsiteX12" fmla="*/ 1171022 w 1375647"/>
                  <a:gd name="connsiteY12" fmla="*/ 2064083 h 3036099"/>
                  <a:gd name="connsiteX13" fmla="*/ 1108688 w 1375647"/>
                  <a:gd name="connsiteY13" fmla="*/ 2617650 h 3036099"/>
                  <a:gd name="connsiteX14" fmla="*/ 1202056 w 1375647"/>
                  <a:gd name="connsiteY14" fmla="*/ 2993493 h 3036099"/>
                  <a:gd name="connsiteX15" fmla="*/ 782673 w 1375647"/>
                  <a:gd name="connsiteY15" fmla="*/ 2846858 h 3036099"/>
                  <a:gd name="connsiteX16" fmla="*/ 782510 w 1375647"/>
                  <a:gd name="connsiteY16" fmla="*/ 2575013 h 3036099"/>
                  <a:gd name="connsiteX17" fmla="*/ 752944 w 1375647"/>
                  <a:gd name="connsiteY17" fmla="*/ 1953176 h 3036099"/>
                  <a:gd name="connsiteX18" fmla="*/ 753987 w 1375647"/>
                  <a:gd name="connsiteY18" fmla="*/ 1632109 h 3036099"/>
                  <a:gd name="connsiteX19" fmla="*/ 721477 w 1375647"/>
                  <a:gd name="connsiteY19" fmla="*/ 1212956 h 3036099"/>
                  <a:gd name="connsiteX20" fmla="*/ 695915 w 1375647"/>
                  <a:gd name="connsiteY20" fmla="*/ 895734 h 3036099"/>
                  <a:gd name="connsiteX21" fmla="*/ 667680 w 1375647"/>
                  <a:gd name="connsiteY21" fmla="*/ 1081852 h 3036099"/>
                  <a:gd name="connsiteX22" fmla="*/ 602031 w 1375647"/>
                  <a:gd name="connsiteY22" fmla="*/ 1669237 h 3036099"/>
                  <a:gd name="connsiteX23" fmla="*/ 637531 w 1375647"/>
                  <a:gd name="connsiteY23" fmla="*/ 2510114 h 3036099"/>
                  <a:gd name="connsiteX24" fmla="*/ 614682 w 1375647"/>
                  <a:gd name="connsiteY24" fmla="*/ 2809553 h 3036099"/>
                  <a:gd name="connsiteX25" fmla="*/ 575008 w 1375647"/>
                  <a:gd name="connsiteY25" fmla="*/ 2910800 h 3036099"/>
                  <a:gd name="connsiteX26" fmla="*/ 286866 w 1375647"/>
                  <a:gd name="connsiteY26" fmla="*/ 2944902 h 3036099"/>
                  <a:gd name="connsiteX27" fmla="*/ 237481 w 1375647"/>
                  <a:gd name="connsiteY27" fmla="*/ 2863879 h 3036099"/>
                  <a:gd name="connsiteX28" fmla="*/ 226577 w 1375647"/>
                  <a:gd name="connsiteY28" fmla="*/ 2077171 h 3036099"/>
                  <a:gd name="connsiteX29" fmla="*/ 161841 w 1375647"/>
                  <a:gd name="connsiteY29" fmla="*/ 1818226 h 3036099"/>
                  <a:gd name="connsiteX30" fmla="*/ 137565 w 1375647"/>
                  <a:gd name="connsiteY30" fmla="*/ 1583557 h 3036099"/>
                  <a:gd name="connsiteX31" fmla="*/ 80921 w 1375647"/>
                  <a:gd name="connsiteY31" fmla="*/ 733893 h 3036099"/>
                  <a:gd name="connsiteX32" fmla="*/ 8092 w 1375647"/>
                  <a:gd name="connsiteY32" fmla="*/ 474948 h 3036099"/>
                  <a:gd name="connsiteX33" fmla="*/ 32369 w 1375647"/>
                  <a:gd name="connsiteY33" fmla="*/ 345475 h 3036099"/>
                  <a:gd name="connsiteX34" fmla="*/ 178025 w 1375647"/>
                  <a:gd name="connsiteY34" fmla="*/ 5610 h 3036099"/>
                  <a:gd name="connsiteX0" fmla="*/ 178025 w 1375645"/>
                  <a:gd name="connsiteY0" fmla="*/ 5610 h 3036099"/>
                  <a:gd name="connsiteX1" fmla="*/ 299406 w 1375645"/>
                  <a:gd name="connsiteY1" fmla="*/ 78438 h 3036099"/>
                  <a:gd name="connsiteX2" fmla="*/ 493615 w 1375645"/>
                  <a:gd name="connsiteY2" fmla="*/ 126990 h 3036099"/>
                  <a:gd name="connsiteX3" fmla="*/ 687823 w 1375645"/>
                  <a:gd name="connsiteY3" fmla="*/ 143174 h 3036099"/>
                  <a:gd name="connsiteX4" fmla="*/ 865848 w 1375645"/>
                  <a:gd name="connsiteY4" fmla="*/ 110806 h 3036099"/>
                  <a:gd name="connsiteX5" fmla="*/ 946769 w 1375645"/>
                  <a:gd name="connsiteY5" fmla="*/ 62254 h 3036099"/>
                  <a:gd name="connsiteX6" fmla="*/ 1181438 w 1375645"/>
                  <a:gd name="connsiteY6" fmla="*/ 264555 h 3036099"/>
                  <a:gd name="connsiteX7" fmla="*/ 1351370 w 1375645"/>
                  <a:gd name="connsiteY7" fmla="*/ 385935 h 3036099"/>
                  <a:gd name="connsiteX8" fmla="*/ 1327094 w 1375645"/>
                  <a:gd name="connsiteY8" fmla="*/ 491132 h 3036099"/>
                  <a:gd name="connsiteX9" fmla="*/ 1246174 w 1375645"/>
                  <a:gd name="connsiteY9" fmla="*/ 750077 h 3036099"/>
                  <a:gd name="connsiteX10" fmla="*/ 1221898 w 1375645"/>
                  <a:gd name="connsiteY10" fmla="*/ 1551189 h 3036099"/>
                  <a:gd name="connsiteX11" fmla="*/ 1203453 w 1375645"/>
                  <a:gd name="connsiteY11" fmla="*/ 1801841 h 3036099"/>
                  <a:gd name="connsiteX12" fmla="*/ 1171022 w 1375645"/>
                  <a:gd name="connsiteY12" fmla="*/ 2064083 h 3036099"/>
                  <a:gd name="connsiteX13" fmla="*/ 1172073 w 1375645"/>
                  <a:gd name="connsiteY13" fmla="*/ 2649779 h 3036099"/>
                  <a:gd name="connsiteX14" fmla="*/ 1202056 w 1375645"/>
                  <a:gd name="connsiteY14" fmla="*/ 2993493 h 3036099"/>
                  <a:gd name="connsiteX15" fmla="*/ 782673 w 1375645"/>
                  <a:gd name="connsiteY15" fmla="*/ 2846858 h 3036099"/>
                  <a:gd name="connsiteX16" fmla="*/ 782510 w 1375645"/>
                  <a:gd name="connsiteY16" fmla="*/ 2575013 h 3036099"/>
                  <a:gd name="connsiteX17" fmla="*/ 752944 w 1375645"/>
                  <a:gd name="connsiteY17" fmla="*/ 1953176 h 3036099"/>
                  <a:gd name="connsiteX18" fmla="*/ 753987 w 1375645"/>
                  <a:gd name="connsiteY18" fmla="*/ 1632109 h 3036099"/>
                  <a:gd name="connsiteX19" fmla="*/ 721477 w 1375645"/>
                  <a:gd name="connsiteY19" fmla="*/ 1212956 h 3036099"/>
                  <a:gd name="connsiteX20" fmla="*/ 695915 w 1375645"/>
                  <a:gd name="connsiteY20" fmla="*/ 895734 h 3036099"/>
                  <a:gd name="connsiteX21" fmla="*/ 667680 w 1375645"/>
                  <a:gd name="connsiteY21" fmla="*/ 1081852 h 3036099"/>
                  <a:gd name="connsiteX22" fmla="*/ 602031 w 1375645"/>
                  <a:gd name="connsiteY22" fmla="*/ 1669237 h 3036099"/>
                  <a:gd name="connsiteX23" fmla="*/ 637531 w 1375645"/>
                  <a:gd name="connsiteY23" fmla="*/ 2510114 h 3036099"/>
                  <a:gd name="connsiteX24" fmla="*/ 614682 w 1375645"/>
                  <a:gd name="connsiteY24" fmla="*/ 2809553 h 3036099"/>
                  <a:gd name="connsiteX25" fmla="*/ 575008 w 1375645"/>
                  <a:gd name="connsiteY25" fmla="*/ 2910800 h 3036099"/>
                  <a:gd name="connsiteX26" fmla="*/ 286866 w 1375645"/>
                  <a:gd name="connsiteY26" fmla="*/ 2944902 h 3036099"/>
                  <a:gd name="connsiteX27" fmla="*/ 237481 w 1375645"/>
                  <a:gd name="connsiteY27" fmla="*/ 2863879 h 3036099"/>
                  <a:gd name="connsiteX28" fmla="*/ 226577 w 1375645"/>
                  <a:gd name="connsiteY28" fmla="*/ 2077171 h 3036099"/>
                  <a:gd name="connsiteX29" fmla="*/ 161841 w 1375645"/>
                  <a:gd name="connsiteY29" fmla="*/ 1818226 h 3036099"/>
                  <a:gd name="connsiteX30" fmla="*/ 137565 w 1375645"/>
                  <a:gd name="connsiteY30" fmla="*/ 1583557 h 3036099"/>
                  <a:gd name="connsiteX31" fmla="*/ 80921 w 1375645"/>
                  <a:gd name="connsiteY31" fmla="*/ 733893 h 3036099"/>
                  <a:gd name="connsiteX32" fmla="*/ 8092 w 1375645"/>
                  <a:gd name="connsiteY32" fmla="*/ 474948 h 3036099"/>
                  <a:gd name="connsiteX33" fmla="*/ 32369 w 1375645"/>
                  <a:gd name="connsiteY33" fmla="*/ 345475 h 3036099"/>
                  <a:gd name="connsiteX34" fmla="*/ 178025 w 1375645"/>
                  <a:gd name="connsiteY34" fmla="*/ 5610 h 3036099"/>
                  <a:gd name="connsiteX0" fmla="*/ 178025 w 1375647"/>
                  <a:gd name="connsiteY0" fmla="*/ 5610 h 3036099"/>
                  <a:gd name="connsiteX1" fmla="*/ 299406 w 1375647"/>
                  <a:gd name="connsiteY1" fmla="*/ 78438 h 3036099"/>
                  <a:gd name="connsiteX2" fmla="*/ 493615 w 1375647"/>
                  <a:gd name="connsiteY2" fmla="*/ 126990 h 3036099"/>
                  <a:gd name="connsiteX3" fmla="*/ 687823 w 1375647"/>
                  <a:gd name="connsiteY3" fmla="*/ 143174 h 3036099"/>
                  <a:gd name="connsiteX4" fmla="*/ 865848 w 1375647"/>
                  <a:gd name="connsiteY4" fmla="*/ 110806 h 3036099"/>
                  <a:gd name="connsiteX5" fmla="*/ 946769 w 1375647"/>
                  <a:gd name="connsiteY5" fmla="*/ 62254 h 3036099"/>
                  <a:gd name="connsiteX6" fmla="*/ 1181438 w 1375647"/>
                  <a:gd name="connsiteY6" fmla="*/ 264555 h 3036099"/>
                  <a:gd name="connsiteX7" fmla="*/ 1351370 w 1375647"/>
                  <a:gd name="connsiteY7" fmla="*/ 385935 h 3036099"/>
                  <a:gd name="connsiteX8" fmla="*/ 1327094 w 1375647"/>
                  <a:gd name="connsiteY8" fmla="*/ 491132 h 3036099"/>
                  <a:gd name="connsiteX9" fmla="*/ 1246174 w 1375647"/>
                  <a:gd name="connsiteY9" fmla="*/ 750077 h 3036099"/>
                  <a:gd name="connsiteX10" fmla="*/ 1221898 w 1375647"/>
                  <a:gd name="connsiteY10" fmla="*/ 1551189 h 3036099"/>
                  <a:gd name="connsiteX11" fmla="*/ 1171022 w 1375647"/>
                  <a:gd name="connsiteY11" fmla="*/ 2064083 h 3036099"/>
                  <a:gd name="connsiteX12" fmla="*/ 1172073 w 1375647"/>
                  <a:gd name="connsiteY12" fmla="*/ 2649779 h 3036099"/>
                  <a:gd name="connsiteX13" fmla="*/ 1202056 w 1375647"/>
                  <a:gd name="connsiteY13" fmla="*/ 2993493 h 3036099"/>
                  <a:gd name="connsiteX14" fmla="*/ 782673 w 1375647"/>
                  <a:gd name="connsiteY14" fmla="*/ 2846858 h 3036099"/>
                  <a:gd name="connsiteX15" fmla="*/ 782510 w 1375647"/>
                  <a:gd name="connsiteY15" fmla="*/ 2575013 h 3036099"/>
                  <a:gd name="connsiteX16" fmla="*/ 752944 w 1375647"/>
                  <a:gd name="connsiteY16" fmla="*/ 1953176 h 3036099"/>
                  <a:gd name="connsiteX17" fmla="*/ 753987 w 1375647"/>
                  <a:gd name="connsiteY17" fmla="*/ 1632109 h 3036099"/>
                  <a:gd name="connsiteX18" fmla="*/ 721477 w 1375647"/>
                  <a:gd name="connsiteY18" fmla="*/ 1212956 h 3036099"/>
                  <a:gd name="connsiteX19" fmla="*/ 695915 w 1375647"/>
                  <a:gd name="connsiteY19" fmla="*/ 895734 h 3036099"/>
                  <a:gd name="connsiteX20" fmla="*/ 667680 w 1375647"/>
                  <a:gd name="connsiteY20" fmla="*/ 1081852 h 3036099"/>
                  <a:gd name="connsiteX21" fmla="*/ 602031 w 1375647"/>
                  <a:gd name="connsiteY21" fmla="*/ 1669237 h 3036099"/>
                  <a:gd name="connsiteX22" fmla="*/ 637531 w 1375647"/>
                  <a:gd name="connsiteY22" fmla="*/ 2510114 h 3036099"/>
                  <a:gd name="connsiteX23" fmla="*/ 614682 w 1375647"/>
                  <a:gd name="connsiteY23" fmla="*/ 2809553 h 3036099"/>
                  <a:gd name="connsiteX24" fmla="*/ 575008 w 1375647"/>
                  <a:gd name="connsiteY24" fmla="*/ 2910800 h 3036099"/>
                  <a:gd name="connsiteX25" fmla="*/ 286866 w 1375647"/>
                  <a:gd name="connsiteY25" fmla="*/ 2944902 h 3036099"/>
                  <a:gd name="connsiteX26" fmla="*/ 237481 w 1375647"/>
                  <a:gd name="connsiteY26" fmla="*/ 2863879 h 3036099"/>
                  <a:gd name="connsiteX27" fmla="*/ 226577 w 1375647"/>
                  <a:gd name="connsiteY27" fmla="*/ 2077171 h 3036099"/>
                  <a:gd name="connsiteX28" fmla="*/ 161841 w 1375647"/>
                  <a:gd name="connsiteY28" fmla="*/ 1818226 h 3036099"/>
                  <a:gd name="connsiteX29" fmla="*/ 137565 w 1375647"/>
                  <a:gd name="connsiteY29" fmla="*/ 1583557 h 3036099"/>
                  <a:gd name="connsiteX30" fmla="*/ 80921 w 1375647"/>
                  <a:gd name="connsiteY30" fmla="*/ 733893 h 3036099"/>
                  <a:gd name="connsiteX31" fmla="*/ 8092 w 1375647"/>
                  <a:gd name="connsiteY31" fmla="*/ 474948 h 3036099"/>
                  <a:gd name="connsiteX32" fmla="*/ 32369 w 1375647"/>
                  <a:gd name="connsiteY32" fmla="*/ 345475 h 3036099"/>
                  <a:gd name="connsiteX33" fmla="*/ 178025 w 1375647"/>
                  <a:gd name="connsiteY33" fmla="*/ 5610 h 3036099"/>
                  <a:gd name="connsiteX0" fmla="*/ 178025 w 1375645"/>
                  <a:gd name="connsiteY0" fmla="*/ 5610 h 3036099"/>
                  <a:gd name="connsiteX1" fmla="*/ 299406 w 1375645"/>
                  <a:gd name="connsiteY1" fmla="*/ 78438 h 3036099"/>
                  <a:gd name="connsiteX2" fmla="*/ 493615 w 1375645"/>
                  <a:gd name="connsiteY2" fmla="*/ 126990 h 3036099"/>
                  <a:gd name="connsiteX3" fmla="*/ 687823 w 1375645"/>
                  <a:gd name="connsiteY3" fmla="*/ 143174 h 3036099"/>
                  <a:gd name="connsiteX4" fmla="*/ 865848 w 1375645"/>
                  <a:gd name="connsiteY4" fmla="*/ 110806 h 3036099"/>
                  <a:gd name="connsiteX5" fmla="*/ 946769 w 1375645"/>
                  <a:gd name="connsiteY5" fmla="*/ 62254 h 3036099"/>
                  <a:gd name="connsiteX6" fmla="*/ 1181438 w 1375645"/>
                  <a:gd name="connsiteY6" fmla="*/ 264555 h 3036099"/>
                  <a:gd name="connsiteX7" fmla="*/ 1351370 w 1375645"/>
                  <a:gd name="connsiteY7" fmla="*/ 385935 h 3036099"/>
                  <a:gd name="connsiteX8" fmla="*/ 1327094 w 1375645"/>
                  <a:gd name="connsiteY8" fmla="*/ 491132 h 3036099"/>
                  <a:gd name="connsiteX9" fmla="*/ 1246174 w 1375645"/>
                  <a:gd name="connsiteY9" fmla="*/ 750077 h 3036099"/>
                  <a:gd name="connsiteX10" fmla="*/ 1198848 w 1375645"/>
                  <a:gd name="connsiteY10" fmla="*/ 1556545 h 3036099"/>
                  <a:gd name="connsiteX11" fmla="*/ 1171022 w 1375645"/>
                  <a:gd name="connsiteY11" fmla="*/ 2064083 h 3036099"/>
                  <a:gd name="connsiteX12" fmla="*/ 1172073 w 1375645"/>
                  <a:gd name="connsiteY12" fmla="*/ 2649779 h 3036099"/>
                  <a:gd name="connsiteX13" fmla="*/ 1202056 w 1375645"/>
                  <a:gd name="connsiteY13" fmla="*/ 2993493 h 3036099"/>
                  <a:gd name="connsiteX14" fmla="*/ 782673 w 1375645"/>
                  <a:gd name="connsiteY14" fmla="*/ 2846858 h 3036099"/>
                  <a:gd name="connsiteX15" fmla="*/ 782510 w 1375645"/>
                  <a:gd name="connsiteY15" fmla="*/ 2575013 h 3036099"/>
                  <a:gd name="connsiteX16" fmla="*/ 752944 w 1375645"/>
                  <a:gd name="connsiteY16" fmla="*/ 1953176 h 3036099"/>
                  <a:gd name="connsiteX17" fmla="*/ 753987 w 1375645"/>
                  <a:gd name="connsiteY17" fmla="*/ 1632109 h 3036099"/>
                  <a:gd name="connsiteX18" fmla="*/ 721477 w 1375645"/>
                  <a:gd name="connsiteY18" fmla="*/ 1212956 h 3036099"/>
                  <a:gd name="connsiteX19" fmla="*/ 695915 w 1375645"/>
                  <a:gd name="connsiteY19" fmla="*/ 895734 h 3036099"/>
                  <a:gd name="connsiteX20" fmla="*/ 667680 w 1375645"/>
                  <a:gd name="connsiteY20" fmla="*/ 1081852 h 3036099"/>
                  <a:gd name="connsiteX21" fmla="*/ 602031 w 1375645"/>
                  <a:gd name="connsiteY21" fmla="*/ 1669237 h 3036099"/>
                  <a:gd name="connsiteX22" fmla="*/ 637531 w 1375645"/>
                  <a:gd name="connsiteY22" fmla="*/ 2510114 h 3036099"/>
                  <a:gd name="connsiteX23" fmla="*/ 614682 w 1375645"/>
                  <a:gd name="connsiteY23" fmla="*/ 2809553 h 3036099"/>
                  <a:gd name="connsiteX24" fmla="*/ 575008 w 1375645"/>
                  <a:gd name="connsiteY24" fmla="*/ 2910800 h 3036099"/>
                  <a:gd name="connsiteX25" fmla="*/ 286866 w 1375645"/>
                  <a:gd name="connsiteY25" fmla="*/ 2944902 h 3036099"/>
                  <a:gd name="connsiteX26" fmla="*/ 237481 w 1375645"/>
                  <a:gd name="connsiteY26" fmla="*/ 2863879 h 3036099"/>
                  <a:gd name="connsiteX27" fmla="*/ 226577 w 1375645"/>
                  <a:gd name="connsiteY27" fmla="*/ 2077171 h 3036099"/>
                  <a:gd name="connsiteX28" fmla="*/ 161841 w 1375645"/>
                  <a:gd name="connsiteY28" fmla="*/ 1818226 h 3036099"/>
                  <a:gd name="connsiteX29" fmla="*/ 137565 w 1375645"/>
                  <a:gd name="connsiteY29" fmla="*/ 1583557 h 3036099"/>
                  <a:gd name="connsiteX30" fmla="*/ 80921 w 1375645"/>
                  <a:gd name="connsiteY30" fmla="*/ 733893 h 3036099"/>
                  <a:gd name="connsiteX31" fmla="*/ 8092 w 1375645"/>
                  <a:gd name="connsiteY31" fmla="*/ 474948 h 3036099"/>
                  <a:gd name="connsiteX32" fmla="*/ 32369 w 1375645"/>
                  <a:gd name="connsiteY32" fmla="*/ 345475 h 3036099"/>
                  <a:gd name="connsiteX33" fmla="*/ 178025 w 1375645"/>
                  <a:gd name="connsiteY33" fmla="*/ 5610 h 3036099"/>
                  <a:gd name="connsiteX0" fmla="*/ 178025 w 1375647"/>
                  <a:gd name="connsiteY0" fmla="*/ 5610 h 3036099"/>
                  <a:gd name="connsiteX1" fmla="*/ 299406 w 1375647"/>
                  <a:gd name="connsiteY1" fmla="*/ 78438 h 3036099"/>
                  <a:gd name="connsiteX2" fmla="*/ 493615 w 1375647"/>
                  <a:gd name="connsiteY2" fmla="*/ 126990 h 3036099"/>
                  <a:gd name="connsiteX3" fmla="*/ 687823 w 1375647"/>
                  <a:gd name="connsiteY3" fmla="*/ 143174 h 3036099"/>
                  <a:gd name="connsiteX4" fmla="*/ 865848 w 1375647"/>
                  <a:gd name="connsiteY4" fmla="*/ 110806 h 3036099"/>
                  <a:gd name="connsiteX5" fmla="*/ 946769 w 1375647"/>
                  <a:gd name="connsiteY5" fmla="*/ 62254 h 3036099"/>
                  <a:gd name="connsiteX6" fmla="*/ 1181438 w 1375647"/>
                  <a:gd name="connsiteY6" fmla="*/ 264555 h 3036099"/>
                  <a:gd name="connsiteX7" fmla="*/ 1351370 w 1375647"/>
                  <a:gd name="connsiteY7" fmla="*/ 385935 h 3036099"/>
                  <a:gd name="connsiteX8" fmla="*/ 1327094 w 1375647"/>
                  <a:gd name="connsiteY8" fmla="*/ 491132 h 3036099"/>
                  <a:gd name="connsiteX9" fmla="*/ 1246174 w 1375647"/>
                  <a:gd name="connsiteY9" fmla="*/ 750077 h 3036099"/>
                  <a:gd name="connsiteX10" fmla="*/ 1198848 w 1375647"/>
                  <a:gd name="connsiteY10" fmla="*/ 1556545 h 3036099"/>
                  <a:gd name="connsiteX11" fmla="*/ 1171022 w 1375647"/>
                  <a:gd name="connsiteY11" fmla="*/ 2064083 h 3036099"/>
                  <a:gd name="connsiteX12" fmla="*/ 1172073 w 1375647"/>
                  <a:gd name="connsiteY12" fmla="*/ 2649779 h 3036099"/>
                  <a:gd name="connsiteX13" fmla="*/ 1202056 w 1375647"/>
                  <a:gd name="connsiteY13" fmla="*/ 2993493 h 3036099"/>
                  <a:gd name="connsiteX14" fmla="*/ 782673 w 1375647"/>
                  <a:gd name="connsiteY14" fmla="*/ 2846858 h 3036099"/>
                  <a:gd name="connsiteX15" fmla="*/ 782510 w 1375647"/>
                  <a:gd name="connsiteY15" fmla="*/ 2575013 h 3036099"/>
                  <a:gd name="connsiteX16" fmla="*/ 752944 w 1375647"/>
                  <a:gd name="connsiteY16" fmla="*/ 1953176 h 3036099"/>
                  <a:gd name="connsiteX17" fmla="*/ 753987 w 1375647"/>
                  <a:gd name="connsiteY17" fmla="*/ 1632109 h 3036099"/>
                  <a:gd name="connsiteX18" fmla="*/ 721477 w 1375647"/>
                  <a:gd name="connsiteY18" fmla="*/ 1212956 h 3036099"/>
                  <a:gd name="connsiteX19" fmla="*/ 695915 w 1375647"/>
                  <a:gd name="connsiteY19" fmla="*/ 895734 h 3036099"/>
                  <a:gd name="connsiteX20" fmla="*/ 667680 w 1375647"/>
                  <a:gd name="connsiteY20" fmla="*/ 1081852 h 3036099"/>
                  <a:gd name="connsiteX21" fmla="*/ 602031 w 1375647"/>
                  <a:gd name="connsiteY21" fmla="*/ 1669237 h 3036099"/>
                  <a:gd name="connsiteX22" fmla="*/ 637531 w 1375647"/>
                  <a:gd name="connsiteY22" fmla="*/ 2510114 h 3036099"/>
                  <a:gd name="connsiteX23" fmla="*/ 614682 w 1375647"/>
                  <a:gd name="connsiteY23" fmla="*/ 2809553 h 3036099"/>
                  <a:gd name="connsiteX24" fmla="*/ 575008 w 1375647"/>
                  <a:gd name="connsiteY24" fmla="*/ 2910800 h 3036099"/>
                  <a:gd name="connsiteX25" fmla="*/ 286866 w 1375647"/>
                  <a:gd name="connsiteY25" fmla="*/ 2944902 h 3036099"/>
                  <a:gd name="connsiteX26" fmla="*/ 237481 w 1375647"/>
                  <a:gd name="connsiteY26" fmla="*/ 2863879 h 3036099"/>
                  <a:gd name="connsiteX27" fmla="*/ 226577 w 1375647"/>
                  <a:gd name="connsiteY27" fmla="*/ 2077171 h 3036099"/>
                  <a:gd name="connsiteX28" fmla="*/ 161841 w 1375647"/>
                  <a:gd name="connsiteY28" fmla="*/ 1818226 h 3036099"/>
                  <a:gd name="connsiteX29" fmla="*/ 137565 w 1375647"/>
                  <a:gd name="connsiteY29" fmla="*/ 1583557 h 3036099"/>
                  <a:gd name="connsiteX30" fmla="*/ 80921 w 1375647"/>
                  <a:gd name="connsiteY30" fmla="*/ 733893 h 3036099"/>
                  <a:gd name="connsiteX31" fmla="*/ 8092 w 1375647"/>
                  <a:gd name="connsiteY31" fmla="*/ 474948 h 3036099"/>
                  <a:gd name="connsiteX32" fmla="*/ 32369 w 1375647"/>
                  <a:gd name="connsiteY32" fmla="*/ 345475 h 3036099"/>
                  <a:gd name="connsiteX33" fmla="*/ 178025 w 1375647"/>
                  <a:gd name="connsiteY33" fmla="*/ 5610 h 3036099"/>
                  <a:gd name="connsiteX0" fmla="*/ 178025 w 1375645"/>
                  <a:gd name="connsiteY0" fmla="*/ 5610 h 3036099"/>
                  <a:gd name="connsiteX1" fmla="*/ 299406 w 1375645"/>
                  <a:gd name="connsiteY1" fmla="*/ 78438 h 3036099"/>
                  <a:gd name="connsiteX2" fmla="*/ 493615 w 1375645"/>
                  <a:gd name="connsiteY2" fmla="*/ 126990 h 3036099"/>
                  <a:gd name="connsiteX3" fmla="*/ 687823 w 1375645"/>
                  <a:gd name="connsiteY3" fmla="*/ 143174 h 3036099"/>
                  <a:gd name="connsiteX4" fmla="*/ 865848 w 1375645"/>
                  <a:gd name="connsiteY4" fmla="*/ 110806 h 3036099"/>
                  <a:gd name="connsiteX5" fmla="*/ 946769 w 1375645"/>
                  <a:gd name="connsiteY5" fmla="*/ 62254 h 3036099"/>
                  <a:gd name="connsiteX6" fmla="*/ 1181438 w 1375645"/>
                  <a:gd name="connsiteY6" fmla="*/ 264555 h 3036099"/>
                  <a:gd name="connsiteX7" fmla="*/ 1351370 w 1375645"/>
                  <a:gd name="connsiteY7" fmla="*/ 385935 h 3036099"/>
                  <a:gd name="connsiteX8" fmla="*/ 1327094 w 1375645"/>
                  <a:gd name="connsiteY8" fmla="*/ 491132 h 3036099"/>
                  <a:gd name="connsiteX9" fmla="*/ 1246174 w 1375645"/>
                  <a:gd name="connsiteY9" fmla="*/ 750077 h 3036099"/>
                  <a:gd name="connsiteX10" fmla="*/ 1210372 w 1375645"/>
                  <a:gd name="connsiteY10" fmla="*/ 1556545 h 3036099"/>
                  <a:gd name="connsiteX11" fmla="*/ 1171022 w 1375645"/>
                  <a:gd name="connsiteY11" fmla="*/ 2064083 h 3036099"/>
                  <a:gd name="connsiteX12" fmla="*/ 1172073 w 1375645"/>
                  <a:gd name="connsiteY12" fmla="*/ 2649779 h 3036099"/>
                  <a:gd name="connsiteX13" fmla="*/ 1202056 w 1375645"/>
                  <a:gd name="connsiteY13" fmla="*/ 2993493 h 3036099"/>
                  <a:gd name="connsiteX14" fmla="*/ 782673 w 1375645"/>
                  <a:gd name="connsiteY14" fmla="*/ 2846858 h 3036099"/>
                  <a:gd name="connsiteX15" fmla="*/ 782510 w 1375645"/>
                  <a:gd name="connsiteY15" fmla="*/ 2575013 h 3036099"/>
                  <a:gd name="connsiteX16" fmla="*/ 752944 w 1375645"/>
                  <a:gd name="connsiteY16" fmla="*/ 1953176 h 3036099"/>
                  <a:gd name="connsiteX17" fmla="*/ 753987 w 1375645"/>
                  <a:gd name="connsiteY17" fmla="*/ 1632109 h 3036099"/>
                  <a:gd name="connsiteX18" fmla="*/ 721477 w 1375645"/>
                  <a:gd name="connsiteY18" fmla="*/ 1212956 h 3036099"/>
                  <a:gd name="connsiteX19" fmla="*/ 695915 w 1375645"/>
                  <a:gd name="connsiteY19" fmla="*/ 895734 h 3036099"/>
                  <a:gd name="connsiteX20" fmla="*/ 667680 w 1375645"/>
                  <a:gd name="connsiteY20" fmla="*/ 1081852 h 3036099"/>
                  <a:gd name="connsiteX21" fmla="*/ 602031 w 1375645"/>
                  <a:gd name="connsiteY21" fmla="*/ 1669237 h 3036099"/>
                  <a:gd name="connsiteX22" fmla="*/ 637531 w 1375645"/>
                  <a:gd name="connsiteY22" fmla="*/ 2510114 h 3036099"/>
                  <a:gd name="connsiteX23" fmla="*/ 614682 w 1375645"/>
                  <a:gd name="connsiteY23" fmla="*/ 2809553 h 3036099"/>
                  <a:gd name="connsiteX24" fmla="*/ 575008 w 1375645"/>
                  <a:gd name="connsiteY24" fmla="*/ 2910800 h 3036099"/>
                  <a:gd name="connsiteX25" fmla="*/ 286866 w 1375645"/>
                  <a:gd name="connsiteY25" fmla="*/ 2944902 h 3036099"/>
                  <a:gd name="connsiteX26" fmla="*/ 237481 w 1375645"/>
                  <a:gd name="connsiteY26" fmla="*/ 2863879 h 3036099"/>
                  <a:gd name="connsiteX27" fmla="*/ 226577 w 1375645"/>
                  <a:gd name="connsiteY27" fmla="*/ 2077171 h 3036099"/>
                  <a:gd name="connsiteX28" fmla="*/ 161841 w 1375645"/>
                  <a:gd name="connsiteY28" fmla="*/ 1818226 h 3036099"/>
                  <a:gd name="connsiteX29" fmla="*/ 137565 w 1375645"/>
                  <a:gd name="connsiteY29" fmla="*/ 1583557 h 3036099"/>
                  <a:gd name="connsiteX30" fmla="*/ 80921 w 1375645"/>
                  <a:gd name="connsiteY30" fmla="*/ 733893 h 3036099"/>
                  <a:gd name="connsiteX31" fmla="*/ 8092 w 1375645"/>
                  <a:gd name="connsiteY31" fmla="*/ 474948 h 3036099"/>
                  <a:gd name="connsiteX32" fmla="*/ 32369 w 1375645"/>
                  <a:gd name="connsiteY32" fmla="*/ 345475 h 3036099"/>
                  <a:gd name="connsiteX33" fmla="*/ 178025 w 1375645"/>
                  <a:gd name="connsiteY33" fmla="*/ 5610 h 3036099"/>
                  <a:gd name="connsiteX0" fmla="*/ 178025 w 1375647"/>
                  <a:gd name="connsiteY0" fmla="*/ 5610 h 3036099"/>
                  <a:gd name="connsiteX1" fmla="*/ 299406 w 1375647"/>
                  <a:gd name="connsiteY1" fmla="*/ 78438 h 3036099"/>
                  <a:gd name="connsiteX2" fmla="*/ 493615 w 1375647"/>
                  <a:gd name="connsiteY2" fmla="*/ 126990 h 3036099"/>
                  <a:gd name="connsiteX3" fmla="*/ 687823 w 1375647"/>
                  <a:gd name="connsiteY3" fmla="*/ 143174 h 3036099"/>
                  <a:gd name="connsiteX4" fmla="*/ 865848 w 1375647"/>
                  <a:gd name="connsiteY4" fmla="*/ 110806 h 3036099"/>
                  <a:gd name="connsiteX5" fmla="*/ 946769 w 1375647"/>
                  <a:gd name="connsiteY5" fmla="*/ 62254 h 3036099"/>
                  <a:gd name="connsiteX6" fmla="*/ 1181438 w 1375647"/>
                  <a:gd name="connsiteY6" fmla="*/ 264555 h 3036099"/>
                  <a:gd name="connsiteX7" fmla="*/ 1351370 w 1375647"/>
                  <a:gd name="connsiteY7" fmla="*/ 385935 h 3036099"/>
                  <a:gd name="connsiteX8" fmla="*/ 1327094 w 1375647"/>
                  <a:gd name="connsiteY8" fmla="*/ 491132 h 3036099"/>
                  <a:gd name="connsiteX9" fmla="*/ 1246174 w 1375647"/>
                  <a:gd name="connsiteY9" fmla="*/ 750077 h 3036099"/>
                  <a:gd name="connsiteX10" fmla="*/ 1210372 w 1375647"/>
                  <a:gd name="connsiteY10" fmla="*/ 1556545 h 3036099"/>
                  <a:gd name="connsiteX11" fmla="*/ 1171022 w 1375647"/>
                  <a:gd name="connsiteY11" fmla="*/ 2064083 h 3036099"/>
                  <a:gd name="connsiteX12" fmla="*/ 1172073 w 1375647"/>
                  <a:gd name="connsiteY12" fmla="*/ 2649779 h 3036099"/>
                  <a:gd name="connsiteX13" fmla="*/ 1202056 w 1375647"/>
                  <a:gd name="connsiteY13" fmla="*/ 2993493 h 3036099"/>
                  <a:gd name="connsiteX14" fmla="*/ 782673 w 1375647"/>
                  <a:gd name="connsiteY14" fmla="*/ 2846858 h 3036099"/>
                  <a:gd name="connsiteX15" fmla="*/ 782510 w 1375647"/>
                  <a:gd name="connsiteY15" fmla="*/ 2575013 h 3036099"/>
                  <a:gd name="connsiteX16" fmla="*/ 752944 w 1375647"/>
                  <a:gd name="connsiteY16" fmla="*/ 1953176 h 3036099"/>
                  <a:gd name="connsiteX17" fmla="*/ 753987 w 1375647"/>
                  <a:gd name="connsiteY17" fmla="*/ 1632109 h 3036099"/>
                  <a:gd name="connsiteX18" fmla="*/ 721477 w 1375647"/>
                  <a:gd name="connsiteY18" fmla="*/ 1212956 h 3036099"/>
                  <a:gd name="connsiteX19" fmla="*/ 695915 w 1375647"/>
                  <a:gd name="connsiteY19" fmla="*/ 895734 h 3036099"/>
                  <a:gd name="connsiteX20" fmla="*/ 667680 w 1375647"/>
                  <a:gd name="connsiteY20" fmla="*/ 1081852 h 3036099"/>
                  <a:gd name="connsiteX21" fmla="*/ 602031 w 1375647"/>
                  <a:gd name="connsiteY21" fmla="*/ 1669237 h 3036099"/>
                  <a:gd name="connsiteX22" fmla="*/ 637531 w 1375647"/>
                  <a:gd name="connsiteY22" fmla="*/ 2510114 h 3036099"/>
                  <a:gd name="connsiteX23" fmla="*/ 614682 w 1375647"/>
                  <a:gd name="connsiteY23" fmla="*/ 2809553 h 3036099"/>
                  <a:gd name="connsiteX24" fmla="*/ 575008 w 1375647"/>
                  <a:gd name="connsiteY24" fmla="*/ 2910800 h 3036099"/>
                  <a:gd name="connsiteX25" fmla="*/ 286866 w 1375647"/>
                  <a:gd name="connsiteY25" fmla="*/ 2944902 h 3036099"/>
                  <a:gd name="connsiteX26" fmla="*/ 237481 w 1375647"/>
                  <a:gd name="connsiteY26" fmla="*/ 2863879 h 3036099"/>
                  <a:gd name="connsiteX27" fmla="*/ 226577 w 1375647"/>
                  <a:gd name="connsiteY27" fmla="*/ 2077171 h 3036099"/>
                  <a:gd name="connsiteX28" fmla="*/ 161841 w 1375647"/>
                  <a:gd name="connsiteY28" fmla="*/ 1818226 h 3036099"/>
                  <a:gd name="connsiteX29" fmla="*/ 137565 w 1375647"/>
                  <a:gd name="connsiteY29" fmla="*/ 1583557 h 3036099"/>
                  <a:gd name="connsiteX30" fmla="*/ 80921 w 1375647"/>
                  <a:gd name="connsiteY30" fmla="*/ 733893 h 3036099"/>
                  <a:gd name="connsiteX31" fmla="*/ 8092 w 1375647"/>
                  <a:gd name="connsiteY31" fmla="*/ 474948 h 3036099"/>
                  <a:gd name="connsiteX32" fmla="*/ 32369 w 1375647"/>
                  <a:gd name="connsiteY32" fmla="*/ 345475 h 3036099"/>
                  <a:gd name="connsiteX33" fmla="*/ 178025 w 1375647"/>
                  <a:gd name="connsiteY33" fmla="*/ 5610 h 3036099"/>
                  <a:gd name="connsiteX0" fmla="*/ 178025 w 1375645"/>
                  <a:gd name="connsiteY0" fmla="*/ 5610 h 3036099"/>
                  <a:gd name="connsiteX1" fmla="*/ 299406 w 1375645"/>
                  <a:gd name="connsiteY1" fmla="*/ 78438 h 3036099"/>
                  <a:gd name="connsiteX2" fmla="*/ 493615 w 1375645"/>
                  <a:gd name="connsiteY2" fmla="*/ 126990 h 3036099"/>
                  <a:gd name="connsiteX3" fmla="*/ 687823 w 1375645"/>
                  <a:gd name="connsiteY3" fmla="*/ 143174 h 3036099"/>
                  <a:gd name="connsiteX4" fmla="*/ 865848 w 1375645"/>
                  <a:gd name="connsiteY4" fmla="*/ 110806 h 3036099"/>
                  <a:gd name="connsiteX5" fmla="*/ 946769 w 1375645"/>
                  <a:gd name="connsiteY5" fmla="*/ 62254 h 3036099"/>
                  <a:gd name="connsiteX6" fmla="*/ 1181438 w 1375645"/>
                  <a:gd name="connsiteY6" fmla="*/ 264555 h 3036099"/>
                  <a:gd name="connsiteX7" fmla="*/ 1351370 w 1375645"/>
                  <a:gd name="connsiteY7" fmla="*/ 385935 h 3036099"/>
                  <a:gd name="connsiteX8" fmla="*/ 1327094 w 1375645"/>
                  <a:gd name="connsiteY8" fmla="*/ 491132 h 3036099"/>
                  <a:gd name="connsiteX9" fmla="*/ 1257699 w 1375645"/>
                  <a:gd name="connsiteY9" fmla="*/ 739368 h 3036099"/>
                  <a:gd name="connsiteX10" fmla="*/ 1210372 w 1375645"/>
                  <a:gd name="connsiteY10" fmla="*/ 1556545 h 3036099"/>
                  <a:gd name="connsiteX11" fmla="*/ 1171022 w 1375645"/>
                  <a:gd name="connsiteY11" fmla="*/ 2064083 h 3036099"/>
                  <a:gd name="connsiteX12" fmla="*/ 1172073 w 1375645"/>
                  <a:gd name="connsiteY12" fmla="*/ 2649779 h 3036099"/>
                  <a:gd name="connsiteX13" fmla="*/ 1202056 w 1375645"/>
                  <a:gd name="connsiteY13" fmla="*/ 2993493 h 3036099"/>
                  <a:gd name="connsiteX14" fmla="*/ 782673 w 1375645"/>
                  <a:gd name="connsiteY14" fmla="*/ 2846858 h 3036099"/>
                  <a:gd name="connsiteX15" fmla="*/ 782510 w 1375645"/>
                  <a:gd name="connsiteY15" fmla="*/ 2575013 h 3036099"/>
                  <a:gd name="connsiteX16" fmla="*/ 752944 w 1375645"/>
                  <a:gd name="connsiteY16" fmla="*/ 1953176 h 3036099"/>
                  <a:gd name="connsiteX17" fmla="*/ 753987 w 1375645"/>
                  <a:gd name="connsiteY17" fmla="*/ 1632109 h 3036099"/>
                  <a:gd name="connsiteX18" fmla="*/ 721477 w 1375645"/>
                  <a:gd name="connsiteY18" fmla="*/ 1212956 h 3036099"/>
                  <a:gd name="connsiteX19" fmla="*/ 695915 w 1375645"/>
                  <a:gd name="connsiteY19" fmla="*/ 895734 h 3036099"/>
                  <a:gd name="connsiteX20" fmla="*/ 667680 w 1375645"/>
                  <a:gd name="connsiteY20" fmla="*/ 1081852 h 3036099"/>
                  <a:gd name="connsiteX21" fmla="*/ 602031 w 1375645"/>
                  <a:gd name="connsiteY21" fmla="*/ 1669237 h 3036099"/>
                  <a:gd name="connsiteX22" fmla="*/ 637531 w 1375645"/>
                  <a:gd name="connsiteY22" fmla="*/ 2510114 h 3036099"/>
                  <a:gd name="connsiteX23" fmla="*/ 614682 w 1375645"/>
                  <a:gd name="connsiteY23" fmla="*/ 2809553 h 3036099"/>
                  <a:gd name="connsiteX24" fmla="*/ 575008 w 1375645"/>
                  <a:gd name="connsiteY24" fmla="*/ 2910800 h 3036099"/>
                  <a:gd name="connsiteX25" fmla="*/ 286866 w 1375645"/>
                  <a:gd name="connsiteY25" fmla="*/ 2944902 h 3036099"/>
                  <a:gd name="connsiteX26" fmla="*/ 237481 w 1375645"/>
                  <a:gd name="connsiteY26" fmla="*/ 2863879 h 3036099"/>
                  <a:gd name="connsiteX27" fmla="*/ 226577 w 1375645"/>
                  <a:gd name="connsiteY27" fmla="*/ 2077171 h 3036099"/>
                  <a:gd name="connsiteX28" fmla="*/ 161841 w 1375645"/>
                  <a:gd name="connsiteY28" fmla="*/ 1818226 h 3036099"/>
                  <a:gd name="connsiteX29" fmla="*/ 137565 w 1375645"/>
                  <a:gd name="connsiteY29" fmla="*/ 1583557 h 3036099"/>
                  <a:gd name="connsiteX30" fmla="*/ 80921 w 1375645"/>
                  <a:gd name="connsiteY30" fmla="*/ 733893 h 3036099"/>
                  <a:gd name="connsiteX31" fmla="*/ 8092 w 1375645"/>
                  <a:gd name="connsiteY31" fmla="*/ 474948 h 3036099"/>
                  <a:gd name="connsiteX32" fmla="*/ 32369 w 1375645"/>
                  <a:gd name="connsiteY32" fmla="*/ 345475 h 3036099"/>
                  <a:gd name="connsiteX33" fmla="*/ 178025 w 1375645"/>
                  <a:gd name="connsiteY33" fmla="*/ 5610 h 3036099"/>
                  <a:gd name="connsiteX0" fmla="*/ 178025 w 1375647"/>
                  <a:gd name="connsiteY0" fmla="*/ 5610 h 3036099"/>
                  <a:gd name="connsiteX1" fmla="*/ 299406 w 1375647"/>
                  <a:gd name="connsiteY1" fmla="*/ 78438 h 3036099"/>
                  <a:gd name="connsiteX2" fmla="*/ 493615 w 1375647"/>
                  <a:gd name="connsiteY2" fmla="*/ 126990 h 3036099"/>
                  <a:gd name="connsiteX3" fmla="*/ 687823 w 1375647"/>
                  <a:gd name="connsiteY3" fmla="*/ 143174 h 3036099"/>
                  <a:gd name="connsiteX4" fmla="*/ 865848 w 1375647"/>
                  <a:gd name="connsiteY4" fmla="*/ 110806 h 3036099"/>
                  <a:gd name="connsiteX5" fmla="*/ 946769 w 1375647"/>
                  <a:gd name="connsiteY5" fmla="*/ 62254 h 3036099"/>
                  <a:gd name="connsiteX6" fmla="*/ 1181438 w 1375647"/>
                  <a:gd name="connsiteY6" fmla="*/ 264555 h 3036099"/>
                  <a:gd name="connsiteX7" fmla="*/ 1351370 w 1375647"/>
                  <a:gd name="connsiteY7" fmla="*/ 385935 h 3036099"/>
                  <a:gd name="connsiteX8" fmla="*/ 1327094 w 1375647"/>
                  <a:gd name="connsiteY8" fmla="*/ 491132 h 3036099"/>
                  <a:gd name="connsiteX9" fmla="*/ 1257699 w 1375647"/>
                  <a:gd name="connsiteY9" fmla="*/ 739368 h 3036099"/>
                  <a:gd name="connsiteX10" fmla="*/ 1210372 w 1375647"/>
                  <a:gd name="connsiteY10" fmla="*/ 1556545 h 3036099"/>
                  <a:gd name="connsiteX11" fmla="*/ 1171022 w 1375647"/>
                  <a:gd name="connsiteY11" fmla="*/ 2064083 h 3036099"/>
                  <a:gd name="connsiteX12" fmla="*/ 1172073 w 1375647"/>
                  <a:gd name="connsiteY12" fmla="*/ 2649779 h 3036099"/>
                  <a:gd name="connsiteX13" fmla="*/ 1202056 w 1375647"/>
                  <a:gd name="connsiteY13" fmla="*/ 2993493 h 3036099"/>
                  <a:gd name="connsiteX14" fmla="*/ 782673 w 1375647"/>
                  <a:gd name="connsiteY14" fmla="*/ 2846858 h 3036099"/>
                  <a:gd name="connsiteX15" fmla="*/ 782510 w 1375647"/>
                  <a:gd name="connsiteY15" fmla="*/ 2575013 h 3036099"/>
                  <a:gd name="connsiteX16" fmla="*/ 752944 w 1375647"/>
                  <a:gd name="connsiteY16" fmla="*/ 1953176 h 3036099"/>
                  <a:gd name="connsiteX17" fmla="*/ 753987 w 1375647"/>
                  <a:gd name="connsiteY17" fmla="*/ 1632109 h 3036099"/>
                  <a:gd name="connsiteX18" fmla="*/ 721477 w 1375647"/>
                  <a:gd name="connsiteY18" fmla="*/ 1212956 h 3036099"/>
                  <a:gd name="connsiteX19" fmla="*/ 695915 w 1375647"/>
                  <a:gd name="connsiteY19" fmla="*/ 895734 h 3036099"/>
                  <a:gd name="connsiteX20" fmla="*/ 667680 w 1375647"/>
                  <a:gd name="connsiteY20" fmla="*/ 1081852 h 3036099"/>
                  <a:gd name="connsiteX21" fmla="*/ 602031 w 1375647"/>
                  <a:gd name="connsiteY21" fmla="*/ 1669237 h 3036099"/>
                  <a:gd name="connsiteX22" fmla="*/ 637531 w 1375647"/>
                  <a:gd name="connsiteY22" fmla="*/ 2510114 h 3036099"/>
                  <a:gd name="connsiteX23" fmla="*/ 614682 w 1375647"/>
                  <a:gd name="connsiteY23" fmla="*/ 2809553 h 3036099"/>
                  <a:gd name="connsiteX24" fmla="*/ 575008 w 1375647"/>
                  <a:gd name="connsiteY24" fmla="*/ 2910800 h 3036099"/>
                  <a:gd name="connsiteX25" fmla="*/ 286866 w 1375647"/>
                  <a:gd name="connsiteY25" fmla="*/ 2944902 h 3036099"/>
                  <a:gd name="connsiteX26" fmla="*/ 237481 w 1375647"/>
                  <a:gd name="connsiteY26" fmla="*/ 2863879 h 3036099"/>
                  <a:gd name="connsiteX27" fmla="*/ 226577 w 1375647"/>
                  <a:gd name="connsiteY27" fmla="*/ 2077171 h 3036099"/>
                  <a:gd name="connsiteX28" fmla="*/ 161841 w 1375647"/>
                  <a:gd name="connsiteY28" fmla="*/ 1818226 h 3036099"/>
                  <a:gd name="connsiteX29" fmla="*/ 137565 w 1375647"/>
                  <a:gd name="connsiteY29" fmla="*/ 1583557 h 3036099"/>
                  <a:gd name="connsiteX30" fmla="*/ 80921 w 1375647"/>
                  <a:gd name="connsiteY30" fmla="*/ 733893 h 3036099"/>
                  <a:gd name="connsiteX31" fmla="*/ 8092 w 1375647"/>
                  <a:gd name="connsiteY31" fmla="*/ 474948 h 3036099"/>
                  <a:gd name="connsiteX32" fmla="*/ 32369 w 1375647"/>
                  <a:gd name="connsiteY32" fmla="*/ 345475 h 3036099"/>
                  <a:gd name="connsiteX33" fmla="*/ 178025 w 1375647"/>
                  <a:gd name="connsiteY33" fmla="*/ 5610 h 3036099"/>
                  <a:gd name="connsiteX0" fmla="*/ 178025 w 1334531"/>
                  <a:gd name="connsiteY0" fmla="*/ 5610 h 3036099"/>
                  <a:gd name="connsiteX1" fmla="*/ 299406 w 1334531"/>
                  <a:gd name="connsiteY1" fmla="*/ 78438 h 3036099"/>
                  <a:gd name="connsiteX2" fmla="*/ 493615 w 1334531"/>
                  <a:gd name="connsiteY2" fmla="*/ 126990 h 3036099"/>
                  <a:gd name="connsiteX3" fmla="*/ 687823 w 1334531"/>
                  <a:gd name="connsiteY3" fmla="*/ 143174 h 3036099"/>
                  <a:gd name="connsiteX4" fmla="*/ 865848 w 1334531"/>
                  <a:gd name="connsiteY4" fmla="*/ 110806 h 3036099"/>
                  <a:gd name="connsiteX5" fmla="*/ 946769 w 1334531"/>
                  <a:gd name="connsiteY5" fmla="*/ 62254 h 3036099"/>
                  <a:gd name="connsiteX6" fmla="*/ 1181438 w 1334531"/>
                  <a:gd name="connsiteY6" fmla="*/ 264555 h 3036099"/>
                  <a:gd name="connsiteX7" fmla="*/ 1213078 w 1334531"/>
                  <a:gd name="connsiteY7" fmla="*/ 385935 h 3036099"/>
                  <a:gd name="connsiteX8" fmla="*/ 1327094 w 1334531"/>
                  <a:gd name="connsiteY8" fmla="*/ 491132 h 3036099"/>
                  <a:gd name="connsiteX9" fmla="*/ 1257699 w 1334531"/>
                  <a:gd name="connsiteY9" fmla="*/ 739368 h 3036099"/>
                  <a:gd name="connsiteX10" fmla="*/ 1210372 w 1334531"/>
                  <a:gd name="connsiteY10" fmla="*/ 1556545 h 3036099"/>
                  <a:gd name="connsiteX11" fmla="*/ 1171022 w 1334531"/>
                  <a:gd name="connsiteY11" fmla="*/ 2064083 h 3036099"/>
                  <a:gd name="connsiteX12" fmla="*/ 1172073 w 1334531"/>
                  <a:gd name="connsiteY12" fmla="*/ 2649779 h 3036099"/>
                  <a:gd name="connsiteX13" fmla="*/ 1202056 w 1334531"/>
                  <a:gd name="connsiteY13" fmla="*/ 2993493 h 3036099"/>
                  <a:gd name="connsiteX14" fmla="*/ 782673 w 1334531"/>
                  <a:gd name="connsiteY14" fmla="*/ 2846858 h 3036099"/>
                  <a:gd name="connsiteX15" fmla="*/ 782510 w 1334531"/>
                  <a:gd name="connsiteY15" fmla="*/ 2575013 h 3036099"/>
                  <a:gd name="connsiteX16" fmla="*/ 752944 w 1334531"/>
                  <a:gd name="connsiteY16" fmla="*/ 1953176 h 3036099"/>
                  <a:gd name="connsiteX17" fmla="*/ 753987 w 1334531"/>
                  <a:gd name="connsiteY17" fmla="*/ 1632109 h 3036099"/>
                  <a:gd name="connsiteX18" fmla="*/ 721477 w 1334531"/>
                  <a:gd name="connsiteY18" fmla="*/ 1212956 h 3036099"/>
                  <a:gd name="connsiteX19" fmla="*/ 695915 w 1334531"/>
                  <a:gd name="connsiteY19" fmla="*/ 895734 h 3036099"/>
                  <a:gd name="connsiteX20" fmla="*/ 667680 w 1334531"/>
                  <a:gd name="connsiteY20" fmla="*/ 1081852 h 3036099"/>
                  <a:gd name="connsiteX21" fmla="*/ 602031 w 1334531"/>
                  <a:gd name="connsiteY21" fmla="*/ 1669237 h 3036099"/>
                  <a:gd name="connsiteX22" fmla="*/ 637531 w 1334531"/>
                  <a:gd name="connsiteY22" fmla="*/ 2510114 h 3036099"/>
                  <a:gd name="connsiteX23" fmla="*/ 614682 w 1334531"/>
                  <a:gd name="connsiteY23" fmla="*/ 2809553 h 3036099"/>
                  <a:gd name="connsiteX24" fmla="*/ 575008 w 1334531"/>
                  <a:gd name="connsiteY24" fmla="*/ 2910800 h 3036099"/>
                  <a:gd name="connsiteX25" fmla="*/ 286866 w 1334531"/>
                  <a:gd name="connsiteY25" fmla="*/ 2944902 h 3036099"/>
                  <a:gd name="connsiteX26" fmla="*/ 237481 w 1334531"/>
                  <a:gd name="connsiteY26" fmla="*/ 2863879 h 3036099"/>
                  <a:gd name="connsiteX27" fmla="*/ 226577 w 1334531"/>
                  <a:gd name="connsiteY27" fmla="*/ 2077171 h 3036099"/>
                  <a:gd name="connsiteX28" fmla="*/ 161841 w 1334531"/>
                  <a:gd name="connsiteY28" fmla="*/ 1818226 h 3036099"/>
                  <a:gd name="connsiteX29" fmla="*/ 137565 w 1334531"/>
                  <a:gd name="connsiteY29" fmla="*/ 1583557 h 3036099"/>
                  <a:gd name="connsiteX30" fmla="*/ 80921 w 1334531"/>
                  <a:gd name="connsiteY30" fmla="*/ 733893 h 3036099"/>
                  <a:gd name="connsiteX31" fmla="*/ 8092 w 1334531"/>
                  <a:gd name="connsiteY31" fmla="*/ 474948 h 3036099"/>
                  <a:gd name="connsiteX32" fmla="*/ 32369 w 1334531"/>
                  <a:gd name="connsiteY32" fmla="*/ 345475 h 3036099"/>
                  <a:gd name="connsiteX33" fmla="*/ 178025 w 1334531"/>
                  <a:gd name="connsiteY33" fmla="*/ 5610 h 3036099"/>
                  <a:gd name="connsiteX0" fmla="*/ 178025 w 1334531"/>
                  <a:gd name="connsiteY0" fmla="*/ 5610 h 3036099"/>
                  <a:gd name="connsiteX1" fmla="*/ 299406 w 1334531"/>
                  <a:gd name="connsiteY1" fmla="*/ 78438 h 3036099"/>
                  <a:gd name="connsiteX2" fmla="*/ 493615 w 1334531"/>
                  <a:gd name="connsiteY2" fmla="*/ 126990 h 3036099"/>
                  <a:gd name="connsiteX3" fmla="*/ 687823 w 1334531"/>
                  <a:gd name="connsiteY3" fmla="*/ 143174 h 3036099"/>
                  <a:gd name="connsiteX4" fmla="*/ 865848 w 1334531"/>
                  <a:gd name="connsiteY4" fmla="*/ 110806 h 3036099"/>
                  <a:gd name="connsiteX5" fmla="*/ 1181438 w 1334531"/>
                  <a:gd name="connsiteY5" fmla="*/ 264555 h 3036099"/>
                  <a:gd name="connsiteX6" fmla="*/ 1213078 w 1334531"/>
                  <a:gd name="connsiteY6" fmla="*/ 385935 h 3036099"/>
                  <a:gd name="connsiteX7" fmla="*/ 1327094 w 1334531"/>
                  <a:gd name="connsiteY7" fmla="*/ 491132 h 3036099"/>
                  <a:gd name="connsiteX8" fmla="*/ 1257699 w 1334531"/>
                  <a:gd name="connsiteY8" fmla="*/ 739368 h 3036099"/>
                  <a:gd name="connsiteX9" fmla="*/ 1210372 w 1334531"/>
                  <a:gd name="connsiteY9" fmla="*/ 1556545 h 3036099"/>
                  <a:gd name="connsiteX10" fmla="*/ 1171022 w 1334531"/>
                  <a:gd name="connsiteY10" fmla="*/ 2064083 h 3036099"/>
                  <a:gd name="connsiteX11" fmla="*/ 1172073 w 1334531"/>
                  <a:gd name="connsiteY11" fmla="*/ 2649779 h 3036099"/>
                  <a:gd name="connsiteX12" fmla="*/ 1202056 w 1334531"/>
                  <a:gd name="connsiteY12" fmla="*/ 2993493 h 3036099"/>
                  <a:gd name="connsiteX13" fmla="*/ 782673 w 1334531"/>
                  <a:gd name="connsiteY13" fmla="*/ 2846858 h 3036099"/>
                  <a:gd name="connsiteX14" fmla="*/ 782510 w 1334531"/>
                  <a:gd name="connsiteY14" fmla="*/ 2575013 h 3036099"/>
                  <a:gd name="connsiteX15" fmla="*/ 752944 w 1334531"/>
                  <a:gd name="connsiteY15" fmla="*/ 1953176 h 3036099"/>
                  <a:gd name="connsiteX16" fmla="*/ 753987 w 1334531"/>
                  <a:gd name="connsiteY16" fmla="*/ 1632109 h 3036099"/>
                  <a:gd name="connsiteX17" fmla="*/ 721477 w 1334531"/>
                  <a:gd name="connsiteY17" fmla="*/ 1212956 h 3036099"/>
                  <a:gd name="connsiteX18" fmla="*/ 695915 w 1334531"/>
                  <a:gd name="connsiteY18" fmla="*/ 895734 h 3036099"/>
                  <a:gd name="connsiteX19" fmla="*/ 667680 w 1334531"/>
                  <a:gd name="connsiteY19" fmla="*/ 1081852 h 3036099"/>
                  <a:gd name="connsiteX20" fmla="*/ 602031 w 1334531"/>
                  <a:gd name="connsiteY20" fmla="*/ 1669237 h 3036099"/>
                  <a:gd name="connsiteX21" fmla="*/ 637531 w 1334531"/>
                  <a:gd name="connsiteY21" fmla="*/ 2510114 h 3036099"/>
                  <a:gd name="connsiteX22" fmla="*/ 614682 w 1334531"/>
                  <a:gd name="connsiteY22" fmla="*/ 2809553 h 3036099"/>
                  <a:gd name="connsiteX23" fmla="*/ 575008 w 1334531"/>
                  <a:gd name="connsiteY23" fmla="*/ 2910800 h 3036099"/>
                  <a:gd name="connsiteX24" fmla="*/ 286866 w 1334531"/>
                  <a:gd name="connsiteY24" fmla="*/ 2944902 h 3036099"/>
                  <a:gd name="connsiteX25" fmla="*/ 237481 w 1334531"/>
                  <a:gd name="connsiteY25" fmla="*/ 2863879 h 3036099"/>
                  <a:gd name="connsiteX26" fmla="*/ 226577 w 1334531"/>
                  <a:gd name="connsiteY26" fmla="*/ 2077171 h 3036099"/>
                  <a:gd name="connsiteX27" fmla="*/ 161841 w 1334531"/>
                  <a:gd name="connsiteY27" fmla="*/ 1818226 h 3036099"/>
                  <a:gd name="connsiteX28" fmla="*/ 137565 w 1334531"/>
                  <a:gd name="connsiteY28" fmla="*/ 1583557 h 3036099"/>
                  <a:gd name="connsiteX29" fmla="*/ 80921 w 1334531"/>
                  <a:gd name="connsiteY29" fmla="*/ 733893 h 3036099"/>
                  <a:gd name="connsiteX30" fmla="*/ 8092 w 1334531"/>
                  <a:gd name="connsiteY30" fmla="*/ 474948 h 3036099"/>
                  <a:gd name="connsiteX31" fmla="*/ 32369 w 1334531"/>
                  <a:gd name="connsiteY31" fmla="*/ 345475 h 3036099"/>
                  <a:gd name="connsiteX32" fmla="*/ 178025 w 1334531"/>
                  <a:gd name="connsiteY32" fmla="*/ 5610 h 3036099"/>
                  <a:gd name="connsiteX0" fmla="*/ 178025 w 1334531"/>
                  <a:gd name="connsiteY0" fmla="*/ 5610 h 3036099"/>
                  <a:gd name="connsiteX1" fmla="*/ 299406 w 1334531"/>
                  <a:gd name="connsiteY1" fmla="*/ 78438 h 3036099"/>
                  <a:gd name="connsiteX2" fmla="*/ 493615 w 1334531"/>
                  <a:gd name="connsiteY2" fmla="*/ 126990 h 3036099"/>
                  <a:gd name="connsiteX3" fmla="*/ 687823 w 1334531"/>
                  <a:gd name="connsiteY3" fmla="*/ 143174 h 3036099"/>
                  <a:gd name="connsiteX4" fmla="*/ 1181438 w 1334531"/>
                  <a:gd name="connsiteY4" fmla="*/ 264555 h 3036099"/>
                  <a:gd name="connsiteX5" fmla="*/ 1213078 w 1334531"/>
                  <a:gd name="connsiteY5" fmla="*/ 385935 h 3036099"/>
                  <a:gd name="connsiteX6" fmla="*/ 1327094 w 1334531"/>
                  <a:gd name="connsiteY6" fmla="*/ 491132 h 3036099"/>
                  <a:gd name="connsiteX7" fmla="*/ 1257699 w 1334531"/>
                  <a:gd name="connsiteY7" fmla="*/ 739368 h 3036099"/>
                  <a:gd name="connsiteX8" fmla="*/ 1210372 w 1334531"/>
                  <a:gd name="connsiteY8" fmla="*/ 1556545 h 3036099"/>
                  <a:gd name="connsiteX9" fmla="*/ 1171022 w 1334531"/>
                  <a:gd name="connsiteY9" fmla="*/ 2064083 h 3036099"/>
                  <a:gd name="connsiteX10" fmla="*/ 1172073 w 1334531"/>
                  <a:gd name="connsiteY10" fmla="*/ 2649779 h 3036099"/>
                  <a:gd name="connsiteX11" fmla="*/ 1202056 w 1334531"/>
                  <a:gd name="connsiteY11" fmla="*/ 2993493 h 3036099"/>
                  <a:gd name="connsiteX12" fmla="*/ 782673 w 1334531"/>
                  <a:gd name="connsiteY12" fmla="*/ 2846858 h 3036099"/>
                  <a:gd name="connsiteX13" fmla="*/ 782510 w 1334531"/>
                  <a:gd name="connsiteY13" fmla="*/ 2575013 h 3036099"/>
                  <a:gd name="connsiteX14" fmla="*/ 752944 w 1334531"/>
                  <a:gd name="connsiteY14" fmla="*/ 1953176 h 3036099"/>
                  <a:gd name="connsiteX15" fmla="*/ 753987 w 1334531"/>
                  <a:gd name="connsiteY15" fmla="*/ 1632109 h 3036099"/>
                  <a:gd name="connsiteX16" fmla="*/ 721477 w 1334531"/>
                  <a:gd name="connsiteY16" fmla="*/ 1212956 h 3036099"/>
                  <a:gd name="connsiteX17" fmla="*/ 695915 w 1334531"/>
                  <a:gd name="connsiteY17" fmla="*/ 895734 h 3036099"/>
                  <a:gd name="connsiteX18" fmla="*/ 667680 w 1334531"/>
                  <a:gd name="connsiteY18" fmla="*/ 1081852 h 3036099"/>
                  <a:gd name="connsiteX19" fmla="*/ 602031 w 1334531"/>
                  <a:gd name="connsiteY19" fmla="*/ 1669237 h 3036099"/>
                  <a:gd name="connsiteX20" fmla="*/ 637531 w 1334531"/>
                  <a:gd name="connsiteY20" fmla="*/ 2510114 h 3036099"/>
                  <a:gd name="connsiteX21" fmla="*/ 614682 w 1334531"/>
                  <a:gd name="connsiteY21" fmla="*/ 2809553 h 3036099"/>
                  <a:gd name="connsiteX22" fmla="*/ 575008 w 1334531"/>
                  <a:gd name="connsiteY22" fmla="*/ 2910800 h 3036099"/>
                  <a:gd name="connsiteX23" fmla="*/ 286866 w 1334531"/>
                  <a:gd name="connsiteY23" fmla="*/ 2944902 h 3036099"/>
                  <a:gd name="connsiteX24" fmla="*/ 237481 w 1334531"/>
                  <a:gd name="connsiteY24" fmla="*/ 2863879 h 3036099"/>
                  <a:gd name="connsiteX25" fmla="*/ 226577 w 1334531"/>
                  <a:gd name="connsiteY25" fmla="*/ 2077171 h 3036099"/>
                  <a:gd name="connsiteX26" fmla="*/ 161841 w 1334531"/>
                  <a:gd name="connsiteY26" fmla="*/ 1818226 h 3036099"/>
                  <a:gd name="connsiteX27" fmla="*/ 137565 w 1334531"/>
                  <a:gd name="connsiteY27" fmla="*/ 1583557 h 3036099"/>
                  <a:gd name="connsiteX28" fmla="*/ 80921 w 1334531"/>
                  <a:gd name="connsiteY28" fmla="*/ 733893 h 3036099"/>
                  <a:gd name="connsiteX29" fmla="*/ 8092 w 1334531"/>
                  <a:gd name="connsiteY29" fmla="*/ 474948 h 3036099"/>
                  <a:gd name="connsiteX30" fmla="*/ 32369 w 1334531"/>
                  <a:gd name="connsiteY30" fmla="*/ 345475 h 3036099"/>
                  <a:gd name="connsiteX31" fmla="*/ 178025 w 1334531"/>
                  <a:gd name="connsiteY31" fmla="*/ 5610 h 3036099"/>
                  <a:gd name="connsiteX0" fmla="*/ 178025 w 1334531"/>
                  <a:gd name="connsiteY0" fmla="*/ 5610 h 3036099"/>
                  <a:gd name="connsiteX1" fmla="*/ 299406 w 1334531"/>
                  <a:gd name="connsiteY1" fmla="*/ 78438 h 3036099"/>
                  <a:gd name="connsiteX2" fmla="*/ 493615 w 1334531"/>
                  <a:gd name="connsiteY2" fmla="*/ 126990 h 3036099"/>
                  <a:gd name="connsiteX3" fmla="*/ 1181438 w 1334531"/>
                  <a:gd name="connsiteY3" fmla="*/ 264555 h 3036099"/>
                  <a:gd name="connsiteX4" fmla="*/ 1213078 w 1334531"/>
                  <a:gd name="connsiteY4" fmla="*/ 385935 h 3036099"/>
                  <a:gd name="connsiteX5" fmla="*/ 1327094 w 1334531"/>
                  <a:gd name="connsiteY5" fmla="*/ 491132 h 3036099"/>
                  <a:gd name="connsiteX6" fmla="*/ 1257699 w 1334531"/>
                  <a:gd name="connsiteY6" fmla="*/ 739368 h 3036099"/>
                  <a:gd name="connsiteX7" fmla="*/ 1210372 w 1334531"/>
                  <a:gd name="connsiteY7" fmla="*/ 1556545 h 3036099"/>
                  <a:gd name="connsiteX8" fmla="*/ 1171022 w 1334531"/>
                  <a:gd name="connsiteY8" fmla="*/ 2064083 h 3036099"/>
                  <a:gd name="connsiteX9" fmla="*/ 1172073 w 1334531"/>
                  <a:gd name="connsiteY9" fmla="*/ 2649779 h 3036099"/>
                  <a:gd name="connsiteX10" fmla="*/ 1202056 w 1334531"/>
                  <a:gd name="connsiteY10" fmla="*/ 2993493 h 3036099"/>
                  <a:gd name="connsiteX11" fmla="*/ 782673 w 1334531"/>
                  <a:gd name="connsiteY11" fmla="*/ 2846858 h 3036099"/>
                  <a:gd name="connsiteX12" fmla="*/ 782510 w 1334531"/>
                  <a:gd name="connsiteY12" fmla="*/ 2575013 h 3036099"/>
                  <a:gd name="connsiteX13" fmla="*/ 752944 w 1334531"/>
                  <a:gd name="connsiteY13" fmla="*/ 1953176 h 3036099"/>
                  <a:gd name="connsiteX14" fmla="*/ 753987 w 1334531"/>
                  <a:gd name="connsiteY14" fmla="*/ 1632109 h 3036099"/>
                  <a:gd name="connsiteX15" fmla="*/ 721477 w 1334531"/>
                  <a:gd name="connsiteY15" fmla="*/ 1212956 h 3036099"/>
                  <a:gd name="connsiteX16" fmla="*/ 695915 w 1334531"/>
                  <a:gd name="connsiteY16" fmla="*/ 895734 h 3036099"/>
                  <a:gd name="connsiteX17" fmla="*/ 667680 w 1334531"/>
                  <a:gd name="connsiteY17" fmla="*/ 1081852 h 3036099"/>
                  <a:gd name="connsiteX18" fmla="*/ 602031 w 1334531"/>
                  <a:gd name="connsiteY18" fmla="*/ 1669237 h 3036099"/>
                  <a:gd name="connsiteX19" fmla="*/ 637531 w 1334531"/>
                  <a:gd name="connsiteY19" fmla="*/ 2510114 h 3036099"/>
                  <a:gd name="connsiteX20" fmla="*/ 614682 w 1334531"/>
                  <a:gd name="connsiteY20" fmla="*/ 2809553 h 3036099"/>
                  <a:gd name="connsiteX21" fmla="*/ 575008 w 1334531"/>
                  <a:gd name="connsiteY21" fmla="*/ 2910800 h 3036099"/>
                  <a:gd name="connsiteX22" fmla="*/ 286866 w 1334531"/>
                  <a:gd name="connsiteY22" fmla="*/ 2944902 h 3036099"/>
                  <a:gd name="connsiteX23" fmla="*/ 237481 w 1334531"/>
                  <a:gd name="connsiteY23" fmla="*/ 2863879 h 3036099"/>
                  <a:gd name="connsiteX24" fmla="*/ 226577 w 1334531"/>
                  <a:gd name="connsiteY24" fmla="*/ 2077171 h 3036099"/>
                  <a:gd name="connsiteX25" fmla="*/ 161841 w 1334531"/>
                  <a:gd name="connsiteY25" fmla="*/ 1818226 h 3036099"/>
                  <a:gd name="connsiteX26" fmla="*/ 137565 w 1334531"/>
                  <a:gd name="connsiteY26" fmla="*/ 1583557 h 3036099"/>
                  <a:gd name="connsiteX27" fmla="*/ 80921 w 1334531"/>
                  <a:gd name="connsiteY27" fmla="*/ 733893 h 3036099"/>
                  <a:gd name="connsiteX28" fmla="*/ 8092 w 1334531"/>
                  <a:gd name="connsiteY28" fmla="*/ 474948 h 3036099"/>
                  <a:gd name="connsiteX29" fmla="*/ 32369 w 1334531"/>
                  <a:gd name="connsiteY29" fmla="*/ 345475 h 3036099"/>
                  <a:gd name="connsiteX30" fmla="*/ 178025 w 1334531"/>
                  <a:gd name="connsiteY30" fmla="*/ 5610 h 3036099"/>
                  <a:gd name="connsiteX0" fmla="*/ 178025 w 1334531"/>
                  <a:gd name="connsiteY0" fmla="*/ 5610 h 3036099"/>
                  <a:gd name="connsiteX1" fmla="*/ 299406 w 1334531"/>
                  <a:gd name="connsiteY1" fmla="*/ 78438 h 3036099"/>
                  <a:gd name="connsiteX2" fmla="*/ 1181438 w 1334531"/>
                  <a:gd name="connsiteY2" fmla="*/ 264555 h 3036099"/>
                  <a:gd name="connsiteX3" fmla="*/ 1213078 w 1334531"/>
                  <a:gd name="connsiteY3" fmla="*/ 385935 h 3036099"/>
                  <a:gd name="connsiteX4" fmla="*/ 1327094 w 1334531"/>
                  <a:gd name="connsiteY4" fmla="*/ 491132 h 3036099"/>
                  <a:gd name="connsiteX5" fmla="*/ 1257699 w 1334531"/>
                  <a:gd name="connsiteY5" fmla="*/ 739368 h 3036099"/>
                  <a:gd name="connsiteX6" fmla="*/ 1210372 w 1334531"/>
                  <a:gd name="connsiteY6" fmla="*/ 1556545 h 3036099"/>
                  <a:gd name="connsiteX7" fmla="*/ 1171022 w 1334531"/>
                  <a:gd name="connsiteY7" fmla="*/ 2064083 h 3036099"/>
                  <a:gd name="connsiteX8" fmla="*/ 1172073 w 1334531"/>
                  <a:gd name="connsiteY8" fmla="*/ 2649779 h 3036099"/>
                  <a:gd name="connsiteX9" fmla="*/ 1202056 w 1334531"/>
                  <a:gd name="connsiteY9" fmla="*/ 2993493 h 3036099"/>
                  <a:gd name="connsiteX10" fmla="*/ 782673 w 1334531"/>
                  <a:gd name="connsiteY10" fmla="*/ 2846858 h 3036099"/>
                  <a:gd name="connsiteX11" fmla="*/ 782510 w 1334531"/>
                  <a:gd name="connsiteY11" fmla="*/ 2575013 h 3036099"/>
                  <a:gd name="connsiteX12" fmla="*/ 752944 w 1334531"/>
                  <a:gd name="connsiteY12" fmla="*/ 1953176 h 3036099"/>
                  <a:gd name="connsiteX13" fmla="*/ 753987 w 1334531"/>
                  <a:gd name="connsiteY13" fmla="*/ 1632109 h 3036099"/>
                  <a:gd name="connsiteX14" fmla="*/ 721477 w 1334531"/>
                  <a:gd name="connsiteY14" fmla="*/ 1212956 h 3036099"/>
                  <a:gd name="connsiteX15" fmla="*/ 695915 w 1334531"/>
                  <a:gd name="connsiteY15" fmla="*/ 895734 h 3036099"/>
                  <a:gd name="connsiteX16" fmla="*/ 667680 w 1334531"/>
                  <a:gd name="connsiteY16" fmla="*/ 1081852 h 3036099"/>
                  <a:gd name="connsiteX17" fmla="*/ 602031 w 1334531"/>
                  <a:gd name="connsiteY17" fmla="*/ 1669237 h 3036099"/>
                  <a:gd name="connsiteX18" fmla="*/ 637531 w 1334531"/>
                  <a:gd name="connsiteY18" fmla="*/ 2510114 h 3036099"/>
                  <a:gd name="connsiteX19" fmla="*/ 614682 w 1334531"/>
                  <a:gd name="connsiteY19" fmla="*/ 2809553 h 3036099"/>
                  <a:gd name="connsiteX20" fmla="*/ 575008 w 1334531"/>
                  <a:gd name="connsiteY20" fmla="*/ 2910800 h 3036099"/>
                  <a:gd name="connsiteX21" fmla="*/ 286866 w 1334531"/>
                  <a:gd name="connsiteY21" fmla="*/ 2944902 h 3036099"/>
                  <a:gd name="connsiteX22" fmla="*/ 237481 w 1334531"/>
                  <a:gd name="connsiteY22" fmla="*/ 2863879 h 3036099"/>
                  <a:gd name="connsiteX23" fmla="*/ 226577 w 1334531"/>
                  <a:gd name="connsiteY23" fmla="*/ 2077171 h 3036099"/>
                  <a:gd name="connsiteX24" fmla="*/ 161841 w 1334531"/>
                  <a:gd name="connsiteY24" fmla="*/ 1818226 h 3036099"/>
                  <a:gd name="connsiteX25" fmla="*/ 137565 w 1334531"/>
                  <a:gd name="connsiteY25" fmla="*/ 1583557 h 3036099"/>
                  <a:gd name="connsiteX26" fmla="*/ 80921 w 1334531"/>
                  <a:gd name="connsiteY26" fmla="*/ 733893 h 3036099"/>
                  <a:gd name="connsiteX27" fmla="*/ 8092 w 1334531"/>
                  <a:gd name="connsiteY27" fmla="*/ 474948 h 3036099"/>
                  <a:gd name="connsiteX28" fmla="*/ 32369 w 1334531"/>
                  <a:gd name="connsiteY28" fmla="*/ 345475 h 3036099"/>
                  <a:gd name="connsiteX29" fmla="*/ 178025 w 1334531"/>
                  <a:gd name="connsiteY29" fmla="*/ 5610 h 3036099"/>
                  <a:gd name="connsiteX0" fmla="*/ 178025 w 1353947"/>
                  <a:gd name="connsiteY0" fmla="*/ 13487 h 3043976"/>
                  <a:gd name="connsiteX1" fmla="*/ 1181438 w 1353947"/>
                  <a:gd name="connsiteY1" fmla="*/ 272432 h 3043976"/>
                  <a:gd name="connsiteX2" fmla="*/ 1213078 w 1353947"/>
                  <a:gd name="connsiteY2" fmla="*/ 393812 h 3043976"/>
                  <a:gd name="connsiteX3" fmla="*/ 1327094 w 1353947"/>
                  <a:gd name="connsiteY3" fmla="*/ 499009 h 3043976"/>
                  <a:gd name="connsiteX4" fmla="*/ 1257699 w 1353947"/>
                  <a:gd name="connsiteY4" fmla="*/ 747245 h 3043976"/>
                  <a:gd name="connsiteX5" fmla="*/ 1210372 w 1353947"/>
                  <a:gd name="connsiteY5" fmla="*/ 1564422 h 3043976"/>
                  <a:gd name="connsiteX6" fmla="*/ 1171022 w 1353947"/>
                  <a:gd name="connsiteY6" fmla="*/ 2071960 h 3043976"/>
                  <a:gd name="connsiteX7" fmla="*/ 1172073 w 1353947"/>
                  <a:gd name="connsiteY7" fmla="*/ 2657656 h 3043976"/>
                  <a:gd name="connsiteX8" fmla="*/ 1202056 w 1353947"/>
                  <a:gd name="connsiteY8" fmla="*/ 3001370 h 3043976"/>
                  <a:gd name="connsiteX9" fmla="*/ 782673 w 1353947"/>
                  <a:gd name="connsiteY9" fmla="*/ 2854735 h 3043976"/>
                  <a:gd name="connsiteX10" fmla="*/ 782510 w 1353947"/>
                  <a:gd name="connsiteY10" fmla="*/ 2582890 h 3043976"/>
                  <a:gd name="connsiteX11" fmla="*/ 752944 w 1353947"/>
                  <a:gd name="connsiteY11" fmla="*/ 1961053 h 3043976"/>
                  <a:gd name="connsiteX12" fmla="*/ 753987 w 1353947"/>
                  <a:gd name="connsiteY12" fmla="*/ 1639986 h 3043976"/>
                  <a:gd name="connsiteX13" fmla="*/ 721477 w 1353947"/>
                  <a:gd name="connsiteY13" fmla="*/ 1220833 h 3043976"/>
                  <a:gd name="connsiteX14" fmla="*/ 695915 w 1353947"/>
                  <a:gd name="connsiteY14" fmla="*/ 903611 h 3043976"/>
                  <a:gd name="connsiteX15" fmla="*/ 667680 w 1353947"/>
                  <a:gd name="connsiteY15" fmla="*/ 1089729 h 3043976"/>
                  <a:gd name="connsiteX16" fmla="*/ 602031 w 1353947"/>
                  <a:gd name="connsiteY16" fmla="*/ 1677114 h 3043976"/>
                  <a:gd name="connsiteX17" fmla="*/ 637531 w 1353947"/>
                  <a:gd name="connsiteY17" fmla="*/ 2517991 h 3043976"/>
                  <a:gd name="connsiteX18" fmla="*/ 614682 w 1353947"/>
                  <a:gd name="connsiteY18" fmla="*/ 2817430 h 3043976"/>
                  <a:gd name="connsiteX19" fmla="*/ 575008 w 1353947"/>
                  <a:gd name="connsiteY19" fmla="*/ 2918677 h 3043976"/>
                  <a:gd name="connsiteX20" fmla="*/ 286866 w 1353947"/>
                  <a:gd name="connsiteY20" fmla="*/ 2952779 h 3043976"/>
                  <a:gd name="connsiteX21" fmla="*/ 237481 w 1353947"/>
                  <a:gd name="connsiteY21" fmla="*/ 2871756 h 3043976"/>
                  <a:gd name="connsiteX22" fmla="*/ 226577 w 1353947"/>
                  <a:gd name="connsiteY22" fmla="*/ 2085048 h 3043976"/>
                  <a:gd name="connsiteX23" fmla="*/ 161841 w 1353947"/>
                  <a:gd name="connsiteY23" fmla="*/ 1826103 h 3043976"/>
                  <a:gd name="connsiteX24" fmla="*/ 137565 w 1353947"/>
                  <a:gd name="connsiteY24" fmla="*/ 1591434 h 3043976"/>
                  <a:gd name="connsiteX25" fmla="*/ 80921 w 1353947"/>
                  <a:gd name="connsiteY25" fmla="*/ 741770 h 3043976"/>
                  <a:gd name="connsiteX26" fmla="*/ 8092 w 1353947"/>
                  <a:gd name="connsiteY26" fmla="*/ 482825 h 3043976"/>
                  <a:gd name="connsiteX27" fmla="*/ 32369 w 1353947"/>
                  <a:gd name="connsiteY27" fmla="*/ 353352 h 3043976"/>
                  <a:gd name="connsiteX28" fmla="*/ 178025 w 1353947"/>
                  <a:gd name="connsiteY28" fmla="*/ 13487 h 3043976"/>
                  <a:gd name="connsiteX0" fmla="*/ 195557 w 1541412"/>
                  <a:gd name="connsiteY0" fmla="*/ 87664 h 2778288"/>
                  <a:gd name="connsiteX1" fmla="*/ 1344626 w 1541412"/>
                  <a:gd name="connsiteY1" fmla="*/ 6744 h 2778288"/>
                  <a:gd name="connsiteX2" fmla="*/ 1376266 w 1541412"/>
                  <a:gd name="connsiteY2" fmla="*/ 128124 h 2778288"/>
                  <a:gd name="connsiteX3" fmla="*/ 1490282 w 1541412"/>
                  <a:gd name="connsiteY3" fmla="*/ 233321 h 2778288"/>
                  <a:gd name="connsiteX4" fmla="*/ 1420887 w 1541412"/>
                  <a:gd name="connsiteY4" fmla="*/ 481557 h 2778288"/>
                  <a:gd name="connsiteX5" fmla="*/ 1373560 w 1541412"/>
                  <a:gd name="connsiteY5" fmla="*/ 1298734 h 2778288"/>
                  <a:gd name="connsiteX6" fmla="*/ 1334210 w 1541412"/>
                  <a:gd name="connsiteY6" fmla="*/ 1806272 h 2778288"/>
                  <a:gd name="connsiteX7" fmla="*/ 1335261 w 1541412"/>
                  <a:gd name="connsiteY7" fmla="*/ 2391968 h 2778288"/>
                  <a:gd name="connsiteX8" fmla="*/ 1365244 w 1541412"/>
                  <a:gd name="connsiteY8" fmla="*/ 2735682 h 2778288"/>
                  <a:gd name="connsiteX9" fmla="*/ 945861 w 1541412"/>
                  <a:gd name="connsiteY9" fmla="*/ 2589047 h 2778288"/>
                  <a:gd name="connsiteX10" fmla="*/ 945698 w 1541412"/>
                  <a:gd name="connsiteY10" fmla="*/ 2317202 h 2778288"/>
                  <a:gd name="connsiteX11" fmla="*/ 916132 w 1541412"/>
                  <a:gd name="connsiteY11" fmla="*/ 1695365 h 2778288"/>
                  <a:gd name="connsiteX12" fmla="*/ 917175 w 1541412"/>
                  <a:gd name="connsiteY12" fmla="*/ 1374298 h 2778288"/>
                  <a:gd name="connsiteX13" fmla="*/ 884665 w 1541412"/>
                  <a:gd name="connsiteY13" fmla="*/ 955145 h 2778288"/>
                  <a:gd name="connsiteX14" fmla="*/ 859103 w 1541412"/>
                  <a:gd name="connsiteY14" fmla="*/ 637923 h 2778288"/>
                  <a:gd name="connsiteX15" fmla="*/ 830868 w 1541412"/>
                  <a:gd name="connsiteY15" fmla="*/ 824041 h 2778288"/>
                  <a:gd name="connsiteX16" fmla="*/ 765219 w 1541412"/>
                  <a:gd name="connsiteY16" fmla="*/ 1411426 h 2778288"/>
                  <a:gd name="connsiteX17" fmla="*/ 800719 w 1541412"/>
                  <a:gd name="connsiteY17" fmla="*/ 2252303 h 2778288"/>
                  <a:gd name="connsiteX18" fmla="*/ 777870 w 1541412"/>
                  <a:gd name="connsiteY18" fmla="*/ 2551742 h 2778288"/>
                  <a:gd name="connsiteX19" fmla="*/ 738196 w 1541412"/>
                  <a:gd name="connsiteY19" fmla="*/ 2652989 h 2778288"/>
                  <a:gd name="connsiteX20" fmla="*/ 450054 w 1541412"/>
                  <a:gd name="connsiteY20" fmla="*/ 2687091 h 2778288"/>
                  <a:gd name="connsiteX21" fmla="*/ 400669 w 1541412"/>
                  <a:gd name="connsiteY21" fmla="*/ 2606068 h 2778288"/>
                  <a:gd name="connsiteX22" fmla="*/ 389765 w 1541412"/>
                  <a:gd name="connsiteY22" fmla="*/ 1819360 h 2778288"/>
                  <a:gd name="connsiteX23" fmla="*/ 325029 w 1541412"/>
                  <a:gd name="connsiteY23" fmla="*/ 1560415 h 2778288"/>
                  <a:gd name="connsiteX24" fmla="*/ 300753 w 1541412"/>
                  <a:gd name="connsiteY24" fmla="*/ 1325746 h 2778288"/>
                  <a:gd name="connsiteX25" fmla="*/ 244109 w 1541412"/>
                  <a:gd name="connsiteY25" fmla="*/ 476082 h 2778288"/>
                  <a:gd name="connsiteX26" fmla="*/ 171280 w 1541412"/>
                  <a:gd name="connsiteY26" fmla="*/ 217137 h 2778288"/>
                  <a:gd name="connsiteX27" fmla="*/ 195557 w 1541412"/>
                  <a:gd name="connsiteY27" fmla="*/ 87664 h 2778288"/>
                  <a:gd name="connsiteX0" fmla="*/ 200830 w 1597325"/>
                  <a:gd name="connsiteY0" fmla="*/ 14837 h 2705461"/>
                  <a:gd name="connsiteX1" fmla="*/ 1381539 w 1597325"/>
                  <a:gd name="connsiteY1" fmla="*/ 55297 h 2705461"/>
                  <a:gd name="connsiteX2" fmla="*/ 1495555 w 1597325"/>
                  <a:gd name="connsiteY2" fmla="*/ 160494 h 2705461"/>
                  <a:gd name="connsiteX3" fmla="*/ 1426160 w 1597325"/>
                  <a:gd name="connsiteY3" fmla="*/ 408730 h 2705461"/>
                  <a:gd name="connsiteX4" fmla="*/ 1378833 w 1597325"/>
                  <a:gd name="connsiteY4" fmla="*/ 1225907 h 2705461"/>
                  <a:gd name="connsiteX5" fmla="*/ 1339483 w 1597325"/>
                  <a:gd name="connsiteY5" fmla="*/ 1733445 h 2705461"/>
                  <a:gd name="connsiteX6" fmla="*/ 1340534 w 1597325"/>
                  <a:gd name="connsiteY6" fmla="*/ 2319141 h 2705461"/>
                  <a:gd name="connsiteX7" fmla="*/ 1370517 w 1597325"/>
                  <a:gd name="connsiteY7" fmla="*/ 2662855 h 2705461"/>
                  <a:gd name="connsiteX8" fmla="*/ 951134 w 1597325"/>
                  <a:gd name="connsiteY8" fmla="*/ 2516220 h 2705461"/>
                  <a:gd name="connsiteX9" fmla="*/ 950971 w 1597325"/>
                  <a:gd name="connsiteY9" fmla="*/ 2244375 h 2705461"/>
                  <a:gd name="connsiteX10" fmla="*/ 921405 w 1597325"/>
                  <a:gd name="connsiteY10" fmla="*/ 1622538 h 2705461"/>
                  <a:gd name="connsiteX11" fmla="*/ 922448 w 1597325"/>
                  <a:gd name="connsiteY11" fmla="*/ 1301471 h 2705461"/>
                  <a:gd name="connsiteX12" fmla="*/ 889938 w 1597325"/>
                  <a:gd name="connsiteY12" fmla="*/ 882318 h 2705461"/>
                  <a:gd name="connsiteX13" fmla="*/ 864376 w 1597325"/>
                  <a:gd name="connsiteY13" fmla="*/ 565096 h 2705461"/>
                  <a:gd name="connsiteX14" fmla="*/ 836141 w 1597325"/>
                  <a:gd name="connsiteY14" fmla="*/ 751214 h 2705461"/>
                  <a:gd name="connsiteX15" fmla="*/ 770492 w 1597325"/>
                  <a:gd name="connsiteY15" fmla="*/ 1338599 h 2705461"/>
                  <a:gd name="connsiteX16" fmla="*/ 805992 w 1597325"/>
                  <a:gd name="connsiteY16" fmla="*/ 2179476 h 2705461"/>
                  <a:gd name="connsiteX17" fmla="*/ 783143 w 1597325"/>
                  <a:gd name="connsiteY17" fmla="*/ 2478915 h 2705461"/>
                  <a:gd name="connsiteX18" fmla="*/ 743469 w 1597325"/>
                  <a:gd name="connsiteY18" fmla="*/ 2580162 h 2705461"/>
                  <a:gd name="connsiteX19" fmla="*/ 455327 w 1597325"/>
                  <a:gd name="connsiteY19" fmla="*/ 2614264 h 2705461"/>
                  <a:gd name="connsiteX20" fmla="*/ 405942 w 1597325"/>
                  <a:gd name="connsiteY20" fmla="*/ 2533241 h 2705461"/>
                  <a:gd name="connsiteX21" fmla="*/ 395038 w 1597325"/>
                  <a:gd name="connsiteY21" fmla="*/ 1746533 h 2705461"/>
                  <a:gd name="connsiteX22" fmla="*/ 330302 w 1597325"/>
                  <a:gd name="connsiteY22" fmla="*/ 1487588 h 2705461"/>
                  <a:gd name="connsiteX23" fmla="*/ 306026 w 1597325"/>
                  <a:gd name="connsiteY23" fmla="*/ 1252919 h 2705461"/>
                  <a:gd name="connsiteX24" fmla="*/ 249382 w 1597325"/>
                  <a:gd name="connsiteY24" fmla="*/ 403255 h 2705461"/>
                  <a:gd name="connsiteX25" fmla="*/ 176553 w 1597325"/>
                  <a:gd name="connsiteY25" fmla="*/ 144310 h 2705461"/>
                  <a:gd name="connsiteX26" fmla="*/ 200830 w 1597325"/>
                  <a:gd name="connsiteY26" fmla="*/ 14837 h 2705461"/>
                  <a:gd name="connsiteX0" fmla="*/ 178742 w 1502992"/>
                  <a:gd name="connsiteY0" fmla="*/ 14835 h 2705459"/>
                  <a:gd name="connsiteX1" fmla="*/ 1226920 w 1502992"/>
                  <a:gd name="connsiteY1" fmla="*/ 55296 h 2705459"/>
                  <a:gd name="connsiteX2" fmla="*/ 1473467 w 1502992"/>
                  <a:gd name="connsiteY2" fmla="*/ 160492 h 2705459"/>
                  <a:gd name="connsiteX3" fmla="*/ 1404072 w 1502992"/>
                  <a:gd name="connsiteY3" fmla="*/ 408728 h 2705459"/>
                  <a:gd name="connsiteX4" fmla="*/ 1356745 w 1502992"/>
                  <a:gd name="connsiteY4" fmla="*/ 1225905 h 2705459"/>
                  <a:gd name="connsiteX5" fmla="*/ 1317395 w 1502992"/>
                  <a:gd name="connsiteY5" fmla="*/ 1733443 h 2705459"/>
                  <a:gd name="connsiteX6" fmla="*/ 1318446 w 1502992"/>
                  <a:gd name="connsiteY6" fmla="*/ 2319139 h 2705459"/>
                  <a:gd name="connsiteX7" fmla="*/ 1348429 w 1502992"/>
                  <a:gd name="connsiteY7" fmla="*/ 2662853 h 2705459"/>
                  <a:gd name="connsiteX8" fmla="*/ 929046 w 1502992"/>
                  <a:gd name="connsiteY8" fmla="*/ 2516218 h 2705459"/>
                  <a:gd name="connsiteX9" fmla="*/ 928883 w 1502992"/>
                  <a:gd name="connsiteY9" fmla="*/ 2244373 h 2705459"/>
                  <a:gd name="connsiteX10" fmla="*/ 899317 w 1502992"/>
                  <a:gd name="connsiteY10" fmla="*/ 1622536 h 2705459"/>
                  <a:gd name="connsiteX11" fmla="*/ 900360 w 1502992"/>
                  <a:gd name="connsiteY11" fmla="*/ 1301469 h 2705459"/>
                  <a:gd name="connsiteX12" fmla="*/ 867850 w 1502992"/>
                  <a:gd name="connsiteY12" fmla="*/ 882316 h 2705459"/>
                  <a:gd name="connsiteX13" fmla="*/ 842288 w 1502992"/>
                  <a:gd name="connsiteY13" fmla="*/ 565094 h 2705459"/>
                  <a:gd name="connsiteX14" fmla="*/ 814053 w 1502992"/>
                  <a:gd name="connsiteY14" fmla="*/ 751212 h 2705459"/>
                  <a:gd name="connsiteX15" fmla="*/ 748404 w 1502992"/>
                  <a:gd name="connsiteY15" fmla="*/ 1338597 h 2705459"/>
                  <a:gd name="connsiteX16" fmla="*/ 783904 w 1502992"/>
                  <a:gd name="connsiteY16" fmla="*/ 2179474 h 2705459"/>
                  <a:gd name="connsiteX17" fmla="*/ 761055 w 1502992"/>
                  <a:gd name="connsiteY17" fmla="*/ 2478913 h 2705459"/>
                  <a:gd name="connsiteX18" fmla="*/ 721381 w 1502992"/>
                  <a:gd name="connsiteY18" fmla="*/ 2580160 h 2705459"/>
                  <a:gd name="connsiteX19" fmla="*/ 433239 w 1502992"/>
                  <a:gd name="connsiteY19" fmla="*/ 2614262 h 2705459"/>
                  <a:gd name="connsiteX20" fmla="*/ 383854 w 1502992"/>
                  <a:gd name="connsiteY20" fmla="*/ 2533239 h 2705459"/>
                  <a:gd name="connsiteX21" fmla="*/ 372950 w 1502992"/>
                  <a:gd name="connsiteY21" fmla="*/ 1746531 h 2705459"/>
                  <a:gd name="connsiteX22" fmla="*/ 308214 w 1502992"/>
                  <a:gd name="connsiteY22" fmla="*/ 1487586 h 2705459"/>
                  <a:gd name="connsiteX23" fmla="*/ 283938 w 1502992"/>
                  <a:gd name="connsiteY23" fmla="*/ 1252917 h 2705459"/>
                  <a:gd name="connsiteX24" fmla="*/ 227294 w 1502992"/>
                  <a:gd name="connsiteY24" fmla="*/ 403253 h 2705459"/>
                  <a:gd name="connsiteX25" fmla="*/ 154465 w 1502992"/>
                  <a:gd name="connsiteY25" fmla="*/ 144308 h 2705459"/>
                  <a:gd name="connsiteX26" fmla="*/ 178742 w 1502992"/>
                  <a:gd name="connsiteY26" fmla="*/ 14835 h 2705459"/>
                  <a:gd name="connsiteX0" fmla="*/ 190972 w 1365405"/>
                  <a:gd name="connsiteY0" fmla="*/ 14835 h 2716170"/>
                  <a:gd name="connsiteX1" fmla="*/ 1089333 w 1365405"/>
                  <a:gd name="connsiteY1" fmla="*/ 66007 h 2716170"/>
                  <a:gd name="connsiteX2" fmla="*/ 1335880 w 1365405"/>
                  <a:gd name="connsiteY2" fmla="*/ 171203 h 2716170"/>
                  <a:gd name="connsiteX3" fmla="*/ 1266485 w 1365405"/>
                  <a:gd name="connsiteY3" fmla="*/ 419439 h 2716170"/>
                  <a:gd name="connsiteX4" fmla="*/ 1219158 w 1365405"/>
                  <a:gd name="connsiteY4" fmla="*/ 1236616 h 2716170"/>
                  <a:gd name="connsiteX5" fmla="*/ 1179808 w 1365405"/>
                  <a:gd name="connsiteY5" fmla="*/ 1744154 h 2716170"/>
                  <a:gd name="connsiteX6" fmla="*/ 1180859 w 1365405"/>
                  <a:gd name="connsiteY6" fmla="*/ 2329850 h 2716170"/>
                  <a:gd name="connsiteX7" fmla="*/ 1210842 w 1365405"/>
                  <a:gd name="connsiteY7" fmla="*/ 2673564 h 2716170"/>
                  <a:gd name="connsiteX8" fmla="*/ 791459 w 1365405"/>
                  <a:gd name="connsiteY8" fmla="*/ 2526929 h 2716170"/>
                  <a:gd name="connsiteX9" fmla="*/ 791296 w 1365405"/>
                  <a:gd name="connsiteY9" fmla="*/ 2255084 h 2716170"/>
                  <a:gd name="connsiteX10" fmla="*/ 761730 w 1365405"/>
                  <a:gd name="connsiteY10" fmla="*/ 1633247 h 2716170"/>
                  <a:gd name="connsiteX11" fmla="*/ 762773 w 1365405"/>
                  <a:gd name="connsiteY11" fmla="*/ 1312180 h 2716170"/>
                  <a:gd name="connsiteX12" fmla="*/ 730263 w 1365405"/>
                  <a:gd name="connsiteY12" fmla="*/ 893027 h 2716170"/>
                  <a:gd name="connsiteX13" fmla="*/ 704701 w 1365405"/>
                  <a:gd name="connsiteY13" fmla="*/ 575805 h 2716170"/>
                  <a:gd name="connsiteX14" fmla="*/ 676466 w 1365405"/>
                  <a:gd name="connsiteY14" fmla="*/ 761923 h 2716170"/>
                  <a:gd name="connsiteX15" fmla="*/ 610817 w 1365405"/>
                  <a:gd name="connsiteY15" fmla="*/ 1349308 h 2716170"/>
                  <a:gd name="connsiteX16" fmla="*/ 646317 w 1365405"/>
                  <a:gd name="connsiteY16" fmla="*/ 2190185 h 2716170"/>
                  <a:gd name="connsiteX17" fmla="*/ 623468 w 1365405"/>
                  <a:gd name="connsiteY17" fmla="*/ 2489624 h 2716170"/>
                  <a:gd name="connsiteX18" fmla="*/ 583794 w 1365405"/>
                  <a:gd name="connsiteY18" fmla="*/ 2590871 h 2716170"/>
                  <a:gd name="connsiteX19" fmla="*/ 295652 w 1365405"/>
                  <a:gd name="connsiteY19" fmla="*/ 2624973 h 2716170"/>
                  <a:gd name="connsiteX20" fmla="*/ 246267 w 1365405"/>
                  <a:gd name="connsiteY20" fmla="*/ 2543950 h 2716170"/>
                  <a:gd name="connsiteX21" fmla="*/ 235363 w 1365405"/>
                  <a:gd name="connsiteY21" fmla="*/ 1757242 h 2716170"/>
                  <a:gd name="connsiteX22" fmla="*/ 170627 w 1365405"/>
                  <a:gd name="connsiteY22" fmla="*/ 1498297 h 2716170"/>
                  <a:gd name="connsiteX23" fmla="*/ 146351 w 1365405"/>
                  <a:gd name="connsiteY23" fmla="*/ 1263628 h 2716170"/>
                  <a:gd name="connsiteX24" fmla="*/ 89707 w 1365405"/>
                  <a:gd name="connsiteY24" fmla="*/ 413964 h 2716170"/>
                  <a:gd name="connsiteX25" fmla="*/ 16878 w 1365405"/>
                  <a:gd name="connsiteY25" fmla="*/ 155019 h 2716170"/>
                  <a:gd name="connsiteX26" fmla="*/ 190972 w 1365405"/>
                  <a:gd name="connsiteY26" fmla="*/ 14835 h 2716170"/>
                  <a:gd name="connsiteX0" fmla="*/ 190970 w 1335879"/>
                  <a:gd name="connsiteY0" fmla="*/ 14835 h 2716170"/>
                  <a:gd name="connsiteX1" fmla="*/ 1089331 w 1335879"/>
                  <a:gd name="connsiteY1" fmla="*/ 66007 h 2716170"/>
                  <a:gd name="connsiteX2" fmla="*/ 1335878 w 1335879"/>
                  <a:gd name="connsiteY2" fmla="*/ 171203 h 2716170"/>
                  <a:gd name="connsiteX3" fmla="*/ 1266483 w 1335879"/>
                  <a:gd name="connsiteY3" fmla="*/ 419439 h 2716170"/>
                  <a:gd name="connsiteX4" fmla="*/ 1219156 w 1335879"/>
                  <a:gd name="connsiteY4" fmla="*/ 1236616 h 2716170"/>
                  <a:gd name="connsiteX5" fmla="*/ 1179806 w 1335879"/>
                  <a:gd name="connsiteY5" fmla="*/ 1744154 h 2716170"/>
                  <a:gd name="connsiteX6" fmla="*/ 1180857 w 1335879"/>
                  <a:gd name="connsiteY6" fmla="*/ 2329850 h 2716170"/>
                  <a:gd name="connsiteX7" fmla="*/ 1210840 w 1335879"/>
                  <a:gd name="connsiteY7" fmla="*/ 2673564 h 2716170"/>
                  <a:gd name="connsiteX8" fmla="*/ 791457 w 1335879"/>
                  <a:gd name="connsiteY8" fmla="*/ 2526929 h 2716170"/>
                  <a:gd name="connsiteX9" fmla="*/ 791294 w 1335879"/>
                  <a:gd name="connsiteY9" fmla="*/ 2255084 h 2716170"/>
                  <a:gd name="connsiteX10" fmla="*/ 761728 w 1335879"/>
                  <a:gd name="connsiteY10" fmla="*/ 1633247 h 2716170"/>
                  <a:gd name="connsiteX11" fmla="*/ 762771 w 1335879"/>
                  <a:gd name="connsiteY11" fmla="*/ 1312180 h 2716170"/>
                  <a:gd name="connsiteX12" fmla="*/ 730261 w 1335879"/>
                  <a:gd name="connsiteY12" fmla="*/ 893027 h 2716170"/>
                  <a:gd name="connsiteX13" fmla="*/ 704699 w 1335879"/>
                  <a:gd name="connsiteY13" fmla="*/ 575805 h 2716170"/>
                  <a:gd name="connsiteX14" fmla="*/ 676464 w 1335879"/>
                  <a:gd name="connsiteY14" fmla="*/ 761923 h 2716170"/>
                  <a:gd name="connsiteX15" fmla="*/ 610815 w 1335879"/>
                  <a:gd name="connsiteY15" fmla="*/ 1349308 h 2716170"/>
                  <a:gd name="connsiteX16" fmla="*/ 646315 w 1335879"/>
                  <a:gd name="connsiteY16" fmla="*/ 2190185 h 2716170"/>
                  <a:gd name="connsiteX17" fmla="*/ 623466 w 1335879"/>
                  <a:gd name="connsiteY17" fmla="*/ 2489624 h 2716170"/>
                  <a:gd name="connsiteX18" fmla="*/ 583792 w 1335879"/>
                  <a:gd name="connsiteY18" fmla="*/ 2590871 h 2716170"/>
                  <a:gd name="connsiteX19" fmla="*/ 295650 w 1335879"/>
                  <a:gd name="connsiteY19" fmla="*/ 2624973 h 2716170"/>
                  <a:gd name="connsiteX20" fmla="*/ 246265 w 1335879"/>
                  <a:gd name="connsiteY20" fmla="*/ 2543950 h 2716170"/>
                  <a:gd name="connsiteX21" fmla="*/ 235361 w 1335879"/>
                  <a:gd name="connsiteY21" fmla="*/ 1757242 h 2716170"/>
                  <a:gd name="connsiteX22" fmla="*/ 170625 w 1335879"/>
                  <a:gd name="connsiteY22" fmla="*/ 1498297 h 2716170"/>
                  <a:gd name="connsiteX23" fmla="*/ 146349 w 1335879"/>
                  <a:gd name="connsiteY23" fmla="*/ 1263628 h 2716170"/>
                  <a:gd name="connsiteX24" fmla="*/ 89705 w 1335879"/>
                  <a:gd name="connsiteY24" fmla="*/ 413964 h 2716170"/>
                  <a:gd name="connsiteX25" fmla="*/ 16876 w 1335879"/>
                  <a:gd name="connsiteY25" fmla="*/ 155019 h 2716170"/>
                  <a:gd name="connsiteX26" fmla="*/ 190970 w 1335879"/>
                  <a:gd name="connsiteY26" fmla="*/ 14835 h 2716170"/>
                  <a:gd name="connsiteX0" fmla="*/ 190972 w 1335879"/>
                  <a:gd name="connsiteY0" fmla="*/ 14835 h 2716170"/>
                  <a:gd name="connsiteX1" fmla="*/ 1089333 w 1335879"/>
                  <a:gd name="connsiteY1" fmla="*/ 66007 h 2716170"/>
                  <a:gd name="connsiteX2" fmla="*/ 1335880 w 1335879"/>
                  <a:gd name="connsiteY2" fmla="*/ 171203 h 2716170"/>
                  <a:gd name="connsiteX3" fmla="*/ 1266485 w 1335879"/>
                  <a:gd name="connsiteY3" fmla="*/ 419439 h 2716170"/>
                  <a:gd name="connsiteX4" fmla="*/ 1194400 w 1335879"/>
                  <a:gd name="connsiteY4" fmla="*/ 1236617 h 2716170"/>
                  <a:gd name="connsiteX5" fmla="*/ 1179808 w 1335879"/>
                  <a:gd name="connsiteY5" fmla="*/ 1744154 h 2716170"/>
                  <a:gd name="connsiteX6" fmla="*/ 1180859 w 1335879"/>
                  <a:gd name="connsiteY6" fmla="*/ 2329850 h 2716170"/>
                  <a:gd name="connsiteX7" fmla="*/ 1210842 w 1335879"/>
                  <a:gd name="connsiteY7" fmla="*/ 2673564 h 2716170"/>
                  <a:gd name="connsiteX8" fmla="*/ 791459 w 1335879"/>
                  <a:gd name="connsiteY8" fmla="*/ 2526929 h 2716170"/>
                  <a:gd name="connsiteX9" fmla="*/ 791296 w 1335879"/>
                  <a:gd name="connsiteY9" fmla="*/ 2255084 h 2716170"/>
                  <a:gd name="connsiteX10" fmla="*/ 761730 w 1335879"/>
                  <a:gd name="connsiteY10" fmla="*/ 1633247 h 2716170"/>
                  <a:gd name="connsiteX11" fmla="*/ 762773 w 1335879"/>
                  <a:gd name="connsiteY11" fmla="*/ 1312180 h 2716170"/>
                  <a:gd name="connsiteX12" fmla="*/ 730263 w 1335879"/>
                  <a:gd name="connsiteY12" fmla="*/ 893027 h 2716170"/>
                  <a:gd name="connsiteX13" fmla="*/ 704701 w 1335879"/>
                  <a:gd name="connsiteY13" fmla="*/ 575805 h 2716170"/>
                  <a:gd name="connsiteX14" fmla="*/ 676466 w 1335879"/>
                  <a:gd name="connsiteY14" fmla="*/ 761923 h 2716170"/>
                  <a:gd name="connsiteX15" fmla="*/ 610817 w 1335879"/>
                  <a:gd name="connsiteY15" fmla="*/ 1349308 h 2716170"/>
                  <a:gd name="connsiteX16" fmla="*/ 646317 w 1335879"/>
                  <a:gd name="connsiteY16" fmla="*/ 2190185 h 2716170"/>
                  <a:gd name="connsiteX17" fmla="*/ 623468 w 1335879"/>
                  <a:gd name="connsiteY17" fmla="*/ 2489624 h 2716170"/>
                  <a:gd name="connsiteX18" fmla="*/ 583794 w 1335879"/>
                  <a:gd name="connsiteY18" fmla="*/ 2590871 h 2716170"/>
                  <a:gd name="connsiteX19" fmla="*/ 295652 w 1335879"/>
                  <a:gd name="connsiteY19" fmla="*/ 2624973 h 2716170"/>
                  <a:gd name="connsiteX20" fmla="*/ 246267 w 1335879"/>
                  <a:gd name="connsiteY20" fmla="*/ 2543950 h 2716170"/>
                  <a:gd name="connsiteX21" fmla="*/ 235363 w 1335879"/>
                  <a:gd name="connsiteY21" fmla="*/ 1757242 h 2716170"/>
                  <a:gd name="connsiteX22" fmla="*/ 170627 w 1335879"/>
                  <a:gd name="connsiteY22" fmla="*/ 1498297 h 2716170"/>
                  <a:gd name="connsiteX23" fmla="*/ 146351 w 1335879"/>
                  <a:gd name="connsiteY23" fmla="*/ 1263628 h 2716170"/>
                  <a:gd name="connsiteX24" fmla="*/ 89707 w 1335879"/>
                  <a:gd name="connsiteY24" fmla="*/ 413964 h 2716170"/>
                  <a:gd name="connsiteX25" fmla="*/ 16878 w 1335879"/>
                  <a:gd name="connsiteY25" fmla="*/ 155019 h 2716170"/>
                  <a:gd name="connsiteX26" fmla="*/ 190972 w 1335879"/>
                  <a:gd name="connsiteY26" fmla="*/ 14835 h 2716170"/>
                  <a:gd name="connsiteX0" fmla="*/ 190970 w 1335879"/>
                  <a:gd name="connsiteY0" fmla="*/ 14835 h 2716170"/>
                  <a:gd name="connsiteX1" fmla="*/ 1089331 w 1335879"/>
                  <a:gd name="connsiteY1" fmla="*/ 66007 h 2716170"/>
                  <a:gd name="connsiteX2" fmla="*/ 1335878 w 1335879"/>
                  <a:gd name="connsiteY2" fmla="*/ 171203 h 2716170"/>
                  <a:gd name="connsiteX3" fmla="*/ 1266483 w 1335879"/>
                  <a:gd name="connsiteY3" fmla="*/ 419439 h 2716170"/>
                  <a:gd name="connsiteX4" fmla="*/ 1194398 w 1335879"/>
                  <a:gd name="connsiteY4" fmla="*/ 1236617 h 2716170"/>
                  <a:gd name="connsiteX5" fmla="*/ 1179806 w 1335879"/>
                  <a:gd name="connsiteY5" fmla="*/ 1744154 h 2716170"/>
                  <a:gd name="connsiteX6" fmla="*/ 1180857 w 1335879"/>
                  <a:gd name="connsiteY6" fmla="*/ 2329850 h 2716170"/>
                  <a:gd name="connsiteX7" fmla="*/ 1210840 w 1335879"/>
                  <a:gd name="connsiteY7" fmla="*/ 2673564 h 2716170"/>
                  <a:gd name="connsiteX8" fmla="*/ 791457 w 1335879"/>
                  <a:gd name="connsiteY8" fmla="*/ 2526929 h 2716170"/>
                  <a:gd name="connsiteX9" fmla="*/ 791294 w 1335879"/>
                  <a:gd name="connsiteY9" fmla="*/ 2255084 h 2716170"/>
                  <a:gd name="connsiteX10" fmla="*/ 761728 w 1335879"/>
                  <a:gd name="connsiteY10" fmla="*/ 1633247 h 2716170"/>
                  <a:gd name="connsiteX11" fmla="*/ 762771 w 1335879"/>
                  <a:gd name="connsiteY11" fmla="*/ 1312180 h 2716170"/>
                  <a:gd name="connsiteX12" fmla="*/ 730261 w 1335879"/>
                  <a:gd name="connsiteY12" fmla="*/ 893027 h 2716170"/>
                  <a:gd name="connsiteX13" fmla="*/ 704699 w 1335879"/>
                  <a:gd name="connsiteY13" fmla="*/ 575805 h 2716170"/>
                  <a:gd name="connsiteX14" fmla="*/ 676464 w 1335879"/>
                  <a:gd name="connsiteY14" fmla="*/ 761923 h 2716170"/>
                  <a:gd name="connsiteX15" fmla="*/ 610815 w 1335879"/>
                  <a:gd name="connsiteY15" fmla="*/ 1349308 h 2716170"/>
                  <a:gd name="connsiteX16" fmla="*/ 646315 w 1335879"/>
                  <a:gd name="connsiteY16" fmla="*/ 2190185 h 2716170"/>
                  <a:gd name="connsiteX17" fmla="*/ 623466 w 1335879"/>
                  <a:gd name="connsiteY17" fmla="*/ 2489624 h 2716170"/>
                  <a:gd name="connsiteX18" fmla="*/ 583792 w 1335879"/>
                  <a:gd name="connsiteY18" fmla="*/ 2590871 h 2716170"/>
                  <a:gd name="connsiteX19" fmla="*/ 295650 w 1335879"/>
                  <a:gd name="connsiteY19" fmla="*/ 2624973 h 2716170"/>
                  <a:gd name="connsiteX20" fmla="*/ 246265 w 1335879"/>
                  <a:gd name="connsiteY20" fmla="*/ 2543950 h 2716170"/>
                  <a:gd name="connsiteX21" fmla="*/ 235361 w 1335879"/>
                  <a:gd name="connsiteY21" fmla="*/ 1757242 h 2716170"/>
                  <a:gd name="connsiteX22" fmla="*/ 170625 w 1335879"/>
                  <a:gd name="connsiteY22" fmla="*/ 1498297 h 2716170"/>
                  <a:gd name="connsiteX23" fmla="*/ 146349 w 1335879"/>
                  <a:gd name="connsiteY23" fmla="*/ 1263628 h 2716170"/>
                  <a:gd name="connsiteX24" fmla="*/ 89705 w 1335879"/>
                  <a:gd name="connsiteY24" fmla="*/ 413964 h 2716170"/>
                  <a:gd name="connsiteX25" fmla="*/ 16876 w 1335879"/>
                  <a:gd name="connsiteY25" fmla="*/ 155019 h 2716170"/>
                  <a:gd name="connsiteX26" fmla="*/ 190970 w 1335879"/>
                  <a:gd name="connsiteY26" fmla="*/ 14835 h 2716170"/>
                  <a:gd name="connsiteX0" fmla="*/ 190972 w 1335879"/>
                  <a:gd name="connsiteY0" fmla="*/ 14835 h 2716170"/>
                  <a:gd name="connsiteX1" fmla="*/ 1089333 w 1335879"/>
                  <a:gd name="connsiteY1" fmla="*/ 66007 h 2716170"/>
                  <a:gd name="connsiteX2" fmla="*/ 1335880 w 1335879"/>
                  <a:gd name="connsiteY2" fmla="*/ 171203 h 2716170"/>
                  <a:gd name="connsiteX3" fmla="*/ 1266485 w 1335879"/>
                  <a:gd name="connsiteY3" fmla="*/ 419439 h 2716170"/>
                  <a:gd name="connsiteX4" fmla="*/ 1194400 w 1335879"/>
                  <a:gd name="connsiteY4" fmla="*/ 1236617 h 2716170"/>
                  <a:gd name="connsiteX5" fmla="*/ 1179808 w 1335879"/>
                  <a:gd name="connsiteY5" fmla="*/ 1744154 h 2716170"/>
                  <a:gd name="connsiteX6" fmla="*/ 1180859 w 1335879"/>
                  <a:gd name="connsiteY6" fmla="*/ 2329850 h 2716170"/>
                  <a:gd name="connsiteX7" fmla="*/ 1210842 w 1335879"/>
                  <a:gd name="connsiteY7" fmla="*/ 2673564 h 2716170"/>
                  <a:gd name="connsiteX8" fmla="*/ 791459 w 1335879"/>
                  <a:gd name="connsiteY8" fmla="*/ 2526929 h 2716170"/>
                  <a:gd name="connsiteX9" fmla="*/ 791296 w 1335879"/>
                  <a:gd name="connsiteY9" fmla="*/ 2255084 h 2716170"/>
                  <a:gd name="connsiteX10" fmla="*/ 761730 w 1335879"/>
                  <a:gd name="connsiteY10" fmla="*/ 1633247 h 2716170"/>
                  <a:gd name="connsiteX11" fmla="*/ 762773 w 1335879"/>
                  <a:gd name="connsiteY11" fmla="*/ 1312180 h 2716170"/>
                  <a:gd name="connsiteX12" fmla="*/ 730263 w 1335879"/>
                  <a:gd name="connsiteY12" fmla="*/ 893027 h 2716170"/>
                  <a:gd name="connsiteX13" fmla="*/ 704701 w 1335879"/>
                  <a:gd name="connsiteY13" fmla="*/ 575805 h 2716170"/>
                  <a:gd name="connsiteX14" fmla="*/ 676466 w 1335879"/>
                  <a:gd name="connsiteY14" fmla="*/ 761923 h 2716170"/>
                  <a:gd name="connsiteX15" fmla="*/ 610817 w 1335879"/>
                  <a:gd name="connsiteY15" fmla="*/ 1349308 h 2716170"/>
                  <a:gd name="connsiteX16" fmla="*/ 646317 w 1335879"/>
                  <a:gd name="connsiteY16" fmla="*/ 2190185 h 2716170"/>
                  <a:gd name="connsiteX17" fmla="*/ 623468 w 1335879"/>
                  <a:gd name="connsiteY17" fmla="*/ 2489624 h 2716170"/>
                  <a:gd name="connsiteX18" fmla="*/ 583794 w 1335879"/>
                  <a:gd name="connsiteY18" fmla="*/ 2590871 h 2716170"/>
                  <a:gd name="connsiteX19" fmla="*/ 295652 w 1335879"/>
                  <a:gd name="connsiteY19" fmla="*/ 2624973 h 2716170"/>
                  <a:gd name="connsiteX20" fmla="*/ 246267 w 1335879"/>
                  <a:gd name="connsiteY20" fmla="*/ 2543950 h 2716170"/>
                  <a:gd name="connsiteX21" fmla="*/ 235363 w 1335879"/>
                  <a:gd name="connsiteY21" fmla="*/ 1757242 h 2716170"/>
                  <a:gd name="connsiteX22" fmla="*/ 170627 w 1335879"/>
                  <a:gd name="connsiteY22" fmla="*/ 1498297 h 2716170"/>
                  <a:gd name="connsiteX23" fmla="*/ 146351 w 1335879"/>
                  <a:gd name="connsiteY23" fmla="*/ 1263628 h 2716170"/>
                  <a:gd name="connsiteX24" fmla="*/ 89707 w 1335879"/>
                  <a:gd name="connsiteY24" fmla="*/ 413964 h 2716170"/>
                  <a:gd name="connsiteX25" fmla="*/ 16878 w 1335879"/>
                  <a:gd name="connsiteY25" fmla="*/ 155019 h 2716170"/>
                  <a:gd name="connsiteX26" fmla="*/ 190972 w 1335879"/>
                  <a:gd name="connsiteY26" fmla="*/ 14835 h 2716170"/>
                  <a:gd name="connsiteX0" fmla="*/ 190970 w 1335879"/>
                  <a:gd name="connsiteY0" fmla="*/ 14835 h 2719185"/>
                  <a:gd name="connsiteX1" fmla="*/ 1089331 w 1335879"/>
                  <a:gd name="connsiteY1" fmla="*/ 66007 h 2719185"/>
                  <a:gd name="connsiteX2" fmla="*/ 1335878 w 1335879"/>
                  <a:gd name="connsiteY2" fmla="*/ 171203 h 2719185"/>
                  <a:gd name="connsiteX3" fmla="*/ 1266483 w 1335879"/>
                  <a:gd name="connsiteY3" fmla="*/ 419439 h 2719185"/>
                  <a:gd name="connsiteX4" fmla="*/ 1194398 w 1335879"/>
                  <a:gd name="connsiteY4" fmla="*/ 1236617 h 2719185"/>
                  <a:gd name="connsiteX5" fmla="*/ 1179806 w 1335879"/>
                  <a:gd name="connsiteY5" fmla="*/ 1744154 h 2719185"/>
                  <a:gd name="connsiteX6" fmla="*/ 1180857 w 1335879"/>
                  <a:gd name="connsiteY6" fmla="*/ 2329850 h 2719185"/>
                  <a:gd name="connsiteX7" fmla="*/ 1210840 w 1335879"/>
                  <a:gd name="connsiteY7" fmla="*/ 2673564 h 2719185"/>
                  <a:gd name="connsiteX8" fmla="*/ 802310 w 1335879"/>
                  <a:gd name="connsiteY8" fmla="*/ 2587446 h 2719185"/>
                  <a:gd name="connsiteX9" fmla="*/ 791294 w 1335879"/>
                  <a:gd name="connsiteY9" fmla="*/ 2255084 h 2719185"/>
                  <a:gd name="connsiteX10" fmla="*/ 761728 w 1335879"/>
                  <a:gd name="connsiteY10" fmla="*/ 1633247 h 2719185"/>
                  <a:gd name="connsiteX11" fmla="*/ 762771 w 1335879"/>
                  <a:gd name="connsiteY11" fmla="*/ 1312180 h 2719185"/>
                  <a:gd name="connsiteX12" fmla="*/ 730261 w 1335879"/>
                  <a:gd name="connsiteY12" fmla="*/ 893027 h 2719185"/>
                  <a:gd name="connsiteX13" fmla="*/ 704699 w 1335879"/>
                  <a:gd name="connsiteY13" fmla="*/ 575805 h 2719185"/>
                  <a:gd name="connsiteX14" fmla="*/ 676464 w 1335879"/>
                  <a:gd name="connsiteY14" fmla="*/ 761923 h 2719185"/>
                  <a:gd name="connsiteX15" fmla="*/ 610815 w 1335879"/>
                  <a:gd name="connsiteY15" fmla="*/ 1349308 h 2719185"/>
                  <a:gd name="connsiteX16" fmla="*/ 646315 w 1335879"/>
                  <a:gd name="connsiteY16" fmla="*/ 2190185 h 2719185"/>
                  <a:gd name="connsiteX17" fmla="*/ 623466 w 1335879"/>
                  <a:gd name="connsiteY17" fmla="*/ 2489624 h 2719185"/>
                  <a:gd name="connsiteX18" fmla="*/ 583792 w 1335879"/>
                  <a:gd name="connsiteY18" fmla="*/ 2590871 h 2719185"/>
                  <a:gd name="connsiteX19" fmla="*/ 295650 w 1335879"/>
                  <a:gd name="connsiteY19" fmla="*/ 2624973 h 2719185"/>
                  <a:gd name="connsiteX20" fmla="*/ 246265 w 1335879"/>
                  <a:gd name="connsiteY20" fmla="*/ 2543950 h 2719185"/>
                  <a:gd name="connsiteX21" fmla="*/ 235361 w 1335879"/>
                  <a:gd name="connsiteY21" fmla="*/ 1757242 h 2719185"/>
                  <a:gd name="connsiteX22" fmla="*/ 170625 w 1335879"/>
                  <a:gd name="connsiteY22" fmla="*/ 1498297 h 2719185"/>
                  <a:gd name="connsiteX23" fmla="*/ 146349 w 1335879"/>
                  <a:gd name="connsiteY23" fmla="*/ 1263628 h 2719185"/>
                  <a:gd name="connsiteX24" fmla="*/ 89705 w 1335879"/>
                  <a:gd name="connsiteY24" fmla="*/ 413964 h 2719185"/>
                  <a:gd name="connsiteX25" fmla="*/ 16876 w 1335879"/>
                  <a:gd name="connsiteY25" fmla="*/ 155019 h 2719185"/>
                  <a:gd name="connsiteX26" fmla="*/ 190970 w 1335879"/>
                  <a:gd name="connsiteY26" fmla="*/ 14835 h 2719185"/>
                  <a:gd name="connsiteX0" fmla="*/ 190972 w 1335879"/>
                  <a:gd name="connsiteY0" fmla="*/ 14835 h 2776687"/>
                  <a:gd name="connsiteX1" fmla="*/ 1089333 w 1335879"/>
                  <a:gd name="connsiteY1" fmla="*/ 66007 h 2776687"/>
                  <a:gd name="connsiteX2" fmla="*/ 1335880 w 1335879"/>
                  <a:gd name="connsiteY2" fmla="*/ 171203 h 2776687"/>
                  <a:gd name="connsiteX3" fmla="*/ 1266485 w 1335879"/>
                  <a:gd name="connsiteY3" fmla="*/ 419439 h 2776687"/>
                  <a:gd name="connsiteX4" fmla="*/ 1194400 w 1335879"/>
                  <a:gd name="connsiteY4" fmla="*/ 1236617 h 2776687"/>
                  <a:gd name="connsiteX5" fmla="*/ 1179808 w 1335879"/>
                  <a:gd name="connsiteY5" fmla="*/ 1744154 h 2776687"/>
                  <a:gd name="connsiteX6" fmla="*/ 1180859 w 1335879"/>
                  <a:gd name="connsiteY6" fmla="*/ 2329850 h 2776687"/>
                  <a:gd name="connsiteX7" fmla="*/ 1210842 w 1335879"/>
                  <a:gd name="connsiteY7" fmla="*/ 2734082 h 2776687"/>
                  <a:gd name="connsiteX8" fmla="*/ 802312 w 1335879"/>
                  <a:gd name="connsiteY8" fmla="*/ 2587446 h 2776687"/>
                  <a:gd name="connsiteX9" fmla="*/ 791296 w 1335879"/>
                  <a:gd name="connsiteY9" fmla="*/ 2255084 h 2776687"/>
                  <a:gd name="connsiteX10" fmla="*/ 761730 w 1335879"/>
                  <a:gd name="connsiteY10" fmla="*/ 1633247 h 2776687"/>
                  <a:gd name="connsiteX11" fmla="*/ 762773 w 1335879"/>
                  <a:gd name="connsiteY11" fmla="*/ 1312180 h 2776687"/>
                  <a:gd name="connsiteX12" fmla="*/ 730263 w 1335879"/>
                  <a:gd name="connsiteY12" fmla="*/ 893027 h 2776687"/>
                  <a:gd name="connsiteX13" fmla="*/ 704701 w 1335879"/>
                  <a:gd name="connsiteY13" fmla="*/ 575805 h 2776687"/>
                  <a:gd name="connsiteX14" fmla="*/ 676466 w 1335879"/>
                  <a:gd name="connsiteY14" fmla="*/ 761923 h 2776687"/>
                  <a:gd name="connsiteX15" fmla="*/ 610817 w 1335879"/>
                  <a:gd name="connsiteY15" fmla="*/ 1349308 h 2776687"/>
                  <a:gd name="connsiteX16" fmla="*/ 646317 w 1335879"/>
                  <a:gd name="connsiteY16" fmla="*/ 2190185 h 2776687"/>
                  <a:gd name="connsiteX17" fmla="*/ 623468 w 1335879"/>
                  <a:gd name="connsiteY17" fmla="*/ 2489624 h 2776687"/>
                  <a:gd name="connsiteX18" fmla="*/ 583794 w 1335879"/>
                  <a:gd name="connsiteY18" fmla="*/ 2590871 h 2776687"/>
                  <a:gd name="connsiteX19" fmla="*/ 295652 w 1335879"/>
                  <a:gd name="connsiteY19" fmla="*/ 2624973 h 2776687"/>
                  <a:gd name="connsiteX20" fmla="*/ 246267 w 1335879"/>
                  <a:gd name="connsiteY20" fmla="*/ 2543950 h 2776687"/>
                  <a:gd name="connsiteX21" fmla="*/ 235363 w 1335879"/>
                  <a:gd name="connsiteY21" fmla="*/ 1757242 h 2776687"/>
                  <a:gd name="connsiteX22" fmla="*/ 170627 w 1335879"/>
                  <a:gd name="connsiteY22" fmla="*/ 1498297 h 2776687"/>
                  <a:gd name="connsiteX23" fmla="*/ 146351 w 1335879"/>
                  <a:gd name="connsiteY23" fmla="*/ 1263628 h 2776687"/>
                  <a:gd name="connsiteX24" fmla="*/ 89707 w 1335879"/>
                  <a:gd name="connsiteY24" fmla="*/ 413964 h 2776687"/>
                  <a:gd name="connsiteX25" fmla="*/ 16878 w 1335879"/>
                  <a:gd name="connsiteY25" fmla="*/ 155019 h 2776687"/>
                  <a:gd name="connsiteX26" fmla="*/ 190972 w 1335879"/>
                  <a:gd name="connsiteY26" fmla="*/ 14835 h 2776687"/>
                  <a:gd name="connsiteX0" fmla="*/ 190970 w 1335879"/>
                  <a:gd name="connsiteY0" fmla="*/ 14835 h 2776689"/>
                  <a:gd name="connsiteX1" fmla="*/ 1089331 w 1335879"/>
                  <a:gd name="connsiteY1" fmla="*/ 66007 h 2776689"/>
                  <a:gd name="connsiteX2" fmla="*/ 1335878 w 1335879"/>
                  <a:gd name="connsiteY2" fmla="*/ 171203 h 2776689"/>
                  <a:gd name="connsiteX3" fmla="*/ 1266483 w 1335879"/>
                  <a:gd name="connsiteY3" fmla="*/ 419439 h 2776689"/>
                  <a:gd name="connsiteX4" fmla="*/ 1194398 w 1335879"/>
                  <a:gd name="connsiteY4" fmla="*/ 1236617 h 2776689"/>
                  <a:gd name="connsiteX5" fmla="*/ 1179806 w 1335879"/>
                  <a:gd name="connsiteY5" fmla="*/ 1744154 h 2776689"/>
                  <a:gd name="connsiteX6" fmla="*/ 1180857 w 1335879"/>
                  <a:gd name="connsiteY6" fmla="*/ 2329850 h 2776689"/>
                  <a:gd name="connsiteX7" fmla="*/ 1210840 w 1335879"/>
                  <a:gd name="connsiteY7" fmla="*/ 2734082 h 2776689"/>
                  <a:gd name="connsiteX8" fmla="*/ 802310 w 1335879"/>
                  <a:gd name="connsiteY8" fmla="*/ 2587446 h 2776689"/>
                  <a:gd name="connsiteX9" fmla="*/ 791294 w 1335879"/>
                  <a:gd name="connsiteY9" fmla="*/ 2255084 h 2776689"/>
                  <a:gd name="connsiteX10" fmla="*/ 788862 w 1335879"/>
                  <a:gd name="connsiteY10" fmla="*/ 1633247 h 2776689"/>
                  <a:gd name="connsiteX11" fmla="*/ 762771 w 1335879"/>
                  <a:gd name="connsiteY11" fmla="*/ 1312180 h 2776689"/>
                  <a:gd name="connsiteX12" fmla="*/ 730261 w 1335879"/>
                  <a:gd name="connsiteY12" fmla="*/ 893027 h 2776689"/>
                  <a:gd name="connsiteX13" fmla="*/ 704699 w 1335879"/>
                  <a:gd name="connsiteY13" fmla="*/ 575805 h 2776689"/>
                  <a:gd name="connsiteX14" fmla="*/ 676464 w 1335879"/>
                  <a:gd name="connsiteY14" fmla="*/ 761923 h 2776689"/>
                  <a:gd name="connsiteX15" fmla="*/ 610815 w 1335879"/>
                  <a:gd name="connsiteY15" fmla="*/ 1349308 h 2776689"/>
                  <a:gd name="connsiteX16" fmla="*/ 646315 w 1335879"/>
                  <a:gd name="connsiteY16" fmla="*/ 2190185 h 2776689"/>
                  <a:gd name="connsiteX17" fmla="*/ 623466 w 1335879"/>
                  <a:gd name="connsiteY17" fmla="*/ 2489624 h 2776689"/>
                  <a:gd name="connsiteX18" fmla="*/ 583792 w 1335879"/>
                  <a:gd name="connsiteY18" fmla="*/ 2590871 h 2776689"/>
                  <a:gd name="connsiteX19" fmla="*/ 295650 w 1335879"/>
                  <a:gd name="connsiteY19" fmla="*/ 2624973 h 2776689"/>
                  <a:gd name="connsiteX20" fmla="*/ 246265 w 1335879"/>
                  <a:gd name="connsiteY20" fmla="*/ 2543950 h 2776689"/>
                  <a:gd name="connsiteX21" fmla="*/ 235361 w 1335879"/>
                  <a:gd name="connsiteY21" fmla="*/ 1757242 h 2776689"/>
                  <a:gd name="connsiteX22" fmla="*/ 170625 w 1335879"/>
                  <a:gd name="connsiteY22" fmla="*/ 1498297 h 2776689"/>
                  <a:gd name="connsiteX23" fmla="*/ 146349 w 1335879"/>
                  <a:gd name="connsiteY23" fmla="*/ 1263628 h 2776689"/>
                  <a:gd name="connsiteX24" fmla="*/ 89705 w 1335879"/>
                  <a:gd name="connsiteY24" fmla="*/ 413964 h 2776689"/>
                  <a:gd name="connsiteX25" fmla="*/ 16876 w 1335879"/>
                  <a:gd name="connsiteY25" fmla="*/ 155019 h 2776689"/>
                  <a:gd name="connsiteX26" fmla="*/ 190970 w 1335879"/>
                  <a:gd name="connsiteY26" fmla="*/ 14835 h 2776689"/>
                  <a:gd name="connsiteX0" fmla="*/ 190972 w 1335879"/>
                  <a:gd name="connsiteY0" fmla="*/ 14835 h 2776687"/>
                  <a:gd name="connsiteX1" fmla="*/ 1089333 w 1335879"/>
                  <a:gd name="connsiteY1" fmla="*/ 66007 h 2776687"/>
                  <a:gd name="connsiteX2" fmla="*/ 1335880 w 1335879"/>
                  <a:gd name="connsiteY2" fmla="*/ 171203 h 2776687"/>
                  <a:gd name="connsiteX3" fmla="*/ 1266485 w 1335879"/>
                  <a:gd name="connsiteY3" fmla="*/ 419439 h 2776687"/>
                  <a:gd name="connsiteX4" fmla="*/ 1194400 w 1335879"/>
                  <a:gd name="connsiteY4" fmla="*/ 1236617 h 2776687"/>
                  <a:gd name="connsiteX5" fmla="*/ 1179808 w 1335879"/>
                  <a:gd name="connsiteY5" fmla="*/ 1744154 h 2776687"/>
                  <a:gd name="connsiteX6" fmla="*/ 1180859 w 1335879"/>
                  <a:gd name="connsiteY6" fmla="*/ 2329850 h 2776687"/>
                  <a:gd name="connsiteX7" fmla="*/ 1210842 w 1335879"/>
                  <a:gd name="connsiteY7" fmla="*/ 2734082 h 2776687"/>
                  <a:gd name="connsiteX8" fmla="*/ 802312 w 1335879"/>
                  <a:gd name="connsiteY8" fmla="*/ 2587446 h 2776687"/>
                  <a:gd name="connsiteX9" fmla="*/ 791296 w 1335879"/>
                  <a:gd name="connsiteY9" fmla="*/ 2255084 h 2776687"/>
                  <a:gd name="connsiteX10" fmla="*/ 788864 w 1335879"/>
                  <a:gd name="connsiteY10" fmla="*/ 1633247 h 2776687"/>
                  <a:gd name="connsiteX11" fmla="*/ 762773 w 1335879"/>
                  <a:gd name="connsiteY11" fmla="*/ 1312180 h 2776687"/>
                  <a:gd name="connsiteX12" fmla="*/ 730263 w 1335879"/>
                  <a:gd name="connsiteY12" fmla="*/ 893027 h 2776687"/>
                  <a:gd name="connsiteX13" fmla="*/ 704701 w 1335879"/>
                  <a:gd name="connsiteY13" fmla="*/ 575805 h 2776687"/>
                  <a:gd name="connsiteX14" fmla="*/ 676466 w 1335879"/>
                  <a:gd name="connsiteY14" fmla="*/ 761923 h 2776687"/>
                  <a:gd name="connsiteX15" fmla="*/ 610817 w 1335879"/>
                  <a:gd name="connsiteY15" fmla="*/ 1349308 h 2776687"/>
                  <a:gd name="connsiteX16" fmla="*/ 646317 w 1335879"/>
                  <a:gd name="connsiteY16" fmla="*/ 2190185 h 2776687"/>
                  <a:gd name="connsiteX17" fmla="*/ 623468 w 1335879"/>
                  <a:gd name="connsiteY17" fmla="*/ 2489624 h 2776687"/>
                  <a:gd name="connsiteX18" fmla="*/ 583795 w 1335879"/>
                  <a:gd name="connsiteY18" fmla="*/ 2661475 h 2776687"/>
                  <a:gd name="connsiteX19" fmla="*/ 295652 w 1335879"/>
                  <a:gd name="connsiteY19" fmla="*/ 2624973 h 2776687"/>
                  <a:gd name="connsiteX20" fmla="*/ 246267 w 1335879"/>
                  <a:gd name="connsiteY20" fmla="*/ 2543950 h 2776687"/>
                  <a:gd name="connsiteX21" fmla="*/ 235363 w 1335879"/>
                  <a:gd name="connsiteY21" fmla="*/ 1757242 h 2776687"/>
                  <a:gd name="connsiteX22" fmla="*/ 170627 w 1335879"/>
                  <a:gd name="connsiteY22" fmla="*/ 1498297 h 2776687"/>
                  <a:gd name="connsiteX23" fmla="*/ 146351 w 1335879"/>
                  <a:gd name="connsiteY23" fmla="*/ 1263628 h 2776687"/>
                  <a:gd name="connsiteX24" fmla="*/ 89707 w 1335879"/>
                  <a:gd name="connsiteY24" fmla="*/ 413964 h 2776687"/>
                  <a:gd name="connsiteX25" fmla="*/ 16878 w 1335879"/>
                  <a:gd name="connsiteY25" fmla="*/ 155019 h 2776687"/>
                  <a:gd name="connsiteX26" fmla="*/ 190972 w 1335879"/>
                  <a:gd name="connsiteY26" fmla="*/ 14835 h 2776687"/>
                  <a:gd name="connsiteX0" fmla="*/ 190970 w 1335879"/>
                  <a:gd name="connsiteY0" fmla="*/ 14835 h 2776689"/>
                  <a:gd name="connsiteX1" fmla="*/ 1089331 w 1335879"/>
                  <a:gd name="connsiteY1" fmla="*/ 66007 h 2776689"/>
                  <a:gd name="connsiteX2" fmla="*/ 1335878 w 1335879"/>
                  <a:gd name="connsiteY2" fmla="*/ 171203 h 2776689"/>
                  <a:gd name="connsiteX3" fmla="*/ 1266483 w 1335879"/>
                  <a:gd name="connsiteY3" fmla="*/ 419439 h 2776689"/>
                  <a:gd name="connsiteX4" fmla="*/ 1194398 w 1335879"/>
                  <a:gd name="connsiteY4" fmla="*/ 1236617 h 2776689"/>
                  <a:gd name="connsiteX5" fmla="*/ 1179806 w 1335879"/>
                  <a:gd name="connsiteY5" fmla="*/ 1744154 h 2776689"/>
                  <a:gd name="connsiteX6" fmla="*/ 1180857 w 1335879"/>
                  <a:gd name="connsiteY6" fmla="*/ 2329850 h 2776689"/>
                  <a:gd name="connsiteX7" fmla="*/ 1210840 w 1335879"/>
                  <a:gd name="connsiteY7" fmla="*/ 2734082 h 2776689"/>
                  <a:gd name="connsiteX8" fmla="*/ 802310 w 1335879"/>
                  <a:gd name="connsiteY8" fmla="*/ 2587446 h 2776689"/>
                  <a:gd name="connsiteX9" fmla="*/ 791294 w 1335879"/>
                  <a:gd name="connsiteY9" fmla="*/ 2255084 h 2776689"/>
                  <a:gd name="connsiteX10" fmla="*/ 788862 w 1335879"/>
                  <a:gd name="connsiteY10" fmla="*/ 1633247 h 2776689"/>
                  <a:gd name="connsiteX11" fmla="*/ 762771 w 1335879"/>
                  <a:gd name="connsiteY11" fmla="*/ 1312180 h 2776689"/>
                  <a:gd name="connsiteX12" fmla="*/ 730261 w 1335879"/>
                  <a:gd name="connsiteY12" fmla="*/ 893027 h 2776689"/>
                  <a:gd name="connsiteX13" fmla="*/ 704699 w 1335879"/>
                  <a:gd name="connsiteY13" fmla="*/ 575805 h 2776689"/>
                  <a:gd name="connsiteX14" fmla="*/ 676464 w 1335879"/>
                  <a:gd name="connsiteY14" fmla="*/ 761923 h 2776689"/>
                  <a:gd name="connsiteX15" fmla="*/ 610815 w 1335879"/>
                  <a:gd name="connsiteY15" fmla="*/ 1349308 h 2776689"/>
                  <a:gd name="connsiteX16" fmla="*/ 646315 w 1335879"/>
                  <a:gd name="connsiteY16" fmla="*/ 2190185 h 2776689"/>
                  <a:gd name="connsiteX17" fmla="*/ 623466 w 1335879"/>
                  <a:gd name="connsiteY17" fmla="*/ 2489624 h 2776689"/>
                  <a:gd name="connsiteX18" fmla="*/ 583793 w 1335879"/>
                  <a:gd name="connsiteY18" fmla="*/ 2661475 h 2776689"/>
                  <a:gd name="connsiteX19" fmla="*/ 295651 w 1335879"/>
                  <a:gd name="connsiteY19" fmla="*/ 2690533 h 2776689"/>
                  <a:gd name="connsiteX20" fmla="*/ 246265 w 1335879"/>
                  <a:gd name="connsiteY20" fmla="*/ 2543950 h 2776689"/>
                  <a:gd name="connsiteX21" fmla="*/ 235361 w 1335879"/>
                  <a:gd name="connsiteY21" fmla="*/ 1757242 h 2776689"/>
                  <a:gd name="connsiteX22" fmla="*/ 170625 w 1335879"/>
                  <a:gd name="connsiteY22" fmla="*/ 1498297 h 2776689"/>
                  <a:gd name="connsiteX23" fmla="*/ 146349 w 1335879"/>
                  <a:gd name="connsiteY23" fmla="*/ 1263628 h 2776689"/>
                  <a:gd name="connsiteX24" fmla="*/ 89705 w 1335879"/>
                  <a:gd name="connsiteY24" fmla="*/ 413964 h 2776689"/>
                  <a:gd name="connsiteX25" fmla="*/ 16876 w 1335879"/>
                  <a:gd name="connsiteY25" fmla="*/ 155019 h 2776689"/>
                  <a:gd name="connsiteX26" fmla="*/ 190970 w 1335879"/>
                  <a:gd name="connsiteY26" fmla="*/ 14835 h 2776689"/>
                  <a:gd name="connsiteX0" fmla="*/ 190972 w 1335879"/>
                  <a:gd name="connsiteY0" fmla="*/ 14835 h 2776687"/>
                  <a:gd name="connsiteX1" fmla="*/ 1089333 w 1335879"/>
                  <a:gd name="connsiteY1" fmla="*/ 66007 h 2776687"/>
                  <a:gd name="connsiteX2" fmla="*/ 1335880 w 1335879"/>
                  <a:gd name="connsiteY2" fmla="*/ 171203 h 2776687"/>
                  <a:gd name="connsiteX3" fmla="*/ 1266485 w 1335879"/>
                  <a:gd name="connsiteY3" fmla="*/ 419439 h 2776687"/>
                  <a:gd name="connsiteX4" fmla="*/ 1194400 w 1335879"/>
                  <a:gd name="connsiteY4" fmla="*/ 1236617 h 2776687"/>
                  <a:gd name="connsiteX5" fmla="*/ 1179808 w 1335879"/>
                  <a:gd name="connsiteY5" fmla="*/ 1744154 h 2776687"/>
                  <a:gd name="connsiteX6" fmla="*/ 1180859 w 1335879"/>
                  <a:gd name="connsiteY6" fmla="*/ 2329850 h 2776687"/>
                  <a:gd name="connsiteX7" fmla="*/ 1210842 w 1335879"/>
                  <a:gd name="connsiteY7" fmla="*/ 2734082 h 2776687"/>
                  <a:gd name="connsiteX8" fmla="*/ 802312 w 1335879"/>
                  <a:gd name="connsiteY8" fmla="*/ 2587446 h 2776687"/>
                  <a:gd name="connsiteX9" fmla="*/ 791296 w 1335879"/>
                  <a:gd name="connsiteY9" fmla="*/ 2255084 h 2776687"/>
                  <a:gd name="connsiteX10" fmla="*/ 788864 w 1335879"/>
                  <a:gd name="connsiteY10" fmla="*/ 1633247 h 2776687"/>
                  <a:gd name="connsiteX11" fmla="*/ 762773 w 1335879"/>
                  <a:gd name="connsiteY11" fmla="*/ 1312180 h 2776687"/>
                  <a:gd name="connsiteX12" fmla="*/ 730263 w 1335879"/>
                  <a:gd name="connsiteY12" fmla="*/ 893027 h 2776687"/>
                  <a:gd name="connsiteX13" fmla="*/ 704701 w 1335879"/>
                  <a:gd name="connsiteY13" fmla="*/ 575805 h 2776687"/>
                  <a:gd name="connsiteX14" fmla="*/ 676466 w 1335879"/>
                  <a:gd name="connsiteY14" fmla="*/ 761923 h 2776687"/>
                  <a:gd name="connsiteX15" fmla="*/ 610817 w 1335879"/>
                  <a:gd name="connsiteY15" fmla="*/ 1349308 h 2776687"/>
                  <a:gd name="connsiteX16" fmla="*/ 646317 w 1335879"/>
                  <a:gd name="connsiteY16" fmla="*/ 2190185 h 2776687"/>
                  <a:gd name="connsiteX17" fmla="*/ 623468 w 1335879"/>
                  <a:gd name="connsiteY17" fmla="*/ 2489624 h 2776687"/>
                  <a:gd name="connsiteX18" fmla="*/ 583795 w 1335879"/>
                  <a:gd name="connsiteY18" fmla="*/ 2661475 h 2776687"/>
                  <a:gd name="connsiteX19" fmla="*/ 295653 w 1335879"/>
                  <a:gd name="connsiteY19" fmla="*/ 2690533 h 2776687"/>
                  <a:gd name="connsiteX20" fmla="*/ 246267 w 1335879"/>
                  <a:gd name="connsiteY20" fmla="*/ 2543950 h 2776687"/>
                  <a:gd name="connsiteX21" fmla="*/ 235363 w 1335879"/>
                  <a:gd name="connsiteY21" fmla="*/ 1757242 h 2776687"/>
                  <a:gd name="connsiteX22" fmla="*/ 170627 w 1335879"/>
                  <a:gd name="connsiteY22" fmla="*/ 1498297 h 2776687"/>
                  <a:gd name="connsiteX23" fmla="*/ 146351 w 1335879"/>
                  <a:gd name="connsiteY23" fmla="*/ 1263628 h 2776687"/>
                  <a:gd name="connsiteX24" fmla="*/ 89707 w 1335879"/>
                  <a:gd name="connsiteY24" fmla="*/ 413964 h 2776687"/>
                  <a:gd name="connsiteX25" fmla="*/ 16878 w 1335879"/>
                  <a:gd name="connsiteY25" fmla="*/ 155019 h 2776687"/>
                  <a:gd name="connsiteX26" fmla="*/ 190972 w 1335879"/>
                  <a:gd name="connsiteY26" fmla="*/ 14835 h 2776687"/>
                  <a:gd name="connsiteX0" fmla="*/ 190970 w 1335879"/>
                  <a:gd name="connsiteY0" fmla="*/ 14835 h 2790224"/>
                  <a:gd name="connsiteX1" fmla="*/ 1089331 w 1335879"/>
                  <a:gd name="connsiteY1" fmla="*/ 66007 h 2790224"/>
                  <a:gd name="connsiteX2" fmla="*/ 1335878 w 1335879"/>
                  <a:gd name="connsiteY2" fmla="*/ 171203 h 2790224"/>
                  <a:gd name="connsiteX3" fmla="*/ 1266483 w 1335879"/>
                  <a:gd name="connsiteY3" fmla="*/ 419439 h 2790224"/>
                  <a:gd name="connsiteX4" fmla="*/ 1194398 w 1335879"/>
                  <a:gd name="connsiteY4" fmla="*/ 1236617 h 2790224"/>
                  <a:gd name="connsiteX5" fmla="*/ 1179806 w 1335879"/>
                  <a:gd name="connsiteY5" fmla="*/ 1744154 h 2790224"/>
                  <a:gd name="connsiteX6" fmla="*/ 1180857 w 1335879"/>
                  <a:gd name="connsiteY6" fmla="*/ 2329850 h 2790224"/>
                  <a:gd name="connsiteX7" fmla="*/ 1210840 w 1335879"/>
                  <a:gd name="connsiteY7" fmla="*/ 2734082 h 2790224"/>
                  <a:gd name="connsiteX8" fmla="*/ 802310 w 1335879"/>
                  <a:gd name="connsiteY8" fmla="*/ 2587446 h 2790224"/>
                  <a:gd name="connsiteX9" fmla="*/ 791294 w 1335879"/>
                  <a:gd name="connsiteY9" fmla="*/ 2255084 h 2790224"/>
                  <a:gd name="connsiteX10" fmla="*/ 788862 w 1335879"/>
                  <a:gd name="connsiteY10" fmla="*/ 1633247 h 2790224"/>
                  <a:gd name="connsiteX11" fmla="*/ 762771 w 1335879"/>
                  <a:gd name="connsiteY11" fmla="*/ 1312180 h 2790224"/>
                  <a:gd name="connsiteX12" fmla="*/ 730261 w 1335879"/>
                  <a:gd name="connsiteY12" fmla="*/ 893027 h 2790224"/>
                  <a:gd name="connsiteX13" fmla="*/ 704699 w 1335879"/>
                  <a:gd name="connsiteY13" fmla="*/ 575805 h 2790224"/>
                  <a:gd name="connsiteX14" fmla="*/ 676464 w 1335879"/>
                  <a:gd name="connsiteY14" fmla="*/ 761923 h 2790224"/>
                  <a:gd name="connsiteX15" fmla="*/ 610815 w 1335879"/>
                  <a:gd name="connsiteY15" fmla="*/ 1349308 h 2790224"/>
                  <a:gd name="connsiteX16" fmla="*/ 646315 w 1335879"/>
                  <a:gd name="connsiteY16" fmla="*/ 2190185 h 2790224"/>
                  <a:gd name="connsiteX17" fmla="*/ 623466 w 1335879"/>
                  <a:gd name="connsiteY17" fmla="*/ 2489624 h 2790224"/>
                  <a:gd name="connsiteX18" fmla="*/ 583793 w 1335879"/>
                  <a:gd name="connsiteY18" fmla="*/ 2661475 h 2790224"/>
                  <a:gd name="connsiteX19" fmla="*/ 295651 w 1335879"/>
                  <a:gd name="connsiteY19" fmla="*/ 2690533 h 2790224"/>
                  <a:gd name="connsiteX20" fmla="*/ 246265 w 1335879"/>
                  <a:gd name="connsiteY20" fmla="*/ 2543950 h 2790224"/>
                  <a:gd name="connsiteX21" fmla="*/ 235361 w 1335879"/>
                  <a:gd name="connsiteY21" fmla="*/ 1757242 h 2790224"/>
                  <a:gd name="connsiteX22" fmla="*/ 170625 w 1335879"/>
                  <a:gd name="connsiteY22" fmla="*/ 1498297 h 2790224"/>
                  <a:gd name="connsiteX23" fmla="*/ 146349 w 1335879"/>
                  <a:gd name="connsiteY23" fmla="*/ 1263628 h 2790224"/>
                  <a:gd name="connsiteX24" fmla="*/ 89705 w 1335879"/>
                  <a:gd name="connsiteY24" fmla="*/ 413964 h 2790224"/>
                  <a:gd name="connsiteX25" fmla="*/ 16876 w 1335879"/>
                  <a:gd name="connsiteY25" fmla="*/ 155019 h 2790224"/>
                  <a:gd name="connsiteX26" fmla="*/ 190970 w 1335879"/>
                  <a:gd name="connsiteY26" fmla="*/ 14835 h 2790224"/>
                  <a:gd name="connsiteX0" fmla="*/ 190972 w 1335879"/>
                  <a:gd name="connsiteY0" fmla="*/ 14835 h 2776688"/>
                  <a:gd name="connsiteX1" fmla="*/ 1089333 w 1335879"/>
                  <a:gd name="connsiteY1" fmla="*/ 66007 h 2776688"/>
                  <a:gd name="connsiteX2" fmla="*/ 1335880 w 1335879"/>
                  <a:gd name="connsiteY2" fmla="*/ 171203 h 2776688"/>
                  <a:gd name="connsiteX3" fmla="*/ 1266485 w 1335879"/>
                  <a:gd name="connsiteY3" fmla="*/ 419439 h 2776688"/>
                  <a:gd name="connsiteX4" fmla="*/ 1194400 w 1335879"/>
                  <a:gd name="connsiteY4" fmla="*/ 1236617 h 2776688"/>
                  <a:gd name="connsiteX5" fmla="*/ 1179808 w 1335879"/>
                  <a:gd name="connsiteY5" fmla="*/ 1744154 h 2776688"/>
                  <a:gd name="connsiteX6" fmla="*/ 1180859 w 1335879"/>
                  <a:gd name="connsiteY6" fmla="*/ 2329850 h 2776688"/>
                  <a:gd name="connsiteX7" fmla="*/ 1210842 w 1335879"/>
                  <a:gd name="connsiteY7" fmla="*/ 2734082 h 2776688"/>
                  <a:gd name="connsiteX8" fmla="*/ 802312 w 1335879"/>
                  <a:gd name="connsiteY8" fmla="*/ 2587446 h 2776688"/>
                  <a:gd name="connsiteX9" fmla="*/ 791296 w 1335879"/>
                  <a:gd name="connsiteY9" fmla="*/ 2255084 h 2776688"/>
                  <a:gd name="connsiteX10" fmla="*/ 788864 w 1335879"/>
                  <a:gd name="connsiteY10" fmla="*/ 1633247 h 2776688"/>
                  <a:gd name="connsiteX11" fmla="*/ 762773 w 1335879"/>
                  <a:gd name="connsiteY11" fmla="*/ 1312180 h 2776688"/>
                  <a:gd name="connsiteX12" fmla="*/ 730263 w 1335879"/>
                  <a:gd name="connsiteY12" fmla="*/ 893027 h 2776688"/>
                  <a:gd name="connsiteX13" fmla="*/ 704701 w 1335879"/>
                  <a:gd name="connsiteY13" fmla="*/ 575805 h 2776688"/>
                  <a:gd name="connsiteX14" fmla="*/ 676466 w 1335879"/>
                  <a:gd name="connsiteY14" fmla="*/ 761923 h 2776688"/>
                  <a:gd name="connsiteX15" fmla="*/ 610817 w 1335879"/>
                  <a:gd name="connsiteY15" fmla="*/ 1349308 h 2776688"/>
                  <a:gd name="connsiteX16" fmla="*/ 646317 w 1335879"/>
                  <a:gd name="connsiteY16" fmla="*/ 2190185 h 2776688"/>
                  <a:gd name="connsiteX17" fmla="*/ 623468 w 1335879"/>
                  <a:gd name="connsiteY17" fmla="*/ 2489624 h 2776688"/>
                  <a:gd name="connsiteX18" fmla="*/ 583795 w 1335879"/>
                  <a:gd name="connsiteY18" fmla="*/ 2661475 h 2776688"/>
                  <a:gd name="connsiteX19" fmla="*/ 295653 w 1335879"/>
                  <a:gd name="connsiteY19" fmla="*/ 2690533 h 2776688"/>
                  <a:gd name="connsiteX20" fmla="*/ 246267 w 1335879"/>
                  <a:gd name="connsiteY20" fmla="*/ 2543950 h 2776688"/>
                  <a:gd name="connsiteX21" fmla="*/ 235363 w 1335879"/>
                  <a:gd name="connsiteY21" fmla="*/ 1757242 h 2776688"/>
                  <a:gd name="connsiteX22" fmla="*/ 170627 w 1335879"/>
                  <a:gd name="connsiteY22" fmla="*/ 1498297 h 2776688"/>
                  <a:gd name="connsiteX23" fmla="*/ 146351 w 1335879"/>
                  <a:gd name="connsiteY23" fmla="*/ 1263628 h 2776688"/>
                  <a:gd name="connsiteX24" fmla="*/ 89707 w 1335879"/>
                  <a:gd name="connsiteY24" fmla="*/ 413964 h 2776688"/>
                  <a:gd name="connsiteX25" fmla="*/ 16878 w 1335879"/>
                  <a:gd name="connsiteY25" fmla="*/ 155019 h 2776688"/>
                  <a:gd name="connsiteX26" fmla="*/ 190972 w 1335879"/>
                  <a:gd name="connsiteY26" fmla="*/ 14835 h 2776688"/>
                  <a:gd name="connsiteX0" fmla="*/ 190970 w 1335879"/>
                  <a:gd name="connsiteY0" fmla="*/ 14835 h 2776688"/>
                  <a:gd name="connsiteX1" fmla="*/ 1089331 w 1335879"/>
                  <a:gd name="connsiteY1" fmla="*/ 66007 h 2776688"/>
                  <a:gd name="connsiteX2" fmla="*/ 1335878 w 1335879"/>
                  <a:gd name="connsiteY2" fmla="*/ 171203 h 2776688"/>
                  <a:gd name="connsiteX3" fmla="*/ 1266483 w 1335879"/>
                  <a:gd name="connsiteY3" fmla="*/ 419439 h 2776688"/>
                  <a:gd name="connsiteX4" fmla="*/ 1194398 w 1335879"/>
                  <a:gd name="connsiteY4" fmla="*/ 1236617 h 2776688"/>
                  <a:gd name="connsiteX5" fmla="*/ 1179806 w 1335879"/>
                  <a:gd name="connsiteY5" fmla="*/ 1744154 h 2776688"/>
                  <a:gd name="connsiteX6" fmla="*/ 1180857 w 1335879"/>
                  <a:gd name="connsiteY6" fmla="*/ 2329850 h 2776688"/>
                  <a:gd name="connsiteX7" fmla="*/ 1210840 w 1335879"/>
                  <a:gd name="connsiteY7" fmla="*/ 2734082 h 2776688"/>
                  <a:gd name="connsiteX8" fmla="*/ 802310 w 1335879"/>
                  <a:gd name="connsiteY8" fmla="*/ 2587446 h 2776688"/>
                  <a:gd name="connsiteX9" fmla="*/ 791294 w 1335879"/>
                  <a:gd name="connsiteY9" fmla="*/ 2255084 h 2776688"/>
                  <a:gd name="connsiteX10" fmla="*/ 788862 w 1335879"/>
                  <a:gd name="connsiteY10" fmla="*/ 1633247 h 2776688"/>
                  <a:gd name="connsiteX11" fmla="*/ 762771 w 1335879"/>
                  <a:gd name="connsiteY11" fmla="*/ 1312180 h 2776688"/>
                  <a:gd name="connsiteX12" fmla="*/ 730261 w 1335879"/>
                  <a:gd name="connsiteY12" fmla="*/ 893027 h 2776688"/>
                  <a:gd name="connsiteX13" fmla="*/ 704699 w 1335879"/>
                  <a:gd name="connsiteY13" fmla="*/ 575805 h 2776688"/>
                  <a:gd name="connsiteX14" fmla="*/ 676464 w 1335879"/>
                  <a:gd name="connsiteY14" fmla="*/ 761923 h 2776688"/>
                  <a:gd name="connsiteX15" fmla="*/ 610815 w 1335879"/>
                  <a:gd name="connsiteY15" fmla="*/ 1349308 h 2776688"/>
                  <a:gd name="connsiteX16" fmla="*/ 646315 w 1335879"/>
                  <a:gd name="connsiteY16" fmla="*/ 2190185 h 2776688"/>
                  <a:gd name="connsiteX17" fmla="*/ 623466 w 1335879"/>
                  <a:gd name="connsiteY17" fmla="*/ 2489624 h 2776688"/>
                  <a:gd name="connsiteX18" fmla="*/ 583793 w 1335879"/>
                  <a:gd name="connsiteY18" fmla="*/ 2661475 h 2776688"/>
                  <a:gd name="connsiteX19" fmla="*/ 295651 w 1335879"/>
                  <a:gd name="connsiteY19" fmla="*/ 2690533 h 2776688"/>
                  <a:gd name="connsiteX20" fmla="*/ 246265 w 1335879"/>
                  <a:gd name="connsiteY20" fmla="*/ 2543950 h 2776688"/>
                  <a:gd name="connsiteX21" fmla="*/ 235361 w 1335879"/>
                  <a:gd name="connsiteY21" fmla="*/ 1757242 h 2776688"/>
                  <a:gd name="connsiteX22" fmla="*/ 170625 w 1335879"/>
                  <a:gd name="connsiteY22" fmla="*/ 1498297 h 2776688"/>
                  <a:gd name="connsiteX23" fmla="*/ 146349 w 1335879"/>
                  <a:gd name="connsiteY23" fmla="*/ 1263628 h 2776688"/>
                  <a:gd name="connsiteX24" fmla="*/ 89705 w 1335879"/>
                  <a:gd name="connsiteY24" fmla="*/ 413964 h 2776688"/>
                  <a:gd name="connsiteX25" fmla="*/ 16876 w 1335879"/>
                  <a:gd name="connsiteY25" fmla="*/ 155019 h 2776688"/>
                  <a:gd name="connsiteX26" fmla="*/ 190970 w 1335879"/>
                  <a:gd name="connsiteY26" fmla="*/ 14835 h 2776688"/>
                  <a:gd name="connsiteX0" fmla="*/ 190972 w 1335879"/>
                  <a:gd name="connsiteY0" fmla="*/ 14835 h 2776688"/>
                  <a:gd name="connsiteX1" fmla="*/ 1089333 w 1335879"/>
                  <a:gd name="connsiteY1" fmla="*/ 66007 h 2776688"/>
                  <a:gd name="connsiteX2" fmla="*/ 1335880 w 1335879"/>
                  <a:gd name="connsiteY2" fmla="*/ 171203 h 2776688"/>
                  <a:gd name="connsiteX3" fmla="*/ 1266485 w 1335879"/>
                  <a:gd name="connsiteY3" fmla="*/ 419439 h 2776688"/>
                  <a:gd name="connsiteX4" fmla="*/ 1194400 w 1335879"/>
                  <a:gd name="connsiteY4" fmla="*/ 1236617 h 2776688"/>
                  <a:gd name="connsiteX5" fmla="*/ 1179808 w 1335879"/>
                  <a:gd name="connsiteY5" fmla="*/ 1744154 h 2776688"/>
                  <a:gd name="connsiteX6" fmla="*/ 1180859 w 1335879"/>
                  <a:gd name="connsiteY6" fmla="*/ 2329850 h 2776688"/>
                  <a:gd name="connsiteX7" fmla="*/ 1210842 w 1335879"/>
                  <a:gd name="connsiteY7" fmla="*/ 2734082 h 2776688"/>
                  <a:gd name="connsiteX8" fmla="*/ 802312 w 1335879"/>
                  <a:gd name="connsiteY8" fmla="*/ 2587446 h 2776688"/>
                  <a:gd name="connsiteX9" fmla="*/ 791296 w 1335879"/>
                  <a:gd name="connsiteY9" fmla="*/ 2255084 h 2776688"/>
                  <a:gd name="connsiteX10" fmla="*/ 788864 w 1335879"/>
                  <a:gd name="connsiteY10" fmla="*/ 1633247 h 2776688"/>
                  <a:gd name="connsiteX11" fmla="*/ 762773 w 1335879"/>
                  <a:gd name="connsiteY11" fmla="*/ 1312180 h 2776688"/>
                  <a:gd name="connsiteX12" fmla="*/ 730263 w 1335879"/>
                  <a:gd name="connsiteY12" fmla="*/ 893027 h 2776688"/>
                  <a:gd name="connsiteX13" fmla="*/ 704701 w 1335879"/>
                  <a:gd name="connsiteY13" fmla="*/ 575805 h 2776688"/>
                  <a:gd name="connsiteX14" fmla="*/ 676466 w 1335879"/>
                  <a:gd name="connsiteY14" fmla="*/ 761923 h 2776688"/>
                  <a:gd name="connsiteX15" fmla="*/ 610817 w 1335879"/>
                  <a:gd name="connsiteY15" fmla="*/ 1349308 h 2776688"/>
                  <a:gd name="connsiteX16" fmla="*/ 646317 w 1335879"/>
                  <a:gd name="connsiteY16" fmla="*/ 2190185 h 2776688"/>
                  <a:gd name="connsiteX17" fmla="*/ 623468 w 1335879"/>
                  <a:gd name="connsiteY17" fmla="*/ 2489624 h 2776688"/>
                  <a:gd name="connsiteX18" fmla="*/ 594648 w 1335879"/>
                  <a:gd name="connsiteY18" fmla="*/ 2681648 h 2776688"/>
                  <a:gd name="connsiteX19" fmla="*/ 295653 w 1335879"/>
                  <a:gd name="connsiteY19" fmla="*/ 2690533 h 2776688"/>
                  <a:gd name="connsiteX20" fmla="*/ 246267 w 1335879"/>
                  <a:gd name="connsiteY20" fmla="*/ 2543950 h 2776688"/>
                  <a:gd name="connsiteX21" fmla="*/ 235363 w 1335879"/>
                  <a:gd name="connsiteY21" fmla="*/ 1757242 h 2776688"/>
                  <a:gd name="connsiteX22" fmla="*/ 170627 w 1335879"/>
                  <a:gd name="connsiteY22" fmla="*/ 1498297 h 2776688"/>
                  <a:gd name="connsiteX23" fmla="*/ 146351 w 1335879"/>
                  <a:gd name="connsiteY23" fmla="*/ 1263628 h 2776688"/>
                  <a:gd name="connsiteX24" fmla="*/ 89707 w 1335879"/>
                  <a:gd name="connsiteY24" fmla="*/ 413964 h 2776688"/>
                  <a:gd name="connsiteX25" fmla="*/ 16878 w 1335879"/>
                  <a:gd name="connsiteY25" fmla="*/ 155019 h 2776688"/>
                  <a:gd name="connsiteX26" fmla="*/ 190972 w 1335879"/>
                  <a:gd name="connsiteY26" fmla="*/ 14835 h 2776688"/>
                  <a:gd name="connsiteX0" fmla="*/ 190970 w 1335879"/>
                  <a:gd name="connsiteY0" fmla="*/ 14835 h 2776688"/>
                  <a:gd name="connsiteX1" fmla="*/ 1089331 w 1335879"/>
                  <a:gd name="connsiteY1" fmla="*/ 66007 h 2776688"/>
                  <a:gd name="connsiteX2" fmla="*/ 1335878 w 1335879"/>
                  <a:gd name="connsiteY2" fmla="*/ 171203 h 2776688"/>
                  <a:gd name="connsiteX3" fmla="*/ 1266483 w 1335879"/>
                  <a:gd name="connsiteY3" fmla="*/ 419439 h 2776688"/>
                  <a:gd name="connsiteX4" fmla="*/ 1194398 w 1335879"/>
                  <a:gd name="connsiteY4" fmla="*/ 1236617 h 2776688"/>
                  <a:gd name="connsiteX5" fmla="*/ 1179806 w 1335879"/>
                  <a:gd name="connsiteY5" fmla="*/ 1744154 h 2776688"/>
                  <a:gd name="connsiteX6" fmla="*/ 1180857 w 1335879"/>
                  <a:gd name="connsiteY6" fmla="*/ 2329850 h 2776688"/>
                  <a:gd name="connsiteX7" fmla="*/ 1210840 w 1335879"/>
                  <a:gd name="connsiteY7" fmla="*/ 2734082 h 2776688"/>
                  <a:gd name="connsiteX8" fmla="*/ 802310 w 1335879"/>
                  <a:gd name="connsiteY8" fmla="*/ 2587446 h 2776688"/>
                  <a:gd name="connsiteX9" fmla="*/ 791294 w 1335879"/>
                  <a:gd name="connsiteY9" fmla="*/ 2255084 h 2776688"/>
                  <a:gd name="connsiteX10" fmla="*/ 788862 w 1335879"/>
                  <a:gd name="connsiteY10" fmla="*/ 1633247 h 2776688"/>
                  <a:gd name="connsiteX11" fmla="*/ 762771 w 1335879"/>
                  <a:gd name="connsiteY11" fmla="*/ 1312180 h 2776688"/>
                  <a:gd name="connsiteX12" fmla="*/ 730261 w 1335879"/>
                  <a:gd name="connsiteY12" fmla="*/ 893027 h 2776688"/>
                  <a:gd name="connsiteX13" fmla="*/ 704699 w 1335879"/>
                  <a:gd name="connsiteY13" fmla="*/ 575805 h 2776688"/>
                  <a:gd name="connsiteX14" fmla="*/ 676464 w 1335879"/>
                  <a:gd name="connsiteY14" fmla="*/ 761923 h 2776688"/>
                  <a:gd name="connsiteX15" fmla="*/ 610815 w 1335879"/>
                  <a:gd name="connsiteY15" fmla="*/ 1349308 h 2776688"/>
                  <a:gd name="connsiteX16" fmla="*/ 646315 w 1335879"/>
                  <a:gd name="connsiteY16" fmla="*/ 2190185 h 2776688"/>
                  <a:gd name="connsiteX17" fmla="*/ 623466 w 1335879"/>
                  <a:gd name="connsiteY17" fmla="*/ 2489624 h 2776688"/>
                  <a:gd name="connsiteX18" fmla="*/ 594646 w 1335879"/>
                  <a:gd name="connsiteY18" fmla="*/ 2681648 h 2776688"/>
                  <a:gd name="connsiteX19" fmla="*/ 295651 w 1335879"/>
                  <a:gd name="connsiteY19" fmla="*/ 2690533 h 2776688"/>
                  <a:gd name="connsiteX20" fmla="*/ 246265 w 1335879"/>
                  <a:gd name="connsiteY20" fmla="*/ 2543950 h 2776688"/>
                  <a:gd name="connsiteX21" fmla="*/ 235361 w 1335879"/>
                  <a:gd name="connsiteY21" fmla="*/ 1757242 h 2776688"/>
                  <a:gd name="connsiteX22" fmla="*/ 170625 w 1335879"/>
                  <a:gd name="connsiteY22" fmla="*/ 1498297 h 2776688"/>
                  <a:gd name="connsiteX23" fmla="*/ 146349 w 1335879"/>
                  <a:gd name="connsiteY23" fmla="*/ 1263628 h 2776688"/>
                  <a:gd name="connsiteX24" fmla="*/ 89705 w 1335879"/>
                  <a:gd name="connsiteY24" fmla="*/ 413964 h 2776688"/>
                  <a:gd name="connsiteX25" fmla="*/ 16876 w 1335879"/>
                  <a:gd name="connsiteY25" fmla="*/ 155019 h 2776688"/>
                  <a:gd name="connsiteX26" fmla="*/ 190970 w 1335879"/>
                  <a:gd name="connsiteY26" fmla="*/ 14835 h 2776688"/>
                  <a:gd name="connsiteX0" fmla="*/ 190972 w 1335879"/>
                  <a:gd name="connsiteY0" fmla="*/ 14835 h 2776688"/>
                  <a:gd name="connsiteX1" fmla="*/ 1089333 w 1335879"/>
                  <a:gd name="connsiteY1" fmla="*/ 66007 h 2776688"/>
                  <a:gd name="connsiteX2" fmla="*/ 1335880 w 1335879"/>
                  <a:gd name="connsiteY2" fmla="*/ 171203 h 2776688"/>
                  <a:gd name="connsiteX3" fmla="*/ 1266485 w 1335879"/>
                  <a:gd name="connsiteY3" fmla="*/ 419439 h 2776688"/>
                  <a:gd name="connsiteX4" fmla="*/ 1194400 w 1335879"/>
                  <a:gd name="connsiteY4" fmla="*/ 1236617 h 2776688"/>
                  <a:gd name="connsiteX5" fmla="*/ 1179808 w 1335879"/>
                  <a:gd name="connsiteY5" fmla="*/ 1744154 h 2776688"/>
                  <a:gd name="connsiteX6" fmla="*/ 1180859 w 1335879"/>
                  <a:gd name="connsiteY6" fmla="*/ 2329850 h 2776688"/>
                  <a:gd name="connsiteX7" fmla="*/ 1210842 w 1335879"/>
                  <a:gd name="connsiteY7" fmla="*/ 2734082 h 2776688"/>
                  <a:gd name="connsiteX8" fmla="*/ 802312 w 1335879"/>
                  <a:gd name="connsiteY8" fmla="*/ 2587446 h 2776688"/>
                  <a:gd name="connsiteX9" fmla="*/ 791296 w 1335879"/>
                  <a:gd name="connsiteY9" fmla="*/ 2255084 h 2776688"/>
                  <a:gd name="connsiteX10" fmla="*/ 788864 w 1335879"/>
                  <a:gd name="connsiteY10" fmla="*/ 1633247 h 2776688"/>
                  <a:gd name="connsiteX11" fmla="*/ 762773 w 1335879"/>
                  <a:gd name="connsiteY11" fmla="*/ 1312180 h 2776688"/>
                  <a:gd name="connsiteX12" fmla="*/ 730263 w 1335879"/>
                  <a:gd name="connsiteY12" fmla="*/ 893027 h 2776688"/>
                  <a:gd name="connsiteX13" fmla="*/ 704701 w 1335879"/>
                  <a:gd name="connsiteY13" fmla="*/ 575805 h 2776688"/>
                  <a:gd name="connsiteX14" fmla="*/ 676466 w 1335879"/>
                  <a:gd name="connsiteY14" fmla="*/ 761923 h 2776688"/>
                  <a:gd name="connsiteX15" fmla="*/ 610817 w 1335879"/>
                  <a:gd name="connsiteY15" fmla="*/ 1349308 h 2776688"/>
                  <a:gd name="connsiteX16" fmla="*/ 646317 w 1335879"/>
                  <a:gd name="connsiteY16" fmla="*/ 2190185 h 2776688"/>
                  <a:gd name="connsiteX17" fmla="*/ 639748 w 1335879"/>
                  <a:gd name="connsiteY17" fmla="*/ 2489624 h 2776688"/>
                  <a:gd name="connsiteX18" fmla="*/ 594648 w 1335879"/>
                  <a:gd name="connsiteY18" fmla="*/ 2681648 h 2776688"/>
                  <a:gd name="connsiteX19" fmla="*/ 295653 w 1335879"/>
                  <a:gd name="connsiteY19" fmla="*/ 2690533 h 2776688"/>
                  <a:gd name="connsiteX20" fmla="*/ 246267 w 1335879"/>
                  <a:gd name="connsiteY20" fmla="*/ 2543950 h 2776688"/>
                  <a:gd name="connsiteX21" fmla="*/ 235363 w 1335879"/>
                  <a:gd name="connsiteY21" fmla="*/ 1757242 h 2776688"/>
                  <a:gd name="connsiteX22" fmla="*/ 170627 w 1335879"/>
                  <a:gd name="connsiteY22" fmla="*/ 1498297 h 2776688"/>
                  <a:gd name="connsiteX23" fmla="*/ 146351 w 1335879"/>
                  <a:gd name="connsiteY23" fmla="*/ 1263628 h 2776688"/>
                  <a:gd name="connsiteX24" fmla="*/ 89707 w 1335879"/>
                  <a:gd name="connsiteY24" fmla="*/ 413964 h 2776688"/>
                  <a:gd name="connsiteX25" fmla="*/ 16878 w 1335879"/>
                  <a:gd name="connsiteY25" fmla="*/ 155019 h 2776688"/>
                  <a:gd name="connsiteX26" fmla="*/ 190972 w 1335879"/>
                  <a:gd name="connsiteY26" fmla="*/ 14835 h 2776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35879" h="2776688">
                    <a:moveTo>
                      <a:pt x="190972" y="14835"/>
                    </a:moveTo>
                    <a:cubicBezTo>
                      <a:pt x="369715" y="0"/>
                      <a:pt x="898515" y="39946"/>
                      <a:pt x="1089333" y="66007"/>
                    </a:cubicBezTo>
                    <a:cubicBezTo>
                      <a:pt x="1280151" y="92068"/>
                      <a:pt x="1306355" y="112298"/>
                      <a:pt x="1335880" y="171203"/>
                    </a:cubicBezTo>
                    <a:cubicBezTo>
                      <a:pt x="1330831" y="203334"/>
                      <a:pt x="1277535" y="408070"/>
                      <a:pt x="1266485" y="419439"/>
                    </a:cubicBezTo>
                    <a:cubicBezTo>
                      <a:pt x="1246073" y="614436"/>
                      <a:pt x="1217597" y="947141"/>
                      <a:pt x="1194400" y="1236617"/>
                    </a:cubicBezTo>
                    <a:cubicBezTo>
                      <a:pt x="1181875" y="1455618"/>
                      <a:pt x="1182065" y="1561949"/>
                      <a:pt x="1179808" y="1744154"/>
                    </a:cubicBezTo>
                    <a:cubicBezTo>
                      <a:pt x="1177551" y="1926360"/>
                      <a:pt x="1175687" y="2164862"/>
                      <a:pt x="1180859" y="2329850"/>
                    </a:cubicBezTo>
                    <a:cubicBezTo>
                      <a:pt x="1186031" y="2494838"/>
                      <a:pt x="1232200" y="2674354"/>
                      <a:pt x="1210842" y="2734082"/>
                    </a:cubicBezTo>
                    <a:cubicBezTo>
                      <a:pt x="1040991" y="2776688"/>
                      <a:pt x="953193" y="2719184"/>
                      <a:pt x="802312" y="2587446"/>
                    </a:cubicBezTo>
                    <a:cubicBezTo>
                      <a:pt x="812907" y="2534867"/>
                      <a:pt x="794188" y="2400195"/>
                      <a:pt x="791296" y="2255084"/>
                    </a:cubicBezTo>
                    <a:cubicBezTo>
                      <a:pt x="780153" y="2001599"/>
                      <a:pt x="793618" y="1790398"/>
                      <a:pt x="788864" y="1633247"/>
                    </a:cubicBezTo>
                    <a:cubicBezTo>
                      <a:pt x="784110" y="1476096"/>
                      <a:pt x="772540" y="1435550"/>
                      <a:pt x="762773" y="1312180"/>
                    </a:cubicBezTo>
                    <a:cubicBezTo>
                      <a:pt x="753006" y="1188810"/>
                      <a:pt x="739942" y="1015756"/>
                      <a:pt x="730263" y="893027"/>
                    </a:cubicBezTo>
                    <a:cubicBezTo>
                      <a:pt x="720584" y="770298"/>
                      <a:pt x="713667" y="597656"/>
                      <a:pt x="704701" y="575805"/>
                    </a:cubicBezTo>
                    <a:cubicBezTo>
                      <a:pt x="695735" y="553954"/>
                      <a:pt x="692113" y="633006"/>
                      <a:pt x="676466" y="761923"/>
                    </a:cubicBezTo>
                    <a:cubicBezTo>
                      <a:pt x="660819" y="890840"/>
                      <a:pt x="618909" y="1217138"/>
                      <a:pt x="610817" y="1349308"/>
                    </a:cubicBezTo>
                    <a:cubicBezTo>
                      <a:pt x="605792" y="1587352"/>
                      <a:pt x="644209" y="2000132"/>
                      <a:pt x="646317" y="2190185"/>
                    </a:cubicBezTo>
                    <a:cubicBezTo>
                      <a:pt x="648426" y="2380238"/>
                      <a:pt x="648359" y="2407714"/>
                      <a:pt x="639748" y="2489624"/>
                    </a:cubicBezTo>
                    <a:cubicBezTo>
                      <a:pt x="631137" y="2571534"/>
                      <a:pt x="643857" y="2678422"/>
                      <a:pt x="594648" y="2681648"/>
                    </a:cubicBezTo>
                    <a:cubicBezTo>
                      <a:pt x="540012" y="2715133"/>
                      <a:pt x="415775" y="2724816"/>
                      <a:pt x="295653" y="2690533"/>
                    </a:cubicBezTo>
                    <a:cubicBezTo>
                      <a:pt x="266141" y="2685424"/>
                      <a:pt x="229709" y="2749879"/>
                      <a:pt x="246267" y="2543950"/>
                    </a:cubicBezTo>
                    <a:cubicBezTo>
                      <a:pt x="242605" y="2302313"/>
                      <a:pt x="247970" y="1931517"/>
                      <a:pt x="235363" y="1757242"/>
                    </a:cubicBezTo>
                    <a:cubicBezTo>
                      <a:pt x="222756" y="1582967"/>
                      <a:pt x="185462" y="1580566"/>
                      <a:pt x="170627" y="1498297"/>
                    </a:cubicBezTo>
                    <a:cubicBezTo>
                      <a:pt x="155792" y="1416028"/>
                      <a:pt x="159838" y="1444350"/>
                      <a:pt x="146351" y="1263628"/>
                    </a:cubicBezTo>
                    <a:cubicBezTo>
                      <a:pt x="132864" y="1082906"/>
                      <a:pt x="111286" y="598732"/>
                      <a:pt x="89707" y="413964"/>
                    </a:cubicBezTo>
                    <a:cubicBezTo>
                      <a:pt x="81093" y="404227"/>
                      <a:pt x="1" y="221540"/>
                      <a:pt x="16878" y="155019"/>
                    </a:cubicBezTo>
                    <a:cubicBezTo>
                      <a:pt x="33755" y="88498"/>
                      <a:pt x="12230" y="29670"/>
                      <a:pt x="190972" y="1483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67" name="Freeform 278">
                <a:extLst>
                  <a:ext uri="{FF2B5EF4-FFF2-40B4-BE49-F238E27FC236}">
                    <a16:creationId xmlns:a16="http://schemas.microsoft.com/office/drawing/2014/main" id="{9DB4B6C3-B1F0-45CB-B18F-0291D32BCA67}"/>
                  </a:ext>
                </a:extLst>
              </p:cNvPr>
              <p:cNvSpPr/>
              <p:nvPr/>
            </p:nvSpPr>
            <p:spPr bwMode="auto">
              <a:xfrm>
                <a:off x="6771023" y="3659044"/>
                <a:ext cx="595502" cy="1861184"/>
              </a:xfrm>
              <a:custGeom>
                <a:avLst/>
                <a:gdLst>
                  <a:gd name="connsiteX0" fmla="*/ 479425 w 981075"/>
                  <a:gd name="connsiteY0" fmla="*/ 4762 h 2840037"/>
                  <a:gd name="connsiteX1" fmla="*/ 498475 w 981075"/>
                  <a:gd name="connsiteY1" fmla="*/ 366712 h 2840037"/>
                  <a:gd name="connsiteX2" fmla="*/ 508000 w 981075"/>
                  <a:gd name="connsiteY2" fmla="*/ 385762 h 2840037"/>
                  <a:gd name="connsiteX3" fmla="*/ 584200 w 981075"/>
                  <a:gd name="connsiteY3" fmla="*/ 395287 h 2840037"/>
                  <a:gd name="connsiteX4" fmla="*/ 660400 w 981075"/>
                  <a:gd name="connsiteY4" fmla="*/ 347662 h 2840037"/>
                  <a:gd name="connsiteX5" fmla="*/ 650875 w 981075"/>
                  <a:gd name="connsiteY5" fmla="*/ 757237 h 2840037"/>
                  <a:gd name="connsiteX6" fmla="*/ 698500 w 981075"/>
                  <a:gd name="connsiteY6" fmla="*/ 1404937 h 2840037"/>
                  <a:gd name="connsiteX7" fmla="*/ 841375 w 981075"/>
                  <a:gd name="connsiteY7" fmla="*/ 1747837 h 2840037"/>
                  <a:gd name="connsiteX8" fmla="*/ 917575 w 981075"/>
                  <a:gd name="connsiteY8" fmla="*/ 2205037 h 2840037"/>
                  <a:gd name="connsiteX9" fmla="*/ 936625 w 981075"/>
                  <a:gd name="connsiteY9" fmla="*/ 2414587 h 2840037"/>
                  <a:gd name="connsiteX10" fmla="*/ 965200 w 981075"/>
                  <a:gd name="connsiteY10" fmla="*/ 2500312 h 2840037"/>
                  <a:gd name="connsiteX11" fmla="*/ 841375 w 981075"/>
                  <a:gd name="connsiteY11" fmla="*/ 2576512 h 2840037"/>
                  <a:gd name="connsiteX12" fmla="*/ 803275 w 981075"/>
                  <a:gd name="connsiteY12" fmla="*/ 2509837 h 2840037"/>
                  <a:gd name="connsiteX13" fmla="*/ 688975 w 981075"/>
                  <a:gd name="connsiteY13" fmla="*/ 1824037 h 2840037"/>
                  <a:gd name="connsiteX14" fmla="*/ 574675 w 981075"/>
                  <a:gd name="connsiteY14" fmla="*/ 795337 h 2840037"/>
                  <a:gd name="connsiteX15" fmla="*/ 498475 w 981075"/>
                  <a:gd name="connsiteY15" fmla="*/ 528637 h 2840037"/>
                  <a:gd name="connsiteX16" fmla="*/ 479425 w 981075"/>
                  <a:gd name="connsiteY16" fmla="*/ 614362 h 2840037"/>
                  <a:gd name="connsiteX17" fmla="*/ 450850 w 981075"/>
                  <a:gd name="connsiteY17" fmla="*/ 995362 h 2840037"/>
                  <a:gd name="connsiteX18" fmla="*/ 384175 w 981075"/>
                  <a:gd name="connsiteY18" fmla="*/ 1433512 h 2840037"/>
                  <a:gd name="connsiteX19" fmla="*/ 412750 w 981075"/>
                  <a:gd name="connsiteY19" fmla="*/ 1871662 h 2840037"/>
                  <a:gd name="connsiteX20" fmla="*/ 450850 w 981075"/>
                  <a:gd name="connsiteY20" fmla="*/ 2424112 h 2840037"/>
                  <a:gd name="connsiteX21" fmla="*/ 412750 w 981075"/>
                  <a:gd name="connsiteY21" fmla="*/ 2700337 h 2840037"/>
                  <a:gd name="connsiteX22" fmla="*/ 403225 w 981075"/>
                  <a:gd name="connsiteY22" fmla="*/ 2767012 h 2840037"/>
                  <a:gd name="connsiteX23" fmla="*/ 165100 w 981075"/>
                  <a:gd name="connsiteY23" fmla="*/ 2833687 h 2840037"/>
                  <a:gd name="connsiteX24" fmla="*/ 79375 w 981075"/>
                  <a:gd name="connsiteY24" fmla="*/ 2805112 h 2840037"/>
                  <a:gd name="connsiteX25" fmla="*/ 22225 w 981075"/>
                  <a:gd name="connsiteY25" fmla="*/ 2757487 h 2840037"/>
                  <a:gd name="connsiteX26" fmla="*/ 22225 w 981075"/>
                  <a:gd name="connsiteY26" fmla="*/ 2338387 h 2840037"/>
                  <a:gd name="connsiteX27" fmla="*/ 12700 w 981075"/>
                  <a:gd name="connsiteY27" fmla="*/ 1776412 h 2840037"/>
                  <a:gd name="connsiteX28" fmla="*/ 98425 w 981075"/>
                  <a:gd name="connsiteY28" fmla="*/ 1681162 h 2840037"/>
                  <a:gd name="connsiteX29" fmla="*/ 193675 w 981075"/>
                  <a:gd name="connsiteY29" fmla="*/ 1624012 h 2840037"/>
                  <a:gd name="connsiteX30" fmla="*/ 269875 w 981075"/>
                  <a:gd name="connsiteY30" fmla="*/ 1366837 h 2840037"/>
                  <a:gd name="connsiteX31" fmla="*/ 374650 w 981075"/>
                  <a:gd name="connsiteY31" fmla="*/ 795337 h 2840037"/>
                  <a:gd name="connsiteX32" fmla="*/ 403225 w 981075"/>
                  <a:gd name="connsiteY32" fmla="*/ 509587 h 2840037"/>
                  <a:gd name="connsiteX33" fmla="*/ 231775 w 981075"/>
                  <a:gd name="connsiteY33" fmla="*/ 395287 h 2840037"/>
                  <a:gd name="connsiteX34" fmla="*/ 422275 w 981075"/>
                  <a:gd name="connsiteY34" fmla="*/ 433387 h 2840037"/>
                  <a:gd name="connsiteX35" fmla="*/ 450850 w 981075"/>
                  <a:gd name="connsiteY35" fmla="*/ 395287 h 2840037"/>
                  <a:gd name="connsiteX36" fmla="*/ 479425 w 981075"/>
                  <a:gd name="connsiteY36" fmla="*/ 4762 h 2840037"/>
                  <a:gd name="connsiteX0" fmla="*/ 479425 w 981075"/>
                  <a:gd name="connsiteY0" fmla="*/ 4762 h 2840037"/>
                  <a:gd name="connsiteX1" fmla="*/ 498475 w 981075"/>
                  <a:gd name="connsiteY1" fmla="*/ 366712 h 2840037"/>
                  <a:gd name="connsiteX2" fmla="*/ 584200 w 981075"/>
                  <a:gd name="connsiteY2" fmla="*/ 395287 h 2840037"/>
                  <a:gd name="connsiteX3" fmla="*/ 660400 w 981075"/>
                  <a:gd name="connsiteY3" fmla="*/ 347662 h 2840037"/>
                  <a:gd name="connsiteX4" fmla="*/ 650875 w 981075"/>
                  <a:gd name="connsiteY4" fmla="*/ 757237 h 2840037"/>
                  <a:gd name="connsiteX5" fmla="*/ 698500 w 981075"/>
                  <a:gd name="connsiteY5" fmla="*/ 1404937 h 2840037"/>
                  <a:gd name="connsiteX6" fmla="*/ 841375 w 981075"/>
                  <a:gd name="connsiteY6" fmla="*/ 1747837 h 2840037"/>
                  <a:gd name="connsiteX7" fmla="*/ 917575 w 981075"/>
                  <a:gd name="connsiteY7" fmla="*/ 2205037 h 2840037"/>
                  <a:gd name="connsiteX8" fmla="*/ 936625 w 981075"/>
                  <a:gd name="connsiteY8" fmla="*/ 2414587 h 2840037"/>
                  <a:gd name="connsiteX9" fmla="*/ 965200 w 981075"/>
                  <a:gd name="connsiteY9" fmla="*/ 2500312 h 2840037"/>
                  <a:gd name="connsiteX10" fmla="*/ 841375 w 981075"/>
                  <a:gd name="connsiteY10" fmla="*/ 2576512 h 2840037"/>
                  <a:gd name="connsiteX11" fmla="*/ 803275 w 981075"/>
                  <a:gd name="connsiteY11" fmla="*/ 2509837 h 2840037"/>
                  <a:gd name="connsiteX12" fmla="*/ 688975 w 981075"/>
                  <a:gd name="connsiteY12" fmla="*/ 1824037 h 2840037"/>
                  <a:gd name="connsiteX13" fmla="*/ 574675 w 981075"/>
                  <a:gd name="connsiteY13" fmla="*/ 795337 h 2840037"/>
                  <a:gd name="connsiteX14" fmla="*/ 498475 w 981075"/>
                  <a:gd name="connsiteY14" fmla="*/ 528637 h 2840037"/>
                  <a:gd name="connsiteX15" fmla="*/ 479425 w 981075"/>
                  <a:gd name="connsiteY15" fmla="*/ 614362 h 2840037"/>
                  <a:gd name="connsiteX16" fmla="*/ 450850 w 981075"/>
                  <a:gd name="connsiteY16" fmla="*/ 995362 h 2840037"/>
                  <a:gd name="connsiteX17" fmla="*/ 384175 w 981075"/>
                  <a:gd name="connsiteY17" fmla="*/ 1433512 h 2840037"/>
                  <a:gd name="connsiteX18" fmla="*/ 412750 w 981075"/>
                  <a:gd name="connsiteY18" fmla="*/ 1871662 h 2840037"/>
                  <a:gd name="connsiteX19" fmla="*/ 450850 w 981075"/>
                  <a:gd name="connsiteY19" fmla="*/ 2424112 h 2840037"/>
                  <a:gd name="connsiteX20" fmla="*/ 412750 w 981075"/>
                  <a:gd name="connsiteY20" fmla="*/ 2700337 h 2840037"/>
                  <a:gd name="connsiteX21" fmla="*/ 403225 w 981075"/>
                  <a:gd name="connsiteY21" fmla="*/ 2767012 h 2840037"/>
                  <a:gd name="connsiteX22" fmla="*/ 165100 w 981075"/>
                  <a:gd name="connsiteY22" fmla="*/ 2833687 h 2840037"/>
                  <a:gd name="connsiteX23" fmla="*/ 79375 w 981075"/>
                  <a:gd name="connsiteY23" fmla="*/ 2805112 h 2840037"/>
                  <a:gd name="connsiteX24" fmla="*/ 22225 w 981075"/>
                  <a:gd name="connsiteY24" fmla="*/ 2757487 h 2840037"/>
                  <a:gd name="connsiteX25" fmla="*/ 22225 w 981075"/>
                  <a:gd name="connsiteY25" fmla="*/ 2338387 h 2840037"/>
                  <a:gd name="connsiteX26" fmla="*/ 12700 w 981075"/>
                  <a:gd name="connsiteY26" fmla="*/ 1776412 h 2840037"/>
                  <a:gd name="connsiteX27" fmla="*/ 98425 w 981075"/>
                  <a:gd name="connsiteY27" fmla="*/ 1681162 h 2840037"/>
                  <a:gd name="connsiteX28" fmla="*/ 193675 w 981075"/>
                  <a:gd name="connsiteY28" fmla="*/ 1624012 h 2840037"/>
                  <a:gd name="connsiteX29" fmla="*/ 269875 w 981075"/>
                  <a:gd name="connsiteY29" fmla="*/ 1366837 h 2840037"/>
                  <a:gd name="connsiteX30" fmla="*/ 374650 w 981075"/>
                  <a:gd name="connsiteY30" fmla="*/ 795337 h 2840037"/>
                  <a:gd name="connsiteX31" fmla="*/ 403225 w 981075"/>
                  <a:gd name="connsiteY31" fmla="*/ 509587 h 2840037"/>
                  <a:gd name="connsiteX32" fmla="*/ 231775 w 981075"/>
                  <a:gd name="connsiteY32" fmla="*/ 395287 h 2840037"/>
                  <a:gd name="connsiteX33" fmla="*/ 422275 w 981075"/>
                  <a:gd name="connsiteY33" fmla="*/ 433387 h 2840037"/>
                  <a:gd name="connsiteX34" fmla="*/ 450850 w 981075"/>
                  <a:gd name="connsiteY34" fmla="*/ 395287 h 2840037"/>
                  <a:gd name="connsiteX35" fmla="*/ 479425 w 981075"/>
                  <a:gd name="connsiteY35" fmla="*/ 4762 h 2840037"/>
                  <a:gd name="connsiteX0" fmla="*/ 479425 w 981075"/>
                  <a:gd name="connsiteY0" fmla="*/ 4762 h 2840037"/>
                  <a:gd name="connsiteX1" fmla="*/ 498475 w 981075"/>
                  <a:gd name="connsiteY1" fmla="*/ 366712 h 2840037"/>
                  <a:gd name="connsiteX2" fmla="*/ 584200 w 981075"/>
                  <a:gd name="connsiteY2" fmla="*/ 395287 h 2840037"/>
                  <a:gd name="connsiteX3" fmla="*/ 660400 w 981075"/>
                  <a:gd name="connsiteY3" fmla="*/ 347662 h 2840037"/>
                  <a:gd name="connsiteX4" fmla="*/ 650875 w 981075"/>
                  <a:gd name="connsiteY4" fmla="*/ 757237 h 2840037"/>
                  <a:gd name="connsiteX5" fmla="*/ 698500 w 981075"/>
                  <a:gd name="connsiteY5" fmla="*/ 1404937 h 2840037"/>
                  <a:gd name="connsiteX6" fmla="*/ 841375 w 981075"/>
                  <a:gd name="connsiteY6" fmla="*/ 1747837 h 2840037"/>
                  <a:gd name="connsiteX7" fmla="*/ 917575 w 981075"/>
                  <a:gd name="connsiteY7" fmla="*/ 2205037 h 2840037"/>
                  <a:gd name="connsiteX8" fmla="*/ 936625 w 981075"/>
                  <a:gd name="connsiteY8" fmla="*/ 2414587 h 2840037"/>
                  <a:gd name="connsiteX9" fmla="*/ 965200 w 981075"/>
                  <a:gd name="connsiteY9" fmla="*/ 2500312 h 2840037"/>
                  <a:gd name="connsiteX10" fmla="*/ 841375 w 981075"/>
                  <a:gd name="connsiteY10" fmla="*/ 2576512 h 2840037"/>
                  <a:gd name="connsiteX11" fmla="*/ 803275 w 981075"/>
                  <a:gd name="connsiteY11" fmla="*/ 2509837 h 2840037"/>
                  <a:gd name="connsiteX12" fmla="*/ 688975 w 981075"/>
                  <a:gd name="connsiteY12" fmla="*/ 1824037 h 2840037"/>
                  <a:gd name="connsiteX13" fmla="*/ 574675 w 981075"/>
                  <a:gd name="connsiteY13" fmla="*/ 795337 h 2840037"/>
                  <a:gd name="connsiteX14" fmla="*/ 498475 w 981075"/>
                  <a:gd name="connsiteY14" fmla="*/ 528637 h 2840037"/>
                  <a:gd name="connsiteX15" fmla="*/ 479425 w 981075"/>
                  <a:gd name="connsiteY15" fmla="*/ 614362 h 2840037"/>
                  <a:gd name="connsiteX16" fmla="*/ 450850 w 981075"/>
                  <a:gd name="connsiteY16" fmla="*/ 995362 h 2840037"/>
                  <a:gd name="connsiteX17" fmla="*/ 384175 w 981075"/>
                  <a:gd name="connsiteY17" fmla="*/ 1433512 h 2840037"/>
                  <a:gd name="connsiteX18" fmla="*/ 412750 w 981075"/>
                  <a:gd name="connsiteY18" fmla="*/ 1871662 h 2840037"/>
                  <a:gd name="connsiteX19" fmla="*/ 450850 w 981075"/>
                  <a:gd name="connsiteY19" fmla="*/ 2424112 h 2840037"/>
                  <a:gd name="connsiteX20" fmla="*/ 412750 w 981075"/>
                  <a:gd name="connsiteY20" fmla="*/ 2700337 h 2840037"/>
                  <a:gd name="connsiteX21" fmla="*/ 403225 w 981075"/>
                  <a:gd name="connsiteY21" fmla="*/ 2767012 h 2840037"/>
                  <a:gd name="connsiteX22" fmla="*/ 165100 w 981075"/>
                  <a:gd name="connsiteY22" fmla="*/ 2833687 h 2840037"/>
                  <a:gd name="connsiteX23" fmla="*/ 79375 w 981075"/>
                  <a:gd name="connsiteY23" fmla="*/ 2805112 h 2840037"/>
                  <a:gd name="connsiteX24" fmla="*/ 22225 w 981075"/>
                  <a:gd name="connsiteY24" fmla="*/ 2757487 h 2840037"/>
                  <a:gd name="connsiteX25" fmla="*/ 22225 w 981075"/>
                  <a:gd name="connsiteY25" fmla="*/ 2338387 h 2840037"/>
                  <a:gd name="connsiteX26" fmla="*/ 12700 w 981075"/>
                  <a:gd name="connsiteY26" fmla="*/ 1776412 h 2840037"/>
                  <a:gd name="connsiteX27" fmla="*/ 98425 w 981075"/>
                  <a:gd name="connsiteY27" fmla="*/ 1681162 h 2840037"/>
                  <a:gd name="connsiteX28" fmla="*/ 193675 w 981075"/>
                  <a:gd name="connsiteY28" fmla="*/ 1624012 h 2840037"/>
                  <a:gd name="connsiteX29" fmla="*/ 269875 w 981075"/>
                  <a:gd name="connsiteY29" fmla="*/ 1366837 h 2840037"/>
                  <a:gd name="connsiteX30" fmla="*/ 374650 w 981075"/>
                  <a:gd name="connsiteY30" fmla="*/ 795337 h 2840037"/>
                  <a:gd name="connsiteX31" fmla="*/ 403225 w 981075"/>
                  <a:gd name="connsiteY31" fmla="*/ 509587 h 2840037"/>
                  <a:gd name="connsiteX32" fmla="*/ 231775 w 981075"/>
                  <a:gd name="connsiteY32" fmla="*/ 395287 h 2840037"/>
                  <a:gd name="connsiteX33" fmla="*/ 422275 w 981075"/>
                  <a:gd name="connsiteY33" fmla="*/ 433387 h 2840037"/>
                  <a:gd name="connsiteX34" fmla="*/ 450850 w 981075"/>
                  <a:gd name="connsiteY34" fmla="*/ 395287 h 2840037"/>
                  <a:gd name="connsiteX35" fmla="*/ 479425 w 981075"/>
                  <a:gd name="connsiteY35" fmla="*/ 4762 h 2840037"/>
                  <a:gd name="connsiteX0" fmla="*/ 479425 w 981075"/>
                  <a:gd name="connsiteY0" fmla="*/ 4762 h 2840037"/>
                  <a:gd name="connsiteX1" fmla="*/ 498475 w 981075"/>
                  <a:gd name="connsiteY1" fmla="*/ 366712 h 2840037"/>
                  <a:gd name="connsiteX2" fmla="*/ 584200 w 981075"/>
                  <a:gd name="connsiteY2" fmla="*/ 395287 h 2840037"/>
                  <a:gd name="connsiteX3" fmla="*/ 660400 w 981075"/>
                  <a:gd name="connsiteY3" fmla="*/ 347662 h 2840037"/>
                  <a:gd name="connsiteX4" fmla="*/ 650875 w 981075"/>
                  <a:gd name="connsiteY4" fmla="*/ 757237 h 2840037"/>
                  <a:gd name="connsiteX5" fmla="*/ 698500 w 981075"/>
                  <a:gd name="connsiteY5" fmla="*/ 1404937 h 2840037"/>
                  <a:gd name="connsiteX6" fmla="*/ 841375 w 981075"/>
                  <a:gd name="connsiteY6" fmla="*/ 1747837 h 2840037"/>
                  <a:gd name="connsiteX7" fmla="*/ 917575 w 981075"/>
                  <a:gd name="connsiteY7" fmla="*/ 2205037 h 2840037"/>
                  <a:gd name="connsiteX8" fmla="*/ 936625 w 981075"/>
                  <a:gd name="connsiteY8" fmla="*/ 2414587 h 2840037"/>
                  <a:gd name="connsiteX9" fmla="*/ 965200 w 981075"/>
                  <a:gd name="connsiteY9" fmla="*/ 2500312 h 2840037"/>
                  <a:gd name="connsiteX10" fmla="*/ 841375 w 981075"/>
                  <a:gd name="connsiteY10" fmla="*/ 2576512 h 2840037"/>
                  <a:gd name="connsiteX11" fmla="*/ 803275 w 981075"/>
                  <a:gd name="connsiteY11" fmla="*/ 2509837 h 2840037"/>
                  <a:gd name="connsiteX12" fmla="*/ 688975 w 981075"/>
                  <a:gd name="connsiteY12" fmla="*/ 1824037 h 2840037"/>
                  <a:gd name="connsiteX13" fmla="*/ 574675 w 981075"/>
                  <a:gd name="connsiteY13" fmla="*/ 795337 h 2840037"/>
                  <a:gd name="connsiteX14" fmla="*/ 498475 w 981075"/>
                  <a:gd name="connsiteY14" fmla="*/ 528637 h 2840037"/>
                  <a:gd name="connsiteX15" fmla="*/ 479425 w 981075"/>
                  <a:gd name="connsiteY15" fmla="*/ 614362 h 2840037"/>
                  <a:gd name="connsiteX16" fmla="*/ 450850 w 981075"/>
                  <a:gd name="connsiteY16" fmla="*/ 995362 h 2840037"/>
                  <a:gd name="connsiteX17" fmla="*/ 384175 w 981075"/>
                  <a:gd name="connsiteY17" fmla="*/ 1433512 h 2840037"/>
                  <a:gd name="connsiteX18" fmla="*/ 412750 w 981075"/>
                  <a:gd name="connsiteY18" fmla="*/ 1871662 h 2840037"/>
                  <a:gd name="connsiteX19" fmla="*/ 450850 w 981075"/>
                  <a:gd name="connsiteY19" fmla="*/ 2424112 h 2840037"/>
                  <a:gd name="connsiteX20" fmla="*/ 412750 w 981075"/>
                  <a:gd name="connsiteY20" fmla="*/ 2700337 h 2840037"/>
                  <a:gd name="connsiteX21" fmla="*/ 403225 w 981075"/>
                  <a:gd name="connsiteY21" fmla="*/ 2767012 h 2840037"/>
                  <a:gd name="connsiteX22" fmla="*/ 165100 w 981075"/>
                  <a:gd name="connsiteY22" fmla="*/ 2833687 h 2840037"/>
                  <a:gd name="connsiteX23" fmla="*/ 79375 w 981075"/>
                  <a:gd name="connsiteY23" fmla="*/ 2805112 h 2840037"/>
                  <a:gd name="connsiteX24" fmla="*/ 22225 w 981075"/>
                  <a:gd name="connsiteY24" fmla="*/ 2757487 h 2840037"/>
                  <a:gd name="connsiteX25" fmla="*/ 22225 w 981075"/>
                  <a:gd name="connsiteY25" fmla="*/ 2338387 h 2840037"/>
                  <a:gd name="connsiteX26" fmla="*/ 12700 w 981075"/>
                  <a:gd name="connsiteY26" fmla="*/ 1776412 h 2840037"/>
                  <a:gd name="connsiteX27" fmla="*/ 98425 w 981075"/>
                  <a:gd name="connsiteY27" fmla="*/ 1681162 h 2840037"/>
                  <a:gd name="connsiteX28" fmla="*/ 193675 w 981075"/>
                  <a:gd name="connsiteY28" fmla="*/ 1624012 h 2840037"/>
                  <a:gd name="connsiteX29" fmla="*/ 269875 w 981075"/>
                  <a:gd name="connsiteY29" fmla="*/ 1366837 h 2840037"/>
                  <a:gd name="connsiteX30" fmla="*/ 374650 w 981075"/>
                  <a:gd name="connsiteY30" fmla="*/ 795337 h 2840037"/>
                  <a:gd name="connsiteX31" fmla="*/ 403225 w 981075"/>
                  <a:gd name="connsiteY31" fmla="*/ 509587 h 2840037"/>
                  <a:gd name="connsiteX32" fmla="*/ 231775 w 981075"/>
                  <a:gd name="connsiteY32" fmla="*/ 395287 h 2840037"/>
                  <a:gd name="connsiteX33" fmla="*/ 422275 w 981075"/>
                  <a:gd name="connsiteY33" fmla="*/ 433387 h 2840037"/>
                  <a:gd name="connsiteX34" fmla="*/ 450850 w 981075"/>
                  <a:gd name="connsiteY34" fmla="*/ 395287 h 2840037"/>
                  <a:gd name="connsiteX35" fmla="*/ 479425 w 981075"/>
                  <a:gd name="connsiteY35" fmla="*/ 4762 h 2840037"/>
                  <a:gd name="connsiteX0" fmla="*/ 479425 w 981075"/>
                  <a:gd name="connsiteY0" fmla="*/ 4762 h 2840037"/>
                  <a:gd name="connsiteX1" fmla="*/ 498475 w 981075"/>
                  <a:gd name="connsiteY1" fmla="*/ 366712 h 2840037"/>
                  <a:gd name="connsiteX2" fmla="*/ 584200 w 981075"/>
                  <a:gd name="connsiteY2" fmla="*/ 395287 h 2840037"/>
                  <a:gd name="connsiteX3" fmla="*/ 660400 w 981075"/>
                  <a:gd name="connsiteY3" fmla="*/ 347662 h 2840037"/>
                  <a:gd name="connsiteX4" fmla="*/ 650875 w 981075"/>
                  <a:gd name="connsiteY4" fmla="*/ 757237 h 2840037"/>
                  <a:gd name="connsiteX5" fmla="*/ 698500 w 981075"/>
                  <a:gd name="connsiteY5" fmla="*/ 1404937 h 2840037"/>
                  <a:gd name="connsiteX6" fmla="*/ 841375 w 981075"/>
                  <a:gd name="connsiteY6" fmla="*/ 1747837 h 2840037"/>
                  <a:gd name="connsiteX7" fmla="*/ 917575 w 981075"/>
                  <a:gd name="connsiteY7" fmla="*/ 2205037 h 2840037"/>
                  <a:gd name="connsiteX8" fmla="*/ 936625 w 981075"/>
                  <a:gd name="connsiteY8" fmla="*/ 2414587 h 2840037"/>
                  <a:gd name="connsiteX9" fmla="*/ 965200 w 981075"/>
                  <a:gd name="connsiteY9" fmla="*/ 2500312 h 2840037"/>
                  <a:gd name="connsiteX10" fmla="*/ 841375 w 981075"/>
                  <a:gd name="connsiteY10" fmla="*/ 2576512 h 2840037"/>
                  <a:gd name="connsiteX11" fmla="*/ 803275 w 981075"/>
                  <a:gd name="connsiteY11" fmla="*/ 2509837 h 2840037"/>
                  <a:gd name="connsiteX12" fmla="*/ 688975 w 981075"/>
                  <a:gd name="connsiteY12" fmla="*/ 1824037 h 2840037"/>
                  <a:gd name="connsiteX13" fmla="*/ 574675 w 981075"/>
                  <a:gd name="connsiteY13" fmla="*/ 795337 h 2840037"/>
                  <a:gd name="connsiteX14" fmla="*/ 515144 w 981075"/>
                  <a:gd name="connsiteY14" fmla="*/ 561974 h 2840037"/>
                  <a:gd name="connsiteX15" fmla="*/ 479425 w 981075"/>
                  <a:gd name="connsiteY15" fmla="*/ 614362 h 2840037"/>
                  <a:gd name="connsiteX16" fmla="*/ 450850 w 981075"/>
                  <a:gd name="connsiteY16" fmla="*/ 995362 h 2840037"/>
                  <a:gd name="connsiteX17" fmla="*/ 384175 w 981075"/>
                  <a:gd name="connsiteY17" fmla="*/ 1433512 h 2840037"/>
                  <a:gd name="connsiteX18" fmla="*/ 412750 w 981075"/>
                  <a:gd name="connsiteY18" fmla="*/ 1871662 h 2840037"/>
                  <a:gd name="connsiteX19" fmla="*/ 450850 w 981075"/>
                  <a:gd name="connsiteY19" fmla="*/ 2424112 h 2840037"/>
                  <a:gd name="connsiteX20" fmla="*/ 412750 w 981075"/>
                  <a:gd name="connsiteY20" fmla="*/ 2700337 h 2840037"/>
                  <a:gd name="connsiteX21" fmla="*/ 403225 w 981075"/>
                  <a:gd name="connsiteY21" fmla="*/ 2767012 h 2840037"/>
                  <a:gd name="connsiteX22" fmla="*/ 165100 w 981075"/>
                  <a:gd name="connsiteY22" fmla="*/ 2833687 h 2840037"/>
                  <a:gd name="connsiteX23" fmla="*/ 79375 w 981075"/>
                  <a:gd name="connsiteY23" fmla="*/ 2805112 h 2840037"/>
                  <a:gd name="connsiteX24" fmla="*/ 22225 w 981075"/>
                  <a:gd name="connsiteY24" fmla="*/ 2757487 h 2840037"/>
                  <a:gd name="connsiteX25" fmla="*/ 22225 w 981075"/>
                  <a:gd name="connsiteY25" fmla="*/ 2338387 h 2840037"/>
                  <a:gd name="connsiteX26" fmla="*/ 12700 w 981075"/>
                  <a:gd name="connsiteY26" fmla="*/ 1776412 h 2840037"/>
                  <a:gd name="connsiteX27" fmla="*/ 98425 w 981075"/>
                  <a:gd name="connsiteY27" fmla="*/ 1681162 h 2840037"/>
                  <a:gd name="connsiteX28" fmla="*/ 193675 w 981075"/>
                  <a:gd name="connsiteY28" fmla="*/ 1624012 h 2840037"/>
                  <a:gd name="connsiteX29" fmla="*/ 269875 w 981075"/>
                  <a:gd name="connsiteY29" fmla="*/ 1366837 h 2840037"/>
                  <a:gd name="connsiteX30" fmla="*/ 374650 w 981075"/>
                  <a:gd name="connsiteY30" fmla="*/ 795337 h 2840037"/>
                  <a:gd name="connsiteX31" fmla="*/ 403225 w 981075"/>
                  <a:gd name="connsiteY31" fmla="*/ 509587 h 2840037"/>
                  <a:gd name="connsiteX32" fmla="*/ 231775 w 981075"/>
                  <a:gd name="connsiteY32" fmla="*/ 395287 h 2840037"/>
                  <a:gd name="connsiteX33" fmla="*/ 422275 w 981075"/>
                  <a:gd name="connsiteY33" fmla="*/ 433387 h 2840037"/>
                  <a:gd name="connsiteX34" fmla="*/ 450850 w 981075"/>
                  <a:gd name="connsiteY34" fmla="*/ 395287 h 2840037"/>
                  <a:gd name="connsiteX35" fmla="*/ 479425 w 981075"/>
                  <a:gd name="connsiteY35" fmla="*/ 4762 h 2840037"/>
                  <a:gd name="connsiteX0" fmla="*/ 479425 w 981075"/>
                  <a:gd name="connsiteY0" fmla="*/ 4762 h 2840037"/>
                  <a:gd name="connsiteX1" fmla="*/ 498475 w 981075"/>
                  <a:gd name="connsiteY1" fmla="*/ 366712 h 2840037"/>
                  <a:gd name="connsiteX2" fmla="*/ 584200 w 981075"/>
                  <a:gd name="connsiteY2" fmla="*/ 395287 h 2840037"/>
                  <a:gd name="connsiteX3" fmla="*/ 660400 w 981075"/>
                  <a:gd name="connsiteY3" fmla="*/ 347662 h 2840037"/>
                  <a:gd name="connsiteX4" fmla="*/ 650875 w 981075"/>
                  <a:gd name="connsiteY4" fmla="*/ 757237 h 2840037"/>
                  <a:gd name="connsiteX5" fmla="*/ 698500 w 981075"/>
                  <a:gd name="connsiteY5" fmla="*/ 1404937 h 2840037"/>
                  <a:gd name="connsiteX6" fmla="*/ 841375 w 981075"/>
                  <a:gd name="connsiteY6" fmla="*/ 1747837 h 2840037"/>
                  <a:gd name="connsiteX7" fmla="*/ 917575 w 981075"/>
                  <a:gd name="connsiteY7" fmla="*/ 2205037 h 2840037"/>
                  <a:gd name="connsiteX8" fmla="*/ 936625 w 981075"/>
                  <a:gd name="connsiteY8" fmla="*/ 2414587 h 2840037"/>
                  <a:gd name="connsiteX9" fmla="*/ 965200 w 981075"/>
                  <a:gd name="connsiteY9" fmla="*/ 2500312 h 2840037"/>
                  <a:gd name="connsiteX10" fmla="*/ 841375 w 981075"/>
                  <a:gd name="connsiteY10" fmla="*/ 2576512 h 2840037"/>
                  <a:gd name="connsiteX11" fmla="*/ 803275 w 981075"/>
                  <a:gd name="connsiteY11" fmla="*/ 2509837 h 2840037"/>
                  <a:gd name="connsiteX12" fmla="*/ 688975 w 981075"/>
                  <a:gd name="connsiteY12" fmla="*/ 1824037 h 2840037"/>
                  <a:gd name="connsiteX13" fmla="*/ 574675 w 981075"/>
                  <a:gd name="connsiteY13" fmla="*/ 795337 h 2840037"/>
                  <a:gd name="connsiteX14" fmla="*/ 515144 w 981075"/>
                  <a:gd name="connsiteY14" fmla="*/ 561974 h 2840037"/>
                  <a:gd name="connsiteX15" fmla="*/ 450850 w 981075"/>
                  <a:gd name="connsiteY15" fmla="*/ 995362 h 2840037"/>
                  <a:gd name="connsiteX16" fmla="*/ 384175 w 981075"/>
                  <a:gd name="connsiteY16" fmla="*/ 1433512 h 2840037"/>
                  <a:gd name="connsiteX17" fmla="*/ 412750 w 981075"/>
                  <a:gd name="connsiteY17" fmla="*/ 1871662 h 2840037"/>
                  <a:gd name="connsiteX18" fmla="*/ 450850 w 981075"/>
                  <a:gd name="connsiteY18" fmla="*/ 2424112 h 2840037"/>
                  <a:gd name="connsiteX19" fmla="*/ 412750 w 981075"/>
                  <a:gd name="connsiteY19" fmla="*/ 2700337 h 2840037"/>
                  <a:gd name="connsiteX20" fmla="*/ 403225 w 981075"/>
                  <a:gd name="connsiteY20" fmla="*/ 2767012 h 2840037"/>
                  <a:gd name="connsiteX21" fmla="*/ 165100 w 981075"/>
                  <a:gd name="connsiteY21" fmla="*/ 2833687 h 2840037"/>
                  <a:gd name="connsiteX22" fmla="*/ 79375 w 981075"/>
                  <a:gd name="connsiteY22" fmla="*/ 2805112 h 2840037"/>
                  <a:gd name="connsiteX23" fmla="*/ 22225 w 981075"/>
                  <a:gd name="connsiteY23" fmla="*/ 2757487 h 2840037"/>
                  <a:gd name="connsiteX24" fmla="*/ 22225 w 981075"/>
                  <a:gd name="connsiteY24" fmla="*/ 2338387 h 2840037"/>
                  <a:gd name="connsiteX25" fmla="*/ 12700 w 981075"/>
                  <a:gd name="connsiteY25" fmla="*/ 1776412 h 2840037"/>
                  <a:gd name="connsiteX26" fmla="*/ 98425 w 981075"/>
                  <a:gd name="connsiteY26" fmla="*/ 1681162 h 2840037"/>
                  <a:gd name="connsiteX27" fmla="*/ 193675 w 981075"/>
                  <a:gd name="connsiteY27" fmla="*/ 1624012 h 2840037"/>
                  <a:gd name="connsiteX28" fmla="*/ 269875 w 981075"/>
                  <a:gd name="connsiteY28" fmla="*/ 1366837 h 2840037"/>
                  <a:gd name="connsiteX29" fmla="*/ 374650 w 981075"/>
                  <a:gd name="connsiteY29" fmla="*/ 795337 h 2840037"/>
                  <a:gd name="connsiteX30" fmla="*/ 403225 w 981075"/>
                  <a:gd name="connsiteY30" fmla="*/ 509587 h 2840037"/>
                  <a:gd name="connsiteX31" fmla="*/ 231775 w 981075"/>
                  <a:gd name="connsiteY31" fmla="*/ 395287 h 2840037"/>
                  <a:gd name="connsiteX32" fmla="*/ 422275 w 981075"/>
                  <a:gd name="connsiteY32" fmla="*/ 433387 h 2840037"/>
                  <a:gd name="connsiteX33" fmla="*/ 450850 w 981075"/>
                  <a:gd name="connsiteY33" fmla="*/ 395287 h 2840037"/>
                  <a:gd name="connsiteX34" fmla="*/ 479425 w 981075"/>
                  <a:gd name="connsiteY34" fmla="*/ 4762 h 2840037"/>
                  <a:gd name="connsiteX0" fmla="*/ 479425 w 981075"/>
                  <a:gd name="connsiteY0" fmla="*/ 4762 h 2840037"/>
                  <a:gd name="connsiteX1" fmla="*/ 498475 w 981075"/>
                  <a:gd name="connsiteY1" fmla="*/ 366712 h 2840037"/>
                  <a:gd name="connsiteX2" fmla="*/ 584200 w 981075"/>
                  <a:gd name="connsiteY2" fmla="*/ 395287 h 2840037"/>
                  <a:gd name="connsiteX3" fmla="*/ 660400 w 981075"/>
                  <a:gd name="connsiteY3" fmla="*/ 347662 h 2840037"/>
                  <a:gd name="connsiteX4" fmla="*/ 650875 w 981075"/>
                  <a:gd name="connsiteY4" fmla="*/ 757237 h 2840037"/>
                  <a:gd name="connsiteX5" fmla="*/ 698500 w 981075"/>
                  <a:gd name="connsiteY5" fmla="*/ 1404937 h 2840037"/>
                  <a:gd name="connsiteX6" fmla="*/ 841375 w 981075"/>
                  <a:gd name="connsiteY6" fmla="*/ 1747837 h 2840037"/>
                  <a:gd name="connsiteX7" fmla="*/ 917575 w 981075"/>
                  <a:gd name="connsiteY7" fmla="*/ 2205037 h 2840037"/>
                  <a:gd name="connsiteX8" fmla="*/ 936625 w 981075"/>
                  <a:gd name="connsiteY8" fmla="*/ 2414587 h 2840037"/>
                  <a:gd name="connsiteX9" fmla="*/ 965200 w 981075"/>
                  <a:gd name="connsiteY9" fmla="*/ 2500312 h 2840037"/>
                  <a:gd name="connsiteX10" fmla="*/ 841375 w 981075"/>
                  <a:gd name="connsiteY10" fmla="*/ 2576512 h 2840037"/>
                  <a:gd name="connsiteX11" fmla="*/ 803275 w 981075"/>
                  <a:gd name="connsiteY11" fmla="*/ 2509837 h 2840037"/>
                  <a:gd name="connsiteX12" fmla="*/ 688975 w 981075"/>
                  <a:gd name="connsiteY12" fmla="*/ 1824037 h 2840037"/>
                  <a:gd name="connsiteX13" fmla="*/ 574675 w 981075"/>
                  <a:gd name="connsiteY13" fmla="*/ 795337 h 2840037"/>
                  <a:gd name="connsiteX14" fmla="*/ 515144 w 981075"/>
                  <a:gd name="connsiteY14" fmla="*/ 561974 h 2840037"/>
                  <a:gd name="connsiteX15" fmla="*/ 450850 w 981075"/>
                  <a:gd name="connsiteY15" fmla="*/ 995362 h 2840037"/>
                  <a:gd name="connsiteX16" fmla="*/ 384175 w 981075"/>
                  <a:gd name="connsiteY16" fmla="*/ 1433512 h 2840037"/>
                  <a:gd name="connsiteX17" fmla="*/ 412750 w 981075"/>
                  <a:gd name="connsiteY17" fmla="*/ 1871662 h 2840037"/>
                  <a:gd name="connsiteX18" fmla="*/ 450850 w 981075"/>
                  <a:gd name="connsiteY18" fmla="*/ 2424112 h 2840037"/>
                  <a:gd name="connsiteX19" fmla="*/ 412750 w 981075"/>
                  <a:gd name="connsiteY19" fmla="*/ 2700337 h 2840037"/>
                  <a:gd name="connsiteX20" fmla="*/ 403225 w 981075"/>
                  <a:gd name="connsiteY20" fmla="*/ 2767012 h 2840037"/>
                  <a:gd name="connsiteX21" fmla="*/ 165100 w 981075"/>
                  <a:gd name="connsiteY21" fmla="*/ 2833687 h 2840037"/>
                  <a:gd name="connsiteX22" fmla="*/ 79375 w 981075"/>
                  <a:gd name="connsiteY22" fmla="*/ 2805112 h 2840037"/>
                  <a:gd name="connsiteX23" fmla="*/ 22225 w 981075"/>
                  <a:gd name="connsiteY23" fmla="*/ 2757487 h 2840037"/>
                  <a:gd name="connsiteX24" fmla="*/ 22225 w 981075"/>
                  <a:gd name="connsiteY24" fmla="*/ 2338387 h 2840037"/>
                  <a:gd name="connsiteX25" fmla="*/ 12700 w 981075"/>
                  <a:gd name="connsiteY25" fmla="*/ 1776412 h 2840037"/>
                  <a:gd name="connsiteX26" fmla="*/ 98425 w 981075"/>
                  <a:gd name="connsiteY26" fmla="*/ 1681162 h 2840037"/>
                  <a:gd name="connsiteX27" fmla="*/ 193675 w 981075"/>
                  <a:gd name="connsiteY27" fmla="*/ 1624012 h 2840037"/>
                  <a:gd name="connsiteX28" fmla="*/ 269875 w 981075"/>
                  <a:gd name="connsiteY28" fmla="*/ 1366837 h 2840037"/>
                  <a:gd name="connsiteX29" fmla="*/ 374650 w 981075"/>
                  <a:gd name="connsiteY29" fmla="*/ 795337 h 2840037"/>
                  <a:gd name="connsiteX30" fmla="*/ 403225 w 981075"/>
                  <a:gd name="connsiteY30" fmla="*/ 509587 h 2840037"/>
                  <a:gd name="connsiteX31" fmla="*/ 231775 w 981075"/>
                  <a:gd name="connsiteY31" fmla="*/ 395287 h 2840037"/>
                  <a:gd name="connsiteX32" fmla="*/ 422275 w 981075"/>
                  <a:gd name="connsiteY32" fmla="*/ 433387 h 2840037"/>
                  <a:gd name="connsiteX33" fmla="*/ 450850 w 981075"/>
                  <a:gd name="connsiteY33" fmla="*/ 395287 h 2840037"/>
                  <a:gd name="connsiteX34" fmla="*/ 479425 w 981075"/>
                  <a:gd name="connsiteY34" fmla="*/ 4762 h 2840037"/>
                  <a:gd name="connsiteX0" fmla="*/ 479425 w 981075"/>
                  <a:gd name="connsiteY0" fmla="*/ 4762 h 2840037"/>
                  <a:gd name="connsiteX1" fmla="*/ 498475 w 981075"/>
                  <a:gd name="connsiteY1" fmla="*/ 366712 h 2840037"/>
                  <a:gd name="connsiteX2" fmla="*/ 584200 w 981075"/>
                  <a:gd name="connsiteY2" fmla="*/ 395287 h 2840037"/>
                  <a:gd name="connsiteX3" fmla="*/ 660400 w 981075"/>
                  <a:gd name="connsiteY3" fmla="*/ 347662 h 2840037"/>
                  <a:gd name="connsiteX4" fmla="*/ 650875 w 981075"/>
                  <a:gd name="connsiteY4" fmla="*/ 757237 h 2840037"/>
                  <a:gd name="connsiteX5" fmla="*/ 698500 w 981075"/>
                  <a:gd name="connsiteY5" fmla="*/ 1404937 h 2840037"/>
                  <a:gd name="connsiteX6" fmla="*/ 841375 w 981075"/>
                  <a:gd name="connsiteY6" fmla="*/ 1747837 h 2840037"/>
                  <a:gd name="connsiteX7" fmla="*/ 917575 w 981075"/>
                  <a:gd name="connsiteY7" fmla="*/ 2205037 h 2840037"/>
                  <a:gd name="connsiteX8" fmla="*/ 936625 w 981075"/>
                  <a:gd name="connsiteY8" fmla="*/ 2414587 h 2840037"/>
                  <a:gd name="connsiteX9" fmla="*/ 965200 w 981075"/>
                  <a:gd name="connsiteY9" fmla="*/ 2500312 h 2840037"/>
                  <a:gd name="connsiteX10" fmla="*/ 841375 w 981075"/>
                  <a:gd name="connsiteY10" fmla="*/ 2576512 h 2840037"/>
                  <a:gd name="connsiteX11" fmla="*/ 803275 w 981075"/>
                  <a:gd name="connsiteY11" fmla="*/ 2509837 h 2840037"/>
                  <a:gd name="connsiteX12" fmla="*/ 688975 w 981075"/>
                  <a:gd name="connsiteY12" fmla="*/ 1824037 h 2840037"/>
                  <a:gd name="connsiteX13" fmla="*/ 574675 w 981075"/>
                  <a:gd name="connsiteY13" fmla="*/ 795337 h 2840037"/>
                  <a:gd name="connsiteX14" fmla="*/ 515144 w 981075"/>
                  <a:gd name="connsiteY14" fmla="*/ 561974 h 2840037"/>
                  <a:gd name="connsiteX15" fmla="*/ 450850 w 981075"/>
                  <a:gd name="connsiteY15" fmla="*/ 995362 h 2840037"/>
                  <a:gd name="connsiteX16" fmla="*/ 384175 w 981075"/>
                  <a:gd name="connsiteY16" fmla="*/ 1433512 h 2840037"/>
                  <a:gd name="connsiteX17" fmla="*/ 412750 w 981075"/>
                  <a:gd name="connsiteY17" fmla="*/ 1871662 h 2840037"/>
                  <a:gd name="connsiteX18" fmla="*/ 450850 w 981075"/>
                  <a:gd name="connsiteY18" fmla="*/ 2424112 h 2840037"/>
                  <a:gd name="connsiteX19" fmla="*/ 412750 w 981075"/>
                  <a:gd name="connsiteY19" fmla="*/ 2700337 h 2840037"/>
                  <a:gd name="connsiteX20" fmla="*/ 403225 w 981075"/>
                  <a:gd name="connsiteY20" fmla="*/ 2767012 h 2840037"/>
                  <a:gd name="connsiteX21" fmla="*/ 165100 w 981075"/>
                  <a:gd name="connsiteY21" fmla="*/ 2833687 h 2840037"/>
                  <a:gd name="connsiteX22" fmla="*/ 79375 w 981075"/>
                  <a:gd name="connsiteY22" fmla="*/ 2805112 h 2840037"/>
                  <a:gd name="connsiteX23" fmla="*/ 22225 w 981075"/>
                  <a:gd name="connsiteY23" fmla="*/ 2757487 h 2840037"/>
                  <a:gd name="connsiteX24" fmla="*/ 22225 w 981075"/>
                  <a:gd name="connsiteY24" fmla="*/ 2338387 h 2840037"/>
                  <a:gd name="connsiteX25" fmla="*/ 12700 w 981075"/>
                  <a:gd name="connsiteY25" fmla="*/ 1776412 h 2840037"/>
                  <a:gd name="connsiteX26" fmla="*/ 98425 w 981075"/>
                  <a:gd name="connsiteY26" fmla="*/ 1681162 h 2840037"/>
                  <a:gd name="connsiteX27" fmla="*/ 193675 w 981075"/>
                  <a:gd name="connsiteY27" fmla="*/ 1624012 h 2840037"/>
                  <a:gd name="connsiteX28" fmla="*/ 269875 w 981075"/>
                  <a:gd name="connsiteY28" fmla="*/ 1366837 h 2840037"/>
                  <a:gd name="connsiteX29" fmla="*/ 374650 w 981075"/>
                  <a:gd name="connsiteY29" fmla="*/ 795337 h 2840037"/>
                  <a:gd name="connsiteX30" fmla="*/ 403225 w 981075"/>
                  <a:gd name="connsiteY30" fmla="*/ 509587 h 2840037"/>
                  <a:gd name="connsiteX31" fmla="*/ 231775 w 981075"/>
                  <a:gd name="connsiteY31" fmla="*/ 395287 h 2840037"/>
                  <a:gd name="connsiteX32" fmla="*/ 422275 w 981075"/>
                  <a:gd name="connsiteY32" fmla="*/ 433387 h 2840037"/>
                  <a:gd name="connsiteX33" fmla="*/ 450850 w 981075"/>
                  <a:gd name="connsiteY33" fmla="*/ 395287 h 2840037"/>
                  <a:gd name="connsiteX34" fmla="*/ 479425 w 981075"/>
                  <a:gd name="connsiteY34" fmla="*/ 4762 h 2840037"/>
                  <a:gd name="connsiteX0" fmla="*/ 479425 w 981075"/>
                  <a:gd name="connsiteY0" fmla="*/ 4762 h 2840037"/>
                  <a:gd name="connsiteX1" fmla="*/ 498475 w 981075"/>
                  <a:gd name="connsiteY1" fmla="*/ 366712 h 2840037"/>
                  <a:gd name="connsiteX2" fmla="*/ 584200 w 981075"/>
                  <a:gd name="connsiteY2" fmla="*/ 395287 h 2840037"/>
                  <a:gd name="connsiteX3" fmla="*/ 660400 w 981075"/>
                  <a:gd name="connsiteY3" fmla="*/ 347662 h 2840037"/>
                  <a:gd name="connsiteX4" fmla="*/ 650875 w 981075"/>
                  <a:gd name="connsiteY4" fmla="*/ 757237 h 2840037"/>
                  <a:gd name="connsiteX5" fmla="*/ 698500 w 981075"/>
                  <a:gd name="connsiteY5" fmla="*/ 1404937 h 2840037"/>
                  <a:gd name="connsiteX6" fmla="*/ 841375 w 981075"/>
                  <a:gd name="connsiteY6" fmla="*/ 1747837 h 2840037"/>
                  <a:gd name="connsiteX7" fmla="*/ 917575 w 981075"/>
                  <a:gd name="connsiteY7" fmla="*/ 2205037 h 2840037"/>
                  <a:gd name="connsiteX8" fmla="*/ 936625 w 981075"/>
                  <a:gd name="connsiteY8" fmla="*/ 2414587 h 2840037"/>
                  <a:gd name="connsiteX9" fmla="*/ 965200 w 981075"/>
                  <a:gd name="connsiteY9" fmla="*/ 2500312 h 2840037"/>
                  <a:gd name="connsiteX10" fmla="*/ 841375 w 981075"/>
                  <a:gd name="connsiteY10" fmla="*/ 2576512 h 2840037"/>
                  <a:gd name="connsiteX11" fmla="*/ 803275 w 981075"/>
                  <a:gd name="connsiteY11" fmla="*/ 2509837 h 2840037"/>
                  <a:gd name="connsiteX12" fmla="*/ 688975 w 981075"/>
                  <a:gd name="connsiteY12" fmla="*/ 1824037 h 2840037"/>
                  <a:gd name="connsiteX13" fmla="*/ 574675 w 981075"/>
                  <a:gd name="connsiteY13" fmla="*/ 795337 h 2840037"/>
                  <a:gd name="connsiteX14" fmla="*/ 515144 w 981075"/>
                  <a:gd name="connsiteY14" fmla="*/ 561974 h 2840037"/>
                  <a:gd name="connsiteX15" fmla="*/ 450850 w 981075"/>
                  <a:gd name="connsiteY15" fmla="*/ 995362 h 2840037"/>
                  <a:gd name="connsiteX16" fmla="*/ 384175 w 981075"/>
                  <a:gd name="connsiteY16" fmla="*/ 1433512 h 2840037"/>
                  <a:gd name="connsiteX17" fmla="*/ 412750 w 981075"/>
                  <a:gd name="connsiteY17" fmla="*/ 1871662 h 2840037"/>
                  <a:gd name="connsiteX18" fmla="*/ 450850 w 981075"/>
                  <a:gd name="connsiteY18" fmla="*/ 2424112 h 2840037"/>
                  <a:gd name="connsiteX19" fmla="*/ 412750 w 981075"/>
                  <a:gd name="connsiteY19" fmla="*/ 2700337 h 2840037"/>
                  <a:gd name="connsiteX20" fmla="*/ 403225 w 981075"/>
                  <a:gd name="connsiteY20" fmla="*/ 2767012 h 2840037"/>
                  <a:gd name="connsiteX21" fmla="*/ 165100 w 981075"/>
                  <a:gd name="connsiteY21" fmla="*/ 2833687 h 2840037"/>
                  <a:gd name="connsiteX22" fmla="*/ 79375 w 981075"/>
                  <a:gd name="connsiteY22" fmla="*/ 2805112 h 2840037"/>
                  <a:gd name="connsiteX23" fmla="*/ 22225 w 981075"/>
                  <a:gd name="connsiteY23" fmla="*/ 2757487 h 2840037"/>
                  <a:gd name="connsiteX24" fmla="*/ 22225 w 981075"/>
                  <a:gd name="connsiteY24" fmla="*/ 2338387 h 2840037"/>
                  <a:gd name="connsiteX25" fmla="*/ 12700 w 981075"/>
                  <a:gd name="connsiteY25" fmla="*/ 1776412 h 2840037"/>
                  <a:gd name="connsiteX26" fmla="*/ 98425 w 981075"/>
                  <a:gd name="connsiteY26" fmla="*/ 1681162 h 2840037"/>
                  <a:gd name="connsiteX27" fmla="*/ 193675 w 981075"/>
                  <a:gd name="connsiteY27" fmla="*/ 1624012 h 2840037"/>
                  <a:gd name="connsiteX28" fmla="*/ 269875 w 981075"/>
                  <a:gd name="connsiteY28" fmla="*/ 1366837 h 2840037"/>
                  <a:gd name="connsiteX29" fmla="*/ 374650 w 981075"/>
                  <a:gd name="connsiteY29" fmla="*/ 795337 h 2840037"/>
                  <a:gd name="connsiteX30" fmla="*/ 403225 w 981075"/>
                  <a:gd name="connsiteY30" fmla="*/ 509587 h 2840037"/>
                  <a:gd name="connsiteX31" fmla="*/ 231775 w 981075"/>
                  <a:gd name="connsiteY31" fmla="*/ 395287 h 2840037"/>
                  <a:gd name="connsiteX32" fmla="*/ 422275 w 981075"/>
                  <a:gd name="connsiteY32" fmla="*/ 433387 h 2840037"/>
                  <a:gd name="connsiteX33" fmla="*/ 450850 w 981075"/>
                  <a:gd name="connsiteY33" fmla="*/ 395287 h 2840037"/>
                  <a:gd name="connsiteX34" fmla="*/ 479425 w 981075"/>
                  <a:gd name="connsiteY34" fmla="*/ 4762 h 2840037"/>
                  <a:gd name="connsiteX0" fmla="*/ 479425 w 981075"/>
                  <a:gd name="connsiteY0" fmla="*/ 4762 h 2840037"/>
                  <a:gd name="connsiteX1" fmla="*/ 498475 w 981075"/>
                  <a:gd name="connsiteY1" fmla="*/ 366712 h 2840037"/>
                  <a:gd name="connsiteX2" fmla="*/ 584200 w 981075"/>
                  <a:gd name="connsiteY2" fmla="*/ 395287 h 2840037"/>
                  <a:gd name="connsiteX3" fmla="*/ 660400 w 981075"/>
                  <a:gd name="connsiteY3" fmla="*/ 347662 h 2840037"/>
                  <a:gd name="connsiteX4" fmla="*/ 650875 w 981075"/>
                  <a:gd name="connsiteY4" fmla="*/ 757237 h 2840037"/>
                  <a:gd name="connsiteX5" fmla="*/ 698500 w 981075"/>
                  <a:gd name="connsiteY5" fmla="*/ 1404937 h 2840037"/>
                  <a:gd name="connsiteX6" fmla="*/ 841375 w 981075"/>
                  <a:gd name="connsiteY6" fmla="*/ 1747837 h 2840037"/>
                  <a:gd name="connsiteX7" fmla="*/ 917575 w 981075"/>
                  <a:gd name="connsiteY7" fmla="*/ 2205037 h 2840037"/>
                  <a:gd name="connsiteX8" fmla="*/ 936625 w 981075"/>
                  <a:gd name="connsiteY8" fmla="*/ 2414587 h 2840037"/>
                  <a:gd name="connsiteX9" fmla="*/ 965200 w 981075"/>
                  <a:gd name="connsiteY9" fmla="*/ 2500312 h 2840037"/>
                  <a:gd name="connsiteX10" fmla="*/ 841375 w 981075"/>
                  <a:gd name="connsiteY10" fmla="*/ 2576512 h 2840037"/>
                  <a:gd name="connsiteX11" fmla="*/ 803275 w 981075"/>
                  <a:gd name="connsiteY11" fmla="*/ 2509837 h 2840037"/>
                  <a:gd name="connsiteX12" fmla="*/ 688975 w 981075"/>
                  <a:gd name="connsiteY12" fmla="*/ 1824037 h 2840037"/>
                  <a:gd name="connsiteX13" fmla="*/ 574675 w 981075"/>
                  <a:gd name="connsiteY13" fmla="*/ 795337 h 2840037"/>
                  <a:gd name="connsiteX14" fmla="*/ 515144 w 981075"/>
                  <a:gd name="connsiteY14" fmla="*/ 561974 h 2840037"/>
                  <a:gd name="connsiteX15" fmla="*/ 460375 w 981075"/>
                  <a:gd name="connsiteY15" fmla="*/ 995362 h 2840037"/>
                  <a:gd name="connsiteX16" fmla="*/ 384175 w 981075"/>
                  <a:gd name="connsiteY16" fmla="*/ 1433512 h 2840037"/>
                  <a:gd name="connsiteX17" fmla="*/ 412750 w 981075"/>
                  <a:gd name="connsiteY17" fmla="*/ 1871662 h 2840037"/>
                  <a:gd name="connsiteX18" fmla="*/ 450850 w 981075"/>
                  <a:gd name="connsiteY18" fmla="*/ 2424112 h 2840037"/>
                  <a:gd name="connsiteX19" fmla="*/ 412750 w 981075"/>
                  <a:gd name="connsiteY19" fmla="*/ 2700337 h 2840037"/>
                  <a:gd name="connsiteX20" fmla="*/ 403225 w 981075"/>
                  <a:gd name="connsiteY20" fmla="*/ 2767012 h 2840037"/>
                  <a:gd name="connsiteX21" fmla="*/ 165100 w 981075"/>
                  <a:gd name="connsiteY21" fmla="*/ 2833687 h 2840037"/>
                  <a:gd name="connsiteX22" fmla="*/ 79375 w 981075"/>
                  <a:gd name="connsiteY22" fmla="*/ 2805112 h 2840037"/>
                  <a:gd name="connsiteX23" fmla="*/ 22225 w 981075"/>
                  <a:gd name="connsiteY23" fmla="*/ 2757487 h 2840037"/>
                  <a:gd name="connsiteX24" fmla="*/ 22225 w 981075"/>
                  <a:gd name="connsiteY24" fmla="*/ 2338387 h 2840037"/>
                  <a:gd name="connsiteX25" fmla="*/ 12700 w 981075"/>
                  <a:gd name="connsiteY25" fmla="*/ 1776412 h 2840037"/>
                  <a:gd name="connsiteX26" fmla="*/ 98425 w 981075"/>
                  <a:gd name="connsiteY26" fmla="*/ 1681162 h 2840037"/>
                  <a:gd name="connsiteX27" fmla="*/ 193675 w 981075"/>
                  <a:gd name="connsiteY27" fmla="*/ 1624012 h 2840037"/>
                  <a:gd name="connsiteX28" fmla="*/ 269875 w 981075"/>
                  <a:gd name="connsiteY28" fmla="*/ 1366837 h 2840037"/>
                  <a:gd name="connsiteX29" fmla="*/ 374650 w 981075"/>
                  <a:gd name="connsiteY29" fmla="*/ 795337 h 2840037"/>
                  <a:gd name="connsiteX30" fmla="*/ 403225 w 981075"/>
                  <a:gd name="connsiteY30" fmla="*/ 509587 h 2840037"/>
                  <a:gd name="connsiteX31" fmla="*/ 231775 w 981075"/>
                  <a:gd name="connsiteY31" fmla="*/ 395287 h 2840037"/>
                  <a:gd name="connsiteX32" fmla="*/ 422275 w 981075"/>
                  <a:gd name="connsiteY32" fmla="*/ 433387 h 2840037"/>
                  <a:gd name="connsiteX33" fmla="*/ 450850 w 981075"/>
                  <a:gd name="connsiteY33" fmla="*/ 395287 h 2840037"/>
                  <a:gd name="connsiteX34" fmla="*/ 479425 w 981075"/>
                  <a:gd name="connsiteY34" fmla="*/ 4762 h 2840037"/>
                  <a:gd name="connsiteX0" fmla="*/ 479425 w 981075"/>
                  <a:gd name="connsiteY0" fmla="*/ 4762 h 2840037"/>
                  <a:gd name="connsiteX1" fmla="*/ 498475 w 981075"/>
                  <a:gd name="connsiteY1" fmla="*/ 366712 h 2840037"/>
                  <a:gd name="connsiteX2" fmla="*/ 584200 w 981075"/>
                  <a:gd name="connsiteY2" fmla="*/ 395287 h 2840037"/>
                  <a:gd name="connsiteX3" fmla="*/ 660400 w 981075"/>
                  <a:gd name="connsiteY3" fmla="*/ 347662 h 2840037"/>
                  <a:gd name="connsiteX4" fmla="*/ 650875 w 981075"/>
                  <a:gd name="connsiteY4" fmla="*/ 757237 h 2840037"/>
                  <a:gd name="connsiteX5" fmla="*/ 698500 w 981075"/>
                  <a:gd name="connsiteY5" fmla="*/ 1404937 h 2840037"/>
                  <a:gd name="connsiteX6" fmla="*/ 841375 w 981075"/>
                  <a:gd name="connsiteY6" fmla="*/ 1747837 h 2840037"/>
                  <a:gd name="connsiteX7" fmla="*/ 917575 w 981075"/>
                  <a:gd name="connsiteY7" fmla="*/ 2205037 h 2840037"/>
                  <a:gd name="connsiteX8" fmla="*/ 936625 w 981075"/>
                  <a:gd name="connsiteY8" fmla="*/ 2414587 h 2840037"/>
                  <a:gd name="connsiteX9" fmla="*/ 965200 w 981075"/>
                  <a:gd name="connsiteY9" fmla="*/ 2500312 h 2840037"/>
                  <a:gd name="connsiteX10" fmla="*/ 841375 w 981075"/>
                  <a:gd name="connsiteY10" fmla="*/ 2576512 h 2840037"/>
                  <a:gd name="connsiteX11" fmla="*/ 803275 w 981075"/>
                  <a:gd name="connsiteY11" fmla="*/ 2509837 h 2840037"/>
                  <a:gd name="connsiteX12" fmla="*/ 688975 w 981075"/>
                  <a:gd name="connsiteY12" fmla="*/ 1824037 h 2840037"/>
                  <a:gd name="connsiteX13" fmla="*/ 574675 w 981075"/>
                  <a:gd name="connsiteY13" fmla="*/ 795337 h 2840037"/>
                  <a:gd name="connsiteX14" fmla="*/ 515144 w 981075"/>
                  <a:gd name="connsiteY14" fmla="*/ 561974 h 2840037"/>
                  <a:gd name="connsiteX15" fmla="*/ 460375 w 981075"/>
                  <a:gd name="connsiteY15" fmla="*/ 995362 h 2840037"/>
                  <a:gd name="connsiteX16" fmla="*/ 415131 w 981075"/>
                  <a:gd name="connsiteY16" fmla="*/ 1433512 h 2840037"/>
                  <a:gd name="connsiteX17" fmla="*/ 412750 w 981075"/>
                  <a:gd name="connsiteY17" fmla="*/ 1871662 h 2840037"/>
                  <a:gd name="connsiteX18" fmla="*/ 450850 w 981075"/>
                  <a:gd name="connsiteY18" fmla="*/ 2424112 h 2840037"/>
                  <a:gd name="connsiteX19" fmla="*/ 412750 w 981075"/>
                  <a:gd name="connsiteY19" fmla="*/ 2700337 h 2840037"/>
                  <a:gd name="connsiteX20" fmla="*/ 403225 w 981075"/>
                  <a:gd name="connsiteY20" fmla="*/ 2767012 h 2840037"/>
                  <a:gd name="connsiteX21" fmla="*/ 165100 w 981075"/>
                  <a:gd name="connsiteY21" fmla="*/ 2833687 h 2840037"/>
                  <a:gd name="connsiteX22" fmla="*/ 79375 w 981075"/>
                  <a:gd name="connsiteY22" fmla="*/ 2805112 h 2840037"/>
                  <a:gd name="connsiteX23" fmla="*/ 22225 w 981075"/>
                  <a:gd name="connsiteY23" fmla="*/ 2757487 h 2840037"/>
                  <a:gd name="connsiteX24" fmla="*/ 22225 w 981075"/>
                  <a:gd name="connsiteY24" fmla="*/ 2338387 h 2840037"/>
                  <a:gd name="connsiteX25" fmla="*/ 12700 w 981075"/>
                  <a:gd name="connsiteY25" fmla="*/ 1776412 h 2840037"/>
                  <a:gd name="connsiteX26" fmla="*/ 98425 w 981075"/>
                  <a:gd name="connsiteY26" fmla="*/ 1681162 h 2840037"/>
                  <a:gd name="connsiteX27" fmla="*/ 193675 w 981075"/>
                  <a:gd name="connsiteY27" fmla="*/ 1624012 h 2840037"/>
                  <a:gd name="connsiteX28" fmla="*/ 269875 w 981075"/>
                  <a:gd name="connsiteY28" fmla="*/ 1366837 h 2840037"/>
                  <a:gd name="connsiteX29" fmla="*/ 374650 w 981075"/>
                  <a:gd name="connsiteY29" fmla="*/ 795337 h 2840037"/>
                  <a:gd name="connsiteX30" fmla="*/ 403225 w 981075"/>
                  <a:gd name="connsiteY30" fmla="*/ 509587 h 2840037"/>
                  <a:gd name="connsiteX31" fmla="*/ 231775 w 981075"/>
                  <a:gd name="connsiteY31" fmla="*/ 395287 h 2840037"/>
                  <a:gd name="connsiteX32" fmla="*/ 422275 w 981075"/>
                  <a:gd name="connsiteY32" fmla="*/ 433387 h 2840037"/>
                  <a:gd name="connsiteX33" fmla="*/ 450850 w 981075"/>
                  <a:gd name="connsiteY33" fmla="*/ 395287 h 2840037"/>
                  <a:gd name="connsiteX34" fmla="*/ 479425 w 981075"/>
                  <a:gd name="connsiteY34" fmla="*/ 4762 h 2840037"/>
                  <a:gd name="connsiteX0" fmla="*/ 479425 w 981075"/>
                  <a:gd name="connsiteY0" fmla="*/ 4762 h 2840037"/>
                  <a:gd name="connsiteX1" fmla="*/ 498475 w 981075"/>
                  <a:gd name="connsiteY1" fmla="*/ 366712 h 2840037"/>
                  <a:gd name="connsiteX2" fmla="*/ 584200 w 981075"/>
                  <a:gd name="connsiteY2" fmla="*/ 395287 h 2840037"/>
                  <a:gd name="connsiteX3" fmla="*/ 660400 w 981075"/>
                  <a:gd name="connsiteY3" fmla="*/ 347662 h 2840037"/>
                  <a:gd name="connsiteX4" fmla="*/ 650875 w 981075"/>
                  <a:gd name="connsiteY4" fmla="*/ 757237 h 2840037"/>
                  <a:gd name="connsiteX5" fmla="*/ 698500 w 981075"/>
                  <a:gd name="connsiteY5" fmla="*/ 1404937 h 2840037"/>
                  <a:gd name="connsiteX6" fmla="*/ 841375 w 981075"/>
                  <a:gd name="connsiteY6" fmla="*/ 1747837 h 2840037"/>
                  <a:gd name="connsiteX7" fmla="*/ 917575 w 981075"/>
                  <a:gd name="connsiteY7" fmla="*/ 2205037 h 2840037"/>
                  <a:gd name="connsiteX8" fmla="*/ 936625 w 981075"/>
                  <a:gd name="connsiteY8" fmla="*/ 2414587 h 2840037"/>
                  <a:gd name="connsiteX9" fmla="*/ 965200 w 981075"/>
                  <a:gd name="connsiteY9" fmla="*/ 2500312 h 2840037"/>
                  <a:gd name="connsiteX10" fmla="*/ 841375 w 981075"/>
                  <a:gd name="connsiteY10" fmla="*/ 2576512 h 2840037"/>
                  <a:gd name="connsiteX11" fmla="*/ 803275 w 981075"/>
                  <a:gd name="connsiteY11" fmla="*/ 2509837 h 2840037"/>
                  <a:gd name="connsiteX12" fmla="*/ 688975 w 981075"/>
                  <a:gd name="connsiteY12" fmla="*/ 1824037 h 2840037"/>
                  <a:gd name="connsiteX13" fmla="*/ 574675 w 981075"/>
                  <a:gd name="connsiteY13" fmla="*/ 795337 h 2840037"/>
                  <a:gd name="connsiteX14" fmla="*/ 515144 w 981075"/>
                  <a:gd name="connsiteY14" fmla="*/ 561974 h 2840037"/>
                  <a:gd name="connsiteX15" fmla="*/ 460375 w 981075"/>
                  <a:gd name="connsiteY15" fmla="*/ 995362 h 2840037"/>
                  <a:gd name="connsiteX16" fmla="*/ 415131 w 981075"/>
                  <a:gd name="connsiteY16" fmla="*/ 1433512 h 2840037"/>
                  <a:gd name="connsiteX17" fmla="*/ 429419 w 981075"/>
                  <a:gd name="connsiteY17" fmla="*/ 1871662 h 2840037"/>
                  <a:gd name="connsiteX18" fmla="*/ 450850 w 981075"/>
                  <a:gd name="connsiteY18" fmla="*/ 2424112 h 2840037"/>
                  <a:gd name="connsiteX19" fmla="*/ 412750 w 981075"/>
                  <a:gd name="connsiteY19" fmla="*/ 2700337 h 2840037"/>
                  <a:gd name="connsiteX20" fmla="*/ 403225 w 981075"/>
                  <a:gd name="connsiteY20" fmla="*/ 2767012 h 2840037"/>
                  <a:gd name="connsiteX21" fmla="*/ 165100 w 981075"/>
                  <a:gd name="connsiteY21" fmla="*/ 2833687 h 2840037"/>
                  <a:gd name="connsiteX22" fmla="*/ 79375 w 981075"/>
                  <a:gd name="connsiteY22" fmla="*/ 2805112 h 2840037"/>
                  <a:gd name="connsiteX23" fmla="*/ 22225 w 981075"/>
                  <a:gd name="connsiteY23" fmla="*/ 2757487 h 2840037"/>
                  <a:gd name="connsiteX24" fmla="*/ 22225 w 981075"/>
                  <a:gd name="connsiteY24" fmla="*/ 2338387 h 2840037"/>
                  <a:gd name="connsiteX25" fmla="*/ 12700 w 981075"/>
                  <a:gd name="connsiteY25" fmla="*/ 1776412 h 2840037"/>
                  <a:gd name="connsiteX26" fmla="*/ 98425 w 981075"/>
                  <a:gd name="connsiteY26" fmla="*/ 1681162 h 2840037"/>
                  <a:gd name="connsiteX27" fmla="*/ 193675 w 981075"/>
                  <a:gd name="connsiteY27" fmla="*/ 1624012 h 2840037"/>
                  <a:gd name="connsiteX28" fmla="*/ 269875 w 981075"/>
                  <a:gd name="connsiteY28" fmla="*/ 1366837 h 2840037"/>
                  <a:gd name="connsiteX29" fmla="*/ 374650 w 981075"/>
                  <a:gd name="connsiteY29" fmla="*/ 795337 h 2840037"/>
                  <a:gd name="connsiteX30" fmla="*/ 403225 w 981075"/>
                  <a:gd name="connsiteY30" fmla="*/ 509587 h 2840037"/>
                  <a:gd name="connsiteX31" fmla="*/ 231775 w 981075"/>
                  <a:gd name="connsiteY31" fmla="*/ 395287 h 2840037"/>
                  <a:gd name="connsiteX32" fmla="*/ 422275 w 981075"/>
                  <a:gd name="connsiteY32" fmla="*/ 433387 h 2840037"/>
                  <a:gd name="connsiteX33" fmla="*/ 450850 w 981075"/>
                  <a:gd name="connsiteY33" fmla="*/ 395287 h 2840037"/>
                  <a:gd name="connsiteX34" fmla="*/ 479425 w 981075"/>
                  <a:gd name="connsiteY34" fmla="*/ 4762 h 2840037"/>
                  <a:gd name="connsiteX0" fmla="*/ 479425 w 981075"/>
                  <a:gd name="connsiteY0" fmla="*/ 4762 h 2840037"/>
                  <a:gd name="connsiteX1" fmla="*/ 498475 w 981075"/>
                  <a:gd name="connsiteY1" fmla="*/ 366712 h 2840037"/>
                  <a:gd name="connsiteX2" fmla="*/ 584200 w 981075"/>
                  <a:gd name="connsiteY2" fmla="*/ 395287 h 2840037"/>
                  <a:gd name="connsiteX3" fmla="*/ 660400 w 981075"/>
                  <a:gd name="connsiteY3" fmla="*/ 347662 h 2840037"/>
                  <a:gd name="connsiteX4" fmla="*/ 650875 w 981075"/>
                  <a:gd name="connsiteY4" fmla="*/ 757237 h 2840037"/>
                  <a:gd name="connsiteX5" fmla="*/ 698500 w 981075"/>
                  <a:gd name="connsiteY5" fmla="*/ 1404937 h 2840037"/>
                  <a:gd name="connsiteX6" fmla="*/ 841375 w 981075"/>
                  <a:gd name="connsiteY6" fmla="*/ 1747837 h 2840037"/>
                  <a:gd name="connsiteX7" fmla="*/ 917575 w 981075"/>
                  <a:gd name="connsiteY7" fmla="*/ 2205037 h 2840037"/>
                  <a:gd name="connsiteX8" fmla="*/ 936625 w 981075"/>
                  <a:gd name="connsiteY8" fmla="*/ 2414587 h 2840037"/>
                  <a:gd name="connsiteX9" fmla="*/ 965200 w 981075"/>
                  <a:gd name="connsiteY9" fmla="*/ 2500312 h 2840037"/>
                  <a:gd name="connsiteX10" fmla="*/ 841375 w 981075"/>
                  <a:gd name="connsiteY10" fmla="*/ 2576512 h 2840037"/>
                  <a:gd name="connsiteX11" fmla="*/ 803275 w 981075"/>
                  <a:gd name="connsiteY11" fmla="*/ 2509837 h 2840037"/>
                  <a:gd name="connsiteX12" fmla="*/ 688975 w 981075"/>
                  <a:gd name="connsiteY12" fmla="*/ 1824037 h 2840037"/>
                  <a:gd name="connsiteX13" fmla="*/ 574675 w 981075"/>
                  <a:gd name="connsiteY13" fmla="*/ 795337 h 2840037"/>
                  <a:gd name="connsiteX14" fmla="*/ 515144 w 981075"/>
                  <a:gd name="connsiteY14" fmla="*/ 561974 h 2840037"/>
                  <a:gd name="connsiteX15" fmla="*/ 460375 w 981075"/>
                  <a:gd name="connsiteY15" fmla="*/ 995362 h 2840037"/>
                  <a:gd name="connsiteX16" fmla="*/ 415131 w 981075"/>
                  <a:gd name="connsiteY16" fmla="*/ 1433512 h 2840037"/>
                  <a:gd name="connsiteX17" fmla="*/ 429419 w 981075"/>
                  <a:gd name="connsiteY17" fmla="*/ 1871662 h 2840037"/>
                  <a:gd name="connsiteX18" fmla="*/ 450850 w 981075"/>
                  <a:gd name="connsiteY18" fmla="*/ 2424112 h 2840037"/>
                  <a:gd name="connsiteX19" fmla="*/ 412750 w 981075"/>
                  <a:gd name="connsiteY19" fmla="*/ 2700337 h 2840037"/>
                  <a:gd name="connsiteX20" fmla="*/ 403225 w 981075"/>
                  <a:gd name="connsiteY20" fmla="*/ 2767012 h 2840037"/>
                  <a:gd name="connsiteX21" fmla="*/ 165100 w 981075"/>
                  <a:gd name="connsiteY21" fmla="*/ 2833687 h 2840037"/>
                  <a:gd name="connsiteX22" fmla="*/ 79375 w 981075"/>
                  <a:gd name="connsiteY22" fmla="*/ 2805112 h 2840037"/>
                  <a:gd name="connsiteX23" fmla="*/ 22225 w 981075"/>
                  <a:gd name="connsiteY23" fmla="*/ 2757487 h 2840037"/>
                  <a:gd name="connsiteX24" fmla="*/ 22225 w 981075"/>
                  <a:gd name="connsiteY24" fmla="*/ 2338387 h 2840037"/>
                  <a:gd name="connsiteX25" fmla="*/ 12700 w 981075"/>
                  <a:gd name="connsiteY25" fmla="*/ 1776412 h 2840037"/>
                  <a:gd name="connsiteX26" fmla="*/ 98425 w 981075"/>
                  <a:gd name="connsiteY26" fmla="*/ 1681162 h 2840037"/>
                  <a:gd name="connsiteX27" fmla="*/ 193675 w 981075"/>
                  <a:gd name="connsiteY27" fmla="*/ 1624012 h 2840037"/>
                  <a:gd name="connsiteX28" fmla="*/ 269875 w 981075"/>
                  <a:gd name="connsiteY28" fmla="*/ 1366837 h 2840037"/>
                  <a:gd name="connsiteX29" fmla="*/ 374650 w 981075"/>
                  <a:gd name="connsiteY29" fmla="*/ 795337 h 2840037"/>
                  <a:gd name="connsiteX30" fmla="*/ 403225 w 981075"/>
                  <a:gd name="connsiteY30" fmla="*/ 509587 h 2840037"/>
                  <a:gd name="connsiteX31" fmla="*/ 231775 w 981075"/>
                  <a:gd name="connsiteY31" fmla="*/ 395287 h 2840037"/>
                  <a:gd name="connsiteX32" fmla="*/ 422275 w 981075"/>
                  <a:gd name="connsiteY32" fmla="*/ 433387 h 2840037"/>
                  <a:gd name="connsiteX33" fmla="*/ 450850 w 981075"/>
                  <a:gd name="connsiteY33" fmla="*/ 395287 h 2840037"/>
                  <a:gd name="connsiteX34" fmla="*/ 479425 w 981075"/>
                  <a:gd name="connsiteY34" fmla="*/ 4762 h 2840037"/>
                  <a:gd name="connsiteX0" fmla="*/ 479425 w 981075"/>
                  <a:gd name="connsiteY0" fmla="*/ 4762 h 2840037"/>
                  <a:gd name="connsiteX1" fmla="*/ 498475 w 981075"/>
                  <a:gd name="connsiteY1" fmla="*/ 366712 h 2840037"/>
                  <a:gd name="connsiteX2" fmla="*/ 584200 w 981075"/>
                  <a:gd name="connsiteY2" fmla="*/ 395287 h 2840037"/>
                  <a:gd name="connsiteX3" fmla="*/ 660400 w 981075"/>
                  <a:gd name="connsiteY3" fmla="*/ 347662 h 2840037"/>
                  <a:gd name="connsiteX4" fmla="*/ 650875 w 981075"/>
                  <a:gd name="connsiteY4" fmla="*/ 757237 h 2840037"/>
                  <a:gd name="connsiteX5" fmla="*/ 698500 w 981075"/>
                  <a:gd name="connsiteY5" fmla="*/ 1404937 h 2840037"/>
                  <a:gd name="connsiteX6" fmla="*/ 841375 w 981075"/>
                  <a:gd name="connsiteY6" fmla="*/ 1747837 h 2840037"/>
                  <a:gd name="connsiteX7" fmla="*/ 917575 w 981075"/>
                  <a:gd name="connsiteY7" fmla="*/ 2205037 h 2840037"/>
                  <a:gd name="connsiteX8" fmla="*/ 936625 w 981075"/>
                  <a:gd name="connsiteY8" fmla="*/ 2414587 h 2840037"/>
                  <a:gd name="connsiteX9" fmla="*/ 965200 w 981075"/>
                  <a:gd name="connsiteY9" fmla="*/ 2500312 h 2840037"/>
                  <a:gd name="connsiteX10" fmla="*/ 841375 w 981075"/>
                  <a:gd name="connsiteY10" fmla="*/ 2576512 h 2840037"/>
                  <a:gd name="connsiteX11" fmla="*/ 803275 w 981075"/>
                  <a:gd name="connsiteY11" fmla="*/ 2509837 h 2840037"/>
                  <a:gd name="connsiteX12" fmla="*/ 688975 w 981075"/>
                  <a:gd name="connsiteY12" fmla="*/ 1824037 h 2840037"/>
                  <a:gd name="connsiteX13" fmla="*/ 567531 w 981075"/>
                  <a:gd name="connsiteY13" fmla="*/ 800099 h 2840037"/>
                  <a:gd name="connsiteX14" fmla="*/ 515144 w 981075"/>
                  <a:gd name="connsiteY14" fmla="*/ 561974 h 2840037"/>
                  <a:gd name="connsiteX15" fmla="*/ 460375 w 981075"/>
                  <a:gd name="connsiteY15" fmla="*/ 995362 h 2840037"/>
                  <a:gd name="connsiteX16" fmla="*/ 415131 w 981075"/>
                  <a:gd name="connsiteY16" fmla="*/ 1433512 h 2840037"/>
                  <a:gd name="connsiteX17" fmla="*/ 429419 w 981075"/>
                  <a:gd name="connsiteY17" fmla="*/ 1871662 h 2840037"/>
                  <a:gd name="connsiteX18" fmla="*/ 450850 w 981075"/>
                  <a:gd name="connsiteY18" fmla="*/ 2424112 h 2840037"/>
                  <a:gd name="connsiteX19" fmla="*/ 412750 w 981075"/>
                  <a:gd name="connsiteY19" fmla="*/ 2700337 h 2840037"/>
                  <a:gd name="connsiteX20" fmla="*/ 403225 w 981075"/>
                  <a:gd name="connsiteY20" fmla="*/ 2767012 h 2840037"/>
                  <a:gd name="connsiteX21" fmla="*/ 165100 w 981075"/>
                  <a:gd name="connsiteY21" fmla="*/ 2833687 h 2840037"/>
                  <a:gd name="connsiteX22" fmla="*/ 79375 w 981075"/>
                  <a:gd name="connsiteY22" fmla="*/ 2805112 h 2840037"/>
                  <a:gd name="connsiteX23" fmla="*/ 22225 w 981075"/>
                  <a:gd name="connsiteY23" fmla="*/ 2757487 h 2840037"/>
                  <a:gd name="connsiteX24" fmla="*/ 22225 w 981075"/>
                  <a:gd name="connsiteY24" fmla="*/ 2338387 h 2840037"/>
                  <a:gd name="connsiteX25" fmla="*/ 12700 w 981075"/>
                  <a:gd name="connsiteY25" fmla="*/ 1776412 h 2840037"/>
                  <a:gd name="connsiteX26" fmla="*/ 98425 w 981075"/>
                  <a:gd name="connsiteY26" fmla="*/ 1681162 h 2840037"/>
                  <a:gd name="connsiteX27" fmla="*/ 193675 w 981075"/>
                  <a:gd name="connsiteY27" fmla="*/ 1624012 h 2840037"/>
                  <a:gd name="connsiteX28" fmla="*/ 269875 w 981075"/>
                  <a:gd name="connsiteY28" fmla="*/ 1366837 h 2840037"/>
                  <a:gd name="connsiteX29" fmla="*/ 374650 w 981075"/>
                  <a:gd name="connsiteY29" fmla="*/ 795337 h 2840037"/>
                  <a:gd name="connsiteX30" fmla="*/ 403225 w 981075"/>
                  <a:gd name="connsiteY30" fmla="*/ 509587 h 2840037"/>
                  <a:gd name="connsiteX31" fmla="*/ 231775 w 981075"/>
                  <a:gd name="connsiteY31" fmla="*/ 395287 h 2840037"/>
                  <a:gd name="connsiteX32" fmla="*/ 422275 w 981075"/>
                  <a:gd name="connsiteY32" fmla="*/ 433387 h 2840037"/>
                  <a:gd name="connsiteX33" fmla="*/ 450850 w 981075"/>
                  <a:gd name="connsiteY33" fmla="*/ 395287 h 2840037"/>
                  <a:gd name="connsiteX34" fmla="*/ 479425 w 981075"/>
                  <a:gd name="connsiteY34" fmla="*/ 4762 h 2840037"/>
                  <a:gd name="connsiteX0" fmla="*/ 479425 w 981075"/>
                  <a:gd name="connsiteY0" fmla="*/ 4762 h 2840037"/>
                  <a:gd name="connsiteX1" fmla="*/ 498475 w 981075"/>
                  <a:gd name="connsiteY1" fmla="*/ 366712 h 2840037"/>
                  <a:gd name="connsiteX2" fmla="*/ 584200 w 981075"/>
                  <a:gd name="connsiteY2" fmla="*/ 395287 h 2840037"/>
                  <a:gd name="connsiteX3" fmla="*/ 660400 w 981075"/>
                  <a:gd name="connsiteY3" fmla="*/ 347662 h 2840037"/>
                  <a:gd name="connsiteX4" fmla="*/ 650875 w 981075"/>
                  <a:gd name="connsiteY4" fmla="*/ 757237 h 2840037"/>
                  <a:gd name="connsiteX5" fmla="*/ 698500 w 981075"/>
                  <a:gd name="connsiteY5" fmla="*/ 1404937 h 2840037"/>
                  <a:gd name="connsiteX6" fmla="*/ 841375 w 981075"/>
                  <a:gd name="connsiteY6" fmla="*/ 1747837 h 2840037"/>
                  <a:gd name="connsiteX7" fmla="*/ 917575 w 981075"/>
                  <a:gd name="connsiteY7" fmla="*/ 2205037 h 2840037"/>
                  <a:gd name="connsiteX8" fmla="*/ 936625 w 981075"/>
                  <a:gd name="connsiteY8" fmla="*/ 2414587 h 2840037"/>
                  <a:gd name="connsiteX9" fmla="*/ 965200 w 981075"/>
                  <a:gd name="connsiteY9" fmla="*/ 2500312 h 2840037"/>
                  <a:gd name="connsiteX10" fmla="*/ 841375 w 981075"/>
                  <a:gd name="connsiteY10" fmla="*/ 2576512 h 2840037"/>
                  <a:gd name="connsiteX11" fmla="*/ 803275 w 981075"/>
                  <a:gd name="connsiteY11" fmla="*/ 2509837 h 2840037"/>
                  <a:gd name="connsiteX12" fmla="*/ 693738 w 981075"/>
                  <a:gd name="connsiteY12" fmla="*/ 1824037 h 2840037"/>
                  <a:gd name="connsiteX13" fmla="*/ 567531 w 981075"/>
                  <a:gd name="connsiteY13" fmla="*/ 800099 h 2840037"/>
                  <a:gd name="connsiteX14" fmla="*/ 515144 w 981075"/>
                  <a:gd name="connsiteY14" fmla="*/ 561974 h 2840037"/>
                  <a:gd name="connsiteX15" fmla="*/ 460375 w 981075"/>
                  <a:gd name="connsiteY15" fmla="*/ 995362 h 2840037"/>
                  <a:gd name="connsiteX16" fmla="*/ 415131 w 981075"/>
                  <a:gd name="connsiteY16" fmla="*/ 1433512 h 2840037"/>
                  <a:gd name="connsiteX17" fmla="*/ 429419 w 981075"/>
                  <a:gd name="connsiteY17" fmla="*/ 1871662 h 2840037"/>
                  <a:gd name="connsiteX18" fmla="*/ 450850 w 981075"/>
                  <a:gd name="connsiteY18" fmla="*/ 2424112 h 2840037"/>
                  <a:gd name="connsiteX19" fmla="*/ 412750 w 981075"/>
                  <a:gd name="connsiteY19" fmla="*/ 2700337 h 2840037"/>
                  <a:gd name="connsiteX20" fmla="*/ 403225 w 981075"/>
                  <a:gd name="connsiteY20" fmla="*/ 2767012 h 2840037"/>
                  <a:gd name="connsiteX21" fmla="*/ 165100 w 981075"/>
                  <a:gd name="connsiteY21" fmla="*/ 2833687 h 2840037"/>
                  <a:gd name="connsiteX22" fmla="*/ 79375 w 981075"/>
                  <a:gd name="connsiteY22" fmla="*/ 2805112 h 2840037"/>
                  <a:gd name="connsiteX23" fmla="*/ 22225 w 981075"/>
                  <a:gd name="connsiteY23" fmla="*/ 2757487 h 2840037"/>
                  <a:gd name="connsiteX24" fmla="*/ 22225 w 981075"/>
                  <a:gd name="connsiteY24" fmla="*/ 2338387 h 2840037"/>
                  <a:gd name="connsiteX25" fmla="*/ 12700 w 981075"/>
                  <a:gd name="connsiteY25" fmla="*/ 1776412 h 2840037"/>
                  <a:gd name="connsiteX26" fmla="*/ 98425 w 981075"/>
                  <a:gd name="connsiteY26" fmla="*/ 1681162 h 2840037"/>
                  <a:gd name="connsiteX27" fmla="*/ 193675 w 981075"/>
                  <a:gd name="connsiteY27" fmla="*/ 1624012 h 2840037"/>
                  <a:gd name="connsiteX28" fmla="*/ 269875 w 981075"/>
                  <a:gd name="connsiteY28" fmla="*/ 1366837 h 2840037"/>
                  <a:gd name="connsiteX29" fmla="*/ 374650 w 981075"/>
                  <a:gd name="connsiteY29" fmla="*/ 795337 h 2840037"/>
                  <a:gd name="connsiteX30" fmla="*/ 403225 w 981075"/>
                  <a:gd name="connsiteY30" fmla="*/ 509587 h 2840037"/>
                  <a:gd name="connsiteX31" fmla="*/ 231775 w 981075"/>
                  <a:gd name="connsiteY31" fmla="*/ 395287 h 2840037"/>
                  <a:gd name="connsiteX32" fmla="*/ 422275 w 981075"/>
                  <a:gd name="connsiteY32" fmla="*/ 433387 h 2840037"/>
                  <a:gd name="connsiteX33" fmla="*/ 450850 w 981075"/>
                  <a:gd name="connsiteY33" fmla="*/ 395287 h 2840037"/>
                  <a:gd name="connsiteX34" fmla="*/ 479425 w 981075"/>
                  <a:gd name="connsiteY34" fmla="*/ 4762 h 2840037"/>
                  <a:gd name="connsiteX0" fmla="*/ 479425 w 981075"/>
                  <a:gd name="connsiteY0" fmla="*/ 4762 h 2840037"/>
                  <a:gd name="connsiteX1" fmla="*/ 498475 w 981075"/>
                  <a:gd name="connsiteY1" fmla="*/ 366712 h 2840037"/>
                  <a:gd name="connsiteX2" fmla="*/ 584200 w 981075"/>
                  <a:gd name="connsiteY2" fmla="*/ 395287 h 2840037"/>
                  <a:gd name="connsiteX3" fmla="*/ 660400 w 981075"/>
                  <a:gd name="connsiteY3" fmla="*/ 347662 h 2840037"/>
                  <a:gd name="connsiteX4" fmla="*/ 650875 w 981075"/>
                  <a:gd name="connsiteY4" fmla="*/ 757237 h 2840037"/>
                  <a:gd name="connsiteX5" fmla="*/ 698500 w 981075"/>
                  <a:gd name="connsiteY5" fmla="*/ 1404937 h 2840037"/>
                  <a:gd name="connsiteX6" fmla="*/ 841375 w 981075"/>
                  <a:gd name="connsiteY6" fmla="*/ 1747837 h 2840037"/>
                  <a:gd name="connsiteX7" fmla="*/ 917575 w 981075"/>
                  <a:gd name="connsiteY7" fmla="*/ 2205037 h 2840037"/>
                  <a:gd name="connsiteX8" fmla="*/ 936625 w 981075"/>
                  <a:gd name="connsiteY8" fmla="*/ 2414587 h 2840037"/>
                  <a:gd name="connsiteX9" fmla="*/ 965200 w 981075"/>
                  <a:gd name="connsiteY9" fmla="*/ 2500312 h 2840037"/>
                  <a:gd name="connsiteX10" fmla="*/ 841375 w 981075"/>
                  <a:gd name="connsiteY10" fmla="*/ 2576512 h 2840037"/>
                  <a:gd name="connsiteX11" fmla="*/ 803275 w 981075"/>
                  <a:gd name="connsiteY11" fmla="*/ 2509837 h 2840037"/>
                  <a:gd name="connsiteX12" fmla="*/ 693738 w 981075"/>
                  <a:gd name="connsiteY12" fmla="*/ 1824037 h 2840037"/>
                  <a:gd name="connsiteX13" fmla="*/ 567531 w 981075"/>
                  <a:gd name="connsiteY13" fmla="*/ 800099 h 2840037"/>
                  <a:gd name="connsiteX14" fmla="*/ 515144 w 981075"/>
                  <a:gd name="connsiteY14" fmla="*/ 561974 h 2840037"/>
                  <a:gd name="connsiteX15" fmla="*/ 460375 w 981075"/>
                  <a:gd name="connsiteY15" fmla="*/ 995362 h 2840037"/>
                  <a:gd name="connsiteX16" fmla="*/ 415131 w 981075"/>
                  <a:gd name="connsiteY16" fmla="*/ 1433512 h 2840037"/>
                  <a:gd name="connsiteX17" fmla="*/ 429419 w 981075"/>
                  <a:gd name="connsiteY17" fmla="*/ 1871662 h 2840037"/>
                  <a:gd name="connsiteX18" fmla="*/ 450850 w 981075"/>
                  <a:gd name="connsiteY18" fmla="*/ 2424112 h 2840037"/>
                  <a:gd name="connsiteX19" fmla="*/ 412750 w 981075"/>
                  <a:gd name="connsiteY19" fmla="*/ 2700337 h 2840037"/>
                  <a:gd name="connsiteX20" fmla="*/ 403225 w 981075"/>
                  <a:gd name="connsiteY20" fmla="*/ 2767012 h 2840037"/>
                  <a:gd name="connsiteX21" fmla="*/ 165100 w 981075"/>
                  <a:gd name="connsiteY21" fmla="*/ 2833687 h 2840037"/>
                  <a:gd name="connsiteX22" fmla="*/ 79375 w 981075"/>
                  <a:gd name="connsiteY22" fmla="*/ 2805112 h 2840037"/>
                  <a:gd name="connsiteX23" fmla="*/ 22225 w 981075"/>
                  <a:gd name="connsiteY23" fmla="*/ 2757487 h 2840037"/>
                  <a:gd name="connsiteX24" fmla="*/ 22225 w 981075"/>
                  <a:gd name="connsiteY24" fmla="*/ 2338387 h 2840037"/>
                  <a:gd name="connsiteX25" fmla="*/ 12700 w 981075"/>
                  <a:gd name="connsiteY25" fmla="*/ 1776412 h 2840037"/>
                  <a:gd name="connsiteX26" fmla="*/ 98425 w 981075"/>
                  <a:gd name="connsiteY26" fmla="*/ 1681162 h 2840037"/>
                  <a:gd name="connsiteX27" fmla="*/ 193675 w 981075"/>
                  <a:gd name="connsiteY27" fmla="*/ 1624012 h 2840037"/>
                  <a:gd name="connsiteX28" fmla="*/ 269875 w 981075"/>
                  <a:gd name="connsiteY28" fmla="*/ 1366837 h 2840037"/>
                  <a:gd name="connsiteX29" fmla="*/ 374650 w 981075"/>
                  <a:gd name="connsiteY29" fmla="*/ 795337 h 2840037"/>
                  <a:gd name="connsiteX30" fmla="*/ 403225 w 981075"/>
                  <a:gd name="connsiteY30" fmla="*/ 509587 h 2840037"/>
                  <a:gd name="connsiteX31" fmla="*/ 231775 w 981075"/>
                  <a:gd name="connsiteY31" fmla="*/ 395287 h 2840037"/>
                  <a:gd name="connsiteX32" fmla="*/ 422275 w 981075"/>
                  <a:gd name="connsiteY32" fmla="*/ 433387 h 2840037"/>
                  <a:gd name="connsiteX33" fmla="*/ 450850 w 981075"/>
                  <a:gd name="connsiteY33" fmla="*/ 395287 h 2840037"/>
                  <a:gd name="connsiteX34" fmla="*/ 479425 w 981075"/>
                  <a:gd name="connsiteY34" fmla="*/ 4762 h 2840037"/>
                  <a:gd name="connsiteX0" fmla="*/ 481013 w 982663"/>
                  <a:gd name="connsiteY0" fmla="*/ 4762 h 2840037"/>
                  <a:gd name="connsiteX1" fmla="*/ 500063 w 982663"/>
                  <a:gd name="connsiteY1" fmla="*/ 366712 h 2840037"/>
                  <a:gd name="connsiteX2" fmla="*/ 585788 w 982663"/>
                  <a:gd name="connsiteY2" fmla="*/ 395287 h 2840037"/>
                  <a:gd name="connsiteX3" fmla="*/ 661988 w 982663"/>
                  <a:gd name="connsiteY3" fmla="*/ 347662 h 2840037"/>
                  <a:gd name="connsiteX4" fmla="*/ 652463 w 982663"/>
                  <a:gd name="connsiteY4" fmla="*/ 757237 h 2840037"/>
                  <a:gd name="connsiteX5" fmla="*/ 700088 w 982663"/>
                  <a:gd name="connsiteY5" fmla="*/ 1404937 h 2840037"/>
                  <a:gd name="connsiteX6" fmla="*/ 842963 w 982663"/>
                  <a:gd name="connsiteY6" fmla="*/ 1747837 h 2840037"/>
                  <a:gd name="connsiteX7" fmla="*/ 919163 w 982663"/>
                  <a:gd name="connsiteY7" fmla="*/ 2205037 h 2840037"/>
                  <a:gd name="connsiteX8" fmla="*/ 938213 w 982663"/>
                  <a:gd name="connsiteY8" fmla="*/ 2414587 h 2840037"/>
                  <a:gd name="connsiteX9" fmla="*/ 966788 w 982663"/>
                  <a:gd name="connsiteY9" fmla="*/ 2500312 h 2840037"/>
                  <a:gd name="connsiteX10" fmla="*/ 842963 w 982663"/>
                  <a:gd name="connsiteY10" fmla="*/ 2576512 h 2840037"/>
                  <a:gd name="connsiteX11" fmla="*/ 804863 w 982663"/>
                  <a:gd name="connsiteY11" fmla="*/ 2509837 h 2840037"/>
                  <a:gd name="connsiteX12" fmla="*/ 695326 w 982663"/>
                  <a:gd name="connsiteY12" fmla="*/ 1824037 h 2840037"/>
                  <a:gd name="connsiteX13" fmla="*/ 569119 w 982663"/>
                  <a:gd name="connsiteY13" fmla="*/ 800099 h 2840037"/>
                  <a:gd name="connsiteX14" fmla="*/ 516732 w 982663"/>
                  <a:gd name="connsiteY14" fmla="*/ 561974 h 2840037"/>
                  <a:gd name="connsiteX15" fmla="*/ 461963 w 982663"/>
                  <a:gd name="connsiteY15" fmla="*/ 995362 h 2840037"/>
                  <a:gd name="connsiteX16" fmla="*/ 416719 w 982663"/>
                  <a:gd name="connsiteY16" fmla="*/ 1433512 h 2840037"/>
                  <a:gd name="connsiteX17" fmla="*/ 431007 w 982663"/>
                  <a:gd name="connsiteY17" fmla="*/ 1871662 h 2840037"/>
                  <a:gd name="connsiteX18" fmla="*/ 452438 w 982663"/>
                  <a:gd name="connsiteY18" fmla="*/ 2424112 h 2840037"/>
                  <a:gd name="connsiteX19" fmla="*/ 414338 w 982663"/>
                  <a:gd name="connsiteY19" fmla="*/ 2700337 h 2840037"/>
                  <a:gd name="connsiteX20" fmla="*/ 404813 w 982663"/>
                  <a:gd name="connsiteY20" fmla="*/ 2767012 h 2840037"/>
                  <a:gd name="connsiteX21" fmla="*/ 166688 w 982663"/>
                  <a:gd name="connsiteY21" fmla="*/ 2833687 h 2840037"/>
                  <a:gd name="connsiteX22" fmla="*/ 23813 w 982663"/>
                  <a:gd name="connsiteY22" fmla="*/ 2757487 h 2840037"/>
                  <a:gd name="connsiteX23" fmla="*/ 23813 w 982663"/>
                  <a:gd name="connsiteY23" fmla="*/ 2338387 h 2840037"/>
                  <a:gd name="connsiteX24" fmla="*/ 14288 w 982663"/>
                  <a:gd name="connsiteY24" fmla="*/ 1776412 h 2840037"/>
                  <a:gd name="connsiteX25" fmla="*/ 100013 w 982663"/>
                  <a:gd name="connsiteY25" fmla="*/ 1681162 h 2840037"/>
                  <a:gd name="connsiteX26" fmla="*/ 195263 w 982663"/>
                  <a:gd name="connsiteY26" fmla="*/ 1624012 h 2840037"/>
                  <a:gd name="connsiteX27" fmla="*/ 271463 w 982663"/>
                  <a:gd name="connsiteY27" fmla="*/ 1366837 h 2840037"/>
                  <a:gd name="connsiteX28" fmla="*/ 376238 w 982663"/>
                  <a:gd name="connsiteY28" fmla="*/ 795337 h 2840037"/>
                  <a:gd name="connsiteX29" fmla="*/ 404813 w 982663"/>
                  <a:gd name="connsiteY29" fmla="*/ 509587 h 2840037"/>
                  <a:gd name="connsiteX30" fmla="*/ 233363 w 982663"/>
                  <a:gd name="connsiteY30" fmla="*/ 395287 h 2840037"/>
                  <a:gd name="connsiteX31" fmla="*/ 423863 w 982663"/>
                  <a:gd name="connsiteY31" fmla="*/ 433387 h 2840037"/>
                  <a:gd name="connsiteX32" fmla="*/ 452438 w 982663"/>
                  <a:gd name="connsiteY32" fmla="*/ 395287 h 2840037"/>
                  <a:gd name="connsiteX33" fmla="*/ 481013 w 982663"/>
                  <a:gd name="connsiteY33" fmla="*/ 4762 h 2840037"/>
                  <a:gd name="connsiteX0" fmla="*/ 479425 w 981075"/>
                  <a:gd name="connsiteY0" fmla="*/ 4762 h 2840037"/>
                  <a:gd name="connsiteX1" fmla="*/ 498475 w 981075"/>
                  <a:gd name="connsiteY1" fmla="*/ 366712 h 2840037"/>
                  <a:gd name="connsiteX2" fmla="*/ 584200 w 981075"/>
                  <a:gd name="connsiteY2" fmla="*/ 395287 h 2840037"/>
                  <a:gd name="connsiteX3" fmla="*/ 660400 w 981075"/>
                  <a:gd name="connsiteY3" fmla="*/ 347662 h 2840037"/>
                  <a:gd name="connsiteX4" fmla="*/ 650875 w 981075"/>
                  <a:gd name="connsiteY4" fmla="*/ 757237 h 2840037"/>
                  <a:gd name="connsiteX5" fmla="*/ 698500 w 981075"/>
                  <a:gd name="connsiteY5" fmla="*/ 1404937 h 2840037"/>
                  <a:gd name="connsiteX6" fmla="*/ 841375 w 981075"/>
                  <a:gd name="connsiteY6" fmla="*/ 1747837 h 2840037"/>
                  <a:gd name="connsiteX7" fmla="*/ 917575 w 981075"/>
                  <a:gd name="connsiteY7" fmla="*/ 2205037 h 2840037"/>
                  <a:gd name="connsiteX8" fmla="*/ 936625 w 981075"/>
                  <a:gd name="connsiteY8" fmla="*/ 2414587 h 2840037"/>
                  <a:gd name="connsiteX9" fmla="*/ 965200 w 981075"/>
                  <a:gd name="connsiteY9" fmla="*/ 2500312 h 2840037"/>
                  <a:gd name="connsiteX10" fmla="*/ 841375 w 981075"/>
                  <a:gd name="connsiteY10" fmla="*/ 2576512 h 2840037"/>
                  <a:gd name="connsiteX11" fmla="*/ 803275 w 981075"/>
                  <a:gd name="connsiteY11" fmla="*/ 2509837 h 2840037"/>
                  <a:gd name="connsiteX12" fmla="*/ 693738 w 981075"/>
                  <a:gd name="connsiteY12" fmla="*/ 1824037 h 2840037"/>
                  <a:gd name="connsiteX13" fmla="*/ 567531 w 981075"/>
                  <a:gd name="connsiteY13" fmla="*/ 800099 h 2840037"/>
                  <a:gd name="connsiteX14" fmla="*/ 515144 w 981075"/>
                  <a:gd name="connsiteY14" fmla="*/ 561974 h 2840037"/>
                  <a:gd name="connsiteX15" fmla="*/ 460375 w 981075"/>
                  <a:gd name="connsiteY15" fmla="*/ 995362 h 2840037"/>
                  <a:gd name="connsiteX16" fmla="*/ 415131 w 981075"/>
                  <a:gd name="connsiteY16" fmla="*/ 1433512 h 2840037"/>
                  <a:gd name="connsiteX17" fmla="*/ 429419 w 981075"/>
                  <a:gd name="connsiteY17" fmla="*/ 1871662 h 2840037"/>
                  <a:gd name="connsiteX18" fmla="*/ 450850 w 981075"/>
                  <a:gd name="connsiteY18" fmla="*/ 2424112 h 2840037"/>
                  <a:gd name="connsiteX19" fmla="*/ 412750 w 981075"/>
                  <a:gd name="connsiteY19" fmla="*/ 2700337 h 2840037"/>
                  <a:gd name="connsiteX20" fmla="*/ 403225 w 981075"/>
                  <a:gd name="connsiteY20" fmla="*/ 2767012 h 2840037"/>
                  <a:gd name="connsiteX21" fmla="*/ 165100 w 981075"/>
                  <a:gd name="connsiteY21" fmla="*/ 2833687 h 2840037"/>
                  <a:gd name="connsiteX22" fmla="*/ 22225 w 981075"/>
                  <a:gd name="connsiteY22" fmla="*/ 2757487 h 2840037"/>
                  <a:gd name="connsiteX23" fmla="*/ 22225 w 981075"/>
                  <a:gd name="connsiteY23" fmla="*/ 2338387 h 2840037"/>
                  <a:gd name="connsiteX24" fmla="*/ 12700 w 981075"/>
                  <a:gd name="connsiteY24" fmla="*/ 1776412 h 2840037"/>
                  <a:gd name="connsiteX25" fmla="*/ 98425 w 981075"/>
                  <a:gd name="connsiteY25" fmla="*/ 1681162 h 2840037"/>
                  <a:gd name="connsiteX26" fmla="*/ 193675 w 981075"/>
                  <a:gd name="connsiteY26" fmla="*/ 1624012 h 2840037"/>
                  <a:gd name="connsiteX27" fmla="*/ 269875 w 981075"/>
                  <a:gd name="connsiteY27" fmla="*/ 1366837 h 2840037"/>
                  <a:gd name="connsiteX28" fmla="*/ 374650 w 981075"/>
                  <a:gd name="connsiteY28" fmla="*/ 795337 h 2840037"/>
                  <a:gd name="connsiteX29" fmla="*/ 403225 w 981075"/>
                  <a:gd name="connsiteY29" fmla="*/ 509587 h 2840037"/>
                  <a:gd name="connsiteX30" fmla="*/ 231775 w 981075"/>
                  <a:gd name="connsiteY30" fmla="*/ 395287 h 2840037"/>
                  <a:gd name="connsiteX31" fmla="*/ 422275 w 981075"/>
                  <a:gd name="connsiteY31" fmla="*/ 433387 h 2840037"/>
                  <a:gd name="connsiteX32" fmla="*/ 450850 w 981075"/>
                  <a:gd name="connsiteY32" fmla="*/ 395287 h 2840037"/>
                  <a:gd name="connsiteX33" fmla="*/ 479425 w 981075"/>
                  <a:gd name="connsiteY33" fmla="*/ 4762 h 2840037"/>
                  <a:gd name="connsiteX0" fmla="*/ 479425 w 981075"/>
                  <a:gd name="connsiteY0" fmla="*/ 4762 h 2835274"/>
                  <a:gd name="connsiteX1" fmla="*/ 498475 w 981075"/>
                  <a:gd name="connsiteY1" fmla="*/ 366712 h 2835274"/>
                  <a:gd name="connsiteX2" fmla="*/ 584200 w 981075"/>
                  <a:gd name="connsiteY2" fmla="*/ 395287 h 2835274"/>
                  <a:gd name="connsiteX3" fmla="*/ 660400 w 981075"/>
                  <a:gd name="connsiteY3" fmla="*/ 347662 h 2835274"/>
                  <a:gd name="connsiteX4" fmla="*/ 650875 w 981075"/>
                  <a:gd name="connsiteY4" fmla="*/ 757237 h 2835274"/>
                  <a:gd name="connsiteX5" fmla="*/ 698500 w 981075"/>
                  <a:gd name="connsiteY5" fmla="*/ 1404937 h 2835274"/>
                  <a:gd name="connsiteX6" fmla="*/ 841375 w 981075"/>
                  <a:gd name="connsiteY6" fmla="*/ 1747837 h 2835274"/>
                  <a:gd name="connsiteX7" fmla="*/ 917575 w 981075"/>
                  <a:gd name="connsiteY7" fmla="*/ 2205037 h 2835274"/>
                  <a:gd name="connsiteX8" fmla="*/ 936625 w 981075"/>
                  <a:gd name="connsiteY8" fmla="*/ 2414587 h 2835274"/>
                  <a:gd name="connsiteX9" fmla="*/ 965200 w 981075"/>
                  <a:gd name="connsiteY9" fmla="*/ 2500312 h 2835274"/>
                  <a:gd name="connsiteX10" fmla="*/ 841375 w 981075"/>
                  <a:gd name="connsiteY10" fmla="*/ 2576512 h 2835274"/>
                  <a:gd name="connsiteX11" fmla="*/ 803275 w 981075"/>
                  <a:gd name="connsiteY11" fmla="*/ 2509837 h 2835274"/>
                  <a:gd name="connsiteX12" fmla="*/ 693738 w 981075"/>
                  <a:gd name="connsiteY12" fmla="*/ 1824037 h 2835274"/>
                  <a:gd name="connsiteX13" fmla="*/ 567531 w 981075"/>
                  <a:gd name="connsiteY13" fmla="*/ 800099 h 2835274"/>
                  <a:gd name="connsiteX14" fmla="*/ 515144 w 981075"/>
                  <a:gd name="connsiteY14" fmla="*/ 561974 h 2835274"/>
                  <a:gd name="connsiteX15" fmla="*/ 460375 w 981075"/>
                  <a:gd name="connsiteY15" fmla="*/ 995362 h 2835274"/>
                  <a:gd name="connsiteX16" fmla="*/ 415131 w 981075"/>
                  <a:gd name="connsiteY16" fmla="*/ 1433512 h 2835274"/>
                  <a:gd name="connsiteX17" fmla="*/ 429419 w 981075"/>
                  <a:gd name="connsiteY17" fmla="*/ 1871662 h 2835274"/>
                  <a:gd name="connsiteX18" fmla="*/ 450850 w 981075"/>
                  <a:gd name="connsiteY18" fmla="*/ 2424112 h 2835274"/>
                  <a:gd name="connsiteX19" fmla="*/ 412750 w 981075"/>
                  <a:gd name="connsiteY19" fmla="*/ 2700337 h 2835274"/>
                  <a:gd name="connsiteX20" fmla="*/ 403225 w 981075"/>
                  <a:gd name="connsiteY20" fmla="*/ 2767012 h 2835274"/>
                  <a:gd name="connsiteX21" fmla="*/ 165100 w 981075"/>
                  <a:gd name="connsiteY21" fmla="*/ 2833687 h 2835274"/>
                  <a:gd name="connsiteX22" fmla="*/ 22225 w 981075"/>
                  <a:gd name="connsiteY22" fmla="*/ 2757487 h 2835274"/>
                  <a:gd name="connsiteX23" fmla="*/ 22225 w 981075"/>
                  <a:gd name="connsiteY23" fmla="*/ 2338387 h 2835274"/>
                  <a:gd name="connsiteX24" fmla="*/ 12700 w 981075"/>
                  <a:gd name="connsiteY24" fmla="*/ 1776412 h 2835274"/>
                  <a:gd name="connsiteX25" fmla="*/ 98425 w 981075"/>
                  <a:gd name="connsiteY25" fmla="*/ 1681162 h 2835274"/>
                  <a:gd name="connsiteX26" fmla="*/ 193675 w 981075"/>
                  <a:gd name="connsiteY26" fmla="*/ 1624012 h 2835274"/>
                  <a:gd name="connsiteX27" fmla="*/ 269875 w 981075"/>
                  <a:gd name="connsiteY27" fmla="*/ 1366837 h 2835274"/>
                  <a:gd name="connsiteX28" fmla="*/ 374650 w 981075"/>
                  <a:gd name="connsiteY28" fmla="*/ 795337 h 2835274"/>
                  <a:gd name="connsiteX29" fmla="*/ 403225 w 981075"/>
                  <a:gd name="connsiteY29" fmla="*/ 509587 h 2835274"/>
                  <a:gd name="connsiteX30" fmla="*/ 231775 w 981075"/>
                  <a:gd name="connsiteY30" fmla="*/ 395287 h 2835274"/>
                  <a:gd name="connsiteX31" fmla="*/ 422275 w 981075"/>
                  <a:gd name="connsiteY31" fmla="*/ 433387 h 2835274"/>
                  <a:gd name="connsiteX32" fmla="*/ 450850 w 981075"/>
                  <a:gd name="connsiteY32" fmla="*/ 395287 h 2835274"/>
                  <a:gd name="connsiteX33" fmla="*/ 479425 w 981075"/>
                  <a:gd name="connsiteY33" fmla="*/ 4762 h 2835274"/>
                  <a:gd name="connsiteX0" fmla="*/ 479425 w 981075"/>
                  <a:gd name="connsiteY0" fmla="*/ 4762 h 2835274"/>
                  <a:gd name="connsiteX1" fmla="*/ 498475 w 981075"/>
                  <a:gd name="connsiteY1" fmla="*/ 366712 h 2835274"/>
                  <a:gd name="connsiteX2" fmla="*/ 584200 w 981075"/>
                  <a:gd name="connsiteY2" fmla="*/ 395287 h 2835274"/>
                  <a:gd name="connsiteX3" fmla="*/ 660400 w 981075"/>
                  <a:gd name="connsiteY3" fmla="*/ 347662 h 2835274"/>
                  <a:gd name="connsiteX4" fmla="*/ 650875 w 981075"/>
                  <a:gd name="connsiteY4" fmla="*/ 757237 h 2835274"/>
                  <a:gd name="connsiteX5" fmla="*/ 698500 w 981075"/>
                  <a:gd name="connsiteY5" fmla="*/ 1404937 h 2835274"/>
                  <a:gd name="connsiteX6" fmla="*/ 841375 w 981075"/>
                  <a:gd name="connsiteY6" fmla="*/ 1747837 h 2835274"/>
                  <a:gd name="connsiteX7" fmla="*/ 917575 w 981075"/>
                  <a:gd name="connsiteY7" fmla="*/ 2205037 h 2835274"/>
                  <a:gd name="connsiteX8" fmla="*/ 936625 w 981075"/>
                  <a:gd name="connsiteY8" fmla="*/ 2414587 h 2835274"/>
                  <a:gd name="connsiteX9" fmla="*/ 965200 w 981075"/>
                  <a:gd name="connsiteY9" fmla="*/ 2500312 h 2835274"/>
                  <a:gd name="connsiteX10" fmla="*/ 841375 w 981075"/>
                  <a:gd name="connsiteY10" fmla="*/ 2576512 h 2835274"/>
                  <a:gd name="connsiteX11" fmla="*/ 693738 w 981075"/>
                  <a:gd name="connsiteY11" fmla="*/ 1824037 h 2835274"/>
                  <a:gd name="connsiteX12" fmla="*/ 567531 w 981075"/>
                  <a:gd name="connsiteY12" fmla="*/ 800099 h 2835274"/>
                  <a:gd name="connsiteX13" fmla="*/ 515144 w 981075"/>
                  <a:gd name="connsiteY13" fmla="*/ 561974 h 2835274"/>
                  <a:gd name="connsiteX14" fmla="*/ 460375 w 981075"/>
                  <a:gd name="connsiteY14" fmla="*/ 995362 h 2835274"/>
                  <a:gd name="connsiteX15" fmla="*/ 415131 w 981075"/>
                  <a:gd name="connsiteY15" fmla="*/ 1433512 h 2835274"/>
                  <a:gd name="connsiteX16" fmla="*/ 429419 w 981075"/>
                  <a:gd name="connsiteY16" fmla="*/ 1871662 h 2835274"/>
                  <a:gd name="connsiteX17" fmla="*/ 450850 w 981075"/>
                  <a:gd name="connsiteY17" fmla="*/ 2424112 h 2835274"/>
                  <a:gd name="connsiteX18" fmla="*/ 412750 w 981075"/>
                  <a:gd name="connsiteY18" fmla="*/ 2700337 h 2835274"/>
                  <a:gd name="connsiteX19" fmla="*/ 403225 w 981075"/>
                  <a:gd name="connsiteY19" fmla="*/ 2767012 h 2835274"/>
                  <a:gd name="connsiteX20" fmla="*/ 165100 w 981075"/>
                  <a:gd name="connsiteY20" fmla="*/ 2833687 h 2835274"/>
                  <a:gd name="connsiteX21" fmla="*/ 22225 w 981075"/>
                  <a:gd name="connsiteY21" fmla="*/ 2757487 h 2835274"/>
                  <a:gd name="connsiteX22" fmla="*/ 22225 w 981075"/>
                  <a:gd name="connsiteY22" fmla="*/ 2338387 h 2835274"/>
                  <a:gd name="connsiteX23" fmla="*/ 12700 w 981075"/>
                  <a:gd name="connsiteY23" fmla="*/ 1776412 h 2835274"/>
                  <a:gd name="connsiteX24" fmla="*/ 98425 w 981075"/>
                  <a:gd name="connsiteY24" fmla="*/ 1681162 h 2835274"/>
                  <a:gd name="connsiteX25" fmla="*/ 193675 w 981075"/>
                  <a:gd name="connsiteY25" fmla="*/ 1624012 h 2835274"/>
                  <a:gd name="connsiteX26" fmla="*/ 269875 w 981075"/>
                  <a:gd name="connsiteY26" fmla="*/ 1366837 h 2835274"/>
                  <a:gd name="connsiteX27" fmla="*/ 374650 w 981075"/>
                  <a:gd name="connsiteY27" fmla="*/ 795337 h 2835274"/>
                  <a:gd name="connsiteX28" fmla="*/ 403225 w 981075"/>
                  <a:gd name="connsiteY28" fmla="*/ 509587 h 2835274"/>
                  <a:gd name="connsiteX29" fmla="*/ 231775 w 981075"/>
                  <a:gd name="connsiteY29" fmla="*/ 395287 h 2835274"/>
                  <a:gd name="connsiteX30" fmla="*/ 422275 w 981075"/>
                  <a:gd name="connsiteY30" fmla="*/ 433387 h 2835274"/>
                  <a:gd name="connsiteX31" fmla="*/ 450850 w 981075"/>
                  <a:gd name="connsiteY31" fmla="*/ 395287 h 2835274"/>
                  <a:gd name="connsiteX32" fmla="*/ 479425 w 981075"/>
                  <a:gd name="connsiteY32" fmla="*/ 4762 h 2835274"/>
                  <a:gd name="connsiteX0" fmla="*/ 479425 w 981075"/>
                  <a:gd name="connsiteY0" fmla="*/ 4762 h 2835274"/>
                  <a:gd name="connsiteX1" fmla="*/ 498475 w 981075"/>
                  <a:gd name="connsiteY1" fmla="*/ 366712 h 2835274"/>
                  <a:gd name="connsiteX2" fmla="*/ 584200 w 981075"/>
                  <a:gd name="connsiteY2" fmla="*/ 395287 h 2835274"/>
                  <a:gd name="connsiteX3" fmla="*/ 681832 w 981075"/>
                  <a:gd name="connsiteY3" fmla="*/ 392906 h 2835274"/>
                  <a:gd name="connsiteX4" fmla="*/ 650875 w 981075"/>
                  <a:gd name="connsiteY4" fmla="*/ 757237 h 2835274"/>
                  <a:gd name="connsiteX5" fmla="*/ 698500 w 981075"/>
                  <a:gd name="connsiteY5" fmla="*/ 1404937 h 2835274"/>
                  <a:gd name="connsiteX6" fmla="*/ 841375 w 981075"/>
                  <a:gd name="connsiteY6" fmla="*/ 1747837 h 2835274"/>
                  <a:gd name="connsiteX7" fmla="*/ 917575 w 981075"/>
                  <a:gd name="connsiteY7" fmla="*/ 2205037 h 2835274"/>
                  <a:gd name="connsiteX8" fmla="*/ 936625 w 981075"/>
                  <a:gd name="connsiteY8" fmla="*/ 2414587 h 2835274"/>
                  <a:gd name="connsiteX9" fmla="*/ 965200 w 981075"/>
                  <a:gd name="connsiteY9" fmla="*/ 2500312 h 2835274"/>
                  <a:gd name="connsiteX10" fmla="*/ 841375 w 981075"/>
                  <a:gd name="connsiteY10" fmla="*/ 2576512 h 2835274"/>
                  <a:gd name="connsiteX11" fmla="*/ 693738 w 981075"/>
                  <a:gd name="connsiteY11" fmla="*/ 1824037 h 2835274"/>
                  <a:gd name="connsiteX12" fmla="*/ 567531 w 981075"/>
                  <a:gd name="connsiteY12" fmla="*/ 800099 h 2835274"/>
                  <a:gd name="connsiteX13" fmla="*/ 515144 w 981075"/>
                  <a:gd name="connsiteY13" fmla="*/ 561974 h 2835274"/>
                  <a:gd name="connsiteX14" fmla="*/ 460375 w 981075"/>
                  <a:gd name="connsiteY14" fmla="*/ 995362 h 2835274"/>
                  <a:gd name="connsiteX15" fmla="*/ 415131 w 981075"/>
                  <a:gd name="connsiteY15" fmla="*/ 1433512 h 2835274"/>
                  <a:gd name="connsiteX16" fmla="*/ 429419 w 981075"/>
                  <a:gd name="connsiteY16" fmla="*/ 1871662 h 2835274"/>
                  <a:gd name="connsiteX17" fmla="*/ 450850 w 981075"/>
                  <a:gd name="connsiteY17" fmla="*/ 2424112 h 2835274"/>
                  <a:gd name="connsiteX18" fmla="*/ 412750 w 981075"/>
                  <a:gd name="connsiteY18" fmla="*/ 2700337 h 2835274"/>
                  <a:gd name="connsiteX19" fmla="*/ 403225 w 981075"/>
                  <a:gd name="connsiteY19" fmla="*/ 2767012 h 2835274"/>
                  <a:gd name="connsiteX20" fmla="*/ 165100 w 981075"/>
                  <a:gd name="connsiteY20" fmla="*/ 2833687 h 2835274"/>
                  <a:gd name="connsiteX21" fmla="*/ 22225 w 981075"/>
                  <a:gd name="connsiteY21" fmla="*/ 2757487 h 2835274"/>
                  <a:gd name="connsiteX22" fmla="*/ 22225 w 981075"/>
                  <a:gd name="connsiteY22" fmla="*/ 2338387 h 2835274"/>
                  <a:gd name="connsiteX23" fmla="*/ 12700 w 981075"/>
                  <a:gd name="connsiteY23" fmla="*/ 1776412 h 2835274"/>
                  <a:gd name="connsiteX24" fmla="*/ 98425 w 981075"/>
                  <a:gd name="connsiteY24" fmla="*/ 1681162 h 2835274"/>
                  <a:gd name="connsiteX25" fmla="*/ 193675 w 981075"/>
                  <a:gd name="connsiteY25" fmla="*/ 1624012 h 2835274"/>
                  <a:gd name="connsiteX26" fmla="*/ 269875 w 981075"/>
                  <a:gd name="connsiteY26" fmla="*/ 1366837 h 2835274"/>
                  <a:gd name="connsiteX27" fmla="*/ 374650 w 981075"/>
                  <a:gd name="connsiteY27" fmla="*/ 795337 h 2835274"/>
                  <a:gd name="connsiteX28" fmla="*/ 403225 w 981075"/>
                  <a:gd name="connsiteY28" fmla="*/ 509587 h 2835274"/>
                  <a:gd name="connsiteX29" fmla="*/ 231775 w 981075"/>
                  <a:gd name="connsiteY29" fmla="*/ 395287 h 2835274"/>
                  <a:gd name="connsiteX30" fmla="*/ 422275 w 981075"/>
                  <a:gd name="connsiteY30" fmla="*/ 433387 h 2835274"/>
                  <a:gd name="connsiteX31" fmla="*/ 450850 w 981075"/>
                  <a:gd name="connsiteY31" fmla="*/ 395287 h 2835274"/>
                  <a:gd name="connsiteX32" fmla="*/ 479425 w 981075"/>
                  <a:gd name="connsiteY32" fmla="*/ 4762 h 2835274"/>
                  <a:gd name="connsiteX0" fmla="*/ 479425 w 981075"/>
                  <a:gd name="connsiteY0" fmla="*/ 4762 h 2835274"/>
                  <a:gd name="connsiteX1" fmla="*/ 498475 w 981075"/>
                  <a:gd name="connsiteY1" fmla="*/ 366712 h 2835274"/>
                  <a:gd name="connsiteX2" fmla="*/ 584200 w 981075"/>
                  <a:gd name="connsiteY2" fmla="*/ 395287 h 2835274"/>
                  <a:gd name="connsiteX3" fmla="*/ 681832 w 981075"/>
                  <a:gd name="connsiteY3" fmla="*/ 392906 h 2835274"/>
                  <a:gd name="connsiteX4" fmla="*/ 650875 w 981075"/>
                  <a:gd name="connsiteY4" fmla="*/ 757237 h 2835274"/>
                  <a:gd name="connsiteX5" fmla="*/ 698500 w 981075"/>
                  <a:gd name="connsiteY5" fmla="*/ 1404937 h 2835274"/>
                  <a:gd name="connsiteX6" fmla="*/ 841375 w 981075"/>
                  <a:gd name="connsiteY6" fmla="*/ 1747837 h 2835274"/>
                  <a:gd name="connsiteX7" fmla="*/ 917575 w 981075"/>
                  <a:gd name="connsiteY7" fmla="*/ 2205037 h 2835274"/>
                  <a:gd name="connsiteX8" fmla="*/ 936625 w 981075"/>
                  <a:gd name="connsiteY8" fmla="*/ 2414587 h 2835274"/>
                  <a:gd name="connsiteX9" fmla="*/ 965200 w 981075"/>
                  <a:gd name="connsiteY9" fmla="*/ 2500312 h 2835274"/>
                  <a:gd name="connsiteX10" fmla="*/ 841375 w 981075"/>
                  <a:gd name="connsiteY10" fmla="*/ 2576512 h 2835274"/>
                  <a:gd name="connsiteX11" fmla="*/ 693738 w 981075"/>
                  <a:gd name="connsiteY11" fmla="*/ 1824037 h 2835274"/>
                  <a:gd name="connsiteX12" fmla="*/ 567531 w 981075"/>
                  <a:gd name="connsiteY12" fmla="*/ 800099 h 2835274"/>
                  <a:gd name="connsiteX13" fmla="*/ 515144 w 981075"/>
                  <a:gd name="connsiteY13" fmla="*/ 561974 h 2835274"/>
                  <a:gd name="connsiteX14" fmla="*/ 460375 w 981075"/>
                  <a:gd name="connsiteY14" fmla="*/ 995362 h 2835274"/>
                  <a:gd name="connsiteX15" fmla="*/ 415131 w 981075"/>
                  <a:gd name="connsiteY15" fmla="*/ 1433512 h 2835274"/>
                  <a:gd name="connsiteX16" fmla="*/ 429419 w 981075"/>
                  <a:gd name="connsiteY16" fmla="*/ 1871662 h 2835274"/>
                  <a:gd name="connsiteX17" fmla="*/ 450850 w 981075"/>
                  <a:gd name="connsiteY17" fmla="*/ 2424112 h 2835274"/>
                  <a:gd name="connsiteX18" fmla="*/ 412750 w 981075"/>
                  <a:gd name="connsiteY18" fmla="*/ 2700337 h 2835274"/>
                  <a:gd name="connsiteX19" fmla="*/ 403225 w 981075"/>
                  <a:gd name="connsiteY19" fmla="*/ 2767012 h 2835274"/>
                  <a:gd name="connsiteX20" fmla="*/ 165100 w 981075"/>
                  <a:gd name="connsiteY20" fmla="*/ 2833687 h 2835274"/>
                  <a:gd name="connsiteX21" fmla="*/ 22225 w 981075"/>
                  <a:gd name="connsiteY21" fmla="*/ 2757487 h 2835274"/>
                  <a:gd name="connsiteX22" fmla="*/ 22225 w 981075"/>
                  <a:gd name="connsiteY22" fmla="*/ 2338387 h 2835274"/>
                  <a:gd name="connsiteX23" fmla="*/ 12700 w 981075"/>
                  <a:gd name="connsiteY23" fmla="*/ 1776412 h 2835274"/>
                  <a:gd name="connsiteX24" fmla="*/ 98425 w 981075"/>
                  <a:gd name="connsiteY24" fmla="*/ 1681162 h 2835274"/>
                  <a:gd name="connsiteX25" fmla="*/ 193675 w 981075"/>
                  <a:gd name="connsiteY25" fmla="*/ 1624012 h 2835274"/>
                  <a:gd name="connsiteX26" fmla="*/ 269875 w 981075"/>
                  <a:gd name="connsiteY26" fmla="*/ 1366837 h 2835274"/>
                  <a:gd name="connsiteX27" fmla="*/ 374650 w 981075"/>
                  <a:gd name="connsiteY27" fmla="*/ 795337 h 2835274"/>
                  <a:gd name="connsiteX28" fmla="*/ 403225 w 981075"/>
                  <a:gd name="connsiteY28" fmla="*/ 509587 h 2835274"/>
                  <a:gd name="connsiteX29" fmla="*/ 231775 w 981075"/>
                  <a:gd name="connsiteY29" fmla="*/ 395287 h 2835274"/>
                  <a:gd name="connsiteX30" fmla="*/ 422275 w 981075"/>
                  <a:gd name="connsiteY30" fmla="*/ 433387 h 2835274"/>
                  <a:gd name="connsiteX31" fmla="*/ 450850 w 981075"/>
                  <a:gd name="connsiteY31" fmla="*/ 395287 h 2835274"/>
                  <a:gd name="connsiteX32" fmla="*/ 479425 w 981075"/>
                  <a:gd name="connsiteY32" fmla="*/ 4762 h 2835274"/>
                  <a:gd name="connsiteX0" fmla="*/ 479425 w 981075"/>
                  <a:gd name="connsiteY0" fmla="*/ 4762 h 2835274"/>
                  <a:gd name="connsiteX1" fmla="*/ 498475 w 981075"/>
                  <a:gd name="connsiteY1" fmla="*/ 366712 h 2835274"/>
                  <a:gd name="connsiteX2" fmla="*/ 584200 w 981075"/>
                  <a:gd name="connsiteY2" fmla="*/ 395287 h 2835274"/>
                  <a:gd name="connsiteX3" fmla="*/ 681832 w 981075"/>
                  <a:gd name="connsiteY3" fmla="*/ 392906 h 2835274"/>
                  <a:gd name="connsiteX4" fmla="*/ 650875 w 981075"/>
                  <a:gd name="connsiteY4" fmla="*/ 757237 h 2835274"/>
                  <a:gd name="connsiteX5" fmla="*/ 698500 w 981075"/>
                  <a:gd name="connsiteY5" fmla="*/ 1404937 h 2835274"/>
                  <a:gd name="connsiteX6" fmla="*/ 841375 w 981075"/>
                  <a:gd name="connsiteY6" fmla="*/ 1747837 h 2835274"/>
                  <a:gd name="connsiteX7" fmla="*/ 917575 w 981075"/>
                  <a:gd name="connsiteY7" fmla="*/ 2205037 h 2835274"/>
                  <a:gd name="connsiteX8" fmla="*/ 936625 w 981075"/>
                  <a:gd name="connsiteY8" fmla="*/ 2414587 h 2835274"/>
                  <a:gd name="connsiteX9" fmla="*/ 965200 w 981075"/>
                  <a:gd name="connsiteY9" fmla="*/ 2500312 h 2835274"/>
                  <a:gd name="connsiteX10" fmla="*/ 841375 w 981075"/>
                  <a:gd name="connsiteY10" fmla="*/ 2576512 h 2835274"/>
                  <a:gd name="connsiteX11" fmla="*/ 693738 w 981075"/>
                  <a:gd name="connsiteY11" fmla="*/ 1824037 h 2835274"/>
                  <a:gd name="connsiteX12" fmla="*/ 567531 w 981075"/>
                  <a:gd name="connsiteY12" fmla="*/ 800099 h 2835274"/>
                  <a:gd name="connsiteX13" fmla="*/ 515144 w 981075"/>
                  <a:gd name="connsiteY13" fmla="*/ 561974 h 2835274"/>
                  <a:gd name="connsiteX14" fmla="*/ 460375 w 981075"/>
                  <a:gd name="connsiteY14" fmla="*/ 995362 h 2835274"/>
                  <a:gd name="connsiteX15" fmla="*/ 415131 w 981075"/>
                  <a:gd name="connsiteY15" fmla="*/ 1433512 h 2835274"/>
                  <a:gd name="connsiteX16" fmla="*/ 429419 w 981075"/>
                  <a:gd name="connsiteY16" fmla="*/ 1871662 h 2835274"/>
                  <a:gd name="connsiteX17" fmla="*/ 450850 w 981075"/>
                  <a:gd name="connsiteY17" fmla="*/ 2424112 h 2835274"/>
                  <a:gd name="connsiteX18" fmla="*/ 412750 w 981075"/>
                  <a:gd name="connsiteY18" fmla="*/ 2700337 h 2835274"/>
                  <a:gd name="connsiteX19" fmla="*/ 403225 w 981075"/>
                  <a:gd name="connsiteY19" fmla="*/ 2767012 h 2835274"/>
                  <a:gd name="connsiteX20" fmla="*/ 165100 w 981075"/>
                  <a:gd name="connsiteY20" fmla="*/ 2833687 h 2835274"/>
                  <a:gd name="connsiteX21" fmla="*/ 22225 w 981075"/>
                  <a:gd name="connsiteY21" fmla="*/ 2757487 h 2835274"/>
                  <a:gd name="connsiteX22" fmla="*/ 22225 w 981075"/>
                  <a:gd name="connsiteY22" fmla="*/ 2338387 h 2835274"/>
                  <a:gd name="connsiteX23" fmla="*/ 12700 w 981075"/>
                  <a:gd name="connsiteY23" fmla="*/ 1776412 h 2835274"/>
                  <a:gd name="connsiteX24" fmla="*/ 98425 w 981075"/>
                  <a:gd name="connsiteY24" fmla="*/ 1681162 h 2835274"/>
                  <a:gd name="connsiteX25" fmla="*/ 193675 w 981075"/>
                  <a:gd name="connsiteY25" fmla="*/ 1624012 h 2835274"/>
                  <a:gd name="connsiteX26" fmla="*/ 269875 w 981075"/>
                  <a:gd name="connsiteY26" fmla="*/ 1366837 h 2835274"/>
                  <a:gd name="connsiteX27" fmla="*/ 374650 w 981075"/>
                  <a:gd name="connsiteY27" fmla="*/ 795337 h 2835274"/>
                  <a:gd name="connsiteX28" fmla="*/ 403225 w 981075"/>
                  <a:gd name="connsiteY28" fmla="*/ 509587 h 2835274"/>
                  <a:gd name="connsiteX29" fmla="*/ 231775 w 981075"/>
                  <a:gd name="connsiteY29" fmla="*/ 395287 h 2835274"/>
                  <a:gd name="connsiteX30" fmla="*/ 422275 w 981075"/>
                  <a:gd name="connsiteY30" fmla="*/ 433387 h 2835274"/>
                  <a:gd name="connsiteX31" fmla="*/ 450850 w 981075"/>
                  <a:gd name="connsiteY31" fmla="*/ 395287 h 2835274"/>
                  <a:gd name="connsiteX32" fmla="*/ 479425 w 981075"/>
                  <a:gd name="connsiteY32" fmla="*/ 4762 h 2835274"/>
                  <a:gd name="connsiteX0" fmla="*/ 479425 w 981075"/>
                  <a:gd name="connsiteY0" fmla="*/ 4762 h 2835274"/>
                  <a:gd name="connsiteX1" fmla="*/ 498475 w 981075"/>
                  <a:gd name="connsiteY1" fmla="*/ 366712 h 2835274"/>
                  <a:gd name="connsiteX2" fmla="*/ 584200 w 981075"/>
                  <a:gd name="connsiteY2" fmla="*/ 421480 h 2835274"/>
                  <a:gd name="connsiteX3" fmla="*/ 681832 w 981075"/>
                  <a:gd name="connsiteY3" fmla="*/ 392906 h 2835274"/>
                  <a:gd name="connsiteX4" fmla="*/ 650875 w 981075"/>
                  <a:gd name="connsiteY4" fmla="*/ 757237 h 2835274"/>
                  <a:gd name="connsiteX5" fmla="*/ 698500 w 981075"/>
                  <a:gd name="connsiteY5" fmla="*/ 1404937 h 2835274"/>
                  <a:gd name="connsiteX6" fmla="*/ 841375 w 981075"/>
                  <a:gd name="connsiteY6" fmla="*/ 1747837 h 2835274"/>
                  <a:gd name="connsiteX7" fmla="*/ 917575 w 981075"/>
                  <a:gd name="connsiteY7" fmla="*/ 2205037 h 2835274"/>
                  <a:gd name="connsiteX8" fmla="*/ 936625 w 981075"/>
                  <a:gd name="connsiteY8" fmla="*/ 2414587 h 2835274"/>
                  <a:gd name="connsiteX9" fmla="*/ 965200 w 981075"/>
                  <a:gd name="connsiteY9" fmla="*/ 2500312 h 2835274"/>
                  <a:gd name="connsiteX10" fmla="*/ 841375 w 981075"/>
                  <a:gd name="connsiteY10" fmla="*/ 2576512 h 2835274"/>
                  <a:gd name="connsiteX11" fmla="*/ 693738 w 981075"/>
                  <a:gd name="connsiteY11" fmla="*/ 1824037 h 2835274"/>
                  <a:gd name="connsiteX12" fmla="*/ 567531 w 981075"/>
                  <a:gd name="connsiteY12" fmla="*/ 800099 h 2835274"/>
                  <a:gd name="connsiteX13" fmla="*/ 515144 w 981075"/>
                  <a:gd name="connsiteY13" fmla="*/ 561974 h 2835274"/>
                  <a:gd name="connsiteX14" fmla="*/ 460375 w 981075"/>
                  <a:gd name="connsiteY14" fmla="*/ 995362 h 2835274"/>
                  <a:gd name="connsiteX15" fmla="*/ 415131 w 981075"/>
                  <a:gd name="connsiteY15" fmla="*/ 1433512 h 2835274"/>
                  <a:gd name="connsiteX16" fmla="*/ 429419 w 981075"/>
                  <a:gd name="connsiteY16" fmla="*/ 1871662 h 2835274"/>
                  <a:gd name="connsiteX17" fmla="*/ 450850 w 981075"/>
                  <a:gd name="connsiteY17" fmla="*/ 2424112 h 2835274"/>
                  <a:gd name="connsiteX18" fmla="*/ 412750 w 981075"/>
                  <a:gd name="connsiteY18" fmla="*/ 2700337 h 2835274"/>
                  <a:gd name="connsiteX19" fmla="*/ 403225 w 981075"/>
                  <a:gd name="connsiteY19" fmla="*/ 2767012 h 2835274"/>
                  <a:gd name="connsiteX20" fmla="*/ 165100 w 981075"/>
                  <a:gd name="connsiteY20" fmla="*/ 2833687 h 2835274"/>
                  <a:gd name="connsiteX21" fmla="*/ 22225 w 981075"/>
                  <a:gd name="connsiteY21" fmla="*/ 2757487 h 2835274"/>
                  <a:gd name="connsiteX22" fmla="*/ 22225 w 981075"/>
                  <a:gd name="connsiteY22" fmla="*/ 2338387 h 2835274"/>
                  <a:gd name="connsiteX23" fmla="*/ 12700 w 981075"/>
                  <a:gd name="connsiteY23" fmla="*/ 1776412 h 2835274"/>
                  <a:gd name="connsiteX24" fmla="*/ 98425 w 981075"/>
                  <a:gd name="connsiteY24" fmla="*/ 1681162 h 2835274"/>
                  <a:gd name="connsiteX25" fmla="*/ 193675 w 981075"/>
                  <a:gd name="connsiteY25" fmla="*/ 1624012 h 2835274"/>
                  <a:gd name="connsiteX26" fmla="*/ 269875 w 981075"/>
                  <a:gd name="connsiteY26" fmla="*/ 1366837 h 2835274"/>
                  <a:gd name="connsiteX27" fmla="*/ 374650 w 981075"/>
                  <a:gd name="connsiteY27" fmla="*/ 795337 h 2835274"/>
                  <a:gd name="connsiteX28" fmla="*/ 403225 w 981075"/>
                  <a:gd name="connsiteY28" fmla="*/ 509587 h 2835274"/>
                  <a:gd name="connsiteX29" fmla="*/ 231775 w 981075"/>
                  <a:gd name="connsiteY29" fmla="*/ 395287 h 2835274"/>
                  <a:gd name="connsiteX30" fmla="*/ 422275 w 981075"/>
                  <a:gd name="connsiteY30" fmla="*/ 433387 h 2835274"/>
                  <a:gd name="connsiteX31" fmla="*/ 450850 w 981075"/>
                  <a:gd name="connsiteY31" fmla="*/ 395287 h 2835274"/>
                  <a:gd name="connsiteX32" fmla="*/ 479425 w 981075"/>
                  <a:gd name="connsiteY32" fmla="*/ 4762 h 2835274"/>
                  <a:gd name="connsiteX0" fmla="*/ 479425 w 981075"/>
                  <a:gd name="connsiteY0" fmla="*/ 4762 h 2835274"/>
                  <a:gd name="connsiteX1" fmla="*/ 498475 w 981075"/>
                  <a:gd name="connsiteY1" fmla="*/ 366712 h 2835274"/>
                  <a:gd name="connsiteX2" fmla="*/ 584200 w 981075"/>
                  <a:gd name="connsiteY2" fmla="*/ 421480 h 2835274"/>
                  <a:gd name="connsiteX3" fmla="*/ 681832 w 981075"/>
                  <a:gd name="connsiteY3" fmla="*/ 392906 h 2835274"/>
                  <a:gd name="connsiteX4" fmla="*/ 650875 w 981075"/>
                  <a:gd name="connsiteY4" fmla="*/ 757237 h 2835274"/>
                  <a:gd name="connsiteX5" fmla="*/ 698500 w 981075"/>
                  <a:gd name="connsiteY5" fmla="*/ 1404937 h 2835274"/>
                  <a:gd name="connsiteX6" fmla="*/ 841375 w 981075"/>
                  <a:gd name="connsiteY6" fmla="*/ 1747837 h 2835274"/>
                  <a:gd name="connsiteX7" fmla="*/ 917575 w 981075"/>
                  <a:gd name="connsiteY7" fmla="*/ 2205037 h 2835274"/>
                  <a:gd name="connsiteX8" fmla="*/ 936625 w 981075"/>
                  <a:gd name="connsiteY8" fmla="*/ 2414587 h 2835274"/>
                  <a:gd name="connsiteX9" fmla="*/ 965200 w 981075"/>
                  <a:gd name="connsiteY9" fmla="*/ 2500312 h 2835274"/>
                  <a:gd name="connsiteX10" fmla="*/ 841375 w 981075"/>
                  <a:gd name="connsiteY10" fmla="*/ 2576512 h 2835274"/>
                  <a:gd name="connsiteX11" fmla="*/ 693738 w 981075"/>
                  <a:gd name="connsiteY11" fmla="*/ 1824037 h 2835274"/>
                  <a:gd name="connsiteX12" fmla="*/ 567531 w 981075"/>
                  <a:gd name="connsiteY12" fmla="*/ 800099 h 2835274"/>
                  <a:gd name="connsiteX13" fmla="*/ 515144 w 981075"/>
                  <a:gd name="connsiteY13" fmla="*/ 561974 h 2835274"/>
                  <a:gd name="connsiteX14" fmla="*/ 460375 w 981075"/>
                  <a:gd name="connsiteY14" fmla="*/ 995362 h 2835274"/>
                  <a:gd name="connsiteX15" fmla="*/ 415131 w 981075"/>
                  <a:gd name="connsiteY15" fmla="*/ 1433512 h 2835274"/>
                  <a:gd name="connsiteX16" fmla="*/ 429419 w 981075"/>
                  <a:gd name="connsiteY16" fmla="*/ 1871662 h 2835274"/>
                  <a:gd name="connsiteX17" fmla="*/ 450850 w 981075"/>
                  <a:gd name="connsiteY17" fmla="*/ 2424112 h 2835274"/>
                  <a:gd name="connsiteX18" fmla="*/ 412750 w 981075"/>
                  <a:gd name="connsiteY18" fmla="*/ 2700337 h 2835274"/>
                  <a:gd name="connsiteX19" fmla="*/ 403225 w 981075"/>
                  <a:gd name="connsiteY19" fmla="*/ 2767012 h 2835274"/>
                  <a:gd name="connsiteX20" fmla="*/ 165100 w 981075"/>
                  <a:gd name="connsiteY20" fmla="*/ 2833687 h 2835274"/>
                  <a:gd name="connsiteX21" fmla="*/ 22225 w 981075"/>
                  <a:gd name="connsiteY21" fmla="*/ 2757487 h 2835274"/>
                  <a:gd name="connsiteX22" fmla="*/ 22225 w 981075"/>
                  <a:gd name="connsiteY22" fmla="*/ 2338387 h 2835274"/>
                  <a:gd name="connsiteX23" fmla="*/ 12700 w 981075"/>
                  <a:gd name="connsiteY23" fmla="*/ 1776412 h 2835274"/>
                  <a:gd name="connsiteX24" fmla="*/ 98425 w 981075"/>
                  <a:gd name="connsiteY24" fmla="*/ 1681162 h 2835274"/>
                  <a:gd name="connsiteX25" fmla="*/ 193675 w 981075"/>
                  <a:gd name="connsiteY25" fmla="*/ 1624012 h 2835274"/>
                  <a:gd name="connsiteX26" fmla="*/ 269875 w 981075"/>
                  <a:gd name="connsiteY26" fmla="*/ 1366837 h 2835274"/>
                  <a:gd name="connsiteX27" fmla="*/ 374650 w 981075"/>
                  <a:gd name="connsiteY27" fmla="*/ 795337 h 2835274"/>
                  <a:gd name="connsiteX28" fmla="*/ 403225 w 981075"/>
                  <a:gd name="connsiteY28" fmla="*/ 509587 h 2835274"/>
                  <a:gd name="connsiteX29" fmla="*/ 231775 w 981075"/>
                  <a:gd name="connsiteY29" fmla="*/ 395287 h 2835274"/>
                  <a:gd name="connsiteX30" fmla="*/ 422275 w 981075"/>
                  <a:gd name="connsiteY30" fmla="*/ 433387 h 2835274"/>
                  <a:gd name="connsiteX31" fmla="*/ 450850 w 981075"/>
                  <a:gd name="connsiteY31" fmla="*/ 395287 h 2835274"/>
                  <a:gd name="connsiteX32" fmla="*/ 479425 w 981075"/>
                  <a:gd name="connsiteY32" fmla="*/ 4762 h 2835274"/>
                  <a:gd name="connsiteX0" fmla="*/ 479425 w 981075"/>
                  <a:gd name="connsiteY0" fmla="*/ 4762 h 2835274"/>
                  <a:gd name="connsiteX1" fmla="*/ 498475 w 981075"/>
                  <a:gd name="connsiteY1" fmla="*/ 366712 h 2835274"/>
                  <a:gd name="connsiteX2" fmla="*/ 584200 w 981075"/>
                  <a:gd name="connsiteY2" fmla="*/ 421480 h 2835274"/>
                  <a:gd name="connsiteX3" fmla="*/ 681832 w 981075"/>
                  <a:gd name="connsiteY3" fmla="*/ 392906 h 2835274"/>
                  <a:gd name="connsiteX4" fmla="*/ 650875 w 981075"/>
                  <a:gd name="connsiteY4" fmla="*/ 757237 h 2835274"/>
                  <a:gd name="connsiteX5" fmla="*/ 698500 w 981075"/>
                  <a:gd name="connsiteY5" fmla="*/ 1404937 h 2835274"/>
                  <a:gd name="connsiteX6" fmla="*/ 841375 w 981075"/>
                  <a:gd name="connsiteY6" fmla="*/ 1747837 h 2835274"/>
                  <a:gd name="connsiteX7" fmla="*/ 917575 w 981075"/>
                  <a:gd name="connsiteY7" fmla="*/ 2205037 h 2835274"/>
                  <a:gd name="connsiteX8" fmla="*/ 936625 w 981075"/>
                  <a:gd name="connsiteY8" fmla="*/ 2414587 h 2835274"/>
                  <a:gd name="connsiteX9" fmla="*/ 965200 w 981075"/>
                  <a:gd name="connsiteY9" fmla="*/ 2500312 h 2835274"/>
                  <a:gd name="connsiteX10" fmla="*/ 841375 w 981075"/>
                  <a:gd name="connsiteY10" fmla="*/ 2576512 h 2835274"/>
                  <a:gd name="connsiteX11" fmla="*/ 693738 w 981075"/>
                  <a:gd name="connsiteY11" fmla="*/ 1824037 h 2835274"/>
                  <a:gd name="connsiteX12" fmla="*/ 567531 w 981075"/>
                  <a:gd name="connsiteY12" fmla="*/ 800099 h 2835274"/>
                  <a:gd name="connsiteX13" fmla="*/ 515144 w 981075"/>
                  <a:gd name="connsiteY13" fmla="*/ 561974 h 2835274"/>
                  <a:gd name="connsiteX14" fmla="*/ 460375 w 981075"/>
                  <a:gd name="connsiteY14" fmla="*/ 995362 h 2835274"/>
                  <a:gd name="connsiteX15" fmla="*/ 415131 w 981075"/>
                  <a:gd name="connsiteY15" fmla="*/ 1433512 h 2835274"/>
                  <a:gd name="connsiteX16" fmla="*/ 429419 w 981075"/>
                  <a:gd name="connsiteY16" fmla="*/ 1871662 h 2835274"/>
                  <a:gd name="connsiteX17" fmla="*/ 450850 w 981075"/>
                  <a:gd name="connsiteY17" fmla="*/ 2424112 h 2835274"/>
                  <a:gd name="connsiteX18" fmla="*/ 412750 w 981075"/>
                  <a:gd name="connsiteY18" fmla="*/ 2700337 h 2835274"/>
                  <a:gd name="connsiteX19" fmla="*/ 403225 w 981075"/>
                  <a:gd name="connsiteY19" fmla="*/ 2767012 h 2835274"/>
                  <a:gd name="connsiteX20" fmla="*/ 165100 w 981075"/>
                  <a:gd name="connsiteY20" fmla="*/ 2833687 h 2835274"/>
                  <a:gd name="connsiteX21" fmla="*/ 22225 w 981075"/>
                  <a:gd name="connsiteY21" fmla="*/ 2757487 h 2835274"/>
                  <a:gd name="connsiteX22" fmla="*/ 22225 w 981075"/>
                  <a:gd name="connsiteY22" fmla="*/ 2338387 h 2835274"/>
                  <a:gd name="connsiteX23" fmla="*/ 12700 w 981075"/>
                  <a:gd name="connsiteY23" fmla="*/ 1776412 h 2835274"/>
                  <a:gd name="connsiteX24" fmla="*/ 98425 w 981075"/>
                  <a:gd name="connsiteY24" fmla="*/ 1681162 h 2835274"/>
                  <a:gd name="connsiteX25" fmla="*/ 193675 w 981075"/>
                  <a:gd name="connsiteY25" fmla="*/ 1624012 h 2835274"/>
                  <a:gd name="connsiteX26" fmla="*/ 269875 w 981075"/>
                  <a:gd name="connsiteY26" fmla="*/ 1366837 h 2835274"/>
                  <a:gd name="connsiteX27" fmla="*/ 374650 w 981075"/>
                  <a:gd name="connsiteY27" fmla="*/ 795337 h 2835274"/>
                  <a:gd name="connsiteX28" fmla="*/ 403225 w 981075"/>
                  <a:gd name="connsiteY28" fmla="*/ 509587 h 2835274"/>
                  <a:gd name="connsiteX29" fmla="*/ 231775 w 981075"/>
                  <a:gd name="connsiteY29" fmla="*/ 395287 h 2835274"/>
                  <a:gd name="connsiteX30" fmla="*/ 422275 w 981075"/>
                  <a:gd name="connsiteY30" fmla="*/ 433387 h 2835274"/>
                  <a:gd name="connsiteX31" fmla="*/ 450850 w 981075"/>
                  <a:gd name="connsiteY31" fmla="*/ 395287 h 2835274"/>
                  <a:gd name="connsiteX32" fmla="*/ 479425 w 981075"/>
                  <a:gd name="connsiteY32" fmla="*/ 4762 h 2835274"/>
                  <a:gd name="connsiteX0" fmla="*/ 479425 w 981075"/>
                  <a:gd name="connsiteY0" fmla="*/ 3969 h 2834481"/>
                  <a:gd name="connsiteX1" fmla="*/ 498475 w 981075"/>
                  <a:gd name="connsiteY1" fmla="*/ 365919 h 2834481"/>
                  <a:gd name="connsiteX2" fmla="*/ 584200 w 981075"/>
                  <a:gd name="connsiteY2" fmla="*/ 420687 h 2834481"/>
                  <a:gd name="connsiteX3" fmla="*/ 681832 w 981075"/>
                  <a:gd name="connsiteY3" fmla="*/ 392113 h 2834481"/>
                  <a:gd name="connsiteX4" fmla="*/ 650875 w 981075"/>
                  <a:gd name="connsiteY4" fmla="*/ 756444 h 2834481"/>
                  <a:gd name="connsiteX5" fmla="*/ 698500 w 981075"/>
                  <a:gd name="connsiteY5" fmla="*/ 1404144 h 2834481"/>
                  <a:gd name="connsiteX6" fmla="*/ 841375 w 981075"/>
                  <a:gd name="connsiteY6" fmla="*/ 1747044 h 2834481"/>
                  <a:gd name="connsiteX7" fmla="*/ 917575 w 981075"/>
                  <a:gd name="connsiteY7" fmla="*/ 2204244 h 2834481"/>
                  <a:gd name="connsiteX8" fmla="*/ 936625 w 981075"/>
                  <a:gd name="connsiteY8" fmla="*/ 2413794 h 2834481"/>
                  <a:gd name="connsiteX9" fmla="*/ 965200 w 981075"/>
                  <a:gd name="connsiteY9" fmla="*/ 2499519 h 2834481"/>
                  <a:gd name="connsiteX10" fmla="*/ 841375 w 981075"/>
                  <a:gd name="connsiteY10" fmla="*/ 2575719 h 2834481"/>
                  <a:gd name="connsiteX11" fmla="*/ 693738 w 981075"/>
                  <a:gd name="connsiteY11" fmla="*/ 1823244 h 2834481"/>
                  <a:gd name="connsiteX12" fmla="*/ 567531 w 981075"/>
                  <a:gd name="connsiteY12" fmla="*/ 799306 h 2834481"/>
                  <a:gd name="connsiteX13" fmla="*/ 515144 w 981075"/>
                  <a:gd name="connsiteY13" fmla="*/ 561181 h 2834481"/>
                  <a:gd name="connsiteX14" fmla="*/ 460375 w 981075"/>
                  <a:gd name="connsiteY14" fmla="*/ 994569 h 2834481"/>
                  <a:gd name="connsiteX15" fmla="*/ 415131 w 981075"/>
                  <a:gd name="connsiteY15" fmla="*/ 1432719 h 2834481"/>
                  <a:gd name="connsiteX16" fmla="*/ 429419 w 981075"/>
                  <a:gd name="connsiteY16" fmla="*/ 1870869 h 2834481"/>
                  <a:gd name="connsiteX17" fmla="*/ 450850 w 981075"/>
                  <a:gd name="connsiteY17" fmla="*/ 2423319 h 2834481"/>
                  <a:gd name="connsiteX18" fmla="*/ 412750 w 981075"/>
                  <a:gd name="connsiteY18" fmla="*/ 2699544 h 2834481"/>
                  <a:gd name="connsiteX19" fmla="*/ 403225 w 981075"/>
                  <a:gd name="connsiteY19" fmla="*/ 2766219 h 2834481"/>
                  <a:gd name="connsiteX20" fmla="*/ 165100 w 981075"/>
                  <a:gd name="connsiteY20" fmla="*/ 2832894 h 2834481"/>
                  <a:gd name="connsiteX21" fmla="*/ 22225 w 981075"/>
                  <a:gd name="connsiteY21" fmla="*/ 2756694 h 2834481"/>
                  <a:gd name="connsiteX22" fmla="*/ 22225 w 981075"/>
                  <a:gd name="connsiteY22" fmla="*/ 2337594 h 2834481"/>
                  <a:gd name="connsiteX23" fmla="*/ 12700 w 981075"/>
                  <a:gd name="connsiteY23" fmla="*/ 1775619 h 2834481"/>
                  <a:gd name="connsiteX24" fmla="*/ 98425 w 981075"/>
                  <a:gd name="connsiteY24" fmla="*/ 1680369 h 2834481"/>
                  <a:gd name="connsiteX25" fmla="*/ 193675 w 981075"/>
                  <a:gd name="connsiteY25" fmla="*/ 1623219 h 2834481"/>
                  <a:gd name="connsiteX26" fmla="*/ 269875 w 981075"/>
                  <a:gd name="connsiteY26" fmla="*/ 1366044 h 2834481"/>
                  <a:gd name="connsiteX27" fmla="*/ 374650 w 981075"/>
                  <a:gd name="connsiteY27" fmla="*/ 794544 h 2834481"/>
                  <a:gd name="connsiteX28" fmla="*/ 403225 w 981075"/>
                  <a:gd name="connsiteY28" fmla="*/ 508794 h 2834481"/>
                  <a:gd name="connsiteX29" fmla="*/ 231775 w 981075"/>
                  <a:gd name="connsiteY29" fmla="*/ 394494 h 2834481"/>
                  <a:gd name="connsiteX30" fmla="*/ 422275 w 981075"/>
                  <a:gd name="connsiteY30" fmla="*/ 432594 h 2834481"/>
                  <a:gd name="connsiteX31" fmla="*/ 453231 w 981075"/>
                  <a:gd name="connsiteY31" fmla="*/ 342107 h 2834481"/>
                  <a:gd name="connsiteX32" fmla="*/ 479425 w 981075"/>
                  <a:gd name="connsiteY32" fmla="*/ 3969 h 2834481"/>
                  <a:gd name="connsiteX0" fmla="*/ 479425 w 981075"/>
                  <a:gd name="connsiteY0" fmla="*/ 3969 h 2834481"/>
                  <a:gd name="connsiteX1" fmla="*/ 498475 w 981075"/>
                  <a:gd name="connsiteY1" fmla="*/ 365919 h 2834481"/>
                  <a:gd name="connsiteX2" fmla="*/ 584200 w 981075"/>
                  <a:gd name="connsiteY2" fmla="*/ 420687 h 2834481"/>
                  <a:gd name="connsiteX3" fmla="*/ 681832 w 981075"/>
                  <a:gd name="connsiteY3" fmla="*/ 392113 h 2834481"/>
                  <a:gd name="connsiteX4" fmla="*/ 650875 w 981075"/>
                  <a:gd name="connsiteY4" fmla="*/ 756444 h 2834481"/>
                  <a:gd name="connsiteX5" fmla="*/ 698500 w 981075"/>
                  <a:gd name="connsiteY5" fmla="*/ 1404144 h 2834481"/>
                  <a:gd name="connsiteX6" fmla="*/ 841375 w 981075"/>
                  <a:gd name="connsiteY6" fmla="*/ 1747044 h 2834481"/>
                  <a:gd name="connsiteX7" fmla="*/ 917575 w 981075"/>
                  <a:gd name="connsiteY7" fmla="*/ 2204244 h 2834481"/>
                  <a:gd name="connsiteX8" fmla="*/ 936625 w 981075"/>
                  <a:gd name="connsiteY8" fmla="*/ 2413794 h 2834481"/>
                  <a:gd name="connsiteX9" fmla="*/ 965200 w 981075"/>
                  <a:gd name="connsiteY9" fmla="*/ 2499519 h 2834481"/>
                  <a:gd name="connsiteX10" fmla="*/ 841375 w 981075"/>
                  <a:gd name="connsiteY10" fmla="*/ 2575719 h 2834481"/>
                  <a:gd name="connsiteX11" fmla="*/ 693738 w 981075"/>
                  <a:gd name="connsiteY11" fmla="*/ 1823244 h 2834481"/>
                  <a:gd name="connsiteX12" fmla="*/ 567531 w 981075"/>
                  <a:gd name="connsiteY12" fmla="*/ 799306 h 2834481"/>
                  <a:gd name="connsiteX13" fmla="*/ 515144 w 981075"/>
                  <a:gd name="connsiteY13" fmla="*/ 561181 h 2834481"/>
                  <a:gd name="connsiteX14" fmla="*/ 460375 w 981075"/>
                  <a:gd name="connsiteY14" fmla="*/ 994569 h 2834481"/>
                  <a:gd name="connsiteX15" fmla="*/ 415131 w 981075"/>
                  <a:gd name="connsiteY15" fmla="*/ 1432719 h 2834481"/>
                  <a:gd name="connsiteX16" fmla="*/ 429419 w 981075"/>
                  <a:gd name="connsiteY16" fmla="*/ 1870869 h 2834481"/>
                  <a:gd name="connsiteX17" fmla="*/ 450850 w 981075"/>
                  <a:gd name="connsiteY17" fmla="*/ 2423319 h 2834481"/>
                  <a:gd name="connsiteX18" fmla="*/ 412750 w 981075"/>
                  <a:gd name="connsiteY18" fmla="*/ 2699544 h 2834481"/>
                  <a:gd name="connsiteX19" fmla="*/ 403225 w 981075"/>
                  <a:gd name="connsiteY19" fmla="*/ 2766219 h 2834481"/>
                  <a:gd name="connsiteX20" fmla="*/ 165100 w 981075"/>
                  <a:gd name="connsiteY20" fmla="*/ 2832894 h 2834481"/>
                  <a:gd name="connsiteX21" fmla="*/ 22225 w 981075"/>
                  <a:gd name="connsiteY21" fmla="*/ 2756694 h 2834481"/>
                  <a:gd name="connsiteX22" fmla="*/ 22225 w 981075"/>
                  <a:gd name="connsiteY22" fmla="*/ 2337594 h 2834481"/>
                  <a:gd name="connsiteX23" fmla="*/ 12700 w 981075"/>
                  <a:gd name="connsiteY23" fmla="*/ 1775619 h 2834481"/>
                  <a:gd name="connsiteX24" fmla="*/ 98425 w 981075"/>
                  <a:gd name="connsiteY24" fmla="*/ 1680369 h 2834481"/>
                  <a:gd name="connsiteX25" fmla="*/ 193675 w 981075"/>
                  <a:gd name="connsiteY25" fmla="*/ 1623219 h 2834481"/>
                  <a:gd name="connsiteX26" fmla="*/ 269875 w 981075"/>
                  <a:gd name="connsiteY26" fmla="*/ 1366044 h 2834481"/>
                  <a:gd name="connsiteX27" fmla="*/ 374650 w 981075"/>
                  <a:gd name="connsiteY27" fmla="*/ 794544 h 2834481"/>
                  <a:gd name="connsiteX28" fmla="*/ 342265 w 981075"/>
                  <a:gd name="connsiteY28" fmla="*/ 508794 h 2834481"/>
                  <a:gd name="connsiteX29" fmla="*/ 231775 w 981075"/>
                  <a:gd name="connsiteY29" fmla="*/ 394494 h 2834481"/>
                  <a:gd name="connsiteX30" fmla="*/ 422275 w 981075"/>
                  <a:gd name="connsiteY30" fmla="*/ 432594 h 2834481"/>
                  <a:gd name="connsiteX31" fmla="*/ 453231 w 981075"/>
                  <a:gd name="connsiteY31" fmla="*/ 342107 h 2834481"/>
                  <a:gd name="connsiteX32" fmla="*/ 479425 w 981075"/>
                  <a:gd name="connsiteY32" fmla="*/ 3969 h 2834481"/>
                  <a:gd name="connsiteX0" fmla="*/ 479425 w 981075"/>
                  <a:gd name="connsiteY0" fmla="*/ 3969 h 2834481"/>
                  <a:gd name="connsiteX1" fmla="*/ 498475 w 981075"/>
                  <a:gd name="connsiteY1" fmla="*/ 365919 h 2834481"/>
                  <a:gd name="connsiteX2" fmla="*/ 584200 w 981075"/>
                  <a:gd name="connsiteY2" fmla="*/ 420687 h 2834481"/>
                  <a:gd name="connsiteX3" fmla="*/ 681832 w 981075"/>
                  <a:gd name="connsiteY3" fmla="*/ 392113 h 2834481"/>
                  <a:gd name="connsiteX4" fmla="*/ 650875 w 981075"/>
                  <a:gd name="connsiteY4" fmla="*/ 756444 h 2834481"/>
                  <a:gd name="connsiteX5" fmla="*/ 698500 w 981075"/>
                  <a:gd name="connsiteY5" fmla="*/ 1404144 h 2834481"/>
                  <a:gd name="connsiteX6" fmla="*/ 841375 w 981075"/>
                  <a:gd name="connsiteY6" fmla="*/ 1747044 h 2834481"/>
                  <a:gd name="connsiteX7" fmla="*/ 917575 w 981075"/>
                  <a:gd name="connsiteY7" fmla="*/ 2204244 h 2834481"/>
                  <a:gd name="connsiteX8" fmla="*/ 936625 w 981075"/>
                  <a:gd name="connsiteY8" fmla="*/ 2413794 h 2834481"/>
                  <a:gd name="connsiteX9" fmla="*/ 965200 w 981075"/>
                  <a:gd name="connsiteY9" fmla="*/ 2499519 h 2834481"/>
                  <a:gd name="connsiteX10" fmla="*/ 841375 w 981075"/>
                  <a:gd name="connsiteY10" fmla="*/ 2575719 h 2834481"/>
                  <a:gd name="connsiteX11" fmla="*/ 693738 w 981075"/>
                  <a:gd name="connsiteY11" fmla="*/ 1823244 h 2834481"/>
                  <a:gd name="connsiteX12" fmla="*/ 567531 w 981075"/>
                  <a:gd name="connsiteY12" fmla="*/ 799306 h 2834481"/>
                  <a:gd name="connsiteX13" fmla="*/ 515144 w 981075"/>
                  <a:gd name="connsiteY13" fmla="*/ 561181 h 2834481"/>
                  <a:gd name="connsiteX14" fmla="*/ 460375 w 981075"/>
                  <a:gd name="connsiteY14" fmla="*/ 994569 h 2834481"/>
                  <a:gd name="connsiteX15" fmla="*/ 415131 w 981075"/>
                  <a:gd name="connsiteY15" fmla="*/ 1432719 h 2834481"/>
                  <a:gd name="connsiteX16" fmla="*/ 429419 w 981075"/>
                  <a:gd name="connsiteY16" fmla="*/ 1870869 h 2834481"/>
                  <a:gd name="connsiteX17" fmla="*/ 450850 w 981075"/>
                  <a:gd name="connsiteY17" fmla="*/ 2423319 h 2834481"/>
                  <a:gd name="connsiteX18" fmla="*/ 412750 w 981075"/>
                  <a:gd name="connsiteY18" fmla="*/ 2699544 h 2834481"/>
                  <a:gd name="connsiteX19" fmla="*/ 403225 w 981075"/>
                  <a:gd name="connsiteY19" fmla="*/ 2766219 h 2834481"/>
                  <a:gd name="connsiteX20" fmla="*/ 165100 w 981075"/>
                  <a:gd name="connsiteY20" fmla="*/ 2832894 h 2834481"/>
                  <a:gd name="connsiteX21" fmla="*/ 22225 w 981075"/>
                  <a:gd name="connsiteY21" fmla="*/ 2756694 h 2834481"/>
                  <a:gd name="connsiteX22" fmla="*/ 22225 w 981075"/>
                  <a:gd name="connsiteY22" fmla="*/ 2337594 h 2834481"/>
                  <a:gd name="connsiteX23" fmla="*/ 12700 w 981075"/>
                  <a:gd name="connsiteY23" fmla="*/ 1775619 h 2834481"/>
                  <a:gd name="connsiteX24" fmla="*/ 98425 w 981075"/>
                  <a:gd name="connsiteY24" fmla="*/ 1680369 h 2834481"/>
                  <a:gd name="connsiteX25" fmla="*/ 193675 w 981075"/>
                  <a:gd name="connsiteY25" fmla="*/ 1623219 h 2834481"/>
                  <a:gd name="connsiteX26" fmla="*/ 269875 w 981075"/>
                  <a:gd name="connsiteY26" fmla="*/ 1366044 h 2834481"/>
                  <a:gd name="connsiteX27" fmla="*/ 345621 w 981075"/>
                  <a:gd name="connsiteY27" fmla="*/ 794544 h 2834481"/>
                  <a:gd name="connsiteX28" fmla="*/ 342265 w 981075"/>
                  <a:gd name="connsiteY28" fmla="*/ 508794 h 2834481"/>
                  <a:gd name="connsiteX29" fmla="*/ 231775 w 981075"/>
                  <a:gd name="connsiteY29" fmla="*/ 394494 h 2834481"/>
                  <a:gd name="connsiteX30" fmla="*/ 422275 w 981075"/>
                  <a:gd name="connsiteY30" fmla="*/ 432594 h 2834481"/>
                  <a:gd name="connsiteX31" fmla="*/ 453231 w 981075"/>
                  <a:gd name="connsiteY31" fmla="*/ 342107 h 2834481"/>
                  <a:gd name="connsiteX32" fmla="*/ 479425 w 981075"/>
                  <a:gd name="connsiteY32" fmla="*/ 3969 h 2834481"/>
                  <a:gd name="connsiteX0" fmla="*/ 479425 w 981075"/>
                  <a:gd name="connsiteY0" fmla="*/ 3969 h 2834481"/>
                  <a:gd name="connsiteX1" fmla="*/ 498475 w 981075"/>
                  <a:gd name="connsiteY1" fmla="*/ 365919 h 2834481"/>
                  <a:gd name="connsiteX2" fmla="*/ 584200 w 981075"/>
                  <a:gd name="connsiteY2" fmla="*/ 420687 h 2834481"/>
                  <a:gd name="connsiteX3" fmla="*/ 681832 w 981075"/>
                  <a:gd name="connsiteY3" fmla="*/ 392113 h 2834481"/>
                  <a:gd name="connsiteX4" fmla="*/ 650875 w 981075"/>
                  <a:gd name="connsiteY4" fmla="*/ 756444 h 2834481"/>
                  <a:gd name="connsiteX5" fmla="*/ 698500 w 981075"/>
                  <a:gd name="connsiteY5" fmla="*/ 1404144 h 2834481"/>
                  <a:gd name="connsiteX6" fmla="*/ 841375 w 981075"/>
                  <a:gd name="connsiteY6" fmla="*/ 1747044 h 2834481"/>
                  <a:gd name="connsiteX7" fmla="*/ 917575 w 981075"/>
                  <a:gd name="connsiteY7" fmla="*/ 2204244 h 2834481"/>
                  <a:gd name="connsiteX8" fmla="*/ 936625 w 981075"/>
                  <a:gd name="connsiteY8" fmla="*/ 2413794 h 2834481"/>
                  <a:gd name="connsiteX9" fmla="*/ 965200 w 981075"/>
                  <a:gd name="connsiteY9" fmla="*/ 2499519 h 2834481"/>
                  <a:gd name="connsiteX10" fmla="*/ 841375 w 981075"/>
                  <a:gd name="connsiteY10" fmla="*/ 2575719 h 2834481"/>
                  <a:gd name="connsiteX11" fmla="*/ 693738 w 981075"/>
                  <a:gd name="connsiteY11" fmla="*/ 1823244 h 2834481"/>
                  <a:gd name="connsiteX12" fmla="*/ 567531 w 981075"/>
                  <a:gd name="connsiteY12" fmla="*/ 799306 h 2834481"/>
                  <a:gd name="connsiteX13" fmla="*/ 515144 w 981075"/>
                  <a:gd name="connsiteY13" fmla="*/ 561181 h 2834481"/>
                  <a:gd name="connsiteX14" fmla="*/ 460375 w 981075"/>
                  <a:gd name="connsiteY14" fmla="*/ 994569 h 2834481"/>
                  <a:gd name="connsiteX15" fmla="*/ 415131 w 981075"/>
                  <a:gd name="connsiteY15" fmla="*/ 1432719 h 2834481"/>
                  <a:gd name="connsiteX16" fmla="*/ 429419 w 981075"/>
                  <a:gd name="connsiteY16" fmla="*/ 1870869 h 2834481"/>
                  <a:gd name="connsiteX17" fmla="*/ 450850 w 981075"/>
                  <a:gd name="connsiteY17" fmla="*/ 2423319 h 2834481"/>
                  <a:gd name="connsiteX18" fmla="*/ 412750 w 981075"/>
                  <a:gd name="connsiteY18" fmla="*/ 2699544 h 2834481"/>
                  <a:gd name="connsiteX19" fmla="*/ 403225 w 981075"/>
                  <a:gd name="connsiteY19" fmla="*/ 2766219 h 2834481"/>
                  <a:gd name="connsiteX20" fmla="*/ 165100 w 981075"/>
                  <a:gd name="connsiteY20" fmla="*/ 2832894 h 2834481"/>
                  <a:gd name="connsiteX21" fmla="*/ 22225 w 981075"/>
                  <a:gd name="connsiteY21" fmla="*/ 2756694 h 2834481"/>
                  <a:gd name="connsiteX22" fmla="*/ 22225 w 981075"/>
                  <a:gd name="connsiteY22" fmla="*/ 2337594 h 2834481"/>
                  <a:gd name="connsiteX23" fmla="*/ 12700 w 981075"/>
                  <a:gd name="connsiteY23" fmla="*/ 1775619 h 2834481"/>
                  <a:gd name="connsiteX24" fmla="*/ 98425 w 981075"/>
                  <a:gd name="connsiteY24" fmla="*/ 1680369 h 2834481"/>
                  <a:gd name="connsiteX25" fmla="*/ 193675 w 981075"/>
                  <a:gd name="connsiteY25" fmla="*/ 1623219 h 2834481"/>
                  <a:gd name="connsiteX26" fmla="*/ 269875 w 981075"/>
                  <a:gd name="connsiteY26" fmla="*/ 1366044 h 2834481"/>
                  <a:gd name="connsiteX27" fmla="*/ 328204 w 981075"/>
                  <a:gd name="connsiteY27" fmla="*/ 794544 h 2834481"/>
                  <a:gd name="connsiteX28" fmla="*/ 342265 w 981075"/>
                  <a:gd name="connsiteY28" fmla="*/ 508794 h 2834481"/>
                  <a:gd name="connsiteX29" fmla="*/ 231775 w 981075"/>
                  <a:gd name="connsiteY29" fmla="*/ 394494 h 2834481"/>
                  <a:gd name="connsiteX30" fmla="*/ 422275 w 981075"/>
                  <a:gd name="connsiteY30" fmla="*/ 432594 h 2834481"/>
                  <a:gd name="connsiteX31" fmla="*/ 453231 w 981075"/>
                  <a:gd name="connsiteY31" fmla="*/ 342107 h 2834481"/>
                  <a:gd name="connsiteX32" fmla="*/ 479425 w 981075"/>
                  <a:gd name="connsiteY32" fmla="*/ 3969 h 2834481"/>
                  <a:gd name="connsiteX0" fmla="*/ 479425 w 981075"/>
                  <a:gd name="connsiteY0" fmla="*/ 3969 h 2834481"/>
                  <a:gd name="connsiteX1" fmla="*/ 498475 w 981075"/>
                  <a:gd name="connsiteY1" fmla="*/ 365919 h 2834481"/>
                  <a:gd name="connsiteX2" fmla="*/ 584200 w 981075"/>
                  <a:gd name="connsiteY2" fmla="*/ 420687 h 2834481"/>
                  <a:gd name="connsiteX3" fmla="*/ 681832 w 981075"/>
                  <a:gd name="connsiteY3" fmla="*/ 392113 h 2834481"/>
                  <a:gd name="connsiteX4" fmla="*/ 650875 w 981075"/>
                  <a:gd name="connsiteY4" fmla="*/ 756444 h 2834481"/>
                  <a:gd name="connsiteX5" fmla="*/ 698500 w 981075"/>
                  <a:gd name="connsiteY5" fmla="*/ 1404144 h 2834481"/>
                  <a:gd name="connsiteX6" fmla="*/ 841375 w 981075"/>
                  <a:gd name="connsiteY6" fmla="*/ 1747044 h 2834481"/>
                  <a:gd name="connsiteX7" fmla="*/ 917575 w 981075"/>
                  <a:gd name="connsiteY7" fmla="*/ 2204244 h 2834481"/>
                  <a:gd name="connsiteX8" fmla="*/ 936625 w 981075"/>
                  <a:gd name="connsiteY8" fmla="*/ 2413794 h 2834481"/>
                  <a:gd name="connsiteX9" fmla="*/ 965200 w 981075"/>
                  <a:gd name="connsiteY9" fmla="*/ 2499519 h 2834481"/>
                  <a:gd name="connsiteX10" fmla="*/ 841375 w 981075"/>
                  <a:gd name="connsiteY10" fmla="*/ 2575719 h 2834481"/>
                  <a:gd name="connsiteX11" fmla="*/ 693738 w 981075"/>
                  <a:gd name="connsiteY11" fmla="*/ 1823244 h 2834481"/>
                  <a:gd name="connsiteX12" fmla="*/ 567531 w 981075"/>
                  <a:gd name="connsiteY12" fmla="*/ 799306 h 2834481"/>
                  <a:gd name="connsiteX13" fmla="*/ 515144 w 981075"/>
                  <a:gd name="connsiteY13" fmla="*/ 561181 h 2834481"/>
                  <a:gd name="connsiteX14" fmla="*/ 460375 w 981075"/>
                  <a:gd name="connsiteY14" fmla="*/ 994569 h 2834481"/>
                  <a:gd name="connsiteX15" fmla="*/ 415131 w 981075"/>
                  <a:gd name="connsiteY15" fmla="*/ 1432719 h 2834481"/>
                  <a:gd name="connsiteX16" fmla="*/ 429419 w 981075"/>
                  <a:gd name="connsiteY16" fmla="*/ 1870869 h 2834481"/>
                  <a:gd name="connsiteX17" fmla="*/ 450850 w 981075"/>
                  <a:gd name="connsiteY17" fmla="*/ 2423319 h 2834481"/>
                  <a:gd name="connsiteX18" fmla="*/ 412750 w 981075"/>
                  <a:gd name="connsiteY18" fmla="*/ 2699544 h 2834481"/>
                  <a:gd name="connsiteX19" fmla="*/ 403225 w 981075"/>
                  <a:gd name="connsiteY19" fmla="*/ 2766219 h 2834481"/>
                  <a:gd name="connsiteX20" fmla="*/ 165100 w 981075"/>
                  <a:gd name="connsiteY20" fmla="*/ 2832894 h 2834481"/>
                  <a:gd name="connsiteX21" fmla="*/ 22225 w 981075"/>
                  <a:gd name="connsiteY21" fmla="*/ 2756694 h 2834481"/>
                  <a:gd name="connsiteX22" fmla="*/ 22225 w 981075"/>
                  <a:gd name="connsiteY22" fmla="*/ 2337594 h 2834481"/>
                  <a:gd name="connsiteX23" fmla="*/ 12700 w 981075"/>
                  <a:gd name="connsiteY23" fmla="*/ 1775619 h 2834481"/>
                  <a:gd name="connsiteX24" fmla="*/ 98425 w 981075"/>
                  <a:gd name="connsiteY24" fmla="*/ 1680369 h 2834481"/>
                  <a:gd name="connsiteX25" fmla="*/ 193675 w 981075"/>
                  <a:gd name="connsiteY25" fmla="*/ 1623219 h 2834481"/>
                  <a:gd name="connsiteX26" fmla="*/ 269875 w 981075"/>
                  <a:gd name="connsiteY26" fmla="*/ 1366044 h 2834481"/>
                  <a:gd name="connsiteX27" fmla="*/ 328204 w 981075"/>
                  <a:gd name="connsiteY27" fmla="*/ 794544 h 2834481"/>
                  <a:gd name="connsiteX28" fmla="*/ 327751 w 981075"/>
                  <a:gd name="connsiteY28" fmla="*/ 508794 h 2834481"/>
                  <a:gd name="connsiteX29" fmla="*/ 231775 w 981075"/>
                  <a:gd name="connsiteY29" fmla="*/ 394494 h 2834481"/>
                  <a:gd name="connsiteX30" fmla="*/ 422275 w 981075"/>
                  <a:gd name="connsiteY30" fmla="*/ 432594 h 2834481"/>
                  <a:gd name="connsiteX31" fmla="*/ 453231 w 981075"/>
                  <a:gd name="connsiteY31" fmla="*/ 342107 h 2834481"/>
                  <a:gd name="connsiteX32" fmla="*/ 479425 w 981075"/>
                  <a:gd name="connsiteY32" fmla="*/ 3969 h 2834481"/>
                  <a:gd name="connsiteX0" fmla="*/ 479425 w 981075"/>
                  <a:gd name="connsiteY0" fmla="*/ 3969 h 2834481"/>
                  <a:gd name="connsiteX1" fmla="*/ 498475 w 981075"/>
                  <a:gd name="connsiteY1" fmla="*/ 365919 h 2834481"/>
                  <a:gd name="connsiteX2" fmla="*/ 584200 w 981075"/>
                  <a:gd name="connsiteY2" fmla="*/ 420687 h 2834481"/>
                  <a:gd name="connsiteX3" fmla="*/ 681832 w 981075"/>
                  <a:gd name="connsiteY3" fmla="*/ 392113 h 2834481"/>
                  <a:gd name="connsiteX4" fmla="*/ 650875 w 981075"/>
                  <a:gd name="connsiteY4" fmla="*/ 756444 h 2834481"/>
                  <a:gd name="connsiteX5" fmla="*/ 698500 w 981075"/>
                  <a:gd name="connsiteY5" fmla="*/ 1404144 h 2834481"/>
                  <a:gd name="connsiteX6" fmla="*/ 841375 w 981075"/>
                  <a:gd name="connsiteY6" fmla="*/ 1747044 h 2834481"/>
                  <a:gd name="connsiteX7" fmla="*/ 917575 w 981075"/>
                  <a:gd name="connsiteY7" fmla="*/ 2204244 h 2834481"/>
                  <a:gd name="connsiteX8" fmla="*/ 936625 w 981075"/>
                  <a:gd name="connsiteY8" fmla="*/ 2413794 h 2834481"/>
                  <a:gd name="connsiteX9" fmla="*/ 965200 w 981075"/>
                  <a:gd name="connsiteY9" fmla="*/ 2499519 h 2834481"/>
                  <a:gd name="connsiteX10" fmla="*/ 841375 w 981075"/>
                  <a:gd name="connsiteY10" fmla="*/ 2575719 h 2834481"/>
                  <a:gd name="connsiteX11" fmla="*/ 693738 w 981075"/>
                  <a:gd name="connsiteY11" fmla="*/ 1823244 h 2834481"/>
                  <a:gd name="connsiteX12" fmla="*/ 567531 w 981075"/>
                  <a:gd name="connsiteY12" fmla="*/ 799306 h 2834481"/>
                  <a:gd name="connsiteX13" fmla="*/ 515144 w 981075"/>
                  <a:gd name="connsiteY13" fmla="*/ 561181 h 2834481"/>
                  <a:gd name="connsiteX14" fmla="*/ 460375 w 981075"/>
                  <a:gd name="connsiteY14" fmla="*/ 994569 h 2834481"/>
                  <a:gd name="connsiteX15" fmla="*/ 415131 w 981075"/>
                  <a:gd name="connsiteY15" fmla="*/ 1432719 h 2834481"/>
                  <a:gd name="connsiteX16" fmla="*/ 429419 w 981075"/>
                  <a:gd name="connsiteY16" fmla="*/ 1870869 h 2834481"/>
                  <a:gd name="connsiteX17" fmla="*/ 450850 w 981075"/>
                  <a:gd name="connsiteY17" fmla="*/ 2423319 h 2834481"/>
                  <a:gd name="connsiteX18" fmla="*/ 412750 w 981075"/>
                  <a:gd name="connsiteY18" fmla="*/ 2699544 h 2834481"/>
                  <a:gd name="connsiteX19" fmla="*/ 403225 w 981075"/>
                  <a:gd name="connsiteY19" fmla="*/ 2766219 h 2834481"/>
                  <a:gd name="connsiteX20" fmla="*/ 165100 w 981075"/>
                  <a:gd name="connsiteY20" fmla="*/ 2832894 h 2834481"/>
                  <a:gd name="connsiteX21" fmla="*/ 22225 w 981075"/>
                  <a:gd name="connsiteY21" fmla="*/ 2756694 h 2834481"/>
                  <a:gd name="connsiteX22" fmla="*/ 22225 w 981075"/>
                  <a:gd name="connsiteY22" fmla="*/ 2337594 h 2834481"/>
                  <a:gd name="connsiteX23" fmla="*/ 12700 w 981075"/>
                  <a:gd name="connsiteY23" fmla="*/ 1775619 h 2834481"/>
                  <a:gd name="connsiteX24" fmla="*/ 98425 w 981075"/>
                  <a:gd name="connsiteY24" fmla="*/ 1680369 h 2834481"/>
                  <a:gd name="connsiteX25" fmla="*/ 193675 w 981075"/>
                  <a:gd name="connsiteY25" fmla="*/ 1623219 h 2834481"/>
                  <a:gd name="connsiteX26" fmla="*/ 287292 w 981075"/>
                  <a:gd name="connsiteY26" fmla="*/ 1368947 h 2834481"/>
                  <a:gd name="connsiteX27" fmla="*/ 328204 w 981075"/>
                  <a:gd name="connsiteY27" fmla="*/ 794544 h 2834481"/>
                  <a:gd name="connsiteX28" fmla="*/ 327751 w 981075"/>
                  <a:gd name="connsiteY28" fmla="*/ 508794 h 2834481"/>
                  <a:gd name="connsiteX29" fmla="*/ 231775 w 981075"/>
                  <a:gd name="connsiteY29" fmla="*/ 394494 h 2834481"/>
                  <a:gd name="connsiteX30" fmla="*/ 422275 w 981075"/>
                  <a:gd name="connsiteY30" fmla="*/ 432594 h 2834481"/>
                  <a:gd name="connsiteX31" fmla="*/ 453231 w 981075"/>
                  <a:gd name="connsiteY31" fmla="*/ 342107 h 2834481"/>
                  <a:gd name="connsiteX32" fmla="*/ 479425 w 981075"/>
                  <a:gd name="connsiteY32" fmla="*/ 3969 h 2834481"/>
                  <a:gd name="connsiteX0" fmla="*/ 479425 w 981075"/>
                  <a:gd name="connsiteY0" fmla="*/ 3969 h 2834481"/>
                  <a:gd name="connsiteX1" fmla="*/ 469900 w 981075"/>
                  <a:gd name="connsiteY1" fmla="*/ 365919 h 2834481"/>
                  <a:gd name="connsiteX2" fmla="*/ 584200 w 981075"/>
                  <a:gd name="connsiteY2" fmla="*/ 420687 h 2834481"/>
                  <a:gd name="connsiteX3" fmla="*/ 681832 w 981075"/>
                  <a:gd name="connsiteY3" fmla="*/ 392113 h 2834481"/>
                  <a:gd name="connsiteX4" fmla="*/ 650875 w 981075"/>
                  <a:gd name="connsiteY4" fmla="*/ 756444 h 2834481"/>
                  <a:gd name="connsiteX5" fmla="*/ 698500 w 981075"/>
                  <a:gd name="connsiteY5" fmla="*/ 1404144 h 2834481"/>
                  <a:gd name="connsiteX6" fmla="*/ 841375 w 981075"/>
                  <a:gd name="connsiteY6" fmla="*/ 1747044 h 2834481"/>
                  <a:gd name="connsiteX7" fmla="*/ 917575 w 981075"/>
                  <a:gd name="connsiteY7" fmla="*/ 2204244 h 2834481"/>
                  <a:gd name="connsiteX8" fmla="*/ 936625 w 981075"/>
                  <a:gd name="connsiteY8" fmla="*/ 2413794 h 2834481"/>
                  <a:gd name="connsiteX9" fmla="*/ 965200 w 981075"/>
                  <a:gd name="connsiteY9" fmla="*/ 2499519 h 2834481"/>
                  <a:gd name="connsiteX10" fmla="*/ 841375 w 981075"/>
                  <a:gd name="connsiteY10" fmla="*/ 2575719 h 2834481"/>
                  <a:gd name="connsiteX11" fmla="*/ 693738 w 981075"/>
                  <a:gd name="connsiteY11" fmla="*/ 1823244 h 2834481"/>
                  <a:gd name="connsiteX12" fmla="*/ 567531 w 981075"/>
                  <a:gd name="connsiteY12" fmla="*/ 799306 h 2834481"/>
                  <a:gd name="connsiteX13" fmla="*/ 515144 w 981075"/>
                  <a:gd name="connsiteY13" fmla="*/ 561181 h 2834481"/>
                  <a:gd name="connsiteX14" fmla="*/ 460375 w 981075"/>
                  <a:gd name="connsiteY14" fmla="*/ 994569 h 2834481"/>
                  <a:gd name="connsiteX15" fmla="*/ 415131 w 981075"/>
                  <a:gd name="connsiteY15" fmla="*/ 1432719 h 2834481"/>
                  <a:gd name="connsiteX16" fmla="*/ 429419 w 981075"/>
                  <a:gd name="connsiteY16" fmla="*/ 1870869 h 2834481"/>
                  <a:gd name="connsiteX17" fmla="*/ 450850 w 981075"/>
                  <a:gd name="connsiteY17" fmla="*/ 2423319 h 2834481"/>
                  <a:gd name="connsiteX18" fmla="*/ 412750 w 981075"/>
                  <a:gd name="connsiteY18" fmla="*/ 2699544 h 2834481"/>
                  <a:gd name="connsiteX19" fmla="*/ 403225 w 981075"/>
                  <a:gd name="connsiteY19" fmla="*/ 2766219 h 2834481"/>
                  <a:gd name="connsiteX20" fmla="*/ 165100 w 981075"/>
                  <a:gd name="connsiteY20" fmla="*/ 2832894 h 2834481"/>
                  <a:gd name="connsiteX21" fmla="*/ 22225 w 981075"/>
                  <a:gd name="connsiteY21" fmla="*/ 2756694 h 2834481"/>
                  <a:gd name="connsiteX22" fmla="*/ 22225 w 981075"/>
                  <a:gd name="connsiteY22" fmla="*/ 2337594 h 2834481"/>
                  <a:gd name="connsiteX23" fmla="*/ 12700 w 981075"/>
                  <a:gd name="connsiteY23" fmla="*/ 1775619 h 2834481"/>
                  <a:gd name="connsiteX24" fmla="*/ 98425 w 981075"/>
                  <a:gd name="connsiteY24" fmla="*/ 1680369 h 2834481"/>
                  <a:gd name="connsiteX25" fmla="*/ 193675 w 981075"/>
                  <a:gd name="connsiteY25" fmla="*/ 1623219 h 2834481"/>
                  <a:gd name="connsiteX26" fmla="*/ 287292 w 981075"/>
                  <a:gd name="connsiteY26" fmla="*/ 1368947 h 2834481"/>
                  <a:gd name="connsiteX27" fmla="*/ 328204 w 981075"/>
                  <a:gd name="connsiteY27" fmla="*/ 794544 h 2834481"/>
                  <a:gd name="connsiteX28" fmla="*/ 327751 w 981075"/>
                  <a:gd name="connsiteY28" fmla="*/ 508794 h 2834481"/>
                  <a:gd name="connsiteX29" fmla="*/ 231775 w 981075"/>
                  <a:gd name="connsiteY29" fmla="*/ 394494 h 2834481"/>
                  <a:gd name="connsiteX30" fmla="*/ 422275 w 981075"/>
                  <a:gd name="connsiteY30" fmla="*/ 432594 h 2834481"/>
                  <a:gd name="connsiteX31" fmla="*/ 453231 w 981075"/>
                  <a:gd name="connsiteY31" fmla="*/ 342107 h 2834481"/>
                  <a:gd name="connsiteX32" fmla="*/ 479425 w 981075"/>
                  <a:gd name="connsiteY32" fmla="*/ 3969 h 2834481"/>
                  <a:gd name="connsiteX0" fmla="*/ 462757 w 981075"/>
                  <a:gd name="connsiteY0" fmla="*/ 3969 h 2836863"/>
                  <a:gd name="connsiteX1" fmla="*/ 469900 w 981075"/>
                  <a:gd name="connsiteY1" fmla="*/ 368301 h 2836863"/>
                  <a:gd name="connsiteX2" fmla="*/ 584200 w 981075"/>
                  <a:gd name="connsiteY2" fmla="*/ 423069 h 2836863"/>
                  <a:gd name="connsiteX3" fmla="*/ 681832 w 981075"/>
                  <a:gd name="connsiteY3" fmla="*/ 394495 h 2836863"/>
                  <a:gd name="connsiteX4" fmla="*/ 650875 w 981075"/>
                  <a:gd name="connsiteY4" fmla="*/ 758826 h 2836863"/>
                  <a:gd name="connsiteX5" fmla="*/ 698500 w 981075"/>
                  <a:gd name="connsiteY5" fmla="*/ 1406526 h 2836863"/>
                  <a:gd name="connsiteX6" fmla="*/ 841375 w 981075"/>
                  <a:gd name="connsiteY6" fmla="*/ 1749426 h 2836863"/>
                  <a:gd name="connsiteX7" fmla="*/ 917575 w 981075"/>
                  <a:gd name="connsiteY7" fmla="*/ 2206626 h 2836863"/>
                  <a:gd name="connsiteX8" fmla="*/ 936625 w 981075"/>
                  <a:gd name="connsiteY8" fmla="*/ 2416176 h 2836863"/>
                  <a:gd name="connsiteX9" fmla="*/ 965200 w 981075"/>
                  <a:gd name="connsiteY9" fmla="*/ 2501901 h 2836863"/>
                  <a:gd name="connsiteX10" fmla="*/ 841375 w 981075"/>
                  <a:gd name="connsiteY10" fmla="*/ 2578101 h 2836863"/>
                  <a:gd name="connsiteX11" fmla="*/ 693738 w 981075"/>
                  <a:gd name="connsiteY11" fmla="*/ 1825626 h 2836863"/>
                  <a:gd name="connsiteX12" fmla="*/ 567531 w 981075"/>
                  <a:gd name="connsiteY12" fmla="*/ 801688 h 2836863"/>
                  <a:gd name="connsiteX13" fmla="*/ 515144 w 981075"/>
                  <a:gd name="connsiteY13" fmla="*/ 563563 h 2836863"/>
                  <a:gd name="connsiteX14" fmla="*/ 460375 w 981075"/>
                  <a:gd name="connsiteY14" fmla="*/ 996951 h 2836863"/>
                  <a:gd name="connsiteX15" fmla="*/ 415131 w 981075"/>
                  <a:gd name="connsiteY15" fmla="*/ 1435101 h 2836863"/>
                  <a:gd name="connsiteX16" fmla="*/ 429419 w 981075"/>
                  <a:gd name="connsiteY16" fmla="*/ 1873251 h 2836863"/>
                  <a:gd name="connsiteX17" fmla="*/ 450850 w 981075"/>
                  <a:gd name="connsiteY17" fmla="*/ 2425701 h 2836863"/>
                  <a:gd name="connsiteX18" fmla="*/ 412750 w 981075"/>
                  <a:gd name="connsiteY18" fmla="*/ 2701926 h 2836863"/>
                  <a:gd name="connsiteX19" fmla="*/ 403225 w 981075"/>
                  <a:gd name="connsiteY19" fmla="*/ 2768601 h 2836863"/>
                  <a:gd name="connsiteX20" fmla="*/ 165100 w 981075"/>
                  <a:gd name="connsiteY20" fmla="*/ 2835276 h 2836863"/>
                  <a:gd name="connsiteX21" fmla="*/ 22225 w 981075"/>
                  <a:gd name="connsiteY21" fmla="*/ 2759076 h 2836863"/>
                  <a:gd name="connsiteX22" fmla="*/ 22225 w 981075"/>
                  <a:gd name="connsiteY22" fmla="*/ 2339976 h 2836863"/>
                  <a:gd name="connsiteX23" fmla="*/ 12700 w 981075"/>
                  <a:gd name="connsiteY23" fmla="*/ 1778001 h 2836863"/>
                  <a:gd name="connsiteX24" fmla="*/ 98425 w 981075"/>
                  <a:gd name="connsiteY24" fmla="*/ 1682751 h 2836863"/>
                  <a:gd name="connsiteX25" fmla="*/ 193675 w 981075"/>
                  <a:gd name="connsiteY25" fmla="*/ 1625601 h 2836863"/>
                  <a:gd name="connsiteX26" fmla="*/ 287292 w 981075"/>
                  <a:gd name="connsiteY26" fmla="*/ 1371329 h 2836863"/>
                  <a:gd name="connsiteX27" fmla="*/ 328204 w 981075"/>
                  <a:gd name="connsiteY27" fmla="*/ 796926 h 2836863"/>
                  <a:gd name="connsiteX28" fmla="*/ 327751 w 981075"/>
                  <a:gd name="connsiteY28" fmla="*/ 511176 h 2836863"/>
                  <a:gd name="connsiteX29" fmla="*/ 231775 w 981075"/>
                  <a:gd name="connsiteY29" fmla="*/ 396876 h 2836863"/>
                  <a:gd name="connsiteX30" fmla="*/ 422275 w 981075"/>
                  <a:gd name="connsiteY30" fmla="*/ 434976 h 2836863"/>
                  <a:gd name="connsiteX31" fmla="*/ 453231 w 981075"/>
                  <a:gd name="connsiteY31" fmla="*/ 344489 h 2836863"/>
                  <a:gd name="connsiteX32" fmla="*/ 462757 w 981075"/>
                  <a:gd name="connsiteY32" fmla="*/ 3969 h 2836863"/>
                  <a:gd name="connsiteX0" fmla="*/ 462757 w 981075"/>
                  <a:gd name="connsiteY0" fmla="*/ 3969 h 2836863"/>
                  <a:gd name="connsiteX1" fmla="*/ 469900 w 981075"/>
                  <a:gd name="connsiteY1" fmla="*/ 368301 h 2836863"/>
                  <a:gd name="connsiteX2" fmla="*/ 584200 w 981075"/>
                  <a:gd name="connsiteY2" fmla="*/ 423069 h 2836863"/>
                  <a:gd name="connsiteX3" fmla="*/ 681832 w 981075"/>
                  <a:gd name="connsiteY3" fmla="*/ 394495 h 2836863"/>
                  <a:gd name="connsiteX4" fmla="*/ 650875 w 981075"/>
                  <a:gd name="connsiteY4" fmla="*/ 758826 h 2836863"/>
                  <a:gd name="connsiteX5" fmla="*/ 698500 w 981075"/>
                  <a:gd name="connsiteY5" fmla="*/ 1406526 h 2836863"/>
                  <a:gd name="connsiteX6" fmla="*/ 841375 w 981075"/>
                  <a:gd name="connsiteY6" fmla="*/ 1749426 h 2836863"/>
                  <a:gd name="connsiteX7" fmla="*/ 917575 w 981075"/>
                  <a:gd name="connsiteY7" fmla="*/ 2206626 h 2836863"/>
                  <a:gd name="connsiteX8" fmla="*/ 936625 w 981075"/>
                  <a:gd name="connsiteY8" fmla="*/ 2416176 h 2836863"/>
                  <a:gd name="connsiteX9" fmla="*/ 965200 w 981075"/>
                  <a:gd name="connsiteY9" fmla="*/ 2501901 h 2836863"/>
                  <a:gd name="connsiteX10" fmla="*/ 841375 w 981075"/>
                  <a:gd name="connsiteY10" fmla="*/ 2578101 h 2836863"/>
                  <a:gd name="connsiteX11" fmla="*/ 693738 w 981075"/>
                  <a:gd name="connsiteY11" fmla="*/ 1825626 h 2836863"/>
                  <a:gd name="connsiteX12" fmla="*/ 567531 w 981075"/>
                  <a:gd name="connsiteY12" fmla="*/ 801688 h 2836863"/>
                  <a:gd name="connsiteX13" fmla="*/ 515144 w 981075"/>
                  <a:gd name="connsiteY13" fmla="*/ 563563 h 2836863"/>
                  <a:gd name="connsiteX14" fmla="*/ 460375 w 981075"/>
                  <a:gd name="connsiteY14" fmla="*/ 996951 h 2836863"/>
                  <a:gd name="connsiteX15" fmla="*/ 415131 w 981075"/>
                  <a:gd name="connsiteY15" fmla="*/ 1435101 h 2836863"/>
                  <a:gd name="connsiteX16" fmla="*/ 429419 w 981075"/>
                  <a:gd name="connsiteY16" fmla="*/ 1873251 h 2836863"/>
                  <a:gd name="connsiteX17" fmla="*/ 450850 w 981075"/>
                  <a:gd name="connsiteY17" fmla="*/ 2425701 h 2836863"/>
                  <a:gd name="connsiteX18" fmla="*/ 412750 w 981075"/>
                  <a:gd name="connsiteY18" fmla="*/ 2701926 h 2836863"/>
                  <a:gd name="connsiteX19" fmla="*/ 403225 w 981075"/>
                  <a:gd name="connsiteY19" fmla="*/ 2768601 h 2836863"/>
                  <a:gd name="connsiteX20" fmla="*/ 165100 w 981075"/>
                  <a:gd name="connsiteY20" fmla="*/ 2835276 h 2836863"/>
                  <a:gd name="connsiteX21" fmla="*/ 22225 w 981075"/>
                  <a:gd name="connsiteY21" fmla="*/ 2759076 h 2836863"/>
                  <a:gd name="connsiteX22" fmla="*/ 22225 w 981075"/>
                  <a:gd name="connsiteY22" fmla="*/ 2339976 h 2836863"/>
                  <a:gd name="connsiteX23" fmla="*/ 12700 w 981075"/>
                  <a:gd name="connsiteY23" fmla="*/ 1778001 h 2836863"/>
                  <a:gd name="connsiteX24" fmla="*/ 98425 w 981075"/>
                  <a:gd name="connsiteY24" fmla="*/ 1682751 h 2836863"/>
                  <a:gd name="connsiteX25" fmla="*/ 193675 w 981075"/>
                  <a:gd name="connsiteY25" fmla="*/ 1625601 h 2836863"/>
                  <a:gd name="connsiteX26" fmla="*/ 287292 w 981075"/>
                  <a:gd name="connsiteY26" fmla="*/ 1371329 h 2836863"/>
                  <a:gd name="connsiteX27" fmla="*/ 328204 w 981075"/>
                  <a:gd name="connsiteY27" fmla="*/ 796926 h 2836863"/>
                  <a:gd name="connsiteX28" fmla="*/ 327751 w 981075"/>
                  <a:gd name="connsiteY28" fmla="*/ 511176 h 2836863"/>
                  <a:gd name="connsiteX29" fmla="*/ 231775 w 981075"/>
                  <a:gd name="connsiteY29" fmla="*/ 396876 h 2836863"/>
                  <a:gd name="connsiteX30" fmla="*/ 422275 w 981075"/>
                  <a:gd name="connsiteY30" fmla="*/ 434976 h 2836863"/>
                  <a:gd name="connsiteX31" fmla="*/ 453231 w 981075"/>
                  <a:gd name="connsiteY31" fmla="*/ 344489 h 2836863"/>
                  <a:gd name="connsiteX32" fmla="*/ 462757 w 981075"/>
                  <a:gd name="connsiteY32" fmla="*/ 3969 h 2836863"/>
                  <a:gd name="connsiteX0" fmla="*/ 462757 w 981075"/>
                  <a:gd name="connsiteY0" fmla="*/ 3969 h 2836863"/>
                  <a:gd name="connsiteX1" fmla="*/ 469900 w 981075"/>
                  <a:gd name="connsiteY1" fmla="*/ 368301 h 2836863"/>
                  <a:gd name="connsiteX2" fmla="*/ 584200 w 981075"/>
                  <a:gd name="connsiteY2" fmla="*/ 423069 h 2836863"/>
                  <a:gd name="connsiteX3" fmla="*/ 681832 w 981075"/>
                  <a:gd name="connsiteY3" fmla="*/ 394495 h 2836863"/>
                  <a:gd name="connsiteX4" fmla="*/ 650875 w 981075"/>
                  <a:gd name="connsiteY4" fmla="*/ 758826 h 2836863"/>
                  <a:gd name="connsiteX5" fmla="*/ 698500 w 981075"/>
                  <a:gd name="connsiteY5" fmla="*/ 1406526 h 2836863"/>
                  <a:gd name="connsiteX6" fmla="*/ 841375 w 981075"/>
                  <a:gd name="connsiteY6" fmla="*/ 1749426 h 2836863"/>
                  <a:gd name="connsiteX7" fmla="*/ 917575 w 981075"/>
                  <a:gd name="connsiteY7" fmla="*/ 2206626 h 2836863"/>
                  <a:gd name="connsiteX8" fmla="*/ 936625 w 981075"/>
                  <a:gd name="connsiteY8" fmla="*/ 2416176 h 2836863"/>
                  <a:gd name="connsiteX9" fmla="*/ 965200 w 981075"/>
                  <a:gd name="connsiteY9" fmla="*/ 2501901 h 2836863"/>
                  <a:gd name="connsiteX10" fmla="*/ 841375 w 981075"/>
                  <a:gd name="connsiteY10" fmla="*/ 2578101 h 2836863"/>
                  <a:gd name="connsiteX11" fmla="*/ 693738 w 981075"/>
                  <a:gd name="connsiteY11" fmla="*/ 1825626 h 2836863"/>
                  <a:gd name="connsiteX12" fmla="*/ 567531 w 981075"/>
                  <a:gd name="connsiteY12" fmla="*/ 801688 h 2836863"/>
                  <a:gd name="connsiteX13" fmla="*/ 515144 w 981075"/>
                  <a:gd name="connsiteY13" fmla="*/ 563563 h 2836863"/>
                  <a:gd name="connsiteX14" fmla="*/ 460375 w 981075"/>
                  <a:gd name="connsiteY14" fmla="*/ 996951 h 2836863"/>
                  <a:gd name="connsiteX15" fmla="*/ 415131 w 981075"/>
                  <a:gd name="connsiteY15" fmla="*/ 1435101 h 2836863"/>
                  <a:gd name="connsiteX16" fmla="*/ 429419 w 981075"/>
                  <a:gd name="connsiteY16" fmla="*/ 1873251 h 2836863"/>
                  <a:gd name="connsiteX17" fmla="*/ 450850 w 981075"/>
                  <a:gd name="connsiteY17" fmla="*/ 2425701 h 2836863"/>
                  <a:gd name="connsiteX18" fmla="*/ 412750 w 981075"/>
                  <a:gd name="connsiteY18" fmla="*/ 2701926 h 2836863"/>
                  <a:gd name="connsiteX19" fmla="*/ 403225 w 981075"/>
                  <a:gd name="connsiteY19" fmla="*/ 2768601 h 2836863"/>
                  <a:gd name="connsiteX20" fmla="*/ 165100 w 981075"/>
                  <a:gd name="connsiteY20" fmla="*/ 2835276 h 2836863"/>
                  <a:gd name="connsiteX21" fmla="*/ 22225 w 981075"/>
                  <a:gd name="connsiteY21" fmla="*/ 2759076 h 2836863"/>
                  <a:gd name="connsiteX22" fmla="*/ 22225 w 981075"/>
                  <a:gd name="connsiteY22" fmla="*/ 2339976 h 2836863"/>
                  <a:gd name="connsiteX23" fmla="*/ 12700 w 981075"/>
                  <a:gd name="connsiteY23" fmla="*/ 1778001 h 2836863"/>
                  <a:gd name="connsiteX24" fmla="*/ 98425 w 981075"/>
                  <a:gd name="connsiteY24" fmla="*/ 1682751 h 2836863"/>
                  <a:gd name="connsiteX25" fmla="*/ 193675 w 981075"/>
                  <a:gd name="connsiteY25" fmla="*/ 1625601 h 2836863"/>
                  <a:gd name="connsiteX26" fmla="*/ 287292 w 981075"/>
                  <a:gd name="connsiteY26" fmla="*/ 1371329 h 2836863"/>
                  <a:gd name="connsiteX27" fmla="*/ 328204 w 981075"/>
                  <a:gd name="connsiteY27" fmla="*/ 796926 h 2836863"/>
                  <a:gd name="connsiteX28" fmla="*/ 327751 w 981075"/>
                  <a:gd name="connsiteY28" fmla="*/ 511176 h 2836863"/>
                  <a:gd name="connsiteX29" fmla="*/ 231775 w 981075"/>
                  <a:gd name="connsiteY29" fmla="*/ 396876 h 2836863"/>
                  <a:gd name="connsiteX30" fmla="*/ 422275 w 981075"/>
                  <a:gd name="connsiteY30" fmla="*/ 434976 h 2836863"/>
                  <a:gd name="connsiteX31" fmla="*/ 453231 w 981075"/>
                  <a:gd name="connsiteY31" fmla="*/ 344489 h 2836863"/>
                  <a:gd name="connsiteX32" fmla="*/ 462757 w 981075"/>
                  <a:gd name="connsiteY32" fmla="*/ 3969 h 2836863"/>
                  <a:gd name="connsiteX0" fmla="*/ 462757 w 1007768"/>
                  <a:gd name="connsiteY0" fmla="*/ 3969 h 2836863"/>
                  <a:gd name="connsiteX1" fmla="*/ 469900 w 1007768"/>
                  <a:gd name="connsiteY1" fmla="*/ 368301 h 2836863"/>
                  <a:gd name="connsiteX2" fmla="*/ 584200 w 1007768"/>
                  <a:gd name="connsiteY2" fmla="*/ 423069 h 2836863"/>
                  <a:gd name="connsiteX3" fmla="*/ 681832 w 1007768"/>
                  <a:gd name="connsiteY3" fmla="*/ 394495 h 2836863"/>
                  <a:gd name="connsiteX4" fmla="*/ 650875 w 1007768"/>
                  <a:gd name="connsiteY4" fmla="*/ 758826 h 2836863"/>
                  <a:gd name="connsiteX5" fmla="*/ 698500 w 1007768"/>
                  <a:gd name="connsiteY5" fmla="*/ 1406526 h 2836863"/>
                  <a:gd name="connsiteX6" fmla="*/ 841375 w 1007768"/>
                  <a:gd name="connsiteY6" fmla="*/ 1749426 h 2836863"/>
                  <a:gd name="connsiteX7" fmla="*/ 917575 w 1007768"/>
                  <a:gd name="connsiteY7" fmla="*/ 2206626 h 2836863"/>
                  <a:gd name="connsiteX8" fmla="*/ 936625 w 1007768"/>
                  <a:gd name="connsiteY8" fmla="*/ 2416176 h 2836863"/>
                  <a:gd name="connsiteX9" fmla="*/ 965200 w 1007768"/>
                  <a:gd name="connsiteY9" fmla="*/ 2501901 h 2836863"/>
                  <a:gd name="connsiteX10" fmla="*/ 681216 w 1007768"/>
                  <a:gd name="connsiteY10" fmla="*/ 2609674 h 2836863"/>
                  <a:gd name="connsiteX11" fmla="*/ 693738 w 1007768"/>
                  <a:gd name="connsiteY11" fmla="*/ 1825626 h 2836863"/>
                  <a:gd name="connsiteX12" fmla="*/ 567531 w 1007768"/>
                  <a:gd name="connsiteY12" fmla="*/ 801688 h 2836863"/>
                  <a:gd name="connsiteX13" fmla="*/ 515144 w 1007768"/>
                  <a:gd name="connsiteY13" fmla="*/ 563563 h 2836863"/>
                  <a:gd name="connsiteX14" fmla="*/ 460375 w 1007768"/>
                  <a:gd name="connsiteY14" fmla="*/ 996951 h 2836863"/>
                  <a:gd name="connsiteX15" fmla="*/ 415131 w 1007768"/>
                  <a:gd name="connsiteY15" fmla="*/ 1435101 h 2836863"/>
                  <a:gd name="connsiteX16" fmla="*/ 429419 w 1007768"/>
                  <a:gd name="connsiteY16" fmla="*/ 1873251 h 2836863"/>
                  <a:gd name="connsiteX17" fmla="*/ 450850 w 1007768"/>
                  <a:gd name="connsiteY17" fmla="*/ 2425701 h 2836863"/>
                  <a:gd name="connsiteX18" fmla="*/ 412750 w 1007768"/>
                  <a:gd name="connsiteY18" fmla="*/ 2701926 h 2836863"/>
                  <a:gd name="connsiteX19" fmla="*/ 403225 w 1007768"/>
                  <a:gd name="connsiteY19" fmla="*/ 2768601 h 2836863"/>
                  <a:gd name="connsiteX20" fmla="*/ 165100 w 1007768"/>
                  <a:gd name="connsiteY20" fmla="*/ 2835276 h 2836863"/>
                  <a:gd name="connsiteX21" fmla="*/ 22225 w 1007768"/>
                  <a:gd name="connsiteY21" fmla="*/ 2759076 h 2836863"/>
                  <a:gd name="connsiteX22" fmla="*/ 22225 w 1007768"/>
                  <a:gd name="connsiteY22" fmla="*/ 2339976 h 2836863"/>
                  <a:gd name="connsiteX23" fmla="*/ 12700 w 1007768"/>
                  <a:gd name="connsiteY23" fmla="*/ 1778001 h 2836863"/>
                  <a:gd name="connsiteX24" fmla="*/ 98425 w 1007768"/>
                  <a:gd name="connsiteY24" fmla="*/ 1682751 h 2836863"/>
                  <a:gd name="connsiteX25" fmla="*/ 193675 w 1007768"/>
                  <a:gd name="connsiteY25" fmla="*/ 1625601 h 2836863"/>
                  <a:gd name="connsiteX26" fmla="*/ 287292 w 1007768"/>
                  <a:gd name="connsiteY26" fmla="*/ 1371329 h 2836863"/>
                  <a:gd name="connsiteX27" fmla="*/ 328204 w 1007768"/>
                  <a:gd name="connsiteY27" fmla="*/ 796926 h 2836863"/>
                  <a:gd name="connsiteX28" fmla="*/ 327751 w 1007768"/>
                  <a:gd name="connsiteY28" fmla="*/ 511176 h 2836863"/>
                  <a:gd name="connsiteX29" fmla="*/ 231775 w 1007768"/>
                  <a:gd name="connsiteY29" fmla="*/ 396876 h 2836863"/>
                  <a:gd name="connsiteX30" fmla="*/ 422275 w 1007768"/>
                  <a:gd name="connsiteY30" fmla="*/ 434976 h 2836863"/>
                  <a:gd name="connsiteX31" fmla="*/ 453231 w 1007768"/>
                  <a:gd name="connsiteY31" fmla="*/ 344489 h 2836863"/>
                  <a:gd name="connsiteX32" fmla="*/ 462757 w 1007768"/>
                  <a:gd name="connsiteY32" fmla="*/ 3969 h 2836863"/>
                  <a:gd name="connsiteX0" fmla="*/ 462757 w 1007768"/>
                  <a:gd name="connsiteY0" fmla="*/ 3969 h 2836863"/>
                  <a:gd name="connsiteX1" fmla="*/ 469900 w 1007768"/>
                  <a:gd name="connsiteY1" fmla="*/ 368301 h 2836863"/>
                  <a:gd name="connsiteX2" fmla="*/ 584200 w 1007768"/>
                  <a:gd name="connsiteY2" fmla="*/ 423069 h 2836863"/>
                  <a:gd name="connsiteX3" fmla="*/ 681832 w 1007768"/>
                  <a:gd name="connsiteY3" fmla="*/ 394495 h 2836863"/>
                  <a:gd name="connsiteX4" fmla="*/ 650875 w 1007768"/>
                  <a:gd name="connsiteY4" fmla="*/ 758826 h 2836863"/>
                  <a:gd name="connsiteX5" fmla="*/ 698500 w 1007768"/>
                  <a:gd name="connsiteY5" fmla="*/ 1406526 h 2836863"/>
                  <a:gd name="connsiteX6" fmla="*/ 841375 w 1007768"/>
                  <a:gd name="connsiteY6" fmla="*/ 1749426 h 2836863"/>
                  <a:gd name="connsiteX7" fmla="*/ 917575 w 1007768"/>
                  <a:gd name="connsiteY7" fmla="*/ 2206626 h 2836863"/>
                  <a:gd name="connsiteX8" fmla="*/ 936625 w 1007768"/>
                  <a:gd name="connsiteY8" fmla="*/ 2416176 h 2836863"/>
                  <a:gd name="connsiteX9" fmla="*/ 965200 w 1007768"/>
                  <a:gd name="connsiteY9" fmla="*/ 2501901 h 2836863"/>
                  <a:gd name="connsiteX10" fmla="*/ 681216 w 1007768"/>
                  <a:gd name="connsiteY10" fmla="*/ 2609674 h 2836863"/>
                  <a:gd name="connsiteX11" fmla="*/ 635499 w 1007768"/>
                  <a:gd name="connsiteY11" fmla="*/ 1839158 h 2836863"/>
                  <a:gd name="connsiteX12" fmla="*/ 567531 w 1007768"/>
                  <a:gd name="connsiteY12" fmla="*/ 801688 h 2836863"/>
                  <a:gd name="connsiteX13" fmla="*/ 515144 w 1007768"/>
                  <a:gd name="connsiteY13" fmla="*/ 563563 h 2836863"/>
                  <a:gd name="connsiteX14" fmla="*/ 460375 w 1007768"/>
                  <a:gd name="connsiteY14" fmla="*/ 996951 h 2836863"/>
                  <a:gd name="connsiteX15" fmla="*/ 415131 w 1007768"/>
                  <a:gd name="connsiteY15" fmla="*/ 1435101 h 2836863"/>
                  <a:gd name="connsiteX16" fmla="*/ 429419 w 1007768"/>
                  <a:gd name="connsiteY16" fmla="*/ 1873251 h 2836863"/>
                  <a:gd name="connsiteX17" fmla="*/ 450850 w 1007768"/>
                  <a:gd name="connsiteY17" fmla="*/ 2425701 h 2836863"/>
                  <a:gd name="connsiteX18" fmla="*/ 412750 w 1007768"/>
                  <a:gd name="connsiteY18" fmla="*/ 2701926 h 2836863"/>
                  <a:gd name="connsiteX19" fmla="*/ 403225 w 1007768"/>
                  <a:gd name="connsiteY19" fmla="*/ 2768601 h 2836863"/>
                  <a:gd name="connsiteX20" fmla="*/ 165100 w 1007768"/>
                  <a:gd name="connsiteY20" fmla="*/ 2835276 h 2836863"/>
                  <a:gd name="connsiteX21" fmla="*/ 22225 w 1007768"/>
                  <a:gd name="connsiteY21" fmla="*/ 2759076 h 2836863"/>
                  <a:gd name="connsiteX22" fmla="*/ 22225 w 1007768"/>
                  <a:gd name="connsiteY22" fmla="*/ 2339976 h 2836863"/>
                  <a:gd name="connsiteX23" fmla="*/ 12700 w 1007768"/>
                  <a:gd name="connsiteY23" fmla="*/ 1778001 h 2836863"/>
                  <a:gd name="connsiteX24" fmla="*/ 98425 w 1007768"/>
                  <a:gd name="connsiteY24" fmla="*/ 1682751 h 2836863"/>
                  <a:gd name="connsiteX25" fmla="*/ 193675 w 1007768"/>
                  <a:gd name="connsiteY25" fmla="*/ 1625601 h 2836863"/>
                  <a:gd name="connsiteX26" fmla="*/ 287292 w 1007768"/>
                  <a:gd name="connsiteY26" fmla="*/ 1371329 h 2836863"/>
                  <a:gd name="connsiteX27" fmla="*/ 328204 w 1007768"/>
                  <a:gd name="connsiteY27" fmla="*/ 796926 h 2836863"/>
                  <a:gd name="connsiteX28" fmla="*/ 327751 w 1007768"/>
                  <a:gd name="connsiteY28" fmla="*/ 511176 h 2836863"/>
                  <a:gd name="connsiteX29" fmla="*/ 231775 w 1007768"/>
                  <a:gd name="connsiteY29" fmla="*/ 396876 h 2836863"/>
                  <a:gd name="connsiteX30" fmla="*/ 422275 w 1007768"/>
                  <a:gd name="connsiteY30" fmla="*/ 434976 h 2836863"/>
                  <a:gd name="connsiteX31" fmla="*/ 453231 w 1007768"/>
                  <a:gd name="connsiteY31" fmla="*/ 344489 h 2836863"/>
                  <a:gd name="connsiteX32" fmla="*/ 462757 w 1007768"/>
                  <a:gd name="connsiteY32" fmla="*/ 3969 h 2836863"/>
                  <a:gd name="connsiteX0" fmla="*/ 462757 w 1007768"/>
                  <a:gd name="connsiteY0" fmla="*/ 3969 h 2836863"/>
                  <a:gd name="connsiteX1" fmla="*/ 469900 w 1007768"/>
                  <a:gd name="connsiteY1" fmla="*/ 368301 h 2836863"/>
                  <a:gd name="connsiteX2" fmla="*/ 584200 w 1007768"/>
                  <a:gd name="connsiteY2" fmla="*/ 423069 h 2836863"/>
                  <a:gd name="connsiteX3" fmla="*/ 681832 w 1007768"/>
                  <a:gd name="connsiteY3" fmla="*/ 394495 h 2836863"/>
                  <a:gd name="connsiteX4" fmla="*/ 650875 w 1007768"/>
                  <a:gd name="connsiteY4" fmla="*/ 758826 h 2836863"/>
                  <a:gd name="connsiteX5" fmla="*/ 698500 w 1007768"/>
                  <a:gd name="connsiteY5" fmla="*/ 1406526 h 2836863"/>
                  <a:gd name="connsiteX6" fmla="*/ 841375 w 1007768"/>
                  <a:gd name="connsiteY6" fmla="*/ 1749426 h 2836863"/>
                  <a:gd name="connsiteX7" fmla="*/ 917575 w 1007768"/>
                  <a:gd name="connsiteY7" fmla="*/ 2206626 h 2836863"/>
                  <a:gd name="connsiteX8" fmla="*/ 936625 w 1007768"/>
                  <a:gd name="connsiteY8" fmla="*/ 2416176 h 2836863"/>
                  <a:gd name="connsiteX9" fmla="*/ 965200 w 1007768"/>
                  <a:gd name="connsiteY9" fmla="*/ 2501901 h 2836863"/>
                  <a:gd name="connsiteX10" fmla="*/ 681216 w 1007768"/>
                  <a:gd name="connsiteY10" fmla="*/ 2609674 h 2836863"/>
                  <a:gd name="connsiteX11" fmla="*/ 635499 w 1007768"/>
                  <a:gd name="connsiteY11" fmla="*/ 1839158 h 2836863"/>
                  <a:gd name="connsiteX12" fmla="*/ 567531 w 1007768"/>
                  <a:gd name="connsiteY12" fmla="*/ 801688 h 2836863"/>
                  <a:gd name="connsiteX13" fmla="*/ 515144 w 1007768"/>
                  <a:gd name="connsiteY13" fmla="*/ 563563 h 2836863"/>
                  <a:gd name="connsiteX14" fmla="*/ 460375 w 1007768"/>
                  <a:gd name="connsiteY14" fmla="*/ 996951 h 2836863"/>
                  <a:gd name="connsiteX15" fmla="*/ 415131 w 1007768"/>
                  <a:gd name="connsiteY15" fmla="*/ 1435101 h 2836863"/>
                  <a:gd name="connsiteX16" fmla="*/ 429419 w 1007768"/>
                  <a:gd name="connsiteY16" fmla="*/ 1873251 h 2836863"/>
                  <a:gd name="connsiteX17" fmla="*/ 450850 w 1007768"/>
                  <a:gd name="connsiteY17" fmla="*/ 2425701 h 2836863"/>
                  <a:gd name="connsiteX18" fmla="*/ 412750 w 1007768"/>
                  <a:gd name="connsiteY18" fmla="*/ 2701926 h 2836863"/>
                  <a:gd name="connsiteX19" fmla="*/ 403225 w 1007768"/>
                  <a:gd name="connsiteY19" fmla="*/ 2768601 h 2836863"/>
                  <a:gd name="connsiteX20" fmla="*/ 165100 w 1007768"/>
                  <a:gd name="connsiteY20" fmla="*/ 2835276 h 2836863"/>
                  <a:gd name="connsiteX21" fmla="*/ 22225 w 1007768"/>
                  <a:gd name="connsiteY21" fmla="*/ 2759076 h 2836863"/>
                  <a:gd name="connsiteX22" fmla="*/ 22225 w 1007768"/>
                  <a:gd name="connsiteY22" fmla="*/ 2339976 h 2836863"/>
                  <a:gd name="connsiteX23" fmla="*/ 12700 w 1007768"/>
                  <a:gd name="connsiteY23" fmla="*/ 1778001 h 2836863"/>
                  <a:gd name="connsiteX24" fmla="*/ 98425 w 1007768"/>
                  <a:gd name="connsiteY24" fmla="*/ 1682751 h 2836863"/>
                  <a:gd name="connsiteX25" fmla="*/ 193675 w 1007768"/>
                  <a:gd name="connsiteY25" fmla="*/ 1625601 h 2836863"/>
                  <a:gd name="connsiteX26" fmla="*/ 287292 w 1007768"/>
                  <a:gd name="connsiteY26" fmla="*/ 1371329 h 2836863"/>
                  <a:gd name="connsiteX27" fmla="*/ 328204 w 1007768"/>
                  <a:gd name="connsiteY27" fmla="*/ 796926 h 2836863"/>
                  <a:gd name="connsiteX28" fmla="*/ 327751 w 1007768"/>
                  <a:gd name="connsiteY28" fmla="*/ 511176 h 2836863"/>
                  <a:gd name="connsiteX29" fmla="*/ 231775 w 1007768"/>
                  <a:gd name="connsiteY29" fmla="*/ 396876 h 2836863"/>
                  <a:gd name="connsiteX30" fmla="*/ 422275 w 1007768"/>
                  <a:gd name="connsiteY30" fmla="*/ 434976 h 2836863"/>
                  <a:gd name="connsiteX31" fmla="*/ 453231 w 1007768"/>
                  <a:gd name="connsiteY31" fmla="*/ 344489 h 2836863"/>
                  <a:gd name="connsiteX32" fmla="*/ 462757 w 1007768"/>
                  <a:gd name="connsiteY32" fmla="*/ 3969 h 2836863"/>
                  <a:gd name="connsiteX0" fmla="*/ 462757 w 1007768"/>
                  <a:gd name="connsiteY0" fmla="*/ 3969 h 2836863"/>
                  <a:gd name="connsiteX1" fmla="*/ 469900 w 1007768"/>
                  <a:gd name="connsiteY1" fmla="*/ 368301 h 2836863"/>
                  <a:gd name="connsiteX2" fmla="*/ 584200 w 1007768"/>
                  <a:gd name="connsiteY2" fmla="*/ 423069 h 2836863"/>
                  <a:gd name="connsiteX3" fmla="*/ 681832 w 1007768"/>
                  <a:gd name="connsiteY3" fmla="*/ 394495 h 2836863"/>
                  <a:gd name="connsiteX4" fmla="*/ 650875 w 1007768"/>
                  <a:gd name="connsiteY4" fmla="*/ 758826 h 2836863"/>
                  <a:gd name="connsiteX5" fmla="*/ 776154 w 1007768"/>
                  <a:gd name="connsiteY5" fmla="*/ 1347893 h 2836863"/>
                  <a:gd name="connsiteX6" fmla="*/ 841375 w 1007768"/>
                  <a:gd name="connsiteY6" fmla="*/ 1749426 h 2836863"/>
                  <a:gd name="connsiteX7" fmla="*/ 917575 w 1007768"/>
                  <a:gd name="connsiteY7" fmla="*/ 2206626 h 2836863"/>
                  <a:gd name="connsiteX8" fmla="*/ 936625 w 1007768"/>
                  <a:gd name="connsiteY8" fmla="*/ 2416176 h 2836863"/>
                  <a:gd name="connsiteX9" fmla="*/ 965200 w 1007768"/>
                  <a:gd name="connsiteY9" fmla="*/ 2501901 h 2836863"/>
                  <a:gd name="connsiteX10" fmla="*/ 681216 w 1007768"/>
                  <a:gd name="connsiteY10" fmla="*/ 2609674 h 2836863"/>
                  <a:gd name="connsiteX11" fmla="*/ 635499 w 1007768"/>
                  <a:gd name="connsiteY11" fmla="*/ 1839158 h 2836863"/>
                  <a:gd name="connsiteX12" fmla="*/ 567531 w 1007768"/>
                  <a:gd name="connsiteY12" fmla="*/ 801688 h 2836863"/>
                  <a:gd name="connsiteX13" fmla="*/ 515144 w 1007768"/>
                  <a:gd name="connsiteY13" fmla="*/ 563563 h 2836863"/>
                  <a:gd name="connsiteX14" fmla="*/ 460375 w 1007768"/>
                  <a:gd name="connsiteY14" fmla="*/ 996951 h 2836863"/>
                  <a:gd name="connsiteX15" fmla="*/ 415131 w 1007768"/>
                  <a:gd name="connsiteY15" fmla="*/ 1435101 h 2836863"/>
                  <a:gd name="connsiteX16" fmla="*/ 429419 w 1007768"/>
                  <a:gd name="connsiteY16" fmla="*/ 1873251 h 2836863"/>
                  <a:gd name="connsiteX17" fmla="*/ 450850 w 1007768"/>
                  <a:gd name="connsiteY17" fmla="*/ 2425701 h 2836863"/>
                  <a:gd name="connsiteX18" fmla="*/ 412750 w 1007768"/>
                  <a:gd name="connsiteY18" fmla="*/ 2701926 h 2836863"/>
                  <a:gd name="connsiteX19" fmla="*/ 403225 w 1007768"/>
                  <a:gd name="connsiteY19" fmla="*/ 2768601 h 2836863"/>
                  <a:gd name="connsiteX20" fmla="*/ 165100 w 1007768"/>
                  <a:gd name="connsiteY20" fmla="*/ 2835276 h 2836863"/>
                  <a:gd name="connsiteX21" fmla="*/ 22225 w 1007768"/>
                  <a:gd name="connsiteY21" fmla="*/ 2759076 h 2836863"/>
                  <a:gd name="connsiteX22" fmla="*/ 22225 w 1007768"/>
                  <a:gd name="connsiteY22" fmla="*/ 2339976 h 2836863"/>
                  <a:gd name="connsiteX23" fmla="*/ 12700 w 1007768"/>
                  <a:gd name="connsiteY23" fmla="*/ 1778001 h 2836863"/>
                  <a:gd name="connsiteX24" fmla="*/ 98425 w 1007768"/>
                  <a:gd name="connsiteY24" fmla="*/ 1682751 h 2836863"/>
                  <a:gd name="connsiteX25" fmla="*/ 193675 w 1007768"/>
                  <a:gd name="connsiteY25" fmla="*/ 1625601 h 2836863"/>
                  <a:gd name="connsiteX26" fmla="*/ 287292 w 1007768"/>
                  <a:gd name="connsiteY26" fmla="*/ 1371329 h 2836863"/>
                  <a:gd name="connsiteX27" fmla="*/ 328204 w 1007768"/>
                  <a:gd name="connsiteY27" fmla="*/ 796926 h 2836863"/>
                  <a:gd name="connsiteX28" fmla="*/ 327751 w 1007768"/>
                  <a:gd name="connsiteY28" fmla="*/ 511176 h 2836863"/>
                  <a:gd name="connsiteX29" fmla="*/ 231775 w 1007768"/>
                  <a:gd name="connsiteY29" fmla="*/ 396876 h 2836863"/>
                  <a:gd name="connsiteX30" fmla="*/ 422275 w 1007768"/>
                  <a:gd name="connsiteY30" fmla="*/ 434976 h 2836863"/>
                  <a:gd name="connsiteX31" fmla="*/ 453231 w 1007768"/>
                  <a:gd name="connsiteY31" fmla="*/ 344489 h 2836863"/>
                  <a:gd name="connsiteX32" fmla="*/ 462757 w 1007768"/>
                  <a:gd name="connsiteY32" fmla="*/ 3969 h 2836863"/>
                  <a:gd name="connsiteX0" fmla="*/ 462757 w 1007768"/>
                  <a:gd name="connsiteY0" fmla="*/ 3969 h 2836863"/>
                  <a:gd name="connsiteX1" fmla="*/ 469900 w 1007768"/>
                  <a:gd name="connsiteY1" fmla="*/ 368301 h 2836863"/>
                  <a:gd name="connsiteX2" fmla="*/ 584200 w 1007768"/>
                  <a:gd name="connsiteY2" fmla="*/ 423069 h 2836863"/>
                  <a:gd name="connsiteX3" fmla="*/ 681832 w 1007768"/>
                  <a:gd name="connsiteY3" fmla="*/ 394495 h 2836863"/>
                  <a:gd name="connsiteX4" fmla="*/ 650875 w 1007768"/>
                  <a:gd name="connsiteY4" fmla="*/ 758826 h 2836863"/>
                  <a:gd name="connsiteX5" fmla="*/ 776154 w 1007768"/>
                  <a:gd name="connsiteY5" fmla="*/ 1347893 h 2836863"/>
                  <a:gd name="connsiteX6" fmla="*/ 938441 w 1007768"/>
                  <a:gd name="connsiteY6" fmla="*/ 1722364 h 2836863"/>
                  <a:gd name="connsiteX7" fmla="*/ 917575 w 1007768"/>
                  <a:gd name="connsiteY7" fmla="*/ 2206626 h 2836863"/>
                  <a:gd name="connsiteX8" fmla="*/ 936625 w 1007768"/>
                  <a:gd name="connsiteY8" fmla="*/ 2416176 h 2836863"/>
                  <a:gd name="connsiteX9" fmla="*/ 965200 w 1007768"/>
                  <a:gd name="connsiteY9" fmla="*/ 2501901 h 2836863"/>
                  <a:gd name="connsiteX10" fmla="*/ 681216 w 1007768"/>
                  <a:gd name="connsiteY10" fmla="*/ 2609674 h 2836863"/>
                  <a:gd name="connsiteX11" fmla="*/ 635499 w 1007768"/>
                  <a:gd name="connsiteY11" fmla="*/ 1839158 h 2836863"/>
                  <a:gd name="connsiteX12" fmla="*/ 567531 w 1007768"/>
                  <a:gd name="connsiteY12" fmla="*/ 801688 h 2836863"/>
                  <a:gd name="connsiteX13" fmla="*/ 515144 w 1007768"/>
                  <a:gd name="connsiteY13" fmla="*/ 563563 h 2836863"/>
                  <a:gd name="connsiteX14" fmla="*/ 460375 w 1007768"/>
                  <a:gd name="connsiteY14" fmla="*/ 996951 h 2836863"/>
                  <a:gd name="connsiteX15" fmla="*/ 415131 w 1007768"/>
                  <a:gd name="connsiteY15" fmla="*/ 1435101 h 2836863"/>
                  <a:gd name="connsiteX16" fmla="*/ 429419 w 1007768"/>
                  <a:gd name="connsiteY16" fmla="*/ 1873251 h 2836863"/>
                  <a:gd name="connsiteX17" fmla="*/ 450850 w 1007768"/>
                  <a:gd name="connsiteY17" fmla="*/ 2425701 h 2836863"/>
                  <a:gd name="connsiteX18" fmla="*/ 412750 w 1007768"/>
                  <a:gd name="connsiteY18" fmla="*/ 2701926 h 2836863"/>
                  <a:gd name="connsiteX19" fmla="*/ 403225 w 1007768"/>
                  <a:gd name="connsiteY19" fmla="*/ 2768601 h 2836863"/>
                  <a:gd name="connsiteX20" fmla="*/ 165100 w 1007768"/>
                  <a:gd name="connsiteY20" fmla="*/ 2835276 h 2836863"/>
                  <a:gd name="connsiteX21" fmla="*/ 22225 w 1007768"/>
                  <a:gd name="connsiteY21" fmla="*/ 2759076 h 2836863"/>
                  <a:gd name="connsiteX22" fmla="*/ 22225 w 1007768"/>
                  <a:gd name="connsiteY22" fmla="*/ 2339976 h 2836863"/>
                  <a:gd name="connsiteX23" fmla="*/ 12700 w 1007768"/>
                  <a:gd name="connsiteY23" fmla="*/ 1778001 h 2836863"/>
                  <a:gd name="connsiteX24" fmla="*/ 98425 w 1007768"/>
                  <a:gd name="connsiteY24" fmla="*/ 1682751 h 2836863"/>
                  <a:gd name="connsiteX25" fmla="*/ 193675 w 1007768"/>
                  <a:gd name="connsiteY25" fmla="*/ 1625601 h 2836863"/>
                  <a:gd name="connsiteX26" fmla="*/ 287292 w 1007768"/>
                  <a:gd name="connsiteY26" fmla="*/ 1371329 h 2836863"/>
                  <a:gd name="connsiteX27" fmla="*/ 328204 w 1007768"/>
                  <a:gd name="connsiteY27" fmla="*/ 796926 h 2836863"/>
                  <a:gd name="connsiteX28" fmla="*/ 327751 w 1007768"/>
                  <a:gd name="connsiteY28" fmla="*/ 511176 h 2836863"/>
                  <a:gd name="connsiteX29" fmla="*/ 231775 w 1007768"/>
                  <a:gd name="connsiteY29" fmla="*/ 396876 h 2836863"/>
                  <a:gd name="connsiteX30" fmla="*/ 422275 w 1007768"/>
                  <a:gd name="connsiteY30" fmla="*/ 434976 h 2836863"/>
                  <a:gd name="connsiteX31" fmla="*/ 453231 w 1007768"/>
                  <a:gd name="connsiteY31" fmla="*/ 344489 h 2836863"/>
                  <a:gd name="connsiteX32" fmla="*/ 462757 w 1007768"/>
                  <a:gd name="connsiteY32" fmla="*/ 3969 h 2836863"/>
                  <a:gd name="connsiteX0" fmla="*/ 462757 w 1007768"/>
                  <a:gd name="connsiteY0" fmla="*/ 3969 h 2836863"/>
                  <a:gd name="connsiteX1" fmla="*/ 469900 w 1007768"/>
                  <a:gd name="connsiteY1" fmla="*/ 368301 h 2836863"/>
                  <a:gd name="connsiteX2" fmla="*/ 584200 w 1007768"/>
                  <a:gd name="connsiteY2" fmla="*/ 423069 h 2836863"/>
                  <a:gd name="connsiteX3" fmla="*/ 681832 w 1007768"/>
                  <a:gd name="connsiteY3" fmla="*/ 394495 h 2836863"/>
                  <a:gd name="connsiteX4" fmla="*/ 650875 w 1007768"/>
                  <a:gd name="connsiteY4" fmla="*/ 758826 h 2836863"/>
                  <a:gd name="connsiteX5" fmla="*/ 776154 w 1007768"/>
                  <a:gd name="connsiteY5" fmla="*/ 1347893 h 2836863"/>
                  <a:gd name="connsiteX6" fmla="*/ 938441 w 1007768"/>
                  <a:gd name="connsiteY6" fmla="*/ 1722364 h 2836863"/>
                  <a:gd name="connsiteX7" fmla="*/ 956403 w 1007768"/>
                  <a:gd name="connsiteY7" fmla="*/ 2206626 h 2836863"/>
                  <a:gd name="connsiteX8" fmla="*/ 936625 w 1007768"/>
                  <a:gd name="connsiteY8" fmla="*/ 2416176 h 2836863"/>
                  <a:gd name="connsiteX9" fmla="*/ 965200 w 1007768"/>
                  <a:gd name="connsiteY9" fmla="*/ 2501901 h 2836863"/>
                  <a:gd name="connsiteX10" fmla="*/ 681216 w 1007768"/>
                  <a:gd name="connsiteY10" fmla="*/ 2609674 h 2836863"/>
                  <a:gd name="connsiteX11" fmla="*/ 635499 w 1007768"/>
                  <a:gd name="connsiteY11" fmla="*/ 1839158 h 2836863"/>
                  <a:gd name="connsiteX12" fmla="*/ 567531 w 1007768"/>
                  <a:gd name="connsiteY12" fmla="*/ 801688 h 2836863"/>
                  <a:gd name="connsiteX13" fmla="*/ 515144 w 1007768"/>
                  <a:gd name="connsiteY13" fmla="*/ 563563 h 2836863"/>
                  <a:gd name="connsiteX14" fmla="*/ 460375 w 1007768"/>
                  <a:gd name="connsiteY14" fmla="*/ 996951 h 2836863"/>
                  <a:gd name="connsiteX15" fmla="*/ 415131 w 1007768"/>
                  <a:gd name="connsiteY15" fmla="*/ 1435101 h 2836863"/>
                  <a:gd name="connsiteX16" fmla="*/ 429419 w 1007768"/>
                  <a:gd name="connsiteY16" fmla="*/ 1873251 h 2836863"/>
                  <a:gd name="connsiteX17" fmla="*/ 450850 w 1007768"/>
                  <a:gd name="connsiteY17" fmla="*/ 2425701 h 2836863"/>
                  <a:gd name="connsiteX18" fmla="*/ 412750 w 1007768"/>
                  <a:gd name="connsiteY18" fmla="*/ 2701926 h 2836863"/>
                  <a:gd name="connsiteX19" fmla="*/ 403225 w 1007768"/>
                  <a:gd name="connsiteY19" fmla="*/ 2768601 h 2836863"/>
                  <a:gd name="connsiteX20" fmla="*/ 165100 w 1007768"/>
                  <a:gd name="connsiteY20" fmla="*/ 2835276 h 2836863"/>
                  <a:gd name="connsiteX21" fmla="*/ 22225 w 1007768"/>
                  <a:gd name="connsiteY21" fmla="*/ 2759076 h 2836863"/>
                  <a:gd name="connsiteX22" fmla="*/ 22225 w 1007768"/>
                  <a:gd name="connsiteY22" fmla="*/ 2339976 h 2836863"/>
                  <a:gd name="connsiteX23" fmla="*/ 12700 w 1007768"/>
                  <a:gd name="connsiteY23" fmla="*/ 1778001 h 2836863"/>
                  <a:gd name="connsiteX24" fmla="*/ 98425 w 1007768"/>
                  <a:gd name="connsiteY24" fmla="*/ 1682751 h 2836863"/>
                  <a:gd name="connsiteX25" fmla="*/ 193675 w 1007768"/>
                  <a:gd name="connsiteY25" fmla="*/ 1625601 h 2836863"/>
                  <a:gd name="connsiteX26" fmla="*/ 287292 w 1007768"/>
                  <a:gd name="connsiteY26" fmla="*/ 1371329 h 2836863"/>
                  <a:gd name="connsiteX27" fmla="*/ 328204 w 1007768"/>
                  <a:gd name="connsiteY27" fmla="*/ 796926 h 2836863"/>
                  <a:gd name="connsiteX28" fmla="*/ 327751 w 1007768"/>
                  <a:gd name="connsiteY28" fmla="*/ 511176 h 2836863"/>
                  <a:gd name="connsiteX29" fmla="*/ 231775 w 1007768"/>
                  <a:gd name="connsiteY29" fmla="*/ 396876 h 2836863"/>
                  <a:gd name="connsiteX30" fmla="*/ 422275 w 1007768"/>
                  <a:gd name="connsiteY30" fmla="*/ 434976 h 2836863"/>
                  <a:gd name="connsiteX31" fmla="*/ 453231 w 1007768"/>
                  <a:gd name="connsiteY31" fmla="*/ 344489 h 2836863"/>
                  <a:gd name="connsiteX32" fmla="*/ 462757 w 1007768"/>
                  <a:gd name="connsiteY32" fmla="*/ 3969 h 2836863"/>
                  <a:gd name="connsiteX0" fmla="*/ 462757 w 1012623"/>
                  <a:gd name="connsiteY0" fmla="*/ 3969 h 2858885"/>
                  <a:gd name="connsiteX1" fmla="*/ 469900 w 1012623"/>
                  <a:gd name="connsiteY1" fmla="*/ 368301 h 2858885"/>
                  <a:gd name="connsiteX2" fmla="*/ 584200 w 1012623"/>
                  <a:gd name="connsiteY2" fmla="*/ 423069 h 2858885"/>
                  <a:gd name="connsiteX3" fmla="*/ 681832 w 1012623"/>
                  <a:gd name="connsiteY3" fmla="*/ 394495 h 2858885"/>
                  <a:gd name="connsiteX4" fmla="*/ 650875 w 1012623"/>
                  <a:gd name="connsiteY4" fmla="*/ 758826 h 2858885"/>
                  <a:gd name="connsiteX5" fmla="*/ 776154 w 1012623"/>
                  <a:gd name="connsiteY5" fmla="*/ 1347893 h 2858885"/>
                  <a:gd name="connsiteX6" fmla="*/ 938441 w 1012623"/>
                  <a:gd name="connsiteY6" fmla="*/ 1722364 h 2858885"/>
                  <a:gd name="connsiteX7" fmla="*/ 956403 w 1012623"/>
                  <a:gd name="connsiteY7" fmla="*/ 2206626 h 2858885"/>
                  <a:gd name="connsiteX8" fmla="*/ 936625 w 1012623"/>
                  <a:gd name="connsiteY8" fmla="*/ 2416176 h 2858885"/>
                  <a:gd name="connsiteX9" fmla="*/ 970054 w 1012623"/>
                  <a:gd name="connsiteY9" fmla="*/ 2826635 h 2858885"/>
                  <a:gd name="connsiteX10" fmla="*/ 681216 w 1012623"/>
                  <a:gd name="connsiteY10" fmla="*/ 2609674 h 2858885"/>
                  <a:gd name="connsiteX11" fmla="*/ 635499 w 1012623"/>
                  <a:gd name="connsiteY11" fmla="*/ 1839158 h 2858885"/>
                  <a:gd name="connsiteX12" fmla="*/ 567531 w 1012623"/>
                  <a:gd name="connsiteY12" fmla="*/ 801688 h 2858885"/>
                  <a:gd name="connsiteX13" fmla="*/ 515144 w 1012623"/>
                  <a:gd name="connsiteY13" fmla="*/ 563563 h 2858885"/>
                  <a:gd name="connsiteX14" fmla="*/ 460375 w 1012623"/>
                  <a:gd name="connsiteY14" fmla="*/ 996951 h 2858885"/>
                  <a:gd name="connsiteX15" fmla="*/ 415131 w 1012623"/>
                  <a:gd name="connsiteY15" fmla="*/ 1435101 h 2858885"/>
                  <a:gd name="connsiteX16" fmla="*/ 429419 w 1012623"/>
                  <a:gd name="connsiteY16" fmla="*/ 1873251 h 2858885"/>
                  <a:gd name="connsiteX17" fmla="*/ 450850 w 1012623"/>
                  <a:gd name="connsiteY17" fmla="*/ 2425701 h 2858885"/>
                  <a:gd name="connsiteX18" fmla="*/ 412750 w 1012623"/>
                  <a:gd name="connsiteY18" fmla="*/ 2701926 h 2858885"/>
                  <a:gd name="connsiteX19" fmla="*/ 403225 w 1012623"/>
                  <a:gd name="connsiteY19" fmla="*/ 2768601 h 2858885"/>
                  <a:gd name="connsiteX20" fmla="*/ 165100 w 1012623"/>
                  <a:gd name="connsiteY20" fmla="*/ 2835276 h 2858885"/>
                  <a:gd name="connsiteX21" fmla="*/ 22225 w 1012623"/>
                  <a:gd name="connsiteY21" fmla="*/ 2759076 h 2858885"/>
                  <a:gd name="connsiteX22" fmla="*/ 22225 w 1012623"/>
                  <a:gd name="connsiteY22" fmla="*/ 2339976 h 2858885"/>
                  <a:gd name="connsiteX23" fmla="*/ 12700 w 1012623"/>
                  <a:gd name="connsiteY23" fmla="*/ 1778001 h 2858885"/>
                  <a:gd name="connsiteX24" fmla="*/ 98425 w 1012623"/>
                  <a:gd name="connsiteY24" fmla="*/ 1682751 h 2858885"/>
                  <a:gd name="connsiteX25" fmla="*/ 193675 w 1012623"/>
                  <a:gd name="connsiteY25" fmla="*/ 1625601 h 2858885"/>
                  <a:gd name="connsiteX26" fmla="*/ 287292 w 1012623"/>
                  <a:gd name="connsiteY26" fmla="*/ 1371329 h 2858885"/>
                  <a:gd name="connsiteX27" fmla="*/ 328204 w 1012623"/>
                  <a:gd name="connsiteY27" fmla="*/ 796926 h 2858885"/>
                  <a:gd name="connsiteX28" fmla="*/ 327751 w 1012623"/>
                  <a:gd name="connsiteY28" fmla="*/ 511176 h 2858885"/>
                  <a:gd name="connsiteX29" fmla="*/ 231775 w 1012623"/>
                  <a:gd name="connsiteY29" fmla="*/ 396876 h 2858885"/>
                  <a:gd name="connsiteX30" fmla="*/ 422275 w 1012623"/>
                  <a:gd name="connsiteY30" fmla="*/ 434976 h 2858885"/>
                  <a:gd name="connsiteX31" fmla="*/ 453231 w 1012623"/>
                  <a:gd name="connsiteY31" fmla="*/ 344489 h 2858885"/>
                  <a:gd name="connsiteX32" fmla="*/ 462757 w 1012623"/>
                  <a:gd name="connsiteY32" fmla="*/ 3969 h 2858885"/>
                  <a:gd name="connsiteX0" fmla="*/ 462757 w 1020710"/>
                  <a:gd name="connsiteY0" fmla="*/ 3969 h 2847610"/>
                  <a:gd name="connsiteX1" fmla="*/ 469900 w 1020710"/>
                  <a:gd name="connsiteY1" fmla="*/ 368301 h 2847610"/>
                  <a:gd name="connsiteX2" fmla="*/ 584200 w 1020710"/>
                  <a:gd name="connsiteY2" fmla="*/ 423069 h 2847610"/>
                  <a:gd name="connsiteX3" fmla="*/ 681832 w 1020710"/>
                  <a:gd name="connsiteY3" fmla="*/ 394495 h 2847610"/>
                  <a:gd name="connsiteX4" fmla="*/ 650875 w 1020710"/>
                  <a:gd name="connsiteY4" fmla="*/ 758826 h 2847610"/>
                  <a:gd name="connsiteX5" fmla="*/ 776154 w 1020710"/>
                  <a:gd name="connsiteY5" fmla="*/ 1347893 h 2847610"/>
                  <a:gd name="connsiteX6" fmla="*/ 938441 w 1020710"/>
                  <a:gd name="connsiteY6" fmla="*/ 1722364 h 2847610"/>
                  <a:gd name="connsiteX7" fmla="*/ 956403 w 1020710"/>
                  <a:gd name="connsiteY7" fmla="*/ 2206626 h 2847610"/>
                  <a:gd name="connsiteX8" fmla="*/ 985159 w 1020710"/>
                  <a:gd name="connsiteY8" fmla="*/ 2483829 h 2847610"/>
                  <a:gd name="connsiteX9" fmla="*/ 970054 w 1020710"/>
                  <a:gd name="connsiteY9" fmla="*/ 2826635 h 2847610"/>
                  <a:gd name="connsiteX10" fmla="*/ 681216 w 1020710"/>
                  <a:gd name="connsiteY10" fmla="*/ 2609674 h 2847610"/>
                  <a:gd name="connsiteX11" fmla="*/ 635499 w 1020710"/>
                  <a:gd name="connsiteY11" fmla="*/ 1839158 h 2847610"/>
                  <a:gd name="connsiteX12" fmla="*/ 567531 w 1020710"/>
                  <a:gd name="connsiteY12" fmla="*/ 801688 h 2847610"/>
                  <a:gd name="connsiteX13" fmla="*/ 515144 w 1020710"/>
                  <a:gd name="connsiteY13" fmla="*/ 563563 h 2847610"/>
                  <a:gd name="connsiteX14" fmla="*/ 460375 w 1020710"/>
                  <a:gd name="connsiteY14" fmla="*/ 996951 h 2847610"/>
                  <a:gd name="connsiteX15" fmla="*/ 415131 w 1020710"/>
                  <a:gd name="connsiteY15" fmla="*/ 1435101 h 2847610"/>
                  <a:gd name="connsiteX16" fmla="*/ 429419 w 1020710"/>
                  <a:gd name="connsiteY16" fmla="*/ 1873251 h 2847610"/>
                  <a:gd name="connsiteX17" fmla="*/ 450850 w 1020710"/>
                  <a:gd name="connsiteY17" fmla="*/ 2425701 h 2847610"/>
                  <a:gd name="connsiteX18" fmla="*/ 412750 w 1020710"/>
                  <a:gd name="connsiteY18" fmla="*/ 2701926 h 2847610"/>
                  <a:gd name="connsiteX19" fmla="*/ 403225 w 1020710"/>
                  <a:gd name="connsiteY19" fmla="*/ 2768601 h 2847610"/>
                  <a:gd name="connsiteX20" fmla="*/ 165100 w 1020710"/>
                  <a:gd name="connsiteY20" fmla="*/ 2835276 h 2847610"/>
                  <a:gd name="connsiteX21" fmla="*/ 22225 w 1020710"/>
                  <a:gd name="connsiteY21" fmla="*/ 2759076 h 2847610"/>
                  <a:gd name="connsiteX22" fmla="*/ 22225 w 1020710"/>
                  <a:gd name="connsiteY22" fmla="*/ 2339976 h 2847610"/>
                  <a:gd name="connsiteX23" fmla="*/ 12700 w 1020710"/>
                  <a:gd name="connsiteY23" fmla="*/ 1778001 h 2847610"/>
                  <a:gd name="connsiteX24" fmla="*/ 98425 w 1020710"/>
                  <a:gd name="connsiteY24" fmla="*/ 1682751 h 2847610"/>
                  <a:gd name="connsiteX25" fmla="*/ 193675 w 1020710"/>
                  <a:gd name="connsiteY25" fmla="*/ 1625601 h 2847610"/>
                  <a:gd name="connsiteX26" fmla="*/ 287292 w 1020710"/>
                  <a:gd name="connsiteY26" fmla="*/ 1371329 h 2847610"/>
                  <a:gd name="connsiteX27" fmla="*/ 328204 w 1020710"/>
                  <a:gd name="connsiteY27" fmla="*/ 796926 h 2847610"/>
                  <a:gd name="connsiteX28" fmla="*/ 327751 w 1020710"/>
                  <a:gd name="connsiteY28" fmla="*/ 511176 h 2847610"/>
                  <a:gd name="connsiteX29" fmla="*/ 231775 w 1020710"/>
                  <a:gd name="connsiteY29" fmla="*/ 396876 h 2847610"/>
                  <a:gd name="connsiteX30" fmla="*/ 422275 w 1020710"/>
                  <a:gd name="connsiteY30" fmla="*/ 434976 h 2847610"/>
                  <a:gd name="connsiteX31" fmla="*/ 453231 w 1020710"/>
                  <a:gd name="connsiteY31" fmla="*/ 344489 h 2847610"/>
                  <a:gd name="connsiteX32" fmla="*/ 462757 w 1020710"/>
                  <a:gd name="connsiteY32" fmla="*/ 3969 h 2847610"/>
                  <a:gd name="connsiteX0" fmla="*/ 462757 w 1020710"/>
                  <a:gd name="connsiteY0" fmla="*/ 3969 h 2840844"/>
                  <a:gd name="connsiteX1" fmla="*/ 469900 w 1020710"/>
                  <a:gd name="connsiteY1" fmla="*/ 368301 h 2840844"/>
                  <a:gd name="connsiteX2" fmla="*/ 584200 w 1020710"/>
                  <a:gd name="connsiteY2" fmla="*/ 423069 h 2840844"/>
                  <a:gd name="connsiteX3" fmla="*/ 681832 w 1020710"/>
                  <a:gd name="connsiteY3" fmla="*/ 394495 h 2840844"/>
                  <a:gd name="connsiteX4" fmla="*/ 650875 w 1020710"/>
                  <a:gd name="connsiteY4" fmla="*/ 758826 h 2840844"/>
                  <a:gd name="connsiteX5" fmla="*/ 776154 w 1020710"/>
                  <a:gd name="connsiteY5" fmla="*/ 1347893 h 2840844"/>
                  <a:gd name="connsiteX6" fmla="*/ 938441 w 1020710"/>
                  <a:gd name="connsiteY6" fmla="*/ 1722364 h 2840844"/>
                  <a:gd name="connsiteX7" fmla="*/ 956403 w 1020710"/>
                  <a:gd name="connsiteY7" fmla="*/ 2206626 h 2840844"/>
                  <a:gd name="connsiteX8" fmla="*/ 985159 w 1020710"/>
                  <a:gd name="connsiteY8" fmla="*/ 2524421 h 2840844"/>
                  <a:gd name="connsiteX9" fmla="*/ 970054 w 1020710"/>
                  <a:gd name="connsiteY9" fmla="*/ 2826635 h 2840844"/>
                  <a:gd name="connsiteX10" fmla="*/ 681216 w 1020710"/>
                  <a:gd name="connsiteY10" fmla="*/ 2609674 h 2840844"/>
                  <a:gd name="connsiteX11" fmla="*/ 635499 w 1020710"/>
                  <a:gd name="connsiteY11" fmla="*/ 1839158 h 2840844"/>
                  <a:gd name="connsiteX12" fmla="*/ 567531 w 1020710"/>
                  <a:gd name="connsiteY12" fmla="*/ 801688 h 2840844"/>
                  <a:gd name="connsiteX13" fmla="*/ 515144 w 1020710"/>
                  <a:gd name="connsiteY13" fmla="*/ 563563 h 2840844"/>
                  <a:gd name="connsiteX14" fmla="*/ 460375 w 1020710"/>
                  <a:gd name="connsiteY14" fmla="*/ 996951 h 2840844"/>
                  <a:gd name="connsiteX15" fmla="*/ 415131 w 1020710"/>
                  <a:gd name="connsiteY15" fmla="*/ 1435101 h 2840844"/>
                  <a:gd name="connsiteX16" fmla="*/ 429419 w 1020710"/>
                  <a:gd name="connsiteY16" fmla="*/ 1873251 h 2840844"/>
                  <a:gd name="connsiteX17" fmla="*/ 450850 w 1020710"/>
                  <a:gd name="connsiteY17" fmla="*/ 2425701 h 2840844"/>
                  <a:gd name="connsiteX18" fmla="*/ 412750 w 1020710"/>
                  <a:gd name="connsiteY18" fmla="*/ 2701926 h 2840844"/>
                  <a:gd name="connsiteX19" fmla="*/ 403225 w 1020710"/>
                  <a:gd name="connsiteY19" fmla="*/ 2768601 h 2840844"/>
                  <a:gd name="connsiteX20" fmla="*/ 165100 w 1020710"/>
                  <a:gd name="connsiteY20" fmla="*/ 2835276 h 2840844"/>
                  <a:gd name="connsiteX21" fmla="*/ 22225 w 1020710"/>
                  <a:gd name="connsiteY21" fmla="*/ 2759076 h 2840844"/>
                  <a:gd name="connsiteX22" fmla="*/ 22225 w 1020710"/>
                  <a:gd name="connsiteY22" fmla="*/ 2339976 h 2840844"/>
                  <a:gd name="connsiteX23" fmla="*/ 12700 w 1020710"/>
                  <a:gd name="connsiteY23" fmla="*/ 1778001 h 2840844"/>
                  <a:gd name="connsiteX24" fmla="*/ 98425 w 1020710"/>
                  <a:gd name="connsiteY24" fmla="*/ 1682751 h 2840844"/>
                  <a:gd name="connsiteX25" fmla="*/ 193675 w 1020710"/>
                  <a:gd name="connsiteY25" fmla="*/ 1625601 h 2840844"/>
                  <a:gd name="connsiteX26" fmla="*/ 287292 w 1020710"/>
                  <a:gd name="connsiteY26" fmla="*/ 1371329 h 2840844"/>
                  <a:gd name="connsiteX27" fmla="*/ 328204 w 1020710"/>
                  <a:gd name="connsiteY27" fmla="*/ 796926 h 2840844"/>
                  <a:gd name="connsiteX28" fmla="*/ 327751 w 1020710"/>
                  <a:gd name="connsiteY28" fmla="*/ 511176 h 2840844"/>
                  <a:gd name="connsiteX29" fmla="*/ 231775 w 1020710"/>
                  <a:gd name="connsiteY29" fmla="*/ 396876 h 2840844"/>
                  <a:gd name="connsiteX30" fmla="*/ 422275 w 1020710"/>
                  <a:gd name="connsiteY30" fmla="*/ 434976 h 2840844"/>
                  <a:gd name="connsiteX31" fmla="*/ 453231 w 1020710"/>
                  <a:gd name="connsiteY31" fmla="*/ 344489 h 2840844"/>
                  <a:gd name="connsiteX32" fmla="*/ 462757 w 1020710"/>
                  <a:gd name="connsiteY32" fmla="*/ 3969 h 2840844"/>
                  <a:gd name="connsiteX0" fmla="*/ 462757 w 1020710"/>
                  <a:gd name="connsiteY0" fmla="*/ 3969 h 2840844"/>
                  <a:gd name="connsiteX1" fmla="*/ 469900 w 1020710"/>
                  <a:gd name="connsiteY1" fmla="*/ 368301 h 2840844"/>
                  <a:gd name="connsiteX2" fmla="*/ 584200 w 1020710"/>
                  <a:gd name="connsiteY2" fmla="*/ 423069 h 2840844"/>
                  <a:gd name="connsiteX3" fmla="*/ 681832 w 1020710"/>
                  <a:gd name="connsiteY3" fmla="*/ 394495 h 2840844"/>
                  <a:gd name="connsiteX4" fmla="*/ 650875 w 1020710"/>
                  <a:gd name="connsiteY4" fmla="*/ 758826 h 2840844"/>
                  <a:gd name="connsiteX5" fmla="*/ 776154 w 1020710"/>
                  <a:gd name="connsiteY5" fmla="*/ 1347893 h 2840844"/>
                  <a:gd name="connsiteX6" fmla="*/ 938441 w 1020710"/>
                  <a:gd name="connsiteY6" fmla="*/ 1722364 h 2840844"/>
                  <a:gd name="connsiteX7" fmla="*/ 956403 w 1020710"/>
                  <a:gd name="connsiteY7" fmla="*/ 2206626 h 2840844"/>
                  <a:gd name="connsiteX8" fmla="*/ 985159 w 1020710"/>
                  <a:gd name="connsiteY8" fmla="*/ 2524421 h 2840844"/>
                  <a:gd name="connsiteX9" fmla="*/ 970054 w 1020710"/>
                  <a:gd name="connsiteY9" fmla="*/ 2826635 h 2840844"/>
                  <a:gd name="connsiteX10" fmla="*/ 681216 w 1020710"/>
                  <a:gd name="connsiteY10" fmla="*/ 2609674 h 2840844"/>
                  <a:gd name="connsiteX11" fmla="*/ 635499 w 1020710"/>
                  <a:gd name="connsiteY11" fmla="*/ 1839158 h 2840844"/>
                  <a:gd name="connsiteX12" fmla="*/ 567531 w 1020710"/>
                  <a:gd name="connsiteY12" fmla="*/ 801688 h 2840844"/>
                  <a:gd name="connsiteX13" fmla="*/ 515144 w 1020710"/>
                  <a:gd name="connsiteY13" fmla="*/ 563563 h 2840844"/>
                  <a:gd name="connsiteX14" fmla="*/ 460375 w 1020710"/>
                  <a:gd name="connsiteY14" fmla="*/ 996951 h 2840844"/>
                  <a:gd name="connsiteX15" fmla="*/ 415131 w 1020710"/>
                  <a:gd name="connsiteY15" fmla="*/ 1435101 h 2840844"/>
                  <a:gd name="connsiteX16" fmla="*/ 429419 w 1020710"/>
                  <a:gd name="connsiteY16" fmla="*/ 1873251 h 2840844"/>
                  <a:gd name="connsiteX17" fmla="*/ 450850 w 1020710"/>
                  <a:gd name="connsiteY17" fmla="*/ 2425701 h 2840844"/>
                  <a:gd name="connsiteX18" fmla="*/ 412750 w 1020710"/>
                  <a:gd name="connsiteY18" fmla="*/ 2701926 h 2840844"/>
                  <a:gd name="connsiteX19" fmla="*/ 403225 w 1020710"/>
                  <a:gd name="connsiteY19" fmla="*/ 2768601 h 2840844"/>
                  <a:gd name="connsiteX20" fmla="*/ 165100 w 1020710"/>
                  <a:gd name="connsiteY20" fmla="*/ 2835276 h 2840844"/>
                  <a:gd name="connsiteX21" fmla="*/ 22225 w 1020710"/>
                  <a:gd name="connsiteY21" fmla="*/ 2759076 h 2840844"/>
                  <a:gd name="connsiteX22" fmla="*/ 22225 w 1020710"/>
                  <a:gd name="connsiteY22" fmla="*/ 2339976 h 2840844"/>
                  <a:gd name="connsiteX23" fmla="*/ 12700 w 1020710"/>
                  <a:gd name="connsiteY23" fmla="*/ 1778001 h 2840844"/>
                  <a:gd name="connsiteX24" fmla="*/ 98425 w 1020710"/>
                  <a:gd name="connsiteY24" fmla="*/ 1682751 h 2840844"/>
                  <a:gd name="connsiteX25" fmla="*/ 193675 w 1020710"/>
                  <a:gd name="connsiteY25" fmla="*/ 1625601 h 2840844"/>
                  <a:gd name="connsiteX26" fmla="*/ 287292 w 1020710"/>
                  <a:gd name="connsiteY26" fmla="*/ 1371329 h 2840844"/>
                  <a:gd name="connsiteX27" fmla="*/ 328204 w 1020710"/>
                  <a:gd name="connsiteY27" fmla="*/ 796926 h 2840844"/>
                  <a:gd name="connsiteX28" fmla="*/ 327751 w 1020710"/>
                  <a:gd name="connsiteY28" fmla="*/ 511176 h 2840844"/>
                  <a:gd name="connsiteX29" fmla="*/ 231775 w 1020710"/>
                  <a:gd name="connsiteY29" fmla="*/ 396876 h 2840844"/>
                  <a:gd name="connsiteX30" fmla="*/ 422275 w 1020710"/>
                  <a:gd name="connsiteY30" fmla="*/ 434976 h 2840844"/>
                  <a:gd name="connsiteX31" fmla="*/ 453231 w 1020710"/>
                  <a:gd name="connsiteY31" fmla="*/ 344489 h 2840844"/>
                  <a:gd name="connsiteX32" fmla="*/ 462757 w 1020710"/>
                  <a:gd name="connsiteY32" fmla="*/ 3969 h 2840844"/>
                  <a:gd name="connsiteX0" fmla="*/ 462757 w 1016666"/>
                  <a:gd name="connsiteY0" fmla="*/ 3969 h 2840844"/>
                  <a:gd name="connsiteX1" fmla="*/ 469900 w 1016666"/>
                  <a:gd name="connsiteY1" fmla="*/ 368301 h 2840844"/>
                  <a:gd name="connsiteX2" fmla="*/ 584200 w 1016666"/>
                  <a:gd name="connsiteY2" fmla="*/ 423069 h 2840844"/>
                  <a:gd name="connsiteX3" fmla="*/ 681832 w 1016666"/>
                  <a:gd name="connsiteY3" fmla="*/ 394495 h 2840844"/>
                  <a:gd name="connsiteX4" fmla="*/ 650875 w 1016666"/>
                  <a:gd name="connsiteY4" fmla="*/ 758826 h 2840844"/>
                  <a:gd name="connsiteX5" fmla="*/ 776154 w 1016666"/>
                  <a:gd name="connsiteY5" fmla="*/ 1347893 h 2840844"/>
                  <a:gd name="connsiteX6" fmla="*/ 938441 w 1016666"/>
                  <a:gd name="connsiteY6" fmla="*/ 1722364 h 2840844"/>
                  <a:gd name="connsiteX7" fmla="*/ 956403 w 1016666"/>
                  <a:gd name="connsiteY7" fmla="*/ 2206626 h 2840844"/>
                  <a:gd name="connsiteX8" fmla="*/ 960891 w 1016666"/>
                  <a:gd name="connsiteY8" fmla="*/ 2524421 h 2840844"/>
                  <a:gd name="connsiteX9" fmla="*/ 970054 w 1016666"/>
                  <a:gd name="connsiteY9" fmla="*/ 2826635 h 2840844"/>
                  <a:gd name="connsiteX10" fmla="*/ 681216 w 1016666"/>
                  <a:gd name="connsiteY10" fmla="*/ 2609674 h 2840844"/>
                  <a:gd name="connsiteX11" fmla="*/ 635499 w 1016666"/>
                  <a:gd name="connsiteY11" fmla="*/ 1839158 h 2840844"/>
                  <a:gd name="connsiteX12" fmla="*/ 567531 w 1016666"/>
                  <a:gd name="connsiteY12" fmla="*/ 801688 h 2840844"/>
                  <a:gd name="connsiteX13" fmla="*/ 515144 w 1016666"/>
                  <a:gd name="connsiteY13" fmla="*/ 563563 h 2840844"/>
                  <a:gd name="connsiteX14" fmla="*/ 460375 w 1016666"/>
                  <a:gd name="connsiteY14" fmla="*/ 996951 h 2840844"/>
                  <a:gd name="connsiteX15" fmla="*/ 415131 w 1016666"/>
                  <a:gd name="connsiteY15" fmla="*/ 1435101 h 2840844"/>
                  <a:gd name="connsiteX16" fmla="*/ 429419 w 1016666"/>
                  <a:gd name="connsiteY16" fmla="*/ 1873251 h 2840844"/>
                  <a:gd name="connsiteX17" fmla="*/ 450850 w 1016666"/>
                  <a:gd name="connsiteY17" fmla="*/ 2425701 h 2840844"/>
                  <a:gd name="connsiteX18" fmla="*/ 412750 w 1016666"/>
                  <a:gd name="connsiteY18" fmla="*/ 2701926 h 2840844"/>
                  <a:gd name="connsiteX19" fmla="*/ 403225 w 1016666"/>
                  <a:gd name="connsiteY19" fmla="*/ 2768601 h 2840844"/>
                  <a:gd name="connsiteX20" fmla="*/ 165100 w 1016666"/>
                  <a:gd name="connsiteY20" fmla="*/ 2835276 h 2840844"/>
                  <a:gd name="connsiteX21" fmla="*/ 22225 w 1016666"/>
                  <a:gd name="connsiteY21" fmla="*/ 2759076 h 2840844"/>
                  <a:gd name="connsiteX22" fmla="*/ 22225 w 1016666"/>
                  <a:gd name="connsiteY22" fmla="*/ 2339976 h 2840844"/>
                  <a:gd name="connsiteX23" fmla="*/ 12700 w 1016666"/>
                  <a:gd name="connsiteY23" fmla="*/ 1778001 h 2840844"/>
                  <a:gd name="connsiteX24" fmla="*/ 98425 w 1016666"/>
                  <a:gd name="connsiteY24" fmla="*/ 1682751 h 2840844"/>
                  <a:gd name="connsiteX25" fmla="*/ 193675 w 1016666"/>
                  <a:gd name="connsiteY25" fmla="*/ 1625601 h 2840844"/>
                  <a:gd name="connsiteX26" fmla="*/ 287292 w 1016666"/>
                  <a:gd name="connsiteY26" fmla="*/ 1371329 h 2840844"/>
                  <a:gd name="connsiteX27" fmla="*/ 328204 w 1016666"/>
                  <a:gd name="connsiteY27" fmla="*/ 796926 h 2840844"/>
                  <a:gd name="connsiteX28" fmla="*/ 327751 w 1016666"/>
                  <a:gd name="connsiteY28" fmla="*/ 511176 h 2840844"/>
                  <a:gd name="connsiteX29" fmla="*/ 231775 w 1016666"/>
                  <a:gd name="connsiteY29" fmla="*/ 396876 h 2840844"/>
                  <a:gd name="connsiteX30" fmla="*/ 422275 w 1016666"/>
                  <a:gd name="connsiteY30" fmla="*/ 434976 h 2840844"/>
                  <a:gd name="connsiteX31" fmla="*/ 453231 w 1016666"/>
                  <a:gd name="connsiteY31" fmla="*/ 344489 h 2840844"/>
                  <a:gd name="connsiteX32" fmla="*/ 462757 w 1016666"/>
                  <a:gd name="connsiteY32" fmla="*/ 3969 h 2840844"/>
                  <a:gd name="connsiteX0" fmla="*/ 462757 w 1016666"/>
                  <a:gd name="connsiteY0" fmla="*/ 3969 h 2840844"/>
                  <a:gd name="connsiteX1" fmla="*/ 469900 w 1016666"/>
                  <a:gd name="connsiteY1" fmla="*/ 368301 h 2840844"/>
                  <a:gd name="connsiteX2" fmla="*/ 584200 w 1016666"/>
                  <a:gd name="connsiteY2" fmla="*/ 423069 h 2840844"/>
                  <a:gd name="connsiteX3" fmla="*/ 681832 w 1016666"/>
                  <a:gd name="connsiteY3" fmla="*/ 394495 h 2840844"/>
                  <a:gd name="connsiteX4" fmla="*/ 650875 w 1016666"/>
                  <a:gd name="connsiteY4" fmla="*/ 758826 h 2840844"/>
                  <a:gd name="connsiteX5" fmla="*/ 776154 w 1016666"/>
                  <a:gd name="connsiteY5" fmla="*/ 1347893 h 2840844"/>
                  <a:gd name="connsiteX6" fmla="*/ 938441 w 1016666"/>
                  <a:gd name="connsiteY6" fmla="*/ 1722364 h 2840844"/>
                  <a:gd name="connsiteX7" fmla="*/ 956403 w 1016666"/>
                  <a:gd name="connsiteY7" fmla="*/ 2206626 h 2840844"/>
                  <a:gd name="connsiteX8" fmla="*/ 960891 w 1016666"/>
                  <a:gd name="connsiteY8" fmla="*/ 2524421 h 2840844"/>
                  <a:gd name="connsiteX9" fmla="*/ 970054 w 1016666"/>
                  <a:gd name="connsiteY9" fmla="*/ 2826635 h 2840844"/>
                  <a:gd name="connsiteX10" fmla="*/ 681216 w 1016666"/>
                  <a:gd name="connsiteY10" fmla="*/ 2609674 h 2840844"/>
                  <a:gd name="connsiteX11" fmla="*/ 635499 w 1016666"/>
                  <a:gd name="connsiteY11" fmla="*/ 1839158 h 2840844"/>
                  <a:gd name="connsiteX12" fmla="*/ 567531 w 1016666"/>
                  <a:gd name="connsiteY12" fmla="*/ 801688 h 2840844"/>
                  <a:gd name="connsiteX13" fmla="*/ 515144 w 1016666"/>
                  <a:gd name="connsiteY13" fmla="*/ 563563 h 2840844"/>
                  <a:gd name="connsiteX14" fmla="*/ 460375 w 1016666"/>
                  <a:gd name="connsiteY14" fmla="*/ 996951 h 2840844"/>
                  <a:gd name="connsiteX15" fmla="*/ 415131 w 1016666"/>
                  <a:gd name="connsiteY15" fmla="*/ 1435101 h 2840844"/>
                  <a:gd name="connsiteX16" fmla="*/ 429419 w 1016666"/>
                  <a:gd name="connsiteY16" fmla="*/ 1873251 h 2840844"/>
                  <a:gd name="connsiteX17" fmla="*/ 450850 w 1016666"/>
                  <a:gd name="connsiteY17" fmla="*/ 2425701 h 2840844"/>
                  <a:gd name="connsiteX18" fmla="*/ 412750 w 1016666"/>
                  <a:gd name="connsiteY18" fmla="*/ 2701926 h 2840844"/>
                  <a:gd name="connsiteX19" fmla="*/ 403225 w 1016666"/>
                  <a:gd name="connsiteY19" fmla="*/ 2768601 h 2840844"/>
                  <a:gd name="connsiteX20" fmla="*/ 165100 w 1016666"/>
                  <a:gd name="connsiteY20" fmla="*/ 2835276 h 2840844"/>
                  <a:gd name="connsiteX21" fmla="*/ 22225 w 1016666"/>
                  <a:gd name="connsiteY21" fmla="*/ 2759076 h 2840844"/>
                  <a:gd name="connsiteX22" fmla="*/ 22225 w 1016666"/>
                  <a:gd name="connsiteY22" fmla="*/ 2339976 h 2840844"/>
                  <a:gd name="connsiteX23" fmla="*/ 12700 w 1016666"/>
                  <a:gd name="connsiteY23" fmla="*/ 1778001 h 2840844"/>
                  <a:gd name="connsiteX24" fmla="*/ 98425 w 1016666"/>
                  <a:gd name="connsiteY24" fmla="*/ 1682751 h 2840844"/>
                  <a:gd name="connsiteX25" fmla="*/ 193675 w 1016666"/>
                  <a:gd name="connsiteY25" fmla="*/ 1625601 h 2840844"/>
                  <a:gd name="connsiteX26" fmla="*/ 287292 w 1016666"/>
                  <a:gd name="connsiteY26" fmla="*/ 1371329 h 2840844"/>
                  <a:gd name="connsiteX27" fmla="*/ 328204 w 1016666"/>
                  <a:gd name="connsiteY27" fmla="*/ 796926 h 2840844"/>
                  <a:gd name="connsiteX28" fmla="*/ 327751 w 1016666"/>
                  <a:gd name="connsiteY28" fmla="*/ 511176 h 2840844"/>
                  <a:gd name="connsiteX29" fmla="*/ 231775 w 1016666"/>
                  <a:gd name="connsiteY29" fmla="*/ 396876 h 2840844"/>
                  <a:gd name="connsiteX30" fmla="*/ 422275 w 1016666"/>
                  <a:gd name="connsiteY30" fmla="*/ 434976 h 2840844"/>
                  <a:gd name="connsiteX31" fmla="*/ 453231 w 1016666"/>
                  <a:gd name="connsiteY31" fmla="*/ 344489 h 2840844"/>
                  <a:gd name="connsiteX32" fmla="*/ 462757 w 1016666"/>
                  <a:gd name="connsiteY32" fmla="*/ 3969 h 2840844"/>
                  <a:gd name="connsiteX0" fmla="*/ 462757 w 1016666"/>
                  <a:gd name="connsiteY0" fmla="*/ 3969 h 2840844"/>
                  <a:gd name="connsiteX1" fmla="*/ 469900 w 1016666"/>
                  <a:gd name="connsiteY1" fmla="*/ 368301 h 2840844"/>
                  <a:gd name="connsiteX2" fmla="*/ 584200 w 1016666"/>
                  <a:gd name="connsiteY2" fmla="*/ 423069 h 2840844"/>
                  <a:gd name="connsiteX3" fmla="*/ 681832 w 1016666"/>
                  <a:gd name="connsiteY3" fmla="*/ 394495 h 2840844"/>
                  <a:gd name="connsiteX4" fmla="*/ 650875 w 1016666"/>
                  <a:gd name="connsiteY4" fmla="*/ 758826 h 2840844"/>
                  <a:gd name="connsiteX5" fmla="*/ 776154 w 1016666"/>
                  <a:gd name="connsiteY5" fmla="*/ 1347893 h 2840844"/>
                  <a:gd name="connsiteX6" fmla="*/ 938441 w 1016666"/>
                  <a:gd name="connsiteY6" fmla="*/ 1722364 h 2840844"/>
                  <a:gd name="connsiteX7" fmla="*/ 956403 w 1016666"/>
                  <a:gd name="connsiteY7" fmla="*/ 2206626 h 2840844"/>
                  <a:gd name="connsiteX8" fmla="*/ 960891 w 1016666"/>
                  <a:gd name="connsiteY8" fmla="*/ 2524421 h 2840844"/>
                  <a:gd name="connsiteX9" fmla="*/ 970054 w 1016666"/>
                  <a:gd name="connsiteY9" fmla="*/ 2826635 h 2840844"/>
                  <a:gd name="connsiteX10" fmla="*/ 681216 w 1016666"/>
                  <a:gd name="connsiteY10" fmla="*/ 2609674 h 2840844"/>
                  <a:gd name="connsiteX11" fmla="*/ 635499 w 1016666"/>
                  <a:gd name="connsiteY11" fmla="*/ 1839158 h 2840844"/>
                  <a:gd name="connsiteX12" fmla="*/ 567531 w 1016666"/>
                  <a:gd name="connsiteY12" fmla="*/ 801688 h 2840844"/>
                  <a:gd name="connsiteX13" fmla="*/ 515144 w 1016666"/>
                  <a:gd name="connsiteY13" fmla="*/ 563563 h 2840844"/>
                  <a:gd name="connsiteX14" fmla="*/ 460375 w 1016666"/>
                  <a:gd name="connsiteY14" fmla="*/ 996951 h 2840844"/>
                  <a:gd name="connsiteX15" fmla="*/ 415131 w 1016666"/>
                  <a:gd name="connsiteY15" fmla="*/ 1435101 h 2840844"/>
                  <a:gd name="connsiteX16" fmla="*/ 429419 w 1016666"/>
                  <a:gd name="connsiteY16" fmla="*/ 1873251 h 2840844"/>
                  <a:gd name="connsiteX17" fmla="*/ 450850 w 1016666"/>
                  <a:gd name="connsiteY17" fmla="*/ 2425701 h 2840844"/>
                  <a:gd name="connsiteX18" fmla="*/ 412750 w 1016666"/>
                  <a:gd name="connsiteY18" fmla="*/ 2701926 h 2840844"/>
                  <a:gd name="connsiteX19" fmla="*/ 403225 w 1016666"/>
                  <a:gd name="connsiteY19" fmla="*/ 2768601 h 2840844"/>
                  <a:gd name="connsiteX20" fmla="*/ 165100 w 1016666"/>
                  <a:gd name="connsiteY20" fmla="*/ 2835276 h 2840844"/>
                  <a:gd name="connsiteX21" fmla="*/ 22225 w 1016666"/>
                  <a:gd name="connsiteY21" fmla="*/ 2759076 h 2840844"/>
                  <a:gd name="connsiteX22" fmla="*/ 22225 w 1016666"/>
                  <a:gd name="connsiteY22" fmla="*/ 2339976 h 2840844"/>
                  <a:gd name="connsiteX23" fmla="*/ 12700 w 1016666"/>
                  <a:gd name="connsiteY23" fmla="*/ 1778001 h 2840844"/>
                  <a:gd name="connsiteX24" fmla="*/ 98425 w 1016666"/>
                  <a:gd name="connsiteY24" fmla="*/ 1682751 h 2840844"/>
                  <a:gd name="connsiteX25" fmla="*/ 193675 w 1016666"/>
                  <a:gd name="connsiteY25" fmla="*/ 1625601 h 2840844"/>
                  <a:gd name="connsiteX26" fmla="*/ 287292 w 1016666"/>
                  <a:gd name="connsiteY26" fmla="*/ 1371329 h 2840844"/>
                  <a:gd name="connsiteX27" fmla="*/ 328204 w 1016666"/>
                  <a:gd name="connsiteY27" fmla="*/ 796926 h 2840844"/>
                  <a:gd name="connsiteX28" fmla="*/ 327751 w 1016666"/>
                  <a:gd name="connsiteY28" fmla="*/ 511176 h 2840844"/>
                  <a:gd name="connsiteX29" fmla="*/ 231775 w 1016666"/>
                  <a:gd name="connsiteY29" fmla="*/ 396876 h 2840844"/>
                  <a:gd name="connsiteX30" fmla="*/ 422275 w 1016666"/>
                  <a:gd name="connsiteY30" fmla="*/ 434976 h 2840844"/>
                  <a:gd name="connsiteX31" fmla="*/ 453231 w 1016666"/>
                  <a:gd name="connsiteY31" fmla="*/ 344489 h 2840844"/>
                  <a:gd name="connsiteX32" fmla="*/ 462757 w 1016666"/>
                  <a:gd name="connsiteY32" fmla="*/ 3969 h 2840844"/>
                  <a:gd name="connsiteX0" fmla="*/ 462757 w 1016666"/>
                  <a:gd name="connsiteY0" fmla="*/ 3969 h 2840844"/>
                  <a:gd name="connsiteX1" fmla="*/ 469900 w 1016666"/>
                  <a:gd name="connsiteY1" fmla="*/ 368301 h 2840844"/>
                  <a:gd name="connsiteX2" fmla="*/ 584200 w 1016666"/>
                  <a:gd name="connsiteY2" fmla="*/ 423069 h 2840844"/>
                  <a:gd name="connsiteX3" fmla="*/ 681832 w 1016666"/>
                  <a:gd name="connsiteY3" fmla="*/ 394495 h 2840844"/>
                  <a:gd name="connsiteX4" fmla="*/ 650875 w 1016666"/>
                  <a:gd name="connsiteY4" fmla="*/ 758826 h 2840844"/>
                  <a:gd name="connsiteX5" fmla="*/ 776154 w 1016666"/>
                  <a:gd name="connsiteY5" fmla="*/ 1347893 h 2840844"/>
                  <a:gd name="connsiteX6" fmla="*/ 938441 w 1016666"/>
                  <a:gd name="connsiteY6" fmla="*/ 1722364 h 2840844"/>
                  <a:gd name="connsiteX7" fmla="*/ 956403 w 1016666"/>
                  <a:gd name="connsiteY7" fmla="*/ 2206626 h 2840844"/>
                  <a:gd name="connsiteX8" fmla="*/ 960891 w 1016666"/>
                  <a:gd name="connsiteY8" fmla="*/ 2524421 h 2840844"/>
                  <a:gd name="connsiteX9" fmla="*/ 970054 w 1016666"/>
                  <a:gd name="connsiteY9" fmla="*/ 2826635 h 2840844"/>
                  <a:gd name="connsiteX10" fmla="*/ 681216 w 1016666"/>
                  <a:gd name="connsiteY10" fmla="*/ 2609674 h 2840844"/>
                  <a:gd name="connsiteX11" fmla="*/ 635499 w 1016666"/>
                  <a:gd name="connsiteY11" fmla="*/ 1839158 h 2840844"/>
                  <a:gd name="connsiteX12" fmla="*/ 567531 w 1016666"/>
                  <a:gd name="connsiteY12" fmla="*/ 801688 h 2840844"/>
                  <a:gd name="connsiteX13" fmla="*/ 515144 w 1016666"/>
                  <a:gd name="connsiteY13" fmla="*/ 563563 h 2840844"/>
                  <a:gd name="connsiteX14" fmla="*/ 460375 w 1016666"/>
                  <a:gd name="connsiteY14" fmla="*/ 996951 h 2840844"/>
                  <a:gd name="connsiteX15" fmla="*/ 415131 w 1016666"/>
                  <a:gd name="connsiteY15" fmla="*/ 1435101 h 2840844"/>
                  <a:gd name="connsiteX16" fmla="*/ 429419 w 1016666"/>
                  <a:gd name="connsiteY16" fmla="*/ 1873251 h 2840844"/>
                  <a:gd name="connsiteX17" fmla="*/ 450850 w 1016666"/>
                  <a:gd name="connsiteY17" fmla="*/ 2425701 h 2840844"/>
                  <a:gd name="connsiteX18" fmla="*/ 412750 w 1016666"/>
                  <a:gd name="connsiteY18" fmla="*/ 2701926 h 2840844"/>
                  <a:gd name="connsiteX19" fmla="*/ 403225 w 1016666"/>
                  <a:gd name="connsiteY19" fmla="*/ 2768601 h 2840844"/>
                  <a:gd name="connsiteX20" fmla="*/ 165100 w 1016666"/>
                  <a:gd name="connsiteY20" fmla="*/ 2835276 h 2840844"/>
                  <a:gd name="connsiteX21" fmla="*/ 22225 w 1016666"/>
                  <a:gd name="connsiteY21" fmla="*/ 2759076 h 2840844"/>
                  <a:gd name="connsiteX22" fmla="*/ 22225 w 1016666"/>
                  <a:gd name="connsiteY22" fmla="*/ 2339976 h 2840844"/>
                  <a:gd name="connsiteX23" fmla="*/ 12700 w 1016666"/>
                  <a:gd name="connsiteY23" fmla="*/ 1778001 h 2840844"/>
                  <a:gd name="connsiteX24" fmla="*/ 98425 w 1016666"/>
                  <a:gd name="connsiteY24" fmla="*/ 1682751 h 2840844"/>
                  <a:gd name="connsiteX25" fmla="*/ 193675 w 1016666"/>
                  <a:gd name="connsiteY25" fmla="*/ 1625601 h 2840844"/>
                  <a:gd name="connsiteX26" fmla="*/ 287292 w 1016666"/>
                  <a:gd name="connsiteY26" fmla="*/ 1371329 h 2840844"/>
                  <a:gd name="connsiteX27" fmla="*/ 328204 w 1016666"/>
                  <a:gd name="connsiteY27" fmla="*/ 796926 h 2840844"/>
                  <a:gd name="connsiteX28" fmla="*/ 327751 w 1016666"/>
                  <a:gd name="connsiteY28" fmla="*/ 511176 h 2840844"/>
                  <a:gd name="connsiteX29" fmla="*/ 231775 w 1016666"/>
                  <a:gd name="connsiteY29" fmla="*/ 396876 h 2840844"/>
                  <a:gd name="connsiteX30" fmla="*/ 422275 w 1016666"/>
                  <a:gd name="connsiteY30" fmla="*/ 434976 h 2840844"/>
                  <a:gd name="connsiteX31" fmla="*/ 453231 w 1016666"/>
                  <a:gd name="connsiteY31" fmla="*/ 344489 h 2840844"/>
                  <a:gd name="connsiteX32" fmla="*/ 462757 w 1016666"/>
                  <a:gd name="connsiteY32" fmla="*/ 3969 h 2840844"/>
                  <a:gd name="connsiteX0" fmla="*/ 462757 w 1016666"/>
                  <a:gd name="connsiteY0" fmla="*/ 3969 h 2840844"/>
                  <a:gd name="connsiteX1" fmla="*/ 469900 w 1016666"/>
                  <a:gd name="connsiteY1" fmla="*/ 368301 h 2840844"/>
                  <a:gd name="connsiteX2" fmla="*/ 584200 w 1016666"/>
                  <a:gd name="connsiteY2" fmla="*/ 423069 h 2840844"/>
                  <a:gd name="connsiteX3" fmla="*/ 681832 w 1016666"/>
                  <a:gd name="connsiteY3" fmla="*/ 394495 h 2840844"/>
                  <a:gd name="connsiteX4" fmla="*/ 650875 w 1016666"/>
                  <a:gd name="connsiteY4" fmla="*/ 758826 h 2840844"/>
                  <a:gd name="connsiteX5" fmla="*/ 776154 w 1016666"/>
                  <a:gd name="connsiteY5" fmla="*/ 1347893 h 2840844"/>
                  <a:gd name="connsiteX6" fmla="*/ 938441 w 1016666"/>
                  <a:gd name="connsiteY6" fmla="*/ 1722364 h 2840844"/>
                  <a:gd name="connsiteX7" fmla="*/ 956403 w 1016666"/>
                  <a:gd name="connsiteY7" fmla="*/ 2206626 h 2840844"/>
                  <a:gd name="connsiteX8" fmla="*/ 960891 w 1016666"/>
                  <a:gd name="connsiteY8" fmla="*/ 2524421 h 2840844"/>
                  <a:gd name="connsiteX9" fmla="*/ 970054 w 1016666"/>
                  <a:gd name="connsiteY9" fmla="*/ 2826635 h 2840844"/>
                  <a:gd name="connsiteX10" fmla="*/ 681216 w 1016666"/>
                  <a:gd name="connsiteY10" fmla="*/ 2609674 h 2840844"/>
                  <a:gd name="connsiteX11" fmla="*/ 635499 w 1016666"/>
                  <a:gd name="connsiteY11" fmla="*/ 1839158 h 2840844"/>
                  <a:gd name="connsiteX12" fmla="*/ 567531 w 1016666"/>
                  <a:gd name="connsiteY12" fmla="*/ 801688 h 2840844"/>
                  <a:gd name="connsiteX13" fmla="*/ 515144 w 1016666"/>
                  <a:gd name="connsiteY13" fmla="*/ 563563 h 2840844"/>
                  <a:gd name="connsiteX14" fmla="*/ 460375 w 1016666"/>
                  <a:gd name="connsiteY14" fmla="*/ 996951 h 2840844"/>
                  <a:gd name="connsiteX15" fmla="*/ 415131 w 1016666"/>
                  <a:gd name="connsiteY15" fmla="*/ 1435101 h 2840844"/>
                  <a:gd name="connsiteX16" fmla="*/ 429419 w 1016666"/>
                  <a:gd name="connsiteY16" fmla="*/ 1873251 h 2840844"/>
                  <a:gd name="connsiteX17" fmla="*/ 450850 w 1016666"/>
                  <a:gd name="connsiteY17" fmla="*/ 2425701 h 2840844"/>
                  <a:gd name="connsiteX18" fmla="*/ 412750 w 1016666"/>
                  <a:gd name="connsiteY18" fmla="*/ 2701926 h 2840844"/>
                  <a:gd name="connsiteX19" fmla="*/ 403225 w 1016666"/>
                  <a:gd name="connsiteY19" fmla="*/ 2768601 h 2840844"/>
                  <a:gd name="connsiteX20" fmla="*/ 165100 w 1016666"/>
                  <a:gd name="connsiteY20" fmla="*/ 2835276 h 2840844"/>
                  <a:gd name="connsiteX21" fmla="*/ 22225 w 1016666"/>
                  <a:gd name="connsiteY21" fmla="*/ 2759076 h 2840844"/>
                  <a:gd name="connsiteX22" fmla="*/ 22225 w 1016666"/>
                  <a:gd name="connsiteY22" fmla="*/ 2339976 h 2840844"/>
                  <a:gd name="connsiteX23" fmla="*/ 12700 w 1016666"/>
                  <a:gd name="connsiteY23" fmla="*/ 1778001 h 2840844"/>
                  <a:gd name="connsiteX24" fmla="*/ 98425 w 1016666"/>
                  <a:gd name="connsiteY24" fmla="*/ 1682751 h 2840844"/>
                  <a:gd name="connsiteX25" fmla="*/ 193675 w 1016666"/>
                  <a:gd name="connsiteY25" fmla="*/ 1625601 h 2840844"/>
                  <a:gd name="connsiteX26" fmla="*/ 287292 w 1016666"/>
                  <a:gd name="connsiteY26" fmla="*/ 1371329 h 2840844"/>
                  <a:gd name="connsiteX27" fmla="*/ 328204 w 1016666"/>
                  <a:gd name="connsiteY27" fmla="*/ 796926 h 2840844"/>
                  <a:gd name="connsiteX28" fmla="*/ 327751 w 1016666"/>
                  <a:gd name="connsiteY28" fmla="*/ 511176 h 2840844"/>
                  <a:gd name="connsiteX29" fmla="*/ 231775 w 1016666"/>
                  <a:gd name="connsiteY29" fmla="*/ 396876 h 2840844"/>
                  <a:gd name="connsiteX30" fmla="*/ 422275 w 1016666"/>
                  <a:gd name="connsiteY30" fmla="*/ 434976 h 2840844"/>
                  <a:gd name="connsiteX31" fmla="*/ 453231 w 1016666"/>
                  <a:gd name="connsiteY31" fmla="*/ 344489 h 2840844"/>
                  <a:gd name="connsiteX32" fmla="*/ 462757 w 1016666"/>
                  <a:gd name="connsiteY32" fmla="*/ 3969 h 2840844"/>
                  <a:gd name="connsiteX0" fmla="*/ 462757 w 1040932"/>
                  <a:gd name="connsiteY0" fmla="*/ 3969 h 2894966"/>
                  <a:gd name="connsiteX1" fmla="*/ 469900 w 1040932"/>
                  <a:gd name="connsiteY1" fmla="*/ 368301 h 2894966"/>
                  <a:gd name="connsiteX2" fmla="*/ 584200 w 1040932"/>
                  <a:gd name="connsiteY2" fmla="*/ 423069 h 2894966"/>
                  <a:gd name="connsiteX3" fmla="*/ 681832 w 1040932"/>
                  <a:gd name="connsiteY3" fmla="*/ 394495 h 2894966"/>
                  <a:gd name="connsiteX4" fmla="*/ 650875 w 1040932"/>
                  <a:gd name="connsiteY4" fmla="*/ 758826 h 2894966"/>
                  <a:gd name="connsiteX5" fmla="*/ 776154 w 1040932"/>
                  <a:gd name="connsiteY5" fmla="*/ 1347893 h 2894966"/>
                  <a:gd name="connsiteX6" fmla="*/ 938441 w 1040932"/>
                  <a:gd name="connsiteY6" fmla="*/ 1722364 h 2894966"/>
                  <a:gd name="connsiteX7" fmla="*/ 956403 w 1040932"/>
                  <a:gd name="connsiteY7" fmla="*/ 2206626 h 2894966"/>
                  <a:gd name="connsiteX8" fmla="*/ 960891 w 1040932"/>
                  <a:gd name="connsiteY8" fmla="*/ 2524421 h 2894966"/>
                  <a:gd name="connsiteX9" fmla="*/ 994320 w 1040932"/>
                  <a:gd name="connsiteY9" fmla="*/ 2880757 h 2894966"/>
                  <a:gd name="connsiteX10" fmla="*/ 681216 w 1040932"/>
                  <a:gd name="connsiteY10" fmla="*/ 2609674 h 2894966"/>
                  <a:gd name="connsiteX11" fmla="*/ 635499 w 1040932"/>
                  <a:gd name="connsiteY11" fmla="*/ 1839158 h 2894966"/>
                  <a:gd name="connsiteX12" fmla="*/ 567531 w 1040932"/>
                  <a:gd name="connsiteY12" fmla="*/ 801688 h 2894966"/>
                  <a:gd name="connsiteX13" fmla="*/ 515144 w 1040932"/>
                  <a:gd name="connsiteY13" fmla="*/ 563563 h 2894966"/>
                  <a:gd name="connsiteX14" fmla="*/ 460375 w 1040932"/>
                  <a:gd name="connsiteY14" fmla="*/ 996951 h 2894966"/>
                  <a:gd name="connsiteX15" fmla="*/ 415131 w 1040932"/>
                  <a:gd name="connsiteY15" fmla="*/ 1435101 h 2894966"/>
                  <a:gd name="connsiteX16" fmla="*/ 429419 w 1040932"/>
                  <a:gd name="connsiteY16" fmla="*/ 1873251 h 2894966"/>
                  <a:gd name="connsiteX17" fmla="*/ 450850 w 1040932"/>
                  <a:gd name="connsiteY17" fmla="*/ 2425701 h 2894966"/>
                  <a:gd name="connsiteX18" fmla="*/ 412750 w 1040932"/>
                  <a:gd name="connsiteY18" fmla="*/ 2701926 h 2894966"/>
                  <a:gd name="connsiteX19" fmla="*/ 403225 w 1040932"/>
                  <a:gd name="connsiteY19" fmla="*/ 2768601 h 2894966"/>
                  <a:gd name="connsiteX20" fmla="*/ 165100 w 1040932"/>
                  <a:gd name="connsiteY20" fmla="*/ 2835276 h 2894966"/>
                  <a:gd name="connsiteX21" fmla="*/ 22225 w 1040932"/>
                  <a:gd name="connsiteY21" fmla="*/ 2759076 h 2894966"/>
                  <a:gd name="connsiteX22" fmla="*/ 22225 w 1040932"/>
                  <a:gd name="connsiteY22" fmla="*/ 2339976 h 2894966"/>
                  <a:gd name="connsiteX23" fmla="*/ 12700 w 1040932"/>
                  <a:gd name="connsiteY23" fmla="*/ 1778001 h 2894966"/>
                  <a:gd name="connsiteX24" fmla="*/ 98425 w 1040932"/>
                  <a:gd name="connsiteY24" fmla="*/ 1682751 h 2894966"/>
                  <a:gd name="connsiteX25" fmla="*/ 193675 w 1040932"/>
                  <a:gd name="connsiteY25" fmla="*/ 1625601 h 2894966"/>
                  <a:gd name="connsiteX26" fmla="*/ 287292 w 1040932"/>
                  <a:gd name="connsiteY26" fmla="*/ 1371329 h 2894966"/>
                  <a:gd name="connsiteX27" fmla="*/ 328204 w 1040932"/>
                  <a:gd name="connsiteY27" fmla="*/ 796926 h 2894966"/>
                  <a:gd name="connsiteX28" fmla="*/ 327751 w 1040932"/>
                  <a:gd name="connsiteY28" fmla="*/ 511176 h 2894966"/>
                  <a:gd name="connsiteX29" fmla="*/ 231775 w 1040932"/>
                  <a:gd name="connsiteY29" fmla="*/ 396876 h 2894966"/>
                  <a:gd name="connsiteX30" fmla="*/ 422275 w 1040932"/>
                  <a:gd name="connsiteY30" fmla="*/ 434976 h 2894966"/>
                  <a:gd name="connsiteX31" fmla="*/ 453231 w 1040932"/>
                  <a:gd name="connsiteY31" fmla="*/ 344489 h 2894966"/>
                  <a:gd name="connsiteX32" fmla="*/ 462757 w 1040932"/>
                  <a:gd name="connsiteY32" fmla="*/ 3969 h 2894966"/>
                  <a:gd name="connsiteX0" fmla="*/ 462757 w 1011813"/>
                  <a:gd name="connsiteY0" fmla="*/ 3969 h 2894966"/>
                  <a:gd name="connsiteX1" fmla="*/ 469900 w 1011813"/>
                  <a:gd name="connsiteY1" fmla="*/ 368301 h 2894966"/>
                  <a:gd name="connsiteX2" fmla="*/ 584200 w 1011813"/>
                  <a:gd name="connsiteY2" fmla="*/ 423069 h 2894966"/>
                  <a:gd name="connsiteX3" fmla="*/ 681832 w 1011813"/>
                  <a:gd name="connsiteY3" fmla="*/ 394495 h 2894966"/>
                  <a:gd name="connsiteX4" fmla="*/ 650875 w 1011813"/>
                  <a:gd name="connsiteY4" fmla="*/ 758826 h 2894966"/>
                  <a:gd name="connsiteX5" fmla="*/ 776154 w 1011813"/>
                  <a:gd name="connsiteY5" fmla="*/ 1347893 h 2894966"/>
                  <a:gd name="connsiteX6" fmla="*/ 938441 w 1011813"/>
                  <a:gd name="connsiteY6" fmla="*/ 1722364 h 2894966"/>
                  <a:gd name="connsiteX7" fmla="*/ 956403 w 1011813"/>
                  <a:gd name="connsiteY7" fmla="*/ 2206626 h 2894966"/>
                  <a:gd name="connsiteX8" fmla="*/ 960891 w 1011813"/>
                  <a:gd name="connsiteY8" fmla="*/ 2524421 h 2894966"/>
                  <a:gd name="connsiteX9" fmla="*/ 994320 w 1011813"/>
                  <a:gd name="connsiteY9" fmla="*/ 2880757 h 2894966"/>
                  <a:gd name="connsiteX10" fmla="*/ 681216 w 1011813"/>
                  <a:gd name="connsiteY10" fmla="*/ 2609674 h 2894966"/>
                  <a:gd name="connsiteX11" fmla="*/ 635499 w 1011813"/>
                  <a:gd name="connsiteY11" fmla="*/ 1839158 h 2894966"/>
                  <a:gd name="connsiteX12" fmla="*/ 567531 w 1011813"/>
                  <a:gd name="connsiteY12" fmla="*/ 801688 h 2894966"/>
                  <a:gd name="connsiteX13" fmla="*/ 515144 w 1011813"/>
                  <a:gd name="connsiteY13" fmla="*/ 563563 h 2894966"/>
                  <a:gd name="connsiteX14" fmla="*/ 460375 w 1011813"/>
                  <a:gd name="connsiteY14" fmla="*/ 996951 h 2894966"/>
                  <a:gd name="connsiteX15" fmla="*/ 415131 w 1011813"/>
                  <a:gd name="connsiteY15" fmla="*/ 1435101 h 2894966"/>
                  <a:gd name="connsiteX16" fmla="*/ 429419 w 1011813"/>
                  <a:gd name="connsiteY16" fmla="*/ 1873251 h 2894966"/>
                  <a:gd name="connsiteX17" fmla="*/ 450850 w 1011813"/>
                  <a:gd name="connsiteY17" fmla="*/ 2425701 h 2894966"/>
                  <a:gd name="connsiteX18" fmla="*/ 412750 w 1011813"/>
                  <a:gd name="connsiteY18" fmla="*/ 2701926 h 2894966"/>
                  <a:gd name="connsiteX19" fmla="*/ 403225 w 1011813"/>
                  <a:gd name="connsiteY19" fmla="*/ 2768601 h 2894966"/>
                  <a:gd name="connsiteX20" fmla="*/ 165100 w 1011813"/>
                  <a:gd name="connsiteY20" fmla="*/ 2835276 h 2894966"/>
                  <a:gd name="connsiteX21" fmla="*/ 22225 w 1011813"/>
                  <a:gd name="connsiteY21" fmla="*/ 2759076 h 2894966"/>
                  <a:gd name="connsiteX22" fmla="*/ 22225 w 1011813"/>
                  <a:gd name="connsiteY22" fmla="*/ 2339976 h 2894966"/>
                  <a:gd name="connsiteX23" fmla="*/ 12700 w 1011813"/>
                  <a:gd name="connsiteY23" fmla="*/ 1778001 h 2894966"/>
                  <a:gd name="connsiteX24" fmla="*/ 98425 w 1011813"/>
                  <a:gd name="connsiteY24" fmla="*/ 1682751 h 2894966"/>
                  <a:gd name="connsiteX25" fmla="*/ 193675 w 1011813"/>
                  <a:gd name="connsiteY25" fmla="*/ 1625601 h 2894966"/>
                  <a:gd name="connsiteX26" fmla="*/ 287292 w 1011813"/>
                  <a:gd name="connsiteY26" fmla="*/ 1371329 h 2894966"/>
                  <a:gd name="connsiteX27" fmla="*/ 328204 w 1011813"/>
                  <a:gd name="connsiteY27" fmla="*/ 796926 h 2894966"/>
                  <a:gd name="connsiteX28" fmla="*/ 327751 w 1011813"/>
                  <a:gd name="connsiteY28" fmla="*/ 511176 h 2894966"/>
                  <a:gd name="connsiteX29" fmla="*/ 231775 w 1011813"/>
                  <a:gd name="connsiteY29" fmla="*/ 396876 h 2894966"/>
                  <a:gd name="connsiteX30" fmla="*/ 422275 w 1011813"/>
                  <a:gd name="connsiteY30" fmla="*/ 434976 h 2894966"/>
                  <a:gd name="connsiteX31" fmla="*/ 453231 w 1011813"/>
                  <a:gd name="connsiteY31" fmla="*/ 344489 h 2894966"/>
                  <a:gd name="connsiteX32" fmla="*/ 462757 w 1011813"/>
                  <a:gd name="connsiteY32" fmla="*/ 3969 h 2894966"/>
                  <a:gd name="connsiteX0" fmla="*/ 462757 w 1011813"/>
                  <a:gd name="connsiteY0" fmla="*/ 3969 h 2894966"/>
                  <a:gd name="connsiteX1" fmla="*/ 469900 w 1011813"/>
                  <a:gd name="connsiteY1" fmla="*/ 368301 h 2894966"/>
                  <a:gd name="connsiteX2" fmla="*/ 584200 w 1011813"/>
                  <a:gd name="connsiteY2" fmla="*/ 423069 h 2894966"/>
                  <a:gd name="connsiteX3" fmla="*/ 681832 w 1011813"/>
                  <a:gd name="connsiteY3" fmla="*/ 394495 h 2894966"/>
                  <a:gd name="connsiteX4" fmla="*/ 650875 w 1011813"/>
                  <a:gd name="connsiteY4" fmla="*/ 758826 h 2894966"/>
                  <a:gd name="connsiteX5" fmla="*/ 776154 w 1011813"/>
                  <a:gd name="connsiteY5" fmla="*/ 1347893 h 2894966"/>
                  <a:gd name="connsiteX6" fmla="*/ 938441 w 1011813"/>
                  <a:gd name="connsiteY6" fmla="*/ 1722364 h 2894966"/>
                  <a:gd name="connsiteX7" fmla="*/ 956403 w 1011813"/>
                  <a:gd name="connsiteY7" fmla="*/ 2206626 h 2894966"/>
                  <a:gd name="connsiteX8" fmla="*/ 960891 w 1011813"/>
                  <a:gd name="connsiteY8" fmla="*/ 2524421 h 2894966"/>
                  <a:gd name="connsiteX9" fmla="*/ 994320 w 1011813"/>
                  <a:gd name="connsiteY9" fmla="*/ 2880757 h 2894966"/>
                  <a:gd name="connsiteX10" fmla="*/ 681216 w 1011813"/>
                  <a:gd name="connsiteY10" fmla="*/ 2663798 h 2894966"/>
                  <a:gd name="connsiteX11" fmla="*/ 635499 w 1011813"/>
                  <a:gd name="connsiteY11" fmla="*/ 1839158 h 2894966"/>
                  <a:gd name="connsiteX12" fmla="*/ 567531 w 1011813"/>
                  <a:gd name="connsiteY12" fmla="*/ 801688 h 2894966"/>
                  <a:gd name="connsiteX13" fmla="*/ 515144 w 1011813"/>
                  <a:gd name="connsiteY13" fmla="*/ 563563 h 2894966"/>
                  <a:gd name="connsiteX14" fmla="*/ 460375 w 1011813"/>
                  <a:gd name="connsiteY14" fmla="*/ 996951 h 2894966"/>
                  <a:gd name="connsiteX15" fmla="*/ 415131 w 1011813"/>
                  <a:gd name="connsiteY15" fmla="*/ 1435101 h 2894966"/>
                  <a:gd name="connsiteX16" fmla="*/ 429419 w 1011813"/>
                  <a:gd name="connsiteY16" fmla="*/ 1873251 h 2894966"/>
                  <a:gd name="connsiteX17" fmla="*/ 450850 w 1011813"/>
                  <a:gd name="connsiteY17" fmla="*/ 2425701 h 2894966"/>
                  <a:gd name="connsiteX18" fmla="*/ 412750 w 1011813"/>
                  <a:gd name="connsiteY18" fmla="*/ 2701926 h 2894966"/>
                  <a:gd name="connsiteX19" fmla="*/ 403225 w 1011813"/>
                  <a:gd name="connsiteY19" fmla="*/ 2768601 h 2894966"/>
                  <a:gd name="connsiteX20" fmla="*/ 165100 w 1011813"/>
                  <a:gd name="connsiteY20" fmla="*/ 2835276 h 2894966"/>
                  <a:gd name="connsiteX21" fmla="*/ 22225 w 1011813"/>
                  <a:gd name="connsiteY21" fmla="*/ 2759076 h 2894966"/>
                  <a:gd name="connsiteX22" fmla="*/ 22225 w 1011813"/>
                  <a:gd name="connsiteY22" fmla="*/ 2339976 h 2894966"/>
                  <a:gd name="connsiteX23" fmla="*/ 12700 w 1011813"/>
                  <a:gd name="connsiteY23" fmla="*/ 1778001 h 2894966"/>
                  <a:gd name="connsiteX24" fmla="*/ 98425 w 1011813"/>
                  <a:gd name="connsiteY24" fmla="*/ 1682751 h 2894966"/>
                  <a:gd name="connsiteX25" fmla="*/ 193675 w 1011813"/>
                  <a:gd name="connsiteY25" fmla="*/ 1625601 h 2894966"/>
                  <a:gd name="connsiteX26" fmla="*/ 287292 w 1011813"/>
                  <a:gd name="connsiteY26" fmla="*/ 1371329 h 2894966"/>
                  <a:gd name="connsiteX27" fmla="*/ 328204 w 1011813"/>
                  <a:gd name="connsiteY27" fmla="*/ 796926 h 2894966"/>
                  <a:gd name="connsiteX28" fmla="*/ 327751 w 1011813"/>
                  <a:gd name="connsiteY28" fmla="*/ 511176 h 2894966"/>
                  <a:gd name="connsiteX29" fmla="*/ 231775 w 1011813"/>
                  <a:gd name="connsiteY29" fmla="*/ 396876 h 2894966"/>
                  <a:gd name="connsiteX30" fmla="*/ 422275 w 1011813"/>
                  <a:gd name="connsiteY30" fmla="*/ 434976 h 2894966"/>
                  <a:gd name="connsiteX31" fmla="*/ 453231 w 1011813"/>
                  <a:gd name="connsiteY31" fmla="*/ 344489 h 2894966"/>
                  <a:gd name="connsiteX32" fmla="*/ 462757 w 1011813"/>
                  <a:gd name="connsiteY32" fmla="*/ 3969 h 2894966"/>
                  <a:gd name="connsiteX0" fmla="*/ 460784 w 1009840"/>
                  <a:gd name="connsiteY0" fmla="*/ 3969 h 2894966"/>
                  <a:gd name="connsiteX1" fmla="*/ 467927 w 1009840"/>
                  <a:gd name="connsiteY1" fmla="*/ 368301 h 2894966"/>
                  <a:gd name="connsiteX2" fmla="*/ 582227 w 1009840"/>
                  <a:gd name="connsiteY2" fmla="*/ 423069 h 2894966"/>
                  <a:gd name="connsiteX3" fmla="*/ 679859 w 1009840"/>
                  <a:gd name="connsiteY3" fmla="*/ 394495 h 2894966"/>
                  <a:gd name="connsiteX4" fmla="*/ 648902 w 1009840"/>
                  <a:gd name="connsiteY4" fmla="*/ 758826 h 2894966"/>
                  <a:gd name="connsiteX5" fmla="*/ 774181 w 1009840"/>
                  <a:gd name="connsiteY5" fmla="*/ 1347893 h 2894966"/>
                  <a:gd name="connsiteX6" fmla="*/ 936468 w 1009840"/>
                  <a:gd name="connsiteY6" fmla="*/ 1722364 h 2894966"/>
                  <a:gd name="connsiteX7" fmla="*/ 954430 w 1009840"/>
                  <a:gd name="connsiteY7" fmla="*/ 2206626 h 2894966"/>
                  <a:gd name="connsiteX8" fmla="*/ 958918 w 1009840"/>
                  <a:gd name="connsiteY8" fmla="*/ 2524421 h 2894966"/>
                  <a:gd name="connsiteX9" fmla="*/ 992347 w 1009840"/>
                  <a:gd name="connsiteY9" fmla="*/ 2880757 h 2894966"/>
                  <a:gd name="connsiteX10" fmla="*/ 679243 w 1009840"/>
                  <a:gd name="connsiteY10" fmla="*/ 2663798 h 2894966"/>
                  <a:gd name="connsiteX11" fmla="*/ 633526 w 1009840"/>
                  <a:gd name="connsiteY11" fmla="*/ 1839158 h 2894966"/>
                  <a:gd name="connsiteX12" fmla="*/ 565558 w 1009840"/>
                  <a:gd name="connsiteY12" fmla="*/ 801688 h 2894966"/>
                  <a:gd name="connsiteX13" fmla="*/ 513171 w 1009840"/>
                  <a:gd name="connsiteY13" fmla="*/ 563563 h 2894966"/>
                  <a:gd name="connsiteX14" fmla="*/ 458402 w 1009840"/>
                  <a:gd name="connsiteY14" fmla="*/ 996951 h 2894966"/>
                  <a:gd name="connsiteX15" fmla="*/ 413158 w 1009840"/>
                  <a:gd name="connsiteY15" fmla="*/ 1435101 h 2894966"/>
                  <a:gd name="connsiteX16" fmla="*/ 427446 w 1009840"/>
                  <a:gd name="connsiteY16" fmla="*/ 1873251 h 2894966"/>
                  <a:gd name="connsiteX17" fmla="*/ 448877 w 1009840"/>
                  <a:gd name="connsiteY17" fmla="*/ 2425701 h 2894966"/>
                  <a:gd name="connsiteX18" fmla="*/ 410777 w 1009840"/>
                  <a:gd name="connsiteY18" fmla="*/ 2701926 h 2894966"/>
                  <a:gd name="connsiteX19" fmla="*/ 401252 w 1009840"/>
                  <a:gd name="connsiteY19" fmla="*/ 2768601 h 2894966"/>
                  <a:gd name="connsiteX20" fmla="*/ 163127 w 1009840"/>
                  <a:gd name="connsiteY20" fmla="*/ 2835276 h 2894966"/>
                  <a:gd name="connsiteX21" fmla="*/ 20252 w 1009840"/>
                  <a:gd name="connsiteY21" fmla="*/ 2759076 h 2894966"/>
                  <a:gd name="connsiteX22" fmla="*/ 20252 w 1009840"/>
                  <a:gd name="connsiteY22" fmla="*/ 2339976 h 2894966"/>
                  <a:gd name="connsiteX23" fmla="*/ 141766 w 1009840"/>
                  <a:gd name="connsiteY23" fmla="*/ 1971940 h 2894966"/>
                  <a:gd name="connsiteX24" fmla="*/ 96452 w 1009840"/>
                  <a:gd name="connsiteY24" fmla="*/ 1682751 h 2894966"/>
                  <a:gd name="connsiteX25" fmla="*/ 191702 w 1009840"/>
                  <a:gd name="connsiteY25" fmla="*/ 1625601 h 2894966"/>
                  <a:gd name="connsiteX26" fmla="*/ 285319 w 1009840"/>
                  <a:gd name="connsiteY26" fmla="*/ 1371329 h 2894966"/>
                  <a:gd name="connsiteX27" fmla="*/ 326231 w 1009840"/>
                  <a:gd name="connsiteY27" fmla="*/ 796926 h 2894966"/>
                  <a:gd name="connsiteX28" fmla="*/ 325778 w 1009840"/>
                  <a:gd name="connsiteY28" fmla="*/ 511176 h 2894966"/>
                  <a:gd name="connsiteX29" fmla="*/ 229802 w 1009840"/>
                  <a:gd name="connsiteY29" fmla="*/ 396876 h 2894966"/>
                  <a:gd name="connsiteX30" fmla="*/ 420302 w 1009840"/>
                  <a:gd name="connsiteY30" fmla="*/ 434976 h 2894966"/>
                  <a:gd name="connsiteX31" fmla="*/ 451258 w 1009840"/>
                  <a:gd name="connsiteY31" fmla="*/ 344489 h 2894966"/>
                  <a:gd name="connsiteX32" fmla="*/ 460784 w 1009840"/>
                  <a:gd name="connsiteY32" fmla="*/ 3969 h 2894966"/>
                  <a:gd name="connsiteX0" fmla="*/ 460784 w 1009840"/>
                  <a:gd name="connsiteY0" fmla="*/ 3969 h 2894966"/>
                  <a:gd name="connsiteX1" fmla="*/ 467927 w 1009840"/>
                  <a:gd name="connsiteY1" fmla="*/ 368301 h 2894966"/>
                  <a:gd name="connsiteX2" fmla="*/ 582227 w 1009840"/>
                  <a:gd name="connsiteY2" fmla="*/ 423069 h 2894966"/>
                  <a:gd name="connsiteX3" fmla="*/ 679859 w 1009840"/>
                  <a:gd name="connsiteY3" fmla="*/ 394495 h 2894966"/>
                  <a:gd name="connsiteX4" fmla="*/ 648902 w 1009840"/>
                  <a:gd name="connsiteY4" fmla="*/ 758826 h 2894966"/>
                  <a:gd name="connsiteX5" fmla="*/ 774181 w 1009840"/>
                  <a:gd name="connsiteY5" fmla="*/ 1347893 h 2894966"/>
                  <a:gd name="connsiteX6" fmla="*/ 936468 w 1009840"/>
                  <a:gd name="connsiteY6" fmla="*/ 1722364 h 2894966"/>
                  <a:gd name="connsiteX7" fmla="*/ 954430 w 1009840"/>
                  <a:gd name="connsiteY7" fmla="*/ 2206626 h 2894966"/>
                  <a:gd name="connsiteX8" fmla="*/ 958918 w 1009840"/>
                  <a:gd name="connsiteY8" fmla="*/ 2524421 h 2894966"/>
                  <a:gd name="connsiteX9" fmla="*/ 992347 w 1009840"/>
                  <a:gd name="connsiteY9" fmla="*/ 2880757 h 2894966"/>
                  <a:gd name="connsiteX10" fmla="*/ 679243 w 1009840"/>
                  <a:gd name="connsiteY10" fmla="*/ 2663798 h 2894966"/>
                  <a:gd name="connsiteX11" fmla="*/ 633526 w 1009840"/>
                  <a:gd name="connsiteY11" fmla="*/ 1839158 h 2894966"/>
                  <a:gd name="connsiteX12" fmla="*/ 565558 w 1009840"/>
                  <a:gd name="connsiteY12" fmla="*/ 801688 h 2894966"/>
                  <a:gd name="connsiteX13" fmla="*/ 513171 w 1009840"/>
                  <a:gd name="connsiteY13" fmla="*/ 563563 h 2894966"/>
                  <a:gd name="connsiteX14" fmla="*/ 458402 w 1009840"/>
                  <a:gd name="connsiteY14" fmla="*/ 996951 h 2894966"/>
                  <a:gd name="connsiteX15" fmla="*/ 413158 w 1009840"/>
                  <a:gd name="connsiteY15" fmla="*/ 1435101 h 2894966"/>
                  <a:gd name="connsiteX16" fmla="*/ 427446 w 1009840"/>
                  <a:gd name="connsiteY16" fmla="*/ 1873251 h 2894966"/>
                  <a:gd name="connsiteX17" fmla="*/ 448877 w 1009840"/>
                  <a:gd name="connsiteY17" fmla="*/ 2425701 h 2894966"/>
                  <a:gd name="connsiteX18" fmla="*/ 410777 w 1009840"/>
                  <a:gd name="connsiteY18" fmla="*/ 2701926 h 2894966"/>
                  <a:gd name="connsiteX19" fmla="*/ 401252 w 1009840"/>
                  <a:gd name="connsiteY19" fmla="*/ 2768601 h 2894966"/>
                  <a:gd name="connsiteX20" fmla="*/ 163127 w 1009840"/>
                  <a:gd name="connsiteY20" fmla="*/ 2835276 h 2894966"/>
                  <a:gd name="connsiteX21" fmla="*/ 20252 w 1009840"/>
                  <a:gd name="connsiteY21" fmla="*/ 2759076 h 2894966"/>
                  <a:gd name="connsiteX22" fmla="*/ 20252 w 1009840"/>
                  <a:gd name="connsiteY22" fmla="*/ 2339976 h 2894966"/>
                  <a:gd name="connsiteX23" fmla="*/ 141766 w 1009840"/>
                  <a:gd name="connsiteY23" fmla="*/ 1971940 h 2894966"/>
                  <a:gd name="connsiteX24" fmla="*/ 191702 w 1009840"/>
                  <a:gd name="connsiteY24" fmla="*/ 1625601 h 2894966"/>
                  <a:gd name="connsiteX25" fmla="*/ 285319 w 1009840"/>
                  <a:gd name="connsiteY25" fmla="*/ 1371329 h 2894966"/>
                  <a:gd name="connsiteX26" fmla="*/ 326231 w 1009840"/>
                  <a:gd name="connsiteY26" fmla="*/ 796926 h 2894966"/>
                  <a:gd name="connsiteX27" fmla="*/ 325778 w 1009840"/>
                  <a:gd name="connsiteY27" fmla="*/ 511176 h 2894966"/>
                  <a:gd name="connsiteX28" fmla="*/ 229802 w 1009840"/>
                  <a:gd name="connsiteY28" fmla="*/ 396876 h 2894966"/>
                  <a:gd name="connsiteX29" fmla="*/ 420302 w 1009840"/>
                  <a:gd name="connsiteY29" fmla="*/ 434976 h 2894966"/>
                  <a:gd name="connsiteX30" fmla="*/ 451258 w 1009840"/>
                  <a:gd name="connsiteY30" fmla="*/ 344489 h 2894966"/>
                  <a:gd name="connsiteX31" fmla="*/ 460784 w 1009840"/>
                  <a:gd name="connsiteY31" fmla="*/ 3969 h 2894966"/>
                  <a:gd name="connsiteX0" fmla="*/ 447677 w 996733"/>
                  <a:gd name="connsiteY0" fmla="*/ 3969 h 2894966"/>
                  <a:gd name="connsiteX1" fmla="*/ 454820 w 996733"/>
                  <a:gd name="connsiteY1" fmla="*/ 368301 h 2894966"/>
                  <a:gd name="connsiteX2" fmla="*/ 569120 w 996733"/>
                  <a:gd name="connsiteY2" fmla="*/ 423069 h 2894966"/>
                  <a:gd name="connsiteX3" fmla="*/ 666752 w 996733"/>
                  <a:gd name="connsiteY3" fmla="*/ 394495 h 2894966"/>
                  <a:gd name="connsiteX4" fmla="*/ 635795 w 996733"/>
                  <a:gd name="connsiteY4" fmla="*/ 758826 h 2894966"/>
                  <a:gd name="connsiteX5" fmla="*/ 761074 w 996733"/>
                  <a:gd name="connsiteY5" fmla="*/ 1347893 h 2894966"/>
                  <a:gd name="connsiteX6" fmla="*/ 923361 w 996733"/>
                  <a:gd name="connsiteY6" fmla="*/ 1722364 h 2894966"/>
                  <a:gd name="connsiteX7" fmla="*/ 941323 w 996733"/>
                  <a:gd name="connsiteY7" fmla="*/ 2206626 h 2894966"/>
                  <a:gd name="connsiteX8" fmla="*/ 945811 w 996733"/>
                  <a:gd name="connsiteY8" fmla="*/ 2524421 h 2894966"/>
                  <a:gd name="connsiteX9" fmla="*/ 979240 w 996733"/>
                  <a:gd name="connsiteY9" fmla="*/ 2880757 h 2894966"/>
                  <a:gd name="connsiteX10" fmla="*/ 666136 w 996733"/>
                  <a:gd name="connsiteY10" fmla="*/ 2663798 h 2894966"/>
                  <a:gd name="connsiteX11" fmla="*/ 620419 w 996733"/>
                  <a:gd name="connsiteY11" fmla="*/ 1839158 h 2894966"/>
                  <a:gd name="connsiteX12" fmla="*/ 552451 w 996733"/>
                  <a:gd name="connsiteY12" fmla="*/ 801688 h 2894966"/>
                  <a:gd name="connsiteX13" fmla="*/ 500064 w 996733"/>
                  <a:gd name="connsiteY13" fmla="*/ 563563 h 2894966"/>
                  <a:gd name="connsiteX14" fmla="*/ 445295 w 996733"/>
                  <a:gd name="connsiteY14" fmla="*/ 996951 h 2894966"/>
                  <a:gd name="connsiteX15" fmla="*/ 400051 w 996733"/>
                  <a:gd name="connsiteY15" fmla="*/ 1435101 h 2894966"/>
                  <a:gd name="connsiteX16" fmla="*/ 414339 w 996733"/>
                  <a:gd name="connsiteY16" fmla="*/ 1873251 h 2894966"/>
                  <a:gd name="connsiteX17" fmla="*/ 435770 w 996733"/>
                  <a:gd name="connsiteY17" fmla="*/ 2425701 h 2894966"/>
                  <a:gd name="connsiteX18" fmla="*/ 397670 w 996733"/>
                  <a:gd name="connsiteY18" fmla="*/ 2701926 h 2894966"/>
                  <a:gd name="connsiteX19" fmla="*/ 388145 w 996733"/>
                  <a:gd name="connsiteY19" fmla="*/ 2768601 h 2894966"/>
                  <a:gd name="connsiteX20" fmla="*/ 150020 w 996733"/>
                  <a:gd name="connsiteY20" fmla="*/ 2835276 h 2894966"/>
                  <a:gd name="connsiteX21" fmla="*/ 7145 w 996733"/>
                  <a:gd name="connsiteY21" fmla="*/ 2759076 h 2894966"/>
                  <a:gd name="connsiteX22" fmla="*/ 113918 w 996733"/>
                  <a:gd name="connsiteY22" fmla="*/ 2353507 h 2894966"/>
                  <a:gd name="connsiteX23" fmla="*/ 128659 w 996733"/>
                  <a:gd name="connsiteY23" fmla="*/ 1971940 h 2894966"/>
                  <a:gd name="connsiteX24" fmla="*/ 178595 w 996733"/>
                  <a:gd name="connsiteY24" fmla="*/ 1625601 h 2894966"/>
                  <a:gd name="connsiteX25" fmla="*/ 272212 w 996733"/>
                  <a:gd name="connsiteY25" fmla="*/ 1371329 h 2894966"/>
                  <a:gd name="connsiteX26" fmla="*/ 313124 w 996733"/>
                  <a:gd name="connsiteY26" fmla="*/ 796926 h 2894966"/>
                  <a:gd name="connsiteX27" fmla="*/ 312671 w 996733"/>
                  <a:gd name="connsiteY27" fmla="*/ 511176 h 2894966"/>
                  <a:gd name="connsiteX28" fmla="*/ 216695 w 996733"/>
                  <a:gd name="connsiteY28" fmla="*/ 396876 h 2894966"/>
                  <a:gd name="connsiteX29" fmla="*/ 407195 w 996733"/>
                  <a:gd name="connsiteY29" fmla="*/ 434976 h 2894966"/>
                  <a:gd name="connsiteX30" fmla="*/ 438151 w 996733"/>
                  <a:gd name="connsiteY30" fmla="*/ 344489 h 2894966"/>
                  <a:gd name="connsiteX31" fmla="*/ 447677 w 996733"/>
                  <a:gd name="connsiteY31" fmla="*/ 3969 h 2894966"/>
                  <a:gd name="connsiteX0" fmla="*/ 447677 w 996733"/>
                  <a:gd name="connsiteY0" fmla="*/ 3969 h 2894966"/>
                  <a:gd name="connsiteX1" fmla="*/ 454820 w 996733"/>
                  <a:gd name="connsiteY1" fmla="*/ 368301 h 2894966"/>
                  <a:gd name="connsiteX2" fmla="*/ 569120 w 996733"/>
                  <a:gd name="connsiteY2" fmla="*/ 423069 h 2894966"/>
                  <a:gd name="connsiteX3" fmla="*/ 666752 w 996733"/>
                  <a:gd name="connsiteY3" fmla="*/ 394495 h 2894966"/>
                  <a:gd name="connsiteX4" fmla="*/ 635795 w 996733"/>
                  <a:gd name="connsiteY4" fmla="*/ 758826 h 2894966"/>
                  <a:gd name="connsiteX5" fmla="*/ 761074 w 996733"/>
                  <a:gd name="connsiteY5" fmla="*/ 1347893 h 2894966"/>
                  <a:gd name="connsiteX6" fmla="*/ 923361 w 996733"/>
                  <a:gd name="connsiteY6" fmla="*/ 1722364 h 2894966"/>
                  <a:gd name="connsiteX7" fmla="*/ 941323 w 996733"/>
                  <a:gd name="connsiteY7" fmla="*/ 2206626 h 2894966"/>
                  <a:gd name="connsiteX8" fmla="*/ 945811 w 996733"/>
                  <a:gd name="connsiteY8" fmla="*/ 2524421 h 2894966"/>
                  <a:gd name="connsiteX9" fmla="*/ 979240 w 996733"/>
                  <a:gd name="connsiteY9" fmla="*/ 2880757 h 2894966"/>
                  <a:gd name="connsiteX10" fmla="*/ 666136 w 996733"/>
                  <a:gd name="connsiteY10" fmla="*/ 2663798 h 2894966"/>
                  <a:gd name="connsiteX11" fmla="*/ 620419 w 996733"/>
                  <a:gd name="connsiteY11" fmla="*/ 1839158 h 2894966"/>
                  <a:gd name="connsiteX12" fmla="*/ 552451 w 996733"/>
                  <a:gd name="connsiteY12" fmla="*/ 801688 h 2894966"/>
                  <a:gd name="connsiteX13" fmla="*/ 500064 w 996733"/>
                  <a:gd name="connsiteY13" fmla="*/ 563563 h 2894966"/>
                  <a:gd name="connsiteX14" fmla="*/ 445295 w 996733"/>
                  <a:gd name="connsiteY14" fmla="*/ 996951 h 2894966"/>
                  <a:gd name="connsiteX15" fmla="*/ 400051 w 996733"/>
                  <a:gd name="connsiteY15" fmla="*/ 1435101 h 2894966"/>
                  <a:gd name="connsiteX16" fmla="*/ 414339 w 996733"/>
                  <a:gd name="connsiteY16" fmla="*/ 1873251 h 2894966"/>
                  <a:gd name="connsiteX17" fmla="*/ 435770 w 996733"/>
                  <a:gd name="connsiteY17" fmla="*/ 2425701 h 2894966"/>
                  <a:gd name="connsiteX18" fmla="*/ 397670 w 996733"/>
                  <a:gd name="connsiteY18" fmla="*/ 2701926 h 2894966"/>
                  <a:gd name="connsiteX19" fmla="*/ 388145 w 996733"/>
                  <a:gd name="connsiteY19" fmla="*/ 2768601 h 2894966"/>
                  <a:gd name="connsiteX20" fmla="*/ 150020 w 996733"/>
                  <a:gd name="connsiteY20" fmla="*/ 2835276 h 2894966"/>
                  <a:gd name="connsiteX21" fmla="*/ 7145 w 996733"/>
                  <a:gd name="connsiteY21" fmla="*/ 2759076 h 2894966"/>
                  <a:gd name="connsiteX22" fmla="*/ 113918 w 996733"/>
                  <a:gd name="connsiteY22" fmla="*/ 2353507 h 2894966"/>
                  <a:gd name="connsiteX23" fmla="*/ 128659 w 996733"/>
                  <a:gd name="connsiteY23" fmla="*/ 1971940 h 2894966"/>
                  <a:gd name="connsiteX24" fmla="*/ 198009 w 996733"/>
                  <a:gd name="connsiteY24" fmla="*/ 1724825 h 2894966"/>
                  <a:gd name="connsiteX25" fmla="*/ 272212 w 996733"/>
                  <a:gd name="connsiteY25" fmla="*/ 1371329 h 2894966"/>
                  <a:gd name="connsiteX26" fmla="*/ 313124 w 996733"/>
                  <a:gd name="connsiteY26" fmla="*/ 796926 h 2894966"/>
                  <a:gd name="connsiteX27" fmla="*/ 312671 w 996733"/>
                  <a:gd name="connsiteY27" fmla="*/ 511176 h 2894966"/>
                  <a:gd name="connsiteX28" fmla="*/ 216695 w 996733"/>
                  <a:gd name="connsiteY28" fmla="*/ 396876 h 2894966"/>
                  <a:gd name="connsiteX29" fmla="*/ 407195 w 996733"/>
                  <a:gd name="connsiteY29" fmla="*/ 434976 h 2894966"/>
                  <a:gd name="connsiteX30" fmla="*/ 438151 w 996733"/>
                  <a:gd name="connsiteY30" fmla="*/ 344489 h 2894966"/>
                  <a:gd name="connsiteX31" fmla="*/ 447677 w 996733"/>
                  <a:gd name="connsiteY31" fmla="*/ 3969 h 2894966"/>
                  <a:gd name="connsiteX0" fmla="*/ 447677 w 996733"/>
                  <a:gd name="connsiteY0" fmla="*/ 3969 h 2894966"/>
                  <a:gd name="connsiteX1" fmla="*/ 454820 w 996733"/>
                  <a:gd name="connsiteY1" fmla="*/ 368301 h 2894966"/>
                  <a:gd name="connsiteX2" fmla="*/ 569120 w 996733"/>
                  <a:gd name="connsiteY2" fmla="*/ 423069 h 2894966"/>
                  <a:gd name="connsiteX3" fmla="*/ 666752 w 996733"/>
                  <a:gd name="connsiteY3" fmla="*/ 394495 h 2894966"/>
                  <a:gd name="connsiteX4" fmla="*/ 635795 w 996733"/>
                  <a:gd name="connsiteY4" fmla="*/ 758826 h 2894966"/>
                  <a:gd name="connsiteX5" fmla="*/ 761074 w 996733"/>
                  <a:gd name="connsiteY5" fmla="*/ 1347893 h 2894966"/>
                  <a:gd name="connsiteX6" fmla="*/ 923361 w 996733"/>
                  <a:gd name="connsiteY6" fmla="*/ 1722364 h 2894966"/>
                  <a:gd name="connsiteX7" fmla="*/ 941323 w 996733"/>
                  <a:gd name="connsiteY7" fmla="*/ 2206626 h 2894966"/>
                  <a:gd name="connsiteX8" fmla="*/ 945811 w 996733"/>
                  <a:gd name="connsiteY8" fmla="*/ 2524421 h 2894966"/>
                  <a:gd name="connsiteX9" fmla="*/ 979240 w 996733"/>
                  <a:gd name="connsiteY9" fmla="*/ 2880757 h 2894966"/>
                  <a:gd name="connsiteX10" fmla="*/ 666136 w 996733"/>
                  <a:gd name="connsiteY10" fmla="*/ 2663798 h 2894966"/>
                  <a:gd name="connsiteX11" fmla="*/ 620419 w 996733"/>
                  <a:gd name="connsiteY11" fmla="*/ 1839158 h 2894966"/>
                  <a:gd name="connsiteX12" fmla="*/ 552451 w 996733"/>
                  <a:gd name="connsiteY12" fmla="*/ 801688 h 2894966"/>
                  <a:gd name="connsiteX13" fmla="*/ 500064 w 996733"/>
                  <a:gd name="connsiteY13" fmla="*/ 563563 h 2894966"/>
                  <a:gd name="connsiteX14" fmla="*/ 445295 w 996733"/>
                  <a:gd name="connsiteY14" fmla="*/ 996951 h 2894966"/>
                  <a:gd name="connsiteX15" fmla="*/ 400051 w 996733"/>
                  <a:gd name="connsiteY15" fmla="*/ 1435101 h 2894966"/>
                  <a:gd name="connsiteX16" fmla="*/ 414339 w 996733"/>
                  <a:gd name="connsiteY16" fmla="*/ 1873251 h 2894966"/>
                  <a:gd name="connsiteX17" fmla="*/ 435770 w 996733"/>
                  <a:gd name="connsiteY17" fmla="*/ 2425701 h 2894966"/>
                  <a:gd name="connsiteX18" fmla="*/ 397670 w 996733"/>
                  <a:gd name="connsiteY18" fmla="*/ 2701926 h 2894966"/>
                  <a:gd name="connsiteX19" fmla="*/ 388145 w 996733"/>
                  <a:gd name="connsiteY19" fmla="*/ 2768601 h 2894966"/>
                  <a:gd name="connsiteX20" fmla="*/ 150020 w 996733"/>
                  <a:gd name="connsiteY20" fmla="*/ 2835276 h 2894966"/>
                  <a:gd name="connsiteX21" fmla="*/ 7145 w 996733"/>
                  <a:gd name="connsiteY21" fmla="*/ 2759076 h 2894966"/>
                  <a:gd name="connsiteX22" fmla="*/ 113918 w 996733"/>
                  <a:gd name="connsiteY22" fmla="*/ 2353507 h 2894966"/>
                  <a:gd name="connsiteX23" fmla="*/ 128659 w 996733"/>
                  <a:gd name="connsiteY23" fmla="*/ 1971940 h 2894966"/>
                  <a:gd name="connsiteX24" fmla="*/ 198009 w 996733"/>
                  <a:gd name="connsiteY24" fmla="*/ 1724825 h 2894966"/>
                  <a:gd name="connsiteX25" fmla="*/ 247947 w 996733"/>
                  <a:gd name="connsiteY25" fmla="*/ 1375840 h 2894966"/>
                  <a:gd name="connsiteX26" fmla="*/ 313124 w 996733"/>
                  <a:gd name="connsiteY26" fmla="*/ 796926 h 2894966"/>
                  <a:gd name="connsiteX27" fmla="*/ 312671 w 996733"/>
                  <a:gd name="connsiteY27" fmla="*/ 511176 h 2894966"/>
                  <a:gd name="connsiteX28" fmla="*/ 216695 w 996733"/>
                  <a:gd name="connsiteY28" fmla="*/ 396876 h 2894966"/>
                  <a:gd name="connsiteX29" fmla="*/ 407195 w 996733"/>
                  <a:gd name="connsiteY29" fmla="*/ 434976 h 2894966"/>
                  <a:gd name="connsiteX30" fmla="*/ 438151 w 996733"/>
                  <a:gd name="connsiteY30" fmla="*/ 344489 h 2894966"/>
                  <a:gd name="connsiteX31" fmla="*/ 447677 w 996733"/>
                  <a:gd name="connsiteY31" fmla="*/ 3969 h 2894966"/>
                  <a:gd name="connsiteX0" fmla="*/ 447677 w 996733"/>
                  <a:gd name="connsiteY0" fmla="*/ 3969 h 2894966"/>
                  <a:gd name="connsiteX1" fmla="*/ 454820 w 996733"/>
                  <a:gd name="connsiteY1" fmla="*/ 368301 h 2894966"/>
                  <a:gd name="connsiteX2" fmla="*/ 569120 w 996733"/>
                  <a:gd name="connsiteY2" fmla="*/ 423069 h 2894966"/>
                  <a:gd name="connsiteX3" fmla="*/ 666752 w 996733"/>
                  <a:gd name="connsiteY3" fmla="*/ 394495 h 2894966"/>
                  <a:gd name="connsiteX4" fmla="*/ 635795 w 996733"/>
                  <a:gd name="connsiteY4" fmla="*/ 758826 h 2894966"/>
                  <a:gd name="connsiteX5" fmla="*/ 761074 w 996733"/>
                  <a:gd name="connsiteY5" fmla="*/ 1347893 h 2894966"/>
                  <a:gd name="connsiteX6" fmla="*/ 923361 w 996733"/>
                  <a:gd name="connsiteY6" fmla="*/ 1722364 h 2894966"/>
                  <a:gd name="connsiteX7" fmla="*/ 941323 w 996733"/>
                  <a:gd name="connsiteY7" fmla="*/ 2206626 h 2894966"/>
                  <a:gd name="connsiteX8" fmla="*/ 945811 w 996733"/>
                  <a:gd name="connsiteY8" fmla="*/ 2524421 h 2894966"/>
                  <a:gd name="connsiteX9" fmla="*/ 979240 w 996733"/>
                  <a:gd name="connsiteY9" fmla="*/ 2880757 h 2894966"/>
                  <a:gd name="connsiteX10" fmla="*/ 666136 w 996733"/>
                  <a:gd name="connsiteY10" fmla="*/ 2663798 h 2894966"/>
                  <a:gd name="connsiteX11" fmla="*/ 620419 w 996733"/>
                  <a:gd name="connsiteY11" fmla="*/ 1839158 h 2894966"/>
                  <a:gd name="connsiteX12" fmla="*/ 552451 w 996733"/>
                  <a:gd name="connsiteY12" fmla="*/ 801688 h 2894966"/>
                  <a:gd name="connsiteX13" fmla="*/ 500064 w 996733"/>
                  <a:gd name="connsiteY13" fmla="*/ 563563 h 2894966"/>
                  <a:gd name="connsiteX14" fmla="*/ 445295 w 996733"/>
                  <a:gd name="connsiteY14" fmla="*/ 996951 h 2894966"/>
                  <a:gd name="connsiteX15" fmla="*/ 400051 w 996733"/>
                  <a:gd name="connsiteY15" fmla="*/ 1435101 h 2894966"/>
                  <a:gd name="connsiteX16" fmla="*/ 414339 w 996733"/>
                  <a:gd name="connsiteY16" fmla="*/ 1873251 h 2894966"/>
                  <a:gd name="connsiteX17" fmla="*/ 435770 w 996733"/>
                  <a:gd name="connsiteY17" fmla="*/ 2425701 h 2894966"/>
                  <a:gd name="connsiteX18" fmla="*/ 397670 w 996733"/>
                  <a:gd name="connsiteY18" fmla="*/ 2701926 h 2894966"/>
                  <a:gd name="connsiteX19" fmla="*/ 388145 w 996733"/>
                  <a:gd name="connsiteY19" fmla="*/ 2768601 h 2894966"/>
                  <a:gd name="connsiteX20" fmla="*/ 150020 w 996733"/>
                  <a:gd name="connsiteY20" fmla="*/ 2835276 h 2894966"/>
                  <a:gd name="connsiteX21" fmla="*/ 7145 w 996733"/>
                  <a:gd name="connsiteY21" fmla="*/ 2759076 h 2894966"/>
                  <a:gd name="connsiteX22" fmla="*/ 113918 w 996733"/>
                  <a:gd name="connsiteY22" fmla="*/ 2353507 h 2894966"/>
                  <a:gd name="connsiteX23" fmla="*/ 162633 w 996733"/>
                  <a:gd name="connsiteY23" fmla="*/ 1971940 h 2894966"/>
                  <a:gd name="connsiteX24" fmla="*/ 198009 w 996733"/>
                  <a:gd name="connsiteY24" fmla="*/ 1724825 h 2894966"/>
                  <a:gd name="connsiteX25" fmla="*/ 247947 w 996733"/>
                  <a:gd name="connsiteY25" fmla="*/ 1375840 h 2894966"/>
                  <a:gd name="connsiteX26" fmla="*/ 313124 w 996733"/>
                  <a:gd name="connsiteY26" fmla="*/ 796926 h 2894966"/>
                  <a:gd name="connsiteX27" fmla="*/ 312671 w 996733"/>
                  <a:gd name="connsiteY27" fmla="*/ 511176 h 2894966"/>
                  <a:gd name="connsiteX28" fmla="*/ 216695 w 996733"/>
                  <a:gd name="connsiteY28" fmla="*/ 396876 h 2894966"/>
                  <a:gd name="connsiteX29" fmla="*/ 407195 w 996733"/>
                  <a:gd name="connsiteY29" fmla="*/ 434976 h 2894966"/>
                  <a:gd name="connsiteX30" fmla="*/ 438151 w 996733"/>
                  <a:gd name="connsiteY30" fmla="*/ 344489 h 2894966"/>
                  <a:gd name="connsiteX31" fmla="*/ 447677 w 996733"/>
                  <a:gd name="connsiteY31" fmla="*/ 3969 h 2894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96733" h="2894966">
                    <a:moveTo>
                      <a:pt x="447677" y="3969"/>
                    </a:moveTo>
                    <a:cubicBezTo>
                      <a:pt x="450455" y="7938"/>
                      <a:pt x="449264" y="303214"/>
                      <a:pt x="454820" y="368301"/>
                    </a:cubicBezTo>
                    <a:cubicBezTo>
                      <a:pt x="457995" y="431007"/>
                      <a:pt x="517129" y="456803"/>
                      <a:pt x="569120" y="423069"/>
                    </a:cubicBezTo>
                    <a:cubicBezTo>
                      <a:pt x="604442" y="408385"/>
                      <a:pt x="655640" y="374651"/>
                      <a:pt x="666752" y="394495"/>
                    </a:cubicBezTo>
                    <a:cubicBezTo>
                      <a:pt x="611189" y="478633"/>
                      <a:pt x="620075" y="599926"/>
                      <a:pt x="635795" y="758826"/>
                    </a:cubicBezTo>
                    <a:cubicBezTo>
                      <a:pt x="651515" y="917726"/>
                      <a:pt x="713146" y="1187303"/>
                      <a:pt x="761074" y="1347893"/>
                    </a:cubicBezTo>
                    <a:cubicBezTo>
                      <a:pt x="809002" y="1508483"/>
                      <a:pt x="893320" y="1579242"/>
                      <a:pt x="923361" y="1722364"/>
                    </a:cubicBezTo>
                    <a:cubicBezTo>
                      <a:pt x="953402" y="1865486"/>
                      <a:pt x="937581" y="2072950"/>
                      <a:pt x="941323" y="2206626"/>
                    </a:cubicBezTo>
                    <a:cubicBezTo>
                      <a:pt x="945065" y="2340302"/>
                      <a:pt x="943536" y="2385005"/>
                      <a:pt x="945811" y="2524421"/>
                    </a:cubicBezTo>
                    <a:cubicBezTo>
                      <a:pt x="962647" y="2663838"/>
                      <a:pt x="996733" y="2803406"/>
                      <a:pt x="979240" y="2880757"/>
                    </a:cubicBezTo>
                    <a:cubicBezTo>
                      <a:pt x="932628" y="2894966"/>
                      <a:pt x="725939" y="2837398"/>
                      <a:pt x="666136" y="2663798"/>
                    </a:cubicBezTo>
                    <a:cubicBezTo>
                      <a:pt x="606333" y="2490198"/>
                      <a:pt x="666060" y="2135227"/>
                      <a:pt x="620419" y="1839158"/>
                    </a:cubicBezTo>
                    <a:cubicBezTo>
                      <a:pt x="605398" y="1549693"/>
                      <a:pt x="581423" y="1012032"/>
                      <a:pt x="552451" y="801688"/>
                    </a:cubicBezTo>
                    <a:cubicBezTo>
                      <a:pt x="513954" y="610394"/>
                      <a:pt x="520702" y="587376"/>
                      <a:pt x="500064" y="563563"/>
                    </a:cubicBezTo>
                    <a:cubicBezTo>
                      <a:pt x="484189" y="635001"/>
                      <a:pt x="461964" y="851695"/>
                      <a:pt x="445295" y="996951"/>
                    </a:cubicBezTo>
                    <a:cubicBezTo>
                      <a:pt x="428626" y="1142207"/>
                      <a:pt x="405210" y="1289051"/>
                      <a:pt x="400051" y="1435101"/>
                    </a:cubicBezTo>
                    <a:cubicBezTo>
                      <a:pt x="394892" y="1581151"/>
                      <a:pt x="408386" y="1708151"/>
                      <a:pt x="414339" y="1873251"/>
                    </a:cubicBezTo>
                    <a:cubicBezTo>
                      <a:pt x="420292" y="2038351"/>
                      <a:pt x="438548" y="2287589"/>
                      <a:pt x="435770" y="2425701"/>
                    </a:cubicBezTo>
                    <a:cubicBezTo>
                      <a:pt x="432992" y="2563813"/>
                      <a:pt x="405607" y="2644776"/>
                      <a:pt x="397670" y="2701926"/>
                    </a:cubicBezTo>
                    <a:cubicBezTo>
                      <a:pt x="389733" y="2759076"/>
                      <a:pt x="429420" y="2746376"/>
                      <a:pt x="388145" y="2768601"/>
                    </a:cubicBezTo>
                    <a:cubicBezTo>
                      <a:pt x="346870" y="2790826"/>
                      <a:pt x="213520" y="2836863"/>
                      <a:pt x="150020" y="2835276"/>
                    </a:cubicBezTo>
                    <a:cubicBezTo>
                      <a:pt x="86520" y="2833689"/>
                      <a:pt x="45246" y="2822576"/>
                      <a:pt x="7145" y="2759076"/>
                    </a:cubicBezTo>
                    <a:cubicBezTo>
                      <a:pt x="0" y="2678908"/>
                      <a:pt x="88003" y="2484696"/>
                      <a:pt x="113918" y="2353507"/>
                    </a:cubicBezTo>
                    <a:cubicBezTo>
                      <a:pt x="139833" y="2222318"/>
                      <a:pt x="148618" y="2076720"/>
                      <a:pt x="162633" y="1971940"/>
                    </a:cubicBezTo>
                    <a:cubicBezTo>
                      <a:pt x="176648" y="1867160"/>
                      <a:pt x="183790" y="1824175"/>
                      <a:pt x="198009" y="1724825"/>
                    </a:cubicBezTo>
                    <a:cubicBezTo>
                      <a:pt x="212228" y="1625475"/>
                      <a:pt x="228761" y="1530490"/>
                      <a:pt x="247947" y="1375840"/>
                    </a:cubicBezTo>
                    <a:cubicBezTo>
                      <a:pt x="267133" y="1221190"/>
                      <a:pt x="302337" y="941037"/>
                      <a:pt x="313124" y="796926"/>
                    </a:cubicBezTo>
                    <a:cubicBezTo>
                      <a:pt x="323911" y="652815"/>
                      <a:pt x="328742" y="577851"/>
                      <a:pt x="312671" y="511176"/>
                    </a:cubicBezTo>
                    <a:cubicBezTo>
                      <a:pt x="296600" y="444501"/>
                      <a:pt x="200941" y="409576"/>
                      <a:pt x="216695" y="396876"/>
                    </a:cubicBezTo>
                    <a:cubicBezTo>
                      <a:pt x="232449" y="384176"/>
                      <a:pt x="370286" y="443707"/>
                      <a:pt x="407195" y="434976"/>
                    </a:cubicBezTo>
                    <a:cubicBezTo>
                      <a:pt x="470298" y="442914"/>
                      <a:pt x="445691" y="418704"/>
                      <a:pt x="438151" y="344489"/>
                    </a:cubicBezTo>
                    <a:cubicBezTo>
                      <a:pt x="444898" y="272655"/>
                      <a:pt x="444899" y="0"/>
                      <a:pt x="447677" y="3969"/>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68" name="Freeform 279">
                <a:extLst>
                  <a:ext uri="{FF2B5EF4-FFF2-40B4-BE49-F238E27FC236}">
                    <a16:creationId xmlns:a16="http://schemas.microsoft.com/office/drawing/2014/main" id="{9B769C4E-1ED4-497E-B81C-5004B4D309E2}"/>
                  </a:ext>
                </a:extLst>
              </p:cNvPr>
              <p:cNvSpPr/>
              <p:nvPr/>
            </p:nvSpPr>
            <p:spPr bwMode="auto">
              <a:xfrm>
                <a:off x="6678015" y="3408246"/>
                <a:ext cx="714243" cy="166982"/>
              </a:xfrm>
              <a:custGeom>
                <a:avLst/>
                <a:gdLst>
                  <a:gd name="connsiteX0" fmla="*/ 1195480 w 1195480"/>
                  <a:gd name="connsiteY0" fmla="*/ 259732 h 259732"/>
                  <a:gd name="connsiteX1" fmla="*/ 1074508 w 1195480"/>
                  <a:gd name="connsiteY1" fmla="*/ 167225 h 259732"/>
                  <a:gd name="connsiteX2" fmla="*/ 949979 w 1195480"/>
                  <a:gd name="connsiteY2" fmla="*/ 56928 h 259732"/>
                  <a:gd name="connsiteX3" fmla="*/ 910842 w 1195480"/>
                  <a:gd name="connsiteY3" fmla="*/ 88949 h 259732"/>
                  <a:gd name="connsiteX4" fmla="*/ 935747 w 1195480"/>
                  <a:gd name="connsiteY4" fmla="*/ 163667 h 259732"/>
                  <a:gd name="connsiteX5" fmla="*/ 903726 w 1195480"/>
                  <a:gd name="connsiteY5" fmla="*/ 174341 h 259732"/>
                  <a:gd name="connsiteX6" fmla="*/ 882378 w 1195480"/>
                  <a:gd name="connsiteY6" fmla="*/ 106739 h 259732"/>
                  <a:gd name="connsiteX7" fmla="*/ 747175 w 1195480"/>
                  <a:gd name="connsiteY7" fmla="*/ 145877 h 259732"/>
                  <a:gd name="connsiteX8" fmla="*/ 715153 w 1195480"/>
                  <a:gd name="connsiteY8" fmla="*/ 145877 h 259732"/>
                  <a:gd name="connsiteX9" fmla="*/ 740059 w 1195480"/>
                  <a:gd name="connsiteY9" fmla="*/ 167225 h 259732"/>
                  <a:gd name="connsiteX10" fmla="*/ 743617 w 1195480"/>
                  <a:gd name="connsiteY10" fmla="*/ 206363 h 259732"/>
                  <a:gd name="connsiteX11" fmla="*/ 718711 w 1195480"/>
                  <a:gd name="connsiteY11" fmla="*/ 217037 h 259732"/>
                  <a:gd name="connsiteX12" fmla="*/ 686689 w 1195480"/>
                  <a:gd name="connsiteY12" fmla="*/ 227711 h 259732"/>
                  <a:gd name="connsiteX13" fmla="*/ 590624 w 1195480"/>
                  <a:gd name="connsiteY13" fmla="*/ 231269 h 259732"/>
                  <a:gd name="connsiteX14" fmla="*/ 540812 w 1195480"/>
                  <a:gd name="connsiteY14" fmla="*/ 206363 h 259732"/>
                  <a:gd name="connsiteX15" fmla="*/ 544370 w 1195480"/>
                  <a:gd name="connsiteY15" fmla="*/ 167225 h 259732"/>
                  <a:gd name="connsiteX16" fmla="*/ 572834 w 1195480"/>
                  <a:gd name="connsiteY16" fmla="*/ 145877 h 259732"/>
                  <a:gd name="connsiteX17" fmla="*/ 487442 w 1195480"/>
                  <a:gd name="connsiteY17" fmla="*/ 142319 h 259732"/>
                  <a:gd name="connsiteX18" fmla="*/ 323775 w 1195480"/>
                  <a:gd name="connsiteY18" fmla="*/ 110297 h 259732"/>
                  <a:gd name="connsiteX19" fmla="*/ 305985 w 1195480"/>
                  <a:gd name="connsiteY19" fmla="*/ 185015 h 259732"/>
                  <a:gd name="connsiteX20" fmla="*/ 273964 w 1195480"/>
                  <a:gd name="connsiteY20" fmla="*/ 174341 h 259732"/>
                  <a:gd name="connsiteX21" fmla="*/ 291754 w 1195480"/>
                  <a:gd name="connsiteY21" fmla="*/ 103181 h 259732"/>
                  <a:gd name="connsiteX22" fmla="*/ 199246 w 1195480"/>
                  <a:gd name="connsiteY22" fmla="*/ 67602 h 259732"/>
                  <a:gd name="connsiteX23" fmla="*/ 92507 w 1195480"/>
                  <a:gd name="connsiteY23" fmla="*/ 0 h 259732"/>
                  <a:gd name="connsiteX24" fmla="*/ 32021 w 1195480"/>
                  <a:gd name="connsiteY24" fmla="*/ 124529 h 259732"/>
                  <a:gd name="connsiteX25" fmla="*/ 0 w 1195480"/>
                  <a:gd name="connsiteY25" fmla="*/ 177899 h 259732"/>
                  <a:gd name="connsiteX26" fmla="*/ 46253 w 1195480"/>
                  <a:gd name="connsiteY26" fmla="*/ 120971 h 259732"/>
                  <a:gd name="connsiteX27" fmla="*/ 88949 w 1195480"/>
                  <a:gd name="connsiteY27" fmla="*/ 60486 h 259732"/>
                  <a:gd name="connsiteX28" fmla="*/ 177898 w 1195480"/>
                  <a:gd name="connsiteY28" fmla="*/ 120971 h 259732"/>
                  <a:gd name="connsiteX29" fmla="*/ 266848 w 1195480"/>
                  <a:gd name="connsiteY29" fmla="*/ 152993 h 259732"/>
                  <a:gd name="connsiteX30" fmla="*/ 259732 w 1195480"/>
                  <a:gd name="connsiteY30" fmla="*/ 177899 h 259732"/>
                  <a:gd name="connsiteX31" fmla="*/ 305985 w 1195480"/>
                  <a:gd name="connsiteY31" fmla="*/ 195689 h 259732"/>
                  <a:gd name="connsiteX32" fmla="*/ 320217 w 1195480"/>
                  <a:gd name="connsiteY32" fmla="*/ 174341 h 259732"/>
                  <a:gd name="connsiteX33" fmla="*/ 469652 w 1195480"/>
                  <a:gd name="connsiteY33" fmla="*/ 202805 h 259732"/>
                  <a:gd name="connsiteX34" fmla="*/ 530138 w 1195480"/>
                  <a:gd name="connsiteY34" fmla="*/ 209921 h 259732"/>
                  <a:gd name="connsiteX35" fmla="*/ 597740 w 1195480"/>
                  <a:gd name="connsiteY35" fmla="*/ 241942 h 259732"/>
                  <a:gd name="connsiteX36" fmla="*/ 686689 w 1195480"/>
                  <a:gd name="connsiteY36" fmla="*/ 238384 h 259732"/>
                  <a:gd name="connsiteX37" fmla="*/ 750733 w 1195480"/>
                  <a:gd name="connsiteY37" fmla="*/ 217037 h 259732"/>
                  <a:gd name="connsiteX38" fmla="*/ 750733 w 1195480"/>
                  <a:gd name="connsiteY38" fmla="*/ 199247 h 259732"/>
                  <a:gd name="connsiteX39" fmla="*/ 825450 w 1195480"/>
                  <a:gd name="connsiteY39" fmla="*/ 181457 h 259732"/>
                  <a:gd name="connsiteX40" fmla="*/ 889494 w 1195480"/>
                  <a:gd name="connsiteY40" fmla="*/ 160109 h 259732"/>
                  <a:gd name="connsiteX41" fmla="*/ 900168 w 1195480"/>
                  <a:gd name="connsiteY41" fmla="*/ 185015 h 259732"/>
                  <a:gd name="connsiteX42" fmla="*/ 939305 w 1195480"/>
                  <a:gd name="connsiteY42" fmla="*/ 167225 h 259732"/>
                  <a:gd name="connsiteX43" fmla="*/ 935747 w 1195480"/>
                  <a:gd name="connsiteY43" fmla="*/ 142319 h 259732"/>
                  <a:gd name="connsiteX44" fmla="*/ 967769 w 1195480"/>
                  <a:gd name="connsiteY44" fmla="*/ 120971 h 259732"/>
                  <a:gd name="connsiteX45" fmla="*/ 1053161 w 1195480"/>
                  <a:gd name="connsiteY45" fmla="*/ 181457 h 259732"/>
                  <a:gd name="connsiteX46" fmla="*/ 1145668 w 1195480"/>
                  <a:gd name="connsiteY46" fmla="*/ 234826 h 259732"/>
                  <a:gd name="connsiteX47" fmla="*/ 1195480 w 1195480"/>
                  <a:gd name="connsiteY47" fmla="*/ 259732 h 259732"/>
                  <a:gd name="connsiteX0" fmla="*/ 1195480 w 1195480"/>
                  <a:gd name="connsiteY0" fmla="*/ 259732 h 259732"/>
                  <a:gd name="connsiteX1" fmla="*/ 1074508 w 1195480"/>
                  <a:gd name="connsiteY1" fmla="*/ 167225 h 259732"/>
                  <a:gd name="connsiteX2" fmla="*/ 949979 w 1195480"/>
                  <a:gd name="connsiteY2" fmla="*/ 56928 h 259732"/>
                  <a:gd name="connsiteX3" fmla="*/ 910842 w 1195480"/>
                  <a:gd name="connsiteY3" fmla="*/ 88949 h 259732"/>
                  <a:gd name="connsiteX4" fmla="*/ 935747 w 1195480"/>
                  <a:gd name="connsiteY4" fmla="*/ 163667 h 259732"/>
                  <a:gd name="connsiteX5" fmla="*/ 903726 w 1195480"/>
                  <a:gd name="connsiteY5" fmla="*/ 174341 h 259732"/>
                  <a:gd name="connsiteX6" fmla="*/ 882378 w 1195480"/>
                  <a:gd name="connsiteY6" fmla="*/ 106739 h 259732"/>
                  <a:gd name="connsiteX7" fmla="*/ 747175 w 1195480"/>
                  <a:gd name="connsiteY7" fmla="*/ 145877 h 259732"/>
                  <a:gd name="connsiteX8" fmla="*/ 715153 w 1195480"/>
                  <a:gd name="connsiteY8" fmla="*/ 145877 h 259732"/>
                  <a:gd name="connsiteX9" fmla="*/ 740059 w 1195480"/>
                  <a:gd name="connsiteY9" fmla="*/ 167225 h 259732"/>
                  <a:gd name="connsiteX10" fmla="*/ 743617 w 1195480"/>
                  <a:gd name="connsiteY10" fmla="*/ 206363 h 259732"/>
                  <a:gd name="connsiteX11" fmla="*/ 718711 w 1195480"/>
                  <a:gd name="connsiteY11" fmla="*/ 217037 h 259732"/>
                  <a:gd name="connsiteX12" fmla="*/ 686689 w 1195480"/>
                  <a:gd name="connsiteY12" fmla="*/ 227711 h 259732"/>
                  <a:gd name="connsiteX13" fmla="*/ 590624 w 1195480"/>
                  <a:gd name="connsiteY13" fmla="*/ 231269 h 259732"/>
                  <a:gd name="connsiteX14" fmla="*/ 540812 w 1195480"/>
                  <a:gd name="connsiteY14" fmla="*/ 206363 h 259732"/>
                  <a:gd name="connsiteX15" fmla="*/ 544370 w 1195480"/>
                  <a:gd name="connsiteY15" fmla="*/ 167225 h 259732"/>
                  <a:gd name="connsiteX16" fmla="*/ 572834 w 1195480"/>
                  <a:gd name="connsiteY16" fmla="*/ 145877 h 259732"/>
                  <a:gd name="connsiteX17" fmla="*/ 487442 w 1195480"/>
                  <a:gd name="connsiteY17" fmla="*/ 142319 h 259732"/>
                  <a:gd name="connsiteX18" fmla="*/ 323775 w 1195480"/>
                  <a:gd name="connsiteY18" fmla="*/ 110297 h 259732"/>
                  <a:gd name="connsiteX19" fmla="*/ 305985 w 1195480"/>
                  <a:gd name="connsiteY19" fmla="*/ 185015 h 259732"/>
                  <a:gd name="connsiteX20" fmla="*/ 273964 w 1195480"/>
                  <a:gd name="connsiteY20" fmla="*/ 174341 h 259732"/>
                  <a:gd name="connsiteX21" fmla="*/ 291754 w 1195480"/>
                  <a:gd name="connsiteY21" fmla="*/ 103181 h 259732"/>
                  <a:gd name="connsiteX22" fmla="*/ 199246 w 1195480"/>
                  <a:gd name="connsiteY22" fmla="*/ 67602 h 259732"/>
                  <a:gd name="connsiteX23" fmla="*/ 92507 w 1195480"/>
                  <a:gd name="connsiteY23" fmla="*/ 0 h 259732"/>
                  <a:gd name="connsiteX24" fmla="*/ 32021 w 1195480"/>
                  <a:gd name="connsiteY24" fmla="*/ 124529 h 259732"/>
                  <a:gd name="connsiteX25" fmla="*/ 0 w 1195480"/>
                  <a:gd name="connsiteY25" fmla="*/ 177899 h 259732"/>
                  <a:gd name="connsiteX26" fmla="*/ 46253 w 1195480"/>
                  <a:gd name="connsiteY26" fmla="*/ 120971 h 259732"/>
                  <a:gd name="connsiteX27" fmla="*/ 88949 w 1195480"/>
                  <a:gd name="connsiteY27" fmla="*/ 60486 h 259732"/>
                  <a:gd name="connsiteX28" fmla="*/ 177898 w 1195480"/>
                  <a:gd name="connsiteY28" fmla="*/ 120971 h 259732"/>
                  <a:gd name="connsiteX29" fmla="*/ 266848 w 1195480"/>
                  <a:gd name="connsiteY29" fmla="*/ 152993 h 259732"/>
                  <a:gd name="connsiteX30" fmla="*/ 259732 w 1195480"/>
                  <a:gd name="connsiteY30" fmla="*/ 177899 h 259732"/>
                  <a:gd name="connsiteX31" fmla="*/ 305985 w 1195480"/>
                  <a:gd name="connsiteY31" fmla="*/ 195689 h 259732"/>
                  <a:gd name="connsiteX32" fmla="*/ 320217 w 1195480"/>
                  <a:gd name="connsiteY32" fmla="*/ 174341 h 259732"/>
                  <a:gd name="connsiteX33" fmla="*/ 469652 w 1195480"/>
                  <a:gd name="connsiteY33" fmla="*/ 202805 h 259732"/>
                  <a:gd name="connsiteX34" fmla="*/ 530138 w 1195480"/>
                  <a:gd name="connsiteY34" fmla="*/ 209921 h 259732"/>
                  <a:gd name="connsiteX35" fmla="*/ 597740 w 1195480"/>
                  <a:gd name="connsiteY35" fmla="*/ 241942 h 259732"/>
                  <a:gd name="connsiteX36" fmla="*/ 686689 w 1195480"/>
                  <a:gd name="connsiteY36" fmla="*/ 238384 h 259732"/>
                  <a:gd name="connsiteX37" fmla="*/ 750733 w 1195480"/>
                  <a:gd name="connsiteY37" fmla="*/ 217037 h 259732"/>
                  <a:gd name="connsiteX38" fmla="*/ 750733 w 1195480"/>
                  <a:gd name="connsiteY38" fmla="*/ 199247 h 259732"/>
                  <a:gd name="connsiteX39" fmla="*/ 825450 w 1195480"/>
                  <a:gd name="connsiteY39" fmla="*/ 181457 h 259732"/>
                  <a:gd name="connsiteX40" fmla="*/ 889494 w 1195480"/>
                  <a:gd name="connsiteY40" fmla="*/ 160109 h 259732"/>
                  <a:gd name="connsiteX41" fmla="*/ 900168 w 1195480"/>
                  <a:gd name="connsiteY41" fmla="*/ 185015 h 259732"/>
                  <a:gd name="connsiteX42" fmla="*/ 939305 w 1195480"/>
                  <a:gd name="connsiteY42" fmla="*/ 167225 h 259732"/>
                  <a:gd name="connsiteX43" fmla="*/ 935747 w 1195480"/>
                  <a:gd name="connsiteY43" fmla="*/ 142319 h 259732"/>
                  <a:gd name="connsiteX44" fmla="*/ 967769 w 1195480"/>
                  <a:gd name="connsiteY44" fmla="*/ 120971 h 259732"/>
                  <a:gd name="connsiteX45" fmla="*/ 1053161 w 1195480"/>
                  <a:gd name="connsiteY45" fmla="*/ 181457 h 259732"/>
                  <a:gd name="connsiteX46" fmla="*/ 1145668 w 1195480"/>
                  <a:gd name="connsiteY46" fmla="*/ 234826 h 259732"/>
                  <a:gd name="connsiteX47" fmla="*/ 1195480 w 1195480"/>
                  <a:gd name="connsiteY47" fmla="*/ 259732 h 259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195480" h="259732">
                    <a:moveTo>
                      <a:pt x="1195480" y="259732"/>
                    </a:moveTo>
                    <a:lnTo>
                      <a:pt x="1074508" y="167225"/>
                    </a:lnTo>
                    <a:lnTo>
                      <a:pt x="949979" y="56928"/>
                    </a:lnTo>
                    <a:lnTo>
                      <a:pt x="910842" y="88949"/>
                    </a:lnTo>
                    <a:lnTo>
                      <a:pt x="935747" y="163667"/>
                    </a:lnTo>
                    <a:lnTo>
                      <a:pt x="903726" y="174341"/>
                    </a:lnTo>
                    <a:lnTo>
                      <a:pt x="882378" y="106739"/>
                    </a:lnTo>
                    <a:lnTo>
                      <a:pt x="747175" y="145877"/>
                    </a:lnTo>
                    <a:lnTo>
                      <a:pt x="715153" y="145877"/>
                    </a:lnTo>
                    <a:lnTo>
                      <a:pt x="740059" y="167225"/>
                    </a:lnTo>
                    <a:lnTo>
                      <a:pt x="743617" y="206363"/>
                    </a:lnTo>
                    <a:lnTo>
                      <a:pt x="718711" y="217037"/>
                    </a:lnTo>
                    <a:lnTo>
                      <a:pt x="686689" y="227711"/>
                    </a:lnTo>
                    <a:lnTo>
                      <a:pt x="590624" y="231269"/>
                    </a:lnTo>
                    <a:lnTo>
                      <a:pt x="540812" y="206363"/>
                    </a:lnTo>
                    <a:lnTo>
                      <a:pt x="544370" y="167225"/>
                    </a:lnTo>
                    <a:lnTo>
                      <a:pt x="572834" y="145877"/>
                    </a:lnTo>
                    <a:lnTo>
                      <a:pt x="487442" y="142319"/>
                    </a:lnTo>
                    <a:lnTo>
                      <a:pt x="323775" y="110297"/>
                    </a:lnTo>
                    <a:lnTo>
                      <a:pt x="305985" y="185015"/>
                    </a:lnTo>
                    <a:lnTo>
                      <a:pt x="273964" y="174341"/>
                    </a:lnTo>
                    <a:lnTo>
                      <a:pt x="291754" y="103181"/>
                    </a:lnTo>
                    <a:lnTo>
                      <a:pt x="199246" y="67602"/>
                    </a:lnTo>
                    <a:lnTo>
                      <a:pt x="92507" y="0"/>
                    </a:lnTo>
                    <a:lnTo>
                      <a:pt x="32021" y="124529"/>
                    </a:lnTo>
                    <a:lnTo>
                      <a:pt x="0" y="177899"/>
                    </a:lnTo>
                    <a:lnTo>
                      <a:pt x="46253" y="120971"/>
                    </a:lnTo>
                    <a:lnTo>
                      <a:pt x="88949" y="60486"/>
                    </a:lnTo>
                    <a:lnTo>
                      <a:pt x="177898" y="120971"/>
                    </a:lnTo>
                    <a:lnTo>
                      <a:pt x="266848" y="152993"/>
                    </a:lnTo>
                    <a:lnTo>
                      <a:pt x="259732" y="177899"/>
                    </a:lnTo>
                    <a:lnTo>
                      <a:pt x="305985" y="195689"/>
                    </a:lnTo>
                    <a:lnTo>
                      <a:pt x="320217" y="174341"/>
                    </a:lnTo>
                    <a:lnTo>
                      <a:pt x="469652" y="202805"/>
                    </a:lnTo>
                    <a:cubicBezTo>
                      <a:pt x="531322" y="206433"/>
                      <a:pt x="527757" y="207597"/>
                      <a:pt x="530138" y="209921"/>
                    </a:cubicBezTo>
                    <a:lnTo>
                      <a:pt x="597740" y="241942"/>
                    </a:lnTo>
                    <a:lnTo>
                      <a:pt x="686689" y="238384"/>
                    </a:lnTo>
                    <a:lnTo>
                      <a:pt x="750733" y="217037"/>
                    </a:lnTo>
                    <a:lnTo>
                      <a:pt x="750733" y="199247"/>
                    </a:lnTo>
                    <a:lnTo>
                      <a:pt x="825450" y="181457"/>
                    </a:lnTo>
                    <a:lnTo>
                      <a:pt x="889494" y="160109"/>
                    </a:lnTo>
                    <a:lnTo>
                      <a:pt x="900168" y="185015"/>
                    </a:lnTo>
                    <a:lnTo>
                      <a:pt x="939305" y="167225"/>
                    </a:lnTo>
                    <a:lnTo>
                      <a:pt x="935747" y="142319"/>
                    </a:lnTo>
                    <a:lnTo>
                      <a:pt x="967769" y="120971"/>
                    </a:lnTo>
                    <a:lnTo>
                      <a:pt x="1053161" y="181457"/>
                    </a:lnTo>
                    <a:lnTo>
                      <a:pt x="1145668" y="234826"/>
                    </a:lnTo>
                    <a:lnTo>
                      <a:pt x="1195480" y="25973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69" name="Freeform 280">
                <a:extLst>
                  <a:ext uri="{FF2B5EF4-FFF2-40B4-BE49-F238E27FC236}">
                    <a16:creationId xmlns:a16="http://schemas.microsoft.com/office/drawing/2014/main" id="{BF9C30B8-1307-417B-9281-348D5F842061}"/>
                  </a:ext>
                </a:extLst>
              </p:cNvPr>
              <p:cNvSpPr/>
              <p:nvPr/>
            </p:nvSpPr>
            <p:spPr bwMode="auto">
              <a:xfrm>
                <a:off x="7000358" y="3499317"/>
                <a:ext cx="123488" cy="61238"/>
              </a:xfrm>
              <a:custGeom>
                <a:avLst/>
                <a:gdLst>
                  <a:gd name="connsiteX0" fmla="*/ 30480 w 206692"/>
                  <a:gd name="connsiteY0" fmla="*/ 2382 h 95250"/>
                  <a:gd name="connsiteX1" fmla="*/ 1905 w 206692"/>
                  <a:gd name="connsiteY1" fmla="*/ 30957 h 95250"/>
                  <a:gd name="connsiteX2" fmla="*/ 1905 w 206692"/>
                  <a:gd name="connsiteY2" fmla="*/ 69057 h 95250"/>
                  <a:gd name="connsiteX3" fmla="*/ 54292 w 206692"/>
                  <a:gd name="connsiteY3" fmla="*/ 95250 h 95250"/>
                  <a:gd name="connsiteX4" fmla="*/ 151924 w 206692"/>
                  <a:gd name="connsiteY4" fmla="*/ 92869 h 95250"/>
                  <a:gd name="connsiteX5" fmla="*/ 204311 w 206692"/>
                  <a:gd name="connsiteY5" fmla="*/ 71438 h 95250"/>
                  <a:gd name="connsiteX6" fmla="*/ 206692 w 206692"/>
                  <a:gd name="connsiteY6" fmla="*/ 16669 h 95250"/>
                  <a:gd name="connsiteX7" fmla="*/ 175736 w 206692"/>
                  <a:gd name="connsiteY7" fmla="*/ 0 h 95250"/>
                  <a:gd name="connsiteX8" fmla="*/ 101917 w 206692"/>
                  <a:gd name="connsiteY8" fmla="*/ 7144 h 95250"/>
                  <a:gd name="connsiteX9" fmla="*/ 30480 w 206692"/>
                  <a:gd name="connsiteY9" fmla="*/ 2382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6692" h="95250">
                    <a:moveTo>
                      <a:pt x="30480" y="2382"/>
                    </a:moveTo>
                    <a:cubicBezTo>
                      <a:pt x="0" y="25242"/>
                      <a:pt x="1905" y="11907"/>
                      <a:pt x="1905" y="30957"/>
                    </a:cubicBezTo>
                    <a:lnTo>
                      <a:pt x="1905" y="69057"/>
                    </a:lnTo>
                    <a:lnTo>
                      <a:pt x="54292" y="95250"/>
                    </a:lnTo>
                    <a:lnTo>
                      <a:pt x="151924" y="92869"/>
                    </a:lnTo>
                    <a:lnTo>
                      <a:pt x="204311" y="71438"/>
                    </a:lnTo>
                    <a:cubicBezTo>
                      <a:pt x="205105" y="53182"/>
                      <a:pt x="205898" y="34925"/>
                      <a:pt x="206692" y="16669"/>
                    </a:cubicBezTo>
                    <a:lnTo>
                      <a:pt x="175736" y="0"/>
                    </a:lnTo>
                    <a:lnTo>
                      <a:pt x="101917" y="7144"/>
                    </a:lnTo>
                    <a:lnTo>
                      <a:pt x="30480" y="238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nvGrpSpPr>
              <p:cNvPr id="670" name="Group 120">
                <a:extLst>
                  <a:ext uri="{FF2B5EF4-FFF2-40B4-BE49-F238E27FC236}">
                    <a16:creationId xmlns:a16="http://schemas.microsoft.com/office/drawing/2014/main" id="{EE5E93CC-7974-42BC-95AF-DF1902F6A9C4}"/>
                  </a:ext>
                </a:extLst>
              </p:cNvPr>
              <p:cNvGrpSpPr/>
              <p:nvPr/>
            </p:nvGrpSpPr>
            <p:grpSpPr>
              <a:xfrm rot="21536255" flipH="1">
                <a:off x="6856202" y="1926296"/>
                <a:ext cx="393073" cy="780013"/>
                <a:chOff x="2133599" y="-2547370"/>
                <a:chExt cx="3515438" cy="6893242"/>
              </a:xfrm>
              <a:grpFill/>
            </p:grpSpPr>
            <p:sp>
              <p:nvSpPr>
                <p:cNvPr id="691" name="Freeform 302">
                  <a:extLst>
                    <a:ext uri="{FF2B5EF4-FFF2-40B4-BE49-F238E27FC236}">
                      <a16:creationId xmlns:a16="http://schemas.microsoft.com/office/drawing/2014/main" id="{86596C66-8F81-4059-92ED-28346168E8A5}"/>
                    </a:ext>
                  </a:extLst>
                </p:cNvPr>
                <p:cNvSpPr/>
                <p:nvPr/>
              </p:nvSpPr>
              <p:spPr>
                <a:xfrm>
                  <a:off x="2137006" y="-2547370"/>
                  <a:ext cx="3512031" cy="3881488"/>
                </a:xfrm>
                <a:custGeom>
                  <a:avLst/>
                  <a:gdLst>
                    <a:gd name="connsiteX0" fmla="*/ 2749924 w 3675530"/>
                    <a:gd name="connsiteY0" fmla="*/ 4110318 h 4780430"/>
                    <a:gd name="connsiteX1" fmla="*/ 2803712 w 3675530"/>
                    <a:gd name="connsiteY1" fmla="*/ 4069977 h 4780430"/>
                    <a:gd name="connsiteX2" fmla="*/ 3005418 w 3675530"/>
                    <a:gd name="connsiteY2" fmla="*/ 3760694 h 4780430"/>
                    <a:gd name="connsiteX3" fmla="*/ 3153335 w 3675530"/>
                    <a:gd name="connsiteY3" fmla="*/ 3437965 h 4780430"/>
                    <a:gd name="connsiteX4" fmla="*/ 3516406 w 3675530"/>
                    <a:gd name="connsiteY4" fmla="*/ 2940424 h 4780430"/>
                    <a:gd name="connsiteX5" fmla="*/ 3664324 w 3675530"/>
                    <a:gd name="connsiteY5" fmla="*/ 1797424 h 4780430"/>
                    <a:gd name="connsiteX6" fmla="*/ 3449171 w 3675530"/>
                    <a:gd name="connsiteY6" fmla="*/ 1057836 h 4780430"/>
                    <a:gd name="connsiteX7" fmla="*/ 3180230 w 3675530"/>
                    <a:gd name="connsiteY7" fmla="*/ 909918 h 4780430"/>
                    <a:gd name="connsiteX8" fmla="*/ 3086100 w 3675530"/>
                    <a:gd name="connsiteY8" fmla="*/ 708212 h 4780430"/>
                    <a:gd name="connsiteX9" fmla="*/ 2373406 w 3675530"/>
                    <a:gd name="connsiteY9" fmla="*/ 49306 h 4780430"/>
                    <a:gd name="connsiteX10" fmla="*/ 853888 w 3675530"/>
                    <a:gd name="connsiteY10" fmla="*/ 412377 h 4780430"/>
                    <a:gd name="connsiteX11" fmla="*/ 87406 w 3675530"/>
                    <a:gd name="connsiteY11" fmla="*/ 1770530 h 4780430"/>
                    <a:gd name="connsiteX12" fmla="*/ 329453 w 3675530"/>
                    <a:gd name="connsiteY12" fmla="*/ 3263153 h 4780430"/>
                    <a:gd name="connsiteX13" fmla="*/ 423583 w 3675530"/>
                    <a:gd name="connsiteY13" fmla="*/ 3666565 h 4780430"/>
                    <a:gd name="connsiteX14" fmla="*/ 638735 w 3675530"/>
                    <a:gd name="connsiteY14" fmla="*/ 3881718 h 4780430"/>
                    <a:gd name="connsiteX15" fmla="*/ 1808630 w 3675530"/>
                    <a:gd name="connsiteY15" fmla="*/ 4742330 h 4780430"/>
                    <a:gd name="connsiteX16" fmla="*/ 2749924 w 3675530"/>
                    <a:gd name="connsiteY16" fmla="*/ 4110318 h 4780430"/>
                    <a:gd name="connsiteX0" fmla="*/ 2749924 w 3675530"/>
                    <a:gd name="connsiteY0" fmla="*/ 4088093 h 4758205"/>
                    <a:gd name="connsiteX1" fmla="*/ 2803712 w 3675530"/>
                    <a:gd name="connsiteY1" fmla="*/ 4047752 h 4758205"/>
                    <a:gd name="connsiteX2" fmla="*/ 3005418 w 3675530"/>
                    <a:gd name="connsiteY2" fmla="*/ 3738469 h 4758205"/>
                    <a:gd name="connsiteX3" fmla="*/ 3153335 w 3675530"/>
                    <a:gd name="connsiteY3" fmla="*/ 3415740 h 4758205"/>
                    <a:gd name="connsiteX4" fmla="*/ 3516406 w 3675530"/>
                    <a:gd name="connsiteY4" fmla="*/ 2918199 h 4758205"/>
                    <a:gd name="connsiteX5" fmla="*/ 3664324 w 3675530"/>
                    <a:gd name="connsiteY5" fmla="*/ 1775199 h 4758205"/>
                    <a:gd name="connsiteX6" fmla="*/ 3449171 w 3675530"/>
                    <a:gd name="connsiteY6" fmla="*/ 1035611 h 4758205"/>
                    <a:gd name="connsiteX7" fmla="*/ 3180230 w 3675530"/>
                    <a:gd name="connsiteY7" fmla="*/ 887693 h 4758205"/>
                    <a:gd name="connsiteX8" fmla="*/ 3133725 w 3675530"/>
                    <a:gd name="connsiteY8" fmla="*/ 552637 h 4758205"/>
                    <a:gd name="connsiteX9" fmla="*/ 2373406 w 3675530"/>
                    <a:gd name="connsiteY9" fmla="*/ 27081 h 4758205"/>
                    <a:gd name="connsiteX10" fmla="*/ 853888 w 3675530"/>
                    <a:gd name="connsiteY10" fmla="*/ 390152 h 4758205"/>
                    <a:gd name="connsiteX11" fmla="*/ 87406 w 3675530"/>
                    <a:gd name="connsiteY11" fmla="*/ 1748305 h 4758205"/>
                    <a:gd name="connsiteX12" fmla="*/ 329453 w 3675530"/>
                    <a:gd name="connsiteY12" fmla="*/ 3240928 h 4758205"/>
                    <a:gd name="connsiteX13" fmla="*/ 423583 w 3675530"/>
                    <a:gd name="connsiteY13" fmla="*/ 3644340 h 4758205"/>
                    <a:gd name="connsiteX14" fmla="*/ 638735 w 3675530"/>
                    <a:gd name="connsiteY14" fmla="*/ 3859493 h 4758205"/>
                    <a:gd name="connsiteX15" fmla="*/ 1808630 w 3675530"/>
                    <a:gd name="connsiteY15" fmla="*/ 4720105 h 4758205"/>
                    <a:gd name="connsiteX16" fmla="*/ 2749924 w 3675530"/>
                    <a:gd name="connsiteY16" fmla="*/ 4088093 h 4758205"/>
                    <a:gd name="connsiteX0" fmla="*/ 2749924 w 3675530"/>
                    <a:gd name="connsiteY0" fmla="*/ 4088093 h 4758205"/>
                    <a:gd name="connsiteX1" fmla="*/ 2803712 w 3675530"/>
                    <a:gd name="connsiteY1" fmla="*/ 4047752 h 4758205"/>
                    <a:gd name="connsiteX2" fmla="*/ 3005418 w 3675530"/>
                    <a:gd name="connsiteY2" fmla="*/ 3738469 h 4758205"/>
                    <a:gd name="connsiteX3" fmla="*/ 3153335 w 3675530"/>
                    <a:gd name="connsiteY3" fmla="*/ 3415740 h 4758205"/>
                    <a:gd name="connsiteX4" fmla="*/ 3516406 w 3675530"/>
                    <a:gd name="connsiteY4" fmla="*/ 2918199 h 4758205"/>
                    <a:gd name="connsiteX5" fmla="*/ 3664324 w 3675530"/>
                    <a:gd name="connsiteY5" fmla="*/ 1775199 h 4758205"/>
                    <a:gd name="connsiteX6" fmla="*/ 3449171 w 3675530"/>
                    <a:gd name="connsiteY6" fmla="*/ 1035611 h 4758205"/>
                    <a:gd name="connsiteX7" fmla="*/ 3180230 w 3675530"/>
                    <a:gd name="connsiteY7" fmla="*/ 887693 h 4758205"/>
                    <a:gd name="connsiteX8" fmla="*/ 3133725 w 3675530"/>
                    <a:gd name="connsiteY8" fmla="*/ 552637 h 4758205"/>
                    <a:gd name="connsiteX9" fmla="*/ 2373406 w 3675530"/>
                    <a:gd name="connsiteY9" fmla="*/ 27081 h 4758205"/>
                    <a:gd name="connsiteX10" fmla="*/ 853888 w 3675530"/>
                    <a:gd name="connsiteY10" fmla="*/ 390152 h 4758205"/>
                    <a:gd name="connsiteX11" fmla="*/ 87406 w 3675530"/>
                    <a:gd name="connsiteY11" fmla="*/ 1748305 h 4758205"/>
                    <a:gd name="connsiteX12" fmla="*/ 329453 w 3675530"/>
                    <a:gd name="connsiteY12" fmla="*/ 3240928 h 4758205"/>
                    <a:gd name="connsiteX13" fmla="*/ 423583 w 3675530"/>
                    <a:gd name="connsiteY13" fmla="*/ 3644340 h 4758205"/>
                    <a:gd name="connsiteX14" fmla="*/ 638735 w 3675530"/>
                    <a:gd name="connsiteY14" fmla="*/ 3859493 h 4758205"/>
                    <a:gd name="connsiteX15" fmla="*/ 1808630 w 3675530"/>
                    <a:gd name="connsiteY15" fmla="*/ 4720105 h 4758205"/>
                    <a:gd name="connsiteX16" fmla="*/ 2749924 w 3675530"/>
                    <a:gd name="connsiteY16" fmla="*/ 4088093 h 4758205"/>
                    <a:gd name="connsiteX0" fmla="*/ 2749924 w 3675530"/>
                    <a:gd name="connsiteY0" fmla="*/ 3957824 h 4627936"/>
                    <a:gd name="connsiteX1" fmla="*/ 2803712 w 3675530"/>
                    <a:gd name="connsiteY1" fmla="*/ 3917483 h 4627936"/>
                    <a:gd name="connsiteX2" fmla="*/ 3005418 w 3675530"/>
                    <a:gd name="connsiteY2" fmla="*/ 3608200 h 4627936"/>
                    <a:gd name="connsiteX3" fmla="*/ 3153335 w 3675530"/>
                    <a:gd name="connsiteY3" fmla="*/ 3285471 h 4627936"/>
                    <a:gd name="connsiteX4" fmla="*/ 3516406 w 3675530"/>
                    <a:gd name="connsiteY4" fmla="*/ 2787930 h 4627936"/>
                    <a:gd name="connsiteX5" fmla="*/ 3664324 w 3675530"/>
                    <a:gd name="connsiteY5" fmla="*/ 1644930 h 4627936"/>
                    <a:gd name="connsiteX6" fmla="*/ 3449171 w 3675530"/>
                    <a:gd name="connsiteY6" fmla="*/ 905342 h 4627936"/>
                    <a:gd name="connsiteX7" fmla="*/ 3180230 w 3675530"/>
                    <a:gd name="connsiteY7" fmla="*/ 757424 h 4627936"/>
                    <a:gd name="connsiteX8" fmla="*/ 3133725 w 3675530"/>
                    <a:gd name="connsiteY8" fmla="*/ 422368 h 4627936"/>
                    <a:gd name="connsiteX9" fmla="*/ 2344831 w 3675530"/>
                    <a:gd name="connsiteY9" fmla="*/ 58737 h 4627936"/>
                    <a:gd name="connsiteX10" fmla="*/ 853888 w 3675530"/>
                    <a:gd name="connsiteY10" fmla="*/ 259883 h 4627936"/>
                    <a:gd name="connsiteX11" fmla="*/ 87406 w 3675530"/>
                    <a:gd name="connsiteY11" fmla="*/ 1618036 h 4627936"/>
                    <a:gd name="connsiteX12" fmla="*/ 329453 w 3675530"/>
                    <a:gd name="connsiteY12" fmla="*/ 3110659 h 4627936"/>
                    <a:gd name="connsiteX13" fmla="*/ 423583 w 3675530"/>
                    <a:gd name="connsiteY13" fmla="*/ 3514071 h 4627936"/>
                    <a:gd name="connsiteX14" fmla="*/ 638735 w 3675530"/>
                    <a:gd name="connsiteY14" fmla="*/ 3729224 h 4627936"/>
                    <a:gd name="connsiteX15" fmla="*/ 1808630 w 3675530"/>
                    <a:gd name="connsiteY15" fmla="*/ 4589836 h 4627936"/>
                    <a:gd name="connsiteX16" fmla="*/ 2749924 w 3675530"/>
                    <a:gd name="connsiteY16" fmla="*/ 3957824 h 4627936"/>
                    <a:gd name="connsiteX0" fmla="*/ 2749924 w 3675530"/>
                    <a:gd name="connsiteY0" fmla="*/ 3957824 h 4627936"/>
                    <a:gd name="connsiteX1" fmla="*/ 3005418 w 3675530"/>
                    <a:gd name="connsiteY1" fmla="*/ 3608200 h 4627936"/>
                    <a:gd name="connsiteX2" fmla="*/ 3153335 w 3675530"/>
                    <a:gd name="connsiteY2" fmla="*/ 3285471 h 4627936"/>
                    <a:gd name="connsiteX3" fmla="*/ 3516406 w 3675530"/>
                    <a:gd name="connsiteY3" fmla="*/ 2787930 h 4627936"/>
                    <a:gd name="connsiteX4" fmla="*/ 3664324 w 3675530"/>
                    <a:gd name="connsiteY4" fmla="*/ 1644930 h 4627936"/>
                    <a:gd name="connsiteX5" fmla="*/ 3449171 w 3675530"/>
                    <a:gd name="connsiteY5" fmla="*/ 905342 h 4627936"/>
                    <a:gd name="connsiteX6" fmla="*/ 3180230 w 3675530"/>
                    <a:gd name="connsiteY6" fmla="*/ 757424 h 4627936"/>
                    <a:gd name="connsiteX7" fmla="*/ 3133725 w 3675530"/>
                    <a:gd name="connsiteY7" fmla="*/ 422368 h 4627936"/>
                    <a:gd name="connsiteX8" fmla="*/ 2344831 w 3675530"/>
                    <a:gd name="connsiteY8" fmla="*/ 58737 h 4627936"/>
                    <a:gd name="connsiteX9" fmla="*/ 853888 w 3675530"/>
                    <a:gd name="connsiteY9" fmla="*/ 259883 h 4627936"/>
                    <a:gd name="connsiteX10" fmla="*/ 87406 w 3675530"/>
                    <a:gd name="connsiteY10" fmla="*/ 1618036 h 4627936"/>
                    <a:gd name="connsiteX11" fmla="*/ 329453 w 3675530"/>
                    <a:gd name="connsiteY11" fmla="*/ 3110659 h 4627936"/>
                    <a:gd name="connsiteX12" fmla="*/ 423583 w 3675530"/>
                    <a:gd name="connsiteY12" fmla="*/ 3514071 h 4627936"/>
                    <a:gd name="connsiteX13" fmla="*/ 638735 w 3675530"/>
                    <a:gd name="connsiteY13" fmla="*/ 3729224 h 4627936"/>
                    <a:gd name="connsiteX14" fmla="*/ 1808630 w 3675530"/>
                    <a:gd name="connsiteY14" fmla="*/ 4589836 h 4627936"/>
                    <a:gd name="connsiteX15" fmla="*/ 2749924 w 3675530"/>
                    <a:gd name="connsiteY15" fmla="*/ 3957824 h 4627936"/>
                    <a:gd name="connsiteX0" fmla="*/ 2749924 w 3675530"/>
                    <a:gd name="connsiteY0" fmla="*/ 3957824 h 4627936"/>
                    <a:gd name="connsiteX1" fmla="*/ 3153335 w 3675530"/>
                    <a:gd name="connsiteY1" fmla="*/ 3285471 h 4627936"/>
                    <a:gd name="connsiteX2" fmla="*/ 3516406 w 3675530"/>
                    <a:gd name="connsiteY2" fmla="*/ 2787930 h 4627936"/>
                    <a:gd name="connsiteX3" fmla="*/ 3664324 w 3675530"/>
                    <a:gd name="connsiteY3" fmla="*/ 1644930 h 4627936"/>
                    <a:gd name="connsiteX4" fmla="*/ 3449171 w 3675530"/>
                    <a:gd name="connsiteY4" fmla="*/ 905342 h 4627936"/>
                    <a:gd name="connsiteX5" fmla="*/ 3180230 w 3675530"/>
                    <a:gd name="connsiteY5" fmla="*/ 757424 h 4627936"/>
                    <a:gd name="connsiteX6" fmla="*/ 3133725 w 3675530"/>
                    <a:gd name="connsiteY6" fmla="*/ 422368 h 4627936"/>
                    <a:gd name="connsiteX7" fmla="*/ 2344831 w 3675530"/>
                    <a:gd name="connsiteY7" fmla="*/ 58737 h 4627936"/>
                    <a:gd name="connsiteX8" fmla="*/ 853888 w 3675530"/>
                    <a:gd name="connsiteY8" fmla="*/ 259883 h 4627936"/>
                    <a:gd name="connsiteX9" fmla="*/ 87406 w 3675530"/>
                    <a:gd name="connsiteY9" fmla="*/ 1618036 h 4627936"/>
                    <a:gd name="connsiteX10" fmla="*/ 329453 w 3675530"/>
                    <a:gd name="connsiteY10" fmla="*/ 3110659 h 4627936"/>
                    <a:gd name="connsiteX11" fmla="*/ 423583 w 3675530"/>
                    <a:gd name="connsiteY11" fmla="*/ 3514071 h 4627936"/>
                    <a:gd name="connsiteX12" fmla="*/ 638735 w 3675530"/>
                    <a:gd name="connsiteY12" fmla="*/ 3729224 h 4627936"/>
                    <a:gd name="connsiteX13" fmla="*/ 1808630 w 3675530"/>
                    <a:gd name="connsiteY13" fmla="*/ 4589836 h 4627936"/>
                    <a:gd name="connsiteX14" fmla="*/ 2749924 w 3675530"/>
                    <a:gd name="connsiteY14" fmla="*/ 3957824 h 4627936"/>
                    <a:gd name="connsiteX0" fmla="*/ 1808630 w 3675530"/>
                    <a:gd name="connsiteY0" fmla="*/ 4589836 h 4663795"/>
                    <a:gd name="connsiteX1" fmla="*/ 3153335 w 3675530"/>
                    <a:gd name="connsiteY1" fmla="*/ 3285471 h 4663795"/>
                    <a:gd name="connsiteX2" fmla="*/ 3516406 w 3675530"/>
                    <a:gd name="connsiteY2" fmla="*/ 2787930 h 4663795"/>
                    <a:gd name="connsiteX3" fmla="*/ 3664324 w 3675530"/>
                    <a:gd name="connsiteY3" fmla="*/ 1644930 h 4663795"/>
                    <a:gd name="connsiteX4" fmla="*/ 3449171 w 3675530"/>
                    <a:gd name="connsiteY4" fmla="*/ 905342 h 4663795"/>
                    <a:gd name="connsiteX5" fmla="*/ 3180230 w 3675530"/>
                    <a:gd name="connsiteY5" fmla="*/ 757424 h 4663795"/>
                    <a:gd name="connsiteX6" fmla="*/ 3133725 w 3675530"/>
                    <a:gd name="connsiteY6" fmla="*/ 422368 h 4663795"/>
                    <a:gd name="connsiteX7" fmla="*/ 2344831 w 3675530"/>
                    <a:gd name="connsiteY7" fmla="*/ 58737 h 4663795"/>
                    <a:gd name="connsiteX8" fmla="*/ 853888 w 3675530"/>
                    <a:gd name="connsiteY8" fmla="*/ 259883 h 4663795"/>
                    <a:gd name="connsiteX9" fmla="*/ 87406 w 3675530"/>
                    <a:gd name="connsiteY9" fmla="*/ 1618036 h 4663795"/>
                    <a:gd name="connsiteX10" fmla="*/ 329453 w 3675530"/>
                    <a:gd name="connsiteY10" fmla="*/ 3110659 h 4663795"/>
                    <a:gd name="connsiteX11" fmla="*/ 423583 w 3675530"/>
                    <a:gd name="connsiteY11" fmla="*/ 3514071 h 4663795"/>
                    <a:gd name="connsiteX12" fmla="*/ 638735 w 3675530"/>
                    <a:gd name="connsiteY12" fmla="*/ 3729224 h 4663795"/>
                    <a:gd name="connsiteX13" fmla="*/ 1808630 w 3675530"/>
                    <a:gd name="connsiteY13" fmla="*/ 4589836 h 4663795"/>
                    <a:gd name="connsiteX0" fmla="*/ 638735 w 3675530"/>
                    <a:gd name="connsiteY0" fmla="*/ 3729224 h 3767324"/>
                    <a:gd name="connsiteX1" fmla="*/ 3153335 w 3675530"/>
                    <a:gd name="connsiteY1" fmla="*/ 3285471 h 3767324"/>
                    <a:gd name="connsiteX2" fmla="*/ 3516406 w 3675530"/>
                    <a:gd name="connsiteY2" fmla="*/ 2787930 h 3767324"/>
                    <a:gd name="connsiteX3" fmla="*/ 3664324 w 3675530"/>
                    <a:gd name="connsiteY3" fmla="*/ 1644930 h 3767324"/>
                    <a:gd name="connsiteX4" fmla="*/ 3449171 w 3675530"/>
                    <a:gd name="connsiteY4" fmla="*/ 905342 h 3767324"/>
                    <a:gd name="connsiteX5" fmla="*/ 3180230 w 3675530"/>
                    <a:gd name="connsiteY5" fmla="*/ 757424 h 3767324"/>
                    <a:gd name="connsiteX6" fmla="*/ 3133725 w 3675530"/>
                    <a:gd name="connsiteY6" fmla="*/ 422368 h 3767324"/>
                    <a:gd name="connsiteX7" fmla="*/ 2344831 w 3675530"/>
                    <a:gd name="connsiteY7" fmla="*/ 58737 h 3767324"/>
                    <a:gd name="connsiteX8" fmla="*/ 853888 w 3675530"/>
                    <a:gd name="connsiteY8" fmla="*/ 259883 h 3767324"/>
                    <a:gd name="connsiteX9" fmla="*/ 87406 w 3675530"/>
                    <a:gd name="connsiteY9" fmla="*/ 1618036 h 3767324"/>
                    <a:gd name="connsiteX10" fmla="*/ 329453 w 3675530"/>
                    <a:gd name="connsiteY10" fmla="*/ 3110659 h 3767324"/>
                    <a:gd name="connsiteX11" fmla="*/ 423583 w 3675530"/>
                    <a:gd name="connsiteY11" fmla="*/ 3514071 h 3767324"/>
                    <a:gd name="connsiteX12" fmla="*/ 638735 w 3675530"/>
                    <a:gd name="connsiteY12" fmla="*/ 3729224 h 3767324"/>
                    <a:gd name="connsiteX0" fmla="*/ 470647 w 3722594"/>
                    <a:gd name="connsiteY0" fmla="*/ 3514071 h 3543206"/>
                    <a:gd name="connsiteX1" fmla="*/ 3200399 w 3722594"/>
                    <a:gd name="connsiteY1" fmla="*/ 3285471 h 3543206"/>
                    <a:gd name="connsiteX2" fmla="*/ 3563470 w 3722594"/>
                    <a:gd name="connsiteY2" fmla="*/ 2787930 h 3543206"/>
                    <a:gd name="connsiteX3" fmla="*/ 3711388 w 3722594"/>
                    <a:gd name="connsiteY3" fmla="*/ 1644930 h 3543206"/>
                    <a:gd name="connsiteX4" fmla="*/ 3496235 w 3722594"/>
                    <a:gd name="connsiteY4" fmla="*/ 905342 h 3543206"/>
                    <a:gd name="connsiteX5" fmla="*/ 3227294 w 3722594"/>
                    <a:gd name="connsiteY5" fmla="*/ 757424 h 3543206"/>
                    <a:gd name="connsiteX6" fmla="*/ 3180789 w 3722594"/>
                    <a:gd name="connsiteY6" fmla="*/ 422368 h 3543206"/>
                    <a:gd name="connsiteX7" fmla="*/ 2391895 w 3722594"/>
                    <a:gd name="connsiteY7" fmla="*/ 58737 h 3543206"/>
                    <a:gd name="connsiteX8" fmla="*/ 900952 w 3722594"/>
                    <a:gd name="connsiteY8" fmla="*/ 259883 h 3543206"/>
                    <a:gd name="connsiteX9" fmla="*/ 134470 w 3722594"/>
                    <a:gd name="connsiteY9" fmla="*/ 1618036 h 3543206"/>
                    <a:gd name="connsiteX10" fmla="*/ 376517 w 3722594"/>
                    <a:gd name="connsiteY10" fmla="*/ 3110659 h 3543206"/>
                    <a:gd name="connsiteX11" fmla="*/ 470647 w 3722594"/>
                    <a:gd name="connsiteY11" fmla="*/ 3514071 h 3543206"/>
                    <a:gd name="connsiteX0" fmla="*/ 510988 w 3866029"/>
                    <a:gd name="connsiteY0" fmla="*/ 3110659 h 3388565"/>
                    <a:gd name="connsiteX1" fmla="*/ 3334870 w 3866029"/>
                    <a:gd name="connsiteY1" fmla="*/ 3285471 h 3388565"/>
                    <a:gd name="connsiteX2" fmla="*/ 3697941 w 3866029"/>
                    <a:gd name="connsiteY2" fmla="*/ 2787930 h 3388565"/>
                    <a:gd name="connsiteX3" fmla="*/ 3845859 w 3866029"/>
                    <a:gd name="connsiteY3" fmla="*/ 1644930 h 3388565"/>
                    <a:gd name="connsiteX4" fmla="*/ 3630706 w 3866029"/>
                    <a:gd name="connsiteY4" fmla="*/ 905342 h 3388565"/>
                    <a:gd name="connsiteX5" fmla="*/ 3361765 w 3866029"/>
                    <a:gd name="connsiteY5" fmla="*/ 757424 h 3388565"/>
                    <a:gd name="connsiteX6" fmla="*/ 3315260 w 3866029"/>
                    <a:gd name="connsiteY6" fmla="*/ 422368 h 3388565"/>
                    <a:gd name="connsiteX7" fmla="*/ 2526366 w 3866029"/>
                    <a:gd name="connsiteY7" fmla="*/ 58737 h 3388565"/>
                    <a:gd name="connsiteX8" fmla="*/ 1035423 w 3866029"/>
                    <a:gd name="connsiteY8" fmla="*/ 259883 h 3388565"/>
                    <a:gd name="connsiteX9" fmla="*/ 268941 w 3866029"/>
                    <a:gd name="connsiteY9" fmla="*/ 1618036 h 3388565"/>
                    <a:gd name="connsiteX10" fmla="*/ 510988 w 3866029"/>
                    <a:gd name="connsiteY10" fmla="*/ 3110659 h 3388565"/>
                    <a:gd name="connsiteX0" fmla="*/ 484875 w 3830952"/>
                    <a:gd name="connsiteY0" fmla="*/ 3110659 h 3389043"/>
                    <a:gd name="connsiteX1" fmla="*/ 3152079 w 3830952"/>
                    <a:gd name="connsiteY1" fmla="*/ 3288342 h 3389043"/>
                    <a:gd name="connsiteX2" fmla="*/ 3671828 w 3830952"/>
                    <a:gd name="connsiteY2" fmla="*/ 2787930 h 3389043"/>
                    <a:gd name="connsiteX3" fmla="*/ 3819746 w 3830952"/>
                    <a:gd name="connsiteY3" fmla="*/ 1644930 h 3389043"/>
                    <a:gd name="connsiteX4" fmla="*/ 3604593 w 3830952"/>
                    <a:gd name="connsiteY4" fmla="*/ 905342 h 3389043"/>
                    <a:gd name="connsiteX5" fmla="*/ 3335652 w 3830952"/>
                    <a:gd name="connsiteY5" fmla="*/ 757424 h 3389043"/>
                    <a:gd name="connsiteX6" fmla="*/ 3289147 w 3830952"/>
                    <a:gd name="connsiteY6" fmla="*/ 422368 h 3389043"/>
                    <a:gd name="connsiteX7" fmla="*/ 2500253 w 3830952"/>
                    <a:gd name="connsiteY7" fmla="*/ 58737 h 3389043"/>
                    <a:gd name="connsiteX8" fmla="*/ 1009310 w 3830952"/>
                    <a:gd name="connsiteY8" fmla="*/ 259883 h 3389043"/>
                    <a:gd name="connsiteX9" fmla="*/ 242828 w 3830952"/>
                    <a:gd name="connsiteY9" fmla="*/ 1618036 h 3389043"/>
                    <a:gd name="connsiteX10" fmla="*/ 484875 w 3830952"/>
                    <a:gd name="connsiteY10" fmla="*/ 3110659 h 3389043"/>
                    <a:gd name="connsiteX0" fmla="*/ 484875 w 3820054"/>
                    <a:gd name="connsiteY0" fmla="*/ 3110659 h 3389043"/>
                    <a:gd name="connsiteX1" fmla="*/ 3152079 w 3820054"/>
                    <a:gd name="connsiteY1" fmla="*/ 3288342 h 3389043"/>
                    <a:gd name="connsiteX2" fmla="*/ 3606444 w 3820054"/>
                    <a:gd name="connsiteY2" fmla="*/ 2644580 h 3389043"/>
                    <a:gd name="connsiteX3" fmla="*/ 3819746 w 3820054"/>
                    <a:gd name="connsiteY3" fmla="*/ 1644930 h 3389043"/>
                    <a:gd name="connsiteX4" fmla="*/ 3604593 w 3820054"/>
                    <a:gd name="connsiteY4" fmla="*/ 905342 h 3389043"/>
                    <a:gd name="connsiteX5" fmla="*/ 3335652 w 3820054"/>
                    <a:gd name="connsiteY5" fmla="*/ 757424 h 3389043"/>
                    <a:gd name="connsiteX6" fmla="*/ 3289147 w 3820054"/>
                    <a:gd name="connsiteY6" fmla="*/ 422368 h 3389043"/>
                    <a:gd name="connsiteX7" fmla="*/ 2500253 w 3820054"/>
                    <a:gd name="connsiteY7" fmla="*/ 58737 h 3389043"/>
                    <a:gd name="connsiteX8" fmla="*/ 1009310 w 3820054"/>
                    <a:gd name="connsiteY8" fmla="*/ 259883 h 3389043"/>
                    <a:gd name="connsiteX9" fmla="*/ 242828 w 3820054"/>
                    <a:gd name="connsiteY9" fmla="*/ 1618036 h 3389043"/>
                    <a:gd name="connsiteX10" fmla="*/ 484875 w 3820054"/>
                    <a:gd name="connsiteY10" fmla="*/ 3110659 h 3389043"/>
                    <a:gd name="connsiteX0" fmla="*/ 484875 w 3820054"/>
                    <a:gd name="connsiteY0" fmla="*/ 3110659 h 3389043"/>
                    <a:gd name="connsiteX1" fmla="*/ 3152079 w 3820054"/>
                    <a:gd name="connsiteY1" fmla="*/ 3288342 h 3389043"/>
                    <a:gd name="connsiteX2" fmla="*/ 3606444 w 3820054"/>
                    <a:gd name="connsiteY2" fmla="*/ 2644580 h 3389043"/>
                    <a:gd name="connsiteX3" fmla="*/ 3819746 w 3820054"/>
                    <a:gd name="connsiteY3" fmla="*/ 1644930 h 3389043"/>
                    <a:gd name="connsiteX4" fmla="*/ 3604593 w 3820054"/>
                    <a:gd name="connsiteY4" fmla="*/ 905342 h 3389043"/>
                    <a:gd name="connsiteX5" fmla="*/ 3335652 w 3820054"/>
                    <a:gd name="connsiteY5" fmla="*/ 757424 h 3389043"/>
                    <a:gd name="connsiteX6" fmla="*/ 3289147 w 3820054"/>
                    <a:gd name="connsiteY6" fmla="*/ 422368 h 3389043"/>
                    <a:gd name="connsiteX7" fmla="*/ 2500253 w 3820054"/>
                    <a:gd name="connsiteY7" fmla="*/ 58737 h 3389043"/>
                    <a:gd name="connsiteX8" fmla="*/ 1009310 w 3820054"/>
                    <a:gd name="connsiteY8" fmla="*/ 259883 h 3389043"/>
                    <a:gd name="connsiteX9" fmla="*/ 242828 w 3820054"/>
                    <a:gd name="connsiteY9" fmla="*/ 1618036 h 3389043"/>
                    <a:gd name="connsiteX10" fmla="*/ 484875 w 3820054"/>
                    <a:gd name="connsiteY10" fmla="*/ 3110659 h 3389043"/>
                    <a:gd name="connsiteX0" fmla="*/ 484875 w 3820054"/>
                    <a:gd name="connsiteY0" fmla="*/ 3110659 h 3389043"/>
                    <a:gd name="connsiteX1" fmla="*/ 3152079 w 3820054"/>
                    <a:gd name="connsiteY1" fmla="*/ 3288342 h 3389043"/>
                    <a:gd name="connsiteX2" fmla="*/ 3606444 w 3820054"/>
                    <a:gd name="connsiteY2" fmla="*/ 2644580 h 3389043"/>
                    <a:gd name="connsiteX3" fmla="*/ 3819746 w 3820054"/>
                    <a:gd name="connsiteY3" fmla="*/ 1644930 h 3389043"/>
                    <a:gd name="connsiteX4" fmla="*/ 3604593 w 3820054"/>
                    <a:gd name="connsiteY4" fmla="*/ 905342 h 3389043"/>
                    <a:gd name="connsiteX5" fmla="*/ 3335652 w 3820054"/>
                    <a:gd name="connsiteY5" fmla="*/ 757424 h 3389043"/>
                    <a:gd name="connsiteX6" fmla="*/ 3289147 w 3820054"/>
                    <a:gd name="connsiteY6" fmla="*/ 422368 h 3389043"/>
                    <a:gd name="connsiteX7" fmla="*/ 2500253 w 3820054"/>
                    <a:gd name="connsiteY7" fmla="*/ 58737 h 3389043"/>
                    <a:gd name="connsiteX8" fmla="*/ 1009310 w 3820054"/>
                    <a:gd name="connsiteY8" fmla="*/ 259883 h 3389043"/>
                    <a:gd name="connsiteX9" fmla="*/ 242828 w 3820054"/>
                    <a:gd name="connsiteY9" fmla="*/ 1618036 h 3389043"/>
                    <a:gd name="connsiteX10" fmla="*/ 484875 w 3820054"/>
                    <a:gd name="connsiteY10" fmla="*/ 3110659 h 3389043"/>
                    <a:gd name="connsiteX0" fmla="*/ 484875 w 3821017"/>
                    <a:gd name="connsiteY0" fmla="*/ 3110659 h 3389043"/>
                    <a:gd name="connsiteX1" fmla="*/ 3152079 w 3821017"/>
                    <a:gd name="connsiteY1" fmla="*/ 3288342 h 3389043"/>
                    <a:gd name="connsiteX2" fmla="*/ 3596968 w 3821017"/>
                    <a:gd name="connsiteY2" fmla="*/ 2696377 h 3389043"/>
                    <a:gd name="connsiteX3" fmla="*/ 3819746 w 3821017"/>
                    <a:gd name="connsiteY3" fmla="*/ 1644930 h 3389043"/>
                    <a:gd name="connsiteX4" fmla="*/ 3604593 w 3821017"/>
                    <a:gd name="connsiteY4" fmla="*/ 905342 h 3389043"/>
                    <a:gd name="connsiteX5" fmla="*/ 3335652 w 3821017"/>
                    <a:gd name="connsiteY5" fmla="*/ 757424 h 3389043"/>
                    <a:gd name="connsiteX6" fmla="*/ 3289147 w 3821017"/>
                    <a:gd name="connsiteY6" fmla="*/ 422368 h 3389043"/>
                    <a:gd name="connsiteX7" fmla="*/ 2500253 w 3821017"/>
                    <a:gd name="connsiteY7" fmla="*/ 58737 h 3389043"/>
                    <a:gd name="connsiteX8" fmla="*/ 1009310 w 3821017"/>
                    <a:gd name="connsiteY8" fmla="*/ 259883 h 3389043"/>
                    <a:gd name="connsiteX9" fmla="*/ 242828 w 3821017"/>
                    <a:gd name="connsiteY9" fmla="*/ 1618036 h 3389043"/>
                    <a:gd name="connsiteX10" fmla="*/ 484875 w 3821017"/>
                    <a:gd name="connsiteY10" fmla="*/ 3110659 h 3389043"/>
                    <a:gd name="connsiteX0" fmla="*/ 357128 w 3935317"/>
                    <a:gd name="connsiteY0" fmla="*/ 1618036 h 3288342"/>
                    <a:gd name="connsiteX1" fmla="*/ 3266379 w 3935317"/>
                    <a:gd name="connsiteY1" fmla="*/ 3288342 h 3288342"/>
                    <a:gd name="connsiteX2" fmla="*/ 3711268 w 3935317"/>
                    <a:gd name="connsiteY2" fmla="*/ 2696377 h 3288342"/>
                    <a:gd name="connsiteX3" fmla="*/ 3934046 w 3935317"/>
                    <a:gd name="connsiteY3" fmla="*/ 1644930 h 3288342"/>
                    <a:gd name="connsiteX4" fmla="*/ 3718893 w 3935317"/>
                    <a:gd name="connsiteY4" fmla="*/ 905342 h 3288342"/>
                    <a:gd name="connsiteX5" fmla="*/ 3449952 w 3935317"/>
                    <a:gd name="connsiteY5" fmla="*/ 757424 h 3288342"/>
                    <a:gd name="connsiteX6" fmla="*/ 3403447 w 3935317"/>
                    <a:gd name="connsiteY6" fmla="*/ 422368 h 3288342"/>
                    <a:gd name="connsiteX7" fmla="*/ 2614553 w 3935317"/>
                    <a:gd name="connsiteY7" fmla="*/ 58737 h 3288342"/>
                    <a:gd name="connsiteX8" fmla="*/ 1123610 w 3935317"/>
                    <a:gd name="connsiteY8" fmla="*/ 259883 h 3288342"/>
                    <a:gd name="connsiteX9" fmla="*/ 357128 w 3935317"/>
                    <a:gd name="connsiteY9" fmla="*/ 1618036 h 3288342"/>
                    <a:gd name="connsiteX0" fmla="*/ 357128 w 3935317"/>
                    <a:gd name="connsiteY0" fmla="*/ 1618036 h 3749154"/>
                    <a:gd name="connsiteX1" fmla="*/ 3266379 w 3935317"/>
                    <a:gd name="connsiteY1" fmla="*/ 3288342 h 3749154"/>
                    <a:gd name="connsiteX2" fmla="*/ 3711268 w 3935317"/>
                    <a:gd name="connsiteY2" fmla="*/ 2696377 h 3749154"/>
                    <a:gd name="connsiteX3" fmla="*/ 3934046 w 3935317"/>
                    <a:gd name="connsiteY3" fmla="*/ 1644930 h 3749154"/>
                    <a:gd name="connsiteX4" fmla="*/ 3718893 w 3935317"/>
                    <a:gd name="connsiteY4" fmla="*/ 905342 h 3749154"/>
                    <a:gd name="connsiteX5" fmla="*/ 3449952 w 3935317"/>
                    <a:gd name="connsiteY5" fmla="*/ 757424 h 3749154"/>
                    <a:gd name="connsiteX6" fmla="*/ 3403447 w 3935317"/>
                    <a:gd name="connsiteY6" fmla="*/ 422368 h 3749154"/>
                    <a:gd name="connsiteX7" fmla="*/ 2614553 w 3935317"/>
                    <a:gd name="connsiteY7" fmla="*/ 58737 h 3749154"/>
                    <a:gd name="connsiteX8" fmla="*/ 1123610 w 3935317"/>
                    <a:gd name="connsiteY8" fmla="*/ 259883 h 3749154"/>
                    <a:gd name="connsiteX9" fmla="*/ 357128 w 3935317"/>
                    <a:gd name="connsiteY9" fmla="*/ 1618036 h 3749154"/>
                    <a:gd name="connsiteX0" fmla="*/ 0 w 3578189"/>
                    <a:gd name="connsiteY0" fmla="*/ 1618036 h 3749154"/>
                    <a:gd name="connsiteX1" fmla="*/ 2909251 w 3578189"/>
                    <a:gd name="connsiteY1" fmla="*/ 3288342 h 3749154"/>
                    <a:gd name="connsiteX2" fmla="*/ 3354140 w 3578189"/>
                    <a:gd name="connsiteY2" fmla="*/ 2696377 h 3749154"/>
                    <a:gd name="connsiteX3" fmla="*/ 3576918 w 3578189"/>
                    <a:gd name="connsiteY3" fmla="*/ 1644930 h 3749154"/>
                    <a:gd name="connsiteX4" fmla="*/ 3361765 w 3578189"/>
                    <a:gd name="connsiteY4" fmla="*/ 905342 h 3749154"/>
                    <a:gd name="connsiteX5" fmla="*/ 3092824 w 3578189"/>
                    <a:gd name="connsiteY5" fmla="*/ 757424 h 3749154"/>
                    <a:gd name="connsiteX6" fmla="*/ 3046319 w 3578189"/>
                    <a:gd name="connsiteY6" fmla="*/ 422368 h 3749154"/>
                    <a:gd name="connsiteX7" fmla="*/ 2257425 w 3578189"/>
                    <a:gd name="connsiteY7" fmla="*/ 58737 h 3749154"/>
                    <a:gd name="connsiteX8" fmla="*/ 766482 w 3578189"/>
                    <a:gd name="connsiteY8" fmla="*/ 259883 h 3749154"/>
                    <a:gd name="connsiteX9" fmla="*/ 0 w 3578189"/>
                    <a:gd name="connsiteY9" fmla="*/ 1618036 h 3749154"/>
                    <a:gd name="connsiteX0" fmla="*/ 0 w 3578189"/>
                    <a:gd name="connsiteY0" fmla="*/ 1618036 h 3749154"/>
                    <a:gd name="connsiteX1" fmla="*/ 2909251 w 3578189"/>
                    <a:gd name="connsiteY1" fmla="*/ 3288342 h 3749154"/>
                    <a:gd name="connsiteX2" fmla="*/ 3354140 w 3578189"/>
                    <a:gd name="connsiteY2" fmla="*/ 2696377 h 3749154"/>
                    <a:gd name="connsiteX3" fmla="*/ 3576918 w 3578189"/>
                    <a:gd name="connsiteY3" fmla="*/ 1644930 h 3749154"/>
                    <a:gd name="connsiteX4" fmla="*/ 3361765 w 3578189"/>
                    <a:gd name="connsiteY4" fmla="*/ 905342 h 3749154"/>
                    <a:gd name="connsiteX5" fmla="*/ 3092824 w 3578189"/>
                    <a:gd name="connsiteY5" fmla="*/ 757424 h 3749154"/>
                    <a:gd name="connsiteX6" fmla="*/ 3046319 w 3578189"/>
                    <a:gd name="connsiteY6" fmla="*/ 422368 h 3749154"/>
                    <a:gd name="connsiteX7" fmla="*/ 2257425 w 3578189"/>
                    <a:gd name="connsiteY7" fmla="*/ 58737 h 3749154"/>
                    <a:gd name="connsiteX8" fmla="*/ 766482 w 3578189"/>
                    <a:gd name="connsiteY8" fmla="*/ 259883 h 3749154"/>
                    <a:gd name="connsiteX9" fmla="*/ 0 w 3578189"/>
                    <a:gd name="connsiteY9" fmla="*/ 1618036 h 3749154"/>
                    <a:gd name="connsiteX0" fmla="*/ 0 w 3512031"/>
                    <a:gd name="connsiteY0" fmla="*/ 1833444 h 3964562"/>
                    <a:gd name="connsiteX1" fmla="*/ 2843093 w 3512031"/>
                    <a:gd name="connsiteY1" fmla="*/ 3319115 h 3964562"/>
                    <a:gd name="connsiteX2" fmla="*/ 3287982 w 3512031"/>
                    <a:gd name="connsiteY2" fmla="*/ 2727150 h 3964562"/>
                    <a:gd name="connsiteX3" fmla="*/ 3510760 w 3512031"/>
                    <a:gd name="connsiteY3" fmla="*/ 1675703 h 3964562"/>
                    <a:gd name="connsiteX4" fmla="*/ 3295607 w 3512031"/>
                    <a:gd name="connsiteY4" fmla="*/ 936115 h 3964562"/>
                    <a:gd name="connsiteX5" fmla="*/ 3026666 w 3512031"/>
                    <a:gd name="connsiteY5" fmla="*/ 788197 h 3964562"/>
                    <a:gd name="connsiteX6" fmla="*/ 2980161 w 3512031"/>
                    <a:gd name="connsiteY6" fmla="*/ 453141 h 3964562"/>
                    <a:gd name="connsiteX7" fmla="*/ 2191267 w 3512031"/>
                    <a:gd name="connsiteY7" fmla="*/ 89510 h 3964562"/>
                    <a:gd name="connsiteX8" fmla="*/ 700324 w 3512031"/>
                    <a:gd name="connsiteY8" fmla="*/ 290656 h 3964562"/>
                    <a:gd name="connsiteX9" fmla="*/ 0 w 3512031"/>
                    <a:gd name="connsiteY9" fmla="*/ 1833444 h 3964562"/>
                    <a:gd name="connsiteX0" fmla="*/ 0 w 3512031"/>
                    <a:gd name="connsiteY0" fmla="*/ 1833444 h 3964562"/>
                    <a:gd name="connsiteX1" fmla="*/ 2843093 w 3512031"/>
                    <a:gd name="connsiteY1" fmla="*/ 3319115 h 3964562"/>
                    <a:gd name="connsiteX2" fmla="*/ 3287982 w 3512031"/>
                    <a:gd name="connsiteY2" fmla="*/ 2727150 h 3964562"/>
                    <a:gd name="connsiteX3" fmla="*/ 3510760 w 3512031"/>
                    <a:gd name="connsiteY3" fmla="*/ 1675703 h 3964562"/>
                    <a:gd name="connsiteX4" fmla="*/ 3295607 w 3512031"/>
                    <a:gd name="connsiteY4" fmla="*/ 936115 h 3964562"/>
                    <a:gd name="connsiteX5" fmla="*/ 3026666 w 3512031"/>
                    <a:gd name="connsiteY5" fmla="*/ 788197 h 3964562"/>
                    <a:gd name="connsiteX6" fmla="*/ 2980161 w 3512031"/>
                    <a:gd name="connsiteY6" fmla="*/ 453141 h 3964562"/>
                    <a:gd name="connsiteX7" fmla="*/ 2191267 w 3512031"/>
                    <a:gd name="connsiteY7" fmla="*/ 89510 h 3964562"/>
                    <a:gd name="connsiteX8" fmla="*/ 700324 w 3512031"/>
                    <a:gd name="connsiteY8" fmla="*/ 290656 h 3964562"/>
                    <a:gd name="connsiteX9" fmla="*/ 0 w 3512031"/>
                    <a:gd name="connsiteY9" fmla="*/ 1833444 h 3964562"/>
                    <a:gd name="connsiteX0" fmla="*/ 0 w 3512031"/>
                    <a:gd name="connsiteY0" fmla="*/ 1752946 h 3884064"/>
                    <a:gd name="connsiteX1" fmla="*/ 2843093 w 3512031"/>
                    <a:gd name="connsiteY1" fmla="*/ 3238617 h 3884064"/>
                    <a:gd name="connsiteX2" fmla="*/ 3287982 w 3512031"/>
                    <a:gd name="connsiteY2" fmla="*/ 2646652 h 3884064"/>
                    <a:gd name="connsiteX3" fmla="*/ 3510760 w 3512031"/>
                    <a:gd name="connsiteY3" fmla="*/ 1595205 h 3884064"/>
                    <a:gd name="connsiteX4" fmla="*/ 3295607 w 3512031"/>
                    <a:gd name="connsiteY4" fmla="*/ 855617 h 3884064"/>
                    <a:gd name="connsiteX5" fmla="*/ 3026666 w 3512031"/>
                    <a:gd name="connsiteY5" fmla="*/ 707699 h 3884064"/>
                    <a:gd name="connsiteX6" fmla="*/ 2980161 w 3512031"/>
                    <a:gd name="connsiteY6" fmla="*/ 372643 h 3884064"/>
                    <a:gd name="connsiteX7" fmla="*/ 2191267 w 3512031"/>
                    <a:gd name="connsiteY7" fmla="*/ 9012 h 3884064"/>
                    <a:gd name="connsiteX8" fmla="*/ 714836 w 3512031"/>
                    <a:gd name="connsiteY8" fmla="*/ 426714 h 3884064"/>
                    <a:gd name="connsiteX9" fmla="*/ 0 w 3512031"/>
                    <a:gd name="connsiteY9" fmla="*/ 1752946 h 3884064"/>
                    <a:gd name="connsiteX0" fmla="*/ 0 w 3512031"/>
                    <a:gd name="connsiteY0" fmla="*/ 1750372 h 3881490"/>
                    <a:gd name="connsiteX1" fmla="*/ 2843093 w 3512031"/>
                    <a:gd name="connsiteY1" fmla="*/ 3236043 h 3881490"/>
                    <a:gd name="connsiteX2" fmla="*/ 3287982 w 3512031"/>
                    <a:gd name="connsiteY2" fmla="*/ 2644078 h 3881490"/>
                    <a:gd name="connsiteX3" fmla="*/ 3510760 w 3512031"/>
                    <a:gd name="connsiteY3" fmla="*/ 1592631 h 3881490"/>
                    <a:gd name="connsiteX4" fmla="*/ 3295607 w 3512031"/>
                    <a:gd name="connsiteY4" fmla="*/ 853043 h 3881490"/>
                    <a:gd name="connsiteX5" fmla="*/ 3026666 w 3512031"/>
                    <a:gd name="connsiteY5" fmla="*/ 705125 h 3881490"/>
                    <a:gd name="connsiteX6" fmla="*/ 2980161 w 3512031"/>
                    <a:gd name="connsiteY6" fmla="*/ 370069 h 3881490"/>
                    <a:gd name="connsiteX7" fmla="*/ 2191267 w 3512031"/>
                    <a:gd name="connsiteY7" fmla="*/ 6438 h 3881490"/>
                    <a:gd name="connsiteX8" fmla="*/ 702647 w 3512031"/>
                    <a:gd name="connsiteY8" fmla="*/ 331440 h 3881490"/>
                    <a:gd name="connsiteX9" fmla="*/ 0 w 3512031"/>
                    <a:gd name="connsiteY9" fmla="*/ 1750372 h 3881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12031" h="3881490">
                      <a:moveTo>
                        <a:pt x="0" y="1750372"/>
                      </a:moveTo>
                      <a:cubicBezTo>
                        <a:pt x="63737" y="3881490"/>
                        <a:pt x="2284070" y="3056320"/>
                        <a:pt x="2843093" y="3236043"/>
                      </a:cubicBezTo>
                      <a:cubicBezTo>
                        <a:pt x="2914014" y="3156272"/>
                        <a:pt x="2998360" y="2879949"/>
                        <a:pt x="3287982" y="2644078"/>
                      </a:cubicBezTo>
                      <a:cubicBezTo>
                        <a:pt x="3399260" y="2370176"/>
                        <a:pt x="3509489" y="1891137"/>
                        <a:pt x="3510760" y="1592631"/>
                      </a:cubicBezTo>
                      <a:cubicBezTo>
                        <a:pt x="3512031" y="1294125"/>
                        <a:pt x="3376289" y="1000961"/>
                        <a:pt x="3295607" y="853043"/>
                      </a:cubicBezTo>
                      <a:cubicBezTo>
                        <a:pt x="3214925" y="705125"/>
                        <a:pt x="3079240" y="785621"/>
                        <a:pt x="3026666" y="705125"/>
                      </a:cubicBezTo>
                      <a:cubicBezTo>
                        <a:pt x="2974092" y="624629"/>
                        <a:pt x="3038432" y="580179"/>
                        <a:pt x="2980161" y="370069"/>
                      </a:cubicBezTo>
                      <a:cubicBezTo>
                        <a:pt x="2845690" y="226634"/>
                        <a:pt x="2570853" y="12876"/>
                        <a:pt x="2191267" y="6438"/>
                      </a:cubicBezTo>
                      <a:cubicBezTo>
                        <a:pt x="1811681" y="0"/>
                        <a:pt x="1067858" y="40784"/>
                        <a:pt x="702647" y="331440"/>
                      </a:cubicBezTo>
                      <a:cubicBezTo>
                        <a:pt x="337436" y="622096"/>
                        <a:pt x="93360" y="752106"/>
                        <a:pt x="0" y="175037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92" name="Freeform 303">
                  <a:extLst>
                    <a:ext uri="{FF2B5EF4-FFF2-40B4-BE49-F238E27FC236}">
                      <a16:creationId xmlns:a16="http://schemas.microsoft.com/office/drawing/2014/main" id="{1153A8B2-584E-4F9F-A518-1F4E30740B3A}"/>
                    </a:ext>
                  </a:extLst>
                </p:cNvPr>
                <p:cNvSpPr/>
                <p:nvPr/>
              </p:nvSpPr>
              <p:spPr>
                <a:xfrm>
                  <a:off x="2535195" y="1327514"/>
                  <a:ext cx="2701120" cy="3018358"/>
                </a:xfrm>
                <a:custGeom>
                  <a:avLst/>
                  <a:gdLst>
                    <a:gd name="connsiteX0" fmla="*/ 0 w 2610677"/>
                    <a:gd name="connsiteY0" fmla="*/ 0 h 2705008"/>
                    <a:gd name="connsiteX1" fmla="*/ 39189 w 2610677"/>
                    <a:gd name="connsiteY1" fmla="*/ 587828 h 2705008"/>
                    <a:gd name="connsiteX2" fmla="*/ 65315 w 2610677"/>
                    <a:gd name="connsiteY2" fmla="*/ 953588 h 2705008"/>
                    <a:gd name="connsiteX3" fmla="*/ 65315 w 2610677"/>
                    <a:gd name="connsiteY3" fmla="*/ 940526 h 2705008"/>
                    <a:gd name="connsiteX4" fmla="*/ 1123406 w 2610677"/>
                    <a:gd name="connsiteY4" fmla="*/ 1685108 h 2705008"/>
                    <a:gd name="connsiteX5" fmla="*/ 1345475 w 2610677"/>
                    <a:gd name="connsiteY5" fmla="*/ 2599508 h 2705008"/>
                    <a:gd name="connsiteX6" fmla="*/ 1802675 w 2610677"/>
                    <a:gd name="connsiteY6" fmla="*/ 2704011 h 2705008"/>
                    <a:gd name="connsiteX7" fmla="*/ 2116183 w 2610677"/>
                    <a:gd name="connsiteY7" fmla="*/ 1254034 h 2705008"/>
                    <a:gd name="connsiteX8" fmla="*/ 2103120 w 2610677"/>
                    <a:gd name="connsiteY8" fmla="*/ 365760 h 2705008"/>
                    <a:gd name="connsiteX9" fmla="*/ 2011680 w 2610677"/>
                    <a:gd name="connsiteY9" fmla="*/ 431074 h 2705008"/>
                    <a:gd name="connsiteX10" fmla="*/ 1985555 w 2610677"/>
                    <a:gd name="connsiteY10" fmla="*/ 26126 h 2705008"/>
                    <a:gd name="connsiteX11" fmla="*/ 0 w 2610677"/>
                    <a:gd name="connsiteY11" fmla="*/ 0 h 2705008"/>
                    <a:gd name="connsiteX0" fmla="*/ 0 w 2591627"/>
                    <a:gd name="connsiteY0" fmla="*/ 0 h 2762158"/>
                    <a:gd name="connsiteX1" fmla="*/ 20139 w 2591627"/>
                    <a:gd name="connsiteY1" fmla="*/ 644978 h 2762158"/>
                    <a:gd name="connsiteX2" fmla="*/ 46265 w 2591627"/>
                    <a:gd name="connsiteY2" fmla="*/ 1010738 h 2762158"/>
                    <a:gd name="connsiteX3" fmla="*/ 46265 w 2591627"/>
                    <a:gd name="connsiteY3" fmla="*/ 997676 h 2762158"/>
                    <a:gd name="connsiteX4" fmla="*/ 1104356 w 2591627"/>
                    <a:gd name="connsiteY4" fmla="*/ 1742258 h 2762158"/>
                    <a:gd name="connsiteX5" fmla="*/ 1326425 w 2591627"/>
                    <a:gd name="connsiteY5" fmla="*/ 2656658 h 2762158"/>
                    <a:gd name="connsiteX6" fmla="*/ 1783625 w 2591627"/>
                    <a:gd name="connsiteY6" fmla="*/ 2761161 h 2762158"/>
                    <a:gd name="connsiteX7" fmla="*/ 2097133 w 2591627"/>
                    <a:gd name="connsiteY7" fmla="*/ 1311184 h 2762158"/>
                    <a:gd name="connsiteX8" fmla="*/ 2084070 w 2591627"/>
                    <a:gd name="connsiteY8" fmla="*/ 422910 h 2762158"/>
                    <a:gd name="connsiteX9" fmla="*/ 1992630 w 2591627"/>
                    <a:gd name="connsiteY9" fmla="*/ 488224 h 2762158"/>
                    <a:gd name="connsiteX10" fmla="*/ 1966505 w 2591627"/>
                    <a:gd name="connsiteY10" fmla="*/ 83276 h 2762158"/>
                    <a:gd name="connsiteX11" fmla="*/ 0 w 2591627"/>
                    <a:gd name="connsiteY11" fmla="*/ 0 h 2762158"/>
                    <a:gd name="connsiteX0" fmla="*/ 0 w 2591627"/>
                    <a:gd name="connsiteY0" fmla="*/ 0 h 3018359"/>
                    <a:gd name="connsiteX1" fmla="*/ 20139 w 2591627"/>
                    <a:gd name="connsiteY1" fmla="*/ 644978 h 3018359"/>
                    <a:gd name="connsiteX2" fmla="*/ 46265 w 2591627"/>
                    <a:gd name="connsiteY2" fmla="*/ 1010738 h 3018359"/>
                    <a:gd name="connsiteX3" fmla="*/ 46265 w 2591627"/>
                    <a:gd name="connsiteY3" fmla="*/ 997676 h 3018359"/>
                    <a:gd name="connsiteX4" fmla="*/ 1104356 w 2591627"/>
                    <a:gd name="connsiteY4" fmla="*/ 1742258 h 3018359"/>
                    <a:gd name="connsiteX5" fmla="*/ 1331240 w 2591627"/>
                    <a:gd name="connsiteY5" fmla="*/ 2912857 h 3018359"/>
                    <a:gd name="connsiteX6" fmla="*/ 1783625 w 2591627"/>
                    <a:gd name="connsiteY6" fmla="*/ 2761161 h 3018359"/>
                    <a:gd name="connsiteX7" fmla="*/ 2097133 w 2591627"/>
                    <a:gd name="connsiteY7" fmla="*/ 1311184 h 3018359"/>
                    <a:gd name="connsiteX8" fmla="*/ 2084070 w 2591627"/>
                    <a:gd name="connsiteY8" fmla="*/ 422910 h 3018359"/>
                    <a:gd name="connsiteX9" fmla="*/ 1992630 w 2591627"/>
                    <a:gd name="connsiteY9" fmla="*/ 488224 h 3018359"/>
                    <a:gd name="connsiteX10" fmla="*/ 1966505 w 2591627"/>
                    <a:gd name="connsiteY10" fmla="*/ 83276 h 3018359"/>
                    <a:gd name="connsiteX11" fmla="*/ 0 w 2591627"/>
                    <a:gd name="connsiteY11" fmla="*/ 0 h 3018359"/>
                    <a:gd name="connsiteX0" fmla="*/ 0 w 2591627"/>
                    <a:gd name="connsiteY0" fmla="*/ 0 h 3018359"/>
                    <a:gd name="connsiteX1" fmla="*/ 20139 w 2591627"/>
                    <a:gd name="connsiteY1" fmla="*/ 644978 h 3018359"/>
                    <a:gd name="connsiteX2" fmla="*/ 46265 w 2591627"/>
                    <a:gd name="connsiteY2" fmla="*/ 1010738 h 3018359"/>
                    <a:gd name="connsiteX3" fmla="*/ 46265 w 2591627"/>
                    <a:gd name="connsiteY3" fmla="*/ 997676 h 3018359"/>
                    <a:gd name="connsiteX4" fmla="*/ 922862 w 2591627"/>
                    <a:gd name="connsiteY4" fmla="*/ 1745586 h 3018359"/>
                    <a:gd name="connsiteX5" fmla="*/ 1331240 w 2591627"/>
                    <a:gd name="connsiteY5" fmla="*/ 2912857 h 3018359"/>
                    <a:gd name="connsiteX6" fmla="*/ 1783625 w 2591627"/>
                    <a:gd name="connsiteY6" fmla="*/ 2761161 h 3018359"/>
                    <a:gd name="connsiteX7" fmla="*/ 2097133 w 2591627"/>
                    <a:gd name="connsiteY7" fmla="*/ 1311184 h 3018359"/>
                    <a:gd name="connsiteX8" fmla="*/ 2084070 w 2591627"/>
                    <a:gd name="connsiteY8" fmla="*/ 422910 h 3018359"/>
                    <a:gd name="connsiteX9" fmla="*/ 1992630 w 2591627"/>
                    <a:gd name="connsiteY9" fmla="*/ 488224 h 3018359"/>
                    <a:gd name="connsiteX10" fmla="*/ 1966505 w 2591627"/>
                    <a:gd name="connsiteY10" fmla="*/ 83276 h 3018359"/>
                    <a:gd name="connsiteX11" fmla="*/ 0 w 2591627"/>
                    <a:gd name="connsiteY11" fmla="*/ 0 h 3018359"/>
                    <a:gd name="connsiteX0" fmla="*/ 0 w 2591627"/>
                    <a:gd name="connsiteY0" fmla="*/ 0 h 3018359"/>
                    <a:gd name="connsiteX1" fmla="*/ 20139 w 2591627"/>
                    <a:gd name="connsiteY1" fmla="*/ 644978 h 3018359"/>
                    <a:gd name="connsiteX2" fmla="*/ 46265 w 2591627"/>
                    <a:gd name="connsiteY2" fmla="*/ 1010738 h 3018359"/>
                    <a:gd name="connsiteX3" fmla="*/ 46265 w 2591627"/>
                    <a:gd name="connsiteY3" fmla="*/ 997676 h 3018359"/>
                    <a:gd name="connsiteX4" fmla="*/ 922862 w 2591627"/>
                    <a:gd name="connsiteY4" fmla="*/ 1745586 h 3018359"/>
                    <a:gd name="connsiteX5" fmla="*/ 1331240 w 2591627"/>
                    <a:gd name="connsiteY5" fmla="*/ 2912857 h 3018359"/>
                    <a:gd name="connsiteX6" fmla="*/ 1783625 w 2591627"/>
                    <a:gd name="connsiteY6" fmla="*/ 2761161 h 3018359"/>
                    <a:gd name="connsiteX7" fmla="*/ 2097133 w 2591627"/>
                    <a:gd name="connsiteY7" fmla="*/ 1311184 h 3018359"/>
                    <a:gd name="connsiteX8" fmla="*/ 2084070 w 2591627"/>
                    <a:gd name="connsiteY8" fmla="*/ 422910 h 3018359"/>
                    <a:gd name="connsiteX9" fmla="*/ 1992630 w 2591627"/>
                    <a:gd name="connsiteY9" fmla="*/ 488224 h 3018359"/>
                    <a:gd name="connsiteX10" fmla="*/ 1966505 w 2591627"/>
                    <a:gd name="connsiteY10" fmla="*/ 83276 h 3018359"/>
                    <a:gd name="connsiteX11" fmla="*/ 0 w 2591627"/>
                    <a:gd name="connsiteY11" fmla="*/ 0 h 3018359"/>
                    <a:gd name="connsiteX0" fmla="*/ 109492 w 2701119"/>
                    <a:gd name="connsiteY0" fmla="*/ 0 h 3018359"/>
                    <a:gd name="connsiteX1" fmla="*/ 0 w 2701119"/>
                    <a:gd name="connsiteY1" fmla="*/ 647358 h 3018359"/>
                    <a:gd name="connsiteX2" fmla="*/ 155757 w 2701119"/>
                    <a:gd name="connsiteY2" fmla="*/ 1010738 h 3018359"/>
                    <a:gd name="connsiteX3" fmla="*/ 155757 w 2701119"/>
                    <a:gd name="connsiteY3" fmla="*/ 997676 h 3018359"/>
                    <a:gd name="connsiteX4" fmla="*/ 1032354 w 2701119"/>
                    <a:gd name="connsiteY4" fmla="*/ 1745586 h 3018359"/>
                    <a:gd name="connsiteX5" fmla="*/ 1440732 w 2701119"/>
                    <a:gd name="connsiteY5" fmla="*/ 2912857 h 3018359"/>
                    <a:gd name="connsiteX6" fmla="*/ 1893117 w 2701119"/>
                    <a:gd name="connsiteY6" fmla="*/ 2761161 h 3018359"/>
                    <a:gd name="connsiteX7" fmla="*/ 2206625 w 2701119"/>
                    <a:gd name="connsiteY7" fmla="*/ 1311184 h 3018359"/>
                    <a:gd name="connsiteX8" fmla="*/ 2193562 w 2701119"/>
                    <a:gd name="connsiteY8" fmla="*/ 422910 h 3018359"/>
                    <a:gd name="connsiteX9" fmla="*/ 2102122 w 2701119"/>
                    <a:gd name="connsiteY9" fmla="*/ 488224 h 3018359"/>
                    <a:gd name="connsiteX10" fmla="*/ 2075997 w 2701119"/>
                    <a:gd name="connsiteY10" fmla="*/ 83276 h 3018359"/>
                    <a:gd name="connsiteX11" fmla="*/ 109492 w 2701119"/>
                    <a:gd name="connsiteY11" fmla="*/ 0 h 3018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01119" h="3018359">
                      <a:moveTo>
                        <a:pt x="109492" y="0"/>
                      </a:moveTo>
                      <a:lnTo>
                        <a:pt x="0" y="647358"/>
                      </a:lnTo>
                      <a:cubicBezTo>
                        <a:pt x="8709" y="769278"/>
                        <a:pt x="146728" y="888841"/>
                        <a:pt x="155757" y="1010738"/>
                      </a:cubicBezTo>
                      <a:cubicBezTo>
                        <a:pt x="156079" y="1015080"/>
                        <a:pt x="155757" y="1002030"/>
                        <a:pt x="155757" y="997676"/>
                      </a:cubicBezTo>
                      <a:cubicBezTo>
                        <a:pt x="510503" y="1242933"/>
                        <a:pt x="1032354" y="1314314"/>
                        <a:pt x="1032354" y="1745586"/>
                      </a:cubicBezTo>
                      <a:cubicBezTo>
                        <a:pt x="1062215" y="2675649"/>
                        <a:pt x="1090707" y="2912857"/>
                        <a:pt x="1440732" y="2912857"/>
                      </a:cubicBezTo>
                      <a:cubicBezTo>
                        <a:pt x="1889108" y="3018357"/>
                        <a:pt x="1727965" y="2761161"/>
                        <a:pt x="1893117" y="2761161"/>
                      </a:cubicBezTo>
                      <a:cubicBezTo>
                        <a:pt x="2001768" y="2278751"/>
                        <a:pt x="2701119" y="1311184"/>
                        <a:pt x="2206625" y="1311184"/>
                      </a:cubicBezTo>
                      <a:lnTo>
                        <a:pt x="2193562" y="422910"/>
                      </a:lnTo>
                      <a:lnTo>
                        <a:pt x="2102122" y="488224"/>
                      </a:lnTo>
                      <a:lnTo>
                        <a:pt x="2075997" y="83276"/>
                      </a:lnTo>
                      <a:lnTo>
                        <a:pt x="109492"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93" name="Freeform 304">
                  <a:extLst>
                    <a:ext uri="{FF2B5EF4-FFF2-40B4-BE49-F238E27FC236}">
                      <a16:creationId xmlns:a16="http://schemas.microsoft.com/office/drawing/2014/main" id="{F91062B6-EEBA-42A2-9887-D06779C9D412}"/>
                    </a:ext>
                  </a:extLst>
                </p:cNvPr>
                <p:cNvSpPr/>
                <p:nvPr/>
              </p:nvSpPr>
              <p:spPr>
                <a:xfrm>
                  <a:off x="2133599" y="-1819778"/>
                  <a:ext cx="3284536" cy="3904166"/>
                </a:xfrm>
                <a:custGeom>
                  <a:avLst/>
                  <a:gdLst>
                    <a:gd name="connsiteX0" fmla="*/ 2870200 w 3284537"/>
                    <a:gd name="connsiteY0" fmla="*/ 82550 h 3830638"/>
                    <a:gd name="connsiteX1" fmla="*/ 2289175 w 3284537"/>
                    <a:gd name="connsiteY1" fmla="*/ 225425 h 3830638"/>
                    <a:gd name="connsiteX2" fmla="*/ 1584325 w 3284537"/>
                    <a:gd name="connsiteY2" fmla="*/ 777875 h 3830638"/>
                    <a:gd name="connsiteX3" fmla="*/ 1917700 w 3284537"/>
                    <a:gd name="connsiteY3" fmla="*/ 406400 h 3830638"/>
                    <a:gd name="connsiteX4" fmla="*/ 2060575 w 3284537"/>
                    <a:gd name="connsiteY4" fmla="*/ 244475 h 3830638"/>
                    <a:gd name="connsiteX5" fmla="*/ 1479550 w 3284537"/>
                    <a:gd name="connsiteY5" fmla="*/ 768350 h 3830638"/>
                    <a:gd name="connsiteX6" fmla="*/ 1146175 w 3284537"/>
                    <a:gd name="connsiteY6" fmla="*/ 882650 h 3830638"/>
                    <a:gd name="connsiteX7" fmla="*/ 1346200 w 3284537"/>
                    <a:gd name="connsiteY7" fmla="*/ 749300 h 3830638"/>
                    <a:gd name="connsiteX8" fmla="*/ 1612900 w 3284537"/>
                    <a:gd name="connsiteY8" fmla="*/ 273050 h 3830638"/>
                    <a:gd name="connsiteX9" fmla="*/ 1155700 w 3284537"/>
                    <a:gd name="connsiteY9" fmla="*/ 749300 h 3830638"/>
                    <a:gd name="connsiteX10" fmla="*/ 679450 w 3284537"/>
                    <a:gd name="connsiteY10" fmla="*/ 1044575 h 3830638"/>
                    <a:gd name="connsiteX11" fmla="*/ 517525 w 3284537"/>
                    <a:gd name="connsiteY11" fmla="*/ 1196975 h 3830638"/>
                    <a:gd name="connsiteX12" fmla="*/ 393700 w 3284537"/>
                    <a:gd name="connsiteY12" fmla="*/ 1597025 h 3830638"/>
                    <a:gd name="connsiteX13" fmla="*/ 384175 w 3284537"/>
                    <a:gd name="connsiteY13" fmla="*/ 1739900 h 3830638"/>
                    <a:gd name="connsiteX14" fmla="*/ 203200 w 3284537"/>
                    <a:gd name="connsiteY14" fmla="*/ 1520825 h 3830638"/>
                    <a:gd name="connsiteX15" fmla="*/ 31750 w 3284537"/>
                    <a:gd name="connsiteY15" fmla="*/ 1263650 h 3830638"/>
                    <a:gd name="connsiteX16" fmla="*/ 22225 w 3284537"/>
                    <a:gd name="connsiteY16" fmla="*/ 1663700 h 3830638"/>
                    <a:gd name="connsiteX17" fmla="*/ 165100 w 3284537"/>
                    <a:gd name="connsiteY17" fmla="*/ 1997075 h 3830638"/>
                    <a:gd name="connsiteX18" fmla="*/ 288925 w 3284537"/>
                    <a:gd name="connsiteY18" fmla="*/ 2092325 h 3830638"/>
                    <a:gd name="connsiteX19" fmla="*/ 374650 w 3284537"/>
                    <a:gd name="connsiteY19" fmla="*/ 2587625 h 3830638"/>
                    <a:gd name="connsiteX20" fmla="*/ 498475 w 3284537"/>
                    <a:gd name="connsiteY20" fmla="*/ 3178175 h 3830638"/>
                    <a:gd name="connsiteX21" fmla="*/ 831850 w 3284537"/>
                    <a:gd name="connsiteY21" fmla="*/ 3435350 h 3830638"/>
                    <a:gd name="connsiteX22" fmla="*/ 1222375 w 3284537"/>
                    <a:gd name="connsiteY22" fmla="*/ 3711575 h 3830638"/>
                    <a:gd name="connsiteX23" fmla="*/ 2022475 w 3284537"/>
                    <a:gd name="connsiteY23" fmla="*/ 3759200 h 3830638"/>
                    <a:gd name="connsiteX24" fmla="*/ 2413000 w 3284537"/>
                    <a:gd name="connsiteY24" fmla="*/ 3282950 h 3830638"/>
                    <a:gd name="connsiteX25" fmla="*/ 2660650 w 3284537"/>
                    <a:gd name="connsiteY25" fmla="*/ 2959100 h 3830638"/>
                    <a:gd name="connsiteX26" fmla="*/ 2822575 w 3284537"/>
                    <a:gd name="connsiteY26" fmla="*/ 2473325 h 3830638"/>
                    <a:gd name="connsiteX27" fmla="*/ 2974975 w 3284537"/>
                    <a:gd name="connsiteY27" fmla="*/ 2454275 h 3830638"/>
                    <a:gd name="connsiteX28" fmla="*/ 3165475 w 3284537"/>
                    <a:gd name="connsiteY28" fmla="*/ 2054225 h 3830638"/>
                    <a:gd name="connsiteX29" fmla="*/ 3270250 w 3284537"/>
                    <a:gd name="connsiteY29" fmla="*/ 1854200 h 3830638"/>
                    <a:gd name="connsiteX30" fmla="*/ 3079750 w 3284537"/>
                    <a:gd name="connsiteY30" fmla="*/ 1968500 h 3830638"/>
                    <a:gd name="connsiteX31" fmla="*/ 2955925 w 3284537"/>
                    <a:gd name="connsiteY31" fmla="*/ 2130425 h 3830638"/>
                    <a:gd name="connsiteX32" fmla="*/ 2984500 w 3284537"/>
                    <a:gd name="connsiteY32" fmla="*/ 1606550 h 3830638"/>
                    <a:gd name="connsiteX33" fmla="*/ 2889250 w 3284537"/>
                    <a:gd name="connsiteY33" fmla="*/ 1263650 h 3830638"/>
                    <a:gd name="connsiteX34" fmla="*/ 2870200 w 3284537"/>
                    <a:gd name="connsiteY34" fmla="*/ 968375 h 3830638"/>
                    <a:gd name="connsiteX35" fmla="*/ 2927350 w 3284537"/>
                    <a:gd name="connsiteY35" fmla="*/ 787400 h 3830638"/>
                    <a:gd name="connsiteX36" fmla="*/ 3003550 w 3284537"/>
                    <a:gd name="connsiteY36" fmla="*/ 349250 h 3830638"/>
                    <a:gd name="connsiteX37" fmla="*/ 2917825 w 3284537"/>
                    <a:gd name="connsiteY37" fmla="*/ 177800 h 3830638"/>
                    <a:gd name="connsiteX38" fmla="*/ 2946400 w 3284537"/>
                    <a:gd name="connsiteY38" fmla="*/ 15875 h 3830638"/>
                    <a:gd name="connsiteX39" fmla="*/ 2870200 w 3284537"/>
                    <a:gd name="connsiteY39" fmla="*/ 82550 h 3830638"/>
                    <a:gd name="connsiteX0" fmla="*/ 2870200 w 3284537"/>
                    <a:gd name="connsiteY0" fmla="*/ 7937 h 3756025"/>
                    <a:gd name="connsiteX1" fmla="*/ 2289175 w 3284537"/>
                    <a:gd name="connsiteY1" fmla="*/ 150812 h 3756025"/>
                    <a:gd name="connsiteX2" fmla="*/ 1584325 w 3284537"/>
                    <a:gd name="connsiteY2" fmla="*/ 703262 h 3756025"/>
                    <a:gd name="connsiteX3" fmla="*/ 1917700 w 3284537"/>
                    <a:gd name="connsiteY3" fmla="*/ 331787 h 3756025"/>
                    <a:gd name="connsiteX4" fmla="*/ 2060575 w 3284537"/>
                    <a:gd name="connsiteY4" fmla="*/ 169862 h 3756025"/>
                    <a:gd name="connsiteX5" fmla="*/ 1479550 w 3284537"/>
                    <a:gd name="connsiteY5" fmla="*/ 693737 h 3756025"/>
                    <a:gd name="connsiteX6" fmla="*/ 1146175 w 3284537"/>
                    <a:gd name="connsiteY6" fmla="*/ 808037 h 3756025"/>
                    <a:gd name="connsiteX7" fmla="*/ 1346200 w 3284537"/>
                    <a:gd name="connsiteY7" fmla="*/ 674687 h 3756025"/>
                    <a:gd name="connsiteX8" fmla="*/ 1612900 w 3284537"/>
                    <a:gd name="connsiteY8" fmla="*/ 198437 h 3756025"/>
                    <a:gd name="connsiteX9" fmla="*/ 1155700 w 3284537"/>
                    <a:gd name="connsiteY9" fmla="*/ 674687 h 3756025"/>
                    <a:gd name="connsiteX10" fmla="*/ 679450 w 3284537"/>
                    <a:gd name="connsiteY10" fmla="*/ 969962 h 3756025"/>
                    <a:gd name="connsiteX11" fmla="*/ 517525 w 3284537"/>
                    <a:gd name="connsiteY11" fmla="*/ 1122362 h 3756025"/>
                    <a:gd name="connsiteX12" fmla="*/ 393700 w 3284537"/>
                    <a:gd name="connsiteY12" fmla="*/ 1522412 h 3756025"/>
                    <a:gd name="connsiteX13" fmla="*/ 384175 w 3284537"/>
                    <a:gd name="connsiteY13" fmla="*/ 1665287 h 3756025"/>
                    <a:gd name="connsiteX14" fmla="*/ 203200 w 3284537"/>
                    <a:gd name="connsiteY14" fmla="*/ 1446212 h 3756025"/>
                    <a:gd name="connsiteX15" fmla="*/ 31750 w 3284537"/>
                    <a:gd name="connsiteY15" fmla="*/ 1189037 h 3756025"/>
                    <a:gd name="connsiteX16" fmla="*/ 22225 w 3284537"/>
                    <a:gd name="connsiteY16" fmla="*/ 1589087 h 3756025"/>
                    <a:gd name="connsiteX17" fmla="*/ 165100 w 3284537"/>
                    <a:gd name="connsiteY17" fmla="*/ 1922462 h 3756025"/>
                    <a:gd name="connsiteX18" fmla="*/ 288925 w 3284537"/>
                    <a:gd name="connsiteY18" fmla="*/ 2017712 h 3756025"/>
                    <a:gd name="connsiteX19" fmla="*/ 374650 w 3284537"/>
                    <a:gd name="connsiteY19" fmla="*/ 2513012 h 3756025"/>
                    <a:gd name="connsiteX20" fmla="*/ 498475 w 3284537"/>
                    <a:gd name="connsiteY20" fmla="*/ 3103562 h 3756025"/>
                    <a:gd name="connsiteX21" fmla="*/ 831850 w 3284537"/>
                    <a:gd name="connsiteY21" fmla="*/ 3360737 h 3756025"/>
                    <a:gd name="connsiteX22" fmla="*/ 1222375 w 3284537"/>
                    <a:gd name="connsiteY22" fmla="*/ 3636962 h 3756025"/>
                    <a:gd name="connsiteX23" fmla="*/ 2022475 w 3284537"/>
                    <a:gd name="connsiteY23" fmla="*/ 3684587 h 3756025"/>
                    <a:gd name="connsiteX24" fmla="*/ 2413000 w 3284537"/>
                    <a:gd name="connsiteY24" fmla="*/ 3208337 h 3756025"/>
                    <a:gd name="connsiteX25" fmla="*/ 2660650 w 3284537"/>
                    <a:gd name="connsiteY25" fmla="*/ 2884487 h 3756025"/>
                    <a:gd name="connsiteX26" fmla="*/ 2822575 w 3284537"/>
                    <a:gd name="connsiteY26" fmla="*/ 2398712 h 3756025"/>
                    <a:gd name="connsiteX27" fmla="*/ 2974975 w 3284537"/>
                    <a:gd name="connsiteY27" fmla="*/ 2379662 h 3756025"/>
                    <a:gd name="connsiteX28" fmla="*/ 3165475 w 3284537"/>
                    <a:gd name="connsiteY28" fmla="*/ 1979612 h 3756025"/>
                    <a:gd name="connsiteX29" fmla="*/ 3270250 w 3284537"/>
                    <a:gd name="connsiteY29" fmla="*/ 1779587 h 3756025"/>
                    <a:gd name="connsiteX30" fmla="*/ 3079750 w 3284537"/>
                    <a:gd name="connsiteY30" fmla="*/ 1893887 h 3756025"/>
                    <a:gd name="connsiteX31" fmla="*/ 2955925 w 3284537"/>
                    <a:gd name="connsiteY31" fmla="*/ 2055812 h 3756025"/>
                    <a:gd name="connsiteX32" fmla="*/ 2984500 w 3284537"/>
                    <a:gd name="connsiteY32" fmla="*/ 1531937 h 3756025"/>
                    <a:gd name="connsiteX33" fmla="*/ 2889250 w 3284537"/>
                    <a:gd name="connsiteY33" fmla="*/ 1189037 h 3756025"/>
                    <a:gd name="connsiteX34" fmla="*/ 2870200 w 3284537"/>
                    <a:gd name="connsiteY34" fmla="*/ 893762 h 3756025"/>
                    <a:gd name="connsiteX35" fmla="*/ 2927350 w 3284537"/>
                    <a:gd name="connsiteY35" fmla="*/ 712787 h 3756025"/>
                    <a:gd name="connsiteX36" fmla="*/ 3003550 w 3284537"/>
                    <a:gd name="connsiteY36" fmla="*/ 274637 h 3756025"/>
                    <a:gd name="connsiteX37" fmla="*/ 2917825 w 3284537"/>
                    <a:gd name="connsiteY37" fmla="*/ 103187 h 3756025"/>
                    <a:gd name="connsiteX38" fmla="*/ 2870200 w 3284537"/>
                    <a:gd name="connsiteY38" fmla="*/ 7937 h 3756025"/>
                    <a:gd name="connsiteX0" fmla="*/ 2917825 w 3284537"/>
                    <a:gd name="connsiteY0" fmla="*/ 52387 h 3705225"/>
                    <a:gd name="connsiteX1" fmla="*/ 2289175 w 3284537"/>
                    <a:gd name="connsiteY1" fmla="*/ 100012 h 3705225"/>
                    <a:gd name="connsiteX2" fmla="*/ 1584325 w 3284537"/>
                    <a:gd name="connsiteY2" fmla="*/ 652462 h 3705225"/>
                    <a:gd name="connsiteX3" fmla="*/ 1917700 w 3284537"/>
                    <a:gd name="connsiteY3" fmla="*/ 280987 h 3705225"/>
                    <a:gd name="connsiteX4" fmla="*/ 2060575 w 3284537"/>
                    <a:gd name="connsiteY4" fmla="*/ 119062 h 3705225"/>
                    <a:gd name="connsiteX5" fmla="*/ 1479550 w 3284537"/>
                    <a:gd name="connsiteY5" fmla="*/ 642937 h 3705225"/>
                    <a:gd name="connsiteX6" fmla="*/ 1146175 w 3284537"/>
                    <a:gd name="connsiteY6" fmla="*/ 757237 h 3705225"/>
                    <a:gd name="connsiteX7" fmla="*/ 1346200 w 3284537"/>
                    <a:gd name="connsiteY7" fmla="*/ 623887 h 3705225"/>
                    <a:gd name="connsiteX8" fmla="*/ 1612900 w 3284537"/>
                    <a:gd name="connsiteY8" fmla="*/ 147637 h 3705225"/>
                    <a:gd name="connsiteX9" fmla="*/ 1155700 w 3284537"/>
                    <a:gd name="connsiteY9" fmla="*/ 623887 h 3705225"/>
                    <a:gd name="connsiteX10" fmla="*/ 679450 w 3284537"/>
                    <a:gd name="connsiteY10" fmla="*/ 919162 h 3705225"/>
                    <a:gd name="connsiteX11" fmla="*/ 517525 w 3284537"/>
                    <a:gd name="connsiteY11" fmla="*/ 1071562 h 3705225"/>
                    <a:gd name="connsiteX12" fmla="*/ 393700 w 3284537"/>
                    <a:gd name="connsiteY12" fmla="*/ 1471612 h 3705225"/>
                    <a:gd name="connsiteX13" fmla="*/ 384175 w 3284537"/>
                    <a:gd name="connsiteY13" fmla="*/ 1614487 h 3705225"/>
                    <a:gd name="connsiteX14" fmla="*/ 203200 w 3284537"/>
                    <a:gd name="connsiteY14" fmla="*/ 1395412 h 3705225"/>
                    <a:gd name="connsiteX15" fmla="*/ 31750 w 3284537"/>
                    <a:gd name="connsiteY15" fmla="*/ 1138237 h 3705225"/>
                    <a:gd name="connsiteX16" fmla="*/ 22225 w 3284537"/>
                    <a:gd name="connsiteY16" fmla="*/ 1538287 h 3705225"/>
                    <a:gd name="connsiteX17" fmla="*/ 165100 w 3284537"/>
                    <a:gd name="connsiteY17" fmla="*/ 1871662 h 3705225"/>
                    <a:gd name="connsiteX18" fmla="*/ 288925 w 3284537"/>
                    <a:gd name="connsiteY18" fmla="*/ 1966912 h 3705225"/>
                    <a:gd name="connsiteX19" fmla="*/ 374650 w 3284537"/>
                    <a:gd name="connsiteY19" fmla="*/ 2462212 h 3705225"/>
                    <a:gd name="connsiteX20" fmla="*/ 498475 w 3284537"/>
                    <a:gd name="connsiteY20" fmla="*/ 3052762 h 3705225"/>
                    <a:gd name="connsiteX21" fmla="*/ 831850 w 3284537"/>
                    <a:gd name="connsiteY21" fmla="*/ 3309937 h 3705225"/>
                    <a:gd name="connsiteX22" fmla="*/ 1222375 w 3284537"/>
                    <a:gd name="connsiteY22" fmla="*/ 3586162 h 3705225"/>
                    <a:gd name="connsiteX23" fmla="*/ 2022475 w 3284537"/>
                    <a:gd name="connsiteY23" fmla="*/ 3633787 h 3705225"/>
                    <a:gd name="connsiteX24" fmla="*/ 2413000 w 3284537"/>
                    <a:gd name="connsiteY24" fmla="*/ 3157537 h 3705225"/>
                    <a:gd name="connsiteX25" fmla="*/ 2660650 w 3284537"/>
                    <a:gd name="connsiteY25" fmla="*/ 2833687 h 3705225"/>
                    <a:gd name="connsiteX26" fmla="*/ 2822575 w 3284537"/>
                    <a:gd name="connsiteY26" fmla="*/ 2347912 h 3705225"/>
                    <a:gd name="connsiteX27" fmla="*/ 2974975 w 3284537"/>
                    <a:gd name="connsiteY27" fmla="*/ 2328862 h 3705225"/>
                    <a:gd name="connsiteX28" fmla="*/ 3165475 w 3284537"/>
                    <a:gd name="connsiteY28" fmla="*/ 1928812 h 3705225"/>
                    <a:gd name="connsiteX29" fmla="*/ 3270250 w 3284537"/>
                    <a:gd name="connsiteY29" fmla="*/ 1728787 h 3705225"/>
                    <a:gd name="connsiteX30" fmla="*/ 3079750 w 3284537"/>
                    <a:gd name="connsiteY30" fmla="*/ 1843087 h 3705225"/>
                    <a:gd name="connsiteX31" fmla="*/ 2955925 w 3284537"/>
                    <a:gd name="connsiteY31" fmla="*/ 2005012 h 3705225"/>
                    <a:gd name="connsiteX32" fmla="*/ 2984500 w 3284537"/>
                    <a:gd name="connsiteY32" fmla="*/ 1481137 h 3705225"/>
                    <a:gd name="connsiteX33" fmla="*/ 2889250 w 3284537"/>
                    <a:gd name="connsiteY33" fmla="*/ 1138237 h 3705225"/>
                    <a:gd name="connsiteX34" fmla="*/ 2870200 w 3284537"/>
                    <a:gd name="connsiteY34" fmla="*/ 842962 h 3705225"/>
                    <a:gd name="connsiteX35" fmla="*/ 2927350 w 3284537"/>
                    <a:gd name="connsiteY35" fmla="*/ 661987 h 3705225"/>
                    <a:gd name="connsiteX36" fmla="*/ 3003550 w 3284537"/>
                    <a:gd name="connsiteY36" fmla="*/ 223837 h 3705225"/>
                    <a:gd name="connsiteX37" fmla="*/ 2917825 w 3284537"/>
                    <a:gd name="connsiteY37" fmla="*/ 52387 h 3705225"/>
                    <a:gd name="connsiteX0" fmla="*/ 3003550 w 3284537"/>
                    <a:gd name="connsiteY0" fmla="*/ 195262 h 3676650"/>
                    <a:gd name="connsiteX1" fmla="*/ 2289175 w 3284537"/>
                    <a:gd name="connsiteY1" fmla="*/ 71437 h 3676650"/>
                    <a:gd name="connsiteX2" fmla="*/ 1584325 w 3284537"/>
                    <a:gd name="connsiteY2" fmla="*/ 623887 h 3676650"/>
                    <a:gd name="connsiteX3" fmla="*/ 1917700 w 3284537"/>
                    <a:gd name="connsiteY3" fmla="*/ 252412 h 3676650"/>
                    <a:gd name="connsiteX4" fmla="*/ 2060575 w 3284537"/>
                    <a:gd name="connsiteY4" fmla="*/ 90487 h 3676650"/>
                    <a:gd name="connsiteX5" fmla="*/ 1479550 w 3284537"/>
                    <a:gd name="connsiteY5" fmla="*/ 614362 h 3676650"/>
                    <a:gd name="connsiteX6" fmla="*/ 1146175 w 3284537"/>
                    <a:gd name="connsiteY6" fmla="*/ 728662 h 3676650"/>
                    <a:gd name="connsiteX7" fmla="*/ 1346200 w 3284537"/>
                    <a:gd name="connsiteY7" fmla="*/ 595312 h 3676650"/>
                    <a:gd name="connsiteX8" fmla="*/ 1612900 w 3284537"/>
                    <a:gd name="connsiteY8" fmla="*/ 119062 h 3676650"/>
                    <a:gd name="connsiteX9" fmla="*/ 1155700 w 3284537"/>
                    <a:gd name="connsiteY9" fmla="*/ 595312 h 3676650"/>
                    <a:gd name="connsiteX10" fmla="*/ 679450 w 3284537"/>
                    <a:gd name="connsiteY10" fmla="*/ 890587 h 3676650"/>
                    <a:gd name="connsiteX11" fmla="*/ 517525 w 3284537"/>
                    <a:gd name="connsiteY11" fmla="*/ 1042987 h 3676650"/>
                    <a:gd name="connsiteX12" fmla="*/ 393700 w 3284537"/>
                    <a:gd name="connsiteY12" fmla="*/ 1443037 h 3676650"/>
                    <a:gd name="connsiteX13" fmla="*/ 384175 w 3284537"/>
                    <a:gd name="connsiteY13" fmla="*/ 1585912 h 3676650"/>
                    <a:gd name="connsiteX14" fmla="*/ 203200 w 3284537"/>
                    <a:gd name="connsiteY14" fmla="*/ 1366837 h 3676650"/>
                    <a:gd name="connsiteX15" fmla="*/ 31750 w 3284537"/>
                    <a:gd name="connsiteY15" fmla="*/ 1109662 h 3676650"/>
                    <a:gd name="connsiteX16" fmla="*/ 22225 w 3284537"/>
                    <a:gd name="connsiteY16" fmla="*/ 1509712 h 3676650"/>
                    <a:gd name="connsiteX17" fmla="*/ 165100 w 3284537"/>
                    <a:gd name="connsiteY17" fmla="*/ 1843087 h 3676650"/>
                    <a:gd name="connsiteX18" fmla="*/ 288925 w 3284537"/>
                    <a:gd name="connsiteY18" fmla="*/ 1938337 h 3676650"/>
                    <a:gd name="connsiteX19" fmla="*/ 374650 w 3284537"/>
                    <a:gd name="connsiteY19" fmla="*/ 2433637 h 3676650"/>
                    <a:gd name="connsiteX20" fmla="*/ 498475 w 3284537"/>
                    <a:gd name="connsiteY20" fmla="*/ 3024187 h 3676650"/>
                    <a:gd name="connsiteX21" fmla="*/ 831850 w 3284537"/>
                    <a:gd name="connsiteY21" fmla="*/ 3281362 h 3676650"/>
                    <a:gd name="connsiteX22" fmla="*/ 1222375 w 3284537"/>
                    <a:gd name="connsiteY22" fmla="*/ 3557587 h 3676650"/>
                    <a:gd name="connsiteX23" fmla="*/ 2022475 w 3284537"/>
                    <a:gd name="connsiteY23" fmla="*/ 3605212 h 3676650"/>
                    <a:gd name="connsiteX24" fmla="*/ 2413000 w 3284537"/>
                    <a:gd name="connsiteY24" fmla="*/ 3128962 h 3676650"/>
                    <a:gd name="connsiteX25" fmla="*/ 2660650 w 3284537"/>
                    <a:gd name="connsiteY25" fmla="*/ 2805112 h 3676650"/>
                    <a:gd name="connsiteX26" fmla="*/ 2822575 w 3284537"/>
                    <a:gd name="connsiteY26" fmla="*/ 2319337 h 3676650"/>
                    <a:gd name="connsiteX27" fmla="*/ 2974975 w 3284537"/>
                    <a:gd name="connsiteY27" fmla="*/ 2300287 h 3676650"/>
                    <a:gd name="connsiteX28" fmla="*/ 3165475 w 3284537"/>
                    <a:gd name="connsiteY28" fmla="*/ 1900237 h 3676650"/>
                    <a:gd name="connsiteX29" fmla="*/ 3270250 w 3284537"/>
                    <a:gd name="connsiteY29" fmla="*/ 1700212 h 3676650"/>
                    <a:gd name="connsiteX30" fmla="*/ 3079750 w 3284537"/>
                    <a:gd name="connsiteY30" fmla="*/ 1814512 h 3676650"/>
                    <a:gd name="connsiteX31" fmla="*/ 2955925 w 3284537"/>
                    <a:gd name="connsiteY31" fmla="*/ 1976437 h 3676650"/>
                    <a:gd name="connsiteX32" fmla="*/ 2984500 w 3284537"/>
                    <a:gd name="connsiteY32" fmla="*/ 1452562 h 3676650"/>
                    <a:gd name="connsiteX33" fmla="*/ 2889250 w 3284537"/>
                    <a:gd name="connsiteY33" fmla="*/ 1109662 h 3676650"/>
                    <a:gd name="connsiteX34" fmla="*/ 2870200 w 3284537"/>
                    <a:gd name="connsiteY34" fmla="*/ 814387 h 3676650"/>
                    <a:gd name="connsiteX35" fmla="*/ 2927350 w 3284537"/>
                    <a:gd name="connsiteY35" fmla="*/ 633412 h 3676650"/>
                    <a:gd name="connsiteX36" fmla="*/ 3003550 w 3284537"/>
                    <a:gd name="connsiteY36" fmla="*/ 195262 h 3676650"/>
                    <a:gd name="connsiteX0" fmla="*/ 2927350 w 3284537"/>
                    <a:gd name="connsiteY0" fmla="*/ 195262 h 3676650"/>
                    <a:gd name="connsiteX1" fmla="*/ 2289175 w 3284537"/>
                    <a:gd name="connsiteY1" fmla="*/ 71437 h 3676650"/>
                    <a:gd name="connsiteX2" fmla="*/ 1584325 w 3284537"/>
                    <a:gd name="connsiteY2" fmla="*/ 623887 h 3676650"/>
                    <a:gd name="connsiteX3" fmla="*/ 1917700 w 3284537"/>
                    <a:gd name="connsiteY3" fmla="*/ 252412 h 3676650"/>
                    <a:gd name="connsiteX4" fmla="*/ 2060575 w 3284537"/>
                    <a:gd name="connsiteY4" fmla="*/ 90487 h 3676650"/>
                    <a:gd name="connsiteX5" fmla="*/ 1479550 w 3284537"/>
                    <a:gd name="connsiteY5" fmla="*/ 614362 h 3676650"/>
                    <a:gd name="connsiteX6" fmla="*/ 1146175 w 3284537"/>
                    <a:gd name="connsiteY6" fmla="*/ 728662 h 3676650"/>
                    <a:gd name="connsiteX7" fmla="*/ 1346200 w 3284537"/>
                    <a:gd name="connsiteY7" fmla="*/ 595312 h 3676650"/>
                    <a:gd name="connsiteX8" fmla="*/ 1612900 w 3284537"/>
                    <a:gd name="connsiteY8" fmla="*/ 119062 h 3676650"/>
                    <a:gd name="connsiteX9" fmla="*/ 1155700 w 3284537"/>
                    <a:gd name="connsiteY9" fmla="*/ 595312 h 3676650"/>
                    <a:gd name="connsiteX10" fmla="*/ 679450 w 3284537"/>
                    <a:gd name="connsiteY10" fmla="*/ 890587 h 3676650"/>
                    <a:gd name="connsiteX11" fmla="*/ 517525 w 3284537"/>
                    <a:gd name="connsiteY11" fmla="*/ 1042987 h 3676650"/>
                    <a:gd name="connsiteX12" fmla="*/ 393700 w 3284537"/>
                    <a:gd name="connsiteY12" fmla="*/ 1443037 h 3676650"/>
                    <a:gd name="connsiteX13" fmla="*/ 384175 w 3284537"/>
                    <a:gd name="connsiteY13" fmla="*/ 1585912 h 3676650"/>
                    <a:gd name="connsiteX14" fmla="*/ 203200 w 3284537"/>
                    <a:gd name="connsiteY14" fmla="*/ 1366837 h 3676650"/>
                    <a:gd name="connsiteX15" fmla="*/ 31750 w 3284537"/>
                    <a:gd name="connsiteY15" fmla="*/ 1109662 h 3676650"/>
                    <a:gd name="connsiteX16" fmla="*/ 22225 w 3284537"/>
                    <a:gd name="connsiteY16" fmla="*/ 1509712 h 3676650"/>
                    <a:gd name="connsiteX17" fmla="*/ 165100 w 3284537"/>
                    <a:gd name="connsiteY17" fmla="*/ 1843087 h 3676650"/>
                    <a:gd name="connsiteX18" fmla="*/ 288925 w 3284537"/>
                    <a:gd name="connsiteY18" fmla="*/ 1938337 h 3676650"/>
                    <a:gd name="connsiteX19" fmla="*/ 374650 w 3284537"/>
                    <a:gd name="connsiteY19" fmla="*/ 2433637 h 3676650"/>
                    <a:gd name="connsiteX20" fmla="*/ 498475 w 3284537"/>
                    <a:gd name="connsiteY20" fmla="*/ 3024187 h 3676650"/>
                    <a:gd name="connsiteX21" fmla="*/ 831850 w 3284537"/>
                    <a:gd name="connsiteY21" fmla="*/ 3281362 h 3676650"/>
                    <a:gd name="connsiteX22" fmla="*/ 1222375 w 3284537"/>
                    <a:gd name="connsiteY22" fmla="*/ 3557587 h 3676650"/>
                    <a:gd name="connsiteX23" fmla="*/ 2022475 w 3284537"/>
                    <a:gd name="connsiteY23" fmla="*/ 3605212 h 3676650"/>
                    <a:gd name="connsiteX24" fmla="*/ 2413000 w 3284537"/>
                    <a:gd name="connsiteY24" fmla="*/ 3128962 h 3676650"/>
                    <a:gd name="connsiteX25" fmla="*/ 2660650 w 3284537"/>
                    <a:gd name="connsiteY25" fmla="*/ 2805112 h 3676650"/>
                    <a:gd name="connsiteX26" fmla="*/ 2822575 w 3284537"/>
                    <a:gd name="connsiteY26" fmla="*/ 2319337 h 3676650"/>
                    <a:gd name="connsiteX27" fmla="*/ 2974975 w 3284537"/>
                    <a:gd name="connsiteY27" fmla="*/ 2300287 h 3676650"/>
                    <a:gd name="connsiteX28" fmla="*/ 3165475 w 3284537"/>
                    <a:gd name="connsiteY28" fmla="*/ 1900237 h 3676650"/>
                    <a:gd name="connsiteX29" fmla="*/ 3270250 w 3284537"/>
                    <a:gd name="connsiteY29" fmla="*/ 1700212 h 3676650"/>
                    <a:gd name="connsiteX30" fmla="*/ 3079750 w 3284537"/>
                    <a:gd name="connsiteY30" fmla="*/ 1814512 h 3676650"/>
                    <a:gd name="connsiteX31" fmla="*/ 2955925 w 3284537"/>
                    <a:gd name="connsiteY31" fmla="*/ 1976437 h 3676650"/>
                    <a:gd name="connsiteX32" fmla="*/ 2984500 w 3284537"/>
                    <a:gd name="connsiteY32" fmla="*/ 1452562 h 3676650"/>
                    <a:gd name="connsiteX33" fmla="*/ 2889250 w 3284537"/>
                    <a:gd name="connsiteY33" fmla="*/ 1109662 h 3676650"/>
                    <a:gd name="connsiteX34" fmla="*/ 2870200 w 3284537"/>
                    <a:gd name="connsiteY34" fmla="*/ 814387 h 3676650"/>
                    <a:gd name="connsiteX35" fmla="*/ 2927350 w 3284537"/>
                    <a:gd name="connsiteY35" fmla="*/ 633412 h 3676650"/>
                    <a:gd name="connsiteX36" fmla="*/ 2927350 w 3284537"/>
                    <a:gd name="connsiteY36" fmla="*/ 195262 h 3676650"/>
                    <a:gd name="connsiteX0" fmla="*/ 2879725 w 3284537"/>
                    <a:gd name="connsiteY0" fmla="*/ 171450 h 3681413"/>
                    <a:gd name="connsiteX1" fmla="*/ 2289175 w 3284537"/>
                    <a:gd name="connsiteY1" fmla="*/ 76200 h 3681413"/>
                    <a:gd name="connsiteX2" fmla="*/ 1584325 w 3284537"/>
                    <a:gd name="connsiteY2" fmla="*/ 628650 h 3681413"/>
                    <a:gd name="connsiteX3" fmla="*/ 1917700 w 3284537"/>
                    <a:gd name="connsiteY3" fmla="*/ 257175 h 3681413"/>
                    <a:gd name="connsiteX4" fmla="*/ 2060575 w 3284537"/>
                    <a:gd name="connsiteY4" fmla="*/ 95250 h 3681413"/>
                    <a:gd name="connsiteX5" fmla="*/ 1479550 w 3284537"/>
                    <a:gd name="connsiteY5" fmla="*/ 619125 h 3681413"/>
                    <a:gd name="connsiteX6" fmla="*/ 1146175 w 3284537"/>
                    <a:gd name="connsiteY6" fmla="*/ 733425 h 3681413"/>
                    <a:gd name="connsiteX7" fmla="*/ 1346200 w 3284537"/>
                    <a:gd name="connsiteY7" fmla="*/ 600075 h 3681413"/>
                    <a:gd name="connsiteX8" fmla="*/ 1612900 w 3284537"/>
                    <a:gd name="connsiteY8" fmla="*/ 123825 h 3681413"/>
                    <a:gd name="connsiteX9" fmla="*/ 1155700 w 3284537"/>
                    <a:gd name="connsiteY9" fmla="*/ 600075 h 3681413"/>
                    <a:gd name="connsiteX10" fmla="*/ 679450 w 3284537"/>
                    <a:gd name="connsiteY10" fmla="*/ 895350 h 3681413"/>
                    <a:gd name="connsiteX11" fmla="*/ 517525 w 3284537"/>
                    <a:gd name="connsiteY11" fmla="*/ 1047750 h 3681413"/>
                    <a:gd name="connsiteX12" fmla="*/ 393700 w 3284537"/>
                    <a:gd name="connsiteY12" fmla="*/ 1447800 h 3681413"/>
                    <a:gd name="connsiteX13" fmla="*/ 384175 w 3284537"/>
                    <a:gd name="connsiteY13" fmla="*/ 1590675 h 3681413"/>
                    <a:gd name="connsiteX14" fmla="*/ 203200 w 3284537"/>
                    <a:gd name="connsiteY14" fmla="*/ 1371600 h 3681413"/>
                    <a:gd name="connsiteX15" fmla="*/ 31750 w 3284537"/>
                    <a:gd name="connsiteY15" fmla="*/ 1114425 h 3681413"/>
                    <a:gd name="connsiteX16" fmla="*/ 22225 w 3284537"/>
                    <a:gd name="connsiteY16" fmla="*/ 1514475 h 3681413"/>
                    <a:gd name="connsiteX17" fmla="*/ 165100 w 3284537"/>
                    <a:gd name="connsiteY17" fmla="*/ 1847850 h 3681413"/>
                    <a:gd name="connsiteX18" fmla="*/ 288925 w 3284537"/>
                    <a:gd name="connsiteY18" fmla="*/ 1943100 h 3681413"/>
                    <a:gd name="connsiteX19" fmla="*/ 374650 w 3284537"/>
                    <a:gd name="connsiteY19" fmla="*/ 2438400 h 3681413"/>
                    <a:gd name="connsiteX20" fmla="*/ 498475 w 3284537"/>
                    <a:gd name="connsiteY20" fmla="*/ 3028950 h 3681413"/>
                    <a:gd name="connsiteX21" fmla="*/ 831850 w 3284537"/>
                    <a:gd name="connsiteY21" fmla="*/ 3286125 h 3681413"/>
                    <a:gd name="connsiteX22" fmla="*/ 1222375 w 3284537"/>
                    <a:gd name="connsiteY22" fmla="*/ 3562350 h 3681413"/>
                    <a:gd name="connsiteX23" fmla="*/ 2022475 w 3284537"/>
                    <a:gd name="connsiteY23" fmla="*/ 3609975 h 3681413"/>
                    <a:gd name="connsiteX24" fmla="*/ 2413000 w 3284537"/>
                    <a:gd name="connsiteY24" fmla="*/ 3133725 h 3681413"/>
                    <a:gd name="connsiteX25" fmla="*/ 2660650 w 3284537"/>
                    <a:gd name="connsiteY25" fmla="*/ 2809875 h 3681413"/>
                    <a:gd name="connsiteX26" fmla="*/ 2822575 w 3284537"/>
                    <a:gd name="connsiteY26" fmla="*/ 2324100 h 3681413"/>
                    <a:gd name="connsiteX27" fmla="*/ 2974975 w 3284537"/>
                    <a:gd name="connsiteY27" fmla="*/ 2305050 h 3681413"/>
                    <a:gd name="connsiteX28" fmla="*/ 3165475 w 3284537"/>
                    <a:gd name="connsiteY28" fmla="*/ 1905000 h 3681413"/>
                    <a:gd name="connsiteX29" fmla="*/ 3270250 w 3284537"/>
                    <a:gd name="connsiteY29" fmla="*/ 1704975 h 3681413"/>
                    <a:gd name="connsiteX30" fmla="*/ 3079750 w 3284537"/>
                    <a:gd name="connsiteY30" fmla="*/ 1819275 h 3681413"/>
                    <a:gd name="connsiteX31" fmla="*/ 2955925 w 3284537"/>
                    <a:gd name="connsiteY31" fmla="*/ 1981200 h 3681413"/>
                    <a:gd name="connsiteX32" fmla="*/ 2984500 w 3284537"/>
                    <a:gd name="connsiteY32" fmla="*/ 1457325 h 3681413"/>
                    <a:gd name="connsiteX33" fmla="*/ 2889250 w 3284537"/>
                    <a:gd name="connsiteY33" fmla="*/ 1114425 h 3681413"/>
                    <a:gd name="connsiteX34" fmla="*/ 2870200 w 3284537"/>
                    <a:gd name="connsiteY34" fmla="*/ 819150 h 3681413"/>
                    <a:gd name="connsiteX35" fmla="*/ 2927350 w 3284537"/>
                    <a:gd name="connsiteY35" fmla="*/ 638175 h 3681413"/>
                    <a:gd name="connsiteX36" fmla="*/ 2879725 w 3284537"/>
                    <a:gd name="connsiteY36" fmla="*/ 171450 h 3681413"/>
                    <a:gd name="connsiteX0" fmla="*/ 2879725 w 3284537"/>
                    <a:gd name="connsiteY0" fmla="*/ 171450 h 3681413"/>
                    <a:gd name="connsiteX1" fmla="*/ 2289175 w 3284537"/>
                    <a:gd name="connsiteY1" fmla="*/ 76200 h 3681413"/>
                    <a:gd name="connsiteX2" fmla="*/ 1584325 w 3284537"/>
                    <a:gd name="connsiteY2" fmla="*/ 628650 h 3681413"/>
                    <a:gd name="connsiteX3" fmla="*/ 1917700 w 3284537"/>
                    <a:gd name="connsiteY3" fmla="*/ 257175 h 3681413"/>
                    <a:gd name="connsiteX4" fmla="*/ 2060575 w 3284537"/>
                    <a:gd name="connsiteY4" fmla="*/ 95250 h 3681413"/>
                    <a:gd name="connsiteX5" fmla="*/ 1479550 w 3284537"/>
                    <a:gd name="connsiteY5" fmla="*/ 619125 h 3681413"/>
                    <a:gd name="connsiteX6" fmla="*/ 1146175 w 3284537"/>
                    <a:gd name="connsiteY6" fmla="*/ 733425 h 3681413"/>
                    <a:gd name="connsiteX7" fmla="*/ 1346200 w 3284537"/>
                    <a:gd name="connsiteY7" fmla="*/ 600075 h 3681413"/>
                    <a:gd name="connsiteX8" fmla="*/ 1612900 w 3284537"/>
                    <a:gd name="connsiteY8" fmla="*/ 123825 h 3681413"/>
                    <a:gd name="connsiteX9" fmla="*/ 1155700 w 3284537"/>
                    <a:gd name="connsiteY9" fmla="*/ 600075 h 3681413"/>
                    <a:gd name="connsiteX10" fmla="*/ 679450 w 3284537"/>
                    <a:gd name="connsiteY10" fmla="*/ 895350 h 3681413"/>
                    <a:gd name="connsiteX11" fmla="*/ 517525 w 3284537"/>
                    <a:gd name="connsiteY11" fmla="*/ 1047750 h 3681413"/>
                    <a:gd name="connsiteX12" fmla="*/ 393700 w 3284537"/>
                    <a:gd name="connsiteY12" fmla="*/ 1447800 h 3681413"/>
                    <a:gd name="connsiteX13" fmla="*/ 384175 w 3284537"/>
                    <a:gd name="connsiteY13" fmla="*/ 1590675 h 3681413"/>
                    <a:gd name="connsiteX14" fmla="*/ 203200 w 3284537"/>
                    <a:gd name="connsiteY14" fmla="*/ 1371600 h 3681413"/>
                    <a:gd name="connsiteX15" fmla="*/ 31750 w 3284537"/>
                    <a:gd name="connsiteY15" fmla="*/ 1114425 h 3681413"/>
                    <a:gd name="connsiteX16" fmla="*/ 22225 w 3284537"/>
                    <a:gd name="connsiteY16" fmla="*/ 1514475 h 3681413"/>
                    <a:gd name="connsiteX17" fmla="*/ 165100 w 3284537"/>
                    <a:gd name="connsiteY17" fmla="*/ 1847850 h 3681413"/>
                    <a:gd name="connsiteX18" fmla="*/ 288925 w 3284537"/>
                    <a:gd name="connsiteY18" fmla="*/ 1943100 h 3681413"/>
                    <a:gd name="connsiteX19" fmla="*/ 374650 w 3284537"/>
                    <a:gd name="connsiteY19" fmla="*/ 2438400 h 3681413"/>
                    <a:gd name="connsiteX20" fmla="*/ 498475 w 3284537"/>
                    <a:gd name="connsiteY20" fmla="*/ 3028950 h 3681413"/>
                    <a:gd name="connsiteX21" fmla="*/ 831850 w 3284537"/>
                    <a:gd name="connsiteY21" fmla="*/ 3286125 h 3681413"/>
                    <a:gd name="connsiteX22" fmla="*/ 1222375 w 3284537"/>
                    <a:gd name="connsiteY22" fmla="*/ 3562350 h 3681413"/>
                    <a:gd name="connsiteX23" fmla="*/ 2022475 w 3284537"/>
                    <a:gd name="connsiteY23" fmla="*/ 3609975 h 3681413"/>
                    <a:gd name="connsiteX24" fmla="*/ 2413000 w 3284537"/>
                    <a:gd name="connsiteY24" fmla="*/ 3133725 h 3681413"/>
                    <a:gd name="connsiteX25" fmla="*/ 2660650 w 3284537"/>
                    <a:gd name="connsiteY25" fmla="*/ 2809875 h 3681413"/>
                    <a:gd name="connsiteX26" fmla="*/ 2822575 w 3284537"/>
                    <a:gd name="connsiteY26" fmla="*/ 2324100 h 3681413"/>
                    <a:gd name="connsiteX27" fmla="*/ 2974975 w 3284537"/>
                    <a:gd name="connsiteY27" fmla="*/ 2305050 h 3681413"/>
                    <a:gd name="connsiteX28" fmla="*/ 3165475 w 3284537"/>
                    <a:gd name="connsiteY28" fmla="*/ 1905000 h 3681413"/>
                    <a:gd name="connsiteX29" fmla="*/ 3270250 w 3284537"/>
                    <a:gd name="connsiteY29" fmla="*/ 1704975 h 3681413"/>
                    <a:gd name="connsiteX30" fmla="*/ 3079750 w 3284537"/>
                    <a:gd name="connsiteY30" fmla="*/ 1819275 h 3681413"/>
                    <a:gd name="connsiteX31" fmla="*/ 2955925 w 3284537"/>
                    <a:gd name="connsiteY31" fmla="*/ 1981200 h 3681413"/>
                    <a:gd name="connsiteX32" fmla="*/ 2984500 w 3284537"/>
                    <a:gd name="connsiteY32" fmla="*/ 1457325 h 3681413"/>
                    <a:gd name="connsiteX33" fmla="*/ 2889250 w 3284537"/>
                    <a:gd name="connsiteY33" fmla="*/ 1114425 h 3681413"/>
                    <a:gd name="connsiteX34" fmla="*/ 2870200 w 3284537"/>
                    <a:gd name="connsiteY34" fmla="*/ 819150 h 3681413"/>
                    <a:gd name="connsiteX35" fmla="*/ 2927350 w 3284537"/>
                    <a:gd name="connsiteY35" fmla="*/ 638175 h 3681413"/>
                    <a:gd name="connsiteX36" fmla="*/ 2879725 w 3284537"/>
                    <a:gd name="connsiteY36" fmla="*/ 171450 h 3681413"/>
                    <a:gd name="connsiteX0" fmla="*/ 2879725 w 3284537"/>
                    <a:gd name="connsiteY0" fmla="*/ 136525 h 3646488"/>
                    <a:gd name="connsiteX1" fmla="*/ 2289175 w 3284537"/>
                    <a:gd name="connsiteY1" fmla="*/ 117475 h 3646488"/>
                    <a:gd name="connsiteX2" fmla="*/ 1584325 w 3284537"/>
                    <a:gd name="connsiteY2" fmla="*/ 593725 h 3646488"/>
                    <a:gd name="connsiteX3" fmla="*/ 1917700 w 3284537"/>
                    <a:gd name="connsiteY3" fmla="*/ 222250 h 3646488"/>
                    <a:gd name="connsiteX4" fmla="*/ 2060575 w 3284537"/>
                    <a:gd name="connsiteY4" fmla="*/ 60325 h 3646488"/>
                    <a:gd name="connsiteX5" fmla="*/ 1479550 w 3284537"/>
                    <a:gd name="connsiteY5" fmla="*/ 584200 h 3646488"/>
                    <a:gd name="connsiteX6" fmla="*/ 1146175 w 3284537"/>
                    <a:gd name="connsiteY6" fmla="*/ 698500 h 3646488"/>
                    <a:gd name="connsiteX7" fmla="*/ 1346200 w 3284537"/>
                    <a:gd name="connsiteY7" fmla="*/ 565150 h 3646488"/>
                    <a:gd name="connsiteX8" fmla="*/ 1612900 w 3284537"/>
                    <a:gd name="connsiteY8" fmla="*/ 88900 h 3646488"/>
                    <a:gd name="connsiteX9" fmla="*/ 1155700 w 3284537"/>
                    <a:gd name="connsiteY9" fmla="*/ 565150 h 3646488"/>
                    <a:gd name="connsiteX10" fmla="*/ 679450 w 3284537"/>
                    <a:gd name="connsiteY10" fmla="*/ 860425 h 3646488"/>
                    <a:gd name="connsiteX11" fmla="*/ 517525 w 3284537"/>
                    <a:gd name="connsiteY11" fmla="*/ 1012825 h 3646488"/>
                    <a:gd name="connsiteX12" fmla="*/ 393700 w 3284537"/>
                    <a:gd name="connsiteY12" fmla="*/ 1412875 h 3646488"/>
                    <a:gd name="connsiteX13" fmla="*/ 384175 w 3284537"/>
                    <a:gd name="connsiteY13" fmla="*/ 1555750 h 3646488"/>
                    <a:gd name="connsiteX14" fmla="*/ 203200 w 3284537"/>
                    <a:gd name="connsiteY14" fmla="*/ 1336675 h 3646488"/>
                    <a:gd name="connsiteX15" fmla="*/ 31750 w 3284537"/>
                    <a:gd name="connsiteY15" fmla="*/ 1079500 h 3646488"/>
                    <a:gd name="connsiteX16" fmla="*/ 22225 w 3284537"/>
                    <a:gd name="connsiteY16" fmla="*/ 1479550 h 3646488"/>
                    <a:gd name="connsiteX17" fmla="*/ 165100 w 3284537"/>
                    <a:gd name="connsiteY17" fmla="*/ 1812925 h 3646488"/>
                    <a:gd name="connsiteX18" fmla="*/ 288925 w 3284537"/>
                    <a:gd name="connsiteY18" fmla="*/ 1908175 h 3646488"/>
                    <a:gd name="connsiteX19" fmla="*/ 374650 w 3284537"/>
                    <a:gd name="connsiteY19" fmla="*/ 2403475 h 3646488"/>
                    <a:gd name="connsiteX20" fmla="*/ 498475 w 3284537"/>
                    <a:gd name="connsiteY20" fmla="*/ 2994025 h 3646488"/>
                    <a:gd name="connsiteX21" fmla="*/ 831850 w 3284537"/>
                    <a:gd name="connsiteY21" fmla="*/ 3251200 h 3646488"/>
                    <a:gd name="connsiteX22" fmla="*/ 1222375 w 3284537"/>
                    <a:gd name="connsiteY22" fmla="*/ 3527425 h 3646488"/>
                    <a:gd name="connsiteX23" fmla="*/ 2022475 w 3284537"/>
                    <a:gd name="connsiteY23" fmla="*/ 3575050 h 3646488"/>
                    <a:gd name="connsiteX24" fmla="*/ 2413000 w 3284537"/>
                    <a:gd name="connsiteY24" fmla="*/ 3098800 h 3646488"/>
                    <a:gd name="connsiteX25" fmla="*/ 2660650 w 3284537"/>
                    <a:gd name="connsiteY25" fmla="*/ 2774950 h 3646488"/>
                    <a:gd name="connsiteX26" fmla="*/ 2822575 w 3284537"/>
                    <a:gd name="connsiteY26" fmla="*/ 2289175 h 3646488"/>
                    <a:gd name="connsiteX27" fmla="*/ 2974975 w 3284537"/>
                    <a:gd name="connsiteY27" fmla="*/ 2270125 h 3646488"/>
                    <a:gd name="connsiteX28" fmla="*/ 3165475 w 3284537"/>
                    <a:gd name="connsiteY28" fmla="*/ 1870075 h 3646488"/>
                    <a:gd name="connsiteX29" fmla="*/ 3270250 w 3284537"/>
                    <a:gd name="connsiteY29" fmla="*/ 1670050 h 3646488"/>
                    <a:gd name="connsiteX30" fmla="*/ 3079750 w 3284537"/>
                    <a:gd name="connsiteY30" fmla="*/ 1784350 h 3646488"/>
                    <a:gd name="connsiteX31" fmla="*/ 2955925 w 3284537"/>
                    <a:gd name="connsiteY31" fmla="*/ 1946275 h 3646488"/>
                    <a:gd name="connsiteX32" fmla="*/ 2984500 w 3284537"/>
                    <a:gd name="connsiteY32" fmla="*/ 1422400 h 3646488"/>
                    <a:gd name="connsiteX33" fmla="*/ 2889250 w 3284537"/>
                    <a:gd name="connsiteY33" fmla="*/ 1079500 h 3646488"/>
                    <a:gd name="connsiteX34" fmla="*/ 2870200 w 3284537"/>
                    <a:gd name="connsiteY34" fmla="*/ 784225 h 3646488"/>
                    <a:gd name="connsiteX35" fmla="*/ 2927350 w 3284537"/>
                    <a:gd name="connsiteY35" fmla="*/ 603250 h 3646488"/>
                    <a:gd name="connsiteX36" fmla="*/ 2879725 w 3284537"/>
                    <a:gd name="connsiteY36" fmla="*/ 136525 h 3646488"/>
                    <a:gd name="connsiteX0" fmla="*/ 2879725 w 3284537"/>
                    <a:gd name="connsiteY0" fmla="*/ 136525 h 3646488"/>
                    <a:gd name="connsiteX1" fmla="*/ 2289175 w 3284537"/>
                    <a:gd name="connsiteY1" fmla="*/ 117475 h 3646488"/>
                    <a:gd name="connsiteX2" fmla="*/ 1584325 w 3284537"/>
                    <a:gd name="connsiteY2" fmla="*/ 593725 h 3646488"/>
                    <a:gd name="connsiteX3" fmla="*/ 1917700 w 3284537"/>
                    <a:gd name="connsiteY3" fmla="*/ 222250 h 3646488"/>
                    <a:gd name="connsiteX4" fmla="*/ 2060575 w 3284537"/>
                    <a:gd name="connsiteY4" fmla="*/ 60325 h 3646488"/>
                    <a:gd name="connsiteX5" fmla="*/ 1479550 w 3284537"/>
                    <a:gd name="connsiteY5" fmla="*/ 584200 h 3646488"/>
                    <a:gd name="connsiteX6" fmla="*/ 1146175 w 3284537"/>
                    <a:gd name="connsiteY6" fmla="*/ 698500 h 3646488"/>
                    <a:gd name="connsiteX7" fmla="*/ 1346200 w 3284537"/>
                    <a:gd name="connsiteY7" fmla="*/ 565150 h 3646488"/>
                    <a:gd name="connsiteX8" fmla="*/ 1612900 w 3284537"/>
                    <a:gd name="connsiteY8" fmla="*/ 88900 h 3646488"/>
                    <a:gd name="connsiteX9" fmla="*/ 1155700 w 3284537"/>
                    <a:gd name="connsiteY9" fmla="*/ 565150 h 3646488"/>
                    <a:gd name="connsiteX10" fmla="*/ 679450 w 3284537"/>
                    <a:gd name="connsiteY10" fmla="*/ 860425 h 3646488"/>
                    <a:gd name="connsiteX11" fmla="*/ 517525 w 3284537"/>
                    <a:gd name="connsiteY11" fmla="*/ 1012825 h 3646488"/>
                    <a:gd name="connsiteX12" fmla="*/ 393700 w 3284537"/>
                    <a:gd name="connsiteY12" fmla="*/ 1412875 h 3646488"/>
                    <a:gd name="connsiteX13" fmla="*/ 384175 w 3284537"/>
                    <a:gd name="connsiteY13" fmla="*/ 1555750 h 3646488"/>
                    <a:gd name="connsiteX14" fmla="*/ 203200 w 3284537"/>
                    <a:gd name="connsiteY14" fmla="*/ 1336675 h 3646488"/>
                    <a:gd name="connsiteX15" fmla="*/ 31750 w 3284537"/>
                    <a:gd name="connsiteY15" fmla="*/ 1079500 h 3646488"/>
                    <a:gd name="connsiteX16" fmla="*/ 22225 w 3284537"/>
                    <a:gd name="connsiteY16" fmla="*/ 1479550 h 3646488"/>
                    <a:gd name="connsiteX17" fmla="*/ 165100 w 3284537"/>
                    <a:gd name="connsiteY17" fmla="*/ 1812925 h 3646488"/>
                    <a:gd name="connsiteX18" fmla="*/ 288925 w 3284537"/>
                    <a:gd name="connsiteY18" fmla="*/ 1908175 h 3646488"/>
                    <a:gd name="connsiteX19" fmla="*/ 374650 w 3284537"/>
                    <a:gd name="connsiteY19" fmla="*/ 2403475 h 3646488"/>
                    <a:gd name="connsiteX20" fmla="*/ 498475 w 3284537"/>
                    <a:gd name="connsiteY20" fmla="*/ 2994025 h 3646488"/>
                    <a:gd name="connsiteX21" fmla="*/ 812800 w 3284537"/>
                    <a:gd name="connsiteY21" fmla="*/ 3289300 h 3646488"/>
                    <a:gd name="connsiteX22" fmla="*/ 1222375 w 3284537"/>
                    <a:gd name="connsiteY22" fmla="*/ 3527425 h 3646488"/>
                    <a:gd name="connsiteX23" fmla="*/ 2022475 w 3284537"/>
                    <a:gd name="connsiteY23" fmla="*/ 3575050 h 3646488"/>
                    <a:gd name="connsiteX24" fmla="*/ 2413000 w 3284537"/>
                    <a:gd name="connsiteY24" fmla="*/ 3098800 h 3646488"/>
                    <a:gd name="connsiteX25" fmla="*/ 2660650 w 3284537"/>
                    <a:gd name="connsiteY25" fmla="*/ 2774950 h 3646488"/>
                    <a:gd name="connsiteX26" fmla="*/ 2822575 w 3284537"/>
                    <a:gd name="connsiteY26" fmla="*/ 2289175 h 3646488"/>
                    <a:gd name="connsiteX27" fmla="*/ 2974975 w 3284537"/>
                    <a:gd name="connsiteY27" fmla="*/ 2270125 h 3646488"/>
                    <a:gd name="connsiteX28" fmla="*/ 3165475 w 3284537"/>
                    <a:gd name="connsiteY28" fmla="*/ 1870075 h 3646488"/>
                    <a:gd name="connsiteX29" fmla="*/ 3270250 w 3284537"/>
                    <a:gd name="connsiteY29" fmla="*/ 1670050 h 3646488"/>
                    <a:gd name="connsiteX30" fmla="*/ 3079750 w 3284537"/>
                    <a:gd name="connsiteY30" fmla="*/ 1784350 h 3646488"/>
                    <a:gd name="connsiteX31" fmla="*/ 2955925 w 3284537"/>
                    <a:gd name="connsiteY31" fmla="*/ 1946275 h 3646488"/>
                    <a:gd name="connsiteX32" fmla="*/ 2984500 w 3284537"/>
                    <a:gd name="connsiteY32" fmla="*/ 1422400 h 3646488"/>
                    <a:gd name="connsiteX33" fmla="*/ 2889250 w 3284537"/>
                    <a:gd name="connsiteY33" fmla="*/ 1079500 h 3646488"/>
                    <a:gd name="connsiteX34" fmla="*/ 2870200 w 3284537"/>
                    <a:gd name="connsiteY34" fmla="*/ 784225 h 3646488"/>
                    <a:gd name="connsiteX35" fmla="*/ 2927350 w 3284537"/>
                    <a:gd name="connsiteY35" fmla="*/ 603250 h 3646488"/>
                    <a:gd name="connsiteX36" fmla="*/ 2879725 w 3284537"/>
                    <a:gd name="connsiteY36" fmla="*/ 136525 h 3646488"/>
                    <a:gd name="connsiteX0" fmla="*/ 2879725 w 3284537"/>
                    <a:gd name="connsiteY0" fmla="*/ 136525 h 3646488"/>
                    <a:gd name="connsiteX1" fmla="*/ 2289175 w 3284537"/>
                    <a:gd name="connsiteY1" fmla="*/ 117475 h 3646488"/>
                    <a:gd name="connsiteX2" fmla="*/ 1584325 w 3284537"/>
                    <a:gd name="connsiteY2" fmla="*/ 593725 h 3646488"/>
                    <a:gd name="connsiteX3" fmla="*/ 1917700 w 3284537"/>
                    <a:gd name="connsiteY3" fmla="*/ 222250 h 3646488"/>
                    <a:gd name="connsiteX4" fmla="*/ 2060575 w 3284537"/>
                    <a:gd name="connsiteY4" fmla="*/ 60325 h 3646488"/>
                    <a:gd name="connsiteX5" fmla="*/ 1479550 w 3284537"/>
                    <a:gd name="connsiteY5" fmla="*/ 584200 h 3646488"/>
                    <a:gd name="connsiteX6" fmla="*/ 1146175 w 3284537"/>
                    <a:gd name="connsiteY6" fmla="*/ 698500 h 3646488"/>
                    <a:gd name="connsiteX7" fmla="*/ 1346200 w 3284537"/>
                    <a:gd name="connsiteY7" fmla="*/ 565150 h 3646488"/>
                    <a:gd name="connsiteX8" fmla="*/ 1612900 w 3284537"/>
                    <a:gd name="connsiteY8" fmla="*/ 88900 h 3646488"/>
                    <a:gd name="connsiteX9" fmla="*/ 1155700 w 3284537"/>
                    <a:gd name="connsiteY9" fmla="*/ 565150 h 3646488"/>
                    <a:gd name="connsiteX10" fmla="*/ 679450 w 3284537"/>
                    <a:gd name="connsiteY10" fmla="*/ 860425 h 3646488"/>
                    <a:gd name="connsiteX11" fmla="*/ 517525 w 3284537"/>
                    <a:gd name="connsiteY11" fmla="*/ 1012825 h 3646488"/>
                    <a:gd name="connsiteX12" fmla="*/ 393700 w 3284537"/>
                    <a:gd name="connsiteY12" fmla="*/ 1412875 h 3646488"/>
                    <a:gd name="connsiteX13" fmla="*/ 384175 w 3284537"/>
                    <a:gd name="connsiteY13" fmla="*/ 1555750 h 3646488"/>
                    <a:gd name="connsiteX14" fmla="*/ 203200 w 3284537"/>
                    <a:gd name="connsiteY14" fmla="*/ 1336675 h 3646488"/>
                    <a:gd name="connsiteX15" fmla="*/ 31750 w 3284537"/>
                    <a:gd name="connsiteY15" fmla="*/ 1079500 h 3646488"/>
                    <a:gd name="connsiteX16" fmla="*/ 22225 w 3284537"/>
                    <a:gd name="connsiteY16" fmla="*/ 1479550 h 3646488"/>
                    <a:gd name="connsiteX17" fmla="*/ 165100 w 3284537"/>
                    <a:gd name="connsiteY17" fmla="*/ 1812925 h 3646488"/>
                    <a:gd name="connsiteX18" fmla="*/ 288925 w 3284537"/>
                    <a:gd name="connsiteY18" fmla="*/ 1908175 h 3646488"/>
                    <a:gd name="connsiteX19" fmla="*/ 374650 w 3284537"/>
                    <a:gd name="connsiteY19" fmla="*/ 2403475 h 3646488"/>
                    <a:gd name="connsiteX20" fmla="*/ 488950 w 3284537"/>
                    <a:gd name="connsiteY20" fmla="*/ 2879725 h 3646488"/>
                    <a:gd name="connsiteX21" fmla="*/ 812800 w 3284537"/>
                    <a:gd name="connsiteY21" fmla="*/ 3289300 h 3646488"/>
                    <a:gd name="connsiteX22" fmla="*/ 1222375 w 3284537"/>
                    <a:gd name="connsiteY22" fmla="*/ 3527425 h 3646488"/>
                    <a:gd name="connsiteX23" fmla="*/ 2022475 w 3284537"/>
                    <a:gd name="connsiteY23" fmla="*/ 3575050 h 3646488"/>
                    <a:gd name="connsiteX24" fmla="*/ 2413000 w 3284537"/>
                    <a:gd name="connsiteY24" fmla="*/ 3098800 h 3646488"/>
                    <a:gd name="connsiteX25" fmla="*/ 2660650 w 3284537"/>
                    <a:gd name="connsiteY25" fmla="*/ 2774950 h 3646488"/>
                    <a:gd name="connsiteX26" fmla="*/ 2822575 w 3284537"/>
                    <a:gd name="connsiteY26" fmla="*/ 2289175 h 3646488"/>
                    <a:gd name="connsiteX27" fmla="*/ 2974975 w 3284537"/>
                    <a:gd name="connsiteY27" fmla="*/ 2270125 h 3646488"/>
                    <a:gd name="connsiteX28" fmla="*/ 3165475 w 3284537"/>
                    <a:gd name="connsiteY28" fmla="*/ 1870075 h 3646488"/>
                    <a:gd name="connsiteX29" fmla="*/ 3270250 w 3284537"/>
                    <a:gd name="connsiteY29" fmla="*/ 1670050 h 3646488"/>
                    <a:gd name="connsiteX30" fmla="*/ 3079750 w 3284537"/>
                    <a:gd name="connsiteY30" fmla="*/ 1784350 h 3646488"/>
                    <a:gd name="connsiteX31" fmla="*/ 2955925 w 3284537"/>
                    <a:gd name="connsiteY31" fmla="*/ 1946275 h 3646488"/>
                    <a:gd name="connsiteX32" fmla="*/ 2984500 w 3284537"/>
                    <a:gd name="connsiteY32" fmla="*/ 1422400 h 3646488"/>
                    <a:gd name="connsiteX33" fmla="*/ 2889250 w 3284537"/>
                    <a:gd name="connsiteY33" fmla="*/ 1079500 h 3646488"/>
                    <a:gd name="connsiteX34" fmla="*/ 2870200 w 3284537"/>
                    <a:gd name="connsiteY34" fmla="*/ 784225 h 3646488"/>
                    <a:gd name="connsiteX35" fmla="*/ 2927350 w 3284537"/>
                    <a:gd name="connsiteY35" fmla="*/ 603250 h 3646488"/>
                    <a:gd name="connsiteX36" fmla="*/ 2879725 w 3284537"/>
                    <a:gd name="connsiteY36" fmla="*/ 136525 h 3646488"/>
                    <a:gd name="connsiteX0" fmla="*/ 2879725 w 3284537"/>
                    <a:gd name="connsiteY0" fmla="*/ 136525 h 3656013"/>
                    <a:gd name="connsiteX1" fmla="*/ 2289175 w 3284537"/>
                    <a:gd name="connsiteY1" fmla="*/ 117475 h 3656013"/>
                    <a:gd name="connsiteX2" fmla="*/ 1584325 w 3284537"/>
                    <a:gd name="connsiteY2" fmla="*/ 593725 h 3656013"/>
                    <a:gd name="connsiteX3" fmla="*/ 1917700 w 3284537"/>
                    <a:gd name="connsiteY3" fmla="*/ 222250 h 3656013"/>
                    <a:gd name="connsiteX4" fmla="*/ 2060575 w 3284537"/>
                    <a:gd name="connsiteY4" fmla="*/ 60325 h 3656013"/>
                    <a:gd name="connsiteX5" fmla="*/ 1479550 w 3284537"/>
                    <a:gd name="connsiteY5" fmla="*/ 584200 h 3656013"/>
                    <a:gd name="connsiteX6" fmla="*/ 1146175 w 3284537"/>
                    <a:gd name="connsiteY6" fmla="*/ 698500 h 3656013"/>
                    <a:gd name="connsiteX7" fmla="*/ 1346200 w 3284537"/>
                    <a:gd name="connsiteY7" fmla="*/ 565150 h 3656013"/>
                    <a:gd name="connsiteX8" fmla="*/ 1612900 w 3284537"/>
                    <a:gd name="connsiteY8" fmla="*/ 88900 h 3656013"/>
                    <a:gd name="connsiteX9" fmla="*/ 1155700 w 3284537"/>
                    <a:gd name="connsiteY9" fmla="*/ 565150 h 3656013"/>
                    <a:gd name="connsiteX10" fmla="*/ 679450 w 3284537"/>
                    <a:gd name="connsiteY10" fmla="*/ 860425 h 3656013"/>
                    <a:gd name="connsiteX11" fmla="*/ 517525 w 3284537"/>
                    <a:gd name="connsiteY11" fmla="*/ 1012825 h 3656013"/>
                    <a:gd name="connsiteX12" fmla="*/ 393700 w 3284537"/>
                    <a:gd name="connsiteY12" fmla="*/ 1412875 h 3656013"/>
                    <a:gd name="connsiteX13" fmla="*/ 384175 w 3284537"/>
                    <a:gd name="connsiteY13" fmla="*/ 1555750 h 3656013"/>
                    <a:gd name="connsiteX14" fmla="*/ 203200 w 3284537"/>
                    <a:gd name="connsiteY14" fmla="*/ 1336675 h 3656013"/>
                    <a:gd name="connsiteX15" fmla="*/ 31750 w 3284537"/>
                    <a:gd name="connsiteY15" fmla="*/ 1079500 h 3656013"/>
                    <a:gd name="connsiteX16" fmla="*/ 22225 w 3284537"/>
                    <a:gd name="connsiteY16" fmla="*/ 1479550 h 3656013"/>
                    <a:gd name="connsiteX17" fmla="*/ 165100 w 3284537"/>
                    <a:gd name="connsiteY17" fmla="*/ 1812925 h 3656013"/>
                    <a:gd name="connsiteX18" fmla="*/ 288925 w 3284537"/>
                    <a:gd name="connsiteY18" fmla="*/ 1908175 h 3656013"/>
                    <a:gd name="connsiteX19" fmla="*/ 374650 w 3284537"/>
                    <a:gd name="connsiteY19" fmla="*/ 2403475 h 3656013"/>
                    <a:gd name="connsiteX20" fmla="*/ 488950 w 3284537"/>
                    <a:gd name="connsiteY20" fmla="*/ 2879725 h 3656013"/>
                    <a:gd name="connsiteX21" fmla="*/ 812800 w 3284537"/>
                    <a:gd name="connsiteY21" fmla="*/ 3289300 h 3656013"/>
                    <a:gd name="connsiteX22" fmla="*/ 1222375 w 3284537"/>
                    <a:gd name="connsiteY22" fmla="*/ 3527425 h 3656013"/>
                    <a:gd name="connsiteX23" fmla="*/ 1974850 w 3284537"/>
                    <a:gd name="connsiteY23" fmla="*/ 3584575 h 3656013"/>
                    <a:gd name="connsiteX24" fmla="*/ 2413000 w 3284537"/>
                    <a:gd name="connsiteY24" fmla="*/ 3098800 h 3656013"/>
                    <a:gd name="connsiteX25" fmla="*/ 2660650 w 3284537"/>
                    <a:gd name="connsiteY25" fmla="*/ 2774950 h 3656013"/>
                    <a:gd name="connsiteX26" fmla="*/ 2822575 w 3284537"/>
                    <a:gd name="connsiteY26" fmla="*/ 2289175 h 3656013"/>
                    <a:gd name="connsiteX27" fmla="*/ 2974975 w 3284537"/>
                    <a:gd name="connsiteY27" fmla="*/ 2270125 h 3656013"/>
                    <a:gd name="connsiteX28" fmla="*/ 3165475 w 3284537"/>
                    <a:gd name="connsiteY28" fmla="*/ 1870075 h 3656013"/>
                    <a:gd name="connsiteX29" fmla="*/ 3270250 w 3284537"/>
                    <a:gd name="connsiteY29" fmla="*/ 1670050 h 3656013"/>
                    <a:gd name="connsiteX30" fmla="*/ 3079750 w 3284537"/>
                    <a:gd name="connsiteY30" fmla="*/ 1784350 h 3656013"/>
                    <a:gd name="connsiteX31" fmla="*/ 2955925 w 3284537"/>
                    <a:gd name="connsiteY31" fmla="*/ 1946275 h 3656013"/>
                    <a:gd name="connsiteX32" fmla="*/ 2984500 w 3284537"/>
                    <a:gd name="connsiteY32" fmla="*/ 1422400 h 3656013"/>
                    <a:gd name="connsiteX33" fmla="*/ 2889250 w 3284537"/>
                    <a:gd name="connsiteY33" fmla="*/ 1079500 h 3656013"/>
                    <a:gd name="connsiteX34" fmla="*/ 2870200 w 3284537"/>
                    <a:gd name="connsiteY34" fmla="*/ 784225 h 3656013"/>
                    <a:gd name="connsiteX35" fmla="*/ 2927350 w 3284537"/>
                    <a:gd name="connsiteY35" fmla="*/ 603250 h 3656013"/>
                    <a:gd name="connsiteX36" fmla="*/ 2879725 w 3284537"/>
                    <a:gd name="connsiteY36" fmla="*/ 136525 h 3656013"/>
                    <a:gd name="connsiteX0" fmla="*/ 2879725 w 3284537"/>
                    <a:gd name="connsiteY0" fmla="*/ 136525 h 3656013"/>
                    <a:gd name="connsiteX1" fmla="*/ 2289175 w 3284537"/>
                    <a:gd name="connsiteY1" fmla="*/ 117475 h 3656013"/>
                    <a:gd name="connsiteX2" fmla="*/ 1584325 w 3284537"/>
                    <a:gd name="connsiteY2" fmla="*/ 593725 h 3656013"/>
                    <a:gd name="connsiteX3" fmla="*/ 1917700 w 3284537"/>
                    <a:gd name="connsiteY3" fmla="*/ 222250 h 3656013"/>
                    <a:gd name="connsiteX4" fmla="*/ 2060575 w 3284537"/>
                    <a:gd name="connsiteY4" fmla="*/ 60325 h 3656013"/>
                    <a:gd name="connsiteX5" fmla="*/ 1479550 w 3284537"/>
                    <a:gd name="connsiteY5" fmla="*/ 584200 h 3656013"/>
                    <a:gd name="connsiteX6" fmla="*/ 1146175 w 3284537"/>
                    <a:gd name="connsiteY6" fmla="*/ 698500 h 3656013"/>
                    <a:gd name="connsiteX7" fmla="*/ 1346200 w 3284537"/>
                    <a:gd name="connsiteY7" fmla="*/ 565150 h 3656013"/>
                    <a:gd name="connsiteX8" fmla="*/ 1612900 w 3284537"/>
                    <a:gd name="connsiteY8" fmla="*/ 88900 h 3656013"/>
                    <a:gd name="connsiteX9" fmla="*/ 1155700 w 3284537"/>
                    <a:gd name="connsiteY9" fmla="*/ 565150 h 3656013"/>
                    <a:gd name="connsiteX10" fmla="*/ 679450 w 3284537"/>
                    <a:gd name="connsiteY10" fmla="*/ 860425 h 3656013"/>
                    <a:gd name="connsiteX11" fmla="*/ 517525 w 3284537"/>
                    <a:gd name="connsiteY11" fmla="*/ 1012825 h 3656013"/>
                    <a:gd name="connsiteX12" fmla="*/ 393700 w 3284537"/>
                    <a:gd name="connsiteY12" fmla="*/ 1412875 h 3656013"/>
                    <a:gd name="connsiteX13" fmla="*/ 384175 w 3284537"/>
                    <a:gd name="connsiteY13" fmla="*/ 1555750 h 3656013"/>
                    <a:gd name="connsiteX14" fmla="*/ 203200 w 3284537"/>
                    <a:gd name="connsiteY14" fmla="*/ 1336675 h 3656013"/>
                    <a:gd name="connsiteX15" fmla="*/ 31750 w 3284537"/>
                    <a:gd name="connsiteY15" fmla="*/ 1079500 h 3656013"/>
                    <a:gd name="connsiteX16" fmla="*/ 22225 w 3284537"/>
                    <a:gd name="connsiteY16" fmla="*/ 1479550 h 3656013"/>
                    <a:gd name="connsiteX17" fmla="*/ 165100 w 3284537"/>
                    <a:gd name="connsiteY17" fmla="*/ 1812925 h 3656013"/>
                    <a:gd name="connsiteX18" fmla="*/ 288925 w 3284537"/>
                    <a:gd name="connsiteY18" fmla="*/ 1908175 h 3656013"/>
                    <a:gd name="connsiteX19" fmla="*/ 374650 w 3284537"/>
                    <a:gd name="connsiteY19" fmla="*/ 2403475 h 3656013"/>
                    <a:gd name="connsiteX20" fmla="*/ 488950 w 3284537"/>
                    <a:gd name="connsiteY20" fmla="*/ 2879725 h 3656013"/>
                    <a:gd name="connsiteX21" fmla="*/ 812800 w 3284537"/>
                    <a:gd name="connsiteY21" fmla="*/ 3289300 h 3656013"/>
                    <a:gd name="connsiteX22" fmla="*/ 1222375 w 3284537"/>
                    <a:gd name="connsiteY22" fmla="*/ 3527425 h 3656013"/>
                    <a:gd name="connsiteX23" fmla="*/ 1927225 w 3284537"/>
                    <a:gd name="connsiteY23" fmla="*/ 3584575 h 3656013"/>
                    <a:gd name="connsiteX24" fmla="*/ 2413000 w 3284537"/>
                    <a:gd name="connsiteY24" fmla="*/ 3098800 h 3656013"/>
                    <a:gd name="connsiteX25" fmla="*/ 2660650 w 3284537"/>
                    <a:gd name="connsiteY25" fmla="*/ 2774950 h 3656013"/>
                    <a:gd name="connsiteX26" fmla="*/ 2822575 w 3284537"/>
                    <a:gd name="connsiteY26" fmla="*/ 2289175 h 3656013"/>
                    <a:gd name="connsiteX27" fmla="*/ 2974975 w 3284537"/>
                    <a:gd name="connsiteY27" fmla="*/ 2270125 h 3656013"/>
                    <a:gd name="connsiteX28" fmla="*/ 3165475 w 3284537"/>
                    <a:gd name="connsiteY28" fmla="*/ 1870075 h 3656013"/>
                    <a:gd name="connsiteX29" fmla="*/ 3270250 w 3284537"/>
                    <a:gd name="connsiteY29" fmla="*/ 1670050 h 3656013"/>
                    <a:gd name="connsiteX30" fmla="*/ 3079750 w 3284537"/>
                    <a:gd name="connsiteY30" fmla="*/ 1784350 h 3656013"/>
                    <a:gd name="connsiteX31" fmla="*/ 2955925 w 3284537"/>
                    <a:gd name="connsiteY31" fmla="*/ 1946275 h 3656013"/>
                    <a:gd name="connsiteX32" fmla="*/ 2984500 w 3284537"/>
                    <a:gd name="connsiteY32" fmla="*/ 1422400 h 3656013"/>
                    <a:gd name="connsiteX33" fmla="*/ 2889250 w 3284537"/>
                    <a:gd name="connsiteY33" fmla="*/ 1079500 h 3656013"/>
                    <a:gd name="connsiteX34" fmla="*/ 2870200 w 3284537"/>
                    <a:gd name="connsiteY34" fmla="*/ 784225 h 3656013"/>
                    <a:gd name="connsiteX35" fmla="*/ 2927350 w 3284537"/>
                    <a:gd name="connsiteY35" fmla="*/ 603250 h 3656013"/>
                    <a:gd name="connsiteX36" fmla="*/ 2879725 w 3284537"/>
                    <a:gd name="connsiteY36" fmla="*/ 136525 h 3656013"/>
                    <a:gd name="connsiteX0" fmla="*/ 2879725 w 3284537"/>
                    <a:gd name="connsiteY0" fmla="*/ 136525 h 3652838"/>
                    <a:gd name="connsiteX1" fmla="*/ 2289175 w 3284537"/>
                    <a:gd name="connsiteY1" fmla="*/ 117475 h 3652838"/>
                    <a:gd name="connsiteX2" fmla="*/ 1584325 w 3284537"/>
                    <a:gd name="connsiteY2" fmla="*/ 593725 h 3652838"/>
                    <a:gd name="connsiteX3" fmla="*/ 1917700 w 3284537"/>
                    <a:gd name="connsiteY3" fmla="*/ 222250 h 3652838"/>
                    <a:gd name="connsiteX4" fmla="*/ 2060575 w 3284537"/>
                    <a:gd name="connsiteY4" fmla="*/ 60325 h 3652838"/>
                    <a:gd name="connsiteX5" fmla="*/ 1479550 w 3284537"/>
                    <a:gd name="connsiteY5" fmla="*/ 584200 h 3652838"/>
                    <a:gd name="connsiteX6" fmla="*/ 1146175 w 3284537"/>
                    <a:gd name="connsiteY6" fmla="*/ 698500 h 3652838"/>
                    <a:gd name="connsiteX7" fmla="*/ 1346200 w 3284537"/>
                    <a:gd name="connsiteY7" fmla="*/ 565150 h 3652838"/>
                    <a:gd name="connsiteX8" fmla="*/ 1612900 w 3284537"/>
                    <a:gd name="connsiteY8" fmla="*/ 88900 h 3652838"/>
                    <a:gd name="connsiteX9" fmla="*/ 1155700 w 3284537"/>
                    <a:gd name="connsiteY9" fmla="*/ 565150 h 3652838"/>
                    <a:gd name="connsiteX10" fmla="*/ 679450 w 3284537"/>
                    <a:gd name="connsiteY10" fmla="*/ 860425 h 3652838"/>
                    <a:gd name="connsiteX11" fmla="*/ 517525 w 3284537"/>
                    <a:gd name="connsiteY11" fmla="*/ 1012825 h 3652838"/>
                    <a:gd name="connsiteX12" fmla="*/ 393700 w 3284537"/>
                    <a:gd name="connsiteY12" fmla="*/ 1412875 h 3652838"/>
                    <a:gd name="connsiteX13" fmla="*/ 384175 w 3284537"/>
                    <a:gd name="connsiteY13" fmla="*/ 1555750 h 3652838"/>
                    <a:gd name="connsiteX14" fmla="*/ 203200 w 3284537"/>
                    <a:gd name="connsiteY14" fmla="*/ 1336675 h 3652838"/>
                    <a:gd name="connsiteX15" fmla="*/ 31750 w 3284537"/>
                    <a:gd name="connsiteY15" fmla="*/ 1079500 h 3652838"/>
                    <a:gd name="connsiteX16" fmla="*/ 22225 w 3284537"/>
                    <a:gd name="connsiteY16" fmla="*/ 1479550 h 3652838"/>
                    <a:gd name="connsiteX17" fmla="*/ 165100 w 3284537"/>
                    <a:gd name="connsiteY17" fmla="*/ 1812925 h 3652838"/>
                    <a:gd name="connsiteX18" fmla="*/ 288925 w 3284537"/>
                    <a:gd name="connsiteY18" fmla="*/ 1908175 h 3652838"/>
                    <a:gd name="connsiteX19" fmla="*/ 374650 w 3284537"/>
                    <a:gd name="connsiteY19" fmla="*/ 2403475 h 3652838"/>
                    <a:gd name="connsiteX20" fmla="*/ 488950 w 3284537"/>
                    <a:gd name="connsiteY20" fmla="*/ 2879725 h 3652838"/>
                    <a:gd name="connsiteX21" fmla="*/ 812800 w 3284537"/>
                    <a:gd name="connsiteY21" fmla="*/ 3289300 h 3652838"/>
                    <a:gd name="connsiteX22" fmla="*/ 1222375 w 3284537"/>
                    <a:gd name="connsiteY22" fmla="*/ 3527425 h 3652838"/>
                    <a:gd name="connsiteX23" fmla="*/ 1927225 w 3284537"/>
                    <a:gd name="connsiteY23" fmla="*/ 3584575 h 3652838"/>
                    <a:gd name="connsiteX24" fmla="*/ 2451100 w 3284537"/>
                    <a:gd name="connsiteY24" fmla="*/ 3117850 h 3652838"/>
                    <a:gd name="connsiteX25" fmla="*/ 2660650 w 3284537"/>
                    <a:gd name="connsiteY25" fmla="*/ 2774950 h 3652838"/>
                    <a:gd name="connsiteX26" fmla="*/ 2822575 w 3284537"/>
                    <a:gd name="connsiteY26" fmla="*/ 2289175 h 3652838"/>
                    <a:gd name="connsiteX27" fmla="*/ 2974975 w 3284537"/>
                    <a:gd name="connsiteY27" fmla="*/ 2270125 h 3652838"/>
                    <a:gd name="connsiteX28" fmla="*/ 3165475 w 3284537"/>
                    <a:gd name="connsiteY28" fmla="*/ 1870075 h 3652838"/>
                    <a:gd name="connsiteX29" fmla="*/ 3270250 w 3284537"/>
                    <a:gd name="connsiteY29" fmla="*/ 1670050 h 3652838"/>
                    <a:gd name="connsiteX30" fmla="*/ 3079750 w 3284537"/>
                    <a:gd name="connsiteY30" fmla="*/ 1784350 h 3652838"/>
                    <a:gd name="connsiteX31" fmla="*/ 2955925 w 3284537"/>
                    <a:gd name="connsiteY31" fmla="*/ 1946275 h 3652838"/>
                    <a:gd name="connsiteX32" fmla="*/ 2984500 w 3284537"/>
                    <a:gd name="connsiteY32" fmla="*/ 1422400 h 3652838"/>
                    <a:gd name="connsiteX33" fmla="*/ 2889250 w 3284537"/>
                    <a:gd name="connsiteY33" fmla="*/ 1079500 h 3652838"/>
                    <a:gd name="connsiteX34" fmla="*/ 2870200 w 3284537"/>
                    <a:gd name="connsiteY34" fmla="*/ 784225 h 3652838"/>
                    <a:gd name="connsiteX35" fmla="*/ 2927350 w 3284537"/>
                    <a:gd name="connsiteY35" fmla="*/ 603250 h 3652838"/>
                    <a:gd name="connsiteX36" fmla="*/ 2879725 w 3284537"/>
                    <a:gd name="connsiteY36" fmla="*/ 136525 h 3652838"/>
                    <a:gd name="connsiteX0" fmla="*/ 2879725 w 3284537"/>
                    <a:gd name="connsiteY0" fmla="*/ 136525 h 3652838"/>
                    <a:gd name="connsiteX1" fmla="*/ 2289175 w 3284537"/>
                    <a:gd name="connsiteY1" fmla="*/ 117475 h 3652838"/>
                    <a:gd name="connsiteX2" fmla="*/ 1584325 w 3284537"/>
                    <a:gd name="connsiteY2" fmla="*/ 593725 h 3652838"/>
                    <a:gd name="connsiteX3" fmla="*/ 1917700 w 3284537"/>
                    <a:gd name="connsiteY3" fmla="*/ 222250 h 3652838"/>
                    <a:gd name="connsiteX4" fmla="*/ 2060575 w 3284537"/>
                    <a:gd name="connsiteY4" fmla="*/ 60325 h 3652838"/>
                    <a:gd name="connsiteX5" fmla="*/ 1479550 w 3284537"/>
                    <a:gd name="connsiteY5" fmla="*/ 584200 h 3652838"/>
                    <a:gd name="connsiteX6" fmla="*/ 1346200 w 3284537"/>
                    <a:gd name="connsiteY6" fmla="*/ 565150 h 3652838"/>
                    <a:gd name="connsiteX7" fmla="*/ 1612900 w 3284537"/>
                    <a:gd name="connsiteY7" fmla="*/ 88900 h 3652838"/>
                    <a:gd name="connsiteX8" fmla="*/ 1155700 w 3284537"/>
                    <a:gd name="connsiteY8" fmla="*/ 565150 h 3652838"/>
                    <a:gd name="connsiteX9" fmla="*/ 679450 w 3284537"/>
                    <a:gd name="connsiteY9" fmla="*/ 860425 h 3652838"/>
                    <a:gd name="connsiteX10" fmla="*/ 517525 w 3284537"/>
                    <a:gd name="connsiteY10" fmla="*/ 1012825 h 3652838"/>
                    <a:gd name="connsiteX11" fmla="*/ 393700 w 3284537"/>
                    <a:gd name="connsiteY11" fmla="*/ 1412875 h 3652838"/>
                    <a:gd name="connsiteX12" fmla="*/ 384175 w 3284537"/>
                    <a:gd name="connsiteY12" fmla="*/ 1555750 h 3652838"/>
                    <a:gd name="connsiteX13" fmla="*/ 203200 w 3284537"/>
                    <a:gd name="connsiteY13" fmla="*/ 1336675 h 3652838"/>
                    <a:gd name="connsiteX14" fmla="*/ 31750 w 3284537"/>
                    <a:gd name="connsiteY14" fmla="*/ 1079500 h 3652838"/>
                    <a:gd name="connsiteX15" fmla="*/ 22225 w 3284537"/>
                    <a:gd name="connsiteY15" fmla="*/ 1479550 h 3652838"/>
                    <a:gd name="connsiteX16" fmla="*/ 165100 w 3284537"/>
                    <a:gd name="connsiteY16" fmla="*/ 1812925 h 3652838"/>
                    <a:gd name="connsiteX17" fmla="*/ 288925 w 3284537"/>
                    <a:gd name="connsiteY17" fmla="*/ 1908175 h 3652838"/>
                    <a:gd name="connsiteX18" fmla="*/ 374650 w 3284537"/>
                    <a:gd name="connsiteY18" fmla="*/ 2403475 h 3652838"/>
                    <a:gd name="connsiteX19" fmla="*/ 488950 w 3284537"/>
                    <a:gd name="connsiteY19" fmla="*/ 2879725 h 3652838"/>
                    <a:gd name="connsiteX20" fmla="*/ 812800 w 3284537"/>
                    <a:gd name="connsiteY20" fmla="*/ 3289300 h 3652838"/>
                    <a:gd name="connsiteX21" fmla="*/ 1222375 w 3284537"/>
                    <a:gd name="connsiteY21" fmla="*/ 3527425 h 3652838"/>
                    <a:gd name="connsiteX22" fmla="*/ 1927225 w 3284537"/>
                    <a:gd name="connsiteY22" fmla="*/ 3584575 h 3652838"/>
                    <a:gd name="connsiteX23" fmla="*/ 2451100 w 3284537"/>
                    <a:gd name="connsiteY23" fmla="*/ 3117850 h 3652838"/>
                    <a:gd name="connsiteX24" fmla="*/ 2660650 w 3284537"/>
                    <a:gd name="connsiteY24" fmla="*/ 2774950 h 3652838"/>
                    <a:gd name="connsiteX25" fmla="*/ 2822575 w 3284537"/>
                    <a:gd name="connsiteY25" fmla="*/ 2289175 h 3652838"/>
                    <a:gd name="connsiteX26" fmla="*/ 2974975 w 3284537"/>
                    <a:gd name="connsiteY26" fmla="*/ 2270125 h 3652838"/>
                    <a:gd name="connsiteX27" fmla="*/ 3165475 w 3284537"/>
                    <a:gd name="connsiteY27" fmla="*/ 1870075 h 3652838"/>
                    <a:gd name="connsiteX28" fmla="*/ 3270250 w 3284537"/>
                    <a:gd name="connsiteY28" fmla="*/ 1670050 h 3652838"/>
                    <a:gd name="connsiteX29" fmla="*/ 3079750 w 3284537"/>
                    <a:gd name="connsiteY29" fmla="*/ 1784350 h 3652838"/>
                    <a:gd name="connsiteX30" fmla="*/ 2955925 w 3284537"/>
                    <a:gd name="connsiteY30" fmla="*/ 1946275 h 3652838"/>
                    <a:gd name="connsiteX31" fmla="*/ 2984500 w 3284537"/>
                    <a:gd name="connsiteY31" fmla="*/ 1422400 h 3652838"/>
                    <a:gd name="connsiteX32" fmla="*/ 2889250 w 3284537"/>
                    <a:gd name="connsiteY32" fmla="*/ 1079500 h 3652838"/>
                    <a:gd name="connsiteX33" fmla="*/ 2870200 w 3284537"/>
                    <a:gd name="connsiteY33" fmla="*/ 784225 h 3652838"/>
                    <a:gd name="connsiteX34" fmla="*/ 2927350 w 3284537"/>
                    <a:gd name="connsiteY34" fmla="*/ 603250 h 3652838"/>
                    <a:gd name="connsiteX35" fmla="*/ 2879725 w 3284537"/>
                    <a:gd name="connsiteY35" fmla="*/ 136525 h 3652838"/>
                    <a:gd name="connsiteX0" fmla="*/ 2879725 w 3284537"/>
                    <a:gd name="connsiteY0" fmla="*/ 136525 h 3652838"/>
                    <a:gd name="connsiteX1" fmla="*/ 2289175 w 3284537"/>
                    <a:gd name="connsiteY1" fmla="*/ 117475 h 3652838"/>
                    <a:gd name="connsiteX2" fmla="*/ 1584325 w 3284537"/>
                    <a:gd name="connsiteY2" fmla="*/ 593725 h 3652838"/>
                    <a:gd name="connsiteX3" fmla="*/ 1917700 w 3284537"/>
                    <a:gd name="connsiteY3" fmla="*/ 222250 h 3652838"/>
                    <a:gd name="connsiteX4" fmla="*/ 2060575 w 3284537"/>
                    <a:gd name="connsiteY4" fmla="*/ 60325 h 3652838"/>
                    <a:gd name="connsiteX5" fmla="*/ 1479550 w 3284537"/>
                    <a:gd name="connsiteY5" fmla="*/ 584200 h 3652838"/>
                    <a:gd name="connsiteX6" fmla="*/ 1612900 w 3284537"/>
                    <a:gd name="connsiteY6" fmla="*/ 88900 h 3652838"/>
                    <a:gd name="connsiteX7" fmla="*/ 1155700 w 3284537"/>
                    <a:gd name="connsiteY7" fmla="*/ 565150 h 3652838"/>
                    <a:gd name="connsiteX8" fmla="*/ 679450 w 3284537"/>
                    <a:gd name="connsiteY8" fmla="*/ 860425 h 3652838"/>
                    <a:gd name="connsiteX9" fmla="*/ 517525 w 3284537"/>
                    <a:gd name="connsiteY9" fmla="*/ 1012825 h 3652838"/>
                    <a:gd name="connsiteX10" fmla="*/ 393700 w 3284537"/>
                    <a:gd name="connsiteY10" fmla="*/ 1412875 h 3652838"/>
                    <a:gd name="connsiteX11" fmla="*/ 384175 w 3284537"/>
                    <a:gd name="connsiteY11" fmla="*/ 1555750 h 3652838"/>
                    <a:gd name="connsiteX12" fmla="*/ 203200 w 3284537"/>
                    <a:gd name="connsiteY12" fmla="*/ 1336675 h 3652838"/>
                    <a:gd name="connsiteX13" fmla="*/ 31750 w 3284537"/>
                    <a:gd name="connsiteY13" fmla="*/ 1079500 h 3652838"/>
                    <a:gd name="connsiteX14" fmla="*/ 22225 w 3284537"/>
                    <a:gd name="connsiteY14" fmla="*/ 1479550 h 3652838"/>
                    <a:gd name="connsiteX15" fmla="*/ 165100 w 3284537"/>
                    <a:gd name="connsiteY15" fmla="*/ 1812925 h 3652838"/>
                    <a:gd name="connsiteX16" fmla="*/ 288925 w 3284537"/>
                    <a:gd name="connsiteY16" fmla="*/ 1908175 h 3652838"/>
                    <a:gd name="connsiteX17" fmla="*/ 374650 w 3284537"/>
                    <a:gd name="connsiteY17" fmla="*/ 2403475 h 3652838"/>
                    <a:gd name="connsiteX18" fmla="*/ 488950 w 3284537"/>
                    <a:gd name="connsiteY18" fmla="*/ 2879725 h 3652838"/>
                    <a:gd name="connsiteX19" fmla="*/ 812800 w 3284537"/>
                    <a:gd name="connsiteY19" fmla="*/ 3289300 h 3652838"/>
                    <a:gd name="connsiteX20" fmla="*/ 1222375 w 3284537"/>
                    <a:gd name="connsiteY20" fmla="*/ 3527425 h 3652838"/>
                    <a:gd name="connsiteX21" fmla="*/ 1927225 w 3284537"/>
                    <a:gd name="connsiteY21" fmla="*/ 3584575 h 3652838"/>
                    <a:gd name="connsiteX22" fmla="*/ 2451100 w 3284537"/>
                    <a:gd name="connsiteY22" fmla="*/ 3117850 h 3652838"/>
                    <a:gd name="connsiteX23" fmla="*/ 2660650 w 3284537"/>
                    <a:gd name="connsiteY23" fmla="*/ 2774950 h 3652838"/>
                    <a:gd name="connsiteX24" fmla="*/ 2822575 w 3284537"/>
                    <a:gd name="connsiteY24" fmla="*/ 2289175 h 3652838"/>
                    <a:gd name="connsiteX25" fmla="*/ 2974975 w 3284537"/>
                    <a:gd name="connsiteY25" fmla="*/ 2270125 h 3652838"/>
                    <a:gd name="connsiteX26" fmla="*/ 3165475 w 3284537"/>
                    <a:gd name="connsiteY26" fmla="*/ 1870075 h 3652838"/>
                    <a:gd name="connsiteX27" fmla="*/ 3270250 w 3284537"/>
                    <a:gd name="connsiteY27" fmla="*/ 1670050 h 3652838"/>
                    <a:gd name="connsiteX28" fmla="*/ 3079750 w 3284537"/>
                    <a:gd name="connsiteY28" fmla="*/ 1784350 h 3652838"/>
                    <a:gd name="connsiteX29" fmla="*/ 2955925 w 3284537"/>
                    <a:gd name="connsiteY29" fmla="*/ 1946275 h 3652838"/>
                    <a:gd name="connsiteX30" fmla="*/ 2984500 w 3284537"/>
                    <a:gd name="connsiteY30" fmla="*/ 1422400 h 3652838"/>
                    <a:gd name="connsiteX31" fmla="*/ 2889250 w 3284537"/>
                    <a:gd name="connsiteY31" fmla="*/ 1079500 h 3652838"/>
                    <a:gd name="connsiteX32" fmla="*/ 2870200 w 3284537"/>
                    <a:gd name="connsiteY32" fmla="*/ 784225 h 3652838"/>
                    <a:gd name="connsiteX33" fmla="*/ 2927350 w 3284537"/>
                    <a:gd name="connsiteY33" fmla="*/ 603250 h 3652838"/>
                    <a:gd name="connsiteX34" fmla="*/ 2879725 w 3284537"/>
                    <a:gd name="connsiteY34" fmla="*/ 136525 h 3652838"/>
                    <a:gd name="connsiteX0" fmla="*/ 2879725 w 3284537"/>
                    <a:gd name="connsiteY0" fmla="*/ 131762 h 3648075"/>
                    <a:gd name="connsiteX1" fmla="*/ 2289175 w 3284537"/>
                    <a:gd name="connsiteY1" fmla="*/ 112712 h 3648075"/>
                    <a:gd name="connsiteX2" fmla="*/ 1584325 w 3284537"/>
                    <a:gd name="connsiteY2" fmla="*/ 588962 h 3648075"/>
                    <a:gd name="connsiteX3" fmla="*/ 1917700 w 3284537"/>
                    <a:gd name="connsiteY3" fmla="*/ 217487 h 3648075"/>
                    <a:gd name="connsiteX4" fmla="*/ 2060575 w 3284537"/>
                    <a:gd name="connsiteY4" fmla="*/ 55562 h 3648075"/>
                    <a:gd name="connsiteX5" fmla="*/ 1612900 w 3284537"/>
                    <a:gd name="connsiteY5" fmla="*/ 84137 h 3648075"/>
                    <a:gd name="connsiteX6" fmla="*/ 1155700 w 3284537"/>
                    <a:gd name="connsiteY6" fmla="*/ 560387 h 3648075"/>
                    <a:gd name="connsiteX7" fmla="*/ 679450 w 3284537"/>
                    <a:gd name="connsiteY7" fmla="*/ 855662 h 3648075"/>
                    <a:gd name="connsiteX8" fmla="*/ 517525 w 3284537"/>
                    <a:gd name="connsiteY8" fmla="*/ 1008062 h 3648075"/>
                    <a:gd name="connsiteX9" fmla="*/ 393700 w 3284537"/>
                    <a:gd name="connsiteY9" fmla="*/ 1408112 h 3648075"/>
                    <a:gd name="connsiteX10" fmla="*/ 384175 w 3284537"/>
                    <a:gd name="connsiteY10" fmla="*/ 1550987 h 3648075"/>
                    <a:gd name="connsiteX11" fmla="*/ 203200 w 3284537"/>
                    <a:gd name="connsiteY11" fmla="*/ 1331912 h 3648075"/>
                    <a:gd name="connsiteX12" fmla="*/ 31750 w 3284537"/>
                    <a:gd name="connsiteY12" fmla="*/ 1074737 h 3648075"/>
                    <a:gd name="connsiteX13" fmla="*/ 22225 w 3284537"/>
                    <a:gd name="connsiteY13" fmla="*/ 1474787 h 3648075"/>
                    <a:gd name="connsiteX14" fmla="*/ 165100 w 3284537"/>
                    <a:gd name="connsiteY14" fmla="*/ 1808162 h 3648075"/>
                    <a:gd name="connsiteX15" fmla="*/ 288925 w 3284537"/>
                    <a:gd name="connsiteY15" fmla="*/ 1903412 h 3648075"/>
                    <a:gd name="connsiteX16" fmla="*/ 374650 w 3284537"/>
                    <a:gd name="connsiteY16" fmla="*/ 2398712 h 3648075"/>
                    <a:gd name="connsiteX17" fmla="*/ 488950 w 3284537"/>
                    <a:gd name="connsiteY17" fmla="*/ 2874962 h 3648075"/>
                    <a:gd name="connsiteX18" fmla="*/ 812800 w 3284537"/>
                    <a:gd name="connsiteY18" fmla="*/ 3284537 h 3648075"/>
                    <a:gd name="connsiteX19" fmla="*/ 1222375 w 3284537"/>
                    <a:gd name="connsiteY19" fmla="*/ 3522662 h 3648075"/>
                    <a:gd name="connsiteX20" fmla="*/ 1927225 w 3284537"/>
                    <a:gd name="connsiteY20" fmla="*/ 3579812 h 3648075"/>
                    <a:gd name="connsiteX21" fmla="*/ 2451100 w 3284537"/>
                    <a:gd name="connsiteY21" fmla="*/ 3113087 h 3648075"/>
                    <a:gd name="connsiteX22" fmla="*/ 2660650 w 3284537"/>
                    <a:gd name="connsiteY22" fmla="*/ 2770187 h 3648075"/>
                    <a:gd name="connsiteX23" fmla="*/ 2822575 w 3284537"/>
                    <a:gd name="connsiteY23" fmla="*/ 2284412 h 3648075"/>
                    <a:gd name="connsiteX24" fmla="*/ 2974975 w 3284537"/>
                    <a:gd name="connsiteY24" fmla="*/ 2265362 h 3648075"/>
                    <a:gd name="connsiteX25" fmla="*/ 3165475 w 3284537"/>
                    <a:gd name="connsiteY25" fmla="*/ 1865312 h 3648075"/>
                    <a:gd name="connsiteX26" fmla="*/ 3270250 w 3284537"/>
                    <a:gd name="connsiteY26" fmla="*/ 1665287 h 3648075"/>
                    <a:gd name="connsiteX27" fmla="*/ 3079750 w 3284537"/>
                    <a:gd name="connsiteY27" fmla="*/ 1779587 h 3648075"/>
                    <a:gd name="connsiteX28" fmla="*/ 2955925 w 3284537"/>
                    <a:gd name="connsiteY28" fmla="*/ 1941512 h 3648075"/>
                    <a:gd name="connsiteX29" fmla="*/ 2984500 w 3284537"/>
                    <a:gd name="connsiteY29" fmla="*/ 1417637 h 3648075"/>
                    <a:gd name="connsiteX30" fmla="*/ 2889250 w 3284537"/>
                    <a:gd name="connsiteY30" fmla="*/ 1074737 h 3648075"/>
                    <a:gd name="connsiteX31" fmla="*/ 2870200 w 3284537"/>
                    <a:gd name="connsiteY31" fmla="*/ 779462 h 3648075"/>
                    <a:gd name="connsiteX32" fmla="*/ 2927350 w 3284537"/>
                    <a:gd name="connsiteY32" fmla="*/ 598487 h 3648075"/>
                    <a:gd name="connsiteX33" fmla="*/ 2879725 w 3284537"/>
                    <a:gd name="connsiteY33" fmla="*/ 131762 h 3648075"/>
                    <a:gd name="connsiteX0" fmla="*/ 2879725 w 3284537"/>
                    <a:gd name="connsiteY0" fmla="*/ 131762 h 3648075"/>
                    <a:gd name="connsiteX1" fmla="*/ 2289175 w 3284537"/>
                    <a:gd name="connsiteY1" fmla="*/ 112712 h 3648075"/>
                    <a:gd name="connsiteX2" fmla="*/ 1917700 w 3284537"/>
                    <a:gd name="connsiteY2" fmla="*/ 217487 h 3648075"/>
                    <a:gd name="connsiteX3" fmla="*/ 2060575 w 3284537"/>
                    <a:gd name="connsiteY3" fmla="*/ 55562 h 3648075"/>
                    <a:gd name="connsiteX4" fmla="*/ 1612900 w 3284537"/>
                    <a:gd name="connsiteY4" fmla="*/ 84137 h 3648075"/>
                    <a:gd name="connsiteX5" fmla="*/ 1155700 w 3284537"/>
                    <a:gd name="connsiteY5" fmla="*/ 560387 h 3648075"/>
                    <a:gd name="connsiteX6" fmla="*/ 679450 w 3284537"/>
                    <a:gd name="connsiteY6" fmla="*/ 855662 h 3648075"/>
                    <a:gd name="connsiteX7" fmla="*/ 517525 w 3284537"/>
                    <a:gd name="connsiteY7" fmla="*/ 1008062 h 3648075"/>
                    <a:gd name="connsiteX8" fmla="*/ 393700 w 3284537"/>
                    <a:gd name="connsiteY8" fmla="*/ 1408112 h 3648075"/>
                    <a:gd name="connsiteX9" fmla="*/ 384175 w 3284537"/>
                    <a:gd name="connsiteY9" fmla="*/ 1550987 h 3648075"/>
                    <a:gd name="connsiteX10" fmla="*/ 203200 w 3284537"/>
                    <a:gd name="connsiteY10" fmla="*/ 1331912 h 3648075"/>
                    <a:gd name="connsiteX11" fmla="*/ 31750 w 3284537"/>
                    <a:gd name="connsiteY11" fmla="*/ 1074737 h 3648075"/>
                    <a:gd name="connsiteX12" fmla="*/ 22225 w 3284537"/>
                    <a:gd name="connsiteY12" fmla="*/ 1474787 h 3648075"/>
                    <a:gd name="connsiteX13" fmla="*/ 165100 w 3284537"/>
                    <a:gd name="connsiteY13" fmla="*/ 1808162 h 3648075"/>
                    <a:gd name="connsiteX14" fmla="*/ 288925 w 3284537"/>
                    <a:gd name="connsiteY14" fmla="*/ 1903412 h 3648075"/>
                    <a:gd name="connsiteX15" fmla="*/ 374650 w 3284537"/>
                    <a:gd name="connsiteY15" fmla="*/ 2398712 h 3648075"/>
                    <a:gd name="connsiteX16" fmla="*/ 488950 w 3284537"/>
                    <a:gd name="connsiteY16" fmla="*/ 2874962 h 3648075"/>
                    <a:gd name="connsiteX17" fmla="*/ 812800 w 3284537"/>
                    <a:gd name="connsiteY17" fmla="*/ 3284537 h 3648075"/>
                    <a:gd name="connsiteX18" fmla="*/ 1222375 w 3284537"/>
                    <a:gd name="connsiteY18" fmla="*/ 3522662 h 3648075"/>
                    <a:gd name="connsiteX19" fmla="*/ 1927225 w 3284537"/>
                    <a:gd name="connsiteY19" fmla="*/ 3579812 h 3648075"/>
                    <a:gd name="connsiteX20" fmla="*/ 2451100 w 3284537"/>
                    <a:gd name="connsiteY20" fmla="*/ 3113087 h 3648075"/>
                    <a:gd name="connsiteX21" fmla="*/ 2660650 w 3284537"/>
                    <a:gd name="connsiteY21" fmla="*/ 2770187 h 3648075"/>
                    <a:gd name="connsiteX22" fmla="*/ 2822575 w 3284537"/>
                    <a:gd name="connsiteY22" fmla="*/ 2284412 h 3648075"/>
                    <a:gd name="connsiteX23" fmla="*/ 2974975 w 3284537"/>
                    <a:gd name="connsiteY23" fmla="*/ 2265362 h 3648075"/>
                    <a:gd name="connsiteX24" fmla="*/ 3165475 w 3284537"/>
                    <a:gd name="connsiteY24" fmla="*/ 1865312 h 3648075"/>
                    <a:gd name="connsiteX25" fmla="*/ 3270250 w 3284537"/>
                    <a:gd name="connsiteY25" fmla="*/ 1665287 h 3648075"/>
                    <a:gd name="connsiteX26" fmla="*/ 3079750 w 3284537"/>
                    <a:gd name="connsiteY26" fmla="*/ 1779587 h 3648075"/>
                    <a:gd name="connsiteX27" fmla="*/ 2955925 w 3284537"/>
                    <a:gd name="connsiteY27" fmla="*/ 1941512 h 3648075"/>
                    <a:gd name="connsiteX28" fmla="*/ 2984500 w 3284537"/>
                    <a:gd name="connsiteY28" fmla="*/ 1417637 h 3648075"/>
                    <a:gd name="connsiteX29" fmla="*/ 2889250 w 3284537"/>
                    <a:gd name="connsiteY29" fmla="*/ 1074737 h 3648075"/>
                    <a:gd name="connsiteX30" fmla="*/ 2870200 w 3284537"/>
                    <a:gd name="connsiteY30" fmla="*/ 779462 h 3648075"/>
                    <a:gd name="connsiteX31" fmla="*/ 2927350 w 3284537"/>
                    <a:gd name="connsiteY31" fmla="*/ 598487 h 3648075"/>
                    <a:gd name="connsiteX32" fmla="*/ 2879725 w 3284537"/>
                    <a:gd name="connsiteY32" fmla="*/ 131762 h 3648075"/>
                    <a:gd name="connsiteX0" fmla="*/ 2879725 w 3284537"/>
                    <a:gd name="connsiteY0" fmla="*/ 452651 h 3968964"/>
                    <a:gd name="connsiteX1" fmla="*/ 2289175 w 3284537"/>
                    <a:gd name="connsiteY1" fmla="*/ 433601 h 3968964"/>
                    <a:gd name="connsiteX2" fmla="*/ 1917700 w 3284537"/>
                    <a:gd name="connsiteY2" fmla="*/ 538376 h 3968964"/>
                    <a:gd name="connsiteX3" fmla="*/ 2060575 w 3284537"/>
                    <a:gd name="connsiteY3" fmla="*/ 376451 h 3968964"/>
                    <a:gd name="connsiteX4" fmla="*/ 1612900 w 3284537"/>
                    <a:gd name="connsiteY4" fmla="*/ 405026 h 3968964"/>
                    <a:gd name="connsiteX5" fmla="*/ 1099778 w 3284537"/>
                    <a:gd name="connsiteY5" fmla="*/ 128588 h 3968964"/>
                    <a:gd name="connsiteX6" fmla="*/ 679450 w 3284537"/>
                    <a:gd name="connsiteY6" fmla="*/ 1176551 h 3968964"/>
                    <a:gd name="connsiteX7" fmla="*/ 517525 w 3284537"/>
                    <a:gd name="connsiteY7" fmla="*/ 1328951 h 3968964"/>
                    <a:gd name="connsiteX8" fmla="*/ 393700 w 3284537"/>
                    <a:gd name="connsiteY8" fmla="*/ 1729001 h 3968964"/>
                    <a:gd name="connsiteX9" fmla="*/ 384175 w 3284537"/>
                    <a:gd name="connsiteY9" fmla="*/ 1871876 h 3968964"/>
                    <a:gd name="connsiteX10" fmla="*/ 203200 w 3284537"/>
                    <a:gd name="connsiteY10" fmla="*/ 1652801 h 3968964"/>
                    <a:gd name="connsiteX11" fmla="*/ 31750 w 3284537"/>
                    <a:gd name="connsiteY11" fmla="*/ 1395626 h 3968964"/>
                    <a:gd name="connsiteX12" fmla="*/ 22225 w 3284537"/>
                    <a:gd name="connsiteY12" fmla="*/ 1795676 h 3968964"/>
                    <a:gd name="connsiteX13" fmla="*/ 165100 w 3284537"/>
                    <a:gd name="connsiteY13" fmla="*/ 2129051 h 3968964"/>
                    <a:gd name="connsiteX14" fmla="*/ 288925 w 3284537"/>
                    <a:gd name="connsiteY14" fmla="*/ 2224301 h 3968964"/>
                    <a:gd name="connsiteX15" fmla="*/ 374650 w 3284537"/>
                    <a:gd name="connsiteY15" fmla="*/ 2719601 h 3968964"/>
                    <a:gd name="connsiteX16" fmla="*/ 488950 w 3284537"/>
                    <a:gd name="connsiteY16" fmla="*/ 3195851 h 3968964"/>
                    <a:gd name="connsiteX17" fmla="*/ 812800 w 3284537"/>
                    <a:gd name="connsiteY17" fmla="*/ 3605426 h 3968964"/>
                    <a:gd name="connsiteX18" fmla="*/ 1222375 w 3284537"/>
                    <a:gd name="connsiteY18" fmla="*/ 3843551 h 3968964"/>
                    <a:gd name="connsiteX19" fmla="*/ 1927225 w 3284537"/>
                    <a:gd name="connsiteY19" fmla="*/ 3900701 h 3968964"/>
                    <a:gd name="connsiteX20" fmla="*/ 2451100 w 3284537"/>
                    <a:gd name="connsiteY20" fmla="*/ 3433976 h 3968964"/>
                    <a:gd name="connsiteX21" fmla="*/ 2660650 w 3284537"/>
                    <a:gd name="connsiteY21" fmla="*/ 3091076 h 3968964"/>
                    <a:gd name="connsiteX22" fmla="*/ 2822575 w 3284537"/>
                    <a:gd name="connsiteY22" fmla="*/ 2605301 h 3968964"/>
                    <a:gd name="connsiteX23" fmla="*/ 2974975 w 3284537"/>
                    <a:gd name="connsiteY23" fmla="*/ 2586251 h 3968964"/>
                    <a:gd name="connsiteX24" fmla="*/ 3165475 w 3284537"/>
                    <a:gd name="connsiteY24" fmla="*/ 2186201 h 3968964"/>
                    <a:gd name="connsiteX25" fmla="*/ 3270250 w 3284537"/>
                    <a:gd name="connsiteY25" fmla="*/ 1986176 h 3968964"/>
                    <a:gd name="connsiteX26" fmla="*/ 3079750 w 3284537"/>
                    <a:gd name="connsiteY26" fmla="*/ 2100476 h 3968964"/>
                    <a:gd name="connsiteX27" fmla="*/ 2955925 w 3284537"/>
                    <a:gd name="connsiteY27" fmla="*/ 2262401 h 3968964"/>
                    <a:gd name="connsiteX28" fmla="*/ 2984500 w 3284537"/>
                    <a:gd name="connsiteY28" fmla="*/ 1738526 h 3968964"/>
                    <a:gd name="connsiteX29" fmla="*/ 2889250 w 3284537"/>
                    <a:gd name="connsiteY29" fmla="*/ 1395626 h 3968964"/>
                    <a:gd name="connsiteX30" fmla="*/ 2870200 w 3284537"/>
                    <a:gd name="connsiteY30" fmla="*/ 1100351 h 3968964"/>
                    <a:gd name="connsiteX31" fmla="*/ 2927350 w 3284537"/>
                    <a:gd name="connsiteY31" fmla="*/ 919376 h 3968964"/>
                    <a:gd name="connsiteX32" fmla="*/ 2879725 w 3284537"/>
                    <a:gd name="connsiteY32" fmla="*/ 452651 h 3968964"/>
                    <a:gd name="connsiteX0" fmla="*/ 2879725 w 3284537"/>
                    <a:gd name="connsiteY0" fmla="*/ 452651 h 3968964"/>
                    <a:gd name="connsiteX1" fmla="*/ 2289175 w 3284537"/>
                    <a:gd name="connsiteY1" fmla="*/ 433601 h 3968964"/>
                    <a:gd name="connsiteX2" fmla="*/ 1917700 w 3284537"/>
                    <a:gd name="connsiteY2" fmla="*/ 538376 h 3968964"/>
                    <a:gd name="connsiteX3" fmla="*/ 2060575 w 3284537"/>
                    <a:gd name="connsiteY3" fmla="*/ 376451 h 3968964"/>
                    <a:gd name="connsiteX4" fmla="*/ 1612900 w 3284537"/>
                    <a:gd name="connsiteY4" fmla="*/ 405026 h 3968964"/>
                    <a:gd name="connsiteX5" fmla="*/ 1099778 w 3284537"/>
                    <a:gd name="connsiteY5" fmla="*/ 128588 h 3968964"/>
                    <a:gd name="connsiteX6" fmla="*/ 679450 w 3284537"/>
                    <a:gd name="connsiteY6" fmla="*/ 1176551 h 3968964"/>
                    <a:gd name="connsiteX7" fmla="*/ 517525 w 3284537"/>
                    <a:gd name="connsiteY7" fmla="*/ 1328951 h 3968964"/>
                    <a:gd name="connsiteX8" fmla="*/ 393700 w 3284537"/>
                    <a:gd name="connsiteY8" fmla="*/ 1729001 h 3968964"/>
                    <a:gd name="connsiteX9" fmla="*/ 384175 w 3284537"/>
                    <a:gd name="connsiteY9" fmla="*/ 1871876 h 3968964"/>
                    <a:gd name="connsiteX10" fmla="*/ 203200 w 3284537"/>
                    <a:gd name="connsiteY10" fmla="*/ 1652801 h 3968964"/>
                    <a:gd name="connsiteX11" fmla="*/ 31750 w 3284537"/>
                    <a:gd name="connsiteY11" fmla="*/ 1395626 h 3968964"/>
                    <a:gd name="connsiteX12" fmla="*/ 22225 w 3284537"/>
                    <a:gd name="connsiteY12" fmla="*/ 1795676 h 3968964"/>
                    <a:gd name="connsiteX13" fmla="*/ 165100 w 3284537"/>
                    <a:gd name="connsiteY13" fmla="*/ 2129051 h 3968964"/>
                    <a:gd name="connsiteX14" fmla="*/ 288925 w 3284537"/>
                    <a:gd name="connsiteY14" fmla="*/ 2224301 h 3968964"/>
                    <a:gd name="connsiteX15" fmla="*/ 374650 w 3284537"/>
                    <a:gd name="connsiteY15" fmla="*/ 2719601 h 3968964"/>
                    <a:gd name="connsiteX16" fmla="*/ 488950 w 3284537"/>
                    <a:gd name="connsiteY16" fmla="*/ 3195851 h 3968964"/>
                    <a:gd name="connsiteX17" fmla="*/ 812800 w 3284537"/>
                    <a:gd name="connsiteY17" fmla="*/ 3605426 h 3968964"/>
                    <a:gd name="connsiteX18" fmla="*/ 1222375 w 3284537"/>
                    <a:gd name="connsiteY18" fmla="*/ 3843551 h 3968964"/>
                    <a:gd name="connsiteX19" fmla="*/ 1927225 w 3284537"/>
                    <a:gd name="connsiteY19" fmla="*/ 3900701 h 3968964"/>
                    <a:gd name="connsiteX20" fmla="*/ 2451100 w 3284537"/>
                    <a:gd name="connsiteY20" fmla="*/ 3433976 h 3968964"/>
                    <a:gd name="connsiteX21" fmla="*/ 2660650 w 3284537"/>
                    <a:gd name="connsiteY21" fmla="*/ 3091076 h 3968964"/>
                    <a:gd name="connsiteX22" fmla="*/ 2822575 w 3284537"/>
                    <a:gd name="connsiteY22" fmla="*/ 2605301 h 3968964"/>
                    <a:gd name="connsiteX23" fmla="*/ 2974975 w 3284537"/>
                    <a:gd name="connsiteY23" fmla="*/ 2586251 h 3968964"/>
                    <a:gd name="connsiteX24" fmla="*/ 3165475 w 3284537"/>
                    <a:gd name="connsiteY24" fmla="*/ 2186201 h 3968964"/>
                    <a:gd name="connsiteX25" fmla="*/ 3270250 w 3284537"/>
                    <a:gd name="connsiteY25" fmla="*/ 1986176 h 3968964"/>
                    <a:gd name="connsiteX26" fmla="*/ 3079750 w 3284537"/>
                    <a:gd name="connsiteY26" fmla="*/ 2100476 h 3968964"/>
                    <a:gd name="connsiteX27" fmla="*/ 2955925 w 3284537"/>
                    <a:gd name="connsiteY27" fmla="*/ 2262401 h 3968964"/>
                    <a:gd name="connsiteX28" fmla="*/ 2984500 w 3284537"/>
                    <a:gd name="connsiteY28" fmla="*/ 1738526 h 3968964"/>
                    <a:gd name="connsiteX29" fmla="*/ 2889250 w 3284537"/>
                    <a:gd name="connsiteY29" fmla="*/ 1395626 h 3968964"/>
                    <a:gd name="connsiteX30" fmla="*/ 2870200 w 3284537"/>
                    <a:gd name="connsiteY30" fmla="*/ 1100351 h 3968964"/>
                    <a:gd name="connsiteX31" fmla="*/ 2927350 w 3284537"/>
                    <a:gd name="connsiteY31" fmla="*/ 919376 h 3968964"/>
                    <a:gd name="connsiteX32" fmla="*/ 2879725 w 3284537"/>
                    <a:gd name="connsiteY32" fmla="*/ 452651 h 3968964"/>
                    <a:gd name="connsiteX0" fmla="*/ 2879725 w 3284537"/>
                    <a:gd name="connsiteY0" fmla="*/ 387851 h 3904164"/>
                    <a:gd name="connsiteX1" fmla="*/ 2289175 w 3284537"/>
                    <a:gd name="connsiteY1" fmla="*/ 368801 h 3904164"/>
                    <a:gd name="connsiteX2" fmla="*/ 1917700 w 3284537"/>
                    <a:gd name="connsiteY2" fmla="*/ 473576 h 3904164"/>
                    <a:gd name="connsiteX3" fmla="*/ 2060575 w 3284537"/>
                    <a:gd name="connsiteY3" fmla="*/ 311651 h 3904164"/>
                    <a:gd name="connsiteX4" fmla="*/ 1612900 w 3284537"/>
                    <a:gd name="connsiteY4" fmla="*/ 340226 h 3904164"/>
                    <a:gd name="connsiteX5" fmla="*/ 944261 w 3284537"/>
                    <a:gd name="connsiteY5" fmla="*/ 128587 h 3904164"/>
                    <a:gd name="connsiteX6" fmla="*/ 679450 w 3284537"/>
                    <a:gd name="connsiteY6" fmla="*/ 1111751 h 3904164"/>
                    <a:gd name="connsiteX7" fmla="*/ 517525 w 3284537"/>
                    <a:gd name="connsiteY7" fmla="*/ 1264151 h 3904164"/>
                    <a:gd name="connsiteX8" fmla="*/ 393700 w 3284537"/>
                    <a:gd name="connsiteY8" fmla="*/ 1664201 h 3904164"/>
                    <a:gd name="connsiteX9" fmla="*/ 384175 w 3284537"/>
                    <a:gd name="connsiteY9" fmla="*/ 1807076 h 3904164"/>
                    <a:gd name="connsiteX10" fmla="*/ 203200 w 3284537"/>
                    <a:gd name="connsiteY10" fmla="*/ 1588001 h 3904164"/>
                    <a:gd name="connsiteX11" fmla="*/ 31750 w 3284537"/>
                    <a:gd name="connsiteY11" fmla="*/ 1330826 h 3904164"/>
                    <a:gd name="connsiteX12" fmla="*/ 22225 w 3284537"/>
                    <a:gd name="connsiteY12" fmla="*/ 1730876 h 3904164"/>
                    <a:gd name="connsiteX13" fmla="*/ 165100 w 3284537"/>
                    <a:gd name="connsiteY13" fmla="*/ 2064251 h 3904164"/>
                    <a:gd name="connsiteX14" fmla="*/ 288925 w 3284537"/>
                    <a:gd name="connsiteY14" fmla="*/ 2159501 h 3904164"/>
                    <a:gd name="connsiteX15" fmla="*/ 374650 w 3284537"/>
                    <a:gd name="connsiteY15" fmla="*/ 2654801 h 3904164"/>
                    <a:gd name="connsiteX16" fmla="*/ 488950 w 3284537"/>
                    <a:gd name="connsiteY16" fmla="*/ 3131051 h 3904164"/>
                    <a:gd name="connsiteX17" fmla="*/ 812800 w 3284537"/>
                    <a:gd name="connsiteY17" fmla="*/ 3540626 h 3904164"/>
                    <a:gd name="connsiteX18" fmla="*/ 1222375 w 3284537"/>
                    <a:gd name="connsiteY18" fmla="*/ 3778751 h 3904164"/>
                    <a:gd name="connsiteX19" fmla="*/ 1927225 w 3284537"/>
                    <a:gd name="connsiteY19" fmla="*/ 3835901 h 3904164"/>
                    <a:gd name="connsiteX20" fmla="*/ 2451100 w 3284537"/>
                    <a:gd name="connsiteY20" fmla="*/ 3369176 h 3904164"/>
                    <a:gd name="connsiteX21" fmla="*/ 2660650 w 3284537"/>
                    <a:gd name="connsiteY21" fmla="*/ 3026276 h 3904164"/>
                    <a:gd name="connsiteX22" fmla="*/ 2822575 w 3284537"/>
                    <a:gd name="connsiteY22" fmla="*/ 2540501 h 3904164"/>
                    <a:gd name="connsiteX23" fmla="*/ 2974975 w 3284537"/>
                    <a:gd name="connsiteY23" fmla="*/ 2521451 h 3904164"/>
                    <a:gd name="connsiteX24" fmla="*/ 3165475 w 3284537"/>
                    <a:gd name="connsiteY24" fmla="*/ 2121401 h 3904164"/>
                    <a:gd name="connsiteX25" fmla="*/ 3270250 w 3284537"/>
                    <a:gd name="connsiteY25" fmla="*/ 1921376 h 3904164"/>
                    <a:gd name="connsiteX26" fmla="*/ 3079750 w 3284537"/>
                    <a:gd name="connsiteY26" fmla="*/ 2035676 h 3904164"/>
                    <a:gd name="connsiteX27" fmla="*/ 2955925 w 3284537"/>
                    <a:gd name="connsiteY27" fmla="*/ 2197601 h 3904164"/>
                    <a:gd name="connsiteX28" fmla="*/ 2984500 w 3284537"/>
                    <a:gd name="connsiteY28" fmla="*/ 1673726 h 3904164"/>
                    <a:gd name="connsiteX29" fmla="*/ 2889250 w 3284537"/>
                    <a:gd name="connsiteY29" fmla="*/ 1330826 h 3904164"/>
                    <a:gd name="connsiteX30" fmla="*/ 2870200 w 3284537"/>
                    <a:gd name="connsiteY30" fmla="*/ 1035551 h 3904164"/>
                    <a:gd name="connsiteX31" fmla="*/ 2927350 w 3284537"/>
                    <a:gd name="connsiteY31" fmla="*/ 854576 h 3904164"/>
                    <a:gd name="connsiteX32" fmla="*/ 2879725 w 3284537"/>
                    <a:gd name="connsiteY32" fmla="*/ 387851 h 3904164"/>
                    <a:gd name="connsiteX0" fmla="*/ 2879725 w 3284537"/>
                    <a:gd name="connsiteY0" fmla="*/ 387852 h 3904165"/>
                    <a:gd name="connsiteX1" fmla="*/ 2289175 w 3284537"/>
                    <a:gd name="connsiteY1" fmla="*/ 368802 h 3904165"/>
                    <a:gd name="connsiteX2" fmla="*/ 1917700 w 3284537"/>
                    <a:gd name="connsiteY2" fmla="*/ 473577 h 3904165"/>
                    <a:gd name="connsiteX3" fmla="*/ 2060575 w 3284537"/>
                    <a:gd name="connsiteY3" fmla="*/ 311652 h 3904165"/>
                    <a:gd name="connsiteX4" fmla="*/ 1612900 w 3284537"/>
                    <a:gd name="connsiteY4" fmla="*/ 340227 h 3904165"/>
                    <a:gd name="connsiteX5" fmla="*/ 944261 w 3284537"/>
                    <a:gd name="connsiteY5" fmla="*/ 128588 h 3904165"/>
                    <a:gd name="connsiteX6" fmla="*/ 884481 w 3284537"/>
                    <a:gd name="connsiteY6" fmla="*/ 901499 h 3904165"/>
                    <a:gd name="connsiteX7" fmla="*/ 517525 w 3284537"/>
                    <a:gd name="connsiteY7" fmla="*/ 1264152 h 3904165"/>
                    <a:gd name="connsiteX8" fmla="*/ 393700 w 3284537"/>
                    <a:gd name="connsiteY8" fmla="*/ 1664202 h 3904165"/>
                    <a:gd name="connsiteX9" fmla="*/ 384175 w 3284537"/>
                    <a:gd name="connsiteY9" fmla="*/ 1807077 h 3904165"/>
                    <a:gd name="connsiteX10" fmla="*/ 203200 w 3284537"/>
                    <a:gd name="connsiteY10" fmla="*/ 1588002 h 3904165"/>
                    <a:gd name="connsiteX11" fmla="*/ 31750 w 3284537"/>
                    <a:gd name="connsiteY11" fmla="*/ 1330827 h 3904165"/>
                    <a:gd name="connsiteX12" fmla="*/ 22225 w 3284537"/>
                    <a:gd name="connsiteY12" fmla="*/ 1730877 h 3904165"/>
                    <a:gd name="connsiteX13" fmla="*/ 165100 w 3284537"/>
                    <a:gd name="connsiteY13" fmla="*/ 2064252 h 3904165"/>
                    <a:gd name="connsiteX14" fmla="*/ 288925 w 3284537"/>
                    <a:gd name="connsiteY14" fmla="*/ 2159502 h 3904165"/>
                    <a:gd name="connsiteX15" fmla="*/ 374650 w 3284537"/>
                    <a:gd name="connsiteY15" fmla="*/ 2654802 h 3904165"/>
                    <a:gd name="connsiteX16" fmla="*/ 488950 w 3284537"/>
                    <a:gd name="connsiteY16" fmla="*/ 3131052 h 3904165"/>
                    <a:gd name="connsiteX17" fmla="*/ 812800 w 3284537"/>
                    <a:gd name="connsiteY17" fmla="*/ 3540627 h 3904165"/>
                    <a:gd name="connsiteX18" fmla="*/ 1222375 w 3284537"/>
                    <a:gd name="connsiteY18" fmla="*/ 3778752 h 3904165"/>
                    <a:gd name="connsiteX19" fmla="*/ 1927225 w 3284537"/>
                    <a:gd name="connsiteY19" fmla="*/ 3835902 h 3904165"/>
                    <a:gd name="connsiteX20" fmla="*/ 2451100 w 3284537"/>
                    <a:gd name="connsiteY20" fmla="*/ 3369177 h 3904165"/>
                    <a:gd name="connsiteX21" fmla="*/ 2660650 w 3284537"/>
                    <a:gd name="connsiteY21" fmla="*/ 3026277 h 3904165"/>
                    <a:gd name="connsiteX22" fmla="*/ 2822575 w 3284537"/>
                    <a:gd name="connsiteY22" fmla="*/ 2540502 h 3904165"/>
                    <a:gd name="connsiteX23" fmla="*/ 2974975 w 3284537"/>
                    <a:gd name="connsiteY23" fmla="*/ 2521452 h 3904165"/>
                    <a:gd name="connsiteX24" fmla="*/ 3165475 w 3284537"/>
                    <a:gd name="connsiteY24" fmla="*/ 2121402 h 3904165"/>
                    <a:gd name="connsiteX25" fmla="*/ 3270250 w 3284537"/>
                    <a:gd name="connsiteY25" fmla="*/ 1921377 h 3904165"/>
                    <a:gd name="connsiteX26" fmla="*/ 3079750 w 3284537"/>
                    <a:gd name="connsiteY26" fmla="*/ 2035677 h 3904165"/>
                    <a:gd name="connsiteX27" fmla="*/ 2955925 w 3284537"/>
                    <a:gd name="connsiteY27" fmla="*/ 2197602 h 3904165"/>
                    <a:gd name="connsiteX28" fmla="*/ 2984500 w 3284537"/>
                    <a:gd name="connsiteY28" fmla="*/ 1673727 h 3904165"/>
                    <a:gd name="connsiteX29" fmla="*/ 2889250 w 3284537"/>
                    <a:gd name="connsiteY29" fmla="*/ 1330827 h 3904165"/>
                    <a:gd name="connsiteX30" fmla="*/ 2870200 w 3284537"/>
                    <a:gd name="connsiteY30" fmla="*/ 1035552 h 3904165"/>
                    <a:gd name="connsiteX31" fmla="*/ 2927350 w 3284537"/>
                    <a:gd name="connsiteY31" fmla="*/ 854577 h 3904165"/>
                    <a:gd name="connsiteX32" fmla="*/ 2879725 w 3284537"/>
                    <a:gd name="connsiteY32" fmla="*/ 387852 h 3904165"/>
                    <a:gd name="connsiteX0" fmla="*/ 2879725 w 3284537"/>
                    <a:gd name="connsiteY0" fmla="*/ 387852 h 3904165"/>
                    <a:gd name="connsiteX1" fmla="*/ 2289175 w 3284537"/>
                    <a:gd name="connsiteY1" fmla="*/ 368802 h 3904165"/>
                    <a:gd name="connsiteX2" fmla="*/ 1917700 w 3284537"/>
                    <a:gd name="connsiteY2" fmla="*/ 473577 h 3904165"/>
                    <a:gd name="connsiteX3" fmla="*/ 2060575 w 3284537"/>
                    <a:gd name="connsiteY3" fmla="*/ 311652 h 3904165"/>
                    <a:gd name="connsiteX4" fmla="*/ 1612900 w 3284537"/>
                    <a:gd name="connsiteY4" fmla="*/ 340227 h 3904165"/>
                    <a:gd name="connsiteX5" fmla="*/ 944261 w 3284537"/>
                    <a:gd name="connsiteY5" fmla="*/ 128588 h 3904165"/>
                    <a:gd name="connsiteX6" fmla="*/ 884481 w 3284537"/>
                    <a:gd name="connsiteY6" fmla="*/ 901499 h 3904165"/>
                    <a:gd name="connsiteX7" fmla="*/ 517525 w 3284537"/>
                    <a:gd name="connsiteY7" fmla="*/ 1264152 h 3904165"/>
                    <a:gd name="connsiteX8" fmla="*/ 393700 w 3284537"/>
                    <a:gd name="connsiteY8" fmla="*/ 1664202 h 3904165"/>
                    <a:gd name="connsiteX9" fmla="*/ 384175 w 3284537"/>
                    <a:gd name="connsiteY9" fmla="*/ 1807077 h 3904165"/>
                    <a:gd name="connsiteX10" fmla="*/ 203200 w 3284537"/>
                    <a:gd name="connsiteY10" fmla="*/ 1588002 h 3904165"/>
                    <a:gd name="connsiteX11" fmla="*/ 31750 w 3284537"/>
                    <a:gd name="connsiteY11" fmla="*/ 1330827 h 3904165"/>
                    <a:gd name="connsiteX12" fmla="*/ 22225 w 3284537"/>
                    <a:gd name="connsiteY12" fmla="*/ 1730877 h 3904165"/>
                    <a:gd name="connsiteX13" fmla="*/ 165100 w 3284537"/>
                    <a:gd name="connsiteY13" fmla="*/ 2064252 h 3904165"/>
                    <a:gd name="connsiteX14" fmla="*/ 288925 w 3284537"/>
                    <a:gd name="connsiteY14" fmla="*/ 2159502 h 3904165"/>
                    <a:gd name="connsiteX15" fmla="*/ 374650 w 3284537"/>
                    <a:gd name="connsiteY15" fmla="*/ 2654802 h 3904165"/>
                    <a:gd name="connsiteX16" fmla="*/ 488950 w 3284537"/>
                    <a:gd name="connsiteY16" fmla="*/ 3131052 h 3904165"/>
                    <a:gd name="connsiteX17" fmla="*/ 812800 w 3284537"/>
                    <a:gd name="connsiteY17" fmla="*/ 3540627 h 3904165"/>
                    <a:gd name="connsiteX18" fmla="*/ 1222375 w 3284537"/>
                    <a:gd name="connsiteY18" fmla="*/ 3778752 h 3904165"/>
                    <a:gd name="connsiteX19" fmla="*/ 1927225 w 3284537"/>
                    <a:gd name="connsiteY19" fmla="*/ 3835902 h 3904165"/>
                    <a:gd name="connsiteX20" fmla="*/ 2451100 w 3284537"/>
                    <a:gd name="connsiteY20" fmla="*/ 3369177 h 3904165"/>
                    <a:gd name="connsiteX21" fmla="*/ 2660650 w 3284537"/>
                    <a:gd name="connsiteY21" fmla="*/ 3026277 h 3904165"/>
                    <a:gd name="connsiteX22" fmla="*/ 2822575 w 3284537"/>
                    <a:gd name="connsiteY22" fmla="*/ 2540502 h 3904165"/>
                    <a:gd name="connsiteX23" fmla="*/ 2974975 w 3284537"/>
                    <a:gd name="connsiteY23" fmla="*/ 2521452 h 3904165"/>
                    <a:gd name="connsiteX24" fmla="*/ 3165475 w 3284537"/>
                    <a:gd name="connsiteY24" fmla="*/ 2121402 h 3904165"/>
                    <a:gd name="connsiteX25" fmla="*/ 3270250 w 3284537"/>
                    <a:gd name="connsiteY25" fmla="*/ 1921377 h 3904165"/>
                    <a:gd name="connsiteX26" fmla="*/ 3079750 w 3284537"/>
                    <a:gd name="connsiteY26" fmla="*/ 2035677 h 3904165"/>
                    <a:gd name="connsiteX27" fmla="*/ 2955925 w 3284537"/>
                    <a:gd name="connsiteY27" fmla="*/ 2197602 h 3904165"/>
                    <a:gd name="connsiteX28" fmla="*/ 2984500 w 3284537"/>
                    <a:gd name="connsiteY28" fmla="*/ 1673727 h 3904165"/>
                    <a:gd name="connsiteX29" fmla="*/ 2889250 w 3284537"/>
                    <a:gd name="connsiteY29" fmla="*/ 1330827 h 3904165"/>
                    <a:gd name="connsiteX30" fmla="*/ 2870200 w 3284537"/>
                    <a:gd name="connsiteY30" fmla="*/ 1035552 h 3904165"/>
                    <a:gd name="connsiteX31" fmla="*/ 2927350 w 3284537"/>
                    <a:gd name="connsiteY31" fmla="*/ 854577 h 3904165"/>
                    <a:gd name="connsiteX32" fmla="*/ 2879725 w 3284537"/>
                    <a:gd name="connsiteY32" fmla="*/ 387852 h 3904165"/>
                    <a:gd name="connsiteX0" fmla="*/ 2879725 w 3284537"/>
                    <a:gd name="connsiteY0" fmla="*/ 387852 h 3904165"/>
                    <a:gd name="connsiteX1" fmla="*/ 2289175 w 3284537"/>
                    <a:gd name="connsiteY1" fmla="*/ 368802 h 3904165"/>
                    <a:gd name="connsiteX2" fmla="*/ 1917700 w 3284537"/>
                    <a:gd name="connsiteY2" fmla="*/ 473577 h 3904165"/>
                    <a:gd name="connsiteX3" fmla="*/ 2060575 w 3284537"/>
                    <a:gd name="connsiteY3" fmla="*/ 311652 h 3904165"/>
                    <a:gd name="connsiteX4" fmla="*/ 1612900 w 3284537"/>
                    <a:gd name="connsiteY4" fmla="*/ 340227 h 3904165"/>
                    <a:gd name="connsiteX5" fmla="*/ 944261 w 3284537"/>
                    <a:gd name="connsiteY5" fmla="*/ 128588 h 3904165"/>
                    <a:gd name="connsiteX6" fmla="*/ 851016 w 3284537"/>
                    <a:gd name="connsiteY6" fmla="*/ 788539 h 3904165"/>
                    <a:gd name="connsiteX7" fmla="*/ 517525 w 3284537"/>
                    <a:gd name="connsiteY7" fmla="*/ 1264152 h 3904165"/>
                    <a:gd name="connsiteX8" fmla="*/ 393700 w 3284537"/>
                    <a:gd name="connsiteY8" fmla="*/ 1664202 h 3904165"/>
                    <a:gd name="connsiteX9" fmla="*/ 384175 w 3284537"/>
                    <a:gd name="connsiteY9" fmla="*/ 1807077 h 3904165"/>
                    <a:gd name="connsiteX10" fmla="*/ 203200 w 3284537"/>
                    <a:gd name="connsiteY10" fmla="*/ 1588002 h 3904165"/>
                    <a:gd name="connsiteX11" fmla="*/ 31750 w 3284537"/>
                    <a:gd name="connsiteY11" fmla="*/ 1330827 h 3904165"/>
                    <a:gd name="connsiteX12" fmla="*/ 22225 w 3284537"/>
                    <a:gd name="connsiteY12" fmla="*/ 1730877 h 3904165"/>
                    <a:gd name="connsiteX13" fmla="*/ 165100 w 3284537"/>
                    <a:gd name="connsiteY13" fmla="*/ 2064252 h 3904165"/>
                    <a:gd name="connsiteX14" fmla="*/ 288925 w 3284537"/>
                    <a:gd name="connsiteY14" fmla="*/ 2159502 h 3904165"/>
                    <a:gd name="connsiteX15" fmla="*/ 374650 w 3284537"/>
                    <a:gd name="connsiteY15" fmla="*/ 2654802 h 3904165"/>
                    <a:gd name="connsiteX16" fmla="*/ 488950 w 3284537"/>
                    <a:gd name="connsiteY16" fmla="*/ 3131052 h 3904165"/>
                    <a:gd name="connsiteX17" fmla="*/ 812800 w 3284537"/>
                    <a:gd name="connsiteY17" fmla="*/ 3540627 h 3904165"/>
                    <a:gd name="connsiteX18" fmla="*/ 1222375 w 3284537"/>
                    <a:gd name="connsiteY18" fmla="*/ 3778752 h 3904165"/>
                    <a:gd name="connsiteX19" fmla="*/ 1927225 w 3284537"/>
                    <a:gd name="connsiteY19" fmla="*/ 3835902 h 3904165"/>
                    <a:gd name="connsiteX20" fmla="*/ 2451100 w 3284537"/>
                    <a:gd name="connsiteY20" fmla="*/ 3369177 h 3904165"/>
                    <a:gd name="connsiteX21" fmla="*/ 2660650 w 3284537"/>
                    <a:gd name="connsiteY21" fmla="*/ 3026277 h 3904165"/>
                    <a:gd name="connsiteX22" fmla="*/ 2822575 w 3284537"/>
                    <a:gd name="connsiteY22" fmla="*/ 2540502 h 3904165"/>
                    <a:gd name="connsiteX23" fmla="*/ 2974975 w 3284537"/>
                    <a:gd name="connsiteY23" fmla="*/ 2521452 h 3904165"/>
                    <a:gd name="connsiteX24" fmla="*/ 3165475 w 3284537"/>
                    <a:gd name="connsiteY24" fmla="*/ 2121402 h 3904165"/>
                    <a:gd name="connsiteX25" fmla="*/ 3270250 w 3284537"/>
                    <a:gd name="connsiteY25" fmla="*/ 1921377 h 3904165"/>
                    <a:gd name="connsiteX26" fmla="*/ 3079750 w 3284537"/>
                    <a:gd name="connsiteY26" fmla="*/ 2035677 h 3904165"/>
                    <a:gd name="connsiteX27" fmla="*/ 2955925 w 3284537"/>
                    <a:gd name="connsiteY27" fmla="*/ 2197602 h 3904165"/>
                    <a:gd name="connsiteX28" fmla="*/ 2984500 w 3284537"/>
                    <a:gd name="connsiteY28" fmla="*/ 1673727 h 3904165"/>
                    <a:gd name="connsiteX29" fmla="*/ 2889250 w 3284537"/>
                    <a:gd name="connsiteY29" fmla="*/ 1330827 h 3904165"/>
                    <a:gd name="connsiteX30" fmla="*/ 2870200 w 3284537"/>
                    <a:gd name="connsiteY30" fmla="*/ 1035552 h 3904165"/>
                    <a:gd name="connsiteX31" fmla="*/ 2927350 w 3284537"/>
                    <a:gd name="connsiteY31" fmla="*/ 854577 h 3904165"/>
                    <a:gd name="connsiteX32" fmla="*/ 2879725 w 3284537"/>
                    <a:gd name="connsiteY32" fmla="*/ 387852 h 3904165"/>
                    <a:gd name="connsiteX0" fmla="*/ 2879725 w 3284537"/>
                    <a:gd name="connsiteY0" fmla="*/ 387852 h 3904165"/>
                    <a:gd name="connsiteX1" fmla="*/ 2289175 w 3284537"/>
                    <a:gd name="connsiteY1" fmla="*/ 368802 h 3904165"/>
                    <a:gd name="connsiteX2" fmla="*/ 1917700 w 3284537"/>
                    <a:gd name="connsiteY2" fmla="*/ 473577 h 3904165"/>
                    <a:gd name="connsiteX3" fmla="*/ 2060575 w 3284537"/>
                    <a:gd name="connsiteY3" fmla="*/ 311652 h 3904165"/>
                    <a:gd name="connsiteX4" fmla="*/ 1612900 w 3284537"/>
                    <a:gd name="connsiteY4" fmla="*/ 340227 h 3904165"/>
                    <a:gd name="connsiteX5" fmla="*/ 944261 w 3284537"/>
                    <a:gd name="connsiteY5" fmla="*/ 128588 h 3904165"/>
                    <a:gd name="connsiteX6" fmla="*/ 851016 w 3284537"/>
                    <a:gd name="connsiteY6" fmla="*/ 788539 h 3904165"/>
                    <a:gd name="connsiteX7" fmla="*/ 517525 w 3284537"/>
                    <a:gd name="connsiteY7" fmla="*/ 1264152 h 3904165"/>
                    <a:gd name="connsiteX8" fmla="*/ 393700 w 3284537"/>
                    <a:gd name="connsiteY8" fmla="*/ 1664202 h 3904165"/>
                    <a:gd name="connsiteX9" fmla="*/ 384175 w 3284537"/>
                    <a:gd name="connsiteY9" fmla="*/ 1807077 h 3904165"/>
                    <a:gd name="connsiteX10" fmla="*/ 203200 w 3284537"/>
                    <a:gd name="connsiteY10" fmla="*/ 1588002 h 3904165"/>
                    <a:gd name="connsiteX11" fmla="*/ 31750 w 3284537"/>
                    <a:gd name="connsiteY11" fmla="*/ 1330827 h 3904165"/>
                    <a:gd name="connsiteX12" fmla="*/ 22225 w 3284537"/>
                    <a:gd name="connsiteY12" fmla="*/ 1730877 h 3904165"/>
                    <a:gd name="connsiteX13" fmla="*/ 165100 w 3284537"/>
                    <a:gd name="connsiteY13" fmla="*/ 2064252 h 3904165"/>
                    <a:gd name="connsiteX14" fmla="*/ 288925 w 3284537"/>
                    <a:gd name="connsiteY14" fmla="*/ 2159502 h 3904165"/>
                    <a:gd name="connsiteX15" fmla="*/ 374650 w 3284537"/>
                    <a:gd name="connsiteY15" fmla="*/ 2654802 h 3904165"/>
                    <a:gd name="connsiteX16" fmla="*/ 488950 w 3284537"/>
                    <a:gd name="connsiteY16" fmla="*/ 3131052 h 3904165"/>
                    <a:gd name="connsiteX17" fmla="*/ 812800 w 3284537"/>
                    <a:gd name="connsiteY17" fmla="*/ 3540627 h 3904165"/>
                    <a:gd name="connsiteX18" fmla="*/ 1222375 w 3284537"/>
                    <a:gd name="connsiteY18" fmla="*/ 3778752 h 3904165"/>
                    <a:gd name="connsiteX19" fmla="*/ 1927225 w 3284537"/>
                    <a:gd name="connsiteY19" fmla="*/ 3835902 h 3904165"/>
                    <a:gd name="connsiteX20" fmla="*/ 2451100 w 3284537"/>
                    <a:gd name="connsiteY20" fmla="*/ 3369177 h 3904165"/>
                    <a:gd name="connsiteX21" fmla="*/ 2660650 w 3284537"/>
                    <a:gd name="connsiteY21" fmla="*/ 3026277 h 3904165"/>
                    <a:gd name="connsiteX22" fmla="*/ 2822575 w 3284537"/>
                    <a:gd name="connsiteY22" fmla="*/ 2540502 h 3904165"/>
                    <a:gd name="connsiteX23" fmla="*/ 2974975 w 3284537"/>
                    <a:gd name="connsiteY23" fmla="*/ 2521452 h 3904165"/>
                    <a:gd name="connsiteX24" fmla="*/ 3165475 w 3284537"/>
                    <a:gd name="connsiteY24" fmla="*/ 2121402 h 3904165"/>
                    <a:gd name="connsiteX25" fmla="*/ 3270250 w 3284537"/>
                    <a:gd name="connsiteY25" fmla="*/ 1921377 h 3904165"/>
                    <a:gd name="connsiteX26" fmla="*/ 3079750 w 3284537"/>
                    <a:gd name="connsiteY26" fmla="*/ 2035677 h 3904165"/>
                    <a:gd name="connsiteX27" fmla="*/ 2955925 w 3284537"/>
                    <a:gd name="connsiteY27" fmla="*/ 2197602 h 3904165"/>
                    <a:gd name="connsiteX28" fmla="*/ 2984500 w 3284537"/>
                    <a:gd name="connsiteY28" fmla="*/ 1673727 h 3904165"/>
                    <a:gd name="connsiteX29" fmla="*/ 2889250 w 3284537"/>
                    <a:gd name="connsiteY29" fmla="*/ 1330827 h 3904165"/>
                    <a:gd name="connsiteX30" fmla="*/ 2870200 w 3284537"/>
                    <a:gd name="connsiteY30" fmla="*/ 1035552 h 3904165"/>
                    <a:gd name="connsiteX31" fmla="*/ 2927350 w 3284537"/>
                    <a:gd name="connsiteY31" fmla="*/ 854577 h 3904165"/>
                    <a:gd name="connsiteX32" fmla="*/ 2879725 w 3284537"/>
                    <a:gd name="connsiteY32" fmla="*/ 387852 h 3904165"/>
                    <a:gd name="connsiteX0" fmla="*/ 2879725 w 3284537"/>
                    <a:gd name="connsiteY0" fmla="*/ 387852 h 3904165"/>
                    <a:gd name="connsiteX1" fmla="*/ 2289175 w 3284537"/>
                    <a:gd name="connsiteY1" fmla="*/ 368802 h 3904165"/>
                    <a:gd name="connsiteX2" fmla="*/ 1917700 w 3284537"/>
                    <a:gd name="connsiteY2" fmla="*/ 473577 h 3904165"/>
                    <a:gd name="connsiteX3" fmla="*/ 2060575 w 3284537"/>
                    <a:gd name="connsiteY3" fmla="*/ 311652 h 3904165"/>
                    <a:gd name="connsiteX4" fmla="*/ 1612900 w 3284537"/>
                    <a:gd name="connsiteY4" fmla="*/ 340227 h 3904165"/>
                    <a:gd name="connsiteX5" fmla="*/ 944261 w 3284537"/>
                    <a:gd name="connsiteY5" fmla="*/ 128588 h 3904165"/>
                    <a:gd name="connsiteX6" fmla="*/ 851016 w 3284537"/>
                    <a:gd name="connsiteY6" fmla="*/ 788539 h 3904165"/>
                    <a:gd name="connsiteX7" fmla="*/ 517525 w 3284537"/>
                    <a:gd name="connsiteY7" fmla="*/ 1264152 h 3904165"/>
                    <a:gd name="connsiteX8" fmla="*/ 393700 w 3284537"/>
                    <a:gd name="connsiteY8" fmla="*/ 1664202 h 3904165"/>
                    <a:gd name="connsiteX9" fmla="*/ 384175 w 3284537"/>
                    <a:gd name="connsiteY9" fmla="*/ 1807077 h 3904165"/>
                    <a:gd name="connsiteX10" fmla="*/ 203200 w 3284537"/>
                    <a:gd name="connsiteY10" fmla="*/ 1588002 h 3904165"/>
                    <a:gd name="connsiteX11" fmla="*/ 31750 w 3284537"/>
                    <a:gd name="connsiteY11" fmla="*/ 1330827 h 3904165"/>
                    <a:gd name="connsiteX12" fmla="*/ 22225 w 3284537"/>
                    <a:gd name="connsiteY12" fmla="*/ 1730877 h 3904165"/>
                    <a:gd name="connsiteX13" fmla="*/ 165100 w 3284537"/>
                    <a:gd name="connsiteY13" fmla="*/ 2064252 h 3904165"/>
                    <a:gd name="connsiteX14" fmla="*/ 288925 w 3284537"/>
                    <a:gd name="connsiteY14" fmla="*/ 2159502 h 3904165"/>
                    <a:gd name="connsiteX15" fmla="*/ 374650 w 3284537"/>
                    <a:gd name="connsiteY15" fmla="*/ 2654802 h 3904165"/>
                    <a:gd name="connsiteX16" fmla="*/ 488950 w 3284537"/>
                    <a:gd name="connsiteY16" fmla="*/ 3131052 h 3904165"/>
                    <a:gd name="connsiteX17" fmla="*/ 812800 w 3284537"/>
                    <a:gd name="connsiteY17" fmla="*/ 3540627 h 3904165"/>
                    <a:gd name="connsiteX18" fmla="*/ 1222375 w 3284537"/>
                    <a:gd name="connsiteY18" fmla="*/ 3778752 h 3904165"/>
                    <a:gd name="connsiteX19" fmla="*/ 1927225 w 3284537"/>
                    <a:gd name="connsiteY19" fmla="*/ 3835902 h 3904165"/>
                    <a:gd name="connsiteX20" fmla="*/ 2451100 w 3284537"/>
                    <a:gd name="connsiteY20" fmla="*/ 3369177 h 3904165"/>
                    <a:gd name="connsiteX21" fmla="*/ 2660650 w 3284537"/>
                    <a:gd name="connsiteY21" fmla="*/ 3026277 h 3904165"/>
                    <a:gd name="connsiteX22" fmla="*/ 2822575 w 3284537"/>
                    <a:gd name="connsiteY22" fmla="*/ 2540502 h 3904165"/>
                    <a:gd name="connsiteX23" fmla="*/ 2974975 w 3284537"/>
                    <a:gd name="connsiteY23" fmla="*/ 2521452 h 3904165"/>
                    <a:gd name="connsiteX24" fmla="*/ 3165475 w 3284537"/>
                    <a:gd name="connsiteY24" fmla="*/ 2121402 h 3904165"/>
                    <a:gd name="connsiteX25" fmla="*/ 3270250 w 3284537"/>
                    <a:gd name="connsiteY25" fmla="*/ 1921377 h 3904165"/>
                    <a:gd name="connsiteX26" fmla="*/ 3079750 w 3284537"/>
                    <a:gd name="connsiteY26" fmla="*/ 2035677 h 3904165"/>
                    <a:gd name="connsiteX27" fmla="*/ 2955925 w 3284537"/>
                    <a:gd name="connsiteY27" fmla="*/ 2197602 h 3904165"/>
                    <a:gd name="connsiteX28" fmla="*/ 2984500 w 3284537"/>
                    <a:gd name="connsiteY28" fmla="*/ 1673727 h 3904165"/>
                    <a:gd name="connsiteX29" fmla="*/ 2889250 w 3284537"/>
                    <a:gd name="connsiteY29" fmla="*/ 1330827 h 3904165"/>
                    <a:gd name="connsiteX30" fmla="*/ 2870200 w 3284537"/>
                    <a:gd name="connsiteY30" fmla="*/ 1035552 h 3904165"/>
                    <a:gd name="connsiteX31" fmla="*/ 2927350 w 3284537"/>
                    <a:gd name="connsiteY31" fmla="*/ 854577 h 3904165"/>
                    <a:gd name="connsiteX32" fmla="*/ 2879725 w 3284537"/>
                    <a:gd name="connsiteY32" fmla="*/ 387852 h 3904165"/>
                    <a:gd name="connsiteX0" fmla="*/ 2879725 w 3284537"/>
                    <a:gd name="connsiteY0" fmla="*/ 387852 h 3904165"/>
                    <a:gd name="connsiteX1" fmla="*/ 2289175 w 3284537"/>
                    <a:gd name="connsiteY1" fmla="*/ 368802 h 3904165"/>
                    <a:gd name="connsiteX2" fmla="*/ 1917700 w 3284537"/>
                    <a:gd name="connsiteY2" fmla="*/ 473577 h 3904165"/>
                    <a:gd name="connsiteX3" fmla="*/ 2060575 w 3284537"/>
                    <a:gd name="connsiteY3" fmla="*/ 311652 h 3904165"/>
                    <a:gd name="connsiteX4" fmla="*/ 1612900 w 3284537"/>
                    <a:gd name="connsiteY4" fmla="*/ 340227 h 3904165"/>
                    <a:gd name="connsiteX5" fmla="*/ 944261 w 3284537"/>
                    <a:gd name="connsiteY5" fmla="*/ 128588 h 3904165"/>
                    <a:gd name="connsiteX6" fmla="*/ 851016 w 3284537"/>
                    <a:gd name="connsiteY6" fmla="*/ 788539 h 3904165"/>
                    <a:gd name="connsiteX7" fmla="*/ 822302 w 3284537"/>
                    <a:gd name="connsiteY7" fmla="*/ 936858 h 3904165"/>
                    <a:gd name="connsiteX8" fmla="*/ 517525 w 3284537"/>
                    <a:gd name="connsiteY8" fmla="*/ 1264152 h 3904165"/>
                    <a:gd name="connsiteX9" fmla="*/ 393700 w 3284537"/>
                    <a:gd name="connsiteY9" fmla="*/ 1664202 h 3904165"/>
                    <a:gd name="connsiteX10" fmla="*/ 384175 w 3284537"/>
                    <a:gd name="connsiteY10" fmla="*/ 1807077 h 3904165"/>
                    <a:gd name="connsiteX11" fmla="*/ 203200 w 3284537"/>
                    <a:gd name="connsiteY11" fmla="*/ 1588002 h 3904165"/>
                    <a:gd name="connsiteX12" fmla="*/ 31750 w 3284537"/>
                    <a:gd name="connsiteY12" fmla="*/ 1330827 h 3904165"/>
                    <a:gd name="connsiteX13" fmla="*/ 22225 w 3284537"/>
                    <a:gd name="connsiteY13" fmla="*/ 1730877 h 3904165"/>
                    <a:gd name="connsiteX14" fmla="*/ 165100 w 3284537"/>
                    <a:gd name="connsiteY14" fmla="*/ 2064252 h 3904165"/>
                    <a:gd name="connsiteX15" fmla="*/ 288925 w 3284537"/>
                    <a:gd name="connsiteY15" fmla="*/ 2159502 h 3904165"/>
                    <a:gd name="connsiteX16" fmla="*/ 374650 w 3284537"/>
                    <a:gd name="connsiteY16" fmla="*/ 2654802 h 3904165"/>
                    <a:gd name="connsiteX17" fmla="*/ 488950 w 3284537"/>
                    <a:gd name="connsiteY17" fmla="*/ 3131052 h 3904165"/>
                    <a:gd name="connsiteX18" fmla="*/ 812800 w 3284537"/>
                    <a:gd name="connsiteY18" fmla="*/ 3540627 h 3904165"/>
                    <a:gd name="connsiteX19" fmla="*/ 1222375 w 3284537"/>
                    <a:gd name="connsiteY19" fmla="*/ 3778752 h 3904165"/>
                    <a:gd name="connsiteX20" fmla="*/ 1927225 w 3284537"/>
                    <a:gd name="connsiteY20" fmla="*/ 3835902 h 3904165"/>
                    <a:gd name="connsiteX21" fmla="*/ 2451100 w 3284537"/>
                    <a:gd name="connsiteY21" fmla="*/ 3369177 h 3904165"/>
                    <a:gd name="connsiteX22" fmla="*/ 2660650 w 3284537"/>
                    <a:gd name="connsiteY22" fmla="*/ 3026277 h 3904165"/>
                    <a:gd name="connsiteX23" fmla="*/ 2822575 w 3284537"/>
                    <a:gd name="connsiteY23" fmla="*/ 2540502 h 3904165"/>
                    <a:gd name="connsiteX24" fmla="*/ 2974975 w 3284537"/>
                    <a:gd name="connsiteY24" fmla="*/ 2521452 h 3904165"/>
                    <a:gd name="connsiteX25" fmla="*/ 3165475 w 3284537"/>
                    <a:gd name="connsiteY25" fmla="*/ 2121402 h 3904165"/>
                    <a:gd name="connsiteX26" fmla="*/ 3270250 w 3284537"/>
                    <a:gd name="connsiteY26" fmla="*/ 1921377 h 3904165"/>
                    <a:gd name="connsiteX27" fmla="*/ 3079750 w 3284537"/>
                    <a:gd name="connsiteY27" fmla="*/ 2035677 h 3904165"/>
                    <a:gd name="connsiteX28" fmla="*/ 2955925 w 3284537"/>
                    <a:gd name="connsiteY28" fmla="*/ 2197602 h 3904165"/>
                    <a:gd name="connsiteX29" fmla="*/ 2984500 w 3284537"/>
                    <a:gd name="connsiteY29" fmla="*/ 1673727 h 3904165"/>
                    <a:gd name="connsiteX30" fmla="*/ 2889250 w 3284537"/>
                    <a:gd name="connsiteY30" fmla="*/ 1330827 h 3904165"/>
                    <a:gd name="connsiteX31" fmla="*/ 2870200 w 3284537"/>
                    <a:gd name="connsiteY31" fmla="*/ 1035552 h 3904165"/>
                    <a:gd name="connsiteX32" fmla="*/ 2927350 w 3284537"/>
                    <a:gd name="connsiteY32" fmla="*/ 854577 h 3904165"/>
                    <a:gd name="connsiteX33" fmla="*/ 2879725 w 3284537"/>
                    <a:gd name="connsiteY33" fmla="*/ 387852 h 3904165"/>
                    <a:gd name="connsiteX0" fmla="*/ 2879725 w 3284537"/>
                    <a:gd name="connsiteY0" fmla="*/ 387852 h 3904165"/>
                    <a:gd name="connsiteX1" fmla="*/ 2289175 w 3284537"/>
                    <a:gd name="connsiteY1" fmla="*/ 368802 h 3904165"/>
                    <a:gd name="connsiteX2" fmla="*/ 1917700 w 3284537"/>
                    <a:gd name="connsiteY2" fmla="*/ 473577 h 3904165"/>
                    <a:gd name="connsiteX3" fmla="*/ 2060575 w 3284537"/>
                    <a:gd name="connsiteY3" fmla="*/ 311652 h 3904165"/>
                    <a:gd name="connsiteX4" fmla="*/ 1612900 w 3284537"/>
                    <a:gd name="connsiteY4" fmla="*/ 340227 h 3904165"/>
                    <a:gd name="connsiteX5" fmla="*/ 944261 w 3284537"/>
                    <a:gd name="connsiteY5" fmla="*/ 128588 h 3904165"/>
                    <a:gd name="connsiteX6" fmla="*/ 851016 w 3284537"/>
                    <a:gd name="connsiteY6" fmla="*/ 788539 h 3904165"/>
                    <a:gd name="connsiteX7" fmla="*/ 822302 w 3284537"/>
                    <a:gd name="connsiteY7" fmla="*/ 936858 h 3904165"/>
                    <a:gd name="connsiteX8" fmla="*/ 517525 w 3284537"/>
                    <a:gd name="connsiteY8" fmla="*/ 1264152 h 3904165"/>
                    <a:gd name="connsiteX9" fmla="*/ 393700 w 3284537"/>
                    <a:gd name="connsiteY9" fmla="*/ 1664202 h 3904165"/>
                    <a:gd name="connsiteX10" fmla="*/ 384175 w 3284537"/>
                    <a:gd name="connsiteY10" fmla="*/ 1807077 h 3904165"/>
                    <a:gd name="connsiteX11" fmla="*/ 203200 w 3284537"/>
                    <a:gd name="connsiteY11" fmla="*/ 1588002 h 3904165"/>
                    <a:gd name="connsiteX12" fmla="*/ 31750 w 3284537"/>
                    <a:gd name="connsiteY12" fmla="*/ 1330827 h 3904165"/>
                    <a:gd name="connsiteX13" fmla="*/ 22225 w 3284537"/>
                    <a:gd name="connsiteY13" fmla="*/ 1730877 h 3904165"/>
                    <a:gd name="connsiteX14" fmla="*/ 165100 w 3284537"/>
                    <a:gd name="connsiteY14" fmla="*/ 2064252 h 3904165"/>
                    <a:gd name="connsiteX15" fmla="*/ 288925 w 3284537"/>
                    <a:gd name="connsiteY15" fmla="*/ 2159502 h 3904165"/>
                    <a:gd name="connsiteX16" fmla="*/ 374650 w 3284537"/>
                    <a:gd name="connsiteY16" fmla="*/ 2654802 h 3904165"/>
                    <a:gd name="connsiteX17" fmla="*/ 488950 w 3284537"/>
                    <a:gd name="connsiteY17" fmla="*/ 3131052 h 3904165"/>
                    <a:gd name="connsiteX18" fmla="*/ 812800 w 3284537"/>
                    <a:gd name="connsiteY18" fmla="*/ 3540627 h 3904165"/>
                    <a:gd name="connsiteX19" fmla="*/ 1222375 w 3284537"/>
                    <a:gd name="connsiteY19" fmla="*/ 3778752 h 3904165"/>
                    <a:gd name="connsiteX20" fmla="*/ 1927225 w 3284537"/>
                    <a:gd name="connsiteY20" fmla="*/ 3835902 h 3904165"/>
                    <a:gd name="connsiteX21" fmla="*/ 2451100 w 3284537"/>
                    <a:gd name="connsiteY21" fmla="*/ 3369177 h 3904165"/>
                    <a:gd name="connsiteX22" fmla="*/ 2660650 w 3284537"/>
                    <a:gd name="connsiteY22" fmla="*/ 3026277 h 3904165"/>
                    <a:gd name="connsiteX23" fmla="*/ 2822575 w 3284537"/>
                    <a:gd name="connsiteY23" fmla="*/ 2540502 h 3904165"/>
                    <a:gd name="connsiteX24" fmla="*/ 2974975 w 3284537"/>
                    <a:gd name="connsiteY24" fmla="*/ 2521452 h 3904165"/>
                    <a:gd name="connsiteX25" fmla="*/ 3165475 w 3284537"/>
                    <a:gd name="connsiteY25" fmla="*/ 2121402 h 3904165"/>
                    <a:gd name="connsiteX26" fmla="*/ 3270250 w 3284537"/>
                    <a:gd name="connsiteY26" fmla="*/ 1921377 h 3904165"/>
                    <a:gd name="connsiteX27" fmla="*/ 3079750 w 3284537"/>
                    <a:gd name="connsiteY27" fmla="*/ 2035677 h 3904165"/>
                    <a:gd name="connsiteX28" fmla="*/ 2955925 w 3284537"/>
                    <a:gd name="connsiteY28" fmla="*/ 2197602 h 3904165"/>
                    <a:gd name="connsiteX29" fmla="*/ 2984500 w 3284537"/>
                    <a:gd name="connsiteY29" fmla="*/ 1673727 h 3904165"/>
                    <a:gd name="connsiteX30" fmla="*/ 2889250 w 3284537"/>
                    <a:gd name="connsiteY30" fmla="*/ 1330827 h 3904165"/>
                    <a:gd name="connsiteX31" fmla="*/ 2870200 w 3284537"/>
                    <a:gd name="connsiteY31" fmla="*/ 1035552 h 3904165"/>
                    <a:gd name="connsiteX32" fmla="*/ 2927350 w 3284537"/>
                    <a:gd name="connsiteY32" fmla="*/ 854577 h 3904165"/>
                    <a:gd name="connsiteX33" fmla="*/ 2879725 w 3284537"/>
                    <a:gd name="connsiteY33" fmla="*/ 387852 h 3904165"/>
                    <a:gd name="connsiteX0" fmla="*/ 2879725 w 3284537"/>
                    <a:gd name="connsiteY0" fmla="*/ 387852 h 3904165"/>
                    <a:gd name="connsiteX1" fmla="*/ 2289175 w 3284537"/>
                    <a:gd name="connsiteY1" fmla="*/ 368802 h 3904165"/>
                    <a:gd name="connsiteX2" fmla="*/ 1917700 w 3284537"/>
                    <a:gd name="connsiteY2" fmla="*/ 473577 h 3904165"/>
                    <a:gd name="connsiteX3" fmla="*/ 2060575 w 3284537"/>
                    <a:gd name="connsiteY3" fmla="*/ 311652 h 3904165"/>
                    <a:gd name="connsiteX4" fmla="*/ 1612900 w 3284537"/>
                    <a:gd name="connsiteY4" fmla="*/ 340227 h 3904165"/>
                    <a:gd name="connsiteX5" fmla="*/ 944261 w 3284537"/>
                    <a:gd name="connsiteY5" fmla="*/ 128588 h 3904165"/>
                    <a:gd name="connsiteX6" fmla="*/ 851016 w 3284537"/>
                    <a:gd name="connsiteY6" fmla="*/ 788539 h 3904165"/>
                    <a:gd name="connsiteX7" fmla="*/ 822302 w 3284537"/>
                    <a:gd name="connsiteY7" fmla="*/ 936858 h 3904165"/>
                    <a:gd name="connsiteX8" fmla="*/ 517525 w 3284537"/>
                    <a:gd name="connsiteY8" fmla="*/ 1264152 h 3904165"/>
                    <a:gd name="connsiteX9" fmla="*/ 393700 w 3284537"/>
                    <a:gd name="connsiteY9" fmla="*/ 1664202 h 3904165"/>
                    <a:gd name="connsiteX10" fmla="*/ 384175 w 3284537"/>
                    <a:gd name="connsiteY10" fmla="*/ 1807077 h 3904165"/>
                    <a:gd name="connsiteX11" fmla="*/ 203200 w 3284537"/>
                    <a:gd name="connsiteY11" fmla="*/ 1588002 h 3904165"/>
                    <a:gd name="connsiteX12" fmla="*/ 31750 w 3284537"/>
                    <a:gd name="connsiteY12" fmla="*/ 1330827 h 3904165"/>
                    <a:gd name="connsiteX13" fmla="*/ 22225 w 3284537"/>
                    <a:gd name="connsiteY13" fmla="*/ 1730877 h 3904165"/>
                    <a:gd name="connsiteX14" fmla="*/ 165100 w 3284537"/>
                    <a:gd name="connsiteY14" fmla="*/ 2064252 h 3904165"/>
                    <a:gd name="connsiteX15" fmla="*/ 288925 w 3284537"/>
                    <a:gd name="connsiteY15" fmla="*/ 2159502 h 3904165"/>
                    <a:gd name="connsiteX16" fmla="*/ 374650 w 3284537"/>
                    <a:gd name="connsiteY16" fmla="*/ 2654802 h 3904165"/>
                    <a:gd name="connsiteX17" fmla="*/ 488950 w 3284537"/>
                    <a:gd name="connsiteY17" fmla="*/ 3131052 h 3904165"/>
                    <a:gd name="connsiteX18" fmla="*/ 812800 w 3284537"/>
                    <a:gd name="connsiteY18" fmla="*/ 3540627 h 3904165"/>
                    <a:gd name="connsiteX19" fmla="*/ 1222375 w 3284537"/>
                    <a:gd name="connsiteY19" fmla="*/ 3778752 h 3904165"/>
                    <a:gd name="connsiteX20" fmla="*/ 1927225 w 3284537"/>
                    <a:gd name="connsiteY20" fmla="*/ 3835902 h 3904165"/>
                    <a:gd name="connsiteX21" fmla="*/ 2451100 w 3284537"/>
                    <a:gd name="connsiteY21" fmla="*/ 3369177 h 3904165"/>
                    <a:gd name="connsiteX22" fmla="*/ 2660650 w 3284537"/>
                    <a:gd name="connsiteY22" fmla="*/ 3026277 h 3904165"/>
                    <a:gd name="connsiteX23" fmla="*/ 2822575 w 3284537"/>
                    <a:gd name="connsiteY23" fmla="*/ 2540502 h 3904165"/>
                    <a:gd name="connsiteX24" fmla="*/ 2974975 w 3284537"/>
                    <a:gd name="connsiteY24" fmla="*/ 2521452 h 3904165"/>
                    <a:gd name="connsiteX25" fmla="*/ 3165475 w 3284537"/>
                    <a:gd name="connsiteY25" fmla="*/ 2121402 h 3904165"/>
                    <a:gd name="connsiteX26" fmla="*/ 3270250 w 3284537"/>
                    <a:gd name="connsiteY26" fmla="*/ 1921377 h 3904165"/>
                    <a:gd name="connsiteX27" fmla="*/ 3079750 w 3284537"/>
                    <a:gd name="connsiteY27" fmla="*/ 2035677 h 3904165"/>
                    <a:gd name="connsiteX28" fmla="*/ 2955925 w 3284537"/>
                    <a:gd name="connsiteY28" fmla="*/ 2197602 h 3904165"/>
                    <a:gd name="connsiteX29" fmla="*/ 2984500 w 3284537"/>
                    <a:gd name="connsiteY29" fmla="*/ 1673727 h 3904165"/>
                    <a:gd name="connsiteX30" fmla="*/ 2889250 w 3284537"/>
                    <a:gd name="connsiteY30" fmla="*/ 1330827 h 3904165"/>
                    <a:gd name="connsiteX31" fmla="*/ 2870200 w 3284537"/>
                    <a:gd name="connsiteY31" fmla="*/ 1035552 h 3904165"/>
                    <a:gd name="connsiteX32" fmla="*/ 2927350 w 3284537"/>
                    <a:gd name="connsiteY32" fmla="*/ 854577 h 3904165"/>
                    <a:gd name="connsiteX33" fmla="*/ 2879725 w 3284537"/>
                    <a:gd name="connsiteY33" fmla="*/ 387852 h 3904165"/>
                    <a:gd name="connsiteX0" fmla="*/ 2879725 w 3284537"/>
                    <a:gd name="connsiteY0" fmla="*/ 387852 h 3904165"/>
                    <a:gd name="connsiteX1" fmla="*/ 2289175 w 3284537"/>
                    <a:gd name="connsiteY1" fmla="*/ 368802 h 3904165"/>
                    <a:gd name="connsiteX2" fmla="*/ 1917700 w 3284537"/>
                    <a:gd name="connsiteY2" fmla="*/ 473577 h 3904165"/>
                    <a:gd name="connsiteX3" fmla="*/ 1612900 w 3284537"/>
                    <a:gd name="connsiteY3" fmla="*/ 340227 h 3904165"/>
                    <a:gd name="connsiteX4" fmla="*/ 944261 w 3284537"/>
                    <a:gd name="connsiteY4" fmla="*/ 128588 h 3904165"/>
                    <a:gd name="connsiteX5" fmla="*/ 851016 w 3284537"/>
                    <a:gd name="connsiteY5" fmla="*/ 788539 h 3904165"/>
                    <a:gd name="connsiteX6" fmla="*/ 822302 w 3284537"/>
                    <a:gd name="connsiteY6" fmla="*/ 936858 h 3904165"/>
                    <a:gd name="connsiteX7" fmla="*/ 517525 w 3284537"/>
                    <a:gd name="connsiteY7" fmla="*/ 1264152 h 3904165"/>
                    <a:gd name="connsiteX8" fmla="*/ 393700 w 3284537"/>
                    <a:gd name="connsiteY8" fmla="*/ 1664202 h 3904165"/>
                    <a:gd name="connsiteX9" fmla="*/ 384175 w 3284537"/>
                    <a:gd name="connsiteY9" fmla="*/ 1807077 h 3904165"/>
                    <a:gd name="connsiteX10" fmla="*/ 203200 w 3284537"/>
                    <a:gd name="connsiteY10" fmla="*/ 1588002 h 3904165"/>
                    <a:gd name="connsiteX11" fmla="*/ 31750 w 3284537"/>
                    <a:gd name="connsiteY11" fmla="*/ 1330827 h 3904165"/>
                    <a:gd name="connsiteX12" fmla="*/ 22225 w 3284537"/>
                    <a:gd name="connsiteY12" fmla="*/ 1730877 h 3904165"/>
                    <a:gd name="connsiteX13" fmla="*/ 165100 w 3284537"/>
                    <a:gd name="connsiteY13" fmla="*/ 2064252 h 3904165"/>
                    <a:gd name="connsiteX14" fmla="*/ 288925 w 3284537"/>
                    <a:gd name="connsiteY14" fmla="*/ 2159502 h 3904165"/>
                    <a:gd name="connsiteX15" fmla="*/ 374650 w 3284537"/>
                    <a:gd name="connsiteY15" fmla="*/ 2654802 h 3904165"/>
                    <a:gd name="connsiteX16" fmla="*/ 488950 w 3284537"/>
                    <a:gd name="connsiteY16" fmla="*/ 3131052 h 3904165"/>
                    <a:gd name="connsiteX17" fmla="*/ 812800 w 3284537"/>
                    <a:gd name="connsiteY17" fmla="*/ 3540627 h 3904165"/>
                    <a:gd name="connsiteX18" fmla="*/ 1222375 w 3284537"/>
                    <a:gd name="connsiteY18" fmla="*/ 3778752 h 3904165"/>
                    <a:gd name="connsiteX19" fmla="*/ 1927225 w 3284537"/>
                    <a:gd name="connsiteY19" fmla="*/ 3835902 h 3904165"/>
                    <a:gd name="connsiteX20" fmla="*/ 2451100 w 3284537"/>
                    <a:gd name="connsiteY20" fmla="*/ 3369177 h 3904165"/>
                    <a:gd name="connsiteX21" fmla="*/ 2660650 w 3284537"/>
                    <a:gd name="connsiteY21" fmla="*/ 3026277 h 3904165"/>
                    <a:gd name="connsiteX22" fmla="*/ 2822575 w 3284537"/>
                    <a:gd name="connsiteY22" fmla="*/ 2540502 h 3904165"/>
                    <a:gd name="connsiteX23" fmla="*/ 2974975 w 3284537"/>
                    <a:gd name="connsiteY23" fmla="*/ 2521452 h 3904165"/>
                    <a:gd name="connsiteX24" fmla="*/ 3165475 w 3284537"/>
                    <a:gd name="connsiteY24" fmla="*/ 2121402 h 3904165"/>
                    <a:gd name="connsiteX25" fmla="*/ 3270250 w 3284537"/>
                    <a:gd name="connsiteY25" fmla="*/ 1921377 h 3904165"/>
                    <a:gd name="connsiteX26" fmla="*/ 3079750 w 3284537"/>
                    <a:gd name="connsiteY26" fmla="*/ 2035677 h 3904165"/>
                    <a:gd name="connsiteX27" fmla="*/ 2955925 w 3284537"/>
                    <a:gd name="connsiteY27" fmla="*/ 2197602 h 3904165"/>
                    <a:gd name="connsiteX28" fmla="*/ 2984500 w 3284537"/>
                    <a:gd name="connsiteY28" fmla="*/ 1673727 h 3904165"/>
                    <a:gd name="connsiteX29" fmla="*/ 2889250 w 3284537"/>
                    <a:gd name="connsiteY29" fmla="*/ 1330827 h 3904165"/>
                    <a:gd name="connsiteX30" fmla="*/ 2870200 w 3284537"/>
                    <a:gd name="connsiteY30" fmla="*/ 1035552 h 3904165"/>
                    <a:gd name="connsiteX31" fmla="*/ 2927350 w 3284537"/>
                    <a:gd name="connsiteY31" fmla="*/ 854577 h 3904165"/>
                    <a:gd name="connsiteX32" fmla="*/ 2879725 w 3284537"/>
                    <a:gd name="connsiteY32" fmla="*/ 387852 h 3904165"/>
                    <a:gd name="connsiteX0" fmla="*/ 2879725 w 3284537"/>
                    <a:gd name="connsiteY0" fmla="*/ 387852 h 3904165"/>
                    <a:gd name="connsiteX1" fmla="*/ 2289175 w 3284537"/>
                    <a:gd name="connsiteY1" fmla="*/ 368802 h 3904165"/>
                    <a:gd name="connsiteX2" fmla="*/ 1926790 w 3284537"/>
                    <a:gd name="connsiteY2" fmla="*/ 401137 h 3904165"/>
                    <a:gd name="connsiteX3" fmla="*/ 1612900 w 3284537"/>
                    <a:gd name="connsiteY3" fmla="*/ 340227 h 3904165"/>
                    <a:gd name="connsiteX4" fmla="*/ 944261 w 3284537"/>
                    <a:gd name="connsiteY4" fmla="*/ 128588 h 3904165"/>
                    <a:gd name="connsiteX5" fmla="*/ 851016 w 3284537"/>
                    <a:gd name="connsiteY5" fmla="*/ 788539 h 3904165"/>
                    <a:gd name="connsiteX6" fmla="*/ 822302 w 3284537"/>
                    <a:gd name="connsiteY6" fmla="*/ 936858 h 3904165"/>
                    <a:gd name="connsiteX7" fmla="*/ 517525 w 3284537"/>
                    <a:gd name="connsiteY7" fmla="*/ 1264152 h 3904165"/>
                    <a:gd name="connsiteX8" fmla="*/ 393700 w 3284537"/>
                    <a:gd name="connsiteY8" fmla="*/ 1664202 h 3904165"/>
                    <a:gd name="connsiteX9" fmla="*/ 384175 w 3284537"/>
                    <a:gd name="connsiteY9" fmla="*/ 1807077 h 3904165"/>
                    <a:gd name="connsiteX10" fmla="*/ 203200 w 3284537"/>
                    <a:gd name="connsiteY10" fmla="*/ 1588002 h 3904165"/>
                    <a:gd name="connsiteX11" fmla="*/ 31750 w 3284537"/>
                    <a:gd name="connsiteY11" fmla="*/ 1330827 h 3904165"/>
                    <a:gd name="connsiteX12" fmla="*/ 22225 w 3284537"/>
                    <a:gd name="connsiteY12" fmla="*/ 1730877 h 3904165"/>
                    <a:gd name="connsiteX13" fmla="*/ 165100 w 3284537"/>
                    <a:gd name="connsiteY13" fmla="*/ 2064252 h 3904165"/>
                    <a:gd name="connsiteX14" fmla="*/ 288925 w 3284537"/>
                    <a:gd name="connsiteY14" fmla="*/ 2159502 h 3904165"/>
                    <a:gd name="connsiteX15" fmla="*/ 374650 w 3284537"/>
                    <a:gd name="connsiteY15" fmla="*/ 2654802 h 3904165"/>
                    <a:gd name="connsiteX16" fmla="*/ 488950 w 3284537"/>
                    <a:gd name="connsiteY16" fmla="*/ 3131052 h 3904165"/>
                    <a:gd name="connsiteX17" fmla="*/ 812800 w 3284537"/>
                    <a:gd name="connsiteY17" fmla="*/ 3540627 h 3904165"/>
                    <a:gd name="connsiteX18" fmla="*/ 1222375 w 3284537"/>
                    <a:gd name="connsiteY18" fmla="*/ 3778752 h 3904165"/>
                    <a:gd name="connsiteX19" fmla="*/ 1927225 w 3284537"/>
                    <a:gd name="connsiteY19" fmla="*/ 3835902 h 3904165"/>
                    <a:gd name="connsiteX20" fmla="*/ 2451100 w 3284537"/>
                    <a:gd name="connsiteY20" fmla="*/ 3369177 h 3904165"/>
                    <a:gd name="connsiteX21" fmla="*/ 2660650 w 3284537"/>
                    <a:gd name="connsiteY21" fmla="*/ 3026277 h 3904165"/>
                    <a:gd name="connsiteX22" fmla="*/ 2822575 w 3284537"/>
                    <a:gd name="connsiteY22" fmla="*/ 2540502 h 3904165"/>
                    <a:gd name="connsiteX23" fmla="*/ 2974975 w 3284537"/>
                    <a:gd name="connsiteY23" fmla="*/ 2521452 h 3904165"/>
                    <a:gd name="connsiteX24" fmla="*/ 3165475 w 3284537"/>
                    <a:gd name="connsiteY24" fmla="*/ 2121402 h 3904165"/>
                    <a:gd name="connsiteX25" fmla="*/ 3270250 w 3284537"/>
                    <a:gd name="connsiteY25" fmla="*/ 1921377 h 3904165"/>
                    <a:gd name="connsiteX26" fmla="*/ 3079750 w 3284537"/>
                    <a:gd name="connsiteY26" fmla="*/ 2035677 h 3904165"/>
                    <a:gd name="connsiteX27" fmla="*/ 2955925 w 3284537"/>
                    <a:gd name="connsiteY27" fmla="*/ 2197602 h 3904165"/>
                    <a:gd name="connsiteX28" fmla="*/ 2984500 w 3284537"/>
                    <a:gd name="connsiteY28" fmla="*/ 1673727 h 3904165"/>
                    <a:gd name="connsiteX29" fmla="*/ 2889250 w 3284537"/>
                    <a:gd name="connsiteY29" fmla="*/ 1330827 h 3904165"/>
                    <a:gd name="connsiteX30" fmla="*/ 2870200 w 3284537"/>
                    <a:gd name="connsiteY30" fmla="*/ 1035552 h 3904165"/>
                    <a:gd name="connsiteX31" fmla="*/ 2927350 w 3284537"/>
                    <a:gd name="connsiteY31" fmla="*/ 854577 h 3904165"/>
                    <a:gd name="connsiteX32" fmla="*/ 2879725 w 3284537"/>
                    <a:gd name="connsiteY32" fmla="*/ 387852 h 3904165"/>
                    <a:gd name="connsiteX0" fmla="*/ 2879725 w 3284537"/>
                    <a:gd name="connsiteY0" fmla="*/ 387852 h 3904165"/>
                    <a:gd name="connsiteX1" fmla="*/ 2289175 w 3284537"/>
                    <a:gd name="connsiteY1" fmla="*/ 368802 h 3904165"/>
                    <a:gd name="connsiteX2" fmla="*/ 1926790 w 3284537"/>
                    <a:gd name="connsiteY2" fmla="*/ 401137 h 3904165"/>
                    <a:gd name="connsiteX3" fmla="*/ 1643268 w 3284537"/>
                    <a:gd name="connsiteY3" fmla="*/ 288046 h 3904165"/>
                    <a:gd name="connsiteX4" fmla="*/ 944261 w 3284537"/>
                    <a:gd name="connsiteY4" fmla="*/ 128588 h 3904165"/>
                    <a:gd name="connsiteX5" fmla="*/ 851016 w 3284537"/>
                    <a:gd name="connsiteY5" fmla="*/ 788539 h 3904165"/>
                    <a:gd name="connsiteX6" fmla="*/ 822302 w 3284537"/>
                    <a:gd name="connsiteY6" fmla="*/ 936858 h 3904165"/>
                    <a:gd name="connsiteX7" fmla="*/ 517525 w 3284537"/>
                    <a:gd name="connsiteY7" fmla="*/ 1264152 h 3904165"/>
                    <a:gd name="connsiteX8" fmla="*/ 393700 w 3284537"/>
                    <a:gd name="connsiteY8" fmla="*/ 1664202 h 3904165"/>
                    <a:gd name="connsiteX9" fmla="*/ 384175 w 3284537"/>
                    <a:gd name="connsiteY9" fmla="*/ 1807077 h 3904165"/>
                    <a:gd name="connsiteX10" fmla="*/ 203200 w 3284537"/>
                    <a:gd name="connsiteY10" fmla="*/ 1588002 h 3904165"/>
                    <a:gd name="connsiteX11" fmla="*/ 31750 w 3284537"/>
                    <a:gd name="connsiteY11" fmla="*/ 1330827 h 3904165"/>
                    <a:gd name="connsiteX12" fmla="*/ 22225 w 3284537"/>
                    <a:gd name="connsiteY12" fmla="*/ 1730877 h 3904165"/>
                    <a:gd name="connsiteX13" fmla="*/ 165100 w 3284537"/>
                    <a:gd name="connsiteY13" fmla="*/ 2064252 h 3904165"/>
                    <a:gd name="connsiteX14" fmla="*/ 288925 w 3284537"/>
                    <a:gd name="connsiteY14" fmla="*/ 2159502 h 3904165"/>
                    <a:gd name="connsiteX15" fmla="*/ 374650 w 3284537"/>
                    <a:gd name="connsiteY15" fmla="*/ 2654802 h 3904165"/>
                    <a:gd name="connsiteX16" fmla="*/ 488950 w 3284537"/>
                    <a:gd name="connsiteY16" fmla="*/ 3131052 h 3904165"/>
                    <a:gd name="connsiteX17" fmla="*/ 812800 w 3284537"/>
                    <a:gd name="connsiteY17" fmla="*/ 3540627 h 3904165"/>
                    <a:gd name="connsiteX18" fmla="*/ 1222375 w 3284537"/>
                    <a:gd name="connsiteY18" fmla="*/ 3778752 h 3904165"/>
                    <a:gd name="connsiteX19" fmla="*/ 1927225 w 3284537"/>
                    <a:gd name="connsiteY19" fmla="*/ 3835902 h 3904165"/>
                    <a:gd name="connsiteX20" fmla="*/ 2451100 w 3284537"/>
                    <a:gd name="connsiteY20" fmla="*/ 3369177 h 3904165"/>
                    <a:gd name="connsiteX21" fmla="*/ 2660650 w 3284537"/>
                    <a:gd name="connsiteY21" fmla="*/ 3026277 h 3904165"/>
                    <a:gd name="connsiteX22" fmla="*/ 2822575 w 3284537"/>
                    <a:gd name="connsiteY22" fmla="*/ 2540502 h 3904165"/>
                    <a:gd name="connsiteX23" fmla="*/ 2974975 w 3284537"/>
                    <a:gd name="connsiteY23" fmla="*/ 2521452 h 3904165"/>
                    <a:gd name="connsiteX24" fmla="*/ 3165475 w 3284537"/>
                    <a:gd name="connsiteY24" fmla="*/ 2121402 h 3904165"/>
                    <a:gd name="connsiteX25" fmla="*/ 3270250 w 3284537"/>
                    <a:gd name="connsiteY25" fmla="*/ 1921377 h 3904165"/>
                    <a:gd name="connsiteX26" fmla="*/ 3079750 w 3284537"/>
                    <a:gd name="connsiteY26" fmla="*/ 2035677 h 3904165"/>
                    <a:gd name="connsiteX27" fmla="*/ 2955925 w 3284537"/>
                    <a:gd name="connsiteY27" fmla="*/ 2197602 h 3904165"/>
                    <a:gd name="connsiteX28" fmla="*/ 2984500 w 3284537"/>
                    <a:gd name="connsiteY28" fmla="*/ 1673727 h 3904165"/>
                    <a:gd name="connsiteX29" fmla="*/ 2889250 w 3284537"/>
                    <a:gd name="connsiteY29" fmla="*/ 1330827 h 3904165"/>
                    <a:gd name="connsiteX30" fmla="*/ 2870200 w 3284537"/>
                    <a:gd name="connsiteY30" fmla="*/ 1035552 h 3904165"/>
                    <a:gd name="connsiteX31" fmla="*/ 2927350 w 3284537"/>
                    <a:gd name="connsiteY31" fmla="*/ 854577 h 3904165"/>
                    <a:gd name="connsiteX32" fmla="*/ 2879725 w 3284537"/>
                    <a:gd name="connsiteY32" fmla="*/ 387852 h 3904165"/>
                    <a:gd name="connsiteX0" fmla="*/ 2879725 w 3284537"/>
                    <a:gd name="connsiteY0" fmla="*/ 387852 h 3904165"/>
                    <a:gd name="connsiteX1" fmla="*/ 2289175 w 3284537"/>
                    <a:gd name="connsiteY1" fmla="*/ 368802 h 3904165"/>
                    <a:gd name="connsiteX2" fmla="*/ 1926790 w 3284537"/>
                    <a:gd name="connsiteY2" fmla="*/ 401137 h 3904165"/>
                    <a:gd name="connsiteX3" fmla="*/ 1643268 w 3284537"/>
                    <a:gd name="connsiteY3" fmla="*/ 288046 h 3904165"/>
                    <a:gd name="connsiteX4" fmla="*/ 944261 w 3284537"/>
                    <a:gd name="connsiteY4" fmla="*/ 128588 h 3904165"/>
                    <a:gd name="connsiteX5" fmla="*/ 851016 w 3284537"/>
                    <a:gd name="connsiteY5" fmla="*/ 788539 h 3904165"/>
                    <a:gd name="connsiteX6" fmla="*/ 822302 w 3284537"/>
                    <a:gd name="connsiteY6" fmla="*/ 936858 h 3904165"/>
                    <a:gd name="connsiteX7" fmla="*/ 517525 w 3284537"/>
                    <a:gd name="connsiteY7" fmla="*/ 1264152 h 3904165"/>
                    <a:gd name="connsiteX8" fmla="*/ 393700 w 3284537"/>
                    <a:gd name="connsiteY8" fmla="*/ 1664202 h 3904165"/>
                    <a:gd name="connsiteX9" fmla="*/ 384175 w 3284537"/>
                    <a:gd name="connsiteY9" fmla="*/ 1807077 h 3904165"/>
                    <a:gd name="connsiteX10" fmla="*/ 203200 w 3284537"/>
                    <a:gd name="connsiteY10" fmla="*/ 1588002 h 3904165"/>
                    <a:gd name="connsiteX11" fmla="*/ 31750 w 3284537"/>
                    <a:gd name="connsiteY11" fmla="*/ 1330827 h 3904165"/>
                    <a:gd name="connsiteX12" fmla="*/ 22225 w 3284537"/>
                    <a:gd name="connsiteY12" fmla="*/ 1730877 h 3904165"/>
                    <a:gd name="connsiteX13" fmla="*/ 165100 w 3284537"/>
                    <a:gd name="connsiteY13" fmla="*/ 2064252 h 3904165"/>
                    <a:gd name="connsiteX14" fmla="*/ 288925 w 3284537"/>
                    <a:gd name="connsiteY14" fmla="*/ 2159502 h 3904165"/>
                    <a:gd name="connsiteX15" fmla="*/ 374650 w 3284537"/>
                    <a:gd name="connsiteY15" fmla="*/ 2654802 h 3904165"/>
                    <a:gd name="connsiteX16" fmla="*/ 488950 w 3284537"/>
                    <a:gd name="connsiteY16" fmla="*/ 3131052 h 3904165"/>
                    <a:gd name="connsiteX17" fmla="*/ 812800 w 3284537"/>
                    <a:gd name="connsiteY17" fmla="*/ 3540627 h 3904165"/>
                    <a:gd name="connsiteX18" fmla="*/ 1222375 w 3284537"/>
                    <a:gd name="connsiteY18" fmla="*/ 3778752 h 3904165"/>
                    <a:gd name="connsiteX19" fmla="*/ 1927225 w 3284537"/>
                    <a:gd name="connsiteY19" fmla="*/ 3835902 h 3904165"/>
                    <a:gd name="connsiteX20" fmla="*/ 2451100 w 3284537"/>
                    <a:gd name="connsiteY20" fmla="*/ 3369177 h 3904165"/>
                    <a:gd name="connsiteX21" fmla="*/ 2660650 w 3284537"/>
                    <a:gd name="connsiteY21" fmla="*/ 3026277 h 3904165"/>
                    <a:gd name="connsiteX22" fmla="*/ 2822575 w 3284537"/>
                    <a:gd name="connsiteY22" fmla="*/ 2540502 h 3904165"/>
                    <a:gd name="connsiteX23" fmla="*/ 2974975 w 3284537"/>
                    <a:gd name="connsiteY23" fmla="*/ 2521452 h 3904165"/>
                    <a:gd name="connsiteX24" fmla="*/ 3165475 w 3284537"/>
                    <a:gd name="connsiteY24" fmla="*/ 2121402 h 3904165"/>
                    <a:gd name="connsiteX25" fmla="*/ 3270250 w 3284537"/>
                    <a:gd name="connsiteY25" fmla="*/ 1921377 h 3904165"/>
                    <a:gd name="connsiteX26" fmla="*/ 3079750 w 3284537"/>
                    <a:gd name="connsiteY26" fmla="*/ 2035677 h 3904165"/>
                    <a:gd name="connsiteX27" fmla="*/ 2955925 w 3284537"/>
                    <a:gd name="connsiteY27" fmla="*/ 2197602 h 3904165"/>
                    <a:gd name="connsiteX28" fmla="*/ 2984500 w 3284537"/>
                    <a:gd name="connsiteY28" fmla="*/ 1673727 h 3904165"/>
                    <a:gd name="connsiteX29" fmla="*/ 2889250 w 3284537"/>
                    <a:gd name="connsiteY29" fmla="*/ 1330827 h 3904165"/>
                    <a:gd name="connsiteX30" fmla="*/ 2870200 w 3284537"/>
                    <a:gd name="connsiteY30" fmla="*/ 1035552 h 3904165"/>
                    <a:gd name="connsiteX31" fmla="*/ 2927350 w 3284537"/>
                    <a:gd name="connsiteY31" fmla="*/ 854577 h 3904165"/>
                    <a:gd name="connsiteX32" fmla="*/ 2879725 w 3284537"/>
                    <a:gd name="connsiteY32" fmla="*/ 387852 h 3904165"/>
                    <a:gd name="connsiteX0" fmla="*/ 2879725 w 3284537"/>
                    <a:gd name="connsiteY0" fmla="*/ 387852 h 3904165"/>
                    <a:gd name="connsiteX1" fmla="*/ 2289175 w 3284537"/>
                    <a:gd name="connsiteY1" fmla="*/ 368802 h 3904165"/>
                    <a:gd name="connsiteX2" fmla="*/ 1926790 w 3284537"/>
                    <a:gd name="connsiteY2" fmla="*/ 401137 h 3904165"/>
                    <a:gd name="connsiteX3" fmla="*/ 1643268 w 3284537"/>
                    <a:gd name="connsiteY3" fmla="*/ 288046 h 3904165"/>
                    <a:gd name="connsiteX4" fmla="*/ 944261 w 3284537"/>
                    <a:gd name="connsiteY4" fmla="*/ 128588 h 3904165"/>
                    <a:gd name="connsiteX5" fmla="*/ 851016 w 3284537"/>
                    <a:gd name="connsiteY5" fmla="*/ 788539 h 3904165"/>
                    <a:gd name="connsiteX6" fmla="*/ 822302 w 3284537"/>
                    <a:gd name="connsiteY6" fmla="*/ 936858 h 3904165"/>
                    <a:gd name="connsiteX7" fmla="*/ 517525 w 3284537"/>
                    <a:gd name="connsiteY7" fmla="*/ 1264152 h 3904165"/>
                    <a:gd name="connsiteX8" fmla="*/ 393700 w 3284537"/>
                    <a:gd name="connsiteY8" fmla="*/ 1664202 h 3904165"/>
                    <a:gd name="connsiteX9" fmla="*/ 384175 w 3284537"/>
                    <a:gd name="connsiteY9" fmla="*/ 1807077 h 3904165"/>
                    <a:gd name="connsiteX10" fmla="*/ 203200 w 3284537"/>
                    <a:gd name="connsiteY10" fmla="*/ 1588002 h 3904165"/>
                    <a:gd name="connsiteX11" fmla="*/ 31750 w 3284537"/>
                    <a:gd name="connsiteY11" fmla="*/ 1330827 h 3904165"/>
                    <a:gd name="connsiteX12" fmla="*/ 22225 w 3284537"/>
                    <a:gd name="connsiteY12" fmla="*/ 1730877 h 3904165"/>
                    <a:gd name="connsiteX13" fmla="*/ 165100 w 3284537"/>
                    <a:gd name="connsiteY13" fmla="*/ 2064252 h 3904165"/>
                    <a:gd name="connsiteX14" fmla="*/ 288925 w 3284537"/>
                    <a:gd name="connsiteY14" fmla="*/ 2159502 h 3904165"/>
                    <a:gd name="connsiteX15" fmla="*/ 374650 w 3284537"/>
                    <a:gd name="connsiteY15" fmla="*/ 2654802 h 3904165"/>
                    <a:gd name="connsiteX16" fmla="*/ 488950 w 3284537"/>
                    <a:gd name="connsiteY16" fmla="*/ 3131052 h 3904165"/>
                    <a:gd name="connsiteX17" fmla="*/ 812800 w 3284537"/>
                    <a:gd name="connsiteY17" fmla="*/ 3540627 h 3904165"/>
                    <a:gd name="connsiteX18" fmla="*/ 1222375 w 3284537"/>
                    <a:gd name="connsiteY18" fmla="*/ 3778752 h 3904165"/>
                    <a:gd name="connsiteX19" fmla="*/ 1927225 w 3284537"/>
                    <a:gd name="connsiteY19" fmla="*/ 3835902 h 3904165"/>
                    <a:gd name="connsiteX20" fmla="*/ 2451100 w 3284537"/>
                    <a:gd name="connsiteY20" fmla="*/ 3369177 h 3904165"/>
                    <a:gd name="connsiteX21" fmla="*/ 2660650 w 3284537"/>
                    <a:gd name="connsiteY21" fmla="*/ 3026277 h 3904165"/>
                    <a:gd name="connsiteX22" fmla="*/ 2822575 w 3284537"/>
                    <a:gd name="connsiteY22" fmla="*/ 2540502 h 3904165"/>
                    <a:gd name="connsiteX23" fmla="*/ 2974975 w 3284537"/>
                    <a:gd name="connsiteY23" fmla="*/ 2521452 h 3904165"/>
                    <a:gd name="connsiteX24" fmla="*/ 3165475 w 3284537"/>
                    <a:gd name="connsiteY24" fmla="*/ 2121402 h 3904165"/>
                    <a:gd name="connsiteX25" fmla="*/ 3270250 w 3284537"/>
                    <a:gd name="connsiteY25" fmla="*/ 1921377 h 3904165"/>
                    <a:gd name="connsiteX26" fmla="*/ 3079750 w 3284537"/>
                    <a:gd name="connsiteY26" fmla="*/ 2035677 h 3904165"/>
                    <a:gd name="connsiteX27" fmla="*/ 2955925 w 3284537"/>
                    <a:gd name="connsiteY27" fmla="*/ 2197602 h 3904165"/>
                    <a:gd name="connsiteX28" fmla="*/ 2984500 w 3284537"/>
                    <a:gd name="connsiteY28" fmla="*/ 1673727 h 3904165"/>
                    <a:gd name="connsiteX29" fmla="*/ 2889250 w 3284537"/>
                    <a:gd name="connsiteY29" fmla="*/ 1330827 h 3904165"/>
                    <a:gd name="connsiteX30" fmla="*/ 2870200 w 3284537"/>
                    <a:gd name="connsiteY30" fmla="*/ 1035552 h 3904165"/>
                    <a:gd name="connsiteX31" fmla="*/ 2927350 w 3284537"/>
                    <a:gd name="connsiteY31" fmla="*/ 854577 h 3904165"/>
                    <a:gd name="connsiteX32" fmla="*/ 2879725 w 3284537"/>
                    <a:gd name="connsiteY32" fmla="*/ 387852 h 3904165"/>
                    <a:gd name="connsiteX0" fmla="*/ 2879725 w 3284537"/>
                    <a:gd name="connsiteY0" fmla="*/ 387852 h 3904165"/>
                    <a:gd name="connsiteX1" fmla="*/ 2289175 w 3284537"/>
                    <a:gd name="connsiteY1" fmla="*/ 368802 h 3904165"/>
                    <a:gd name="connsiteX2" fmla="*/ 1927564 w 3284537"/>
                    <a:gd name="connsiteY2" fmla="*/ 442422 h 3904165"/>
                    <a:gd name="connsiteX3" fmla="*/ 1643268 w 3284537"/>
                    <a:gd name="connsiteY3" fmla="*/ 288046 h 3904165"/>
                    <a:gd name="connsiteX4" fmla="*/ 944261 w 3284537"/>
                    <a:gd name="connsiteY4" fmla="*/ 128588 h 3904165"/>
                    <a:gd name="connsiteX5" fmla="*/ 851016 w 3284537"/>
                    <a:gd name="connsiteY5" fmla="*/ 788539 h 3904165"/>
                    <a:gd name="connsiteX6" fmla="*/ 822302 w 3284537"/>
                    <a:gd name="connsiteY6" fmla="*/ 936858 h 3904165"/>
                    <a:gd name="connsiteX7" fmla="*/ 517525 w 3284537"/>
                    <a:gd name="connsiteY7" fmla="*/ 1264152 h 3904165"/>
                    <a:gd name="connsiteX8" fmla="*/ 393700 w 3284537"/>
                    <a:gd name="connsiteY8" fmla="*/ 1664202 h 3904165"/>
                    <a:gd name="connsiteX9" fmla="*/ 384175 w 3284537"/>
                    <a:gd name="connsiteY9" fmla="*/ 1807077 h 3904165"/>
                    <a:gd name="connsiteX10" fmla="*/ 203200 w 3284537"/>
                    <a:gd name="connsiteY10" fmla="*/ 1588002 h 3904165"/>
                    <a:gd name="connsiteX11" fmla="*/ 31750 w 3284537"/>
                    <a:gd name="connsiteY11" fmla="*/ 1330827 h 3904165"/>
                    <a:gd name="connsiteX12" fmla="*/ 22225 w 3284537"/>
                    <a:gd name="connsiteY12" fmla="*/ 1730877 h 3904165"/>
                    <a:gd name="connsiteX13" fmla="*/ 165100 w 3284537"/>
                    <a:gd name="connsiteY13" fmla="*/ 2064252 h 3904165"/>
                    <a:gd name="connsiteX14" fmla="*/ 288925 w 3284537"/>
                    <a:gd name="connsiteY14" fmla="*/ 2159502 h 3904165"/>
                    <a:gd name="connsiteX15" fmla="*/ 374650 w 3284537"/>
                    <a:gd name="connsiteY15" fmla="*/ 2654802 h 3904165"/>
                    <a:gd name="connsiteX16" fmla="*/ 488950 w 3284537"/>
                    <a:gd name="connsiteY16" fmla="*/ 3131052 h 3904165"/>
                    <a:gd name="connsiteX17" fmla="*/ 812800 w 3284537"/>
                    <a:gd name="connsiteY17" fmla="*/ 3540627 h 3904165"/>
                    <a:gd name="connsiteX18" fmla="*/ 1222375 w 3284537"/>
                    <a:gd name="connsiteY18" fmla="*/ 3778752 h 3904165"/>
                    <a:gd name="connsiteX19" fmla="*/ 1927225 w 3284537"/>
                    <a:gd name="connsiteY19" fmla="*/ 3835902 h 3904165"/>
                    <a:gd name="connsiteX20" fmla="*/ 2451100 w 3284537"/>
                    <a:gd name="connsiteY20" fmla="*/ 3369177 h 3904165"/>
                    <a:gd name="connsiteX21" fmla="*/ 2660650 w 3284537"/>
                    <a:gd name="connsiteY21" fmla="*/ 3026277 h 3904165"/>
                    <a:gd name="connsiteX22" fmla="*/ 2822575 w 3284537"/>
                    <a:gd name="connsiteY22" fmla="*/ 2540502 h 3904165"/>
                    <a:gd name="connsiteX23" fmla="*/ 2974975 w 3284537"/>
                    <a:gd name="connsiteY23" fmla="*/ 2521452 h 3904165"/>
                    <a:gd name="connsiteX24" fmla="*/ 3165475 w 3284537"/>
                    <a:gd name="connsiteY24" fmla="*/ 2121402 h 3904165"/>
                    <a:gd name="connsiteX25" fmla="*/ 3270250 w 3284537"/>
                    <a:gd name="connsiteY25" fmla="*/ 1921377 h 3904165"/>
                    <a:gd name="connsiteX26" fmla="*/ 3079750 w 3284537"/>
                    <a:gd name="connsiteY26" fmla="*/ 2035677 h 3904165"/>
                    <a:gd name="connsiteX27" fmla="*/ 2955925 w 3284537"/>
                    <a:gd name="connsiteY27" fmla="*/ 2197602 h 3904165"/>
                    <a:gd name="connsiteX28" fmla="*/ 2984500 w 3284537"/>
                    <a:gd name="connsiteY28" fmla="*/ 1673727 h 3904165"/>
                    <a:gd name="connsiteX29" fmla="*/ 2889250 w 3284537"/>
                    <a:gd name="connsiteY29" fmla="*/ 1330827 h 3904165"/>
                    <a:gd name="connsiteX30" fmla="*/ 2870200 w 3284537"/>
                    <a:gd name="connsiteY30" fmla="*/ 1035552 h 3904165"/>
                    <a:gd name="connsiteX31" fmla="*/ 2927350 w 3284537"/>
                    <a:gd name="connsiteY31" fmla="*/ 854577 h 3904165"/>
                    <a:gd name="connsiteX32" fmla="*/ 2879725 w 3284537"/>
                    <a:gd name="connsiteY32" fmla="*/ 387852 h 3904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284537" h="3904165">
                      <a:moveTo>
                        <a:pt x="2879725" y="387852"/>
                      </a:moveTo>
                      <a:cubicBezTo>
                        <a:pt x="2773362" y="294189"/>
                        <a:pt x="2447869" y="359707"/>
                        <a:pt x="2289175" y="368802"/>
                      </a:cubicBezTo>
                      <a:cubicBezTo>
                        <a:pt x="2130482" y="377897"/>
                        <a:pt x="2035215" y="455881"/>
                        <a:pt x="1927564" y="442422"/>
                      </a:cubicBezTo>
                      <a:cubicBezTo>
                        <a:pt x="1819913" y="428963"/>
                        <a:pt x="1817503" y="427923"/>
                        <a:pt x="1643268" y="288046"/>
                      </a:cubicBezTo>
                      <a:cubicBezTo>
                        <a:pt x="1456053" y="195608"/>
                        <a:pt x="1099836" y="0"/>
                        <a:pt x="944261" y="128588"/>
                      </a:cubicBezTo>
                      <a:cubicBezTo>
                        <a:pt x="872441" y="265964"/>
                        <a:pt x="721547" y="489381"/>
                        <a:pt x="851016" y="788539"/>
                      </a:cubicBezTo>
                      <a:cubicBezTo>
                        <a:pt x="835557" y="904232"/>
                        <a:pt x="877884" y="857589"/>
                        <a:pt x="822302" y="936858"/>
                      </a:cubicBezTo>
                      <a:cubicBezTo>
                        <a:pt x="766720" y="1016127"/>
                        <a:pt x="588959" y="1142928"/>
                        <a:pt x="517525" y="1264152"/>
                      </a:cubicBezTo>
                      <a:cubicBezTo>
                        <a:pt x="446091" y="1385376"/>
                        <a:pt x="415925" y="1573714"/>
                        <a:pt x="393700" y="1664202"/>
                      </a:cubicBezTo>
                      <a:cubicBezTo>
                        <a:pt x="371475" y="1754690"/>
                        <a:pt x="415925" y="1819777"/>
                        <a:pt x="384175" y="1807077"/>
                      </a:cubicBezTo>
                      <a:cubicBezTo>
                        <a:pt x="352425" y="1794377"/>
                        <a:pt x="261937" y="1667377"/>
                        <a:pt x="203200" y="1588002"/>
                      </a:cubicBezTo>
                      <a:cubicBezTo>
                        <a:pt x="144463" y="1508627"/>
                        <a:pt x="61912" y="1307015"/>
                        <a:pt x="31750" y="1330827"/>
                      </a:cubicBezTo>
                      <a:cubicBezTo>
                        <a:pt x="1588" y="1354639"/>
                        <a:pt x="0" y="1608640"/>
                        <a:pt x="22225" y="1730877"/>
                      </a:cubicBezTo>
                      <a:cubicBezTo>
                        <a:pt x="44450" y="1853114"/>
                        <a:pt x="120650" y="1992815"/>
                        <a:pt x="165100" y="2064252"/>
                      </a:cubicBezTo>
                      <a:cubicBezTo>
                        <a:pt x="209550" y="2135689"/>
                        <a:pt x="254000" y="2061077"/>
                        <a:pt x="288925" y="2159502"/>
                      </a:cubicBezTo>
                      <a:cubicBezTo>
                        <a:pt x="323850" y="2257927"/>
                        <a:pt x="341313" y="2492877"/>
                        <a:pt x="374650" y="2654802"/>
                      </a:cubicBezTo>
                      <a:cubicBezTo>
                        <a:pt x="407987" y="2816727"/>
                        <a:pt x="415925" y="2983415"/>
                        <a:pt x="488950" y="3131052"/>
                      </a:cubicBezTo>
                      <a:cubicBezTo>
                        <a:pt x="561975" y="3278689"/>
                        <a:pt x="690563" y="3432677"/>
                        <a:pt x="812800" y="3540627"/>
                      </a:cubicBezTo>
                      <a:cubicBezTo>
                        <a:pt x="935037" y="3648577"/>
                        <a:pt x="1036638" y="3729540"/>
                        <a:pt x="1222375" y="3778752"/>
                      </a:cubicBezTo>
                      <a:cubicBezTo>
                        <a:pt x="1408112" y="3827964"/>
                        <a:pt x="1722437" y="3904165"/>
                        <a:pt x="1927225" y="3835902"/>
                      </a:cubicBezTo>
                      <a:cubicBezTo>
                        <a:pt x="2132013" y="3767639"/>
                        <a:pt x="2328862" y="3504115"/>
                        <a:pt x="2451100" y="3369177"/>
                      </a:cubicBezTo>
                      <a:cubicBezTo>
                        <a:pt x="2573338" y="3234239"/>
                        <a:pt x="2598738" y="3164390"/>
                        <a:pt x="2660650" y="3026277"/>
                      </a:cubicBezTo>
                      <a:cubicBezTo>
                        <a:pt x="2722563" y="2888165"/>
                        <a:pt x="2770188" y="2624640"/>
                        <a:pt x="2822575" y="2540502"/>
                      </a:cubicBezTo>
                      <a:cubicBezTo>
                        <a:pt x="2874963" y="2456365"/>
                        <a:pt x="2917825" y="2591302"/>
                        <a:pt x="2974975" y="2521452"/>
                      </a:cubicBezTo>
                      <a:cubicBezTo>
                        <a:pt x="3032125" y="2451602"/>
                        <a:pt x="3116263" y="2221414"/>
                        <a:pt x="3165475" y="2121402"/>
                      </a:cubicBezTo>
                      <a:cubicBezTo>
                        <a:pt x="3214687" y="2021390"/>
                        <a:pt x="3284537" y="1935664"/>
                        <a:pt x="3270250" y="1921377"/>
                      </a:cubicBezTo>
                      <a:cubicBezTo>
                        <a:pt x="3255963" y="1907090"/>
                        <a:pt x="3132137" y="1989640"/>
                        <a:pt x="3079750" y="2035677"/>
                      </a:cubicBezTo>
                      <a:cubicBezTo>
                        <a:pt x="3027363" y="2081714"/>
                        <a:pt x="2971800" y="2257927"/>
                        <a:pt x="2955925" y="2197602"/>
                      </a:cubicBezTo>
                      <a:cubicBezTo>
                        <a:pt x="2940050" y="2137277"/>
                        <a:pt x="2995613" y="1818190"/>
                        <a:pt x="2984500" y="1673727"/>
                      </a:cubicBezTo>
                      <a:cubicBezTo>
                        <a:pt x="2973387" y="1529264"/>
                        <a:pt x="2908300" y="1437190"/>
                        <a:pt x="2889250" y="1330827"/>
                      </a:cubicBezTo>
                      <a:cubicBezTo>
                        <a:pt x="2870200" y="1224464"/>
                        <a:pt x="2863850" y="1114927"/>
                        <a:pt x="2870200" y="1035552"/>
                      </a:cubicBezTo>
                      <a:cubicBezTo>
                        <a:pt x="2876550" y="956177"/>
                        <a:pt x="2925763" y="962527"/>
                        <a:pt x="2927350" y="854577"/>
                      </a:cubicBezTo>
                      <a:cubicBezTo>
                        <a:pt x="2928938" y="746627"/>
                        <a:pt x="2928938" y="546602"/>
                        <a:pt x="2879725" y="38785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94" name="Freeform 305">
                  <a:extLst>
                    <a:ext uri="{FF2B5EF4-FFF2-40B4-BE49-F238E27FC236}">
                      <a16:creationId xmlns:a16="http://schemas.microsoft.com/office/drawing/2014/main" id="{C09CD68C-8ECB-48A5-9FD6-A54DA5D06EAD}"/>
                    </a:ext>
                  </a:extLst>
                </p:cNvPr>
                <p:cNvSpPr/>
                <p:nvPr/>
              </p:nvSpPr>
              <p:spPr>
                <a:xfrm>
                  <a:off x="3386051" y="381815"/>
                  <a:ext cx="835556" cy="382568"/>
                </a:xfrm>
                <a:custGeom>
                  <a:avLst/>
                  <a:gdLst>
                    <a:gd name="connsiteX0" fmla="*/ 14068 w 829994"/>
                    <a:gd name="connsiteY0" fmla="*/ 0 h 422031"/>
                    <a:gd name="connsiteX1" fmla="*/ 28136 w 829994"/>
                    <a:gd name="connsiteY1" fmla="*/ 84406 h 422031"/>
                    <a:gd name="connsiteX2" fmla="*/ 154745 w 829994"/>
                    <a:gd name="connsiteY2" fmla="*/ 126609 h 422031"/>
                    <a:gd name="connsiteX3" fmla="*/ 281354 w 829994"/>
                    <a:gd name="connsiteY3" fmla="*/ 168813 h 422031"/>
                    <a:gd name="connsiteX4" fmla="*/ 422031 w 829994"/>
                    <a:gd name="connsiteY4" fmla="*/ 295422 h 422031"/>
                    <a:gd name="connsiteX5" fmla="*/ 604911 w 829994"/>
                    <a:gd name="connsiteY5" fmla="*/ 196948 h 422031"/>
                    <a:gd name="connsiteX6" fmla="*/ 829994 w 829994"/>
                    <a:gd name="connsiteY6" fmla="*/ 211016 h 422031"/>
                    <a:gd name="connsiteX7" fmla="*/ 590843 w 829994"/>
                    <a:gd name="connsiteY7" fmla="*/ 323557 h 422031"/>
                    <a:gd name="connsiteX8" fmla="*/ 436099 w 829994"/>
                    <a:gd name="connsiteY8" fmla="*/ 422031 h 422031"/>
                    <a:gd name="connsiteX9" fmla="*/ 295422 w 829994"/>
                    <a:gd name="connsiteY9" fmla="*/ 365760 h 422031"/>
                    <a:gd name="connsiteX10" fmla="*/ 182880 w 829994"/>
                    <a:gd name="connsiteY10" fmla="*/ 239151 h 422031"/>
                    <a:gd name="connsiteX11" fmla="*/ 0 w 829994"/>
                    <a:gd name="connsiteY11" fmla="*/ 140677 h 422031"/>
                    <a:gd name="connsiteX12" fmla="*/ 14068 w 829994"/>
                    <a:gd name="connsiteY12" fmla="*/ 0 h 422031"/>
                    <a:gd name="connsiteX0" fmla="*/ 14068 w 829994"/>
                    <a:gd name="connsiteY0" fmla="*/ 0 h 423371"/>
                    <a:gd name="connsiteX1" fmla="*/ 28136 w 829994"/>
                    <a:gd name="connsiteY1" fmla="*/ 84406 h 423371"/>
                    <a:gd name="connsiteX2" fmla="*/ 154745 w 829994"/>
                    <a:gd name="connsiteY2" fmla="*/ 126609 h 423371"/>
                    <a:gd name="connsiteX3" fmla="*/ 281354 w 829994"/>
                    <a:gd name="connsiteY3" fmla="*/ 168813 h 423371"/>
                    <a:gd name="connsiteX4" fmla="*/ 422031 w 829994"/>
                    <a:gd name="connsiteY4" fmla="*/ 295422 h 423371"/>
                    <a:gd name="connsiteX5" fmla="*/ 604911 w 829994"/>
                    <a:gd name="connsiteY5" fmla="*/ 196948 h 423371"/>
                    <a:gd name="connsiteX6" fmla="*/ 829994 w 829994"/>
                    <a:gd name="connsiteY6" fmla="*/ 211016 h 423371"/>
                    <a:gd name="connsiteX7" fmla="*/ 590843 w 829994"/>
                    <a:gd name="connsiteY7" fmla="*/ 323557 h 423371"/>
                    <a:gd name="connsiteX8" fmla="*/ 436099 w 829994"/>
                    <a:gd name="connsiteY8" fmla="*/ 422031 h 423371"/>
                    <a:gd name="connsiteX9" fmla="*/ 295422 w 829994"/>
                    <a:gd name="connsiteY9" fmla="*/ 365760 h 423371"/>
                    <a:gd name="connsiteX10" fmla="*/ 182880 w 829994"/>
                    <a:gd name="connsiteY10" fmla="*/ 239151 h 423371"/>
                    <a:gd name="connsiteX11" fmla="*/ 0 w 829994"/>
                    <a:gd name="connsiteY11" fmla="*/ 140677 h 423371"/>
                    <a:gd name="connsiteX12" fmla="*/ 14068 w 829994"/>
                    <a:gd name="connsiteY12" fmla="*/ 0 h 423371"/>
                    <a:gd name="connsiteX0" fmla="*/ 14068 w 829994"/>
                    <a:gd name="connsiteY0" fmla="*/ 0 h 423371"/>
                    <a:gd name="connsiteX1" fmla="*/ 28136 w 829994"/>
                    <a:gd name="connsiteY1" fmla="*/ 84406 h 423371"/>
                    <a:gd name="connsiteX2" fmla="*/ 154745 w 829994"/>
                    <a:gd name="connsiteY2" fmla="*/ 126609 h 423371"/>
                    <a:gd name="connsiteX3" fmla="*/ 281354 w 829994"/>
                    <a:gd name="connsiteY3" fmla="*/ 168813 h 423371"/>
                    <a:gd name="connsiteX4" fmla="*/ 422031 w 829994"/>
                    <a:gd name="connsiteY4" fmla="*/ 295422 h 423371"/>
                    <a:gd name="connsiteX5" fmla="*/ 604911 w 829994"/>
                    <a:gd name="connsiteY5" fmla="*/ 196948 h 423371"/>
                    <a:gd name="connsiteX6" fmla="*/ 829994 w 829994"/>
                    <a:gd name="connsiteY6" fmla="*/ 211016 h 423371"/>
                    <a:gd name="connsiteX7" fmla="*/ 590843 w 829994"/>
                    <a:gd name="connsiteY7" fmla="*/ 323557 h 423371"/>
                    <a:gd name="connsiteX8" fmla="*/ 436099 w 829994"/>
                    <a:gd name="connsiteY8" fmla="*/ 422031 h 423371"/>
                    <a:gd name="connsiteX9" fmla="*/ 295422 w 829994"/>
                    <a:gd name="connsiteY9" fmla="*/ 385857 h 423371"/>
                    <a:gd name="connsiteX10" fmla="*/ 182880 w 829994"/>
                    <a:gd name="connsiteY10" fmla="*/ 239151 h 423371"/>
                    <a:gd name="connsiteX11" fmla="*/ 0 w 829994"/>
                    <a:gd name="connsiteY11" fmla="*/ 140677 h 423371"/>
                    <a:gd name="connsiteX12" fmla="*/ 14068 w 829994"/>
                    <a:gd name="connsiteY12" fmla="*/ 0 h 423371"/>
                    <a:gd name="connsiteX0" fmla="*/ 14068 w 829994"/>
                    <a:gd name="connsiteY0" fmla="*/ 0 h 423371"/>
                    <a:gd name="connsiteX1" fmla="*/ 28136 w 829994"/>
                    <a:gd name="connsiteY1" fmla="*/ 84406 h 423371"/>
                    <a:gd name="connsiteX2" fmla="*/ 154745 w 829994"/>
                    <a:gd name="connsiteY2" fmla="*/ 126609 h 423371"/>
                    <a:gd name="connsiteX3" fmla="*/ 281354 w 829994"/>
                    <a:gd name="connsiteY3" fmla="*/ 168813 h 423371"/>
                    <a:gd name="connsiteX4" fmla="*/ 422031 w 829994"/>
                    <a:gd name="connsiteY4" fmla="*/ 295422 h 423371"/>
                    <a:gd name="connsiteX5" fmla="*/ 604911 w 829994"/>
                    <a:gd name="connsiteY5" fmla="*/ 196948 h 423371"/>
                    <a:gd name="connsiteX6" fmla="*/ 829994 w 829994"/>
                    <a:gd name="connsiteY6" fmla="*/ 211016 h 423371"/>
                    <a:gd name="connsiteX7" fmla="*/ 615964 w 829994"/>
                    <a:gd name="connsiteY7" fmla="*/ 293411 h 423371"/>
                    <a:gd name="connsiteX8" fmla="*/ 436099 w 829994"/>
                    <a:gd name="connsiteY8" fmla="*/ 422031 h 423371"/>
                    <a:gd name="connsiteX9" fmla="*/ 295422 w 829994"/>
                    <a:gd name="connsiteY9" fmla="*/ 385857 h 423371"/>
                    <a:gd name="connsiteX10" fmla="*/ 182880 w 829994"/>
                    <a:gd name="connsiteY10" fmla="*/ 239151 h 423371"/>
                    <a:gd name="connsiteX11" fmla="*/ 0 w 829994"/>
                    <a:gd name="connsiteY11" fmla="*/ 140677 h 423371"/>
                    <a:gd name="connsiteX12" fmla="*/ 14068 w 829994"/>
                    <a:gd name="connsiteY12" fmla="*/ 0 h 423371"/>
                    <a:gd name="connsiteX0" fmla="*/ 14068 w 829994"/>
                    <a:gd name="connsiteY0" fmla="*/ 0 h 408298"/>
                    <a:gd name="connsiteX1" fmla="*/ 28136 w 829994"/>
                    <a:gd name="connsiteY1" fmla="*/ 84406 h 408298"/>
                    <a:gd name="connsiteX2" fmla="*/ 154745 w 829994"/>
                    <a:gd name="connsiteY2" fmla="*/ 126609 h 408298"/>
                    <a:gd name="connsiteX3" fmla="*/ 281354 w 829994"/>
                    <a:gd name="connsiteY3" fmla="*/ 168813 h 408298"/>
                    <a:gd name="connsiteX4" fmla="*/ 422031 w 829994"/>
                    <a:gd name="connsiteY4" fmla="*/ 295422 h 408298"/>
                    <a:gd name="connsiteX5" fmla="*/ 604911 w 829994"/>
                    <a:gd name="connsiteY5" fmla="*/ 196948 h 408298"/>
                    <a:gd name="connsiteX6" fmla="*/ 829994 w 829994"/>
                    <a:gd name="connsiteY6" fmla="*/ 211016 h 408298"/>
                    <a:gd name="connsiteX7" fmla="*/ 615964 w 829994"/>
                    <a:gd name="connsiteY7" fmla="*/ 293411 h 408298"/>
                    <a:gd name="connsiteX8" fmla="*/ 481317 w 829994"/>
                    <a:gd name="connsiteY8" fmla="*/ 406958 h 408298"/>
                    <a:gd name="connsiteX9" fmla="*/ 295422 w 829994"/>
                    <a:gd name="connsiteY9" fmla="*/ 385857 h 408298"/>
                    <a:gd name="connsiteX10" fmla="*/ 182880 w 829994"/>
                    <a:gd name="connsiteY10" fmla="*/ 239151 h 408298"/>
                    <a:gd name="connsiteX11" fmla="*/ 0 w 829994"/>
                    <a:gd name="connsiteY11" fmla="*/ 140677 h 408298"/>
                    <a:gd name="connsiteX12" fmla="*/ 14068 w 829994"/>
                    <a:gd name="connsiteY12" fmla="*/ 0 h 408298"/>
                    <a:gd name="connsiteX0" fmla="*/ 14068 w 829994"/>
                    <a:gd name="connsiteY0" fmla="*/ 0 h 408298"/>
                    <a:gd name="connsiteX1" fmla="*/ 28136 w 829994"/>
                    <a:gd name="connsiteY1" fmla="*/ 84406 h 408298"/>
                    <a:gd name="connsiteX2" fmla="*/ 154745 w 829994"/>
                    <a:gd name="connsiteY2" fmla="*/ 126609 h 408298"/>
                    <a:gd name="connsiteX3" fmla="*/ 281354 w 829994"/>
                    <a:gd name="connsiteY3" fmla="*/ 168813 h 408298"/>
                    <a:gd name="connsiteX4" fmla="*/ 422031 w 829994"/>
                    <a:gd name="connsiteY4" fmla="*/ 295422 h 408298"/>
                    <a:gd name="connsiteX5" fmla="*/ 604911 w 829994"/>
                    <a:gd name="connsiteY5" fmla="*/ 196948 h 408298"/>
                    <a:gd name="connsiteX6" fmla="*/ 829994 w 829994"/>
                    <a:gd name="connsiteY6" fmla="*/ 211016 h 408298"/>
                    <a:gd name="connsiteX7" fmla="*/ 615964 w 829994"/>
                    <a:gd name="connsiteY7" fmla="*/ 293411 h 408298"/>
                    <a:gd name="connsiteX8" fmla="*/ 481317 w 829994"/>
                    <a:gd name="connsiteY8" fmla="*/ 406958 h 408298"/>
                    <a:gd name="connsiteX9" fmla="*/ 280349 w 829994"/>
                    <a:gd name="connsiteY9" fmla="*/ 370784 h 408298"/>
                    <a:gd name="connsiteX10" fmla="*/ 182880 w 829994"/>
                    <a:gd name="connsiteY10" fmla="*/ 239151 h 408298"/>
                    <a:gd name="connsiteX11" fmla="*/ 0 w 829994"/>
                    <a:gd name="connsiteY11" fmla="*/ 140677 h 408298"/>
                    <a:gd name="connsiteX12" fmla="*/ 14068 w 829994"/>
                    <a:gd name="connsiteY12" fmla="*/ 0 h 408298"/>
                    <a:gd name="connsiteX0" fmla="*/ 14068 w 829994"/>
                    <a:gd name="connsiteY0" fmla="*/ 0 h 408298"/>
                    <a:gd name="connsiteX1" fmla="*/ 28136 w 829994"/>
                    <a:gd name="connsiteY1" fmla="*/ 84406 h 408298"/>
                    <a:gd name="connsiteX2" fmla="*/ 154745 w 829994"/>
                    <a:gd name="connsiteY2" fmla="*/ 126609 h 408298"/>
                    <a:gd name="connsiteX3" fmla="*/ 281354 w 829994"/>
                    <a:gd name="connsiteY3" fmla="*/ 168813 h 408298"/>
                    <a:gd name="connsiteX4" fmla="*/ 422031 w 829994"/>
                    <a:gd name="connsiteY4" fmla="*/ 295422 h 408298"/>
                    <a:gd name="connsiteX5" fmla="*/ 604911 w 829994"/>
                    <a:gd name="connsiteY5" fmla="*/ 196948 h 408298"/>
                    <a:gd name="connsiteX6" fmla="*/ 829994 w 829994"/>
                    <a:gd name="connsiteY6" fmla="*/ 211016 h 408298"/>
                    <a:gd name="connsiteX7" fmla="*/ 615964 w 829994"/>
                    <a:gd name="connsiteY7" fmla="*/ 293411 h 408298"/>
                    <a:gd name="connsiteX8" fmla="*/ 481317 w 829994"/>
                    <a:gd name="connsiteY8" fmla="*/ 406958 h 408298"/>
                    <a:gd name="connsiteX9" fmla="*/ 280349 w 829994"/>
                    <a:gd name="connsiteY9" fmla="*/ 370784 h 408298"/>
                    <a:gd name="connsiteX10" fmla="*/ 182880 w 829994"/>
                    <a:gd name="connsiteY10" fmla="*/ 239151 h 408298"/>
                    <a:gd name="connsiteX11" fmla="*/ 0 w 829994"/>
                    <a:gd name="connsiteY11" fmla="*/ 140677 h 408298"/>
                    <a:gd name="connsiteX12" fmla="*/ 14068 w 829994"/>
                    <a:gd name="connsiteY12" fmla="*/ 0 h 408298"/>
                    <a:gd name="connsiteX0" fmla="*/ 14068 w 829994"/>
                    <a:gd name="connsiteY0" fmla="*/ 0 h 408298"/>
                    <a:gd name="connsiteX1" fmla="*/ 28136 w 829994"/>
                    <a:gd name="connsiteY1" fmla="*/ 84406 h 408298"/>
                    <a:gd name="connsiteX2" fmla="*/ 154745 w 829994"/>
                    <a:gd name="connsiteY2" fmla="*/ 126609 h 408298"/>
                    <a:gd name="connsiteX3" fmla="*/ 281354 w 829994"/>
                    <a:gd name="connsiteY3" fmla="*/ 168813 h 408298"/>
                    <a:gd name="connsiteX4" fmla="*/ 422031 w 829994"/>
                    <a:gd name="connsiteY4" fmla="*/ 295422 h 408298"/>
                    <a:gd name="connsiteX5" fmla="*/ 604911 w 829994"/>
                    <a:gd name="connsiteY5" fmla="*/ 196948 h 408298"/>
                    <a:gd name="connsiteX6" fmla="*/ 829994 w 829994"/>
                    <a:gd name="connsiteY6" fmla="*/ 211016 h 408298"/>
                    <a:gd name="connsiteX7" fmla="*/ 615964 w 829994"/>
                    <a:gd name="connsiteY7" fmla="*/ 293411 h 408298"/>
                    <a:gd name="connsiteX8" fmla="*/ 481317 w 829994"/>
                    <a:gd name="connsiteY8" fmla="*/ 406958 h 408298"/>
                    <a:gd name="connsiteX9" fmla="*/ 280349 w 829994"/>
                    <a:gd name="connsiteY9" fmla="*/ 370784 h 408298"/>
                    <a:gd name="connsiteX10" fmla="*/ 182880 w 829994"/>
                    <a:gd name="connsiteY10" fmla="*/ 239151 h 408298"/>
                    <a:gd name="connsiteX11" fmla="*/ 0 w 829994"/>
                    <a:gd name="connsiteY11" fmla="*/ 140677 h 408298"/>
                    <a:gd name="connsiteX12" fmla="*/ 14068 w 829994"/>
                    <a:gd name="connsiteY12" fmla="*/ 0 h 408298"/>
                    <a:gd name="connsiteX0" fmla="*/ 14068 w 829994"/>
                    <a:gd name="connsiteY0" fmla="*/ 0 h 408298"/>
                    <a:gd name="connsiteX1" fmla="*/ 28136 w 829994"/>
                    <a:gd name="connsiteY1" fmla="*/ 84406 h 408298"/>
                    <a:gd name="connsiteX2" fmla="*/ 154745 w 829994"/>
                    <a:gd name="connsiteY2" fmla="*/ 126609 h 408298"/>
                    <a:gd name="connsiteX3" fmla="*/ 281354 w 829994"/>
                    <a:gd name="connsiteY3" fmla="*/ 168813 h 408298"/>
                    <a:gd name="connsiteX4" fmla="*/ 604911 w 829994"/>
                    <a:gd name="connsiteY4" fmla="*/ 196948 h 408298"/>
                    <a:gd name="connsiteX5" fmla="*/ 829994 w 829994"/>
                    <a:gd name="connsiteY5" fmla="*/ 211016 h 408298"/>
                    <a:gd name="connsiteX6" fmla="*/ 615964 w 829994"/>
                    <a:gd name="connsiteY6" fmla="*/ 293411 h 408298"/>
                    <a:gd name="connsiteX7" fmla="*/ 481317 w 829994"/>
                    <a:gd name="connsiteY7" fmla="*/ 406958 h 408298"/>
                    <a:gd name="connsiteX8" fmla="*/ 280349 w 829994"/>
                    <a:gd name="connsiteY8" fmla="*/ 370784 h 408298"/>
                    <a:gd name="connsiteX9" fmla="*/ 182880 w 829994"/>
                    <a:gd name="connsiteY9" fmla="*/ 239151 h 408298"/>
                    <a:gd name="connsiteX10" fmla="*/ 0 w 829994"/>
                    <a:gd name="connsiteY10" fmla="*/ 140677 h 408298"/>
                    <a:gd name="connsiteX11" fmla="*/ 14068 w 829994"/>
                    <a:gd name="connsiteY11" fmla="*/ 0 h 408298"/>
                    <a:gd name="connsiteX0" fmla="*/ 14068 w 829994"/>
                    <a:gd name="connsiteY0" fmla="*/ 0 h 408298"/>
                    <a:gd name="connsiteX1" fmla="*/ 28136 w 829994"/>
                    <a:gd name="connsiteY1" fmla="*/ 84406 h 408298"/>
                    <a:gd name="connsiteX2" fmla="*/ 154745 w 829994"/>
                    <a:gd name="connsiteY2" fmla="*/ 126609 h 408298"/>
                    <a:gd name="connsiteX3" fmla="*/ 281354 w 829994"/>
                    <a:gd name="connsiteY3" fmla="*/ 168813 h 408298"/>
                    <a:gd name="connsiteX4" fmla="*/ 604911 w 829994"/>
                    <a:gd name="connsiteY4" fmla="*/ 196948 h 408298"/>
                    <a:gd name="connsiteX5" fmla="*/ 829994 w 829994"/>
                    <a:gd name="connsiteY5" fmla="*/ 211016 h 408298"/>
                    <a:gd name="connsiteX6" fmla="*/ 615964 w 829994"/>
                    <a:gd name="connsiteY6" fmla="*/ 293411 h 408298"/>
                    <a:gd name="connsiteX7" fmla="*/ 481317 w 829994"/>
                    <a:gd name="connsiteY7" fmla="*/ 406958 h 408298"/>
                    <a:gd name="connsiteX8" fmla="*/ 280349 w 829994"/>
                    <a:gd name="connsiteY8" fmla="*/ 370784 h 408298"/>
                    <a:gd name="connsiteX9" fmla="*/ 182880 w 829994"/>
                    <a:gd name="connsiteY9" fmla="*/ 239151 h 408298"/>
                    <a:gd name="connsiteX10" fmla="*/ 0 w 829994"/>
                    <a:gd name="connsiteY10" fmla="*/ 140677 h 408298"/>
                    <a:gd name="connsiteX11" fmla="*/ 14068 w 829994"/>
                    <a:gd name="connsiteY11" fmla="*/ 0 h 408298"/>
                    <a:gd name="connsiteX0" fmla="*/ 14068 w 829994"/>
                    <a:gd name="connsiteY0" fmla="*/ 0 h 408298"/>
                    <a:gd name="connsiteX1" fmla="*/ 28136 w 829994"/>
                    <a:gd name="connsiteY1" fmla="*/ 84406 h 408298"/>
                    <a:gd name="connsiteX2" fmla="*/ 154745 w 829994"/>
                    <a:gd name="connsiteY2" fmla="*/ 126609 h 408298"/>
                    <a:gd name="connsiteX3" fmla="*/ 281354 w 829994"/>
                    <a:gd name="connsiteY3" fmla="*/ 168813 h 408298"/>
                    <a:gd name="connsiteX4" fmla="*/ 604911 w 829994"/>
                    <a:gd name="connsiteY4" fmla="*/ 196948 h 408298"/>
                    <a:gd name="connsiteX5" fmla="*/ 829994 w 829994"/>
                    <a:gd name="connsiteY5" fmla="*/ 211016 h 408298"/>
                    <a:gd name="connsiteX6" fmla="*/ 615964 w 829994"/>
                    <a:gd name="connsiteY6" fmla="*/ 293411 h 408298"/>
                    <a:gd name="connsiteX7" fmla="*/ 481317 w 829994"/>
                    <a:gd name="connsiteY7" fmla="*/ 406958 h 408298"/>
                    <a:gd name="connsiteX8" fmla="*/ 280349 w 829994"/>
                    <a:gd name="connsiteY8" fmla="*/ 370784 h 408298"/>
                    <a:gd name="connsiteX9" fmla="*/ 182880 w 829994"/>
                    <a:gd name="connsiteY9" fmla="*/ 239151 h 408298"/>
                    <a:gd name="connsiteX10" fmla="*/ 0 w 829994"/>
                    <a:gd name="connsiteY10" fmla="*/ 140677 h 408298"/>
                    <a:gd name="connsiteX11" fmla="*/ 14068 w 829994"/>
                    <a:gd name="connsiteY11" fmla="*/ 0 h 408298"/>
                    <a:gd name="connsiteX0" fmla="*/ 14068 w 829994"/>
                    <a:gd name="connsiteY0" fmla="*/ 0 h 408298"/>
                    <a:gd name="connsiteX1" fmla="*/ 28136 w 829994"/>
                    <a:gd name="connsiteY1" fmla="*/ 84406 h 408298"/>
                    <a:gd name="connsiteX2" fmla="*/ 154745 w 829994"/>
                    <a:gd name="connsiteY2" fmla="*/ 126609 h 408298"/>
                    <a:gd name="connsiteX3" fmla="*/ 281354 w 829994"/>
                    <a:gd name="connsiteY3" fmla="*/ 168813 h 408298"/>
                    <a:gd name="connsiteX4" fmla="*/ 604911 w 829994"/>
                    <a:gd name="connsiteY4" fmla="*/ 196948 h 408298"/>
                    <a:gd name="connsiteX5" fmla="*/ 829994 w 829994"/>
                    <a:gd name="connsiteY5" fmla="*/ 211016 h 408298"/>
                    <a:gd name="connsiteX6" fmla="*/ 615964 w 829994"/>
                    <a:gd name="connsiteY6" fmla="*/ 293411 h 408298"/>
                    <a:gd name="connsiteX7" fmla="*/ 481317 w 829994"/>
                    <a:gd name="connsiteY7" fmla="*/ 406958 h 408298"/>
                    <a:gd name="connsiteX8" fmla="*/ 280349 w 829994"/>
                    <a:gd name="connsiteY8" fmla="*/ 370784 h 408298"/>
                    <a:gd name="connsiteX9" fmla="*/ 182880 w 829994"/>
                    <a:gd name="connsiteY9" fmla="*/ 239151 h 408298"/>
                    <a:gd name="connsiteX10" fmla="*/ 0 w 829994"/>
                    <a:gd name="connsiteY10" fmla="*/ 140677 h 408298"/>
                    <a:gd name="connsiteX11" fmla="*/ 14068 w 829994"/>
                    <a:gd name="connsiteY11" fmla="*/ 0 h 408298"/>
                    <a:gd name="connsiteX0" fmla="*/ 14068 w 829994"/>
                    <a:gd name="connsiteY0" fmla="*/ 0 h 408298"/>
                    <a:gd name="connsiteX1" fmla="*/ 28136 w 829994"/>
                    <a:gd name="connsiteY1" fmla="*/ 84406 h 408298"/>
                    <a:gd name="connsiteX2" fmla="*/ 281354 w 829994"/>
                    <a:gd name="connsiteY2" fmla="*/ 168813 h 408298"/>
                    <a:gd name="connsiteX3" fmla="*/ 604911 w 829994"/>
                    <a:gd name="connsiteY3" fmla="*/ 196948 h 408298"/>
                    <a:gd name="connsiteX4" fmla="*/ 829994 w 829994"/>
                    <a:gd name="connsiteY4" fmla="*/ 211016 h 408298"/>
                    <a:gd name="connsiteX5" fmla="*/ 615964 w 829994"/>
                    <a:gd name="connsiteY5" fmla="*/ 293411 h 408298"/>
                    <a:gd name="connsiteX6" fmla="*/ 481317 w 829994"/>
                    <a:gd name="connsiteY6" fmla="*/ 406958 h 408298"/>
                    <a:gd name="connsiteX7" fmla="*/ 280349 w 829994"/>
                    <a:gd name="connsiteY7" fmla="*/ 370784 h 408298"/>
                    <a:gd name="connsiteX8" fmla="*/ 182880 w 829994"/>
                    <a:gd name="connsiteY8" fmla="*/ 239151 h 408298"/>
                    <a:gd name="connsiteX9" fmla="*/ 0 w 829994"/>
                    <a:gd name="connsiteY9" fmla="*/ 140677 h 408298"/>
                    <a:gd name="connsiteX10" fmla="*/ 14068 w 829994"/>
                    <a:gd name="connsiteY10" fmla="*/ 0 h 408298"/>
                    <a:gd name="connsiteX0" fmla="*/ 14068 w 829994"/>
                    <a:gd name="connsiteY0" fmla="*/ 0 h 408298"/>
                    <a:gd name="connsiteX1" fmla="*/ 28136 w 829994"/>
                    <a:gd name="connsiteY1" fmla="*/ 84406 h 408298"/>
                    <a:gd name="connsiteX2" fmla="*/ 281354 w 829994"/>
                    <a:gd name="connsiteY2" fmla="*/ 168813 h 408298"/>
                    <a:gd name="connsiteX3" fmla="*/ 604911 w 829994"/>
                    <a:gd name="connsiteY3" fmla="*/ 196948 h 408298"/>
                    <a:gd name="connsiteX4" fmla="*/ 829994 w 829994"/>
                    <a:gd name="connsiteY4" fmla="*/ 211016 h 408298"/>
                    <a:gd name="connsiteX5" fmla="*/ 615964 w 829994"/>
                    <a:gd name="connsiteY5" fmla="*/ 293411 h 408298"/>
                    <a:gd name="connsiteX6" fmla="*/ 481317 w 829994"/>
                    <a:gd name="connsiteY6" fmla="*/ 406958 h 408298"/>
                    <a:gd name="connsiteX7" fmla="*/ 280349 w 829994"/>
                    <a:gd name="connsiteY7" fmla="*/ 370784 h 408298"/>
                    <a:gd name="connsiteX8" fmla="*/ 182880 w 829994"/>
                    <a:gd name="connsiteY8" fmla="*/ 239151 h 408298"/>
                    <a:gd name="connsiteX9" fmla="*/ 0 w 829994"/>
                    <a:gd name="connsiteY9" fmla="*/ 140677 h 408298"/>
                    <a:gd name="connsiteX10" fmla="*/ 14068 w 829994"/>
                    <a:gd name="connsiteY10" fmla="*/ 0 h 408298"/>
                    <a:gd name="connsiteX0" fmla="*/ 14068 w 829994"/>
                    <a:gd name="connsiteY0" fmla="*/ 0 h 408298"/>
                    <a:gd name="connsiteX1" fmla="*/ 281354 w 829994"/>
                    <a:gd name="connsiteY1" fmla="*/ 168813 h 408298"/>
                    <a:gd name="connsiteX2" fmla="*/ 604911 w 829994"/>
                    <a:gd name="connsiteY2" fmla="*/ 196948 h 408298"/>
                    <a:gd name="connsiteX3" fmla="*/ 829994 w 829994"/>
                    <a:gd name="connsiteY3" fmla="*/ 211016 h 408298"/>
                    <a:gd name="connsiteX4" fmla="*/ 615964 w 829994"/>
                    <a:gd name="connsiteY4" fmla="*/ 293411 h 408298"/>
                    <a:gd name="connsiteX5" fmla="*/ 481317 w 829994"/>
                    <a:gd name="connsiteY5" fmla="*/ 406958 h 408298"/>
                    <a:gd name="connsiteX6" fmla="*/ 280349 w 829994"/>
                    <a:gd name="connsiteY6" fmla="*/ 370784 h 408298"/>
                    <a:gd name="connsiteX7" fmla="*/ 182880 w 829994"/>
                    <a:gd name="connsiteY7" fmla="*/ 239151 h 408298"/>
                    <a:gd name="connsiteX8" fmla="*/ 0 w 829994"/>
                    <a:gd name="connsiteY8" fmla="*/ 140677 h 408298"/>
                    <a:gd name="connsiteX9" fmla="*/ 14068 w 829994"/>
                    <a:gd name="connsiteY9" fmla="*/ 0 h 408298"/>
                    <a:gd name="connsiteX0" fmla="*/ 14068 w 829994"/>
                    <a:gd name="connsiteY0" fmla="*/ 0 h 408298"/>
                    <a:gd name="connsiteX1" fmla="*/ 281354 w 829994"/>
                    <a:gd name="connsiteY1" fmla="*/ 168813 h 408298"/>
                    <a:gd name="connsiteX2" fmla="*/ 604911 w 829994"/>
                    <a:gd name="connsiteY2" fmla="*/ 196948 h 408298"/>
                    <a:gd name="connsiteX3" fmla="*/ 829994 w 829994"/>
                    <a:gd name="connsiteY3" fmla="*/ 211016 h 408298"/>
                    <a:gd name="connsiteX4" fmla="*/ 615964 w 829994"/>
                    <a:gd name="connsiteY4" fmla="*/ 293411 h 408298"/>
                    <a:gd name="connsiteX5" fmla="*/ 481317 w 829994"/>
                    <a:gd name="connsiteY5" fmla="*/ 406958 h 408298"/>
                    <a:gd name="connsiteX6" fmla="*/ 280349 w 829994"/>
                    <a:gd name="connsiteY6" fmla="*/ 370784 h 408298"/>
                    <a:gd name="connsiteX7" fmla="*/ 182880 w 829994"/>
                    <a:gd name="connsiteY7" fmla="*/ 239151 h 408298"/>
                    <a:gd name="connsiteX8" fmla="*/ 0 w 829994"/>
                    <a:gd name="connsiteY8" fmla="*/ 140677 h 408298"/>
                    <a:gd name="connsiteX9" fmla="*/ 14068 w 829994"/>
                    <a:gd name="connsiteY9" fmla="*/ 0 h 408298"/>
                    <a:gd name="connsiteX0" fmla="*/ 0 w 815926"/>
                    <a:gd name="connsiteY0" fmla="*/ 0 h 408298"/>
                    <a:gd name="connsiteX1" fmla="*/ 267286 w 815926"/>
                    <a:gd name="connsiteY1" fmla="*/ 168813 h 408298"/>
                    <a:gd name="connsiteX2" fmla="*/ 590843 w 815926"/>
                    <a:gd name="connsiteY2" fmla="*/ 196948 h 408298"/>
                    <a:gd name="connsiteX3" fmla="*/ 815926 w 815926"/>
                    <a:gd name="connsiteY3" fmla="*/ 211016 h 408298"/>
                    <a:gd name="connsiteX4" fmla="*/ 601896 w 815926"/>
                    <a:gd name="connsiteY4" fmla="*/ 293411 h 408298"/>
                    <a:gd name="connsiteX5" fmla="*/ 467249 w 815926"/>
                    <a:gd name="connsiteY5" fmla="*/ 406958 h 408298"/>
                    <a:gd name="connsiteX6" fmla="*/ 266281 w 815926"/>
                    <a:gd name="connsiteY6" fmla="*/ 370784 h 408298"/>
                    <a:gd name="connsiteX7" fmla="*/ 168812 w 815926"/>
                    <a:gd name="connsiteY7" fmla="*/ 239151 h 408298"/>
                    <a:gd name="connsiteX8" fmla="*/ 0 w 815926"/>
                    <a:gd name="connsiteY8" fmla="*/ 0 h 408298"/>
                    <a:gd name="connsiteX0" fmla="*/ 108523 w 924449"/>
                    <a:gd name="connsiteY0" fmla="*/ 0 h 408298"/>
                    <a:gd name="connsiteX1" fmla="*/ 375809 w 924449"/>
                    <a:gd name="connsiteY1" fmla="*/ 168813 h 408298"/>
                    <a:gd name="connsiteX2" fmla="*/ 699366 w 924449"/>
                    <a:gd name="connsiteY2" fmla="*/ 196948 h 408298"/>
                    <a:gd name="connsiteX3" fmla="*/ 924449 w 924449"/>
                    <a:gd name="connsiteY3" fmla="*/ 211016 h 408298"/>
                    <a:gd name="connsiteX4" fmla="*/ 710419 w 924449"/>
                    <a:gd name="connsiteY4" fmla="*/ 293411 h 408298"/>
                    <a:gd name="connsiteX5" fmla="*/ 575772 w 924449"/>
                    <a:gd name="connsiteY5" fmla="*/ 406958 h 408298"/>
                    <a:gd name="connsiteX6" fmla="*/ 374804 w 924449"/>
                    <a:gd name="connsiteY6" fmla="*/ 370784 h 408298"/>
                    <a:gd name="connsiteX7" fmla="*/ 277335 w 924449"/>
                    <a:gd name="connsiteY7" fmla="*/ 239151 h 408298"/>
                    <a:gd name="connsiteX8" fmla="*/ 108523 w 924449"/>
                    <a:gd name="connsiteY8" fmla="*/ 0 h 408298"/>
                    <a:gd name="connsiteX0" fmla="*/ 108523 w 924449"/>
                    <a:gd name="connsiteY0" fmla="*/ 0 h 408298"/>
                    <a:gd name="connsiteX1" fmla="*/ 375809 w 924449"/>
                    <a:gd name="connsiteY1" fmla="*/ 168813 h 408298"/>
                    <a:gd name="connsiteX2" fmla="*/ 699366 w 924449"/>
                    <a:gd name="connsiteY2" fmla="*/ 196948 h 408298"/>
                    <a:gd name="connsiteX3" fmla="*/ 924449 w 924449"/>
                    <a:gd name="connsiteY3" fmla="*/ 211016 h 408298"/>
                    <a:gd name="connsiteX4" fmla="*/ 710419 w 924449"/>
                    <a:gd name="connsiteY4" fmla="*/ 293411 h 408298"/>
                    <a:gd name="connsiteX5" fmla="*/ 575772 w 924449"/>
                    <a:gd name="connsiteY5" fmla="*/ 406958 h 408298"/>
                    <a:gd name="connsiteX6" fmla="*/ 374804 w 924449"/>
                    <a:gd name="connsiteY6" fmla="*/ 370784 h 408298"/>
                    <a:gd name="connsiteX7" fmla="*/ 277335 w 924449"/>
                    <a:gd name="connsiteY7" fmla="*/ 239151 h 408298"/>
                    <a:gd name="connsiteX8" fmla="*/ 108523 w 924449"/>
                    <a:gd name="connsiteY8" fmla="*/ 0 h 408298"/>
                    <a:gd name="connsiteX0" fmla="*/ 108523 w 924449"/>
                    <a:gd name="connsiteY0" fmla="*/ 0 h 414661"/>
                    <a:gd name="connsiteX1" fmla="*/ 375809 w 924449"/>
                    <a:gd name="connsiteY1" fmla="*/ 168813 h 414661"/>
                    <a:gd name="connsiteX2" fmla="*/ 699366 w 924449"/>
                    <a:gd name="connsiteY2" fmla="*/ 196948 h 414661"/>
                    <a:gd name="connsiteX3" fmla="*/ 924449 w 924449"/>
                    <a:gd name="connsiteY3" fmla="*/ 211016 h 414661"/>
                    <a:gd name="connsiteX4" fmla="*/ 710419 w 924449"/>
                    <a:gd name="connsiteY4" fmla="*/ 293411 h 414661"/>
                    <a:gd name="connsiteX5" fmla="*/ 575772 w 924449"/>
                    <a:gd name="connsiteY5" fmla="*/ 406958 h 414661"/>
                    <a:gd name="connsiteX6" fmla="*/ 374804 w 924449"/>
                    <a:gd name="connsiteY6" fmla="*/ 370784 h 414661"/>
                    <a:gd name="connsiteX7" fmla="*/ 277335 w 924449"/>
                    <a:gd name="connsiteY7" fmla="*/ 239151 h 414661"/>
                    <a:gd name="connsiteX8" fmla="*/ 108523 w 924449"/>
                    <a:gd name="connsiteY8" fmla="*/ 0 h 414661"/>
                    <a:gd name="connsiteX0" fmla="*/ 108523 w 924449"/>
                    <a:gd name="connsiteY0" fmla="*/ 0 h 414661"/>
                    <a:gd name="connsiteX1" fmla="*/ 375809 w 924449"/>
                    <a:gd name="connsiteY1" fmla="*/ 168813 h 414661"/>
                    <a:gd name="connsiteX2" fmla="*/ 699366 w 924449"/>
                    <a:gd name="connsiteY2" fmla="*/ 196948 h 414661"/>
                    <a:gd name="connsiteX3" fmla="*/ 924449 w 924449"/>
                    <a:gd name="connsiteY3" fmla="*/ 211016 h 414661"/>
                    <a:gd name="connsiteX4" fmla="*/ 745588 w 924449"/>
                    <a:gd name="connsiteY4" fmla="*/ 283363 h 414661"/>
                    <a:gd name="connsiteX5" fmla="*/ 575772 w 924449"/>
                    <a:gd name="connsiteY5" fmla="*/ 406958 h 414661"/>
                    <a:gd name="connsiteX6" fmla="*/ 374804 w 924449"/>
                    <a:gd name="connsiteY6" fmla="*/ 370784 h 414661"/>
                    <a:gd name="connsiteX7" fmla="*/ 277335 w 924449"/>
                    <a:gd name="connsiteY7" fmla="*/ 239151 h 414661"/>
                    <a:gd name="connsiteX8" fmla="*/ 108523 w 924449"/>
                    <a:gd name="connsiteY8" fmla="*/ 0 h 414661"/>
                    <a:gd name="connsiteX0" fmla="*/ 108523 w 924449"/>
                    <a:gd name="connsiteY0" fmla="*/ 0 h 414661"/>
                    <a:gd name="connsiteX1" fmla="*/ 375809 w 924449"/>
                    <a:gd name="connsiteY1" fmla="*/ 168813 h 414661"/>
                    <a:gd name="connsiteX2" fmla="*/ 699366 w 924449"/>
                    <a:gd name="connsiteY2" fmla="*/ 196948 h 414661"/>
                    <a:gd name="connsiteX3" fmla="*/ 924449 w 924449"/>
                    <a:gd name="connsiteY3" fmla="*/ 211016 h 414661"/>
                    <a:gd name="connsiteX4" fmla="*/ 745588 w 924449"/>
                    <a:gd name="connsiteY4" fmla="*/ 283363 h 414661"/>
                    <a:gd name="connsiteX5" fmla="*/ 610941 w 924449"/>
                    <a:gd name="connsiteY5" fmla="*/ 406958 h 414661"/>
                    <a:gd name="connsiteX6" fmla="*/ 374804 w 924449"/>
                    <a:gd name="connsiteY6" fmla="*/ 370784 h 414661"/>
                    <a:gd name="connsiteX7" fmla="*/ 277335 w 924449"/>
                    <a:gd name="connsiteY7" fmla="*/ 239151 h 414661"/>
                    <a:gd name="connsiteX8" fmla="*/ 108523 w 924449"/>
                    <a:gd name="connsiteY8" fmla="*/ 0 h 414661"/>
                    <a:gd name="connsiteX0" fmla="*/ 108523 w 924449"/>
                    <a:gd name="connsiteY0" fmla="*/ 0 h 428395"/>
                    <a:gd name="connsiteX1" fmla="*/ 375809 w 924449"/>
                    <a:gd name="connsiteY1" fmla="*/ 168813 h 428395"/>
                    <a:gd name="connsiteX2" fmla="*/ 699366 w 924449"/>
                    <a:gd name="connsiteY2" fmla="*/ 196948 h 428395"/>
                    <a:gd name="connsiteX3" fmla="*/ 924449 w 924449"/>
                    <a:gd name="connsiteY3" fmla="*/ 211016 h 428395"/>
                    <a:gd name="connsiteX4" fmla="*/ 745588 w 924449"/>
                    <a:gd name="connsiteY4" fmla="*/ 283363 h 428395"/>
                    <a:gd name="connsiteX5" fmla="*/ 610941 w 924449"/>
                    <a:gd name="connsiteY5" fmla="*/ 406958 h 428395"/>
                    <a:gd name="connsiteX6" fmla="*/ 374804 w 924449"/>
                    <a:gd name="connsiteY6" fmla="*/ 370784 h 428395"/>
                    <a:gd name="connsiteX7" fmla="*/ 277335 w 924449"/>
                    <a:gd name="connsiteY7" fmla="*/ 239151 h 428395"/>
                    <a:gd name="connsiteX8" fmla="*/ 108523 w 924449"/>
                    <a:gd name="connsiteY8" fmla="*/ 0 h 428395"/>
                    <a:gd name="connsiteX0" fmla="*/ 108523 w 924449"/>
                    <a:gd name="connsiteY0" fmla="*/ 0 h 428395"/>
                    <a:gd name="connsiteX1" fmla="*/ 375809 w 924449"/>
                    <a:gd name="connsiteY1" fmla="*/ 168813 h 428395"/>
                    <a:gd name="connsiteX2" fmla="*/ 699366 w 924449"/>
                    <a:gd name="connsiteY2" fmla="*/ 196948 h 428395"/>
                    <a:gd name="connsiteX3" fmla="*/ 924449 w 924449"/>
                    <a:gd name="connsiteY3" fmla="*/ 211016 h 428395"/>
                    <a:gd name="connsiteX4" fmla="*/ 745588 w 924449"/>
                    <a:gd name="connsiteY4" fmla="*/ 283363 h 428395"/>
                    <a:gd name="connsiteX5" fmla="*/ 610941 w 924449"/>
                    <a:gd name="connsiteY5" fmla="*/ 406958 h 428395"/>
                    <a:gd name="connsiteX6" fmla="*/ 374804 w 924449"/>
                    <a:gd name="connsiteY6" fmla="*/ 370784 h 428395"/>
                    <a:gd name="connsiteX7" fmla="*/ 277335 w 924449"/>
                    <a:gd name="connsiteY7" fmla="*/ 239151 h 428395"/>
                    <a:gd name="connsiteX8" fmla="*/ 108523 w 924449"/>
                    <a:gd name="connsiteY8" fmla="*/ 0 h 428395"/>
                    <a:gd name="connsiteX0" fmla="*/ 108523 w 924449"/>
                    <a:gd name="connsiteY0" fmla="*/ 0 h 428395"/>
                    <a:gd name="connsiteX1" fmla="*/ 375809 w 924449"/>
                    <a:gd name="connsiteY1" fmla="*/ 168813 h 428395"/>
                    <a:gd name="connsiteX2" fmla="*/ 699366 w 924449"/>
                    <a:gd name="connsiteY2" fmla="*/ 196948 h 428395"/>
                    <a:gd name="connsiteX3" fmla="*/ 924449 w 924449"/>
                    <a:gd name="connsiteY3" fmla="*/ 211016 h 428395"/>
                    <a:gd name="connsiteX4" fmla="*/ 745588 w 924449"/>
                    <a:gd name="connsiteY4" fmla="*/ 283363 h 428395"/>
                    <a:gd name="connsiteX5" fmla="*/ 610941 w 924449"/>
                    <a:gd name="connsiteY5" fmla="*/ 406958 h 428395"/>
                    <a:gd name="connsiteX6" fmla="*/ 374804 w 924449"/>
                    <a:gd name="connsiteY6" fmla="*/ 370784 h 428395"/>
                    <a:gd name="connsiteX7" fmla="*/ 277335 w 924449"/>
                    <a:gd name="connsiteY7" fmla="*/ 239151 h 428395"/>
                    <a:gd name="connsiteX8" fmla="*/ 108523 w 924449"/>
                    <a:gd name="connsiteY8" fmla="*/ 0 h 428395"/>
                    <a:gd name="connsiteX0" fmla="*/ 108523 w 924449"/>
                    <a:gd name="connsiteY0" fmla="*/ 0 h 428395"/>
                    <a:gd name="connsiteX1" fmla="*/ 375809 w 924449"/>
                    <a:gd name="connsiteY1" fmla="*/ 168813 h 428395"/>
                    <a:gd name="connsiteX2" fmla="*/ 699366 w 924449"/>
                    <a:gd name="connsiteY2" fmla="*/ 196948 h 428395"/>
                    <a:gd name="connsiteX3" fmla="*/ 924449 w 924449"/>
                    <a:gd name="connsiteY3" fmla="*/ 211016 h 428395"/>
                    <a:gd name="connsiteX4" fmla="*/ 745588 w 924449"/>
                    <a:gd name="connsiteY4" fmla="*/ 283363 h 428395"/>
                    <a:gd name="connsiteX5" fmla="*/ 610941 w 924449"/>
                    <a:gd name="connsiteY5" fmla="*/ 406958 h 428395"/>
                    <a:gd name="connsiteX6" fmla="*/ 374804 w 924449"/>
                    <a:gd name="connsiteY6" fmla="*/ 370784 h 428395"/>
                    <a:gd name="connsiteX7" fmla="*/ 277335 w 924449"/>
                    <a:gd name="connsiteY7" fmla="*/ 239151 h 428395"/>
                    <a:gd name="connsiteX8" fmla="*/ 108523 w 924449"/>
                    <a:gd name="connsiteY8" fmla="*/ 0 h 428395"/>
                    <a:gd name="connsiteX0" fmla="*/ 108523 w 924449"/>
                    <a:gd name="connsiteY0" fmla="*/ 0 h 428395"/>
                    <a:gd name="connsiteX1" fmla="*/ 375809 w 924449"/>
                    <a:gd name="connsiteY1" fmla="*/ 168813 h 428395"/>
                    <a:gd name="connsiteX2" fmla="*/ 699366 w 924449"/>
                    <a:gd name="connsiteY2" fmla="*/ 196948 h 428395"/>
                    <a:gd name="connsiteX3" fmla="*/ 924449 w 924449"/>
                    <a:gd name="connsiteY3" fmla="*/ 211016 h 428395"/>
                    <a:gd name="connsiteX4" fmla="*/ 745588 w 924449"/>
                    <a:gd name="connsiteY4" fmla="*/ 283363 h 428395"/>
                    <a:gd name="connsiteX5" fmla="*/ 610941 w 924449"/>
                    <a:gd name="connsiteY5" fmla="*/ 406958 h 428395"/>
                    <a:gd name="connsiteX6" fmla="*/ 374804 w 924449"/>
                    <a:gd name="connsiteY6" fmla="*/ 339787 h 428395"/>
                    <a:gd name="connsiteX7" fmla="*/ 277335 w 924449"/>
                    <a:gd name="connsiteY7" fmla="*/ 239151 h 428395"/>
                    <a:gd name="connsiteX8" fmla="*/ 108523 w 924449"/>
                    <a:gd name="connsiteY8" fmla="*/ 0 h 428395"/>
                    <a:gd name="connsiteX0" fmla="*/ 108523 w 924449"/>
                    <a:gd name="connsiteY0" fmla="*/ 0 h 402565"/>
                    <a:gd name="connsiteX1" fmla="*/ 375809 w 924449"/>
                    <a:gd name="connsiteY1" fmla="*/ 168813 h 402565"/>
                    <a:gd name="connsiteX2" fmla="*/ 699366 w 924449"/>
                    <a:gd name="connsiteY2" fmla="*/ 196948 h 402565"/>
                    <a:gd name="connsiteX3" fmla="*/ 924449 w 924449"/>
                    <a:gd name="connsiteY3" fmla="*/ 211016 h 402565"/>
                    <a:gd name="connsiteX4" fmla="*/ 745588 w 924449"/>
                    <a:gd name="connsiteY4" fmla="*/ 283363 h 402565"/>
                    <a:gd name="connsiteX5" fmla="*/ 616108 w 924449"/>
                    <a:gd name="connsiteY5" fmla="*/ 381128 h 402565"/>
                    <a:gd name="connsiteX6" fmla="*/ 374804 w 924449"/>
                    <a:gd name="connsiteY6" fmla="*/ 339787 h 402565"/>
                    <a:gd name="connsiteX7" fmla="*/ 277335 w 924449"/>
                    <a:gd name="connsiteY7" fmla="*/ 239151 h 402565"/>
                    <a:gd name="connsiteX8" fmla="*/ 108523 w 924449"/>
                    <a:gd name="connsiteY8" fmla="*/ 0 h 402565"/>
                    <a:gd name="connsiteX0" fmla="*/ 108523 w 924449"/>
                    <a:gd name="connsiteY0" fmla="*/ 0 h 412897"/>
                    <a:gd name="connsiteX1" fmla="*/ 375809 w 924449"/>
                    <a:gd name="connsiteY1" fmla="*/ 168813 h 412897"/>
                    <a:gd name="connsiteX2" fmla="*/ 699366 w 924449"/>
                    <a:gd name="connsiteY2" fmla="*/ 196948 h 412897"/>
                    <a:gd name="connsiteX3" fmla="*/ 924449 w 924449"/>
                    <a:gd name="connsiteY3" fmla="*/ 211016 h 412897"/>
                    <a:gd name="connsiteX4" fmla="*/ 745588 w 924449"/>
                    <a:gd name="connsiteY4" fmla="*/ 283363 h 412897"/>
                    <a:gd name="connsiteX5" fmla="*/ 616108 w 924449"/>
                    <a:gd name="connsiteY5" fmla="*/ 381128 h 412897"/>
                    <a:gd name="connsiteX6" fmla="*/ 374804 w 924449"/>
                    <a:gd name="connsiteY6" fmla="*/ 339787 h 412897"/>
                    <a:gd name="connsiteX7" fmla="*/ 277335 w 924449"/>
                    <a:gd name="connsiteY7" fmla="*/ 239151 h 412897"/>
                    <a:gd name="connsiteX8" fmla="*/ 108523 w 924449"/>
                    <a:gd name="connsiteY8" fmla="*/ 0 h 412897"/>
                    <a:gd name="connsiteX0" fmla="*/ 108523 w 924449"/>
                    <a:gd name="connsiteY0" fmla="*/ 0 h 412897"/>
                    <a:gd name="connsiteX1" fmla="*/ 375809 w 924449"/>
                    <a:gd name="connsiteY1" fmla="*/ 168813 h 412897"/>
                    <a:gd name="connsiteX2" fmla="*/ 699366 w 924449"/>
                    <a:gd name="connsiteY2" fmla="*/ 196948 h 412897"/>
                    <a:gd name="connsiteX3" fmla="*/ 924449 w 924449"/>
                    <a:gd name="connsiteY3" fmla="*/ 211016 h 412897"/>
                    <a:gd name="connsiteX4" fmla="*/ 732942 w 924449"/>
                    <a:gd name="connsiteY4" fmla="*/ 260503 h 412897"/>
                    <a:gd name="connsiteX5" fmla="*/ 616108 w 924449"/>
                    <a:gd name="connsiteY5" fmla="*/ 381128 h 412897"/>
                    <a:gd name="connsiteX6" fmla="*/ 374804 w 924449"/>
                    <a:gd name="connsiteY6" fmla="*/ 339787 h 412897"/>
                    <a:gd name="connsiteX7" fmla="*/ 277335 w 924449"/>
                    <a:gd name="connsiteY7" fmla="*/ 239151 h 412897"/>
                    <a:gd name="connsiteX8" fmla="*/ 108523 w 924449"/>
                    <a:gd name="connsiteY8" fmla="*/ 0 h 412897"/>
                    <a:gd name="connsiteX0" fmla="*/ 108523 w 924449"/>
                    <a:gd name="connsiteY0" fmla="*/ 0 h 412897"/>
                    <a:gd name="connsiteX1" fmla="*/ 375809 w 924449"/>
                    <a:gd name="connsiteY1" fmla="*/ 168813 h 412897"/>
                    <a:gd name="connsiteX2" fmla="*/ 699366 w 924449"/>
                    <a:gd name="connsiteY2" fmla="*/ 196948 h 412897"/>
                    <a:gd name="connsiteX3" fmla="*/ 924449 w 924449"/>
                    <a:gd name="connsiteY3" fmla="*/ 211016 h 412897"/>
                    <a:gd name="connsiteX4" fmla="*/ 732942 w 924449"/>
                    <a:gd name="connsiteY4" fmla="*/ 260503 h 412897"/>
                    <a:gd name="connsiteX5" fmla="*/ 616108 w 924449"/>
                    <a:gd name="connsiteY5" fmla="*/ 381128 h 412897"/>
                    <a:gd name="connsiteX6" fmla="*/ 374804 w 924449"/>
                    <a:gd name="connsiteY6" fmla="*/ 339787 h 412897"/>
                    <a:gd name="connsiteX7" fmla="*/ 277335 w 924449"/>
                    <a:gd name="connsiteY7" fmla="*/ 239151 h 412897"/>
                    <a:gd name="connsiteX8" fmla="*/ 108523 w 924449"/>
                    <a:gd name="connsiteY8" fmla="*/ 0 h 412897"/>
                    <a:gd name="connsiteX0" fmla="*/ 108523 w 924449"/>
                    <a:gd name="connsiteY0" fmla="*/ 0 h 412897"/>
                    <a:gd name="connsiteX1" fmla="*/ 375809 w 924449"/>
                    <a:gd name="connsiteY1" fmla="*/ 168813 h 412897"/>
                    <a:gd name="connsiteX2" fmla="*/ 699366 w 924449"/>
                    <a:gd name="connsiteY2" fmla="*/ 196948 h 412897"/>
                    <a:gd name="connsiteX3" fmla="*/ 924449 w 924449"/>
                    <a:gd name="connsiteY3" fmla="*/ 211016 h 412897"/>
                    <a:gd name="connsiteX4" fmla="*/ 732942 w 924449"/>
                    <a:gd name="connsiteY4" fmla="*/ 279553 h 412897"/>
                    <a:gd name="connsiteX5" fmla="*/ 616108 w 924449"/>
                    <a:gd name="connsiteY5" fmla="*/ 381128 h 412897"/>
                    <a:gd name="connsiteX6" fmla="*/ 374804 w 924449"/>
                    <a:gd name="connsiteY6" fmla="*/ 339787 h 412897"/>
                    <a:gd name="connsiteX7" fmla="*/ 277335 w 924449"/>
                    <a:gd name="connsiteY7" fmla="*/ 239151 h 412897"/>
                    <a:gd name="connsiteX8" fmla="*/ 108523 w 924449"/>
                    <a:gd name="connsiteY8" fmla="*/ 0 h 412897"/>
                    <a:gd name="connsiteX0" fmla="*/ 108523 w 924449"/>
                    <a:gd name="connsiteY0" fmla="*/ 0 h 412897"/>
                    <a:gd name="connsiteX1" fmla="*/ 375809 w 924449"/>
                    <a:gd name="connsiteY1" fmla="*/ 168813 h 412897"/>
                    <a:gd name="connsiteX2" fmla="*/ 699366 w 924449"/>
                    <a:gd name="connsiteY2" fmla="*/ 196948 h 412897"/>
                    <a:gd name="connsiteX3" fmla="*/ 924449 w 924449"/>
                    <a:gd name="connsiteY3" fmla="*/ 211016 h 412897"/>
                    <a:gd name="connsiteX4" fmla="*/ 732942 w 924449"/>
                    <a:gd name="connsiteY4" fmla="*/ 279553 h 412897"/>
                    <a:gd name="connsiteX5" fmla="*/ 616108 w 924449"/>
                    <a:gd name="connsiteY5" fmla="*/ 381128 h 412897"/>
                    <a:gd name="connsiteX6" fmla="*/ 374804 w 924449"/>
                    <a:gd name="connsiteY6" fmla="*/ 339787 h 412897"/>
                    <a:gd name="connsiteX7" fmla="*/ 277335 w 924449"/>
                    <a:gd name="connsiteY7" fmla="*/ 239151 h 412897"/>
                    <a:gd name="connsiteX8" fmla="*/ 108523 w 924449"/>
                    <a:gd name="connsiteY8" fmla="*/ 0 h 412897"/>
                    <a:gd name="connsiteX0" fmla="*/ 108523 w 924449"/>
                    <a:gd name="connsiteY0" fmla="*/ 0 h 397657"/>
                    <a:gd name="connsiteX1" fmla="*/ 375809 w 924449"/>
                    <a:gd name="connsiteY1" fmla="*/ 168813 h 397657"/>
                    <a:gd name="connsiteX2" fmla="*/ 699366 w 924449"/>
                    <a:gd name="connsiteY2" fmla="*/ 196948 h 397657"/>
                    <a:gd name="connsiteX3" fmla="*/ 924449 w 924449"/>
                    <a:gd name="connsiteY3" fmla="*/ 211016 h 397657"/>
                    <a:gd name="connsiteX4" fmla="*/ 732942 w 924449"/>
                    <a:gd name="connsiteY4" fmla="*/ 279553 h 397657"/>
                    <a:gd name="connsiteX5" fmla="*/ 624539 w 924449"/>
                    <a:gd name="connsiteY5" fmla="*/ 365888 h 397657"/>
                    <a:gd name="connsiteX6" fmla="*/ 374804 w 924449"/>
                    <a:gd name="connsiteY6" fmla="*/ 339787 h 397657"/>
                    <a:gd name="connsiteX7" fmla="*/ 277335 w 924449"/>
                    <a:gd name="connsiteY7" fmla="*/ 239151 h 397657"/>
                    <a:gd name="connsiteX8" fmla="*/ 108523 w 924449"/>
                    <a:gd name="connsiteY8" fmla="*/ 0 h 397657"/>
                    <a:gd name="connsiteX0" fmla="*/ 108523 w 924449"/>
                    <a:gd name="connsiteY0" fmla="*/ 0 h 397657"/>
                    <a:gd name="connsiteX1" fmla="*/ 375809 w 924449"/>
                    <a:gd name="connsiteY1" fmla="*/ 168813 h 397657"/>
                    <a:gd name="connsiteX2" fmla="*/ 699366 w 924449"/>
                    <a:gd name="connsiteY2" fmla="*/ 196948 h 397657"/>
                    <a:gd name="connsiteX3" fmla="*/ 924449 w 924449"/>
                    <a:gd name="connsiteY3" fmla="*/ 211016 h 397657"/>
                    <a:gd name="connsiteX4" fmla="*/ 732942 w 924449"/>
                    <a:gd name="connsiteY4" fmla="*/ 279553 h 397657"/>
                    <a:gd name="connsiteX5" fmla="*/ 624539 w 924449"/>
                    <a:gd name="connsiteY5" fmla="*/ 365888 h 397657"/>
                    <a:gd name="connsiteX6" fmla="*/ 374804 w 924449"/>
                    <a:gd name="connsiteY6" fmla="*/ 339787 h 397657"/>
                    <a:gd name="connsiteX7" fmla="*/ 277335 w 924449"/>
                    <a:gd name="connsiteY7" fmla="*/ 239151 h 397657"/>
                    <a:gd name="connsiteX8" fmla="*/ 108523 w 924449"/>
                    <a:gd name="connsiteY8" fmla="*/ 0 h 397657"/>
                    <a:gd name="connsiteX0" fmla="*/ 108523 w 924449"/>
                    <a:gd name="connsiteY0" fmla="*/ 0 h 397657"/>
                    <a:gd name="connsiteX1" fmla="*/ 375809 w 924449"/>
                    <a:gd name="connsiteY1" fmla="*/ 168813 h 397657"/>
                    <a:gd name="connsiteX2" fmla="*/ 699366 w 924449"/>
                    <a:gd name="connsiteY2" fmla="*/ 196948 h 397657"/>
                    <a:gd name="connsiteX3" fmla="*/ 924449 w 924449"/>
                    <a:gd name="connsiteY3" fmla="*/ 211016 h 397657"/>
                    <a:gd name="connsiteX4" fmla="*/ 732942 w 924449"/>
                    <a:gd name="connsiteY4" fmla="*/ 279553 h 397657"/>
                    <a:gd name="connsiteX5" fmla="*/ 624539 w 924449"/>
                    <a:gd name="connsiteY5" fmla="*/ 365888 h 397657"/>
                    <a:gd name="connsiteX6" fmla="*/ 374804 w 924449"/>
                    <a:gd name="connsiteY6" fmla="*/ 339787 h 397657"/>
                    <a:gd name="connsiteX7" fmla="*/ 277335 w 924449"/>
                    <a:gd name="connsiteY7" fmla="*/ 239151 h 397657"/>
                    <a:gd name="connsiteX8" fmla="*/ 108523 w 924449"/>
                    <a:gd name="connsiteY8" fmla="*/ 0 h 397657"/>
                    <a:gd name="connsiteX0" fmla="*/ 108523 w 924449"/>
                    <a:gd name="connsiteY0" fmla="*/ 0 h 397657"/>
                    <a:gd name="connsiteX1" fmla="*/ 375809 w 924449"/>
                    <a:gd name="connsiteY1" fmla="*/ 168813 h 397657"/>
                    <a:gd name="connsiteX2" fmla="*/ 699366 w 924449"/>
                    <a:gd name="connsiteY2" fmla="*/ 196948 h 397657"/>
                    <a:gd name="connsiteX3" fmla="*/ 924449 w 924449"/>
                    <a:gd name="connsiteY3" fmla="*/ 211016 h 397657"/>
                    <a:gd name="connsiteX4" fmla="*/ 732942 w 924449"/>
                    <a:gd name="connsiteY4" fmla="*/ 279553 h 397657"/>
                    <a:gd name="connsiteX5" fmla="*/ 624539 w 924449"/>
                    <a:gd name="connsiteY5" fmla="*/ 365888 h 397657"/>
                    <a:gd name="connsiteX6" fmla="*/ 374804 w 924449"/>
                    <a:gd name="connsiteY6" fmla="*/ 339787 h 397657"/>
                    <a:gd name="connsiteX7" fmla="*/ 277335 w 924449"/>
                    <a:gd name="connsiteY7" fmla="*/ 239151 h 397657"/>
                    <a:gd name="connsiteX8" fmla="*/ 108523 w 924449"/>
                    <a:gd name="connsiteY8" fmla="*/ 0 h 397657"/>
                    <a:gd name="connsiteX0" fmla="*/ 108523 w 924449"/>
                    <a:gd name="connsiteY0" fmla="*/ 0 h 397657"/>
                    <a:gd name="connsiteX1" fmla="*/ 375809 w 924449"/>
                    <a:gd name="connsiteY1" fmla="*/ 168813 h 397657"/>
                    <a:gd name="connsiteX2" fmla="*/ 699366 w 924449"/>
                    <a:gd name="connsiteY2" fmla="*/ 196948 h 397657"/>
                    <a:gd name="connsiteX3" fmla="*/ 924449 w 924449"/>
                    <a:gd name="connsiteY3" fmla="*/ 211016 h 397657"/>
                    <a:gd name="connsiteX4" fmla="*/ 732942 w 924449"/>
                    <a:gd name="connsiteY4" fmla="*/ 279553 h 397657"/>
                    <a:gd name="connsiteX5" fmla="*/ 624539 w 924449"/>
                    <a:gd name="connsiteY5" fmla="*/ 365888 h 397657"/>
                    <a:gd name="connsiteX6" fmla="*/ 374804 w 924449"/>
                    <a:gd name="connsiteY6" fmla="*/ 339787 h 397657"/>
                    <a:gd name="connsiteX7" fmla="*/ 277335 w 924449"/>
                    <a:gd name="connsiteY7" fmla="*/ 239151 h 397657"/>
                    <a:gd name="connsiteX8" fmla="*/ 108523 w 924449"/>
                    <a:gd name="connsiteY8" fmla="*/ 0 h 397657"/>
                    <a:gd name="connsiteX0" fmla="*/ 108523 w 924449"/>
                    <a:gd name="connsiteY0" fmla="*/ 0 h 397657"/>
                    <a:gd name="connsiteX1" fmla="*/ 375809 w 924449"/>
                    <a:gd name="connsiteY1" fmla="*/ 168813 h 397657"/>
                    <a:gd name="connsiteX2" fmla="*/ 699366 w 924449"/>
                    <a:gd name="connsiteY2" fmla="*/ 196948 h 397657"/>
                    <a:gd name="connsiteX3" fmla="*/ 924449 w 924449"/>
                    <a:gd name="connsiteY3" fmla="*/ 211016 h 397657"/>
                    <a:gd name="connsiteX4" fmla="*/ 732942 w 924449"/>
                    <a:gd name="connsiteY4" fmla="*/ 279553 h 397657"/>
                    <a:gd name="connsiteX5" fmla="*/ 624539 w 924449"/>
                    <a:gd name="connsiteY5" fmla="*/ 365888 h 397657"/>
                    <a:gd name="connsiteX6" fmla="*/ 374804 w 924449"/>
                    <a:gd name="connsiteY6" fmla="*/ 339787 h 397657"/>
                    <a:gd name="connsiteX7" fmla="*/ 277335 w 924449"/>
                    <a:gd name="connsiteY7" fmla="*/ 239151 h 397657"/>
                    <a:gd name="connsiteX8" fmla="*/ 108523 w 924449"/>
                    <a:gd name="connsiteY8" fmla="*/ 0 h 397657"/>
                    <a:gd name="connsiteX0" fmla="*/ 108523 w 924449"/>
                    <a:gd name="connsiteY0" fmla="*/ 0 h 397657"/>
                    <a:gd name="connsiteX1" fmla="*/ 375809 w 924449"/>
                    <a:gd name="connsiteY1" fmla="*/ 168813 h 397657"/>
                    <a:gd name="connsiteX2" fmla="*/ 707636 w 924449"/>
                    <a:gd name="connsiteY2" fmla="*/ 181999 h 397657"/>
                    <a:gd name="connsiteX3" fmla="*/ 924449 w 924449"/>
                    <a:gd name="connsiteY3" fmla="*/ 211016 h 397657"/>
                    <a:gd name="connsiteX4" fmla="*/ 732942 w 924449"/>
                    <a:gd name="connsiteY4" fmla="*/ 279553 h 397657"/>
                    <a:gd name="connsiteX5" fmla="*/ 624539 w 924449"/>
                    <a:gd name="connsiteY5" fmla="*/ 365888 h 397657"/>
                    <a:gd name="connsiteX6" fmla="*/ 374804 w 924449"/>
                    <a:gd name="connsiteY6" fmla="*/ 339787 h 397657"/>
                    <a:gd name="connsiteX7" fmla="*/ 277335 w 924449"/>
                    <a:gd name="connsiteY7" fmla="*/ 239151 h 397657"/>
                    <a:gd name="connsiteX8" fmla="*/ 108523 w 924449"/>
                    <a:gd name="connsiteY8" fmla="*/ 0 h 397657"/>
                    <a:gd name="connsiteX0" fmla="*/ 108523 w 924449"/>
                    <a:gd name="connsiteY0" fmla="*/ 0 h 397657"/>
                    <a:gd name="connsiteX1" fmla="*/ 375809 w 924449"/>
                    <a:gd name="connsiteY1" fmla="*/ 168813 h 397657"/>
                    <a:gd name="connsiteX2" fmla="*/ 707636 w 924449"/>
                    <a:gd name="connsiteY2" fmla="*/ 181999 h 397657"/>
                    <a:gd name="connsiteX3" fmla="*/ 924449 w 924449"/>
                    <a:gd name="connsiteY3" fmla="*/ 211016 h 397657"/>
                    <a:gd name="connsiteX4" fmla="*/ 732942 w 924449"/>
                    <a:gd name="connsiteY4" fmla="*/ 279553 h 397657"/>
                    <a:gd name="connsiteX5" fmla="*/ 624539 w 924449"/>
                    <a:gd name="connsiteY5" fmla="*/ 365888 h 397657"/>
                    <a:gd name="connsiteX6" fmla="*/ 374804 w 924449"/>
                    <a:gd name="connsiteY6" fmla="*/ 339787 h 397657"/>
                    <a:gd name="connsiteX7" fmla="*/ 277335 w 924449"/>
                    <a:gd name="connsiteY7" fmla="*/ 239151 h 397657"/>
                    <a:gd name="connsiteX8" fmla="*/ 108523 w 924449"/>
                    <a:gd name="connsiteY8" fmla="*/ 0 h 397657"/>
                    <a:gd name="connsiteX0" fmla="*/ 108523 w 924449"/>
                    <a:gd name="connsiteY0" fmla="*/ 0 h 397657"/>
                    <a:gd name="connsiteX1" fmla="*/ 375809 w 924449"/>
                    <a:gd name="connsiteY1" fmla="*/ 168813 h 397657"/>
                    <a:gd name="connsiteX2" fmla="*/ 707636 w 924449"/>
                    <a:gd name="connsiteY2" fmla="*/ 181999 h 397657"/>
                    <a:gd name="connsiteX3" fmla="*/ 924449 w 924449"/>
                    <a:gd name="connsiteY3" fmla="*/ 211016 h 397657"/>
                    <a:gd name="connsiteX4" fmla="*/ 732942 w 924449"/>
                    <a:gd name="connsiteY4" fmla="*/ 279553 h 397657"/>
                    <a:gd name="connsiteX5" fmla="*/ 624539 w 924449"/>
                    <a:gd name="connsiteY5" fmla="*/ 365888 h 397657"/>
                    <a:gd name="connsiteX6" fmla="*/ 371465 w 924449"/>
                    <a:gd name="connsiteY6" fmla="*/ 321680 h 397657"/>
                    <a:gd name="connsiteX7" fmla="*/ 277335 w 924449"/>
                    <a:gd name="connsiteY7" fmla="*/ 239151 h 397657"/>
                    <a:gd name="connsiteX8" fmla="*/ 108523 w 924449"/>
                    <a:gd name="connsiteY8" fmla="*/ 0 h 397657"/>
                    <a:gd name="connsiteX0" fmla="*/ 108523 w 924449"/>
                    <a:gd name="connsiteY0" fmla="*/ 0 h 382568"/>
                    <a:gd name="connsiteX1" fmla="*/ 375809 w 924449"/>
                    <a:gd name="connsiteY1" fmla="*/ 168813 h 382568"/>
                    <a:gd name="connsiteX2" fmla="*/ 707636 w 924449"/>
                    <a:gd name="connsiteY2" fmla="*/ 181999 h 382568"/>
                    <a:gd name="connsiteX3" fmla="*/ 924449 w 924449"/>
                    <a:gd name="connsiteY3" fmla="*/ 211016 h 382568"/>
                    <a:gd name="connsiteX4" fmla="*/ 732942 w 924449"/>
                    <a:gd name="connsiteY4" fmla="*/ 279553 h 382568"/>
                    <a:gd name="connsiteX5" fmla="*/ 624539 w 924449"/>
                    <a:gd name="connsiteY5" fmla="*/ 350799 h 382568"/>
                    <a:gd name="connsiteX6" fmla="*/ 371465 w 924449"/>
                    <a:gd name="connsiteY6" fmla="*/ 321680 h 382568"/>
                    <a:gd name="connsiteX7" fmla="*/ 277335 w 924449"/>
                    <a:gd name="connsiteY7" fmla="*/ 239151 h 382568"/>
                    <a:gd name="connsiteX8" fmla="*/ 108523 w 924449"/>
                    <a:gd name="connsiteY8" fmla="*/ 0 h 382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4449" h="382568">
                      <a:moveTo>
                        <a:pt x="108523" y="0"/>
                      </a:moveTo>
                      <a:cubicBezTo>
                        <a:pt x="127280" y="141682"/>
                        <a:pt x="286714" y="112542"/>
                        <a:pt x="375809" y="168813"/>
                      </a:cubicBezTo>
                      <a:cubicBezTo>
                        <a:pt x="433420" y="268627"/>
                        <a:pt x="609366" y="303249"/>
                        <a:pt x="707636" y="181999"/>
                      </a:cubicBezTo>
                      <a:cubicBezTo>
                        <a:pt x="874867" y="125770"/>
                        <a:pt x="875056" y="190920"/>
                        <a:pt x="924449" y="211016"/>
                      </a:cubicBezTo>
                      <a:cubicBezTo>
                        <a:pt x="829660" y="235132"/>
                        <a:pt x="822069" y="228767"/>
                        <a:pt x="732942" y="279553"/>
                      </a:cubicBezTo>
                      <a:cubicBezTo>
                        <a:pt x="664490" y="313411"/>
                        <a:pt x="676130" y="316941"/>
                        <a:pt x="624539" y="350799"/>
                      </a:cubicBezTo>
                      <a:cubicBezTo>
                        <a:pt x="542336" y="382568"/>
                        <a:pt x="448502" y="365557"/>
                        <a:pt x="371465" y="321680"/>
                      </a:cubicBezTo>
                      <a:cubicBezTo>
                        <a:pt x="338975" y="277802"/>
                        <a:pt x="361486" y="288195"/>
                        <a:pt x="277335" y="239151"/>
                      </a:cubicBezTo>
                      <a:cubicBezTo>
                        <a:pt x="0" y="119241"/>
                        <a:pt x="69335" y="64645"/>
                        <a:pt x="108523"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95" name="Freeform 121">
                  <a:extLst>
                    <a:ext uri="{FF2B5EF4-FFF2-40B4-BE49-F238E27FC236}">
                      <a16:creationId xmlns:a16="http://schemas.microsoft.com/office/drawing/2014/main" id="{FBE59227-CA26-4F59-94DC-D774CA5542A8}"/>
                    </a:ext>
                  </a:extLst>
                </p:cNvPr>
                <p:cNvSpPr/>
                <p:nvPr/>
              </p:nvSpPr>
              <p:spPr>
                <a:xfrm>
                  <a:off x="2641542" y="1371125"/>
                  <a:ext cx="1983976" cy="1219269"/>
                </a:xfrm>
                <a:custGeom>
                  <a:avLst/>
                  <a:gdLst>
                    <a:gd name="connsiteX0" fmla="*/ 1800664 w 1800664"/>
                    <a:gd name="connsiteY0" fmla="*/ 281354 h 1153551"/>
                    <a:gd name="connsiteX1" fmla="*/ 1477108 w 1800664"/>
                    <a:gd name="connsiteY1" fmla="*/ 534573 h 1153551"/>
                    <a:gd name="connsiteX2" fmla="*/ 661181 w 1800664"/>
                    <a:gd name="connsiteY2" fmla="*/ 478302 h 1153551"/>
                    <a:gd name="connsiteX3" fmla="*/ 0 w 1800664"/>
                    <a:gd name="connsiteY3" fmla="*/ 0 h 1153551"/>
                    <a:gd name="connsiteX4" fmla="*/ 590843 w 1800664"/>
                    <a:gd name="connsiteY4" fmla="*/ 604911 h 1153551"/>
                    <a:gd name="connsiteX5" fmla="*/ 1041009 w 1800664"/>
                    <a:gd name="connsiteY5" fmla="*/ 1153551 h 1153551"/>
                    <a:gd name="connsiteX6" fmla="*/ 1223889 w 1800664"/>
                    <a:gd name="connsiteY6" fmla="*/ 1041010 h 1153551"/>
                    <a:gd name="connsiteX7" fmla="*/ 1012874 w 1800664"/>
                    <a:gd name="connsiteY7" fmla="*/ 717453 h 1153551"/>
                    <a:gd name="connsiteX8" fmla="*/ 1505243 w 1800664"/>
                    <a:gd name="connsiteY8" fmla="*/ 661182 h 1153551"/>
                    <a:gd name="connsiteX9" fmla="*/ 1800664 w 1800664"/>
                    <a:gd name="connsiteY9" fmla="*/ 281354 h 1153551"/>
                    <a:gd name="connsiteX0" fmla="*/ 1800664 w 1800664"/>
                    <a:gd name="connsiteY0" fmla="*/ 281354 h 1153551"/>
                    <a:gd name="connsiteX1" fmla="*/ 1477108 w 1800664"/>
                    <a:gd name="connsiteY1" fmla="*/ 534573 h 1153551"/>
                    <a:gd name="connsiteX2" fmla="*/ 661181 w 1800664"/>
                    <a:gd name="connsiteY2" fmla="*/ 478302 h 1153551"/>
                    <a:gd name="connsiteX3" fmla="*/ 0 w 1800664"/>
                    <a:gd name="connsiteY3" fmla="*/ 0 h 1153551"/>
                    <a:gd name="connsiteX4" fmla="*/ 590843 w 1800664"/>
                    <a:gd name="connsiteY4" fmla="*/ 604911 h 1153551"/>
                    <a:gd name="connsiteX5" fmla="*/ 1041009 w 1800664"/>
                    <a:gd name="connsiteY5" fmla="*/ 1153551 h 1153551"/>
                    <a:gd name="connsiteX6" fmla="*/ 1223889 w 1800664"/>
                    <a:gd name="connsiteY6" fmla="*/ 1041010 h 1153551"/>
                    <a:gd name="connsiteX7" fmla="*/ 1012874 w 1800664"/>
                    <a:gd name="connsiteY7" fmla="*/ 717453 h 1153551"/>
                    <a:gd name="connsiteX8" fmla="*/ 1505243 w 1800664"/>
                    <a:gd name="connsiteY8" fmla="*/ 661182 h 1153551"/>
                    <a:gd name="connsiteX9" fmla="*/ 1800664 w 1800664"/>
                    <a:gd name="connsiteY9" fmla="*/ 281354 h 1153551"/>
                    <a:gd name="connsiteX0" fmla="*/ 1800664 w 1800664"/>
                    <a:gd name="connsiteY0" fmla="*/ 281354 h 1153551"/>
                    <a:gd name="connsiteX1" fmla="*/ 1477108 w 1800664"/>
                    <a:gd name="connsiteY1" fmla="*/ 534573 h 1153551"/>
                    <a:gd name="connsiteX2" fmla="*/ 661181 w 1800664"/>
                    <a:gd name="connsiteY2" fmla="*/ 478302 h 1153551"/>
                    <a:gd name="connsiteX3" fmla="*/ 0 w 1800664"/>
                    <a:gd name="connsiteY3" fmla="*/ 0 h 1153551"/>
                    <a:gd name="connsiteX4" fmla="*/ 590843 w 1800664"/>
                    <a:gd name="connsiteY4" fmla="*/ 604911 h 1153551"/>
                    <a:gd name="connsiteX5" fmla="*/ 1041009 w 1800664"/>
                    <a:gd name="connsiteY5" fmla="*/ 1153551 h 1153551"/>
                    <a:gd name="connsiteX6" fmla="*/ 1223889 w 1800664"/>
                    <a:gd name="connsiteY6" fmla="*/ 1041010 h 1153551"/>
                    <a:gd name="connsiteX7" fmla="*/ 1012874 w 1800664"/>
                    <a:gd name="connsiteY7" fmla="*/ 717453 h 1153551"/>
                    <a:gd name="connsiteX8" fmla="*/ 1505243 w 1800664"/>
                    <a:gd name="connsiteY8" fmla="*/ 661182 h 1153551"/>
                    <a:gd name="connsiteX9" fmla="*/ 1800664 w 1800664"/>
                    <a:gd name="connsiteY9" fmla="*/ 281354 h 1153551"/>
                    <a:gd name="connsiteX0" fmla="*/ 1800664 w 1800664"/>
                    <a:gd name="connsiteY0" fmla="*/ 281354 h 1153551"/>
                    <a:gd name="connsiteX1" fmla="*/ 1477108 w 1800664"/>
                    <a:gd name="connsiteY1" fmla="*/ 534573 h 1153551"/>
                    <a:gd name="connsiteX2" fmla="*/ 661181 w 1800664"/>
                    <a:gd name="connsiteY2" fmla="*/ 478302 h 1153551"/>
                    <a:gd name="connsiteX3" fmla="*/ 0 w 1800664"/>
                    <a:gd name="connsiteY3" fmla="*/ 0 h 1153551"/>
                    <a:gd name="connsiteX4" fmla="*/ 590843 w 1800664"/>
                    <a:gd name="connsiteY4" fmla="*/ 604911 h 1153551"/>
                    <a:gd name="connsiteX5" fmla="*/ 1041009 w 1800664"/>
                    <a:gd name="connsiteY5" fmla="*/ 1153551 h 1153551"/>
                    <a:gd name="connsiteX6" fmla="*/ 1223889 w 1800664"/>
                    <a:gd name="connsiteY6" fmla="*/ 1041010 h 1153551"/>
                    <a:gd name="connsiteX7" fmla="*/ 1012874 w 1800664"/>
                    <a:gd name="connsiteY7" fmla="*/ 717453 h 1153551"/>
                    <a:gd name="connsiteX8" fmla="*/ 1505243 w 1800664"/>
                    <a:gd name="connsiteY8" fmla="*/ 661182 h 1153551"/>
                    <a:gd name="connsiteX9" fmla="*/ 1800664 w 1800664"/>
                    <a:gd name="connsiteY9" fmla="*/ 281354 h 1153551"/>
                    <a:gd name="connsiteX0" fmla="*/ 1852423 w 1852423"/>
                    <a:gd name="connsiteY0" fmla="*/ 177837 h 1153551"/>
                    <a:gd name="connsiteX1" fmla="*/ 1477108 w 1852423"/>
                    <a:gd name="connsiteY1" fmla="*/ 534573 h 1153551"/>
                    <a:gd name="connsiteX2" fmla="*/ 661181 w 1852423"/>
                    <a:gd name="connsiteY2" fmla="*/ 478302 h 1153551"/>
                    <a:gd name="connsiteX3" fmla="*/ 0 w 1852423"/>
                    <a:gd name="connsiteY3" fmla="*/ 0 h 1153551"/>
                    <a:gd name="connsiteX4" fmla="*/ 590843 w 1852423"/>
                    <a:gd name="connsiteY4" fmla="*/ 604911 h 1153551"/>
                    <a:gd name="connsiteX5" fmla="*/ 1041009 w 1852423"/>
                    <a:gd name="connsiteY5" fmla="*/ 1153551 h 1153551"/>
                    <a:gd name="connsiteX6" fmla="*/ 1223889 w 1852423"/>
                    <a:gd name="connsiteY6" fmla="*/ 1041010 h 1153551"/>
                    <a:gd name="connsiteX7" fmla="*/ 1012874 w 1852423"/>
                    <a:gd name="connsiteY7" fmla="*/ 717453 h 1153551"/>
                    <a:gd name="connsiteX8" fmla="*/ 1505243 w 1852423"/>
                    <a:gd name="connsiteY8" fmla="*/ 661182 h 1153551"/>
                    <a:gd name="connsiteX9" fmla="*/ 1852423 w 1852423"/>
                    <a:gd name="connsiteY9" fmla="*/ 177837 h 1153551"/>
                    <a:gd name="connsiteX0" fmla="*/ 1852423 w 1852423"/>
                    <a:gd name="connsiteY0" fmla="*/ 177837 h 1153551"/>
                    <a:gd name="connsiteX1" fmla="*/ 1477108 w 1852423"/>
                    <a:gd name="connsiteY1" fmla="*/ 534573 h 1153551"/>
                    <a:gd name="connsiteX2" fmla="*/ 661181 w 1852423"/>
                    <a:gd name="connsiteY2" fmla="*/ 478302 h 1153551"/>
                    <a:gd name="connsiteX3" fmla="*/ 0 w 1852423"/>
                    <a:gd name="connsiteY3" fmla="*/ 0 h 1153551"/>
                    <a:gd name="connsiteX4" fmla="*/ 590843 w 1852423"/>
                    <a:gd name="connsiteY4" fmla="*/ 604911 h 1153551"/>
                    <a:gd name="connsiteX5" fmla="*/ 1041009 w 1852423"/>
                    <a:gd name="connsiteY5" fmla="*/ 1153551 h 1153551"/>
                    <a:gd name="connsiteX6" fmla="*/ 1223889 w 1852423"/>
                    <a:gd name="connsiteY6" fmla="*/ 1041010 h 1153551"/>
                    <a:gd name="connsiteX7" fmla="*/ 1012874 w 1852423"/>
                    <a:gd name="connsiteY7" fmla="*/ 717453 h 1153551"/>
                    <a:gd name="connsiteX8" fmla="*/ 1505243 w 1852423"/>
                    <a:gd name="connsiteY8" fmla="*/ 661182 h 1153551"/>
                    <a:gd name="connsiteX9" fmla="*/ 1852423 w 1852423"/>
                    <a:gd name="connsiteY9" fmla="*/ 177837 h 1153551"/>
                    <a:gd name="connsiteX0" fmla="*/ 1852423 w 1852423"/>
                    <a:gd name="connsiteY0" fmla="*/ 149082 h 1153551"/>
                    <a:gd name="connsiteX1" fmla="*/ 1477108 w 1852423"/>
                    <a:gd name="connsiteY1" fmla="*/ 534573 h 1153551"/>
                    <a:gd name="connsiteX2" fmla="*/ 661181 w 1852423"/>
                    <a:gd name="connsiteY2" fmla="*/ 478302 h 1153551"/>
                    <a:gd name="connsiteX3" fmla="*/ 0 w 1852423"/>
                    <a:gd name="connsiteY3" fmla="*/ 0 h 1153551"/>
                    <a:gd name="connsiteX4" fmla="*/ 590843 w 1852423"/>
                    <a:gd name="connsiteY4" fmla="*/ 604911 h 1153551"/>
                    <a:gd name="connsiteX5" fmla="*/ 1041009 w 1852423"/>
                    <a:gd name="connsiteY5" fmla="*/ 1153551 h 1153551"/>
                    <a:gd name="connsiteX6" fmla="*/ 1223889 w 1852423"/>
                    <a:gd name="connsiteY6" fmla="*/ 1041010 h 1153551"/>
                    <a:gd name="connsiteX7" fmla="*/ 1012874 w 1852423"/>
                    <a:gd name="connsiteY7" fmla="*/ 717453 h 1153551"/>
                    <a:gd name="connsiteX8" fmla="*/ 1505243 w 1852423"/>
                    <a:gd name="connsiteY8" fmla="*/ 661182 h 1153551"/>
                    <a:gd name="connsiteX9" fmla="*/ 1852423 w 1852423"/>
                    <a:gd name="connsiteY9" fmla="*/ 149082 h 1153551"/>
                    <a:gd name="connsiteX0" fmla="*/ 1852423 w 1852423"/>
                    <a:gd name="connsiteY0" fmla="*/ 149082 h 1153551"/>
                    <a:gd name="connsiteX1" fmla="*/ 1477108 w 1852423"/>
                    <a:gd name="connsiteY1" fmla="*/ 534573 h 1153551"/>
                    <a:gd name="connsiteX2" fmla="*/ 661181 w 1852423"/>
                    <a:gd name="connsiteY2" fmla="*/ 478302 h 1153551"/>
                    <a:gd name="connsiteX3" fmla="*/ 0 w 1852423"/>
                    <a:gd name="connsiteY3" fmla="*/ 0 h 1153551"/>
                    <a:gd name="connsiteX4" fmla="*/ 590843 w 1852423"/>
                    <a:gd name="connsiteY4" fmla="*/ 604911 h 1153551"/>
                    <a:gd name="connsiteX5" fmla="*/ 1041009 w 1852423"/>
                    <a:gd name="connsiteY5" fmla="*/ 1153551 h 1153551"/>
                    <a:gd name="connsiteX6" fmla="*/ 1223889 w 1852423"/>
                    <a:gd name="connsiteY6" fmla="*/ 1041010 h 1153551"/>
                    <a:gd name="connsiteX7" fmla="*/ 1012874 w 1852423"/>
                    <a:gd name="connsiteY7" fmla="*/ 717453 h 1153551"/>
                    <a:gd name="connsiteX8" fmla="*/ 1505243 w 1852423"/>
                    <a:gd name="connsiteY8" fmla="*/ 661182 h 1153551"/>
                    <a:gd name="connsiteX9" fmla="*/ 1852423 w 1852423"/>
                    <a:gd name="connsiteY9" fmla="*/ 149082 h 1153551"/>
                    <a:gd name="connsiteX0" fmla="*/ 1852423 w 1852423"/>
                    <a:gd name="connsiteY0" fmla="*/ 149082 h 1153551"/>
                    <a:gd name="connsiteX1" fmla="*/ 1477108 w 1852423"/>
                    <a:gd name="connsiteY1" fmla="*/ 534573 h 1153551"/>
                    <a:gd name="connsiteX2" fmla="*/ 661181 w 1852423"/>
                    <a:gd name="connsiteY2" fmla="*/ 478302 h 1153551"/>
                    <a:gd name="connsiteX3" fmla="*/ 0 w 1852423"/>
                    <a:gd name="connsiteY3" fmla="*/ 0 h 1153551"/>
                    <a:gd name="connsiteX4" fmla="*/ 590843 w 1852423"/>
                    <a:gd name="connsiteY4" fmla="*/ 604911 h 1153551"/>
                    <a:gd name="connsiteX5" fmla="*/ 1041009 w 1852423"/>
                    <a:gd name="connsiteY5" fmla="*/ 1153551 h 1153551"/>
                    <a:gd name="connsiteX6" fmla="*/ 1223889 w 1852423"/>
                    <a:gd name="connsiteY6" fmla="*/ 1041010 h 1153551"/>
                    <a:gd name="connsiteX7" fmla="*/ 1012874 w 1852423"/>
                    <a:gd name="connsiteY7" fmla="*/ 717453 h 1153551"/>
                    <a:gd name="connsiteX8" fmla="*/ 1505243 w 1852423"/>
                    <a:gd name="connsiteY8" fmla="*/ 661182 h 1153551"/>
                    <a:gd name="connsiteX9" fmla="*/ 1852423 w 1852423"/>
                    <a:gd name="connsiteY9" fmla="*/ 149082 h 1153551"/>
                    <a:gd name="connsiteX0" fmla="*/ 1852423 w 1852423"/>
                    <a:gd name="connsiteY0" fmla="*/ 149082 h 1153551"/>
                    <a:gd name="connsiteX1" fmla="*/ 1477108 w 1852423"/>
                    <a:gd name="connsiteY1" fmla="*/ 534573 h 1153551"/>
                    <a:gd name="connsiteX2" fmla="*/ 661181 w 1852423"/>
                    <a:gd name="connsiteY2" fmla="*/ 478302 h 1153551"/>
                    <a:gd name="connsiteX3" fmla="*/ 0 w 1852423"/>
                    <a:gd name="connsiteY3" fmla="*/ 0 h 1153551"/>
                    <a:gd name="connsiteX4" fmla="*/ 590843 w 1852423"/>
                    <a:gd name="connsiteY4" fmla="*/ 604911 h 1153551"/>
                    <a:gd name="connsiteX5" fmla="*/ 1041009 w 1852423"/>
                    <a:gd name="connsiteY5" fmla="*/ 1153551 h 1153551"/>
                    <a:gd name="connsiteX6" fmla="*/ 1223889 w 1852423"/>
                    <a:gd name="connsiteY6" fmla="*/ 1041010 h 1153551"/>
                    <a:gd name="connsiteX7" fmla="*/ 1012874 w 1852423"/>
                    <a:gd name="connsiteY7" fmla="*/ 717453 h 1153551"/>
                    <a:gd name="connsiteX8" fmla="*/ 1505243 w 1852423"/>
                    <a:gd name="connsiteY8" fmla="*/ 661182 h 1153551"/>
                    <a:gd name="connsiteX9" fmla="*/ 1852423 w 1852423"/>
                    <a:gd name="connsiteY9" fmla="*/ 149082 h 1153551"/>
                    <a:gd name="connsiteX0" fmla="*/ 1852423 w 1852423"/>
                    <a:gd name="connsiteY0" fmla="*/ 149082 h 1153551"/>
                    <a:gd name="connsiteX1" fmla="*/ 1477108 w 1852423"/>
                    <a:gd name="connsiteY1" fmla="*/ 534573 h 1153551"/>
                    <a:gd name="connsiteX2" fmla="*/ 661181 w 1852423"/>
                    <a:gd name="connsiteY2" fmla="*/ 478302 h 1153551"/>
                    <a:gd name="connsiteX3" fmla="*/ 0 w 1852423"/>
                    <a:gd name="connsiteY3" fmla="*/ 0 h 1153551"/>
                    <a:gd name="connsiteX4" fmla="*/ 590843 w 1852423"/>
                    <a:gd name="connsiteY4" fmla="*/ 604911 h 1153551"/>
                    <a:gd name="connsiteX5" fmla="*/ 1041009 w 1852423"/>
                    <a:gd name="connsiteY5" fmla="*/ 1153551 h 1153551"/>
                    <a:gd name="connsiteX6" fmla="*/ 1223889 w 1852423"/>
                    <a:gd name="connsiteY6" fmla="*/ 1041010 h 1153551"/>
                    <a:gd name="connsiteX7" fmla="*/ 1012874 w 1852423"/>
                    <a:gd name="connsiteY7" fmla="*/ 717453 h 1153551"/>
                    <a:gd name="connsiteX8" fmla="*/ 1505243 w 1852423"/>
                    <a:gd name="connsiteY8" fmla="*/ 661182 h 1153551"/>
                    <a:gd name="connsiteX9" fmla="*/ 1852423 w 1852423"/>
                    <a:gd name="connsiteY9" fmla="*/ 149082 h 1153551"/>
                    <a:gd name="connsiteX0" fmla="*/ 1852423 w 1852423"/>
                    <a:gd name="connsiteY0" fmla="*/ 149082 h 1153551"/>
                    <a:gd name="connsiteX1" fmla="*/ 1477108 w 1852423"/>
                    <a:gd name="connsiteY1" fmla="*/ 534573 h 1153551"/>
                    <a:gd name="connsiteX2" fmla="*/ 661181 w 1852423"/>
                    <a:gd name="connsiteY2" fmla="*/ 478302 h 1153551"/>
                    <a:gd name="connsiteX3" fmla="*/ 0 w 1852423"/>
                    <a:gd name="connsiteY3" fmla="*/ 0 h 1153551"/>
                    <a:gd name="connsiteX4" fmla="*/ 590843 w 1852423"/>
                    <a:gd name="connsiteY4" fmla="*/ 604911 h 1153551"/>
                    <a:gd name="connsiteX5" fmla="*/ 1041009 w 1852423"/>
                    <a:gd name="connsiteY5" fmla="*/ 1153551 h 1153551"/>
                    <a:gd name="connsiteX6" fmla="*/ 1223889 w 1852423"/>
                    <a:gd name="connsiteY6" fmla="*/ 1041010 h 1153551"/>
                    <a:gd name="connsiteX7" fmla="*/ 1012874 w 1852423"/>
                    <a:gd name="connsiteY7" fmla="*/ 717453 h 1153551"/>
                    <a:gd name="connsiteX8" fmla="*/ 1505243 w 1852423"/>
                    <a:gd name="connsiteY8" fmla="*/ 661182 h 1153551"/>
                    <a:gd name="connsiteX9" fmla="*/ 1852423 w 1852423"/>
                    <a:gd name="connsiteY9" fmla="*/ 149082 h 1153551"/>
                    <a:gd name="connsiteX0" fmla="*/ 1852423 w 1852423"/>
                    <a:gd name="connsiteY0" fmla="*/ 149082 h 1153551"/>
                    <a:gd name="connsiteX1" fmla="*/ 1477108 w 1852423"/>
                    <a:gd name="connsiteY1" fmla="*/ 534573 h 1153551"/>
                    <a:gd name="connsiteX2" fmla="*/ 661181 w 1852423"/>
                    <a:gd name="connsiteY2" fmla="*/ 478302 h 1153551"/>
                    <a:gd name="connsiteX3" fmla="*/ 0 w 1852423"/>
                    <a:gd name="connsiteY3" fmla="*/ 0 h 1153551"/>
                    <a:gd name="connsiteX4" fmla="*/ 590843 w 1852423"/>
                    <a:gd name="connsiteY4" fmla="*/ 604911 h 1153551"/>
                    <a:gd name="connsiteX5" fmla="*/ 1041009 w 1852423"/>
                    <a:gd name="connsiteY5" fmla="*/ 1153551 h 1153551"/>
                    <a:gd name="connsiteX6" fmla="*/ 1223889 w 1852423"/>
                    <a:gd name="connsiteY6" fmla="*/ 1041010 h 1153551"/>
                    <a:gd name="connsiteX7" fmla="*/ 1012874 w 1852423"/>
                    <a:gd name="connsiteY7" fmla="*/ 717453 h 1153551"/>
                    <a:gd name="connsiteX8" fmla="*/ 1505243 w 1852423"/>
                    <a:gd name="connsiteY8" fmla="*/ 661182 h 1153551"/>
                    <a:gd name="connsiteX9" fmla="*/ 1852423 w 1852423"/>
                    <a:gd name="connsiteY9" fmla="*/ 149082 h 1153551"/>
                    <a:gd name="connsiteX0" fmla="*/ 1852423 w 1852423"/>
                    <a:gd name="connsiteY0" fmla="*/ 149082 h 1153551"/>
                    <a:gd name="connsiteX1" fmla="*/ 1477108 w 1852423"/>
                    <a:gd name="connsiteY1" fmla="*/ 534573 h 1153551"/>
                    <a:gd name="connsiteX2" fmla="*/ 661181 w 1852423"/>
                    <a:gd name="connsiteY2" fmla="*/ 478302 h 1153551"/>
                    <a:gd name="connsiteX3" fmla="*/ 0 w 1852423"/>
                    <a:gd name="connsiteY3" fmla="*/ 0 h 1153551"/>
                    <a:gd name="connsiteX4" fmla="*/ 590843 w 1852423"/>
                    <a:gd name="connsiteY4" fmla="*/ 604911 h 1153551"/>
                    <a:gd name="connsiteX5" fmla="*/ 1041009 w 1852423"/>
                    <a:gd name="connsiteY5" fmla="*/ 1153551 h 1153551"/>
                    <a:gd name="connsiteX6" fmla="*/ 1223889 w 1852423"/>
                    <a:gd name="connsiteY6" fmla="*/ 1041010 h 1153551"/>
                    <a:gd name="connsiteX7" fmla="*/ 1012874 w 1852423"/>
                    <a:gd name="connsiteY7" fmla="*/ 717453 h 1153551"/>
                    <a:gd name="connsiteX8" fmla="*/ 1505243 w 1852423"/>
                    <a:gd name="connsiteY8" fmla="*/ 661182 h 1153551"/>
                    <a:gd name="connsiteX9" fmla="*/ 1852423 w 1852423"/>
                    <a:gd name="connsiteY9" fmla="*/ 149082 h 1153551"/>
                    <a:gd name="connsiteX0" fmla="*/ 1852423 w 1852423"/>
                    <a:gd name="connsiteY0" fmla="*/ 149082 h 1153551"/>
                    <a:gd name="connsiteX1" fmla="*/ 1477108 w 1852423"/>
                    <a:gd name="connsiteY1" fmla="*/ 534573 h 1153551"/>
                    <a:gd name="connsiteX2" fmla="*/ 661181 w 1852423"/>
                    <a:gd name="connsiteY2" fmla="*/ 478302 h 1153551"/>
                    <a:gd name="connsiteX3" fmla="*/ 0 w 1852423"/>
                    <a:gd name="connsiteY3" fmla="*/ 0 h 1153551"/>
                    <a:gd name="connsiteX4" fmla="*/ 590843 w 1852423"/>
                    <a:gd name="connsiteY4" fmla="*/ 604911 h 1153551"/>
                    <a:gd name="connsiteX5" fmla="*/ 1041009 w 1852423"/>
                    <a:gd name="connsiteY5" fmla="*/ 1153551 h 1153551"/>
                    <a:gd name="connsiteX6" fmla="*/ 1223889 w 1852423"/>
                    <a:gd name="connsiteY6" fmla="*/ 1041010 h 1153551"/>
                    <a:gd name="connsiteX7" fmla="*/ 1012874 w 1852423"/>
                    <a:gd name="connsiteY7" fmla="*/ 717453 h 1153551"/>
                    <a:gd name="connsiteX8" fmla="*/ 1505243 w 1852423"/>
                    <a:gd name="connsiteY8" fmla="*/ 661182 h 1153551"/>
                    <a:gd name="connsiteX9" fmla="*/ 1852423 w 1852423"/>
                    <a:gd name="connsiteY9" fmla="*/ 149082 h 1153551"/>
                    <a:gd name="connsiteX0" fmla="*/ 1852423 w 1852423"/>
                    <a:gd name="connsiteY0" fmla="*/ 149082 h 1153551"/>
                    <a:gd name="connsiteX1" fmla="*/ 1477108 w 1852423"/>
                    <a:gd name="connsiteY1" fmla="*/ 534573 h 1153551"/>
                    <a:gd name="connsiteX2" fmla="*/ 661181 w 1852423"/>
                    <a:gd name="connsiteY2" fmla="*/ 478302 h 1153551"/>
                    <a:gd name="connsiteX3" fmla="*/ 0 w 1852423"/>
                    <a:gd name="connsiteY3" fmla="*/ 0 h 1153551"/>
                    <a:gd name="connsiteX4" fmla="*/ 590843 w 1852423"/>
                    <a:gd name="connsiteY4" fmla="*/ 604911 h 1153551"/>
                    <a:gd name="connsiteX5" fmla="*/ 1041009 w 1852423"/>
                    <a:gd name="connsiteY5" fmla="*/ 1153551 h 1153551"/>
                    <a:gd name="connsiteX6" fmla="*/ 1223889 w 1852423"/>
                    <a:gd name="connsiteY6" fmla="*/ 1041010 h 1153551"/>
                    <a:gd name="connsiteX7" fmla="*/ 1012874 w 1852423"/>
                    <a:gd name="connsiteY7" fmla="*/ 717453 h 1153551"/>
                    <a:gd name="connsiteX8" fmla="*/ 1505243 w 1852423"/>
                    <a:gd name="connsiteY8" fmla="*/ 661182 h 1153551"/>
                    <a:gd name="connsiteX9" fmla="*/ 1852423 w 1852423"/>
                    <a:gd name="connsiteY9" fmla="*/ 149082 h 1153551"/>
                    <a:gd name="connsiteX0" fmla="*/ 1852423 w 1852423"/>
                    <a:gd name="connsiteY0" fmla="*/ 149082 h 1153551"/>
                    <a:gd name="connsiteX1" fmla="*/ 1477108 w 1852423"/>
                    <a:gd name="connsiteY1" fmla="*/ 534573 h 1153551"/>
                    <a:gd name="connsiteX2" fmla="*/ 661181 w 1852423"/>
                    <a:gd name="connsiteY2" fmla="*/ 478302 h 1153551"/>
                    <a:gd name="connsiteX3" fmla="*/ 0 w 1852423"/>
                    <a:gd name="connsiteY3" fmla="*/ 0 h 1153551"/>
                    <a:gd name="connsiteX4" fmla="*/ 590843 w 1852423"/>
                    <a:gd name="connsiteY4" fmla="*/ 604911 h 1153551"/>
                    <a:gd name="connsiteX5" fmla="*/ 1041009 w 1852423"/>
                    <a:gd name="connsiteY5" fmla="*/ 1153551 h 1153551"/>
                    <a:gd name="connsiteX6" fmla="*/ 1223889 w 1852423"/>
                    <a:gd name="connsiteY6" fmla="*/ 1041010 h 1153551"/>
                    <a:gd name="connsiteX7" fmla="*/ 1012874 w 1852423"/>
                    <a:gd name="connsiteY7" fmla="*/ 717453 h 1153551"/>
                    <a:gd name="connsiteX8" fmla="*/ 1505243 w 1852423"/>
                    <a:gd name="connsiteY8" fmla="*/ 661182 h 1153551"/>
                    <a:gd name="connsiteX9" fmla="*/ 1852423 w 1852423"/>
                    <a:gd name="connsiteY9" fmla="*/ 149082 h 1153551"/>
                    <a:gd name="connsiteX0" fmla="*/ 1852423 w 1852423"/>
                    <a:gd name="connsiteY0" fmla="*/ 149082 h 1153551"/>
                    <a:gd name="connsiteX1" fmla="*/ 1477108 w 1852423"/>
                    <a:gd name="connsiteY1" fmla="*/ 534573 h 1153551"/>
                    <a:gd name="connsiteX2" fmla="*/ 661181 w 1852423"/>
                    <a:gd name="connsiteY2" fmla="*/ 478302 h 1153551"/>
                    <a:gd name="connsiteX3" fmla="*/ 0 w 1852423"/>
                    <a:gd name="connsiteY3" fmla="*/ 0 h 1153551"/>
                    <a:gd name="connsiteX4" fmla="*/ 590843 w 1852423"/>
                    <a:gd name="connsiteY4" fmla="*/ 604911 h 1153551"/>
                    <a:gd name="connsiteX5" fmla="*/ 1041009 w 1852423"/>
                    <a:gd name="connsiteY5" fmla="*/ 1153551 h 1153551"/>
                    <a:gd name="connsiteX6" fmla="*/ 1223889 w 1852423"/>
                    <a:gd name="connsiteY6" fmla="*/ 1041010 h 1153551"/>
                    <a:gd name="connsiteX7" fmla="*/ 1012874 w 1852423"/>
                    <a:gd name="connsiteY7" fmla="*/ 717453 h 1153551"/>
                    <a:gd name="connsiteX8" fmla="*/ 1505243 w 1852423"/>
                    <a:gd name="connsiteY8" fmla="*/ 661182 h 1153551"/>
                    <a:gd name="connsiteX9" fmla="*/ 1852423 w 1852423"/>
                    <a:gd name="connsiteY9" fmla="*/ 149082 h 1153551"/>
                    <a:gd name="connsiteX0" fmla="*/ 1852423 w 1852423"/>
                    <a:gd name="connsiteY0" fmla="*/ 149082 h 1153551"/>
                    <a:gd name="connsiteX1" fmla="*/ 1477108 w 1852423"/>
                    <a:gd name="connsiteY1" fmla="*/ 534573 h 1153551"/>
                    <a:gd name="connsiteX2" fmla="*/ 661181 w 1852423"/>
                    <a:gd name="connsiteY2" fmla="*/ 478302 h 1153551"/>
                    <a:gd name="connsiteX3" fmla="*/ 0 w 1852423"/>
                    <a:gd name="connsiteY3" fmla="*/ 0 h 1153551"/>
                    <a:gd name="connsiteX4" fmla="*/ 590843 w 1852423"/>
                    <a:gd name="connsiteY4" fmla="*/ 604911 h 1153551"/>
                    <a:gd name="connsiteX5" fmla="*/ 1041009 w 1852423"/>
                    <a:gd name="connsiteY5" fmla="*/ 1153551 h 1153551"/>
                    <a:gd name="connsiteX6" fmla="*/ 1223889 w 1852423"/>
                    <a:gd name="connsiteY6" fmla="*/ 1041010 h 1153551"/>
                    <a:gd name="connsiteX7" fmla="*/ 1012874 w 1852423"/>
                    <a:gd name="connsiteY7" fmla="*/ 717453 h 1153551"/>
                    <a:gd name="connsiteX8" fmla="*/ 1505243 w 1852423"/>
                    <a:gd name="connsiteY8" fmla="*/ 661182 h 1153551"/>
                    <a:gd name="connsiteX9" fmla="*/ 1852423 w 1852423"/>
                    <a:gd name="connsiteY9" fmla="*/ 149082 h 1153551"/>
                    <a:gd name="connsiteX0" fmla="*/ 1852423 w 1852423"/>
                    <a:gd name="connsiteY0" fmla="*/ 149082 h 1153551"/>
                    <a:gd name="connsiteX1" fmla="*/ 1477108 w 1852423"/>
                    <a:gd name="connsiteY1" fmla="*/ 534573 h 1153551"/>
                    <a:gd name="connsiteX2" fmla="*/ 661181 w 1852423"/>
                    <a:gd name="connsiteY2" fmla="*/ 478302 h 1153551"/>
                    <a:gd name="connsiteX3" fmla="*/ 0 w 1852423"/>
                    <a:gd name="connsiteY3" fmla="*/ 0 h 1153551"/>
                    <a:gd name="connsiteX4" fmla="*/ 590843 w 1852423"/>
                    <a:gd name="connsiteY4" fmla="*/ 604911 h 1153551"/>
                    <a:gd name="connsiteX5" fmla="*/ 1041009 w 1852423"/>
                    <a:gd name="connsiteY5" fmla="*/ 1153551 h 1153551"/>
                    <a:gd name="connsiteX6" fmla="*/ 1223889 w 1852423"/>
                    <a:gd name="connsiteY6" fmla="*/ 1041010 h 1153551"/>
                    <a:gd name="connsiteX7" fmla="*/ 1012874 w 1852423"/>
                    <a:gd name="connsiteY7" fmla="*/ 717453 h 1153551"/>
                    <a:gd name="connsiteX8" fmla="*/ 1505243 w 1852423"/>
                    <a:gd name="connsiteY8" fmla="*/ 661182 h 1153551"/>
                    <a:gd name="connsiteX9" fmla="*/ 1852423 w 1852423"/>
                    <a:gd name="connsiteY9" fmla="*/ 149082 h 1153551"/>
                    <a:gd name="connsiteX0" fmla="*/ 1852423 w 1852423"/>
                    <a:gd name="connsiteY0" fmla="*/ 149082 h 1285557"/>
                    <a:gd name="connsiteX1" fmla="*/ 1477108 w 1852423"/>
                    <a:gd name="connsiteY1" fmla="*/ 534573 h 1285557"/>
                    <a:gd name="connsiteX2" fmla="*/ 661181 w 1852423"/>
                    <a:gd name="connsiteY2" fmla="*/ 478302 h 1285557"/>
                    <a:gd name="connsiteX3" fmla="*/ 0 w 1852423"/>
                    <a:gd name="connsiteY3" fmla="*/ 0 h 1285557"/>
                    <a:gd name="connsiteX4" fmla="*/ 590843 w 1852423"/>
                    <a:gd name="connsiteY4" fmla="*/ 604911 h 1285557"/>
                    <a:gd name="connsiteX5" fmla="*/ 1041009 w 1852423"/>
                    <a:gd name="connsiteY5" fmla="*/ 1153551 h 1285557"/>
                    <a:gd name="connsiteX6" fmla="*/ 1223889 w 1852423"/>
                    <a:gd name="connsiteY6" fmla="*/ 1041010 h 1285557"/>
                    <a:gd name="connsiteX7" fmla="*/ 1012874 w 1852423"/>
                    <a:gd name="connsiteY7" fmla="*/ 717453 h 1285557"/>
                    <a:gd name="connsiteX8" fmla="*/ 1505243 w 1852423"/>
                    <a:gd name="connsiteY8" fmla="*/ 661182 h 1285557"/>
                    <a:gd name="connsiteX9" fmla="*/ 1852423 w 1852423"/>
                    <a:gd name="connsiteY9" fmla="*/ 149082 h 1285557"/>
                    <a:gd name="connsiteX0" fmla="*/ 1852423 w 1852423"/>
                    <a:gd name="connsiteY0" fmla="*/ 149082 h 1458086"/>
                    <a:gd name="connsiteX1" fmla="*/ 1477108 w 1852423"/>
                    <a:gd name="connsiteY1" fmla="*/ 534573 h 1458086"/>
                    <a:gd name="connsiteX2" fmla="*/ 661181 w 1852423"/>
                    <a:gd name="connsiteY2" fmla="*/ 478302 h 1458086"/>
                    <a:gd name="connsiteX3" fmla="*/ 0 w 1852423"/>
                    <a:gd name="connsiteY3" fmla="*/ 0 h 1458086"/>
                    <a:gd name="connsiteX4" fmla="*/ 590843 w 1852423"/>
                    <a:gd name="connsiteY4" fmla="*/ 604911 h 1458086"/>
                    <a:gd name="connsiteX5" fmla="*/ 1041009 w 1852423"/>
                    <a:gd name="connsiteY5" fmla="*/ 1153551 h 1458086"/>
                    <a:gd name="connsiteX6" fmla="*/ 1258394 w 1852423"/>
                    <a:gd name="connsiteY6" fmla="*/ 1213539 h 1458086"/>
                    <a:gd name="connsiteX7" fmla="*/ 1012874 w 1852423"/>
                    <a:gd name="connsiteY7" fmla="*/ 717453 h 1458086"/>
                    <a:gd name="connsiteX8" fmla="*/ 1505243 w 1852423"/>
                    <a:gd name="connsiteY8" fmla="*/ 661182 h 1458086"/>
                    <a:gd name="connsiteX9" fmla="*/ 1852423 w 1852423"/>
                    <a:gd name="connsiteY9" fmla="*/ 149082 h 1458086"/>
                    <a:gd name="connsiteX0" fmla="*/ 1852423 w 1852423"/>
                    <a:gd name="connsiteY0" fmla="*/ 149082 h 1458086"/>
                    <a:gd name="connsiteX1" fmla="*/ 1477108 w 1852423"/>
                    <a:gd name="connsiteY1" fmla="*/ 534573 h 1458086"/>
                    <a:gd name="connsiteX2" fmla="*/ 661181 w 1852423"/>
                    <a:gd name="connsiteY2" fmla="*/ 478302 h 1458086"/>
                    <a:gd name="connsiteX3" fmla="*/ 0 w 1852423"/>
                    <a:gd name="connsiteY3" fmla="*/ 0 h 1458086"/>
                    <a:gd name="connsiteX4" fmla="*/ 590843 w 1852423"/>
                    <a:gd name="connsiteY4" fmla="*/ 604911 h 1458086"/>
                    <a:gd name="connsiteX5" fmla="*/ 1041009 w 1852423"/>
                    <a:gd name="connsiteY5" fmla="*/ 1153551 h 1458086"/>
                    <a:gd name="connsiteX6" fmla="*/ 1258394 w 1852423"/>
                    <a:gd name="connsiteY6" fmla="*/ 1213539 h 1458086"/>
                    <a:gd name="connsiteX7" fmla="*/ 1012874 w 1852423"/>
                    <a:gd name="connsiteY7" fmla="*/ 717453 h 1458086"/>
                    <a:gd name="connsiteX8" fmla="*/ 1505243 w 1852423"/>
                    <a:gd name="connsiteY8" fmla="*/ 661182 h 1458086"/>
                    <a:gd name="connsiteX9" fmla="*/ 1852423 w 1852423"/>
                    <a:gd name="connsiteY9" fmla="*/ 149082 h 1458086"/>
                    <a:gd name="connsiteX0" fmla="*/ 1852423 w 1852423"/>
                    <a:gd name="connsiteY0" fmla="*/ 149082 h 1458086"/>
                    <a:gd name="connsiteX1" fmla="*/ 1477108 w 1852423"/>
                    <a:gd name="connsiteY1" fmla="*/ 534573 h 1458086"/>
                    <a:gd name="connsiteX2" fmla="*/ 661181 w 1852423"/>
                    <a:gd name="connsiteY2" fmla="*/ 478302 h 1458086"/>
                    <a:gd name="connsiteX3" fmla="*/ 0 w 1852423"/>
                    <a:gd name="connsiteY3" fmla="*/ 0 h 1458086"/>
                    <a:gd name="connsiteX4" fmla="*/ 590843 w 1852423"/>
                    <a:gd name="connsiteY4" fmla="*/ 604911 h 1458086"/>
                    <a:gd name="connsiteX5" fmla="*/ 1041009 w 1852423"/>
                    <a:gd name="connsiteY5" fmla="*/ 1153551 h 1458086"/>
                    <a:gd name="connsiteX6" fmla="*/ 1258394 w 1852423"/>
                    <a:gd name="connsiteY6" fmla="*/ 1213539 h 1458086"/>
                    <a:gd name="connsiteX7" fmla="*/ 1012874 w 1852423"/>
                    <a:gd name="connsiteY7" fmla="*/ 717453 h 1458086"/>
                    <a:gd name="connsiteX8" fmla="*/ 1505243 w 1852423"/>
                    <a:gd name="connsiteY8" fmla="*/ 661182 h 1458086"/>
                    <a:gd name="connsiteX9" fmla="*/ 1852423 w 1852423"/>
                    <a:gd name="connsiteY9" fmla="*/ 149082 h 1458086"/>
                    <a:gd name="connsiteX0" fmla="*/ 1852423 w 1852423"/>
                    <a:gd name="connsiteY0" fmla="*/ 149082 h 1308562"/>
                    <a:gd name="connsiteX1" fmla="*/ 1477108 w 1852423"/>
                    <a:gd name="connsiteY1" fmla="*/ 534573 h 1308562"/>
                    <a:gd name="connsiteX2" fmla="*/ 661181 w 1852423"/>
                    <a:gd name="connsiteY2" fmla="*/ 478302 h 1308562"/>
                    <a:gd name="connsiteX3" fmla="*/ 0 w 1852423"/>
                    <a:gd name="connsiteY3" fmla="*/ 0 h 1308562"/>
                    <a:gd name="connsiteX4" fmla="*/ 590843 w 1852423"/>
                    <a:gd name="connsiteY4" fmla="*/ 604911 h 1308562"/>
                    <a:gd name="connsiteX5" fmla="*/ 1041009 w 1852423"/>
                    <a:gd name="connsiteY5" fmla="*/ 1153551 h 1308562"/>
                    <a:gd name="connsiteX6" fmla="*/ 1223889 w 1852423"/>
                    <a:gd name="connsiteY6" fmla="*/ 1064015 h 1308562"/>
                    <a:gd name="connsiteX7" fmla="*/ 1012874 w 1852423"/>
                    <a:gd name="connsiteY7" fmla="*/ 717453 h 1308562"/>
                    <a:gd name="connsiteX8" fmla="*/ 1505243 w 1852423"/>
                    <a:gd name="connsiteY8" fmla="*/ 661182 h 1308562"/>
                    <a:gd name="connsiteX9" fmla="*/ 1852423 w 1852423"/>
                    <a:gd name="connsiteY9" fmla="*/ 149082 h 1308562"/>
                    <a:gd name="connsiteX0" fmla="*/ 1852423 w 1852423"/>
                    <a:gd name="connsiteY0" fmla="*/ 149082 h 1308562"/>
                    <a:gd name="connsiteX1" fmla="*/ 1477108 w 1852423"/>
                    <a:gd name="connsiteY1" fmla="*/ 534573 h 1308562"/>
                    <a:gd name="connsiteX2" fmla="*/ 661181 w 1852423"/>
                    <a:gd name="connsiteY2" fmla="*/ 478302 h 1308562"/>
                    <a:gd name="connsiteX3" fmla="*/ 0 w 1852423"/>
                    <a:gd name="connsiteY3" fmla="*/ 0 h 1308562"/>
                    <a:gd name="connsiteX4" fmla="*/ 590843 w 1852423"/>
                    <a:gd name="connsiteY4" fmla="*/ 604911 h 1308562"/>
                    <a:gd name="connsiteX5" fmla="*/ 1041009 w 1852423"/>
                    <a:gd name="connsiteY5" fmla="*/ 1153551 h 1308562"/>
                    <a:gd name="connsiteX6" fmla="*/ 1223889 w 1852423"/>
                    <a:gd name="connsiteY6" fmla="*/ 1064015 h 1308562"/>
                    <a:gd name="connsiteX7" fmla="*/ 1012874 w 1852423"/>
                    <a:gd name="connsiteY7" fmla="*/ 717453 h 1308562"/>
                    <a:gd name="connsiteX8" fmla="*/ 1505243 w 1852423"/>
                    <a:gd name="connsiteY8" fmla="*/ 661182 h 1308562"/>
                    <a:gd name="connsiteX9" fmla="*/ 1852423 w 1852423"/>
                    <a:gd name="connsiteY9" fmla="*/ 149082 h 1308562"/>
                    <a:gd name="connsiteX0" fmla="*/ 1852423 w 1852423"/>
                    <a:gd name="connsiteY0" fmla="*/ 149082 h 1308562"/>
                    <a:gd name="connsiteX1" fmla="*/ 1477108 w 1852423"/>
                    <a:gd name="connsiteY1" fmla="*/ 534573 h 1308562"/>
                    <a:gd name="connsiteX2" fmla="*/ 661181 w 1852423"/>
                    <a:gd name="connsiteY2" fmla="*/ 478302 h 1308562"/>
                    <a:gd name="connsiteX3" fmla="*/ 0 w 1852423"/>
                    <a:gd name="connsiteY3" fmla="*/ 0 h 1308562"/>
                    <a:gd name="connsiteX4" fmla="*/ 590843 w 1852423"/>
                    <a:gd name="connsiteY4" fmla="*/ 604911 h 1308562"/>
                    <a:gd name="connsiteX5" fmla="*/ 1041009 w 1852423"/>
                    <a:gd name="connsiteY5" fmla="*/ 1153551 h 1308562"/>
                    <a:gd name="connsiteX6" fmla="*/ 1223889 w 1852423"/>
                    <a:gd name="connsiteY6" fmla="*/ 1064015 h 1308562"/>
                    <a:gd name="connsiteX7" fmla="*/ 1012874 w 1852423"/>
                    <a:gd name="connsiteY7" fmla="*/ 717453 h 1308562"/>
                    <a:gd name="connsiteX8" fmla="*/ 1505243 w 1852423"/>
                    <a:gd name="connsiteY8" fmla="*/ 661182 h 1308562"/>
                    <a:gd name="connsiteX9" fmla="*/ 1852423 w 1852423"/>
                    <a:gd name="connsiteY9" fmla="*/ 149082 h 1308562"/>
                    <a:gd name="connsiteX0" fmla="*/ 1852423 w 1852423"/>
                    <a:gd name="connsiteY0" fmla="*/ 149082 h 1308562"/>
                    <a:gd name="connsiteX1" fmla="*/ 1477108 w 1852423"/>
                    <a:gd name="connsiteY1" fmla="*/ 534573 h 1308562"/>
                    <a:gd name="connsiteX2" fmla="*/ 661181 w 1852423"/>
                    <a:gd name="connsiteY2" fmla="*/ 478302 h 1308562"/>
                    <a:gd name="connsiteX3" fmla="*/ 0 w 1852423"/>
                    <a:gd name="connsiteY3" fmla="*/ 0 h 1308562"/>
                    <a:gd name="connsiteX4" fmla="*/ 590843 w 1852423"/>
                    <a:gd name="connsiteY4" fmla="*/ 604911 h 1308562"/>
                    <a:gd name="connsiteX5" fmla="*/ 1041009 w 1852423"/>
                    <a:gd name="connsiteY5" fmla="*/ 1153551 h 1308562"/>
                    <a:gd name="connsiteX6" fmla="*/ 1223889 w 1852423"/>
                    <a:gd name="connsiteY6" fmla="*/ 1064015 h 1308562"/>
                    <a:gd name="connsiteX7" fmla="*/ 1012874 w 1852423"/>
                    <a:gd name="connsiteY7" fmla="*/ 717453 h 1308562"/>
                    <a:gd name="connsiteX8" fmla="*/ 1505243 w 1852423"/>
                    <a:gd name="connsiteY8" fmla="*/ 661182 h 1308562"/>
                    <a:gd name="connsiteX9" fmla="*/ 1852423 w 1852423"/>
                    <a:gd name="connsiteY9" fmla="*/ 149082 h 1308562"/>
                    <a:gd name="connsiteX0" fmla="*/ 1852423 w 1852423"/>
                    <a:gd name="connsiteY0" fmla="*/ 149082 h 1308562"/>
                    <a:gd name="connsiteX1" fmla="*/ 1477108 w 1852423"/>
                    <a:gd name="connsiteY1" fmla="*/ 534573 h 1308562"/>
                    <a:gd name="connsiteX2" fmla="*/ 661181 w 1852423"/>
                    <a:gd name="connsiteY2" fmla="*/ 478302 h 1308562"/>
                    <a:gd name="connsiteX3" fmla="*/ 0 w 1852423"/>
                    <a:gd name="connsiteY3" fmla="*/ 0 h 1308562"/>
                    <a:gd name="connsiteX4" fmla="*/ 590843 w 1852423"/>
                    <a:gd name="connsiteY4" fmla="*/ 604911 h 1308562"/>
                    <a:gd name="connsiteX5" fmla="*/ 1041009 w 1852423"/>
                    <a:gd name="connsiteY5" fmla="*/ 1153551 h 1308562"/>
                    <a:gd name="connsiteX6" fmla="*/ 1223889 w 1852423"/>
                    <a:gd name="connsiteY6" fmla="*/ 1064015 h 1308562"/>
                    <a:gd name="connsiteX7" fmla="*/ 1012874 w 1852423"/>
                    <a:gd name="connsiteY7" fmla="*/ 717453 h 1308562"/>
                    <a:gd name="connsiteX8" fmla="*/ 1505243 w 1852423"/>
                    <a:gd name="connsiteY8" fmla="*/ 661182 h 1308562"/>
                    <a:gd name="connsiteX9" fmla="*/ 1852423 w 1852423"/>
                    <a:gd name="connsiteY9" fmla="*/ 149082 h 1308562"/>
                    <a:gd name="connsiteX0" fmla="*/ 1852423 w 1852423"/>
                    <a:gd name="connsiteY0" fmla="*/ 149082 h 1308562"/>
                    <a:gd name="connsiteX1" fmla="*/ 1477108 w 1852423"/>
                    <a:gd name="connsiteY1" fmla="*/ 534573 h 1308562"/>
                    <a:gd name="connsiteX2" fmla="*/ 661181 w 1852423"/>
                    <a:gd name="connsiteY2" fmla="*/ 478302 h 1308562"/>
                    <a:gd name="connsiteX3" fmla="*/ 0 w 1852423"/>
                    <a:gd name="connsiteY3" fmla="*/ 0 h 1308562"/>
                    <a:gd name="connsiteX4" fmla="*/ 590843 w 1852423"/>
                    <a:gd name="connsiteY4" fmla="*/ 604911 h 1308562"/>
                    <a:gd name="connsiteX5" fmla="*/ 1041009 w 1852423"/>
                    <a:gd name="connsiteY5" fmla="*/ 1153551 h 1308562"/>
                    <a:gd name="connsiteX6" fmla="*/ 1223889 w 1852423"/>
                    <a:gd name="connsiteY6" fmla="*/ 1064015 h 1308562"/>
                    <a:gd name="connsiteX7" fmla="*/ 1012874 w 1852423"/>
                    <a:gd name="connsiteY7" fmla="*/ 717453 h 1308562"/>
                    <a:gd name="connsiteX8" fmla="*/ 1505243 w 1852423"/>
                    <a:gd name="connsiteY8" fmla="*/ 661182 h 1308562"/>
                    <a:gd name="connsiteX9" fmla="*/ 1852423 w 1852423"/>
                    <a:gd name="connsiteY9" fmla="*/ 149082 h 1308562"/>
                    <a:gd name="connsiteX0" fmla="*/ 1852423 w 1852423"/>
                    <a:gd name="connsiteY0" fmla="*/ 149082 h 1308562"/>
                    <a:gd name="connsiteX1" fmla="*/ 1477108 w 1852423"/>
                    <a:gd name="connsiteY1" fmla="*/ 534573 h 1308562"/>
                    <a:gd name="connsiteX2" fmla="*/ 661181 w 1852423"/>
                    <a:gd name="connsiteY2" fmla="*/ 478302 h 1308562"/>
                    <a:gd name="connsiteX3" fmla="*/ 0 w 1852423"/>
                    <a:gd name="connsiteY3" fmla="*/ 0 h 1308562"/>
                    <a:gd name="connsiteX4" fmla="*/ 590843 w 1852423"/>
                    <a:gd name="connsiteY4" fmla="*/ 604911 h 1308562"/>
                    <a:gd name="connsiteX5" fmla="*/ 1041009 w 1852423"/>
                    <a:gd name="connsiteY5" fmla="*/ 1153551 h 1308562"/>
                    <a:gd name="connsiteX6" fmla="*/ 1223889 w 1852423"/>
                    <a:gd name="connsiteY6" fmla="*/ 1064015 h 1308562"/>
                    <a:gd name="connsiteX7" fmla="*/ 1012874 w 1852423"/>
                    <a:gd name="connsiteY7" fmla="*/ 717453 h 1308562"/>
                    <a:gd name="connsiteX8" fmla="*/ 1505243 w 1852423"/>
                    <a:gd name="connsiteY8" fmla="*/ 661182 h 1308562"/>
                    <a:gd name="connsiteX9" fmla="*/ 1852423 w 1852423"/>
                    <a:gd name="connsiteY9" fmla="*/ 149082 h 1308562"/>
                    <a:gd name="connsiteX0" fmla="*/ 1898431 w 1898431"/>
                    <a:gd name="connsiteY0" fmla="*/ 218094 h 1377574"/>
                    <a:gd name="connsiteX1" fmla="*/ 1523116 w 1898431"/>
                    <a:gd name="connsiteY1" fmla="*/ 603585 h 1377574"/>
                    <a:gd name="connsiteX2" fmla="*/ 707189 w 1898431"/>
                    <a:gd name="connsiteY2" fmla="*/ 547314 h 1377574"/>
                    <a:gd name="connsiteX3" fmla="*/ 0 w 1898431"/>
                    <a:gd name="connsiteY3" fmla="*/ 0 h 1377574"/>
                    <a:gd name="connsiteX4" fmla="*/ 636851 w 1898431"/>
                    <a:gd name="connsiteY4" fmla="*/ 673923 h 1377574"/>
                    <a:gd name="connsiteX5" fmla="*/ 1087017 w 1898431"/>
                    <a:gd name="connsiteY5" fmla="*/ 1222563 h 1377574"/>
                    <a:gd name="connsiteX6" fmla="*/ 1269897 w 1898431"/>
                    <a:gd name="connsiteY6" fmla="*/ 1133027 h 1377574"/>
                    <a:gd name="connsiteX7" fmla="*/ 1058882 w 1898431"/>
                    <a:gd name="connsiteY7" fmla="*/ 786465 h 1377574"/>
                    <a:gd name="connsiteX8" fmla="*/ 1551251 w 1898431"/>
                    <a:gd name="connsiteY8" fmla="*/ 730194 h 1377574"/>
                    <a:gd name="connsiteX9" fmla="*/ 1898431 w 1898431"/>
                    <a:gd name="connsiteY9" fmla="*/ 218094 h 1377574"/>
                    <a:gd name="connsiteX0" fmla="*/ 1898431 w 1898431"/>
                    <a:gd name="connsiteY0" fmla="*/ 218094 h 1377574"/>
                    <a:gd name="connsiteX1" fmla="*/ 1523116 w 1898431"/>
                    <a:gd name="connsiteY1" fmla="*/ 603585 h 1377574"/>
                    <a:gd name="connsiteX2" fmla="*/ 707189 w 1898431"/>
                    <a:gd name="connsiteY2" fmla="*/ 547314 h 1377574"/>
                    <a:gd name="connsiteX3" fmla="*/ 0 w 1898431"/>
                    <a:gd name="connsiteY3" fmla="*/ 0 h 1377574"/>
                    <a:gd name="connsiteX4" fmla="*/ 636851 w 1898431"/>
                    <a:gd name="connsiteY4" fmla="*/ 673923 h 1377574"/>
                    <a:gd name="connsiteX5" fmla="*/ 1087017 w 1898431"/>
                    <a:gd name="connsiteY5" fmla="*/ 1222563 h 1377574"/>
                    <a:gd name="connsiteX6" fmla="*/ 1269897 w 1898431"/>
                    <a:gd name="connsiteY6" fmla="*/ 1133027 h 1377574"/>
                    <a:gd name="connsiteX7" fmla="*/ 1058882 w 1898431"/>
                    <a:gd name="connsiteY7" fmla="*/ 786465 h 1377574"/>
                    <a:gd name="connsiteX8" fmla="*/ 1551251 w 1898431"/>
                    <a:gd name="connsiteY8" fmla="*/ 730194 h 1377574"/>
                    <a:gd name="connsiteX9" fmla="*/ 1898431 w 1898431"/>
                    <a:gd name="connsiteY9" fmla="*/ 218094 h 1377574"/>
                    <a:gd name="connsiteX0" fmla="*/ 1869676 w 1869676"/>
                    <a:gd name="connsiteY0" fmla="*/ 154833 h 1314313"/>
                    <a:gd name="connsiteX1" fmla="*/ 1494361 w 1869676"/>
                    <a:gd name="connsiteY1" fmla="*/ 540324 h 1314313"/>
                    <a:gd name="connsiteX2" fmla="*/ 678434 w 1869676"/>
                    <a:gd name="connsiteY2" fmla="*/ 484053 h 1314313"/>
                    <a:gd name="connsiteX3" fmla="*/ 0 w 1869676"/>
                    <a:gd name="connsiteY3" fmla="*/ 0 h 1314313"/>
                    <a:gd name="connsiteX4" fmla="*/ 608096 w 1869676"/>
                    <a:gd name="connsiteY4" fmla="*/ 610662 h 1314313"/>
                    <a:gd name="connsiteX5" fmla="*/ 1058262 w 1869676"/>
                    <a:gd name="connsiteY5" fmla="*/ 1159302 h 1314313"/>
                    <a:gd name="connsiteX6" fmla="*/ 1241142 w 1869676"/>
                    <a:gd name="connsiteY6" fmla="*/ 1069766 h 1314313"/>
                    <a:gd name="connsiteX7" fmla="*/ 1030127 w 1869676"/>
                    <a:gd name="connsiteY7" fmla="*/ 723204 h 1314313"/>
                    <a:gd name="connsiteX8" fmla="*/ 1522496 w 1869676"/>
                    <a:gd name="connsiteY8" fmla="*/ 666933 h 1314313"/>
                    <a:gd name="connsiteX9" fmla="*/ 1869676 w 1869676"/>
                    <a:gd name="connsiteY9" fmla="*/ 154833 h 1314313"/>
                    <a:gd name="connsiteX0" fmla="*/ 1869676 w 1869676"/>
                    <a:gd name="connsiteY0" fmla="*/ 154833 h 1314313"/>
                    <a:gd name="connsiteX1" fmla="*/ 1494361 w 1869676"/>
                    <a:gd name="connsiteY1" fmla="*/ 540324 h 1314313"/>
                    <a:gd name="connsiteX2" fmla="*/ 678434 w 1869676"/>
                    <a:gd name="connsiteY2" fmla="*/ 484053 h 1314313"/>
                    <a:gd name="connsiteX3" fmla="*/ 0 w 1869676"/>
                    <a:gd name="connsiteY3" fmla="*/ 0 h 1314313"/>
                    <a:gd name="connsiteX4" fmla="*/ 608096 w 1869676"/>
                    <a:gd name="connsiteY4" fmla="*/ 610662 h 1314313"/>
                    <a:gd name="connsiteX5" fmla="*/ 1058262 w 1869676"/>
                    <a:gd name="connsiteY5" fmla="*/ 1159302 h 1314313"/>
                    <a:gd name="connsiteX6" fmla="*/ 1241142 w 1869676"/>
                    <a:gd name="connsiteY6" fmla="*/ 1069766 h 1314313"/>
                    <a:gd name="connsiteX7" fmla="*/ 1030127 w 1869676"/>
                    <a:gd name="connsiteY7" fmla="*/ 723204 h 1314313"/>
                    <a:gd name="connsiteX8" fmla="*/ 1522496 w 1869676"/>
                    <a:gd name="connsiteY8" fmla="*/ 666933 h 1314313"/>
                    <a:gd name="connsiteX9" fmla="*/ 1869676 w 1869676"/>
                    <a:gd name="connsiteY9" fmla="*/ 154833 h 1314313"/>
                    <a:gd name="connsiteX0" fmla="*/ 1869676 w 1869676"/>
                    <a:gd name="connsiteY0" fmla="*/ 269133 h 1428613"/>
                    <a:gd name="connsiteX1" fmla="*/ 1494361 w 1869676"/>
                    <a:gd name="connsiteY1" fmla="*/ 654624 h 1428613"/>
                    <a:gd name="connsiteX2" fmla="*/ 678434 w 1869676"/>
                    <a:gd name="connsiteY2" fmla="*/ 598353 h 1428613"/>
                    <a:gd name="connsiteX3" fmla="*/ 0 w 1869676"/>
                    <a:gd name="connsiteY3" fmla="*/ 0 h 1428613"/>
                    <a:gd name="connsiteX4" fmla="*/ 608096 w 1869676"/>
                    <a:gd name="connsiteY4" fmla="*/ 724962 h 1428613"/>
                    <a:gd name="connsiteX5" fmla="*/ 1058262 w 1869676"/>
                    <a:gd name="connsiteY5" fmla="*/ 1273602 h 1428613"/>
                    <a:gd name="connsiteX6" fmla="*/ 1241142 w 1869676"/>
                    <a:gd name="connsiteY6" fmla="*/ 1184066 h 1428613"/>
                    <a:gd name="connsiteX7" fmla="*/ 1030127 w 1869676"/>
                    <a:gd name="connsiteY7" fmla="*/ 837504 h 1428613"/>
                    <a:gd name="connsiteX8" fmla="*/ 1522496 w 1869676"/>
                    <a:gd name="connsiteY8" fmla="*/ 781233 h 1428613"/>
                    <a:gd name="connsiteX9" fmla="*/ 1869676 w 1869676"/>
                    <a:gd name="connsiteY9" fmla="*/ 269133 h 1428613"/>
                    <a:gd name="connsiteX0" fmla="*/ 1869676 w 1869676"/>
                    <a:gd name="connsiteY0" fmla="*/ 269133 h 1428613"/>
                    <a:gd name="connsiteX1" fmla="*/ 1494361 w 1869676"/>
                    <a:gd name="connsiteY1" fmla="*/ 654624 h 1428613"/>
                    <a:gd name="connsiteX2" fmla="*/ 678434 w 1869676"/>
                    <a:gd name="connsiteY2" fmla="*/ 598353 h 1428613"/>
                    <a:gd name="connsiteX3" fmla="*/ 0 w 1869676"/>
                    <a:gd name="connsiteY3" fmla="*/ 0 h 1428613"/>
                    <a:gd name="connsiteX4" fmla="*/ 608096 w 1869676"/>
                    <a:gd name="connsiteY4" fmla="*/ 724962 h 1428613"/>
                    <a:gd name="connsiteX5" fmla="*/ 1058262 w 1869676"/>
                    <a:gd name="connsiteY5" fmla="*/ 1273602 h 1428613"/>
                    <a:gd name="connsiteX6" fmla="*/ 1241142 w 1869676"/>
                    <a:gd name="connsiteY6" fmla="*/ 1184066 h 1428613"/>
                    <a:gd name="connsiteX7" fmla="*/ 1030127 w 1869676"/>
                    <a:gd name="connsiteY7" fmla="*/ 837504 h 1428613"/>
                    <a:gd name="connsiteX8" fmla="*/ 1522496 w 1869676"/>
                    <a:gd name="connsiteY8" fmla="*/ 781233 h 1428613"/>
                    <a:gd name="connsiteX9" fmla="*/ 1869676 w 1869676"/>
                    <a:gd name="connsiteY9" fmla="*/ 269133 h 1428613"/>
                    <a:gd name="connsiteX0" fmla="*/ 1869676 w 1869676"/>
                    <a:gd name="connsiteY0" fmla="*/ 269133 h 1428613"/>
                    <a:gd name="connsiteX1" fmla="*/ 1465786 w 1869676"/>
                    <a:gd name="connsiteY1" fmla="*/ 654624 h 1428613"/>
                    <a:gd name="connsiteX2" fmla="*/ 678434 w 1869676"/>
                    <a:gd name="connsiteY2" fmla="*/ 598353 h 1428613"/>
                    <a:gd name="connsiteX3" fmla="*/ 0 w 1869676"/>
                    <a:gd name="connsiteY3" fmla="*/ 0 h 1428613"/>
                    <a:gd name="connsiteX4" fmla="*/ 608096 w 1869676"/>
                    <a:gd name="connsiteY4" fmla="*/ 724962 h 1428613"/>
                    <a:gd name="connsiteX5" fmla="*/ 1058262 w 1869676"/>
                    <a:gd name="connsiteY5" fmla="*/ 1273602 h 1428613"/>
                    <a:gd name="connsiteX6" fmla="*/ 1241142 w 1869676"/>
                    <a:gd name="connsiteY6" fmla="*/ 1184066 h 1428613"/>
                    <a:gd name="connsiteX7" fmla="*/ 1030127 w 1869676"/>
                    <a:gd name="connsiteY7" fmla="*/ 837504 h 1428613"/>
                    <a:gd name="connsiteX8" fmla="*/ 1522496 w 1869676"/>
                    <a:gd name="connsiteY8" fmla="*/ 781233 h 1428613"/>
                    <a:gd name="connsiteX9" fmla="*/ 1869676 w 1869676"/>
                    <a:gd name="connsiteY9" fmla="*/ 269133 h 1428613"/>
                    <a:gd name="connsiteX0" fmla="*/ 1869676 w 1869676"/>
                    <a:gd name="connsiteY0" fmla="*/ 269133 h 1428613"/>
                    <a:gd name="connsiteX1" fmla="*/ 1465786 w 1869676"/>
                    <a:gd name="connsiteY1" fmla="*/ 654624 h 1428613"/>
                    <a:gd name="connsiteX2" fmla="*/ 678434 w 1869676"/>
                    <a:gd name="connsiteY2" fmla="*/ 598353 h 1428613"/>
                    <a:gd name="connsiteX3" fmla="*/ 0 w 1869676"/>
                    <a:gd name="connsiteY3" fmla="*/ 0 h 1428613"/>
                    <a:gd name="connsiteX4" fmla="*/ 608096 w 1869676"/>
                    <a:gd name="connsiteY4" fmla="*/ 724962 h 1428613"/>
                    <a:gd name="connsiteX5" fmla="*/ 1058262 w 1869676"/>
                    <a:gd name="connsiteY5" fmla="*/ 1273602 h 1428613"/>
                    <a:gd name="connsiteX6" fmla="*/ 1241142 w 1869676"/>
                    <a:gd name="connsiteY6" fmla="*/ 1184066 h 1428613"/>
                    <a:gd name="connsiteX7" fmla="*/ 1030127 w 1869676"/>
                    <a:gd name="connsiteY7" fmla="*/ 837504 h 1428613"/>
                    <a:gd name="connsiteX8" fmla="*/ 1522496 w 1869676"/>
                    <a:gd name="connsiteY8" fmla="*/ 781233 h 1428613"/>
                    <a:gd name="connsiteX9" fmla="*/ 1869676 w 1869676"/>
                    <a:gd name="connsiteY9" fmla="*/ 269133 h 1428613"/>
                    <a:gd name="connsiteX0" fmla="*/ 1869676 w 1869676"/>
                    <a:gd name="connsiteY0" fmla="*/ 269133 h 1428613"/>
                    <a:gd name="connsiteX1" fmla="*/ 1418161 w 1869676"/>
                    <a:gd name="connsiteY1" fmla="*/ 654624 h 1428613"/>
                    <a:gd name="connsiteX2" fmla="*/ 678434 w 1869676"/>
                    <a:gd name="connsiteY2" fmla="*/ 598353 h 1428613"/>
                    <a:gd name="connsiteX3" fmla="*/ 0 w 1869676"/>
                    <a:gd name="connsiteY3" fmla="*/ 0 h 1428613"/>
                    <a:gd name="connsiteX4" fmla="*/ 608096 w 1869676"/>
                    <a:gd name="connsiteY4" fmla="*/ 724962 h 1428613"/>
                    <a:gd name="connsiteX5" fmla="*/ 1058262 w 1869676"/>
                    <a:gd name="connsiteY5" fmla="*/ 1273602 h 1428613"/>
                    <a:gd name="connsiteX6" fmla="*/ 1241142 w 1869676"/>
                    <a:gd name="connsiteY6" fmla="*/ 1184066 h 1428613"/>
                    <a:gd name="connsiteX7" fmla="*/ 1030127 w 1869676"/>
                    <a:gd name="connsiteY7" fmla="*/ 837504 h 1428613"/>
                    <a:gd name="connsiteX8" fmla="*/ 1522496 w 1869676"/>
                    <a:gd name="connsiteY8" fmla="*/ 781233 h 1428613"/>
                    <a:gd name="connsiteX9" fmla="*/ 1869676 w 1869676"/>
                    <a:gd name="connsiteY9" fmla="*/ 269133 h 1428613"/>
                    <a:gd name="connsiteX0" fmla="*/ 1869676 w 1869676"/>
                    <a:gd name="connsiteY0" fmla="*/ 240558 h 1428613"/>
                    <a:gd name="connsiteX1" fmla="*/ 1418161 w 1869676"/>
                    <a:gd name="connsiteY1" fmla="*/ 654624 h 1428613"/>
                    <a:gd name="connsiteX2" fmla="*/ 678434 w 1869676"/>
                    <a:gd name="connsiteY2" fmla="*/ 598353 h 1428613"/>
                    <a:gd name="connsiteX3" fmla="*/ 0 w 1869676"/>
                    <a:gd name="connsiteY3" fmla="*/ 0 h 1428613"/>
                    <a:gd name="connsiteX4" fmla="*/ 608096 w 1869676"/>
                    <a:gd name="connsiteY4" fmla="*/ 724962 h 1428613"/>
                    <a:gd name="connsiteX5" fmla="*/ 1058262 w 1869676"/>
                    <a:gd name="connsiteY5" fmla="*/ 1273602 h 1428613"/>
                    <a:gd name="connsiteX6" fmla="*/ 1241142 w 1869676"/>
                    <a:gd name="connsiteY6" fmla="*/ 1184066 h 1428613"/>
                    <a:gd name="connsiteX7" fmla="*/ 1030127 w 1869676"/>
                    <a:gd name="connsiteY7" fmla="*/ 837504 h 1428613"/>
                    <a:gd name="connsiteX8" fmla="*/ 1522496 w 1869676"/>
                    <a:gd name="connsiteY8" fmla="*/ 781233 h 1428613"/>
                    <a:gd name="connsiteX9" fmla="*/ 1869676 w 1869676"/>
                    <a:gd name="connsiteY9" fmla="*/ 240558 h 1428613"/>
                    <a:gd name="connsiteX0" fmla="*/ 1869676 w 1869676"/>
                    <a:gd name="connsiteY0" fmla="*/ 240558 h 1461813"/>
                    <a:gd name="connsiteX1" fmla="*/ 1418161 w 1869676"/>
                    <a:gd name="connsiteY1" fmla="*/ 654624 h 1461813"/>
                    <a:gd name="connsiteX2" fmla="*/ 678434 w 1869676"/>
                    <a:gd name="connsiteY2" fmla="*/ 598353 h 1461813"/>
                    <a:gd name="connsiteX3" fmla="*/ 0 w 1869676"/>
                    <a:gd name="connsiteY3" fmla="*/ 0 h 1461813"/>
                    <a:gd name="connsiteX4" fmla="*/ 608096 w 1869676"/>
                    <a:gd name="connsiteY4" fmla="*/ 724962 h 1461813"/>
                    <a:gd name="connsiteX5" fmla="*/ 1048737 w 1869676"/>
                    <a:gd name="connsiteY5" fmla="*/ 1349802 h 1461813"/>
                    <a:gd name="connsiteX6" fmla="*/ 1241142 w 1869676"/>
                    <a:gd name="connsiteY6" fmla="*/ 1184066 h 1461813"/>
                    <a:gd name="connsiteX7" fmla="*/ 1030127 w 1869676"/>
                    <a:gd name="connsiteY7" fmla="*/ 837504 h 1461813"/>
                    <a:gd name="connsiteX8" fmla="*/ 1522496 w 1869676"/>
                    <a:gd name="connsiteY8" fmla="*/ 781233 h 1461813"/>
                    <a:gd name="connsiteX9" fmla="*/ 1869676 w 1869676"/>
                    <a:gd name="connsiteY9" fmla="*/ 240558 h 1461813"/>
                    <a:gd name="connsiteX0" fmla="*/ 1869676 w 1869676"/>
                    <a:gd name="connsiteY0" fmla="*/ 240558 h 1428613"/>
                    <a:gd name="connsiteX1" fmla="*/ 1418161 w 1869676"/>
                    <a:gd name="connsiteY1" fmla="*/ 654624 h 1428613"/>
                    <a:gd name="connsiteX2" fmla="*/ 678434 w 1869676"/>
                    <a:gd name="connsiteY2" fmla="*/ 598353 h 1428613"/>
                    <a:gd name="connsiteX3" fmla="*/ 0 w 1869676"/>
                    <a:gd name="connsiteY3" fmla="*/ 0 h 1428613"/>
                    <a:gd name="connsiteX4" fmla="*/ 608096 w 1869676"/>
                    <a:gd name="connsiteY4" fmla="*/ 724962 h 1428613"/>
                    <a:gd name="connsiteX5" fmla="*/ 1048737 w 1869676"/>
                    <a:gd name="connsiteY5" fmla="*/ 1349802 h 1428613"/>
                    <a:gd name="connsiteX6" fmla="*/ 1241142 w 1869676"/>
                    <a:gd name="connsiteY6" fmla="*/ 1184066 h 1428613"/>
                    <a:gd name="connsiteX7" fmla="*/ 1030127 w 1869676"/>
                    <a:gd name="connsiteY7" fmla="*/ 837504 h 1428613"/>
                    <a:gd name="connsiteX8" fmla="*/ 1522496 w 1869676"/>
                    <a:gd name="connsiteY8" fmla="*/ 781233 h 1428613"/>
                    <a:gd name="connsiteX9" fmla="*/ 1869676 w 1869676"/>
                    <a:gd name="connsiteY9" fmla="*/ 240558 h 1428613"/>
                    <a:gd name="connsiteX0" fmla="*/ 1869676 w 1869676"/>
                    <a:gd name="connsiteY0" fmla="*/ 240558 h 1504813"/>
                    <a:gd name="connsiteX1" fmla="*/ 1418161 w 1869676"/>
                    <a:gd name="connsiteY1" fmla="*/ 654624 h 1504813"/>
                    <a:gd name="connsiteX2" fmla="*/ 678434 w 1869676"/>
                    <a:gd name="connsiteY2" fmla="*/ 598353 h 1504813"/>
                    <a:gd name="connsiteX3" fmla="*/ 0 w 1869676"/>
                    <a:gd name="connsiteY3" fmla="*/ 0 h 1504813"/>
                    <a:gd name="connsiteX4" fmla="*/ 608096 w 1869676"/>
                    <a:gd name="connsiteY4" fmla="*/ 724962 h 1504813"/>
                    <a:gd name="connsiteX5" fmla="*/ 1048737 w 1869676"/>
                    <a:gd name="connsiteY5" fmla="*/ 1349802 h 1504813"/>
                    <a:gd name="connsiteX6" fmla="*/ 1269717 w 1869676"/>
                    <a:gd name="connsiteY6" fmla="*/ 1260266 h 1504813"/>
                    <a:gd name="connsiteX7" fmla="*/ 1030127 w 1869676"/>
                    <a:gd name="connsiteY7" fmla="*/ 837504 h 1504813"/>
                    <a:gd name="connsiteX8" fmla="*/ 1522496 w 1869676"/>
                    <a:gd name="connsiteY8" fmla="*/ 781233 h 1504813"/>
                    <a:gd name="connsiteX9" fmla="*/ 1869676 w 1869676"/>
                    <a:gd name="connsiteY9" fmla="*/ 240558 h 1504813"/>
                    <a:gd name="connsiteX0" fmla="*/ 1869676 w 1869676"/>
                    <a:gd name="connsiteY0" fmla="*/ 240558 h 1638163"/>
                    <a:gd name="connsiteX1" fmla="*/ 1418161 w 1869676"/>
                    <a:gd name="connsiteY1" fmla="*/ 654624 h 1638163"/>
                    <a:gd name="connsiteX2" fmla="*/ 678434 w 1869676"/>
                    <a:gd name="connsiteY2" fmla="*/ 598353 h 1638163"/>
                    <a:gd name="connsiteX3" fmla="*/ 0 w 1869676"/>
                    <a:gd name="connsiteY3" fmla="*/ 0 h 1638163"/>
                    <a:gd name="connsiteX4" fmla="*/ 608096 w 1869676"/>
                    <a:gd name="connsiteY4" fmla="*/ 724962 h 1638163"/>
                    <a:gd name="connsiteX5" fmla="*/ 1048737 w 1869676"/>
                    <a:gd name="connsiteY5" fmla="*/ 1349802 h 1638163"/>
                    <a:gd name="connsiteX6" fmla="*/ 1269717 w 1869676"/>
                    <a:gd name="connsiteY6" fmla="*/ 1260266 h 1638163"/>
                    <a:gd name="connsiteX7" fmla="*/ 1030127 w 1869676"/>
                    <a:gd name="connsiteY7" fmla="*/ 837504 h 1638163"/>
                    <a:gd name="connsiteX8" fmla="*/ 1522496 w 1869676"/>
                    <a:gd name="connsiteY8" fmla="*/ 781233 h 1638163"/>
                    <a:gd name="connsiteX9" fmla="*/ 1869676 w 1869676"/>
                    <a:gd name="connsiteY9" fmla="*/ 240558 h 1638163"/>
                    <a:gd name="connsiteX0" fmla="*/ 1869676 w 1869676"/>
                    <a:gd name="connsiteY0" fmla="*/ 240558 h 1838188"/>
                    <a:gd name="connsiteX1" fmla="*/ 1418161 w 1869676"/>
                    <a:gd name="connsiteY1" fmla="*/ 654624 h 1838188"/>
                    <a:gd name="connsiteX2" fmla="*/ 678434 w 1869676"/>
                    <a:gd name="connsiteY2" fmla="*/ 598353 h 1838188"/>
                    <a:gd name="connsiteX3" fmla="*/ 0 w 1869676"/>
                    <a:gd name="connsiteY3" fmla="*/ 0 h 1838188"/>
                    <a:gd name="connsiteX4" fmla="*/ 608096 w 1869676"/>
                    <a:gd name="connsiteY4" fmla="*/ 724962 h 1838188"/>
                    <a:gd name="connsiteX5" fmla="*/ 1048737 w 1869676"/>
                    <a:gd name="connsiteY5" fmla="*/ 1349802 h 1838188"/>
                    <a:gd name="connsiteX6" fmla="*/ 1269717 w 1869676"/>
                    <a:gd name="connsiteY6" fmla="*/ 1460291 h 1838188"/>
                    <a:gd name="connsiteX7" fmla="*/ 1030127 w 1869676"/>
                    <a:gd name="connsiteY7" fmla="*/ 837504 h 1838188"/>
                    <a:gd name="connsiteX8" fmla="*/ 1522496 w 1869676"/>
                    <a:gd name="connsiteY8" fmla="*/ 781233 h 1838188"/>
                    <a:gd name="connsiteX9" fmla="*/ 1869676 w 1869676"/>
                    <a:gd name="connsiteY9" fmla="*/ 240558 h 1838188"/>
                    <a:gd name="connsiteX0" fmla="*/ 1869676 w 1869676"/>
                    <a:gd name="connsiteY0" fmla="*/ 240558 h 1495288"/>
                    <a:gd name="connsiteX1" fmla="*/ 1418161 w 1869676"/>
                    <a:gd name="connsiteY1" fmla="*/ 654624 h 1495288"/>
                    <a:gd name="connsiteX2" fmla="*/ 678434 w 1869676"/>
                    <a:gd name="connsiteY2" fmla="*/ 598353 h 1495288"/>
                    <a:gd name="connsiteX3" fmla="*/ 0 w 1869676"/>
                    <a:gd name="connsiteY3" fmla="*/ 0 h 1495288"/>
                    <a:gd name="connsiteX4" fmla="*/ 608096 w 1869676"/>
                    <a:gd name="connsiteY4" fmla="*/ 724962 h 1495288"/>
                    <a:gd name="connsiteX5" fmla="*/ 1048737 w 1869676"/>
                    <a:gd name="connsiteY5" fmla="*/ 1349802 h 1495288"/>
                    <a:gd name="connsiteX6" fmla="*/ 1269717 w 1869676"/>
                    <a:gd name="connsiteY6" fmla="*/ 1460291 h 1495288"/>
                    <a:gd name="connsiteX7" fmla="*/ 1030127 w 1869676"/>
                    <a:gd name="connsiteY7" fmla="*/ 837504 h 1495288"/>
                    <a:gd name="connsiteX8" fmla="*/ 1522496 w 1869676"/>
                    <a:gd name="connsiteY8" fmla="*/ 781233 h 1495288"/>
                    <a:gd name="connsiteX9" fmla="*/ 1869676 w 1869676"/>
                    <a:gd name="connsiteY9" fmla="*/ 240558 h 1495288"/>
                    <a:gd name="connsiteX0" fmla="*/ 1869676 w 1869676"/>
                    <a:gd name="connsiteY0" fmla="*/ 240558 h 1495288"/>
                    <a:gd name="connsiteX1" fmla="*/ 1418161 w 1869676"/>
                    <a:gd name="connsiteY1" fmla="*/ 654624 h 1495288"/>
                    <a:gd name="connsiteX2" fmla="*/ 678434 w 1869676"/>
                    <a:gd name="connsiteY2" fmla="*/ 598353 h 1495288"/>
                    <a:gd name="connsiteX3" fmla="*/ 0 w 1869676"/>
                    <a:gd name="connsiteY3" fmla="*/ 0 h 1495288"/>
                    <a:gd name="connsiteX4" fmla="*/ 608096 w 1869676"/>
                    <a:gd name="connsiteY4" fmla="*/ 724962 h 1495288"/>
                    <a:gd name="connsiteX5" fmla="*/ 1048737 w 1869676"/>
                    <a:gd name="connsiteY5" fmla="*/ 1349802 h 1495288"/>
                    <a:gd name="connsiteX6" fmla="*/ 1269717 w 1869676"/>
                    <a:gd name="connsiteY6" fmla="*/ 1460291 h 1495288"/>
                    <a:gd name="connsiteX7" fmla="*/ 1030127 w 1869676"/>
                    <a:gd name="connsiteY7" fmla="*/ 837504 h 1495288"/>
                    <a:gd name="connsiteX8" fmla="*/ 1522496 w 1869676"/>
                    <a:gd name="connsiteY8" fmla="*/ 781233 h 1495288"/>
                    <a:gd name="connsiteX9" fmla="*/ 1869676 w 1869676"/>
                    <a:gd name="connsiteY9" fmla="*/ 240558 h 1495288"/>
                    <a:gd name="connsiteX0" fmla="*/ 1869676 w 1869676"/>
                    <a:gd name="connsiteY0" fmla="*/ 240558 h 1460291"/>
                    <a:gd name="connsiteX1" fmla="*/ 1418161 w 1869676"/>
                    <a:gd name="connsiteY1" fmla="*/ 654624 h 1460291"/>
                    <a:gd name="connsiteX2" fmla="*/ 678434 w 1869676"/>
                    <a:gd name="connsiteY2" fmla="*/ 598353 h 1460291"/>
                    <a:gd name="connsiteX3" fmla="*/ 0 w 1869676"/>
                    <a:gd name="connsiteY3" fmla="*/ 0 h 1460291"/>
                    <a:gd name="connsiteX4" fmla="*/ 608096 w 1869676"/>
                    <a:gd name="connsiteY4" fmla="*/ 724962 h 1460291"/>
                    <a:gd name="connsiteX5" fmla="*/ 1048737 w 1869676"/>
                    <a:gd name="connsiteY5" fmla="*/ 1349802 h 1460291"/>
                    <a:gd name="connsiteX6" fmla="*/ 1269717 w 1869676"/>
                    <a:gd name="connsiteY6" fmla="*/ 1460291 h 1460291"/>
                    <a:gd name="connsiteX7" fmla="*/ 1030127 w 1869676"/>
                    <a:gd name="connsiteY7" fmla="*/ 837504 h 1460291"/>
                    <a:gd name="connsiteX8" fmla="*/ 1522496 w 1869676"/>
                    <a:gd name="connsiteY8" fmla="*/ 781233 h 1460291"/>
                    <a:gd name="connsiteX9" fmla="*/ 1869676 w 1869676"/>
                    <a:gd name="connsiteY9" fmla="*/ 240558 h 1460291"/>
                    <a:gd name="connsiteX0" fmla="*/ 1869676 w 1869676"/>
                    <a:gd name="connsiteY0" fmla="*/ 240558 h 1460291"/>
                    <a:gd name="connsiteX1" fmla="*/ 1418161 w 1869676"/>
                    <a:gd name="connsiteY1" fmla="*/ 654624 h 1460291"/>
                    <a:gd name="connsiteX2" fmla="*/ 678434 w 1869676"/>
                    <a:gd name="connsiteY2" fmla="*/ 598353 h 1460291"/>
                    <a:gd name="connsiteX3" fmla="*/ 0 w 1869676"/>
                    <a:gd name="connsiteY3" fmla="*/ 0 h 1460291"/>
                    <a:gd name="connsiteX4" fmla="*/ 608096 w 1869676"/>
                    <a:gd name="connsiteY4" fmla="*/ 724962 h 1460291"/>
                    <a:gd name="connsiteX5" fmla="*/ 1048737 w 1869676"/>
                    <a:gd name="connsiteY5" fmla="*/ 1349802 h 1460291"/>
                    <a:gd name="connsiteX6" fmla="*/ 1269717 w 1869676"/>
                    <a:gd name="connsiteY6" fmla="*/ 1460291 h 1460291"/>
                    <a:gd name="connsiteX7" fmla="*/ 1068227 w 1869676"/>
                    <a:gd name="connsiteY7" fmla="*/ 894654 h 1460291"/>
                    <a:gd name="connsiteX8" fmla="*/ 1522496 w 1869676"/>
                    <a:gd name="connsiteY8" fmla="*/ 781233 h 1460291"/>
                    <a:gd name="connsiteX9" fmla="*/ 1869676 w 1869676"/>
                    <a:gd name="connsiteY9" fmla="*/ 240558 h 1460291"/>
                    <a:gd name="connsiteX0" fmla="*/ 1869676 w 1869676"/>
                    <a:gd name="connsiteY0" fmla="*/ 240558 h 1460291"/>
                    <a:gd name="connsiteX1" fmla="*/ 1418161 w 1869676"/>
                    <a:gd name="connsiteY1" fmla="*/ 654624 h 1460291"/>
                    <a:gd name="connsiteX2" fmla="*/ 678434 w 1869676"/>
                    <a:gd name="connsiteY2" fmla="*/ 598353 h 1460291"/>
                    <a:gd name="connsiteX3" fmla="*/ 0 w 1869676"/>
                    <a:gd name="connsiteY3" fmla="*/ 0 h 1460291"/>
                    <a:gd name="connsiteX4" fmla="*/ 608096 w 1869676"/>
                    <a:gd name="connsiteY4" fmla="*/ 724962 h 1460291"/>
                    <a:gd name="connsiteX5" fmla="*/ 1048737 w 1869676"/>
                    <a:gd name="connsiteY5" fmla="*/ 1349802 h 1460291"/>
                    <a:gd name="connsiteX6" fmla="*/ 1269717 w 1869676"/>
                    <a:gd name="connsiteY6" fmla="*/ 1460291 h 1460291"/>
                    <a:gd name="connsiteX7" fmla="*/ 1068227 w 1869676"/>
                    <a:gd name="connsiteY7" fmla="*/ 894654 h 1460291"/>
                    <a:gd name="connsiteX8" fmla="*/ 1522496 w 1869676"/>
                    <a:gd name="connsiteY8" fmla="*/ 781233 h 1460291"/>
                    <a:gd name="connsiteX9" fmla="*/ 1869676 w 1869676"/>
                    <a:gd name="connsiteY9" fmla="*/ 240558 h 1460291"/>
                    <a:gd name="connsiteX0" fmla="*/ 1869676 w 1869676"/>
                    <a:gd name="connsiteY0" fmla="*/ 240558 h 1460291"/>
                    <a:gd name="connsiteX1" fmla="*/ 1418161 w 1869676"/>
                    <a:gd name="connsiteY1" fmla="*/ 654624 h 1460291"/>
                    <a:gd name="connsiteX2" fmla="*/ 678434 w 1869676"/>
                    <a:gd name="connsiteY2" fmla="*/ 598353 h 1460291"/>
                    <a:gd name="connsiteX3" fmla="*/ 0 w 1869676"/>
                    <a:gd name="connsiteY3" fmla="*/ 0 h 1460291"/>
                    <a:gd name="connsiteX4" fmla="*/ 608096 w 1869676"/>
                    <a:gd name="connsiteY4" fmla="*/ 724962 h 1460291"/>
                    <a:gd name="connsiteX5" fmla="*/ 829662 w 1869676"/>
                    <a:gd name="connsiteY5" fmla="*/ 1216452 h 1460291"/>
                    <a:gd name="connsiteX6" fmla="*/ 1269717 w 1869676"/>
                    <a:gd name="connsiteY6" fmla="*/ 1460291 h 1460291"/>
                    <a:gd name="connsiteX7" fmla="*/ 1068227 w 1869676"/>
                    <a:gd name="connsiteY7" fmla="*/ 894654 h 1460291"/>
                    <a:gd name="connsiteX8" fmla="*/ 1522496 w 1869676"/>
                    <a:gd name="connsiteY8" fmla="*/ 781233 h 1460291"/>
                    <a:gd name="connsiteX9" fmla="*/ 1869676 w 1869676"/>
                    <a:gd name="connsiteY9" fmla="*/ 240558 h 1460291"/>
                    <a:gd name="connsiteX0" fmla="*/ 1869676 w 1869676"/>
                    <a:gd name="connsiteY0" fmla="*/ 240558 h 1488866"/>
                    <a:gd name="connsiteX1" fmla="*/ 1418161 w 1869676"/>
                    <a:gd name="connsiteY1" fmla="*/ 654624 h 1488866"/>
                    <a:gd name="connsiteX2" fmla="*/ 678434 w 1869676"/>
                    <a:gd name="connsiteY2" fmla="*/ 598353 h 1488866"/>
                    <a:gd name="connsiteX3" fmla="*/ 0 w 1869676"/>
                    <a:gd name="connsiteY3" fmla="*/ 0 h 1488866"/>
                    <a:gd name="connsiteX4" fmla="*/ 608096 w 1869676"/>
                    <a:gd name="connsiteY4" fmla="*/ 724962 h 1488866"/>
                    <a:gd name="connsiteX5" fmla="*/ 829662 w 1869676"/>
                    <a:gd name="connsiteY5" fmla="*/ 1216452 h 1488866"/>
                    <a:gd name="connsiteX6" fmla="*/ 1260192 w 1869676"/>
                    <a:gd name="connsiteY6" fmla="*/ 1488866 h 1488866"/>
                    <a:gd name="connsiteX7" fmla="*/ 1068227 w 1869676"/>
                    <a:gd name="connsiteY7" fmla="*/ 894654 h 1488866"/>
                    <a:gd name="connsiteX8" fmla="*/ 1522496 w 1869676"/>
                    <a:gd name="connsiteY8" fmla="*/ 781233 h 1488866"/>
                    <a:gd name="connsiteX9" fmla="*/ 1869676 w 1869676"/>
                    <a:gd name="connsiteY9" fmla="*/ 240558 h 1488866"/>
                    <a:gd name="connsiteX0" fmla="*/ 1869676 w 1869676"/>
                    <a:gd name="connsiteY0" fmla="*/ 240558 h 1488866"/>
                    <a:gd name="connsiteX1" fmla="*/ 1418161 w 1869676"/>
                    <a:gd name="connsiteY1" fmla="*/ 654624 h 1488866"/>
                    <a:gd name="connsiteX2" fmla="*/ 678434 w 1869676"/>
                    <a:gd name="connsiteY2" fmla="*/ 598353 h 1488866"/>
                    <a:gd name="connsiteX3" fmla="*/ 0 w 1869676"/>
                    <a:gd name="connsiteY3" fmla="*/ 0 h 1488866"/>
                    <a:gd name="connsiteX4" fmla="*/ 608096 w 1869676"/>
                    <a:gd name="connsiteY4" fmla="*/ 724962 h 1488866"/>
                    <a:gd name="connsiteX5" fmla="*/ 858237 w 1869676"/>
                    <a:gd name="connsiteY5" fmla="*/ 1197402 h 1488866"/>
                    <a:gd name="connsiteX6" fmla="*/ 1260192 w 1869676"/>
                    <a:gd name="connsiteY6" fmla="*/ 1488866 h 1488866"/>
                    <a:gd name="connsiteX7" fmla="*/ 1068227 w 1869676"/>
                    <a:gd name="connsiteY7" fmla="*/ 894654 h 1488866"/>
                    <a:gd name="connsiteX8" fmla="*/ 1522496 w 1869676"/>
                    <a:gd name="connsiteY8" fmla="*/ 781233 h 1488866"/>
                    <a:gd name="connsiteX9" fmla="*/ 1869676 w 1869676"/>
                    <a:gd name="connsiteY9" fmla="*/ 240558 h 1488866"/>
                    <a:gd name="connsiteX0" fmla="*/ 1869676 w 1869676"/>
                    <a:gd name="connsiteY0" fmla="*/ 240558 h 1488866"/>
                    <a:gd name="connsiteX1" fmla="*/ 1418161 w 1869676"/>
                    <a:gd name="connsiteY1" fmla="*/ 654624 h 1488866"/>
                    <a:gd name="connsiteX2" fmla="*/ 678434 w 1869676"/>
                    <a:gd name="connsiteY2" fmla="*/ 598353 h 1488866"/>
                    <a:gd name="connsiteX3" fmla="*/ 0 w 1869676"/>
                    <a:gd name="connsiteY3" fmla="*/ 0 h 1488866"/>
                    <a:gd name="connsiteX4" fmla="*/ 446171 w 1869676"/>
                    <a:gd name="connsiteY4" fmla="*/ 629712 h 1488866"/>
                    <a:gd name="connsiteX5" fmla="*/ 858237 w 1869676"/>
                    <a:gd name="connsiteY5" fmla="*/ 1197402 h 1488866"/>
                    <a:gd name="connsiteX6" fmla="*/ 1260192 w 1869676"/>
                    <a:gd name="connsiteY6" fmla="*/ 1488866 h 1488866"/>
                    <a:gd name="connsiteX7" fmla="*/ 1068227 w 1869676"/>
                    <a:gd name="connsiteY7" fmla="*/ 894654 h 1488866"/>
                    <a:gd name="connsiteX8" fmla="*/ 1522496 w 1869676"/>
                    <a:gd name="connsiteY8" fmla="*/ 781233 h 1488866"/>
                    <a:gd name="connsiteX9" fmla="*/ 1869676 w 1869676"/>
                    <a:gd name="connsiteY9" fmla="*/ 240558 h 1488866"/>
                    <a:gd name="connsiteX0" fmla="*/ 1869676 w 1869676"/>
                    <a:gd name="connsiteY0" fmla="*/ 240558 h 1241559"/>
                    <a:gd name="connsiteX1" fmla="*/ 1418161 w 1869676"/>
                    <a:gd name="connsiteY1" fmla="*/ 654624 h 1241559"/>
                    <a:gd name="connsiteX2" fmla="*/ 678434 w 1869676"/>
                    <a:gd name="connsiteY2" fmla="*/ 598353 h 1241559"/>
                    <a:gd name="connsiteX3" fmla="*/ 0 w 1869676"/>
                    <a:gd name="connsiteY3" fmla="*/ 0 h 1241559"/>
                    <a:gd name="connsiteX4" fmla="*/ 446171 w 1869676"/>
                    <a:gd name="connsiteY4" fmla="*/ 629712 h 1241559"/>
                    <a:gd name="connsiteX5" fmla="*/ 858237 w 1869676"/>
                    <a:gd name="connsiteY5" fmla="*/ 1197402 h 1241559"/>
                    <a:gd name="connsiteX6" fmla="*/ 1068227 w 1869676"/>
                    <a:gd name="connsiteY6" fmla="*/ 894654 h 1241559"/>
                    <a:gd name="connsiteX7" fmla="*/ 1522496 w 1869676"/>
                    <a:gd name="connsiteY7" fmla="*/ 781233 h 1241559"/>
                    <a:gd name="connsiteX8" fmla="*/ 1869676 w 1869676"/>
                    <a:gd name="connsiteY8" fmla="*/ 240558 h 1241559"/>
                    <a:gd name="connsiteX0" fmla="*/ 1869676 w 1869676"/>
                    <a:gd name="connsiteY0" fmla="*/ 240558 h 894654"/>
                    <a:gd name="connsiteX1" fmla="*/ 1418161 w 1869676"/>
                    <a:gd name="connsiteY1" fmla="*/ 654624 h 894654"/>
                    <a:gd name="connsiteX2" fmla="*/ 678434 w 1869676"/>
                    <a:gd name="connsiteY2" fmla="*/ 598353 h 894654"/>
                    <a:gd name="connsiteX3" fmla="*/ 0 w 1869676"/>
                    <a:gd name="connsiteY3" fmla="*/ 0 h 894654"/>
                    <a:gd name="connsiteX4" fmla="*/ 446171 w 1869676"/>
                    <a:gd name="connsiteY4" fmla="*/ 629712 h 894654"/>
                    <a:gd name="connsiteX5" fmla="*/ 1068227 w 1869676"/>
                    <a:gd name="connsiteY5" fmla="*/ 894654 h 894654"/>
                    <a:gd name="connsiteX6" fmla="*/ 1522496 w 1869676"/>
                    <a:gd name="connsiteY6" fmla="*/ 781233 h 894654"/>
                    <a:gd name="connsiteX7" fmla="*/ 1869676 w 1869676"/>
                    <a:gd name="connsiteY7" fmla="*/ 240558 h 894654"/>
                    <a:gd name="connsiteX0" fmla="*/ 1869676 w 1869676"/>
                    <a:gd name="connsiteY0" fmla="*/ 240558 h 894654"/>
                    <a:gd name="connsiteX1" fmla="*/ 1418161 w 1869676"/>
                    <a:gd name="connsiteY1" fmla="*/ 654624 h 894654"/>
                    <a:gd name="connsiteX2" fmla="*/ 678434 w 1869676"/>
                    <a:gd name="connsiteY2" fmla="*/ 598353 h 894654"/>
                    <a:gd name="connsiteX3" fmla="*/ 0 w 1869676"/>
                    <a:gd name="connsiteY3" fmla="*/ 0 h 894654"/>
                    <a:gd name="connsiteX4" fmla="*/ 608096 w 1869676"/>
                    <a:gd name="connsiteY4" fmla="*/ 696387 h 894654"/>
                    <a:gd name="connsiteX5" fmla="*/ 1068227 w 1869676"/>
                    <a:gd name="connsiteY5" fmla="*/ 894654 h 894654"/>
                    <a:gd name="connsiteX6" fmla="*/ 1522496 w 1869676"/>
                    <a:gd name="connsiteY6" fmla="*/ 781233 h 894654"/>
                    <a:gd name="connsiteX7" fmla="*/ 1869676 w 1869676"/>
                    <a:gd name="connsiteY7" fmla="*/ 240558 h 894654"/>
                    <a:gd name="connsiteX0" fmla="*/ 1869676 w 1869676"/>
                    <a:gd name="connsiteY0" fmla="*/ 240558 h 894654"/>
                    <a:gd name="connsiteX1" fmla="*/ 1418161 w 1869676"/>
                    <a:gd name="connsiteY1" fmla="*/ 654624 h 894654"/>
                    <a:gd name="connsiteX2" fmla="*/ 678434 w 1869676"/>
                    <a:gd name="connsiteY2" fmla="*/ 598353 h 894654"/>
                    <a:gd name="connsiteX3" fmla="*/ 0 w 1869676"/>
                    <a:gd name="connsiteY3" fmla="*/ 0 h 894654"/>
                    <a:gd name="connsiteX4" fmla="*/ 608096 w 1869676"/>
                    <a:gd name="connsiteY4" fmla="*/ 696387 h 894654"/>
                    <a:gd name="connsiteX5" fmla="*/ 1068227 w 1869676"/>
                    <a:gd name="connsiteY5" fmla="*/ 894654 h 894654"/>
                    <a:gd name="connsiteX6" fmla="*/ 1522496 w 1869676"/>
                    <a:gd name="connsiteY6" fmla="*/ 781233 h 894654"/>
                    <a:gd name="connsiteX7" fmla="*/ 1869676 w 1869676"/>
                    <a:gd name="connsiteY7" fmla="*/ 240558 h 894654"/>
                    <a:gd name="connsiteX0" fmla="*/ 1869676 w 1869676"/>
                    <a:gd name="connsiteY0" fmla="*/ 240558 h 1104204"/>
                    <a:gd name="connsiteX1" fmla="*/ 1418161 w 1869676"/>
                    <a:gd name="connsiteY1" fmla="*/ 654624 h 1104204"/>
                    <a:gd name="connsiteX2" fmla="*/ 678434 w 1869676"/>
                    <a:gd name="connsiteY2" fmla="*/ 598353 h 1104204"/>
                    <a:gd name="connsiteX3" fmla="*/ 0 w 1869676"/>
                    <a:gd name="connsiteY3" fmla="*/ 0 h 1104204"/>
                    <a:gd name="connsiteX4" fmla="*/ 608096 w 1869676"/>
                    <a:gd name="connsiteY4" fmla="*/ 696387 h 1104204"/>
                    <a:gd name="connsiteX5" fmla="*/ 1153952 w 1869676"/>
                    <a:gd name="connsiteY5" fmla="*/ 1104204 h 1104204"/>
                    <a:gd name="connsiteX6" fmla="*/ 1522496 w 1869676"/>
                    <a:gd name="connsiteY6" fmla="*/ 781233 h 1104204"/>
                    <a:gd name="connsiteX7" fmla="*/ 1869676 w 1869676"/>
                    <a:gd name="connsiteY7" fmla="*/ 240558 h 1104204"/>
                    <a:gd name="connsiteX0" fmla="*/ 1869676 w 1869676"/>
                    <a:gd name="connsiteY0" fmla="*/ 240558 h 1104204"/>
                    <a:gd name="connsiteX1" fmla="*/ 1418161 w 1869676"/>
                    <a:gd name="connsiteY1" fmla="*/ 654624 h 1104204"/>
                    <a:gd name="connsiteX2" fmla="*/ 678434 w 1869676"/>
                    <a:gd name="connsiteY2" fmla="*/ 598353 h 1104204"/>
                    <a:gd name="connsiteX3" fmla="*/ 0 w 1869676"/>
                    <a:gd name="connsiteY3" fmla="*/ 0 h 1104204"/>
                    <a:gd name="connsiteX4" fmla="*/ 608096 w 1869676"/>
                    <a:gd name="connsiteY4" fmla="*/ 696387 h 1104204"/>
                    <a:gd name="connsiteX5" fmla="*/ 1153952 w 1869676"/>
                    <a:gd name="connsiteY5" fmla="*/ 1104204 h 1104204"/>
                    <a:gd name="connsiteX6" fmla="*/ 1617746 w 1869676"/>
                    <a:gd name="connsiteY6" fmla="*/ 933633 h 1104204"/>
                    <a:gd name="connsiteX7" fmla="*/ 1869676 w 1869676"/>
                    <a:gd name="connsiteY7" fmla="*/ 240558 h 1104204"/>
                    <a:gd name="connsiteX0" fmla="*/ 1964926 w 1964926"/>
                    <a:gd name="connsiteY0" fmla="*/ 135783 h 1104204"/>
                    <a:gd name="connsiteX1" fmla="*/ 1418161 w 1964926"/>
                    <a:gd name="connsiteY1" fmla="*/ 654624 h 1104204"/>
                    <a:gd name="connsiteX2" fmla="*/ 678434 w 1964926"/>
                    <a:gd name="connsiteY2" fmla="*/ 598353 h 1104204"/>
                    <a:gd name="connsiteX3" fmla="*/ 0 w 1964926"/>
                    <a:gd name="connsiteY3" fmla="*/ 0 h 1104204"/>
                    <a:gd name="connsiteX4" fmla="*/ 608096 w 1964926"/>
                    <a:gd name="connsiteY4" fmla="*/ 696387 h 1104204"/>
                    <a:gd name="connsiteX5" fmla="*/ 1153952 w 1964926"/>
                    <a:gd name="connsiteY5" fmla="*/ 1104204 h 1104204"/>
                    <a:gd name="connsiteX6" fmla="*/ 1617746 w 1964926"/>
                    <a:gd name="connsiteY6" fmla="*/ 933633 h 1104204"/>
                    <a:gd name="connsiteX7" fmla="*/ 1964926 w 1964926"/>
                    <a:gd name="connsiteY7" fmla="*/ 135783 h 1104204"/>
                    <a:gd name="connsiteX0" fmla="*/ 1964926 w 2054615"/>
                    <a:gd name="connsiteY0" fmla="*/ 135783 h 1104204"/>
                    <a:gd name="connsiteX1" fmla="*/ 1418161 w 2054615"/>
                    <a:gd name="connsiteY1" fmla="*/ 654624 h 1104204"/>
                    <a:gd name="connsiteX2" fmla="*/ 678434 w 2054615"/>
                    <a:gd name="connsiteY2" fmla="*/ 598353 h 1104204"/>
                    <a:gd name="connsiteX3" fmla="*/ 0 w 2054615"/>
                    <a:gd name="connsiteY3" fmla="*/ 0 h 1104204"/>
                    <a:gd name="connsiteX4" fmla="*/ 608096 w 2054615"/>
                    <a:gd name="connsiteY4" fmla="*/ 696387 h 1104204"/>
                    <a:gd name="connsiteX5" fmla="*/ 1153952 w 2054615"/>
                    <a:gd name="connsiteY5" fmla="*/ 1104204 h 1104204"/>
                    <a:gd name="connsiteX6" fmla="*/ 1617746 w 2054615"/>
                    <a:gd name="connsiteY6" fmla="*/ 933633 h 1104204"/>
                    <a:gd name="connsiteX7" fmla="*/ 1964926 w 2054615"/>
                    <a:gd name="connsiteY7" fmla="*/ 135783 h 1104204"/>
                    <a:gd name="connsiteX0" fmla="*/ 1964926 w 2034434"/>
                    <a:gd name="connsiteY0" fmla="*/ 135783 h 1104204"/>
                    <a:gd name="connsiteX1" fmla="*/ 1418161 w 2034434"/>
                    <a:gd name="connsiteY1" fmla="*/ 654624 h 1104204"/>
                    <a:gd name="connsiteX2" fmla="*/ 678434 w 2034434"/>
                    <a:gd name="connsiteY2" fmla="*/ 598353 h 1104204"/>
                    <a:gd name="connsiteX3" fmla="*/ 0 w 2034434"/>
                    <a:gd name="connsiteY3" fmla="*/ 0 h 1104204"/>
                    <a:gd name="connsiteX4" fmla="*/ 608096 w 2034434"/>
                    <a:gd name="connsiteY4" fmla="*/ 696387 h 1104204"/>
                    <a:gd name="connsiteX5" fmla="*/ 1153952 w 2034434"/>
                    <a:gd name="connsiteY5" fmla="*/ 1104204 h 1104204"/>
                    <a:gd name="connsiteX6" fmla="*/ 1617746 w 2034434"/>
                    <a:gd name="connsiteY6" fmla="*/ 933633 h 1104204"/>
                    <a:gd name="connsiteX7" fmla="*/ 1892358 w 2034434"/>
                    <a:gd name="connsiteY7" fmla="*/ 638650 h 1104204"/>
                    <a:gd name="connsiteX8" fmla="*/ 1964926 w 2034434"/>
                    <a:gd name="connsiteY8" fmla="*/ 135783 h 1104204"/>
                    <a:gd name="connsiteX0" fmla="*/ 1964926 w 2064521"/>
                    <a:gd name="connsiteY0" fmla="*/ 135783 h 1104204"/>
                    <a:gd name="connsiteX1" fmla="*/ 1418161 w 2064521"/>
                    <a:gd name="connsiteY1" fmla="*/ 654624 h 1104204"/>
                    <a:gd name="connsiteX2" fmla="*/ 678434 w 2064521"/>
                    <a:gd name="connsiteY2" fmla="*/ 598353 h 1104204"/>
                    <a:gd name="connsiteX3" fmla="*/ 0 w 2064521"/>
                    <a:gd name="connsiteY3" fmla="*/ 0 h 1104204"/>
                    <a:gd name="connsiteX4" fmla="*/ 608096 w 2064521"/>
                    <a:gd name="connsiteY4" fmla="*/ 696387 h 1104204"/>
                    <a:gd name="connsiteX5" fmla="*/ 1153952 w 2064521"/>
                    <a:gd name="connsiteY5" fmla="*/ 1104204 h 1104204"/>
                    <a:gd name="connsiteX6" fmla="*/ 1617746 w 2064521"/>
                    <a:gd name="connsiteY6" fmla="*/ 933633 h 1104204"/>
                    <a:gd name="connsiteX7" fmla="*/ 2006658 w 2064521"/>
                    <a:gd name="connsiteY7" fmla="*/ 410050 h 1104204"/>
                    <a:gd name="connsiteX8" fmla="*/ 1964926 w 2064521"/>
                    <a:gd name="connsiteY8" fmla="*/ 135783 h 1104204"/>
                    <a:gd name="connsiteX0" fmla="*/ 1964926 w 2034434"/>
                    <a:gd name="connsiteY0" fmla="*/ 135783 h 1104204"/>
                    <a:gd name="connsiteX1" fmla="*/ 1418161 w 2034434"/>
                    <a:gd name="connsiteY1" fmla="*/ 654624 h 1104204"/>
                    <a:gd name="connsiteX2" fmla="*/ 678434 w 2034434"/>
                    <a:gd name="connsiteY2" fmla="*/ 598353 h 1104204"/>
                    <a:gd name="connsiteX3" fmla="*/ 0 w 2034434"/>
                    <a:gd name="connsiteY3" fmla="*/ 0 h 1104204"/>
                    <a:gd name="connsiteX4" fmla="*/ 608096 w 2034434"/>
                    <a:gd name="connsiteY4" fmla="*/ 696387 h 1104204"/>
                    <a:gd name="connsiteX5" fmla="*/ 1153952 w 2034434"/>
                    <a:gd name="connsiteY5" fmla="*/ 1104204 h 1104204"/>
                    <a:gd name="connsiteX6" fmla="*/ 1617746 w 2034434"/>
                    <a:gd name="connsiteY6" fmla="*/ 933633 h 1104204"/>
                    <a:gd name="connsiteX7" fmla="*/ 2006658 w 2034434"/>
                    <a:gd name="connsiteY7" fmla="*/ 410050 h 1104204"/>
                    <a:gd name="connsiteX8" fmla="*/ 1964926 w 2034434"/>
                    <a:gd name="connsiteY8" fmla="*/ 135783 h 1104204"/>
                    <a:gd name="connsiteX0" fmla="*/ 1964926 w 2034434"/>
                    <a:gd name="connsiteY0" fmla="*/ 135783 h 1104204"/>
                    <a:gd name="connsiteX1" fmla="*/ 1418161 w 2034434"/>
                    <a:gd name="connsiteY1" fmla="*/ 654624 h 1104204"/>
                    <a:gd name="connsiteX2" fmla="*/ 678434 w 2034434"/>
                    <a:gd name="connsiteY2" fmla="*/ 598353 h 1104204"/>
                    <a:gd name="connsiteX3" fmla="*/ 0 w 2034434"/>
                    <a:gd name="connsiteY3" fmla="*/ 0 h 1104204"/>
                    <a:gd name="connsiteX4" fmla="*/ 608096 w 2034434"/>
                    <a:gd name="connsiteY4" fmla="*/ 696387 h 1104204"/>
                    <a:gd name="connsiteX5" fmla="*/ 1153952 w 2034434"/>
                    <a:gd name="connsiteY5" fmla="*/ 1104204 h 1104204"/>
                    <a:gd name="connsiteX6" fmla="*/ 1617746 w 2034434"/>
                    <a:gd name="connsiteY6" fmla="*/ 933633 h 1104204"/>
                    <a:gd name="connsiteX7" fmla="*/ 1978083 w 2034434"/>
                    <a:gd name="connsiteY7" fmla="*/ 438625 h 1104204"/>
                    <a:gd name="connsiteX8" fmla="*/ 1964926 w 2034434"/>
                    <a:gd name="connsiteY8" fmla="*/ 135783 h 1104204"/>
                    <a:gd name="connsiteX0" fmla="*/ 1964926 w 2015384"/>
                    <a:gd name="connsiteY0" fmla="*/ 135783 h 1104204"/>
                    <a:gd name="connsiteX1" fmla="*/ 1418161 w 2015384"/>
                    <a:gd name="connsiteY1" fmla="*/ 654624 h 1104204"/>
                    <a:gd name="connsiteX2" fmla="*/ 678434 w 2015384"/>
                    <a:gd name="connsiteY2" fmla="*/ 598353 h 1104204"/>
                    <a:gd name="connsiteX3" fmla="*/ 0 w 2015384"/>
                    <a:gd name="connsiteY3" fmla="*/ 0 h 1104204"/>
                    <a:gd name="connsiteX4" fmla="*/ 608096 w 2015384"/>
                    <a:gd name="connsiteY4" fmla="*/ 696387 h 1104204"/>
                    <a:gd name="connsiteX5" fmla="*/ 1153952 w 2015384"/>
                    <a:gd name="connsiteY5" fmla="*/ 1104204 h 1104204"/>
                    <a:gd name="connsiteX6" fmla="*/ 1617746 w 2015384"/>
                    <a:gd name="connsiteY6" fmla="*/ 933633 h 1104204"/>
                    <a:gd name="connsiteX7" fmla="*/ 1978083 w 2015384"/>
                    <a:gd name="connsiteY7" fmla="*/ 438625 h 1104204"/>
                    <a:gd name="connsiteX8" fmla="*/ 1964926 w 2015384"/>
                    <a:gd name="connsiteY8" fmla="*/ 135783 h 1104204"/>
                    <a:gd name="connsiteX0" fmla="*/ 1983976 w 2034434"/>
                    <a:gd name="connsiteY0" fmla="*/ 135783 h 1104204"/>
                    <a:gd name="connsiteX1" fmla="*/ 1418161 w 2034434"/>
                    <a:gd name="connsiteY1" fmla="*/ 654624 h 1104204"/>
                    <a:gd name="connsiteX2" fmla="*/ 678434 w 2034434"/>
                    <a:gd name="connsiteY2" fmla="*/ 598353 h 1104204"/>
                    <a:gd name="connsiteX3" fmla="*/ 0 w 2034434"/>
                    <a:gd name="connsiteY3" fmla="*/ 0 h 1104204"/>
                    <a:gd name="connsiteX4" fmla="*/ 608096 w 2034434"/>
                    <a:gd name="connsiteY4" fmla="*/ 696387 h 1104204"/>
                    <a:gd name="connsiteX5" fmla="*/ 1153952 w 2034434"/>
                    <a:gd name="connsiteY5" fmla="*/ 1104204 h 1104204"/>
                    <a:gd name="connsiteX6" fmla="*/ 1617746 w 2034434"/>
                    <a:gd name="connsiteY6" fmla="*/ 933633 h 1104204"/>
                    <a:gd name="connsiteX7" fmla="*/ 1978083 w 2034434"/>
                    <a:gd name="connsiteY7" fmla="*/ 438625 h 1104204"/>
                    <a:gd name="connsiteX8" fmla="*/ 1983976 w 2034434"/>
                    <a:gd name="connsiteY8" fmla="*/ 135783 h 1104204"/>
                    <a:gd name="connsiteX0" fmla="*/ 1983976 w 2034434"/>
                    <a:gd name="connsiteY0" fmla="*/ 135783 h 1104204"/>
                    <a:gd name="connsiteX1" fmla="*/ 1418161 w 2034434"/>
                    <a:gd name="connsiteY1" fmla="*/ 654624 h 1104204"/>
                    <a:gd name="connsiteX2" fmla="*/ 678434 w 2034434"/>
                    <a:gd name="connsiteY2" fmla="*/ 598353 h 1104204"/>
                    <a:gd name="connsiteX3" fmla="*/ 0 w 2034434"/>
                    <a:gd name="connsiteY3" fmla="*/ 0 h 1104204"/>
                    <a:gd name="connsiteX4" fmla="*/ 608096 w 2034434"/>
                    <a:gd name="connsiteY4" fmla="*/ 696387 h 1104204"/>
                    <a:gd name="connsiteX5" fmla="*/ 1153952 w 2034434"/>
                    <a:gd name="connsiteY5" fmla="*/ 1104204 h 1104204"/>
                    <a:gd name="connsiteX6" fmla="*/ 1617746 w 2034434"/>
                    <a:gd name="connsiteY6" fmla="*/ 933633 h 1104204"/>
                    <a:gd name="connsiteX7" fmla="*/ 1978083 w 2034434"/>
                    <a:gd name="connsiteY7" fmla="*/ 410050 h 1104204"/>
                    <a:gd name="connsiteX8" fmla="*/ 1983976 w 2034434"/>
                    <a:gd name="connsiteY8" fmla="*/ 135783 h 1104204"/>
                    <a:gd name="connsiteX0" fmla="*/ 1983976 w 2034434"/>
                    <a:gd name="connsiteY0" fmla="*/ 135783 h 1104204"/>
                    <a:gd name="connsiteX1" fmla="*/ 1418161 w 2034434"/>
                    <a:gd name="connsiteY1" fmla="*/ 654624 h 1104204"/>
                    <a:gd name="connsiteX2" fmla="*/ 678434 w 2034434"/>
                    <a:gd name="connsiteY2" fmla="*/ 598353 h 1104204"/>
                    <a:gd name="connsiteX3" fmla="*/ 0 w 2034434"/>
                    <a:gd name="connsiteY3" fmla="*/ 0 h 1104204"/>
                    <a:gd name="connsiteX4" fmla="*/ 608096 w 2034434"/>
                    <a:gd name="connsiteY4" fmla="*/ 696387 h 1104204"/>
                    <a:gd name="connsiteX5" fmla="*/ 1153952 w 2034434"/>
                    <a:gd name="connsiteY5" fmla="*/ 1104204 h 1104204"/>
                    <a:gd name="connsiteX6" fmla="*/ 1617746 w 2034434"/>
                    <a:gd name="connsiteY6" fmla="*/ 1000308 h 1104204"/>
                    <a:gd name="connsiteX7" fmla="*/ 1978083 w 2034434"/>
                    <a:gd name="connsiteY7" fmla="*/ 410050 h 1104204"/>
                    <a:gd name="connsiteX8" fmla="*/ 1983976 w 2034434"/>
                    <a:gd name="connsiteY8" fmla="*/ 135783 h 1104204"/>
                    <a:gd name="connsiteX0" fmla="*/ 1983976 w 2034434"/>
                    <a:gd name="connsiteY0" fmla="*/ 135783 h 1162119"/>
                    <a:gd name="connsiteX1" fmla="*/ 1418161 w 2034434"/>
                    <a:gd name="connsiteY1" fmla="*/ 654624 h 1162119"/>
                    <a:gd name="connsiteX2" fmla="*/ 678434 w 2034434"/>
                    <a:gd name="connsiteY2" fmla="*/ 598353 h 1162119"/>
                    <a:gd name="connsiteX3" fmla="*/ 0 w 2034434"/>
                    <a:gd name="connsiteY3" fmla="*/ 0 h 1162119"/>
                    <a:gd name="connsiteX4" fmla="*/ 608096 w 2034434"/>
                    <a:gd name="connsiteY4" fmla="*/ 696387 h 1162119"/>
                    <a:gd name="connsiteX5" fmla="*/ 1153952 w 2034434"/>
                    <a:gd name="connsiteY5" fmla="*/ 1104204 h 1162119"/>
                    <a:gd name="connsiteX6" fmla="*/ 1617746 w 2034434"/>
                    <a:gd name="connsiteY6" fmla="*/ 1000308 h 1162119"/>
                    <a:gd name="connsiteX7" fmla="*/ 1978083 w 2034434"/>
                    <a:gd name="connsiteY7" fmla="*/ 410050 h 1162119"/>
                    <a:gd name="connsiteX8" fmla="*/ 1983976 w 2034434"/>
                    <a:gd name="connsiteY8" fmla="*/ 135783 h 1162119"/>
                    <a:gd name="connsiteX0" fmla="*/ 1983976 w 2034434"/>
                    <a:gd name="connsiteY0" fmla="*/ 135783 h 1162119"/>
                    <a:gd name="connsiteX1" fmla="*/ 1418161 w 2034434"/>
                    <a:gd name="connsiteY1" fmla="*/ 654624 h 1162119"/>
                    <a:gd name="connsiteX2" fmla="*/ 678434 w 2034434"/>
                    <a:gd name="connsiteY2" fmla="*/ 598353 h 1162119"/>
                    <a:gd name="connsiteX3" fmla="*/ 0 w 2034434"/>
                    <a:gd name="connsiteY3" fmla="*/ 0 h 1162119"/>
                    <a:gd name="connsiteX4" fmla="*/ 550946 w 2034434"/>
                    <a:gd name="connsiteY4" fmla="*/ 753537 h 1162119"/>
                    <a:gd name="connsiteX5" fmla="*/ 1153952 w 2034434"/>
                    <a:gd name="connsiteY5" fmla="*/ 1104204 h 1162119"/>
                    <a:gd name="connsiteX6" fmla="*/ 1617746 w 2034434"/>
                    <a:gd name="connsiteY6" fmla="*/ 1000308 h 1162119"/>
                    <a:gd name="connsiteX7" fmla="*/ 1978083 w 2034434"/>
                    <a:gd name="connsiteY7" fmla="*/ 410050 h 1162119"/>
                    <a:gd name="connsiteX8" fmla="*/ 1983976 w 2034434"/>
                    <a:gd name="connsiteY8" fmla="*/ 135783 h 1162119"/>
                    <a:gd name="connsiteX0" fmla="*/ 1983976 w 2034434"/>
                    <a:gd name="connsiteY0" fmla="*/ 135783 h 1162119"/>
                    <a:gd name="connsiteX1" fmla="*/ 1418161 w 2034434"/>
                    <a:gd name="connsiteY1" fmla="*/ 654624 h 1162119"/>
                    <a:gd name="connsiteX2" fmla="*/ 678434 w 2034434"/>
                    <a:gd name="connsiteY2" fmla="*/ 598353 h 1162119"/>
                    <a:gd name="connsiteX3" fmla="*/ 0 w 2034434"/>
                    <a:gd name="connsiteY3" fmla="*/ 0 h 1162119"/>
                    <a:gd name="connsiteX4" fmla="*/ 550946 w 2034434"/>
                    <a:gd name="connsiteY4" fmla="*/ 753537 h 1162119"/>
                    <a:gd name="connsiteX5" fmla="*/ 1096802 w 2034434"/>
                    <a:gd name="connsiteY5" fmla="*/ 1161354 h 1162119"/>
                    <a:gd name="connsiteX6" fmla="*/ 1617746 w 2034434"/>
                    <a:gd name="connsiteY6" fmla="*/ 1000308 h 1162119"/>
                    <a:gd name="connsiteX7" fmla="*/ 1978083 w 2034434"/>
                    <a:gd name="connsiteY7" fmla="*/ 410050 h 1162119"/>
                    <a:gd name="connsiteX8" fmla="*/ 1983976 w 2034434"/>
                    <a:gd name="connsiteY8" fmla="*/ 135783 h 1162119"/>
                    <a:gd name="connsiteX0" fmla="*/ 1983976 w 2034434"/>
                    <a:gd name="connsiteY0" fmla="*/ 135783 h 1219269"/>
                    <a:gd name="connsiteX1" fmla="*/ 1418161 w 2034434"/>
                    <a:gd name="connsiteY1" fmla="*/ 654624 h 1219269"/>
                    <a:gd name="connsiteX2" fmla="*/ 678434 w 2034434"/>
                    <a:gd name="connsiteY2" fmla="*/ 598353 h 1219269"/>
                    <a:gd name="connsiteX3" fmla="*/ 0 w 2034434"/>
                    <a:gd name="connsiteY3" fmla="*/ 0 h 1219269"/>
                    <a:gd name="connsiteX4" fmla="*/ 550946 w 2034434"/>
                    <a:gd name="connsiteY4" fmla="*/ 753537 h 1219269"/>
                    <a:gd name="connsiteX5" fmla="*/ 1096802 w 2034434"/>
                    <a:gd name="connsiteY5" fmla="*/ 1161354 h 1219269"/>
                    <a:gd name="connsiteX6" fmla="*/ 1646321 w 2034434"/>
                    <a:gd name="connsiteY6" fmla="*/ 1057458 h 1219269"/>
                    <a:gd name="connsiteX7" fmla="*/ 1978083 w 2034434"/>
                    <a:gd name="connsiteY7" fmla="*/ 410050 h 1219269"/>
                    <a:gd name="connsiteX8" fmla="*/ 1983976 w 2034434"/>
                    <a:gd name="connsiteY8" fmla="*/ 135783 h 1219269"/>
                    <a:gd name="connsiteX0" fmla="*/ 1983976 w 1983976"/>
                    <a:gd name="connsiteY0" fmla="*/ 135783 h 1219269"/>
                    <a:gd name="connsiteX1" fmla="*/ 1418161 w 1983976"/>
                    <a:gd name="connsiteY1" fmla="*/ 654624 h 1219269"/>
                    <a:gd name="connsiteX2" fmla="*/ 678434 w 1983976"/>
                    <a:gd name="connsiteY2" fmla="*/ 598353 h 1219269"/>
                    <a:gd name="connsiteX3" fmla="*/ 0 w 1983976"/>
                    <a:gd name="connsiteY3" fmla="*/ 0 h 1219269"/>
                    <a:gd name="connsiteX4" fmla="*/ 550946 w 1983976"/>
                    <a:gd name="connsiteY4" fmla="*/ 753537 h 1219269"/>
                    <a:gd name="connsiteX5" fmla="*/ 1096802 w 1983976"/>
                    <a:gd name="connsiteY5" fmla="*/ 1161354 h 1219269"/>
                    <a:gd name="connsiteX6" fmla="*/ 1646321 w 1983976"/>
                    <a:gd name="connsiteY6" fmla="*/ 1057458 h 1219269"/>
                    <a:gd name="connsiteX7" fmla="*/ 1978083 w 1983976"/>
                    <a:gd name="connsiteY7" fmla="*/ 410050 h 1219269"/>
                    <a:gd name="connsiteX8" fmla="*/ 1983976 w 1983976"/>
                    <a:gd name="connsiteY8" fmla="*/ 135783 h 1219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83976" h="1219269">
                      <a:moveTo>
                        <a:pt x="1983976" y="135783"/>
                      </a:moveTo>
                      <a:cubicBezTo>
                        <a:pt x="1847369" y="300702"/>
                        <a:pt x="1581366" y="583337"/>
                        <a:pt x="1418161" y="654624"/>
                      </a:cubicBezTo>
                      <a:cubicBezTo>
                        <a:pt x="1094427" y="658871"/>
                        <a:pt x="1042426" y="663118"/>
                        <a:pt x="678434" y="598353"/>
                      </a:cubicBezTo>
                      <a:cubicBezTo>
                        <a:pt x="458040" y="479176"/>
                        <a:pt x="122628" y="142181"/>
                        <a:pt x="0" y="0"/>
                      </a:cubicBezTo>
                      <a:cubicBezTo>
                        <a:pt x="202580" y="324024"/>
                        <a:pt x="338662" y="528896"/>
                        <a:pt x="550946" y="753537"/>
                      </a:cubicBezTo>
                      <a:cubicBezTo>
                        <a:pt x="728984" y="902646"/>
                        <a:pt x="917415" y="1136101"/>
                        <a:pt x="1096802" y="1161354"/>
                      </a:cubicBezTo>
                      <a:cubicBezTo>
                        <a:pt x="1260925" y="1125345"/>
                        <a:pt x="1487948" y="1219269"/>
                        <a:pt x="1646321" y="1057458"/>
                      </a:cubicBezTo>
                      <a:cubicBezTo>
                        <a:pt x="1759864" y="992566"/>
                        <a:pt x="1920220" y="543025"/>
                        <a:pt x="1978083" y="410050"/>
                      </a:cubicBezTo>
                      <a:cubicBezTo>
                        <a:pt x="1978796" y="353275"/>
                        <a:pt x="1977284" y="231546"/>
                        <a:pt x="1983976" y="13578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nvGrpSpPr>
                <p:cNvPr id="696" name="Group 63">
                  <a:extLst>
                    <a:ext uri="{FF2B5EF4-FFF2-40B4-BE49-F238E27FC236}">
                      <a16:creationId xmlns:a16="http://schemas.microsoft.com/office/drawing/2014/main" id="{000C85DF-68BB-4529-9440-93D5D1393FBC}"/>
                    </a:ext>
                  </a:extLst>
                </p:cNvPr>
                <p:cNvGrpSpPr/>
                <p:nvPr/>
              </p:nvGrpSpPr>
              <p:grpSpPr>
                <a:xfrm>
                  <a:off x="2947988" y="-778652"/>
                  <a:ext cx="783103" cy="635507"/>
                  <a:chOff x="2947988" y="-778652"/>
                  <a:chExt cx="783103" cy="635507"/>
                </a:xfrm>
                <a:grpFill/>
              </p:grpSpPr>
              <p:sp>
                <p:nvSpPr>
                  <p:cNvPr id="720" name="Freeform 331">
                    <a:extLst>
                      <a:ext uri="{FF2B5EF4-FFF2-40B4-BE49-F238E27FC236}">
                        <a16:creationId xmlns:a16="http://schemas.microsoft.com/office/drawing/2014/main" id="{CF907B86-1455-4912-8DD0-9A1B7DAF4BF0}"/>
                      </a:ext>
                    </a:extLst>
                  </p:cNvPr>
                  <p:cNvSpPr/>
                  <p:nvPr/>
                </p:nvSpPr>
                <p:spPr>
                  <a:xfrm rot="21274844">
                    <a:off x="3222652" y="-778652"/>
                    <a:ext cx="499701" cy="376700"/>
                  </a:xfrm>
                  <a:custGeom>
                    <a:avLst/>
                    <a:gdLst>
                      <a:gd name="connsiteX0" fmla="*/ 1041009 w 1041009"/>
                      <a:gd name="connsiteY0" fmla="*/ 281354 h 351693"/>
                      <a:gd name="connsiteX1" fmla="*/ 618978 w 1041009"/>
                      <a:gd name="connsiteY1" fmla="*/ 42203 h 351693"/>
                      <a:gd name="connsiteX2" fmla="*/ 0 w 1041009"/>
                      <a:gd name="connsiteY2" fmla="*/ 0 h 351693"/>
                      <a:gd name="connsiteX3" fmla="*/ 661181 w 1041009"/>
                      <a:gd name="connsiteY3" fmla="*/ 154745 h 351693"/>
                      <a:gd name="connsiteX4" fmla="*/ 1012874 w 1041009"/>
                      <a:gd name="connsiteY4" fmla="*/ 351693 h 351693"/>
                      <a:gd name="connsiteX5" fmla="*/ 1041009 w 1041009"/>
                      <a:gd name="connsiteY5" fmla="*/ 281354 h 351693"/>
                      <a:gd name="connsiteX0" fmla="*/ 831459 w 831459"/>
                      <a:gd name="connsiteY0" fmla="*/ 239151 h 309490"/>
                      <a:gd name="connsiteX1" fmla="*/ 409428 w 831459"/>
                      <a:gd name="connsiteY1" fmla="*/ 0 h 309490"/>
                      <a:gd name="connsiteX2" fmla="*/ 0 w 831459"/>
                      <a:gd name="connsiteY2" fmla="*/ 33997 h 309490"/>
                      <a:gd name="connsiteX3" fmla="*/ 451631 w 831459"/>
                      <a:gd name="connsiteY3" fmla="*/ 112542 h 309490"/>
                      <a:gd name="connsiteX4" fmla="*/ 803324 w 831459"/>
                      <a:gd name="connsiteY4" fmla="*/ 309490 h 309490"/>
                      <a:gd name="connsiteX5" fmla="*/ 831459 w 831459"/>
                      <a:gd name="connsiteY5" fmla="*/ 239151 h 309490"/>
                      <a:gd name="connsiteX0" fmla="*/ 831459 w 831459"/>
                      <a:gd name="connsiteY0" fmla="*/ 239151 h 309490"/>
                      <a:gd name="connsiteX1" fmla="*/ 409428 w 831459"/>
                      <a:gd name="connsiteY1" fmla="*/ 0 h 309490"/>
                      <a:gd name="connsiteX2" fmla="*/ 0 w 831459"/>
                      <a:gd name="connsiteY2" fmla="*/ 33997 h 309490"/>
                      <a:gd name="connsiteX3" fmla="*/ 451631 w 831459"/>
                      <a:gd name="connsiteY3" fmla="*/ 112542 h 309490"/>
                      <a:gd name="connsiteX4" fmla="*/ 803324 w 831459"/>
                      <a:gd name="connsiteY4" fmla="*/ 309490 h 309490"/>
                      <a:gd name="connsiteX5" fmla="*/ 831459 w 831459"/>
                      <a:gd name="connsiteY5" fmla="*/ 239151 h 309490"/>
                      <a:gd name="connsiteX0" fmla="*/ 776752 w 803324"/>
                      <a:gd name="connsiteY0" fmla="*/ 188351 h 309490"/>
                      <a:gd name="connsiteX1" fmla="*/ 409428 w 803324"/>
                      <a:gd name="connsiteY1" fmla="*/ 0 h 309490"/>
                      <a:gd name="connsiteX2" fmla="*/ 0 w 803324"/>
                      <a:gd name="connsiteY2" fmla="*/ 33997 h 309490"/>
                      <a:gd name="connsiteX3" fmla="*/ 451631 w 803324"/>
                      <a:gd name="connsiteY3" fmla="*/ 112542 h 309490"/>
                      <a:gd name="connsiteX4" fmla="*/ 803324 w 803324"/>
                      <a:gd name="connsiteY4" fmla="*/ 309490 h 309490"/>
                      <a:gd name="connsiteX5" fmla="*/ 776752 w 803324"/>
                      <a:gd name="connsiteY5" fmla="*/ 188351 h 309490"/>
                      <a:gd name="connsiteX0" fmla="*/ 776752 w 832502"/>
                      <a:gd name="connsiteY0" fmla="*/ 188351 h 309490"/>
                      <a:gd name="connsiteX1" fmla="*/ 409428 w 832502"/>
                      <a:gd name="connsiteY1" fmla="*/ 0 h 309490"/>
                      <a:gd name="connsiteX2" fmla="*/ 0 w 832502"/>
                      <a:gd name="connsiteY2" fmla="*/ 33997 h 309490"/>
                      <a:gd name="connsiteX3" fmla="*/ 451631 w 832502"/>
                      <a:gd name="connsiteY3" fmla="*/ 112542 h 309490"/>
                      <a:gd name="connsiteX4" fmla="*/ 803324 w 832502"/>
                      <a:gd name="connsiteY4" fmla="*/ 309490 h 309490"/>
                      <a:gd name="connsiteX5" fmla="*/ 776752 w 832502"/>
                      <a:gd name="connsiteY5" fmla="*/ 188351 h 309490"/>
                      <a:gd name="connsiteX0" fmla="*/ 776752 w 832502"/>
                      <a:gd name="connsiteY0" fmla="*/ 188351 h 309490"/>
                      <a:gd name="connsiteX1" fmla="*/ 409428 w 832502"/>
                      <a:gd name="connsiteY1" fmla="*/ 0 h 309490"/>
                      <a:gd name="connsiteX2" fmla="*/ 0 w 832502"/>
                      <a:gd name="connsiteY2" fmla="*/ 33997 h 309490"/>
                      <a:gd name="connsiteX3" fmla="*/ 451631 w 832502"/>
                      <a:gd name="connsiteY3" fmla="*/ 112542 h 309490"/>
                      <a:gd name="connsiteX4" fmla="*/ 803324 w 832502"/>
                      <a:gd name="connsiteY4" fmla="*/ 309490 h 309490"/>
                      <a:gd name="connsiteX5" fmla="*/ 776752 w 832502"/>
                      <a:gd name="connsiteY5" fmla="*/ 188351 h 309490"/>
                      <a:gd name="connsiteX0" fmla="*/ 776752 w 832502"/>
                      <a:gd name="connsiteY0" fmla="*/ 188351 h 332936"/>
                      <a:gd name="connsiteX1" fmla="*/ 409428 w 832502"/>
                      <a:gd name="connsiteY1" fmla="*/ 0 h 332936"/>
                      <a:gd name="connsiteX2" fmla="*/ 0 w 832502"/>
                      <a:gd name="connsiteY2" fmla="*/ 33997 h 332936"/>
                      <a:gd name="connsiteX3" fmla="*/ 451631 w 832502"/>
                      <a:gd name="connsiteY3" fmla="*/ 112542 h 332936"/>
                      <a:gd name="connsiteX4" fmla="*/ 795508 w 832502"/>
                      <a:gd name="connsiteY4" fmla="*/ 332936 h 332936"/>
                      <a:gd name="connsiteX5" fmla="*/ 776752 w 832502"/>
                      <a:gd name="connsiteY5" fmla="*/ 188351 h 332936"/>
                      <a:gd name="connsiteX0" fmla="*/ 776752 w 832502"/>
                      <a:gd name="connsiteY0" fmla="*/ 188351 h 332936"/>
                      <a:gd name="connsiteX1" fmla="*/ 409428 w 832502"/>
                      <a:gd name="connsiteY1" fmla="*/ 0 h 332936"/>
                      <a:gd name="connsiteX2" fmla="*/ 0 w 832502"/>
                      <a:gd name="connsiteY2" fmla="*/ 33997 h 332936"/>
                      <a:gd name="connsiteX3" fmla="*/ 451631 w 832502"/>
                      <a:gd name="connsiteY3" fmla="*/ 112542 h 332936"/>
                      <a:gd name="connsiteX4" fmla="*/ 795508 w 832502"/>
                      <a:gd name="connsiteY4" fmla="*/ 332936 h 332936"/>
                      <a:gd name="connsiteX5" fmla="*/ 776752 w 832502"/>
                      <a:gd name="connsiteY5" fmla="*/ 188351 h 332936"/>
                      <a:gd name="connsiteX0" fmla="*/ 776752 w 832502"/>
                      <a:gd name="connsiteY0" fmla="*/ 188351 h 332936"/>
                      <a:gd name="connsiteX1" fmla="*/ 409428 w 832502"/>
                      <a:gd name="connsiteY1" fmla="*/ 0 h 332936"/>
                      <a:gd name="connsiteX2" fmla="*/ 0 w 832502"/>
                      <a:gd name="connsiteY2" fmla="*/ 33997 h 332936"/>
                      <a:gd name="connsiteX3" fmla="*/ 451631 w 832502"/>
                      <a:gd name="connsiteY3" fmla="*/ 112542 h 332936"/>
                      <a:gd name="connsiteX4" fmla="*/ 795508 w 832502"/>
                      <a:gd name="connsiteY4" fmla="*/ 332936 h 332936"/>
                      <a:gd name="connsiteX5" fmla="*/ 776752 w 832502"/>
                      <a:gd name="connsiteY5" fmla="*/ 188351 h 332936"/>
                      <a:gd name="connsiteX0" fmla="*/ 817685 w 873435"/>
                      <a:gd name="connsiteY0" fmla="*/ 188351 h 332936"/>
                      <a:gd name="connsiteX1" fmla="*/ 450361 w 873435"/>
                      <a:gd name="connsiteY1" fmla="*/ 0 h 332936"/>
                      <a:gd name="connsiteX2" fmla="*/ 40933 w 873435"/>
                      <a:gd name="connsiteY2" fmla="*/ 33997 h 332936"/>
                      <a:gd name="connsiteX3" fmla="*/ 492564 w 873435"/>
                      <a:gd name="connsiteY3" fmla="*/ 112542 h 332936"/>
                      <a:gd name="connsiteX4" fmla="*/ 836441 w 873435"/>
                      <a:gd name="connsiteY4" fmla="*/ 332936 h 332936"/>
                      <a:gd name="connsiteX5" fmla="*/ 817685 w 873435"/>
                      <a:gd name="connsiteY5" fmla="*/ 188351 h 332936"/>
                      <a:gd name="connsiteX0" fmla="*/ 817685 w 873435"/>
                      <a:gd name="connsiteY0" fmla="*/ 196948 h 341533"/>
                      <a:gd name="connsiteX1" fmla="*/ 450361 w 873435"/>
                      <a:gd name="connsiteY1" fmla="*/ 8597 h 341533"/>
                      <a:gd name="connsiteX2" fmla="*/ 40933 w 873435"/>
                      <a:gd name="connsiteY2" fmla="*/ 42594 h 341533"/>
                      <a:gd name="connsiteX3" fmla="*/ 492564 w 873435"/>
                      <a:gd name="connsiteY3" fmla="*/ 121139 h 341533"/>
                      <a:gd name="connsiteX4" fmla="*/ 836441 w 873435"/>
                      <a:gd name="connsiteY4" fmla="*/ 341533 h 341533"/>
                      <a:gd name="connsiteX5" fmla="*/ 817685 w 873435"/>
                      <a:gd name="connsiteY5" fmla="*/ 196948 h 341533"/>
                      <a:gd name="connsiteX0" fmla="*/ 813777 w 869527"/>
                      <a:gd name="connsiteY0" fmla="*/ 188351 h 332936"/>
                      <a:gd name="connsiteX1" fmla="*/ 446453 w 869527"/>
                      <a:gd name="connsiteY1" fmla="*/ 0 h 332936"/>
                      <a:gd name="connsiteX2" fmla="*/ 40933 w 869527"/>
                      <a:gd name="connsiteY2" fmla="*/ 53536 h 332936"/>
                      <a:gd name="connsiteX3" fmla="*/ 488656 w 869527"/>
                      <a:gd name="connsiteY3" fmla="*/ 112542 h 332936"/>
                      <a:gd name="connsiteX4" fmla="*/ 832533 w 869527"/>
                      <a:gd name="connsiteY4" fmla="*/ 332936 h 332936"/>
                      <a:gd name="connsiteX5" fmla="*/ 813777 w 869527"/>
                      <a:gd name="connsiteY5" fmla="*/ 188351 h 332936"/>
                      <a:gd name="connsiteX0" fmla="*/ 813777 w 869527"/>
                      <a:gd name="connsiteY0" fmla="*/ 192650 h 337235"/>
                      <a:gd name="connsiteX1" fmla="*/ 446453 w 869527"/>
                      <a:gd name="connsiteY1" fmla="*/ 4299 h 337235"/>
                      <a:gd name="connsiteX2" fmla="*/ 40933 w 869527"/>
                      <a:gd name="connsiteY2" fmla="*/ 57835 h 337235"/>
                      <a:gd name="connsiteX3" fmla="*/ 488656 w 869527"/>
                      <a:gd name="connsiteY3" fmla="*/ 116841 h 337235"/>
                      <a:gd name="connsiteX4" fmla="*/ 832533 w 869527"/>
                      <a:gd name="connsiteY4" fmla="*/ 337235 h 337235"/>
                      <a:gd name="connsiteX5" fmla="*/ 813777 w 869527"/>
                      <a:gd name="connsiteY5" fmla="*/ 192650 h 337235"/>
                      <a:gd name="connsiteX0" fmla="*/ 813777 w 869527"/>
                      <a:gd name="connsiteY0" fmla="*/ 192650 h 337235"/>
                      <a:gd name="connsiteX1" fmla="*/ 446453 w 869527"/>
                      <a:gd name="connsiteY1" fmla="*/ 4299 h 337235"/>
                      <a:gd name="connsiteX2" fmla="*/ 40933 w 869527"/>
                      <a:gd name="connsiteY2" fmla="*/ 57835 h 337235"/>
                      <a:gd name="connsiteX3" fmla="*/ 488656 w 869527"/>
                      <a:gd name="connsiteY3" fmla="*/ 116841 h 337235"/>
                      <a:gd name="connsiteX4" fmla="*/ 832533 w 869527"/>
                      <a:gd name="connsiteY4" fmla="*/ 337235 h 337235"/>
                      <a:gd name="connsiteX5" fmla="*/ 813777 w 869527"/>
                      <a:gd name="connsiteY5" fmla="*/ 192650 h 337235"/>
                      <a:gd name="connsiteX0" fmla="*/ 813777 w 869527"/>
                      <a:gd name="connsiteY0" fmla="*/ 192650 h 337235"/>
                      <a:gd name="connsiteX1" fmla="*/ 446453 w 869527"/>
                      <a:gd name="connsiteY1" fmla="*/ 4299 h 337235"/>
                      <a:gd name="connsiteX2" fmla="*/ 40933 w 869527"/>
                      <a:gd name="connsiteY2" fmla="*/ 57835 h 337235"/>
                      <a:gd name="connsiteX3" fmla="*/ 445672 w 869527"/>
                      <a:gd name="connsiteY3" fmla="*/ 89487 h 337235"/>
                      <a:gd name="connsiteX4" fmla="*/ 832533 w 869527"/>
                      <a:gd name="connsiteY4" fmla="*/ 337235 h 337235"/>
                      <a:gd name="connsiteX5" fmla="*/ 813777 w 869527"/>
                      <a:gd name="connsiteY5" fmla="*/ 192650 h 337235"/>
                      <a:gd name="connsiteX0" fmla="*/ 813777 w 869527"/>
                      <a:gd name="connsiteY0" fmla="*/ 193039 h 337624"/>
                      <a:gd name="connsiteX1" fmla="*/ 446453 w 869527"/>
                      <a:gd name="connsiteY1" fmla="*/ 4688 h 337624"/>
                      <a:gd name="connsiteX2" fmla="*/ 40933 w 869527"/>
                      <a:gd name="connsiteY2" fmla="*/ 58224 h 337624"/>
                      <a:gd name="connsiteX3" fmla="*/ 445672 w 869527"/>
                      <a:gd name="connsiteY3" fmla="*/ 89876 h 337624"/>
                      <a:gd name="connsiteX4" fmla="*/ 832533 w 869527"/>
                      <a:gd name="connsiteY4" fmla="*/ 337624 h 337624"/>
                      <a:gd name="connsiteX5" fmla="*/ 813777 w 869527"/>
                      <a:gd name="connsiteY5" fmla="*/ 193039 h 337624"/>
                      <a:gd name="connsiteX0" fmla="*/ 772844 w 828594"/>
                      <a:gd name="connsiteY0" fmla="*/ 193039 h 337624"/>
                      <a:gd name="connsiteX1" fmla="*/ 405520 w 828594"/>
                      <a:gd name="connsiteY1" fmla="*/ 4688 h 337624"/>
                      <a:gd name="connsiteX2" fmla="*/ 0 w 828594"/>
                      <a:gd name="connsiteY2" fmla="*/ 58224 h 337624"/>
                      <a:gd name="connsiteX3" fmla="*/ 404739 w 828594"/>
                      <a:gd name="connsiteY3" fmla="*/ 89876 h 337624"/>
                      <a:gd name="connsiteX4" fmla="*/ 791600 w 828594"/>
                      <a:gd name="connsiteY4" fmla="*/ 337624 h 337624"/>
                      <a:gd name="connsiteX5" fmla="*/ 772844 w 828594"/>
                      <a:gd name="connsiteY5" fmla="*/ 193039 h 337624"/>
                      <a:gd name="connsiteX0" fmla="*/ 772844 w 828594"/>
                      <a:gd name="connsiteY0" fmla="*/ 193039 h 337624"/>
                      <a:gd name="connsiteX1" fmla="*/ 405520 w 828594"/>
                      <a:gd name="connsiteY1" fmla="*/ 4688 h 337624"/>
                      <a:gd name="connsiteX2" fmla="*/ 0 w 828594"/>
                      <a:gd name="connsiteY2" fmla="*/ 58224 h 337624"/>
                      <a:gd name="connsiteX3" fmla="*/ 404739 w 828594"/>
                      <a:gd name="connsiteY3" fmla="*/ 89876 h 337624"/>
                      <a:gd name="connsiteX4" fmla="*/ 791600 w 828594"/>
                      <a:gd name="connsiteY4" fmla="*/ 337624 h 337624"/>
                      <a:gd name="connsiteX5" fmla="*/ 772844 w 828594"/>
                      <a:gd name="connsiteY5" fmla="*/ 193039 h 337624"/>
                      <a:gd name="connsiteX0" fmla="*/ 772844 w 828594"/>
                      <a:gd name="connsiteY0" fmla="*/ 193039 h 337624"/>
                      <a:gd name="connsiteX1" fmla="*/ 405520 w 828594"/>
                      <a:gd name="connsiteY1" fmla="*/ 4688 h 337624"/>
                      <a:gd name="connsiteX2" fmla="*/ 0 w 828594"/>
                      <a:gd name="connsiteY2" fmla="*/ 58224 h 337624"/>
                      <a:gd name="connsiteX3" fmla="*/ 404739 w 828594"/>
                      <a:gd name="connsiteY3" fmla="*/ 89876 h 337624"/>
                      <a:gd name="connsiteX4" fmla="*/ 791600 w 828594"/>
                      <a:gd name="connsiteY4" fmla="*/ 337624 h 337624"/>
                      <a:gd name="connsiteX5" fmla="*/ 772844 w 828594"/>
                      <a:gd name="connsiteY5" fmla="*/ 193039 h 337624"/>
                      <a:gd name="connsiteX0" fmla="*/ 772844 w 828594"/>
                      <a:gd name="connsiteY0" fmla="*/ 208281 h 352866"/>
                      <a:gd name="connsiteX1" fmla="*/ 405520 w 828594"/>
                      <a:gd name="connsiteY1" fmla="*/ 4299 h 352866"/>
                      <a:gd name="connsiteX2" fmla="*/ 0 w 828594"/>
                      <a:gd name="connsiteY2" fmla="*/ 73466 h 352866"/>
                      <a:gd name="connsiteX3" fmla="*/ 404739 w 828594"/>
                      <a:gd name="connsiteY3" fmla="*/ 105118 h 352866"/>
                      <a:gd name="connsiteX4" fmla="*/ 791600 w 828594"/>
                      <a:gd name="connsiteY4" fmla="*/ 352866 h 352866"/>
                      <a:gd name="connsiteX5" fmla="*/ 772844 w 828594"/>
                      <a:gd name="connsiteY5" fmla="*/ 208281 h 352866"/>
                      <a:gd name="connsiteX0" fmla="*/ 772844 w 828594"/>
                      <a:gd name="connsiteY0" fmla="*/ 208281 h 352866"/>
                      <a:gd name="connsiteX1" fmla="*/ 405520 w 828594"/>
                      <a:gd name="connsiteY1" fmla="*/ 4299 h 352866"/>
                      <a:gd name="connsiteX2" fmla="*/ 0 w 828594"/>
                      <a:gd name="connsiteY2" fmla="*/ 73466 h 352866"/>
                      <a:gd name="connsiteX3" fmla="*/ 404739 w 828594"/>
                      <a:gd name="connsiteY3" fmla="*/ 105118 h 352866"/>
                      <a:gd name="connsiteX4" fmla="*/ 791600 w 828594"/>
                      <a:gd name="connsiteY4" fmla="*/ 352866 h 352866"/>
                      <a:gd name="connsiteX5" fmla="*/ 772844 w 828594"/>
                      <a:gd name="connsiteY5" fmla="*/ 208281 h 352866"/>
                      <a:gd name="connsiteX0" fmla="*/ 772844 w 828594"/>
                      <a:gd name="connsiteY0" fmla="*/ 220004 h 364589"/>
                      <a:gd name="connsiteX1" fmla="*/ 405520 w 828594"/>
                      <a:gd name="connsiteY1" fmla="*/ 16022 h 364589"/>
                      <a:gd name="connsiteX2" fmla="*/ 0 w 828594"/>
                      <a:gd name="connsiteY2" fmla="*/ 85189 h 364589"/>
                      <a:gd name="connsiteX3" fmla="*/ 404739 w 828594"/>
                      <a:gd name="connsiteY3" fmla="*/ 116841 h 364589"/>
                      <a:gd name="connsiteX4" fmla="*/ 791600 w 828594"/>
                      <a:gd name="connsiteY4" fmla="*/ 364589 h 364589"/>
                      <a:gd name="connsiteX5" fmla="*/ 772844 w 828594"/>
                      <a:gd name="connsiteY5" fmla="*/ 220004 h 364589"/>
                      <a:gd name="connsiteX0" fmla="*/ 772844 w 828594"/>
                      <a:gd name="connsiteY0" fmla="*/ 220004 h 364589"/>
                      <a:gd name="connsiteX1" fmla="*/ 405520 w 828594"/>
                      <a:gd name="connsiteY1" fmla="*/ 16022 h 364589"/>
                      <a:gd name="connsiteX2" fmla="*/ 0 w 828594"/>
                      <a:gd name="connsiteY2" fmla="*/ 85189 h 364589"/>
                      <a:gd name="connsiteX3" fmla="*/ 381293 w 828594"/>
                      <a:gd name="connsiteY3" fmla="*/ 85579 h 364589"/>
                      <a:gd name="connsiteX4" fmla="*/ 791600 w 828594"/>
                      <a:gd name="connsiteY4" fmla="*/ 364589 h 364589"/>
                      <a:gd name="connsiteX5" fmla="*/ 772844 w 828594"/>
                      <a:gd name="connsiteY5" fmla="*/ 220004 h 364589"/>
                      <a:gd name="connsiteX0" fmla="*/ 772844 w 828594"/>
                      <a:gd name="connsiteY0" fmla="*/ 220004 h 364589"/>
                      <a:gd name="connsiteX1" fmla="*/ 405520 w 828594"/>
                      <a:gd name="connsiteY1" fmla="*/ 16022 h 364589"/>
                      <a:gd name="connsiteX2" fmla="*/ 0 w 828594"/>
                      <a:gd name="connsiteY2" fmla="*/ 85189 h 364589"/>
                      <a:gd name="connsiteX3" fmla="*/ 381293 w 828594"/>
                      <a:gd name="connsiteY3" fmla="*/ 101210 h 364589"/>
                      <a:gd name="connsiteX4" fmla="*/ 791600 w 828594"/>
                      <a:gd name="connsiteY4" fmla="*/ 364589 h 364589"/>
                      <a:gd name="connsiteX5" fmla="*/ 772844 w 828594"/>
                      <a:gd name="connsiteY5" fmla="*/ 220004 h 364589"/>
                      <a:gd name="connsiteX0" fmla="*/ 772844 w 828594"/>
                      <a:gd name="connsiteY0" fmla="*/ 220004 h 364589"/>
                      <a:gd name="connsiteX1" fmla="*/ 405520 w 828594"/>
                      <a:gd name="connsiteY1" fmla="*/ 16022 h 364589"/>
                      <a:gd name="connsiteX2" fmla="*/ 0 w 828594"/>
                      <a:gd name="connsiteY2" fmla="*/ 85189 h 364589"/>
                      <a:gd name="connsiteX3" fmla="*/ 381293 w 828594"/>
                      <a:gd name="connsiteY3" fmla="*/ 101210 h 364589"/>
                      <a:gd name="connsiteX4" fmla="*/ 791600 w 828594"/>
                      <a:gd name="connsiteY4" fmla="*/ 364589 h 364589"/>
                      <a:gd name="connsiteX5" fmla="*/ 772844 w 828594"/>
                      <a:gd name="connsiteY5" fmla="*/ 220004 h 364589"/>
                      <a:gd name="connsiteX0" fmla="*/ 772844 w 828594"/>
                      <a:gd name="connsiteY0" fmla="*/ 220004 h 364589"/>
                      <a:gd name="connsiteX1" fmla="*/ 405520 w 828594"/>
                      <a:gd name="connsiteY1" fmla="*/ 16022 h 364589"/>
                      <a:gd name="connsiteX2" fmla="*/ 0 w 828594"/>
                      <a:gd name="connsiteY2" fmla="*/ 85189 h 364589"/>
                      <a:gd name="connsiteX3" fmla="*/ 381293 w 828594"/>
                      <a:gd name="connsiteY3" fmla="*/ 101210 h 364589"/>
                      <a:gd name="connsiteX4" fmla="*/ 791600 w 828594"/>
                      <a:gd name="connsiteY4" fmla="*/ 364589 h 364589"/>
                      <a:gd name="connsiteX5" fmla="*/ 772844 w 828594"/>
                      <a:gd name="connsiteY5" fmla="*/ 220004 h 364589"/>
                      <a:gd name="connsiteX0" fmla="*/ 733767 w 789517"/>
                      <a:gd name="connsiteY0" fmla="*/ 232115 h 376700"/>
                      <a:gd name="connsiteX1" fmla="*/ 366443 w 789517"/>
                      <a:gd name="connsiteY1" fmla="*/ 28133 h 376700"/>
                      <a:gd name="connsiteX2" fmla="*/ 0 w 789517"/>
                      <a:gd name="connsiteY2" fmla="*/ 58224 h 376700"/>
                      <a:gd name="connsiteX3" fmla="*/ 342216 w 789517"/>
                      <a:gd name="connsiteY3" fmla="*/ 113321 h 376700"/>
                      <a:gd name="connsiteX4" fmla="*/ 752523 w 789517"/>
                      <a:gd name="connsiteY4" fmla="*/ 376700 h 376700"/>
                      <a:gd name="connsiteX5" fmla="*/ 733767 w 789517"/>
                      <a:gd name="connsiteY5" fmla="*/ 232115 h 37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9517" h="376700">
                        <a:moveTo>
                          <a:pt x="733767" y="232115"/>
                        </a:moveTo>
                        <a:cubicBezTo>
                          <a:pt x="557921" y="93782"/>
                          <a:pt x="514936" y="64864"/>
                          <a:pt x="366443" y="28133"/>
                        </a:cubicBezTo>
                        <a:cubicBezTo>
                          <a:pt x="206521" y="12111"/>
                          <a:pt x="105214" y="0"/>
                          <a:pt x="0" y="58224"/>
                        </a:cubicBezTo>
                        <a:cubicBezTo>
                          <a:pt x="68483" y="45328"/>
                          <a:pt x="191672" y="87139"/>
                          <a:pt x="342216" y="113321"/>
                        </a:cubicBezTo>
                        <a:cubicBezTo>
                          <a:pt x="507642" y="163340"/>
                          <a:pt x="626173" y="232896"/>
                          <a:pt x="752523" y="376700"/>
                        </a:cubicBezTo>
                        <a:cubicBezTo>
                          <a:pt x="767112" y="363674"/>
                          <a:pt x="789517" y="303756"/>
                          <a:pt x="733767" y="23211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721" name="Freeform 147">
                    <a:extLst>
                      <a:ext uri="{FF2B5EF4-FFF2-40B4-BE49-F238E27FC236}">
                        <a16:creationId xmlns:a16="http://schemas.microsoft.com/office/drawing/2014/main" id="{249BA492-4FD9-45A8-A27E-ED2D08B4F4B7}"/>
                      </a:ext>
                    </a:extLst>
                  </p:cNvPr>
                  <p:cNvSpPr/>
                  <p:nvPr/>
                </p:nvSpPr>
                <p:spPr>
                  <a:xfrm rot="12111666" flipV="1">
                    <a:off x="2994243" y="-502078"/>
                    <a:ext cx="602886" cy="257438"/>
                  </a:xfrm>
                  <a:custGeom>
                    <a:avLst/>
                    <a:gdLst>
                      <a:gd name="connsiteX0" fmla="*/ 22085 w 574535"/>
                      <a:gd name="connsiteY0" fmla="*/ 104775 h 229223"/>
                      <a:gd name="connsiteX1" fmla="*/ 193535 w 574535"/>
                      <a:gd name="connsiteY1" fmla="*/ 0 h 229223"/>
                      <a:gd name="connsiteX2" fmla="*/ 545960 w 574535"/>
                      <a:gd name="connsiteY2" fmla="*/ 76200 h 229223"/>
                      <a:gd name="connsiteX3" fmla="*/ 574535 w 574535"/>
                      <a:gd name="connsiteY3" fmla="*/ 190500 h 229223"/>
                      <a:gd name="connsiteX4" fmla="*/ 374510 w 574535"/>
                      <a:gd name="connsiteY4" fmla="*/ 228600 h 229223"/>
                      <a:gd name="connsiteX5" fmla="*/ 22085 w 574535"/>
                      <a:gd name="connsiteY5" fmla="*/ 104775 h 229223"/>
                      <a:gd name="connsiteX0" fmla="*/ 0 w 552450"/>
                      <a:gd name="connsiteY0" fmla="*/ 104775 h 229223"/>
                      <a:gd name="connsiteX1" fmla="*/ 171450 w 552450"/>
                      <a:gd name="connsiteY1" fmla="*/ 0 h 229223"/>
                      <a:gd name="connsiteX2" fmla="*/ 523875 w 552450"/>
                      <a:gd name="connsiteY2" fmla="*/ 76200 h 229223"/>
                      <a:gd name="connsiteX3" fmla="*/ 552450 w 552450"/>
                      <a:gd name="connsiteY3" fmla="*/ 190500 h 229223"/>
                      <a:gd name="connsiteX4" fmla="*/ 387699 w 552450"/>
                      <a:gd name="connsiteY4" fmla="*/ 214688 h 229223"/>
                      <a:gd name="connsiteX5" fmla="*/ 0 w 552450"/>
                      <a:gd name="connsiteY5" fmla="*/ 104775 h 229223"/>
                      <a:gd name="connsiteX0" fmla="*/ 0 w 552450"/>
                      <a:gd name="connsiteY0" fmla="*/ 104775 h 229223"/>
                      <a:gd name="connsiteX1" fmla="*/ 171450 w 552450"/>
                      <a:gd name="connsiteY1" fmla="*/ 0 h 229223"/>
                      <a:gd name="connsiteX2" fmla="*/ 523875 w 552450"/>
                      <a:gd name="connsiteY2" fmla="*/ 76200 h 229223"/>
                      <a:gd name="connsiteX3" fmla="*/ 552450 w 552450"/>
                      <a:gd name="connsiteY3" fmla="*/ 190500 h 229223"/>
                      <a:gd name="connsiteX4" fmla="*/ 387699 w 552450"/>
                      <a:gd name="connsiteY4" fmla="*/ 214688 h 229223"/>
                      <a:gd name="connsiteX5" fmla="*/ 0 w 552450"/>
                      <a:gd name="connsiteY5" fmla="*/ 104775 h 229223"/>
                      <a:gd name="connsiteX0" fmla="*/ 0 w 533951"/>
                      <a:gd name="connsiteY0" fmla="*/ 137518 h 229223"/>
                      <a:gd name="connsiteX1" fmla="*/ 152951 w 533951"/>
                      <a:gd name="connsiteY1" fmla="*/ 0 h 229223"/>
                      <a:gd name="connsiteX2" fmla="*/ 505376 w 533951"/>
                      <a:gd name="connsiteY2" fmla="*/ 76200 h 229223"/>
                      <a:gd name="connsiteX3" fmla="*/ 533951 w 533951"/>
                      <a:gd name="connsiteY3" fmla="*/ 190500 h 229223"/>
                      <a:gd name="connsiteX4" fmla="*/ 369200 w 533951"/>
                      <a:gd name="connsiteY4" fmla="*/ 214688 h 229223"/>
                      <a:gd name="connsiteX5" fmla="*/ 0 w 533951"/>
                      <a:gd name="connsiteY5" fmla="*/ 137518 h 229223"/>
                      <a:gd name="connsiteX0" fmla="*/ 1525 w 535476"/>
                      <a:gd name="connsiteY0" fmla="*/ 137518 h 229223"/>
                      <a:gd name="connsiteX1" fmla="*/ 154476 w 535476"/>
                      <a:gd name="connsiteY1" fmla="*/ 0 h 229223"/>
                      <a:gd name="connsiteX2" fmla="*/ 506901 w 535476"/>
                      <a:gd name="connsiteY2" fmla="*/ 76200 h 229223"/>
                      <a:gd name="connsiteX3" fmla="*/ 535476 w 535476"/>
                      <a:gd name="connsiteY3" fmla="*/ 190500 h 229223"/>
                      <a:gd name="connsiteX4" fmla="*/ 359436 w 535476"/>
                      <a:gd name="connsiteY4" fmla="*/ 219140 h 229223"/>
                      <a:gd name="connsiteX5" fmla="*/ 1525 w 535476"/>
                      <a:gd name="connsiteY5" fmla="*/ 137518 h 229223"/>
                      <a:gd name="connsiteX0" fmla="*/ 0 w 533951"/>
                      <a:gd name="connsiteY0" fmla="*/ 137518 h 229223"/>
                      <a:gd name="connsiteX1" fmla="*/ 152951 w 533951"/>
                      <a:gd name="connsiteY1" fmla="*/ 0 h 229223"/>
                      <a:gd name="connsiteX2" fmla="*/ 505376 w 533951"/>
                      <a:gd name="connsiteY2" fmla="*/ 76200 h 229223"/>
                      <a:gd name="connsiteX3" fmla="*/ 533951 w 533951"/>
                      <a:gd name="connsiteY3" fmla="*/ 190500 h 229223"/>
                      <a:gd name="connsiteX4" fmla="*/ 357911 w 533951"/>
                      <a:gd name="connsiteY4" fmla="*/ 219140 h 229223"/>
                      <a:gd name="connsiteX5" fmla="*/ 0 w 533951"/>
                      <a:gd name="connsiteY5" fmla="*/ 137518 h 229223"/>
                      <a:gd name="connsiteX0" fmla="*/ 0 w 533951"/>
                      <a:gd name="connsiteY0" fmla="*/ 137518 h 229223"/>
                      <a:gd name="connsiteX1" fmla="*/ 152951 w 533951"/>
                      <a:gd name="connsiteY1" fmla="*/ 0 h 229223"/>
                      <a:gd name="connsiteX2" fmla="*/ 505376 w 533951"/>
                      <a:gd name="connsiteY2" fmla="*/ 76200 h 229223"/>
                      <a:gd name="connsiteX3" fmla="*/ 533951 w 533951"/>
                      <a:gd name="connsiteY3" fmla="*/ 190500 h 229223"/>
                      <a:gd name="connsiteX4" fmla="*/ 357911 w 533951"/>
                      <a:gd name="connsiteY4" fmla="*/ 219140 h 229223"/>
                      <a:gd name="connsiteX5" fmla="*/ 0 w 533951"/>
                      <a:gd name="connsiteY5" fmla="*/ 137518 h 229223"/>
                      <a:gd name="connsiteX0" fmla="*/ 0 w 558938"/>
                      <a:gd name="connsiteY0" fmla="*/ 137518 h 225529"/>
                      <a:gd name="connsiteX1" fmla="*/ 152951 w 558938"/>
                      <a:gd name="connsiteY1" fmla="*/ 0 h 225529"/>
                      <a:gd name="connsiteX2" fmla="*/ 505376 w 558938"/>
                      <a:gd name="connsiteY2" fmla="*/ 76200 h 225529"/>
                      <a:gd name="connsiteX3" fmla="*/ 558938 w 558938"/>
                      <a:gd name="connsiteY3" fmla="*/ 186806 h 225529"/>
                      <a:gd name="connsiteX4" fmla="*/ 357911 w 558938"/>
                      <a:gd name="connsiteY4" fmla="*/ 219140 h 225529"/>
                      <a:gd name="connsiteX5" fmla="*/ 0 w 558938"/>
                      <a:gd name="connsiteY5" fmla="*/ 137518 h 225529"/>
                      <a:gd name="connsiteX0" fmla="*/ 0 w 558938"/>
                      <a:gd name="connsiteY0" fmla="*/ 137518 h 225529"/>
                      <a:gd name="connsiteX1" fmla="*/ 152951 w 558938"/>
                      <a:gd name="connsiteY1" fmla="*/ 0 h 225529"/>
                      <a:gd name="connsiteX2" fmla="*/ 477977 w 558938"/>
                      <a:gd name="connsiteY2" fmla="*/ 74686 h 225529"/>
                      <a:gd name="connsiteX3" fmla="*/ 558938 w 558938"/>
                      <a:gd name="connsiteY3" fmla="*/ 186806 h 225529"/>
                      <a:gd name="connsiteX4" fmla="*/ 357911 w 558938"/>
                      <a:gd name="connsiteY4" fmla="*/ 219140 h 225529"/>
                      <a:gd name="connsiteX5" fmla="*/ 0 w 558938"/>
                      <a:gd name="connsiteY5" fmla="*/ 137518 h 225529"/>
                      <a:gd name="connsiteX0" fmla="*/ 13346 w 572284"/>
                      <a:gd name="connsiteY0" fmla="*/ 137518 h 225529"/>
                      <a:gd name="connsiteX1" fmla="*/ 166297 w 572284"/>
                      <a:gd name="connsiteY1" fmla="*/ 0 h 225529"/>
                      <a:gd name="connsiteX2" fmla="*/ 491323 w 572284"/>
                      <a:gd name="connsiteY2" fmla="*/ 74686 h 225529"/>
                      <a:gd name="connsiteX3" fmla="*/ 572284 w 572284"/>
                      <a:gd name="connsiteY3" fmla="*/ 186806 h 225529"/>
                      <a:gd name="connsiteX4" fmla="*/ 371257 w 572284"/>
                      <a:gd name="connsiteY4" fmla="*/ 219140 h 225529"/>
                      <a:gd name="connsiteX5" fmla="*/ 13346 w 572284"/>
                      <a:gd name="connsiteY5" fmla="*/ 137518 h 225529"/>
                      <a:gd name="connsiteX0" fmla="*/ 31261 w 590199"/>
                      <a:gd name="connsiteY0" fmla="*/ 137518 h 225529"/>
                      <a:gd name="connsiteX1" fmla="*/ 184212 w 590199"/>
                      <a:gd name="connsiteY1" fmla="*/ 0 h 225529"/>
                      <a:gd name="connsiteX2" fmla="*/ 509238 w 590199"/>
                      <a:gd name="connsiteY2" fmla="*/ 74686 h 225529"/>
                      <a:gd name="connsiteX3" fmla="*/ 590199 w 590199"/>
                      <a:gd name="connsiteY3" fmla="*/ 186806 h 225529"/>
                      <a:gd name="connsiteX4" fmla="*/ 389172 w 590199"/>
                      <a:gd name="connsiteY4" fmla="*/ 219140 h 225529"/>
                      <a:gd name="connsiteX5" fmla="*/ 31261 w 590199"/>
                      <a:gd name="connsiteY5" fmla="*/ 137518 h 225529"/>
                      <a:gd name="connsiteX0" fmla="*/ 31261 w 574088"/>
                      <a:gd name="connsiteY0" fmla="*/ 143484 h 225529"/>
                      <a:gd name="connsiteX1" fmla="*/ 168101 w 574088"/>
                      <a:gd name="connsiteY1" fmla="*/ 0 h 225529"/>
                      <a:gd name="connsiteX2" fmla="*/ 493127 w 574088"/>
                      <a:gd name="connsiteY2" fmla="*/ 74686 h 225529"/>
                      <a:gd name="connsiteX3" fmla="*/ 574088 w 574088"/>
                      <a:gd name="connsiteY3" fmla="*/ 186806 h 225529"/>
                      <a:gd name="connsiteX4" fmla="*/ 373061 w 574088"/>
                      <a:gd name="connsiteY4" fmla="*/ 219140 h 225529"/>
                      <a:gd name="connsiteX5" fmla="*/ 31261 w 574088"/>
                      <a:gd name="connsiteY5" fmla="*/ 143484 h 225529"/>
                      <a:gd name="connsiteX0" fmla="*/ 29457 w 572284"/>
                      <a:gd name="connsiteY0" fmla="*/ 143484 h 225529"/>
                      <a:gd name="connsiteX1" fmla="*/ 166297 w 572284"/>
                      <a:gd name="connsiteY1" fmla="*/ 0 h 225529"/>
                      <a:gd name="connsiteX2" fmla="*/ 491323 w 572284"/>
                      <a:gd name="connsiteY2" fmla="*/ 74686 h 225529"/>
                      <a:gd name="connsiteX3" fmla="*/ 572284 w 572284"/>
                      <a:gd name="connsiteY3" fmla="*/ 186806 h 225529"/>
                      <a:gd name="connsiteX4" fmla="*/ 371257 w 572284"/>
                      <a:gd name="connsiteY4" fmla="*/ 219140 h 225529"/>
                      <a:gd name="connsiteX5" fmla="*/ 29457 w 572284"/>
                      <a:gd name="connsiteY5" fmla="*/ 143484 h 225529"/>
                      <a:gd name="connsiteX0" fmla="*/ 29457 w 572284"/>
                      <a:gd name="connsiteY0" fmla="*/ 143484 h 225529"/>
                      <a:gd name="connsiteX1" fmla="*/ 166297 w 572284"/>
                      <a:gd name="connsiteY1" fmla="*/ 0 h 225529"/>
                      <a:gd name="connsiteX2" fmla="*/ 491323 w 572284"/>
                      <a:gd name="connsiteY2" fmla="*/ 74686 h 225529"/>
                      <a:gd name="connsiteX3" fmla="*/ 572284 w 572284"/>
                      <a:gd name="connsiteY3" fmla="*/ 186806 h 225529"/>
                      <a:gd name="connsiteX4" fmla="*/ 371257 w 572284"/>
                      <a:gd name="connsiteY4" fmla="*/ 219140 h 225529"/>
                      <a:gd name="connsiteX5" fmla="*/ 29457 w 572284"/>
                      <a:gd name="connsiteY5" fmla="*/ 143484 h 225529"/>
                      <a:gd name="connsiteX0" fmla="*/ 13345 w 572284"/>
                      <a:gd name="connsiteY0" fmla="*/ 137518 h 225529"/>
                      <a:gd name="connsiteX1" fmla="*/ 166297 w 572284"/>
                      <a:gd name="connsiteY1" fmla="*/ 0 h 225529"/>
                      <a:gd name="connsiteX2" fmla="*/ 491323 w 572284"/>
                      <a:gd name="connsiteY2" fmla="*/ 74686 h 225529"/>
                      <a:gd name="connsiteX3" fmla="*/ 572284 w 572284"/>
                      <a:gd name="connsiteY3" fmla="*/ 186806 h 225529"/>
                      <a:gd name="connsiteX4" fmla="*/ 371257 w 572284"/>
                      <a:gd name="connsiteY4" fmla="*/ 219140 h 225529"/>
                      <a:gd name="connsiteX5" fmla="*/ 13345 w 572284"/>
                      <a:gd name="connsiteY5" fmla="*/ 137518 h 225529"/>
                      <a:gd name="connsiteX0" fmla="*/ 13345 w 572284"/>
                      <a:gd name="connsiteY0" fmla="*/ 137518 h 225529"/>
                      <a:gd name="connsiteX1" fmla="*/ 166297 w 572284"/>
                      <a:gd name="connsiteY1" fmla="*/ 0 h 225529"/>
                      <a:gd name="connsiteX2" fmla="*/ 491323 w 572284"/>
                      <a:gd name="connsiteY2" fmla="*/ 74686 h 225529"/>
                      <a:gd name="connsiteX3" fmla="*/ 572284 w 572284"/>
                      <a:gd name="connsiteY3" fmla="*/ 186806 h 225529"/>
                      <a:gd name="connsiteX4" fmla="*/ 371257 w 572284"/>
                      <a:gd name="connsiteY4" fmla="*/ 219140 h 225529"/>
                      <a:gd name="connsiteX5" fmla="*/ 13345 w 572284"/>
                      <a:gd name="connsiteY5" fmla="*/ 137518 h 225529"/>
                      <a:gd name="connsiteX0" fmla="*/ 13345 w 572284"/>
                      <a:gd name="connsiteY0" fmla="*/ 137518 h 225529"/>
                      <a:gd name="connsiteX1" fmla="*/ 166297 w 572284"/>
                      <a:gd name="connsiteY1" fmla="*/ 0 h 225529"/>
                      <a:gd name="connsiteX2" fmla="*/ 491323 w 572284"/>
                      <a:gd name="connsiteY2" fmla="*/ 74686 h 225529"/>
                      <a:gd name="connsiteX3" fmla="*/ 572284 w 572284"/>
                      <a:gd name="connsiteY3" fmla="*/ 186806 h 225529"/>
                      <a:gd name="connsiteX4" fmla="*/ 371257 w 572284"/>
                      <a:gd name="connsiteY4" fmla="*/ 219140 h 225529"/>
                      <a:gd name="connsiteX5" fmla="*/ 13345 w 572284"/>
                      <a:gd name="connsiteY5" fmla="*/ 137518 h 225529"/>
                      <a:gd name="connsiteX0" fmla="*/ 13345 w 572284"/>
                      <a:gd name="connsiteY0" fmla="*/ 137518 h 225529"/>
                      <a:gd name="connsiteX1" fmla="*/ 166297 w 572284"/>
                      <a:gd name="connsiteY1" fmla="*/ 0 h 225529"/>
                      <a:gd name="connsiteX2" fmla="*/ 491323 w 572284"/>
                      <a:gd name="connsiteY2" fmla="*/ 74686 h 225529"/>
                      <a:gd name="connsiteX3" fmla="*/ 572284 w 572284"/>
                      <a:gd name="connsiteY3" fmla="*/ 186806 h 225529"/>
                      <a:gd name="connsiteX4" fmla="*/ 374490 w 572284"/>
                      <a:gd name="connsiteY4" fmla="*/ 211706 h 225529"/>
                      <a:gd name="connsiteX5" fmla="*/ 13345 w 572284"/>
                      <a:gd name="connsiteY5" fmla="*/ 137518 h 225529"/>
                      <a:gd name="connsiteX0" fmla="*/ 13324 w 572284"/>
                      <a:gd name="connsiteY0" fmla="*/ 155953 h 225529"/>
                      <a:gd name="connsiteX1" fmla="*/ 166297 w 572284"/>
                      <a:gd name="connsiteY1" fmla="*/ 0 h 225529"/>
                      <a:gd name="connsiteX2" fmla="*/ 491323 w 572284"/>
                      <a:gd name="connsiteY2" fmla="*/ 74686 h 225529"/>
                      <a:gd name="connsiteX3" fmla="*/ 572284 w 572284"/>
                      <a:gd name="connsiteY3" fmla="*/ 186806 h 225529"/>
                      <a:gd name="connsiteX4" fmla="*/ 374490 w 572284"/>
                      <a:gd name="connsiteY4" fmla="*/ 211706 h 225529"/>
                      <a:gd name="connsiteX5" fmla="*/ 13324 w 572284"/>
                      <a:gd name="connsiteY5" fmla="*/ 155953 h 225529"/>
                      <a:gd name="connsiteX0" fmla="*/ 13324 w 572284"/>
                      <a:gd name="connsiteY0" fmla="*/ 155953 h 225529"/>
                      <a:gd name="connsiteX1" fmla="*/ 166297 w 572284"/>
                      <a:gd name="connsiteY1" fmla="*/ 0 h 225529"/>
                      <a:gd name="connsiteX2" fmla="*/ 491323 w 572284"/>
                      <a:gd name="connsiteY2" fmla="*/ 74686 h 225529"/>
                      <a:gd name="connsiteX3" fmla="*/ 572284 w 572284"/>
                      <a:gd name="connsiteY3" fmla="*/ 186806 h 225529"/>
                      <a:gd name="connsiteX4" fmla="*/ 374490 w 572284"/>
                      <a:gd name="connsiteY4" fmla="*/ 211706 h 225529"/>
                      <a:gd name="connsiteX5" fmla="*/ 13324 w 572284"/>
                      <a:gd name="connsiteY5" fmla="*/ 155953 h 225529"/>
                      <a:gd name="connsiteX0" fmla="*/ 13324 w 572284"/>
                      <a:gd name="connsiteY0" fmla="*/ 155953 h 225529"/>
                      <a:gd name="connsiteX1" fmla="*/ 166297 w 572284"/>
                      <a:gd name="connsiteY1" fmla="*/ 0 h 225529"/>
                      <a:gd name="connsiteX2" fmla="*/ 491323 w 572284"/>
                      <a:gd name="connsiteY2" fmla="*/ 74686 h 225529"/>
                      <a:gd name="connsiteX3" fmla="*/ 572284 w 572284"/>
                      <a:gd name="connsiteY3" fmla="*/ 186806 h 225529"/>
                      <a:gd name="connsiteX4" fmla="*/ 374490 w 572284"/>
                      <a:gd name="connsiteY4" fmla="*/ 211706 h 225529"/>
                      <a:gd name="connsiteX5" fmla="*/ 13324 w 572284"/>
                      <a:gd name="connsiteY5" fmla="*/ 155953 h 225529"/>
                      <a:gd name="connsiteX0" fmla="*/ 13324 w 572284"/>
                      <a:gd name="connsiteY0" fmla="*/ 155953 h 225529"/>
                      <a:gd name="connsiteX1" fmla="*/ 166297 w 572284"/>
                      <a:gd name="connsiteY1" fmla="*/ 0 h 225529"/>
                      <a:gd name="connsiteX2" fmla="*/ 491323 w 572284"/>
                      <a:gd name="connsiteY2" fmla="*/ 74686 h 225529"/>
                      <a:gd name="connsiteX3" fmla="*/ 572284 w 572284"/>
                      <a:gd name="connsiteY3" fmla="*/ 186806 h 225529"/>
                      <a:gd name="connsiteX4" fmla="*/ 374490 w 572284"/>
                      <a:gd name="connsiteY4" fmla="*/ 211706 h 225529"/>
                      <a:gd name="connsiteX5" fmla="*/ 13324 w 572284"/>
                      <a:gd name="connsiteY5" fmla="*/ 155953 h 22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84" h="225529">
                        <a:moveTo>
                          <a:pt x="13324" y="155953"/>
                        </a:moveTo>
                        <a:cubicBezTo>
                          <a:pt x="21201" y="131038"/>
                          <a:pt x="0" y="106717"/>
                          <a:pt x="166297" y="0"/>
                        </a:cubicBezTo>
                        <a:lnTo>
                          <a:pt x="491323" y="74686"/>
                        </a:lnTo>
                        <a:lnTo>
                          <a:pt x="572284" y="186806"/>
                        </a:lnTo>
                        <a:cubicBezTo>
                          <a:pt x="378671" y="225529"/>
                          <a:pt x="518887" y="211773"/>
                          <a:pt x="374490" y="211706"/>
                        </a:cubicBezTo>
                        <a:cubicBezTo>
                          <a:pt x="187456" y="184230"/>
                          <a:pt x="87362" y="129842"/>
                          <a:pt x="13324" y="15595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722" name="Freeform 148">
                    <a:extLst>
                      <a:ext uri="{FF2B5EF4-FFF2-40B4-BE49-F238E27FC236}">
                        <a16:creationId xmlns:a16="http://schemas.microsoft.com/office/drawing/2014/main" id="{939D34B1-4C1D-4E53-A066-AE7C7E3EE555}"/>
                      </a:ext>
                    </a:extLst>
                  </p:cNvPr>
                  <p:cNvSpPr/>
                  <p:nvPr/>
                </p:nvSpPr>
                <p:spPr>
                  <a:xfrm>
                    <a:off x="3162326" y="-466420"/>
                    <a:ext cx="307975" cy="192615"/>
                  </a:xfrm>
                  <a:custGeom>
                    <a:avLst/>
                    <a:gdLst>
                      <a:gd name="connsiteX0" fmla="*/ 266700 w 266700"/>
                      <a:gd name="connsiteY0" fmla="*/ 38100 h 209550"/>
                      <a:gd name="connsiteX1" fmla="*/ 0 w 266700"/>
                      <a:gd name="connsiteY1" fmla="*/ 0 h 209550"/>
                      <a:gd name="connsiteX2" fmla="*/ 28575 w 266700"/>
                      <a:gd name="connsiteY2" fmla="*/ 200025 h 209550"/>
                      <a:gd name="connsiteX3" fmla="*/ 190500 w 266700"/>
                      <a:gd name="connsiteY3" fmla="*/ 209550 h 209550"/>
                      <a:gd name="connsiteX4" fmla="*/ 228600 w 266700"/>
                      <a:gd name="connsiteY4" fmla="*/ 95250 h 209550"/>
                      <a:gd name="connsiteX5" fmla="*/ 266700 w 266700"/>
                      <a:gd name="connsiteY5" fmla="*/ 38100 h 209550"/>
                      <a:gd name="connsiteX0" fmla="*/ 293309 w 293309"/>
                      <a:gd name="connsiteY0" fmla="*/ 64710 h 209550"/>
                      <a:gd name="connsiteX1" fmla="*/ 0 w 293309"/>
                      <a:gd name="connsiteY1" fmla="*/ 0 h 209550"/>
                      <a:gd name="connsiteX2" fmla="*/ 28575 w 293309"/>
                      <a:gd name="connsiteY2" fmla="*/ 200025 h 209550"/>
                      <a:gd name="connsiteX3" fmla="*/ 190500 w 293309"/>
                      <a:gd name="connsiteY3" fmla="*/ 209550 h 209550"/>
                      <a:gd name="connsiteX4" fmla="*/ 228600 w 293309"/>
                      <a:gd name="connsiteY4" fmla="*/ 95250 h 209550"/>
                      <a:gd name="connsiteX5" fmla="*/ 293309 w 293309"/>
                      <a:gd name="connsiteY5" fmla="*/ 64710 h 209550"/>
                      <a:gd name="connsiteX0" fmla="*/ 293309 w 293309"/>
                      <a:gd name="connsiteY0" fmla="*/ 64710 h 209550"/>
                      <a:gd name="connsiteX1" fmla="*/ 0 w 293309"/>
                      <a:gd name="connsiteY1" fmla="*/ 0 h 209550"/>
                      <a:gd name="connsiteX2" fmla="*/ 28575 w 293309"/>
                      <a:gd name="connsiteY2" fmla="*/ 200025 h 209550"/>
                      <a:gd name="connsiteX3" fmla="*/ 190500 w 293309"/>
                      <a:gd name="connsiteY3" fmla="*/ 209550 h 209550"/>
                      <a:gd name="connsiteX4" fmla="*/ 228600 w 293309"/>
                      <a:gd name="connsiteY4" fmla="*/ 95250 h 209550"/>
                      <a:gd name="connsiteX5" fmla="*/ 293309 w 293309"/>
                      <a:gd name="connsiteY5" fmla="*/ 64710 h 209550"/>
                      <a:gd name="connsiteX0" fmla="*/ 293309 w 293309"/>
                      <a:gd name="connsiteY0" fmla="*/ 64710 h 209550"/>
                      <a:gd name="connsiteX1" fmla="*/ 0 w 293309"/>
                      <a:gd name="connsiteY1" fmla="*/ 0 h 209550"/>
                      <a:gd name="connsiteX2" fmla="*/ 28575 w 293309"/>
                      <a:gd name="connsiteY2" fmla="*/ 200025 h 209550"/>
                      <a:gd name="connsiteX3" fmla="*/ 190500 w 293309"/>
                      <a:gd name="connsiteY3" fmla="*/ 209550 h 209550"/>
                      <a:gd name="connsiteX4" fmla="*/ 228600 w 293309"/>
                      <a:gd name="connsiteY4" fmla="*/ 95250 h 209550"/>
                      <a:gd name="connsiteX5" fmla="*/ 293309 w 293309"/>
                      <a:gd name="connsiteY5" fmla="*/ 64710 h 209550"/>
                      <a:gd name="connsiteX0" fmla="*/ 293309 w 293309"/>
                      <a:gd name="connsiteY0" fmla="*/ 64710 h 209550"/>
                      <a:gd name="connsiteX1" fmla="*/ 0 w 293309"/>
                      <a:gd name="connsiteY1" fmla="*/ 0 h 209550"/>
                      <a:gd name="connsiteX2" fmla="*/ 28575 w 293309"/>
                      <a:gd name="connsiteY2" fmla="*/ 200025 h 209550"/>
                      <a:gd name="connsiteX3" fmla="*/ 190500 w 293309"/>
                      <a:gd name="connsiteY3" fmla="*/ 209550 h 209550"/>
                      <a:gd name="connsiteX4" fmla="*/ 233438 w 293309"/>
                      <a:gd name="connsiteY4" fmla="*/ 83155 h 209550"/>
                      <a:gd name="connsiteX5" fmla="*/ 293309 w 293309"/>
                      <a:gd name="connsiteY5" fmla="*/ 64710 h 209550"/>
                      <a:gd name="connsiteX0" fmla="*/ 293309 w 293309"/>
                      <a:gd name="connsiteY0" fmla="*/ 64710 h 211969"/>
                      <a:gd name="connsiteX1" fmla="*/ 0 w 293309"/>
                      <a:gd name="connsiteY1" fmla="*/ 0 h 211969"/>
                      <a:gd name="connsiteX2" fmla="*/ 28575 w 293309"/>
                      <a:gd name="connsiteY2" fmla="*/ 200025 h 211969"/>
                      <a:gd name="connsiteX3" fmla="*/ 178405 w 293309"/>
                      <a:gd name="connsiteY3" fmla="*/ 211969 h 211969"/>
                      <a:gd name="connsiteX4" fmla="*/ 233438 w 293309"/>
                      <a:gd name="connsiteY4" fmla="*/ 83155 h 211969"/>
                      <a:gd name="connsiteX5" fmla="*/ 293309 w 293309"/>
                      <a:gd name="connsiteY5" fmla="*/ 64710 h 211969"/>
                      <a:gd name="connsiteX0" fmla="*/ 293309 w 293309"/>
                      <a:gd name="connsiteY0" fmla="*/ 64710 h 211969"/>
                      <a:gd name="connsiteX1" fmla="*/ 0 w 293309"/>
                      <a:gd name="connsiteY1" fmla="*/ 0 h 211969"/>
                      <a:gd name="connsiteX2" fmla="*/ 28575 w 293309"/>
                      <a:gd name="connsiteY2" fmla="*/ 200025 h 211969"/>
                      <a:gd name="connsiteX3" fmla="*/ 178405 w 293309"/>
                      <a:gd name="connsiteY3" fmla="*/ 211969 h 211969"/>
                      <a:gd name="connsiteX4" fmla="*/ 233438 w 293309"/>
                      <a:gd name="connsiteY4" fmla="*/ 83155 h 211969"/>
                      <a:gd name="connsiteX5" fmla="*/ 293309 w 293309"/>
                      <a:gd name="connsiteY5" fmla="*/ 64710 h 211969"/>
                      <a:gd name="connsiteX0" fmla="*/ 293309 w 293309"/>
                      <a:gd name="connsiteY0" fmla="*/ 64710 h 211969"/>
                      <a:gd name="connsiteX1" fmla="*/ 0 w 293309"/>
                      <a:gd name="connsiteY1" fmla="*/ 0 h 211969"/>
                      <a:gd name="connsiteX2" fmla="*/ 28575 w 293309"/>
                      <a:gd name="connsiteY2" fmla="*/ 200025 h 211969"/>
                      <a:gd name="connsiteX3" fmla="*/ 178405 w 293309"/>
                      <a:gd name="connsiteY3" fmla="*/ 211969 h 211969"/>
                      <a:gd name="connsiteX4" fmla="*/ 247952 w 293309"/>
                      <a:gd name="connsiteY4" fmla="*/ 83155 h 211969"/>
                      <a:gd name="connsiteX5" fmla="*/ 293309 w 293309"/>
                      <a:gd name="connsiteY5" fmla="*/ 64710 h 211969"/>
                      <a:gd name="connsiteX0" fmla="*/ 293309 w 293309"/>
                      <a:gd name="connsiteY0" fmla="*/ 55033 h 202292"/>
                      <a:gd name="connsiteX1" fmla="*/ 0 w 293309"/>
                      <a:gd name="connsiteY1" fmla="*/ 0 h 202292"/>
                      <a:gd name="connsiteX2" fmla="*/ 28575 w 293309"/>
                      <a:gd name="connsiteY2" fmla="*/ 190348 h 202292"/>
                      <a:gd name="connsiteX3" fmla="*/ 178405 w 293309"/>
                      <a:gd name="connsiteY3" fmla="*/ 202292 h 202292"/>
                      <a:gd name="connsiteX4" fmla="*/ 247952 w 293309"/>
                      <a:gd name="connsiteY4" fmla="*/ 73478 h 202292"/>
                      <a:gd name="connsiteX5" fmla="*/ 293309 w 293309"/>
                      <a:gd name="connsiteY5" fmla="*/ 55033 h 202292"/>
                      <a:gd name="connsiteX0" fmla="*/ 298299 w 298299"/>
                      <a:gd name="connsiteY0" fmla="*/ 55033 h 202292"/>
                      <a:gd name="connsiteX1" fmla="*/ 4990 w 298299"/>
                      <a:gd name="connsiteY1" fmla="*/ 0 h 202292"/>
                      <a:gd name="connsiteX2" fmla="*/ 33565 w 298299"/>
                      <a:gd name="connsiteY2" fmla="*/ 190348 h 202292"/>
                      <a:gd name="connsiteX3" fmla="*/ 183395 w 298299"/>
                      <a:gd name="connsiteY3" fmla="*/ 202292 h 202292"/>
                      <a:gd name="connsiteX4" fmla="*/ 252942 w 298299"/>
                      <a:gd name="connsiteY4" fmla="*/ 73478 h 202292"/>
                      <a:gd name="connsiteX5" fmla="*/ 298299 w 298299"/>
                      <a:gd name="connsiteY5" fmla="*/ 55033 h 202292"/>
                      <a:gd name="connsiteX0" fmla="*/ 298299 w 298299"/>
                      <a:gd name="connsiteY0" fmla="*/ 55033 h 202292"/>
                      <a:gd name="connsiteX1" fmla="*/ 4990 w 298299"/>
                      <a:gd name="connsiteY1" fmla="*/ 0 h 202292"/>
                      <a:gd name="connsiteX2" fmla="*/ 33565 w 298299"/>
                      <a:gd name="connsiteY2" fmla="*/ 190348 h 202292"/>
                      <a:gd name="connsiteX3" fmla="*/ 183395 w 298299"/>
                      <a:gd name="connsiteY3" fmla="*/ 202292 h 202292"/>
                      <a:gd name="connsiteX4" fmla="*/ 252942 w 298299"/>
                      <a:gd name="connsiteY4" fmla="*/ 73478 h 202292"/>
                      <a:gd name="connsiteX5" fmla="*/ 298299 w 298299"/>
                      <a:gd name="connsiteY5" fmla="*/ 55033 h 202292"/>
                      <a:gd name="connsiteX0" fmla="*/ 307975 w 307975"/>
                      <a:gd name="connsiteY0" fmla="*/ 45356 h 192615"/>
                      <a:gd name="connsiteX1" fmla="*/ 4990 w 307975"/>
                      <a:gd name="connsiteY1" fmla="*/ 0 h 192615"/>
                      <a:gd name="connsiteX2" fmla="*/ 43241 w 307975"/>
                      <a:gd name="connsiteY2" fmla="*/ 180671 h 192615"/>
                      <a:gd name="connsiteX3" fmla="*/ 193071 w 307975"/>
                      <a:gd name="connsiteY3" fmla="*/ 192615 h 192615"/>
                      <a:gd name="connsiteX4" fmla="*/ 262618 w 307975"/>
                      <a:gd name="connsiteY4" fmla="*/ 63801 h 192615"/>
                      <a:gd name="connsiteX5" fmla="*/ 307975 w 307975"/>
                      <a:gd name="connsiteY5" fmla="*/ 45356 h 192615"/>
                      <a:gd name="connsiteX0" fmla="*/ 307975 w 307975"/>
                      <a:gd name="connsiteY0" fmla="*/ 45356 h 192615"/>
                      <a:gd name="connsiteX1" fmla="*/ 4990 w 307975"/>
                      <a:gd name="connsiteY1" fmla="*/ 0 h 192615"/>
                      <a:gd name="connsiteX2" fmla="*/ 50498 w 307975"/>
                      <a:gd name="connsiteY2" fmla="*/ 173414 h 192615"/>
                      <a:gd name="connsiteX3" fmla="*/ 193071 w 307975"/>
                      <a:gd name="connsiteY3" fmla="*/ 192615 h 192615"/>
                      <a:gd name="connsiteX4" fmla="*/ 262618 w 307975"/>
                      <a:gd name="connsiteY4" fmla="*/ 63801 h 192615"/>
                      <a:gd name="connsiteX5" fmla="*/ 307975 w 307975"/>
                      <a:gd name="connsiteY5" fmla="*/ 45356 h 192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975" h="192615">
                        <a:moveTo>
                          <a:pt x="307975" y="45356"/>
                        </a:moveTo>
                        <a:lnTo>
                          <a:pt x="4990" y="0"/>
                        </a:lnTo>
                        <a:cubicBezTo>
                          <a:pt x="0" y="87639"/>
                          <a:pt x="19201" y="122060"/>
                          <a:pt x="50498" y="173414"/>
                        </a:cubicBezTo>
                        <a:lnTo>
                          <a:pt x="193071" y="192615"/>
                        </a:lnTo>
                        <a:cubicBezTo>
                          <a:pt x="233186" y="149677"/>
                          <a:pt x="244274" y="106739"/>
                          <a:pt x="262618" y="63801"/>
                        </a:cubicBezTo>
                        <a:cubicBezTo>
                          <a:pt x="284188" y="53621"/>
                          <a:pt x="300919" y="57955"/>
                          <a:pt x="307975" y="4535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723" name="Freeform 334">
                    <a:extLst>
                      <a:ext uri="{FF2B5EF4-FFF2-40B4-BE49-F238E27FC236}">
                        <a16:creationId xmlns:a16="http://schemas.microsoft.com/office/drawing/2014/main" id="{3BBDE38A-CF1B-4F7A-A363-BD82D9DB741B}"/>
                      </a:ext>
                    </a:extLst>
                  </p:cNvPr>
                  <p:cNvSpPr/>
                  <p:nvPr/>
                </p:nvSpPr>
                <p:spPr>
                  <a:xfrm>
                    <a:off x="3257446" y="-455565"/>
                    <a:ext cx="114404" cy="100834"/>
                  </a:xfrm>
                  <a:custGeom>
                    <a:avLst/>
                    <a:gdLst>
                      <a:gd name="connsiteX0" fmla="*/ 0 w 142875"/>
                      <a:gd name="connsiteY0" fmla="*/ 0 h 133350"/>
                      <a:gd name="connsiteX1" fmla="*/ 19050 w 142875"/>
                      <a:gd name="connsiteY1" fmla="*/ 133350 h 133350"/>
                      <a:gd name="connsiteX2" fmla="*/ 95250 w 142875"/>
                      <a:gd name="connsiteY2" fmla="*/ 133350 h 133350"/>
                      <a:gd name="connsiteX3" fmla="*/ 142875 w 142875"/>
                      <a:gd name="connsiteY3" fmla="*/ 28575 h 133350"/>
                      <a:gd name="connsiteX4" fmla="*/ 0 w 142875"/>
                      <a:gd name="connsiteY4" fmla="*/ 0 h 133350"/>
                      <a:gd name="connsiteX0" fmla="*/ 6652 w 149527"/>
                      <a:gd name="connsiteY0" fmla="*/ 0 h 133350"/>
                      <a:gd name="connsiteX1" fmla="*/ 25702 w 149527"/>
                      <a:gd name="connsiteY1" fmla="*/ 133350 h 133350"/>
                      <a:gd name="connsiteX2" fmla="*/ 101902 w 149527"/>
                      <a:gd name="connsiteY2" fmla="*/ 133350 h 133350"/>
                      <a:gd name="connsiteX3" fmla="*/ 149527 w 149527"/>
                      <a:gd name="connsiteY3" fmla="*/ 28575 h 133350"/>
                      <a:gd name="connsiteX4" fmla="*/ 6652 w 149527"/>
                      <a:gd name="connsiteY4" fmla="*/ 0 h 133350"/>
                      <a:gd name="connsiteX0" fmla="*/ 6652 w 149527"/>
                      <a:gd name="connsiteY0" fmla="*/ 0 h 145445"/>
                      <a:gd name="connsiteX1" fmla="*/ 25702 w 149527"/>
                      <a:gd name="connsiteY1" fmla="*/ 133350 h 145445"/>
                      <a:gd name="connsiteX2" fmla="*/ 101902 w 149527"/>
                      <a:gd name="connsiteY2" fmla="*/ 133350 h 145445"/>
                      <a:gd name="connsiteX3" fmla="*/ 149527 w 149527"/>
                      <a:gd name="connsiteY3" fmla="*/ 28575 h 145445"/>
                      <a:gd name="connsiteX4" fmla="*/ 6652 w 149527"/>
                      <a:gd name="connsiteY4" fmla="*/ 0 h 145445"/>
                      <a:gd name="connsiteX0" fmla="*/ 13909 w 156784"/>
                      <a:gd name="connsiteY0" fmla="*/ 0 h 133350"/>
                      <a:gd name="connsiteX1" fmla="*/ 25702 w 156784"/>
                      <a:gd name="connsiteY1" fmla="*/ 116417 h 133350"/>
                      <a:gd name="connsiteX2" fmla="*/ 109159 w 156784"/>
                      <a:gd name="connsiteY2" fmla="*/ 133350 h 133350"/>
                      <a:gd name="connsiteX3" fmla="*/ 156784 w 156784"/>
                      <a:gd name="connsiteY3" fmla="*/ 28575 h 133350"/>
                      <a:gd name="connsiteX4" fmla="*/ 13909 w 156784"/>
                      <a:gd name="connsiteY4" fmla="*/ 0 h 133350"/>
                      <a:gd name="connsiteX0" fmla="*/ 13909 w 156784"/>
                      <a:gd name="connsiteY0" fmla="*/ 0 h 138188"/>
                      <a:gd name="connsiteX1" fmla="*/ 25702 w 156784"/>
                      <a:gd name="connsiteY1" fmla="*/ 116417 h 138188"/>
                      <a:gd name="connsiteX2" fmla="*/ 109159 w 156784"/>
                      <a:gd name="connsiteY2" fmla="*/ 133350 h 138188"/>
                      <a:gd name="connsiteX3" fmla="*/ 156784 w 156784"/>
                      <a:gd name="connsiteY3" fmla="*/ 28575 h 138188"/>
                      <a:gd name="connsiteX4" fmla="*/ 13909 w 156784"/>
                      <a:gd name="connsiteY4" fmla="*/ 0 h 138188"/>
                      <a:gd name="connsiteX0" fmla="*/ 13909 w 156784"/>
                      <a:gd name="connsiteY0" fmla="*/ 0 h 138188"/>
                      <a:gd name="connsiteX1" fmla="*/ 25702 w 156784"/>
                      <a:gd name="connsiteY1" fmla="*/ 116417 h 138188"/>
                      <a:gd name="connsiteX2" fmla="*/ 109159 w 156784"/>
                      <a:gd name="connsiteY2" fmla="*/ 133350 h 138188"/>
                      <a:gd name="connsiteX3" fmla="*/ 156784 w 156784"/>
                      <a:gd name="connsiteY3" fmla="*/ 28575 h 138188"/>
                      <a:gd name="connsiteX4" fmla="*/ 13909 w 156784"/>
                      <a:gd name="connsiteY4" fmla="*/ 0 h 138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784" h="138188">
                        <a:moveTo>
                          <a:pt x="13909" y="0"/>
                        </a:moveTo>
                        <a:cubicBezTo>
                          <a:pt x="20259" y="44450"/>
                          <a:pt x="0" y="64710"/>
                          <a:pt x="25702" y="116417"/>
                        </a:cubicBezTo>
                        <a:cubicBezTo>
                          <a:pt x="58359" y="138188"/>
                          <a:pt x="83759" y="133350"/>
                          <a:pt x="109159" y="133350"/>
                        </a:cubicBezTo>
                        <a:cubicBezTo>
                          <a:pt x="141967" y="98425"/>
                          <a:pt x="140909" y="63500"/>
                          <a:pt x="156784" y="28575"/>
                        </a:cubicBezTo>
                        <a:lnTo>
                          <a:pt x="13909"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724" name="Freeform 157">
                    <a:extLst>
                      <a:ext uri="{FF2B5EF4-FFF2-40B4-BE49-F238E27FC236}">
                        <a16:creationId xmlns:a16="http://schemas.microsoft.com/office/drawing/2014/main" id="{E03DCEB7-665D-4DB7-96AB-7C6D388A7877}"/>
                      </a:ext>
                    </a:extLst>
                  </p:cNvPr>
                  <p:cNvSpPr/>
                  <p:nvPr/>
                </p:nvSpPr>
                <p:spPr>
                  <a:xfrm>
                    <a:off x="2947988" y="-528637"/>
                    <a:ext cx="648581" cy="302558"/>
                  </a:xfrm>
                  <a:custGeom>
                    <a:avLst/>
                    <a:gdLst>
                      <a:gd name="connsiteX0" fmla="*/ 590550 w 590550"/>
                      <a:gd name="connsiteY0" fmla="*/ 323850 h 323850"/>
                      <a:gd name="connsiteX1" fmla="*/ 523875 w 590550"/>
                      <a:gd name="connsiteY1" fmla="*/ 114300 h 323850"/>
                      <a:gd name="connsiteX2" fmla="*/ 133350 w 590550"/>
                      <a:gd name="connsiteY2" fmla="*/ 0 h 323850"/>
                      <a:gd name="connsiteX3" fmla="*/ 0 w 590550"/>
                      <a:gd name="connsiteY3" fmla="*/ 190500 h 323850"/>
                      <a:gd name="connsiteX4" fmla="*/ 152400 w 590550"/>
                      <a:gd name="connsiteY4" fmla="*/ 85725 h 323850"/>
                      <a:gd name="connsiteX5" fmla="*/ 485775 w 590550"/>
                      <a:gd name="connsiteY5" fmla="*/ 171450 h 323850"/>
                      <a:gd name="connsiteX6" fmla="*/ 590550 w 590550"/>
                      <a:gd name="connsiteY6" fmla="*/ 323850 h 323850"/>
                      <a:gd name="connsiteX0" fmla="*/ 590550 w 590550"/>
                      <a:gd name="connsiteY0" fmla="*/ 323850 h 323850"/>
                      <a:gd name="connsiteX1" fmla="*/ 523875 w 590550"/>
                      <a:gd name="connsiteY1" fmla="*/ 114300 h 323850"/>
                      <a:gd name="connsiteX2" fmla="*/ 133350 w 590550"/>
                      <a:gd name="connsiteY2" fmla="*/ 0 h 323850"/>
                      <a:gd name="connsiteX3" fmla="*/ 0 w 590550"/>
                      <a:gd name="connsiteY3" fmla="*/ 190500 h 323850"/>
                      <a:gd name="connsiteX4" fmla="*/ 152400 w 590550"/>
                      <a:gd name="connsiteY4" fmla="*/ 123825 h 323850"/>
                      <a:gd name="connsiteX5" fmla="*/ 485775 w 590550"/>
                      <a:gd name="connsiteY5" fmla="*/ 171450 h 323850"/>
                      <a:gd name="connsiteX6" fmla="*/ 590550 w 590550"/>
                      <a:gd name="connsiteY6" fmla="*/ 323850 h 323850"/>
                      <a:gd name="connsiteX0" fmla="*/ 590550 w 590550"/>
                      <a:gd name="connsiteY0" fmla="*/ 276225 h 276225"/>
                      <a:gd name="connsiteX1" fmla="*/ 523875 w 590550"/>
                      <a:gd name="connsiteY1" fmla="*/ 66675 h 276225"/>
                      <a:gd name="connsiteX2" fmla="*/ 133350 w 590550"/>
                      <a:gd name="connsiteY2" fmla="*/ 0 h 276225"/>
                      <a:gd name="connsiteX3" fmla="*/ 0 w 590550"/>
                      <a:gd name="connsiteY3" fmla="*/ 142875 h 276225"/>
                      <a:gd name="connsiteX4" fmla="*/ 152400 w 590550"/>
                      <a:gd name="connsiteY4" fmla="*/ 76200 h 276225"/>
                      <a:gd name="connsiteX5" fmla="*/ 485775 w 590550"/>
                      <a:gd name="connsiteY5" fmla="*/ 123825 h 276225"/>
                      <a:gd name="connsiteX6" fmla="*/ 590550 w 590550"/>
                      <a:gd name="connsiteY6" fmla="*/ 276225 h 276225"/>
                      <a:gd name="connsiteX0" fmla="*/ 580874 w 580874"/>
                      <a:gd name="connsiteY0" fmla="*/ 307672 h 307672"/>
                      <a:gd name="connsiteX1" fmla="*/ 523875 w 580874"/>
                      <a:gd name="connsiteY1" fmla="*/ 66675 h 307672"/>
                      <a:gd name="connsiteX2" fmla="*/ 133350 w 580874"/>
                      <a:gd name="connsiteY2" fmla="*/ 0 h 307672"/>
                      <a:gd name="connsiteX3" fmla="*/ 0 w 580874"/>
                      <a:gd name="connsiteY3" fmla="*/ 142875 h 307672"/>
                      <a:gd name="connsiteX4" fmla="*/ 152400 w 580874"/>
                      <a:gd name="connsiteY4" fmla="*/ 76200 h 307672"/>
                      <a:gd name="connsiteX5" fmla="*/ 485775 w 580874"/>
                      <a:gd name="connsiteY5" fmla="*/ 123825 h 307672"/>
                      <a:gd name="connsiteX6" fmla="*/ 580874 w 580874"/>
                      <a:gd name="connsiteY6" fmla="*/ 307672 h 307672"/>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52400 w 624769"/>
                      <a:gd name="connsiteY4" fmla="*/ 76200 h 316845"/>
                      <a:gd name="connsiteX5" fmla="*/ 485775 w 624769"/>
                      <a:gd name="connsiteY5" fmla="*/ 123825 h 316845"/>
                      <a:gd name="connsiteX6" fmla="*/ 580874 w 624769"/>
                      <a:gd name="connsiteY6" fmla="*/ 307672 h 316845"/>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52400 w 624769"/>
                      <a:gd name="connsiteY4" fmla="*/ 76200 h 316845"/>
                      <a:gd name="connsiteX5" fmla="*/ 485775 w 624769"/>
                      <a:gd name="connsiteY5" fmla="*/ 123825 h 316845"/>
                      <a:gd name="connsiteX6" fmla="*/ 580874 w 624769"/>
                      <a:gd name="connsiteY6" fmla="*/ 307672 h 316845"/>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52400 w 624769"/>
                      <a:gd name="connsiteY4" fmla="*/ 76200 h 316845"/>
                      <a:gd name="connsiteX5" fmla="*/ 485775 w 624769"/>
                      <a:gd name="connsiteY5" fmla="*/ 123825 h 316845"/>
                      <a:gd name="connsiteX6" fmla="*/ 580874 w 624769"/>
                      <a:gd name="connsiteY6" fmla="*/ 307672 h 316845"/>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52400 w 624769"/>
                      <a:gd name="connsiteY4" fmla="*/ 76200 h 316845"/>
                      <a:gd name="connsiteX5" fmla="*/ 485775 w 624769"/>
                      <a:gd name="connsiteY5" fmla="*/ 123825 h 316845"/>
                      <a:gd name="connsiteX6" fmla="*/ 580874 w 624769"/>
                      <a:gd name="connsiteY6" fmla="*/ 307672 h 316845"/>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52400 w 624769"/>
                      <a:gd name="connsiteY4" fmla="*/ 76200 h 316845"/>
                      <a:gd name="connsiteX5" fmla="*/ 447070 w 624769"/>
                      <a:gd name="connsiteY5" fmla="*/ 116568 h 316845"/>
                      <a:gd name="connsiteX6" fmla="*/ 580874 w 624769"/>
                      <a:gd name="connsiteY6" fmla="*/ 307672 h 316845"/>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52400 w 624769"/>
                      <a:gd name="connsiteY4" fmla="*/ 76200 h 316845"/>
                      <a:gd name="connsiteX5" fmla="*/ 447070 w 624769"/>
                      <a:gd name="connsiteY5" fmla="*/ 116568 h 316845"/>
                      <a:gd name="connsiteX6" fmla="*/ 580874 w 624769"/>
                      <a:gd name="connsiteY6" fmla="*/ 307672 h 316845"/>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52400 w 624769"/>
                      <a:gd name="connsiteY4" fmla="*/ 76200 h 316845"/>
                      <a:gd name="connsiteX5" fmla="*/ 480937 w 624769"/>
                      <a:gd name="connsiteY5" fmla="*/ 126244 h 316845"/>
                      <a:gd name="connsiteX6" fmla="*/ 580874 w 624769"/>
                      <a:gd name="connsiteY6" fmla="*/ 307672 h 316845"/>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54820 w 624769"/>
                      <a:gd name="connsiteY4" fmla="*/ 66524 h 316845"/>
                      <a:gd name="connsiteX5" fmla="*/ 480937 w 624769"/>
                      <a:gd name="connsiteY5" fmla="*/ 126244 h 316845"/>
                      <a:gd name="connsiteX6" fmla="*/ 580874 w 624769"/>
                      <a:gd name="connsiteY6" fmla="*/ 307672 h 316845"/>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54820 w 624769"/>
                      <a:gd name="connsiteY4" fmla="*/ 73781 h 316845"/>
                      <a:gd name="connsiteX5" fmla="*/ 480937 w 624769"/>
                      <a:gd name="connsiteY5" fmla="*/ 126244 h 316845"/>
                      <a:gd name="connsiteX6" fmla="*/ 580874 w 624769"/>
                      <a:gd name="connsiteY6" fmla="*/ 307672 h 316845"/>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54820 w 624769"/>
                      <a:gd name="connsiteY4" fmla="*/ 73781 h 316845"/>
                      <a:gd name="connsiteX5" fmla="*/ 480937 w 624769"/>
                      <a:gd name="connsiteY5" fmla="*/ 126244 h 316845"/>
                      <a:gd name="connsiteX6" fmla="*/ 580874 w 624769"/>
                      <a:gd name="connsiteY6" fmla="*/ 307672 h 316845"/>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54820 w 624769"/>
                      <a:gd name="connsiteY4" fmla="*/ 73781 h 316845"/>
                      <a:gd name="connsiteX5" fmla="*/ 480937 w 624769"/>
                      <a:gd name="connsiteY5" fmla="*/ 126244 h 316845"/>
                      <a:gd name="connsiteX6" fmla="*/ 580874 w 624769"/>
                      <a:gd name="connsiteY6" fmla="*/ 307672 h 316845"/>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86268 w 624769"/>
                      <a:gd name="connsiteY4" fmla="*/ 73781 h 316845"/>
                      <a:gd name="connsiteX5" fmla="*/ 480937 w 624769"/>
                      <a:gd name="connsiteY5" fmla="*/ 126244 h 316845"/>
                      <a:gd name="connsiteX6" fmla="*/ 580874 w 624769"/>
                      <a:gd name="connsiteY6" fmla="*/ 307672 h 316845"/>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86268 w 624769"/>
                      <a:gd name="connsiteY4" fmla="*/ 73781 h 316845"/>
                      <a:gd name="connsiteX5" fmla="*/ 480937 w 624769"/>
                      <a:gd name="connsiteY5" fmla="*/ 126244 h 316845"/>
                      <a:gd name="connsiteX6" fmla="*/ 580874 w 624769"/>
                      <a:gd name="connsiteY6" fmla="*/ 307672 h 316845"/>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79011 w 624769"/>
                      <a:gd name="connsiteY4" fmla="*/ 78619 h 316845"/>
                      <a:gd name="connsiteX5" fmla="*/ 480937 w 624769"/>
                      <a:gd name="connsiteY5" fmla="*/ 126244 h 316845"/>
                      <a:gd name="connsiteX6" fmla="*/ 580874 w 624769"/>
                      <a:gd name="connsiteY6" fmla="*/ 307672 h 316845"/>
                      <a:gd name="connsiteX0" fmla="*/ 580874 w 624769"/>
                      <a:gd name="connsiteY0" fmla="*/ 279972 h 289145"/>
                      <a:gd name="connsiteX1" fmla="*/ 523875 w 624769"/>
                      <a:gd name="connsiteY1" fmla="*/ 38975 h 289145"/>
                      <a:gd name="connsiteX2" fmla="*/ 128588 w 624769"/>
                      <a:gd name="connsiteY2" fmla="*/ 875 h 289145"/>
                      <a:gd name="connsiteX3" fmla="*/ 0 w 624769"/>
                      <a:gd name="connsiteY3" fmla="*/ 115175 h 289145"/>
                      <a:gd name="connsiteX4" fmla="*/ 179011 w 624769"/>
                      <a:gd name="connsiteY4" fmla="*/ 50919 h 289145"/>
                      <a:gd name="connsiteX5" fmla="*/ 480937 w 624769"/>
                      <a:gd name="connsiteY5" fmla="*/ 98544 h 289145"/>
                      <a:gd name="connsiteX6" fmla="*/ 580874 w 624769"/>
                      <a:gd name="connsiteY6" fmla="*/ 279972 h 289145"/>
                      <a:gd name="connsiteX0" fmla="*/ 604686 w 648581"/>
                      <a:gd name="connsiteY0" fmla="*/ 279972 h 289145"/>
                      <a:gd name="connsiteX1" fmla="*/ 547687 w 648581"/>
                      <a:gd name="connsiteY1" fmla="*/ 38975 h 289145"/>
                      <a:gd name="connsiteX2" fmla="*/ 152400 w 648581"/>
                      <a:gd name="connsiteY2" fmla="*/ 875 h 289145"/>
                      <a:gd name="connsiteX3" fmla="*/ 23812 w 648581"/>
                      <a:gd name="connsiteY3" fmla="*/ 115175 h 289145"/>
                      <a:gd name="connsiteX4" fmla="*/ 202823 w 648581"/>
                      <a:gd name="connsiteY4" fmla="*/ 50919 h 289145"/>
                      <a:gd name="connsiteX5" fmla="*/ 504749 w 648581"/>
                      <a:gd name="connsiteY5" fmla="*/ 98544 h 289145"/>
                      <a:gd name="connsiteX6" fmla="*/ 604686 w 648581"/>
                      <a:gd name="connsiteY6" fmla="*/ 279972 h 289145"/>
                      <a:gd name="connsiteX0" fmla="*/ 604686 w 648581"/>
                      <a:gd name="connsiteY0" fmla="*/ 279972 h 289145"/>
                      <a:gd name="connsiteX1" fmla="*/ 547687 w 648581"/>
                      <a:gd name="connsiteY1" fmla="*/ 38975 h 289145"/>
                      <a:gd name="connsiteX2" fmla="*/ 152400 w 648581"/>
                      <a:gd name="connsiteY2" fmla="*/ 875 h 289145"/>
                      <a:gd name="connsiteX3" fmla="*/ 23812 w 648581"/>
                      <a:gd name="connsiteY3" fmla="*/ 115175 h 289145"/>
                      <a:gd name="connsiteX4" fmla="*/ 202823 w 648581"/>
                      <a:gd name="connsiteY4" fmla="*/ 50919 h 289145"/>
                      <a:gd name="connsiteX5" fmla="*/ 504749 w 648581"/>
                      <a:gd name="connsiteY5" fmla="*/ 98544 h 289145"/>
                      <a:gd name="connsiteX6" fmla="*/ 604686 w 648581"/>
                      <a:gd name="connsiteY6" fmla="*/ 279972 h 289145"/>
                      <a:gd name="connsiteX0" fmla="*/ 604686 w 648581"/>
                      <a:gd name="connsiteY0" fmla="*/ 293385 h 302558"/>
                      <a:gd name="connsiteX1" fmla="*/ 547687 w 648581"/>
                      <a:gd name="connsiteY1" fmla="*/ 52388 h 302558"/>
                      <a:gd name="connsiteX2" fmla="*/ 152400 w 648581"/>
                      <a:gd name="connsiteY2" fmla="*/ 14288 h 302558"/>
                      <a:gd name="connsiteX3" fmla="*/ 23812 w 648581"/>
                      <a:gd name="connsiteY3" fmla="*/ 128588 h 302558"/>
                      <a:gd name="connsiteX4" fmla="*/ 202823 w 648581"/>
                      <a:gd name="connsiteY4" fmla="*/ 64332 h 302558"/>
                      <a:gd name="connsiteX5" fmla="*/ 504749 w 648581"/>
                      <a:gd name="connsiteY5" fmla="*/ 111957 h 302558"/>
                      <a:gd name="connsiteX6" fmla="*/ 604686 w 648581"/>
                      <a:gd name="connsiteY6" fmla="*/ 293385 h 302558"/>
                      <a:gd name="connsiteX0" fmla="*/ 604686 w 648581"/>
                      <a:gd name="connsiteY0" fmla="*/ 286241 h 295414"/>
                      <a:gd name="connsiteX1" fmla="*/ 547687 w 648581"/>
                      <a:gd name="connsiteY1" fmla="*/ 45244 h 295414"/>
                      <a:gd name="connsiteX2" fmla="*/ 166688 w 648581"/>
                      <a:gd name="connsiteY2" fmla="*/ 14288 h 295414"/>
                      <a:gd name="connsiteX3" fmla="*/ 23812 w 648581"/>
                      <a:gd name="connsiteY3" fmla="*/ 121444 h 295414"/>
                      <a:gd name="connsiteX4" fmla="*/ 202823 w 648581"/>
                      <a:gd name="connsiteY4" fmla="*/ 57188 h 295414"/>
                      <a:gd name="connsiteX5" fmla="*/ 504749 w 648581"/>
                      <a:gd name="connsiteY5" fmla="*/ 104813 h 295414"/>
                      <a:gd name="connsiteX6" fmla="*/ 604686 w 648581"/>
                      <a:gd name="connsiteY6" fmla="*/ 286241 h 295414"/>
                      <a:gd name="connsiteX0" fmla="*/ 604686 w 648581"/>
                      <a:gd name="connsiteY0" fmla="*/ 293385 h 302558"/>
                      <a:gd name="connsiteX1" fmla="*/ 547687 w 648581"/>
                      <a:gd name="connsiteY1" fmla="*/ 52388 h 302558"/>
                      <a:gd name="connsiteX2" fmla="*/ 161926 w 648581"/>
                      <a:gd name="connsiteY2" fmla="*/ 14288 h 302558"/>
                      <a:gd name="connsiteX3" fmla="*/ 23812 w 648581"/>
                      <a:gd name="connsiteY3" fmla="*/ 128588 h 302558"/>
                      <a:gd name="connsiteX4" fmla="*/ 202823 w 648581"/>
                      <a:gd name="connsiteY4" fmla="*/ 64332 h 302558"/>
                      <a:gd name="connsiteX5" fmla="*/ 504749 w 648581"/>
                      <a:gd name="connsiteY5" fmla="*/ 111957 h 302558"/>
                      <a:gd name="connsiteX6" fmla="*/ 604686 w 648581"/>
                      <a:gd name="connsiteY6" fmla="*/ 293385 h 302558"/>
                      <a:gd name="connsiteX0" fmla="*/ 604686 w 648581"/>
                      <a:gd name="connsiteY0" fmla="*/ 293385 h 302558"/>
                      <a:gd name="connsiteX1" fmla="*/ 547687 w 648581"/>
                      <a:gd name="connsiteY1" fmla="*/ 71438 h 302558"/>
                      <a:gd name="connsiteX2" fmla="*/ 161926 w 648581"/>
                      <a:gd name="connsiteY2" fmla="*/ 14288 h 302558"/>
                      <a:gd name="connsiteX3" fmla="*/ 23812 w 648581"/>
                      <a:gd name="connsiteY3" fmla="*/ 128588 h 302558"/>
                      <a:gd name="connsiteX4" fmla="*/ 202823 w 648581"/>
                      <a:gd name="connsiteY4" fmla="*/ 64332 h 302558"/>
                      <a:gd name="connsiteX5" fmla="*/ 504749 w 648581"/>
                      <a:gd name="connsiteY5" fmla="*/ 111957 h 302558"/>
                      <a:gd name="connsiteX6" fmla="*/ 604686 w 648581"/>
                      <a:gd name="connsiteY6" fmla="*/ 293385 h 302558"/>
                      <a:gd name="connsiteX0" fmla="*/ 604686 w 648581"/>
                      <a:gd name="connsiteY0" fmla="*/ 293385 h 302558"/>
                      <a:gd name="connsiteX1" fmla="*/ 547687 w 648581"/>
                      <a:gd name="connsiteY1" fmla="*/ 71438 h 302558"/>
                      <a:gd name="connsiteX2" fmla="*/ 161926 w 648581"/>
                      <a:gd name="connsiteY2" fmla="*/ 14288 h 302558"/>
                      <a:gd name="connsiteX3" fmla="*/ 23812 w 648581"/>
                      <a:gd name="connsiteY3" fmla="*/ 128588 h 302558"/>
                      <a:gd name="connsiteX4" fmla="*/ 202823 w 648581"/>
                      <a:gd name="connsiteY4" fmla="*/ 64332 h 302558"/>
                      <a:gd name="connsiteX5" fmla="*/ 504749 w 648581"/>
                      <a:gd name="connsiteY5" fmla="*/ 111957 h 302558"/>
                      <a:gd name="connsiteX6" fmla="*/ 604686 w 648581"/>
                      <a:gd name="connsiteY6" fmla="*/ 293385 h 302558"/>
                      <a:gd name="connsiteX0" fmla="*/ 604686 w 648581"/>
                      <a:gd name="connsiteY0" fmla="*/ 293385 h 302558"/>
                      <a:gd name="connsiteX1" fmla="*/ 547687 w 648581"/>
                      <a:gd name="connsiteY1" fmla="*/ 71438 h 302558"/>
                      <a:gd name="connsiteX2" fmla="*/ 161926 w 648581"/>
                      <a:gd name="connsiteY2" fmla="*/ 14288 h 302558"/>
                      <a:gd name="connsiteX3" fmla="*/ 23812 w 648581"/>
                      <a:gd name="connsiteY3" fmla="*/ 128588 h 302558"/>
                      <a:gd name="connsiteX4" fmla="*/ 202823 w 648581"/>
                      <a:gd name="connsiteY4" fmla="*/ 64332 h 302558"/>
                      <a:gd name="connsiteX5" fmla="*/ 504749 w 648581"/>
                      <a:gd name="connsiteY5" fmla="*/ 111957 h 302558"/>
                      <a:gd name="connsiteX6" fmla="*/ 604686 w 648581"/>
                      <a:gd name="connsiteY6" fmla="*/ 293385 h 302558"/>
                      <a:gd name="connsiteX0" fmla="*/ 604686 w 648581"/>
                      <a:gd name="connsiteY0" fmla="*/ 293385 h 302558"/>
                      <a:gd name="connsiteX1" fmla="*/ 547687 w 648581"/>
                      <a:gd name="connsiteY1" fmla="*/ 71438 h 302558"/>
                      <a:gd name="connsiteX2" fmla="*/ 161926 w 648581"/>
                      <a:gd name="connsiteY2" fmla="*/ 14288 h 302558"/>
                      <a:gd name="connsiteX3" fmla="*/ 23812 w 648581"/>
                      <a:gd name="connsiteY3" fmla="*/ 128588 h 302558"/>
                      <a:gd name="connsiteX4" fmla="*/ 202823 w 648581"/>
                      <a:gd name="connsiteY4" fmla="*/ 64332 h 302558"/>
                      <a:gd name="connsiteX5" fmla="*/ 504749 w 648581"/>
                      <a:gd name="connsiteY5" fmla="*/ 111957 h 302558"/>
                      <a:gd name="connsiteX6" fmla="*/ 604686 w 648581"/>
                      <a:gd name="connsiteY6" fmla="*/ 293385 h 302558"/>
                      <a:gd name="connsiteX0" fmla="*/ 604686 w 648581"/>
                      <a:gd name="connsiteY0" fmla="*/ 293385 h 302558"/>
                      <a:gd name="connsiteX1" fmla="*/ 547687 w 648581"/>
                      <a:gd name="connsiteY1" fmla="*/ 71438 h 302558"/>
                      <a:gd name="connsiteX2" fmla="*/ 161926 w 648581"/>
                      <a:gd name="connsiteY2" fmla="*/ 14288 h 302558"/>
                      <a:gd name="connsiteX3" fmla="*/ 23812 w 648581"/>
                      <a:gd name="connsiteY3" fmla="*/ 128588 h 302558"/>
                      <a:gd name="connsiteX4" fmla="*/ 202823 w 648581"/>
                      <a:gd name="connsiteY4" fmla="*/ 64332 h 302558"/>
                      <a:gd name="connsiteX5" fmla="*/ 504749 w 648581"/>
                      <a:gd name="connsiteY5" fmla="*/ 111957 h 302558"/>
                      <a:gd name="connsiteX6" fmla="*/ 604686 w 648581"/>
                      <a:gd name="connsiteY6" fmla="*/ 293385 h 302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8581" h="302558">
                        <a:moveTo>
                          <a:pt x="604686" y="293385"/>
                        </a:moveTo>
                        <a:cubicBezTo>
                          <a:pt x="648581" y="302558"/>
                          <a:pt x="580975" y="151770"/>
                          <a:pt x="547687" y="71438"/>
                        </a:cubicBezTo>
                        <a:cubicBezTo>
                          <a:pt x="398721" y="15795"/>
                          <a:pt x="268987" y="0"/>
                          <a:pt x="161926" y="14288"/>
                        </a:cubicBezTo>
                        <a:cubicBezTo>
                          <a:pt x="119063" y="30957"/>
                          <a:pt x="0" y="92869"/>
                          <a:pt x="23812" y="128588"/>
                        </a:cubicBezTo>
                        <a:cubicBezTo>
                          <a:pt x="75419" y="105557"/>
                          <a:pt x="95577" y="84944"/>
                          <a:pt x="202823" y="64332"/>
                        </a:cubicBezTo>
                        <a:cubicBezTo>
                          <a:pt x="340558" y="80207"/>
                          <a:pt x="354919" y="79149"/>
                          <a:pt x="504749" y="111957"/>
                        </a:cubicBezTo>
                        <a:cubicBezTo>
                          <a:pt x="570316" y="169146"/>
                          <a:pt x="580243" y="230986"/>
                          <a:pt x="604686" y="29338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725" name="Freeform 336">
                    <a:extLst>
                      <a:ext uri="{FF2B5EF4-FFF2-40B4-BE49-F238E27FC236}">
                        <a16:creationId xmlns:a16="http://schemas.microsoft.com/office/drawing/2014/main" id="{75032D39-CE42-4296-8185-4337598989F2}"/>
                      </a:ext>
                    </a:extLst>
                  </p:cNvPr>
                  <p:cNvSpPr/>
                  <p:nvPr/>
                </p:nvSpPr>
                <p:spPr>
                  <a:xfrm>
                    <a:off x="3423127" y="-700072"/>
                    <a:ext cx="307964" cy="556927"/>
                  </a:xfrm>
                  <a:custGeom>
                    <a:avLst/>
                    <a:gdLst>
                      <a:gd name="connsiteX0" fmla="*/ 168812 w 351692"/>
                      <a:gd name="connsiteY0" fmla="*/ 0 h 253218"/>
                      <a:gd name="connsiteX1" fmla="*/ 351692 w 351692"/>
                      <a:gd name="connsiteY1" fmla="*/ 225083 h 253218"/>
                      <a:gd name="connsiteX2" fmla="*/ 281354 w 351692"/>
                      <a:gd name="connsiteY2" fmla="*/ 253218 h 253218"/>
                      <a:gd name="connsiteX3" fmla="*/ 0 w 351692"/>
                      <a:gd name="connsiteY3" fmla="*/ 98473 h 253218"/>
                      <a:gd name="connsiteX4" fmla="*/ 168812 w 351692"/>
                      <a:gd name="connsiteY4" fmla="*/ 0 h 253218"/>
                      <a:gd name="connsiteX0" fmla="*/ 168812 w 351692"/>
                      <a:gd name="connsiteY0" fmla="*/ 0 h 357237"/>
                      <a:gd name="connsiteX1" fmla="*/ 351692 w 351692"/>
                      <a:gd name="connsiteY1" fmla="*/ 225083 h 357237"/>
                      <a:gd name="connsiteX2" fmla="*/ 216040 w 351692"/>
                      <a:gd name="connsiteY2" fmla="*/ 357237 h 357237"/>
                      <a:gd name="connsiteX3" fmla="*/ 0 w 351692"/>
                      <a:gd name="connsiteY3" fmla="*/ 98473 h 357237"/>
                      <a:gd name="connsiteX4" fmla="*/ 168812 w 351692"/>
                      <a:gd name="connsiteY4" fmla="*/ 0 h 357237"/>
                      <a:gd name="connsiteX0" fmla="*/ 168812 w 332339"/>
                      <a:gd name="connsiteY0" fmla="*/ 0 h 357237"/>
                      <a:gd name="connsiteX1" fmla="*/ 332339 w 332339"/>
                      <a:gd name="connsiteY1" fmla="*/ 333940 h 357237"/>
                      <a:gd name="connsiteX2" fmla="*/ 216040 w 332339"/>
                      <a:gd name="connsiteY2" fmla="*/ 357237 h 357237"/>
                      <a:gd name="connsiteX3" fmla="*/ 0 w 332339"/>
                      <a:gd name="connsiteY3" fmla="*/ 98473 h 357237"/>
                      <a:gd name="connsiteX4" fmla="*/ 168812 w 332339"/>
                      <a:gd name="connsiteY4" fmla="*/ 0 h 357237"/>
                      <a:gd name="connsiteX0" fmla="*/ 168812 w 332339"/>
                      <a:gd name="connsiteY0" fmla="*/ 0 h 433630"/>
                      <a:gd name="connsiteX1" fmla="*/ 332339 w 332339"/>
                      <a:gd name="connsiteY1" fmla="*/ 333940 h 433630"/>
                      <a:gd name="connsiteX2" fmla="*/ 216040 w 332339"/>
                      <a:gd name="connsiteY2" fmla="*/ 357237 h 433630"/>
                      <a:gd name="connsiteX3" fmla="*/ 0 w 332339"/>
                      <a:gd name="connsiteY3" fmla="*/ 98473 h 433630"/>
                      <a:gd name="connsiteX4" fmla="*/ 168812 w 332339"/>
                      <a:gd name="connsiteY4" fmla="*/ 0 h 433630"/>
                      <a:gd name="connsiteX0" fmla="*/ 168812 w 332339"/>
                      <a:gd name="connsiteY0" fmla="*/ 0 h 433630"/>
                      <a:gd name="connsiteX1" fmla="*/ 332339 w 332339"/>
                      <a:gd name="connsiteY1" fmla="*/ 333940 h 433630"/>
                      <a:gd name="connsiteX2" fmla="*/ 216040 w 332339"/>
                      <a:gd name="connsiteY2" fmla="*/ 357237 h 433630"/>
                      <a:gd name="connsiteX3" fmla="*/ 0 w 332339"/>
                      <a:gd name="connsiteY3" fmla="*/ 98473 h 433630"/>
                      <a:gd name="connsiteX4" fmla="*/ 168812 w 332339"/>
                      <a:gd name="connsiteY4" fmla="*/ 0 h 433630"/>
                      <a:gd name="connsiteX0" fmla="*/ 168812 w 332339"/>
                      <a:gd name="connsiteY0" fmla="*/ 0 h 433630"/>
                      <a:gd name="connsiteX1" fmla="*/ 332339 w 332339"/>
                      <a:gd name="connsiteY1" fmla="*/ 333940 h 433630"/>
                      <a:gd name="connsiteX2" fmla="*/ 216040 w 332339"/>
                      <a:gd name="connsiteY2" fmla="*/ 333046 h 433630"/>
                      <a:gd name="connsiteX3" fmla="*/ 0 w 332339"/>
                      <a:gd name="connsiteY3" fmla="*/ 98473 h 433630"/>
                      <a:gd name="connsiteX4" fmla="*/ 168812 w 332339"/>
                      <a:gd name="connsiteY4" fmla="*/ 0 h 433630"/>
                      <a:gd name="connsiteX0" fmla="*/ 168812 w 332339"/>
                      <a:gd name="connsiteY0" fmla="*/ 0 h 433630"/>
                      <a:gd name="connsiteX1" fmla="*/ 332339 w 332339"/>
                      <a:gd name="connsiteY1" fmla="*/ 333940 h 433630"/>
                      <a:gd name="connsiteX2" fmla="*/ 216040 w 332339"/>
                      <a:gd name="connsiteY2" fmla="*/ 333046 h 433630"/>
                      <a:gd name="connsiteX3" fmla="*/ 0 w 332339"/>
                      <a:gd name="connsiteY3" fmla="*/ 98473 h 433630"/>
                      <a:gd name="connsiteX4" fmla="*/ 168812 w 332339"/>
                      <a:gd name="connsiteY4" fmla="*/ 0 h 433630"/>
                      <a:gd name="connsiteX0" fmla="*/ 168812 w 362496"/>
                      <a:gd name="connsiteY0" fmla="*/ 0 h 433630"/>
                      <a:gd name="connsiteX1" fmla="*/ 332339 w 362496"/>
                      <a:gd name="connsiteY1" fmla="*/ 333940 h 433630"/>
                      <a:gd name="connsiteX2" fmla="*/ 216040 w 362496"/>
                      <a:gd name="connsiteY2" fmla="*/ 333046 h 433630"/>
                      <a:gd name="connsiteX3" fmla="*/ 0 w 362496"/>
                      <a:gd name="connsiteY3" fmla="*/ 98473 h 433630"/>
                      <a:gd name="connsiteX4" fmla="*/ 168812 w 362496"/>
                      <a:gd name="connsiteY4" fmla="*/ 0 h 433630"/>
                      <a:gd name="connsiteX0" fmla="*/ 318793 w 373302"/>
                      <a:gd name="connsiteY0" fmla="*/ 3127 h 335157"/>
                      <a:gd name="connsiteX1" fmla="*/ 332339 w 373302"/>
                      <a:gd name="connsiteY1" fmla="*/ 235467 h 335157"/>
                      <a:gd name="connsiteX2" fmla="*/ 216040 w 373302"/>
                      <a:gd name="connsiteY2" fmla="*/ 234573 h 335157"/>
                      <a:gd name="connsiteX3" fmla="*/ 0 w 373302"/>
                      <a:gd name="connsiteY3" fmla="*/ 0 h 335157"/>
                      <a:gd name="connsiteX4" fmla="*/ 318793 w 373302"/>
                      <a:gd name="connsiteY4" fmla="*/ 3127 h 335157"/>
                      <a:gd name="connsiteX0" fmla="*/ 318793 w 387817"/>
                      <a:gd name="connsiteY0" fmla="*/ 3127 h 335157"/>
                      <a:gd name="connsiteX1" fmla="*/ 332339 w 387817"/>
                      <a:gd name="connsiteY1" fmla="*/ 235467 h 335157"/>
                      <a:gd name="connsiteX2" fmla="*/ 216040 w 387817"/>
                      <a:gd name="connsiteY2" fmla="*/ 234573 h 335157"/>
                      <a:gd name="connsiteX3" fmla="*/ 0 w 387817"/>
                      <a:gd name="connsiteY3" fmla="*/ 0 h 335157"/>
                      <a:gd name="connsiteX4" fmla="*/ 318793 w 387817"/>
                      <a:gd name="connsiteY4" fmla="*/ 3127 h 335157"/>
                      <a:gd name="connsiteX0" fmla="*/ 318793 w 387817"/>
                      <a:gd name="connsiteY0" fmla="*/ 148604 h 480634"/>
                      <a:gd name="connsiteX1" fmla="*/ 332339 w 387817"/>
                      <a:gd name="connsiteY1" fmla="*/ 380944 h 480634"/>
                      <a:gd name="connsiteX2" fmla="*/ 216040 w 387817"/>
                      <a:gd name="connsiteY2" fmla="*/ 380050 h 480634"/>
                      <a:gd name="connsiteX3" fmla="*/ 0 w 387817"/>
                      <a:gd name="connsiteY3" fmla="*/ 145477 h 480634"/>
                      <a:gd name="connsiteX4" fmla="*/ 318793 w 387817"/>
                      <a:gd name="connsiteY4" fmla="*/ 148604 h 480634"/>
                      <a:gd name="connsiteX0" fmla="*/ 227216 w 296240"/>
                      <a:gd name="connsiteY0" fmla="*/ 148604 h 480634"/>
                      <a:gd name="connsiteX1" fmla="*/ 240762 w 296240"/>
                      <a:gd name="connsiteY1" fmla="*/ 380944 h 480634"/>
                      <a:gd name="connsiteX2" fmla="*/ 124463 w 296240"/>
                      <a:gd name="connsiteY2" fmla="*/ 380050 h 480634"/>
                      <a:gd name="connsiteX3" fmla="*/ 55985 w 296240"/>
                      <a:gd name="connsiteY3" fmla="*/ 145477 h 480634"/>
                      <a:gd name="connsiteX4" fmla="*/ 227216 w 296240"/>
                      <a:gd name="connsiteY4" fmla="*/ 148604 h 480634"/>
                      <a:gd name="connsiteX0" fmla="*/ 227216 w 296240"/>
                      <a:gd name="connsiteY0" fmla="*/ 148604 h 480634"/>
                      <a:gd name="connsiteX1" fmla="*/ 240762 w 296240"/>
                      <a:gd name="connsiteY1" fmla="*/ 380944 h 480634"/>
                      <a:gd name="connsiteX2" fmla="*/ 124463 w 296240"/>
                      <a:gd name="connsiteY2" fmla="*/ 380050 h 480634"/>
                      <a:gd name="connsiteX3" fmla="*/ 55985 w 296240"/>
                      <a:gd name="connsiteY3" fmla="*/ 145477 h 480634"/>
                      <a:gd name="connsiteX4" fmla="*/ 227216 w 296240"/>
                      <a:gd name="connsiteY4" fmla="*/ 148604 h 480634"/>
                      <a:gd name="connsiteX0" fmla="*/ 227216 w 296240"/>
                      <a:gd name="connsiteY0" fmla="*/ 148604 h 480634"/>
                      <a:gd name="connsiteX1" fmla="*/ 240762 w 296240"/>
                      <a:gd name="connsiteY1" fmla="*/ 380944 h 480634"/>
                      <a:gd name="connsiteX2" fmla="*/ 124463 w 296240"/>
                      <a:gd name="connsiteY2" fmla="*/ 380050 h 480634"/>
                      <a:gd name="connsiteX3" fmla="*/ 55985 w 296240"/>
                      <a:gd name="connsiteY3" fmla="*/ 145477 h 480634"/>
                      <a:gd name="connsiteX4" fmla="*/ 227216 w 296240"/>
                      <a:gd name="connsiteY4" fmla="*/ 148604 h 480634"/>
                      <a:gd name="connsiteX0" fmla="*/ 229462 w 298486"/>
                      <a:gd name="connsiteY0" fmla="*/ 148604 h 480634"/>
                      <a:gd name="connsiteX1" fmla="*/ 243008 w 298486"/>
                      <a:gd name="connsiteY1" fmla="*/ 380944 h 480634"/>
                      <a:gd name="connsiteX2" fmla="*/ 126709 w 298486"/>
                      <a:gd name="connsiteY2" fmla="*/ 380050 h 480634"/>
                      <a:gd name="connsiteX3" fmla="*/ 48555 w 298486"/>
                      <a:gd name="connsiteY3" fmla="*/ 150315 h 480634"/>
                      <a:gd name="connsiteX4" fmla="*/ 229462 w 298486"/>
                      <a:gd name="connsiteY4" fmla="*/ 148604 h 480634"/>
                      <a:gd name="connsiteX0" fmla="*/ 227216 w 296240"/>
                      <a:gd name="connsiteY0" fmla="*/ 148604 h 470958"/>
                      <a:gd name="connsiteX1" fmla="*/ 245600 w 296240"/>
                      <a:gd name="connsiteY1" fmla="*/ 371268 h 470958"/>
                      <a:gd name="connsiteX2" fmla="*/ 129301 w 296240"/>
                      <a:gd name="connsiteY2" fmla="*/ 370374 h 470958"/>
                      <a:gd name="connsiteX3" fmla="*/ 51147 w 296240"/>
                      <a:gd name="connsiteY3" fmla="*/ 140639 h 470958"/>
                      <a:gd name="connsiteX4" fmla="*/ 227216 w 296240"/>
                      <a:gd name="connsiteY4" fmla="*/ 148604 h 470958"/>
                      <a:gd name="connsiteX0" fmla="*/ 235032 w 304056"/>
                      <a:gd name="connsiteY0" fmla="*/ 199404 h 521758"/>
                      <a:gd name="connsiteX1" fmla="*/ 253416 w 304056"/>
                      <a:gd name="connsiteY1" fmla="*/ 422068 h 521758"/>
                      <a:gd name="connsiteX2" fmla="*/ 137117 w 304056"/>
                      <a:gd name="connsiteY2" fmla="*/ 421174 h 521758"/>
                      <a:gd name="connsiteX3" fmla="*/ 58963 w 304056"/>
                      <a:gd name="connsiteY3" fmla="*/ 191439 h 521758"/>
                      <a:gd name="connsiteX4" fmla="*/ 235032 w 304056"/>
                      <a:gd name="connsiteY4" fmla="*/ 199404 h 521758"/>
                      <a:gd name="connsiteX0" fmla="*/ 238940 w 307964"/>
                      <a:gd name="connsiteY0" fmla="*/ 234573 h 556927"/>
                      <a:gd name="connsiteX1" fmla="*/ 257324 w 307964"/>
                      <a:gd name="connsiteY1" fmla="*/ 457237 h 556927"/>
                      <a:gd name="connsiteX2" fmla="*/ 141025 w 307964"/>
                      <a:gd name="connsiteY2" fmla="*/ 456343 h 556927"/>
                      <a:gd name="connsiteX3" fmla="*/ 62871 w 307964"/>
                      <a:gd name="connsiteY3" fmla="*/ 226608 h 556927"/>
                      <a:gd name="connsiteX4" fmla="*/ 238940 w 307964"/>
                      <a:gd name="connsiteY4" fmla="*/ 234573 h 556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964" h="556927">
                        <a:moveTo>
                          <a:pt x="238940" y="234573"/>
                        </a:moveTo>
                        <a:cubicBezTo>
                          <a:pt x="307964" y="275733"/>
                          <a:pt x="287481" y="297543"/>
                          <a:pt x="257324" y="457237"/>
                        </a:cubicBezTo>
                        <a:cubicBezTo>
                          <a:pt x="206462" y="556927"/>
                          <a:pt x="167696" y="513890"/>
                          <a:pt x="141025" y="456343"/>
                        </a:cubicBezTo>
                        <a:cubicBezTo>
                          <a:pt x="118199" y="378152"/>
                          <a:pt x="92954" y="304799"/>
                          <a:pt x="62871" y="226608"/>
                        </a:cubicBezTo>
                        <a:cubicBezTo>
                          <a:pt x="14316" y="135726"/>
                          <a:pt x="0" y="0"/>
                          <a:pt x="238940" y="23457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726" name="Freeform 337">
                    <a:extLst>
                      <a:ext uri="{FF2B5EF4-FFF2-40B4-BE49-F238E27FC236}">
                        <a16:creationId xmlns:a16="http://schemas.microsoft.com/office/drawing/2014/main" id="{F62EDBC4-F540-4C1A-B1A0-E039A2675229}"/>
                      </a:ext>
                    </a:extLst>
                  </p:cNvPr>
                  <p:cNvSpPr/>
                  <p:nvPr/>
                </p:nvSpPr>
                <p:spPr>
                  <a:xfrm>
                    <a:off x="2959100" y="-469900"/>
                    <a:ext cx="603647" cy="241299"/>
                  </a:xfrm>
                  <a:custGeom>
                    <a:avLst/>
                    <a:gdLst>
                      <a:gd name="connsiteX0" fmla="*/ 591344 w 602456"/>
                      <a:gd name="connsiteY0" fmla="*/ 241300 h 248840"/>
                      <a:gd name="connsiteX1" fmla="*/ 565150 w 602456"/>
                      <a:gd name="connsiteY1" fmla="*/ 138906 h 248840"/>
                      <a:gd name="connsiteX2" fmla="*/ 486569 w 602456"/>
                      <a:gd name="connsiteY2" fmla="*/ 50800 h 248840"/>
                      <a:gd name="connsiteX3" fmla="*/ 186531 w 602456"/>
                      <a:gd name="connsiteY3" fmla="*/ 3175 h 248840"/>
                      <a:gd name="connsiteX4" fmla="*/ 24606 w 602456"/>
                      <a:gd name="connsiteY4" fmla="*/ 69850 h 248840"/>
                      <a:gd name="connsiteX5" fmla="*/ 38894 w 602456"/>
                      <a:gd name="connsiteY5" fmla="*/ 72231 h 248840"/>
                      <a:gd name="connsiteX6" fmla="*/ 86519 w 602456"/>
                      <a:gd name="connsiteY6" fmla="*/ 112713 h 248840"/>
                      <a:gd name="connsiteX7" fmla="*/ 100806 w 602456"/>
                      <a:gd name="connsiteY7" fmla="*/ 60325 h 248840"/>
                      <a:gd name="connsiteX8" fmla="*/ 219869 w 602456"/>
                      <a:gd name="connsiteY8" fmla="*/ 31750 h 248840"/>
                      <a:gd name="connsiteX9" fmla="*/ 498475 w 602456"/>
                      <a:gd name="connsiteY9" fmla="*/ 93663 h 248840"/>
                      <a:gd name="connsiteX10" fmla="*/ 591344 w 602456"/>
                      <a:gd name="connsiteY10" fmla="*/ 241300 h 248840"/>
                      <a:gd name="connsiteX0" fmla="*/ 591344 w 602456"/>
                      <a:gd name="connsiteY0" fmla="*/ 241300 h 248840"/>
                      <a:gd name="connsiteX1" fmla="*/ 565150 w 602456"/>
                      <a:gd name="connsiteY1" fmla="*/ 138906 h 248840"/>
                      <a:gd name="connsiteX2" fmla="*/ 486569 w 602456"/>
                      <a:gd name="connsiteY2" fmla="*/ 50800 h 248840"/>
                      <a:gd name="connsiteX3" fmla="*/ 186531 w 602456"/>
                      <a:gd name="connsiteY3" fmla="*/ 3175 h 248840"/>
                      <a:gd name="connsiteX4" fmla="*/ 24606 w 602456"/>
                      <a:gd name="connsiteY4" fmla="*/ 69850 h 248840"/>
                      <a:gd name="connsiteX5" fmla="*/ 38894 w 602456"/>
                      <a:gd name="connsiteY5" fmla="*/ 72231 h 248840"/>
                      <a:gd name="connsiteX6" fmla="*/ 86519 w 602456"/>
                      <a:gd name="connsiteY6" fmla="*/ 112713 h 248840"/>
                      <a:gd name="connsiteX7" fmla="*/ 100806 w 602456"/>
                      <a:gd name="connsiteY7" fmla="*/ 60325 h 248840"/>
                      <a:gd name="connsiteX8" fmla="*/ 219869 w 602456"/>
                      <a:gd name="connsiteY8" fmla="*/ 46038 h 248840"/>
                      <a:gd name="connsiteX9" fmla="*/ 498475 w 602456"/>
                      <a:gd name="connsiteY9" fmla="*/ 93663 h 248840"/>
                      <a:gd name="connsiteX10" fmla="*/ 591344 w 602456"/>
                      <a:gd name="connsiteY10" fmla="*/ 241300 h 248840"/>
                      <a:gd name="connsiteX0" fmla="*/ 591344 w 602853"/>
                      <a:gd name="connsiteY0" fmla="*/ 241300 h 246856"/>
                      <a:gd name="connsiteX1" fmla="*/ 565150 w 602853"/>
                      <a:gd name="connsiteY1" fmla="*/ 138906 h 246856"/>
                      <a:gd name="connsiteX2" fmla="*/ 486569 w 602853"/>
                      <a:gd name="connsiteY2" fmla="*/ 50800 h 246856"/>
                      <a:gd name="connsiteX3" fmla="*/ 186531 w 602853"/>
                      <a:gd name="connsiteY3" fmla="*/ 3175 h 246856"/>
                      <a:gd name="connsiteX4" fmla="*/ 24606 w 602853"/>
                      <a:gd name="connsiteY4" fmla="*/ 69850 h 246856"/>
                      <a:gd name="connsiteX5" fmla="*/ 38894 w 602853"/>
                      <a:gd name="connsiteY5" fmla="*/ 72231 h 246856"/>
                      <a:gd name="connsiteX6" fmla="*/ 86519 w 602853"/>
                      <a:gd name="connsiteY6" fmla="*/ 112713 h 246856"/>
                      <a:gd name="connsiteX7" fmla="*/ 100806 w 602853"/>
                      <a:gd name="connsiteY7" fmla="*/ 60325 h 246856"/>
                      <a:gd name="connsiteX8" fmla="*/ 219869 w 602853"/>
                      <a:gd name="connsiteY8" fmla="*/ 46038 h 246856"/>
                      <a:gd name="connsiteX9" fmla="*/ 496094 w 602853"/>
                      <a:gd name="connsiteY9" fmla="*/ 105570 h 246856"/>
                      <a:gd name="connsiteX10" fmla="*/ 591344 w 602853"/>
                      <a:gd name="connsiteY10" fmla="*/ 241300 h 246856"/>
                      <a:gd name="connsiteX0" fmla="*/ 591344 w 602853"/>
                      <a:gd name="connsiteY0" fmla="*/ 241300 h 246856"/>
                      <a:gd name="connsiteX1" fmla="*/ 565150 w 602853"/>
                      <a:gd name="connsiteY1" fmla="*/ 138906 h 246856"/>
                      <a:gd name="connsiteX2" fmla="*/ 486569 w 602853"/>
                      <a:gd name="connsiteY2" fmla="*/ 50800 h 246856"/>
                      <a:gd name="connsiteX3" fmla="*/ 186531 w 602853"/>
                      <a:gd name="connsiteY3" fmla="*/ 3175 h 246856"/>
                      <a:gd name="connsiteX4" fmla="*/ 24606 w 602853"/>
                      <a:gd name="connsiteY4" fmla="*/ 69850 h 246856"/>
                      <a:gd name="connsiteX5" fmla="*/ 38894 w 602853"/>
                      <a:gd name="connsiteY5" fmla="*/ 72231 h 246856"/>
                      <a:gd name="connsiteX6" fmla="*/ 86519 w 602853"/>
                      <a:gd name="connsiteY6" fmla="*/ 112713 h 246856"/>
                      <a:gd name="connsiteX7" fmla="*/ 100806 w 602853"/>
                      <a:gd name="connsiteY7" fmla="*/ 60325 h 246856"/>
                      <a:gd name="connsiteX8" fmla="*/ 219869 w 602853"/>
                      <a:gd name="connsiteY8" fmla="*/ 36513 h 246856"/>
                      <a:gd name="connsiteX9" fmla="*/ 496094 w 602853"/>
                      <a:gd name="connsiteY9" fmla="*/ 105570 h 246856"/>
                      <a:gd name="connsiteX10" fmla="*/ 591344 w 602853"/>
                      <a:gd name="connsiteY10" fmla="*/ 241300 h 246856"/>
                      <a:gd name="connsiteX0" fmla="*/ 591344 w 602853"/>
                      <a:gd name="connsiteY0" fmla="*/ 241300 h 246856"/>
                      <a:gd name="connsiteX1" fmla="*/ 565150 w 602853"/>
                      <a:gd name="connsiteY1" fmla="*/ 138906 h 246856"/>
                      <a:gd name="connsiteX2" fmla="*/ 486569 w 602853"/>
                      <a:gd name="connsiteY2" fmla="*/ 50800 h 246856"/>
                      <a:gd name="connsiteX3" fmla="*/ 186531 w 602853"/>
                      <a:gd name="connsiteY3" fmla="*/ 3175 h 246856"/>
                      <a:gd name="connsiteX4" fmla="*/ 24606 w 602853"/>
                      <a:gd name="connsiteY4" fmla="*/ 69850 h 246856"/>
                      <a:gd name="connsiteX5" fmla="*/ 38894 w 602853"/>
                      <a:gd name="connsiteY5" fmla="*/ 72231 h 246856"/>
                      <a:gd name="connsiteX6" fmla="*/ 86519 w 602853"/>
                      <a:gd name="connsiteY6" fmla="*/ 112713 h 246856"/>
                      <a:gd name="connsiteX7" fmla="*/ 100806 w 602853"/>
                      <a:gd name="connsiteY7" fmla="*/ 60325 h 246856"/>
                      <a:gd name="connsiteX8" fmla="*/ 219869 w 602853"/>
                      <a:gd name="connsiteY8" fmla="*/ 36513 h 246856"/>
                      <a:gd name="connsiteX9" fmla="*/ 496094 w 602853"/>
                      <a:gd name="connsiteY9" fmla="*/ 105570 h 246856"/>
                      <a:gd name="connsiteX10" fmla="*/ 591344 w 602853"/>
                      <a:gd name="connsiteY10" fmla="*/ 241300 h 246856"/>
                      <a:gd name="connsiteX0" fmla="*/ 591344 w 603647"/>
                      <a:gd name="connsiteY0" fmla="*/ 241300 h 248443"/>
                      <a:gd name="connsiteX1" fmla="*/ 565150 w 603647"/>
                      <a:gd name="connsiteY1" fmla="*/ 138906 h 248443"/>
                      <a:gd name="connsiteX2" fmla="*/ 486569 w 603647"/>
                      <a:gd name="connsiteY2" fmla="*/ 50800 h 248443"/>
                      <a:gd name="connsiteX3" fmla="*/ 186531 w 603647"/>
                      <a:gd name="connsiteY3" fmla="*/ 3175 h 248443"/>
                      <a:gd name="connsiteX4" fmla="*/ 24606 w 603647"/>
                      <a:gd name="connsiteY4" fmla="*/ 69850 h 248443"/>
                      <a:gd name="connsiteX5" fmla="*/ 38894 w 603647"/>
                      <a:gd name="connsiteY5" fmla="*/ 72231 h 248443"/>
                      <a:gd name="connsiteX6" fmla="*/ 86519 w 603647"/>
                      <a:gd name="connsiteY6" fmla="*/ 112713 h 248443"/>
                      <a:gd name="connsiteX7" fmla="*/ 100806 w 603647"/>
                      <a:gd name="connsiteY7" fmla="*/ 60325 h 248443"/>
                      <a:gd name="connsiteX8" fmla="*/ 219869 w 603647"/>
                      <a:gd name="connsiteY8" fmla="*/ 36513 h 248443"/>
                      <a:gd name="connsiteX9" fmla="*/ 491331 w 603647"/>
                      <a:gd name="connsiteY9" fmla="*/ 96045 h 248443"/>
                      <a:gd name="connsiteX10" fmla="*/ 591344 w 603647"/>
                      <a:gd name="connsiteY10" fmla="*/ 241300 h 248443"/>
                      <a:gd name="connsiteX0" fmla="*/ 591344 w 603647"/>
                      <a:gd name="connsiteY0" fmla="*/ 241300 h 248443"/>
                      <a:gd name="connsiteX1" fmla="*/ 565150 w 603647"/>
                      <a:gd name="connsiteY1" fmla="*/ 138906 h 248443"/>
                      <a:gd name="connsiteX2" fmla="*/ 486569 w 603647"/>
                      <a:gd name="connsiteY2" fmla="*/ 50800 h 248443"/>
                      <a:gd name="connsiteX3" fmla="*/ 186531 w 603647"/>
                      <a:gd name="connsiteY3" fmla="*/ 3175 h 248443"/>
                      <a:gd name="connsiteX4" fmla="*/ 24606 w 603647"/>
                      <a:gd name="connsiteY4" fmla="*/ 69850 h 248443"/>
                      <a:gd name="connsiteX5" fmla="*/ 38894 w 603647"/>
                      <a:gd name="connsiteY5" fmla="*/ 72231 h 248443"/>
                      <a:gd name="connsiteX6" fmla="*/ 107950 w 603647"/>
                      <a:gd name="connsiteY6" fmla="*/ 127001 h 248443"/>
                      <a:gd name="connsiteX7" fmla="*/ 100806 w 603647"/>
                      <a:gd name="connsiteY7" fmla="*/ 60325 h 248443"/>
                      <a:gd name="connsiteX8" fmla="*/ 219869 w 603647"/>
                      <a:gd name="connsiteY8" fmla="*/ 36513 h 248443"/>
                      <a:gd name="connsiteX9" fmla="*/ 491331 w 603647"/>
                      <a:gd name="connsiteY9" fmla="*/ 96045 h 248443"/>
                      <a:gd name="connsiteX10" fmla="*/ 591344 w 603647"/>
                      <a:gd name="connsiteY10" fmla="*/ 241300 h 248443"/>
                      <a:gd name="connsiteX0" fmla="*/ 591344 w 603647"/>
                      <a:gd name="connsiteY0" fmla="*/ 241300 h 248443"/>
                      <a:gd name="connsiteX1" fmla="*/ 565150 w 603647"/>
                      <a:gd name="connsiteY1" fmla="*/ 138906 h 248443"/>
                      <a:gd name="connsiteX2" fmla="*/ 486569 w 603647"/>
                      <a:gd name="connsiteY2" fmla="*/ 50800 h 248443"/>
                      <a:gd name="connsiteX3" fmla="*/ 186531 w 603647"/>
                      <a:gd name="connsiteY3" fmla="*/ 3175 h 248443"/>
                      <a:gd name="connsiteX4" fmla="*/ 24606 w 603647"/>
                      <a:gd name="connsiteY4" fmla="*/ 69850 h 248443"/>
                      <a:gd name="connsiteX5" fmla="*/ 38894 w 603647"/>
                      <a:gd name="connsiteY5" fmla="*/ 72231 h 248443"/>
                      <a:gd name="connsiteX6" fmla="*/ 107950 w 603647"/>
                      <a:gd name="connsiteY6" fmla="*/ 127001 h 248443"/>
                      <a:gd name="connsiteX7" fmla="*/ 115094 w 603647"/>
                      <a:gd name="connsiteY7" fmla="*/ 65088 h 248443"/>
                      <a:gd name="connsiteX8" fmla="*/ 219869 w 603647"/>
                      <a:gd name="connsiteY8" fmla="*/ 36513 h 248443"/>
                      <a:gd name="connsiteX9" fmla="*/ 491331 w 603647"/>
                      <a:gd name="connsiteY9" fmla="*/ 96045 h 248443"/>
                      <a:gd name="connsiteX10" fmla="*/ 591344 w 603647"/>
                      <a:gd name="connsiteY10" fmla="*/ 241300 h 248443"/>
                      <a:gd name="connsiteX0" fmla="*/ 591344 w 603647"/>
                      <a:gd name="connsiteY0" fmla="*/ 241300 h 248443"/>
                      <a:gd name="connsiteX1" fmla="*/ 565150 w 603647"/>
                      <a:gd name="connsiteY1" fmla="*/ 138906 h 248443"/>
                      <a:gd name="connsiteX2" fmla="*/ 486569 w 603647"/>
                      <a:gd name="connsiteY2" fmla="*/ 50800 h 248443"/>
                      <a:gd name="connsiteX3" fmla="*/ 186531 w 603647"/>
                      <a:gd name="connsiteY3" fmla="*/ 3175 h 248443"/>
                      <a:gd name="connsiteX4" fmla="*/ 24606 w 603647"/>
                      <a:gd name="connsiteY4" fmla="*/ 69850 h 248443"/>
                      <a:gd name="connsiteX5" fmla="*/ 38894 w 603647"/>
                      <a:gd name="connsiteY5" fmla="*/ 72231 h 248443"/>
                      <a:gd name="connsiteX6" fmla="*/ 107950 w 603647"/>
                      <a:gd name="connsiteY6" fmla="*/ 127001 h 248443"/>
                      <a:gd name="connsiteX7" fmla="*/ 115094 w 603647"/>
                      <a:gd name="connsiteY7" fmla="*/ 65088 h 248443"/>
                      <a:gd name="connsiteX8" fmla="*/ 219869 w 603647"/>
                      <a:gd name="connsiteY8" fmla="*/ 36513 h 248443"/>
                      <a:gd name="connsiteX9" fmla="*/ 491331 w 603647"/>
                      <a:gd name="connsiteY9" fmla="*/ 96045 h 248443"/>
                      <a:gd name="connsiteX10" fmla="*/ 591344 w 603647"/>
                      <a:gd name="connsiteY10" fmla="*/ 241300 h 248443"/>
                      <a:gd name="connsiteX0" fmla="*/ 591344 w 603647"/>
                      <a:gd name="connsiteY0" fmla="*/ 241300 h 248443"/>
                      <a:gd name="connsiteX1" fmla="*/ 565150 w 603647"/>
                      <a:gd name="connsiteY1" fmla="*/ 138906 h 248443"/>
                      <a:gd name="connsiteX2" fmla="*/ 486569 w 603647"/>
                      <a:gd name="connsiteY2" fmla="*/ 50800 h 248443"/>
                      <a:gd name="connsiteX3" fmla="*/ 186531 w 603647"/>
                      <a:gd name="connsiteY3" fmla="*/ 3175 h 248443"/>
                      <a:gd name="connsiteX4" fmla="*/ 24606 w 603647"/>
                      <a:gd name="connsiteY4" fmla="*/ 69850 h 248443"/>
                      <a:gd name="connsiteX5" fmla="*/ 38894 w 603647"/>
                      <a:gd name="connsiteY5" fmla="*/ 72231 h 248443"/>
                      <a:gd name="connsiteX6" fmla="*/ 107950 w 603647"/>
                      <a:gd name="connsiteY6" fmla="*/ 127001 h 248443"/>
                      <a:gd name="connsiteX7" fmla="*/ 115094 w 603647"/>
                      <a:gd name="connsiteY7" fmla="*/ 65088 h 248443"/>
                      <a:gd name="connsiteX8" fmla="*/ 219869 w 603647"/>
                      <a:gd name="connsiteY8" fmla="*/ 36513 h 248443"/>
                      <a:gd name="connsiteX9" fmla="*/ 491331 w 603647"/>
                      <a:gd name="connsiteY9" fmla="*/ 96045 h 248443"/>
                      <a:gd name="connsiteX10" fmla="*/ 591344 w 603647"/>
                      <a:gd name="connsiteY10" fmla="*/ 241300 h 248443"/>
                      <a:gd name="connsiteX0" fmla="*/ 591344 w 603647"/>
                      <a:gd name="connsiteY0" fmla="*/ 241300 h 248443"/>
                      <a:gd name="connsiteX1" fmla="*/ 565150 w 603647"/>
                      <a:gd name="connsiteY1" fmla="*/ 138906 h 248443"/>
                      <a:gd name="connsiteX2" fmla="*/ 486569 w 603647"/>
                      <a:gd name="connsiteY2" fmla="*/ 50800 h 248443"/>
                      <a:gd name="connsiteX3" fmla="*/ 186531 w 603647"/>
                      <a:gd name="connsiteY3" fmla="*/ 3175 h 248443"/>
                      <a:gd name="connsiteX4" fmla="*/ 24606 w 603647"/>
                      <a:gd name="connsiteY4" fmla="*/ 69850 h 248443"/>
                      <a:gd name="connsiteX5" fmla="*/ 38894 w 603647"/>
                      <a:gd name="connsiteY5" fmla="*/ 72231 h 248443"/>
                      <a:gd name="connsiteX6" fmla="*/ 107950 w 603647"/>
                      <a:gd name="connsiteY6" fmla="*/ 127001 h 248443"/>
                      <a:gd name="connsiteX7" fmla="*/ 115094 w 603647"/>
                      <a:gd name="connsiteY7" fmla="*/ 65088 h 248443"/>
                      <a:gd name="connsiteX8" fmla="*/ 219869 w 603647"/>
                      <a:gd name="connsiteY8" fmla="*/ 36513 h 248443"/>
                      <a:gd name="connsiteX9" fmla="*/ 491331 w 603647"/>
                      <a:gd name="connsiteY9" fmla="*/ 96045 h 248443"/>
                      <a:gd name="connsiteX10" fmla="*/ 591344 w 603647"/>
                      <a:gd name="connsiteY10" fmla="*/ 241300 h 248443"/>
                      <a:gd name="connsiteX0" fmla="*/ 591344 w 603647"/>
                      <a:gd name="connsiteY0" fmla="*/ 241300 h 248443"/>
                      <a:gd name="connsiteX1" fmla="*/ 565150 w 603647"/>
                      <a:gd name="connsiteY1" fmla="*/ 138906 h 248443"/>
                      <a:gd name="connsiteX2" fmla="*/ 486569 w 603647"/>
                      <a:gd name="connsiteY2" fmla="*/ 50800 h 248443"/>
                      <a:gd name="connsiteX3" fmla="*/ 186531 w 603647"/>
                      <a:gd name="connsiteY3" fmla="*/ 3175 h 248443"/>
                      <a:gd name="connsiteX4" fmla="*/ 24606 w 603647"/>
                      <a:gd name="connsiteY4" fmla="*/ 69850 h 248443"/>
                      <a:gd name="connsiteX5" fmla="*/ 38894 w 603647"/>
                      <a:gd name="connsiteY5" fmla="*/ 72231 h 248443"/>
                      <a:gd name="connsiteX6" fmla="*/ 107950 w 603647"/>
                      <a:gd name="connsiteY6" fmla="*/ 127001 h 248443"/>
                      <a:gd name="connsiteX7" fmla="*/ 115094 w 603647"/>
                      <a:gd name="connsiteY7" fmla="*/ 65088 h 248443"/>
                      <a:gd name="connsiteX8" fmla="*/ 219869 w 603647"/>
                      <a:gd name="connsiteY8" fmla="*/ 36513 h 248443"/>
                      <a:gd name="connsiteX9" fmla="*/ 491331 w 603647"/>
                      <a:gd name="connsiteY9" fmla="*/ 96045 h 248443"/>
                      <a:gd name="connsiteX10" fmla="*/ 591344 w 603647"/>
                      <a:gd name="connsiteY10" fmla="*/ 241300 h 248443"/>
                      <a:gd name="connsiteX0" fmla="*/ 591344 w 603647"/>
                      <a:gd name="connsiteY0" fmla="*/ 234156 h 241299"/>
                      <a:gd name="connsiteX1" fmla="*/ 565150 w 603647"/>
                      <a:gd name="connsiteY1" fmla="*/ 131762 h 241299"/>
                      <a:gd name="connsiteX2" fmla="*/ 486569 w 603647"/>
                      <a:gd name="connsiteY2" fmla="*/ 43656 h 241299"/>
                      <a:gd name="connsiteX3" fmla="*/ 186531 w 603647"/>
                      <a:gd name="connsiteY3" fmla="*/ 3175 h 241299"/>
                      <a:gd name="connsiteX4" fmla="*/ 24606 w 603647"/>
                      <a:gd name="connsiteY4" fmla="*/ 62706 h 241299"/>
                      <a:gd name="connsiteX5" fmla="*/ 38894 w 603647"/>
                      <a:gd name="connsiteY5" fmla="*/ 65087 h 241299"/>
                      <a:gd name="connsiteX6" fmla="*/ 107950 w 603647"/>
                      <a:gd name="connsiteY6" fmla="*/ 119857 h 241299"/>
                      <a:gd name="connsiteX7" fmla="*/ 115094 w 603647"/>
                      <a:gd name="connsiteY7" fmla="*/ 57944 h 241299"/>
                      <a:gd name="connsiteX8" fmla="*/ 219869 w 603647"/>
                      <a:gd name="connsiteY8" fmla="*/ 29369 h 241299"/>
                      <a:gd name="connsiteX9" fmla="*/ 491331 w 603647"/>
                      <a:gd name="connsiteY9" fmla="*/ 88901 h 241299"/>
                      <a:gd name="connsiteX10" fmla="*/ 591344 w 603647"/>
                      <a:gd name="connsiteY10" fmla="*/ 234156 h 241299"/>
                      <a:gd name="connsiteX0" fmla="*/ 591344 w 603647"/>
                      <a:gd name="connsiteY0" fmla="*/ 234156 h 241299"/>
                      <a:gd name="connsiteX1" fmla="*/ 565150 w 603647"/>
                      <a:gd name="connsiteY1" fmla="*/ 131762 h 241299"/>
                      <a:gd name="connsiteX2" fmla="*/ 486569 w 603647"/>
                      <a:gd name="connsiteY2" fmla="*/ 43656 h 241299"/>
                      <a:gd name="connsiteX3" fmla="*/ 186531 w 603647"/>
                      <a:gd name="connsiteY3" fmla="*/ 3175 h 241299"/>
                      <a:gd name="connsiteX4" fmla="*/ 24606 w 603647"/>
                      <a:gd name="connsiteY4" fmla="*/ 62706 h 241299"/>
                      <a:gd name="connsiteX5" fmla="*/ 38894 w 603647"/>
                      <a:gd name="connsiteY5" fmla="*/ 65087 h 241299"/>
                      <a:gd name="connsiteX6" fmla="*/ 107950 w 603647"/>
                      <a:gd name="connsiteY6" fmla="*/ 119857 h 241299"/>
                      <a:gd name="connsiteX7" fmla="*/ 115094 w 603647"/>
                      <a:gd name="connsiteY7" fmla="*/ 57944 h 241299"/>
                      <a:gd name="connsiteX8" fmla="*/ 219869 w 603647"/>
                      <a:gd name="connsiteY8" fmla="*/ 29369 h 241299"/>
                      <a:gd name="connsiteX9" fmla="*/ 491331 w 603647"/>
                      <a:gd name="connsiteY9" fmla="*/ 88901 h 241299"/>
                      <a:gd name="connsiteX10" fmla="*/ 591344 w 603647"/>
                      <a:gd name="connsiteY10" fmla="*/ 234156 h 241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3647" h="241299">
                        <a:moveTo>
                          <a:pt x="591344" y="234156"/>
                        </a:moveTo>
                        <a:cubicBezTo>
                          <a:pt x="603647" y="241299"/>
                          <a:pt x="582612" y="163512"/>
                          <a:pt x="565150" y="131762"/>
                        </a:cubicBezTo>
                        <a:cubicBezTo>
                          <a:pt x="547688" y="100012"/>
                          <a:pt x="549672" y="65087"/>
                          <a:pt x="486569" y="43656"/>
                        </a:cubicBezTo>
                        <a:cubicBezTo>
                          <a:pt x="423466" y="22225"/>
                          <a:pt x="263525" y="0"/>
                          <a:pt x="186531" y="3175"/>
                        </a:cubicBezTo>
                        <a:cubicBezTo>
                          <a:pt x="100012" y="13494"/>
                          <a:pt x="49212" y="52387"/>
                          <a:pt x="24606" y="62706"/>
                        </a:cubicBezTo>
                        <a:cubicBezTo>
                          <a:pt x="0" y="73025"/>
                          <a:pt x="25003" y="55562"/>
                          <a:pt x="38894" y="65087"/>
                        </a:cubicBezTo>
                        <a:cubicBezTo>
                          <a:pt x="52785" y="74612"/>
                          <a:pt x="95250" y="121047"/>
                          <a:pt x="107950" y="119857"/>
                        </a:cubicBezTo>
                        <a:cubicBezTo>
                          <a:pt x="120650" y="118667"/>
                          <a:pt x="84535" y="89694"/>
                          <a:pt x="115094" y="57944"/>
                        </a:cubicBezTo>
                        <a:cubicBezTo>
                          <a:pt x="133747" y="42863"/>
                          <a:pt x="192089" y="26590"/>
                          <a:pt x="219869" y="29369"/>
                        </a:cubicBezTo>
                        <a:cubicBezTo>
                          <a:pt x="302419" y="32148"/>
                          <a:pt x="429419" y="54770"/>
                          <a:pt x="491331" y="88901"/>
                        </a:cubicBezTo>
                        <a:cubicBezTo>
                          <a:pt x="553243" y="123032"/>
                          <a:pt x="579041" y="227013"/>
                          <a:pt x="591344" y="23415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727" name="Oval 726">
                    <a:extLst>
                      <a:ext uri="{FF2B5EF4-FFF2-40B4-BE49-F238E27FC236}">
                        <a16:creationId xmlns:a16="http://schemas.microsoft.com/office/drawing/2014/main" id="{7D33CB22-7310-4DAB-8A4D-7C00D3B98D14}"/>
                      </a:ext>
                    </a:extLst>
                  </p:cNvPr>
                  <p:cNvSpPr/>
                  <p:nvPr/>
                </p:nvSpPr>
                <p:spPr>
                  <a:xfrm>
                    <a:off x="3267075" y="-430957"/>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697" name="Group 65">
                  <a:extLst>
                    <a:ext uri="{FF2B5EF4-FFF2-40B4-BE49-F238E27FC236}">
                      <a16:creationId xmlns:a16="http://schemas.microsoft.com/office/drawing/2014/main" id="{B11C6039-A086-40BB-9F84-25506A700B0C}"/>
                    </a:ext>
                  </a:extLst>
                </p:cNvPr>
                <p:cNvGrpSpPr/>
                <p:nvPr/>
              </p:nvGrpSpPr>
              <p:grpSpPr>
                <a:xfrm rot="1152482" flipH="1">
                  <a:off x="4123555" y="-579956"/>
                  <a:ext cx="798672" cy="619248"/>
                  <a:chOff x="2947988" y="-762393"/>
                  <a:chExt cx="783103" cy="619248"/>
                </a:xfrm>
                <a:grpFill/>
              </p:grpSpPr>
              <p:sp>
                <p:nvSpPr>
                  <p:cNvPr id="712" name="Freeform 145">
                    <a:extLst>
                      <a:ext uri="{FF2B5EF4-FFF2-40B4-BE49-F238E27FC236}">
                        <a16:creationId xmlns:a16="http://schemas.microsoft.com/office/drawing/2014/main" id="{28FF1F2A-0B32-4F40-98EE-9F6265507394}"/>
                      </a:ext>
                    </a:extLst>
                  </p:cNvPr>
                  <p:cNvSpPr/>
                  <p:nvPr/>
                </p:nvSpPr>
                <p:spPr>
                  <a:xfrm rot="20783618">
                    <a:off x="3068514" y="-762393"/>
                    <a:ext cx="599140" cy="376700"/>
                  </a:xfrm>
                  <a:custGeom>
                    <a:avLst/>
                    <a:gdLst>
                      <a:gd name="connsiteX0" fmla="*/ 1041009 w 1041009"/>
                      <a:gd name="connsiteY0" fmla="*/ 281354 h 351693"/>
                      <a:gd name="connsiteX1" fmla="*/ 618978 w 1041009"/>
                      <a:gd name="connsiteY1" fmla="*/ 42203 h 351693"/>
                      <a:gd name="connsiteX2" fmla="*/ 0 w 1041009"/>
                      <a:gd name="connsiteY2" fmla="*/ 0 h 351693"/>
                      <a:gd name="connsiteX3" fmla="*/ 661181 w 1041009"/>
                      <a:gd name="connsiteY3" fmla="*/ 154745 h 351693"/>
                      <a:gd name="connsiteX4" fmla="*/ 1012874 w 1041009"/>
                      <a:gd name="connsiteY4" fmla="*/ 351693 h 351693"/>
                      <a:gd name="connsiteX5" fmla="*/ 1041009 w 1041009"/>
                      <a:gd name="connsiteY5" fmla="*/ 281354 h 351693"/>
                      <a:gd name="connsiteX0" fmla="*/ 831459 w 831459"/>
                      <a:gd name="connsiteY0" fmla="*/ 239151 h 309490"/>
                      <a:gd name="connsiteX1" fmla="*/ 409428 w 831459"/>
                      <a:gd name="connsiteY1" fmla="*/ 0 h 309490"/>
                      <a:gd name="connsiteX2" fmla="*/ 0 w 831459"/>
                      <a:gd name="connsiteY2" fmla="*/ 33997 h 309490"/>
                      <a:gd name="connsiteX3" fmla="*/ 451631 w 831459"/>
                      <a:gd name="connsiteY3" fmla="*/ 112542 h 309490"/>
                      <a:gd name="connsiteX4" fmla="*/ 803324 w 831459"/>
                      <a:gd name="connsiteY4" fmla="*/ 309490 h 309490"/>
                      <a:gd name="connsiteX5" fmla="*/ 831459 w 831459"/>
                      <a:gd name="connsiteY5" fmla="*/ 239151 h 309490"/>
                      <a:gd name="connsiteX0" fmla="*/ 831459 w 831459"/>
                      <a:gd name="connsiteY0" fmla="*/ 239151 h 309490"/>
                      <a:gd name="connsiteX1" fmla="*/ 409428 w 831459"/>
                      <a:gd name="connsiteY1" fmla="*/ 0 h 309490"/>
                      <a:gd name="connsiteX2" fmla="*/ 0 w 831459"/>
                      <a:gd name="connsiteY2" fmla="*/ 33997 h 309490"/>
                      <a:gd name="connsiteX3" fmla="*/ 451631 w 831459"/>
                      <a:gd name="connsiteY3" fmla="*/ 112542 h 309490"/>
                      <a:gd name="connsiteX4" fmla="*/ 803324 w 831459"/>
                      <a:gd name="connsiteY4" fmla="*/ 309490 h 309490"/>
                      <a:gd name="connsiteX5" fmla="*/ 831459 w 831459"/>
                      <a:gd name="connsiteY5" fmla="*/ 239151 h 309490"/>
                      <a:gd name="connsiteX0" fmla="*/ 776752 w 803324"/>
                      <a:gd name="connsiteY0" fmla="*/ 188351 h 309490"/>
                      <a:gd name="connsiteX1" fmla="*/ 409428 w 803324"/>
                      <a:gd name="connsiteY1" fmla="*/ 0 h 309490"/>
                      <a:gd name="connsiteX2" fmla="*/ 0 w 803324"/>
                      <a:gd name="connsiteY2" fmla="*/ 33997 h 309490"/>
                      <a:gd name="connsiteX3" fmla="*/ 451631 w 803324"/>
                      <a:gd name="connsiteY3" fmla="*/ 112542 h 309490"/>
                      <a:gd name="connsiteX4" fmla="*/ 803324 w 803324"/>
                      <a:gd name="connsiteY4" fmla="*/ 309490 h 309490"/>
                      <a:gd name="connsiteX5" fmla="*/ 776752 w 803324"/>
                      <a:gd name="connsiteY5" fmla="*/ 188351 h 309490"/>
                      <a:gd name="connsiteX0" fmla="*/ 776752 w 832502"/>
                      <a:gd name="connsiteY0" fmla="*/ 188351 h 309490"/>
                      <a:gd name="connsiteX1" fmla="*/ 409428 w 832502"/>
                      <a:gd name="connsiteY1" fmla="*/ 0 h 309490"/>
                      <a:gd name="connsiteX2" fmla="*/ 0 w 832502"/>
                      <a:gd name="connsiteY2" fmla="*/ 33997 h 309490"/>
                      <a:gd name="connsiteX3" fmla="*/ 451631 w 832502"/>
                      <a:gd name="connsiteY3" fmla="*/ 112542 h 309490"/>
                      <a:gd name="connsiteX4" fmla="*/ 803324 w 832502"/>
                      <a:gd name="connsiteY4" fmla="*/ 309490 h 309490"/>
                      <a:gd name="connsiteX5" fmla="*/ 776752 w 832502"/>
                      <a:gd name="connsiteY5" fmla="*/ 188351 h 309490"/>
                      <a:gd name="connsiteX0" fmla="*/ 776752 w 832502"/>
                      <a:gd name="connsiteY0" fmla="*/ 188351 h 309490"/>
                      <a:gd name="connsiteX1" fmla="*/ 409428 w 832502"/>
                      <a:gd name="connsiteY1" fmla="*/ 0 h 309490"/>
                      <a:gd name="connsiteX2" fmla="*/ 0 w 832502"/>
                      <a:gd name="connsiteY2" fmla="*/ 33997 h 309490"/>
                      <a:gd name="connsiteX3" fmla="*/ 451631 w 832502"/>
                      <a:gd name="connsiteY3" fmla="*/ 112542 h 309490"/>
                      <a:gd name="connsiteX4" fmla="*/ 803324 w 832502"/>
                      <a:gd name="connsiteY4" fmla="*/ 309490 h 309490"/>
                      <a:gd name="connsiteX5" fmla="*/ 776752 w 832502"/>
                      <a:gd name="connsiteY5" fmla="*/ 188351 h 309490"/>
                      <a:gd name="connsiteX0" fmla="*/ 776752 w 832502"/>
                      <a:gd name="connsiteY0" fmla="*/ 188351 h 332936"/>
                      <a:gd name="connsiteX1" fmla="*/ 409428 w 832502"/>
                      <a:gd name="connsiteY1" fmla="*/ 0 h 332936"/>
                      <a:gd name="connsiteX2" fmla="*/ 0 w 832502"/>
                      <a:gd name="connsiteY2" fmla="*/ 33997 h 332936"/>
                      <a:gd name="connsiteX3" fmla="*/ 451631 w 832502"/>
                      <a:gd name="connsiteY3" fmla="*/ 112542 h 332936"/>
                      <a:gd name="connsiteX4" fmla="*/ 795508 w 832502"/>
                      <a:gd name="connsiteY4" fmla="*/ 332936 h 332936"/>
                      <a:gd name="connsiteX5" fmla="*/ 776752 w 832502"/>
                      <a:gd name="connsiteY5" fmla="*/ 188351 h 332936"/>
                      <a:gd name="connsiteX0" fmla="*/ 776752 w 832502"/>
                      <a:gd name="connsiteY0" fmla="*/ 188351 h 332936"/>
                      <a:gd name="connsiteX1" fmla="*/ 409428 w 832502"/>
                      <a:gd name="connsiteY1" fmla="*/ 0 h 332936"/>
                      <a:gd name="connsiteX2" fmla="*/ 0 w 832502"/>
                      <a:gd name="connsiteY2" fmla="*/ 33997 h 332936"/>
                      <a:gd name="connsiteX3" fmla="*/ 451631 w 832502"/>
                      <a:gd name="connsiteY3" fmla="*/ 112542 h 332936"/>
                      <a:gd name="connsiteX4" fmla="*/ 795508 w 832502"/>
                      <a:gd name="connsiteY4" fmla="*/ 332936 h 332936"/>
                      <a:gd name="connsiteX5" fmla="*/ 776752 w 832502"/>
                      <a:gd name="connsiteY5" fmla="*/ 188351 h 332936"/>
                      <a:gd name="connsiteX0" fmla="*/ 776752 w 832502"/>
                      <a:gd name="connsiteY0" fmla="*/ 188351 h 332936"/>
                      <a:gd name="connsiteX1" fmla="*/ 409428 w 832502"/>
                      <a:gd name="connsiteY1" fmla="*/ 0 h 332936"/>
                      <a:gd name="connsiteX2" fmla="*/ 0 w 832502"/>
                      <a:gd name="connsiteY2" fmla="*/ 33997 h 332936"/>
                      <a:gd name="connsiteX3" fmla="*/ 451631 w 832502"/>
                      <a:gd name="connsiteY3" fmla="*/ 112542 h 332936"/>
                      <a:gd name="connsiteX4" fmla="*/ 795508 w 832502"/>
                      <a:gd name="connsiteY4" fmla="*/ 332936 h 332936"/>
                      <a:gd name="connsiteX5" fmla="*/ 776752 w 832502"/>
                      <a:gd name="connsiteY5" fmla="*/ 188351 h 332936"/>
                      <a:gd name="connsiteX0" fmla="*/ 817685 w 873435"/>
                      <a:gd name="connsiteY0" fmla="*/ 188351 h 332936"/>
                      <a:gd name="connsiteX1" fmla="*/ 450361 w 873435"/>
                      <a:gd name="connsiteY1" fmla="*/ 0 h 332936"/>
                      <a:gd name="connsiteX2" fmla="*/ 40933 w 873435"/>
                      <a:gd name="connsiteY2" fmla="*/ 33997 h 332936"/>
                      <a:gd name="connsiteX3" fmla="*/ 492564 w 873435"/>
                      <a:gd name="connsiteY3" fmla="*/ 112542 h 332936"/>
                      <a:gd name="connsiteX4" fmla="*/ 836441 w 873435"/>
                      <a:gd name="connsiteY4" fmla="*/ 332936 h 332936"/>
                      <a:gd name="connsiteX5" fmla="*/ 817685 w 873435"/>
                      <a:gd name="connsiteY5" fmla="*/ 188351 h 332936"/>
                      <a:gd name="connsiteX0" fmla="*/ 817685 w 873435"/>
                      <a:gd name="connsiteY0" fmla="*/ 196948 h 341533"/>
                      <a:gd name="connsiteX1" fmla="*/ 450361 w 873435"/>
                      <a:gd name="connsiteY1" fmla="*/ 8597 h 341533"/>
                      <a:gd name="connsiteX2" fmla="*/ 40933 w 873435"/>
                      <a:gd name="connsiteY2" fmla="*/ 42594 h 341533"/>
                      <a:gd name="connsiteX3" fmla="*/ 492564 w 873435"/>
                      <a:gd name="connsiteY3" fmla="*/ 121139 h 341533"/>
                      <a:gd name="connsiteX4" fmla="*/ 836441 w 873435"/>
                      <a:gd name="connsiteY4" fmla="*/ 341533 h 341533"/>
                      <a:gd name="connsiteX5" fmla="*/ 817685 w 873435"/>
                      <a:gd name="connsiteY5" fmla="*/ 196948 h 341533"/>
                      <a:gd name="connsiteX0" fmla="*/ 813777 w 869527"/>
                      <a:gd name="connsiteY0" fmla="*/ 188351 h 332936"/>
                      <a:gd name="connsiteX1" fmla="*/ 446453 w 869527"/>
                      <a:gd name="connsiteY1" fmla="*/ 0 h 332936"/>
                      <a:gd name="connsiteX2" fmla="*/ 40933 w 869527"/>
                      <a:gd name="connsiteY2" fmla="*/ 53536 h 332936"/>
                      <a:gd name="connsiteX3" fmla="*/ 488656 w 869527"/>
                      <a:gd name="connsiteY3" fmla="*/ 112542 h 332936"/>
                      <a:gd name="connsiteX4" fmla="*/ 832533 w 869527"/>
                      <a:gd name="connsiteY4" fmla="*/ 332936 h 332936"/>
                      <a:gd name="connsiteX5" fmla="*/ 813777 w 869527"/>
                      <a:gd name="connsiteY5" fmla="*/ 188351 h 332936"/>
                      <a:gd name="connsiteX0" fmla="*/ 813777 w 869527"/>
                      <a:gd name="connsiteY0" fmla="*/ 192650 h 337235"/>
                      <a:gd name="connsiteX1" fmla="*/ 446453 w 869527"/>
                      <a:gd name="connsiteY1" fmla="*/ 4299 h 337235"/>
                      <a:gd name="connsiteX2" fmla="*/ 40933 w 869527"/>
                      <a:gd name="connsiteY2" fmla="*/ 57835 h 337235"/>
                      <a:gd name="connsiteX3" fmla="*/ 488656 w 869527"/>
                      <a:gd name="connsiteY3" fmla="*/ 116841 h 337235"/>
                      <a:gd name="connsiteX4" fmla="*/ 832533 w 869527"/>
                      <a:gd name="connsiteY4" fmla="*/ 337235 h 337235"/>
                      <a:gd name="connsiteX5" fmla="*/ 813777 w 869527"/>
                      <a:gd name="connsiteY5" fmla="*/ 192650 h 337235"/>
                      <a:gd name="connsiteX0" fmla="*/ 813777 w 869527"/>
                      <a:gd name="connsiteY0" fmla="*/ 192650 h 337235"/>
                      <a:gd name="connsiteX1" fmla="*/ 446453 w 869527"/>
                      <a:gd name="connsiteY1" fmla="*/ 4299 h 337235"/>
                      <a:gd name="connsiteX2" fmla="*/ 40933 w 869527"/>
                      <a:gd name="connsiteY2" fmla="*/ 57835 h 337235"/>
                      <a:gd name="connsiteX3" fmla="*/ 488656 w 869527"/>
                      <a:gd name="connsiteY3" fmla="*/ 116841 h 337235"/>
                      <a:gd name="connsiteX4" fmla="*/ 832533 w 869527"/>
                      <a:gd name="connsiteY4" fmla="*/ 337235 h 337235"/>
                      <a:gd name="connsiteX5" fmla="*/ 813777 w 869527"/>
                      <a:gd name="connsiteY5" fmla="*/ 192650 h 337235"/>
                      <a:gd name="connsiteX0" fmla="*/ 813777 w 869527"/>
                      <a:gd name="connsiteY0" fmla="*/ 192650 h 337235"/>
                      <a:gd name="connsiteX1" fmla="*/ 446453 w 869527"/>
                      <a:gd name="connsiteY1" fmla="*/ 4299 h 337235"/>
                      <a:gd name="connsiteX2" fmla="*/ 40933 w 869527"/>
                      <a:gd name="connsiteY2" fmla="*/ 57835 h 337235"/>
                      <a:gd name="connsiteX3" fmla="*/ 445672 w 869527"/>
                      <a:gd name="connsiteY3" fmla="*/ 89487 h 337235"/>
                      <a:gd name="connsiteX4" fmla="*/ 832533 w 869527"/>
                      <a:gd name="connsiteY4" fmla="*/ 337235 h 337235"/>
                      <a:gd name="connsiteX5" fmla="*/ 813777 w 869527"/>
                      <a:gd name="connsiteY5" fmla="*/ 192650 h 337235"/>
                      <a:gd name="connsiteX0" fmla="*/ 813777 w 869527"/>
                      <a:gd name="connsiteY0" fmla="*/ 193039 h 337624"/>
                      <a:gd name="connsiteX1" fmla="*/ 446453 w 869527"/>
                      <a:gd name="connsiteY1" fmla="*/ 4688 h 337624"/>
                      <a:gd name="connsiteX2" fmla="*/ 40933 w 869527"/>
                      <a:gd name="connsiteY2" fmla="*/ 58224 h 337624"/>
                      <a:gd name="connsiteX3" fmla="*/ 445672 w 869527"/>
                      <a:gd name="connsiteY3" fmla="*/ 89876 h 337624"/>
                      <a:gd name="connsiteX4" fmla="*/ 832533 w 869527"/>
                      <a:gd name="connsiteY4" fmla="*/ 337624 h 337624"/>
                      <a:gd name="connsiteX5" fmla="*/ 813777 w 869527"/>
                      <a:gd name="connsiteY5" fmla="*/ 193039 h 337624"/>
                      <a:gd name="connsiteX0" fmla="*/ 772844 w 828594"/>
                      <a:gd name="connsiteY0" fmla="*/ 193039 h 337624"/>
                      <a:gd name="connsiteX1" fmla="*/ 405520 w 828594"/>
                      <a:gd name="connsiteY1" fmla="*/ 4688 h 337624"/>
                      <a:gd name="connsiteX2" fmla="*/ 0 w 828594"/>
                      <a:gd name="connsiteY2" fmla="*/ 58224 h 337624"/>
                      <a:gd name="connsiteX3" fmla="*/ 404739 w 828594"/>
                      <a:gd name="connsiteY3" fmla="*/ 89876 h 337624"/>
                      <a:gd name="connsiteX4" fmla="*/ 791600 w 828594"/>
                      <a:gd name="connsiteY4" fmla="*/ 337624 h 337624"/>
                      <a:gd name="connsiteX5" fmla="*/ 772844 w 828594"/>
                      <a:gd name="connsiteY5" fmla="*/ 193039 h 337624"/>
                      <a:gd name="connsiteX0" fmla="*/ 772844 w 828594"/>
                      <a:gd name="connsiteY0" fmla="*/ 193039 h 337624"/>
                      <a:gd name="connsiteX1" fmla="*/ 405520 w 828594"/>
                      <a:gd name="connsiteY1" fmla="*/ 4688 h 337624"/>
                      <a:gd name="connsiteX2" fmla="*/ 0 w 828594"/>
                      <a:gd name="connsiteY2" fmla="*/ 58224 h 337624"/>
                      <a:gd name="connsiteX3" fmla="*/ 404739 w 828594"/>
                      <a:gd name="connsiteY3" fmla="*/ 89876 h 337624"/>
                      <a:gd name="connsiteX4" fmla="*/ 791600 w 828594"/>
                      <a:gd name="connsiteY4" fmla="*/ 337624 h 337624"/>
                      <a:gd name="connsiteX5" fmla="*/ 772844 w 828594"/>
                      <a:gd name="connsiteY5" fmla="*/ 193039 h 337624"/>
                      <a:gd name="connsiteX0" fmla="*/ 772844 w 828594"/>
                      <a:gd name="connsiteY0" fmla="*/ 193039 h 337624"/>
                      <a:gd name="connsiteX1" fmla="*/ 405520 w 828594"/>
                      <a:gd name="connsiteY1" fmla="*/ 4688 h 337624"/>
                      <a:gd name="connsiteX2" fmla="*/ 0 w 828594"/>
                      <a:gd name="connsiteY2" fmla="*/ 58224 h 337624"/>
                      <a:gd name="connsiteX3" fmla="*/ 404739 w 828594"/>
                      <a:gd name="connsiteY3" fmla="*/ 89876 h 337624"/>
                      <a:gd name="connsiteX4" fmla="*/ 791600 w 828594"/>
                      <a:gd name="connsiteY4" fmla="*/ 337624 h 337624"/>
                      <a:gd name="connsiteX5" fmla="*/ 772844 w 828594"/>
                      <a:gd name="connsiteY5" fmla="*/ 193039 h 337624"/>
                      <a:gd name="connsiteX0" fmla="*/ 772844 w 828594"/>
                      <a:gd name="connsiteY0" fmla="*/ 208281 h 352866"/>
                      <a:gd name="connsiteX1" fmla="*/ 405520 w 828594"/>
                      <a:gd name="connsiteY1" fmla="*/ 4299 h 352866"/>
                      <a:gd name="connsiteX2" fmla="*/ 0 w 828594"/>
                      <a:gd name="connsiteY2" fmla="*/ 73466 h 352866"/>
                      <a:gd name="connsiteX3" fmla="*/ 404739 w 828594"/>
                      <a:gd name="connsiteY3" fmla="*/ 105118 h 352866"/>
                      <a:gd name="connsiteX4" fmla="*/ 791600 w 828594"/>
                      <a:gd name="connsiteY4" fmla="*/ 352866 h 352866"/>
                      <a:gd name="connsiteX5" fmla="*/ 772844 w 828594"/>
                      <a:gd name="connsiteY5" fmla="*/ 208281 h 352866"/>
                      <a:gd name="connsiteX0" fmla="*/ 772844 w 828594"/>
                      <a:gd name="connsiteY0" fmla="*/ 208281 h 352866"/>
                      <a:gd name="connsiteX1" fmla="*/ 405520 w 828594"/>
                      <a:gd name="connsiteY1" fmla="*/ 4299 h 352866"/>
                      <a:gd name="connsiteX2" fmla="*/ 0 w 828594"/>
                      <a:gd name="connsiteY2" fmla="*/ 73466 h 352866"/>
                      <a:gd name="connsiteX3" fmla="*/ 404739 w 828594"/>
                      <a:gd name="connsiteY3" fmla="*/ 105118 h 352866"/>
                      <a:gd name="connsiteX4" fmla="*/ 791600 w 828594"/>
                      <a:gd name="connsiteY4" fmla="*/ 352866 h 352866"/>
                      <a:gd name="connsiteX5" fmla="*/ 772844 w 828594"/>
                      <a:gd name="connsiteY5" fmla="*/ 208281 h 352866"/>
                      <a:gd name="connsiteX0" fmla="*/ 772844 w 828594"/>
                      <a:gd name="connsiteY0" fmla="*/ 220004 h 364589"/>
                      <a:gd name="connsiteX1" fmla="*/ 405520 w 828594"/>
                      <a:gd name="connsiteY1" fmla="*/ 16022 h 364589"/>
                      <a:gd name="connsiteX2" fmla="*/ 0 w 828594"/>
                      <a:gd name="connsiteY2" fmla="*/ 85189 h 364589"/>
                      <a:gd name="connsiteX3" fmla="*/ 404739 w 828594"/>
                      <a:gd name="connsiteY3" fmla="*/ 116841 h 364589"/>
                      <a:gd name="connsiteX4" fmla="*/ 791600 w 828594"/>
                      <a:gd name="connsiteY4" fmla="*/ 364589 h 364589"/>
                      <a:gd name="connsiteX5" fmla="*/ 772844 w 828594"/>
                      <a:gd name="connsiteY5" fmla="*/ 220004 h 364589"/>
                      <a:gd name="connsiteX0" fmla="*/ 772844 w 828594"/>
                      <a:gd name="connsiteY0" fmla="*/ 220004 h 364589"/>
                      <a:gd name="connsiteX1" fmla="*/ 405520 w 828594"/>
                      <a:gd name="connsiteY1" fmla="*/ 16022 h 364589"/>
                      <a:gd name="connsiteX2" fmla="*/ 0 w 828594"/>
                      <a:gd name="connsiteY2" fmla="*/ 85189 h 364589"/>
                      <a:gd name="connsiteX3" fmla="*/ 381293 w 828594"/>
                      <a:gd name="connsiteY3" fmla="*/ 85579 h 364589"/>
                      <a:gd name="connsiteX4" fmla="*/ 791600 w 828594"/>
                      <a:gd name="connsiteY4" fmla="*/ 364589 h 364589"/>
                      <a:gd name="connsiteX5" fmla="*/ 772844 w 828594"/>
                      <a:gd name="connsiteY5" fmla="*/ 220004 h 364589"/>
                      <a:gd name="connsiteX0" fmla="*/ 772844 w 828594"/>
                      <a:gd name="connsiteY0" fmla="*/ 220004 h 364589"/>
                      <a:gd name="connsiteX1" fmla="*/ 405520 w 828594"/>
                      <a:gd name="connsiteY1" fmla="*/ 16022 h 364589"/>
                      <a:gd name="connsiteX2" fmla="*/ 0 w 828594"/>
                      <a:gd name="connsiteY2" fmla="*/ 85189 h 364589"/>
                      <a:gd name="connsiteX3" fmla="*/ 381293 w 828594"/>
                      <a:gd name="connsiteY3" fmla="*/ 101210 h 364589"/>
                      <a:gd name="connsiteX4" fmla="*/ 791600 w 828594"/>
                      <a:gd name="connsiteY4" fmla="*/ 364589 h 364589"/>
                      <a:gd name="connsiteX5" fmla="*/ 772844 w 828594"/>
                      <a:gd name="connsiteY5" fmla="*/ 220004 h 364589"/>
                      <a:gd name="connsiteX0" fmla="*/ 772844 w 828594"/>
                      <a:gd name="connsiteY0" fmla="*/ 220004 h 364589"/>
                      <a:gd name="connsiteX1" fmla="*/ 405520 w 828594"/>
                      <a:gd name="connsiteY1" fmla="*/ 16022 h 364589"/>
                      <a:gd name="connsiteX2" fmla="*/ 0 w 828594"/>
                      <a:gd name="connsiteY2" fmla="*/ 85189 h 364589"/>
                      <a:gd name="connsiteX3" fmla="*/ 381293 w 828594"/>
                      <a:gd name="connsiteY3" fmla="*/ 101210 h 364589"/>
                      <a:gd name="connsiteX4" fmla="*/ 791600 w 828594"/>
                      <a:gd name="connsiteY4" fmla="*/ 364589 h 364589"/>
                      <a:gd name="connsiteX5" fmla="*/ 772844 w 828594"/>
                      <a:gd name="connsiteY5" fmla="*/ 220004 h 364589"/>
                      <a:gd name="connsiteX0" fmla="*/ 772844 w 828594"/>
                      <a:gd name="connsiteY0" fmla="*/ 220004 h 364589"/>
                      <a:gd name="connsiteX1" fmla="*/ 405520 w 828594"/>
                      <a:gd name="connsiteY1" fmla="*/ 16022 h 364589"/>
                      <a:gd name="connsiteX2" fmla="*/ 0 w 828594"/>
                      <a:gd name="connsiteY2" fmla="*/ 85189 h 364589"/>
                      <a:gd name="connsiteX3" fmla="*/ 381293 w 828594"/>
                      <a:gd name="connsiteY3" fmla="*/ 101210 h 364589"/>
                      <a:gd name="connsiteX4" fmla="*/ 791600 w 828594"/>
                      <a:gd name="connsiteY4" fmla="*/ 364589 h 364589"/>
                      <a:gd name="connsiteX5" fmla="*/ 772844 w 828594"/>
                      <a:gd name="connsiteY5" fmla="*/ 220004 h 364589"/>
                      <a:gd name="connsiteX0" fmla="*/ 733767 w 789517"/>
                      <a:gd name="connsiteY0" fmla="*/ 232115 h 376700"/>
                      <a:gd name="connsiteX1" fmla="*/ 366443 w 789517"/>
                      <a:gd name="connsiteY1" fmla="*/ 28133 h 376700"/>
                      <a:gd name="connsiteX2" fmla="*/ 0 w 789517"/>
                      <a:gd name="connsiteY2" fmla="*/ 58224 h 376700"/>
                      <a:gd name="connsiteX3" fmla="*/ 342216 w 789517"/>
                      <a:gd name="connsiteY3" fmla="*/ 113321 h 376700"/>
                      <a:gd name="connsiteX4" fmla="*/ 752523 w 789517"/>
                      <a:gd name="connsiteY4" fmla="*/ 376700 h 376700"/>
                      <a:gd name="connsiteX5" fmla="*/ 733767 w 789517"/>
                      <a:gd name="connsiteY5" fmla="*/ 232115 h 37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9517" h="376700">
                        <a:moveTo>
                          <a:pt x="733767" y="232115"/>
                        </a:moveTo>
                        <a:cubicBezTo>
                          <a:pt x="557921" y="93782"/>
                          <a:pt x="514936" y="64864"/>
                          <a:pt x="366443" y="28133"/>
                        </a:cubicBezTo>
                        <a:cubicBezTo>
                          <a:pt x="206521" y="12111"/>
                          <a:pt x="105214" y="0"/>
                          <a:pt x="0" y="58224"/>
                        </a:cubicBezTo>
                        <a:cubicBezTo>
                          <a:pt x="68483" y="45328"/>
                          <a:pt x="191672" y="87139"/>
                          <a:pt x="342216" y="113321"/>
                        </a:cubicBezTo>
                        <a:cubicBezTo>
                          <a:pt x="507642" y="163340"/>
                          <a:pt x="626173" y="232896"/>
                          <a:pt x="752523" y="376700"/>
                        </a:cubicBezTo>
                        <a:cubicBezTo>
                          <a:pt x="767112" y="363674"/>
                          <a:pt x="789517" y="303756"/>
                          <a:pt x="733767" y="23211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713" name="Freeform 324">
                    <a:extLst>
                      <a:ext uri="{FF2B5EF4-FFF2-40B4-BE49-F238E27FC236}">
                        <a16:creationId xmlns:a16="http://schemas.microsoft.com/office/drawing/2014/main" id="{64EA969C-95A1-4EAB-9EC6-4EE9FF374A38}"/>
                      </a:ext>
                    </a:extLst>
                  </p:cNvPr>
                  <p:cNvSpPr/>
                  <p:nvPr/>
                </p:nvSpPr>
                <p:spPr>
                  <a:xfrm rot="12111666" flipV="1">
                    <a:off x="2993808" y="-502164"/>
                    <a:ext cx="602886" cy="259823"/>
                  </a:xfrm>
                  <a:custGeom>
                    <a:avLst/>
                    <a:gdLst>
                      <a:gd name="connsiteX0" fmla="*/ 22085 w 574535"/>
                      <a:gd name="connsiteY0" fmla="*/ 104775 h 229223"/>
                      <a:gd name="connsiteX1" fmla="*/ 193535 w 574535"/>
                      <a:gd name="connsiteY1" fmla="*/ 0 h 229223"/>
                      <a:gd name="connsiteX2" fmla="*/ 545960 w 574535"/>
                      <a:gd name="connsiteY2" fmla="*/ 76200 h 229223"/>
                      <a:gd name="connsiteX3" fmla="*/ 574535 w 574535"/>
                      <a:gd name="connsiteY3" fmla="*/ 190500 h 229223"/>
                      <a:gd name="connsiteX4" fmla="*/ 374510 w 574535"/>
                      <a:gd name="connsiteY4" fmla="*/ 228600 h 229223"/>
                      <a:gd name="connsiteX5" fmla="*/ 22085 w 574535"/>
                      <a:gd name="connsiteY5" fmla="*/ 104775 h 229223"/>
                      <a:gd name="connsiteX0" fmla="*/ 0 w 552450"/>
                      <a:gd name="connsiteY0" fmla="*/ 104775 h 229223"/>
                      <a:gd name="connsiteX1" fmla="*/ 171450 w 552450"/>
                      <a:gd name="connsiteY1" fmla="*/ 0 h 229223"/>
                      <a:gd name="connsiteX2" fmla="*/ 523875 w 552450"/>
                      <a:gd name="connsiteY2" fmla="*/ 76200 h 229223"/>
                      <a:gd name="connsiteX3" fmla="*/ 552450 w 552450"/>
                      <a:gd name="connsiteY3" fmla="*/ 190500 h 229223"/>
                      <a:gd name="connsiteX4" fmla="*/ 387699 w 552450"/>
                      <a:gd name="connsiteY4" fmla="*/ 214688 h 229223"/>
                      <a:gd name="connsiteX5" fmla="*/ 0 w 552450"/>
                      <a:gd name="connsiteY5" fmla="*/ 104775 h 229223"/>
                      <a:gd name="connsiteX0" fmla="*/ 0 w 552450"/>
                      <a:gd name="connsiteY0" fmla="*/ 104775 h 229223"/>
                      <a:gd name="connsiteX1" fmla="*/ 171450 w 552450"/>
                      <a:gd name="connsiteY1" fmla="*/ 0 h 229223"/>
                      <a:gd name="connsiteX2" fmla="*/ 523875 w 552450"/>
                      <a:gd name="connsiteY2" fmla="*/ 76200 h 229223"/>
                      <a:gd name="connsiteX3" fmla="*/ 552450 w 552450"/>
                      <a:gd name="connsiteY3" fmla="*/ 190500 h 229223"/>
                      <a:gd name="connsiteX4" fmla="*/ 387699 w 552450"/>
                      <a:gd name="connsiteY4" fmla="*/ 214688 h 229223"/>
                      <a:gd name="connsiteX5" fmla="*/ 0 w 552450"/>
                      <a:gd name="connsiteY5" fmla="*/ 104775 h 229223"/>
                      <a:gd name="connsiteX0" fmla="*/ 0 w 533951"/>
                      <a:gd name="connsiteY0" fmla="*/ 137518 h 229223"/>
                      <a:gd name="connsiteX1" fmla="*/ 152951 w 533951"/>
                      <a:gd name="connsiteY1" fmla="*/ 0 h 229223"/>
                      <a:gd name="connsiteX2" fmla="*/ 505376 w 533951"/>
                      <a:gd name="connsiteY2" fmla="*/ 76200 h 229223"/>
                      <a:gd name="connsiteX3" fmla="*/ 533951 w 533951"/>
                      <a:gd name="connsiteY3" fmla="*/ 190500 h 229223"/>
                      <a:gd name="connsiteX4" fmla="*/ 369200 w 533951"/>
                      <a:gd name="connsiteY4" fmla="*/ 214688 h 229223"/>
                      <a:gd name="connsiteX5" fmla="*/ 0 w 533951"/>
                      <a:gd name="connsiteY5" fmla="*/ 137518 h 229223"/>
                      <a:gd name="connsiteX0" fmla="*/ 1525 w 535476"/>
                      <a:gd name="connsiteY0" fmla="*/ 137518 h 229223"/>
                      <a:gd name="connsiteX1" fmla="*/ 154476 w 535476"/>
                      <a:gd name="connsiteY1" fmla="*/ 0 h 229223"/>
                      <a:gd name="connsiteX2" fmla="*/ 506901 w 535476"/>
                      <a:gd name="connsiteY2" fmla="*/ 76200 h 229223"/>
                      <a:gd name="connsiteX3" fmla="*/ 535476 w 535476"/>
                      <a:gd name="connsiteY3" fmla="*/ 190500 h 229223"/>
                      <a:gd name="connsiteX4" fmla="*/ 359436 w 535476"/>
                      <a:gd name="connsiteY4" fmla="*/ 219140 h 229223"/>
                      <a:gd name="connsiteX5" fmla="*/ 1525 w 535476"/>
                      <a:gd name="connsiteY5" fmla="*/ 137518 h 229223"/>
                      <a:gd name="connsiteX0" fmla="*/ 0 w 533951"/>
                      <a:gd name="connsiteY0" fmla="*/ 137518 h 229223"/>
                      <a:gd name="connsiteX1" fmla="*/ 152951 w 533951"/>
                      <a:gd name="connsiteY1" fmla="*/ 0 h 229223"/>
                      <a:gd name="connsiteX2" fmla="*/ 505376 w 533951"/>
                      <a:gd name="connsiteY2" fmla="*/ 76200 h 229223"/>
                      <a:gd name="connsiteX3" fmla="*/ 533951 w 533951"/>
                      <a:gd name="connsiteY3" fmla="*/ 190500 h 229223"/>
                      <a:gd name="connsiteX4" fmla="*/ 357911 w 533951"/>
                      <a:gd name="connsiteY4" fmla="*/ 219140 h 229223"/>
                      <a:gd name="connsiteX5" fmla="*/ 0 w 533951"/>
                      <a:gd name="connsiteY5" fmla="*/ 137518 h 229223"/>
                      <a:gd name="connsiteX0" fmla="*/ 0 w 533951"/>
                      <a:gd name="connsiteY0" fmla="*/ 137518 h 229223"/>
                      <a:gd name="connsiteX1" fmla="*/ 152951 w 533951"/>
                      <a:gd name="connsiteY1" fmla="*/ 0 h 229223"/>
                      <a:gd name="connsiteX2" fmla="*/ 505376 w 533951"/>
                      <a:gd name="connsiteY2" fmla="*/ 76200 h 229223"/>
                      <a:gd name="connsiteX3" fmla="*/ 533951 w 533951"/>
                      <a:gd name="connsiteY3" fmla="*/ 190500 h 229223"/>
                      <a:gd name="connsiteX4" fmla="*/ 357911 w 533951"/>
                      <a:gd name="connsiteY4" fmla="*/ 219140 h 229223"/>
                      <a:gd name="connsiteX5" fmla="*/ 0 w 533951"/>
                      <a:gd name="connsiteY5" fmla="*/ 137518 h 229223"/>
                      <a:gd name="connsiteX0" fmla="*/ 0 w 558938"/>
                      <a:gd name="connsiteY0" fmla="*/ 137518 h 225529"/>
                      <a:gd name="connsiteX1" fmla="*/ 152951 w 558938"/>
                      <a:gd name="connsiteY1" fmla="*/ 0 h 225529"/>
                      <a:gd name="connsiteX2" fmla="*/ 505376 w 558938"/>
                      <a:gd name="connsiteY2" fmla="*/ 76200 h 225529"/>
                      <a:gd name="connsiteX3" fmla="*/ 558938 w 558938"/>
                      <a:gd name="connsiteY3" fmla="*/ 186806 h 225529"/>
                      <a:gd name="connsiteX4" fmla="*/ 357911 w 558938"/>
                      <a:gd name="connsiteY4" fmla="*/ 219140 h 225529"/>
                      <a:gd name="connsiteX5" fmla="*/ 0 w 558938"/>
                      <a:gd name="connsiteY5" fmla="*/ 137518 h 225529"/>
                      <a:gd name="connsiteX0" fmla="*/ 0 w 558938"/>
                      <a:gd name="connsiteY0" fmla="*/ 137518 h 225529"/>
                      <a:gd name="connsiteX1" fmla="*/ 152951 w 558938"/>
                      <a:gd name="connsiteY1" fmla="*/ 0 h 225529"/>
                      <a:gd name="connsiteX2" fmla="*/ 477977 w 558938"/>
                      <a:gd name="connsiteY2" fmla="*/ 74686 h 225529"/>
                      <a:gd name="connsiteX3" fmla="*/ 558938 w 558938"/>
                      <a:gd name="connsiteY3" fmla="*/ 186806 h 225529"/>
                      <a:gd name="connsiteX4" fmla="*/ 357911 w 558938"/>
                      <a:gd name="connsiteY4" fmla="*/ 219140 h 225529"/>
                      <a:gd name="connsiteX5" fmla="*/ 0 w 558938"/>
                      <a:gd name="connsiteY5" fmla="*/ 137518 h 225529"/>
                      <a:gd name="connsiteX0" fmla="*/ 13346 w 572284"/>
                      <a:gd name="connsiteY0" fmla="*/ 137518 h 225529"/>
                      <a:gd name="connsiteX1" fmla="*/ 166297 w 572284"/>
                      <a:gd name="connsiteY1" fmla="*/ 0 h 225529"/>
                      <a:gd name="connsiteX2" fmla="*/ 491323 w 572284"/>
                      <a:gd name="connsiteY2" fmla="*/ 74686 h 225529"/>
                      <a:gd name="connsiteX3" fmla="*/ 572284 w 572284"/>
                      <a:gd name="connsiteY3" fmla="*/ 186806 h 225529"/>
                      <a:gd name="connsiteX4" fmla="*/ 371257 w 572284"/>
                      <a:gd name="connsiteY4" fmla="*/ 219140 h 225529"/>
                      <a:gd name="connsiteX5" fmla="*/ 13346 w 572284"/>
                      <a:gd name="connsiteY5" fmla="*/ 137518 h 225529"/>
                      <a:gd name="connsiteX0" fmla="*/ 31261 w 590199"/>
                      <a:gd name="connsiteY0" fmla="*/ 137518 h 225529"/>
                      <a:gd name="connsiteX1" fmla="*/ 184212 w 590199"/>
                      <a:gd name="connsiteY1" fmla="*/ 0 h 225529"/>
                      <a:gd name="connsiteX2" fmla="*/ 509238 w 590199"/>
                      <a:gd name="connsiteY2" fmla="*/ 74686 h 225529"/>
                      <a:gd name="connsiteX3" fmla="*/ 590199 w 590199"/>
                      <a:gd name="connsiteY3" fmla="*/ 186806 h 225529"/>
                      <a:gd name="connsiteX4" fmla="*/ 389172 w 590199"/>
                      <a:gd name="connsiteY4" fmla="*/ 219140 h 225529"/>
                      <a:gd name="connsiteX5" fmla="*/ 31261 w 590199"/>
                      <a:gd name="connsiteY5" fmla="*/ 137518 h 225529"/>
                      <a:gd name="connsiteX0" fmla="*/ 31261 w 574088"/>
                      <a:gd name="connsiteY0" fmla="*/ 143484 h 225529"/>
                      <a:gd name="connsiteX1" fmla="*/ 168101 w 574088"/>
                      <a:gd name="connsiteY1" fmla="*/ 0 h 225529"/>
                      <a:gd name="connsiteX2" fmla="*/ 493127 w 574088"/>
                      <a:gd name="connsiteY2" fmla="*/ 74686 h 225529"/>
                      <a:gd name="connsiteX3" fmla="*/ 574088 w 574088"/>
                      <a:gd name="connsiteY3" fmla="*/ 186806 h 225529"/>
                      <a:gd name="connsiteX4" fmla="*/ 373061 w 574088"/>
                      <a:gd name="connsiteY4" fmla="*/ 219140 h 225529"/>
                      <a:gd name="connsiteX5" fmla="*/ 31261 w 574088"/>
                      <a:gd name="connsiteY5" fmla="*/ 143484 h 225529"/>
                      <a:gd name="connsiteX0" fmla="*/ 29457 w 572284"/>
                      <a:gd name="connsiteY0" fmla="*/ 143484 h 225529"/>
                      <a:gd name="connsiteX1" fmla="*/ 166297 w 572284"/>
                      <a:gd name="connsiteY1" fmla="*/ 0 h 225529"/>
                      <a:gd name="connsiteX2" fmla="*/ 491323 w 572284"/>
                      <a:gd name="connsiteY2" fmla="*/ 74686 h 225529"/>
                      <a:gd name="connsiteX3" fmla="*/ 572284 w 572284"/>
                      <a:gd name="connsiteY3" fmla="*/ 186806 h 225529"/>
                      <a:gd name="connsiteX4" fmla="*/ 371257 w 572284"/>
                      <a:gd name="connsiteY4" fmla="*/ 219140 h 225529"/>
                      <a:gd name="connsiteX5" fmla="*/ 29457 w 572284"/>
                      <a:gd name="connsiteY5" fmla="*/ 143484 h 225529"/>
                      <a:gd name="connsiteX0" fmla="*/ 29457 w 572284"/>
                      <a:gd name="connsiteY0" fmla="*/ 143484 h 225529"/>
                      <a:gd name="connsiteX1" fmla="*/ 166297 w 572284"/>
                      <a:gd name="connsiteY1" fmla="*/ 0 h 225529"/>
                      <a:gd name="connsiteX2" fmla="*/ 491323 w 572284"/>
                      <a:gd name="connsiteY2" fmla="*/ 74686 h 225529"/>
                      <a:gd name="connsiteX3" fmla="*/ 572284 w 572284"/>
                      <a:gd name="connsiteY3" fmla="*/ 186806 h 225529"/>
                      <a:gd name="connsiteX4" fmla="*/ 371257 w 572284"/>
                      <a:gd name="connsiteY4" fmla="*/ 219140 h 225529"/>
                      <a:gd name="connsiteX5" fmla="*/ 29457 w 572284"/>
                      <a:gd name="connsiteY5" fmla="*/ 143484 h 225529"/>
                      <a:gd name="connsiteX0" fmla="*/ 13345 w 572284"/>
                      <a:gd name="connsiteY0" fmla="*/ 137518 h 225529"/>
                      <a:gd name="connsiteX1" fmla="*/ 166297 w 572284"/>
                      <a:gd name="connsiteY1" fmla="*/ 0 h 225529"/>
                      <a:gd name="connsiteX2" fmla="*/ 491323 w 572284"/>
                      <a:gd name="connsiteY2" fmla="*/ 74686 h 225529"/>
                      <a:gd name="connsiteX3" fmla="*/ 572284 w 572284"/>
                      <a:gd name="connsiteY3" fmla="*/ 186806 h 225529"/>
                      <a:gd name="connsiteX4" fmla="*/ 371257 w 572284"/>
                      <a:gd name="connsiteY4" fmla="*/ 219140 h 225529"/>
                      <a:gd name="connsiteX5" fmla="*/ 13345 w 572284"/>
                      <a:gd name="connsiteY5" fmla="*/ 137518 h 225529"/>
                      <a:gd name="connsiteX0" fmla="*/ 13345 w 572284"/>
                      <a:gd name="connsiteY0" fmla="*/ 137518 h 225529"/>
                      <a:gd name="connsiteX1" fmla="*/ 166297 w 572284"/>
                      <a:gd name="connsiteY1" fmla="*/ 0 h 225529"/>
                      <a:gd name="connsiteX2" fmla="*/ 491323 w 572284"/>
                      <a:gd name="connsiteY2" fmla="*/ 74686 h 225529"/>
                      <a:gd name="connsiteX3" fmla="*/ 572284 w 572284"/>
                      <a:gd name="connsiteY3" fmla="*/ 186806 h 225529"/>
                      <a:gd name="connsiteX4" fmla="*/ 371257 w 572284"/>
                      <a:gd name="connsiteY4" fmla="*/ 219140 h 225529"/>
                      <a:gd name="connsiteX5" fmla="*/ 13345 w 572284"/>
                      <a:gd name="connsiteY5" fmla="*/ 137518 h 225529"/>
                      <a:gd name="connsiteX0" fmla="*/ 13345 w 572284"/>
                      <a:gd name="connsiteY0" fmla="*/ 137518 h 225529"/>
                      <a:gd name="connsiteX1" fmla="*/ 166297 w 572284"/>
                      <a:gd name="connsiteY1" fmla="*/ 0 h 225529"/>
                      <a:gd name="connsiteX2" fmla="*/ 491323 w 572284"/>
                      <a:gd name="connsiteY2" fmla="*/ 74686 h 225529"/>
                      <a:gd name="connsiteX3" fmla="*/ 572284 w 572284"/>
                      <a:gd name="connsiteY3" fmla="*/ 186806 h 225529"/>
                      <a:gd name="connsiteX4" fmla="*/ 371257 w 572284"/>
                      <a:gd name="connsiteY4" fmla="*/ 219140 h 225529"/>
                      <a:gd name="connsiteX5" fmla="*/ 13345 w 572284"/>
                      <a:gd name="connsiteY5" fmla="*/ 137518 h 225529"/>
                      <a:gd name="connsiteX0" fmla="*/ 13345 w 572284"/>
                      <a:gd name="connsiteY0" fmla="*/ 137518 h 225529"/>
                      <a:gd name="connsiteX1" fmla="*/ 166297 w 572284"/>
                      <a:gd name="connsiteY1" fmla="*/ 0 h 225529"/>
                      <a:gd name="connsiteX2" fmla="*/ 491323 w 572284"/>
                      <a:gd name="connsiteY2" fmla="*/ 74686 h 225529"/>
                      <a:gd name="connsiteX3" fmla="*/ 572284 w 572284"/>
                      <a:gd name="connsiteY3" fmla="*/ 186806 h 225529"/>
                      <a:gd name="connsiteX4" fmla="*/ 374490 w 572284"/>
                      <a:gd name="connsiteY4" fmla="*/ 211706 h 225529"/>
                      <a:gd name="connsiteX5" fmla="*/ 13345 w 572284"/>
                      <a:gd name="connsiteY5" fmla="*/ 137518 h 225529"/>
                      <a:gd name="connsiteX0" fmla="*/ 13324 w 572284"/>
                      <a:gd name="connsiteY0" fmla="*/ 155953 h 225529"/>
                      <a:gd name="connsiteX1" fmla="*/ 166297 w 572284"/>
                      <a:gd name="connsiteY1" fmla="*/ 0 h 225529"/>
                      <a:gd name="connsiteX2" fmla="*/ 491323 w 572284"/>
                      <a:gd name="connsiteY2" fmla="*/ 74686 h 225529"/>
                      <a:gd name="connsiteX3" fmla="*/ 572284 w 572284"/>
                      <a:gd name="connsiteY3" fmla="*/ 186806 h 225529"/>
                      <a:gd name="connsiteX4" fmla="*/ 374490 w 572284"/>
                      <a:gd name="connsiteY4" fmla="*/ 211706 h 225529"/>
                      <a:gd name="connsiteX5" fmla="*/ 13324 w 572284"/>
                      <a:gd name="connsiteY5" fmla="*/ 155953 h 225529"/>
                      <a:gd name="connsiteX0" fmla="*/ 13324 w 572284"/>
                      <a:gd name="connsiteY0" fmla="*/ 155953 h 225529"/>
                      <a:gd name="connsiteX1" fmla="*/ 166297 w 572284"/>
                      <a:gd name="connsiteY1" fmla="*/ 0 h 225529"/>
                      <a:gd name="connsiteX2" fmla="*/ 491323 w 572284"/>
                      <a:gd name="connsiteY2" fmla="*/ 74686 h 225529"/>
                      <a:gd name="connsiteX3" fmla="*/ 572284 w 572284"/>
                      <a:gd name="connsiteY3" fmla="*/ 186806 h 225529"/>
                      <a:gd name="connsiteX4" fmla="*/ 374490 w 572284"/>
                      <a:gd name="connsiteY4" fmla="*/ 211706 h 225529"/>
                      <a:gd name="connsiteX5" fmla="*/ 13324 w 572284"/>
                      <a:gd name="connsiteY5" fmla="*/ 155953 h 225529"/>
                      <a:gd name="connsiteX0" fmla="*/ 13324 w 572284"/>
                      <a:gd name="connsiteY0" fmla="*/ 155953 h 225529"/>
                      <a:gd name="connsiteX1" fmla="*/ 166297 w 572284"/>
                      <a:gd name="connsiteY1" fmla="*/ 0 h 225529"/>
                      <a:gd name="connsiteX2" fmla="*/ 491323 w 572284"/>
                      <a:gd name="connsiteY2" fmla="*/ 74686 h 225529"/>
                      <a:gd name="connsiteX3" fmla="*/ 572284 w 572284"/>
                      <a:gd name="connsiteY3" fmla="*/ 186806 h 225529"/>
                      <a:gd name="connsiteX4" fmla="*/ 374490 w 572284"/>
                      <a:gd name="connsiteY4" fmla="*/ 211706 h 225529"/>
                      <a:gd name="connsiteX5" fmla="*/ 13324 w 572284"/>
                      <a:gd name="connsiteY5" fmla="*/ 155953 h 225529"/>
                      <a:gd name="connsiteX0" fmla="*/ 13324 w 572284"/>
                      <a:gd name="connsiteY0" fmla="*/ 155953 h 225529"/>
                      <a:gd name="connsiteX1" fmla="*/ 166297 w 572284"/>
                      <a:gd name="connsiteY1" fmla="*/ 0 h 225529"/>
                      <a:gd name="connsiteX2" fmla="*/ 491323 w 572284"/>
                      <a:gd name="connsiteY2" fmla="*/ 74686 h 225529"/>
                      <a:gd name="connsiteX3" fmla="*/ 572284 w 572284"/>
                      <a:gd name="connsiteY3" fmla="*/ 186806 h 225529"/>
                      <a:gd name="connsiteX4" fmla="*/ 374490 w 572284"/>
                      <a:gd name="connsiteY4" fmla="*/ 211706 h 225529"/>
                      <a:gd name="connsiteX5" fmla="*/ 13324 w 572284"/>
                      <a:gd name="connsiteY5" fmla="*/ 155953 h 225529"/>
                      <a:gd name="connsiteX0" fmla="*/ 13324 w 572284"/>
                      <a:gd name="connsiteY0" fmla="*/ 155953 h 225529"/>
                      <a:gd name="connsiteX1" fmla="*/ 166297 w 572284"/>
                      <a:gd name="connsiteY1" fmla="*/ 0 h 225529"/>
                      <a:gd name="connsiteX2" fmla="*/ 491323 w 572284"/>
                      <a:gd name="connsiteY2" fmla="*/ 74686 h 225529"/>
                      <a:gd name="connsiteX3" fmla="*/ 572284 w 572284"/>
                      <a:gd name="connsiteY3" fmla="*/ 186806 h 225529"/>
                      <a:gd name="connsiteX4" fmla="*/ 373824 w 572284"/>
                      <a:gd name="connsiteY4" fmla="*/ 225231 h 225529"/>
                      <a:gd name="connsiteX5" fmla="*/ 13324 w 572284"/>
                      <a:gd name="connsiteY5" fmla="*/ 155953 h 225529"/>
                      <a:gd name="connsiteX0" fmla="*/ 13324 w 572284"/>
                      <a:gd name="connsiteY0" fmla="*/ 155953 h 227618"/>
                      <a:gd name="connsiteX1" fmla="*/ 166297 w 572284"/>
                      <a:gd name="connsiteY1" fmla="*/ 0 h 227618"/>
                      <a:gd name="connsiteX2" fmla="*/ 491323 w 572284"/>
                      <a:gd name="connsiteY2" fmla="*/ 74686 h 227618"/>
                      <a:gd name="connsiteX3" fmla="*/ 572284 w 572284"/>
                      <a:gd name="connsiteY3" fmla="*/ 186806 h 227618"/>
                      <a:gd name="connsiteX4" fmla="*/ 373824 w 572284"/>
                      <a:gd name="connsiteY4" fmla="*/ 225231 h 227618"/>
                      <a:gd name="connsiteX5" fmla="*/ 13324 w 572284"/>
                      <a:gd name="connsiteY5" fmla="*/ 155953 h 227618"/>
                      <a:gd name="connsiteX0" fmla="*/ 13324 w 572284"/>
                      <a:gd name="connsiteY0" fmla="*/ 155953 h 227618"/>
                      <a:gd name="connsiteX1" fmla="*/ 166297 w 572284"/>
                      <a:gd name="connsiteY1" fmla="*/ 0 h 227618"/>
                      <a:gd name="connsiteX2" fmla="*/ 491323 w 572284"/>
                      <a:gd name="connsiteY2" fmla="*/ 74686 h 227618"/>
                      <a:gd name="connsiteX3" fmla="*/ 572284 w 572284"/>
                      <a:gd name="connsiteY3" fmla="*/ 186806 h 227618"/>
                      <a:gd name="connsiteX4" fmla="*/ 373824 w 572284"/>
                      <a:gd name="connsiteY4" fmla="*/ 225231 h 227618"/>
                      <a:gd name="connsiteX5" fmla="*/ 13324 w 572284"/>
                      <a:gd name="connsiteY5" fmla="*/ 155953 h 227618"/>
                      <a:gd name="connsiteX0" fmla="*/ 13324 w 572284"/>
                      <a:gd name="connsiteY0" fmla="*/ 155953 h 227618"/>
                      <a:gd name="connsiteX1" fmla="*/ 166297 w 572284"/>
                      <a:gd name="connsiteY1" fmla="*/ 0 h 227618"/>
                      <a:gd name="connsiteX2" fmla="*/ 491323 w 572284"/>
                      <a:gd name="connsiteY2" fmla="*/ 74686 h 227618"/>
                      <a:gd name="connsiteX3" fmla="*/ 572284 w 572284"/>
                      <a:gd name="connsiteY3" fmla="*/ 186806 h 227618"/>
                      <a:gd name="connsiteX4" fmla="*/ 374137 w 572284"/>
                      <a:gd name="connsiteY4" fmla="*/ 218880 h 227618"/>
                      <a:gd name="connsiteX5" fmla="*/ 13324 w 572284"/>
                      <a:gd name="connsiteY5" fmla="*/ 155953 h 227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84" h="227618">
                        <a:moveTo>
                          <a:pt x="13324" y="155953"/>
                        </a:moveTo>
                        <a:cubicBezTo>
                          <a:pt x="21201" y="131038"/>
                          <a:pt x="0" y="106717"/>
                          <a:pt x="166297" y="0"/>
                        </a:cubicBezTo>
                        <a:lnTo>
                          <a:pt x="491323" y="74686"/>
                        </a:lnTo>
                        <a:lnTo>
                          <a:pt x="572284" y="186806"/>
                        </a:lnTo>
                        <a:cubicBezTo>
                          <a:pt x="426568" y="227618"/>
                          <a:pt x="518534" y="218947"/>
                          <a:pt x="374137" y="218880"/>
                        </a:cubicBezTo>
                        <a:cubicBezTo>
                          <a:pt x="187103" y="191404"/>
                          <a:pt x="92173" y="123688"/>
                          <a:pt x="13324" y="15595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714" name="Freeform 325">
                    <a:extLst>
                      <a:ext uri="{FF2B5EF4-FFF2-40B4-BE49-F238E27FC236}">
                        <a16:creationId xmlns:a16="http://schemas.microsoft.com/office/drawing/2014/main" id="{589CBF09-7DF4-469E-B362-FC763560760A}"/>
                      </a:ext>
                    </a:extLst>
                  </p:cNvPr>
                  <p:cNvSpPr/>
                  <p:nvPr/>
                </p:nvSpPr>
                <p:spPr>
                  <a:xfrm>
                    <a:off x="3162326" y="-466420"/>
                    <a:ext cx="307975" cy="192615"/>
                  </a:xfrm>
                  <a:custGeom>
                    <a:avLst/>
                    <a:gdLst>
                      <a:gd name="connsiteX0" fmla="*/ 266700 w 266700"/>
                      <a:gd name="connsiteY0" fmla="*/ 38100 h 209550"/>
                      <a:gd name="connsiteX1" fmla="*/ 0 w 266700"/>
                      <a:gd name="connsiteY1" fmla="*/ 0 h 209550"/>
                      <a:gd name="connsiteX2" fmla="*/ 28575 w 266700"/>
                      <a:gd name="connsiteY2" fmla="*/ 200025 h 209550"/>
                      <a:gd name="connsiteX3" fmla="*/ 190500 w 266700"/>
                      <a:gd name="connsiteY3" fmla="*/ 209550 h 209550"/>
                      <a:gd name="connsiteX4" fmla="*/ 228600 w 266700"/>
                      <a:gd name="connsiteY4" fmla="*/ 95250 h 209550"/>
                      <a:gd name="connsiteX5" fmla="*/ 266700 w 266700"/>
                      <a:gd name="connsiteY5" fmla="*/ 38100 h 209550"/>
                      <a:gd name="connsiteX0" fmla="*/ 293309 w 293309"/>
                      <a:gd name="connsiteY0" fmla="*/ 64710 h 209550"/>
                      <a:gd name="connsiteX1" fmla="*/ 0 w 293309"/>
                      <a:gd name="connsiteY1" fmla="*/ 0 h 209550"/>
                      <a:gd name="connsiteX2" fmla="*/ 28575 w 293309"/>
                      <a:gd name="connsiteY2" fmla="*/ 200025 h 209550"/>
                      <a:gd name="connsiteX3" fmla="*/ 190500 w 293309"/>
                      <a:gd name="connsiteY3" fmla="*/ 209550 h 209550"/>
                      <a:gd name="connsiteX4" fmla="*/ 228600 w 293309"/>
                      <a:gd name="connsiteY4" fmla="*/ 95250 h 209550"/>
                      <a:gd name="connsiteX5" fmla="*/ 293309 w 293309"/>
                      <a:gd name="connsiteY5" fmla="*/ 64710 h 209550"/>
                      <a:gd name="connsiteX0" fmla="*/ 293309 w 293309"/>
                      <a:gd name="connsiteY0" fmla="*/ 64710 h 209550"/>
                      <a:gd name="connsiteX1" fmla="*/ 0 w 293309"/>
                      <a:gd name="connsiteY1" fmla="*/ 0 h 209550"/>
                      <a:gd name="connsiteX2" fmla="*/ 28575 w 293309"/>
                      <a:gd name="connsiteY2" fmla="*/ 200025 h 209550"/>
                      <a:gd name="connsiteX3" fmla="*/ 190500 w 293309"/>
                      <a:gd name="connsiteY3" fmla="*/ 209550 h 209550"/>
                      <a:gd name="connsiteX4" fmla="*/ 228600 w 293309"/>
                      <a:gd name="connsiteY4" fmla="*/ 95250 h 209550"/>
                      <a:gd name="connsiteX5" fmla="*/ 293309 w 293309"/>
                      <a:gd name="connsiteY5" fmla="*/ 64710 h 209550"/>
                      <a:gd name="connsiteX0" fmla="*/ 293309 w 293309"/>
                      <a:gd name="connsiteY0" fmla="*/ 64710 h 209550"/>
                      <a:gd name="connsiteX1" fmla="*/ 0 w 293309"/>
                      <a:gd name="connsiteY1" fmla="*/ 0 h 209550"/>
                      <a:gd name="connsiteX2" fmla="*/ 28575 w 293309"/>
                      <a:gd name="connsiteY2" fmla="*/ 200025 h 209550"/>
                      <a:gd name="connsiteX3" fmla="*/ 190500 w 293309"/>
                      <a:gd name="connsiteY3" fmla="*/ 209550 h 209550"/>
                      <a:gd name="connsiteX4" fmla="*/ 228600 w 293309"/>
                      <a:gd name="connsiteY4" fmla="*/ 95250 h 209550"/>
                      <a:gd name="connsiteX5" fmla="*/ 293309 w 293309"/>
                      <a:gd name="connsiteY5" fmla="*/ 64710 h 209550"/>
                      <a:gd name="connsiteX0" fmla="*/ 293309 w 293309"/>
                      <a:gd name="connsiteY0" fmla="*/ 64710 h 209550"/>
                      <a:gd name="connsiteX1" fmla="*/ 0 w 293309"/>
                      <a:gd name="connsiteY1" fmla="*/ 0 h 209550"/>
                      <a:gd name="connsiteX2" fmla="*/ 28575 w 293309"/>
                      <a:gd name="connsiteY2" fmla="*/ 200025 h 209550"/>
                      <a:gd name="connsiteX3" fmla="*/ 190500 w 293309"/>
                      <a:gd name="connsiteY3" fmla="*/ 209550 h 209550"/>
                      <a:gd name="connsiteX4" fmla="*/ 233438 w 293309"/>
                      <a:gd name="connsiteY4" fmla="*/ 83155 h 209550"/>
                      <a:gd name="connsiteX5" fmla="*/ 293309 w 293309"/>
                      <a:gd name="connsiteY5" fmla="*/ 64710 h 209550"/>
                      <a:gd name="connsiteX0" fmla="*/ 293309 w 293309"/>
                      <a:gd name="connsiteY0" fmla="*/ 64710 h 211969"/>
                      <a:gd name="connsiteX1" fmla="*/ 0 w 293309"/>
                      <a:gd name="connsiteY1" fmla="*/ 0 h 211969"/>
                      <a:gd name="connsiteX2" fmla="*/ 28575 w 293309"/>
                      <a:gd name="connsiteY2" fmla="*/ 200025 h 211969"/>
                      <a:gd name="connsiteX3" fmla="*/ 178405 w 293309"/>
                      <a:gd name="connsiteY3" fmla="*/ 211969 h 211969"/>
                      <a:gd name="connsiteX4" fmla="*/ 233438 w 293309"/>
                      <a:gd name="connsiteY4" fmla="*/ 83155 h 211969"/>
                      <a:gd name="connsiteX5" fmla="*/ 293309 w 293309"/>
                      <a:gd name="connsiteY5" fmla="*/ 64710 h 211969"/>
                      <a:gd name="connsiteX0" fmla="*/ 293309 w 293309"/>
                      <a:gd name="connsiteY0" fmla="*/ 64710 h 211969"/>
                      <a:gd name="connsiteX1" fmla="*/ 0 w 293309"/>
                      <a:gd name="connsiteY1" fmla="*/ 0 h 211969"/>
                      <a:gd name="connsiteX2" fmla="*/ 28575 w 293309"/>
                      <a:gd name="connsiteY2" fmla="*/ 200025 h 211969"/>
                      <a:gd name="connsiteX3" fmla="*/ 178405 w 293309"/>
                      <a:gd name="connsiteY3" fmla="*/ 211969 h 211969"/>
                      <a:gd name="connsiteX4" fmla="*/ 233438 w 293309"/>
                      <a:gd name="connsiteY4" fmla="*/ 83155 h 211969"/>
                      <a:gd name="connsiteX5" fmla="*/ 293309 w 293309"/>
                      <a:gd name="connsiteY5" fmla="*/ 64710 h 211969"/>
                      <a:gd name="connsiteX0" fmla="*/ 293309 w 293309"/>
                      <a:gd name="connsiteY0" fmla="*/ 64710 h 211969"/>
                      <a:gd name="connsiteX1" fmla="*/ 0 w 293309"/>
                      <a:gd name="connsiteY1" fmla="*/ 0 h 211969"/>
                      <a:gd name="connsiteX2" fmla="*/ 28575 w 293309"/>
                      <a:gd name="connsiteY2" fmla="*/ 200025 h 211969"/>
                      <a:gd name="connsiteX3" fmla="*/ 178405 w 293309"/>
                      <a:gd name="connsiteY3" fmla="*/ 211969 h 211969"/>
                      <a:gd name="connsiteX4" fmla="*/ 247952 w 293309"/>
                      <a:gd name="connsiteY4" fmla="*/ 83155 h 211969"/>
                      <a:gd name="connsiteX5" fmla="*/ 293309 w 293309"/>
                      <a:gd name="connsiteY5" fmla="*/ 64710 h 211969"/>
                      <a:gd name="connsiteX0" fmla="*/ 293309 w 293309"/>
                      <a:gd name="connsiteY0" fmla="*/ 55033 h 202292"/>
                      <a:gd name="connsiteX1" fmla="*/ 0 w 293309"/>
                      <a:gd name="connsiteY1" fmla="*/ 0 h 202292"/>
                      <a:gd name="connsiteX2" fmla="*/ 28575 w 293309"/>
                      <a:gd name="connsiteY2" fmla="*/ 190348 h 202292"/>
                      <a:gd name="connsiteX3" fmla="*/ 178405 w 293309"/>
                      <a:gd name="connsiteY3" fmla="*/ 202292 h 202292"/>
                      <a:gd name="connsiteX4" fmla="*/ 247952 w 293309"/>
                      <a:gd name="connsiteY4" fmla="*/ 73478 h 202292"/>
                      <a:gd name="connsiteX5" fmla="*/ 293309 w 293309"/>
                      <a:gd name="connsiteY5" fmla="*/ 55033 h 202292"/>
                      <a:gd name="connsiteX0" fmla="*/ 298299 w 298299"/>
                      <a:gd name="connsiteY0" fmla="*/ 55033 h 202292"/>
                      <a:gd name="connsiteX1" fmla="*/ 4990 w 298299"/>
                      <a:gd name="connsiteY1" fmla="*/ 0 h 202292"/>
                      <a:gd name="connsiteX2" fmla="*/ 33565 w 298299"/>
                      <a:gd name="connsiteY2" fmla="*/ 190348 h 202292"/>
                      <a:gd name="connsiteX3" fmla="*/ 183395 w 298299"/>
                      <a:gd name="connsiteY3" fmla="*/ 202292 h 202292"/>
                      <a:gd name="connsiteX4" fmla="*/ 252942 w 298299"/>
                      <a:gd name="connsiteY4" fmla="*/ 73478 h 202292"/>
                      <a:gd name="connsiteX5" fmla="*/ 298299 w 298299"/>
                      <a:gd name="connsiteY5" fmla="*/ 55033 h 202292"/>
                      <a:gd name="connsiteX0" fmla="*/ 298299 w 298299"/>
                      <a:gd name="connsiteY0" fmla="*/ 55033 h 202292"/>
                      <a:gd name="connsiteX1" fmla="*/ 4990 w 298299"/>
                      <a:gd name="connsiteY1" fmla="*/ 0 h 202292"/>
                      <a:gd name="connsiteX2" fmla="*/ 33565 w 298299"/>
                      <a:gd name="connsiteY2" fmla="*/ 190348 h 202292"/>
                      <a:gd name="connsiteX3" fmla="*/ 183395 w 298299"/>
                      <a:gd name="connsiteY3" fmla="*/ 202292 h 202292"/>
                      <a:gd name="connsiteX4" fmla="*/ 252942 w 298299"/>
                      <a:gd name="connsiteY4" fmla="*/ 73478 h 202292"/>
                      <a:gd name="connsiteX5" fmla="*/ 298299 w 298299"/>
                      <a:gd name="connsiteY5" fmla="*/ 55033 h 202292"/>
                      <a:gd name="connsiteX0" fmla="*/ 307975 w 307975"/>
                      <a:gd name="connsiteY0" fmla="*/ 45356 h 192615"/>
                      <a:gd name="connsiteX1" fmla="*/ 4990 w 307975"/>
                      <a:gd name="connsiteY1" fmla="*/ 0 h 192615"/>
                      <a:gd name="connsiteX2" fmla="*/ 43241 w 307975"/>
                      <a:gd name="connsiteY2" fmla="*/ 180671 h 192615"/>
                      <a:gd name="connsiteX3" fmla="*/ 193071 w 307975"/>
                      <a:gd name="connsiteY3" fmla="*/ 192615 h 192615"/>
                      <a:gd name="connsiteX4" fmla="*/ 262618 w 307975"/>
                      <a:gd name="connsiteY4" fmla="*/ 63801 h 192615"/>
                      <a:gd name="connsiteX5" fmla="*/ 307975 w 307975"/>
                      <a:gd name="connsiteY5" fmla="*/ 45356 h 192615"/>
                      <a:gd name="connsiteX0" fmla="*/ 307975 w 307975"/>
                      <a:gd name="connsiteY0" fmla="*/ 45356 h 192615"/>
                      <a:gd name="connsiteX1" fmla="*/ 4990 w 307975"/>
                      <a:gd name="connsiteY1" fmla="*/ 0 h 192615"/>
                      <a:gd name="connsiteX2" fmla="*/ 50498 w 307975"/>
                      <a:gd name="connsiteY2" fmla="*/ 173414 h 192615"/>
                      <a:gd name="connsiteX3" fmla="*/ 193071 w 307975"/>
                      <a:gd name="connsiteY3" fmla="*/ 192615 h 192615"/>
                      <a:gd name="connsiteX4" fmla="*/ 262618 w 307975"/>
                      <a:gd name="connsiteY4" fmla="*/ 63801 h 192615"/>
                      <a:gd name="connsiteX5" fmla="*/ 307975 w 307975"/>
                      <a:gd name="connsiteY5" fmla="*/ 45356 h 192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975" h="192615">
                        <a:moveTo>
                          <a:pt x="307975" y="45356"/>
                        </a:moveTo>
                        <a:lnTo>
                          <a:pt x="4990" y="0"/>
                        </a:lnTo>
                        <a:cubicBezTo>
                          <a:pt x="0" y="87639"/>
                          <a:pt x="19201" y="122060"/>
                          <a:pt x="50498" y="173414"/>
                        </a:cubicBezTo>
                        <a:lnTo>
                          <a:pt x="193071" y="192615"/>
                        </a:lnTo>
                        <a:cubicBezTo>
                          <a:pt x="233186" y="149677"/>
                          <a:pt x="244274" y="106739"/>
                          <a:pt x="262618" y="63801"/>
                        </a:cubicBezTo>
                        <a:cubicBezTo>
                          <a:pt x="284188" y="53621"/>
                          <a:pt x="300919" y="57955"/>
                          <a:pt x="307975" y="4535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715" name="Freeform 148">
                    <a:extLst>
                      <a:ext uri="{FF2B5EF4-FFF2-40B4-BE49-F238E27FC236}">
                        <a16:creationId xmlns:a16="http://schemas.microsoft.com/office/drawing/2014/main" id="{C203AFD4-450F-4955-A709-DA03C1C037AF}"/>
                      </a:ext>
                    </a:extLst>
                  </p:cNvPr>
                  <p:cNvSpPr/>
                  <p:nvPr/>
                </p:nvSpPr>
                <p:spPr>
                  <a:xfrm>
                    <a:off x="3257446" y="-455565"/>
                    <a:ext cx="114404" cy="100834"/>
                  </a:xfrm>
                  <a:custGeom>
                    <a:avLst/>
                    <a:gdLst>
                      <a:gd name="connsiteX0" fmla="*/ 0 w 142875"/>
                      <a:gd name="connsiteY0" fmla="*/ 0 h 133350"/>
                      <a:gd name="connsiteX1" fmla="*/ 19050 w 142875"/>
                      <a:gd name="connsiteY1" fmla="*/ 133350 h 133350"/>
                      <a:gd name="connsiteX2" fmla="*/ 95250 w 142875"/>
                      <a:gd name="connsiteY2" fmla="*/ 133350 h 133350"/>
                      <a:gd name="connsiteX3" fmla="*/ 142875 w 142875"/>
                      <a:gd name="connsiteY3" fmla="*/ 28575 h 133350"/>
                      <a:gd name="connsiteX4" fmla="*/ 0 w 142875"/>
                      <a:gd name="connsiteY4" fmla="*/ 0 h 133350"/>
                      <a:gd name="connsiteX0" fmla="*/ 6652 w 149527"/>
                      <a:gd name="connsiteY0" fmla="*/ 0 h 133350"/>
                      <a:gd name="connsiteX1" fmla="*/ 25702 w 149527"/>
                      <a:gd name="connsiteY1" fmla="*/ 133350 h 133350"/>
                      <a:gd name="connsiteX2" fmla="*/ 101902 w 149527"/>
                      <a:gd name="connsiteY2" fmla="*/ 133350 h 133350"/>
                      <a:gd name="connsiteX3" fmla="*/ 149527 w 149527"/>
                      <a:gd name="connsiteY3" fmla="*/ 28575 h 133350"/>
                      <a:gd name="connsiteX4" fmla="*/ 6652 w 149527"/>
                      <a:gd name="connsiteY4" fmla="*/ 0 h 133350"/>
                      <a:gd name="connsiteX0" fmla="*/ 6652 w 149527"/>
                      <a:gd name="connsiteY0" fmla="*/ 0 h 145445"/>
                      <a:gd name="connsiteX1" fmla="*/ 25702 w 149527"/>
                      <a:gd name="connsiteY1" fmla="*/ 133350 h 145445"/>
                      <a:gd name="connsiteX2" fmla="*/ 101902 w 149527"/>
                      <a:gd name="connsiteY2" fmla="*/ 133350 h 145445"/>
                      <a:gd name="connsiteX3" fmla="*/ 149527 w 149527"/>
                      <a:gd name="connsiteY3" fmla="*/ 28575 h 145445"/>
                      <a:gd name="connsiteX4" fmla="*/ 6652 w 149527"/>
                      <a:gd name="connsiteY4" fmla="*/ 0 h 145445"/>
                      <a:gd name="connsiteX0" fmla="*/ 13909 w 156784"/>
                      <a:gd name="connsiteY0" fmla="*/ 0 h 133350"/>
                      <a:gd name="connsiteX1" fmla="*/ 25702 w 156784"/>
                      <a:gd name="connsiteY1" fmla="*/ 116417 h 133350"/>
                      <a:gd name="connsiteX2" fmla="*/ 109159 w 156784"/>
                      <a:gd name="connsiteY2" fmla="*/ 133350 h 133350"/>
                      <a:gd name="connsiteX3" fmla="*/ 156784 w 156784"/>
                      <a:gd name="connsiteY3" fmla="*/ 28575 h 133350"/>
                      <a:gd name="connsiteX4" fmla="*/ 13909 w 156784"/>
                      <a:gd name="connsiteY4" fmla="*/ 0 h 133350"/>
                      <a:gd name="connsiteX0" fmla="*/ 13909 w 156784"/>
                      <a:gd name="connsiteY0" fmla="*/ 0 h 138188"/>
                      <a:gd name="connsiteX1" fmla="*/ 25702 w 156784"/>
                      <a:gd name="connsiteY1" fmla="*/ 116417 h 138188"/>
                      <a:gd name="connsiteX2" fmla="*/ 109159 w 156784"/>
                      <a:gd name="connsiteY2" fmla="*/ 133350 h 138188"/>
                      <a:gd name="connsiteX3" fmla="*/ 156784 w 156784"/>
                      <a:gd name="connsiteY3" fmla="*/ 28575 h 138188"/>
                      <a:gd name="connsiteX4" fmla="*/ 13909 w 156784"/>
                      <a:gd name="connsiteY4" fmla="*/ 0 h 138188"/>
                      <a:gd name="connsiteX0" fmla="*/ 13909 w 156784"/>
                      <a:gd name="connsiteY0" fmla="*/ 0 h 138188"/>
                      <a:gd name="connsiteX1" fmla="*/ 25702 w 156784"/>
                      <a:gd name="connsiteY1" fmla="*/ 116417 h 138188"/>
                      <a:gd name="connsiteX2" fmla="*/ 109159 w 156784"/>
                      <a:gd name="connsiteY2" fmla="*/ 133350 h 138188"/>
                      <a:gd name="connsiteX3" fmla="*/ 156784 w 156784"/>
                      <a:gd name="connsiteY3" fmla="*/ 28575 h 138188"/>
                      <a:gd name="connsiteX4" fmla="*/ 13909 w 156784"/>
                      <a:gd name="connsiteY4" fmla="*/ 0 h 138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784" h="138188">
                        <a:moveTo>
                          <a:pt x="13909" y="0"/>
                        </a:moveTo>
                        <a:cubicBezTo>
                          <a:pt x="20259" y="44450"/>
                          <a:pt x="0" y="64710"/>
                          <a:pt x="25702" y="116417"/>
                        </a:cubicBezTo>
                        <a:cubicBezTo>
                          <a:pt x="58359" y="138188"/>
                          <a:pt x="83759" y="133350"/>
                          <a:pt x="109159" y="133350"/>
                        </a:cubicBezTo>
                        <a:cubicBezTo>
                          <a:pt x="141967" y="98425"/>
                          <a:pt x="140909" y="63500"/>
                          <a:pt x="156784" y="28575"/>
                        </a:cubicBezTo>
                        <a:lnTo>
                          <a:pt x="13909"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716" name="Freeform 327">
                    <a:extLst>
                      <a:ext uri="{FF2B5EF4-FFF2-40B4-BE49-F238E27FC236}">
                        <a16:creationId xmlns:a16="http://schemas.microsoft.com/office/drawing/2014/main" id="{52FC49A6-577A-4944-8A85-56E060FB4C64}"/>
                      </a:ext>
                    </a:extLst>
                  </p:cNvPr>
                  <p:cNvSpPr/>
                  <p:nvPr/>
                </p:nvSpPr>
                <p:spPr>
                  <a:xfrm>
                    <a:off x="2947988" y="-528637"/>
                    <a:ext cx="648581" cy="302558"/>
                  </a:xfrm>
                  <a:custGeom>
                    <a:avLst/>
                    <a:gdLst>
                      <a:gd name="connsiteX0" fmla="*/ 590550 w 590550"/>
                      <a:gd name="connsiteY0" fmla="*/ 323850 h 323850"/>
                      <a:gd name="connsiteX1" fmla="*/ 523875 w 590550"/>
                      <a:gd name="connsiteY1" fmla="*/ 114300 h 323850"/>
                      <a:gd name="connsiteX2" fmla="*/ 133350 w 590550"/>
                      <a:gd name="connsiteY2" fmla="*/ 0 h 323850"/>
                      <a:gd name="connsiteX3" fmla="*/ 0 w 590550"/>
                      <a:gd name="connsiteY3" fmla="*/ 190500 h 323850"/>
                      <a:gd name="connsiteX4" fmla="*/ 152400 w 590550"/>
                      <a:gd name="connsiteY4" fmla="*/ 85725 h 323850"/>
                      <a:gd name="connsiteX5" fmla="*/ 485775 w 590550"/>
                      <a:gd name="connsiteY5" fmla="*/ 171450 h 323850"/>
                      <a:gd name="connsiteX6" fmla="*/ 590550 w 590550"/>
                      <a:gd name="connsiteY6" fmla="*/ 323850 h 323850"/>
                      <a:gd name="connsiteX0" fmla="*/ 590550 w 590550"/>
                      <a:gd name="connsiteY0" fmla="*/ 323850 h 323850"/>
                      <a:gd name="connsiteX1" fmla="*/ 523875 w 590550"/>
                      <a:gd name="connsiteY1" fmla="*/ 114300 h 323850"/>
                      <a:gd name="connsiteX2" fmla="*/ 133350 w 590550"/>
                      <a:gd name="connsiteY2" fmla="*/ 0 h 323850"/>
                      <a:gd name="connsiteX3" fmla="*/ 0 w 590550"/>
                      <a:gd name="connsiteY3" fmla="*/ 190500 h 323850"/>
                      <a:gd name="connsiteX4" fmla="*/ 152400 w 590550"/>
                      <a:gd name="connsiteY4" fmla="*/ 123825 h 323850"/>
                      <a:gd name="connsiteX5" fmla="*/ 485775 w 590550"/>
                      <a:gd name="connsiteY5" fmla="*/ 171450 h 323850"/>
                      <a:gd name="connsiteX6" fmla="*/ 590550 w 590550"/>
                      <a:gd name="connsiteY6" fmla="*/ 323850 h 323850"/>
                      <a:gd name="connsiteX0" fmla="*/ 590550 w 590550"/>
                      <a:gd name="connsiteY0" fmla="*/ 276225 h 276225"/>
                      <a:gd name="connsiteX1" fmla="*/ 523875 w 590550"/>
                      <a:gd name="connsiteY1" fmla="*/ 66675 h 276225"/>
                      <a:gd name="connsiteX2" fmla="*/ 133350 w 590550"/>
                      <a:gd name="connsiteY2" fmla="*/ 0 h 276225"/>
                      <a:gd name="connsiteX3" fmla="*/ 0 w 590550"/>
                      <a:gd name="connsiteY3" fmla="*/ 142875 h 276225"/>
                      <a:gd name="connsiteX4" fmla="*/ 152400 w 590550"/>
                      <a:gd name="connsiteY4" fmla="*/ 76200 h 276225"/>
                      <a:gd name="connsiteX5" fmla="*/ 485775 w 590550"/>
                      <a:gd name="connsiteY5" fmla="*/ 123825 h 276225"/>
                      <a:gd name="connsiteX6" fmla="*/ 590550 w 590550"/>
                      <a:gd name="connsiteY6" fmla="*/ 276225 h 276225"/>
                      <a:gd name="connsiteX0" fmla="*/ 580874 w 580874"/>
                      <a:gd name="connsiteY0" fmla="*/ 307672 h 307672"/>
                      <a:gd name="connsiteX1" fmla="*/ 523875 w 580874"/>
                      <a:gd name="connsiteY1" fmla="*/ 66675 h 307672"/>
                      <a:gd name="connsiteX2" fmla="*/ 133350 w 580874"/>
                      <a:gd name="connsiteY2" fmla="*/ 0 h 307672"/>
                      <a:gd name="connsiteX3" fmla="*/ 0 w 580874"/>
                      <a:gd name="connsiteY3" fmla="*/ 142875 h 307672"/>
                      <a:gd name="connsiteX4" fmla="*/ 152400 w 580874"/>
                      <a:gd name="connsiteY4" fmla="*/ 76200 h 307672"/>
                      <a:gd name="connsiteX5" fmla="*/ 485775 w 580874"/>
                      <a:gd name="connsiteY5" fmla="*/ 123825 h 307672"/>
                      <a:gd name="connsiteX6" fmla="*/ 580874 w 580874"/>
                      <a:gd name="connsiteY6" fmla="*/ 307672 h 307672"/>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52400 w 624769"/>
                      <a:gd name="connsiteY4" fmla="*/ 76200 h 316845"/>
                      <a:gd name="connsiteX5" fmla="*/ 485775 w 624769"/>
                      <a:gd name="connsiteY5" fmla="*/ 123825 h 316845"/>
                      <a:gd name="connsiteX6" fmla="*/ 580874 w 624769"/>
                      <a:gd name="connsiteY6" fmla="*/ 307672 h 316845"/>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52400 w 624769"/>
                      <a:gd name="connsiteY4" fmla="*/ 76200 h 316845"/>
                      <a:gd name="connsiteX5" fmla="*/ 485775 w 624769"/>
                      <a:gd name="connsiteY5" fmla="*/ 123825 h 316845"/>
                      <a:gd name="connsiteX6" fmla="*/ 580874 w 624769"/>
                      <a:gd name="connsiteY6" fmla="*/ 307672 h 316845"/>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52400 w 624769"/>
                      <a:gd name="connsiteY4" fmla="*/ 76200 h 316845"/>
                      <a:gd name="connsiteX5" fmla="*/ 485775 w 624769"/>
                      <a:gd name="connsiteY5" fmla="*/ 123825 h 316845"/>
                      <a:gd name="connsiteX6" fmla="*/ 580874 w 624769"/>
                      <a:gd name="connsiteY6" fmla="*/ 307672 h 316845"/>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52400 w 624769"/>
                      <a:gd name="connsiteY4" fmla="*/ 76200 h 316845"/>
                      <a:gd name="connsiteX5" fmla="*/ 485775 w 624769"/>
                      <a:gd name="connsiteY5" fmla="*/ 123825 h 316845"/>
                      <a:gd name="connsiteX6" fmla="*/ 580874 w 624769"/>
                      <a:gd name="connsiteY6" fmla="*/ 307672 h 316845"/>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52400 w 624769"/>
                      <a:gd name="connsiteY4" fmla="*/ 76200 h 316845"/>
                      <a:gd name="connsiteX5" fmla="*/ 447070 w 624769"/>
                      <a:gd name="connsiteY5" fmla="*/ 116568 h 316845"/>
                      <a:gd name="connsiteX6" fmla="*/ 580874 w 624769"/>
                      <a:gd name="connsiteY6" fmla="*/ 307672 h 316845"/>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52400 w 624769"/>
                      <a:gd name="connsiteY4" fmla="*/ 76200 h 316845"/>
                      <a:gd name="connsiteX5" fmla="*/ 447070 w 624769"/>
                      <a:gd name="connsiteY5" fmla="*/ 116568 h 316845"/>
                      <a:gd name="connsiteX6" fmla="*/ 580874 w 624769"/>
                      <a:gd name="connsiteY6" fmla="*/ 307672 h 316845"/>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52400 w 624769"/>
                      <a:gd name="connsiteY4" fmla="*/ 76200 h 316845"/>
                      <a:gd name="connsiteX5" fmla="*/ 480937 w 624769"/>
                      <a:gd name="connsiteY5" fmla="*/ 126244 h 316845"/>
                      <a:gd name="connsiteX6" fmla="*/ 580874 w 624769"/>
                      <a:gd name="connsiteY6" fmla="*/ 307672 h 316845"/>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54820 w 624769"/>
                      <a:gd name="connsiteY4" fmla="*/ 66524 h 316845"/>
                      <a:gd name="connsiteX5" fmla="*/ 480937 w 624769"/>
                      <a:gd name="connsiteY5" fmla="*/ 126244 h 316845"/>
                      <a:gd name="connsiteX6" fmla="*/ 580874 w 624769"/>
                      <a:gd name="connsiteY6" fmla="*/ 307672 h 316845"/>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54820 w 624769"/>
                      <a:gd name="connsiteY4" fmla="*/ 73781 h 316845"/>
                      <a:gd name="connsiteX5" fmla="*/ 480937 w 624769"/>
                      <a:gd name="connsiteY5" fmla="*/ 126244 h 316845"/>
                      <a:gd name="connsiteX6" fmla="*/ 580874 w 624769"/>
                      <a:gd name="connsiteY6" fmla="*/ 307672 h 316845"/>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54820 w 624769"/>
                      <a:gd name="connsiteY4" fmla="*/ 73781 h 316845"/>
                      <a:gd name="connsiteX5" fmla="*/ 480937 w 624769"/>
                      <a:gd name="connsiteY5" fmla="*/ 126244 h 316845"/>
                      <a:gd name="connsiteX6" fmla="*/ 580874 w 624769"/>
                      <a:gd name="connsiteY6" fmla="*/ 307672 h 316845"/>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54820 w 624769"/>
                      <a:gd name="connsiteY4" fmla="*/ 73781 h 316845"/>
                      <a:gd name="connsiteX5" fmla="*/ 480937 w 624769"/>
                      <a:gd name="connsiteY5" fmla="*/ 126244 h 316845"/>
                      <a:gd name="connsiteX6" fmla="*/ 580874 w 624769"/>
                      <a:gd name="connsiteY6" fmla="*/ 307672 h 316845"/>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86268 w 624769"/>
                      <a:gd name="connsiteY4" fmla="*/ 73781 h 316845"/>
                      <a:gd name="connsiteX5" fmla="*/ 480937 w 624769"/>
                      <a:gd name="connsiteY5" fmla="*/ 126244 h 316845"/>
                      <a:gd name="connsiteX6" fmla="*/ 580874 w 624769"/>
                      <a:gd name="connsiteY6" fmla="*/ 307672 h 316845"/>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86268 w 624769"/>
                      <a:gd name="connsiteY4" fmla="*/ 73781 h 316845"/>
                      <a:gd name="connsiteX5" fmla="*/ 480937 w 624769"/>
                      <a:gd name="connsiteY5" fmla="*/ 126244 h 316845"/>
                      <a:gd name="connsiteX6" fmla="*/ 580874 w 624769"/>
                      <a:gd name="connsiteY6" fmla="*/ 307672 h 316845"/>
                      <a:gd name="connsiteX0" fmla="*/ 580874 w 624769"/>
                      <a:gd name="connsiteY0" fmla="*/ 307672 h 316845"/>
                      <a:gd name="connsiteX1" fmla="*/ 523875 w 624769"/>
                      <a:gd name="connsiteY1" fmla="*/ 66675 h 316845"/>
                      <a:gd name="connsiteX2" fmla="*/ 133350 w 624769"/>
                      <a:gd name="connsiteY2" fmla="*/ 0 h 316845"/>
                      <a:gd name="connsiteX3" fmla="*/ 0 w 624769"/>
                      <a:gd name="connsiteY3" fmla="*/ 142875 h 316845"/>
                      <a:gd name="connsiteX4" fmla="*/ 179011 w 624769"/>
                      <a:gd name="connsiteY4" fmla="*/ 78619 h 316845"/>
                      <a:gd name="connsiteX5" fmla="*/ 480937 w 624769"/>
                      <a:gd name="connsiteY5" fmla="*/ 126244 h 316845"/>
                      <a:gd name="connsiteX6" fmla="*/ 580874 w 624769"/>
                      <a:gd name="connsiteY6" fmla="*/ 307672 h 316845"/>
                      <a:gd name="connsiteX0" fmla="*/ 580874 w 624769"/>
                      <a:gd name="connsiteY0" fmla="*/ 279972 h 289145"/>
                      <a:gd name="connsiteX1" fmla="*/ 523875 w 624769"/>
                      <a:gd name="connsiteY1" fmla="*/ 38975 h 289145"/>
                      <a:gd name="connsiteX2" fmla="*/ 128588 w 624769"/>
                      <a:gd name="connsiteY2" fmla="*/ 875 h 289145"/>
                      <a:gd name="connsiteX3" fmla="*/ 0 w 624769"/>
                      <a:gd name="connsiteY3" fmla="*/ 115175 h 289145"/>
                      <a:gd name="connsiteX4" fmla="*/ 179011 w 624769"/>
                      <a:gd name="connsiteY4" fmla="*/ 50919 h 289145"/>
                      <a:gd name="connsiteX5" fmla="*/ 480937 w 624769"/>
                      <a:gd name="connsiteY5" fmla="*/ 98544 h 289145"/>
                      <a:gd name="connsiteX6" fmla="*/ 580874 w 624769"/>
                      <a:gd name="connsiteY6" fmla="*/ 279972 h 289145"/>
                      <a:gd name="connsiteX0" fmla="*/ 604686 w 648581"/>
                      <a:gd name="connsiteY0" fmla="*/ 279972 h 289145"/>
                      <a:gd name="connsiteX1" fmla="*/ 547687 w 648581"/>
                      <a:gd name="connsiteY1" fmla="*/ 38975 h 289145"/>
                      <a:gd name="connsiteX2" fmla="*/ 152400 w 648581"/>
                      <a:gd name="connsiteY2" fmla="*/ 875 h 289145"/>
                      <a:gd name="connsiteX3" fmla="*/ 23812 w 648581"/>
                      <a:gd name="connsiteY3" fmla="*/ 115175 h 289145"/>
                      <a:gd name="connsiteX4" fmla="*/ 202823 w 648581"/>
                      <a:gd name="connsiteY4" fmla="*/ 50919 h 289145"/>
                      <a:gd name="connsiteX5" fmla="*/ 504749 w 648581"/>
                      <a:gd name="connsiteY5" fmla="*/ 98544 h 289145"/>
                      <a:gd name="connsiteX6" fmla="*/ 604686 w 648581"/>
                      <a:gd name="connsiteY6" fmla="*/ 279972 h 289145"/>
                      <a:gd name="connsiteX0" fmla="*/ 604686 w 648581"/>
                      <a:gd name="connsiteY0" fmla="*/ 279972 h 289145"/>
                      <a:gd name="connsiteX1" fmla="*/ 547687 w 648581"/>
                      <a:gd name="connsiteY1" fmla="*/ 38975 h 289145"/>
                      <a:gd name="connsiteX2" fmla="*/ 152400 w 648581"/>
                      <a:gd name="connsiteY2" fmla="*/ 875 h 289145"/>
                      <a:gd name="connsiteX3" fmla="*/ 23812 w 648581"/>
                      <a:gd name="connsiteY3" fmla="*/ 115175 h 289145"/>
                      <a:gd name="connsiteX4" fmla="*/ 202823 w 648581"/>
                      <a:gd name="connsiteY4" fmla="*/ 50919 h 289145"/>
                      <a:gd name="connsiteX5" fmla="*/ 504749 w 648581"/>
                      <a:gd name="connsiteY5" fmla="*/ 98544 h 289145"/>
                      <a:gd name="connsiteX6" fmla="*/ 604686 w 648581"/>
                      <a:gd name="connsiteY6" fmla="*/ 279972 h 289145"/>
                      <a:gd name="connsiteX0" fmla="*/ 604686 w 648581"/>
                      <a:gd name="connsiteY0" fmla="*/ 293385 h 302558"/>
                      <a:gd name="connsiteX1" fmla="*/ 547687 w 648581"/>
                      <a:gd name="connsiteY1" fmla="*/ 52388 h 302558"/>
                      <a:gd name="connsiteX2" fmla="*/ 152400 w 648581"/>
                      <a:gd name="connsiteY2" fmla="*/ 14288 h 302558"/>
                      <a:gd name="connsiteX3" fmla="*/ 23812 w 648581"/>
                      <a:gd name="connsiteY3" fmla="*/ 128588 h 302558"/>
                      <a:gd name="connsiteX4" fmla="*/ 202823 w 648581"/>
                      <a:gd name="connsiteY4" fmla="*/ 64332 h 302558"/>
                      <a:gd name="connsiteX5" fmla="*/ 504749 w 648581"/>
                      <a:gd name="connsiteY5" fmla="*/ 111957 h 302558"/>
                      <a:gd name="connsiteX6" fmla="*/ 604686 w 648581"/>
                      <a:gd name="connsiteY6" fmla="*/ 293385 h 302558"/>
                      <a:gd name="connsiteX0" fmla="*/ 604686 w 648581"/>
                      <a:gd name="connsiteY0" fmla="*/ 286241 h 295414"/>
                      <a:gd name="connsiteX1" fmla="*/ 547687 w 648581"/>
                      <a:gd name="connsiteY1" fmla="*/ 45244 h 295414"/>
                      <a:gd name="connsiteX2" fmla="*/ 166688 w 648581"/>
                      <a:gd name="connsiteY2" fmla="*/ 14288 h 295414"/>
                      <a:gd name="connsiteX3" fmla="*/ 23812 w 648581"/>
                      <a:gd name="connsiteY3" fmla="*/ 121444 h 295414"/>
                      <a:gd name="connsiteX4" fmla="*/ 202823 w 648581"/>
                      <a:gd name="connsiteY4" fmla="*/ 57188 h 295414"/>
                      <a:gd name="connsiteX5" fmla="*/ 504749 w 648581"/>
                      <a:gd name="connsiteY5" fmla="*/ 104813 h 295414"/>
                      <a:gd name="connsiteX6" fmla="*/ 604686 w 648581"/>
                      <a:gd name="connsiteY6" fmla="*/ 286241 h 295414"/>
                      <a:gd name="connsiteX0" fmla="*/ 604686 w 648581"/>
                      <a:gd name="connsiteY0" fmla="*/ 293385 h 302558"/>
                      <a:gd name="connsiteX1" fmla="*/ 547687 w 648581"/>
                      <a:gd name="connsiteY1" fmla="*/ 52388 h 302558"/>
                      <a:gd name="connsiteX2" fmla="*/ 161926 w 648581"/>
                      <a:gd name="connsiteY2" fmla="*/ 14288 h 302558"/>
                      <a:gd name="connsiteX3" fmla="*/ 23812 w 648581"/>
                      <a:gd name="connsiteY3" fmla="*/ 128588 h 302558"/>
                      <a:gd name="connsiteX4" fmla="*/ 202823 w 648581"/>
                      <a:gd name="connsiteY4" fmla="*/ 64332 h 302558"/>
                      <a:gd name="connsiteX5" fmla="*/ 504749 w 648581"/>
                      <a:gd name="connsiteY5" fmla="*/ 111957 h 302558"/>
                      <a:gd name="connsiteX6" fmla="*/ 604686 w 648581"/>
                      <a:gd name="connsiteY6" fmla="*/ 293385 h 302558"/>
                      <a:gd name="connsiteX0" fmla="*/ 604686 w 648581"/>
                      <a:gd name="connsiteY0" fmla="*/ 293385 h 302558"/>
                      <a:gd name="connsiteX1" fmla="*/ 547687 w 648581"/>
                      <a:gd name="connsiteY1" fmla="*/ 71438 h 302558"/>
                      <a:gd name="connsiteX2" fmla="*/ 161926 w 648581"/>
                      <a:gd name="connsiteY2" fmla="*/ 14288 h 302558"/>
                      <a:gd name="connsiteX3" fmla="*/ 23812 w 648581"/>
                      <a:gd name="connsiteY3" fmla="*/ 128588 h 302558"/>
                      <a:gd name="connsiteX4" fmla="*/ 202823 w 648581"/>
                      <a:gd name="connsiteY4" fmla="*/ 64332 h 302558"/>
                      <a:gd name="connsiteX5" fmla="*/ 504749 w 648581"/>
                      <a:gd name="connsiteY5" fmla="*/ 111957 h 302558"/>
                      <a:gd name="connsiteX6" fmla="*/ 604686 w 648581"/>
                      <a:gd name="connsiteY6" fmla="*/ 293385 h 302558"/>
                      <a:gd name="connsiteX0" fmla="*/ 604686 w 648581"/>
                      <a:gd name="connsiteY0" fmla="*/ 293385 h 302558"/>
                      <a:gd name="connsiteX1" fmla="*/ 547687 w 648581"/>
                      <a:gd name="connsiteY1" fmla="*/ 71438 h 302558"/>
                      <a:gd name="connsiteX2" fmla="*/ 161926 w 648581"/>
                      <a:gd name="connsiteY2" fmla="*/ 14288 h 302558"/>
                      <a:gd name="connsiteX3" fmla="*/ 23812 w 648581"/>
                      <a:gd name="connsiteY3" fmla="*/ 128588 h 302558"/>
                      <a:gd name="connsiteX4" fmla="*/ 202823 w 648581"/>
                      <a:gd name="connsiteY4" fmla="*/ 64332 h 302558"/>
                      <a:gd name="connsiteX5" fmla="*/ 504749 w 648581"/>
                      <a:gd name="connsiteY5" fmla="*/ 111957 h 302558"/>
                      <a:gd name="connsiteX6" fmla="*/ 604686 w 648581"/>
                      <a:gd name="connsiteY6" fmla="*/ 293385 h 302558"/>
                      <a:gd name="connsiteX0" fmla="*/ 604686 w 648581"/>
                      <a:gd name="connsiteY0" fmla="*/ 293385 h 302558"/>
                      <a:gd name="connsiteX1" fmla="*/ 547687 w 648581"/>
                      <a:gd name="connsiteY1" fmla="*/ 71438 h 302558"/>
                      <a:gd name="connsiteX2" fmla="*/ 161926 w 648581"/>
                      <a:gd name="connsiteY2" fmla="*/ 14288 h 302558"/>
                      <a:gd name="connsiteX3" fmla="*/ 23812 w 648581"/>
                      <a:gd name="connsiteY3" fmla="*/ 128588 h 302558"/>
                      <a:gd name="connsiteX4" fmla="*/ 202823 w 648581"/>
                      <a:gd name="connsiteY4" fmla="*/ 64332 h 302558"/>
                      <a:gd name="connsiteX5" fmla="*/ 504749 w 648581"/>
                      <a:gd name="connsiteY5" fmla="*/ 111957 h 302558"/>
                      <a:gd name="connsiteX6" fmla="*/ 604686 w 648581"/>
                      <a:gd name="connsiteY6" fmla="*/ 293385 h 302558"/>
                      <a:gd name="connsiteX0" fmla="*/ 604686 w 648581"/>
                      <a:gd name="connsiteY0" fmla="*/ 293385 h 302558"/>
                      <a:gd name="connsiteX1" fmla="*/ 547687 w 648581"/>
                      <a:gd name="connsiteY1" fmla="*/ 71438 h 302558"/>
                      <a:gd name="connsiteX2" fmla="*/ 161926 w 648581"/>
                      <a:gd name="connsiteY2" fmla="*/ 14288 h 302558"/>
                      <a:gd name="connsiteX3" fmla="*/ 23812 w 648581"/>
                      <a:gd name="connsiteY3" fmla="*/ 128588 h 302558"/>
                      <a:gd name="connsiteX4" fmla="*/ 202823 w 648581"/>
                      <a:gd name="connsiteY4" fmla="*/ 64332 h 302558"/>
                      <a:gd name="connsiteX5" fmla="*/ 504749 w 648581"/>
                      <a:gd name="connsiteY5" fmla="*/ 111957 h 302558"/>
                      <a:gd name="connsiteX6" fmla="*/ 604686 w 648581"/>
                      <a:gd name="connsiteY6" fmla="*/ 293385 h 302558"/>
                      <a:gd name="connsiteX0" fmla="*/ 604686 w 648581"/>
                      <a:gd name="connsiteY0" fmla="*/ 293385 h 302558"/>
                      <a:gd name="connsiteX1" fmla="*/ 547687 w 648581"/>
                      <a:gd name="connsiteY1" fmla="*/ 71438 h 302558"/>
                      <a:gd name="connsiteX2" fmla="*/ 161926 w 648581"/>
                      <a:gd name="connsiteY2" fmla="*/ 14288 h 302558"/>
                      <a:gd name="connsiteX3" fmla="*/ 23812 w 648581"/>
                      <a:gd name="connsiteY3" fmla="*/ 128588 h 302558"/>
                      <a:gd name="connsiteX4" fmla="*/ 202823 w 648581"/>
                      <a:gd name="connsiteY4" fmla="*/ 64332 h 302558"/>
                      <a:gd name="connsiteX5" fmla="*/ 504749 w 648581"/>
                      <a:gd name="connsiteY5" fmla="*/ 111957 h 302558"/>
                      <a:gd name="connsiteX6" fmla="*/ 604686 w 648581"/>
                      <a:gd name="connsiteY6" fmla="*/ 293385 h 302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8581" h="302558">
                        <a:moveTo>
                          <a:pt x="604686" y="293385"/>
                        </a:moveTo>
                        <a:cubicBezTo>
                          <a:pt x="648581" y="302558"/>
                          <a:pt x="580975" y="151770"/>
                          <a:pt x="547687" y="71438"/>
                        </a:cubicBezTo>
                        <a:cubicBezTo>
                          <a:pt x="398721" y="15795"/>
                          <a:pt x="268987" y="0"/>
                          <a:pt x="161926" y="14288"/>
                        </a:cubicBezTo>
                        <a:cubicBezTo>
                          <a:pt x="119063" y="30957"/>
                          <a:pt x="0" y="92869"/>
                          <a:pt x="23812" y="128588"/>
                        </a:cubicBezTo>
                        <a:cubicBezTo>
                          <a:pt x="75419" y="105557"/>
                          <a:pt x="95577" y="84944"/>
                          <a:pt x="202823" y="64332"/>
                        </a:cubicBezTo>
                        <a:cubicBezTo>
                          <a:pt x="340558" y="80207"/>
                          <a:pt x="354919" y="79149"/>
                          <a:pt x="504749" y="111957"/>
                        </a:cubicBezTo>
                        <a:cubicBezTo>
                          <a:pt x="570316" y="169146"/>
                          <a:pt x="580243" y="230986"/>
                          <a:pt x="604686" y="29338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717" name="Freeform 328">
                    <a:extLst>
                      <a:ext uri="{FF2B5EF4-FFF2-40B4-BE49-F238E27FC236}">
                        <a16:creationId xmlns:a16="http://schemas.microsoft.com/office/drawing/2014/main" id="{A216B98E-22CC-4D37-A4AF-AA31DE88AB7F}"/>
                      </a:ext>
                    </a:extLst>
                  </p:cNvPr>
                  <p:cNvSpPr/>
                  <p:nvPr/>
                </p:nvSpPr>
                <p:spPr>
                  <a:xfrm>
                    <a:off x="3423127" y="-700072"/>
                    <a:ext cx="307964" cy="556927"/>
                  </a:xfrm>
                  <a:custGeom>
                    <a:avLst/>
                    <a:gdLst>
                      <a:gd name="connsiteX0" fmla="*/ 168812 w 351692"/>
                      <a:gd name="connsiteY0" fmla="*/ 0 h 253218"/>
                      <a:gd name="connsiteX1" fmla="*/ 351692 w 351692"/>
                      <a:gd name="connsiteY1" fmla="*/ 225083 h 253218"/>
                      <a:gd name="connsiteX2" fmla="*/ 281354 w 351692"/>
                      <a:gd name="connsiteY2" fmla="*/ 253218 h 253218"/>
                      <a:gd name="connsiteX3" fmla="*/ 0 w 351692"/>
                      <a:gd name="connsiteY3" fmla="*/ 98473 h 253218"/>
                      <a:gd name="connsiteX4" fmla="*/ 168812 w 351692"/>
                      <a:gd name="connsiteY4" fmla="*/ 0 h 253218"/>
                      <a:gd name="connsiteX0" fmla="*/ 168812 w 351692"/>
                      <a:gd name="connsiteY0" fmla="*/ 0 h 357237"/>
                      <a:gd name="connsiteX1" fmla="*/ 351692 w 351692"/>
                      <a:gd name="connsiteY1" fmla="*/ 225083 h 357237"/>
                      <a:gd name="connsiteX2" fmla="*/ 216040 w 351692"/>
                      <a:gd name="connsiteY2" fmla="*/ 357237 h 357237"/>
                      <a:gd name="connsiteX3" fmla="*/ 0 w 351692"/>
                      <a:gd name="connsiteY3" fmla="*/ 98473 h 357237"/>
                      <a:gd name="connsiteX4" fmla="*/ 168812 w 351692"/>
                      <a:gd name="connsiteY4" fmla="*/ 0 h 357237"/>
                      <a:gd name="connsiteX0" fmla="*/ 168812 w 332339"/>
                      <a:gd name="connsiteY0" fmla="*/ 0 h 357237"/>
                      <a:gd name="connsiteX1" fmla="*/ 332339 w 332339"/>
                      <a:gd name="connsiteY1" fmla="*/ 333940 h 357237"/>
                      <a:gd name="connsiteX2" fmla="*/ 216040 w 332339"/>
                      <a:gd name="connsiteY2" fmla="*/ 357237 h 357237"/>
                      <a:gd name="connsiteX3" fmla="*/ 0 w 332339"/>
                      <a:gd name="connsiteY3" fmla="*/ 98473 h 357237"/>
                      <a:gd name="connsiteX4" fmla="*/ 168812 w 332339"/>
                      <a:gd name="connsiteY4" fmla="*/ 0 h 357237"/>
                      <a:gd name="connsiteX0" fmla="*/ 168812 w 332339"/>
                      <a:gd name="connsiteY0" fmla="*/ 0 h 433630"/>
                      <a:gd name="connsiteX1" fmla="*/ 332339 w 332339"/>
                      <a:gd name="connsiteY1" fmla="*/ 333940 h 433630"/>
                      <a:gd name="connsiteX2" fmla="*/ 216040 w 332339"/>
                      <a:gd name="connsiteY2" fmla="*/ 357237 h 433630"/>
                      <a:gd name="connsiteX3" fmla="*/ 0 w 332339"/>
                      <a:gd name="connsiteY3" fmla="*/ 98473 h 433630"/>
                      <a:gd name="connsiteX4" fmla="*/ 168812 w 332339"/>
                      <a:gd name="connsiteY4" fmla="*/ 0 h 433630"/>
                      <a:gd name="connsiteX0" fmla="*/ 168812 w 332339"/>
                      <a:gd name="connsiteY0" fmla="*/ 0 h 433630"/>
                      <a:gd name="connsiteX1" fmla="*/ 332339 w 332339"/>
                      <a:gd name="connsiteY1" fmla="*/ 333940 h 433630"/>
                      <a:gd name="connsiteX2" fmla="*/ 216040 w 332339"/>
                      <a:gd name="connsiteY2" fmla="*/ 357237 h 433630"/>
                      <a:gd name="connsiteX3" fmla="*/ 0 w 332339"/>
                      <a:gd name="connsiteY3" fmla="*/ 98473 h 433630"/>
                      <a:gd name="connsiteX4" fmla="*/ 168812 w 332339"/>
                      <a:gd name="connsiteY4" fmla="*/ 0 h 433630"/>
                      <a:gd name="connsiteX0" fmla="*/ 168812 w 332339"/>
                      <a:gd name="connsiteY0" fmla="*/ 0 h 433630"/>
                      <a:gd name="connsiteX1" fmla="*/ 332339 w 332339"/>
                      <a:gd name="connsiteY1" fmla="*/ 333940 h 433630"/>
                      <a:gd name="connsiteX2" fmla="*/ 216040 w 332339"/>
                      <a:gd name="connsiteY2" fmla="*/ 333046 h 433630"/>
                      <a:gd name="connsiteX3" fmla="*/ 0 w 332339"/>
                      <a:gd name="connsiteY3" fmla="*/ 98473 h 433630"/>
                      <a:gd name="connsiteX4" fmla="*/ 168812 w 332339"/>
                      <a:gd name="connsiteY4" fmla="*/ 0 h 433630"/>
                      <a:gd name="connsiteX0" fmla="*/ 168812 w 332339"/>
                      <a:gd name="connsiteY0" fmla="*/ 0 h 433630"/>
                      <a:gd name="connsiteX1" fmla="*/ 332339 w 332339"/>
                      <a:gd name="connsiteY1" fmla="*/ 333940 h 433630"/>
                      <a:gd name="connsiteX2" fmla="*/ 216040 w 332339"/>
                      <a:gd name="connsiteY2" fmla="*/ 333046 h 433630"/>
                      <a:gd name="connsiteX3" fmla="*/ 0 w 332339"/>
                      <a:gd name="connsiteY3" fmla="*/ 98473 h 433630"/>
                      <a:gd name="connsiteX4" fmla="*/ 168812 w 332339"/>
                      <a:gd name="connsiteY4" fmla="*/ 0 h 433630"/>
                      <a:gd name="connsiteX0" fmla="*/ 168812 w 362496"/>
                      <a:gd name="connsiteY0" fmla="*/ 0 h 433630"/>
                      <a:gd name="connsiteX1" fmla="*/ 332339 w 362496"/>
                      <a:gd name="connsiteY1" fmla="*/ 333940 h 433630"/>
                      <a:gd name="connsiteX2" fmla="*/ 216040 w 362496"/>
                      <a:gd name="connsiteY2" fmla="*/ 333046 h 433630"/>
                      <a:gd name="connsiteX3" fmla="*/ 0 w 362496"/>
                      <a:gd name="connsiteY3" fmla="*/ 98473 h 433630"/>
                      <a:gd name="connsiteX4" fmla="*/ 168812 w 362496"/>
                      <a:gd name="connsiteY4" fmla="*/ 0 h 433630"/>
                      <a:gd name="connsiteX0" fmla="*/ 318793 w 373302"/>
                      <a:gd name="connsiteY0" fmla="*/ 3127 h 335157"/>
                      <a:gd name="connsiteX1" fmla="*/ 332339 w 373302"/>
                      <a:gd name="connsiteY1" fmla="*/ 235467 h 335157"/>
                      <a:gd name="connsiteX2" fmla="*/ 216040 w 373302"/>
                      <a:gd name="connsiteY2" fmla="*/ 234573 h 335157"/>
                      <a:gd name="connsiteX3" fmla="*/ 0 w 373302"/>
                      <a:gd name="connsiteY3" fmla="*/ 0 h 335157"/>
                      <a:gd name="connsiteX4" fmla="*/ 318793 w 373302"/>
                      <a:gd name="connsiteY4" fmla="*/ 3127 h 335157"/>
                      <a:gd name="connsiteX0" fmla="*/ 318793 w 387817"/>
                      <a:gd name="connsiteY0" fmla="*/ 3127 h 335157"/>
                      <a:gd name="connsiteX1" fmla="*/ 332339 w 387817"/>
                      <a:gd name="connsiteY1" fmla="*/ 235467 h 335157"/>
                      <a:gd name="connsiteX2" fmla="*/ 216040 w 387817"/>
                      <a:gd name="connsiteY2" fmla="*/ 234573 h 335157"/>
                      <a:gd name="connsiteX3" fmla="*/ 0 w 387817"/>
                      <a:gd name="connsiteY3" fmla="*/ 0 h 335157"/>
                      <a:gd name="connsiteX4" fmla="*/ 318793 w 387817"/>
                      <a:gd name="connsiteY4" fmla="*/ 3127 h 335157"/>
                      <a:gd name="connsiteX0" fmla="*/ 318793 w 387817"/>
                      <a:gd name="connsiteY0" fmla="*/ 148604 h 480634"/>
                      <a:gd name="connsiteX1" fmla="*/ 332339 w 387817"/>
                      <a:gd name="connsiteY1" fmla="*/ 380944 h 480634"/>
                      <a:gd name="connsiteX2" fmla="*/ 216040 w 387817"/>
                      <a:gd name="connsiteY2" fmla="*/ 380050 h 480634"/>
                      <a:gd name="connsiteX3" fmla="*/ 0 w 387817"/>
                      <a:gd name="connsiteY3" fmla="*/ 145477 h 480634"/>
                      <a:gd name="connsiteX4" fmla="*/ 318793 w 387817"/>
                      <a:gd name="connsiteY4" fmla="*/ 148604 h 480634"/>
                      <a:gd name="connsiteX0" fmla="*/ 227216 w 296240"/>
                      <a:gd name="connsiteY0" fmla="*/ 148604 h 480634"/>
                      <a:gd name="connsiteX1" fmla="*/ 240762 w 296240"/>
                      <a:gd name="connsiteY1" fmla="*/ 380944 h 480634"/>
                      <a:gd name="connsiteX2" fmla="*/ 124463 w 296240"/>
                      <a:gd name="connsiteY2" fmla="*/ 380050 h 480634"/>
                      <a:gd name="connsiteX3" fmla="*/ 55985 w 296240"/>
                      <a:gd name="connsiteY3" fmla="*/ 145477 h 480634"/>
                      <a:gd name="connsiteX4" fmla="*/ 227216 w 296240"/>
                      <a:gd name="connsiteY4" fmla="*/ 148604 h 480634"/>
                      <a:gd name="connsiteX0" fmla="*/ 227216 w 296240"/>
                      <a:gd name="connsiteY0" fmla="*/ 148604 h 480634"/>
                      <a:gd name="connsiteX1" fmla="*/ 240762 w 296240"/>
                      <a:gd name="connsiteY1" fmla="*/ 380944 h 480634"/>
                      <a:gd name="connsiteX2" fmla="*/ 124463 w 296240"/>
                      <a:gd name="connsiteY2" fmla="*/ 380050 h 480634"/>
                      <a:gd name="connsiteX3" fmla="*/ 55985 w 296240"/>
                      <a:gd name="connsiteY3" fmla="*/ 145477 h 480634"/>
                      <a:gd name="connsiteX4" fmla="*/ 227216 w 296240"/>
                      <a:gd name="connsiteY4" fmla="*/ 148604 h 480634"/>
                      <a:gd name="connsiteX0" fmla="*/ 227216 w 296240"/>
                      <a:gd name="connsiteY0" fmla="*/ 148604 h 480634"/>
                      <a:gd name="connsiteX1" fmla="*/ 240762 w 296240"/>
                      <a:gd name="connsiteY1" fmla="*/ 380944 h 480634"/>
                      <a:gd name="connsiteX2" fmla="*/ 124463 w 296240"/>
                      <a:gd name="connsiteY2" fmla="*/ 380050 h 480634"/>
                      <a:gd name="connsiteX3" fmla="*/ 55985 w 296240"/>
                      <a:gd name="connsiteY3" fmla="*/ 145477 h 480634"/>
                      <a:gd name="connsiteX4" fmla="*/ 227216 w 296240"/>
                      <a:gd name="connsiteY4" fmla="*/ 148604 h 480634"/>
                      <a:gd name="connsiteX0" fmla="*/ 229462 w 298486"/>
                      <a:gd name="connsiteY0" fmla="*/ 148604 h 480634"/>
                      <a:gd name="connsiteX1" fmla="*/ 243008 w 298486"/>
                      <a:gd name="connsiteY1" fmla="*/ 380944 h 480634"/>
                      <a:gd name="connsiteX2" fmla="*/ 126709 w 298486"/>
                      <a:gd name="connsiteY2" fmla="*/ 380050 h 480634"/>
                      <a:gd name="connsiteX3" fmla="*/ 48555 w 298486"/>
                      <a:gd name="connsiteY3" fmla="*/ 150315 h 480634"/>
                      <a:gd name="connsiteX4" fmla="*/ 229462 w 298486"/>
                      <a:gd name="connsiteY4" fmla="*/ 148604 h 480634"/>
                      <a:gd name="connsiteX0" fmla="*/ 227216 w 296240"/>
                      <a:gd name="connsiteY0" fmla="*/ 148604 h 470958"/>
                      <a:gd name="connsiteX1" fmla="*/ 245600 w 296240"/>
                      <a:gd name="connsiteY1" fmla="*/ 371268 h 470958"/>
                      <a:gd name="connsiteX2" fmla="*/ 129301 w 296240"/>
                      <a:gd name="connsiteY2" fmla="*/ 370374 h 470958"/>
                      <a:gd name="connsiteX3" fmla="*/ 51147 w 296240"/>
                      <a:gd name="connsiteY3" fmla="*/ 140639 h 470958"/>
                      <a:gd name="connsiteX4" fmla="*/ 227216 w 296240"/>
                      <a:gd name="connsiteY4" fmla="*/ 148604 h 470958"/>
                      <a:gd name="connsiteX0" fmla="*/ 235032 w 304056"/>
                      <a:gd name="connsiteY0" fmla="*/ 199404 h 521758"/>
                      <a:gd name="connsiteX1" fmla="*/ 253416 w 304056"/>
                      <a:gd name="connsiteY1" fmla="*/ 422068 h 521758"/>
                      <a:gd name="connsiteX2" fmla="*/ 137117 w 304056"/>
                      <a:gd name="connsiteY2" fmla="*/ 421174 h 521758"/>
                      <a:gd name="connsiteX3" fmla="*/ 58963 w 304056"/>
                      <a:gd name="connsiteY3" fmla="*/ 191439 h 521758"/>
                      <a:gd name="connsiteX4" fmla="*/ 235032 w 304056"/>
                      <a:gd name="connsiteY4" fmla="*/ 199404 h 521758"/>
                      <a:gd name="connsiteX0" fmla="*/ 238940 w 307964"/>
                      <a:gd name="connsiteY0" fmla="*/ 234573 h 556927"/>
                      <a:gd name="connsiteX1" fmla="*/ 257324 w 307964"/>
                      <a:gd name="connsiteY1" fmla="*/ 457237 h 556927"/>
                      <a:gd name="connsiteX2" fmla="*/ 141025 w 307964"/>
                      <a:gd name="connsiteY2" fmla="*/ 456343 h 556927"/>
                      <a:gd name="connsiteX3" fmla="*/ 62871 w 307964"/>
                      <a:gd name="connsiteY3" fmla="*/ 226608 h 556927"/>
                      <a:gd name="connsiteX4" fmla="*/ 238940 w 307964"/>
                      <a:gd name="connsiteY4" fmla="*/ 234573 h 556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964" h="556927">
                        <a:moveTo>
                          <a:pt x="238940" y="234573"/>
                        </a:moveTo>
                        <a:cubicBezTo>
                          <a:pt x="307964" y="275733"/>
                          <a:pt x="287481" y="297543"/>
                          <a:pt x="257324" y="457237"/>
                        </a:cubicBezTo>
                        <a:cubicBezTo>
                          <a:pt x="206462" y="556927"/>
                          <a:pt x="167696" y="513890"/>
                          <a:pt x="141025" y="456343"/>
                        </a:cubicBezTo>
                        <a:cubicBezTo>
                          <a:pt x="118199" y="378152"/>
                          <a:pt x="92954" y="304799"/>
                          <a:pt x="62871" y="226608"/>
                        </a:cubicBezTo>
                        <a:cubicBezTo>
                          <a:pt x="14316" y="135726"/>
                          <a:pt x="0" y="0"/>
                          <a:pt x="238940" y="23457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718" name="Freeform 329">
                    <a:extLst>
                      <a:ext uri="{FF2B5EF4-FFF2-40B4-BE49-F238E27FC236}">
                        <a16:creationId xmlns:a16="http://schemas.microsoft.com/office/drawing/2014/main" id="{B90F66FE-20CD-474A-AD09-10C989006B46}"/>
                      </a:ext>
                    </a:extLst>
                  </p:cNvPr>
                  <p:cNvSpPr/>
                  <p:nvPr/>
                </p:nvSpPr>
                <p:spPr>
                  <a:xfrm>
                    <a:off x="2960426" y="-469899"/>
                    <a:ext cx="602322" cy="241299"/>
                  </a:xfrm>
                  <a:custGeom>
                    <a:avLst/>
                    <a:gdLst>
                      <a:gd name="connsiteX0" fmla="*/ 591344 w 602456"/>
                      <a:gd name="connsiteY0" fmla="*/ 241300 h 248840"/>
                      <a:gd name="connsiteX1" fmla="*/ 565150 w 602456"/>
                      <a:gd name="connsiteY1" fmla="*/ 138906 h 248840"/>
                      <a:gd name="connsiteX2" fmla="*/ 486569 w 602456"/>
                      <a:gd name="connsiteY2" fmla="*/ 50800 h 248840"/>
                      <a:gd name="connsiteX3" fmla="*/ 186531 w 602456"/>
                      <a:gd name="connsiteY3" fmla="*/ 3175 h 248840"/>
                      <a:gd name="connsiteX4" fmla="*/ 24606 w 602456"/>
                      <a:gd name="connsiteY4" fmla="*/ 69850 h 248840"/>
                      <a:gd name="connsiteX5" fmla="*/ 38894 w 602456"/>
                      <a:gd name="connsiteY5" fmla="*/ 72231 h 248840"/>
                      <a:gd name="connsiteX6" fmla="*/ 86519 w 602456"/>
                      <a:gd name="connsiteY6" fmla="*/ 112713 h 248840"/>
                      <a:gd name="connsiteX7" fmla="*/ 100806 w 602456"/>
                      <a:gd name="connsiteY7" fmla="*/ 60325 h 248840"/>
                      <a:gd name="connsiteX8" fmla="*/ 219869 w 602456"/>
                      <a:gd name="connsiteY8" fmla="*/ 31750 h 248840"/>
                      <a:gd name="connsiteX9" fmla="*/ 498475 w 602456"/>
                      <a:gd name="connsiteY9" fmla="*/ 93663 h 248840"/>
                      <a:gd name="connsiteX10" fmla="*/ 591344 w 602456"/>
                      <a:gd name="connsiteY10" fmla="*/ 241300 h 248840"/>
                      <a:gd name="connsiteX0" fmla="*/ 591344 w 602456"/>
                      <a:gd name="connsiteY0" fmla="*/ 241300 h 248840"/>
                      <a:gd name="connsiteX1" fmla="*/ 565150 w 602456"/>
                      <a:gd name="connsiteY1" fmla="*/ 138906 h 248840"/>
                      <a:gd name="connsiteX2" fmla="*/ 486569 w 602456"/>
                      <a:gd name="connsiteY2" fmla="*/ 50800 h 248840"/>
                      <a:gd name="connsiteX3" fmla="*/ 186531 w 602456"/>
                      <a:gd name="connsiteY3" fmla="*/ 3175 h 248840"/>
                      <a:gd name="connsiteX4" fmla="*/ 24606 w 602456"/>
                      <a:gd name="connsiteY4" fmla="*/ 69850 h 248840"/>
                      <a:gd name="connsiteX5" fmla="*/ 38894 w 602456"/>
                      <a:gd name="connsiteY5" fmla="*/ 72231 h 248840"/>
                      <a:gd name="connsiteX6" fmla="*/ 86519 w 602456"/>
                      <a:gd name="connsiteY6" fmla="*/ 112713 h 248840"/>
                      <a:gd name="connsiteX7" fmla="*/ 100806 w 602456"/>
                      <a:gd name="connsiteY7" fmla="*/ 60325 h 248840"/>
                      <a:gd name="connsiteX8" fmla="*/ 219869 w 602456"/>
                      <a:gd name="connsiteY8" fmla="*/ 46038 h 248840"/>
                      <a:gd name="connsiteX9" fmla="*/ 498475 w 602456"/>
                      <a:gd name="connsiteY9" fmla="*/ 93663 h 248840"/>
                      <a:gd name="connsiteX10" fmla="*/ 591344 w 602456"/>
                      <a:gd name="connsiteY10" fmla="*/ 241300 h 248840"/>
                      <a:gd name="connsiteX0" fmla="*/ 591344 w 602853"/>
                      <a:gd name="connsiteY0" fmla="*/ 241300 h 246856"/>
                      <a:gd name="connsiteX1" fmla="*/ 565150 w 602853"/>
                      <a:gd name="connsiteY1" fmla="*/ 138906 h 246856"/>
                      <a:gd name="connsiteX2" fmla="*/ 486569 w 602853"/>
                      <a:gd name="connsiteY2" fmla="*/ 50800 h 246856"/>
                      <a:gd name="connsiteX3" fmla="*/ 186531 w 602853"/>
                      <a:gd name="connsiteY3" fmla="*/ 3175 h 246856"/>
                      <a:gd name="connsiteX4" fmla="*/ 24606 w 602853"/>
                      <a:gd name="connsiteY4" fmla="*/ 69850 h 246856"/>
                      <a:gd name="connsiteX5" fmla="*/ 38894 w 602853"/>
                      <a:gd name="connsiteY5" fmla="*/ 72231 h 246856"/>
                      <a:gd name="connsiteX6" fmla="*/ 86519 w 602853"/>
                      <a:gd name="connsiteY6" fmla="*/ 112713 h 246856"/>
                      <a:gd name="connsiteX7" fmla="*/ 100806 w 602853"/>
                      <a:gd name="connsiteY7" fmla="*/ 60325 h 246856"/>
                      <a:gd name="connsiteX8" fmla="*/ 219869 w 602853"/>
                      <a:gd name="connsiteY8" fmla="*/ 46038 h 246856"/>
                      <a:gd name="connsiteX9" fmla="*/ 496094 w 602853"/>
                      <a:gd name="connsiteY9" fmla="*/ 105570 h 246856"/>
                      <a:gd name="connsiteX10" fmla="*/ 591344 w 602853"/>
                      <a:gd name="connsiteY10" fmla="*/ 241300 h 246856"/>
                      <a:gd name="connsiteX0" fmla="*/ 591344 w 602853"/>
                      <a:gd name="connsiteY0" fmla="*/ 241300 h 246856"/>
                      <a:gd name="connsiteX1" fmla="*/ 565150 w 602853"/>
                      <a:gd name="connsiteY1" fmla="*/ 138906 h 246856"/>
                      <a:gd name="connsiteX2" fmla="*/ 486569 w 602853"/>
                      <a:gd name="connsiteY2" fmla="*/ 50800 h 246856"/>
                      <a:gd name="connsiteX3" fmla="*/ 186531 w 602853"/>
                      <a:gd name="connsiteY3" fmla="*/ 3175 h 246856"/>
                      <a:gd name="connsiteX4" fmla="*/ 24606 w 602853"/>
                      <a:gd name="connsiteY4" fmla="*/ 69850 h 246856"/>
                      <a:gd name="connsiteX5" fmla="*/ 38894 w 602853"/>
                      <a:gd name="connsiteY5" fmla="*/ 72231 h 246856"/>
                      <a:gd name="connsiteX6" fmla="*/ 86519 w 602853"/>
                      <a:gd name="connsiteY6" fmla="*/ 112713 h 246856"/>
                      <a:gd name="connsiteX7" fmla="*/ 100806 w 602853"/>
                      <a:gd name="connsiteY7" fmla="*/ 60325 h 246856"/>
                      <a:gd name="connsiteX8" fmla="*/ 219869 w 602853"/>
                      <a:gd name="connsiteY8" fmla="*/ 36513 h 246856"/>
                      <a:gd name="connsiteX9" fmla="*/ 496094 w 602853"/>
                      <a:gd name="connsiteY9" fmla="*/ 105570 h 246856"/>
                      <a:gd name="connsiteX10" fmla="*/ 591344 w 602853"/>
                      <a:gd name="connsiteY10" fmla="*/ 241300 h 246856"/>
                      <a:gd name="connsiteX0" fmla="*/ 591344 w 602853"/>
                      <a:gd name="connsiteY0" fmla="*/ 241300 h 246856"/>
                      <a:gd name="connsiteX1" fmla="*/ 565150 w 602853"/>
                      <a:gd name="connsiteY1" fmla="*/ 138906 h 246856"/>
                      <a:gd name="connsiteX2" fmla="*/ 486569 w 602853"/>
                      <a:gd name="connsiteY2" fmla="*/ 50800 h 246856"/>
                      <a:gd name="connsiteX3" fmla="*/ 186531 w 602853"/>
                      <a:gd name="connsiteY3" fmla="*/ 3175 h 246856"/>
                      <a:gd name="connsiteX4" fmla="*/ 24606 w 602853"/>
                      <a:gd name="connsiteY4" fmla="*/ 69850 h 246856"/>
                      <a:gd name="connsiteX5" fmla="*/ 38894 w 602853"/>
                      <a:gd name="connsiteY5" fmla="*/ 72231 h 246856"/>
                      <a:gd name="connsiteX6" fmla="*/ 86519 w 602853"/>
                      <a:gd name="connsiteY6" fmla="*/ 112713 h 246856"/>
                      <a:gd name="connsiteX7" fmla="*/ 100806 w 602853"/>
                      <a:gd name="connsiteY7" fmla="*/ 60325 h 246856"/>
                      <a:gd name="connsiteX8" fmla="*/ 219869 w 602853"/>
                      <a:gd name="connsiteY8" fmla="*/ 36513 h 246856"/>
                      <a:gd name="connsiteX9" fmla="*/ 496094 w 602853"/>
                      <a:gd name="connsiteY9" fmla="*/ 105570 h 246856"/>
                      <a:gd name="connsiteX10" fmla="*/ 591344 w 602853"/>
                      <a:gd name="connsiteY10" fmla="*/ 241300 h 246856"/>
                      <a:gd name="connsiteX0" fmla="*/ 591344 w 603647"/>
                      <a:gd name="connsiteY0" fmla="*/ 241300 h 248443"/>
                      <a:gd name="connsiteX1" fmla="*/ 565150 w 603647"/>
                      <a:gd name="connsiteY1" fmla="*/ 138906 h 248443"/>
                      <a:gd name="connsiteX2" fmla="*/ 486569 w 603647"/>
                      <a:gd name="connsiteY2" fmla="*/ 50800 h 248443"/>
                      <a:gd name="connsiteX3" fmla="*/ 186531 w 603647"/>
                      <a:gd name="connsiteY3" fmla="*/ 3175 h 248443"/>
                      <a:gd name="connsiteX4" fmla="*/ 24606 w 603647"/>
                      <a:gd name="connsiteY4" fmla="*/ 69850 h 248443"/>
                      <a:gd name="connsiteX5" fmla="*/ 38894 w 603647"/>
                      <a:gd name="connsiteY5" fmla="*/ 72231 h 248443"/>
                      <a:gd name="connsiteX6" fmla="*/ 86519 w 603647"/>
                      <a:gd name="connsiteY6" fmla="*/ 112713 h 248443"/>
                      <a:gd name="connsiteX7" fmla="*/ 100806 w 603647"/>
                      <a:gd name="connsiteY7" fmla="*/ 60325 h 248443"/>
                      <a:gd name="connsiteX8" fmla="*/ 219869 w 603647"/>
                      <a:gd name="connsiteY8" fmla="*/ 36513 h 248443"/>
                      <a:gd name="connsiteX9" fmla="*/ 491331 w 603647"/>
                      <a:gd name="connsiteY9" fmla="*/ 96045 h 248443"/>
                      <a:gd name="connsiteX10" fmla="*/ 591344 w 603647"/>
                      <a:gd name="connsiteY10" fmla="*/ 241300 h 248443"/>
                      <a:gd name="connsiteX0" fmla="*/ 591344 w 603647"/>
                      <a:gd name="connsiteY0" fmla="*/ 241300 h 248443"/>
                      <a:gd name="connsiteX1" fmla="*/ 565150 w 603647"/>
                      <a:gd name="connsiteY1" fmla="*/ 138906 h 248443"/>
                      <a:gd name="connsiteX2" fmla="*/ 486569 w 603647"/>
                      <a:gd name="connsiteY2" fmla="*/ 50800 h 248443"/>
                      <a:gd name="connsiteX3" fmla="*/ 186531 w 603647"/>
                      <a:gd name="connsiteY3" fmla="*/ 3175 h 248443"/>
                      <a:gd name="connsiteX4" fmla="*/ 24606 w 603647"/>
                      <a:gd name="connsiteY4" fmla="*/ 69850 h 248443"/>
                      <a:gd name="connsiteX5" fmla="*/ 38894 w 603647"/>
                      <a:gd name="connsiteY5" fmla="*/ 72231 h 248443"/>
                      <a:gd name="connsiteX6" fmla="*/ 107950 w 603647"/>
                      <a:gd name="connsiteY6" fmla="*/ 127001 h 248443"/>
                      <a:gd name="connsiteX7" fmla="*/ 100806 w 603647"/>
                      <a:gd name="connsiteY7" fmla="*/ 60325 h 248443"/>
                      <a:gd name="connsiteX8" fmla="*/ 219869 w 603647"/>
                      <a:gd name="connsiteY8" fmla="*/ 36513 h 248443"/>
                      <a:gd name="connsiteX9" fmla="*/ 491331 w 603647"/>
                      <a:gd name="connsiteY9" fmla="*/ 96045 h 248443"/>
                      <a:gd name="connsiteX10" fmla="*/ 591344 w 603647"/>
                      <a:gd name="connsiteY10" fmla="*/ 241300 h 248443"/>
                      <a:gd name="connsiteX0" fmla="*/ 591344 w 603647"/>
                      <a:gd name="connsiteY0" fmla="*/ 241300 h 248443"/>
                      <a:gd name="connsiteX1" fmla="*/ 565150 w 603647"/>
                      <a:gd name="connsiteY1" fmla="*/ 138906 h 248443"/>
                      <a:gd name="connsiteX2" fmla="*/ 486569 w 603647"/>
                      <a:gd name="connsiteY2" fmla="*/ 50800 h 248443"/>
                      <a:gd name="connsiteX3" fmla="*/ 186531 w 603647"/>
                      <a:gd name="connsiteY3" fmla="*/ 3175 h 248443"/>
                      <a:gd name="connsiteX4" fmla="*/ 24606 w 603647"/>
                      <a:gd name="connsiteY4" fmla="*/ 69850 h 248443"/>
                      <a:gd name="connsiteX5" fmla="*/ 38894 w 603647"/>
                      <a:gd name="connsiteY5" fmla="*/ 72231 h 248443"/>
                      <a:gd name="connsiteX6" fmla="*/ 107950 w 603647"/>
                      <a:gd name="connsiteY6" fmla="*/ 127001 h 248443"/>
                      <a:gd name="connsiteX7" fmla="*/ 115094 w 603647"/>
                      <a:gd name="connsiteY7" fmla="*/ 65088 h 248443"/>
                      <a:gd name="connsiteX8" fmla="*/ 219869 w 603647"/>
                      <a:gd name="connsiteY8" fmla="*/ 36513 h 248443"/>
                      <a:gd name="connsiteX9" fmla="*/ 491331 w 603647"/>
                      <a:gd name="connsiteY9" fmla="*/ 96045 h 248443"/>
                      <a:gd name="connsiteX10" fmla="*/ 591344 w 603647"/>
                      <a:gd name="connsiteY10" fmla="*/ 241300 h 248443"/>
                      <a:gd name="connsiteX0" fmla="*/ 591344 w 603647"/>
                      <a:gd name="connsiteY0" fmla="*/ 241300 h 248443"/>
                      <a:gd name="connsiteX1" fmla="*/ 565150 w 603647"/>
                      <a:gd name="connsiteY1" fmla="*/ 138906 h 248443"/>
                      <a:gd name="connsiteX2" fmla="*/ 486569 w 603647"/>
                      <a:gd name="connsiteY2" fmla="*/ 50800 h 248443"/>
                      <a:gd name="connsiteX3" fmla="*/ 186531 w 603647"/>
                      <a:gd name="connsiteY3" fmla="*/ 3175 h 248443"/>
                      <a:gd name="connsiteX4" fmla="*/ 24606 w 603647"/>
                      <a:gd name="connsiteY4" fmla="*/ 69850 h 248443"/>
                      <a:gd name="connsiteX5" fmla="*/ 38894 w 603647"/>
                      <a:gd name="connsiteY5" fmla="*/ 72231 h 248443"/>
                      <a:gd name="connsiteX6" fmla="*/ 107950 w 603647"/>
                      <a:gd name="connsiteY6" fmla="*/ 127001 h 248443"/>
                      <a:gd name="connsiteX7" fmla="*/ 115094 w 603647"/>
                      <a:gd name="connsiteY7" fmla="*/ 65088 h 248443"/>
                      <a:gd name="connsiteX8" fmla="*/ 219869 w 603647"/>
                      <a:gd name="connsiteY8" fmla="*/ 36513 h 248443"/>
                      <a:gd name="connsiteX9" fmla="*/ 491331 w 603647"/>
                      <a:gd name="connsiteY9" fmla="*/ 96045 h 248443"/>
                      <a:gd name="connsiteX10" fmla="*/ 591344 w 603647"/>
                      <a:gd name="connsiteY10" fmla="*/ 241300 h 248443"/>
                      <a:gd name="connsiteX0" fmla="*/ 591344 w 603647"/>
                      <a:gd name="connsiteY0" fmla="*/ 241300 h 248443"/>
                      <a:gd name="connsiteX1" fmla="*/ 565150 w 603647"/>
                      <a:gd name="connsiteY1" fmla="*/ 138906 h 248443"/>
                      <a:gd name="connsiteX2" fmla="*/ 486569 w 603647"/>
                      <a:gd name="connsiteY2" fmla="*/ 50800 h 248443"/>
                      <a:gd name="connsiteX3" fmla="*/ 186531 w 603647"/>
                      <a:gd name="connsiteY3" fmla="*/ 3175 h 248443"/>
                      <a:gd name="connsiteX4" fmla="*/ 24606 w 603647"/>
                      <a:gd name="connsiteY4" fmla="*/ 69850 h 248443"/>
                      <a:gd name="connsiteX5" fmla="*/ 38894 w 603647"/>
                      <a:gd name="connsiteY5" fmla="*/ 72231 h 248443"/>
                      <a:gd name="connsiteX6" fmla="*/ 107950 w 603647"/>
                      <a:gd name="connsiteY6" fmla="*/ 127001 h 248443"/>
                      <a:gd name="connsiteX7" fmla="*/ 115094 w 603647"/>
                      <a:gd name="connsiteY7" fmla="*/ 65088 h 248443"/>
                      <a:gd name="connsiteX8" fmla="*/ 219869 w 603647"/>
                      <a:gd name="connsiteY8" fmla="*/ 36513 h 248443"/>
                      <a:gd name="connsiteX9" fmla="*/ 491331 w 603647"/>
                      <a:gd name="connsiteY9" fmla="*/ 96045 h 248443"/>
                      <a:gd name="connsiteX10" fmla="*/ 591344 w 603647"/>
                      <a:gd name="connsiteY10" fmla="*/ 241300 h 248443"/>
                      <a:gd name="connsiteX0" fmla="*/ 591344 w 603647"/>
                      <a:gd name="connsiteY0" fmla="*/ 241300 h 248443"/>
                      <a:gd name="connsiteX1" fmla="*/ 565150 w 603647"/>
                      <a:gd name="connsiteY1" fmla="*/ 138906 h 248443"/>
                      <a:gd name="connsiteX2" fmla="*/ 486569 w 603647"/>
                      <a:gd name="connsiteY2" fmla="*/ 50800 h 248443"/>
                      <a:gd name="connsiteX3" fmla="*/ 186531 w 603647"/>
                      <a:gd name="connsiteY3" fmla="*/ 3175 h 248443"/>
                      <a:gd name="connsiteX4" fmla="*/ 24606 w 603647"/>
                      <a:gd name="connsiteY4" fmla="*/ 69850 h 248443"/>
                      <a:gd name="connsiteX5" fmla="*/ 38894 w 603647"/>
                      <a:gd name="connsiteY5" fmla="*/ 72231 h 248443"/>
                      <a:gd name="connsiteX6" fmla="*/ 107950 w 603647"/>
                      <a:gd name="connsiteY6" fmla="*/ 127001 h 248443"/>
                      <a:gd name="connsiteX7" fmla="*/ 115094 w 603647"/>
                      <a:gd name="connsiteY7" fmla="*/ 65088 h 248443"/>
                      <a:gd name="connsiteX8" fmla="*/ 219869 w 603647"/>
                      <a:gd name="connsiteY8" fmla="*/ 36513 h 248443"/>
                      <a:gd name="connsiteX9" fmla="*/ 491331 w 603647"/>
                      <a:gd name="connsiteY9" fmla="*/ 96045 h 248443"/>
                      <a:gd name="connsiteX10" fmla="*/ 591344 w 603647"/>
                      <a:gd name="connsiteY10" fmla="*/ 241300 h 248443"/>
                      <a:gd name="connsiteX0" fmla="*/ 591344 w 603647"/>
                      <a:gd name="connsiteY0" fmla="*/ 241300 h 248443"/>
                      <a:gd name="connsiteX1" fmla="*/ 565150 w 603647"/>
                      <a:gd name="connsiteY1" fmla="*/ 138906 h 248443"/>
                      <a:gd name="connsiteX2" fmla="*/ 486569 w 603647"/>
                      <a:gd name="connsiteY2" fmla="*/ 50800 h 248443"/>
                      <a:gd name="connsiteX3" fmla="*/ 186531 w 603647"/>
                      <a:gd name="connsiteY3" fmla="*/ 3175 h 248443"/>
                      <a:gd name="connsiteX4" fmla="*/ 24606 w 603647"/>
                      <a:gd name="connsiteY4" fmla="*/ 69850 h 248443"/>
                      <a:gd name="connsiteX5" fmla="*/ 38894 w 603647"/>
                      <a:gd name="connsiteY5" fmla="*/ 72231 h 248443"/>
                      <a:gd name="connsiteX6" fmla="*/ 107950 w 603647"/>
                      <a:gd name="connsiteY6" fmla="*/ 127001 h 248443"/>
                      <a:gd name="connsiteX7" fmla="*/ 115094 w 603647"/>
                      <a:gd name="connsiteY7" fmla="*/ 65088 h 248443"/>
                      <a:gd name="connsiteX8" fmla="*/ 219869 w 603647"/>
                      <a:gd name="connsiteY8" fmla="*/ 36513 h 248443"/>
                      <a:gd name="connsiteX9" fmla="*/ 491331 w 603647"/>
                      <a:gd name="connsiteY9" fmla="*/ 96045 h 248443"/>
                      <a:gd name="connsiteX10" fmla="*/ 591344 w 603647"/>
                      <a:gd name="connsiteY10" fmla="*/ 241300 h 248443"/>
                      <a:gd name="connsiteX0" fmla="*/ 591344 w 603647"/>
                      <a:gd name="connsiteY0" fmla="*/ 234156 h 241299"/>
                      <a:gd name="connsiteX1" fmla="*/ 565150 w 603647"/>
                      <a:gd name="connsiteY1" fmla="*/ 131762 h 241299"/>
                      <a:gd name="connsiteX2" fmla="*/ 486569 w 603647"/>
                      <a:gd name="connsiteY2" fmla="*/ 43656 h 241299"/>
                      <a:gd name="connsiteX3" fmla="*/ 186531 w 603647"/>
                      <a:gd name="connsiteY3" fmla="*/ 3175 h 241299"/>
                      <a:gd name="connsiteX4" fmla="*/ 24606 w 603647"/>
                      <a:gd name="connsiteY4" fmla="*/ 62706 h 241299"/>
                      <a:gd name="connsiteX5" fmla="*/ 38894 w 603647"/>
                      <a:gd name="connsiteY5" fmla="*/ 65087 h 241299"/>
                      <a:gd name="connsiteX6" fmla="*/ 107950 w 603647"/>
                      <a:gd name="connsiteY6" fmla="*/ 119857 h 241299"/>
                      <a:gd name="connsiteX7" fmla="*/ 115094 w 603647"/>
                      <a:gd name="connsiteY7" fmla="*/ 57944 h 241299"/>
                      <a:gd name="connsiteX8" fmla="*/ 219869 w 603647"/>
                      <a:gd name="connsiteY8" fmla="*/ 29369 h 241299"/>
                      <a:gd name="connsiteX9" fmla="*/ 491331 w 603647"/>
                      <a:gd name="connsiteY9" fmla="*/ 88901 h 241299"/>
                      <a:gd name="connsiteX10" fmla="*/ 591344 w 603647"/>
                      <a:gd name="connsiteY10" fmla="*/ 234156 h 241299"/>
                      <a:gd name="connsiteX0" fmla="*/ 591344 w 603647"/>
                      <a:gd name="connsiteY0" fmla="*/ 234156 h 241299"/>
                      <a:gd name="connsiteX1" fmla="*/ 565150 w 603647"/>
                      <a:gd name="connsiteY1" fmla="*/ 131762 h 241299"/>
                      <a:gd name="connsiteX2" fmla="*/ 486569 w 603647"/>
                      <a:gd name="connsiteY2" fmla="*/ 43656 h 241299"/>
                      <a:gd name="connsiteX3" fmla="*/ 186531 w 603647"/>
                      <a:gd name="connsiteY3" fmla="*/ 3175 h 241299"/>
                      <a:gd name="connsiteX4" fmla="*/ 24606 w 603647"/>
                      <a:gd name="connsiteY4" fmla="*/ 62706 h 241299"/>
                      <a:gd name="connsiteX5" fmla="*/ 38894 w 603647"/>
                      <a:gd name="connsiteY5" fmla="*/ 65087 h 241299"/>
                      <a:gd name="connsiteX6" fmla="*/ 107950 w 603647"/>
                      <a:gd name="connsiteY6" fmla="*/ 119857 h 241299"/>
                      <a:gd name="connsiteX7" fmla="*/ 115094 w 603647"/>
                      <a:gd name="connsiteY7" fmla="*/ 57944 h 241299"/>
                      <a:gd name="connsiteX8" fmla="*/ 219869 w 603647"/>
                      <a:gd name="connsiteY8" fmla="*/ 29369 h 241299"/>
                      <a:gd name="connsiteX9" fmla="*/ 491331 w 603647"/>
                      <a:gd name="connsiteY9" fmla="*/ 88901 h 241299"/>
                      <a:gd name="connsiteX10" fmla="*/ 591344 w 603647"/>
                      <a:gd name="connsiteY10" fmla="*/ 234156 h 241299"/>
                      <a:gd name="connsiteX0" fmla="*/ 591344 w 603647"/>
                      <a:gd name="connsiteY0" fmla="*/ 234156 h 241299"/>
                      <a:gd name="connsiteX1" fmla="*/ 565150 w 603647"/>
                      <a:gd name="connsiteY1" fmla="*/ 131762 h 241299"/>
                      <a:gd name="connsiteX2" fmla="*/ 486569 w 603647"/>
                      <a:gd name="connsiteY2" fmla="*/ 43656 h 241299"/>
                      <a:gd name="connsiteX3" fmla="*/ 186531 w 603647"/>
                      <a:gd name="connsiteY3" fmla="*/ 3175 h 241299"/>
                      <a:gd name="connsiteX4" fmla="*/ 24606 w 603647"/>
                      <a:gd name="connsiteY4" fmla="*/ 62706 h 241299"/>
                      <a:gd name="connsiteX5" fmla="*/ 38894 w 603647"/>
                      <a:gd name="connsiteY5" fmla="*/ 65087 h 241299"/>
                      <a:gd name="connsiteX6" fmla="*/ 106314 w 603647"/>
                      <a:gd name="connsiteY6" fmla="*/ 131884 h 241299"/>
                      <a:gd name="connsiteX7" fmla="*/ 115094 w 603647"/>
                      <a:gd name="connsiteY7" fmla="*/ 57944 h 241299"/>
                      <a:gd name="connsiteX8" fmla="*/ 219869 w 603647"/>
                      <a:gd name="connsiteY8" fmla="*/ 29369 h 241299"/>
                      <a:gd name="connsiteX9" fmla="*/ 491331 w 603647"/>
                      <a:gd name="connsiteY9" fmla="*/ 88901 h 241299"/>
                      <a:gd name="connsiteX10" fmla="*/ 591344 w 603647"/>
                      <a:gd name="connsiteY10" fmla="*/ 234156 h 241299"/>
                      <a:gd name="connsiteX0" fmla="*/ 591344 w 603647"/>
                      <a:gd name="connsiteY0" fmla="*/ 234156 h 241299"/>
                      <a:gd name="connsiteX1" fmla="*/ 565150 w 603647"/>
                      <a:gd name="connsiteY1" fmla="*/ 131762 h 241299"/>
                      <a:gd name="connsiteX2" fmla="*/ 486569 w 603647"/>
                      <a:gd name="connsiteY2" fmla="*/ 43656 h 241299"/>
                      <a:gd name="connsiteX3" fmla="*/ 186531 w 603647"/>
                      <a:gd name="connsiteY3" fmla="*/ 3175 h 241299"/>
                      <a:gd name="connsiteX4" fmla="*/ 24606 w 603647"/>
                      <a:gd name="connsiteY4" fmla="*/ 62706 h 241299"/>
                      <a:gd name="connsiteX5" fmla="*/ 38894 w 603647"/>
                      <a:gd name="connsiteY5" fmla="*/ 65087 h 241299"/>
                      <a:gd name="connsiteX6" fmla="*/ 106314 w 603647"/>
                      <a:gd name="connsiteY6" fmla="*/ 131884 h 241299"/>
                      <a:gd name="connsiteX7" fmla="*/ 124781 w 603647"/>
                      <a:gd name="connsiteY7" fmla="*/ 51300 h 241299"/>
                      <a:gd name="connsiteX8" fmla="*/ 219869 w 603647"/>
                      <a:gd name="connsiteY8" fmla="*/ 29369 h 241299"/>
                      <a:gd name="connsiteX9" fmla="*/ 491331 w 603647"/>
                      <a:gd name="connsiteY9" fmla="*/ 88901 h 241299"/>
                      <a:gd name="connsiteX10" fmla="*/ 591344 w 603647"/>
                      <a:gd name="connsiteY10" fmla="*/ 234156 h 241299"/>
                      <a:gd name="connsiteX0" fmla="*/ 591344 w 603647"/>
                      <a:gd name="connsiteY0" fmla="*/ 234156 h 241299"/>
                      <a:gd name="connsiteX1" fmla="*/ 565150 w 603647"/>
                      <a:gd name="connsiteY1" fmla="*/ 131762 h 241299"/>
                      <a:gd name="connsiteX2" fmla="*/ 486569 w 603647"/>
                      <a:gd name="connsiteY2" fmla="*/ 43656 h 241299"/>
                      <a:gd name="connsiteX3" fmla="*/ 186531 w 603647"/>
                      <a:gd name="connsiteY3" fmla="*/ 3175 h 241299"/>
                      <a:gd name="connsiteX4" fmla="*/ 24606 w 603647"/>
                      <a:gd name="connsiteY4" fmla="*/ 62706 h 241299"/>
                      <a:gd name="connsiteX5" fmla="*/ 38894 w 603647"/>
                      <a:gd name="connsiteY5" fmla="*/ 65087 h 241299"/>
                      <a:gd name="connsiteX6" fmla="*/ 106314 w 603647"/>
                      <a:gd name="connsiteY6" fmla="*/ 131884 h 241299"/>
                      <a:gd name="connsiteX7" fmla="*/ 124781 w 603647"/>
                      <a:gd name="connsiteY7" fmla="*/ 51300 h 241299"/>
                      <a:gd name="connsiteX8" fmla="*/ 219869 w 603647"/>
                      <a:gd name="connsiteY8" fmla="*/ 29369 h 241299"/>
                      <a:gd name="connsiteX9" fmla="*/ 491331 w 603647"/>
                      <a:gd name="connsiteY9" fmla="*/ 88901 h 241299"/>
                      <a:gd name="connsiteX10" fmla="*/ 591344 w 603647"/>
                      <a:gd name="connsiteY10" fmla="*/ 234156 h 241299"/>
                      <a:gd name="connsiteX0" fmla="*/ 590019 w 602322"/>
                      <a:gd name="connsiteY0" fmla="*/ 234156 h 241299"/>
                      <a:gd name="connsiteX1" fmla="*/ 563825 w 602322"/>
                      <a:gd name="connsiteY1" fmla="*/ 131762 h 241299"/>
                      <a:gd name="connsiteX2" fmla="*/ 485244 w 602322"/>
                      <a:gd name="connsiteY2" fmla="*/ 43656 h 241299"/>
                      <a:gd name="connsiteX3" fmla="*/ 185206 w 602322"/>
                      <a:gd name="connsiteY3" fmla="*/ 3175 h 241299"/>
                      <a:gd name="connsiteX4" fmla="*/ 23281 w 602322"/>
                      <a:gd name="connsiteY4" fmla="*/ 62706 h 241299"/>
                      <a:gd name="connsiteX5" fmla="*/ 45522 w 602322"/>
                      <a:gd name="connsiteY5" fmla="*/ 77999 h 241299"/>
                      <a:gd name="connsiteX6" fmla="*/ 104989 w 602322"/>
                      <a:gd name="connsiteY6" fmla="*/ 131884 h 241299"/>
                      <a:gd name="connsiteX7" fmla="*/ 123456 w 602322"/>
                      <a:gd name="connsiteY7" fmla="*/ 51300 h 241299"/>
                      <a:gd name="connsiteX8" fmla="*/ 218544 w 602322"/>
                      <a:gd name="connsiteY8" fmla="*/ 29369 h 241299"/>
                      <a:gd name="connsiteX9" fmla="*/ 490006 w 602322"/>
                      <a:gd name="connsiteY9" fmla="*/ 88901 h 241299"/>
                      <a:gd name="connsiteX10" fmla="*/ 590019 w 602322"/>
                      <a:gd name="connsiteY10" fmla="*/ 234156 h 241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2322" h="241299">
                        <a:moveTo>
                          <a:pt x="590019" y="234156"/>
                        </a:moveTo>
                        <a:cubicBezTo>
                          <a:pt x="602322" y="241299"/>
                          <a:pt x="581287" y="163512"/>
                          <a:pt x="563825" y="131762"/>
                        </a:cubicBezTo>
                        <a:cubicBezTo>
                          <a:pt x="546363" y="100012"/>
                          <a:pt x="548347" y="65087"/>
                          <a:pt x="485244" y="43656"/>
                        </a:cubicBezTo>
                        <a:cubicBezTo>
                          <a:pt x="422141" y="22225"/>
                          <a:pt x="262200" y="0"/>
                          <a:pt x="185206" y="3175"/>
                        </a:cubicBezTo>
                        <a:cubicBezTo>
                          <a:pt x="98687" y="13494"/>
                          <a:pt x="46562" y="50235"/>
                          <a:pt x="23281" y="62706"/>
                        </a:cubicBezTo>
                        <a:cubicBezTo>
                          <a:pt x="0" y="75177"/>
                          <a:pt x="31904" y="66469"/>
                          <a:pt x="45522" y="77999"/>
                        </a:cubicBezTo>
                        <a:cubicBezTo>
                          <a:pt x="59140" y="89529"/>
                          <a:pt x="90675" y="134182"/>
                          <a:pt x="104989" y="131884"/>
                        </a:cubicBezTo>
                        <a:cubicBezTo>
                          <a:pt x="98792" y="117254"/>
                          <a:pt x="92897" y="83050"/>
                          <a:pt x="123456" y="51300"/>
                        </a:cubicBezTo>
                        <a:cubicBezTo>
                          <a:pt x="142109" y="36219"/>
                          <a:pt x="190764" y="26590"/>
                          <a:pt x="218544" y="29369"/>
                        </a:cubicBezTo>
                        <a:cubicBezTo>
                          <a:pt x="301094" y="32148"/>
                          <a:pt x="428094" y="54770"/>
                          <a:pt x="490006" y="88901"/>
                        </a:cubicBezTo>
                        <a:cubicBezTo>
                          <a:pt x="551918" y="123032"/>
                          <a:pt x="577716" y="227013"/>
                          <a:pt x="590019" y="23415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719" name="Oval 718">
                    <a:extLst>
                      <a:ext uri="{FF2B5EF4-FFF2-40B4-BE49-F238E27FC236}">
                        <a16:creationId xmlns:a16="http://schemas.microsoft.com/office/drawing/2014/main" id="{A81E1692-396E-47A5-857D-96DC7E61BC33}"/>
                      </a:ext>
                    </a:extLst>
                  </p:cNvPr>
                  <p:cNvSpPr/>
                  <p:nvPr/>
                </p:nvSpPr>
                <p:spPr>
                  <a:xfrm>
                    <a:off x="3267075" y="-430957"/>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sp>
              <p:nvSpPr>
                <p:cNvPr id="698" name="Freeform 309">
                  <a:extLst>
                    <a:ext uri="{FF2B5EF4-FFF2-40B4-BE49-F238E27FC236}">
                      <a16:creationId xmlns:a16="http://schemas.microsoft.com/office/drawing/2014/main" id="{316F6F29-8383-4AA3-B223-2E413B6FDFD7}"/>
                    </a:ext>
                  </a:extLst>
                </p:cNvPr>
                <p:cNvSpPr/>
                <p:nvPr/>
              </p:nvSpPr>
              <p:spPr>
                <a:xfrm>
                  <a:off x="4252332" y="-139964"/>
                  <a:ext cx="502425" cy="112705"/>
                </a:xfrm>
                <a:custGeom>
                  <a:avLst/>
                  <a:gdLst>
                    <a:gd name="connsiteX0" fmla="*/ 0 w 502424"/>
                    <a:gd name="connsiteY0" fmla="*/ 22922 h 114609"/>
                    <a:gd name="connsiteX1" fmla="*/ 70624 w 502424"/>
                    <a:gd name="connsiteY1" fmla="*/ 4336 h 114609"/>
                    <a:gd name="connsiteX2" fmla="*/ 193288 w 502424"/>
                    <a:gd name="connsiteY2" fmla="*/ 48941 h 114609"/>
                    <a:gd name="connsiteX3" fmla="*/ 397727 w 502424"/>
                    <a:gd name="connsiteY3" fmla="*/ 78678 h 114609"/>
                    <a:gd name="connsiteX4" fmla="*/ 498088 w 502424"/>
                    <a:gd name="connsiteY4" fmla="*/ 74961 h 114609"/>
                    <a:gd name="connsiteX5" fmla="*/ 423746 w 502424"/>
                    <a:gd name="connsiteY5" fmla="*/ 104697 h 114609"/>
                    <a:gd name="connsiteX6" fmla="*/ 315951 w 502424"/>
                    <a:gd name="connsiteY6" fmla="*/ 108414 h 114609"/>
                    <a:gd name="connsiteX7" fmla="*/ 130097 w 502424"/>
                    <a:gd name="connsiteY7" fmla="*/ 67527 h 114609"/>
                    <a:gd name="connsiteX8" fmla="*/ 70624 w 502424"/>
                    <a:gd name="connsiteY8" fmla="*/ 26639 h 114609"/>
                    <a:gd name="connsiteX9" fmla="*/ 0 w 502424"/>
                    <a:gd name="connsiteY9" fmla="*/ 22922 h 114609"/>
                    <a:gd name="connsiteX0" fmla="*/ 0 w 502424"/>
                    <a:gd name="connsiteY0" fmla="*/ 21018 h 112705"/>
                    <a:gd name="connsiteX1" fmla="*/ 70624 w 502424"/>
                    <a:gd name="connsiteY1" fmla="*/ 2432 h 112705"/>
                    <a:gd name="connsiteX2" fmla="*/ 193288 w 502424"/>
                    <a:gd name="connsiteY2" fmla="*/ 35607 h 112705"/>
                    <a:gd name="connsiteX3" fmla="*/ 397727 w 502424"/>
                    <a:gd name="connsiteY3" fmla="*/ 76774 h 112705"/>
                    <a:gd name="connsiteX4" fmla="*/ 498088 w 502424"/>
                    <a:gd name="connsiteY4" fmla="*/ 73057 h 112705"/>
                    <a:gd name="connsiteX5" fmla="*/ 423746 w 502424"/>
                    <a:gd name="connsiteY5" fmla="*/ 102793 h 112705"/>
                    <a:gd name="connsiteX6" fmla="*/ 315951 w 502424"/>
                    <a:gd name="connsiteY6" fmla="*/ 106510 h 112705"/>
                    <a:gd name="connsiteX7" fmla="*/ 130097 w 502424"/>
                    <a:gd name="connsiteY7" fmla="*/ 65623 h 112705"/>
                    <a:gd name="connsiteX8" fmla="*/ 70624 w 502424"/>
                    <a:gd name="connsiteY8" fmla="*/ 24735 h 112705"/>
                    <a:gd name="connsiteX9" fmla="*/ 0 w 502424"/>
                    <a:gd name="connsiteY9" fmla="*/ 21018 h 112705"/>
                    <a:gd name="connsiteX0" fmla="*/ 0 w 502425"/>
                    <a:gd name="connsiteY0" fmla="*/ 21018 h 112705"/>
                    <a:gd name="connsiteX1" fmla="*/ 70624 w 502425"/>
                    <a:gd name="connsiteY1" fmla="*/ 2432 h 112705"/>
                    <a:gd name="connsiteX2" fmla="*/ 193288 w 502425"/>
                    <a:gd name="connsiteY2" fmla="*/ 35607 h 112705"/>
                    <a:gd name="connsiteX3" fmla="*/ 397727 w 502425"/>
                    <a:gd name="connsiteY3" fmla="*/ 69154 h 112705"/>
                    <a:gd name="connsiteX4" fmla="*/ 498088 w 502425"/>
                    <a:gd name="connsiteY4" fmla="*/ 73057 h 112705"/>
                    <a:gd name="connsiteX5" fmla="*/ 423746 w 502425"/>
                    <a:gd name="connsiteY5" fmla="*/ 102793 h 112705"/>
                    <a:gd name="connsiteX6" fmla="*/ 315951 w 502425"/>
                    <a:gd name="connsiteY6" fmla="*/ 106510 h 112705"/>
                    <a:gd name="connsiteX7" fmla="*/ 130097 w 502425"/>
                    <a:gd name="connsiteY7" fmla="*/ 65623 h 112705"/>
                    <a:gd name="connsiteX8" fmla="*/ 70624 w 502425"/>
                    <a:gd name="connsiteY8" fmla="*/ 24735 h 112705"/>
                    <a:gd name="connsiteX9" fmla="*/ 0 w 502425"/>
                    <a:gd name="connsiteY9" fmla="*/ 21018 h 112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2425" h="112705">
                      <a:moveTo>
                        <a:pt x="0" y="21018"/>
                      </a:moveTo>
                      <a:cubicBezTo>
                        <a:pt x="0" y="17301"/>
                        <a:pt x="38409" y="0"/>
                        <a:pt x="70624" y="2432"/>
                      </a:cubicBezTo>
                      <a:cubicBezTo>
                        <a:pt x="102839" y="4864"/>
                        <a:pt x="138771" y="24487"/>
                        <a:pt x="193288" y="35607"/>
                      </a:cubicBezTo>
                      <a:cubicBezTo>
                        <a:pt x="247805" y="46727"/>
                        <a:pt x="346927" y="62912"/>
                        <a:pt x="397727" y="69154"/>
                      </a:cubicBezTo>
                      <a:cubicBezTo>
                        <a:pt x="448527" y="75396"/>
                        <a:pt x="493751" y="67450"/>
                        <a:pt x="498088" y="73057"/>
                      </a:cubicBezTo>
                      <a:cubicBezTo>
                        <a:pt x="502425" y="78664"/>
                        <a:pt x="454102" y="97218"/>
                        <a:pt x="423746" y="102793"/>
                      </a:cubicBezTo>
                      <a:cubicBezTo>
                        <a:pt x="393390" y="108368"/>
                        <a:pt x="364893" y="112705"/>
                        <a:pt x="315951" y="106510"/>
                      </a:cubicBezTo>
                      <a:cubicBezTo>
                        <a:pt x="267009" y="100315"/>
                        <a:pt x="170985" y="79252"/>
                        <a:pt x="130097" y="65623"/>
                      </a:cubicBezTo>
                      <a:cubicBezTo>
                        <a:pt x="89209" y="51994"/>
                        <a:pt x="92926" y="31550"/>
                        <a:pt x="70624" y="24735"/>
                      </a:cubicBezTo>
                      <a:cubicBezTo>
                        <a:pt x="48322" y="17920"/>
                        <a:pt x="0" y="24735"/>
                        <a:pt x="0" y="2101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99" name="Freeform 310">
                  <a:extLst>
                    <a:ext uri="{FF2B5EF4-FFF2-40B4-BE49-F238E27FC236}">
                      <a16:creationId xmlns:a16="http://schemas.microsoft.com/office/drawing/2014/main" id="{FCD114D6-68CE-4BB7-839A-C5B3A75B3D9D}"/>
                    </a:ext>
                  </a:extLst>
                </p:cNvPr>
                <p:cNvSpPr/>
                <p:nvPr/>
              </p:nvSpPr>
              <p:spPr>
                <a:xfrm>
                  <a:off x="3031490" y="-358775"/>
                  <a:ext cx="509270" cy="149860"/>
                </a:xfrm>
                <a:custGeom>
                  <a:avLst/>
                  <a:gdLst>
                    <a:gd name="connsiteX0" fmla="*/ 508000 w 509270"/>
                    <a:gd name="connsiteY0" fmla="*/ 145415 h 149860"/>
                    <a:gd name="connsiteX1" fmla="*/ 439420 w 509270"/>
                    <a:gd name="connsiteY1" fmla="*/ 99695 h 149860"/>
                    <a:gd name="connsiteX2" fmla="*/ 336550 w 509270"/>
                    <a:gd name="connsiteY2" fmla="*/ 88265 h 149860"/>
                    <a:gd name="connsiteX3" fmla="*/ 176530 w 509270"/>
                    <a:gd name="connsiteY3" fmla="*/ 69215 h 149860"/>
                    <a:gd name="connsiteX4" fmla="*/ 16510 w 509270"/>
                    <a:gd name="connsiteY4" fmla="*/ 635 h 149860"/>
                    <a:gd name="connsiteX5" fmla="*/ 77470 w 509270"/>
                    <a:gd name="connsiteY5" fmla="*/ 65405 h 149860"/>
                    <a:gd name="connsiteX6" fmla="*/ 203200 w 509270"/>
                    <a:gd name="connsiteY6" fmla="*/ 118745 h 149860"/>
                    <a:gd name="connsiteX7" fmla="*/ 389890 w 509270"/>
                    <a:gd name="connsiteY7" fmla="*/ 137795 h 149860"/>
                    <a:gd name="connsiteX8" fmla="*/ 431800 w 509270"/>
                    <a:gd name="connsiteY8" fmla="*/ 126365 h 149860"/>
                    <a:gd name="connsiteX9" fmla="*/ 508000 w 509270"/>
                    <a:gd name="connsiteY9" fmla="*/ 145415 h 14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9270" h="149860">
                      <a:moveTo>
                        <a:pt x="508000" y="145415"/>
                      </a:moveTo>
                      <a:cubicBezTo>
                        <a:pt x="509270" y="140970"/>
                        <a:pt x="467995" y="109220"/>
                        <a:pt x="439420" y="99695"/>
                      </a:cubicBezTo>
                      <a:cubicBezTo>
                        <a:pt x="410845" y="90170"/>
                        <a:pt x="336550" y="88265"/>
                        <a:pt x="336550" y="88265"/>
                      </a:cubicBezTo>
                      <a:cubicBezTo>
                        <a:pt x="292735" y="83185"/>
                        <a:pt x="229870" y="83820"/>
                        <a:pt x="176530" y="69215"/>
                      </a:cubicBezTo>
                      <a:cubicBezTo>
                        <a:pt x="123190" y="54610"/>
                        <a:pt x="33020" y="1270"/>
                        <a:pt x="16510" y="635"/>
                      </a:cubicBezTo>
                      <a:cubicBezTo>
                        <a:pt x="0" y="0"/>
                        <a:pt x="46355" y="45720"/>
                        <a:pt x="77470" y="65405"/>
                      </a:cubicBezTo>
                      <a:cubicBezTo>
                        <a:pt x="108585" y="85090"/>
                        <a:pt x="151130" y="106680"/>
                        <a:pt x="203200" y="118745"/>
                      </a:cubicBezTo>
                      <a:cubicBezTo>
                        <a:pt x="255270" y="130810"/>
                        <a:pt x="351790" y="136525"/>
                        <a:pt x="389890" y="137795"/>
                      </a:cubicBezTo>
                      <a:cubicBezTo>
                        <a:pt x="427990" y="139065"/>
                        <a:pt x="412750" y="124460"/>
                        <a:pt x="431800" y="126365"/>
                      </a:cubicBezTo>
                      <a:cubicBezTo>
                        <a:pt x="450850" y="128270"/>
                        <a:pt x="506730" y="149860"/>
                        <a:pt x="508000" y="14541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700" name="Freeform 311">
                  <a:extLst>
                    <a:ext uri="{FF2B5EF4-FFF2-40B4-BE49-F238E27FC236}">
                      <a16:creationId xmlns:a16="http://schemas.microsoft.com/office/drawing/2014/main" id="{AD9C6573-4A86-4AFA-80C8-CF6B71ECF214}"/>
                    </a:ext>
                  </a:extLst>
                </p:cNvPr>
                <p:cNvSpPr/>
                <p:nvPr/>
              </p:nvSpPr>
              <p:spPr>
                <a:xfrm>
                  <a:off x="3547872" y="532638"/>
                  <a:ext cx="160020" cy="132588"/>
                </a:xfrm>
                <a:custGeom>
                  <a:avLst/>
                  <a:gdLst>
                    <a:gd name="connsiteX0" fmla="*/ 155448 w 160020"/>
                    <a:gd name="connsiteY0" fmla="*/ 121158 h 132588"/>
                    <a:gd name="connsiteX1" fmla="*/ 118872 w 160020"/>
                    <a:gd name="connsiteY1" fmla="*/ 20574 h 132588"/>
                    <a:gd name="connsiteX2" fmla="*/ 4572 w 160020"/>
                    <a:gd name="connsiteY2" fmla="*/ 11430 h 132588"/>
                    <a:gd name="connsiteX3" fmla="*/ 91440 w 160020"/>
                    <a:gd name="connsiteY3" fmla="*/ 89154 h 132588"/>
                    <a:gd name="connsiteX4" fmla="*/ 155448 w 160020"/>
                    <a:gd name="connsiteY4" fmla="*/ 121158 h 132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 h="132588">
                      <a:moveTo>
                        <a:pt x="155448" y="121158"/>
                      </a:moveTo>
                      <a:cubicBezTo>
                        <a:pt x="160020" y="109728"/>
                        <a:pt x="144018" y="38862"/>
                        <a:pt x="118872" y="20574"/>
                      </a:cubicBezTo>
                      <a:cubicBezTo>
                        <a:pt x="93726" y="2286"/>
                        <a:pt x="9144" y="0"/>
                        <a:pt x="4572" y="11430"/>
                      </a:cubicBezTo>
                      <a:cubicBezTo>
                        <a:pt x="0" y="22860"/>
                        <a:pt x="67056" y="69342"/>
                        <a:pt x="91440" y="89154"/>
                      </a:cubicBezTo>
                      <a:cubicBezTo>
                        <a:pt x="115824" y="108966"/>
                        <a:pt x="150876" y="132588"/>
                        <a:pt x="155448" y="12115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701" name="Freeform 312">
                  <a:extLst>
                    <a:ext uri="{FF2B5EF4-FFF2-40B4-BE49-F238E27FC236}">
                      <a16:creationId xmlns:a16="http://schemas.microsoft.com/office/drawing/2014/main" id="{C20AD812-3D36-4EE8-A135-81441A4D9E6B}"/>
                    </a:ext>
                  </a:extLst>
                </p:cNvPr>
                <p:cNvSpPr/>
                <p:nvPr/>
              </p:nvSpPr>
              <p:spPr>
                <a:xfrm>
                  <a:off x="3961372" y="570678"/>
                  <a:ext cx="161048" cy="162546"/>
                </a:xfrm>
                <a:custGeom>
                  <a:avLst/>
                  <a:gdLst>
                    <a:gd name="connsiteX0" fmla="*/ 9906 w 168402"/>
                    <a:gd name="connsiteY0" fmla="*/ 118872 h 122682"/>
                    <a:gd name="connsiteX1" fmla="*/ 101346 w 168402"/>
                    <a:gd name="connsiteY1" fmla="*/ 13716 h 122682"/>
                    <a:gd name="connsiteX2" fmla="*/ 160782 w 168402"/>
                    <a:gd name="connsiteY2" fmla="*/ 36576 h 122682"/>
                    <a:gd name="connsiteX3" fmla="*/ 9906 w 168402"/>
                    <a:gd name="connsiteY3" fmla="*/ 118872 h 122682"/>
                    <a:gd name="connsiteX0" fmla="*/ 9906 w 168402"/>
                    <a:gd name="connsiteY0" fmla="*/ 118872 h 162546"/>
                    <a:gd name="connsiteX1" fmla="*/ 101346 w 168402"/>
                    <a:gd name="connsiteY1" fmla="*/ 13716 h 162546"/>
                    <a:gd name="connsiteX2" fmla="*/ 160782 w 168402"/>
                    <a:gd name="connsiteY2" fmla="*/ 36576 h 162546"/>
                    <a:gd name="connsiteX3" fmla="*/ 9906 w 168402"/>
                    <a:gd name="connsiteY3" fmla="*/ 118872 h 162546"/>
                    <a:gd name="connsiteX0" fmla="*/ 2552 w 161048"/>
                    <a:gd name="connsiteY0" fmla="*/ 118872 h 162546"/>
                    <a:gd name="connsiteX1" fmla="*/ 93992 w 161048"/>
                    <a:gd name="connsiteY1" fmla="*/ 13716 h 162546"/>
                    <a:gd name="connsiteX2" fmla="*/ 153428 w 161048"/>
                    <a:gd name="connsiteY2" fmla="*/ 36576 h 162546"/>
                    <a:gd name="connsiteX3" fmla="*/ 2552 w 161048"/>
                    <a:gd name="connsiteY3" fmla="*/ 118872 h 162546"/>
                    <a:gd name="connsiteX0" fmla="*/ 2552 w 161048"/>
                    <a:gd name="connsiteY0" fmla="*/ 118872 h 162546"/>
                    <a:gd name="connsiteX1" fmla="*/ 93992 w 161048"/>
                    <a:gd name="connsiteY1" fmla="*/ 13716 h 162546"/>
                    <a:gd name="connsiteX2" fmla="*/ 153428 w 161048"/>
                    <a:gd name="connsiteY2" fmla="*/ 36576 h 162546"/>
                    <a:gd name="connsiteX3" fmla="*/ 2552 w 161048"/>
                    <a:gd name="connsiteY3" fmla="*/ 118872 h 162546"/>
                    <a:gd name="connsiteX0" fmla="*/ 2552 w 161048"/>
                    <a:gd name="connsiteY0" fmla="*/ 118872 h 162546"/>
                    <a:gd name="connsiteX1" fmla="*/ 93992 w 161048"/>
                    <a:gd name="connsiteY1" fmla="*/ 13716 h 162546"/>
                    <a:gd name="connsiteX2" fmla="*/ 153428 w 161048"/>
                    <a:gd name="connsiteY2" fmla="*/ 36576 h 162546"/>
                    <a:gd name="connsiteX3" fmla="*/ 2552 w 161048"/>
                    <a:gd name="connsiteY3" fmla="*/ 118872 h 162546"/>
                    <a:gd name="connsiteX0" fmla="*/ 2552 w 161048"/>
                    <a:gd name="connsiteY0" fmla="*/ 118872 h 162546"/>
                    <a:gd name="connsiteX1" fmla="*/ 93992 w 161048"/>
                    <a:gd name="connsiteY1" fmla="*/ 13716 h 162546"/>
                    <a:gd name="connsiteX2" fmla="*/ 153428 w 161048"/>
                    <a:gd name="connsiteY2" fmla="*/ 36576 h 162546"/>
                    <a:gd name="connsiteX3" fmla="*/ 2552 w 161048"/>
                    <a:gd name="connsiteY3" fmla="*/ 118872 h 162546"/>
                    <a:gd name="connsiteX0" fmla="*/ 2552 w 161048"/>
                    <a:gd name="connsiteY0" fmla="*/ 118872 h 162546"/>
                    <a:gd name="connsiteX1" fmla="*/ 93992 w 161048"/>
                    <a:gd name="connsiteY1" fmla="*/ 13716 h 162546"/>
                    <a:gd name="connsiteX2" fmla="*/ 153428 w 161048"/>
                    <a:gd name="connsiteY2" fmla="*/ 36576 h 162546"/>
                    <a:gd name="connsiteX3" fmla="*/ 2552 w 161048"/>
                    <a:gd name="connsiteY3" fmla="*/ 118872 h 162546"/>
                  </a:gdLst>
                  <a:ahLst/>
                  <a:cxnLst>
                    <a:cxn ang="0">
                      <a:pos x="connsiteX0" y="connsiteY0"/>
                    </a:cxn>
                    <a:cxn ang="0">
                      <a:pos x="connsiteX1" y="connsiteY1"/>
                    </a:cxn>
                    <a:cxn ang="0">
                      <a:pos x="connsiteX2" y="connsiteY2"/>
                    </a:cxn>
                    <a:cxn ang="0">
                      <a:pos x="connsiteX3" y="connsiteY3"/>
                    </a:cxn>
                  </a:cxnLst>
                  <a:rect l="l" t="t" r="r" b="b"/>
                  <a:pathLst>
                    <a:path w="161048" h="162546">
                      <a:moveTo>
                        <a:pt x="2552" y="118872"/>
                      </a:moveTo>
                      <a:cubicBezTo>
                        <a:pt x="20053" y="67722"/>
                        <a:pt x="68846" y="27432"/>
                        <a:pt x="93992" y="13716"/>
                      </a:cubicBezTo>
                      <a:cubicBezTo>
                        <a:pt x="119138" y="0"/>
                        <a:pt x="161048" y="9640"/>
                        <a:pt x="153428" y="36576"/>
                      </a:cubicBezTo>
                      <a:cubicBezTo>
                        <a:pt x="90994" y="63512"/>
                        <a:pt x="0" y="162546"/>
                        <a:pt x="2552" y="11887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702" name="Freeform 313">
                  <a:extLst>
                    <a:ext uri="{FF2B5EF4-FFF2-40B4-BE49-F238E27FC236}">
                      <a16:creationId xmlns:a16="http://schemas.microsoft.com/office/drawing/2014/main" id="{76195A41-397E-4859-9B4C-66B395A5778A}"/>
                    </a:ext>
                  </a:extLst>
                </p:cNvPr>
                <p:cNvSpPr/>
                <p:nvPr/>
              </p:nvSpPr>
              <p:spPr>
                <a:xfrm rot="823561">
                  <a:off x="3640314" y="576374"/>
                  <a:ext cx="357422" cy="150984"/>
                </a:xfrm>
                <a:custGeom>
                  <a:avLst/>
                  <a:gdLst>
                    <a:gd name="connsiteX0" fmla="*/ 683 w 358105"/>
                    <a:gd name="connsiteY0" fmla="*/ 10934 h 148298"/>
                    <a:gd name="connsiteX1" fmla="*/ 78591 w 358105"/>
                    <a:gd name="connsiteY1" fmla="*/ 109344 h 148298"/>
                    <a:gd name="connsiteX2" fmla="*/ 160600 w 358105"/>
                    <a:gd name="connsiteY2" fmla="*/ 146248 h 148298"/>
                    <a:gd name="connsiteX3" fmla="*/ 283614 w 358105"/>
                    <a:gd name="connsiteY3" fmla="*/ 121646 h 148298"/>
                    <a:gd name="connsiteX4" fmla="*/ 357422 w 358105"/>
                    <a:gd name="connsiteY4" fmla="*/ 23235 h 148298"/>
                    <a:gd name="connsiteX5" fmla="*/ 279513 w 358105"/>
                    <a:gd name="connsiteY5" fmla="*/ 15034 h 148298"/>
                    <a:gd name="connsiteX6" fmla="*/ 213906 w 358105"/>
                    <a:gd name="connsiteY6" fmla="*/ 64239 h 148298"/>
                    <a:gd name="connsiteX7" fmla="*/ 74491 w 358105"/>
                    <a:gd name="connsiteY7" fmla="*/ 43737 h 148298"/>
                    <a:gd name="connsiteX8" fmla="*/ 683 w 358105"/>
                    <a:gd name="connsiteY8" fmla="*/ 10934 h 148298"/>
                    <a:gd name="connsiteX0" fmla="*/ 683 w 358105"/>
                    <a:gd name="connsiteY0" fmla="*/ 10934 h 149136"/>
                    <a:gd name="connsiteX1" fmla="*/ 78591 w 358105"/>
                    <a:gd name="connsiteY1" fmla="*/ 109344 h 149136"/>
                    <a:gd name="connsiteX2" fmla="*/ 160600 w 358105"/>
                    <a:gd name="connsiteY2" fmla="*/ 146248 h 149136"/>
                    <a:gd name="connsiteX3" fmla="*/ 283614 w 358105"/>
                    <a:gd name="connsiteY3" fmla="*/ 126670 h 149136"/>
                    <a:gd name="connsiteX4" fmla="*/ 357422 w 358105"/>
                    <a:gd name="connsiteY4" fmla="*/ 23235 h 149136"/>
                    <a:gd name="connsiteX5" fmla="*/ 279513 w 358105"/>
                    <a:gd name="connsiteY5" fmla="*/ 15034 h 149136"/>
                    <a:gd name="connsiteX6" fmla="*/ 213906 w 358105"/>
                    <a:gd name="connsiteY6" fmla="*/ 64239 h 149136"/>
                    <a:gd name="connsiteX7" fmla="*/ 74491 w 358105"/>
                    <a:gd name="connsiteY7" fmla="*/ 43737 h 149136"/>
                    <a:gd name="connsiteX8" fmla="*/ 683 w 358105"/>
                    <a:gd name="connsiteY8" fmla="*/ 10934 h 149136"/>
                    <a:gd name="connsiteX0" fmla="*/ 683 w 358105"/>
                    <a:gd name="connsiteY0" fmla="*/ 10934 h 149136"/>
                    <a:gd name="connsiteX1" fmla="*/ 78591 w 358105"/>
                    <a:gd name="connsiteY1" fmla="*/ 109344 h 149136"/>
                    <a:gd name="connsiteX2" fmla="*/ 160600 w 358105"/>
                    <a:gd name="connsiteY2" fmla="*/ 146248 h 149136"/>
                    <a:gd name="connsiteX3" fmla="*/ 283614 w 358105"/>
                    <a:gd name="connsiteY3" fmla="*/ 126670 h 149136"/>
                    <a:gd name="connsiteX4" fmla="*/ 357422 w 358105"/>
                    <a:gd name="connsiteY4" fmla="*/ 23235 h 149136"/>
                    <a:gd name="connsiteX5" fmla="*/ 279513 w 358105"/>
                    <a:gd name="connsiteY5" fmla="*/ 15034 h 149136"/>
                    <a:gd name="connsiteX6" fmla="*/ 213906 w 358105"/>
                    <a:gd name="connsiteY6" fmla="*/ 64239 h 149136"/>
                    <a:gd name="connsiteX7" fmla="*/ 74491 w 358105"/>
                    <a:gd name="connsiteY7" fmla="*/ 43737 h 149136"/>
                    <a:gd name="connsiteX8" fmla="*/ 683 w 358105"/>
                    <a:gd name="connsiteY8" fmla="*/ 10934 h 149136"/>
                    <a:gd name="connsiteX0" fmla="*/ 683 w 357422"/>
                    <a:gd name="connsiteY0" fmla="*/ 10934 h 149136"/>
                    <a:gd name="connsiteX1" fmla="*/ 78591 w 357422"/>
                    <a:gd name="connsiteY1" fmla="*/ 109344 h 149136"/>
                    <a:gd name="connsiteX2" fmla="*/ 160600 w 357422"/>
                    <a:gd name="connsiteY2" fmla="*/ 146248 h 149136"/>
                    <a:gd name="connsiteX3" fmla="*/ 283614 w 357422"/>
                    <a:gd name="connsiteY3" fmla="*/ 126670 h 149136"/>
                    <a:gd name="connsiteX4" fmla="*/ 357422 w 357422"/>
                    <a:gd name="connsiteY4" fmla="*/ 23235 h 149136"/>
                    <a:gd name="connsiteX5" fmla="*/ 279513 w 357422"/>
                    <a:gd name="connsiteY5" fmla="*/ 15034 h 149136"/>
                    <a:gd name="connsiteX6" fmla="*/ 213906 w 357422"/>
                    <a:gd name="connsiteY6" fmla="*/ 64239 h 149136"/>
                    <a:gd name="connsiteX7" fmla="*/ 74491 w 357422"/>
                    <a:gd name="connsiteY7" fmla="*/ 43737 h 149136"/>
                    <a:gd name="connsiteX8" fmla="*/ 683 w 357422"/>
                    <a:gd name="connsiteY8" fmla="*/ 10934 h 149136"/>
                    <a:gd name="connsiteX0" fmla="*/ 683 w 357422"/>
                    <a:gd name="connsiteY0" fmla="*/ 12782 h 150984"/>
                    <a:gd name="connsiteX1" fmla="*/ 78591 w 357422"/>
                    <a:gd name="connsiteY1" fmla="*/ 111192 h 150984"/>
                    <a:gd name="connsiteX2" fmla="*/ 160600 w 357422"/>
                    <a:gd name="connsiteY2" fmla="*/ 148096 h 150984"/>
                    <a:gd name="connsiteX3" fmla="*/ 283614 w 357422"/>
                    <a:gd name="connsiteY3" fmla="*/ 128518 h 150984"/>
                    <a:gd name="connsiteX4" fmla="*/ 357422 w 357422"/>
                    <a:gd name="connsiteY4" fmla="*/ 25083 h 150984"/>
                    <a:gd name="connsiteX5" fmla="*/ 304634 w 357422"/>
                    <a:gd name="connsiteY5" fmla="*/ 6834 h 150984"/>
                    <a:gd name="connsiteX6" fmla="*/ 213906 w 357422"/>
                    <a:gd name="connsiteY6" fmla="*/ 66087 h 150984"/>
                    <a:gd name="connsiteX7" fmla="*/ 74491 w 357422"/>
                    <a:gd name="connsiteY7" fmla="*/ 45585 h 150984"/>
                    <a:gd name="connsiteX8" fmla="*/ 683 w 357422"/>
                    <a:gd name="connsiteY8" fmla="*/ 12782 h 150984"/>
                    <a:gd name="connsiteX0" fmla="*/ 683 w 357422"/>
                    <a:gd name="connsiteY0" fmla="*/ 12782 h 150984"/>
                    <a:gd name="connsiteX1" fmla="*/ 78591 w 357422"/>
                    <a:gd name="connsiteY1" fmla="*/ 111192 h 150984"/>
                    <a:gd name="connsiteX2" fmla="*/ 160600 w 357422"/>
                    <a:gd name="connsiteY2" fmla="*/ 148096 h 150984"/>
                    <a:gd name="connsiteX3" fmla="*/ 283614 w 357422"/>
                    <a:gd name="connsiteY3" fmla="*/ 128518 h 150984"/>
                    <a:gd name="connsiteX4" fmla="*/ 357422 w 357422"/>
                    <a:gd name="connsiteY4" fmla="*/ 25083 h 150984"/>
                    <a:gd name="connsiteX5" fmla="*/ 304634 w 357422"/>
                    <a:gd name="connsiteY5" fmla="*/ 6834 h 150984"/>
                    <a:gd name="connsiteX6" fmla="*/ 223954 w 357422"/>
                    <a:gd name="connsiteY6" fmla="*/ 66087 h 150984"/>
                    <a:gd name="connsiteX7" fmla="*/ 74491 w 357422"/>
                    <a:gd name="connsiteY7" fmla="*/ 45585 h 150984"/>
                    <a:gd name="connsiteX8" fmla="*/ 683 w 357422"/>
                    <a:gd name="connsiteY8" fmla="*/ 12782 h 150984"/>
                    <a:gd name="connsiteX0" fmla="*/ 683 w 357422"/>
                    <a:gd name="connsiteY0" fmla="*/ 12782 h 150984"/>
                    <a:gd name="connsiteX1" fmla="*/ 78591 w 357422"/>
                    <a:gd name="connsiteY1" fmla="*/ 111192 h 150984"/>
                    <a:gd name="connsiteX2" fmla="*/ 160600 w 357422"/>
                    <a:gd name="connsiteY2" fmla="*/ 148096 h 150984"/>
                    <a:gd name="connsiteX3" fmla="*/ 283614 w 357422"/>
                    <a:gd name="connsiteY3" fmla="*/ 128518 h 150984"/>
                    <a:gd name="connsiteX4" fmla="*/ 357422 w 357422"/>
                    <a:gd name="connsiteY4" fmla="*/ 25083 h 150984"/>
                    <a:gd name="connsiteX5" fmla="*/ 304634 w 357422"/>
                    <a:gd name="connsiteY5" fmla="*/ 6834 h 150984"/>
                    <a:gd name="connsiteX6" fmla="*/ 223954 w 357422"/>
                    <a:gd name="connsiteY6" fmla="*/ 66087 h 150984"/>
                    <a:gd name="connsiteX7" fmla="*/ 74491 w 357422"/>
                    <a:gd name="connsiteY7" fmla="*/ 45585 h 150984"/>
                    <a:gd name="connsiteX8" fmla="*/ 683 w 357422"/>
                    <a:gd name="connsiteY8" fmla="*/ 12782 h 150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7422" h="150984">
                      <a:moveTo>
                        <a:pt x="683" y="12782"/>
                      </a:moveTo>
                      <a:cubicBezTo>
                        <a:pt x="1366" y="23716"/>
                        <a:pt x="51938" y="88640"/>
                        <a:pt x="78591" y="111192"/>
                      </a:cubicBezTo>
                      <a:cubicBezTo>
                        <a:pt x="105244" y="133744"/>
                        <a:pt x="126430" y="145208"/>
                        <a:pt x="160600" y="148096"/>
                      </a:cubicBezTo>
                      <a:cubicBezTo>
                        <a:pt x="194770" y="150984"/>
                        <a:pt x="250810" y="149020"/>
                        <a:pt x="283614" y="128518"/>
                      </a:cubicBezTo>
                      <a:cubicBezTo>
                        <a:pt x="316418" y="108016"/>
                        <a:pt x="353080" y="68810"/>
                        <a:pt x="357422" y="25083"/>
                      </a:cubicBezTo>
                      <a:cubicBezTo>
                        <a:pt x="356739" y="6477"/>
                        <a:pt x="326879" y="0"/>
                        <a:pt x="304634" y="6834"/>
                      </a:cubicBezTo>
                      <a:cubicBezTo>
                        <a:pt x="282389" y="13668"/>
                        <a:pt x="262311" y="59628"/>
                        <a:pt x="223954" y="66087"/>
                      </a:cubicBezTo>
                      <a:cubicBezTo>
                        <a:pt x="165500" y="87618"/>
                        <a:pt x="111703" y="54469"/>
                        <a:pt x="74491" y="45585"/>
                      </a:cubicBezTo>
                      <a:cubicBezTo>
                        <a:pt x="37279" y="36701"/>
                        <a:pt x="0" y="1848"/>
                        <a:pt x="683" y="1278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703" name="Freeform 314">
                  <a:extLst>
                    <a:ext uri="{FF2B5EF4-FFF2-40B4-BE49-F238E27FC236}">
                      <a16:creationId xmlns:a16="http://schemas.microsoft.com/office/drawing/2014/main" id="{DF382C7B-B757-4D4E-8E92-B76FE75F021A}"/>
                    </a:ext>
                  </a:extLst>
                </p:cNvPr>
                <p:cNvSpPr/>
                <p:nvPr/>
              </p:nvSpPr>
              <p:spPr>
                <a:xfrm>
                  <a:off x="2993249" y="516106"/>
                  <a:ext cx="289955" cy="490938"/>
                </a:xfrm>
                <a:custGeom>
                  <a:avLst/>
                  <a:gdLst>
                    <a:gd name="connsiteX0" fmla="*/ 265246 w 345518"/>
                    <a:gd name="connsiteY0" fmla="*/ 60495 h 489774"/>
                    <a:gd name="connsiteX1" fmla="*/ 118663 w 345518"/>
                    <a:gd name="connsiteY1" fmla="*/ 241979 h 489774"/>
                    <a:gd name="connsiteX2" fmla="*/ 97723 w 345518"/>
                    <a:gd name="connsiteY2" fmla="*/ 479304 h 489774"/>
                    <a:gd name="connsiteX3" fmla="*/ 34901 w 345518"/>
                    <a:gd name="connsiteY3" fmla="*/ 179157 h 489774"/>
                    <a:gd name="connsiteX4" fmla="*/ 307127 w 345518"/>
                    <a:gd name="connsiteY4" fmla="*/ 18614 h 489774"/>
                    <a:gd name="connsiteX5" fmla="*/ 265246 w 345518"/>
                    <a:gd name="connsiteY5" fmla="*/ 60495 h 489774"/>
                    <a:gd name="connsiteX0" fmla="*/ 217621 w 289955"/>
                    <a:gd name="connsiteY0" fmla="*/ 63246 h 490938"/>
                    <a:gd name="connsiteX1" fmla="*/ 71038 w 289955"/>
                    <a:gd name="connsiteY1" fmla="*/ 244730 h 490938"/>
                    <a:gd name="connsiteX2" fmla="*/ 50098 w 289955"/>
                    <a:gd name="connsiteY2" fmla="*/ 482055 h 490938"/>
                    <a:gd name="connsiteX3" fmla="*/ 34901 w 289955"/>
                    <a:gd name="connsiteY3" fmla="*/ 191433 h 490938"/>
                    <a:gd name="connsiteX4" fmla="*/ 259502 w 289955"/>
                    <a:gd name="connsiteY4" fmla="*/ 21365 h 490938"/>
                    <a:gd name="connsiteX5" fmla="*/ 217621 w 289955"/>
                    <a:gd name="connsiteY5" fmla="*/ 63246 h 490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9955" h="490938">
                      <a:moveTo>
                        <a:pt x="217621" y="63246"/>
                      </a:moveTo>
                      <a:cubicBezTo>
                        <a:pt x="186210" y="100473"/>
                        <a:pt x="98959" y="174928"/>
                        <a:pt x="71038" y="244730"/>
                      </a:cubicBezTo>
                      <a:cubicBezTo>
                        <a:pt x="43117" y="314532"/>
                        <a:pt x="56121" y="490938"/>
                        <a:pt x="50098" y="482055"/>
                      </a:cubicBezTo>
                      <a:cubicBezTo>
                        <a:pt x="44075" y="473172"/>
                        <a:pt x="0" y="268215"/>
                        <a:pt x="34901" y="191433"/>
                      </a:cubicBezTo>
                      <a:cubicBezTo>
                        <a:pt x="69802" y="114651"/>
                        <a:pt x="229049" y="42730"/>
                        <a:pt x="259502" y="21365"/>
                      </a:cubicBezTo>
                      <a:cubicBezTo>
                        <a:pt x="289955" y="0"/>
                        <a:pt x="249032" y="26019"/>
                        <a:pt x="217621" y="6324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704" name="Freeform 315">
                  <a:extLst>
                    <a:ext uri="{FF2B5EF4-FFF2-40B4-BE49-F238E27FC236}">
                      <a16:creationId xmlns:a16="http://schemas.microsoft.com/office/drawing/2014/main" id="{2EC9B939-96AF-44EC-8708-3E8C11582A0D}"/>
                    </a:ext>
                  </a:extLst>
                </p:cNvPr>
                <p:cNvSpPr/>
                <p:nvPr/>
              </p:nvSpPr>
              <p:spPr>
                <a:xfrm>
                  <a:off x="4252801" y="474723"/>
                  <a:ext cx="303189" cy="728190"/>
                </a:xfrm>
                <a:custGeom>
                  <a:avLst/>
                  <a:gdLst>
                    <a:gd name="connsiteX0" fmla="*/ 2327 w 208241"/>
                    <a:gd name="connsiteY0" fmla="*/ 36064 h 547942"/>
                    <a:gd name="connsiteX1" fmla="*/ 107029 w 208241"/>
                    <a:gd name="connsiteY1" fmla="*/ 301310 h 547942"/>
                    <a:gd name="connsiteX2" fmla="*/ 16287 w 208241"/>
                    <a:gd name="connsiteY2" fmla="*/ 545615 h 547942"/>
                    <a:gd name="connsiteX3" fmla="*/ 190791 w 208241"/>
                    <a:gd name="connsiteY3" fmla="*/ 287349 h 547942"/>
                    <a:gd name="connsiteX4" fmla="*/ 120989 w 208241"/>
                    <a:gd name="connsiteY4" fmla="*/ 84925 h 547942"/>
                    <a:gd name="connsiteX5" fmla="*/ 2327 w 208241"/>
                    <a:gd name="connsiteY5" fmla="*/ 36064 h 547942"/>
                    <a:gd name="connsiteX0" fmla="*/ 13960 w 204751"/>
                    <a:gd name="connsiteY0" fmla="*/ 2327 h 514205"/>
                    <a:gd name="connsiteX1" fmla="*/ 118662 w 204751"/>
                    <a:gd name="connsiteY1" fmla="*/ 267573 h 514205"/>
                    <a:gd name="connsiteX2" fmla="*/ 27920 w 204751"/>
                    <a:gd name="connsiteY2" fmla="*/ 511878 h 514205"/>
                    <a:gd name="connsiteX3" fmla="*/ 202424 w 204751"/>
                    <a:gd name="connsiteY3" fmla="*/ 253612 h 514205"/>
                    <a:gd name="connsiteX4" fmla="*/ 13960 w 204751"/>
                    <a:gd name="connsiteY4" fmla="*/ 2327 h 514205"/>
                    <a:gd name="connsiteX0" fmla="*/ 13960 w 204751"/>
                    <a:gd name="connsiteY0" fmla="*/ 9307 h 528165"/>
                    <a:gd name="connsiteX1" fmla="*/ 118662 w 204751"/>
                    <a:gd name="connsiteY1" fmla="*/ 274553 h 528165"/>
                    <a:gd name="connsiteX2" fmla="*/ 27920 w 204751"/>
                    <a:gd name="connsiteY2" fmla="*/ 518858 h 528165"/>
                    <a:gd name="connsiteX3" fmla="*/ 202424 w 204751"/>
                    <a:gd name="connsiteY3" fmla="*/ 218711 h 528165"/>
                    <a:gd name="connsiteX4" fmla="*/ 13960 w 204751"/>
                    <a:gd name="connsiteY4" fmla="*/ 9307 h 528165"/>
                    <a:gd name="connsiteX0" fmla="*/ 13960 w 388107"/>
                    <a:gd name="connsiteY0" fmla="*/ 9307 h 728190"/>
                    <a:gd name="connsiteX1" fmla="*/ 275825 w 388107"/>
                    <a:gd name="connsiteY1" fmla="*/ 474578 h 728190"/>
                    <a:gd name="connsiteX2" fmla="*/ 185083 w 388107"/>
                    <a:gd name="connsiteY2" fmla="*/ 718883 h 728190"/>
                    <a:gd name="connsiteX3" fmla="*/ 359587 w 388107"/>
                    <a:gd name="connsiteY3" fmla="*/ 418736 h 728190"/>
                    <a:gd name="connsiteX4" fmla="*/ 13960 w 388107"/>
                    <a:gd name="connsiteY4" fmla="*/ 9307 h 728190"/>
                    <a:gd name="connsiteX0" fmla="*/ 21709 w 395856"/>
                    <a:gd name="connsiteY0" fmla="*/ 164 h 709904"/>
                    <a:gd name="connsiteX1" fmla="*/ 237079 w 395856"/>
                    <a:gd name="connsiteY1" fmla="*/ 408607 h 709904"/>
                    <a:gd name="connsiteX2" fmla="*/ 192832 w 395856"/>
                    <a:gd name="connsiteY2" fmla="*/ 709740 h 709904"/>
                    <a:gd name="connsiteX3" fmla="*/ 367336 w 395856"/>
                    <a:gd name="connsiteY3" fmla="*/ 409593 h 709904"/>
                    <a:gd name="connsiteX4" fmla="*/ 21709 w 395856"/>
                    <a:gd name="connsiteY4" fmla="*/ 164 h 709904"/>
                    <a:gd name="connsiteX0" fmla="*/ 21709 w 395856"/>
                    <a:gd name="connsiteY0" fmla="*/ 164 h 709904"/>
                    <a:gd name="connsiteX1" fmla="*/ 237079 w 395856"/>
                    <a:gd name="connsiteY1" fmla="*/ 408607 h 709904"/>
                    <a:gd name="connsiteX2" fmla="*/ 192832 w 395856"/>
                    <a:gd name="connsiteY2" fmla="*/ 709740 h 709904"/>
                    <a:gd name="connsiteX3" fmla="*/ 367336 w 395856"/>
                    <a:gd name="connsiteY3" fmla="*/ 409593 h 709904"/>
                    <a:gd name="connsiteX4" fmla="*/ 21709 w 395856"/>
                    <a:gd name="connsiteY4" fmla="*/ 164 h 709904"/>
                    <a:gd name="connsiteX0" fmla="*/ 21709 w 395856"/>
                    <a:gd name="connsiteY0" fmla="*/ 164 h 709904"/>
                    <a:gd name="connsiteX1" fmla="*/ 237079 w 395856"/>
                    <a:gd name="connsiteY1" fmla="*/ 408607 h 709904"/>
                    <a:gd name="connsiteX2" fmla="*/ 192832 w 395856"/>
                    <a:gd name="connsiteY2" fmla="*/ 709740 h 709904"/>
                    <a:gd name="connsiteX3" fmla="*/ 367336 w 395856"/>
                    <a:gd name="connsiteY3" fmla="*/ 409593 h 709904"/>
                    <a:gd name="connsiteX4" fmla="*/ 21709 w 395856"/>
                    <a:gd name="connsiteY4" fmla="*/ 164 h 709904"/>
                    <a:gd name="connsiteX0" fmla="*/ 14821 w 347639"/>
                    <a:gd name="connsiteY0" fmla="*/ 9307 h 728190"/>
                    <a:gd name="connsiteX1" fmla="*/ 230191 w 347639"/>
                    <a:gd name="connsiteY1" fmla="*/ 417750 h 728190"/>
                    <a:gd name="connsiteX2" fmla="*/ 185944 w 347639"/>
                    <a:gd name="connsiteY2" fmla="*/ 718883 h 728190"/>
                    <a:gd name="connsiteX3" fmla="*/ 319119 w 347639"/>
                    <a:gd name="connsiteY3" fmla="*/ 361909 h 728190"/>
                    <a:gd name="connsiteX4" fmla="*/ 14821 w 347639"/>
                    <a:gd name="connsiteY4" fmla="*/ 9307 h 728190"/>
                    <a:gd name="connsiteX0" fmla="*/ 14821 w 347639"/>
                    <a:gd name="connsiteY0" fmla="*/ 9307 h 728190"/>
                    <a:gd name="connsiteX1" fmla="*/ 230191 w 347639"/>
                    <a:gd name="connsiteY1" fmla="*/ 417750 h 728190"/>
                    <a:gd name="connsiteX2" fmla="*/ 185944 w 347639"/>
                    <a:gd name="connsiteY2" fmla="*/ 718883 h 728190"/>
                    <a:gd name="connsiteX3" fmla="*/ 319119 w 347639"/>
                    <a:gd name="connsiteY3" fmla="*/ 361909 h 728190"/>
                    <a:gd name="connsiteX4" fmla="*/ 14821 w 347639"/>
                    <a:gd name="connsiteY4" fmla="*/ 9307 h 728190"/>
                    <a:gd name="connsiteX0" fmla="*/ 14821 w 347639"/>
                    <a:gd name="connsiteY0" fmla="*/ 9307 h 728190"/>
                    <a:gd name="connsiteX1" fmla="*/ 230191 w 347639"/>
                    <a:gd name="connsiteY1" fmla="*/ 417750 h 728190"/>
                    <a:gd name="connsiteX2" fmla="*/ 185944 w 347639"/>
                    <a:gd name="connsiteY2" fmla="*/ 718883 h 728190"/>
                    <a:gd name="connsiteX3" fmla="*/ 319119 w 347639"/>
                    <a:gd name="connsiteY3" fmla="*/ 361909 h 728190"/>
                    <a:gd name="connsiteX4" fmla="*/ 14821 w 347639"/>
                    <a:gd name="connsiteY4" fmla="*/ 9307 h 728190"/>
                    <a:gd name="connsiteX0" fmla="*/ 14821 w 347639"/>
                    <a:gd name="connsiteY0" fmla="*/ 9307 h 728190"/>
                    <a:gd name="connsiteX1" fmla="*/ 230191 w 347639"/>
                    <a:gd name="connsiteY1" fmla="*/ 417750 h 728190"/>
                    <a:gd name="connsiteX2" fmla="*/ 185944 w 347639"/>
                    <a:gd name="connsiteY2" fmla="*/ 718883 h 728190"/>
                    <a:gd name="connsiteX3" fmla="*/ 319119 w 347639"/>
                    <a:gd name="connsiteY3" fmla="*/ 361909 h 728190"/>
                    <a:gd name="connsiteX4" fmla="*/ 14821 w 347639"/>
                    <a:gd name="connsiteY4" fmla="*/ 9307 h 728190"/>
                    <a:gd name="connsiteX0" fmla="*/ 8471 w 303189"/>
                    <a:gd name="connsiteY0" fmla="*/ 9307 h 728190"/>
                    <a:gd name="connsiteX1" fmla="*/ 223841 w 303189"/>
                    <a:gd name="connsiteY1" fmla="*/ 417750 h 728190"/>
                    <a:gd name="connsiteX2" fmla="*/ 179594 w 303189"/>
                    <a:gd name="connsiteY2" fmla="*/ 718883 h 728190"/>
                    <a:gd name="connsiteX3" fmla="*/ 274669 w 303189"/>
                    <a:gd name="connsiteY3" fmla="*/ 361909 h 728190"/>
                    <a:gd name="connsiteX4" fmla="*/ 8471 w 303189"/>
                    <a:gd name="connsiteY4" fmla="*/ 9307 h 7281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189" h="728190">
                      <a:moveTo>
                        <a:pt x="8471" y="9307"/>
                      </a:moveTo>
                      <a:cubicBezTo>
                        <a:pt x="0" y="18614"/>
                        <a:pt x="200487" y="242660"/>
                        <a:pt x="223841" y="417750"/>
                      </a:cubicBezTo>
                      <a:cubicBezTo>
                        <a:pt x="252361" y="536013"/>
                        <a:pt x="171123" y="728190"/>
                        <a:pt x="179594" y="718883"/>
                      </a:cubicBezTo>
                      <a:cubicBezTo>
                        <a:pt x="188065" y="709576"/>
                        <a:pt x="303189" y="521501"/>
                        <a:pt x="274669" y="361909"/>
                      </a:cubicBezTo>
                      <a:cubicBezTo>
                        <a:pt x="199654" y="177779"/>
                        <a:pt x="16942" y="0"/>
                        <a:pt x="8471" y="930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nvGrpSpPr>
                <p:cNvPr id="705" name="Group 109">
                  <a:extLst>
                    <a:ext uri="{FF2B5EF4-FFF2-40B4-BE49-F238E27FC236}">
                      <a16:creationId xmlns:a16="http://schemas.microsoft.com/office/drawing/2014/main" id="{02E70070-830A-4CDE-A2D3-A428CB86F04D}"/>
                    </a:ext>
                  </a:extLst>
                </p:cNvPr>
                <p:cNvGrpSpPr/>
                <p:nvPr/>
              </p:nvGrpSpPr>
              <p:grpSpPr>
                <a:xfrm>
                  <a:off x="3127174" y="698228"/>
                  <a:ext cx="1269952" cy="677372"/>
                  <a:chOff x="3127287" y="698228"/>
                  <a:chExt cx="1311778" cy="677372"/>
                </a:xfrm>
                <a:grpFill/>
              </p:grpSpPr>
              <p:sp>
                <p:nvSpPr>
                  <p:cNvPr id="708" name="Freeform 319">
                    <a:extLst>
                      <a:ext uri="{FF2B5EF4-FFF2-40B4-BE49-F238E27FC236}">
                        <a16:creationId xmlns:a16="http://schemas.microsoft.com/office/drawing/2014/main" id="{A1F7405F-E87C-40AB-BE99-0514C8C2F455}"/>
                      </a:ext>
                    </a:extLst>
                  </p:cNvPr>
                  <p:cNvSpPr/>
                  <p:nvPr/>
                </p:nvSpPr>
                <p:spPr>
                  <a:xfrm rot="21191412">
                    <a:off x="3166561" y="698228"/>
                    <a:ext cx="1263693" cy="498371"/>
                  </a:xfrm>
                  <a:custGeom>
                    <a:avLst/>
                    <a:gdLst>
                      <a:gd name="connsiteX0" fmla="*/ 56270 w 1426399"/>
                      <a:gd name="connsiteY0" fmla="*/ 28135 h 427581"/>
                      <a:gd name="connsiteX1" fmla="*/ 604910 w 1426399"/>
                      <a:gd name="connsiteY1" fmla="*/ 211015 h 427581"/>
                      <a:gd name="connsiteX2" fmla="*/ 661181 w 1426399"/>
                      <a:gd name="connsiteY2" fmla="*/ 239150 h 427581"/>
                      <a:gd name="connsiteX3" fmla="*/ 1266092 w 1426399"/>
                      <a:gd name="connsiteY3" fmla="*/ 267286 h 427581"/>
                      <a:gd name="connsiteX4" fmla="*/ 872197 w 1426399"/>
                      <a:gd name="connsiteY4" fmla="*/ 112541 h 427581"/>
                      <a:gd name="connsiteX5" fmla="*/ 647113 w 1426399"/>
                      <a:gd name="connsiteY5" fmla="*/ 126609 h 427581"/>
                      <a:gd name="connsiteX6" fmla="*/ 534572 w 1426399"/>
                      <a:gd name="connsiteY6" fmla="*/ 28135 h 427581"/>
                      <a:gd name="connsiteX7" fmla="*/ 0 w 1426399"/>
                      <a:gd name="connsiteY7" fmla="*/ 0 h 427581"/>
                      <a:gd name="connsiteX8" fmla="*/ 0 w 1426399"/>
                      <a:gd name="connsiteY8" fmla="*/ 42203 h 427581"/>
                      <a:gd name="connsiteX9" fmla="*/ 56270 w 1426399"/>
                      <a:gd name="connsiteY9" fmla="*/ 28135 h 427581"/>
                      <a:gd name="connsiteX0" fmla="*/ 56270 w 1426399"/>
                      <a:gd name="connsiteY0" fmla="*/ 28135 h 427581"/>
                      <a:gd name="connsiteX1" fmla="*/ 600047 w 1426399"/>
                      <a:gd name="connsiteY1" fmla="*/ 293700 h 427581"/>
                      <a:gd name="connsiteX2" fmla="*/ 661181 w 1426399"/>
                      <a:gd name="connsiteY2" fmla="*/ 239150 h 427581"/>
                      <a:gd name="connsiteX3" fmla="*/ 1266092 w 1426399"/>
                      <a:gd name="connsiteY3" fmla="*/ 267286 h 427581"/>
                      <a:gd name="connsiteX4" fmla="*/ 872197 w 1426399"/>
                      <a:gd name="connsiteY4" fmla="*/ 112541 h 427581"/>
                      <a:gd name="connsiteX5" fmla="*/ 647113 w 1426399"/>
                      <a:gd name="connsiteY5" fmla="*/ 126609 h 427581"/>
                      <a:gd name="connsiteX6" fmla="*/ 534572 w 1426399"/>
                      <a:gd name="connsiteY6" fmla="*/ 28135 h 427581"/>
                      <a:gd name="connsiteX7" fmla="*/ 0 w 1426399"/>
                      <a:gd name="connsiteY7" fmla="*/ 0 h 427581"/>
                      <a:gd name="connsiteX8" fmla="*/ 0 w 1426399"/>
                      <a:gd name="connsiteY8" fmla="*/ 42203 h 427581"/>
                      <a:gd name="connsiteX9" fmla="*/ 56270 w 1426399"/>
                      <a:gd name="connsiteY9" fmla="*/ 28135 h 427581"/>
                      <a:gd name="connsiteX0" fmla="*/ 56270 w 1426399"/>
                      <a:gd name="connsiteY0" fmla="*/ 28135 h 427581"/>
                      <a:gd name="connsiteX1" fmla="*/ 600047 w 1426399"/>
                      <a:gd name="connsiteY1" fmla="*/ 293700 h 427581"/>
                      <a:gd name="connsiteX2" fmla="*/ 748730 w 1426399"/>
                      <a:gd name="connsiteY2" fmla="*/ 316971 h 427581"/>
                      <a:gd name="connsiteX3" fmla="*/ 1266092 w 1426399"/>
                      <a:gd name="connsiteY3" fmla="*/ 267286 h 427581"/>
                      <a:gd name="connsiteX4" fmla="*/ 872197 w 1426399"/>
                      <a:gd name="connsiteY4" fmla="*/ 112541 h 427581"/>
                      <a:gd name="connsiteX5" fmla="*/ 647113 w 1426399"/>
                      <a:gd name="connsiteY5" fmla="*/ 126609 h 427581"/>
                      <a:gd name="connsiteX6" fmla="*/ 534572 w 1426399"/>
                      <a:gd name="connsiteY6" fmla="*/ 28135 h 427581"/>
                      <a:gd name="connsiteX7" fmla="*/ 0 w 1426399"/>
                      <a:gd name="connsiteY7" fmla="*/ 0 h 427581"/>
                      <a:gd name="connsiteX8" fmla="*/ 0 w 1426399"/>
                      <a:gd name="connsiteY8" fmla="*/ 42203 h 427581"/>
                      <a:gd name="connsiteX9" fmla="*/ 56270 w 1426399"/>
                      <a:gd name="connsiteY9" fmla="*/ 28135 h 427581"/>
                      <a:gd name="connsiteX0" fmla="*/ 56270 w 1426399"/>
                      <a:gd name="connsiteY0" fmla="*/ 28135 h 427581"/>
                      <a:gd name="connsiteX1" fmla="*/ 600047 w 1426399"/>
                      <a:gd name="connsiteY1" fmla="*/ 293700 h 427581"/>
                      <a:gd name="connsiteX2" fmla="*/ 748730 w 1426399"/>
                      <a:gd name="connsiteY2" fmla="*/ 316971 h 427581"/>
                      <a:gd name="connsiteX3" fmla="*/ 1266092 w 1426399"/>
                      <a:gd name="connsiteY3" fmla="*/ 267286 h 427581"/>
                      <a:gd name="connsiteX4" fmla="*/ 872197 w 1426399"/>
                      <a:gd name="connsiteY4" fmla="*/ 112541 h 427581"/>
                      <a:gd name="connsiteX5" fmla="*/ 647113 w 1426399"/>
                      <a:gd name="connsiteY5" fmla="*/ 126609 h 427581"/>
                      <a:gd name="connsiteX6" fmla="*/ 534572 w 1426399"/>
                      <a:gd name="connsiteY6" fmla="*/ 28135 h 427581"/>
                      <a:gd name="connsiteX7" fmla="*/ 0 w 1426399"/>
                      <a:gd name="connsiteY7" fmla="*/ 0 h 427581"/>
                      <a:gd name="connsiteX8" fmla="*/ 0 w 1426399"/>
                      <a:gd name="connsiteY8" fmla="*/ 42203 h 427581"/>
                      <a:gd name="connsiteX9" fmla="*/ 56270 w 1426399"/>
                      <a:gd name="connsiteY9" fmla="*/ 28135 h 427581"/>
                      <a:gd name="connsiteX0" fmla="*/ 56270 w 1426399"/>
                      <a:gd name="connsiteY0" fmla="*/ 28135 h 427581"/>
                      <a:gd name="connsiteX1" fmla="*/ 546545 w 1426399"/>
                      <a:gd name="connsiteY1" fmla="*/ 254789 h 427581"/>
                      <a:gd name="connsiteX2" fmla="*/ 748730 w 1426399"/>
                      <a:gd name="connsiteY2" fmla="*/ 316971 h 427581"/>
                      <a:gd name="connsiteX3" fmla="*/ 1266092 w 1426399"/>
                      <a:gd name="connsiteY3" fmla="*/ 267286 h 427581"/>
                      <a:gd name="connsiteX4" fmla="*/ 872197 w 1426399"/>
                      <a:gd name="connsiteY4" fmla="*/ 112541 h 427581"/>
                      <a:gd name="connsiteX5" fmla="*/ 647113 w 1426399"/>
                      <a:gd name="connsiteY5" fmla="*/ 126609 h 427581"/>
                      <a:gd name="connsiteX6" fmla="*/ 534572 w 1426399"/>
                      <a:gd name="connsiteY6" fmla="*/ 28135 h 427581"/>
                      <a:gd name="connsiteX7" fmla="*/ 0 w 1426399"/>
                      <a:gd name="connsiteY7" fmla="*/ 0 h 427581"/>
                      <a:gd name="connsiteX8" fmla="*/ 0 w 1426399"/>
                      <a:gd name="connsiteY8" fmla="*/ 42203 h 427581"/>
                      <a:gd name="connsiteX9" fmla="*/ 56270 w 1426399"/>
                      <a:gd name="connsiteY9" fmla="*/ 28135 h 427581"/>
                      <a:gd name="connsiteX0" fmla="*/ 56270 w 1426399"/>
                      <a:gd name="connsiteY0" fmla="*/ 28135 h 427581"/>
                      <a:gd name="connsiteX1" fmla="*/ 546545 w 1426399"/>
                      <a:gd name="connsiteY1" fmla="*/ 254789 h 427581"/>
                      <a:gd name="connsiteX2" fmla="*/ 748730 w 1426399"/>
                      <a:gd name="connsiteY2" fmla="*/ 316971 h 427581"/>
                      <a:gd name="connsiteX3" fmla="*/ 1266092 w 1426399"/>
                      <a:gd name="connsiteY3" fmla="*/ 267286 h 427581"/>
                      <a:gd name="connsiteX4" fmla="*/ 872197 w 1426399"/>
                      <a:gd name="connsiteY4" fmla="*/ 112541 h 427581"/>
                      <a:gd name="connsiteX5" fmla="*/ 647113 w 1426399"/>
                      <a:gd name="connsiteY5" fmla="*/ 126609 h 427581"/>
                      <a:gd name="connsiteX6" fmla="*/ 534572 w 1426399"/>
                      <a:gd name="connsiteY6" fmla="*/ 28135 h 427581"/>
                      <a:gd name="connsiteX7" fmla="*/ 0 w 1426399"/>
                      <a:gd name="connsiteY7" fmla="*/ 0 h 427581"/>
                      <a:gd name="connsiteX8" fmla="*/ 0 w 1426399"/>
                      <a:gd name="connsiteY8" fmla="*/ 42203 h 427581"/>
                      <a:gd name="connsiteX9" fmla="*/ 56270 w 1426399"/>
                      <a:gd name="connsiteY9" fmla="*/ 28135 h 427581"/>
                      <a:gd name="connsiteX0" fmla="*/ 56270 w 1426399"/>
                      <a:gd name="connsiteY0" fmla="*/ 28135 h 427581"/>
                      <a:gd name="connsiteX1" fmla="*/ 546545 w 1426399"/>
                      <a:gd name="connsiteY1" fmla="*/ 254789 h 427581"/>
                      <a:gd name="connsiteX2" fmla="*/ 748730 w 1426399"/>
                      <a:gd name="connsiteY2" fmla="*/ 316971 h 427581"/>
                      <a:gd name="connsiteX3" fmla="*/ 1266092 w 1426399"/>
                      <a:gd name="connsiteY3" fmla="*/ 267286 h 427581"/>
                      <a:gd name="connsiteX4" fmla="*/ 872197 w 1426399"/>
                      <a:gd name="connsiteY4" fmla="*/ 112541 h 427581"/>
                      <a:gd name="connsiteX5" fmla="*/ 700615 w 1426399"/>
                      <a:gd name="connsiteY5" fmla="*/ 150928 h 427581"/>
                      <a:gd name="connsiteX6" fmla="*/ 534572 w 1426399"/>
                      <a:gd name="connsiteY6" fmla="*/ 28135 h 427581"/>
                      <a:gd name="connsiteX7" fmla="*/ 0 w 1426399"/>
                      <a:gd name="connsiteY7" fmla="*/ 0 h 427581"/>
                      <a:gd name="connsiteX8" fmla="*/ 0 w 1426399"/>
                      <a:gd name="connsiteY8" fmla="*/ 42203 h 427581"/>
                      <a:gd name="connsiteX9" fmla="*/ 56270 w 1426399"/>
                      <a:gd name="connsiteY9" fmla="*/ 28135 h 427581"/>
                      <a:gd name="connsiteX0" fmla="*/ 56270 w 1382624"/>
                      <a:gd name="connsiteY0" fmla="*/ 28135 h 427581"/>
                      <a:gd name="connsiteX1" fmla="*/ 546545 w 1382624"/>
                      <a:gd name="connsiteY1" fmla="*/ 254789 h 427581"/>
                      <a:gd name="connsiteX2" fmla="*/ 748730 w 1382624"/>
                      <a:gd name="connsiteY2" fmla="*/ 316971 h 427581"/>
                      <a:gd name="connsiteX3" fmla="*/ 1222317 w 1382624"/>
                      <a:gd name="connsiteY3" fmla="*/ 267286 h 427581"/>
                      <a:gd name="connsiteX4" fmla="*/ 872197 w 1382624"/>
                      <a:gd name="connsiteY4" fmla="*/ 112541 h 427581"/>
                      <a:gd name="connsiteX5" fmla="*/ 700615 w 1382624"/>
                      <a:gd name="connsiteY5" fmla="*/ 150928 h 427581"/>
                      <a:gd name="connsiteX6" fmla="*/ 534572 w 1382624"/>
                      <a:gd name="connsiteY6" fmla="*/ 28135 h 427581"/>
                      <a:gd name="connsiteX7" fmla="*/ 0 w 1382624"/>
                      <a:gd name="connsiteY7" fmla="*/ 0 h 427581"/>
                      <a:gd name="connsiteX8" fmla="*/ 0 w 1382624"/>
                      <a:gd name="connsiteY8" fmla="*/ 42203 h 427581"/>
                      <a:gd name="connsiteX9" fmla="*/ 56270 w 1382624"/>
                      <a:gd name="connsiteY9" fmla="*/ 28135 h 427581"/>
                      <a:gd name="connsiteX0" fmla="*/ 56270 w 1460446"/>
                      <a:gd name="connsiteY0" fmla="*/ 28135 h 359625"/>
                      <a:gd name="connsiteX1" fmla="*/ 546545 w 1460446"/>
                      <a:gd name="connsiteY1" fmla="*/ 254789 h 359625"/>
                      <a:gd name="connsiteX2" fmla="*/ 748730 w 1460446"/>
                      <a:gd name="connsiteY2" fmla="*/ 316971 h 359625"/>
                      <a:gd name="connsiteX3" fmla="*/ 1222317 w 1460446"/>
                      <a:gd name="connsiteY3" fmla="*/ 267286 h 359625"/>
                      <a:gd name="connsiteX4" fmla="*/ 872197 w 1460446"/>
                      <a:gd name="connsiteY4" fmla="*/ 112541 h 359625"/>
                      <a:gd name="connsiteX5" fmla="*/ 700615 w 1460446"/>
                      <a:gd name="connsiteY5" fmla="*/ 150928 h 359625"/>
                      <a:gd name="connsiteX6" fmla="*/ 534572 w 1460446"/>
                      <a:gd name="connsiteY6" fmla="*/ 28135 h 359625"/>
                      <a:gd name="connsiteX7" fmla="*/ 0 w 1460446"/>
                      <a:gd name="connsiteY7" fmla="*/ 0 h 359625"/>
                      <a:gd name="connsiteX8" fmla="*/ 0 w 1460446"/>
                      <a:gd name="connsiteY8" fmla="*/ 42203 h 359625"/>
                      <a:gd name="connsiteX9" fmla="*/ 56270 w 1460446"/>
                      <a:gd name="connsiteY9" fmla="*/ 28135 h 359625"/>
                      <a:gd name="connsiteX0" fmla="*/ 56270 w 1460446"/>
                      <a:gd name="connsiteY0" fmla="*/ 28135 h 359625"/>
                      <a:gd name="connsiteX1" fmla="*/ 546545 w 1460446"/>
                      <a:gd name="connsiteY1" fmla="*/ 254789 h 359625"/>
                      <a:gd name="connsiteX2" fmla="*/ 748730 w 1460446"/>
                      <a:gd name="connsiteY2" fmla="*/ 316971 h 359625"/>
                      <a:gd name="connsiteX3" fmla="*/ 1222317 w 1460446"/>
                      <a:gd name="connsiteY3" fmla="*/ 267286 h 359625"/>
                      <a:gd name="connsiteX4" fmla="*/ 872197 w 1460446"/>
                      <a:gd name="connsiteY4" fmla="*/ 112541 h 359625"/>
                      <a:gd name="connsiteX5" fmla="*/ 700615 w 1460446"/>
                      <a:gd name="connsiteY5" fmla="*/ 150928 h 359625"/>
                      <a:gd name="connsiteX6" fmla="*/ 534572 w 1460446"/>
                      <a:gd name="connsiteY6" fmla="*/ 28135 h 359625"/>
                      <a:gd name="connsiteX7" fmla="*/ 0 w 1460446"/>
                      <a:gd name="connsiteY7" fmla="*/ 0 h 359625"/>
                      <a:gd name="connsiteX8" fmla="*/ 0 w 1460446"/>
                      <a:gd name="connsiteY8" fmla="*/ 42203 h 359625"/>
                      <a:gd name="connsiteX9" fmla="*/ 56270 w 1460446"/>
                      <a:gd name="connsiteY9" fmla="*/ 28135 h 359625"/>
                      <a:gd name="connsiteX0" fmla="*/ 56270 w 1460446"/>
                      <a:gd name="connsiteY0" fmla="*/ 28135 h 359625"/>
                      <a:gd name="connsiteX1" fmla="*/ 546545 w 1460446"/>
                      <a:gd name="connsiteY1" fmla="*/ 254789 h 359625"/>
                      <a:gd name="connsiteX2" fmla="*/ 748730 w 1460446"/>
                      <a:gd name="connsiteY2" fmla="*/ 316971 h 359625"/>
                      <a:gd name="connsiteX3" fmla="*/ 1222317 w 1460446"/>
                      <a:gd name="connsiteY3" fmla="*/ 267286 h 359625"/>
                      <a:gd name="connsiteX4" fmla="*/ 872197 w 1460446"/>
                      <a:gd name="connsiteY4" fmla="*/ 146587 h 359625"/>
                      <a:gd name="connsiteX5" fmla="*/ 700615 w 1460446"/>
                      <a:gd name="connsiteY5" fmla="*/ 150928 h 359625"/>
                      <a:gd name="connsiteX6" fmla="*/ 534572 w 1460446"/>
                      <a:gd name="connsiteY6" fmla="*/ 28135 h 359625"/>
                      <a:gd name="connsiteX7" fmla="*/ 0 w 1460446"/>
                      <a:gd name="connsiteY7" fmla="*/ 0 h 359625"/>
                      <a:gd name="connsiteX8" fmla="*/ 0 w 1460446"/>
                      <a:gd name="connsiteY8" fmla="*/ 42203 h 359625"/>
                      <a:gd name="connsiteX9" fmla="*/ 56270 w 1460446"/>
                      <a:gd name="connsiteY9" fmla="*/ 28135 h 359625"/>
                      <a:gd name="connsiteX0" fmla="*/ 56270 w 1460446"/>
                      <a:gd name="connsiteY0" fmla="*/ 28135 h 359625"/>
                      <a:gd name="connsiteX1" fmla="*/ 546545 w 1460446"/>
                      <a:gd name="connsiteY1" fmla="*/ 254789 h 359625"/>
                      <a:gd name="connsiteX2" fmla="*/ 748730 w 1460446"/>
                      <a:gd name="connsiteY2" fmla="*/ 316971 h 359625"/>
                      <a:gd name="connsiteX3" fmla="*/ 1222317 w 1460446"/>
                      <a:gd name="connsiteY3" fmla="*/ 267286 h 359625"/>
                      <a:gd name="connsiteX4" fmla="*/ 872197 w 1460446"/>
                      <a:gd name="connsiteY4" fmla="*/ 146587 h 359625"/>
                      <a:gd name="connsiteX5" fmla="*/ 705479 w 1460446"/>
                      <a:gd name="connsiteY5" fmla="*/ 180111 h 359625"/>
                      <a:gd name="connsiteX6" fmla="*/ 534572 w 1460446"/>
                      <a:gd name="connsiteY6" fmla="*/ 28135 h 359625"/>
                      <a:gd name="connsiteX7" fmla="*/ 0 w 1460446"/>
                      <a:gd name="connsiteY7" fmla="*/ 0 h 359625"/>
                      <a:gd name="connsiteX8" fmla="*/ 0 w 1460446"/>
                      <a:gd name="connsiteY8" fmla="*/ 42203 h 359625"/>
                      <a:gd name="connsiteX9" fmla="*/ 56270 w 1460446"/>
                      <a:gd name="connsiteY9" fmla="*/ 28135 h 359625"/>
                      <a:gd name="connsiteX0" fmla="*/ 56270 w 1460446"/>
                      <a:gd name="connsiteY0" fmla="*/ 28135 h 359625"/>
                      <a:gd name="connsiteX1" fmla="*/ 546545 w 1460446"/>
                      <a:gd name="connsiteY1" fmla="*/ 254789 h 359625"/>
                      <a:gd name="connsiteX2" fmla="*/ 748730 w 1460446"/>
                      <a:gd name="connsiteY2" fmla="*/ 316971 h 359625"/>
                      <a:gd name="connsiteX3" fmla="*/ 1222317 w 1460446"/>
                      <a:gd name="connsiteY3" fmla="*/ 267286 h 359625"/>
                      <a:gd name="connsiteX4" fmla="*/ 872197 w 1460446"/>
                      <a:gd name="connsiteY4" fmla="*/ 146587 h 359625"/>
                      <a:gd name="connsiteX5" fmla="*/ 705479 w 1460446"/>
                      <a:gd name="connsiteY5" fmla="*/ 180111 h 359625"/>
                      <a:gd name="connsiteX6" fmla="*/ 534572 w 1460446"/>
                      <a:gd name="connsiteY6" fmla="*/ 67046 h 359625"/>
                      <a:gd name="connsiteX7" fmla="*/ 0 w 1460446"/>
                      <a:gd name="connsiteY7" fmla="*/ 0 h 359625"/>
                      <a:gd name="connsiteX8" fmla="*/ 0 w 1460446"/>
                      <a:gd name="connsiteY8" fmla="*/ 42203 h 359625"/>
                      <a:gd name="connsiteX9" fmla="*/ 56270 w 1460446"/>
                      <a:gd name="connsiteY9" fmla="*/ 28135 h 359625"/>
                      <a:gd name="connsiteX0" fmla="*/ 56270 w 1460446"/>
                      <a:gd name="connsiteY0" fmla="*/ 28135 h 359625"/>
                      <a:gd name="connsiteX1" fmla="*/ 546545 w 1460446"/>
                      <a:gd name="connsiteY1" fmla="*/ 254789 h 359625"/>
                      <a:gd name="connsiteX2" fmla="*/ 748730 w 1460446"/>
                      <a:gd name="connsiteY2" fmla="*/ 316971 h 359625"/>
                      <a:gd name="connsiteX3" fmla="*/ 1222317 w 1460446"/>
                      <a:gd name="connsiteY3" fmla="*/ 267286 h 359625"/>
                      <a:gd name="connsiteX4" fmla="*/ 872197 w 1460446"/>
                      <a:gd name="connsiteY4" fmla="*/ 146587 h 359625"/>
                      <a:gd name="connsiteX5" fmla="*/ 705479 w 1460446"/>
                      <a:gd name="connsiteY5" fmla="*/ 180111 h 359625"/>
                      <a:gd name="connsiteX6" fmla="*/ 534572 w 1460446"/>
                      <a:gd name="connsiteY6" fmla="*/ 67046 h 359625"/>
                      <a:gd name="connsiteX7" fmla="*/ 0 w 1460446"/>
                      <a:gd name="connsiteY7" fmla="*/ 0 h 359625"/>
                      <a:gd name="connsiteX8" fmla="*/ 0 w 1460446"/>
                      <a:gd name="connsiteY8" fmla="*/ 42203 h 359625"/>
                      <a:gd name="connsiteX9" fmla="*/ 56270 w 1460446"/>
                      <a:gd name="connsiteY9" fmla="*/ 28135 h 359625"/>
                      <a:gd name="connsiteX0" fmla="*/ 56270 w 1460446"/>
                      <a:gd name="connsiteY0" fmla="*/ 28135 h 359625"/>
                      <a:gd name="connsiteX1" fmla="*/ 546545 w 1460446"/>
                      <a:gd name="connsiteY1" fmla="*/ 254789 h 359625"/>
                      <a:gd name="connsiteX2" fmla="*/ 748730 w 1460446"/>
                      <a:gd name="connsiteY2" fmla="*/ 316971 h 359625"/>
                      <a:gd name="connsiteX3" fmla="*/ 1222317 w 1460446"/>
                      <a:gd name="connsiteY3" fmla="*/ 267286 h 359625"/>
                      <a:gd name="connsiteX4" fmla="*/ 872197 w 1460446"/>
                      <a:gd name="connsiteY4" fmla="*/ 146587 h 359625"/>
                      <a:gd name="connsiteX5" fmla="*/ 705479 w 1460446"/>
                      <a:gd name="connsiteY5" fmla="*/ 180111 h 359625"/>
                      <a:gd name="connsiteX6" fmla="*/ 534572 w 1460446"/>
                      <a:gd name="connsiteY6" fmla="*/ 67046 h 359625"/>
                      <a:gd name="connsiteX7" fmla="*/ 0 w 1460446"/>
                      <a:gd name="connsiteY7" fmla="*/ 0 h 359625"/>
                      <a:gd name="connsiteX8" fmla="*/ 56270 w 1460446"/>
                      <a:gd name="connsiteY8" fmla="*/ 28135 h 359625"/>
                      <a:gd name="connsiteX0" fmla="*/ 0 w 1460446"/>
                      <a:gd name="connsiteY0" fmla="*/ 0 h 359625"/>
                      <a:gd name="connsiteX1" fmla="*/ 546545 w 1460446"/>
                      <a:gd name="connsiteY1" fmla="*/ 254789 h 359625"/>
                      <a:gd name="connsiteX2" fmla="*/ 748730 w 1460446"/>
                      <a:gd name="connsiteY2" fmla="*/ 316971 h 359625"/>
                      <a:gd name="connsiteX3" fmla="*/ 1222317 w 1460446"/>
                      <a:gd name="connsiteY3" fmla="*/ 267286 h 359625"/>
                      <a:gd name="connsiteX4" fmla="*/ 872197 w 1460446"/>
                      <a:gd name="connsiteY4" fmla="*/ 146587 h 359625"/>
                      <a:gd name="connsiteX5" fmla="*/ 705479 w 1460446"/>
                      <a:gd name="connsiteY5" fmla="*/ 180111 h 359625"/>
                      <a:gd name="connsiteX6" fmla="*/ 534572 w 1460446"/>
                      <a:gd name="connsiteY6" fmla="*/ 67046 h 359625"/>
                      <a:gd name="connsiteX7" fmla="*/ 0 w 1460446"/>
                      <a:gd name="connsiteY7" fmla="*/ 0 h 359625"/>
                      <a:gd name="connsiteX0" fmla="*/ 0 w 1460446"/>
                      <a:gd name="connsiteY0" fmla="*/ 0 h 359625"/>
                      <a:gd name="connsiteX1" fmla="*/ 546545 w 1460446"/>
                      <a:gd name="connsiteY1" fmla="*/ 254789 h 359625"/>
                      <a:gd name="connsiteX2" fmla="*/ 748730 w 1460446"/>
                      <a:gd name="connsiteY2" fmla="*/ 316971 h 359625"/>
                      <a:gd name="connsiteX3" fmla="*/ 1222317 w 1460446"/>
                      <a:gd name="connsiteY3" fmla="*/ 267286 h 359625"/>
                      <a:gd name="connsiteX4" fmla="*/ 872197 w 1460446"/>
                      <a:gd name="connsiteY4" fmla="*/ 146587 h 359625"/>
                      <a:gd name="connsiteX5" fmla="*/ 705479 w 1460446"/>
                      <a:gd name="connsiteY5" fmla="*/ 180111 h 359625"/>
                      <a:gd name="connsiteX6" fmla="*/ 534572 w 1460446"/>
                      <a:gd name="connsiteY6" fmla="*/ 67046 h 359625"/>
                      <a:gd name="connsiteX7" fmla="*/ 0 w 1460446"/>
                      <a:gd name="connsiteY7" fmla="*/ 0 h 359625"/>
                      <a:gd name="connsiteX0" fmla="*/ 0 w 1348578"/>
                      <a:gd name="connsiteY0" fmla="*/ 0 h 354761"/>
                      <a:gd name="connsiteX1" fmla="*/ 434677 w 1348578"/>
                      <a:gd name="connsiteY1" fmla="*/ 249925 h 354761"/>
                      <a:gd name="connsiteX2" fmla="*/ 636862 w 1348578"/>
                      <a:gd name="connsiteY2" fmla="*/ 312107 h 354761"/>
                      <a:gd name="connsiteX3" fmla="*/ 1110449 w 1348578"/>
                      <a:gd name="connsiteY3" fmla="*/ 262422 h 354761"/>
                      <a:gd name="connsiteX4" fmla="*/ 760329 w 1348578"/>
                      <a:gd name="connsiteY4" fmla="*/ 141723 h 354761"/>
                      <a:gd name="connsiteX5" fmla="*/ 593611 w 1348578"/>
                      <a:gd name="connsiteY5" fmla="*/ 175247 h 354761"/>
                      <a:gd name="connsiteX6" fmla="*/ 422704 w 1348578"/>
                      <a:gd name="connsiteY6" fmla="*/ 62182 h 354761"/>
                      <a:gd name="connsiteX7" fmla="*/ 0 w 1348578"/>
                      <a:gd name="connsiteY7" fmla="*/ 0 h 354761"/>
                      <a:gd name="connsiteX0" fmla="*/ 119377 w 1467955"/>
                      <a:gd name="connsiteY0" fmla="*/ 12347 h 367108"/>
                      <a:gd name="connsiteX1" fmla="*/ 554054 w 1467955"/>
                      <a:gd name="connsiteY1" fmla="*/ 262272 h 367108"/>
                      <a:gd name="connsiteX2" fmla="*/ 756239 w 1467955"/>
                      <a:gd name="connsiteY2" fmla="*/ 324454 h 367108"/>
                      <a:gd name="connsiteX3" fmla="*/ 1229826 w 1467955"/>
                      <a:gd name="connsiteY3" fmla="*/ 274769 h 367108"/>
                      <a:gd name="connsiteX4" fmla="*/ 879706 w 1467955"/>
                      <a:gd name="connsiteY4" fmla="*/ 154070 h 367108"/>
                      <a:gd name="connsiteX5" fmla="*/ 712988 w 1467955"/>
                      <a:gd name="connsiteY5" fmla="*/ 187594 h 367108"/>
                      <a:gd name="connsiteX6" fmla="*/ 542081 w 1467955"/>
                      <a:gd name="connsiteY6" fmla="*/ 74529 h 367108"/>
                      <a:gd name="connsiteX7" fmla="*/ 119377 w 1467955"/>
                      <a:gd name="connsiteY7" fmla="*/ 12347 h 367108"/>
                      <a:gd name="connsiteX0" fmla="*/ 129104 w 1477682"/>
                      <a:gd name="connsiteY0" fmla="*/ 0 h 354761"/>
                      <a:gd name="connsiteX1" fmla="*/ 563781 w 1477682"/>
                      <a:gd name="connsiteY1" fmla="*/ 249925 h 354761"/>
                      <a:gd name="connsiteX2" fmla="*/ 765966 w 1477682"/>
                      <a:gd name="connsiteY2" fmla="*/ 312107 h 354761"/>
                      <a:gd name="connsiteX3" fmla="*/ 1239553 w 1477682"/>
                      <a:gd name="connsiteY3" fmla="*/ 262422 h 354761"/>
                      <a:gd name="connsiteX4" fmla="*/ 889433 w 1477682"/>
                      <a:gd name="connsiteY4" fmla="*/ 141723 h 354761"/>
                      <a:gd name="connsiteX5" fmla="*/ 722715 w 1477682"/>
                      <a:gd name="connsiteY5" fmla="*/ 175247 h 354761"/>
                      <a:gd name="connsiteX6" fmla="*/ 551808 w 1477682"/>
                      <a:gd name="connsiteY6" fmla="*/ 62182 h 354761"/>
                      <a:gd name="connsiteX7" fmla="*/ 129104 w 1477682"/>
                      <a:gd name="connsiteY7" fmla="*/ 0 h 354761"/>
                      <a:gd name="connsiteX0" fmla="*/ 129104 w 1341494"/>
                      <a:gd name="connsiteY0" fmla="*/ 0 h 340169"/>
                      <a:gd name="connsiteX1" fmla="*/ 427593 w 1341494"/>
                      <a:gd name="connsiteY1" fmla="*/ 235333 h 340169"/>
                      <a:gd name="connsiteX2" fmla="*/ 629778 w 1341494"/>
                      <a:gd name="connsiteY2" fmla="*/ 297515 h 340169"/>
                      <a:gd name="connsiteX3" fmla="*/ 1103365 w 1341494"/>
                      <a:gd name="connsiteY3" fmla="*/ 247830 h 340169"/>
                      <a:gd name="connsiteX4" fmla="*/ 753245 w 1341494"/>
                      <a:gd name="connsiteY4" fmla="*/ 127131 h 340169"/>
                      <a:gd name="connsiteX5" fmla="*/ 586527 w 1341494"/>
                      <a:gd name="connsiteY5" fmla="*/ 160655 h 340169"/>
                      <a:gd name="connsiteX6" fmla="*/ 415620 w 1341494"/>
                      <a:gd name="connsiteY6" fmla="*/ 47590 h 340169"/>
                      <a:gd name="connsiteX7" fmla="*/ 129104 w 1341494"/>
                      <a:gd name="connsiteY7" fmla="*/ 0 h 340169"/>
                      <a:gd name="connsiteX0" fmla="*/ 508482 w 1720872"/>
                      <a:gd name="connsiteY0" fmla="*/ 60985 h 401154"/>
                      <a:gd name="connsiteX1" fmla="*/ 806971 w 1720872"/>
                      <a:gd name="connsiteY1" fmla="*/ 296318 h 401154"/>
                      <a:gd name="connsiteX2" fmla="*/ 1009156 w 1720872"/>
                      <a:gd name="connsiteY2" fmla="*/ 358500 h 401154"/>
                      <a:gd name="connsiteX3" fmla="*/ 1482743 w 1720872"/>
                      <a:gd name="connsiteY3" fmla="*/ 308815 h 401154"/>
                      <a:gd name="connsiteX4" fmla="*/ 1132623 w 1720872"/>
                      <a:gd name="connsiteY4" fmla="*/ 188116 h 401154"/>
                      <a:gd name="connsiteX5" fmla="*/ 965905 w 1720872"/>
                      <a:gd name="connsiteY5" fmla="*/ 221640 h 401154"/>
                      <a:gd name="connsiteX6" fmla="*/ 794998 w 1720872"/>
                      <a:gd name="connsiteY6" fmla="*/ 108575 h 401154"/>
                      <a:gd name="connsiteX7" fmla="*/ 508482 w 1720872"/>
                      <a:gd name="connsiteY7" fmla="*/ 60985 h 401154"/>
                      <a:gd name="connsiteX0" fmla="*/ 508482 w 1720872"/>
                      <a:gd name="connsiteY0" fmla="*/ 60985 h 362244"/>
                      <a:gd name="connsiteX1" fmla="*/ 806971 w 1720872"/>
                      <a:gd name="connsiteY1" fmla="*/ 257408 h 362244"/>
                      <a:gd name="connsiteX2" fmla="*/ 1009156 w 1720872"/>
                      <a:gd name="connsiteY2" fmla="*/ 319590 h 362244"/>
                      <a:gd name="connsiteX3" fmla="*/ 1482743 w 1720872"/>
                      <a:gd name="connsiteY3" fmla="*/ 269905 h 362244"/>
                      <a:gd name="connsiteX4" fmla="*/ 1132623 w 1720872"/>
                      <a:gd name="connsiteY4" fmla="*/ 149206 h 362244"/>
                      <a:gd name="connsiteX5" fmla="*/ 965905 w 1720872"/>
                      <a:gd name="connsiteY5" fmla="*/ 182730 h 362244"/>
                      <a:gd name="connsiteX6" fmla="*/ 794998 w 1720872"/>
                      <a:gd name="connsiteY6" fmla="*/ 69665 h 362244"/>
                      <a:gd name="connsiteX7" fmla="*/ 508482 w 1720872"/>
                      <a:gd name="connsiteY7" fmla="*/ 60985 h 362244"/>
                      <a:gd name="connsiteX0" fmla="*/ 513346 w 1725736"/>
                      <a:gd name="connsiteY0" fmla="*/ 138806 h 440065"/>
                      <a:gd name="connsiteX1" fmla="*/ 811835 w 1725736"/>
                      <a:gd name="connsiteY1" fmla="*/ 335229 h 440065"/>
                      <a:gd name="connsiteX2" fmla="*/ 1014020 w 1725736"/>
                      <a:gd name="connsiteY2" fmla="*/ 397411 h 440065"/>
                      <a:gd name="connsiteX3" fmla="*/ 1487607 w 1725736"/>
                      <a:gd name="connsiteY3" fmla="*/ 347726 h 440065"/>
                      <a:gd name="connsiteX4" fmla="*/ 1137487 w 1725736"/>
                      <a:gd name="connsiteY4" fmla="*/ 227027 h 440065"/>
                      <a:gd name="connsiteX5" fmla="*/ 970769 w 1725736"/>
                      <a:gd name="connsiteY5" fmla="*/ 260551 h 440065"/>
                      <a:gd name="connsiteX6" fmla="*/ 799862 w 1725736"/>
                      <a:gd name="connsiteY6" fmla="*/ 147486 h 440065"/>
                      <a:gd name="connsiteX7" fmla="*/ 513346 w 1725736"/>
                      <a:gd name="connsiteY7" fmla="*/ 138806 h 440065"/>
                      <a:gd name="connsiteX0" fmla="*/ 450116 w 1662506"/>
                      <a:gd name="connsiteY0" fmla="*/ 167989 h 469248"/>
                      <a:gd name="connsiteX1" fmla="*/ 748605 w 1662506"/>
                      <a:gd name="connsiteY1" fmla="*/ 364412 h 469248"/>
                      <a:gd name="connsiteX2" fmla="*/ 950790 w 1662506"/>
                      <a:gd name="connsiteY2" fmla="*/ 426594 h 469248"/>
                      <a:gd name="connsiteX3" fmla="*/ 1424377 w 1662506"/>
                      <a:gd name="connsiteY3" fmla="*/ 376909 h 469248"/>
                      <a:gd name="connsiteX4" fmla="*/ 1074257 w 1662506"/>
                      <a:gd name="connsiteY4" fmla="*/ 256210 h 469248"/>
                      <a:gd name="connsiteX5" fmla="*/ 907539 w 1662506"/>
                      <a:gd name="connsiteY5" fmla="*/ 289734 h 469248"/>
                      <a:gd name="connsiteX6" fmla="*/ 736632 w 1662506"/>
                      <a:gd name="connsiteY6" fmla="*/ 176669 h 469248"/>
                      <a:gd name="connsiteX7" fmla="*/ 450116 w 1662506"/>
                      <a:gd name="connsiteY7" fmla="*/ 167989 h 469248"/>
                      <a:gd name="connsiteX0" fmla="*/ 450116 w 1662506"/>
                      <a:gd name="connsiteY0" fmla="*/ 167989 h 483839"/>
                      <a:gd name="connsiteX1" fmla="*/ 748605 w 1662506"/>
                      <a:gd name="connsiteY1" fmla="*/ 379003 h 483839"/>
                      <a:gd name="connsiteX2" fmla="*/ 950790 w 1662506"/>
                      <a:gd name="connsiteY2" fmla="*/ 441185 h 483839"/>
                      <a:gd name="connsiteX3" fmla="*/ 1424377 w 1662506"/>
                      <a:gd name="connsiteY3" fmla="*/ 391500 h 483839"/>
                      <a:gd name="connsiteX4" fmla="*/ 1074257 w 1662506"/>
                      <a:gd name="connsiteY4" fmla="*/ 270801 h 483839"/>
                      <a:gd name="connsiteX5" fmla="*/ 907539 w 1662506"/>
                      <a:gd name="connsiteY5" fmla="*/ 304325 h 483839"/>
                      <a:gd name="connsiteX6" fmla="*/ 736632 w 1662506"/>
                      <a:gd name="connsiteY6" fmla="*/ 191260 h 483839"/>
                      <a:gd name="connsiteX7" fmla="*/ 450116 w 1662506"/>
                      <a:gd name="connsiteY7" fmla="*/ 167989 h 483839"/>
                      <a:gd name="connsiteX0" fmla="*/ 450116 w 1662506"/>
                      <a:gd name="connsiteY0" fmla="*/ 167989 h 483839"/>
                      <a:gd name="connsiteX1" fmla="*/ 748605 w 1662506"/>
                      <a:gd name="connsiteY1" fmla="*/ 379003 h 483839"/>
                      <a:gd name="connsiteX2" fmla="*/ 950790 w 1662506"/>
                      <a:gd name="connsiteY2" fmla="*/ 441185 h 483839"/>
                      <a:gd name="connsiteX3" fmla="*/ 1424377 w 1662506"/>
                      <a:gd name="connsiteY3" fmla="*/ 391500 h 483839"/>
                      <a:gd name="connsiteX4" fmla="*/ 1074257 w 1662506"/>
                      <a:gd name="connsiteY4" fmla="*/ 270801 h 483839"/>
                      <a:gd name="connsiteX5" fmla="*/ 907539 w 1662506"/>
                      <a:gd name="connsiteY5" fmla="*/ 304325 h 483839"/>
                      <a:gd name="connsiteX6" fmla="*/ 736632 w 1662506"/>
                      <a:gd name="connsiteY6" fmla="*/ 191260 h 483839"/>
                      <a:gd name="connsiteX7" fmla="*/ 450116 w 1662506"/>
                      <a:gd name="connsiteY7" fmla="*/ 167989 h 483839"/>
                      <a:gd name="connsiteX0" fmla="*/ 576575 w 1788965"/>
                      <a:gd name="connsiteY0" fmla="*/ 202035 h 517885"/>
                      <a:gd name="connsiteX1" fmla="*/ 875064 w 1788965"/>
                      <a:gd name="connsiteY1" fmla="*/ 413049 h 517885"/>
                      <a:gd name="connsiteX2" fmla="*/ 1077249 w 1788965"/>
                      <a:gd name="connsiteY2" fmla="*/ 475231 h 517885"/>
                      <a:gd name="connsiteX3" fmla="*/ 1550836 w 1788965"/>
                      <a:gd name="connsiteY3" fmla="*/ 425546 h 517885"/>
                      <a:gd name="connsiteX4" fmla="*/ 1200716 w 1788965"/>
                      <a:gd name="connsiteY4" fmla="*/ 304847 h 517885"/>
                      <a:gd name="connsiteX5" fmla="*/ 1033998 w 1788965"/>
                      <a:gd name="connsiteY5" fmla="*/ 338371 h 517885"/>
                      <a:gd name="connsiteX6" fmla="*/ 863091 w 1788965"/>
                      <a:gd name="connsiteY6" fmla="*/ 225306 h 517885"/>
                      <a:gd name="connsiteX7" fmla="*/ 576575 w 1788965"/>
                      <a:gd name="connsiteY7" fmla="*/ 202035 h 517885"/>
                      <a:gd name="connsiteX0" fmla="*/ 576575 w 1788965"/>
                      <a:gd name="connsiteY0" fmla="*/ 202035 h 517885"/>
                      <a:gd name="connsiteX1" fmla="*/ 855608 w 1788965"/>
                      <a:gd name="connsiteY1" fmla="*/ 408186 h 517885"/>
                      <a:gd name="connsiteX2" fmla="*/ 1077249 w 1788965"/>
                      <a:gd name="connsiteY2" fmla="*/ 475231 h 517885"/>
                      <a:gd name="connsiteX3" fmla="*/ 1550836 w 1788965"/>
                      <a:gd name="connsiteY3" fmla="*/ 425546 h 517885"/>
                      <a:gd name="connsiteX4" fmla="*/ 1200716 w 1788965"/>
                      <a:gd name="connsiteY4" fmla="*/ 304847 h 517885"/>
                      <a:gd name="connsiteX5" fmla="*/ 1033998 w 1788965"/>
                      <a:gd name="connsiteY5" fmla="*/ 338371 h 517885"/>
                      <a:gd name="connsiteX6" fmla="*/ 863091 w 1788965"/>
                      <a:gd name="connsiteY6" fmla="*/ 225306 h 517885"/>
                      <a:gd name="connsiteX7" fmla="*/ 576575 w 1788965"/>
                      <a:gd name="connsiteY7" fmla="*/ 202035 h 517885"/>
                      <a:gd name="connsiteX0" fmla="*/ 576575 w 1788965"/>
                      <a:gd name="connsiteY0" fmla="*/ 202035 h 517885"/>
                      <a:gd name="connsiteX1" fmla="*/ 855608 w 1788965"/>
                      <a:gd name="connsiteY1" fmla="*/ 408186 h 517885"/>
                      <a:gd name="connsiteX2" fmla="*/ 1077249 w 1788965"/>
                      <a:gd name="connsiteY2" fmla="*/ 475231 h 517885"/>
                      <a:gd name="connsiteX3" fmla="*/ 1550836 w 1788965"/>
                      <a:gd name="connsiteY3" fmla="*/ 425546 h 517885"/>
                      <a:gd name="connsiteX4" fmla="*/ 1200716 w 1788965"/>
                      <a:gd name="connsiteY4" fmla="*/ 304847 h 517885"/>
                      <a:gd name="connsiteX5" fmla="*/ 1033998 w 1788965"/>
                      <a:gd name="connsiteY5" fmla="*/ 338371 h 517885"/>
                      <a:gd name="connsiteX6" fmla="*/ 863091 w 1788965"/>
                      <a:gd name="connsiteY6" fmla="*/ 225306 h 517885"/>
                      <a:gd name="connsiteX7" fmla="*/ 576575 w 1788965"/>
                      <a:gd name="connsiteY7" fmla="*/ 202035 h 517885"/>
                      <a:gd name="connsiteX0" fmla="*/ 576575 w 1869482"/>
                      <a:gd name="connsiteY0" fmla="*/ 202035 h 479625"/>
                      <a:gd name="connsiteX1" fmla="*/ 855608 w 1869482"/>
                      <a:gd name="connsiteY1" fmla="*/ 408186 h 479625"/>
                      <a:gd name="connsiteX2" fmla="*/ 1077249 w 1869482"/>
                      <a:gd name="connsiteY2" fmla="*/ 475231 h 479625"/>
                      <a:gd name="connsiteX3" fmla="*/ 1790551 w 1869482"/>
                      <a:gd name="connsiteY3" fmla="*/ 380396 h 479625"/>
                      <a:gd name="connsiteX4" fmla="*/ 1550836 w 1869482"/>
                      <a:gd name="connsiteY4" fmla="*/ 425546 h 479625"/>
                      <a:gd name="connsiteX5" fmla="*/ 1200716 w 1869482"/>
                      <a:gd name="connsiteY5" fmla="*/ 304847 h 479625"/>
                      <a:gd name="connsiteX6" fmla="*/ 1033998 w 1869482"/>
                      <a:gd name="connsiteY6" fmla="*/ 338371 h 479625"/>
                      <a:gd name="connsiteX7" fmla="*/ 863091 w 1869482"/>
                      <a:gd name="connsiteY7" fmla="*/ 225306 h 479625"/>
                      <a:gd name="connsiteX8" fmla="*/ 576575 w 1869482"/>
                      <a:gd name="connsiteY8" fmla="*/ 202035 h 479625"/>
                      <a:gd name="connsiteX0" fmla="*/ 576575 w 1869482"/>
                      <a:gd name="connsiteY0" fmla="*/ 202035 h 479625"/>
                      <a:gd name="connsiteX1" fmla="*/ 855608 w 1869482"/>
                      <a:gd name="connsiteY1" fmla="*/ 408186 h 479625"/>
                      <a:gd name="connsiteX2" fmla="*/ 1077249 w 1869482"/>
                      <a:gd name="connsiteY2" fmla="*/ 475231 h 479625"/>
                      <a:gd name="connsiteX3" fmla="*/ 1790551 w 1869482"/>
                      <a:gd name="connsiteY3" fmla="*/ 380396 h 479625"/>
                      <a:gd name="connsiteX4" fmla="*/ 1550836 w 1869482"/>
                      <a:gd name="connsiteY4" fmla="*/ 425546 h 479625"/>
                      <a:gd name="connsiteX5" fmla="*/ 1200716 w 1869482"/>
                      <a:gd name="connsiteY5" fmla="*/ 304847 h 479625"/>
                      <a:gd name="connsiteX6" fmla="*/ 1033998 w 1869482"/>
                      <a:gd name="connsiteY6" fmla="*/ 338371 h 479625"/>
                      <a:gd name="connsiteX7" fmla="*/ 863091 w 1869482"/>
                      <a:gd name="connsiteY7" fmla="*/ 225306 h 479625"/>
                      <a:gd name="connsiteX8" fmla="*/ 576575 w 1869482"/>
                      <a:gd name="connsiteY8" fmla="*/ 202035 h 479625"/>
                      <a:gd name="connsiteX0" fmla="*/ 576575 w 1869482"/>
                      <a:gd name="connsiteY0" fmla="*/ 202035 h 491953"/>
                      <a:gd name="connsiteX1" fmla="*/ 855608 w 1869482"/>
                      <a:gd name="connsiteY1" fmla="*/ 408186 h 491953"/>
                      <a:gd name="connsiteX2" fmla="*/ 1077249 w 1869482"/>
                      <a:gd name="connsiteY2" fmla="*/ 475231 h 491953"/>
                      <a:gd name="connsiteX3" fmla="*/ 1790551 w 1869482"/>
                      <a:gd name="connsiteY3" fmla="*/ 380396 h 491953"/>
                      <a:gd name="connsiteX4" fmla="*/ 1550836 w 1869482"/>
                      <a:gd name="connsiteY4" fmla="*/ 425546 h 491953"/>
                      <a:gd name="connsiteX5" fmla="*/ 1200716 w 1869482"/>
                      <a:gd name="connsiteY5" fmla="*/ 304847 h 491953"/>
                      <a:gd name="connsiteX6" fmla="*/ 1033998 w 1869482"/>
                      <a:gd name="connsiteY6" fmla="*/ 338371 h 491953"/>
                      <a:gd name="connsiteX7" fmla="*/ 863091 w 1869482"/>
                      <a:gd name="connsiteY7" fmla="*/ 225306 h 491953"/>
                      <a:gd name="connsiteX8" fmla="*/ 576575 w 1869482"/>
                      <a:gd name="connsiteY8" fmla="*/ 202035 h 491953"/>
                      <a:gd name="connsiteX0" fmla="*/ 576575 w 1869482"/>
                      <a:gd name="connsiteY0" fmla="*/ 202035 h 491953"/>
                      <a:gd name="connsiteX1" fmla="*/ 855608 w 1869482"/>
                      <a:gd name="connsiteY1" fmla="*/ 408186 h 491953"/>
                      <a:gd name="connsiteX2" fmla="*/ 1077249 w 1869482"/>
                      <a:gd name="connsiteY2" fmla="*/ 475231 h 491953"/>
                      <a:gd name="connsiteX3" fmla="*/ 1790551 w 1869482"/>
                      <a:gd name="connsiteY3" fmla="*/ 380396 h 491953"/>
                      <a:gd name="connsiteX4" fmla="*/ 1556973 w 1869482"/>
                      <a:gd name="connsiteY4" fmla="*/ 379863 h 491953"/>
                      <a:gd name="connsiteX5" fmla="*/ 1200716 w 1869482"/>
                      <a:gd name="connsiteY5" fmla="*/ 304847 h 491953"/>
                      <a:gd name="connsiteX6" fmla="*/ 1033998 w 1869482"/>
                      <a:gd name="connsiteY6" fmla="*/ 338371 h 491953"/>
                      <a:gd name="connsiteX7" fmla="*/ 863091 w 1869482"/>
                      <a:gd name="connsiteY7" fmla="*/ 225306 h 491953"/>
                      <a:gd name="connsiteX8" fmla="*/ 576575 w 1869482"/>
                      <a:gd name="connsiteY8" fmla="*/ 202035 h 491953"/>
                      <a:gd name="connsiteX0" fmla="*/ 576575 w 1790551"/>
                      <a:gd name="connsiteY0" fmla="*/ 202035 h 491953"/>
                      <a:gd name="connsiteX1" fmla="*/ 855608 w 1790551"/>
                      <a:gd name="connsiteY1" fmla="*/ 408186 h 491953"/>
                      <a:gd name="connsiteX2" fmla="*/ 1077249 w 1790551"/>
                      <a:gd name="connsiteY2" fmla="*/ 475231 h 491953"/>
                      <a:gd name="connsiteX3" fmla="*/ 1790551 w 1790551"/>
                      <a:gd name="connsiteY3" fmla="*/ 380396 h 491953"/>
                      <a:gd name="connsiteX4" fmla="*/ 1556973 w 1790551"/>
                      <a:gd name="connsiteY4" fmla="*/ 379863 h 491953"/>
                      <a:gd name="connsiteX5" fmla="*/ 1200716 w 1790551"/>
                      <a:gd name="connsiteY5" fmla="*/ 304847 h 491953"/>
                      <a:gd name="connsiteX6" fmla="*/ 1033998 w 1790551"/>
                      <a:gd name="connsiteY6" fmla="*/ 338371 h 491953"/>
                      <a:gd name="connsiteX7" fmla="*/ 863091 w 1790551"/>
                      <a:gd name="connsiteY7" fmla="*/ 225306 h 491953"/>
                      <a:gd name="connsiteX8" fmla="*/ 576575 w 1790551"/>
                      <a:gd name="connsiteY8" fmla="*/ 202035 h 491953"/>
                      <a:gd name="connsiteX0" fmla="*/ 576575 w 1790551"/>
                      <a:gd name="connsiteY0" fmla="*/ 202035 h 491953"/>
                      <a:gd name="connsiteX1" fmla="*/ 855608 w 1790551"/>
                      <a:gd name="connsiteY1" fmla="*/ 408186 h 491953"/>
                      <a:gd name="connsiteX2" fmla="*/ 1077249 w 1790551"/>
                      <a:gd name="connsiteY2" fmla="*/ 475231 h 491953"/>
                      <a:gd name="connsiteX3" fmla="*/ 1790551 w 1790551"/>
                      <a:gd name="connsiteY3" fmla="*/ 380396 h 491953"/>
                      <a:gd name="connsiteX4" fmla="*/ 1556973 w 1790551"/>
                      <a:gd name="connsiteY4" fmla="*/ 379863 h 491953"/>
                      <a:gd name="connsiteX5" fmla="*/ 1200716 w 1790551"/>
                      <a:gd name="connsiteY5" fmla="*/ 304847 h 491953"/>
                      <a:gd name="connsiteX6" fmla="*/ 1033998 w 1790551"/>
                      <a:gd name="connsiteY6" fmla="*/ 338371 h 491953"/>
                      <a:gd name="connsiteX7" fmla="*/ 863091 w 1790551"/>
                      <a:gd name="connsiteY7" fmla="*/ 225306 h 491953"/>
                      <a:gd name="connsiteX8" fmla="*/ 576575 w 1790551"/>
                      <a:gd name="connsiteY8" fmla="*/ 202035 h 491953"/>
                      <a:gd name="connsiteX0" fmla="*/ 576575 w 1790551"/>
                      <a:gd name="connsiteY0" fmla="*/ 202035 h 491953"/>
                      <a:gd name="connsiteX1" fmla="*/ 855608 w 1790551"/>
                      <a:gd name="connsiteY1" fmla="*/ 408186 h 491953"/>
                      <a:gd name="connsiteX2" fmla="*/ 1077249 w 1790551"/>
                      <a:gd name="connsiteY2" fmla="*/ 475231 h 491953"/>
                      <a:gd name="connsiteX3" fmla="*/ 1790551 w 1790551"/>
                      <a:gd name="connsiteY3" fmla="*/ 380396 h 491953"/>
                      <a:gd name="connsiteX4" fmla="*/ 1499918 w 1790551"/>
                      <a:gd name="connsiteY4" fmla="*/ 368016 h 491953"/>
                      <a:gd name="connsiteX5" fmla="*/ 1200716 w 1790551"/>
                      <a:gd name="connsiteY5" fmla="*/ 304847 h 491953"/>
                      <a:gd name="connsiteX6" fmla="*/ 1033998 w 1790551"/>
                      <a:gd name="connsiteY6" fmla="*/ 338371 h 491953"/>
                      <a:gd name="connsiteX7" fmla="*/ 863091 w 1790551"/>
                      <a:gd name="connsiteY7" fmla="*/ 225306 h 491953"/>
                      <a:gd name="connsiteX8" fmla="*/ 576575 w 1790551"/>
                      <a:gd name="connsiteY8" fmla="*/ 202035 h 491953"/>
                      <a:gd name="connsiteX0" fmla="*/ 576575 w 1790551"/>
                      <a:gd name="connsiteY0" fmla="*/ 202035 h 491953"/>
                      <a:gd name="connsiteX1" fmla="*/ 855608 w 1790551"/>
                      <a:gd name="connsiteY1" fmla="*/ 408186 h 491953"/>
                      <a:gd name="connsiteX2" fmla="*/ 1077249 w 1790551"/>
                      <a:gd name="connsiteY2" fmla="*/ 475231 h 491953"/>
                      <a:gd name="connsiteX3" fmla="*/ 1790551 w 1790551"/>
                      <a:gd name="connsiteY3" fmla="*/ 380396 h 491953"/>
                      <a:gd name="connsiteX4" fmla="*/ 1499918 w 1790551"/>
                      <a:gd name="connsiteY4" fmla="*/ 368016 h 491953"/>
                      <a:gd name="connsiteX5" fmla="*/ 1200716 w 1790551"/>
                      <a:gd name="connsiteY5" fmla="*/ 304847 h 491953"/>
                      <a:gd name="connsiteX6" fmla="*/ 1033998 w 1790551"/>
                      <a:gd name="connsiteY6" fmla="*/ 338371 h 491953"/>
                      <a:gd name="connsiteX7" fmla="*/ 863091 w 1790551"/>
                      <a:gd name="connsiteY7" fmla="*/ 225306 h 491953"/>
                      <a:gd name="connsiteX8" fmla="*/ 576575 w 1790551"/>
                      <a:gd name="connsiteY8" fmla="*/ 202035 h 491953"/>
                      <a:gd name="connsiteX0" fmla="*/ 576575 w 1790551"/>
                      <a:gd name="connsiteY0" fmla="*/ 202035 h 491953"/>
                      <a:gd name="connsiteX1" fmla="*/ 855608 w 1790551"/>
                      <a:gd name="connsiteY1" fmla="*/ 408186 h 491953"/>
                      <a:gd name="connsiteX2" fmla="*/ 1077249 w 1790551"/>
                      <a:gd name="connsiteY2" fmla="*/ 475231 h 491953"/>
                      <a:gd name="connsiteX3" fmla="*/ 1790551 w 1790551"/>
                      <a:gd name="connsiteY3" fmla="*/ 380396 h 491953"/>
                      <a:gd name="connsiteX4" fmla="*/ 1499918 w 1790551"/>
                      <a:gd name="connsiteY4" fmla="*/ 368016 h 491953"/>
                      <a:gd name="connsiteX5" fmla="*/ 1200716 w 1790551"/>
                      <a:gd name="connsiteY5" fmla="*/ 304847 h 491953"/>
                      <a:gd name="connsiteX6" fmla="*/ 1033998 w 1790551"/>
                      <a:gd name="connsiteY6" fmla="*/ 338371 h 491953"/>
                      <a:gd name="connsiteX7" fmla="*/ 863091 w 1790551"/>
                      <a:gd name="connsiteY7" fmla="*/ 225306 h 491953"/>
                      <a:gd name="connsiteX8" fmla="*/ 576575 w 1790551"/>
                      <a:gd name="connsiteY8" fmla="*/ 202035 h 491953"/>
                      <a:gd name="connsiteX0" fmla="*/ 576575 w 1739154"/>
                      <a:gd name="connsiteY0" fmla="*/ 202035 h 486497"/>
                      <a:gd name="connsiteX1" fmla="*/ 855608 w 1739154"/>
                      <a:gd name="connsiteY1" fmla="*/ 408186 h 486497"/>
                      <a:gd name="connsiteX2" fmla="*/ 1077249 w 1739154"/>
                      <a:gd name="connsiteY2" fmla="*/ 475231 h 486497"/>
                      <a:gd name="connsiteX3" fmla="*/ 1739154 w 1739154"/>
                      <a:gd name="connsiteY3" fmla="*/ 374940 h 486497"/>
                      <a:gd name="connsiteX4" fmla="*/ 1499918 w 1739154"/>
                      <a:gd name="connsiteY4" fmla="*/ 368016 h 486497"/>
                      <a:gd name="connsiteX5" fmla="*/ 1200716 w 1739154"/>
                      <a:gd name="connsiteY5" fmla="*/ 304847 h 486497"/>
                      <a:gd name="connsiteX6" fmla="*/ 1033998 w 1739154"/>
                      <a:gd name="connsiteY6" fmla="*/ 338371 h 486497"/>
                      <a:gd name="connsiteX7" fmla="*/ 863091 w 1739154"/>
                      <a:gd name="connsiteY7" fmla="*/ 225306 h 486497"/>
                      <a:gd name="connsiteX8" fmla="*/ 576575 w 1739154"/>
                      <a:gd name="connsiteY8" fmla="*/ 202035 h 486497"/>
                      <a:gd name="connsiteX0" fmla="*/ 576575 w 1739154"/>
                      <a:gd name="connsiteY0" fmla="*/ 202035 h 479625"/>
                      <a:gd name="connsiteX1" fmla="*/ 855608 w 1739154"/>
                      <a:gd name="connsiteY1" fmla="*/ 408186 h 479625"/>
                      <a:gd name="connsiteX2" fmla="*/ 1077249 w 1739154"/>
                      <a:gd name="connsiteY2" fmla="*/ 475231 h 479625"/>
                      <a:gd name="connsiteX3" fmla="*/ 1739154 w 1739154"/>
                      <a:gd name="connsiteY3" fmla="*/ 374940 h 479625"/>
                      <a:gd name="connsiteX4" fmla="*/ 1499918 w 1739154"/>
                      <a:gd name="connsiteY4" fmla="*/ 368016 h 479625"/>
                      <a:gd name="connsiteX5" fmla="*/ 1200716 w 1739154"/>
                      <a:gd name="connsiteY5" fmla="*/ 304847 h 479625"/>
                      <a:gd name="connsiteX6" fmla="*/ 1033998 w 1739154"/>
                      <a:gd name="connsiteY6" fmla="*/ 338371 h 479625"/>
                      <a:gd name="connsiteX7" fmla="*/ 863091 w 1739154"/>
                      <a:gd name="connsiteY7" fmla="*/ 225306 h 479625"/>
                      <a:gd name="connsiteX8" fmla="*/ 576575 w 1739154"/>
                      <a:gd name="connsiteY8" fmla="*/ 202035 h 479625"/>
                      <a:gd name="connsiteX0" fmla="*/ 298193 w 1460772"/>
                      <a:gd name="connsiteY0" fmla="*/ 150566 h 428156"/>
                      <a:gd name="connsiteX1" fmla="*/ 46505 w 1460772"/>
                      <a:gd name="connsiteY1" fmla="*/ 34358 h 428156"/>
                      <a:gd name="connsiteX2" fmla="*/ 577226 w 1460772"/>
                      <a:gd name="connsiteY2" fmla="*/ 356717 h 428156"/>
                      <a:gd name="connsiteX3" fmla="*/ 798867 w 1460772"/>
                      <a:gd name="connsiteY3" fmla="*/ 423762 h 428156"/>
                      <a:gd name="connsiteX4" fmla="*/ 1460772 w 1460772"/>
                      <a:gd name="connsiteY4" fmla="*/ 323471 h 428156"/>
                      <a:gd name="connsiteX5" fmla="*/ 1221536 w 1460772"/>
                      <a:gd name="connsiteY5" fmla="*/ 316547 h 428156"/>
                      <a:gd name="connsiteX6" fmla="*/ 922334 w 1460772"/>
                      <a:gd name="connsiteY6" fmla="*/ 253378 h 428156"/>
                      <a:gd name="connsiteX7" fmla="*/ 755616 w 1460772"/>
                      <a:gd name="connsiteY7" fmla="*/ 286902 h 428156"/>
                      <a:gd name="connsiteX8" fmla="*/ 584709 w 1460772"/>
                      <a:gd name="connsiteY8" fmla="*/ 173837 h 428156"/>
                      <a:gd name="connsiteX9" fmla="*/ 298193 w 1460772"/>
                      <a:gd name="connsiteY9" fmla="*/ 150566 h 428156"/>
                      <a:gd name="connsiteX0" fmla="*/ 298193 w 1460772"/>
                      <a:gd name="connsiteY0" fmla="*/ 150566 h 428156"/>
                      <a:gd name="connsiteX1" fmla="*/ 46505 w 1460772"/>
                      <a:gd name="connsiteY1" fmla="*/ 34358 h 428156"/>
                      <a:gd name="connsiteX2" fmla="*/ 577226 w 1460772"/>
                      <a:gd name="connsiteY2" fmla="*/ 356717 h 428156"/>
                      <a:gd name="connsiteX3" fmla="*/ 798867 w 1460772"/>
                      <a:gd name="connsiteY3" fmla="*/ 423762 h 428156"/>
                      <a:gd name="connsiteX4" fmla="*/ 1460772 w 1460772"/>
                      <a:gd name="connsiteY4" fmla="*/ 323471 h 428156"/>
                      <a:gd name="connsiteX5" fmla="*/ 1221536 w 1460772"/>
                      <a:gd name="connsiteY5" fmla="*/ 316547 h 428156"/>
                      <a:gd name="connsiteX6" fmla="*/ 922334 w 1460772"/>
                      <a:gd name="connsiteY6" fmla="*/ 253378 h 428156"/>
                      <a:gd name="connsiteX7" fmla="*/ 755616 w 1460772"/>
                      <a:gd name="connsiteY7" fmla="*/ 286902 h 428156"/>
                      <a:gd name="connsiteX8" fmla="*/ 584709 w 1460772"/>
                      <a:gd name="connsiteY8" fmla="*/ 173837 h 428156"/>
                      <a:gd name="connsiteX9" fmla="*/ 298193 w 1460772"/>
                      <a:gd name="connsiteY9" fmla="*/ 150566 h 428156"/>
                      <a:gd name="connsiteX0" fmla="*/ 251688 w 1414267"/>
                      <a:gd name="connsiteY0" fmla="*/ 167526 h 445116"/>
                      <a:gd name="connsiteX1" fmla="*/ 0 w 1414267"/>
                      <a:gd name="connsiteY1" fmla="*/ 51318 h 445116"/>
                      <a:gd name="connsiteX2" fmla="*/ 530721 w 1414267"/>
                      <a:gd name="connsiteY2" fmla="*/ 373677 h 445116"/>
                      <a:gd name="connsiteX3" fmla="*/ 752362 w 1414267"/>
                      <a:gd name="connsiteY3" fmla="*/ 440722 h 445116"/>
                      <a:gd name="connsiteX4" fmla="*/ 1414267 w 1414267"/>
                      <a:gd name="connsiteY4" fmla="*/ 340431 h 445116"/>
                      <a:gd name="connsiteX5" fmla="*/ 1175031 w 1414267"/>
                      <a:gd name="connsiteY5" fmla="*/ 333507 h 445116"/>
                      <a:gd name="connsiteX6" fmla="*/ 875829 w 1414267"/>
                      <a:gd name="connsiteY6" fmla="*/ 270338 h 445116"/>
                      <a:gd name="connsiteX7" fmla="*/ 709111 w 1414267"/>
                      <a:gd name="connsiteY7" fmla="*/ 303862 h 445116"/>
                      <a:gd name="connsiteX8" fmla="*/ 538204 w 1414267"/>
                      <a:gd name="connsiteY8" fmla="*/ 190797 h 445116"/>
                      <a:gd name="connsiteX9" fmla="*/ 251688 w 1414267"/>
                      <a:gd name="connsiteY9" fmla="*/ 167526 h 445116"/>
                      <a:gd name="connsiteX0" fmla="*/ 255523 w 1414267"/>
                      <a:gd name="connsiteY0" fmla="*/ 138974 h 445116"/>
                      <a:gd name="connsiteX1" fmla="*/ 0 w 1414267"/>
                      <a:gd name="connsiteY1" fmla="*/ 51318 h 445116"/>
                      <a:gd name="connsiteX2" fmla="*/ 530721 w 1414267"/>
                      <a:gd name="connsiteY2" fmla="*/ 373677 h 445116"/>
                      <a:gd name="connsiteX3" fmla="*/ 752362 w 1414267"/>
                      <a:gd name="connsiteY3" fmla="*/ 440722 h 445116"/>
                      <a:gd name="connsiteX4" fmla="*/ 1414267 w 1414267"/>
                      <a:gd name="connsiteY4" fmla="*/ 340431 h 445116"/>
                      <a:gd name="connsiteX5" fmla="*/ 1175031 w 1414267"/>
                      <a:gd name="connsiteY5" fmla="*/ 333507 h 445116"/>
                      <a:gd name="connsiteX6" fmla="*/ 875829 w 1414267"/>
                      <a:gd name="connsiteY6" fmla="*/ 270338 h 445116"/>
                      <a:gd name="connsiteX7" fmla="*/ 709111 w 1414267"/>
                      <a:gd name="connsiteY7" fmla="*/ 303862 h 445116"/>
                      <a:gd name="connsiteX8" fmla="*/ 538204 w 1414267"/>
                      <a:gd name="connsiteY8" fmla="*/ 190797 h 445116"/>
                      <a:gd name="connsiteX9" fmla="*/ 255523 w 1414267"/>
                      <a:gd name="connsiteY9" fmla="*/ 138974 h 445116"/>
                      <a:gd name="connsiteX0" fmla="*/ 255523 w 1414267"/>
                      <a:gd name="connsiteY0" fmla="*/ 138974 h 445116"/>
                      <a:gd name="connsiteX1" fmla="*/ 0 w 1414267"/>
                      <a:gd name="connsiteY1" fmla="*/ 51318 h 445116"/>
                      <a:gd name="connsiteX2" fmla="*/ 530721 w 1414267"/>
                      <a:gd name="connsiteY2" fmla="*/ 373677 h 445116"/>
                      <a:gd name="connsiteX3" fmla="*/ 752362 w 1414267"/>
                      <a:gd name="connsiteY3" fmla="*/ 440722 h 445116"/>
                      <a:gd name="connsiteX4" fmla="*/ 1414267 w 1414267"/>
                      <a:gd name="connsiteY4" fmla="*/ 340431 h 445116"/>
                      <a:gd name="connsiteX5" fmla="*/ 1175031 w 1414267"/>
                      <a:gd name="connsiteY5" fmla="*/ 333507 h 445116"/>
                      <a:gd name="connsiteX6" fmla="*/ 875829 w 1414267"/>
                      <a:gd name="connsiteY6" fmla="*/ 270338 h 445116"/>
                      <a:gd name="connsiteX7" fmla="*/ 709111 w 1414267"/>
                      <a:gd name="connsiteY7" fmla="*/ 303862 h 445116"/>
                      <a:gd name="connsiteX8" fmla="*/ 538204 w 1414267"/>
                      <a:gd name="connsiteY8" fmla="*/ 190797 h 445116"/>
                      <a:gd name="connsiteX9" fmla="*/ 255523 w 1414267"/>
                      <a:gd name="connsiteY9" fmla="*/ 138974 h 445116"/>
                      <a:gd name="connsiteX0" fmla="*/ 245262 w 1404006"/>
                      <a:gd name="connsiteY0" fmla="*/ 166844 h 472986"/>
                      <a:gd name="connsiteX1" fmla="*/ 0 w 1404006"/>
                      <a:gd name="connsiteY1" fmla="*/ 51318 h 472986"/>
                      <a:gd name="connsiteX2" fmla="*/ 520460 w 1404006"/>
                      <a:gd name="connsiteY2" fmla="*/ 401547 h 472986"/>
                      <a:gd name="connsiteX3" fmla="*/ 742101 w 1404006"/>
                      <a:gd name="connsiteY3" fmla="*/ 468592 h 472986"/>
                      <a:gd name="connsiteX4" fmla="*/ 1404006 w 1404006"/>
                      <a:gd name="connsiteY4" fmla="*/ 368301 h 472986"/>
                      <a:gd name="connsiteX5" fmla="*/ 1164770 w 1404006"/>
                      <a:gd name="connsiteY5" fmla="*/ 361377 h 472986"/>
                      <a:gd name="connsiteX6" fmla="*/ 865568 w 1404006"/>
                      <a:gd name="connsiteY6" fmla="*/ 298208 h 472986"/>
                      <a:gd name="connsiteX7" fmla="*/ 698850 w 1404006"/>
                      <a:gd name="connsiteY7" fmla="*/ 331732 h 472986"/>
                      <a:gd name="connsiteX8" fmla="*/ 527943 w 1404006"/>
                      <a:gd name="connsiteY8" fmla="*/ 218667 h 472986"/>
                      <a:gd name="connsiteX9" fmla="*/ 245262 w 1404006"/>
                      <a:gd name="connsiteY9" fmla="*/ 166844 h 472986"/>
                      <a:gd name="connsiteX0" fmla="*/ 245262 w 1404006"/>
                      <a:gd name="connsiteY0" fmla="*/ 166844 h 472986"/>
                      <a:gd name="connsiteX1" fmla="*/ 0 w 1404006"/>
                      <a:gd name="connsiteY1" fmla="*/ 51318 h 472986"/>
                      <a:gd name="connsiteX2" fmla="*/ 520460 w 1404006"/>
                      <a:gd name="connsiteY2" fmla="*/ 401547 h 472986"/>
                      <a:gd name="connsiteX3" fmla="*/ 742101 w 1404006"/>
                      <a:gd name="connsiteY3" fmla="*/ 468592 h 472986"/>
                      <a:gd name="connsiteX4" fmla="*/ 1404006 w 1404006"/>
                      <a:gd name="connsiteY4" fmla="*/ 368301 h 472986"/>
                      <a:gd name="connsiteX5" fmla="*/ 1164770 w 1404006"/>
                      <a:gd name="connsiteY5" fmla="*/ 361377 h 472986"/>
                      <a:gd name="connsiteX6" fmla="*/ 865568 w 1404006"/>
                      <a:gd name="connsiteY6" fmla="*/ 298208 h 472986"/>
                      <a:gd name="connsiteX7" fmla="*/ 698850 w 1404006"/>
                      <a:gd name="connsiteY7" fmla="*/ 331732 h 472986"/>
                      <a:gd name="connsiteX8" fmla="*/ 527943 w 1404006"/>
                      <a:gd name="connsiteY8" fmla="*/ 218667 h 472986"/>
                      <a:gd name="connsiteX9" fmla="*/ 245262 w 1404006"/>
                      <a:gd name="connsiteY9" fmla="*/ 166844 h 472986"/>
                      <a:gd name="connsiteX0" fmla="*/ 245262 w 1404006"/>
                      <a:gd name="connsiteY0" fmla="*/ 151760 h 457902"/>
                      <a:gd name="connsiteX1" fmla="*/ 0 w 1404006"/>
                      <a:gd name="connsiteY1" fmla="*/ 36234 h 457902"/>
                      <a:gd name="connsiteX2" fmla="*/ 520460 w 1404006"/>
                      <a:gd name="connsiteY2" fmla="*/ 386463 h 457902"/>
                      <a:gd name="connsiteX3" fmla="*/ 742101 w 1404006"/>
                      <a:gd name="connsiteY3" fmla="*/ 453508 h 457902"/>
                      <a:gd name="connsiteX4" fmla="*/ 1404006 w 1404006"/>
                      <a:gd name="connsiteY4" fmla="*/ 353217 h 457902"/>
                      <a:gd name="connsiteX5" fmla="*/ 1164770 w 1404006"/>
                      <a:gd name="connsiteY5" fmla="*/ 346293 h 457902"/>
                      <a:gd name="connsiteX6" fmla="*/ 865568 w 1404006"/>
                      <a:gd name="connsiteY6" fmla="*/ 283124 h 457902"/>
                      <a:gd name="connsiteX7" fmla="*/ 698850 w 1404006"/>
                      <a:gd name="connsiteY7" fmla="*/ 316648 h 457902"/>
                      <a:gd name="connsiteX8" fmla="*/ 527943 w 1404006"/>
                      <a:gd name="connsiteY8" fmla="*/ 203583 h 457902"/>
                      <a:gd name="connsiteX9" fmla="*/ 245262 w 1404006"/>
                      <a:gd name="connsiteY9" fmla="*/ 151760 h 457902"/>
                      <a:gd name="connsiteX0" fmla="*/ 263768 w 1422512"/>
                      <a:gd name="connsiteY0" fmla="*/ 159516 h 465658"/>
                      <a:gd name="connsiteX1" fmla="*/ 0 w 1422512"/>
                      <a:gd name="connsiteY1" fmla="*/ 36234 h 465658"/>
                      <a:gd name="connsiteX2" fmla="*/ 538966 w 1422512"/>
                      <a:gd name="connsiteY2" fmla="*/ 394219 h 465658"/>
                      <a:gd name="connsiteX3" fmla="*/ 760607 w 1422512"/>
                      <a:gd name="connsiteY3" fmla="*/ 461264 h 465658"/>
                      <a:gd name="connsiteX4" fmla="*/ 1422512 w 1422512"/>
                      <a:gd name="connsiteY4" fmla="*/ 360973 h 465658"/>
                      <a:gd name="connsiteX5" fmla="*/ 1183276 w 1422512"/>
                      <a:gd name="connsiteY5" fmla="*/ 354049 h 465658"/>
                      <a:gd name="connsiteX6" fmla="*/ 884074 w 1422512"/>
                      <a:gd name="connsiteY6" fmla="*/ 290880 h 465658"/>
                      <a:gd name="connsiteX7" fmla="*/ 717356 w 1422512"/>
                      <a:gd name="connsiteY7" fmla="*/ 324404 h 465658"/>
                      <a:gd name="connsiteX8" fmla="*/ 546449 w 1422512"/>
                      <a:gd name="connsiteY8" fmla="*/ 211339 h 465658"/>
                      <a:gd name="connsiteX9" fmla="*/ 263768 w 1422512"/>
                      <a:gd name="connsiteY9" fmla="*/ 159516 h 465658"/>
                      <a:gd name="connsiteX0" fmla="*/ 245261 w 1404005"/>
                      <a:gd name="connsiteY0" fmla="*/ 151759 h 457901"/>
                      <a:gd name="connsiteX1" fmla="*/ 0 w 1404005"/>
                      <a:gd name="connsiteY1" fmla="*/ 36234 h 457901"/>
                      <a:gd name="connsiteX2" fmla="*/ 520459 w 1404005"/>
                      <a:gd name="connsiteY2" fmla="*/ 386462 h 457901"/>
                      <a:gd name="connsiteX3" fmla="*/ 742100 w 1404005"/>
                      <a:gd name="connsiteY3" fmla="*/ 453507 h 457901"/>
                      <a:gd name="connsiteX4" fmla="*/ 1404005 w 1404005"/>
                      <a:gd name="connsiteY4" fmla="*/ 353216 h 457901"/>
                      <a:gd name="connsiteX5" fmla="*/ 1164769 w 1404005"/>
                      <a:gd name="connsiteY5" fmla="*/ 346292 h 457901"/>
                      <a:gd name="connsiteX6" fmla="*/ 865567 w 1404005"/>
                      <a:gd name="connsiteY6" fmla="*/ 283123 h 457901"/>
                      <a:gd name="connsiteX7" fmla="*/ 698849 w 1404005"/>
                      <a:gd name="connsiteY7" fmla="*/ 316647 h 457901"/>
                      <a:gd name="connsiteX8" fmla="*/ 527942 w 1404005"/>
                      <a:gd name="connsiteY8" fmla="*/ 203582 h 457901"/>
                      <a:gd name="connsiteX9" fmla="*/ 245261 w 1404005"/>
                      <a:gd name="connsiteY9" fmla="*/ 151759 h 457901"/>
                      <a:gd name="connsiteX0" fmla="*/ 263000 w 1421744"/>
                      <a:gd name="connsiteY0" fmla="*/ 165226 h 471368"/>
                      <a:gd name="connsiteX1" fmla="*/ 0 w 1421744"/>
                      <a:gd name="connsiteY1" fmla="*/ 36234 h 471368"/>
                      <a:gd name="connsiteX2" fmla="*/ 538198 w 1421744"/>
                      <a:gd name="connsiteY2" fmla="*/ 399929 h 471368"/>
                      <a:gd name="connsiteX3" fmla="*/ 759839 w 1421744"/>
                      <a:gd name="connsiteY3" fmla="*/ 466974 h 471368"/>
                      <a:gd name="connsiteX4" fmla="*/ 1421744 w 1421744"/>
                      <a:gd name="connsiteY4" fmla="*/ 366683 h 471368"/>
                      <a:gd name="connsiteX5" fmla="*/ 1182508 w 1421744"/>
                      <a:gd name="connsiteY5" fmla="*/ 359759 h 471368"/>
                      <a:gd name="connsiteX6" fmla="*/ 883306 w 1421744"/>
                      <a:gd name="connsiteY6" fmla="*/ 296590 h 471368"/>
                      <a:gd name="connsiteX7" fmla="*/ 716588 w 1421744"/>
                      <a:gd name="connsiteY7" fmla="*/ 330114 h 471368"/>
                      <a:gd name="connsiteX8" fmla="*/ 545681 w 1421744"/>
                      <a:gd name="connsiteY8" fmla="*/ 217049 h 471368"/>
                      <a:gd name="connsiteX9" fmla="*/ 263000 w 1421744"/>
                      <a:gd name="connsiteY9" fmla="*/ 165226 h 471368"/>
                      <a:gd name="connsiteX0" fmla="*/ 263000 w 1421744"/>
                      <a:gd name="connsiteY0" fmla="*/ 165226 h 471368"/>
                      <a:gd name="connsiteX1" fmla="*/ 0 w 1421744"/>
                      <a:gd name="connsiteY1" fmla="*/ 36234 h 471368"/>
                      <a:gd name="connsiteX2" fmla="*/ 546816 w 1421744"/>
                      <a:gd name="connsiteY2" fmla="*/ 401256 h 471368"/>
                      <a:gd name="connsiteX3" fmla="*/ 759839 w 1421744"/>
                      <a:gd name="connsiteY3" fmla="*/ 466974 h 471368"/>
                      <a:gd name="connsiteX4" fmla="*/ 1421744 w 1421744"/>
                      <a:gd name="connsiteY4" fmla="*/ 366683 h 471368"/>
                      <a:gd name="connsiteX5" fmla="*/ 1182508 w 1421744"/>
                      <a:gd name="connsiteY5" fmla="*/ 359759 h 471368"/>
                      <a:gd name="connsiteX6" fmla="*/ 883306 w 1421744"/>
                      <a:gd name="connsiteY6" fmla="*/ 296590 h 471368"/>
                      <a:gd name="connsiteX7" fmla="*/ 716588 w 1421744"/>
                      <a:gd name="connsiteY7" fmla="*/ 330114 h 471368"/>
                      <a:gd name="connsiteX8" fmla="*/ 545681 w 1421744"/>
                      <a:gd name="connsiteY8" fmla="*/ 217049 h 471368"/>
                      <a:gd name="connsiteX9" fmla="*/ 263000 w 1421744"/>
                      <a:gd name="connsiteY9" fmla="*/ 165226 h 471368"/>
                      <a:gd name="connsiteX0" fmla="*/ 263000 w 1421744"/>
                      <a:gd name="connsiteY0" fmla="*/ 165226 h 471368"/>
                      <a:gd name="connsiteX1" fmla="*/ 0 w 1421744"/>
                      <a:gd name="connsiteY1" fmla="*/ 36234 h 471368"/>
                      <a:gd name="connsiteX2" fmla="*/ 528452 w 1421744"/>
                      <a:gd name="connsiteY2" fmla="*/ 423271 h 471368"/>
                      <a:gd name="connsiteX3" fmla="*/ 759839 w 1421744"/>
                      <a:gd name="connsiteY3" fmla="*/ 466974 h 471368"/>
                      <a:gd name="connsiteX4" fmla="*/ 1421744 w 1421744"/>
                      <a:gd name="connsiteY4" fmla="*/ 366683 h 471368"/>
                      <a:gd name="connsiteX5" fmla="*/ 1182508 w 1421744"/>
                      <a:gd name="connsiteY5" fmla="*/ 359759 h 471368"/>
                      <a:gd name="connsiteX6" fmla="*/ 883306 w 1421744"/>
                      <a:gd name="connsiteY6" fmla="*/ 296590 h 471368"/>
                      <a:gd name="connsiteX7" fmla="*/ 716588 w 1421744"/>
                      <a:gd name="connsiteY7" fmla="*/ 330114 h 471368"/>
                      <a:gd name="connsiteX8" fmla="*/ 545681 w 1421744"/>
                      <a:gd name="connsiteY8" fmla="*/ 217049 h 471368"/>
                      <a:gd name="connsiteX9" fmla="*/ 263000 w 1421744"/>
                      <a:gd name="connsiteY9" fmla="*/ 165226 h 471368"/>
                      <a:gd name="connsiteX0" fmla="*/ 263000 w 1421744"/>
                      <a:gd name="connsiteY0" fmla="*/ 165226 h 498371"/>
                      <a:gd name="connsiteX1" fmla="*/ 0 w 1421744"/>
                      <a:gd name="connsiteY1" fmla="*/ 36234 h 498371"/>
                      <a:gd name="connsiteX2" fmla="*/ 528452 w 1421744"/>
                      <a:gd name="connsiteY2" fmla="*/ 423271 h 498371"/>
                      <a:gd name="connsiteX3" fmla="*/ 756211 w 1421744"/>
                      <a:gd name="connsiteY3" fmla="*/ 493977 h 498371"/>
                      <a:gd name="connsiteX4" fmla="*/ 1421744 w 1421744"/>
                      <a:gd name="connsiteY4" fmla="*/ 366683 h 498371"/>
                      <a:gd name="connsiteX5" fmla="*/ 1182508 w 1421744"/>
                      <a:gd name="connsiteY5" fmla="*/ 359759 h 498371"/>
                      <a:gd name="connsiteX6" fmla="*/ 883306 w 1421744"/>
                      <a:gd name="connsiteY6" fmla="*/ 296590 h 498371"/>
                      <a:gd name="connsiteX7" fmla="*/ 716588 w 1421744"/>
                      <a:gd name="connsiteY7" fmla="*/ 330114 h 498371"/>
                      <a:gd name="connsiteX8" fmla="*/ 545681 w 1421744"/>
                      <a:gd name="connsiteY8" fmla="*/ 217049 h 498371"/>
                      <a:gd name="connsiteX9" fmla="*/ 263000 w 1421744"/>
                      <a:gd name="connsiteY9" fmla="*/ 165226 h 498371"/>
                      <a:gd name="connsiteX0" fmla="*/ 263000 w 1421744"/>
                      <a:gd name="connsiteY0" fmla="*/ 165226 h 498371"/>
                      <a:gd name="connsiteX1" fmla="*/ 0 w 1421744"/>
                      <a:gd name="connsiteY1" fmla="*/ 36234 h 498371"/>
                      <a:gd name="connsiteX2" fmla="*/ 528452 w 1421744"/>
                      <a:gd name="connsiteY2" fmla="*/ 423271 h 498371"/>
                      <a:gd name="connsiteX3" fmla="*/ 756211 w 1421744"/>
                      <a:gd name="connsiteY3" fmla="*/ 493977 h 498371"/>
                      <a:gd name="connsiteX4" fmla="*/ 1421744 w 1421744"/>
                      <a:gd name="connsiteY4" fmla="*/ 366683 h 498371"/>
                      <a:gd name="connsiteX5" fmla="*/ 1182508 w 1421744"/>
                      <a:gd name="connsiteY5" fmla="*/ 359759 h 498371"/>
                      <a:gd name="connsiteX6" fmla="*/ 883306 w 1421744"/>
                      <a:gd name="connsiteY6" fmla="*/ 296590 h 498371"/>
                      <a:gd name="connsiteX7" fmla="*/ 545681 w 1421744"/>
                      <a:gd name="connsiteY7" fmla="*/ 217049 h 498371"/>
                      <a:gd name="connsiteX8" fmla="*/ 263000 w 1421744"/>
                      <a:gd name="connsiteY8" fmla="*/ 165226 h 498371"/>
                      <a:gd name="connsiteX0" fmla="*/ 263000 w 1421744"/>
                      <a:gd name="connsiteY0" fmla="*/ 165226 h 498371"/>
                      <a:gd name="connsiteX1" fmla="*/ 0 w 1421744"/>
                      <a:gd name="connsiteY1" fmla="*/ 36234 h 498371"/>
                      <a:gd name="connsiteX2" fmla="*/ 528452 w 1421744"/>
                      <a:gd name="connsiteY2" fmla="*/ 423271 h 498371"/>
                      <a:gd name="connsiteX3" fmla="*/ 756211 w 1421744"/>
                      <a:gd name="connsiteY3" fmla="*/ 493977 h 498371"/>
                      <a:gd name="connsiteX4" fmla="*/ 1421744 w 1421744"/>
                      <a:gd name="connsiteY4" fmla="*/ 366683 h 498371"/>
                      <a:gd name="connsiteX5" fmla="*/ 1182508 w 1421744"/>
                      <a:gd name="connsiteY5" fmla="*/ 359759 h 498371"/>
                      <a:gd name="connsiteX6" fmla="*/ 883306 w 1421744"/>
                      <a:gd name="connsiteY6" fmla="*/ 296590 h 498371"/>
                      <a:gd name="connsiteX7" fmla="*/ 545681 w 1421744"/>
                      <a:gd name="connsiteY7" fmla="*/ 217049 h 498371"/>
                      <a:gd name="connsiteX8" fmla="*/ 263000 w 1421744"/>
                      <a:gd name="connsiteY8" fmla="*/ 165226 h 498371"/>
                      <a:gd name="connsiteX0" fmla="*/ 263000 w 1421744"/>
                      <a:gd name="connsiteY0" fmla="*/ 165226 h 498371"/>
                      <a:gd name="connsiteX1" fmla="*/ 0 w 1421744"/>
                      <a:gd name="connsiteY1" fmla="*/ 36234 h 498371"/>
                      <a:gd name="connsiteX2" fmla="*/ 528452 w 1421744"/>
                      <a:gd name="connsiteY2" fmla="*/ 423271 h 498371"/>
                      <a:gd name="connsiteX3" fmla="*/ 756211 w 1421744"/>
                      <a:gd name="connsiteY3" fmla="*/ 493977 h 498371"/>
                      <a:gd name="connsiteX4" fmla="*/ 1421744 w 1421744"/>
                      <a:gd name="connsiteY4" fmla="*/ 366683 h 498371"/>
                      <a:gd name="connsiteX5" fmla="*/ 1182508 w 1421744"/>
                      <a:gd name="connsiteY5" fmla="*/ 359759 h 498371"/>
                      <a:gd name="connsiteX6" fmla="*/ 883306 w 1421744"/>
                      <a:gd name="connsiteY6" fmla="*/ 296590 h 498371"/>
                      <a:gd name="connsiteX7" fmla="*/ 545681 w 1421744"/>
                      <a:gd name="connsiteY7" fmla="*/ 217049 h 498371"/>
                      <a:gd name="connsiteX8" fmla="*/ 263000 w 1421744"/>
                      <a:gd name="connsiteY8" fmla="*/ 165226 h 498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1744" h="498371">
                        <a:moveTo>
                          <a:pt x="263000" y="165226"/>
                        </a:moveTo>
                        <a:cubicBezTo>
                          <a:pt x="83931" y="95812"/>
                          <a:pt x="44974" y="0"/>
                          <a:pt x="0" y="36234"/>
                        </a:cubicBezTo>
                        <a:cubicBezTo>
                          <a:pt x="17739" y="90705"/>
                          <a:pt x="403921" y="368115"/>
                          <a:pt x="528452" y="423271"/>
                        </a:cubicBezTo>
                        <a:cubicBezTo>
                          <a:pt x="589272" y="467392"/>
                          <a:pt x="668662" y="498371"/>
                          <a:pt x="756211" y="493977"/>
                        </a:cubicBezTo>
                        <a:cubicBezTo>
                          <a:pt x="993978" y="462365"/>
                          <a:pt x="1176306" y="455398"/>
                          <a:pt x="1421744" y="366683"/>
                        </a:cubicBezTo>
                        <a:cubicBezTo>
                          <a:pt x="1408142" y="319622"/>
                          <a:pt x="1314519" y="372067"/>
                          <a:pt x="1182508" y="359759"/>
                        </a:cubicBezTo>
                        <a:cubicBezTo>
                          <a:pt x="837913" y="279663"/>
                          <a:pt x="1034087" y="296590"/>
                          <a:pt x="883306" y="296590"/>
                        </a:cubicBezTo>
                        <a:cubicBezTo>
                          <a:pt x="672423" y="359402"/>
                          <a:pt x="658223" y="243563"/>
                          <a:pt x="545681" y="217049"/>
                        </a:cubicBezTo>
                        <a:cubicBezTo>
                          <a:pt x="450176" y="209292"/>
                          <a:pt x="382824" y="187575"/>
                          <a:pt x="263000" y="16522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709" name="Freeform 320">
                    <a:extLst>
                      <a:ext uri="{FF2B5EF4-FFF2-40B4-BE49-F238E27FC236}">
                        <a16:creationId xmlns:a16="http://schemas.microsoft.com/office/drawing/2014/main" id="{E091AAF6-918F-4C19-B6D1-E4E7A534A36C}"/>
                      </a:ext>
                    </a:extLst>
                  </p:cNvPr>
                  <p:cNvSpPr/>
                  <p:nvPr/>
                </p:nvSpPr>
                <p:spPr>
                  <a:xfrm rot="21191412">
                    <a:off x="3253550" y="812946"/>
                    <a:ext cx="1099557" cy="562654"/>
                  </a:xfrm>
                  <a:custGeom>
                    <a:avLst/>
                    <a:gdLst>
                      <a:gd name="connsiteX0" fmla="*/ 19050 w 1085850"/>
                      <a:gd name="connsiteY0" fmla="*/ 0 h 432738"/>
                      <a:gd name="connsiteX1" fmla="*/ 371475 w 1085850"/>
                      <a:gd name="connsiteY1" fmla="*/ 95250 h 432738"/>
                      <a:gd name="connsiteX2" fmla="*/ 571500 w 1085850"/>
                      <a:gd name="connsiteY2" fmla="*/ 200025 h 432738"/>
                      <a:gd name="connsiteX3" fmla="*/ 885825 w 1085850"/>
                      <a:gd name="connsiteY3" fmla="*/ 190500 h 432738"/>
                      <a:gd name="connsiteX4" fmla="*/ 923925 w 1085850"/>
                      <a:gd name="connsiteY4" fmla="*/ 209550 h 432738"/>
                      <a:gd name="connsiteX5" fmla="*/ 933450 w 1085850"/>
                      <a:gd name="connsiteY5" fmla="*/ 209550 h 432738"/>
                      <a:gd name="connsiteX6" fmla="*/ 1085850 w 1085850"/>
                      <a:gd name="connsiteY6" fmla="*/ 266700 h 432738"/>
                      <a:gd name="connsiteX7" fmla="*/ 876300 w 1085850"/>
                      <a:gd name="connsiteY7" fmla="*/ 428625 h 432738"/>
                      <a:gd name="connsiteX8" fmla="*/ 495300 w 1085850"/>
                      <a:gd name="connsiteY8" fmla="*/ 371475 h 432738"/>
                      <a:gd name="connsiteX9" fmla="*/ 76200 w 1085850"/>
                      <a:gd name="connsiteY9" fmla="*/ 209550 h 432738"/>
                      <a:gd name="connsiteX10" fmla="*/ 0 w 1085850"/>
                      <a:gd name="connsiteY10" fmla="*/ 95250 h 432738"/>
                      <a:gd name="connsiteX11" fmla="*/ 19050 w 1085850"/>
                      <a:gd name="connsiteY11" fmla="*/ 0 h 432738"/>
                      <a:gd name="connsiteX0" fmla="*/ 19050 w 1085850"/>
                      <a:gd name="connsiteY0" fmla="*/ 0 h 432738"/>
                      <a:gd name="connsiteX1" fmla="*/ 371475 w 1085850"/>
                      <a:gd name="connsiteY1" fmla="*/ 95250 h 432738"/>
                      <a:gd name="connsiteX2" fmla="*/ 571500 w 1085850"/>
                      <a:gd name="connsiteY2" fmla="*/ 200025 h 432738"/>
                      <a:gd name="connsiteX3" fmla="*/ 885825 w 1085850"/>
                      <a:gd name="connsiteY3" fmla="*/ 190500 h 432738"/>
                      <a:gd name="connsiteX4" fmla="*/ 923925 w 1085850"/>
                      <a:gd name="connsiteY4" fmla="*/ 209550 h 432738"/>
                      <a:gd name="connsiteX5" fmla="*/ 933450 w 1085850"/>
                      <a:gd name="connsiteY5" fmla="*/ 209550 h 432738"/>
                      <a:gd name="connsiteX6" fmla="*/ 1085850 w 1085850"/>
                      <a:gd name="connsiteY6" fmla="*/ 266700 h 432738"/>
                      <a:gd name="connsiteX7" fmla="*/ 876300 w 1085850"/>
                      <a:gd name="connsiteY7" fmla="*/ 428625 h 432738"/>
                      <a:gd name="connsiteX8" fmla="*/ 495300 w 1085850"/>
                      <a:gd name="connsiteY8" fmla="*/ 371475 h 432738"/>
                      <a:gd name="connsiteX9" fmla="*/ 76200 w 1085850"/>
                      <a:gd name="connsiteY9" fmla="*/ 209550 h 432738"/>
                      <a:gd name="connsiteX10" fmla="*/ 0 w 1085850"/>
                      <a:gd name="connsiteY10" fmla="*/ 95250 h 432738"/>
                      <a:gd name="connsiteX11" fmla="*/ 19050 w 1085850"/>
                      <a:gd name="connsiteY11" fmla="*/ 0 h 432738"/>
                      <a:gd name="connsiteX0" fmla="*/ 19050 w 1085850"/>
                      <a:gd name="connsiteY0" fmla="*/ 0 h 432738"/>
                      <a:gd name="connsiteX1" fmla="*/ 371475 w 1085850"/>
                      <a:gd name="connsiteY1" fmla="*/ 95250 h 432738"/>
                      <a:gd name="connsiteX2" fmla="*/ 571500 w 1085850"/>
                      <a:gd name="connsiteY2" fmla="*/ 200025 h 432738"/>
                      <a:gd name="connsiteX3" fmla="*/ 885825 w 1085850"/>
                      <a:gd name="connsiteY3" fmla="*/ 190500 h 432738"/>
                      <a:gd name="connsiteX4" fmla="*/ 923925 w 1085850"/>
                      <a:gd name="connsiteY4" fmla="*/ 209550 h 432738"/>
                      <a:gd name="connsiteX5" fmla="*/ 933450 w 1085850"/>
                      <a:gd name="connsiteY5" fmla="*/ 209550 h 432738"/>
                      <a:gd name="connsiteX6" fmla="*/ 1085850 w 1085850"/>
                      <a:gd name="connsiteY6" fmla="*/ 266700 h 432738"/>
                      <a:gd name="connsiteX7" fmla="*/ 876300 w 1085850"/>
                      <a:gd name="connsiteY7" fmla="*/ 428625 h 432738"/>
                      <a:gd name="connsiteX8" fmla="*/ 495300 w 1085850"/>
                      <a:gd name="connsiteY8" fmla="*/ 371475 h 432738"/>
                      <a:gd name="connsiteX9" fmla="*/ 76200 w 1085850"/>
                      <a:gd name="connsiteY9" fmla="*/ 209550 h 432738"/>
                      <a:gd name="connsiteX10" fmla="*/ 0 w 1085850"/>
                      <a:gd name="connsiteY10" fmla="*/ 95250 h 432738"/>
                      <a:gd name="connsiteX11" fmla="*/ 19050 w 1085850"/>
                      <a:gd name="connsiteY11" fmla="*/ 0 h 432738"/>
                      <a:gd name="connsiteX0" fmla="*/ 19050 w 1085850"/>
                      <a:gd name="connsiteY0" fmla="*/ 0 h 453754"/>
                      <a:gd name="connsiteX1" fmla="*/ 371475 w 1085850"/>
                      <a:gd name="connsiteY1" fmla="*/ 95250 h 453754"/>
                      <a:gd name="connsiteX2" fmla="*/ 571500 w 1085850"/>
                      <a:gd name="connsiteY2" fmla="*/ 200025 h 453754"/>
                      <a:gd name="connsiteX3" fmla="*/ 885825 w 1085850"/>
                      <a:gd name="connsiteY3" fmla="*/ 190500 h 453754"/>
                      <a:gd name="connsiteX4" fmla="*/ 923925 w 1085850"/>
                      <a:gd name="connsiteY4" fmla="*/ 209550 h 453754"/>
                      <a:gd name="connsiteX5" fmla="*/ 933450 w 1085850"/>
                      <a:gd name="connsiteY5" fmla="*/ 209550 h 453754"/>
                      <a:gd name="connsiteX6" fmla="*/ 1085850 w 1085850"/>
                      <a:gd name="connsiteY6" fmla="*/ 266700 h 453754"/>
                      <a:gd name="connsiteX7" fmla="*/ 876300 w 1085850"/>
                      <a:gd name="connsiteY7" fmla="*/ 428625 h 453754"/>
                      <a:gd name="connsiteX8" fmla="*/ 485572 w 1085850"/>
                      <a:gd name="connsiteY8" fmla="*/ 395794 h 453754"/>
                      <a:gd name="connsiteX9" fmla="*/ 76200 w 1085850"/>
                      <a:gd name="connsiteY9" fmla="*/ 209550 h 453754"/>
                      <a:gd name="connsiteX10" fmla="*/ 0 w 1085850"/>
                      <a:gd name="connsiteY10" fmla="*/ 95250 h 453754"/>
                      <a:gd name="connsiteX11" fmla="*/ 19050 w 1085850"/>
                      <a:gd name="connsiteY11" fmla="*/ 0 h 453754"/>
                      <a:gd name="connsiteX0" fmla="*/ 19050 w 1085850"/>
                      <a:gd name="connsiteY0" fmla="*/ 0 h 405319"/>
                      <a:gd name="connsiteX1" fmla="*/ 371475 w 1085850"/>
                      <a:gd name="connsiteY1" fmla="*/ 95250 h 405319"/>
                      <a:gd name="connsiteX2" fmla="*/ 571500 w 1085850"/>
                      <a:gd name="connsiteY2" fmla="*/ 200025 h 405319"/>
                      <a:gd name="connsiteX3" fmla="*/ 885825 w 1085850"/>
                      <a:gd name="connsiteY3" fmla="*/ 190500 h 405319"/>
                      <a:gd name="connsiteX4" fmla="*/ 923925 w 1085850"/>
                      <a:gd name="connsiteY4" fmla="*/ 209550 h 405319"/>
                      <a:gd name="connsiteX5" fmla="*/ 933450 w 1085850"/>
                      <a:gd name="connsiteY5" fmla="*/ 209550 h 405319"/>
                      <a:gd name="connsiteX6" fmla="*/ 1085850 w 1085850"/>
                      <a:gd name="connsiteY6" fmla="*/ 266700 h 405319"/>
                      <a:gd name="connsiteX7" fmla="*/ 485572 w 1085850"/>
                      <a:gd name="connsiteY7" fmla="*/ 395794 h 405319"/>
                      <a:gd name="connsiteX8" fmla="*/ 76200 w 1085850"/>
                      <a:gd name="connsiteY8" fmla="*/ 209550 h 405319"/>
                      <a:gd name="connsiteX9" fmla="*/ 0 w 1085850"/>
                      <a:gd name="connsiteY9" fmla="*/ 95250 h 405319"/>
                      <a:gd name="connsiteX10" fmla="*/ 19050 w 1085850"/>
                      <a:gd name="connsiteY10" fmla="*/ 0 h 405319"/>
                      <a:gd name="connsiteX0" fmla="*/ 19050 w 1085850"/>
                      <a:gd name="connsiteY0" fmla="*/ 0 h 434502"/>
                      <a:gd name="connsiteX1" fmla="*/ 371475 w 1085850"/>
                      <a:gd name="connsiteY1" fmla="*/ 95250 h 434502"/>
                      <a:gd name="connsiteX2" fmla="*/ 571500 w 1085850"/>
                      <a:gd name="connsiteY2" fmla="*/ 200025 h 434502"/>
                      <a:gd name="connsiteX3" fmla="*/ 885825 w 1085850"/>
                      <a:gd name="connsiteY3" fmla="*/ 190500 h 434502"/>
                      <a:gd name="connsiteX4" fmla="*/ 923925 w 1085850"/>
                      <a:gd name="connsiteY4" fmla="*/ 209550 h 434502"/>
                      <a:gd name="connsiteX5" fmla="*/ 933450 w 1085850"/>
                      <a:gd name="connsiteY5" fmla="*/ 209550 h 434502"/>
                      <a:gd name="connsiteX6" fmla="*/ 1085850 w 1085850"/>
                      <a:gd name="connsiteY6" fmla="*/ 266700 h 434502"/>
                      <a:gd name="connsiteX7" fmla="*/ 743355 w 1085850"/>
                      <a:gd name="connsiteY7" fmla="*/ 424977 h 434502"/>
                      <a:gd name="connsiteX8" fmla="*/ 76200 w 1085850"/>
                      <a:gd name="connsiteY8" fmla="*/ 209550 h 434502"/>
                      <a:gd name="connsiteX9" fmla="*/ 0 w 1085850"/>
                      <a:gd name="connsiteY9" fmla="*/ 95250 h 434502"/>
                      <a:gd name="connsiteX10" fmla="*/ 19050 w 1085850"/>
                      <a:gd name="connsiteY10" fmla="*/ 0 h 434502"/>
                      <a:gd name="connsiteX0" fmla="*/ 19050 w 1085850"/>
                      <a:gd name="connsiteY0" fmla="*/ 0 h 434502"/>
                      <a:gd name="connsiteX1" fmla="*/ 371475 w 1085850"/>
                      <a:gd name="connsiteY1" fmla="*/ 95250 h 434502"/>
                      <a:gd name="connsiteX2" fmla="*/ 571500 w 1085850"/>
                      <a:gd name="connsiteY2" fmla="*/ 200025 h 434502"/>
                      <a:gd name="connsiteX3" fmla="*/ 885825 w 1085850"/>
                      <a:gd name="connsiteY3" fmla="*/ 190500 h 434502"/>
                      <a:gd name="connsiteX4" fmla="*/ 923925 w 1085850"/>
                      <a:gd name="connsiteY4" fmla="*/ 209550 h 434502"/>
                      <a:gd name="connsiteX5" fmla="*/ 933450 w 1085850"/>
                      <a:gd name="connsiteY5" fmla="*/ 209550 h 434502"/>
                      <a:gd name="connsiteX6" fmla="*/ 1085850 w 1085850"/>
                      <a:gd name="connsiteY6" fmla="*/ 266700 h 434502"/>
                      <a:gd name="connsiteX7" fmla="*/ 743355 w 1085850"/>
                      <a:gd name="connsiteY7" fmla="*/ 424977 h 434502"/>
                      <a:gd name="connsiteX8" fmla="*/ 76200 w 1085850"/>
                      <a:gd name="connsiteY8" fmla="*/ 209550 h 434502"/>
                      <a:gd name="connsiteX9" fmla="*/ 0 w 1085850"/>
                      <a:gd name="connsiteY9" fmla="*/ 95250 h 434502"/>
                      <a:gd name="connsiteX10" fmla="*/ 19050 w 1085850"/>
                      <a:gd name="connsiteY10" fmla="*/ 0 h 434502"/>
                      <a:gd name="connsiteX0" fmla="*/ 19050 w 1212310"/>
                      <a:gd name="connsiteY0" fmla="*/ 0 h 434502"/>
                      <a:gd name="connsiteX1" fmla="*/ 371475 w 1212310"/>
                      <a:gd name="connsiteY1" fmla="*/ 95250 h 434502"/>
                      <a:gd name="connsiteX2" fmla="*/ 571500 w 1212310"/>
                      <a:gd name="connsiteY2" fmla="*/ 200025 h 434502"/>
                      <a:gd name="connsiteX3" fmla="*/ 885825 w 1212310"/>
                      <a:gd name="connsiteY3" fmla="*/ 190500 h 434502"/>
                      <a:gd name="connsiteX4" fmla="*/ 923925 w 1212310"/>
                      <a:gd name="connsiteY4" fmla="*/ 209550 h 434502"/>
                      <a:gd name="connsiteX5" fmla="*/ 933450 w 1212310"/>
                      <a:gd name="connsiteY5" fmla="*/ 209550 h 434502"/>
                      <a:gd name="connsiteX6" fmla="*/ 1212310 w 1212310"/>
                      <a:gd name="connsiteY6" fmla="*/ 218062 h 434502"/>
                      <a:gd name="connsiteX7" fmla="*/ 743355 w 1212310"/>
                      <a:gd name="connsiteY7" fmla="*/ 424977 h 434502"/>
                      <a:gd name="connsiteX8" fmla="*/ 76200 w 1212310"/>
                      <a:gd name="connsiteY8" fmla="*/ 209550 h 434502"/>
                      <a:gd name="connsiteX9" fmla="*/ 0 w 1212310"/>
                      <a:gd name="connsiteY9" fmla="*/ 95250 h 434502"/>
                      <a:gd name="connsiteX10" fmla="*/ 19050 w 1212310"/>
                      <a:gd name="connsiteY10" fmla="*/ 0 h 434502"/>
                      <a:gd name="connsiteX0" fmla="*/ 19050 w 1212310"/>
                      <a:gd name="connsiteY0" fmla="*/ 0 h 434502"/>
                      <a:gd name="connsiteX1" fmla="*/ 371475 w 1212310"/>
                      <a:gd name="connsiteY1" fmla="*/ 95250 h 434502"/>
                      <a:gd name="connsiteX2" fmla="*/ 571500 w 1212310"/>
                      <a:gd name="connsiteY2" fmla="*/ 200025 h 434502"/>
                      <a:gd name="connsiteX3" fmla="*/ 923925 w 1212310"/>
                      <a:gd name="connsiteY3" fmla="*/ 209550 h 434502"/>
                      <a:gd name="connsiteX4" fmla="*/ 933450 w 1212310"/>
                      <a:gd name="connsiteY4" fmla="*/ 209550 h 434502"/>
                      <a:gd name="connsiteX5" fmla="*/ 1212310 w 1212310"/>
                      <a:gd name="connsiteY5" fmla="*/ 218062 h 434502"/>
                      <a:gd name="connsiteX6" fmla="*/ 743355 w 1212310"/>
                      <a:gd name="connsiteY6" fmla="*/ 424977 h 434502"/>
                      <a:gd name="connsiteX7" fmla="*/ 76200 w 1212310"/>
                      <a:gd name="connsiteY7" fmla="*/ 209550 h 434502"/>
                      <a:gd name="connsiteX8" fmla="*/ 0 w 1212310"/>
                      <a:gd name="connsiteY8" fmla="*/ 95250 h 434502"/>
                      <a:gd name="connsiteX9" fmla="*/ 19050 w 1212310"/>
                      <a:gd name="connsiteY9" fmla="*/ 0 h 434502"/>
                      <a:gd name="connsiteX0" fmla="*/ 19050 w 1242405"/>
                      <a:gd name="connsiteY0" fmla="*/ 0 h 434502"/>
                      <a:gd name="connsiteX1" fmla="*/ 371475 w 1242405"/>
                      <a:gd name="connsiteY1" fmla="*/ 95250 h 434502"/>
                      <a:gd name="connsiteX2" fmla="*/ 571500 w 1242405"/>
                      <a:gd name="connsiteY2" fmla="*/ 200025 h 434502"/>
                      <a:gd name="connsiteX3" fmla="*/ 923925 w 1242405"/>
                      <a:gd name="connsiteY3" fmla="*/ 209550 h 434502"/>
                      <a:gd name="connsiteX4" fmla="*/ 1212310 w 1242405"/>
                      <a:gd name="connsiteY4" fmla="*/ 218062 h 434502"/>
                      <a:gd name="connsiteX5" fmla="*/ 743355 w 1242405"/>
                      <a:gd name="connsiteY5" fmla="*/ 424977 h 434502"/>
                      <a:gd name="connsiteX6" fmla="*/ 76200 w 1242405"/>
                      <a:gd name="connsiteY6" fmla="*/ 209550 h 434502"/>
                      <a:gd name="connsiteX7" fmla="*/ 0 w 1242405"/>
                      <a:gd name="connsiteY7" fmla="*/ 95250 h 434502"/>
                      <a:gd name="connsiteX8" fmla="*/ 19050 w 1242405"/>
                      <a:gd name="connsiteY8" fmla="*/ 0 h 434502"/>
                      <a:gd name="connsiteX0" fmla="*/ 19050 w 1242405"/>
                      <a:gd name="connsiteY0" fmla="*/ 0 h 434502"/>
                      <a:gd name="connsiteX1" fmla="*/ 371475 w 1242405"/>
                      <a:gd name="connsiteY1" fmla="*/ 95250 h 434502"/>
                      <a:gd name="connsiteX2" fmla="*/ 571500 w 1242405"/>
                      <a:gd name="connsiteY2" fmla="*/ 200025 h 434502"/>
                      <a:gd name="connsiteX3" fmla="*/ 967699 w 1242405"/>
                      <a:gd name="connsiteY3" fmla="*/ 233869 h 434502"/>
                      <a:gd name="connsiteX4" fmla="*/ 1212310 w 1242405"/>
                      <a:gd name="connsiteY4" fmla="*/ 218062 h 434502"/>
                      <a:gd name="connsiteX5" fmla="*/ 743355 w 1242405"/>
                      <a:gd name="connsiteY5" fmla="*/ 424977 h 434502"/>
                      <a:gd name="connsiteX6" fmla="*/ 76200 w 1242405"/>
                      <a:gd name="connsiteY6" fmla="*/ 209550 h 434502"/>
                      <a:gd name="connsiteX7" fmla="*/ 0 w 1242405"/>
                      <a:gd name="connsiteY7" fmla="*/ 95250 h 434502"/>
                      <a:gd name="connsiteX8" fmla="*/ 19050 w 1242405"/>
                      <a:gd name="connsiteY8" fmla="*/ 0 h 434502"/>
                      <a:gd name="connsiteX0" fmla="*/ 19050 w 1242405"/>
                      <a:gd name="connsiteY0" fmla="*/ 0 h 449093"/>
                      <a:gd name="connsiteX1" fmla="*/ 371475 w 1242405"/>
                      <a:gd name="connsiteY1" fmla="*/ 95250 h 449093"/>
                      <a:gd name="connsiteX2" fmla="*/ 571500 w 1242405"/>
                      <a:gd name="connsiteY2" fmla="*/ 200025 h 449093"/>
                      <a:gd name="connsiteX3" fmla="*/ 967699 w 1242405"/>
                      <a:gd name="connsiteY3" fmla="*/ 233869 h 449093"/>
                      <a:gd name="connsiteX4" fmla="*/ 1212310 w 1242405"/>
                      <a:gd name="connsiteY4" fmla="*/ 218062 h 449093"/>
                      <a:gd name="connsiteX5" fmla="*/ 796857 w 1242405"/>
                      <a:gd name="connsiteY5" fmla="*/ 439568 h 449093"/>
                      <a:gd name="connsiteX6" fmla="*/ 76200 w 1242405"/>
                      <a:gd name="connsiteY6" fmla="*/ 209550 h 449093"/>
                      <a:gd name="connsiteX7" fmla="*/ 0 w 1242405"/>
                      <a:gd name="connsiteY7" fmla="*/ 95250 h 449093"/>
                      <a:gd name="connsiteX8" fmla="*/ 19050 w 1242405"/>
                      <a:gd name="connsiteY8" fmla="*/ 0 h 449093"/>
                      <a:gd name="connsiteX0" fmla="*/ 19050 w 1242405"/>
                      <a:gd name="connsiteY0" fmla="*/ 0 h 449093"/>
                      <a:gd name="connsiteX1" fmla="*/ 371475 w 1242405"/>
                      <a:gd name="connsiteY1" fmla="*/ 95250 h 449093"/>
                      <a:gd name="connsiteX2" fmla="*/ 571500 w 1242405"/>
                      <a:gd name="connsiteY2" fmla="*/ 200025 h 449093"/>
                      <a:gd name="connsiteX3" fmla="*/ 967699 w 1242405"/>
                      <a:gd name="connsiteY3" fmla="*/ 233869 h 449093"/>
                      <a:gd name="connsiteX4" fmla="*/ 1212310 w 1242405"/>
                      <a:gd name="connsiteY4" fmla="*/ 218062 h 449093"/>
                      <a:gd name="connsiteX5" fmla="*/ 796857 w 1242405"/>
                      <a:gd name="connsiteY5" fmla="*/ 439568 h 449093"/>
                      <a:gd name="connsiteX6" fmla="*/ 76200 w 1242405"/>
                      <a:gd name="connsiteY6" fmla="*/ 209550 h 449093"/>
                      <a:gd name="connsiteX7" fmla="*/ 0 w 1242405"/>
                      <a:gd name="connsiteY7" fmla="*/ 95250 h 449093"/>
                      <a:gd name="connsiteX8" fmla="*/ 19050 w 1242405"/>
                      <a:gd name="connsiteY8" fmla="*/ 0 h 449093"/>
                      <a:gd name="connsiteX0" fmla="*/ 19050 w 1242405"/>
                      <a:gd name="connsiteY0" fmla="*/ 0 h 449093"/>
                      <a:gd name="connsiteX1" fmla="*/ 371475 w 1242405"/>
                      <a:gd name="connsiteY1" fmla="*/ 95250 h 449093"/>
                      <a:gd name="connsiteX2" fmla="*/ 571500 w 1242405"/>
                      <a:gd name="connsiteY2" fmla="*/ 200025 h 449093"/>
                      <a:gd name="connsiteX3" fmla="*/ 967699 w 1242405"/>
                      <a:gd name="connsiteY3" fmla="*/ 233869 h 449093"/>
                      <a:gd name="connsiteX4" fmla="*/ 1212310 w 1242405"/>
                      <a:gd name="connsiteY4" fmla="*/ 218062 h 449093"/>
                      <a:gd name="connsiteX5" fmla="*/ 796857 w 1242405"/>
                      <a:gd name="connsiteY5" fmla="*/ 439568 h 449093"/>
                      <a:gd name="connsiteX6" fmla="*/ 202660 w 1242405"/>
                      <a:gd name="connsiteY6" fmla="*/ 306827 h 449093"/>
                      <a:gd name="connsiteX7" fmla="*/ 0 w 1242405"/>
                      <a:gd name="connsiteY7" fmla="*/ 95250 h 449093"/>
                      <a:gd name="connsiteX8" fmla="*/ 19050 w 1242405"/>
                      <a:gd name="connsiteY8" fmla="*/ 0 h 449093"/>
                      <a:gd name="connsiteX0" fmla="*/ 0 w 1223355"/>
                      <a:gd name="connsiteY0" fmla="*/ 0 h 449093"/>
                      <a:gd name="connsiteX1" fmla="*/ 352425 w 1223355"/>
                      <a:gd name="connsiteY1" fmla="*/ 95250 h 449093"/>
                      <a:gd name="connsiteX2" fmla="*/ 552450 w 1223355"/>
                      <a:gd name="connsiteY2" fmla="*/ 200025 h 449093"/>
                      <a:gd name="connsiteX3" fmla="*/ 948649 w 1223355"/>
                      <a:gd name="connsiteY3" fmla="*/ 233869 h 449093"/>
                      <a:gd name="connsiteX4" fmla="*/ 1193260 w 1223355"/>
                      <a:gd name="connsiteY4" fmla="*/ 218062 h 449093"/>
                      <a:gd name="connsiteX5" fmla="*/ 777807 w 1223355"/>
                      <a:gd name="connsiteY5" fmla="*/ 439568 h 449093"/>
                      <a:gd name="connsiteX6" fmla="*/ 183610 w 1223355"/>
                      <a:gd name="connsiteY6" fmla="*/ 306827 h 449093"/>
                      <a:gd name="connsiteX7" fmla="*/ 0 w 1223355"/>
                      <a:gd name="connsiteY7" fmla="*/ 0 h 449093"/>
                      <a:gd name="connsiteX0" fmla="*/ 0 w 1286585"/>
                      <a:gd name="connsiteY0" fmla="*/ 0 h 522050"/>
                      <a:gd name="connsiteX1" fmla="*/ 415655 w 1286585"/>
                      <a:gd name="connsiteY1" fmla="*/ 168207 h 522050"/>
                      <a:gd name="connsiteX2" fmla="*/ 615680 w 1286585"/>
                      <a:gd name="connsiteY2" fmla="*/ 272982 h 522050"/>
                      <a:gd name="connsiteX3" fmla="*/ 1011879 w 1286585"/>
                      <a:gd name="connsiteY3" fmla="*/ 306826 h 522050"/>
                      <a:gd name="connsiteX4" fmla="*/ 1256490 w 1286585"/>
                      <a:gd name="connsiteY4" fmla="*/ 291019 h 522050"/>
                      <a:gd name="connsiteX5" fmla="*/ 841037 w 1286585"/>
                      <a:gd name="connsiteY5" fmla="*/ 512525 h 522050"/>
                      <a:gd name="connsiteX6" fmla="*/ 246840 w 1286585"/>
                      <a:gd name="connsiteY6" fmla="*/ 379784 h 522050"/>
                      <a:gd name="connsiteX7" fmla="*/ 0 w 1286585"/>
                      <a:gd name="connsiteY7" fmla="*/ 0 h 522050"/>
                      <a:gd name="connsiteX0" fmla="*/ 0 w 1286585"/>
                      <a:gd name="connsiteY0" fmla="*/ 0 h 522050"/>
                      <a:gd name="connsiteX1" fmla="*/ 415655 w 1286585"/>
                      <a:gd name="connsiteY1" fmla="*/ 168207 h 522050"/>
                      <a:gd name="connsiteX2" fmla="*/ 615680 w 1286585"/>
                      <a:gd name="connsiteY2" fmla="*/ 272982 h 522050"/>
                      <a:gd name="connsiteX3" fmla="*/ 1011879 w 1286585"/>
                      <a:gd name="connsiteY3" fmla="*/ 306826 h 522050"/>
                      <a:gd name="connsiteX4" fmla="*/ 1256490 w 1286585"/>
                      <a:gd name="connsiteY4" fmla="*/ 291019 h 522050"/>
                      <a:gd name="connsiteX5" fmla="*/ 841037 w 1286585"/>
                      <a:gd name="connsiteY5" fmla="*/ 512525 h 522050"/>
                      <a:gd name="connsiteX6" fmla="*/ 246840 w 1286585"/>
                      <a:gd name="connsiteY6" fmla="*/ 379784 h 522050"/>
                      <a:gd name="connsiteX7" fmla="*/ 0 w 1286585"/>
                      <a:gd name="connsiteY7" fmla="*/ 0 h 522050"/>
                      <a:gd name="connsiteX0" fmla="*/ 0 w 1286585"/>
                      <a:gd name="connsiteY0" fmla="*/ 0 h 522050"/>
                      <a:gd name="connsiteX1" fmla="*/ 415655 w 1286585"/>
                      <a:gd name="connsiteY1" fmla="*/ 168207 h 522050"/>
                      <a:gd name="connsiteX2" fmla="*/ 615680 w 1286585"/>
                      <a:gd name="connsiteY2" fmla="*/ 272982 h 522050"/>
                      <a:gd name="connsiteX3" fmla="*/ 1011879 w 1286585"/>
                      <a:gd name="connsiteY3" fmla="*/ 306826 h 522050"/>
                      <a:gd name="connsiteX4" fmla="*/ 1256490 w 1286585"/>
                      <a:gd name="connsiteY4" fmla="*/ 291019 h 522050"/>
                      <a:gd name="connsiteX5" fmla="*/ 841037 w 1286585"/>
                      <a:gd name="connsiteY5" fmla="*/ 512525 h 522050"/>
                      <a:gd name="connsiteX6" fmla="*/ 246840 w 1286585"/>
                      <a:gd name="connsiteY6" fmla="*/ 379784 h 522050"/>
                      <a:gd name="connsiteX7" fmla="*/ 0 w 1286585"/>
                      <a:gd name="connsiteY7" fmla="*/ 0 h 522050"/>
                      <a:gd name="connsiteX0" fmla="*/ 0 w 1286585"/>
                      <a:gd name="connsiteY0" fmla="*/ 0 h 522050"/>
                      <a:gd name="connsiteX1" fmla="*/ 415655 w 1286585"/>
                      <a:gd name="connsiteY1" fmla="*/ 168207 h 522050"/>
                      <a:gd name="connsiteX2" fmla="*/ 615680 w 1286585"/>
                      <a:gd name="connsiteY2" fmla="*/ 272982 h 522050"/>
                      <a:gd name="connsiteX3" fmla="*/ 1011879 w 1286585"/>
                      <a:gd name="connsiteY3" fmla="*/ 306826 h 522050"/>
                      <a:gd name="connsiteX4" fmla="*/ 1256490 w 1286585"/>
                      <a:gd name="connsiteY4" fmla="*/ 291019 h 522050"/>
                      <a:gd name="connsiteX5" fmla="*/ 841037 w 1286585"/>
                      <a:gd name="connsiteY5" fmla="*/ 512525 h 522050"/>
                      <a:gd name="connsiteX6" fmla="*/ 246840 w 1286585"/>
                      <a:gd name="connsiteY6" fmla="*/ 379784 h 522050"/>
                      <a:gd name="connsiteX7" fmla="*/ 0 w 1286585"/>
                      <a:gd name="connsiteY7" fmla="*/ 0 h 522050"/>
                      <a:gd name="connsiteX0" fmla="*/ 0 w 1310905"/>
                      <a:gd name="connsiteY0" fmla="*/ 0 h 522050"/>
                      <a:gd name="connsiteX1" fmla="*/ 439975 w 1310905"/>
                      <a:gd name="connsiteY1" fmla="*/ 168207 h 522050"/>
                      <a:gd name="connsiteX2" fmla="*/ 640000 w 1310905"/>
                      <a:gd name="connsiteY2" fmla="*/ 272982 h 522050"/>
                      <a:gd name="connsiteX3" fmla="*/ 1036199 w 1310905"/>
                      <a:gd name="connsiteY3" fmla="*/ 306826 h 522050"/>
                      <a:gd name="connsiteX4" fmla="*/ 1280810 w 1310905"/>
                      <a:gd name="connsiteY4" fmla="*/ 291019 h 522050"/>
                      <a:gd name="connsiteX5" fmla="*/ 865357 w 1310905"/>
                      <a:gd name="connsiteY5" fmla="*/ 512525 h 522050"/>
                      <a:gd name="connsiteX6" fmla="*/ 271160 w 1310905"/>
                      <a:gd name="connsiteY6" fmla="*/ 379784 h 522050"/>
                      <a:gd name="connsiteX7" fmla="*/ 0 w 1310905"/>
                      <a:gd name="connsiteY7" fmla="*/ 0 h 522050"/>
                      <a:gd name="connsiteX0" fmla="*/ 0 w 1296313"/>
                      <a:gd name="connsiteY0" fmla="*/ 0 h 531778"/>
                      <a:gd name="connsiteX1" fmla="*/ 425383 w 1296313"/>
                      <a:gd name="connsiteY1" fmla="*/ 177935 h 531778"/>
                      <a:gd name="connsiteX2" fmla="*/ 625408 w 1296313"/>
                      <a:gd name="connsiteY2" fmla="*/ 282710 h 531778"/>
                      <a:gd name="connsiteX3" fmla="*/ 1021607 w 1296313"/>
                      <a:gd name="connsiteY3" fmla="*/ 316554 h 531778"/>
                      <a:gd name="connsiteX4" fmla="*/ 1266218 w 1296313"/>
                      <a:gd name="connsiteY4" fmla="*/ 300747 h 531778"/>
                      <a:gd name="connsiteX5" fmla="*/ 850765 w 1296313"/>
                      <a:gd name="connsiteY5" fmla="*/ 522253 h 531778"/>
                      <a:gd name="connsiteX6" fmla="*/ 256568 w 1296313"/>
                      <a:gd name="connsiteY6" fmla="*/ 389512 h 531778"/>
                      <a:gd name="connsiteX7" fmla="*/ 0 w 1296313"/>
                      <a:gd name="connsiteY7" fmla="*/ 0 h 531778"/>
                      <a:gd name="connsiteX0" fmla="*/ 0 w 1296313"/>
                      <a:gd name="connsiteY0" fmla="*/ 0 h 531778"/>
                      <a:gd name="connsiteX1" fmla="*/ 425383 w 1296313"/>
                      <a:gd name="connsiteY1" fmla="*/ 177935 h 531778"/>
                      <a:gd name="connsiteX2" fmla="*/ 625408 w 1296313"/>
                      <a:gd name="connsiteY2" fmla="*/ 282710 h 531778"/>
                      <a:gd name="connsiteX3" fmla="*/ 1021607 w 1296313"/>
                      <a:gd name="connsiteY3" fmla="*/ 316554 h 531778"/>
                      <a:gd name="connsiteX4" fmla="*/ 1266218 w 1296313"/>
                      <a:gd name="connsiteY4" fmla="*/ 300747 h 531778"/>
                      <a:gd name="connsiteX5" fmla="*/ 850765 w 1296313"/>
                      <a:gd name="connsiteY5" fmla="*/ 522253 h 531778"/>
                      <a:gd name="connsiteX6" fmla="*/ 256568 w 1296313"/>
                      <a:gd name="connsiteY6" fmla="*/ 389512 h 531778"/>
                      <a:gd name="connsiteX7" fmla="*/ 0 w 1296313"/>
                      <a:gd name="connsiteY7" fmla="*/ 0 h 531778"/>
                      <a:gd name="connsiteX0" fmla="*/ 0 w 1296313"/>
                      <a:gd name="connsiteY0" fmla="*/ 0 h 531778"/>
                      <a:gd name="connsiteX1" fmla="*/ 425383 w 1296313"/>
                      <a:gd name="connsiteY1" fmla="*/ 177935 h 531778"/>
                      <a:gd name="connsiteX2" fmla="*/ 625408 w 1296313"/>
                      <a:gd name="connsiteY2" fmla="*/ 282710 h 531778"/>
                      <a:gd name="connsiteX3" fmla="*/ 1021607 w 1296313"/>
                      <a:gd name="connsiteY3" fmla="*/ 316554 h 531778"/>
                      <a:gd name="connsiteX4" fmla="*/ 1266218 w 1296313"/>
                      <a:gd name="connsiteY4" fmla="*/ 300747 h 531778"/>
                      <a:gd name="connsiteX5" fmla="*/ 850765 w 1296313"/>
                      <a:gd name="connsiteY5" fmla="*/ 522253 h 531778"/>
                      <a:gd name="connsiteX6" fmla="*/ 256568 w 1296313"/>
                      <a:gd name="connsiteY6" fmla="*/ 389512 h 531778"/>
                      <a:gd name="connsiteX7" fmla="*/ 0 w 1296313"/>
                      <a:gd name="connsiteY7" fmla="*/ 0 h 531778"/>
                      <a:gd name="connsiteX0" fmla="*/ 0 w 1296313"/>
                      <a:gd name="connsiteY0" fmla="*/ 0 h 531778"/>
                      <a:gd name="connsiteX1" fmla="*/ 425383 w 1296313"/>
                      <a:gd name="connsiteY1" fmla="*/ 177935 h 531778"/>
                      <a:gd name="connsiteX2" fmla="*/ 625408 w 1296313"/>
                      <a:gd name="connsiteY2" fmla="*/ 282710 h 531778"/>
                      <a:gd name="connsiteX3" fmla="*/ 1021607 w 1296313"/>
                      <a:gd name="connsiteY3" fmla="*/ 316554 h 531778"/>
                      <a:gd name="connsiteX4" fmla="*/ 1266218 w 1296313"/>
                      <a:gd name="connsiteY4" fmla="*/ 300747 h 531778"/>
                      <a:gd name="connsiteX5" fmla="*/ 850765 w 1296313"/>
                      <a:gd name="connsiteY5" fmla="*/ 522253 h 531778"/>
                      <a:gd name="connsiteX6" fmla="*/ 266295 w 1296313"/>
                      <a:gd name="connsiteY6" fmla="*/ 365193 h 531778"/>
                      <a:gd name="connsiteX7" fmla="*/ 0 w 1296313"/>
                      <a:gd name="connsiteY7" fmla="*/ 0 h 531778"/>
                      <a:gd name="connsiteX0" fmla="*/ 0 w 1296313"/>
                      <a:gd name="connsiteY0" fmla="*/ 0 h 531778"/>
                      <a:gd name="connsiteX1" fmla="*/ 425383 w 1296313"/>
                      <a:gd name="connsiteY1" fmla="*/ 177935 h 531778"/>
                      <a:gd name="connsiteX2" fmla="*/ 625408 w 1296313"/>
                      <a:gd name="connsiteY2" fmla="*/ 282710 h 531778"/>
                      <a:gd name="connsiteX3" fmla="*/ 1021607 w 1296313"/>
                      <a:gd name="connsiteY3" fmla="*/ 316554 h 531778"/>
                      <a:gd name="connsiteX4" fmla="*/ 1266218 w 1296313"/>
                      <a:gd name="connsiteY4" fmla="*/ 300747 h 531778"/>
                      <a:gd name="connsiteX5" fmla="*/ 850765 w 1296313"/>
                      <a:gd name="connsiteY5" fmla="*/ 522253 h 531778"/>
                      <a:gd name="connsiteX6" fmla="*/ 266295 w 1296313"/>
                      <a:gd name="connsiteY6" fmla="*/ 365193 h 531778"/>
                      <a:gd name="connsiteX7" fmla="*/ 0 w 1296313"/>
                      <a:gd name="connsiteY7" fmla="*/ 0 h 531778"/>
                      <a:gd name="connsiteX0" fmla="*/ 0 w 1296313"/>
                      <a:gd name="connsiteY0" fmla="*/ 0 h 531778"/>
                      <a:gd name="connsiteX1" fmla="*/ 425383 w 1296313"/>
                      <a:gd name="connsiteY1" fmla="*/ 177935 h 531778"/>
                      <a:gd name="connsiteX2" fmla="*/ 625408 w 1296313"/>
                      <a:gd name="connsiteY2" fmla="*/ 282710 h 531778"/>
                      <a:gd name="connsiteX3" fmla="*/ 1021607 w 1296313"/>
                      <a:gd name="connsiteY3" fmla="*/ 297099 h 531778"/>
                      <a:gd name="connsiteX4" fmla="*/ 1266218 w 1296313"/>
                      <a:gd name="connsiteY4" fmla="*/ 300747 h 531778"/>
                      <a:gd name="connsiteX5" fmla="*/ 850765 w 1296313"/>
                      <a:gd name="connsiteY5" fmla="*/ 522253 h 531778"/>
                      <a:gd name="connsiteX6" fmla="*/ 266295 w 1296313"/>
                      <a:gd name="connsiteY6" fmla="*/ 365193 h 531778"/>
                      <a:gd name="connsiteX7" fmla="*/ 0 w 1296313"/>
                      <a:gd name="connsiteY7" fmla="*/ 0 h 531778"/>
                      <a:gd name="connsiteX0" fmla="*/ 0 w 1296313"/>
                      <a:gd name="connsiteY0" fmla="*/ 0 h 531778"/>
                      <a:gd name="connsiteX1" fmla="*/ 425383 w 1296313"/>
                      <a:gd name="connsiteY1" fmla="*/ 177935 h 531778"/>
                      <a:gd name="connsiteX2" fmla="*/ 625408 w 1296313"/>
                      <a:gd name="connsiteY2" fmla="*/ 282710 h 531778"/>
                      <a:gd name="connsiteX3" fmla="*/ 1021607 w 1296313"/>
                      <a:gd name="connsiteY3" fmla="*/ 297099 h 531778"/>
                      <a:gd name="connsiteX4" fmla="*/ 1266218 w 1296313"/>
                      <a:gd name="connsiteY4" fmla="*/ 300747 h 531778"/>
                      <a:gd name="connsiteX5" fmla="*/ 850765 w 1296313"/>
                      <a:gd name="connsiteY5" fmla="*/ 522253 h 531778"/>
                      <a:gd name="connsiteX6" fmla="*/ 266295 w 1296313"/>
                      <a:gd name="connsiteY6" fmla="*/ 365193 h 531778"/>
                      <a:gd name="connsiteX7" fmla="*/ 0 w 1296313"/>
                      <a:gd name="connsiteY7" fmla="*/ 0 h 531778"/>
                      <a:gd name="connsiteX0" fmla="*/ 0 w 1357685"/>
                      <a:gd name="connsiteY0" fmla="*/ 0 h 531778"/>
                      <a:gd name="connsiteX1" fmla="*/ 425383 w 1357685"/>
                      <a:gd name="connsiteY1" fmla="*/ 177935 h 531778"/>
                      <a:gd name="connsiteX2" fmla="*/ 625408 w 1357685"/>
                      <a:gd name="connsiteY2" fmla="*/ 282710 h 531778"/>
                      <a:gd name="connsiteX3" fmla="*/ 1021607 w 1357685"/>
                      <a:gd name="connsiteY3" fmla="*/ 297099 h 531778"/>
                      <a:gd name="connsiteX4" fmla="*/ 1327589 w 1357685"/>
                      <a:gd name="connsiteY4" fmla="*/ 231968 h 531778"/>
                      <a:gd name="connsiteX5" fmla="*/ 850765 w 1357685"/>
                      <a:gd name="connsiteY5" fmla="*/ 522253 h 531778"/>
                      <a:gd name="connsiteX6" fmla="*/ 266295 w 1357685"/>
                      <a:gd name="connsiteY6" fmla="*/ 365193 h 531778"/>
                      <a:gd name="connsiteX7" fmla="*/ 0 w 1357685"/>
                      <a:gd name="connsiteY7" fmla="*/ 0 h 531778"/>
                      <a:gd name="connsiteX0" fmla="*/ 0 w 1357684"/>
                      <a:gd name="connsiteY0" fmla="*/ 0 h 531778"/>
                      <a:gd name="connsiteX1" fmla="*/ 425383 w 1357684"/>
                      <a:gd name="connsiteY1" fmla="*/ 177935 h 531778"/>
                      <a:gd name="connsiteX2" fmla="*/ 625408 w 1357684"/>
                      <a:gd name="connsiteY2" fmla="*/ 282710 h 531778"/>
                      <a:gd name="connsiteX3" fmla="*/ 1021607 w 1357684"/>
                      <a:gd name="connsiteY3" fmla="*/ 297099 h 531778"/>
                      <a:gd name="connsiteX4" fmla="*/ 1327589 w 1357684"/>
                      <a:gd name="connsiteY4" fmla="*/ 231968 h 531778"/>
                      <a:gd name="connsiteX5" fmla="*/ 850765 w 1357684"/>
                      <a:gd name="connsiteY5" fmla="*/ 522253 h 531778"/>
                      <a:gd name="connsiteX6" fmla="*/ 266295 w 1357684"/>
                      <a:gd name="connsiteY6" fmla="*/ 365193 h 531778"/>
                      <a:gd name="connsiteX7" fmla="*/ 0 w 1357684"/>
                      <a:gd name="connsiteY7" fmla="*/ 0 h 531778"/>
                      <a:gd name="connsiteX0" fmla="*/ 0 w 1348671"/>
                      <a:gd name="connsiteY0" fmla="*/ 0 h 531778"/>
                      <a:gd name="connsiteX1" fmla="*/ 425383 w 1348671"/>
                      <a:gd name="connsiteY1" fmla="*/ 177935 h 531778"/>
                      <a:gd name="connsiteX2" fmla="*/ 625408 w 1348671"/>
                      <a:gd name="connsiteY2" fmla="*/ 282710 h 531778"/>
                      <a:gd name="connsiteX3" fmla="*/ 1021607 w 1348671"/>
                      <a:gd name="connsiteY3" fmla="*/ 297099 h 531778"/>
                      <a:gd name="connsiteX4" fmla="*/ 1327589 w 1348671"/>
                      <a:gd name="connsiteY4" fmla="*/ 231968 h 531778"/>
                      <a:gd name="connsiteX5" fmla="*/ 850765 w 1348671"/>
                      <a:gd name="connsiteY5" fmla="*/ 522253 h 531778"/>
                      <a:gd name="connsiteX6" fmla="*/ 266295 w 1348671"/>
                      <a:gd name="connsiteY6" fmla="*/ 365193 h 531778"/>
                      <a:gd name="connsiteX7" fmla="*/ 0 w 1348671"/>
                      <a:gd name="connsiteY7" fmla="*/ 0 h 531778"/>
                      <a:gd name="connsiteX0" fmla="*/ 0 w 1348671"/>
                      <a:gd name="connsiteY0" fmla="*/ 0 h 531778"/>
                      <a:gd name="connsiteX1" fmla="*/ 425383 w 1348671"/>
                      <a:gd name="connsiteY1" fmla="*/ 177935 h 531778"/>
                      <a:gd name="connsiteX2" fmla="*/ 625408 w 1348671"/>
                      <a:gd name="connsiteY2" fmla="*/ 282710 h 531778"/>
                      <a:gd name="connsiteX3" fmla="*/ 1021607 w 1348671"/>
                      <a:gd name="connsiteY3" fmla="*/ 297099 h 531778"/>
                      <a:gd name="connsiteX4" fmla="*/ 1327589 w 1348671"/>
                      <a:gd name="connsiteY4" fmla="*/ 231968 h 531778"/>
                      <a:gd name="connsiteX5" fmla="*/ 850765 w 1348671"/>
                      <a:gd name="connsiteY5" fmla="*/ 522253 h 531778"/>
                      <a:gd name="connsiteX6" fmla="*/ 266295 w 1348671"/>
                      <a:gd name="connsiteY6" fmla="*/ 365193 h 531778"/>
                      <a:gd name="connsiteX7" fmla="*/ 0 w 1348671"/>
                      <a:gd name="connsiteY7" fmla="*/ 0 h 531778"/>
                      <a:gd name="connsiteX0" fmla="*/ 0 w 1348671"/>
                      <a:gd name="connsiteY0" fmla="*/ 0 h 531778"/>
                      <a:gd name="connsiteX1" fmla="*/ 425383 w 1348671"/>
                      <a:gd name="connsiteY1" fmla="*/ 177935 h 531778"/>
                      <a:gd name="connsiteX2" fmla="*/ 625408 w 1348671"/>
                      <a:gd name="connsiteY2" fmla="*/ 282710 h 531778"/>
                      <a:gd name="connsiteX3" fmla="*/ 1021607 w 1348671"/>
                      <a:gd name="connsiteY3" fmla="*/ 297099 h 531778"/>
                      <a:gd name="connsiteX4" fmla="*/ 1327589 w 1348671"/>
                      <a:gd name="connsiteY4" fmla="*/ 231968 h 531778"/>
                      <a:gd name="connsiteX5" fmla="*/ 850765 w 1348671"/>
                      <a:gd name="connsiteY5" fmla="*/ 522253 h 531778"/>
                      <a:gd name="connsiteX6" fmla="*/ 266295 w 1348671"/>
                      <a:gd name="connsiteY6" fmla="*/ 365193 h 531778"/>
                      <a:gd name="connsiteX7" fmla="*/ 0 w 1348671"/>
                      <a:gd name="connsiteY7" fmla="*/ 0 h 531778"/>
                      <a:gd name="connsiteX0" fmla="*/ 0 w 1348671"/>
                      <a:gd name="connsiteY0" fmla="*/ 0 h 531778"/>
                      <a:gd name="connsiteX1" fmla="*/ 406396 w 1348671"/>
                      <a:gd name="connsiteY1" fmla="*/ 222254 h 531778"/>
                      <a:gd name="connsiteX2" fmla="*/ 625408 w 1348671"/>
                      <a:gd name="connsiteY2" fmla="*/ 282710 h 531778"/>
                      <a:gd name="connsiteX3" fmla="*/ 1021607 w 1348671"/>
                      <a:gd name="connsiteY3" fmla="*/ 297099 h 531778"/>
                      <a:gd name="connsiteX4" fmla="*/ 1327589 w 1348671"/>
                      <a:gd name="connsiteY4" fmla="*/ 231968 h 531778"/>
                      <a:gd name="connsiteX5" fmla="*/ 850765 w 1348671"/>
                      <a:gd name="connsiteY5" fmla="*/ 522253 h 531778"/>
                      <a:gd name="connsiteX6" fmla="*/ 266295 w 1348671"/>
                      <a:gd name="connsiteY6" fmla="*/ 365193 h 531778"/>
                      <a:gd name="connsiteX7" fmla="*/ 0 w 1348671"/>
                      <a:gd name="connsiteY7" fmla="*/ 0 h 531778"/>
                      <a:gd name="connsiteX0" fmla="*/ 0 w 1364683"/>
                      <a:gd name="connsiteY0" fmla="*/ 0 h 655106"/>
                      <a:gd name="connsiteX1" fmla="*/ 422408 w 1364683"/>
                      <a:gd name="connsiteY1" fmla="*/ 345582 h 655106"/>
                      <a:gd name="connsiteX2" fmla="*/ 641420 w 1364683"/>
                      <a:gd name="connsiteY2" fmla="*/ 406038 h 655106"/>
                      <a:gd name="connsiteX3" fmla="*/ 1037619 w 1364683"/>
                      <a:gd name="connsiteY3" fmla="*/ 420427 h 655106"/>
                      <a:gd name="connsiteX4" fmla="*/ 1343601 w 1364683"/>
                      <a:gd name="connsiteY4" fmla="*/ 355296 h 655106"/>
                      <a:gd name="connsiteX5" fmla="*/ 866777 w 1364683"/>
                      <a:gd name="connsiteY5" fmla="*/ 645581 h 655106"/>
                      <a:gd name="connsiteX6" fmla="*/ 282307 w 1364683"/>
                      <a:gd name="connsiteY6" fmla="*/ 488521 h 655106"/>
                      <a:gd name="connsiteX7" fmla="*/ 0 w 1364683"/>
                      <a:gd name="connsiteY7" fmla="*/ 0 h 655106"/>
                      <a:gd name="connsiteX0" fmla="*/ 0 w 1345408"/>
                      <a:gd name="connsiteY0" fmla="*/ 0 h 653060"/>
                      <a:gd name="connsiteX1" fmla="*/ 403133 w 1345408"/>
                      <a:gd name="connsiteY1" fmla="*/ 343536 h 653060"/>
                      <a:gd name="connsiteX2" fmla="*/ 622145 w 1345408"/>
                      <a:gd name="connsiteY2" fmla="*/ 403992 h 653060"/>
                      <a:gd name="connsiteX3" fmla="*/ 1018344 w 1345408"/>
                      <a:gd name="connsiteY3" fmla="*/ 418381 h 653060"/>
                      <a:gd name="connsiteX4" fmla="*/ 1324326 w 1345408"/>
                      <a:gd name="connsiteY4" fmla="*/ 353250 h 653060"/>
                      <a:gd name="connsiteX5" fmla="*/ 847502 w 1345408"/>
                      <a:gd name="connsiteY5" fmla="*/ 643535 h 653060"/>
                      <a:gd name="connsiteX6" fmla="*/ 263032 w 1345408"/>
                      <a:gd name="connsiteY6" fmla="*/ 486475 h 653060"/>
                      <a:gd name="connsiteX7" fmla="*/ 0 w 1345408"/>
                      <a:gd name="connsiteY7" fmla="*/ 0 h 653060"/>
                      <a:gd name="connsiteX0" fmla="*/ 0 w 1345408"/>
                      <a:gd name="connsiteY0" fmla="*/ 0 h 653060"/>
                      <a:gd name="connsiteX1" fmla="*/ 403133 w 1345408"/>
                      <a:gd name="connsiteY1" fmla="*/ 343536 h 653060"/>
                      <a:gd name="connsiteX2" fmla="*/ 622145 w 1345408"/>
                      <a:gd name="connsiteY2" fmla="*/ 403992 h 653060"/>
                      <a:gd name="connsiteX3" fmla="*/ 1018344 w 1345408"/>
                      <a:gd name="connsiteY3" fmla="*/ 418381 h 653060"/>
                      <a:gd name="connsiteX4" fmla="*/ 1324326 w 1345408"/>
                      <a:gd name="connsiteY4" fmla="*/ 353250 h 653060"/>
                      <a:gd name="connsiteX5" fmla="*/ 847502 w 1345408"/>
                      <a:gd name="connsiteY5" fmla="*/ 643535 h 653060"/>
                      <a:gd name="connsiteX6" fmla="*/ 263032 w 1345408"/>
                      <a:gd name="connsiteY6" fmla="*/ 486475 h 653060"/>
                      <a:gd name="connsiteX7" fmla="*/ 0 w 1345408"/>
                      <a:gd name="connsiteY7" fmla="*/ 0 h 653060"/>
                      <a:gd name="connsiteX0" fmla="*/ 0 w 1345408"/>
                      <a:gd name="connsiteY0" fmla="*/ 0 h 653060"/>
                      <a:gd name="connsiteX1" fmla="*/ 403133 w 1345408"/>
                      <a:gd name="connsiteY1" fmla="*/ 343536 h 653060"/>
                      <a:gd name="connsiteX2" fmla="*/ 622145 w 1345408"/>
                      <a:gd name="connsiteY2" fmla="*/ 403992 h 653060"/>
                      <a:gd name="connsiteX3" fmla="*/ 1018344 w 1345408"/>
                      <a:gd name="connsiteY3" fmla="*/ 418381 h 653060"/>
                      <a:gd name="connsiteX4" fmla="*/ 1324326 w 1345408"/>
                      <a:gd name="connsiteY4" fmla="*/ 353250 h 653060"/>
                      <a:gd name="connsiteX5" fmla="*/ 847502 w 1345408"/>
                      <a:gd name="connsiteY5" fmla="*/ 643535 h 653060"/>
                      <a:gd name="connsiteX6" fmla="*/ 263032 w 1345408"/>
                      <a:gd name="connsiteY6" fmla="*/ 486475 h 653060"/>
                      <a:gd name="connsiteX7" fmla="*/ 0 w 1345408"/>
                      <a:gd name="connsiteY7" fmla="*/ 0 h 653060"/>
                      <a:gd name="connsiteX0" fmla="*/ 0 w 1345408"/>
                      <a:gd name="connsiteY0" fmla="*/ 0 h 653060"/>
                      <a:gd name="connsiteX1" fmla="*/ 403133 w 1345408"/>
                      <a:gd name="connsiteY1" fmla="*/ 343536 h 653060"/>
                      <a:gd name="connsiteX2" fmla="*/ 619075 w 1345408"/>
                      <a:gd name="connsiteY2" fmla="*/ 426834 h 653060"/>
                      <a:gd name="connsiteX3" fmla="*/ 1018344 w 1345408"/>
                      <a:gd name="connsiteY3" fmla="*/ 418381 h 653060"/>
                      <a:gd name="connsiteX4" fmla="*/ 1324326 w 1345408"/>
                      <a:gd name="connsiteY4" fmla="*/ 353250 h 653060"/>
                      <a:gd name="connsiteX5" fmla="*/ 847502 w 1345408"/>
                      <a:gd name="connsiteY5" fmla="*/ 643535 h 653060"/>
                      <a:gd name="connsiteX6" fmla="*/ 263032 w 1345408"/>
                      <a:gd name="connsiteY6" fmla="*/ 486475 h 653060"/>
                      <a:gd name="connsiteX7" fmla="*/ 0 w 1345408"/>
                      <a:gd name="connsiteY7" fmla="*/ 0 h 653060"/>
                      <a:gd name="connsiteX0" fmla="*/ 0 w 1345408"/>
                      <a:gd name="connsiteY0" fmla="*/ 0 h 653060"/>
                      <a:gd name="connsiteX1" fmla="*/ 403133 w 1345408"/>
                      <a:gd name="connsiteY1" fmla="*/ 343536 h 653060"/>
                      <a:gd name="connsiteX2" fmla="*/ 619075 w 1345408"/>
                      <a:gd name="connsiteY2" fmla="*/ 426834 h 653060"/>
                      <a:gd name="connsiteX3" fmla="*/ 1018344 w 1345408"/>
                      <a:gd name="connsiteY3" fmla="*/ 418381 h 653060"/>
                      <a:gd name="connsiteX4" fmla="*/ 1324326 w 1345408"/>
                      <a:gd name="connsiteY4" fmla="*/ 353250 h 653060"/>
                      <a:gd name="connsiteX5" fmla="*/ 847502 w 1345408"/>
                      <a:gd name="connsiteY5" fmla="*/ 643535 h 653060"/>
                      <a:gd name="connsiteX6" fmla="*/ 263032 w 1345408"/>
                      <a:gd name="connsiteY6" fmla="*/ 486475 h 653060"/>
                      <a:gd name="connsiteX7" fmla="*/ 0 w 1345408"/>
                      <a:gd name="connsiteY7" fmla="*/ 0 h 653060"/>
                      <a:gd name="connsiteX0" fmla="*/ 0 w 1345408"/>
                      <a:gd name="connsiteY0" fmla="*/ 0 h 653060"/>
                      <a:gd name="connsiteX1" fmla="*/ 347613 w 1345408"/>
                      <a:gd name="connsiteY1" fmla="*/ 320269 h 653060"/>
                      <a:gd name="connsiteX2" fmla="*/ 619075 w 1345408"/>
                      <a:gd name="connsiteY2" fmla="*/ 426834 h 653060"/>
                      <a:gd name="connsiteX3" fmla="*/ 1018344 w 1345408"/>
                      <a:gd name="connsiteY3" fmla="*/ 418381 h 653060"/>
                      <a:gd name="connsiteX4" fmla="*/ 1324326 w 1345408"/>
                      <a:gd name="connsiteY4" fmla="*/ 353250 h 653060"/>
                      <a:gd name="connsiteX5" fmla="*/ 847502 w 1345408"/>
                      <a:gd name="connsiteY5" fmla="*/ 643535 h 653060"/>
                      <a:gd name="connsiteX6" fmla="*/ 263032 w 1345408"/>
                      <a:gd name="connsiteY6" fmla="*/ 486475 h 653060"/>
                      <a:gd name="connsiteX7" fmla="*/ 0 w 1345408"/>
                      <a:gd name="connsiteY7" fmla="*/ 0 h 653060"/>
                      <a:gd name="connsiteX0" fmla="*/ 0 w 1345408"/>
                      <a:gd name="connsiteY0" fmla="*/ 0 h 653060"/>
                      <a:gd name="connsiteX1" fmla="*/ 347613 w 1345408"/>
                      <a:gd name="connsiteY1" fmla="*/ 320269 h 653060"/>
                      <a:gd name="connsiteX2" fmla="*/ 619075 w 1345408"/>
                      <a:gd name="connsiteY2" fmla="*/ 426834 h 653060"/>
                      <a:gd name="connsiteX3" fmla="*/ 1018344 w 1345408"/>
                      <a:gd name="connsiteY3" fmla="*/ 418381 h 653060"/>
                      <a:gd name="connsiteX4" fmla="*/ 1324326 w 1345408"/>
                      <a:gd name="connsiteY4" fmla="*/ 353250 h 653060"/>
                      <a:gd name="connsiteX5" fmla="*/ 847502 w 1345408"/>
                      <a:gd name="connsiteY5" fmla="*/ 643535 h 653060"/>
                      <a:gd name="connsiteX6" fmla="*/ 263032 w 1345408"/>
                      <a:gd name="connsiteY6" fmla="*/ 486475 h 653060"/>
                      <a:gd name="connsiteX7" fmla="*/ 0 w 1345408"/>
                      <a:gd name="connsiteY7" fmla="*/ 0 h 653060"/>
                      <a:gd name="connsiteX0" fmla="*/ 0 w 1345408"/>
                      <a:gd name="connsiteY0" fmla="*/ 0 h 653060"/>
                      <a:gd name="connsiteX1" fmla="*/ 347613 w 1345408"/>
                      <a:gd name="connsiteY1" fmla="*/ 320269 h 653060"/>
                      <a:gd name="connsiteX2" fmla="*/ 619075 w 1345408"/>
                      <a:gd name="connsiteY2" fmla="*/ 426834 h 653060"/>
                      <a:gd name="connsiteX3" fmla="*/ 1013741 w 1345408"/>
                      <a:gd name="connsiteY3" fmla="*/ 452643 h 653060"/>
                      <a:gd name="connsiteX4" fmla="*/ 1324326 w 1345408"/>
                      <a:gd name="connsiteY4" fmla="*/ 353250 h 653060"/>
                      <a:gd name="connsiteX5" fmla="*/ 847502 w 1345408"/>
                      <a:gd name="connsiteY5" fmla="*/ 643535 h 653060"/>
                      <a:gd name="connsiteX6" fmla="*/ 263032 w 1345408"/>
                      <a:gd name="connsiteY6" fmla="*/ 486475 h 653060"/>
                      <a:gd name="connsiteX7" fmla="*/ 0 w 1345408"/>
                      <a:gd name="connsiteY7" fmla="*/ 0 h 653060"/>
                      <a:gd name="connsiteX0" fmla="*/ 0 w 1345408"/>
                      <a:gd name="connsiteY0" fmla="*/ 0 h 653060"/>
                      <a:gd name="connsiteX1" fmla="*/ 347613 w 1345408"/>
                      <a:gd name="connsiteY1" fmla="*/ 320269 h 653060"/>
                      <a:gd name="connsiteX2" fmla="*/ 619075 w 1345408"/>
                      <a:gd name="connsiteY2" fmla="*/ 426834 h 653060"/>
                      <a:gd name="connsiteX3" fmla="*/ 1013741 w 1345408"/>
                      <a:gd name="connsiteY3" fmla="*/ 452643 h 653060"/>
                      <a:gd name="connsiteX4" fmla="*/ 1324326 w 1345408"/>
                      <a:gd name="connsiteY4" fmla="*/ 353250 h 653060"/>
                      <a:gd name="connsiteX5" fmla="*/ 847502 w 1345408"/>
                      <a:gd name="connsiteY5" fmla="*/ 643535 h 653060"/>
                      <a:gd name="connsiteX6" fmla="*/ 263032 w 1345408"/>
                      <a:gd name="connsiteY6" fmla="*/ 486475 h 653060"/>
                      <a:gd name="connsiteX7" fmla="*/ 0 w 1345408"/>
                      <a:gd name="connsiteY7" fmla="*/ 0 h 653060"/>
                      <a:gd name="connsiteX0" fmla="*/ 0 w 1345408"/>
                      <a:gd name="connsiteY0" fmla="*/ 0 h 653060"/>
                      <a:gd name="connsiteX1" fmla="*/ 347613 w 1345408"/>
                      <a:gd name="connsiteY1" fmla="*/ 320269 h 653060"/>
                      <a:gd name="connsiteX2" fmla="*/ 619075 w 1345408"/>
                      <a:gd name="connsiteY2" fmla="*/ 426834 h 653060"/>
                      <a:gd name="connsiteX3" fmla="*/ 967234 w 1345408"/>
                      <a:gd name="connsiteY3" fmla="*/ 459291 h 653060"/>
                      <a:gd name="connsiteX4" fmla="*/ 1324326 w 1345408"/>
                      <a:gd name="connsiteY4" fmla="*/ 353250 h 653060"/>
                      <a:gd name="connsiteX5" fmla="*/ 847502 w 1345408"/>
                      <a:gd name="connsiteY5" fmla="*/ 643535 h 653060"/>
                      <a:gd name="connsiteX6" fmla="*/ 263032 w 1345408"/>
                      <a:gd name="connsiteY6" fmla="*/ 486475 h 653060"/>
                      <a:gd name="connsiteX7" fmla="*/ 0 w 1345408"/>
                      <a:gd name="connsiteY7" fmla="*/ 0 h 653060"/>
                      <a:gd name="connsiteX0" fmla="*/ 0 w 1345408"/>
                      <a:gd name="connsiteY0" fmla="*/ 0 h 653060"/>
                      <a:gd name="connsiteX1" fmla="*/ 347613 w 1345408"/>
                      <a:gd name="connsiteY1" fmla="*/ 320269 h 653060"/>
                      <a:gd name="connsiteX2" fmla="*/ 619075 w 1345408"/>
                      <a:gd name="connsiteY2" fmla="*/ 426834 h 653060"/>
                      <a:gd name="connsiteX3" fmla="*/ 934344 w 1345408"/>
                      <a:gd name="connsiteY3" fmla="*/ 461591 h 653060"/>
                      <a:gd name="connsiteX4" fmla="*/ 1324326 w 1345408"/>
                      <a:gd name="connsiteY4" fmla="*/ 353250 h 653060"/>
                      <a:gd name="connsiteX5" fmla="*/ 847502 w 1345408"/>
                      <a:gd name="connsiteY5" fmla="*/ 643535 h 653060"/>
                      <a:gd name="connsiteX6" fmla="*/ 263032 w 1345408"/>
                      <a:gd name="connsiteY6" fmla="*/ 486475 h 653060"/>
                      <a:gd name="connsiteX7" fmla="*/ 0 w 1345408"/>
                      <a:gd name="connsiteY7" fmla="*/ 0 h 653060"/>
                      <a:gd name="connsiteX0" fmla="*/ 0 w 1374943"/>
                      <a:gd name="connsiteY0" fmla="*/ 0 h 653060"/>
                      <a:gd name="connsiteX1" fmla="*/ 347613 w 1374943"/>
                      <a:gd name="connsiteY1" fmla="*/ 320269 h 653060"/>
                      <a:gd name="connsiteX2" fmla="*/ 619075 w 1374943"/>
                      <a:gd name="connsiteY2" fmla="*/ 426834 h 653060"/>
                      <a:gd name="connsiteX3" fmla="*/ 934344 w 1374943"/>
                      <a:gd name="connsiteY3" fmla="*/ 461591 h 653060"/>
                      <a:gd name="connsiteX4" fmla="*/ 1353861 w 1374943"/>
                      <a:gd name="connsiteY4" fmla="*/ 327427 h 653060"/>
                      <a:gd name="connsiteX5" fmla="*/ 847502 w 1374943"/>
                      <a:gd name="connsiteY5" fmla="*/ 643535 h 653060"/>
                      <a:gd name="connsiteX6" fmla="*/ 263032 w 1374943"/>
                      <a:gd name="connsiteY6" fmla="*/ 486475 h 653060"/>
                      <a:gd name="connsiteX7" fmla="*/ 0 w 1374943"/>
                      <a:gd name="connsiteY7" fmla="*/ 0 h 653060"/>
                      <a:gd name="connsiteX0" fmla="*/ 0 w 1374943"/>
                      <a:gd name="connsiteY0" fmla="*/ 0 h 653060"/>
                      <a:gd name="connsiteX1" fmla="*/ 347613 w 1374943"/>
                      <a:gd name="connsiteY1" fmla="*/ 320269 h 653060"/>
                      <a:gd name="connsiteX2" fmla="*/ 619075 w 1374943"/>
                      <a:gd name="connsiteY2" fmla="*/ 426834 h 653060"/>
                      <a:gd name="connsiteX3" fmla="*/ 934344 w 1374943"/>
                      <a:gd name="connsiteY3" fmla="*/ 461591 h 653060"/>
                      <a:gd name="connsiteX4" fmla="*/ 1353861 w 1374943"/>
                      <a:gd name="connsiteY4" fmla="*/ 327427 h 653060"/>
                      <a:gd name="connsiteX5" fmla="*/ 847502 w 1374943"/>
                      <a:gd name="connsiteY5" fmla="*/ 643535 h 653060"/>
                      <a:gd name="connsiteX6" fmla="*/ 263032 w 1374943"/>
                      <a:gd name="connsiteY6" fmla="*/ 486475 h 653060"/>
                      <a:gd name="connsiteX7" fmla="*/ 0 w 1374943"/>
                      <a:gd name="connsiteY7" fmla="*/ 0 h 653060"/>
                      <a:gd name="connsiteX0" fmla="*/ 0 w 1374943"/>
                      <a:gd name="connsiteY0" fmla="*/ 0 h 687321"/>
                      <a:gd name="connsiteX1" fmla="*/ 347613 w 1374943"/>
                      <a:gd name="connsiteY1" fmla="*/ 320269 h 687321"/>
                      <a:gd name="connsiteX2" fmla="*/ 619075 w 1374943"/>
                      <a:gd name="connsiteY2" fmla="*/ 426834 h 687321"/>
                      <a:gd name="connsiteX3" fmla="*/ 934344 w 1374943"/>
                      <a:gd name="connsiteY3" fmla="*/ 461591 h 687321"/>
                      <a:gd name="connsiteX4" fmla="*/ 1353861 w 1374943"/>
                      <a:gd name="connsiteY4" fmla="*/ 327427 h 687321"/>
                      <a:gd name="connsiteX5" fmla="*/ 842899 w 1374943"/>
                      <a:gd name="connsiteY5" fmla="*/ 677796 h 687321"/>
                      <a:gd name="connsiteX6" fmla="*/ 263032 w 1374943"/>
                      <a:gd name="connsiteY6" fmla="*/ 486475 h 687321"/>
                      <a:gd name="connsiteX7" fmla="*/ 0 w 1374943"/>
                      <a:gd name="connsiteY7" fmla="*/ 0 h 687321"/>
                      <a:gd name="connsiteX0" fmla="*/ 0 w 1374943"/>
                      <a:gd name="connsiteY0" fmla="*/ 0 h 687321"/>
                      <a:gd name="connsiteX1" fmla="*/ 347613 w 1374943"/>
                      <a:gd name="connsiteY1" fmla="*/ 320269 h 687321"/>
                      <a:gd name="connsiteX2" fmla="*/ 619075 w 1374943"/>
                      <a:gd name="connsiteY2" fmla="*/ 426834 h 687321"/>
                      <a:gd name="connsiteX3" fmla="*/ 934344 w 1374943"/>
                      <a:gd name="connsiteY3" fmla="*/ 461591 h 687321"/>
                      <a:gd name="connsiteX4" fmla="*/ 1353861 w 1374943"/>
                      <a:gd name="connsiteY4" fmla="*/ 327427 h 687321"/>
                      <a:gd name="connsiteX5" fmla="*/ 842899 w 1374943"/>
                      <a:gd name="connsiteY5" fmla="*/ 677796 h 687321"/>
                      <a:gd name="connsiteX6" fmla="*/ 263032 w 1374943"/>
                      <a:gd name="connsiteY6" fmla="*/ 486475 h 687321"/>
                      <a:gd name="connsiteX7" fmla="*/ 0 w 1374943"/>
                      <a:gd name="connsiteY7" fmla="*/ 0 h 687321"/>
                      <a:gd name="connsiteX0" fmla="*/ 0 w 1374943"/>
                      <a:gd name="connsiteY0" fmla="*/ 0 h 687321"/>
                      <a:gd name="connsiteX1" fmla="*/ 347613 w 1374943"/>
                      <a:gd name="connsiteY1" fmla="*/ 320269 h 687321"/>
                      <a:gd name="connsiteX2" fmla="*/ 619075 w 1374943"/>
                      <a:gd name="connsiteY2" fmla="*/ 426834 h 687321"/>
                      <a:gd name="connsiteX3" fmla="*/ 934344 w 1374943"/>
                      <a:gd name="connsiteY3" fmla="*/ 461591 h 687321"/>
                      <a:gd name="connsiteX4" fmla="*/ 1353861 w 1374943"/>
                      <a:gd name="connsiteY4" fmla="*/ 327427 h 687321"/>
                      <a:gd name="connsiteX5" fmla="*/ 842899 w 1374943"/>
                      <a:gd name="connsiteY5" fmla="*/ 677796 h 687321"/>
                      <a:gd name="connsiteX6" fmla="*/ 222950 w 1374943"/>
                      <a:gd name="connsiteY6" fmla="*/ 493804 h 687321"/>
                      <a:gd name="connsiteX7" fmla="*/ 0 w 1374943"/>
                      <a:gd name="connsiteY7" fmla="*/ 0 h 687321"/>
                      <a:gd name="connsiteX0" fmla="*/ 0 w 1374943"/>
                      <a:gd name="connsiteY0" fmla="*/ 0 h 687321"/>
                      <a:gd name="connsiteX1" fmla="*/ 347613 w 1374943"/>
                      <a:gd name="connsiteY1" fmla="*/ 320269 h 687321"/>
                      <a:gd name="connsiteX2" fmla="*/ 619075 w 1374943"/>
                      <a:gd name="connsiteY2" fmla="*/ 426834 h 687321"/>
                      <a:gd name="connsiteX3" fmla="*/ 934344 w 1374943"/>
                      <a:gd name="connsiteY3" fmla="*/ 461591 h 687321"/>
                      <a:gd name="connsiteX4" fmla="*/ 1353861 w 1374943"/>
                      <a:gd name="connsiteY4" fmla="*/ 327427 h 687321"/>
                      <a:gd name="connsiteX5" fmla="*/ 842899 w 1374943"/>
                      <a:gd name="connsiteY5" fmla="*/ 677796 h 687321"/>
                      <a:gd name="connsiteX6" fmla="*/ 222950 w 1374943"/>
                      <a:gd name="connsiteY6" fmla="*/ 493804 h 687321"/>
                      <a:gd name="connsiteX7" fmla="*/ 0 w 1374943"/>
                      <a:gd name="connsiteY7" fmla="*/ 0 h 687321"/>
                      <a:gd name="connsiteX0" fmla="*/ 0 w 1374943"/>
                      <a:gd name="connsiteY0" fmla="*/ 0 h 687321"/>
                      <a:gd name="connsiteX1" fmla="*/ 347613 w 1374943"/>
                      <a:gd name="connsiteY1" fmla="*/ 320269 h 687321"/>
                      <a:gd name="connsiteX2" fmla="*/ 619075 w 1374943"/>
                      <a:gd name="connsiteY2" fmla="*/ 426834 h 687321"/>
                      <a:gd name="connsiteX3" fmla="*/ 934344 w 1374943"/>
                      <a:gd name="connsiteY3" fmla="*/ 461591 h 687321"/>
                      <a:gd name="connsiteX4" fmla="*/ 1353861 w 1374943"/>
                      <a:gd name="connsiteY4" fmla="*/ 327427 h 687321"/>
                      <a:gd name="connsiteX5" fmla="*/ 842899 w 1374943"/>
                      <a:gd name="connsiteY5" fmla="*/ 677796 h 687321"/>
                      <a:gd name="connsiteX6" fmla="*/ 222950 w 1374943"/>
                      <a:gd name="connsiteY6" fmla="*/ 493804 h 687321"/>
                      <a:gd name="connsiteX7" fmla="*/ 0 w 1374943"/>
                      <a:gd name="connsiteY7" fmla="*/ 0 h 687321"/>
                      <a:gd name="connsiteX0" fmla="*/ 0 w 1374943"/>
                      <a:gd name="connsiteY0" fmla="*/ 0 h 687321"/>
                      <a:gd name="connsiteX1" fmla="*/ 355946 w 1374943"/>
                      <a:gd name="connsiteY1" fmla="*/ 286918 h 687321"/>
                      <a:gd name="connsiteX2" fmla="*/ 619075 w 1374943"/>
                      <a:gd name="connsiteY2" fmla="*/ 426834 h 687321"/>
                      <a:gd name="connsiteX3" fmla="*/ 934344 w 1374943"/>
                      <a:gd name="connsiteY3" fmla="*/ 461591 h 687321"/>
                      <a:gd name="connsiteX4" fmla="*/ 1353861 w 1374943"/>
                      <a:gd name="connsiteY4" fmla="*/ 327427 h 687321"/>
                      <a:gd name="connsiteX5" fmla="*/ 842899 w 1374943"/>
                      <a:gd name="connsiteY5" fmla="*/ 677796 h 687321"/>
                      <a:gd name="connsiteX6" fmla="*/ 222950 w 1374943"/>
                      <a:gd name="connsiteY6" fmla="*/ 493804 h 687321"/>
                      <a:gd name="connsiteX7" fmla="*/ 0 w 1374943"/>
                      <a:gd name="connsiteY7" fmla="*/ 0 h 687321"/>
                      <a:gd name="connsiteX0" fmla="*/ 0 w 1374943"/>
                      <a:gd name="connsiteY0" fmla="*/ 0 h 687321"/>
                      <a:gd name="connsiteX1" fmla="*/ 355946 w 1374943"/>
                      <a:gd name="connsiteY1" fmla="*/ 286918 h 687321"/>
                      <a:gd name="connsiteX2" fmla="*/ 622249 w 1374943"/>
                      <a:gd name="connsiteY2" fmla="*/ 403208 h 687321"/>
                      <a:gd name="connsiteX3" fmla="*/ 934344 w 1374943"/>
                      <a:gd name="connsiteY3" fmla="*/ 461591 h 687321"/>
                      <a:gd name="connsiteX4" fmla="*/ 1353861 w 1374943"/>
                      <a:gd name="connsiteY4" fmla="*/ 327427 h 687321"/>
                      <a:gd name="connsiteX5" fmla="*/ 842899 w 1374943"/>
                      <a:gd name="connsiteY5" fmla="*/ 677796 h 687321"/>
                      <a:gd name="connsiteX6" fmla="*/ 222950 w 1374943"/>
                      <a:gd name="connsiteY6" fmla="*/ 493804 h 687321"/>
                      <a:gd name="connsiteX7" fmla="*/ 0 w 1374943"/>
                      <a:gd name="connsiteY7" fmla="*/ 0 h 687321"/>
                      <a:gd name="connsiteX0" fmla="*/ 0 w 1374943"/>
                      <a:gd name="connsiteY0" fmla="*/ 0 h 687321"/>
                      <a:gd name="connsiteX1" fmla="*/ 355946 w 1374943"/>
                      <a:gd name="connsiteY1" fmla="*/ 286918 h 687321"/>
                      <a:gd name="connsiteX2" fmla="*/ 622249 w 1374943"/>
                      <a:gd name="connsiteY2" fmla="*/ 403208 h 687321"/>
                      <a:gd name="connsiteX3" fmla="*/ 938425 w 1374943"/>
                      <a:gd name="connsiteY3" fmla="*/ 431214 h 687321"/>
                      <a:gd name="connsiteX4" fmla="*/ 1353861 w 1374943"/>
                      <a:gd name="connsiteY4" fmla="*/ 327427 h 687321"/>
                      <a:gd name="connsiteX5" fmla="*/ 842899 w 1374943"/>
                      <a:gd name="connsiteY5" fmla="*/ 677796 h 687321"/>
                      <a:gd name="connsiteX6" fmla="*/ 222950 w 1374943"/>
                      <a:gd name="connsiteY6" fmla="*/ 493804 h 687321"/>
                      <a:gd name="connsiteX7" fmla="*/ 0 w 1374943"/>
                      <a:gd name="connsiteY7" fmla="*/ 0 h 687321"/>
                      <a:gd name="connsiteX0" fmla="*/ 0 w 1374943"/>
                      <a:gd name="connsiteY0" fmla="*/ 0 h 687321"/>
                      <a:gd name="connsiteX1" fmla="*/ 360481 w 1374943"/>
                      <a:gd name="connsiteY1" fmla="*/ 253166 h 687321"/>
                      <a:gd name="connsiteX2" fmla="*/ 622249 w 1374943"/>
                      <a:gd name="connsiteY2" fmla="*/ 403208 h 687321"/>
                      <a:gd name="connsiteX3" fmla="*/ 938425 w 1374943"/>
                      <a:gd name="connsiteY3" fmla="*/ 431214 h 687321"/>
                      <a:gd name="connsiteX4" fmla="*/ 1353861 w 1374943"/>
                      <a:gd name="connsiteY4" fmla="*/ 327427 h 687321"/>
                      <a:gd name="connsiteX5" fmla="*/ 842899 w 1374943"/>
                      <a:gd name="connsiteY5" fmla="*/ 677796 h 687321"/>
                      <a:gd name="connsiteX6" fmla="*/ 222950 w 1374943"/>
                      <a:gd name="connsiteY6" fmla="*/ 493804 h 687321"/>
                      <a:gd name="connsiteX7" fmla="*/ 0 w 1374943"/>
                      <a:gd name="connsiteY7" fmla="*/ 0 h 687321"/>
                      <a:gd name="connsiteX0" fmla="*/ 0 w 1374943"/>
                      <a:gd name="connsiteY0" fmla="*/ 0 h 687321"/>
                      <a:gd name="connsiteX1" fmla="*/ 360481 w 1374943"/>
                      <a:gd name="connsiteY1" fmla="*/ 253166 h 687321"/>
                      <a:gd name="connsiteX2" fmla="*/ 622249 w 1374943"/>
                      <a:gd name="connsiteY2" fmla="*/ 403208 h 687321"/>
                      <a:gd name="connsiteX3" fmla="*/ 938425 w 1374943"/>
                      <a:gd name="connsiteY3" fmla="*/ 431214 h 687321"/>
                      <a:gd name="connsiteX4" fmla="*/ 1353861 w 1374943"/>
                      <a:gd name="connsiteY4" fmla="*/ 327427 h 687321"/>
                      <a:gd name="connsiteX5" fmla="*/ 842899 w 1374943"/>
                      <a:gd name="connsiteY5" fmla="*/ 677796 h 687321"/>
                      <a:gd name="connsiteX6" fmla="*/ 222950 w 1374943"/>
                      <a:gd name="connsiteY6" fmla="*/ 493804 h 687321"/>
                      <a:gd name="connsiteX7" fmla="*/ 0 w 1374943"/>
                      <a:gd name="connsiteY7" fmla="*/ 0 h 687321"/>
                      <a:gd name="connsiteX0" fmla="*/ 0 w 1374943"/>
                      <a:gd name="connsiteY0" fmla="*/ 0 h 687321"/>
                      <a:gd name="connsiteX1" fmla="*/ 360481 w 1374943"/>
                      <a:gd name="connsiteY1" fmla="*/ 253166 h 687321"/>
                      <a:gd name="connsiteX2" fmla="*/ 622249 w 1374943"/>
                      <a:gd name="connsiteY2" fmla="*/ 403208 h 687321"/>
                      <a:gd name="connsiteX3" fmla="*/ 941599 w 1374943"/>
                      <a:gd name="connsiteY3" fmla="*/ 407587 h 687321"/>
                      <a:gd name="connsiteX4" fmla="*/ 1353861 w 1374943"/>
                      <a:gd name="connsiteY4" fmla="*/ 327427 h 687321"/>
                      <a:gd name="connsiteX5" fmla="*/ 842899 w 1374943"/>
                      <a:gd name="connsiteY5" fmla="*/ 677796 h 687321"/>
                      <a:gd name="connsiteX6" fmla="*/ 222950 w 1374943"/>
                      <a:gd name="connsiteY6" fmla="*/ 493804 h 687321"/>
                      <a:gd name="connsiteX7" fmla="*/ 0 w 1374943"/>
                      <a:gd name="connsiteY7" fmla="*/ 0 h 687321"/>
                      <a:gd name="connsiteX0" fmla="*/ 0 w 1374943"/>
                      <a:gd name="connsiteY0" fmla="*/ 0 h 687321"/>
                      <a:gd name="connsiteX1" fmla="*/ 360481 w 1374943"/>
                      <a:gd name="connsiteY1" fmla="*/ 253166 h 687321"/>
                      <a:gd name="connsiteX2" fmla="*/ 622249 w 1374943"/>
                      <a:gd name="connsiteY2" fmla="*/ 403208 h 687321"/>
                      <a:gd name="connsiteX3" fmla="*/ 941599 w 1374943"/>
                      <a:gd name="connsiteY3" fmla="*/ 407587 h 687321"/>
                      <a:gd name="connsiteX4" fmla="*/ 1353861 w 1374943"/>
                      <a:gd name="connsiteY4" fmla="*/ 327427 h 687321"/>
                      <a:gd name="connsiteX5" fmla="*/ 842899 w 1374943"/>
                      <a:gd name="connsiteY5" fmla="*/ 677796 h 687321"/>
                      <a:gd name="connsiteX6" fmla="*/ 222950 w 1374943"/>
                      <a:gd name="connsiteY6" fmla="*/ 493804 h 687321"/>
                      <a:gd name="connsiteX7" fmla="*/ 0 w 1374943"/>
                      <a:gd name="connsiteY7" fmla="*/ 0 h 687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74943" h="687321">
                        <a:moveTo>
                          <a:pt x="0" y="0"/>
                        </a:moveTo>
                        <a:cubicBezTo>
                          <a:pt x="141794" y="59312"/>
                          <a:pt x="154396" y="53210"/>
                          <a:pt x="360481" y="253166"/>
                        </a:cubicBezTo>
                        <a:cubicBezTo>
                          <a:pt x="430160" y="298063"/>
                          <a:pt x="523035" y="384136"/>
                          <a:pt x="622249" y="403208"/>
                        </a:cubicBezTo>
                        <a:cubicBezTo>
                          <a:pt x="714324" y="422258"/>
                          <a:pt x="780940" y="416526"/>
                          <a:pt x="941599" y="407587"/>
                        </a:cubicBezTo>
                        <a:cubicBezTo>
                          <a:pt x="1067569" y="353913"/>
                          <a:pt x="1374943" y="261607"/>
                          <a:pt x="1353861" y="327427"/>
                        </a:cubicBezTo>
                        <a:cubicBezTo>
                          <a:pt x="1238368" y="371508"/>
                          <a:pt x="1011174" y="687321"/>
                          <a:pt x="842899" y="677796"/>
                        </a:cubicBezTo>
                        <a:cubicBezTo>
                          <a:pt x="486631" y="660193"/>
                          <a:pt x="295739" y="576774"/>
                          <a:pt x="222950" y="493804"/>
                        </a:cubicBezTo>
                        <a:cubicBezTo>
                          <a:pt x="142049" y="350482"/>
                          <a:pt x="84411" y="172154"/>
                          <a:pt x="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710" name="Freeform 321">
                    <a:extLst>
                      <a:ext uri="{FF2B5EF4-FFF2-40B4-BE49-F238E27FC236}">
                        <a16:creationId xmlns:a16="http://schemas.microsoft.com/office/drawing/2014/main" id="{5F26642D-CFC5-4630-B340-0E8E375548FC}"/>
                      </a:ext>
                    </a:extLst>
                  </p:cNvPr>
                  <p:cNvSpPr/>
                  <p:nvPr/>
                </p:nvSpPr>
                <p:spPr>
                  <a:xfrm>
                    <a:off x="3127287" y="784314"/>
                    <a:ext cx="223139" cy="304800"/>
                  </a:xfrm>
                  <a:custGeom>
                    <a:avLst/>
                    <a:gdLst>
                      <a:gd name="connsiteX0" fmla="*/ 191330 w 223139"/>
                      <a:gd name="connsiteY0" fmla="*/ 147178 h 304800"/>
                      <a:gd name="connsiteX1" fmla="*/ 80234 w 223139"/>
                      <a:gd name="connsiteY1" fmla="*/ 70265 h 304800"/>
                      <a:gd name="connsiteX2" fmla="*/ 37506 w 223139"/>
                      <a:gd name="connsiteY2" fmla="*/ 7596 h 304800"/>
                      <a:gd name="connsiteX3" fmla="*/ 20414 w 223139"/>
                      <a:gd name="connsiteY3" fmla="*/ 24688 h 304800"/>
                      <a:gd name="connsiteX4" fmla="*/ 9020 w 223139"/>
                      <a:gd name="connsiteY4" fmla="*/ 95903 h 304800"/>
                      <a:gd name="connsiteX5" fmla="*/ 74537 w 223139"/>
                      <a:gd name="connsiteY5" fmla="*/ 112994 h 304800"/>
                      <a:gd name="connsiteX6" fmla="*/ 137206 w 223139"/>
                      <a:gd name="connsiteY6" fmla="*/ 212695 h 304800"/>
                      <a:gd name="connsiteX7" fmla="*/ 216967 w 223139"/>
                      <a:gd name="connsiteY7" fmla="*/ 303850 h 304800"/>
                      <a:gd name="connsiteX8" fmla="*/ 174238 w 223139"/>
                      <a:gd name="connsiteY8" fmla="*/ 218393 h 304800"/>
                      <a:gd name="connsiteX9" fmla="*/ 191330 w 223139"/>
                      <a:gd name="connsiteY9" fmla="*/ 147178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3139" h="304800">
                        <a:moveTo>
                          <a:pt x="191330" y="147178"/>
                        </a:moveTo>
                        <a:cubicBezTo>
                          <a:pt x="175663" y="122490"/>
                          <a:pt x="105871" y="93529"/>
                          <a:pt x="80234" y="70265"/>
                        </a:cubicBezTo>
                        <a:cubicBezTo>
                          <a:pt x="54597" y="47001"/>
                          <a:pt x="47476" y="15192"/>
                          <a:pt x="37506" y="7596"/>
                        </a:cubicBezTo>
                        <a:cubicBezTo>
                          <a:pt x="27536" y="0"/>
                          <a:pt x="25162" y="9970"/>
                          <a:pt x="20414" y="24688"/>
                        </a:cubicBezTo>
                        <a:cubicBezTo>
                          <a:pt x="15666" y="39406"/>
                          <a:pt x="0" y="81185"/>
                          <a:pt x="9020" y="95903"/>
                        </a:cubicBezTo>
                        <a:cubicBezTo>
                          <a:pt x="18040" y="110621"/>
                          <a:pt x="53173" y="93529"/>
                          <a:pt x="74537" y="112994"/>
                        </a:cubicBezTo>
                        <a:cubicBezTo>
                          <a:pt x="95901" y="132459"/>
                          <a:pt x="113468" y="180886"/>
                          <a:pt x="137206" y="212695"/>
                        </a:cubicBezTo>
                        <a:cubicBezTo>
                          <a:pt x="160944" y="244504"/>
                          <a:pt x="210795" y="302900"/>
                          <a:pt x="216967" y="303850"/>
                        </a:cubicBezTo>
                        <a:cubicBezTo>
                          <a:pt x="223139" y="304800"/>
                          <a:pt x="179935" y="244030"/>
                          <a:pt x="174238" y="218393"/>
                        </a:cubicBezTo>
                        <a:cubicBezTo>
                          <a:pt x="168541" y="192756"/>
                          <a:pt x="206997" y="171866"/>
                          <a:pt x="191330" y="14717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711" name="Freeform 322">
                    <a:extLst>
                      <a:ext uri="{FF2B5EF4-FFF2-40B4-BE49-F238E27FC236}">
                        <a16:creationId xmlns:a16="http://schemas.microsoft.com/office/drawing/2014/main" id="{40D27A00-6B9B-47BC-8512-40EF2A6F1E57}"/>
                      </a:ext>
                    </a:extLst>
                  </p:cNvPr>
                  <p:cNvSpPr/>
                  <p:nvPr/>
                </p:nvSpPr>
                <p:spPr>
                  <a:xfrm>
                    <a:off x="4174621" y="965675"/>
                    <a:ext cx="264444" cy="223139"/>
                  </a:xfrm>
                  <a:custGeom>
                    <a:avLst/>
                    <a:gdLst>
                      <a:gd name="connsiteX0" fmla="*/ 49850 w 264444"/>
                      <a:gd name="connsiteY0" fmla="*/ 99701 h 223139"/>
                      <a:gd name="connsiteX1" fmla="*/ 172340 w 264444"/>
                      <a:gd name="connsiteY1" fmla="*/ 62669 h 223139"/>
                      <a:gd name="connsiteX2" fmla="*/ 246403 w 264444"/>
                      <a:gd name="connsiteY2" fmla="*/ 5697 h 223139"/>
                      <a:gd name="connsiteX3" fmla="*/ 263495 w 264444"/>
                      <a:gd name="connsiteY3" fmla="*/ 28486 h 223139"/>
                      <a:gd name="connsiteX4" fmla="*/ 240706 w 264444"/>
                      <a:gd name="connsiteY4" fmla="*/ 102549 h 223139"/>
                      <a:gd name="connsiteX5" fmla="*/ 215069 w 264444"/>
                      <a:gd name="connsiteY5" fmla="*/ 133884 h 223139"/>
                      <a:gd name="connsiteX6" fmla="*/ 189431 w 264444"/>
                      <a:gd name="connsiteY6" fmla="*/ 96852 h 223139"/>
                      <a:gd name="connsiteX7" fmla="*/ 95428 w 264444"/>
                      <a:gd name="connsiteY7" fmla="*/ 153824 h 223139"/>
                      <a:gd name="connsiteX8" fmla="*/ 7121 w 264444"/>
                      <a:gd name="connsiteY8" fmla="*/ 222190 h 223139"/>
                      <a:gd name="connsiteX9" fmla="*/ 52699 w 264444"/>
                      <a:gd name="connsiteY9" fmla="*/ 159521 h 223139"/>
                      <a:gd name="connsiteX10" fmla="*/ 49850 w 264444"/>
                      <a:gd name="connsiteY10" fmla="*/ 99701 h 223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4444" h="223139">
                        <a:moveTo>
                          <a:pt x="49850" y="99701"/>
                        </a:moveTo>
                        <a:cubicBezTo>
                          <a:pt x="69790" y="83559"/>
                          <a:pt x="139581" y="78336"/>
                          <a:pt x="172340" y="62669"/>
                        </a:cubicBezTo>
                        <a:cubicBezTo>
                          <a:pt x="205099" y="47002"/>
                          <a:pt x="231211" y="11394"/>
                          <a:pt x="246403" y="5697"/>
                        </a:cubicBezTo>
                        <a:cubicBezTo>
                          <a:pt x="261595" y="0"/>
                          <a:pt x="264444" y="12344"/>
                          <a:pt x="263495" y="28486"/>
                        </a:cubicBezTo>
                        <a:cubicBezTo>
                          <a:pt x="262546" y="44628"/>
                          <a:pt x="248777" y="84983"/>
                          <a:pt x="240706" y="102549"/>
                        </a:cubicBezTo>
                        <a:cubicBezTo>
                          <a:pt x="232635" y="120115"/>
                          <a:pt x="223615" y="134834"/>
                          <a:pt x="215069" y="133884"/>
                        </a:cubicBezTo>
                        <a:cubicBezTo>
                          <a:pt x="206523" y="132935"/>
                          <a:pt x="209371" y="93529"/>
                          <a:pt x="189431" y="96852"/>
                        </a:cubicBezTo>
                        <a:cubicBezTo>
                          <a:pt x="169491" y="100175"/>
                          <a:pt x="125813" y="132934"/>
                          <a:pt x="95428" y="153824"/>
                        </a:cubicBezTo>
                        <a:cubicBezTo>
                          <a:pt x="65043" y="174714"/>
                          <a:pt x="14242" y="221241"/>
                          <a:pt x="7121" y="222190"/>
                        </a:cubicBezTo>
                        <a:cubicBezTo>
                          <a:pt x="0" y="223139"/>
                          <a:pt x="45103" y="178986"/>
                          <a:pt x="52699" y="159521"/>
                        </a:cubicBezTo>
                        <a:cubicBezTo>
                          <a:pt x="60295" y="140056"/>
                          <a:pt x="29910" y="115843"/>
                          <a:pt x="49850" y="9970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sp>
              <p:nvSpPr>
                <p:cNvPr id="706" name="Freeform 132">
                  <a:extLst>
                    <a:ext uri="{FF2B5EF4-FFF2-40B4-BE49-F238E27FC236}">
                      <a16:creationId xmlns:a16="http://schemas.microsoft.com/office/drawing/2014/main" id="{5BC2FC5A-805A-4CB8-BC58-B81272B217F1}"/>
                    </a:ext>
                  </a:extLst>
                </p:cNvPr>
                <p:cNvSpPr/>
                <p:nvPr/>
              </p:nvSpPr>
              <p:spPr>
                <a:xfrm>
                  <a:off x="2207572" y="-375207"/>
                  <a:ext cx="198743" cy="398378"/>
                </a:xfrm>
                <a:custGeom>
                  <a:avLst/>
                  <a:gdLst>
                    <a:gd name="connsiteX0" fmla="*/ 118533 w 198743"/>
                    <a:gd name="connsiteY0" fmla="*/ 155965 h 398378"/>
                    <a:gd name="connsiteX1" fmla="*/ 129228 w 198743"/>
                    <a:gd name="connsiteY1" fmla="*/ 262912 h 398378"/>
                    <a:gd name="connsiteX2" fmla="*/ 145270 w 198743"/>
                    <a:gd name="connsiteY2" fmla="*/ 294996 h 398378"/>
                    <a:gd name="connsiteX3" fmla="*/ 177354 w 198743"/>
                    <a:gd name="connsiteY3" fmla="*/ 396596 h 398378"/>
                    <a:gd name="connsiteX4" fmla="*/ 16933 w 198743"/>
                    <a:gd name="connsiteY4" fmla="*/ 305691 h 398378"/>
                    <a:gd name="connsiteX5" fmla="*/ 75754 w 198743"/>
                    <a:gd name="connsiteY5" fmla="*/ 225481 h 398378"/>
                    <a:gd name="connsiteX6" fmla="*/ 59712 w 198743"/>
                    <a:gd name="connsiteY6" fmla="*/ 11586 h 398378"/>
                    <a:gd name="connsiteX7" fmla="*/ 118533 w 198743"/>
                    <a:gd name="connsiteY7" fmla="*/ 155965 h 398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743" h="398378">
                      <a:moveTo>
                        <a:pt x="118533" y="155965"/>
                      </a:moveTo>
                      <a:cubicBezTo>
                        <a:pt x="130119" y="197853"/>
                        <a:pt x="124772" y="239740"/>
                        <a:pt x="129228" y="262912"/>
                      </a:cubicBezTo>
                      <a:cubicBezTo>
                        <a:pt x="133684" y="286084"/>
                        <a:pt x="137249" y="272715"/>
                        <a:pt x="145270" y="294996"/>
                      </a:cubicBezTo>
                      <a:cubicBezTo>
                        <a:pt x="153291" y="317277"/>
                        <a:pt x="198743" y="394814"/>
                        <a:pt x="177354" y="396596"/>
                      </a:cubicBezTo>
                      <a:cubicBezTo>
                        <a:pt x="155965" y="398378"/>
                        <a:pt x="33866" y="334210"/>
                        <a:pt x="16933" y="305691"/>
                      </a:cubicBezTo>
                      <a:cubicBezTo>
                        <a:pt x="0" y="277172"/>
                        <a:pt x="68624" y="274498"/>
                        <a:pt x="75754" y="225481"/>
                      </a:cubicBezTo>
                      <a:cubicBezTo>
                        <a:pt x="82884" y="176464"/>
                        <a:pt x="51691" y="23172"/>
                        <a:pt x="59712" y="11586"/>
                      </a:cubicBezTo>
                      <a:cubicBezTo>
                        <a:pt x="67733" y="0"/>
                        <a:pt x="106947" y="114077"/>
                        <a:pt x="118533" y="15596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707" name="Freeform 318">
                  <a:extLst>
                    <a:ext uri="{FF2B5EF4-FFF2-40B4-BE49-F238E27FC236}">
                      <a16:creationId xmlns:a16="http://schemas.microsoft.com/office/drawing/2014/main" id="{F731F5DC-4CDC-4A50-93A2-34D140E93EA4}"/>
                    </a:ext>
                  </a:extLst>
                </p:cNvPr>
                <p:cNvSpPr/>
                <p:nvPr/>
              </p:nvSpPr>
              <p:spPr>
                <a:xfrm>
                  <a:off x="5104955" y="158638"/>
                  <a:ext cx="222806" cy="299453"/>
                </a:xfrm>
                <a:custGeom>
                  <a:avLst/>
                  <a:gdLst>
                    <a:gd name="connsiteX0" fmla="*/ 17824 w 222806"/>
                    <a:gd name="connsiteY0" fmla="*/ 290541 h 299453"/>
                    <a:gd name="connsiteX1" fmla="*/ 17824 w 222806"/>
                    <a:gd name="connsiteY1" fmla="*/ 210330 h 299453"/>
                    <a:gd name="connsiteX2" fmla="*/ 124771 w 222806"/>
                    <a:gd name="connsiteY2" fmla="*/ 33867 h 299453"/>
                    <a:gd name="connsiteX3" fmla="*/ 210329 w 222806"/>
                    <a:gd name="connsiteY3" fmla="*/ 7130 h 299453"/>
                    <a:gd name="connsiteX4" fmla="*/ 199634 w 222806"/>
                    <a:gd name="connsiteY4" fmla="*/ 55257 h 299453"/>
                    <a:gd name="connsiteX5" fmla="*/ 103382 w 222806"/>
                    <a:gd name="connsiteY5" fmla="*/ 140815 h 299453"/>
                    <a:gd name="connsiteX6" fmla="*/ 81992 w 222806"/>
                    <a:gd name="connsiteY6" fmla="*/ 263804 h 299453"/>
                    <a:gd name="connsiteX7" fmla="*/ 17824 w 222806"/>
                    <a:gd name="connsiteY7" fmla="*/ 290541 h 299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2806" h="299453">
                      <a:moveTo>
                        <a:pt x="17824" y="290541"/>
                      </a:moveTo>
                      <a:cubicBezTo>
                        <a:pt x="7129" y="281629"/>
                        <a:pt x="0" y="253109"/>
                        <a:pt x="17824" y="210330"/>
                      </a:cubicBezTo>
                      <a:cubicBezTo>
                        <a:pt x="35648" y="167551"/>
                        <a:pt x="92687" y="67734"/>
                        <a:pt x="124771" y="33867"/>
                      </a:cubicBezTo>
                      <a:cubicBezTo>
                        <a:pt x="156855" y="0"/>
                        <a:pt x="197852" y="3565"/>
                        <a:pt x="210329" y="7130"/>
                      </a:cubicBezTo>
                      <a:cubicBezTo>
                        <a:pt x="222806" y="10695"/>
                        <a:pt x="217459" y="32976"/>
                        <a:pt x="199634" y="55257"/>
                      </a:cubicBezTo>
                      <a:cubicBezTo>
                        <a:pt x="181810" y="77538"/>
                        <a:pt x="122989" y="106057"/>
                        <a:pt x="103382" y="140815"/>
                      </a:cubicBezTo>
                      <a:cubicBezTo>
                        <a:pt x="83775" y="175573"/>
                        <a:pt x="97143" y="237958"/>
                        <a:pt x="81992" y="263804"/>
                      </a:cubicBezTo>
                      <a:cubicBezTo>
                        <a:pt x="66841" y="289650"/>
                        <a:pt x="28519" y="299453"/>
                        <a:pt x="17824" y="29054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sp>
            <p:nvSpPr>
              <p:cNvPr id="671" name="Freeform 282">
                <a:extLst>
                  <a:ext uri="{FF2B5EF4-FFF2-40B4-BE49-F238E27FC236}">
                    <a16:creationId xmlns:a16="http://schemas.microsoft.com/office/drawing/2014/main" id="{2B0026EF-A1EB-4F14-A329-D00472D93684}"/>
                  </a:ext>
                </a:extLst>
              </p:cNvPr>
              <p:cNvSpPr/>
              <p:nvPr/>
            </p:nvSpPr>
            <p:spPr>
              <a:xfrm rot="21114987" flipH="1">
                <a:off x="6671765" y="3624551"/>
                <a:ext cx="743513" cy="471342"/>
              </a:xfrm>
              <a:custGeom>
                <a:avLst/>
                <a:gdLst>
                  <a:gd name="connsiteX0" fmla="*/ 100012 w 6581774"/>
                  <a:gd name="connsiteY0" fmla="*/ 3105150 h 3981450"/>
                  <a:gd name="connsiteX1" fmla="*/ 357187 w 6581774"/>
                  <a:gd name="connsiteY1" fmla="*/ 3905250 h 3981450"/>
                  <a:gd name="connsiteX2" fmla="*/ 728662 w 6581774"/>
                  <a:gd name="connsiteY2" fmla="*/ 3562350 h 3981450"/>
                  <a:gd name="connsiteX3" fmla="*/ 1357312 w 6581774"/>
                  <a:gd name="connsiteY3" fmla="*/ 3305175 h 3981450"/>
                  <a:gd name="connsiteX4" fmla="*/ 2500312 w 6581774"/>
                  <a:gd name="connsiteY4" fmla="*/ 3190875 h 3981450"/>
                  <a:gd name="connsiteX5" fmla="*/ 3357562 w 6581774"/>
                  <a:gd name="connsiteY5" fmla="*/ 2990850 h 3981450"/>
                  <a:gd name="connsiteX6" fmla="*/ 3729037 w 6581774"/>
                  <a:gd name="connsiteY6" fmla="*/ 2847975 h 3981450"/>
                  <a:gd name="connsiteX7" fmla="*/ 4186237 w 6581774"/>
                  <a:gd name="connsiteY7" fmla="*/ 2933700 h 3981450"/>
                  <a:gd name="connsiteX8" fmla="*/ 4443412 w 6581774"/>
                  <a:gd name="connsiteY8" fmla="*/ 2362200 h 3981450"/>
                  <a:gd name="connsiteX9" fmla="*/ 4957762 w 6581774"/>
                  <a:gd name="connsiteY9" fmla="*/ 2705100 h 3981450"/>
                  <a:gd name="connsiteX10" fmla="*/ 5872162 w 6581774"/>
                  <a:gd name="connsiteY10" fmla="*/ 2533650 h 3981450"/>
                  <a:gd name="connsiteX11" fmla="*/ 6443662 w 6581774"/>
                  <a:gd name="connsiteY11" fmla="*/ 2219325 h 3981450"/>
                  <a:gd name="connsiteX12" fmla="*/ 6472237 w 6581774"/>
                  <a:gd name="connsiteY12" fmla="*/ 1733550 h 3981450"/>
                  <a:gd name="connsiteX13" fmla="*/ 6272212 w 6581774"/>
                  <a:gd name="connsiteY13" fmla="*/ 1333500 h 3981450"/>
                  <a:gd name="connsiteX14" fmla="*/ 4614862 w 6581774"/>
                  <a:gd name="connsiteY14" fmla="*/ 1047750 h 3981450"/>
                  <a:gd name="connsiteX15" fmla="*/ 3529012 w 6581774"/>
                  <a:gd name="connsiteY15" fmla="*/ 104775 h 3981450"/>
                  <a:gd name="connsiteX16" fmla="*/ 3128962 w 6581774"/>
                  <a:gd name="connsiteY16" fmla="*/ 419100 h 3981450"/>
                  <a:gd name="connsiteX17" fmla="*/ 2586037 w 6581774"/>
                  <a:gd name="connsiteY17" fmla="*/ 2247900 h 3981450"/>
                  <a:gd name="connsiteX18" fmla="*/ 957262 w 6581774"/>
                  <a:gd name="connsiteY18" fmla="*/ 2619375 h 3981450"/>
                  <a:gd name="connsiteX19" fmla="*/ 100012 w 6581774"/>
                  <a:gd name="connsiteY19" fmla="*/ 3105150 h 3981450"/>
                  <a:gd name="connsiteX0" fmla="*/ 100012 w 6581774"/>
                  <a:gd name="connsiteY0" fmla="*/ 3105150 h 3981450"/>
                  <a:gd name="connsiteX1" fmla="*/ 357187 w 6581774"/>
                  <a:gd name="connsiteY1" fmla="*/ 3905250 h 3981450"/>
                  <a:gd name="connsiteX2" fmla="*/ 728662 w 6581774"/>
                  <a:gd name="connsiteY2" fmla="*/ 3562350 h 3981450"/>
                  <a:gd name="connsiteX3" fmla="*/ 1357312 w 6581774"/>
                  <a:gd name="connsiteY3" fmla="*/ 3305175 h 3981450"/>
                  <a:gd name="connsiteX4" fmla="*/ 2500312 w 6581774"/>
                  <a:gd name="connsiteY4" fmla="*/ 3190875 h 3981450"/>
                  <a:gd name="connsiteX5" fmla="*/ 3357562 w 6581774"/>
                  <a:gd name="connsiteY5" fmla="*/ 2990850 h 3981450"/>
                  <a:gd name="connsiteX6" fmla="*/ 4110037 w 6581774"/>
                  <a:gd name="connsiteY6" fmla="*/ 3390900 h 3981450"/>
                  <a:gd name="connsiteX7" fmla="*/ 4186237 w 6581774"/>
                  <a:gd name="connsiteY7" fmla="*/ 2933700 h 3981450"/>
                  <a:gd name="connsiteX8" fmla="*/ 4443412 w 6581774"/>
                  <a:gd name="connsiteY8" fmla="*/ 2362200 h 3981450"/>
                  <a:gd name="connsiteX9" fmla="*/ 4957762 w 6581774"/>
                  <a:gd name="connsiteY9" fmla="*/ 2705100 h 3981450"/>
                  <a:gd name="connsiteX10" fmla="*/ 5872162 w 6581774"/>
                  <a:gd name="connsiteY10" fmla="*/ 2533650 h 3981450"/>
                  <a:gd name="connsiteX11" fmla="*/ 6443662 w 6581774"/>
                  <a:gd name="connsiteY11" fmla="*/ 2219325 h 3981450"/>
                  <a:gd name="connsiteX12" fmla="*/ 6472237 w 6581774"/>
                  <a:gd name="connsiteY12" fmla="*/ 1733550 h 3981450"/>
                  <a:gd name="connsiteX13" fmla="*/ 6272212 w 6581774"/>
                  <a:gd name="connsiteY13" fmla="*/ 1333500 h 3981450"/>
                  <a:gd name="connsiteX14" fmla="*/ 4614862 w 6581774"/>
                  <a:gd name="connsiteY14" fmla="*/ 1047750 h 3981450"/>
                  <a:gd name="connsiteX15" fmla="*/ 3529012 w 6581774"/>
                  <a:gd name="connsiteY15" fmla="*/ 104775 h 3981450"/>
                  <a:gd name="connsiteX16" fmla="*/ 3128962 w 6581774"/>
                  <a:gd name="connsiteY16" fmla="*/ 419100 h 3981450"/>
                  <a:gd name="connsiteX17" fmla="*/ 2586037 w 6581774"/>
                  <a:gd name="connsiteY17" fmla="*/ 2247900 h 3981450"/>
                  <a:gd name="connsiteX18" fmla="*/ 957262 w 6581774"/>
                  <a:gd name="connsiteY18" fmla="*/ 2619375 h 3981450"/>
                  <a:gd name="connsiteX19" fmla="*/ 100012 w 6581774"/>
                  <a:gd name="connsiteY19" fmla="*/ 3105150 h 3981450"/>
                  <a:gd name="connsiteX0" fmla="*/ 100012 w 6581774"/>
                  <a:gd name="connsiteY0" fmla="*/ 3105150 h 3981450"/>
                  <a:gd name="connsiteX1" fmla="*/ 357187 w 6581774"/>
                  <a:gd name="connsiteY1" fmla="*/ 3905250 h 3981450"/>
                  <a:gd name="connsiteX2" fmla="*/ 728662 w 6581774"/>
                  <a:gd name="connsiteY2" fmla="*/ 3562350 h 3981450"/>
                  <a:gd name="connsiteX3" fmla="*/ 1357312 w 6581774"/>
                  <a:gd name="connsiteY3" fmla="*/ 3305175 h 3981450"/>
                  <a:gd name="connsiteX4" fmla="*/ 2500312 w 6581774"/>
                  <a:gd name="connsiteY4" fmla="*/ 3190875 h 3981450"/>
                  <a:gd name="connsiteX5" fmla="*/ 3357562 w 6581774"/>
                  <a:gd name="connsiteY5" fmla="*/ 2990850 h 3981450"/>
                  <a:gd name="connsiteX6" fmla="*/ 4110037 w 6581774"/>
                  <a:gd name="connsiteY6" fmla="*/ 3390900 h 3981450"/>
                  <a:gd name="connsiteX7" fmla="*/ 3824287 w 6581774"/>
                  <a:gd name="connsiteY7" fmla="*/ 2876550 h 3981450"/>
                  <a:gd name="connsiteX8" fmla="*/ 4443412 w 6581774"/>
                  <a:gd name="connsiteY8" fmla="*/ 2362200 h 3981450"/>
                  <a:gd name="connsiteX9" fmla="*/ 4957762 w 6581774"/>
                  <a:gd name="connsiteY9" fmla="*/ 2705100 h 3981450"/>
                  <a:gd name="connsiteX10" fmla="*/ 5872162 w 6581774"/>
                  <a:gd name="connsiteY10" fmla="*/ 2533650 h 3981450"/>
                  <a:gd name="connsiteX11" fmla="*/ 6443662 w 6581774"/>
                  <a:gd name="connsiteY11" fmla="*/ 2219325 h 3981450"/>
                  <a:gd name="connsiteX12" fmla="*/ 6472237 w 6581774"/>
                  <a:gd name="connsiteY12" fmla="*/ 1733550 h 3981450"/>
                  <a:gd name="connsiteX13" fmla="*/ 6272212 w 6581774"/>
                  <a:gd name="connsiteY13" fmla="*/ 1333500 h 3981450"/>
                  <a:gd name="connsiteX14" fmla="*/ 4614862 w 6581774"/>
                  <a:gd name="connsiteY14" fmla="*/ 1047750 h 3981450"/>
                  <a:gd name="connsiteX15" fmla="*/ 3529012 w 6581774"/>
                  <a:gd name="connsiteY15" fmla="*/ 104775 h 3981450"/>
                  <a:gd name="connsiteX16" fmla="*/ 3128962 w 6581774"/>
                  <a:gd name="connsiteY16" fmla="*/ 419100 h 3981450"/>
                  <a:gd name="connsiteX17" fmla="*/ 2586037 w 6581774"/>
                  <a:gd name="connsiteY17" fmla="*/ 2247900 h 3981450"/>
                  <a:gd name="connsiteX18" fmla="*/ 957262 w 6581774"/>
                  <a:gd name="connsiteY18" fmla="*/ 2619375 h 3981450"/>
                  <a:gd name="connsiteX19" fmla="*/ 100012 w 6581774"/>
                  <a:gd name="connsiteY19" fmla="*/ 3105150 h 3981450"/>
                  <a:gd name="connsiteX0" fmla="*/ 100012 w 6581774"/>
                  <a:gd name="connsiteY0" fmla="*/ 3105150 h 5017168"/>
                  <a:gd name="connsiteX1" fmla="*/ 357187 w 6581774"/>
                  <a:gd name="connsiteY1" fmla="*/ 3905250 h 5017168"/>
                  <a:gd name="connsiteX2" fmla="*/ 728662 w 6581774"/>
                  <a:gd name="connsiteY2" fmla="*/ 3562350 h 5017168"/>
                  <a:gd name="connsiteX3" fmla="*/ 1357312 w 6581774"/>
                  <a:gd name="connsiteY3" fmla="*/ 3305175 h 5017168"/>
                  <a:gd name="connsiteX4" fmla="*/ 2500312 w 6581774"/>
                  <a:gd name="connsiteY4" fmla="*/ 3190875 h 5017168"/>
                  <a:gd name="connsiteX5" fmla="*/ 3357562 w 6581774"/>
                  <a:gd name="connsiteY5" fmla="*/ 2990850 h 5017168"/>
                  <a:gd name="connsiteX6" fmla="*/ 4110037 w 6581774"/>
                  <a:gd name="connsiteY6" fmla="*/ 3390900 h 5017168"/>
                  <a:gd name="connsiteX7" fmla="*/ 3824287 w 6581774"/>
                  <a:gd name="connsiteY7" fmla="*/ 2876550 h 5017168"/>
                  <a:gd name="connsiteX8" fmla="*/ 4443412 w 6581774"/>
                  <a:gd name="connsiteY8" fmla="*/ 2362200 h 5017168"/>
                  <a:gd name="connsiteX9" fmla="*/ 4071436 w 6581774"/>
                  <a:gd name="connsiteY9" fmla="*/ 4960018 h 5017168"/>
                  <a:gd name="connsiteX10" fmla="*/ 4957762 w 6581774"/>
                  <a:gd name="connsiteY10" fmla="*/ 2705100 h 5017168"/>
                  <a:gd name="connsiteX11" fmla="*/ 5872162 w 6581774"/>
                  <a:gd name="connsiteY11" fmla="*/ 2533650 h 5017168"/>
                  <a:gd name="connsiteX12" fmla="*/ 6443662 w 6581774"/>
                  <a:gd name="connsiteY12" fmla="*/ 2219325 h 5017168"/>
                  <a:gd name="connsiteX13" fmla="*/ 6472237 w 6581774"/>
                  <a:gd name="connsiteY13" fmla="*/ 1733550 h 5017168"/>
                  <a:gd name="connsiteX14" fmla="*/ 6272212 w 6581774"/>
                  <a:gd name="connsiteY14" fmla="*/ 1333500 h 5017168"/>
                  <a:gd name="connsiteX15" fmla="*/ 4614862 w 6581774"/>
                  <a:gd name="connsiteY15" fmla="*/ 1047750 h 5017168"/>
                  <a:gd name="connsiteX16" fmla="*/ 3529012 w 6581774"/>
                  <a:gd name="connsiteY16" fmla="*/ 104775 h 5017168"/>
                  <a:gd name="connsiteX17" fmla="*/ 3128962 w 6581774"/>
                  <a:gd name="connsiteY17" fmla="*/ 419100 h 5017168"/>
                  <a:gd name="connsiteX18" fmla="*/ 2586037 w 6581774"/>
                  <a:gd name="connsiteY18" fmla="*/ 2247900 h 5017168"/>
                  <a:gd name="connsiteX19" fmla="*/ 957262 w 6581774"/>
                  <a:gd name="connsiteY19" fmla="*/ 2619375 h 5017168"/>
                  <a:gd name="connsiteX20" fmla="*/ 100012 w 6581774"/>
                  <a:gd name="connsiteY20" fmla="*/ 3105150 h 5017168"/>
                  <a:gd name="connsiteX0" fmla="*/ 100012 w 6581774"/>
                  <a:gd name="connsiteY0" fmla="*/ 3105150 h 5052427"/>
                  <a:gd name="connsiteX1" fmla="*/ 357187 w 6581774"/>
                  <a:gd name="connsiteY1" fmla="*/ 3905250 h 5052427"/>
                  <a:gd name="connsiteX2" fmla="*/ 728662 w 6581774"/>
                  <a:gd name="connsiteY2" fmla="*/ 3562350 h 5052427"/>
                  <a:gd name="connsiteX3" fmla="*/ 1357312 w 6581774"/>
                  <a:gd name="connsiteY3" fmla="*/ 3305175 h 5052427"/>
                  <a:gd name="connsiteX4" fmla="*/ 2500312 w 6581774"/>
                  <a:gd name="connsiteY4" fmla="*/ 3190875 h 5052427"/>
                  <a:gd name="connsiteX5" fmla="*/ 3357562 w 6581774"/>
                  <a:gd name="connsiteY5" fmla="*/ 2990850 h 5052427"/>
                  <a:gd name="connsiteX6" fmla="*/ 4110037 w 6581774"/>
                  <a:gd name="connsiteY6" fmla="*/ 3390900 h 5052427"/>
                  <a:gd name="connsiteX7" fmla="*/ 3824287 w 6581774"/>
                  <a:gd name="connsiteY7" fmla="*/ 2876550 h 5052427"/>
                  <a:gd name="connsiteX8" fmla="*/ 4443412 w 6581774"/>
                  <a:gd name="connsiteY8" fmla="*/ 2362200 h 5052427"/>
                  <a:gd name="connsiteX9" fmla="*/ 4215815 w 6581774"/>
                  <a:gd name="connsiteY9" fmla="*/ 3259555 h 5052427"/>
                  <a:gd name="connsiteX10" fmla="*/ 4071436 w 6581774"/>
                  <a:gd name="connsiteY10" fmla="*/ 4960018 h 5052427"/>
                  <a:gd name="connsiteX11" fmla="*/ 4957762 w 6581774"/>
                  <a:gd name="connsiteY11" fmla="*/ 2705100 h 5052427"/>
                  <a:gd name="connsiteX12" fmla="*/ 5872162 w 6581774"/>
                  <a:gd name="connsiteY12" fmla="*/ 2533650 h 5052427"/>
                  <a:gd name="connsiteX13" fmla="*/ 6443662 w 6581774"/>
                  <a:gd name="connsiteY13" fmla="*/ 2219325 h 5052427"/>
                  <a:gd name="connsiteX14" fmla="*/ 6472237 w 6581774"/>
                  <a:gd name="connsiteY14" fmla="*/ 1733550 h 5052427"/>
                  <a:gd name="connsiteX15" fmla="*/ 6272212 w 6581774"/>
                  <a:gd name="connsiteY15" fmla="*/ 1333500 h 5052427"/>
                  <a:gd name="connsiteX16" fmla="*/ 4614862 w 6581774"/>
                  <a:gd name="connsiteY16" fmla="*/ 1047750 h 5052427"/>
                  <a:gd name="connsiteX17" fmla="*/ 3529012 w 6581774"/>
                  <a:gd name="connsiteY17" fmla="*/ 104775 h 5052427"/>
                  <a:gd name="connsiteX18" fmla="*/ 3128962 w 6581774"/>
                  <a:gd name="connsiteY18" fmla="*/ 419100 h 5052427"/>
                  <a:gd name="connsiteX19" fmla="*/ 2586037 w 6581774"/>
                  <a:gd name="connsiteY19" fmla="*/ 2247900 h 5052427"/>
                  <a:gd name="connsiteX20" fmla="*/ 957262 w 6581774"/>
                  <a:gd name="connsiteY20" fmla="*/ 2619375 h 5052427"/>
                  <a:gd name="connsiteX21" fmla="*/ 100012 w 6581774"/>
                  <a:gd name="connsiteY21" fmla="*/ 3105150 h 5052427"/>
                  <a:gd name="connsiteX0" fmla="*/ 100012 w 6581774"/>
                  <a:gd name="connsiteY0" fmla="*/ 3105150 h 5052427"/>
                  <a:gd name="connsiteX1" fmla="*/ 357187 w 6581774"/>
                  <a:gd name="connsiteY1" fmla="*/ 3905250 h 5052427"/>
                  <a:gd name="connsiteX2" fmla="*/ 728662 w 6581774"/>
                  <a:gd name="connsiteY2" fmla="*/ 3562350 h 5052427"/>
                  <a:gd name="connsiteX3" fmla="*/ 1357312 w 6581774"/>
                  <a:gd name="connsiteY3" fmla="*/ 3305175 h 5052427"/>
                  <a:gd name="connsiteX4" fmla="*/ 2500312 w 6581774"/>
                  <a:gd name="connsiteY4" fmla="*/ 3190875 h 5052427"/>
                  <a:gd name="connsiteX5" fmla="*/ 3357562 w 6581774"/>
                  <a:gd name="connsiteY5" fmla="*/ 2990850 h 5052427"/>
                  <a:gd name="connsiteX6" fmla="*/ 3917532 w 6581774"/>
                  <a:gd name="connsiteY6" fmla="*/ 3390900 h 5052427"/>
                  <a:gd name="connsiteX7" fmla="*/ 3824287 w 6581774"/>
                  <a:gd name="connsiteY7" fmla="*/ 2876550 h 5052427"/>
                  <a:gd name="connsiteX8" fmla="*/ 4443412 w 6581774"/>
                  <a:gd name="connsiteY8" fmla="*/ 2362200 h 5052427"/>
                  <a:gd name="connsiteX9" fmla="*/ 4215815 w 6581774"/>
                  <a:gd name="connsiteY9" fmla="*/ 3259555 h 5052427"/>
                  <a:gd name="connsiteX10" fmla="*/ 4071436 w 6581774"/>
                  <a:gd name="connsiteY10" fmla="*/ 4960018 h 5052427"/>
                  <a:gd name="connsiteX11" fmla="*/ 4957762 w 6581774"/>
                  <a:gd name="connsiteY11" fmla="*/ 2705100 h 5052427"/>
                  <a:gd name="connsiteX12" fmla="*/ 5872162 w 6581774"/>
                  <a:gd name="connsiteY12" fmla="*/ 2533650 h 5052427"/>
                  <a:gd name="connsiteX13" fmla="*/ 6443662 w 6581774"/>
                  <a:gd name="connsiteY13" fmla="*/ 2219325 h 5052427"/>
                  <a:gd name="connsiteX14" fmla="*/ 6472237 w 6581774"/>
                  <a:gd name="connsiteY14" fmla="*/ 1733550 h 5052427"/>
                  <a:gd name="connsiteX15" fmla="*/ 6272212 w 6581774"/>
                  <a:gd name="connsiteY15" fmla="*/ 1333500 h 5052427"/>
                  <a:gd name="connsiteX16" fmla="*/ 4614862 w 6581774"/>
                  <a:gd name="connsiteY16" fmla="*/ 1047750 h 5052427"/>
                  <a:gd name="connsiteX17" fmla="*/ 3529012 w 6581774"/>
                  <a:gd name="connsiteY17" fmla="*/ 104775 h 5052427"/>
                  <a:gd name="connsiteX18" fmla="*/ 3128962 w 6581774"/>
                  <a:gd name="connsiteY18" fmla="*/ 419100 h 5052427"/>
                  <a:gd name="connsiteX19" fmla="*/ 2586037 w 6581774"/>
                  <a:gd name="connsiteY19" fmla="*/ 2247900 h 5052427"/>
                  <a:gd name="connsiteX20" fmla="*/ 957262 w 6581774"/>
                  <a:gd name="connsiteY20" fmla="*/ 2619375 h 5052427"/>
                  <a:gd name="connsiteX21" fmla="*/ 100012 w 6581774"/>
                  <a:gd name="connsiteY21" fmla="*/ 3105150 h 5052427"/>
                  <a:gd name="connsiteX0" fmla="*/ 100012 w 6581774"/>
                  <a:gd name="connsiteY0" fmla="*/ 3105150 h 5485563"/>
                  <a:gd name="connsiteX1" fmla="*/ 357187 w 6581774"/>
                  <a:gd name="connsiteY1" fmla="*/ 3905250 h 5485563"/>
                  <a:gd name="connsiteX2" fmla="*/ 728662 w 6581774"/>
                  <a:gd name="connsiteY2" fmla="*/ 3562350 h 5485563"/>
                  <a:gd name="connsiteX3" fmla="*/ 1357312 w 6581774"/>
                  <a:gd name="connsiteY3" fmla="*/ 3305175 h 5485563"/>
                  <a:gd name="connsiteX4" fmla="*/ 2500312 w 6581774"/>
                  <a:gd name="connsiteY4" fmla="*/ 3190875 h 5485563"/>
                  <a:gd name="connsiteX5" fmla="*/ 3357562 w 6581774"/>
                  <a:gd name="connsiteY5" fmla="*/ 2990850 h 5485563"/>
                  <a:gd name="connsiteX6" fmla="*/ 3917532 w 6581774"/>
                  <a:gd name="connsiteY6" fmla="*/ 3390900 h 5485563"/>
                  <a:gd name="connsiteX7" fmla="*/ 3824287 w 6581774"/>
                  <a:gd name="connsiteY7" fmla="*/ 2876550 h 5485563"/>
                  <a:gd name="connsiteX8" fmla="*/ 4443412 w 6581774"/>
                  <a:gd name="connsiteY8" fmla="*/ 2362200 h 5485563"/>
                  <a:gd name="connsiteX9" fmla="*/ 4215815 w 6581774"/>
                  <a:gd name="connsiteY9" fmla="*/ 3259555 h 5485563"/>
                  <a:gd name="connsiteX10" fmla="*/ 4023310 w 6581774"/>
                  <a:gd name="connsiteY10" fmla="*/ 5393154 h 5485563"/>
                  <a:gd name="connsiteX11" fmla="*/ 4957762 w 6581774"/>
                  <a:gd name="connsiteY11" fmla="*/ 2705100 h 5485563"/>
                  <a:gd name="connsiteX12" fmla="*/ 5872162 w 6581774"/>
                  <a:gd name="connsiteY12" fmla="*/ 2533650 h 5485563"/>
                  <a:gd name="connsiteX13" fmla="*/ 6443662 w 6581774"/>
                  <a:gd name="connsiteY13" fmla="*/ 2219325 h 5485563"/>
                  <a:gd name="connsiteX14" fmla="*/ 6472237 w 6581774"/>
                  <a:gd name="connsiteY14" fmla="*/ 1733550 h 5485563"/>
                  <a:gd name="connsiteX15" fmla="*/ 6272212 w 6581774"/>
                  <a:gd name="connsiteY15" fmla="*/ 1333500 h 5485563"/>
                  <a:gd name="connsiteX16" fmla="*/ 4614862 w 6581774"/>
                  <a:gd name="connsiteY16" fmla="*/ 1047750 h 5485563"/>
                  <a:gd name="connsiteX17" fmla="*/ 3529012 w 6581774"/>
                  <a:gd name="connsiteY17" fmla="*/ 104775 h 5485563"/>
                  <a:gd name="connsiteX18" fmla="*/ 3128962 w 6581774"/>
                  <a:gd name="connsiteY18" fmla="*/ 419100 h 5485563"/>
                  <a:gd name="connsiteX19" fmla="*/ 2586037 w 6581774"/>
                  <a:gd name="connsiteY19" fmla="*/ 2247900 h 5485563"/>
                  <a:gd name="connsiteX20" fmla="*/ 957262 w 6581774"/>
                  <a:gd name="connsiteY20" fmla="*/ 2619375 h 5485563"/>
                  <a:gd name="connsiteX21" fmla="*/ 100012 w 6581774"/>
                  <a:gd name="connsiteY21" fmla="*/ 3105150 h 5485563"/>
                  <a:gd name="connsiteX0" fmla="*/ 100012 w 6581774"/>
                  <a:gd name="connsiteY0" fmla="*/ 3105150 h 5485563"/>
                  <a:gd name="connsiteX1" fmla="*/ 357187 w 6581774"/>
                  <a:gd name="connsiteY1" fmla="*/ 3905250 h 5485563"/>
                  <a:gd name="connsiteX2" fmla="*/ 728662 w 6581774"/>
                  <a:gd name="connsiteY2" fmla="*/ 3562350 h 5485563"/>
                  <a:gd name="connsiteX3" fmla="*/ 1357312 w 6581774"/>
                  <a:gd name="connsiteY3" fmla="*/ 3305175 h 5485563"/>
                  <a:gd name="connsiteX4" fmla="*/ 2500312 w 6581774"/>
                  <a:gd name="connsiteY4" fmla="*/ 3190875 h 5485563"/>
                  <a:gd name="connsiteX5" fmla="*/ 3357562 w 6581774"/>
                  <a:gd name="connsiteY5" fmla="*/ 2990850 h 5485563"/>
                  <a:gd name="connsiteX6" fmla="*/ 3917532 w 6581774"/>
                  <a:gd name="connsiteY6" fmla="*/ 3390900 h 5485563"/>
                  <a:gd name="connsiteX7" fmla="*/ 3824287 w 6581774"/>
                  <a:gd name="connsiteY7" fmla="*/ 2876550 h 5485563"/>
                  <a:gd name="connsiteX8" fmla="*/ 4443412 w 6581774"/>
                  <a:gd name="connsiteY8" fmla="*/ 2362200 h 5485563"/>
                  <a:gd name="connsiteX9" fmla="*/ 4167688 w 6581774"/>
                  <a:gd name="connsiteY9" fmla="*/ 3259555 h 5485563"/>
                  <a:gd name="connsiteX10" fmla="*/ 4023310 w 6581774"/>
                  <a:gd name="connsiteY10" fmla="*/ 5393154 h 5485563"/>
                  <a:gd name="connsiteX11" fmla="*/ 4957762 w 6581774"/>
                  <a:gd name="connsiteY11" fmla="*/ 2705100 h 5485563"/>
                  <a:gd name="connsiteX12" fmla="*/ 5872162 w 6581774"/>
                  <a:gd name="connsiteY12" fmla="*/ 2533650 h 5485563"/>
                  <a:gd name="connsiteX13" fmla="*/ 6443662 w 6581774"/>
                  <a:gd name="connsiteY13" fmla="*/ 2219325 h 5485563"/>
                  <a:gd name="connsiteX14" fmla="*/ 6472237 w 6581774"/>
                  <a:gd name="connsiteY14" fmla="*/ 1733550 h 5485563"/>
                  <a:gd name="connsiteX15" fmla="*/ 6272212 w 6581774"/>
                  <a:gd name="connsiteY15" fmla="*/ 1333500 h 5485563"/>
                  <a:gd name="connsiteX16" fmla="*/ 4614862 w 6581774"/>
                  <a:gd name="connsiteY16" fmla="*/ 1047750 h 5485563"/>
                  <a:gd name="connsiteX17" fmla="*/ 3529012 w 6581774"/>
                  <a:gd name="connsiteY17" fmla="*/ 104775 h 5485563"/>
                  <a:gd name="connsiteX18" fmla="*/ 3128962 w 6581774"/>
                  <a:gd name="connsiteY18" fmla="*/ 419100 h 5485563"/>
                  <a:gd name="connsiteX19" fmla="*/ 2586037 w 6581774"/>
                  <a:gd name="connsiteY19" fmla="*/ 2247900 h 5485563"/>
                  <a:gd name="connsiteX20" fmla="*/ 957262 w 6581774"/>
                  <a:gd name="connsiteY20" fmla="*/ 2619375 h 5485563"/>
                  <a:gd name="connsiteX21" fmla="*/ 100012 w 6581774"/>
                  <a:gd name="connsiteY21" fmla="*/ 3105150 h 5485563"/>
                  <a:gd name="connsiteX0" fmla="*/ 100012 w 6581774"/>
                  <a:gd name="connsiteY0" fmla="*/ 3105150 h 5525669"/>
                  <a:gd name="connsiteX1" fmla="*/ 357187 w 6581774"/>
                  <a:gd name="connsiteY1" fmla="*/ 3905250 h 5525669"/>
                  <a:gd name="connsiteX2" fmla="*/ 728662 w 6581774"/>
                  <a:gd name="connsiteY2" fmla="*/ 3562350 h 5525669"/>
                  <a:gd name="connsiteX3" fmla="*/ 1357312 w 6581774"/>
                  <a:gd name="connsiteY3" fmla="*/ 3305175 h 5525669"/>
                  <a:gd name="connsiteX4" fmla="*/ 2500312 w 6581774"/>
                  <a:gd name="connsiteY4" fmla="*/ 3190875 h 5525669"/>
                  <a:gd name="connsiteX5" fmla="*/ 3357562 w 6581774"/>
                  <a:gd name="connsiteY5" fmla="*/ 2990850 h 5525669"/>
                  <a:gd name="connsiteX6" fmla="*/ 3917532 w 6581774"/>
                  <a:gd name="connsiteY6" fmla="*/ 3390900 h 5525669"/>
                  <a:gd name="connsiteX7" fmla="*/ 3824287 w 6581774"/>
                  <a:gd name="connsiteY7" fmla="*/ 2876550 h 5525669"/>
                  <a:gd name="connsiteX8" fmla="*/ 4443412 w 6581774"/>
                  <a:gd name="connsiteY8" fmla="*/ 2362200 h 5525669"/>
                  <a:gd name="connsiteX9" fmla="*/ 4167688 w 6581774"/>
                  <a:gd name="connsiteY9" fmla="*/ 3500187 h 5525669"/>
                  <a:gd name="connsiteX10" fmla="*/ 4023310 w 6581774"/>
                  <a:gd name="connsiteY10" fmla="*/ 5393154 h 5525669"/>
                  <a:gd name="connsiteX11" fmla="*/ 4957762 w 6581774"/>
                  <a:gd name="connsiteY11" fmla="*/ 2705100 h 5525669"/>
                  <a:gd name="connsiteX12" fmla="*/ 5872162 w 6581774"/>
                  <a:gd name="connsiteY12" fmla="*/ 2533650 h 5525669"/>
                  <a:gd name="connsiteX13" fmla="*/ 6443662 w 6581774"/>
                  <a:gd name="connsiteY13" fmla="*/ 2219325 h 5525669"/>
                  <a:gd name="connsiteX14" fmla="*/ 6472237 w 6581774"/>
                  <a:gd name="connsiteY14" fmla="*/ 1733550 h 5525669"/>
                  <a:gd name="connsiteX15" fmla="*/ 6272212 w 6581774"/>
                  <a:gd name="connsiteY15" fmla="*/ 1333500 h 5525669"/>
                  <a:gd name="connsiteX16" fmla="*/ 4614862 w 6581774"/>
                  <a:gd name="connsiteY16" fmla="*/ 1047750 h 5525669"/>
                  <a:gd name="connsiteX17" fmla="*/ 3529012 w 6581774"/>
                  <a:gd name="connsiteY17" fmla="*/ 104775 h 5525669"/>
                  <a:gd name="connsiteX18" fmla="*/ 3128962 w 6581774"/>
                  <a:gd name="connsiteY18" fmla="*/ 419100 h 5525669"/>
                  <a:gd name="connsiteX19" fmla="*/ 2586037 w 6581774"/>
                  <a:gd name="connsiteY19" fmla="*/ 2247900 h 5525669"/>
                  <a:gd name="connsiteX20" fmla="*/ 957262 w 6581774"/>
                  <a:gd name="connsiteY20" fmla="*/ 2619375 h 5525669"/>
                  <a:gd name="connsiteX21" fmla="*/ 100012 w 6581774"/>
                  <a:gd name="connsiteY21" fmla="*/ 3105150 h 5525669"/>
                  <a:gd name="connsiteX0" fmla="*/ 100012 w 6581774"/>
                  <a:gd name="connsiteY0" fmla="*/ 3105150 h 5525669"/>
                  <a:gd name="connsiteX1" fmla="*/ 357187 w 6581774"/>
                  <a:gd name="connsiteY1" fmla="*/ 3905250 h 5525669"/>
                  <a:gd name="connsiteX2" fmla="*/ 728662 w 6581774"/>
                  <a:gd name="connsiteY2" fmla="*/ 3562350 h 5525669"/>
                  <a:gd name="connsiteX3" fmla="*/ 1357312 w 6581774"/>
                  <a:gd name="connsiteY3" fmla="*/ 3305175 h 5525669"/>
                  <a:gd name="connsiteX4" fmla="*/ 2500312 w 6581774"/>
                  <a:gd name="connsiteY4" fmla="*/ 3190875 h 5525669"/>
                  <a:gd name="connsiteX5" fmla="*/ 3357562 w 6581774"/>
                  <a:gd name="connsiteY5" fmla="*/ 2990850 h 5525669"/>
                  <a:gd name="connsiteX6" fmla="*/ 3917532 w 6581774"/>
                  <a:gd name="connsiteY6" fmla="*/ 3390900 h 5525669"/>
                  <a:gd name="connsiteX7" fmla="*/ 3824287 w 6581774"/>
                  <a:gd name="connsiteY7" fmla="*/ 2876550 h 5525669"/>
                  <a:gd name="connsiteX8" fmla="*/ 4443412 w 6581774"/>
                  <a:gd name="connsiteY8" fmla="*/ 2362200 h 5525669"/>
                  <a:gd name="connsiteX9" fmla="*/ 4167688 w 6581774"/>
                  <a:gd name="connsiteY9" fmla="*/ 3500187 h 5525669"/>
                  <a:gd name="connsiteX10" fmla="*/ 4023310 w 6581774"/>
                  <a:gd name="connsiteY10" fmla="*/ 5393154 h 5525669"/>
                  <a:gd name="connsiteX11" fmla="*/ 4957762 w 6581774"/>
                  <a:gd name="connsiteY11" fmla="*/ 2705100 h 5525669"/>
                  <a:gd name="connsiteX12" fmla="*/ 5872162 w 6581774"/>
                  <a:gd name="connsiteY12" fmla="*/ 2533650 h 5525669"/>
                  <a:gd name="connsiteX13" fmla="*/ 6443662 w 6581774"/>
                  <a:gd name="connsiteY13" fmla="*/ 2219325 h 5525669"/>
                  <a:gd name="connsiteX14" fmla="*/ 6472237 w 6581774"/>
                  <a:gd name="connsiteY14" fmla="*/ 1733550 h 5525669"/>
                  <a:gd name="connsiteX15" fmla="*/ 6272212 w 6581774"/>
                  <a:gd name="connsiteY15" fmla="*/ 1333500 h 5525669"/>
                  <a:gd name="connsiteX16" fmla="*/ 4614862 w 6581774"/>
                  <a:gd name="connsiteY16" fmla="*/ 1047750 h 5525669"/>
                  <a:gd name="connsiteX17" fmla="*/ 3529012 w 6581774"/>
                  <a:gd name="connsiteY17" fmla="*/ 104775 h 5525669"/>
                  <a:gd name="connsiteX18" fmla="*/ 3128962 w 6581774"/>
                  <a:gd name="connsiteY18" fmla="*/ 419100 h 5525669"/>
                  <a:gd name="connsiteX19" fmla="*/ 2586037 w 6581774"/>
                  <a:gd name="connsiteY19" fmla="*/ 2247900 h 5525669"/>
                  <a:gd name="connsiteX20" fmla="*/ 957262 w 6581774"/>
                  <a:gd name="connsiteY20" fmla="*/ 2619375 h 5525669"/>
                  <a:gd name="connsiteX21" fmla="*/ 100012 w 6581774"/>
                  <a:gd name="connsiteY21" fmla="*/ 3105150 h 5525669"/>
                  <a:gd name="connsiteX0" fmla="*/ 100012 w 6581774"/>
                  <a:gd name="connsiteY0" fmla="*/ 3105150 h 5547058"/>
                  <a:gd name="connsiteX1" fmla="*/ 357187 w 6581774"/>
                  <a:gd name="connsiteY1" fmla="*/ 3905250 h 5547058"/>
                  <a:gd name="connsiteX2" fmla="*/ 728662 w 6581774"/>
                  <a:gd name="connsiteY2" fmla="*/ 3562350 h 5547058"/>
                  <a:gd name="connsiteX3" fmla="*/ 1357312 w 6581774"/>
                  <a:gd name="connsiteY3" fmla="*/ 3305175 h 5547058"/>
                  <a:gd name="connsiteX4" fmla="*/ 2500312 w 6581774"/>
                  <a:gd name="connsiteY4" fmla="*/ 3190875 h 5547058"/>
                  <a:gd name="connsiteX5" fmla="*/ 3357562 w 6581774"/>
                  <a:gd name="connsiteY5" fmla="*/ 2990850 h 5547058"/>
                  <a:gd name="connsiteX6" fmla="*/ 3917532 w 6581774"/>
                  <a:gd name="connsiteY6" fmla="*/ 3390900 h 5547058"/>
                  <a:gd name="connsiteX7" fmla="*/ 3824287 w 6581774"/>
                  <a:gd name="connsiteY7" fmla="*/ 2876550 h 5547058"/>
                  <a:gd name="connsiteX8" fmla="*/ 4443412 w 6581774"/>
                  <a:gd name="connsiteY8" fmla="*/ 2362200 h 5547058"/>
                  <a:gd name="connsiteX9" fmla="*/ 4087478 w 6581774"/>
                  <a:gd name="connsiteY9" fmla="*/ 3628524 h 5547058"/>
                  <a:gd name="connsiteX10" fmla="*/ 4023310 w 6581774"/>
                  <a:gd name="connsiteY10" fmla="*/ 5393154 h 5547058"/>
                  <a:gd name="connsiteX11" fmla="*/ 4957762 w 6581774"/>
                  <a:gd name="connsiteY11" fmla="*/ 2705100 h 5547058"/>
                  <a:gd name="connsiteX12" fmla="*/ 5872162 w 6581774"/>
                  <a:gd name="connsiteY12" fmla="*/ 2533650 h 5547058"/>
                  <a:gd name="connsiteX13" fmla="*/ 6443662 w 6581774"/>
                  <a:gd name="connsiteY13" fmla="*/ 2219325 h 5547058"/>
                  <a:gd name="connsiteX14" fmla="*/ 6472237 w 6581774"/>
                  <a:gd name="connsiteY14" fmla="*/ 1733550 h 5547058"/>
                  <a:gd name="connsiteX15" fmla="*/ 6272212 w 6581774"/>
                  <a:gd name="connsiteY15" fmla="*/ 1333500 h 5547058"/>
                  <a:gd name="connsiteX16" fmla="*/ 4614862 w 6581774"/>
                  <a:gd name="connsiteY16" fmla="*/ 1047750 h 5547058"/>
                  <a:gd name="connsiteX17" fmla="*/ 3529012 w 6581774"/>
                  <a:gd name="connsiteY17" fmla="*/ 104775 h 5547058"/>
                  <a:gd name="connsiteX18" fmla="*/ 3128962 w 6581774"/>
                  <a:gd name="connsiteY18" fmla="*/ 419100 h 5547058"/>
                  <a:gd name="connsiteX19" fmla="*/ 2586037 w 6581774"/>
                  <a:gd name="connsiteY19" fmla="*/ 2247900 h 5547058"/>
                  <a:gd name="connsiteX20" fmla="*/ 957262 w 6581774"/>
                  <a:gd name="connsiteY20" fmla="*/ 2619375 h 5547058"/>
                  <a:gd name="connsiteX21" fmla="*/ 100012 w 6581774"/>
                  <a:gd name="connsiteY21" fmla="*/ 3105150 h 5547058"/>
                  <a:gd name="connsiteX0" fmla="*/ 100012 w 6581774"/>
                  <a:gd name="connsiteY0" fmla="*/ 3105150 h 5547058"/>
                  <a:gd name="connsiteX1" fmla="*/ 357187 w 6581774"/>
                  <a:gd name="connsiteY1" fmla="*/ 3905250 h 5547058"/>
                  <a:gd name="connsiteX2" fmla="*/ 728662 w 6581774"/>
                  <a:gd name="connsiteY2" fmla="*/ 3562350 h 5547058"/>
                  <a:gd name="connsiteX3" fmla="*/ 1357312 w 6581774"/>
                  <a:gd name="connsiteY3" fmla="*/ 3305175 h 5547058"/>
                  <a:gd name="connsiteX4" fmla="*/ 2500312 w 6581774"/>
                  <a:gd name="connsiteY4" fmla="*/ 3190875 h 5547058"/>
                  <a:gd name="connsiteX5" fmla="*/ 3357562 w 6581774"/>
                  <a:gd name="connsiteY5" fmla="*/ 2990850 h 5547058"/>
                  <a:gd name="connsiteX6" fmla="*/ 3917532 w 6581774"/>
                  <a:gd name="connsiteY6" fmla="*/ 3390900 h 5547058"/>
                  <a:gd name="connsiteX7" fmla="*/ 3824287 w 6581774"/>
                  <a:gd name="connsiteY7" fmla="*/ 2876550 h 5547058"/>
                  <a:gd name="connsiteX8" fmla="*/ 4443412 w 6581774"/>
                  <a:gd name="connsiteY8" fmla="*/ 2362200 h 5547058"/>
                  <a:gd name="connsiteX9" fmla="*/ 4087478 w 6581774"/>
                  <a:gd name="connsiteY9" fmla="*/ 3628524 h 5547058"/>
                  <a:gd name="connsiteX10" fmla="*/ 4023310 w 6581774"/>
                  <a:gd name="connsiteY10" fmla="*/ 5393154 h 5547058"/>
                  <a:gd name="connsiteX11" fmla="*/ 4957762 w 6581774"/>
                  <a:gd name="connsiteY11" fmla="*/ 2705100 h 5547058"/>
                  <a:gd name="connsiteX12" fmla="*/ 5872162 w 6581774"/>
                  <a:gd name="connsiteY12" fmla="*/ 2533650 h 5547058"/>
                  <a:gd name="connsiteX13" fmla="*/ 6443662 w 6581774"/>
                  <a:gd name="connsiteY13" fmla="*/ 2219325 h 5547058"/>
                  <a:gd name="connsiteX14" fmla="*/ 6472237 w 6581774"/>
                  <a:gd name="connsiteY14" fmla="*/ 1733550 h 5547058"/>
                  <a:gd name="connsiteX15" fmla="*/ 6272212 w 6581774"/>
                  <a:gd name="connsiteY15" fmla="*/ 1333500 h 5547058"/>
                  <a:gd name="connsiteX16" fmla="*/ 4614862 w 6581774"/>
                  <a:gd name="connsiteY16" fmla="*/ 1047750 h 5547058"/>
                  <a:gd name="connsiteX17" fmla="*/ 3529012 w 6581774"/>
                  <a:gd name="connsiteY17" fmla="*/ 104775 h 5547058"/>
                  <a:gd name="connsiteX18" fmla="*/ 3128962 w 6581774"/>
                  <a:gd name="connsiteY18" fmla="*/ 419100 h 5547058"/>
                  <a:gd name="connsiteX19" fmla="*/ 2586037 w 6581774"/>
                  <a:gd name="connsiteY19" fmla="*/ 2247900 h 5547058"/>
                  <a:gd name="connsiteX20" fmla="*/ 957262 w 6581774"/>
                  <a:gd name="connsiteY20" fmla="*/ 2619375 h 5547058"/>
                  <a:gd name="connsiteX21" fmla="*/ 100012 w 6581774"/>
                  <a:gd name="connsiteY21" fmla="*/ 3105150 h 5547058"/>
                  <a:gd name="connsiteX0" fmla="*/ 100012 w 6581774"/>
                  <a:gd name="connsiteY0" fmla="*/ 3105150 h 5547058"/>
                  <a:gd name="connsiteX1" fmla="*/ 357187 w 6581774"/>
                  <a:gd name="connsiteY1" fmla="*/ 3905250 h 5547058"/>
                  <a:gd name="connsiteX2" fmla="*/ 728662 w 6581774"/>
                  <a:gd name="connsiteY2" fmla="*/ 3562350 h 5547058"/>
                  <a:gd name="connsiteX3" fmla="*/ 1357312 w 6581774"/>
                  <a:gd name="connsiteY3" fmla="*/ 3305175 h 5547058"/>
                  <a:gd name="connsiteX4" fmla="*/ 2500312 w 6581774"/>
                  <a:gd name="connsiteY4" fmla="*/ 3190875 h 5547058"/>
                  <a:gd name="connsiteX5" fmla="*/ 3357562 w 6581774"/>
                  <a:gd name="connsiteY5" fmla="*/ 2990850 h 5547058"/>
                  <a:gd name="connsiteX6" fmla="*/ 3917532 w 6581774"/>
                  <a:gd name="connsiteY6" fmla="*/ 3390900 h 5547058"/>
                  <a:gd name="connsiteX7" fmla="*/ 3824287 w 6581774"/>
                  <a:gd name="connsiteY7" fmla="*/ 2876550 h 5547058"/>
                  <a:gd name="connsiteX8" fmla="*/ 4443412 w 6581774"/>
                  <a:gd name="connsiteY8" fmla="*/ 2362200 h 5547058"/>
                  <a:gd name="connsiteX9" fmla="*/ 4087478 w 6581774"/>
                  <a:gd name="connsiteY9" fmla="*/ 3628524 h 5547058"/>
                  <a:gd name="connsiteX10" fmla="*/ 4023310 w 6581774"/>
                  <a:gd name="connsiteY10" fmla="*/ 5393154 h 5547058"/>
                  <a:gd name="connsiteX11" fmla="*/ 4957762 w 6581774"/>
                  <a:gd name="connsiteY11" fmla="*/ 2705100 h 5547058"/>
                  <a:gd name="connsiteX12" fmla="*/ 5872162 w 6581774"/>
                  <a:gd name="connsiteY12" fmla="*/ 2533650 h 5547058"/>
                  <a:gd name="connsiteX13" fmla="*/ 6443662 w 6581774"/>
                  <a:gd name="connsiteY13" fmla="*/ 2219325 h 5547058"/>
                  <a:gd name="connsiteX14" fmla="*/ 6472237 w 6581774"/>
                  <a:gd name="connsiteY14" fmla="*/ 1733550 h 5547058"/>
                  <a:gd name="connsiteX15" fmla="*/ 6272212 w 6581774"/>
                  <a:gd name="connsiteY15" fmla="*/ 1333500 h 5547058"/>
                  <a:gd name="connsiteX16" fmla="*/ 4614862 w 6581774"/>
                  <a:gd name="connsiteY16" fmla="*/ 1047750 h 5547058"/>
                  <a:gd name="connsiteX17" fmla="*/ 3529012 w 6581774"/>
                  <a:gd name="connsiteY17" fmla="*/ 104775 h 5547058"/>
                  <a:gd name="connsiteX18" fmla="*/ 3128962 w 6581774"/>
                  <a:gd name="connsiteY18" fmla="*/ 419100 h 5547058"/>
                  <a:gd name="connsiteX19" fmla="*/ 2586037 w 6581774"/>
                  <a:gd name="connsiteY19" fmla="*/ 2247900 h 5547058"/>
                  <a:gd name="connsiteX20" fmla="*/ 957262 w 6581774"/>
                  <a:gd name="connsiteY20" fmla="*/ 2619375 h 5547058"/>
                  <a:gd name="connsiteX21" fmla="*/ 100012 w 6581774"/>
                  <a:gd name="connsiteY21" fmla="*/ 3105150 h 5547058"/>
                  <a:gd name="connsiteX0" fmla="*/ 100012 w 6581774"/>
                  <a:gd name="connsiteY0" fmla="*/ 3105150 h 5547058"/>
                  <a:gd name="connsiteX1" fmla="*/ 357187 w 6581774"/>
                  <a:gd name="connsiteY1" fmla="*/ 3905250 h 5547058"/>
                  <a:gd name="connsiteX2" fmla="*/ 728662 w 6581774"/>
                  <a:gd name="connsiteY2" fmla="*/ 3562350 h 5547058"/>
                  <a:gd name="connsiteX3" fmla="*/ 1357312 w 6581774"/>
                  <a:gd name="connsiteY3" fmla="*/ 3305175 h 5547058"/>
                  <a:gd name="connsiteX4" fmla="*/ 2500312 w 6581774"/>
                  <a:gd name="connsiteY4" fmla="*/ 3190875 h 5547058"/>
                  <a:gd name="connsiteX5" fmla="*/ 3357562 w 6581774"/>
                  <a:gd name="connsiteY5" fmla="*/ 2990850 h 5547058"/>
                  <a:gd name="connsiteX6" fmla="*/ 3917532 w 6581774"/>
                  <a:gd name="connsiteY6" fmla="*/ 3390900 h 5547058"/>
                  <a:gd name="connsiteX7" fmla="*/ 3824287 w 6581774"/>
                  <a:gd name="connsiteY7" fmla="*/ 2876550 h 5547058"/>
                  <a:gd name="connsiteX8" fmla="*/ 4443412 w 6581774"/>
                  <a:gd name="connsiteY8" fmla="*/ 2362200 h 5547058"/>
                  <a:gd name="connsiteX9" fmla="*/ 4087478 w 6581774"/>
                  <a:gd name="connsiteY9" fmla="*/ 3628524 h 5547058"/>
                  <a:gd name="connsiteX10" fmla="*/ 4023310 w 6581774"/>
                  <a:gd name="connsiteY10" fmla="*/ 5393154 h 5547058"/>
                  <a:gd name="connsiteX11" fmla="*/ 4957762 w 6581774"/>
                  <a:gd name="connsiteY11" fmla="*/ 2705100 h 5547058"/>
                  <a:gd name="connsiteX12" fmla="*/ 5872162 w 6581774"/>
                  <a:gd name="connsiteY12" fmla="*/ 2533650 h 5547058"/>
                  <a:gd name="connsiteX13" fmla="*/ 6443662 w 6581774"/>
                  <a:gd name="connsiteY13" fmla="*/ 2219325 h 5547058"/>
                  <a:gd name="connsiteX14" fmla="*/ 6472237 w 6581774"/>
                  <a:gd name="connsiteY14" fmla="*/ 1733550 h 5547058"/>
                  <a:gd name="connsiteX15" fmla="*/ 6272212 w 6581774"/>
                  <a:gd name="connsiteY15" fmla="*/ 1333500 h 5547058"/>
                  <a:gd name="connsiteX16" fmla="*/ 4614862 w 6581774"/>
                  <a:gd name="connsiteY16" fmla="*/ 1047750 h 5547058"/>
                  <a:gd name="connsiteX17" fmla="*/ 3529012 w 6581774"/>
                  <a:gd name="connsiteY17" fmla="*/ 104775 h 5547058"/>
                  <a:gd name="connsiteX18" fmla="*/ 3128962 w 6581774"/>
                  <a:gd name="connsiteY18" fmla="*/ 419100 h 5547058"/>
                  <a:gd name="connsiteX19" fmla="*/ 2586037 w 6581774"/>
                  <a:gd name="connsiteY19" fmla="*/ 2247900 h 5547058"/>
                  <a:gd name="connsiteX20" fmla="*/ 957262 w 6581774"/>
                  <a:gd name="connsiteY20" fmla="*/ 2619375 h 5547058"/>
                  <a:gd name="connsiteX21" fmla="*/ 100012 w 6581774"/>
                  <a:gd name="connsiteY21" fmla="*/ 3105150 h 5547058"/>
                  <a:gd name="connsiteX0" fmla="*/ 100012 w 6581774"/>
                  <a:gd name="connsiteY0" fmla="*/ 3105150 h 5393154"/>
                  <a:gd name="connsiteX1" fmla="*/ 357187 w 6581774"/>
                  <a:gd name="connsiteY1" fmla="*/ 3905250 h 5393154"/>
                  <a:gd name="connsiteX2" fmla="*/ 728662 w 6581774"/>
                  <a:gd name="connsiteY2" fmla="*/ 3562350 h 5393154"/>
                  <a:gd name="connsiteX3" fmla="*/ 1357312 w 6581774"/>
                  <a:gd name="connsiteY3" fmla="*/ 3305175 h 5393154"/>
                  <a:gd name="connsiteX4" fmla="*/ 2500312 w 6581774"/>
                  <a:gd name="connsiteY4" fmla="*/ 3190875 h 5393154"/>
                  <a:gd name="connsiteX5" fmla="*/ 3357562 w 6581774"/>
                  <a:gd name="connsiteY5" fmla="*/ 2990850 h 5393154"/>
                  <a:gd name="connsiteX6" fmla="*/ 3917532 w 6581774"/>
                  <a:gd name="connsiteY6" fmla="*/ 3390900 h 5393154"/>
                  <a:gd name="connsiteX7" fmla="*/ 3824287 w 6581774"/>
                  <a:gd name="connsiteY7" fmla="*/ 2876550 h 5393154"/>
                  <a:gd name="connsiteX8" fmla="*/ 4443412 w 6581774"/>
                  <a:gd name="connsiteY8" fmla="*/ 2362200 h 5393154"/>
                  <a:gd name="connsiteX9" fmla="*/ 4087478 w 6581774"/>
                  <a:gd name="connsiteY9" fmla="*/ 3628524 h 5393154"/>
                  <a:gd name="connsiteX10" fmla="*/ 4023310 w 6581774"/>
                  <a:gd name="connsiteY10" fmla="*/ 5393154 h 5393154"/>
                  <a:gd name="connsiteX11" fmla="*/ 4957762 w 6581774"/>
                  <a:gd name="connsiteY11" fmla="*/ 2705100 h 5393154"/>
                  <a:gd name="connsiteX12" fmla="*/ 5872162 w 6581774"/>
                  <a:gd name="connsiteY12" fmla="*/ 2533650 h 5393154"/>
                  <a:gd name="connsiteX13" fmla="*/ 6443662 w 6581774"/>
                  <a:gd name="connsiteY13" fmla="*/ 2219325 h 5393154"/>
                  <a:gd name="connsiteX14" fmla="*/ 6472237 w 6581774"/>
                  <a:gd name="connsiteY14" fmla="*/ 1733550 h 5393154"/>
                  <a:gd name="connsiteX15" fmla="*/ 6272212 w 6581774"/>
                  <a:gd name="connsiteY15" fmla="*/ 1333500 h 5393154"/>
                  <a:gd name="connsiteX16" fmla="*/ 4614862 w 6581774"/>
                  <a:gd name="connsiteY16" fmla="*/ 1047750 h 5393154"/>
                  <a:gd name="connsiteX17" fmla="*/ 3529012 w 6581774"/>
                  <a:gd name="connsiteY17" fmla="*/ 104775 h 5393154"/>
                  <a:gd name="connsiteX18" fmla="*/ 3128962 w 6581774"/>
                  <a:gd name="connsiteY18" fmla="*/ 419100 h 5393154"/>
                  <a:gd name="connsiteX19" fmla="*/ 2586037 w 6581774"/>
                  <a:gd name="connsiteY19" fmla="*/ 2247900 h 5393154"/>
                  <a:gd name="connsiteX20" fmla="*/ 957262 w 6581774"/>
                  <a:gd name="connsiteY20" fmla="*/ 2619375 h 5393154"/>
                  <a:gd name="connsiteX21" fmla="*/ 100012 w 6581774"/>
                  <a:gd name="connsiteY21" fmla="*/ 3105150 h 5393154"/>
                  <a:gd name="connsiteX0" fmla="*/ 100012 w 6581774"/>
                  <a:gd name="connsiteY0" fmla="*/ 3105150 h 4639174"/>
                  <a:gd name="connsiteX1" fmla="*/ 357187 w 6581774"/>
                  <a:gd name="connsiteY1" fmla="*/ 3905250 h 4639174"/>
                  <a:gd name="connsiteX2" fmla="*/ 728662 w 6581774"/>
                  <a:gd name="connsiteY2" fmla="*/ 3562350 h 4639174"/>
                  <a:gd name="connsiteX3" fmla="*/ 1357312 w 6581774"/>
                  <a:gd name="connsiteY3" fmla="*/ 3305175 h 4639174"/>
                  <a:gd name="connsiteX4" fmla="*/ 2500312 w 6581774"/>
                  <a:gd name="connsiteY4" fmla="*/ 3190875 h 4639174"/>
                  <a:gd name="connsiteX5" fmla="*/ 3357562 w 6581774"/>
                  <a:gd name="connsiteY5" fmla="*/ 2990850 h 4639174"/>
                  <a:gd name="connsiteX6" fmla="*/ 3917532 w 6581774"/>
                  <a:gd name="connsiteY6" fmla="*/ 3390900 h 4639174"/>
                  <a:gd name="connsiteX7" fmla="*/ 3824287 w 6581774"/>
                  <a:gd name="connsiteY7" fmla="*/ 2876550 h 4639174"/>
                  <a:gd name="connsiteX8" fmla="*/ 4443412 w 6581774"/>
                  <a:gd name="connsiteY8" fmla="*/ 2362200 h 4639174"/>
                  <a:gd name="connsiteX9" fmla="*/ 4087478 w 6581774"/>
                  <a:gd name="connsiteY9" fmla="*/ 3628524 h 4639174"/>
                  <a:gd name="connsiteX10" fmla="*/ 4055394 w 6581774"/>
                  <a:gd name="connsiteY10" fmla="*/ 4639174 h 4639174"/>
                  <a:gd name="connsiteX11" fmla="*/ 4957762 w 6581774"/>
                  <a:gd name="connsiteY11" fmla="*/ 2705100 h 4639174"/>
                  <a:gd name="connsiteX12" fmla="*/ 5872162 w 6581774"/>
                  <a:gd name="connsiteY12" fmla="*/ 2533650 h 4639174"/>
                  <a:gd name="connsiteX13" fmla="*/ 6443662 w 6581774"/>
                  <a:gd name="connsiteY13" fmla="*/ 2219325 h 4639174"/>
                  <a:gd name="connsiteX14" fmla="*/ 6472237 w 6581774"/>
                  <a:gd name="connsiteY14" fmla="*/ 1733550 h 4639174"/>
                  <a:gd name="connsiteX15" fmla="*/ 6272212 w 6581774"/>
                  <a:gd name="connsiteY15" fmla="*/ 1333500 h 4639174"/>
                  <a:gd name="connsiteX16" fmla="*/ 4614862 w 6581774"/>
                  <a:gd name="connsiteY16" fmla="*/ 1047750 h 4639174"/>
                  <a:gd name="connsiteX17" fmla="*/ 3529012 w 6581774"/>
                  <a:gd name="connsiteY17" fmla="*/ 104775 h 4639174"/>
                  <a:gd name="connsiteX18" fmla="*/ 3128962 w 6581774"/>
                  <a:gd name="connsiteY18" fmla="*/ 419100 h 4639174"/>
                  <a:gd name="connsiteX19" fmla="*/ 2586037 w 6581774"/>
                  <a:gd name="connsiteY19" fmla="*/ 2247900 h 4639174"/>
                  <a:gd name="connsiteX20" fmla="*/ 957262 w 6581774"/>
                  <a:gd name="connsiteY20" fmla="*/ 2619375 h 4639174"/>
                  <a:gd name="connsiteX21" fmla="*/ 100012 w 6581774"/>
                  <a:gd name="connsiteY21" fmla="*/ 3105150 h 4639174"/>
                  <a:gd name="connsiteX0" fmla="*/ 100012 w 6581774"/>
                  <a:gd name="connsiteY0" fmla="*/ 3105150 h 4639174"/>
                  <a:gd name="connsiteX1" fmla="*/ 357187 w 6581774"/>
                  <a:gd name="connsiteY1" fmla="*/ 3905250 h 4639174"/>
                  <a:gd name="connsiteX2" fmla="*/ 728662 w 6581774"/>
                  <a:gd name="connsiteY2" fmla="*/ 3562350 h 4639174"/>
                  <a:gd name="connsiteX3" fmla="*/ 1357312 w 6581774"/>
                  <a:gd name="connsiteY3" fmla="*/ 3305175 h 4639174"/>
                  <a:gd name="connsiteX4" fmla="*/ 2500312 w 6581774"/>
                  <a:gd name="connsiteY4" fmla="*/ 3190875 h 4639174"/>
                  <a:gd name="connsiteX5" fmla="*/ 3357562 w 6581774"/>
                  <a:gd name="connsiteY5" fmla="*/ 2990850 h 4639174"/>
                  <a:gd name="connsiteX6" fmla="*/ 3917532 w 6581774"/>
                  <a:gd name="connsiteY6" fmla="*/ 3390900 h 4639174"/>
                  <a:gd name="connsiteX7" fmla="*/ 3824287 w 6581774"/>
                  <a:gd name="connsiteY7" fmla="*/ 2876550 h 4639174"/>
                  <a:gd name="connsiteX8" fmla="*/ 4443412 w 6581774"/>
                  <a:gd name="connsiteY8" fmla="*/ 2362200 h 4639174"/>
                  <a:gd name="connsiteX9" fmla="*/ 4087478 w 6581774"/>
                  <a:gd name="connsiteY9" fmla="*/ 3628524 h 4639174"/>
                  <a:gd name="connsiteX10" fmla="*/ 4055394 w 6581774"/>
                  <a:gd name="connsiteY10" fmla="*/ 4639174 h 4639174"/>
                  <a:gd name="connsiteX11" fmla="*/ 4957762 w 6581774"/>
                  <a:gd name="connsiteY11" fmla="*/ 2705100 h 4639174"/>
                  <a:gd name="connsiteX12" fmla="*/ 5872162 w 6581774"/>
                  <a:gd name="connsiteY12" fmla="*/ 2533650 h 4639174"/>
                  <a:gd name="connsiteX13" fmla="*/ 6443662 w 6581774"/>
                  <a:gd name="connsiteY13" fmla="*/ 2219325 h 4639174"/>
                  <a:gd name="connsiteX14" fmla="*/ 6472237 w 6581774"/>
                  <a:gd name="connsiteY14" fmla="*/ 1733550 h 4639174"/>
                  <a:gd name="connsiteX15" fmla="*/ 6272212 w 6581774"/>
                  <a:gd name="connsiteY15" fmla="*/ 1333500 h 4639174"/>
                  <a:gd name="connsiteX16" fmla="*/ 4614862 w 6581774"/>
                  <a:gd name="connsiteY16" fmla="*/ 1047750 h 4639174"/>
                  <a:gd name="connsiteX17" fmla="*/ 3529012 w 6581774"/>
                  <a:gd name="connsiteY17" fmla="*/ 104775 h 4639174"/>
                  <a:gd name="connsiteX18" fmla="*/ 3128962 w 6581774"/>
                  <a:gd name="connsiteY18" fmla="*/ 419100 h 4639174"/>
                  <a:gd name="connsiteX19" fmla="*/ 2586037 w 6581774"/>
                  <a:gd name="connsiteY19" fmla="*/ 2247900 h 4639174"/>
                  <a:gd name="connsiteX20" fmla="*/ 957262 w 6581774"/>
                  <a:gd name="connsiteY20" fmla="*/ 2619375 h 4639174"/>
                  <a:gd name="connsiteX21" fmla="*/ 100012 w 6581774"/>
                  <a:gd name="connsiteY21" fmla="*/ 3105150 h 4639174"/>
                  <a:gd name="connsiteX0" fmla="*/ 100012 w 6581774"/>
                  <a:gd name="connsiteY0" fmla="*/ 3105150 h 4639174"/>
                  <a:gd name="connsiteX1" fmla="*/ 357187 w 6581774"/>
                  <a:gd name="connsiteY1" fmla="*/ 3905250 h 4639174"/>
                  <a:gd name="connsiteX2" fmla="*/ 728662 w 6581774"/>
                  <a:gd name="connsiteY2" fmla="*/ 3562350 h 4639174"/>
                  <a:gd name="connsiteX3" fmla="*/ 1357312 w 6581774"/>
                  <a:gd name="connsiteY3" fmla="*/ 3305175 h 4639174"/>
                  <a:gd name="connsiteX4" fmla="*/ 2500312 w 6581774"/>
                  <a:gd name="connsiteY4" fmla="*/ 3190875 h 4639174"/>
                  <a:gd name="connsiteX5" fmla="*/ 3357562 w 6581774"/>
                  <a:gd name="connsiteY5" fmla="*/ 2990850 h 4639174"/>
                  <a:gd name="connsiteX6" fmla="*/ 3917532 w 6581774"/>
                  <a:gd name="connsiteY6" fmla="*/ 3390900 h 4639174"/>
                  <a:gd name="connsiteX7" fmla="*/ 3824287 w 6581774"/>
                  <a:gd name="connsiteY7" fmla="*/ 2876550 h 4639174"/>
                  <a:gd name="connsiteX8" fmla="*/ 4443412 w 6581774"/>
                  <a:gd name="connsiteY8" fmla="*/ 2362200 h 4639174"/>
                  <a:gd name="connsiteX9" fmla="*/ 4087478 w 6581774"/>
                  <a:gd name="connsiteY9" fmla="*/ 3628524 h 4639174"/>
                  <a:gd name="connsiteX10" fmla="*/ 4055394 w 6581774"/>
                  <a:gd name="connsiteY10" fmla="*/ 4639174 h 4639174"/>
                  <a:gd name="connsiteX11" fmla="*/ 4957762 w 6581774"/>
                  <a:gd name="connsiteY11" fmla="*/ 2705100 h 4639174"/>
                  <a:gd name="connsiteX12" fmla="*/ 5872162 w 6581774"/>
                  <a:gd name="connsiteY12" fmla="*/ 2533650 h 4639174"/>
                  <a:gd name="connsiteX13" fmla="*/ 6443662 w 6581774"/>
                  <a:gd name="connsiteY13" fmla="*/ 2219325 h 4639174"/>
                  <a:gd name="connsiteX14" fmla="*/ 6472237 w 6581774"/>
                  <a:gd name="connsiteY14" fmla="*/ 1733550 h 4639174"/>
                  <a:gd name="connsiteX15" fmla="*/ 6272212 w 6581774"/>
                  <a:gd name="connsiteY15" fmla="*/ 1333500 h 4639174"/>
                  <a:gd name="connsiteX16" fmla="*/ 4614862 w 6581774"/>
                  <a:gd name="connsiteY16" fmla="*/ 1047750 h 4639174"/>
                  <a:gd name="connsiteX17" fmla="*/ 3529012 w 6581774"/>
                  <a:gd name="connsiteY17" fmla="*/ 104775 h 4639174"/>
                  <a:gd name="connsiteX18" fmla="*/ 3128962 w 6581774"/>
                  <a:gd name="connsiteY18" fmla="*/ 419100 h 4639174"/>
                  <a:gd name="connsiteX19" fmla="*/ 2586037 w 6581774"/>
                  <a:gd name="connsiteY19" fmla="*/ 2247900 h 4639174"/>
                  <a:gd name="connsiteX20" fmla="*/ 957262 w 6581774"/>
                  <a:gd name="connsiteY20" fmla="*/ 2619375 h 4639174"/>
                  <a:gd name="connsiteX21" fmla="*/ 100012 w 6581774"/>
                  <a:gd name="connsiteY21" fmla="*/ 3105150 h 4639174"/>
                  <a:gd name="connsiteX0" fmla="*/ 100012 w 6581774"/>
                  <a:gd name="connsiteY0" fmla="*/ 3105150 h 4639174"/>
                  <a:gd name="connsiteX1" fmla="*/ 357187 w 6581774"/>
                  <a:gd name="connsiteY1" fmla="*/ 3905250 h 4639174"/>
                  <a:gd name="connsiteX2" fmla="*/ 728662 w 6581774"/>
                  <a:gd name="connsiteY2" fmla="*/ 3562350 h 4639174"/>
                  <a:gd name="connsiteX3" fmla="*/ 1357312 w 6581774"/>
                  <a:gd name="connsiteY3" fmla="*/ 3305175 h 4639174"/>
                  <a:gd name="connsiteX4" fmla="*/ 2500312 w 6581774"/>
                  <a:gd name="connsiteY4" fmla="*/ 3190875 h 4639174"/>
                  <a:gd name="connsiteX5" fmla="*/ 3357562 w 6581774"/>
                  <a:gd name="connsiteY5" fmla="*/ 2990850 h 4639174"/>
                  <a:gd name="connsiteX6" fmla="*/ 3901490 w 6581774"/>
                  <a:gd name="connsiteY6" fmla="*/ 3551321 h 4639174"/>
                  <a:gd name="connsiteX7" fmla="*/ 3824287 w 6581774"/>
                  <a:gd name="connsiteY7" fmla="*/ 2876550 h 4639174"/>
                  <a:gd name="connsiteX8" fmla="*/ 4443412 w 6581774"/>
                  <a:gd name="connsiteY8" fmla="*/ 2362200 h 4639174"/>
                  <a:gd name="connsiteX9" fmla="*/ 4087478 w 6581774"/>
                  <a:gd name="connsiteY9" fmla="*/ 3628524 h 4639174"/>
                  <a:gd name="connsiteX10" fmla="*/ 4055394 w 6581774"/>
                  <a:gd name="connsiteY10" fmla="*/ 4639174 h 4639174"/>
                  <a:gd name="connsiteX11" fmla="*/ 4957762 w 6581774"/>
                  <a:gd name="connsiteY11" fmla="*/ 2705100 h 4639174"/>
                  <a:gd name="connsiteX12" fmla="*/ 5872162 w 6581774"/>
                  <a:gd name="connsiteY12" fmla="*/ 2533650 h 4639174"/>
                  <a:gd name="connsiteX13" fmla="*/ 6443662 w 6581774"/>
                  <a:gd name="connsiteY13" fmla="*/ 2219325 h 4639174"/>
                  <a:gd name="connsiteX14" fmla="*/ 6472237 w 6581774"/>
                  <a:gd name="connsiteY14" fmla="*/ 1733550 h 4639174"/>
                  <a:gd name="connsiteX15" fmla="*/ 6272212 w 6581774"/>
                  <a:gd name="connsiteY15" fmla="*/ 1333500 h 4639174"/>
                  <a:gd name="connsiteX16" fmla="*/ 4614862 w 6581774"/>
                  <a:gd name="connsiteY16" fmla="*/ 1047750 h 4639174"/>
                  <a:gd name="connsiteX17" fmla="*/ 3529012 w 6581774"/>
                  <a:gd name="connsiteY17" fmla="*/ 104775 h 4639174"/>
                  <a:gd name="connsiteX18" fmla="*/ 3128962 w 6581774"/>
                  <a:gd name="connsiteY18" fmla="*/ 419100 h 4639174"/>
                  <a:gd name="connsiteX19" fmla="*/ 2586037 w 6581774"/>
                  <a:gd name="connsiteY19" fmla="*/ 2247900 h 4639174"/>
                  <a:gd name="connsiteX20" fmla="*/ 957262 w 6581774"/>
                  <a:gd name="connsiteY20" fmla="*/ 2619375 h 4639174"/>
                  <a:gd name="connsiteX21" fmla="*/ 100012 w 6581774"/>
                  <a:gd name="connsiteY21" fmla="*/ 3105150 h 4639174"/>
                  <a:gd name="connsiteX0" fmla="*/ 100012 w 6581774"/>
                  <a:gd name="connsiteY0" fmla="*/ 3105150 h 4639174"/>
                  <a:gd name="connsiteX1" fmla="*/ 357187 w 6581774"/>
                  <a:gd name="connsiteY1" fmla="*/ 3905250 h 4639174"/>
                  <a:gd name="connsiteX2" fmla="*/ 728662 w 6581774"/>
                  <a:gd name="connsiteY2" fmla="*/ 3562350 h 4639174"/>
                  <a:gd name="connsiteX3" fmla="*/ 1357312 w 6581774"/>
                  <a:gd name="connsiteY3" fmla="*/ 3305175 h 4639174"/>
                  <a:gd name="connsiteX4" fmla="*/ 2500312 w 6581774"/>
                  <a:gd name="connsiteY4" fmla="*/ 3190875 h 4639174"/>
                  <a:gd name="connsiteX5" fmla="*/ 3357562 w 6581774"/>
                  <a:gd name="connsiteY5" fmla="*/ 2990850 h 4639174"/>
                  <a:gd name="connsiteX6" fmla="*/ 3901490 w 6581774"/>
                  <a:gd name="connsiteY6" fmla="*/ 3551321 h 4639174"/>
                  <a:gd name="connsiteX7" fmla="*/ 3824287 w 6581774"/>
                  <a:gd name="connsiteY7" fmla="*/ 2876550 h 4639174"/>
                  <a:gd name="connsiteX8" fmla="*/ 4443412 w 6581774"/>
                  <a:gd name="connsiteY8" fmla="*/ 2362200 h 4639174"/>
                  <a:gd name="connsiteX9" fmla="*/ 4087478 w 6581774"/>
                  <a:gd name="connsiteY9" fmla="*/ 3628524 h 4639174"/>
                  <a:gd name="connsiteX10" fmla="*/ 4055394 w 6581774"/>
                  <a:gd name="connsiteY10" fmla="*/ 4639174 h 4639174"/>
                  <a:gd name="connsiteX11" fmla="*/ 4957762 w 6581774"/>
                  <a:gd name="connsiteY11" fmla="*/ 2705100 h 4639174"/>
                  <a:gd name="connsiteX12" fmla="*/ 5872162 w 6581774"/>
                  <a:gd name="connsiteY12" fmla="*/ 2533650 h 4639174"/>
                  <a:gd name="connsiteX13" fmla="*/ 6443662 w 6581774"/>
                  <a:gd name="connsiteY13" fmla="*/ 2219325 h 4639174"/>
                  <a:gd name="connsiteX14" fmla="*/ 6472237 w 6581774"/>
                  <a:gd name="connsiteY14" fmla="*/ 1733550 h 4639174"/>
                  <a:gd name="connsiteX15" fmla="*/ 6272212 w 6581774"/>
                  <a:gd name="connsiteY15" fmla="*/ 1333500 h 4639174"/>
                  <a:gd name="connsiteX16" fmla="*/ 4614862 w 6581774"/>
                  <a:gd name="connsiteY16" fmla="*/ 1047750 h 4639174"/>
                  <a:gd name="connsiteX17" fmla="*/ 3529012 w 6581774"/>
                  <a:gd name="connsiteY17" fmla="*/ 104775 h 4639174"/>
                  <a:gd name="connsiteX18" fmla="*/ 3128962 w 6581774"/>
                  <a:gd name="connsiteY18" fmla="*/ 419100 h 4639174"/>
                  <a:gd name="connsiteX19" fmla="*/ 2586037 w 6581774"/>
                  <a:gd name="connsiteY19" fmla="*/ 2247900 h 4639174"/>
                  <a:gd name="connsiteX20" fmla="*/ 957262 w 6581774"/>
                  <a:gd name="connsiteY20" fmla="*/ 2619375 h 4639174"/>
                  <a:gd name="connsiteX21" fmla="*/ 100012 w 6581774"/>
                  <a:gd name="connsiteY21" fmla="*/ 3105150 h 4639174"/>
                  <a:gd name="connsiteX0" fmla="*/ 100012 w 6581774"/>
                  <a:gd name="connsiteY0" fmla="*/ 3105150 h 4639174"/>
                  <a:gd name="connsiteX1" fmla="*/ 357187 w 6581774"/>
                  <a:gd name="connsiteY1" fmla="*/ 3905250 h 4639174"/>
                  <a:gd name="connsiteX2" fmla="*/ 728662 w 6581774"/>
                  <a:gd name="connsiteY2" fmla="*/ 3562350 h 4639174"/>
                  <a:gd name="connsiteX3" fmla="*/ 1357312 w 6581774"/>
                  <a:gd name="connsiteY3" fmla="*/ 3305175 h 4639174"/>
                  <a:gd name="connsiteX4" fmla="*/ 2500312 w 6581774"/>
                  <a:gd name="connsiteY4" fmla="*/ 3190875 h 4639174"/>
                  <a:gd name="connsiteX5" fmla="*/ 3357562 w 6581774"/>
                  <a:gd name="connsiteY5" fmla="*/ 2990850 h 4639174"/>
                  <a:gd name="connsiteX6" fmla="*/ 3901490 w 6581774"/>
                  <a:gd name="connsiteY6" fmla="*/ 3551321 h 4639174"/>
                  <a:gd name="connsiteX7" fmla="*/ 3904497 w 6581774"/>
                  <a:gd name="connsiteY7" fmla="*/ 2684044 h 4639174"/>
                  <a:gd name="connsiteX8" fmla="*/ 4443412 w 6581774"/>
                  <a:gd name="connsiteY8" fmla="*/ 2362200 h 4639174"/>
                  <a:gd name="connsiteX9" fmla="*/ 4087478 w 6581774"/>
                  <a:gd name="connsiteY9" fmla="*/ 3628524 h 4639174"/>
                  <a:gd name="connsiteX10" fmla="*/ 4055394 w 6581774"/>
                  <a:gd name="connsiteY10" fmla="*/ 4639174 h 4639174"/>
                  <a:gd name="connsiteX11" fmla="*/ 4957762 w 6581774"/>
                  <a:gd name="connsiteY11" fmla="*/ 2705100 h 4639174"/>
                  <a:gd name="connsiteX12" fmla="*/ 5872162 w 6581774"/>
                  <a:gd name="connsiteY12" fmla="*/ 2533650 h 4639174"/>
                  <a:gd name="connsiteX13" fmla="*/ 6443662 w 6581774"/>
                  <a:gd name="connsiteY13" fmla="*/ 2219325 h 4639174"/>
                  <a:gd name="connsiteX14" fmla="*/ 6472237 w 6581774"/>
                  <a:gd name="connsiteY14" fmla="*/ 1733550 h 4639174"/>
                  <a:gd name="connsiteX15" fmla="*/ 6272212 w 6581774"/>
                  <a:gd name="connsiteY15" fmla="*/ 1333500 h 4639174"/>
                  <a:gd name="connsiteX16" fmla="*/ 4614862 w 6581774"/>
                  <a:gd name="connsiteY16" fmla="*/ 1047750 h 4639174"/>
                  <a:gd name="connsiteX17" fmla="*/ 3529012 w 6581774"/>
                  <a:gd name="connsiteY17" fmla="*/ 104775 h 4639174"/>
                  <a:gd name="connsiteX18" fmla="*/ 3128962 w 6581774"/>
                  <a:gd name="connsiteY18" fmla="*/ 419100 h 4639174"/>
                  <a:gd name="connsiteX19" fmla="*/ 2586037 w 6581774"/>
                  <a:gd name="connsiteY19" fmla="*/ 2247900 h 4639174"/>
                  <a:gd name="connsiteX20" fmla="*/ 957262 w 6581774"/>
                  <a:gd name="connsiteY20" fmla="*/ 2619375 h 4639174"/>
                  <a:gd name="connsiteX21" fmla="*/ 100012 w 6581774"/>
                  <a:gd name="connsiteY21" fmla="*/ 3105150 h 4639174"/>
                  <a:gd name="connsiteX0" fmla="*/ 100012 w 6581774"/>
                  <a:gd name="connsiteY0" fmla="*/ 3105150 h 3981450"/>
                  <a:gd name="connsiteX1" fmla="*/ 357187 w 6581774"/>
                  <a:gd name="connsiteY1" fmla="*/ 3905250 h 3981450"/>
                  <a:gd name="connsiteX2" fmla="*/ 728662 w 6581774"/>
                  <a:gd name="connsiteY2" fmla="*/ 3562350 h 3981450"/>
                  <a:gd name="connsiteX3" fmla="*/ 1357312 w 6581774"/>
                  <a:gd name="connsiteY3" fmla="*/ 3305175 h 3981450"/>
                  <a:gd name="connsiteX4" fmla="*/ 2500312 w 6581774"/>
                  <a:gd name="connsiteY4" fmla="*/ 3190875 h 3981450"/>
                  <a:gd name="connsiteX5" fmla="*/ 3357562 w 6581774"/>
                  <a:gd name="connsiteY5" fmla="*/ 2990850 h 3981450"/>
                  <a:gd name="connsiteX6" fmla="*/ 3901490 w 6581774"/>
                  <a:gd name="connsiteY6" fmla="*/ 3551321 h 3981450"/>
                  <a:gd name="connsiteX7" fmla="*/ 3904497 w 6581774"/>
                  <a:gd name="connsiteY7" fmla="*/ 2684044 h 3981450"/>
                  <a:gd name="connsiteX8" fmla="*/ 4443412 w 6581774"/>
                  <a:gd name="connsiteY8" fmla="*/ 2362200 h 3981450"/>
                  <a:gd name="connsiteX9" fmla="*/ 4087478 w 6581774"/>
                  <a:gd name="connsiteY9" fmla="*/ 3628524 h 3981450"/>
                  <a:gd name="connsiteX10" fmla="*/ 4957762 w 6581774"/>
                  <a:gd name="connsiteY10" fmla="*/ 2705100 h 3981450"/>
                  <a:gd name="connsiteX11" fmla="*/ 5872162 w 6581774"/>
                  <a:gd name="connsiteY11" fmla="*/ 2533650 h 3981450"/>
                  <a:gd name="connsiteX12" fmla="*/ 6443662 w 6581774"/>
                  <a:gd name="connsiteY12" fmla="*/ 2219325 h 3981450"/>
                  <a:gd name="connsiteX13" fmla="*/ 6472237 w 6581774"/>
                  <a:gd name="connsiteY13" fmla="*/ 1733550 h 3981450"/>
                  <a:gd name="connsiteX14" fmla="*/ 6272212 w 6581774"/>
                  <a:gd name="connsiteY14" fmla="*/ 1333500 h 3981450"/>
                  <a:gd name="connsiteX15" fmla="*/ 4614862 w 6581774"/>
                  <a:gd name="connsiteY15" fmla="*/ 1047750 h 3981450"/>
                  <a:gd name="connsiteX16" fmla="*/ 3529012 w 6581774"/>
                  <a:gd name="connsiteY16" fmla="*/ 104775 h 3981450"/>
                  <a:gd name="connsiteX17" fmla="*/ 3128962 w 6581774"/>
                  <a:gd name="connsiteY17" fmla="*/ 419100 h 3981450"/>
                  <a:gd name="connsiteX18" fmla="*/ 2586037 w 6581774"/>
                  <a:gd name="connsiteY18" fmla="*/ 2247900 h 3981450"/>
                  <a:gd name="connsiteX19" fmla="*/ 957262 w 6581774"/>
                  <a:gd name="connsiteY19" fmla="*/ 2619375 h 3981450"/>
                  <a:gd name="connsiteX20" fmla="*/ 100012 w 6581774"/>
                  <a:gd name="connsiteY20" fmla="*/ 3105150 h 3981450"/>
                  <a:gd name="connsiteX0" fmla="*/ 100012 w 6581774"/>
                  <a:gd name="connsiteY0" fmla="*/ 3105150 h 3981450"/>
                  <a:gd name="connsiteX1" fmla="*/ 357187 w 6581774"/>
                  <a:gd name="connsiteY1" fmla="*/ 3905250 h 3981450"/>
                  <a:gd name="connsiteX2" fmla="*/ 728662 w 6581774"/>
                  <a:gd name="connsiteY2" fmla="*/ 3562350 h 3981450"/>
                  <a:gd name="connsiteX3" fmla="*/ 1357312 w 6581774"/>
                  <a:gd name="connsiteY3" fmla="*/ 3305175 h 3981450"/>
                  <a:gd name="connsiteX4" fmla="*/ 2500312 w 6581774"/>
                  <a:gd name="connsiteY4" fmla="*/ 3190875 h 3981450"/>
                  <a:gd name="connsiteX5" fmla="*/ 3357562 w 6581774"/>
                  <a:gd name="connsiteY5" fmla="*/ 2990850 h 3981450"/>
                  <a:gd name="connsiteX6" fmla="*/ 3901490 w 6581774"/>
                  <a:gd name="connsiteY6" fmla="*/ 3551321 h 3981450"/>
                  <a:gd name="connsiteX7" fmla="*/ 3904497 w 6581774"/>
                  <a:gd name="connsiteY7" fmla="*/ 2684044 h 3981450"/>
                  <a:gd name="connsiteX8" fmla="*/ 4443412 w 6581774"/>
                  <a:gd name="connsiteY8" fmla="*/ 2362200 h 3981450"/>
                  <a:gd name="connsiteX9" fmla="*/ 4957762 w 6581774"/>
                  <a:gd name="connsiteY9" fmla="*/ 2705100 h 3981450"/>
                  <a:gd name="connsiteX10" fmla="*/ 5872162 w 6581774"/>
                  <a:gd name="connsiteY10" fmla="*/ 2533650 h 3981450"/>
                  <a:gd name="connsiteX11" fmla="*/ 6443662 w 6581774"/>
                  <a:gd name="connsiteY11" fmla="*/ 2219325 h 3981450"/>
                  <a:gd name="connsiteX12" fmla="*/ 6472237 w 6581774"/>
                  <a:gd name="connsiteY12" fmla="*/ 1733550 h 3981450"/>
                  <a:gd name="connsiteX13" fmla="*/ 6272212 w 6581774"/>
                  <a:gd name="connsiteY13" fmla="*/ 1333500 h 3981450"/>
                  <a:gd name="connsiteX14" fmla="*/ 4614862 w 6581774"/>
                  <a:gd name="connsiteY14" fmla="*/ 1047750 h 3981450"/>
                  <a:gd name="connsiteX15" fmla="*/ 3529012 w 6581774"/>
                  <a:gd name="connsiteY15" fmla="*/ 104775 h 3981450"/>
                  <a:gd name="connsiteX16" fmla="*/ 3128962 w 6581774"/>
                  <a:gd name="connsiteY16" fmla="*/ 419100 h 3981450"/>
                  <a:gd name="connsiteX17" fmla="*/ 2586037 w 6581774"/>
                  <a:gd name="connsiteY17" fmla="*/ 2247900 h 3981450"/>
                  <a:gd name="connsiteX18" fmla="*/ 957262 w 6581774"/>
                  <a:gd name="connsiteY18" fmla="*/ 2619375 h 3981450"/>
                  <a:gd name="connsiteX19" fmla="*/ 100012 w 6581774"/>
                  <a:gd name="connsiteY19" fmla="*/ 3105150 h 3981450"/>
                  <a:gd name="connsiteX0" fmla="*/ 100012 w 6581774"/>
                  <a:gd name="connsiteY0" fmla="*/ 3105150 h 3981450"/>
                  <a:gd name="connsiteX1" fmla="*/ 357187 w 6581774"/>
                  <a:gd name="connsiteY1" fmla="*/ 3905250 h 3981450"/>
                  <a:gd name="connsiteX2" fmla="*/ 728662 w 6581774"/>
                  <a:gd name="connsiteY2" fmla="*/ 3562350 h 3981450"/>
                  <a:gd name="connsiteX3" fmla="*/ 1357312 w 6581774"/>
                  <a:gd name="connsiteY3" fmla="*/ 3305175 h 3981450"/>
                  <a:gd name="connsiteX4" fmla="*/ 2500312 w 6581774"/>
                  <a:gd name="connsiteY4" fmla="*/ 3190875 h 3981450"/>
                  <a:gd name="connsiteX5" fmla="*/ 3357562 w 6581774"/>
                  <a:gd name="connsiteY5" fmla="*/ 2990850 h 3981450"/>
                  <a:gd name="connsiteX6" fmla="*/ 3901490 w 6581774"/>
                  <a:gd name="connsiteY6" fmla="*/ 3551321 h 3981450"/>
                  <a:gd name="connsiteX7" fmla="*/ 3904497 w 6581774"/>
                  <a:gd name="connsiteY7" fmla="*/ 2684044 h 3981450"/>
                  <a:gd name="connsiteX8" fmla="*/ 4443412 w 6581774"/>
                  <a:gd name="connsiteY8" fmla="*/ 2362200 h 3981450"/>
                  <a:gd name="connsiteX9" fmla="*/ 4957762 w 6581774"/>
                  <a:gd name="connsiteY9" fmla="*/ 2705100 h 3981450"/>
                  <a:gd name="connsiteX10" fmla="*/ 5872162 w 6581774"/>
                  <a:gd name="connsiteY10" fmla="*/ 2533650 h 3981450"/>
                  <a:gd name="connsiteX11" fmla="*/ 6237098 w 6581774"/>
                  <a:gd name="connsiteY11" fmla="*/ 2278691 h 3981450"/>
                  <a:gd name="connsiteX12" fmla="*/ 6472237 w 6581774"/>
                  <a:gd name="connsiteY12" fmla="*/ 1733550 h 3981450"/>
                  <a:gd name="connsiteX13" fmla="*/ 6272212 w 6581774"/>
                  <a:gd name="connsiteY13" fmla="*/ 1333500 h 3981450"/>
                  <a:gd name="connsiteX14" fmla="*/ 4614862 w 6581774"/>
                  <a:gd name="connsiteY14" fmla="*/ 1047750 h 3981450"/>
                  <a:gd name="connsiteX15" fmla="*/ 3529012 w 6581774"/>
                  <a:gd name="connsiteY15" fmla="*/ 104775 h 3981450"/>
                  <a:gd name="connsiteX16" fmla="*/ 3128962 w 6581774"/>
                  <a:gd name="connsiteY16" fmla="*/ 419100 h 3981450"/>
                  <a:gd name="connsiteX17" fmla="*/ 2586037 w 6581774"/>
                  <a:gd name="connsiteY17" fmla="*/ 2247900 h 3981450"/>
                  <a:gd name="connsiteX18" fmla="*/ 957262 w 6581774"/>
                  <a:gd name="connsiteY18" fmla="*/ 2619375 h 3981450"/>
                  <a:gd name="connsiteX19" fmla="*/ 100012 w 6581774"/>
                  <a:gd name="connsiteY19" fmla="*/ 3105150 h 3981450"/>
                  <a:gd name="connsiteX0" fmla="*/ 100012 w 6506547"/>
                  <a:gd name="connsiteY0" fmla="*/ 3105150 h 3981450"/>
                  <a:gd name="connsiteX1" fmla="*/ 357187 w 6506547"/>
                  <a:gd name="connsiteY1" fmla="*/ 3905250 h 3981450"/>
                  <a:gd name="connsiteX2" fmla="*/ 728662 w 6506547"/>
                  <a:gd name="connsiteY2" fmla="*/ 3562350 h 3981450"/>
                  <a:gd name="connsiteX3" fmla="*/ 1357312 w 6506547"/>
                  <a:gd name="connsiteY3" fmla="*/ 3305175 h 3981450"/>
                  <a:gd name="connsiteX4" fmla="*/ 2500312 w 6506547"/>
                  <a:gd name="connsiteY4" fmla="*/ 3190875 h 3981450"/>
                  <a:gd name="connsiteX5" fmla="*/ 3357562 w 6506547"/>
                  <a:gd name="connsiteY5" fmla="*/ 2990850 h 3981450"/>
                  <a:gd name="connsiteX6" fmla="*/ 3901490 w 6506547"/>
                  <a:gd name="connsiteY6" fmla="*/ 3551321 h 3981450"/>
                  <a:gd name="connsiteX7" fmla="*/ 3904497 w 6506547"/>
                  <a:gd name="connsiteY7" fmla="*/ 2684044 h 3981450"/>
                  <a:gd name="connsiteX8" fmla="*/ 4443412 w 6506547"/>
                  <a:gd name="connsiteY8" fmla="*/ 2362200 h 3981450"/>
                  <a:gd name="connsiteX9" fmla="*/ 4957762 w 6506547"/>
                  <a:gd name="connsiteY9" fmla="*/ 2705100 h 3981450"/>
                  <a:gd name="connsiteX10" fmla="*/ 5872162 w 6506547"/>
                  <a:gd name="connsiteY10" fmla="*/ 2533650 h 3981450"/>
                  <a:gd name="connsiteX11" fmla="*/ 6237098 w 6506547"/>
                  <a:gd name="connsiteY11" fmla="*/ 2278691 h 3981450"/>
                  <a:gd name="connsiteX12" fmla="*/ 6472237 w 6506547"/>
                  <a:gd name="connsiteY12" fmla="*/ 1733550 h 3981450"/>
                  <a:gd name="connsiteX13" fmla="*/ 6031236 w 6506547"/>
                  <a:gd name="connsiteY13" fmla="*/ 1367320 h 3981450"/>
                  <a:gd name="connsiteX14" fmla="*/ 4614862 w 6506547"/>
                  <a:gd name="connsiteY14" fmla="*/ 1047750 h 3981450"/>
                  <a:gd name="connsiteX15" fmla="*/ 3529012 w 6506547"/>
                  <a:gd name="connsiteY15" fmla="*/ 104775 h 3981450"/>
                  <a:gd name="connsiteX16" fmla="*/ 3128962 w 6506547"/>
                  <a:gd name="connsiteY16" fmla="*/ 419100 h 3981450"/>
                  <a:gd name="connsiteX17" fmla="*/ 2586037 w 6506547"/>
                  <a:gd name="connsiteY17" fmla="*/ 2247900 h 3981450"/>
                  <a:gd name="connsiteX18" fmla="*/ 957262 w 6506547"/>
                  <a:gd name="connsiteY18" fmla="*/ 2619375 h 3981450"/>
                  <a:gd name="connsiteX19" fmla="*/ 100012 w 6506547"/>
                  <a:gd name="connsiteY19" fmla="*/ 3105150 h 3981450"/>
                  <a:gd name="connsiteX0" fmla="*/ 100012 w 6355938"/>
                  <a:gd name="connsiteY0" fmla="*/ 3105150 h 3981450"/>
                  <a:gd name="connsiteX1" fmla="*/ 357187 w 6355938"/>
                  <a:gd name="connsiteY1" fmla="*/ 3905250 h 3981450"/>
                  <a:gd name="connsiteX2" fmla="*/ 728662 w 6355938"/>
                  <a:gd name="connsiteY2" fmla="*/ 3562350 h 3981450"/>
                  <a:gd name="connsiteX3" fmla="*/ 1357312 w 6355938"/>
                  <a:gd name="connsiteY3" fmla="*/ 3305175 h 3981450"/>
                  <a:gd name="connsiteX4" fmla="*/ 2500312 w 6355938"/>
                  <a:gd name="connsiteY4" fmla="*/ 3190875 h 3981450"/>
                  <a:gd name="connsiteX5" fmla="*/ 3357562 w 6355938"/>
                  <a:gd name="connsiteY5" fmla="*/ 2990850 h 3981450"/>
                  <a:gd name="connsiteX6" fmla="*/ 3901490 w 6355938"/>
                  <a:gd name="connsiteY6" fmla="*/ 3551321 h 3981450"/>
                  <a:gd name="connsiteX7" fmla="*/ 3904497 w 6355938"/>
                  <a:gd name="connsiteY7" fmla="*/ 2684044 h 3981450"/>
                  <a:gd name="connsiteX8" fmla="*/ 4443412 w 6355938"/>
                  <a:gd name="connsiteY8" fmla="*/ 2362200 h 3981450"/>
                  <a:gd name="connsiteX9" fmla="*/ 4957762 w 6355938"/>
                  <a:gd name="connsiteY9" fmla="*/ 2705100 h 3981450"/>
                  <a:gd name="connsiteX10" fmla="*/ 5872162 w 6355938"/>
                  <a:gd name="connsiteY10" fmla="*/ 2533650 h 3981450"/>
                  <a:gd name="connsiteX11" fmla="*/ 6237098 w 6355938"/>
                  <a:gd name="connsiteY11" fmla="*/ 2278691 h 3981450"/>
                  <a:gd name="connsiteX12" fmla="*/ 6321632 w 6355938"/>
                  <a:gd name="connsiteY12" fmla="*/ 1754686 h 3981450"/>
                  <a:gd name="connsiteX13" fmla="*/ 6031236 w 6355938"/>
                  <a:gd name="connsiteY13" fmla="*/ 1367320 h 3981450"/>
                  <a:gd name="connsiteX14" fmla="*/ 4614862 w 6355938"/>
                  <a:gd name="connsiteY14" fmla="*/ 1047750 h 3981450"/>
                  <a:gd name="connsiteX15" fmla="*/ 3529012 w 6355938"/>
                  <a:gd name="connsiteY15" fmla="*/ 104775 h 3981450"/>
                  <a:gd name="connsiteX16" fmla="*/ 3128962 w 6355938"/>
                  <a:gd name="connsiteY16" fmla="*/ 419100 h 3981450"/>
                  <a:gd name="connsiteX17" fmla="*/ 2586037 w 6355938"/>
                  <a:gd name="connsiteY17" fmla="*/ 2247900 h 3981450"/>
                  <a:gd name="connsiteX18" fmla="*/ 957262 w 6355938"/>
                  <a:gd name="connsiteY18" fmla="*/ 2619375 h 3981450"/>
                  <a:gd name="connsiteX19" fmla="*/ 100012 w 6355938"/>
                  <a:gd name="connsiteY19" fmla="*/ 3105150 h 398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355938" h="3981450">
                    <a:moveTo>
                      <a:pt x="100012" y="3105150"/>
                    </a:moveTo>
                    <a:cubicBezTo>
                      <a:pt x="0" y="3319463"/>
                      <a:pt x="252412" y="3829050"/>
                      <a:pt x="357187" y="3905250"/>
                    </a:cubicBezTo>
                    <a:cubicBezTo>
                      <a:pt x="461962" y="3981450"/>
                      <a:pt x="561975" y="3662362"/>
                      <a:pt x="728662" y="3562350"/>
                    </a:cubicBezTo>
                    <a:cubicBezTo>
                      <a:pt x="895349" y="3462338"/>
                      <a:pt x="1062037" y="3367087"/>
                      <a:pt x="1357312" y="3305175"/>
                    </a:cubicBezTo>
                    <a:cubicBezTo>
                      <a:pt x="1652587" y="3243263"/>
                      <a:pt x="2166937" y="3243263"/>
                      <a:pt x="2500312" y="3190875"/>
                    </a:cubicBezTo>
                    <a:cubicBezTo>
                      <a:pt x="2833687" y="3138488"/>
                      <a:pt x="3124032" y="2930776"/>
                      <a:pt x="3357562" y="2990850"/>
                    </a:cubicBezTo>
                    <a:cubicBezTo>
                      <a:pt x="3591092" y="3050924"/>
                      <a:pt x="3743492" y="3201403"/>
                      <a:pt x="3901490" y="3551321"/>
                    </a:cubicBezTo>
                    <a:cubicBezTo>
                      <a:pt x="3979277" y="3532271"/>
                      <a:pt x="3814177" y="2882231"/>
                      <a:pt x="3904497" y="2684044"/>
                    </a:cubicBezTo>
                    <a:cubicBezTo>
                      <a:pt x="3994817" y="2485857"/>
                      <a:pt x="4267868" y="2358691"/>
                      <a:pt x="4443412" y="2362200"/>
                    </a:cubicBezTo>
                    <a:cubicBezTo>
                      <a:pt x="4618956" y="2365709"/>
                      <a:pt x="4719637" y="2676525"/>
                      <a:pt x="4957762" y="2705100"/>
                    </a:cubicBezTo>
                    <a:cubicBezTo>
                      <a:pt x="5195887" y="2733675"/>
                      <a:pt x="5658939" y="2604718"/>
                      <a:pt x="5872162" y="2533650"/>
                    </a:cubicBezTo>
                    <a:cubicBezTo>
                      <a:pt x="6085385" y="2462582"/>
                      <a:pt x="6162186" y="2408518"/>
                      <a:pt x="6237098" y="2278691"/>
                    </a:cubicBezTo>
                    <a:cubicBezTo>
                      <a:pt x="6312010" y="2148864"/>
                      <a:pt x="6355942" y="1906581"/>
                      <a:pt x="6321632" y="1754686"/>
                    </a:cubicBezTo>
                    <a:cubicBezTo>
                      <a:pt x="6287322" y="1602791"/>
                      <a:pt x="6315698" y="1485143"/>
                      <a:pt x="6031236" y="1367320"/>
                    </a:cubicBezTo>
                    <a:cubicBezTo>
                      <a:pt x="5746774" y="1249497"/>
                      <a:pt x="5031899" y="1258174"/>
                      <a:pt x="4614862" y="1047750"/>
                    </a:cubicBezTo>
                    <a:cubicBezTo>
                      <a:pt x="4197825" y="837326"/>
                      <a:pt x="3776662" y="209550"/>
                      <a:pt x="3529012" y="104775"/>
                    </a:cubicBezTo>
                    <a:cubicBezTo>
                      <a:pt x="3281362" y="0"/>
                      <a:pt x="3286124" y="61913"/>
                      <a:pt x="3128962" y="419100"/>
                    </a:cubicBezTo>
                    <a:cubicBezTo>
                      <a:pt x="2971800" y="776287"/>
                      <a:pt x="2947987" y="1881188"/>
                      <a:pt x="2586037" y="2247900"/>
                    </a:cubicBezTo>
                    <a:cubicBezTo>
                      <a:pt x="2224087" y="2614612"/>
                      <a:pt x="1366837" y="2476500"/>
                      <a:pt x="957262" y="2619375"/>
                    </a:cubicBezTo>
                    <a:cubicBezTo>
                      <a:pt x="547687" y="2762250"/>
                      <a:pt x="200025" y="2890838"/>
                      <a:pt x="100012" y="310515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72" name="Freeform 283">
                <a:extLst>
                  <a:ext uri="{FF2B5EF4-FFF2-40B4-BE49-F238E27FC236}">
                    <a16:creationId xmlns:a16="http://schemas.microsoft.com/office/drawing/2014/main" id="{37AF54E4-A6CB-4988-BB17-E051113D0BC9}"/>
                  </a:ext>
                </a:extLst>
              </p:cNvPr>
              <p:cNvSpPr/>
              <p:nvPr/>
            </p:nvSpPr>
            <p:spPr>
              <a:xfrm rot="21114987" flipH="1">
                <a:off x="6465549" y="2459354"/>
                <a:ext cx="1155091" cy="1543372"/>
              </a:xfrm>
              <a:custGeom>
                <a:avLst/>
                <a:gdLst>
                  <a:gd name="connsiteX0" fmla="*/ 4987637 w 9874318"/>
                  <a:gd name="connsiteY0" fmla="*/ 41563 h 12988636"/>
                  <a:gd name="connsiteX1" fmla="*/ 6795655 w 9874318"/>
                  <a:gd name="connsiteY1" fmla="*/ 436418 h 12988636"/>
                  <a:gd name="connsiteX2" fmla="*/ 7502237 w 9874318"/>
                  <a:gd name="connsiteY2" fmla="*/ 727363 h 12988636"/>
                  <a:gd name="connsiteX3" fmla="*/ 7148946 w 9874318"/>
                  <a:gd name="connsiteY3" fmla="*/ 1766454 h 12988636"/>
                  <a:gd name="connsiteX4" fmla="*/ 6754091 w 9874318"/>
                  <a:gd name="connsiteY4" fmla="*/ 3366654 h 12988636"/>
                  <a:gd name="connsiteX5" fmla="*/ 7523018 w 9874318"/>
                  <a:gd name="connsiteY5" fmla="*/ 6380018 h 12988636"/>
                  <a:gd name="connsiteX6" fmla="*/ 7938655 w 9874318"/>
                  <a:gd name="connsiteY6" fmla="*/ 7419109 h 12988636"/>
                  <a:gd name="connsiteX7" fmla="*/ 8458200 w 9874318"/>
                  <a:gd name="connsiteY7" fmla="*/ 8021782 h 12988636"/>
                  <a:gd name="connsiteX8" fmla="*/ 8395855 w 9874318"/>
                  <a:gd name="connsiteY8" fmla="*/ 8146473 h 12988636"/>
                  <a:gd name="connsiteX9" fmla="*/ 9102437 w 9874318"/>
                  <a:gd name="connsiteY9" fmla="*/ 9621982 h 12988636"/>
                  <a:gd name="connsiteX10" fmla="*/ 9164782 w 9874318"/>
                  <a:gd name="connsiteY10" fmla="*/ 9684327 h 12988636"/>
                  <a:gd name="connsiteX11" fmla="*/ 9871364 w 9874318"/>
                  <a:gd name="connsiteY11" fmla="*/ 11139054 h 12988636"/>
                  <a:gd name="connsiteX12" fmla="*/ 9850582 w 9874318"/>
                  <a:gd name="connsiteY12" fmla="*/ 11139054 h 12988636"/>
                  <a:gd name="connsiteX13" fmla="*/ 7917873 w 9874318"/>
                  <a:gd name="connsiteY13" fmla="*/ 12157363 h 12988636"/>
                  <a:gd name="connsiteX14" fmla="*/ 7294418 w 9874318"/>
                  <a:gd name="connsiteY14" fmla="*/ 12178145 h 12988636"/>
                  <a:gd name="connsiteX15" fmla="*/ 6380018 w 9874318"/>
                  <a:gd name="connsiteY15" fmla="*/ 11159836 h 12988636"/>
                  <a:gd name="connsiteX16" fmla="*/ 5943600 w 9874318"/>
                  <a:gd name="connsiteY16" fmla="*/ 9975273 h 12988636"/>
                  <a:gd name="connsiteX17" fmla="*/ 5964382 w 9874318"/>
                  <a:gd name="connsiteY17" fmla="*/ 11263745 h 12988636"/>
                  <a:gd name="connsiteX18" fmla="*/ 5590309 w 9874318"/>
                  <a:gd name="connsiteY18" fmla="*/ 12344400 h 12988636"/>
                  <a:gd name="connsiteX19" fmla="*/ 4987637 w 9874318"/>
                  <a:gd name="connsiteY19" fmla="*/ 12780818 h 12988636"/>
                  <a:gd name="connsiteX20" fmla="*/ 3013364 w 9874318"/>
                  <a:gd name="connsiteY20" fmla="*/ 12988636 h 12988636"/>
                  <a:gd name="connsiteX21" fmla="*/ 1496291 w 9874318"/>
                  <a:gd name="connsiteY21" fmla="*/ 12863945 h 12988636"/>
                  <a:gd name="connsiteX22" fmla="*/ 1745673 w 9874318"/>
                  <a:gd name="connsiteY22" fmla="*/ 11014363 h 12988636"/>
                  <a:gd name="connsiteX23" fmla="*/ 1891146 w 9874318"/>
                  <a:gd name="connsiteY23" fmla="*/ 9393382 h 12988636"/>
                  <a:gd name="connsiteX24" fmla="*/ 1724891 w 9874318"/>
                  <a:gd name="connsiteY24" fmla="*/ 9289473 h 12988636"/>
                  <a:gd name="connsiteX25" fmla="*/ 1911928 w 9874318"/>
                  <a:gd name="connsiteY25" fmla="*/ 8562109 h 12988636"/>
                  <a:gd name="connsiteX26" fmla="*/ 1766455 w 9874318"/>
                  <a:gd name="connsiteY26" fmla="*/ 6629400 h 12988636"/>
                  <a:gd name="connsiteX27" fmla="*/ 0 w 9874318"/>
                  <a:gd name="connsiteY27" fmla="*/ 1330036 h 12988636"/>
                  <a:gd name="connsiteX28" fmla="*/ 477982 w 9874318"/>
                  <a:gd name="connsiteY28" fmla="*/ 1226127 h 12988636"/>
                  <a:gd name="connsiteX29" fmla="*/ 2119746 w 9874318"/>
                  <a:gd name="connsiteY29" fmla="*/ 332509 h 12988636"/>
                  <a:gd name="connsiteX30" fmla="*/ 3408218 w 9874318"/>
                  <a:gd name="connsiteY30" fmla="*/ 2078182 h 12988636"/>
                  <a:gd name="connsiteX31" fmla="*/ 4530437 w 9874318"/>
                  <a:gd name="connsiteY31" fmla="*/ 3283527 h 12988636"/>
                  <a:gd name="connsiteX32" fmla="*/ 5112328 w 9874318"/>
                  <a:gd name="connsiteY32" fmla="*/ 976745 h 12988636"/>
                  <a:gd name="connsiteX33" fmla="*/ 5049982 w 9874318"/>
                  <a:gd name="connsiteY33" fmla="*/ 0 h 12988636"/>
                  <a:gd name="connsiteX34" fmla="*/ 4987637 w 9874318"/>
                  <a:gd name="connsiteY34" fmla="*/ 41563 h 12988636"/>
                  <a:gd name="connsiteX0" fmla="*/ 4987637 w 9874318"/>
                  <a:gd name="connsiteY0" fmla="*/ 41563 h 12988636"/>
                  <a:gd name="connsiteX1" fmla="*/ 6795655 w 9874318"/>
                  <a:gd name="connsiteY1" fmla="*/ 436418 h 12988636"/>
                  <a:gd name="connsiteX2" fmla="*/ 7502237 w 9874318"/>
                  <a:gd name="connsiteY2" fmla="*/ 727363 h 12988636"/>
                  <a:gd name="connsiteX3" fmla="*/ 7148946 w 9874318"/>
                  <a:gd name="connsiteY3" fmla="*/ 1766454 h 12988636"/>
                  <a:gd name="connsiteX4" fmla="*/ 6754091 w 9874318"/>
                  <a:gd name="connsiteY4" fmla="*/ 3366654 h 12988636"/>
                  <a:gd name="connsiteX5" fmla="*/ 7523018 w 9874318"/>
                  <a:gd name="connsiteY5" fmla="*/ 6380018 h 12988636"/>
                  <a:gd name="connsiteX6" fmla="*/ 7938655 w 9874318"/>
                  <a:gd name="connsiteY6" fmla="*/ 7419109 h 12988636"/>
                  <a:gd name="connsiteX7" fmla="*/ 8458200 w 9874318"/>
                  <a:gd name="connsiteY7" fmla="*/ 8021782 h 12988636"/>
                  <a:gd name="connsiteX8" fmla="*/ 8395855 w 9874318"/>
                  <a:gd name="connsiteY8" fmla="*/ 8146473 h 12988636"/>
                  <a:gd name="connsiteX9" fmla="*/ 9102437 w 9874318"/>
                  <a:gd name="connsiteY9" fmla="*/ 9621982 h 12988636"/>
                  <a:gd name="connsiteX10" fmla="*/ 9164782 w 9874318"/>
                  <a:gd name="connsiteY10" fmla="*/ 9684327 h 12988636"/>
                  <a:gd name="connsiteX11" fmla="*/ 9871364 w 9874318"/>
                  <a:gd name="connsiteY11" fmla="*/ 11139054 h 12988636"/>
                  <a:gd name="connsiteX12" fmla="*/ 9850582 w 9874318"/>
                  <a:gd name="connsiteY12" fmla="*/ 11139054 h 12988636"/>
                  <a:gd name="connsiteX13" fmla="*/ 7917873 w 9874318"/>
                  <a:gd name="connsiteY13" fmla="*/ 12157363 h 12988636"/>
                  <a:gd name="connsiteX14" fmla="*/ 7294418 w 9874318"/>
                  <a:gd name="connsiteY14" fmla="*/ 12178145 h 12988636"/>
                  <a:gd name="connsiteX15" fmla="*/ 6380018 w 9874318"/>
                  <a:gd name="connsiteY15" fmla="*/ 11159836 h 12988636"/>
                  <a:gd name="connsiteX16" fmla="*/ 5943600 w 9874318"/>
                  <a:gd name="connsiteY16" fmla="*/ 9975273 h 12988636"/>
                  <a:gd name="connsiteX17" fmla="*/ 5964382 w 9874318"/>
                  <a:gd name="connsiteY17" fmla="*/ 11263745 h 12988636"/>
                  <a:gd name="connsiteX18" fmla="*/ 5590309 w 9874318"/>
                  <a:gd name="connsiteY18" fmla="*/ 12344400 h 12988636"/>
                  <a:gd name="connsiteX19" fmla="*/ 4987637 w 9874318"/>
                  <a:gd name="connsiteY19" fmla="*/ 12780818 h 12988636"/>
                  <a:gd name="connsiteX20" fmla="*/ 3013364 w 9874318"/>
                  <a:gd name="connsiteY20" fmla="*/ 12988636 h 12988636"/>
                  <a:gd name="connsiteX21" fmla="*/ 1496291 w 9874318"/>
                  <a:gd name="connsiteY21" fmla="*/ 12863945 h 12988636"/>
                  <a:gd name="connsiteX22" fmla="*/ 1745673 w 9874318"/>
                  <a:gd name="connsiteY22" fmla="*/ 11014363 h 12988636"/>
                  <a:gd name="connsiteX23" fmla="*/ 1891146 w 9874318"/>
                  <a:gd name="connsiteY23" fmla="*/ 9393382 h 12988636"/>
                  <a:gd name="connsiteX24" fmla="*/ 1724891 w 9874318"/>
                  <a:gd name="connsiteY24" fmla="*/ 9289473 h 12988636"/>
                  <a:gd name="connsiteX25" fmla="*/ 1911928 w 9874318"/>
                  <a:gd name="connsiteY25" fmla="*/ 8562109 h 12988636"/>
                  <a:gd name="connsiteX26" fmla="*/ 1766455 w 9874318"/>
                  <a:gd name="connsiteY26" fmla="*/ 6629400 h 12988636"/>
                  <a:gd name="connsiteX27" fmla="*/ 0 w 9874318"/>
                  <a:gd name="connsiteY27" fmla="*/ 1330036 h 12988636"/>
                  <a:gd name="connsiteX28" fmla="*/ 477982 w 9874318"/>
                  <a:gd name="connsiteY28" fmla="*/ 1226127 h 12988636"/>
                  <a:gd name="connsiteX29" fmla="*/ 2119746 w 9874318"/>
                  <a:gd name="connsiteY29" fmla="*/ 332509 h 12988636"/>
                  <a:gd name="connsiteX30" fmla="*/ 3408218 w 9874318"/>
                  <a:gd name="connsiteY30" fmla="*/ 2078182 h 12988636"/>
                  <a:gd name="connsiteX31" fmla="*/ 4530437 w 9874318"/>
                  <a:gd name="connsiteY31" fmla="*/ 3283527 h 12988636"/>
                  <a:gd name="connsiteX32" fmla="*/ 5112328 w 9874318"/>
                  <a:gd name="connsiteY32" fmla="*/ 976745 h 12988636"/>
                  <a:gd name="connsiteX33" fmla="*/ 5049982 w 9874318"/>
                  <a:gd name="connsiteY33" fmla="*/ 0 h 12988636"/>
                  <a:gd name="connsiteX34" fmla="*/ 4987637 w 9874318"/>
                  <a:gd name="connsiteY34" fmla="*/ 41563 h 12988636"/>
                  <a:gd name="connsiteX0" fmla="*/ 4987637 w 9874318"/>
                  <a:gd name="connsiteY0" fmla="*/ 41563 h 12988636"/>
                  <a:gd name="connsiteX1" fmla="*/ 6795655 w 9874318"/>
                  <a:gd name="connsiteY1" fmla="*/ 436418 h 12988636"/>
                  <a:gd name="connsiteX2" fmla="*/ 7502237 w 9874318"/>
                  <a:gd name="connsiteY2" fmla="*/ 727363 h 12988636"/>
                  <a:gd name="connsiteX3" fmla="*/ 7148946 w 9874318"/>
                  <a:gd name="connsiteY3" fmla="*/ 1766454 h 12988636"/>
                  <a:gd name="connsiteX4" fmla="*/ 6754091 w 9874318"/>
                  <a:gd name="connsiteY4" fmla="*/ 3366654 h 12988636"/>
                  <a:gd name="connsiteX5" fmla="*/ 7523018 w 9874318"/>
                  <a:gd name="connsiteY5" fmla="*/ 6380018 h 12988636"/>
                  <a:gd name="connsiteX6" fmla="*/ 7938655 w 9874318"/>
                  <a:gd name="connsiteY6" fmla="*/ 7419109 h 12988636"/>
                  <a:gd name="connsiteX7" fmla="*/ 8458200 w 9874318"/>
                  <a:gd name="connsiteY7" fmla="*/ 8021782 h 12988636"/>
                  <a:gd name="connsiteX8" fmla="*/ 8395855 w 9874318"/>
                  <a:gd name="connsiteY8" fmla="*/ 8146473 h 12988636"/>
                  <a:gd name="connsiteX9" fmla="*/ 9102437 w 9874318"/>
                  <a:gd name="connsiteY9" fmla="*/ 9621982 h 12988636"/>
                  <a:gd name="connsiteX10" fmla="*/ 9164782 w 9874318"/>
                  <a:gd name="connsiteY10" fmla="*/ 9684327 h 12988636"/>
                  <a:gd name="connsiteX11" fmla="*/ 9871364 w 9874318"/>
                  <a:gd name="connsiteY11" fmla="*/ 11139054 h 12988636"/>
                  <a:gd name="connsiteX12" fmla="*/ 9850582 w 9874318"/>
                  <a:gd name="connsiteY12" fmla="*/ 11139054 h 12988636"/>
                  <a:gd name="connsiteX13" fmla="*/ 7917873 w 9874318"/>
                  <a:gd name="connsiteY13" fmla="*/ 12157363 h 12988636"/>
                  <a:gd name="connsiteX14" fmla="*/ 7294418 w 9874318"/>
                  <a:gd name="connsiteY14" fmla="*/ 12178145 h 12988636"/>
                  <a:gd name="connsiteX15" fmla="*/ 6380018 w 9874318"/>
                  <a:gd name="connsiteY15" fmla="*/ 11159836 h 12988636"/>
                  <a:gd name="connsiteX16" fmla="*/ 5943600 w 9874318"/>
                  <a:gd name="connsiteY16" fmla="*/ 9975273 h 12988636"/>
                  <a:gd name="connsiteX17" fmla="*/ 5964382 w 9874318"/>
                  <a:gd name="connsiteY17" fmla="*/ 11263745 h 12988636"/>
                  <a:gd name="connsiteX18" fmla="*/ 5590309 w 9874318"/>
                  <a:gd name="connsiteY18" fmla="*/ 12344400 h 12988636"/>
                  <a:gd name="connsiteX19" fmla="*/ 4987637 w 9874318"/>
                  <a:gd name="connsiteY19" fmla="*/ 12780818 h 12988636"/>
                  <a:gd name="connsiteX20" fmla="*/ 3013364 w 9874318"/>
                  <a:gd name="connsiteY20" fmla="*/ 12988636 h 12988636"/>
                  <a:gd name="connsiteX21" fmla="*/ 1496291 w 9874318"/>
                  <a:gd name="connsiteY21" fmla="*/ 12863945 h 12988636"/>
                  <a:gd name="connsiteX22" fmla="*/ 1745673 w 9874318"/>
                  <a:gd name="connsiteY22" fmla="*/ 11014363 h 12988636"/>
                  <a:gd name="connsiteX23" fmla="*/ 1891146 w 9874318"/>
                  <a:gd name="connsiteY23" fmla="*/ 9393382 h 12988636"/>
                  <a:gd name="connsiteX24" fmla="*/ 1724891 w 9874318"/>
                  <a:gd name="connsiteY24" fmla="*/ 9289473 h 12988636"/>
                  <a:gd name="connsiteX25" fmla="*/ 1911928 w 9874318"/>
                  <a:gd name="connsiteY25" fmla="*/ 8562109 h 12988636"/>
                  <a:gd name="connsiteX26" fmla="*/ 1766455 w 9874318"/>
                  <a:gd name="connsiteY26" fmla="*/ 6629400 h 12988636"/>
                  <a:gd name="connsiteX27" fmla="*/ 0 w 9874318"/>
                  <a:gd name="connsiteY27" fmla="*/ 1330036 h 12988636"/>
                  <a:gd name="connsiteX28" fmla="*/ 477982 w 9874318"/>
                  <a:gd name="connsiteY28" fmla="*/ 1226127 h 12988636"/>
                  <a:gd name="connsiteX29" fmla="*/ 2119746 w 9874318"/>
                  <a:gd name="connsiteY29" fmla="*/ 332509 h 12988636"/>
                  <a:gd name="connsiteX30" fmla="*/ 3408218 w 9874318"/>
                  <a:gd name="connsiteY30" fmla="*/ 2078182 h 12988636"/>
                  <a:gd name="connsiteX31" fmla="*/ 4530437 w 9874318"/>
                  <a:gd name="connsiteY31" fmla="*/ 3283527 h 12988636"/>
                  <a:gd name="connsiteX32" fmla="*/ 5112328 w 9874318"/>
                  <a:gd name="connsiteY32" fmla="*/ 976745 h 12988636"/>
                  <a:gd name="connsiteX33" fmla="*/ 5049982 w 9874318"/>
                  <a:gd name="connsiteY33" fmla="*/ 0 h 12988636"/>
                  <a:gd name="connsiteX34" fmla="*/ 4987637 w 9874318"/>
                  <a:gd name="connsiteY34" fmla="*/ 41563 h 12988636"/>
                  <a:gd name="connsiteX0" fmla="*/ 4987637 w 9874318"/>
                  <a:gd name="connsiteY0" fmla="*/ 41563 h 12988636"/>
                  <a:gd name="connsiteX1" fmla="*/ 6795655 w 9874318"/>
                  <a:gd name="connsiteY1" fmla="*/ 436418 h 12988636"/>
                  <a:gd name="connsiteX2" fmla="*/ 7502237 w 9874318"/>
                  <a:gd name="connsiteY2" fmla="*/ 727363 h 12988636"/>
                  <a:gd name="connsiteX3" fmla="*/ 7148946 w 9874318"/>
                  <a:gd name="connsiteY3" fmla="*/ 1766454 h 12988636"/>
                  <a:gd name="connsiteX4" fmla="*/ 6754091 w 9874318"/>
                  <a:gd name="connsiteY4" fmla="*/ 3366654 h 12988636"/>
                  <a:gd name="connsiteX5" fmla="*/ 7523018 w 9874318"/>
                  <a:gd name="connsiteY5" fmla="*/ 6380018 h 12988636"/>
                  <a:gd name="connsiteX6" fmla="*/ 7938655 w 9874318"/>
                  <a:gd name="connsiteY6" fmla="*/ 7419109 h 12988636"/>
                  <a:gd name="connsiteX7" fmla="*/ 8458200 w 9874318"/>
                  <a:gd name="connsiteY7" fmla="*/ 8021782 h 12988636"/>
                  <a:gd name="connsiteX8" fmla="*/ 8395855 w 9874318"/>
                  <a:gd name="connsiteY8" fmla="*/ 8146473 h 12988636"/>
                  <a:gd name="connsiteX9" fmla="*/ 9102437 w 9874318"/>
                  <a:gd name="connsiteY9" fmla="*/ 9621982 h 12988636"/>
                  <a:gd name="connsiteX10" fmla="*/ 9164782 w 9874318"/>
                  <a:gd name="connsiteY10" fmla="*/ 9684327 h 12988636"/>
                  <a:gd name="connsiteX11" fmla="*/ 9871364 w 9874318"/>
                  <a:gd name="connsiteY11" fmla="*/ 11139054 h 12988636"/>
                  <a:gd name="connsiteX12" fmla="*/ 9850582 w 9874318"/>
                  <a:gd name="connsiteY12" fmla="*/ 11139054 h 12988636"/>
                  <a:gd name="connsiteX13" fmla="*/ 7917873 w 9874318"/>
                  <a:gd name="connsiteY13" fmla="*/ 12157363 h 12988636"/>
                  <a:gd name="connsiteX14" fmla="*/ 6380018 w 9874318"/>
                  <a:gd name="connsiteY14" fmla="*/ 11159836 h 12988636"/>
                  <a:gd name="connsiteX15" fmla="*/ 5943600 w 9874318"/>
                  <a:gd name="connsiteY15" fmla="*/ 9975273 h 12988636"/>
                  <a:gd name="connsiteX16" fmla="*/ 5964382 w 9874318"/>
                  <a:gd name="connsiteY16" fmla="*/ 11263745 h 12988636"/>
                  <a:gd name="connsiteX17" fmla="*/ 5590309 w 9874318"/>
                  <a:gd name="connsiteY17" fmla="*/ 12344400 h 12988636"/>
                  <a:gd name="connsiteX18" fmla="*/ 4987637 w 9874318"/>
                  <a:gd name="connsiteY18" fmla="*/ 12780818 h 12988636"/>
                  <a:gd name="connsiteX19" fmla="*/ 3013364 w 9874318"/>
                  <a:gd name="connsiteY19" fmla="*/ 12988636 h 12988636"/>
                  <a:gd name="connsiteX20" fmla="*/ 1496291 w 9874318"/>
                  <a:gd name="connsiteY20" fmla="*/ 12863945 h 12988636"/>
                  <a:gd name="connsiteX21" fmla="*/ 1745673 w 9874318"/>
                  <a:gd name="connsiteY21" fmla="*/ 11014363 h 12988636"/>
                  <a:gd name="connsiteX22" fmla="*/ 1891146 w 9874318"/>
                  <a:gd name="connsiteY22" fmla="*/ 9393382 h 12988636"/>
                  <a:gd name="connsiteX23" fmla="*/ 1724891 w 9874318"/>
                  <a:gd name="connsiteY23" fmla="*/ 9289473 h 12988636"/>
                  <a:gd name="connsiteX24" fmla="*/ 1911928 w 9874318"/>
                  <a:gd name="connsiteY24" fmla="*/ 8562109 h 12988636"/>
                  <a:gd name="connsiteX25" fmla="*/ 1766455 w 9874318"/>
                  <a:gd name="connsiteY25" fmla="*/ 6629400 h 12988636"/>
                  <a:gd name="connsiteX26" fmla="*/ 0 w 9874318"/>
                  <a:gd name="connsiteY26" fmla="*/ 1330036 h 12988636"/>
                  <a:gd name="connsiteX27" fmla="*/ 477982 w 9874318"/>
                  <a:gd name="connsiteY27" fmla="*/ 1226127 h 12988636"/>
                  <a:gd name="connsiteX28" fmla="*/ 2119746 w 9874318"/>
                  <a:gd name="connsiteY28" fmla="*/ 332509 h 12988636"/>
                  <a:gd name="connsiteX29" fmla="*/ 3408218 w 9874318"/>
                  <a:gd name="connsiteY29" fmla="*/ 2078182 h 12988636"/>
                  <a:gd name="connsiteX30" fmla="*/ 4530437 w 9874318"/>
                  <a:gd name="connsiteY30" fmla="*/ 3283527 h 12988636"/>
                  <a:gd name="connsiteX31" fmla="*/ 5112328 w 9874318"/>
                  <a:gd name="connsiteY31" fmla="*/ 976745 h 12988636"/>
                  <a:gd name="connsiteX32" fmla="*/ 5049982 w 9874318"/>
                  <a:gd name="connsiteY32" fmla="*/ 0 h 12988636"/>
                  <a:gd name="connsiteX33" fmla="*/ 4987637 w 9874318"/>
                  <a:gd name="connsiteY33" fmla="*/ 41563 h 12988636"/>
                  <a:gd name="connsiteX0" fmla="*/ 4987637 w 9874318"/>
                  <a:gd name="connsiteY0" fmla="*/ 41563 h 12988636"/>
                  <a:gd name="connsiteX1" fmla="*/ 6795655 w 9874318"/>
                  <a:gd name="connsiteY1" fmla="*/ 436418 h 12988636"/>
                  <a:gd name="connsiteX2" fmla="*/ 7502237 w 9874318"/>
                  <a:gd name="connsiteY2" fmla="*/ 727363 h 12988636"/>
                  <a:gd name="connsiteX3" fmla="*/ 7148946 w 9874318"/>
                  <a:gd name="connsiteY3" fmla="*/ 1766454 h 12988636"/>
                  <a:gd name="connsiteX4" fmla="*/ 6754091 w 9874318"/>
                  <a:gd name="connsiteY4" fmla="*/ 3366654 h 12988636"/>
                  <a:gd name="connsiteX5" fmla="*/ 7523018 w 9874318"/>
                  <a:gd name="connsiteY5" fmla="*/ 6380018 h 12988636"/>
                  <a:gd name="connsiteX6" fmla="*/ 7938655 w 9874318"/>
                  <a:gd name="connsiteY6" fmla="*/ 7419109 h 12988636"/>
                  <a:gd name="connsiteX7" fmla="*/ 8458200 w 9874318"/>
                  <a:gd name="connsiteY7" fmla="*/ 8021782 h 12988636"/>
                  <a:gd name="connsiteX8" fmla="*/ 8395855 w 9874318"/>
                  <a:gd name="connsiteY8" fmla="*/ 8146473 h 12988636"/>
                  <a:gd name="connsiteX9" fmla="*/ 9102437 w 9874318"/>
                  <a:gd name="connsiteY9" fmla="*/ 9621982 h 12988636"/>
                  <a:gd name="connsiteX10" fmla="*/ 9164782 w 9874318"/>
                  <a:gd name="connsiteY10" fmla="*/ 9684327 h 12988636"/>
                  <a:gd name="connsiteX11" fmla="*/ 9871364 w 9874318"/>
                  <a:gd name="connsiteY11" fmla="*/ 11139054 h 12988636"/>
                  <a:gd name="connsiteX12" fmla="*/ 9850582 w 9874318"/>
                  <a:gd name="connsiteY12" fmla="*/ 11139054 h 12988636"/>
                  <a:gd name="connsiteX13" fmla="*/ 7917873 w 9874318"/>
                  <a:gd name="connsiteY13" fmla="*/ 12157363 h 12988636"/>
                  <a:gd name="connsiteX14" fmla="*/ 6380018 w 9874318"/>
                  <a:gd name="connsiteY14" fmla="*/ 11159836 h 12988636"/>
                  <a:gd name="connsiteX15" fmla="*/ 5943600 w 9874318"/>
                  <a:gd name="connsiteY15" fmla="*/ 9975273 h 12988636"/>
                  <a:gd name="connsiteX16" fmla="*/ 5964382 w 9874318"/>
                  <a:gd name="connsiteY16" fmla="*/ 11263745 h 12988636"/>
                  <a:gd name="connsiteX17" fmla="*/ 5590309 w 9874318"/>
                  <a:gd name="connsiteY17" fmla="*/ 12344400 h 12988636"/>
                  <a:gd name="connsiteX18" fmla="*/ 4987637 w 9874318"/>
                  <a:gd name="connsiteY18" fmla="*/ 12780818 h 12988636"/>
                  <a:gd name="connsiteX19" fmla="*/ 3013364 w 9874318"/>
                  <a:gd name="connsiteY19" fmla="*/ 12988636 h 12988636"/>
                  <a:gd name="connsiteX20" fmla="*/ 1496291 w 9874318"/>
                  <a:gd name="connsiteY20" fmla="*/ 12863945 h 12988636"/>
                  <a:gd name="connsiteX21" fmla="*/ 1745673 w 9874318"/>
                  <a:gd name="connsiteY21" fmla="*/ 11014363 h 12988636"/>
                  <a:gd name="connsiteX22" fmla="*/ 1891146 w 9874318"/>
                  <a:gd name="connsiteY22" fmla="*/ 9393382 h 12988636"/>
                  <a:gd name="connsiteX23" fmla="*/ 1724891 w 9874318"/>
                  <a:gd name="connsiteY23" fmla="*/ 9289473 h 12988636"/>
                  <a:gd name="connsiteX24" fmla="*/ 1911928 w 9874318"/>
                  <a:gd name="connsiteY24" fmla="*/ 8562109 h 12988636"/>
                  <a:gd name="connsiteX25" fmla="*/ 1766455 w 9874318"/>
                  <a:gd name="connsiteY25" fmla="*/ 6629400 h 12988636"/>
                  <a:gd name="connsiteX26" fmla="*/ 0 w 9874318"/>
                  <a:gd name="connsiteY26" fmla="*/ 1330036 h 12988636"/>
                  <a:gd name="connsiteX27" fmla="*/ 477982 w 9874318"/>
                  <a:gd name="connsiteY27" fmla="*/ 1226127 h 12988636"/>
                  <a:gd name="connsiteX28" fmla="*/ 2119746 w 9874318"/>
                  <a:gd name="connsiteY28" fmla="*/ 332509 h 12988636"/>
                  <a:gd name="connsiteX29" fmla="*/ 3408218 w 9874318"/>
                  <a:gd name="connsiteY29" fmla="*/ 2078182 h 12988636"/>
                  <a:gd name="connsiteX30" fmla="*/ 4530437 w 9874318"/>
                  <a:gd name="connsiteY30" fmla="*/ 3283527 h 12988636"/>
                  <a:gd name="connsiteX31" fmla="*/ 5112328 w 9874318"/>
                  <a:gd name="connsiteY31" fmla="*/ 976745 h 12988636"/>
                  <a:gd name="connsiteX32" fmla="*/ 5049982 w 9874318"/>
                  <a:gd name="connsiteY32" fmla="*/ 0 h 12988636"/>
                  <a:gd name="connsiteX33" fmla="*/ 4987637 w 9874318"/>
                  <a:gd name="connsiteY33" fmla="*/ 41563 h 12988636"/>
                  <a:gd name="connsiteX0" fmla="*/ 4987637 w 9874318"/>
                  <a:gd name="connsiteY0" fmla="*/ 41563 h 12988636"/>
                  <a:gd name="connsiteX1" fmla="*/ 6795655 w 9874318"/>
                  <a:gd name="connsiteY1" fmla="*/ 436418 h 12988636"/>
                  <a:gd name="connsiteX2" fmla="*/ 7502237 w 9874318"/>
                  <a:gd name="connsiteY2" fmla="*/ 727363 h 12988636"/>
                  <a:gd name="connsiteX3" fmla="*/ 7148946 w 9874318"/>
                  <a:gd name="connsiteY3" fmla="*/ 1766454 h 12988636"/>
                  <a:gd name="connsiteX4" fmla="*/ 6754091 w 9874318"/>
                  <a:gd name="connsiteY4" fmla="*/ 3366654 h 12988636"/>
                  <a:gd name="connsiteX5" fmla="*/ 7523018 w 9874318"/>
                  <a:gd name="connsiteY5" fmla="*/ 6380018 h 12988636"/>
                  <a:gd name="connsiteX6" fmla="*/ 7938655 w 9874318"/>
                  <a:gd name="connsiteY6" fmla="*/ 7419109 h 12988636"/>
                  <a:gd name="connsiteX7" fmla="*/ 8458200 w 9874318"/>
                  <a:gd name="connsiteY7" fmla="*/ 8021782 h 12988636"/>
                  <a:gd name="connsiteX8" fmla="*/ 8395855 w 9874318"/>
                  <a:gd name="connsiteY8" fmla="*/ 8146473 h 12988636"/>
                  <a:gd name="connsiteX9" fmla="*/ 9102437 w 9874318"/>
                  <a:gd name="connsiteY9" fmla="*/ 9621982 h 12988636"/>
                  <a:gd name="connsiteX10" fmla="*/ 9164782 w 9874318"/>
                  <a:gd name="connsiteY10" fmla="*/ 9684327 h 12988636"/>
                  <a:gd name="connsiteX11" fmla="*/ 9871364 w 9874318"/>
                  <a:gd name="connsiteY11" fmla="*/ 11139054 h 12988636"/>
                  <a:gd name="connsiteX12" fmla="*/ 9850582 w 9874318"/>
                  <a:gd name="connsiteY12" fmla="*/ 11139054 h 12988636"/>
                  <a:gd name="connsiteX13" fmla="*/ 7917873 w 9874318"/>
                  <a:gd name="connsiteY13" fmla="*/ 12157363 h 12988636"/>
                  <a:gd name="connsiteX14" fmla="*/ 6380018 w 9874318"/>
                  <a:gd name="connsiteY14" fmla="*/ 11159836 h 12988636"/>
                  <a:gd name="connsiteX15" fmla="*/ 5943600 w 9874318"/>
                  <a:gd name="connsiteY15" fmla="*/ 9975273 h 12988636"/>
                  <a:gd name="connsiteX16" fmla="*/ 5964382 w 9874318"/>
                  <a:gd name="connsiteY16" fmla="*/ 11263745 h 12988636"/>
                  <a:gd name="connsiteX17" fmla="*/ 5590309 w 9874318"/>
                  <a:gd name="connsiteY17" fmla="*/ 12344400 h 12988636"/>
                  <a:gd name="connsiteX18" fmla="*/ 4987637 w 9874318"/>
                  <a:gd name="connsiteY18" fmla="*/ 12780818 h 12988636"/>
                  <a:gd name="connsiteX19" fmla="*/ 3013364 w 9874318"/>
                  <a:gd name="connsiteY19" fmla="*/ 12988636 h 12988636"/>
                  <a:gd name="connsiteX20" fmla="*/ 1496291 w 9874318"/>
                  <a:gd name="connsiteY20" fmla="*/ 12863945 h 12988636"/>
                  <a:gd name="connsiteX21" fmla="*/ 1745673 w 9874318"/>
                  <a:gd name="connsiteY21" fmla="*/ 11014363 h 12988636"/>
                  <a:gd name="connsiteX22" fmla="*/ 1891146 w 9874318"/>
                  <a:gd name="connsiteY22" fmla="*/ 9393382 h 12988636"/>
                  <a:gd name="connsiteX23" fmla="*/ 1724891 w 9874318"/>
                  <a:gd name="connsiteY23" fmla="*/ 9289473 h 12988636"/>
                  <a:gd name="connsiteX24" fmla="*/ 1911928 w 9874318"/>
                  <a:gd name="connsiteY24" fmla="*/ 8562109 h 12988636"/>
                  <a:gd name="connsiteX25" fmla="*/ 1766455 w 9874318"/>
                  <a:gd name="connsiteY25" fmla="*/ 6629400 h 12988636"/>
                  <a:gd name="connsiteX26" fmla="*/ 0 w 9874318"/>
                  <a:gd name="connsiteY26" fmla="*/ 1330036 h 12988636"/>
                  <a:gd name="connsiteX27" fmla="*/ 477982 w 9874318"/>
                  <a:gd name="connsiteY27" fmla="*/ 1226127 h 12988636"/>
                  <a:gd name="connsiteX28" fmla="*/ 2119746 w 9874318"/>
                  <a:gd name="connsiteY28" fmla="*/ 332509 h 12988636"/>
                  <a:gd name="connsiteX29" fmla="*/ 3408218 w 9874318"/>
                  <a:gd name="connsiteY29" fmla="*/ 2078182 h 12988636"/>
                  <a:gd name="connsiteX30" fmla="*/ 4530437 w 9874318"/>
                  <a:gd name="connsiteY30" fmla="*/ 3283527 h 12988636"/>
                  <a:gd name="connsiteX31" fmla="*/ 5112328 w 9874318"/>
                  <a:gd name="connsiteY31" fmla="*/ 976745 h 12988636"/>
                  <a:gd name="connsiteX32" fmla="*/ 5049982 w 9874318"/>
                  <a:gd name="connsiteY32" fmla="*/ 0 h 12988636"/>
                  <a:gd name="connsiteX33" fmla="*/ 4987637 w 9874318"/>
                  <a:gd name="connsiteY33" fmla="*/ 41563 h 12988636"/>
                  <a:gd name="connsiteX0" fmla="*/ 4987637 w 9874318"/>
                  <a:gd name="connsiteY0" fmla="*/ 41563 h 12988636"/>
                  <a:gd name="connsiteX1" fmla="*/ 6795655 w 9874318"/>
                  <a:gd name="connsiteY1" fmla="*/ 436418 h 12988636"/>
                  <a:gd name="connsiteX2" fmla="*/ 7502237 w 9874318"/>
                  <a:gd name="connsiteY2" fmla="*/ 727363 h 12988636"/>
                  <a:gd name="connsiteX3" fmla="*/ 7148946 w 9874318"/>
                  <a:gd name="connsiteY3" fmla="*/ 1766454 h 12988636"/>
                  <a:gd name="connsiteX4" fmla="*/ 6754091 w 9874318"/>
                  <a:gd name="connsiteY4" fmla="*/ 3366654 h 12988636"/>
                  <a:gd name="connsiteX5" fmla="*/ 7523018 w 9874318"/>
                  <a:gd name="connsiteY5" fmla="*/ 6380018 h 12988636"/>
                  <a:gd name="connsiteX6" fmla="*/ 7938655 w 9874318"/>
                  <a:gd name="connsiteY6" fmla="*/ 7419109 h 12988636"/>
                  <a:gd name="connsiteX7" fmla="*/ 8458200 w 9874318"/>
                  <a:gd name="connsiteY7" fmla="*/ 8021782 h 12988636"/>
                  <a:gd name="connsiteX8" fmla="*/ 8395855 w 9874318"/>
                  <a:gd name="connsiteY8" fmla="*/ 8146473 h 12988636"/>
                  <a:gd name="connsiteX9" fmla="*/ 9102437 w 9874318"/>
                  <a:gd name="connsiteY9" fmla="*/ 9621982 h 12988636"/>
                  <a:gd name="connsiteX10" fmla="*/ 9164782 w 9874318"/>
                  <a:gd name="connsiteY10" fmla="*/ 9684327 h 12988636"/>
                  <a:gd name="connsiteX11" fmla="*/ 9871364 w 9874318"/>
                  <a:gd name="connsiteY11" fmla="*/ 11139054 h 12988636"/>
                  <a:gd name="connsiteX12" fmla="*/ 9850582 w 9874318"/>
                  <a:gd name="connsiteY12" fmla="*/ 11139054 h 12988636"/>
                  <a:gd name="connsiteX13" fmla="*/ 7917873 w 9874318"/>
                  <a:gd name="connsiteY13" fmla="*/ 12157363 h 12988636"/>
                  <a:gd name="connsiteX14" fmla="*/ 6380018 w 9874318"/>
                  <a:gd name="connsiteY14" fmla="*/ 11159836 h 12988636"/>
                  <a:gd name="connsiteX15" fmla="*/ 5943600 w 9874318"/>
                  <a:gd name="connsiteY15" fmla="*/ 9975273 h 12988636"/>
                  <a:gd name="connsiteX16" fmla="*/ 5964382 w 9874318"/>
                  <a:gd name="connsiteY16" fmla="*/ 11263745 h 12988636"/>
                  <a:gd name="connsiteX17" fmla="*/ 5590309 w 9874318"/>
                  <a:gd name="connsiteY17" fmla="*/ 12344400 h 12988636"/>
                  <a:gd name="connsiteX18" fmla="*/ 4987637 w 9874318"/>
                  <a:gd name="connsiteY18" fmla="*/ 12780818 h 12988636"/>
                  <a:gd name="connsiteX19" fmla="*/ 3013364 w 9874318"/>
                  <a:gd name="connsiteY19" fmla="*/ 12988636 h 12988636"/>
                  <a:gd name="connsiteX20" fmla="*/ 1496291 w 9874318"/>
                  <a:gd name="connsiteY20" fmla="*/ 12863945 h 12988636"/>
                  <a:gd name="connsiteX21" fmla="*/ 1745673 w 9874318"/>
                  <a:gd name="connsiteY21" fmla="*/ 11014363 h 12988636"/>
                  <a:gd name="connsiteX22" fmla="*/ 1891146 w 9874318"/>
                  <a:gd name="connsiteY22" fmla="*/ 9393382 h 12988636"/>
                  <a:gd name="connsiteX23" fmla="*/ 1724891 w 9874318"/>
                  <a:gd name="connsiteY23" fmla="*/ 9289473 h 12988636"/>
                  <a:gd name="connsiteX24" fmla="*/ 1911928 w 9874318"/>
                  <a:gd name="connsiteY24" fmla="*/ 8562109 h 12988636"/>
                  <a:gd name="connsiteX25" fmla="*/ 1766455 w 9874318"/>
                  <a:gd name="connsiteY25" fmla="*/ 6629400 h 12988636"/>
                  <a:gd name="connsiteX26" fmla="*/ 0 w 9874318"/>
                  <a:gd name="connsiteY26" fmla="*/ 1330036 h 12988636"/>
                  <a:gd name="connsiteX27" fmla="*/ 477982 w 9874318"/>
                  <a:gd name="connsiteY27" fmla="*/ 1226127 h 12988636"/>
                  <a:gd name="connsiteX28" fmla="*/ 2119746 w 9874318"/>
                  <a:gd name="connsiteY28" fmla="*/ 332509 h 12988636"/>
                  <a:gd name="connsiteX29" fmla="*/ 3408218 w 9874318"/>
                  <a:gd name="connsiteY29" fmla="*/ 2078182 h 12988636"/>
                  <a:gd name="connsiteX30" fmla="*/ 4530437 w 9874318"/>
                  <a:gd name="connsiteY30" fmla="*/ 3283527 h 12988636"/>
                  <a:gd name="connsiteX31" fmla="*/ 5112328 w 9874318"/>
                  <a:gd name="connsiteY31" fmla="*/ 976745 h 12988636"/>
                  <a:gd name="connsiteX32" fmla="*/ 5049982 w 9874318"/>
                  <a:gd name="connsiteY32" fmla="*/ 0 h 12988636"/>
                  <a:gd name="connsiteX33" fmla="*/ 4987637 w 9874318"/>
                  <a:gd name="connsiteY33" fmla="*/ 41563 h 12988636"/>
                  <a:gd name="connsiteX0" fmla="*/ 4987637 w 9874318"/>
                  <a:gd name="connsiteY0" fmla="*/ 41563 h 12988636"/>
                  <a:gd name="connsiteX1" fmla="*/ 6795655 w 9874318"/>
                  <a:gd name="connsiteY1" fmla="*/ 436418 h 12988636"/>
                  <a:gd name="connsiteX2" fmla="*/ 7502237 w 9874318"/>
                  <a:gd name="connsiteY2" fmla="*/ 727363 h 12988636"/>
                  <a:gd name="connsiteX3" fmla="*/ 7148946 w 9874318"/>
                  <a:gd name="connsiteY3" fmla="*/ 1766454 h 12988636"/>
                  <a:gd name="connsiteX4" fmla="*/ 6754091 w 9874318"/>
                  <a:gd name="connsiteY4" fmla="*/ 3366654 h 12988636"/>
                  <a:gd name="connsiteX5" fmla="*/ 7523018 w 9874318"/>
                  <a:gd name="connsiteY5" fmla="*/ 6380018 h 12988636"/>
                  <a:gd name="connsiteX6" fmla="*/ 7938655 w 9874318"/>
                  <a:gd name="connsiteY6" fmla="*/ 7419109 h 12988636"/>
                  <a:gd name="connsiteX7" fmla="*/ 8458200 w 9874318"/>
                  <a:gd name="connsiteY7" fmla="*/ 8021782 h 12988636"/>
                  <a:gd name="connsiteX8" fmla="*/ 8395855 w 9874318"/>
                  <a:gd name="connsiteY8" fmla="*/ 8146473 h 12988636"/>
                  <a:gd name="connsiteX9" fmla="*/ 9102437 w 9874318"/>
                  <a:gd name="connsiteY9" fmla="*/ 9621982 h 12988636"/>
                  <a:gd name="connsiteX10" fmla="*/ 9164782 w 9874318"/>
                  <a:gd name="connsiteY10" fmla="*/ 9684327 h 12988636"/>
                  <a:gd name="connsiteX11" fmla="*/ 9871364 w 9874318"/>
                  <a:gd name="connsiteY11" fmla="*/ 11139054 h 12988636"/>
                  <a:gd name="connsiteX12" fmla="*/ 9850582 w 9874318"/>
                  <a:gd name="connsiteY12" fmla="*/ 11139054 h 12988636"/>
                  <a:gd name="connsiteX13" fmla="*/ 7917873 w 9874318"/>
                  <a:gd name="connsiteY13" fmla="*/ 12157363 h 12988636"/>
                  <a:gd name="connsiteX14" fmla="*/ 6380018 w 9874318"/>
                  <a:gd name="connsiteY14" fmla="*/ 11159836 h 12988636"/>
                  <a:gd name="connsiteX15" fmla="*/ 5943600 w 9874318"/>
                  <a:gd name="connsiteY15" fmla="*/ 9975273 h 12988636"/>
                  <a:gd name="connsiteX16" fmla="*/ 5964382 w 9874318"/>
                  <a:gd name="connsiteY16" fmla="*/ 11263745 h 12988636"/>
                  <a:gd name="connsiteX17" fmla="*/ 5590309 w 9874318"/>
                  <a:gd name="connsiteY17" fmla="*/ 12344400 h 12988636"/>
                  <a:gd name="connsiteX18" fmla="*/ 4987637 w 9874318"/>
                  <a:gd name="connsiteY18" fmla="*/ 12780818 h 12988636"/>
                  <a:gd name="connsiteX19" fmla="*/ 3013364 w 9874318"/>
                  <a:gd name="connsiteY19" fmla="*/ 12988636 h 12988636"/>
                  <a:gd name="connsiteX20" fmla="*/ 1496291 w 9874318"/>
                  <a:gd name="connsiteY20" fmla="*/ 12863945 h 12988636"/>
                  <a:gd name="connsiteX21" fmla="*/ 1745673 w 9874318"/>
                  <a:gd name="connsiteY21" fmla="*/ 11014363 h 12988636"/>
                  <a:gd name="connsiteX22" fmla="*/ 1891146 w 9874318"/>
                  <a:gd name="connsiteY22" fmla="*/ 9393382 h 12988636"/>
                  <a:gd name="connsiteX23" fmla="*/ 1724891 w 9874318"/>
                  <a:gd name="connsiteY23" fmla="*/ 9289473 h 12988636"/>
                  <a:gd name="connsiteX24" fmla="*/ 1911928 w 9874318"/>
                  <a:gd name="connsiteY24" fmla="*/ 8562109 h 12988636"/>
                  <a:gd name="connsiteX25" fmla="*/ 1766455 w 9874318"/>
                  <a:gd name="connsiteY25" fmla="*/ 6629400 h 12988636"/>
                  <a:gd name="connsiteX26" fmla="*/ 0 w 9874318"/>
                  <a:gd name="connsiteY26" fmla="*/ 1330036 h 12988636"/>
                  <a:gd name="connsiteX27" fmla="*/ 477982 w 9874318"/>
                  <a:gd name="connsiteY27" fmla="*/ 1226127 h 12988636"/>
                  <a:gd name="connsiteX28" fmla="*/ 2119746 w 9874318"/>
                  <a:gd name="connsiteY28" fmla="*/ 332509 h 12988636"/>
                  <a:gd name="connsiteX29" fmla="*/ 3408218 w 9874318"/>
                  <a:gd name="connsiteY29" fmla="*/ 2078182 h 12988636"/>
                  <a:gd name="connsiteX30" fmla="*/ 4530437 w 9874318"/>
                  <a:gd name="connsiteY30" fmla="*/ 3283527 h 12988636"/>
                  <a:gd name="connsiteX31" fmla="*/ 5112328 w 9874318"/>
                  <a:gd name="connsiteY31" fmla="*/ 976745 h 12988636"/>
                  <a:gd name="connsiteX32" fmla="*/ 5049982 w 9874318"/>
                  <a:gd name="connsiteY32" fmla="*/ 0 h 12988636"/>
                  <a:gd name="connsiteX33" fmla="*/ 4987637 w 9874318"/>
                  <a:gd name="connsiteY33" fmla="*/ 41563 h 12988636"/>
                  <a:gd name="connsiteX0" fmla="*/ 4987637 w 9874318"/>
                  <a:gd name="connsiteY0" fmla="*/ 41563 h 12988636"/>
                  <a:gd name="connsiteX1" fmla="*/ 6795655 w 9874318"/>
                  <a:gd name="connsiteY1" fmla="*/ 436418 h 12988636"/>
                  <a:gd name="connsiteX2" fmla="*/ 7502237 w 9874318"/>
                  <a:gd name="connsiteY2" fmla="*/ 727363 h 12988636"/>
                  <a:gd name="connsiteX3" fmla="*/ 7148946 w 9874318"/>
                  <a:gd name="connsiteY3" fmla="*/ 1766454 h 12988636"/>
                  <a:gd name="connsiteX4" fmla="*/ 6754091 w 9874318"/>
                  <a:gd name="connsiteY4" fmla="*/ 3366654 h 12988636"/>
                  <a:gd name="connsiteX5" fmla="*/ 7523018 w 9874318"/>
                  <a:gd name="connsiteY5" fmla="*/ 6380018 h 12988636"/>
                  <a:gd name="connsiteX6" fmla="*/ 7938655 w 9874318"/>
                  <a:gd name="connsiteY6" fmla="*/ 7419109 h 12988636"/>
                  <a:gd name="connsiteX7" fmla="*/ 8458200 w 9874318"/>
                  <a:gd name="connsiteY7" fmla="*/ 8021782 h 12988636"/>
                  <a:gd name="connsiteX8" fmla="*/ 8395855 w 9874318"/>
                  <a:gd name="connsiteY8" fmla="*/ 8146473 h 12988636"/>
                  <a:gd name="connsiteX9" fmla="*/ 9102437 w 9874318"/>
                  <a:gd name="connsiteY9" fmla="*/ 9621982 h 12988636"/>
                  <a:gd name="connsiteX10" fmla="*/ 9164782 w 9874318"/>
                  <a:gd name="connsiteY10" fmla="*/ 9684327 h 12988636"/>
                  <a:gd name="connsiteX11" fmla="*/ 9871364 w 9874318"/>
                  <a:gd name="connsiteY11" fmla="*/ 11139054 h 12988636"/>
                  <a:gd name="connsiteX12" fmla="*/ 9850582 w 9874318"/>
                  <a:gd name="connsiteY12" fmla="*/ 11139054 h 12988636"/>
                  <a:gd name="connsiteX13" fmla="*/ 7917873 w 9874318"/>
                  <a:gd name="connsiteY13" fmla="*/ 12157363 h 12988636"/>
                  <a:gd name="connsiteX14" fmla="*/ 6380018 w 9874318"/>
                  <a:gd name="connsiteY14" fmla="*/ 11159836 h 12988636"/>
                  <a:gd name="connsiteX15" fmla="*/ 5943600 w 9874318"/>
                  <a:gd name="connsiteY15" fmla="*/ 9975273 h 12988636"/>
                  <a:gd name="connsiteX16" fmla="*/ 5964382 w 9874318"/>
                  <a:gd name="connsiteY16" fmla="*/ 11263745 h 12988636"/>
                  <a:gd name="connsiteX17" fmla="*/ 4987637 w 9874318"/>
                  <a:gd name="connsiteY17" fmla="*/ 12780818 h 12988636"/>
                  <a:gd name="connsiteX18" fmla="*/ 3013364 w 9874318"/>
                  <a:gd name="connsiteY18" fmla="*/ 12988636 h 12988636"/>
                  <a:gd name="connsiteX19" fmla="*/ 1496291 w 9874318"/>
                  <a:gd name="connsiteY19" fmla="*/ 12863945 h 12988636"/>
                  <a:gd name="connsiteX20" fmla="*/ 1745673 w 9874318"/>
                  <a:gd name="connsiteY20" fmla="*/ 11014363 h 12988636"/>
                  <a:gd name="connsiteX21" fmla="*/ 1891146 w 9874318"/>
                  <a:gd name="connsiteY21" fmla="*/ 9393382 h 12988636"/>
                  <a:gd name="connsiteX22" fmla="*/ 1724891 w 9874318"/>
                  <a:gd name="connsiteY22" fmla="*/ 9289473 h 12988636"/>
                  <a:gd name="connsiteX23" fmla="*/ 1911928 w 9874318"/>
                  <a:gd name="connsiteY23" fmla="*/ 8562109 h 12988636"/>
                  <a:gd name="connsiteX24" fmla="*/ 1766455 w 9874318"/>
                  <a:gd name="connsiteY24" fmla="*/ 6629400 h 12988636"/>
                  <a:gd name="connsiteX25" fmla="*/ 0 w 9874318"/>
                  <a:gd name="connsiteY25" fmla="*/ 1330036 h 12988636"/>
                  <a:gd name="connsiteX26" fmla="*/ 477982 w 9874318"/>
                  <a:gd name="connsiteY26" fmla="*/ 1226127 h 12988636"/>
                  <a:gd name="connsiteX27" fmla="*/ 2119746 w 9874318"/>
                  <a:gd name="connsiteY27" fmla="*/ 332509 h 12988636"/>
                  <a:gd name="connsiteX28" fmla="*/ 3408218 w 9874318"/>
                  <a:gd name="connsiteY28" fmla="*/ 2078182 h 12988636"/>
                  <a:gd name="connsiteX29" fmla="*/ 4530437 w 9874318"/>
                  <a:gd name="connsiteY29" fmla="*/ 3283527 h 12988636"/>
                  <a:gd name="connsiteX30" fmla="*/ 5112328 w 9874318"/>
                  <a:gd name="connsiteY30" fmla="*/ 976745 h 12988636"/>
                  <a:gd name="connsiteX31" fmla="*/ 5049982 w 9874318"/>
                  <a:gd name="connsiteY31" fmla="*/ 0 h 12988636"/>
                  <a:gd name="connsiteX32" fmla="*/ 4987637 w 9874318"/>
                  <a:gd name="connsiteY32" fmla="*/ 41563 h 12988636"/>
                  <a:gd name="connsiteX0" fmla="*/ 4987637 w 9874318"/>
                  <a:gd name="connsiteY0" fmla="*/ 41563 h 12988636"/>
                  <a:gd name="connsiteX1" fmla="*/ 6795655 w 9874318"/>
                  <a:gd name="connsiteY1" fmla="*/ 436418 h 12988636"/>
                  <a:gd name="connsiteX2" fmla="*/ 7502237 w 9874318"/>
                  <a:gd name="connsiteY2" fmla="*/ 727363 h 12988636"/>
                  <a:gd name="connsiteX3" fmla="*/ 7148946 w 9874318"/>
                  <a:gd name="connsiteY3" fmla="*/ 1766454 h 12988636"/>
                  <a:gd name="connsiteX4" fmla="*/ 6754091 w 9874318"/>
                  <a:gd name="connsiteY4" fmla="*/ 3366654 h 12988636"/>
                  <a:gd name="connsiteX5" fmla="*/ 7523018 w 9874318"/>
                  <a:gd name="connsiteY5" fmla="*/ 6380018 h 12988636"/>
                  <a:gd name="connsiteX6" fmla="*/ 7938655 w 9874318"/>
                  <a:gd name="connsiteY6" fmla="*/ 7419109 h 12988636"/>
                  <a:gd name="connsiteX7" fmla="*/ 8458200 w 9874318"/>
                  <a:gd name="connsiteY7" fmla="*/ 8021782 h 12988636"/>
                  <a:gd name="connsiteX8" fmla="*/ 8395855 w 9874318"/>
                  <a:gd name="connsiteY8" fmla="*/ 8146473 h 12988636"/>
                  <a:gd name="connsiteX9" fmla="*/ 9102437 w 9874318"/>
                  <a:gd name="connsiteY9" fmla="*/ 9621982 h 12988636"/>
                  <a:gd name="connsiteX10" fmla="*/ 9164782 w 9874318"/>
                  <a:gd name="connsiteY10" fmla="*/ 9684327 h 12988636"/>
                  <a:gd name="connsiteX11" fmla="*/ 9871364 w 9874318"/>
                  <a:gd name="connsiteY11" fmla="*/ 11139054 h 12988636"/>
                  <a:gd name="connsiteX12" fmla="*/ 9850582 w 9874318"/>
                  <a:gd name="connsiteY12" fmla="*/ 11139054 h 12988636"/>
                  <a:gd name="connsiteX13" fmla="*/ 7917873 w 9874318"/>
                  <a:gd name="connsiteY13" fmla="*/ 12157363 h 12988636"/>
                  <a:gd name="connsiteX14" fmla="*/ 6380018 w 9874318"/>
                  <a:gd name="connsiteY14" fmla="*/ 11159836 h 12988636"/>
                  <a:gd name="connsiteX15" fmla="*/ 5943600 w 9874318"/>
                  <a:gd name="connsiteY15" fmla="*/ 9975273 h 12988636"/>
                  <a:gd name="connsiteX16" fmla="*/ 5964382 w 9874318"/>
                  <a:gd name="connsiteY16" fmla="*/ 11263745 h 12988636"/>
                  <a:gd name="connsiteX17" fmla="*/ 4987637 w 9874318"/>
                  <a:gd name="connsiteY17" fmla="*/ 12780818 h 12988636"/>
                  <a:gd name="connsiteX18" fmla="*/ 3013364 w 9874318"/>
                  <a:gd name="connsiteY18" fmla="*/ 12988636 h 12988636"/>
                  <a:gd name="connsiteX19" fmla="*/ 1496291 w 9874318"/>
                  <a:gd name="connsiteY19" fmla="*/ 12863945 h 12988636"/>
                  <a:gd name="connsiteX20" fmla="*/ 1745673 w 9874318"/>
                  <a:gd name="connsiteY20" fmla="*/ 11014363 h 12988636"/>
                  <a:gd name="connsiteX21" fmla="*/ 1891146 w 9874318"/>
                  <a:gd name="connsiteY21" fmla="*/ 9393382 h 12988636"/>
                  <a:gd name="connsiteX22" fmla="*/ 1724891 w 9874318"/>
                  <a:gd name="connsiteY22" fmla="*/ 9289473 h 12988636"/>
                  <a:gd name="connsiteX23" fmla="*/ 1911928 w 9874318"/>
                  <a:gd name="connsiteY23" fmla="*/ 8562109 h 12988636"/>
                  <a:gd name="connsiteX24" fmla="*/ 1766455 w 9874318"/>
                  <a:gd name="connsiteY24" fmla="*/ 6629400 h 12988636"/>
                  <a:gd name="connsiteX25" fmla="*/ 0 w 9874318"/>
                  <a:gd name="connsiteY25" fmla="*/ 1330036 h 12988636"/>
                  <a:gd name="connsiteX26" fmla="*/ 477982 w 9874318"/>
                  <a:gd name="connsiteY26" fmla="*/ 1226127 h 12988636"/>
                  <a:gd name="connsiteX27" fmla="*/ 2119746 w 9874318"/>
                  <a:gd name="connsiteY27" fmla="*/ 332509 h 12988636"/>
                  <a:gd name="connsiteX28" fmla="*/ 3408218 w 9874318"/>
                  <a:gd name="connsiteY28" fmla="*/ 2078182 h 12988636"/>
                  <a:gd name="connsiteX29" fmla="*/ 4530437 w 9874318"/>
                  <a:gd name="connsiteY29" fmla="*/ 3283527 h 12988636"/>
                  <a:gd name="connsiteX30" fmla="*/ 5112328 w 9874318"/>
                  <a:gd name="connsiteY30" fmla="*/ 976745 h 12988636"/>
                  <a:gd name="connsiteX31" fmla="*/ 5049982 w 9874318"/>
                  <a:gd name="connsiteY31" fmla="*/ 0 h 12988636"/>
                  <a:gd name="connsiteX32" fmla="*/ 4987637 w 9874318"/>
                  <a:gd name="connsiteY32" fmla="*/ 41563 h 12988636"/>
                  <a:gd name="connsiteX0" fmla="*/ 4987637 w 9874318"/>
                  <a:gd name="connsiteY0" fmla="*/ 41563 h 12988636"/>
                  <a:gd name="connsiteX1" fmla="*/ 6795655 w 9874318"/>
                  <a:gd name="connsiteY1" fmla="*/ 436418 h 12988636"/>
                  <a:gd name="connsiteX2" fmla="*/ 7502237 w 9874318"/>
                  <a:gd name="connsiteY2" fmla="*/ 727363 h 12988636"/>
                  <a:gd name="connsiteX3" fmla="*/ 7148946 w 9874318"/>
                  <a:gd name="connsiteY3" fmla="*/ 1766454 h 12988636"/>
                  <a:gd name="connsiteX4" fmla="*/ 6754091 w 9874318"/>
                  <a:gd name="connsiteY4" fmla="*/ 3366654 h 12988636"/>
                  <a:gd name="connsiteX5" fmla="*/ 7523018 w 9874318"/>
                  <a:gd name="connsiteY5" fmla="*/ 6380018 h 12988636"/>
                  <a:gd name="connsiteX6" fmla="*/ 7938655 w 9874318"/>
                  <a:gd name="connsiteY6" fmla="*/ 7419109 h 12988636"/>
                  <a:gd name="connsiteX7" fmla="*/ 8458200 w 9874318"/>
                  <a:gd name="connsiteY7" fmla="*/ 8021782 h 12988636"/>
                  <a:gd name="connsiteX8" fmla="*/ 8395855 w 9874318"/>
                  <a:gd name="connsiteY8" fmla="*/ 8146473 h 12988636"/>
                  <a:gd name="connsiteX9" fmla="*/ 9102437 w 9874318"/>
                  <a:gd name="connsiteY9" fmla="*/ 9621982 h 12988636"/>
                  <a:gd name="connsiteX10" fmla="*/ 9164782 w 9874318"/>
                  <a:gd name="connsiteY10" fmla="*/ 9684327 h 12988636"/>
                  <a:gd name="connsiteX11" fmla="*/ 9871364 w 9874318"/>
                  <a:gd name="connsiteY11" fmla="*/ 11139054 h 12988636"/>
                  <a:gd name="connsiteX12" fmla="*/ 9850582 w 9874318"/>
                  <a:gd name="connsiteY12" fmla="*/ 11139054 h 12988636"/>
                  <a:gd name="connsiteX13" fmla="*/ 7917873 w 9874318"/>
                  <a:gd name="connsiteY13" fmla="*/ 12157363 h 12988636"/>
                  <a:gd name="connsiteX14" fmla="*/ 6380018 w 9874318"/>
                  <a:gd name="connsiteY14" fmla="*/ 11159836 h 12988636"/>
                  <a:gd name="connsiteX15" fmla="*/ 5943600 w 9874318"/>
                  <a:gd name="connsiteY15" fmla="*/ 9975273 h 12988636"/>
                  <a:gd name="connsiteX16" fmla="*/ 5964382 w 9874318"/>
                  <a:gd name="connsiteY16" fmla="*/ 11263745 h 12988636"/>
                  <a:gd name="connsiteX17" fmla="*/ 4987637 w 9874318"/>
                  <a:gd name="connsiteY17" fmla="*/ 12780818 h 12988636"/>
                  <a:gd name="connsiteX18" fmla="*/ 3013364 w 9874318"/>
                  <a:gd name="connsiteY18" fmla="*/ 12988636 h 12988636"/>
                  <a:gd name="connsiteX19" fmla="*/ 1496291 w 9874318"/>
                  <a:gd name="connsiteY19" fmla="*/ 12863945 h 12988636"/>
                  <a:gd name="connsiteX20" fmla="*/ 1745673 w 9874318"/>
                  <a:gd name="connsiteY20" fmla="*/ 11014363 h 12988636"/>
                  <a:gd name="connsiteX21" fmla="*/ 1891146 w 9874318"/>
                  <a:gd name="connsiteY21" fmla="*/ 9393382 h 12988636"/>
                  <a:gd name="connsiteX22" fmla="*/ 1724891 w 9874318"/>
                  <a:gd name="connsiteY22" fmla="*/ 9289473 h 12988636"/>
                  <a:gd name="connsiteX23" fmla="*/ 1911928 w 9874318"/>
                  <a:gd name="connsiteY23" fmla="*/ 8562109 h 12988636"/>
                  <a:gd name="connsiteX24" fmla="*/ 1766455 w 9874318"/>
                  <a:gd name="connsiteY24" fmla="*/ 6629400 h 12988636"/>
                  <a:gd name="connsiteX25" fmla="*/ 0 w 9874318"/>
                  <a:gd name="connsiteY25" fmla="*/ 1330036 h 12988636"/>
                  <a:gd name="connsiteX26" fmla="*/ 477982 w 9874318"/>
                  <a:gd name="connsiteY26" fmla="*/ 1226127 h 12988636"/>
                  <a:gd name="connsiteX27" fmla="*/ 2119746 w 9874318"/>
                  <a:gd name="connsiteY27" fmla="*/ 332509 h 12988636"/>
                  <a:gd name="connsiteX28" fmla="*/ 3408218 w 9874318"/>
                  <a:gd name="connsiteY28" fmla="*/ 2078182 h 12988636"/>
                  <a:gd name="connsiteX29" fmla="*/ 4530437 w 9874318"/>
                  <a:gd name="connsiteY29" fmla="*/ 3283527 h 12988636"/>
                  <a:gd name="connsiteX30" fmla="*/ 5112328 w 9874318"/>
                  <a:gd name="connsiteY30" fmla="*/ 976745 h 12988636"/>
                  <a:gd name="connsiteX31" fmla="*/ 5049982 w 9874318"/>
                  <a:gd name="connsiteY31" fmla="*/ 0 h 12988636"/>
                  <a:gd name="connsiteX32" fmla="*/ 4987637 w 9874318"/>
                  <a:gd name="connsiteY32" fmla="*/ 41563 h 12988636"/>
                  <a:gd name="connsiteX0" fmla="*/ 4987637 w 9874318"/>
                  <a:gd name="connsiteY0" fmla="*/ 41563 h 12988636"/>
                  <a:gd name="connsiteX1" fmla="*/ 6795655 w 9874318"/>
                  <a:gd name="connsiteY1" fmla="*/ 436418 h 12988636"/>
                  <a:gd name="connsiteX2" fmla="*/ 7502237 w 9874318"/>
                  <a:gd name="connsiteY2" fmla="*/ 727363 h 12988636"/>
                  <a:gd name="connsiteX3" fmla="*/ 7148946 w 9874318"/>
                  <a:gd name="connsiteY3" fmla="*/ 1766454 h 12988636"/>
                  <a:gd name="connsiteX4" fmla="*/ 6754091 w 9874318"/>
                  <a:gd name="connsiteY4" fmla="*/ 3366654 h 12988636"/>
                  <a:gd name="connsiteX5" fmla="*/ 7523018 w 9874318"/>
                  <a:gd name="connsiteY5" fmla="*/ 6380018 h 12988636"/>
                  <a:gd name="connsiteX6" fmla="*/ 7938655 w 9874318"/>
                  <a:gd name="connsiteY6" fmla="*/ 7419109 h 12988636"/>
                  <a:gd name="connsiteX7" fmla="*/ 8458200 w 9874318"/>
                  <a:gd name="connsiteY7" fmla="*/ 8021782 h 12988636"/>
                  <a:gd name="connsiteX8" fmla="*/ 8395855 w 9874318"/>
                  <a:gd name="connsiteY8" fmla="*/ 8146473 h 12988636"/>
                  <a:gd name="connsiteX9" fmla="*/ 9102437 w 9874318"/>
                  <a:gd name="connsiteY9" fmla="*/ 9621982 h 12988636"/>
                  <a:gd name="connsiteX10" fmla="*/ 9164782 w 9874318"/>
                  <a:gd name="connsiteY10" fmla="*/ 9684327 h 12988636"/>
                  <a:gd name="connsiteX11" fmla="*/ 9871364 w 9874318"/>
                  <a:gd name="connsiteY11" fmla="*/ 11139054 h 12988636"/>
                  <a:gd name="connsiteX12" fmla="*/ 9850582 w 9874318"/>
                  <a:gd name="connsiteY12" fmla="*/ 11139054 h 12988636"/>
                  <a:gd name="connsiteX13" fmla="*/ 7917873 w 9874318"/>
                  <a:gd name="connsiteY13" fmla="*/ 12157363 h 12988636"/>
                  <a:gd name="connsiteX14" fmla="*/ 6380018 w 9874318"/>
                  <a:gd name="connsiteY14" fmla="*/ 11159836 h 12988636"/>
                  <a:gd name="connsiteX15" fmla="*/ 5943600 w 9874318"/>
                  <a:gd name="connsiteY15" fmla="*/ 9975273 h 12988636"/>
                  <a:gd name="connsiteX16" fmla="*/ 5964382 w 9874318"/>
                  <a:gd name="connsiteY16" fmla="*/ 11263745 h 12988636"/>
                  <a:gd name="connsiteX17" fmla="*/ 5105625 w 9874318"/>
                  <a:gd name="connsiteY17" fmla="*/ 12839812 h 12988636"/>
                  <a:gd name="connsiteX18" fmla="*/ 3013364 w 9874318"/>
                  <a:gd name="connsiteY18" fmla="*/ 12988636 h 12988636"/>
                  <a:gd name="connsiteX19" fmla="*/ 1496291 w 9874318"/>
                  <a:gd name="connsiteY19" fmla="*/ 12863945 h 12988636"/>
                  <a:gd name="connsiteX20" fmla="*/ 1745673 w 9874318"/>
                  <a:gd name="connsiteY20" fmla="*/ 11014363 h 12988636"/>
                  <a:gd name="connsiteX21" fmla="*/ 1891146 w 9874318"/>
                  <a:gd name="connsiteY21" fmla="*/ 9393382 h 12988636"/>
                  <a:gd name="connsiteX22" fmla="*/ 1724891 w 9874318"/>
                  <a:gd name="connsiteY22" fmla="*/ 9289473 h 12988636"/>
                  <a:gd name="connsiteX23" fmla="*/ 1911928 w 9874318"/>
                  <a:gd name="connsiteY23" fmla="*/ 8562109 h 12988636"/>
                  <a:gd name="connsiteX24" fmla="*/ 1766455 w 9874318"/>
                  <a:gd name="connsiteY24" fmla="*/ 6629400 h 12988636"/>
                  <a:gd name="connsiteX25" fmla="*/ 0 w 9874318"/>
                  <a:gd name="connsiteY25" fmla="*/ 1330036 h 12988636"/>
                  <a:gd name="connsiteX26" fmla="*/ 477982 w 9874318"/>
                  <a:gd name="connsiteY26" fmla="*/ 1226127 h 12988636"/>
                  <a:gd name="connsiteX27" fmla="*/ 2119746 w 9874318"/>
                  <a:gd name="connsiteY27" fmla="*/ 332509 h 12988636"/>
                  <a:gd name="connsiteX28" fmla="*/ 3408218 w 9874318"/>
                  <a:gd name="connsiteY28" fmla="*/ 2078182 h 12988636"/>
                  <a:gd name="connsiteX29" fmla="*/ 4530437 w 9874318"/>
                  <a:gd name="connsiteY29" fmla="*/ 3283527 h 12988636"/>
                  <a:gd name="connsiteX30" fmla="*/ 5112328 w 9874318"/>
                  <a:gd name="connsiteY30" fmla="*/ 976745 h 12988636"/>
                  <a:gd name="connsiteX31" fmla="*/ 5049982 w 9874318"/>
                  <a:gd name="connsiteY31" fmla="*/ 0 h 12988636"/>
                  <a:gd name="connsiteX32" fmla="*/ 4987637 w 9874318"/>
                  <a:gd name="connsiteY32" fmla="*/ 41563 h 12988636"/>
                  <a:gd name="connsiteX0" fmla="*/ 4987637 w 9874318"/>
                  <a:gd name="connsiteY0" fmla="*/ 41563 h 13036904"/>
                  <a:gd name="connsiteX1" fmla="*/ 6795655 w 9874318"/>
                  <a:gd name="connsiteY1" fmla="*/ 436418 h 13036904"/>
                  <a:gd name="connsiteX2" fmla="*/ 7502237 w 9874318"/>
                  <a:gd name="connsiteY2" fmla="*/ 727363 h 13036904"/>
                  <a:gd name="connsiteX3" fmla="*/ 7148946 w 9874318"/>
                  <a:gd name="connsiteY3" fmla="*/ 1766454 h 13036904"/>
                  <a:gd name="connsiteX4" fmla="*/ 6754091 w 9874318"/>
                  <a:gd name="connsiteY4" fmla="*/ 3366654 h 13036904"/>
                  <a:gd name="connsiteX5" fmla="*/ 7523018 w 9874318"/>
                  <a:gd name="connsiteY5" fmla="*/ 6380018 h 13036904"/>
                  <a:gd name="connsiteX6" fmla="*/ 7938655 w 9874318"/>
                  <a:gd name="connsiteY6" fmla="*/ 7419109 h 13036904"/>
                  <a:gd name="connsiteX7" fmla="*/ 8458200 w 9874318"/>
                  <a:gd name="connsiteY7" fmla="*/ 8021782 h 13036904"/>
                  <a:gd name="connsiteX8" fmla="*/ 8395855 w 9874318"/>
                  <a:gd name="connsiteY8" fmla="*/ 8146473 h 13036904"/>
                  <a:gd name="connsiteX9" fmla="*/ 9102437 w 9874318"/>
                  <a:gd name="connsiteY9" fmla="*/ 9621982 h 13036904"/>
                  <a:gd name="connsiteX10" fmla="*/ 9164782 w 9874318"/>
                  <a:gd name="connsiteY10" fmla="*/ 9684327 h 13036904"/>
                  <a:gd name="connsiteX11" fmla="*/ 9871364 w 9874318"/>
                  <a:gd name="connsiteY11" fmla="*/ 11139054 h 13036904"/>
                  <a:gd name="connsiteX12" fmla="*/ 9850582 w 9874318"/>
                  <a:gd name="connsiteY12" fmla="*/ 11139054 h 13036904"/>
                  <a:gd name="connsiteX13" fmla="*/ 7917873 w 9874318"/>
                  <a:gd name="connsiteY13" fmla="*/ 12157363 h 13036904"/>
                  <a:gd name="connsiteX14" fmla="*/ 6380018 w 9874318"/>
                  <a:gd name="connsiteY14" fmla="*/ 11159836 h 13036904"/>
                  <a:gd name="connsiteX15" fmla="*/ 5943600 w 9874318"/>
                  <a:gd name="connsiteY15" fmla="*/ 9975273 h 13036904"/>
                  <a:gd name="connsiteX16" fmla="*/ 5964382 w 9874318"/>
                  <a:gd name="connsiteY16" fmla="*/ 11263745 h 13036904"/>
                  <a:gd name="connsiteX17" fmla="*/ 5105625 w 9874318"/>
                  <a:gd name="connsiteY17" fmla="*/ 12839812 h 13036904"/>
                  <a:gd name="connsiteX18" fmla="*/ 3013364 w 9874318"/>
                  <a:gd name="connsiteY18" fmla="*/ 12988636 h 13036904"/>
                  <a:gd name="connsiteX19" fmla="*/ 1496291 w 9874318"/>
                  <a:gd name="connsiteY19" fmla="*/ 12863945 h 13036904"/>
                  <a:gd name="connsiteX20" fmla="*/ 1745673 w 9874318"/>
                  <a:gd name="connsiteY20" fmla="*/ 11014363 h 13036904"/>
                  <a:gd name="connsiteX21" fmla="*/ 1891146 w 9874318"/>
                  <a:gd name="connsiteY21" fmla="*/ 9393382 h 13036904"/>
                  <a:gd name="connsiteX22" fmla="*/ 1724891 w 9874318"/>
                  <a:gd name="connsiteY22" fmla="*/ 9289473 h 13036904"/>
                  <a:gd name="connsiteX23" fmla="*/ 1911928 w 9874318"/>
                  <a:gd name="connsiteY23" fmla="*/ 8562109 h 13036904"/>
                  <a:gd name="connsiteX24" fmla="*/ 1766455 w 9874318"/>
                  <a:gd name="connsiteY24" fmla="*/ 6629400 h 13036904"/>
                  <a:gd name="connsiteX25" fmla="*/ 0 w 9874318"/>
                  <a:gd name="connsiteY25" fmla="*/ 1330036 h 13036904"/>
                  <a:gd name="connsiteX26" fmla="*/ 477982 w 9874318"/>
                  <a:gd name="connsiteY26" fmla="*/ 1226127 h 13036904"/>
                  <a:gd name="connsiteX27" fmla="*/ 2119746 w 9874318"/>
                  <a:gd name="connsiteY27" fmla="*/ 332509 h 13036904"/>
                  <a:gd name="connsiteX28" fmla="*/ 3408218 w 9874318"/>
                  <a:gd name="connsiteY28" fmla="*/ 2078182 h 13036904"/>
                  <a:gd name="connsiteX29" fmla="*/ 4530437 w 9874318"/>
                  <a:gd name="connsiteY29" fmla="*/ 3283527 h 13036904"/>
                  <a:gd name="connsiteX30" fmla="*/ 5112328 w 9874318"/>
                  <a:gd name="connsiteY30" fmla="*/ 976745 h 13036904"/>
                  <a:gd name="connsiteX31" fmla="*/ 5049982 w 9874318"/>
                  <a:gd name="connsiteY31" fmla="*/ 0 h 13036904"/>
                  <a:gd name="connsiteX32" fmla="*/ 4987637 w 9874318"/>
                  <a:gd name="connsiteY32" fmla="*/ 41563 h 13036904"/>
                  <a:gd name="connsiteX0" fmla="*/ 4987637 w 9874318"/>
                  <a:gd name="connsiteY0" fmla="*/ 41563 h 13036904"/>
                  <a:gd name="connsiteX1" fmla="*/ 6795655 w 9874318"/>
                  <a:gd name="connsiteY1" fmla="*/ 436418 h 13036904"/>
                  <a:gd name="connsiteX2" fmla="*/ 7502237 w 9874318"/>
                  <a:gd name="connsiteY2" fmla="*/ 727363 h 13036904"/>
                  <a:gd name="connsiteX3" fmla="*/ 7148946 w 9874318"/>
                  <a:gd name="connsiteY3" fmla="*/ 1766454 h 13036904"/>
                  <a:gd name="connsiteX4" fmla="*/ 6754091 w 9874318"/>
                  <a:gd name="connsiteY4" fmla="*/ 3366654 h 13036904"/>
                  <a:gd name="connsiteX5" fmla="*/ 7523018 w 9874318"/>
                  <a:gd name="connsiteY5" fmla="*/ 6380018 h 13036904"/>
                  <a:gd name="connsiteX6" fmla="*/ 7938655 w 9874318"/>
                  <a:gd name="connsiteY6" fmla="*/ 7419109 h 13036904"/>
                  <a:gd name="connsiteX7" fmla="*/ 8458200 w 9874318"/>
                  <a:gd name="connsiteY7" fmla="*/ 8021782 h 13036904"/>
                  <a:gd name="connsiteX8" fmla="*/ 8395855 w 9874318"/>
                  <a:gd name="connsiteY8" fmla="*/ 8146473 h 13036904"/>
                  <a:gd name="connsiteX9" fmla="*/ 9102437 w 9874318"/>
                  <a:gd name="connsiteY9" fmla="*/ 9621982 h 13036904"/>
                  <a:gd name="connsiteX10" fmla="*/ 9871364 w 9874318"/>
                  <a:gd name="connsiteY10" fmla="*/ 11139054 h 13036904"/>
                  <a:gd name="connsiteX11" fmla="*/ 9850582 w 9874318"/>
                  <a:gd name="connsiteY11" fmla="*/ 11139054 h 13036904"/>
                  <a:gd name="connsiteX12" fmla="*/ 7917873 w 9874318"/>
                  <a:gd name="connsiteY12" fmla="*/ 12157363 h 13036904"/>
                  <a:gd name="connsiteX13" fmla="*/ 6380018 w 9874318"/>
                  <a:gd name="connsiteY13" fmla="*/ 11159836 h 13036904"/>
                  <a:gd name="connsiteX14" fmla="*/ 5943600 w 9874318"/>
                  <a:gd name="connsiteY14" fmla="*/ 9975273 h 13036904"/>
                  <a:gd name="connsiteX15" fmla="*/ 5964382 w 9874318"/>
                  <a:gd name="connsiteY15" fmla="*/ 11263745 h 13036904"/>
                  <a:gd name="connsiteX16" fmla="*/ 5105625 w 9874318"/>
                  <a:gd name="connsiteY16" fmla="*/ 12839812 h 13036904"/>
                  <a:gd name="connsiteX17" fmla="*/ 3013364 w 9874318"/>
                  <a:gd name="connsiteY17" fmla="*/ 12988636 h 13036904"/>
                  <a:gd name="connsiteX18" fmla="*/ 1496291 w 9874318"/>
                  <a:gd name="connsiteY18" fmla="*/ 12863945 h 13036904"/>
                  <a:gd name="connsiteX19" fmla="*/ 1745673 w 9874318"/>
                  <a:gd name="connsiteY19" fmla="*/ 11014363 h 13036904"/>
                  <a:gd name="connsiteX20" fmla="*/ 1891146 w 9874318"/>
                  <a:gd name="connsiteY20" fmla="*/ 9393382 h 13036904"/>
                  <a:gd name="connsiteX21" fmla="*/ 1724891 w 9874318"/>
                  <a:gd name="connsiteY21" fmla="*/ 9289473 h 13036904"/>
                  <a:gd name="connsiteX22" fmla="*/ 1911928 w 9874318"/>
                  <a:gd name="connsiteY22" fmla="*/ 8562109 h 13036904"/>
                  <a:gd name="connsiteX23" fmla="*/ 1766455 w 9874318"/>
                  <a:gd name="connsiteY23" fmla="*/ 6629400 h 13036904"/>
                  <a:gd name="connsiteX24" fmla="*/ 0 w 9874318"/>
                  <a:gd name="connsiteY24" fmla="*/ 1330036 h 13036904"/>
                  <a:gd name="connsiteX25" fmla="*/ 477982 w 9874318"/>
                  <a:gd name="connsiteY25" fmla="*/ 1226127 h 13036904"/>
                  <a:gd name="connsiteX26" fmla="*/ 2119746 w 9874318"/>
                  <a:gd name="connsiteY26" fmla="*/ 332509 h 13036904"/>
                  <a:gd name="connsiteX27" fmla="*/ 3408218 w 9874318"/>
                  <a:gd name="connsiteY27" fmla="*/ 2078182 h 13036904"/>
                  <a:gd name="connsiteX28" fmla="*/ 4530437 w 9874318"/>
                  <a:gd name="connsiteY28" fmla="*/ 3283527 h 13036904"/>
                  <a:gd name="connsiteX29" fmla="*/ 5112328 w 9874318"/>
                  <a:gd name="connsiteY29" fmla="*/ 976745 h 13036904"/>
                  <a:gd name="connsiteX30" fmla="*/ 5049982 w 9874318"/>
                  <a:gd name="connsiteY30" fmla="*/ 0 h 13036904"/>
                  <a:gd name="connsiteX31" fmla="*/ 4987637 w 9874318"/>
                  <a:gd name="connsiteY31" fmla="*/ 41563 h 13036904"/>
                  <a:gd name="connsiteX0" fmla="*/ 4987637 w 9874318"/>
                  <a:gd name="connsiteY0" fmla="*/ 41563 h 13036904"/>
                  <a:gd name="connsiteX1" fmla="*/ 6795655 w 9874318"/>
                  <a:gd name="connsiteY1" fmla="*/ 436418 h 13036904"/>
                  <a:gd name="connsiteX2" fmla="*/ 7502237 w 9874318"/>
                  <a:gd name="connsiteY2" fmla="*/ 727363 h 13036904"/>
                  <a:gd name="connsiteX3" fmla="*/ 7148946 w 9874318"/>
                  <a:gd name="connsiteY3" fmla="*/ 1766454 h 13036904"/>
                  <a:gd name="connsiteX4" fmla="*/ 6754091 w 9874318"/>
                  <a:gd name="connsiteY4" fmla="*/ 3366654 h 13036904"/>
                  <a:gd name="connsiteX5" fmla="*/ 7523018 w 9874318"/>
                  <a:gd name="connsiteY5" fmla="*/ 6380018 h 13036904"/>
                  <a:gd name="connsiteX6" fmla="*/ 7938655 w 9874318"/>
                  <a:gd name="connsiteY6" fmla="*/ 7419109 h 13036904"/>
                  <a:gd name="connsiteX7" fmla="*/ 8458200 w 9874318"/>
                  <a:gd name="connsiteY7" fmla="*/ 8021782 h 13036904"/>
                  <a:gd name="connsiteX8" fmla="*/ 8395855 w 9874318"/>
                  <a:gd name="connsiteY8" fmla="*/ 8146473 h 13036904"/>
                  <a:gd name="connsiteX9" fmla="*/ 9102437 w 9874318"/>
                  <a:gd name="connsiteY9" fmla="*/ 9621982 h 13036904"/>
                  <a:gd name="connsiteX10" fmla="*/ 9871364 w 9874318"/>
                  <a:gd name="connsiteY10" fmla="*/ 11139054 h 13036904"/>
                  <a:gd name="connsiteX11" fmla="*/ 9850582 w 9874318"/>
                  <a:gd name="connsiteY11" fmla="*/ 11139054 h 13036904"/>
                  <a:gd name="connsiteX12" fmla="*/ 7917873 w 9874318"/>
                  <a:gd name="connsiteY12" fmla="*/ 12157363 h 13036904"/>
                  <a:gd name="connsiteX13" fmla="*/ 6380018 w 9874318"/>
                  <a:gd name="connsiteY13" fmla="*/ 11159836 h 13036904"/>
                  <a:gd name="connsiteX14" fmla="*/ 5943600 w 9874318"/>
                  <a:gd name="connsiteY14" fmla="*/ 9975273 h 13036904"/>
                  <a:gd name="connsiteX15" fmla="*/ 5964382 w 9874318"/>
                  <a:gd name="connsiteY15" fmla="*/ 11263745 h 13036904"/>
                  <a:gd name="connsiteX16" fmla="*/ 5105625 w 9874318"/>
                  <a:gd name="connsiteY16" fmla="*/ 12839812 h 13036904"/>
                  <a:gd name="connsiteX17" fmla="*/ 3013364 w 9874318"/>
                  <a:gd name="connsiteY17" fmla="*/ 12988636 h 13036904"/>
                  <a:gd name="connsiteX18" fmla="*/ 1496291 w 9874318"/>
                  <a:gd name="connsiteY18" fmla="*/ 12863945 h 13036904"/>
                  <a:gd name="connsiteX19" fmla="*/ 1745673 w 9874318"/>
                  <a:gd name="connsiteY19" fmla="*/ 11014363 h 13036904"/>
                  <a:gd name="connsiteX20" fmla="*/ 1891146 w 9874318"/>
                  <a:gd name="connsiteY20" fmla="*/ 9393382 h 13036904"/>
                  <a:gd name="connsiteX21" fmla="*/ 1724891 w 9874318"/>
                  <a:gd name="connsiteY21" fmla="*/ 9289473 h 13036904"/>
                  <a:gd name="connsiteX22" fmla="*/ 1911928 w 9874318"/>
                  <a:gd name="connsiteY22" fmla="*/ 8562109 h 13036904"/>
                  <a:gd name="connsiteX23" fmla="*/ 1766455 w 9874318"/>
                  <a:gd name="connsiteY23" fmla="*/ 6629400 h 13036904"/>
                  <a:gd name="connsiteX24" fmla="*/ 0 w 9874318"/>
                  <a:gd name="connsiteY24" fmla="*/ 1330036 h 13036904"/>
                  <a:gd name="connsiteX25" fmla="*/ 462216 w 9874318"/>
                  <a:gd name="connsiteY25" fmla="*/ 1147299 h 13036904"/>
                  <a:gd name="connsiteX26" fmla="*/ 2119746 w 9874318"/>
                  <a:gd name="connsiteY26" fmla="*/ 332509 h 13036904"/>
                  <a:gd name="connsiteX27" fmla="*/ 3408218 w 9874318"/>
                  <a:gd name="connsiteY27" fmla="*/ 2078182 h 13036904"/>
                  <a:gd name="connsiteX28" fmla="*/ 4530437 w 9874318"/>
                  <a:gd name="connsiteY28" fmla="*/ 3283527 h 13036904"/>
                  <a:gd name="connsiteX29" fmla="*/ 5112328 w 9874318"/>
                  <a:gd name="connsiteY29" fmla="*/ 976745 h 13036904"/>
                  <a:gd name="connsiteX30" fmla="*/ 5049982 w 9874318"/>
                  <a:gd name="connsiteY30" fmla="*/ 0 h 13036904"/>
                  <a:gd name="connsiteX31" fmla="*/ 4987637 w 9874318"/>
                  <a:gd name="connsiteY31" fmla="*/ 41563 h 13036904"/>
                  <a:gd name="connsiteX0" fmla="*/ 4987637 w 9874318"/>
                  <a:gd name="connsiteY0" fmla="*/ 41563 h 13036904"/>
                  <a:gd name="connsiteX1" fmla="*/ 6795655 w 9874318"/>
                  <a:gd name="connsiteY1" fmla="*/ 436418 h 13036904"/>
                  <a:gd name="connsiteX2" fmla="*/ 7502237 w 9874318"/>
                  <a:gd name="connsiteY2" fmla="*/ 727363 h 13036904"/>
                  <a:gd name="connsiteX3" fmla="*/ 7148946 w 9874318"/>
                  <a:gd name="connsiteY3" fmla="*/ 1766454 h 13036904"/>
                  <a:gd name="connsiteX4" fmla="*/ 6754091 w 9874318"/>
                  <a:gd name="connsiteY4" fmla="*/ 3366654 h 13036904"/>
                  <a:gd name="connsiteX5" fmla="*/ 7523018 w 9874318"/>
                  <a:gd name="connsiteY5" fmla="*/ 6380018 h 13036904"/>
                  <a:gd name="connsiteX6" fmla="*/ 7938655 w 9874318"/>
                  <a:gd name="connsiteY6" fmla="*/ 7419109 h 13036904"/>
                  <a:gd name="connsiteX7" fmla="*/ 8458200 w 9874318"/>
                  <a:gd name="connsiteY7" fmla="*/ 8021782 h 13036904"/>
                  <a:gd name="connsiteX8" fmla="*/ 8395855 w 9874318"/>
                  <a:gd name="connsiteY8" fmla="*/ 8146473 h 13036904"/>
                  <a:gd name="connsiteX9" fmla="*/ 9102437 w 9874318"/>
                  <a:gd name="connsiteY9" fmla="*/ 9621982 h 13036904"/>
                  <a:gd name="connsiteX10" fmla="*/ 9871364 w 9874318"/>
                  <a:gd name="connsiteY10" fmla="*/ 11139054 h 13036904"/>
                  <a:gd name="connsiteX11" fmla="*/ 9850582 w 9874318"/>
                  <a:gd name="connsiteY11" fmla="*/ 11139054 h 13036904"/>
                  <a:gd name="connsiteX12" fmla="*/ 7917873 w 9874318"/>
                  <a:gd name="connsiteY12" fmla="*/ 12157363 h 13036904"/>
                  <a:gd name="connsiteX13" fmla="*/ 6380018 w 9874318"/>
                  <a:gd name="connsiteY13" fmla="*/ 11159836 h 13036904"/>
                  <a:gd name="connsiteX14" fmla="*/ 5943600 w 9874318"/>
                  <a:gd name="connsiteY14" fmla="*/ 9975273 h 13036904"/>
                  <a:gd name="connsiteX15" fmla="*/ 5964382 w 9874318"/>
                  <a:gd name="connsiteY15" fmla="*/ 11263745 h 13036904"/>
                  <a:gd name="connsiteX16" fmla="*/ 5105625 w 9874318"/>
                  <a:gd name="connsiteY16" fmla="*/ 12839812 h 13036904"/>
                  <a:gd name="connsiteX17" fmla="*/ 3013364 w 9874318"/>
                  <a:gd name="connsiteY17" fmla="*/ 12988636 h 13036904"/>
                  <a:gd name="connsiteX18" fmla="*/ 1496291 w 9874318"/>
                  <a:gd name="connsiteY18" fmla="*/ 12863945 h 13036904"/>
                  <a:gd name="connsiteX19" fmla="*/ 1745673 w 9874318"/>
                  <a:gd name="connsiteY19" fmla="*/ 11014363 h 13036904"/>
                  <a:gd name="connsiteX20" fmla="*/ 1891146 w 9874318"/>
                  <a:gd name="connsiteY20" fmla="*/ 9393382 h 13036904"/>
                  <a:gd name="connsiteX21" fmla="*/ 1724891 w 9874318"/>
                  <a:gd name="connsiteY21" fmla="*/ 9289473 h 13036904"/>
                  <a:gd name="connsiteX22" fmla="*/ 1911928 w 9874318"/>
                  <a:gd name="connsiteY22" fmla="*/ 8562109 h 13036904"/>
                  <a:gd name="connsiteX23" fmla="*/ 1766455 w 9874318"/>
                  <a:gd name="connsiteY23" fmla="*/ 6629400 h 13036904"/>
                  <a:gd name="connsiteX24" fmla="*/ 0 w 9874318"/>
                  <a:gd name="connsiteY24" fmla="*/ 1330036 h 13036904"/>
                  <a:gd name="connsiteX25" fmla="*/ 462216 w 9874318"/>
                  <a:gd name="connsiteY25" fmla="*/ 1147299 h 13036904"/>
                  <a:gd name="connsiteX26" fmla="*/ 2119746 w 9874318"/>
                  <a:gd name="connsiteY26" fmla="*/ 332509 h 13036904"/>
                  <a:gd name="connsiteX27" fmla="*/ 3408218 w 9874318"/>
                  <a:gd name="connsiteY27" fmla="*/ 2078182 h 13036904"/>
                  <a:gd name="connsiteX28" fmla="*/ 4530437 w 9874318"/>
                  <a:gd name="connsiteY28" fmla="*/ 3283527 h 13036904"/>
                  <a:gd name="connsiteX29" fmla="*/ 5112328 w 9874318"/>
                  <a:gd name="connsiteY29" fmla="*/ 976745 h 13036904"/>
                  <a:gd name="connsiteX30" fmla="*/ 5049982 w 9874318"/>
                  <a:gd name="connsiteY30" fmla="*/ 0 h 13036904"/>
                  <a:gd name="connsiteX31" fmla="*/ 4987637 w 9874318"/>
                  <a:gd name="connsiteY31" fmla="*/ 41563 h 13036904"/>
                  <a:gd name="connsiteX0" fmla="*/ 4987637 w 9874318"/>
                  <a:gd name="connsiteY0" fmla="*/ 41563 h 13036904"/>
                  <a:gd name="connsiteX1" fmla="*/ 6795655 w 9874318"/>
                  <a:gd name="connsiteY1" fmla="*/ 436418 h 13036904"/>
                  <a:gd name="connsiteX2" fmla="*/ 7502237 w 9874318"/>
                  <a:gd name="connsiteY2" fmla="*/ 727363 h 13036904"/>
                  <a:gd name="connsiteX3" fmla="*/ 7148946 w 9874318"/>
                  <a:gd name="connsiteY3" fmla="*/ 1766454 h 13036904"/>
                  <a:gd name="connsiteX4" fmla="*/ 6754091 w 9874318"/>
                  <a:gd name="connsiteY4" fmla="*/ 3366654 h 13036904"/>
                  <a:gd name="connsiteX5" fmla="*/ 7523018 w 9874318"/>
                  <a:gd name="connsiteY5" fmla="*/ 6380018 h 13036904"/>
                  <a:gd name="connsiteX6" fmla="*/ 7938655 w 9874318"/>
                  <a:gd name="connsiteY6" fmla="*/ 7419109 h 13036904"/>
                  <a:gd name="connsiteX7" fmla="*/ 8458200 w 9874318"/>
                  <a:gd name="connsiteY7" fmla="*/ 8021782 h 13036904"/>
                  <a:gd name="connsiteX8" fmla="*/ 8395855 w 9874318"/>
                  <a:gd name="connsiteY8" fmla="*/ 8146473 h 13036904"/>
                  <a:gd name="connsiteX9" fmla="*/ 9102437 w 9874318"/>
                  <a:gd name="connsiteY9" fmla="*/ 9621982 h 13036904"/>
                  <a:gd name="connsiteX10" fmla="*/ 9871364 w 9874318"/>
                  <a:gd name="connsiteY10" fmla="*/ 11139054 h 13036904"/>
                  <a:gd name="connsiteX11" fmla="*/ 9850582 w 9874318"/>
                  <a:gd name="connsiteY11" fmla="*/ 11139054 h 13036904"/>
                  <a:gd name="connsiteX12" fmla="*/ 7917873 w 9874318"/>
                  <a:gd name="connsiteY12" fmla="*/ 12157363 h 13036904"/>
                  <a:gd name="connsiteX13" fmla="*/ 6380018 w 9874318"/>
                  <a:gd name="connsiteY13" fmla="*/ 11159836 h 13036904"/>
                  <a:gd name="connsiteX14" fmla="*/ 5943600 w 9874318"/>
                  <a:gd name="connsiteY14" fmla="*/ 9975273 h 13036904"/>
                  <a:gd name="connsiteX15" fmla="*/ 5964382 w 9874318"/>
                  <a:gd name="connsiteY15" fmla="*/ 11263745 h 13036904"/>
                  <a:gd name="connsiteX16" fmla="*/ 5105625 w 9874318"/>
                  <a:gd name="connsiteY16" fmla="*/ 12839812 h 13036904"/>
                  <a:gd name="connsiteX17" fmla="*/ 3013364 w 9874318"/>
                  <a:gd name="connsiteY17" fmla="*/ 12988636 h 13036904"/>
                  <a:gd name="connsiteX18" fmla="*/ 1496291 w 9874318"/>
                  <a:gd name="connsiteY18" fmla="*/ 12863945 h 13036904"/>
                  <a:gd name="connsiteX19" fmla="*/ 1745673 w 9874318"/>
                  <a:gd name="connsiteY19" fmla="*/ 11014363 h 13036904"/>
                  <a:gd name="connsiteX20" fmla="*/ 1891146 w 9874318"/>
                  <a:gd name="connsiteY20" fmla="*/ 9393382 h 13036904"/>
                  <a:gd name="connsiteX21" fmla="*/ 1724891 w 9874318"/>
                  <a:gd name="connsiteY21" fmla="*/ 9289473 h 13036904"/>
                  <a:gd name="connsiteX22" fmla="*/ 1911928 w 9874318"/>
                  <a:gd name="connsiteY22" fmla="*/ 8562109 h 13036904"/>
                  <a:gd name="connsiteX23" fmla="*/ 1766455 w 9874318"/>
                  <a:gd name="connsiteY23" fmla="*/ 6629400 h 13036904"/>
                  <a:gd name="connsiteX24" fmla="*/ 0 w 9874318"/>
                  <a:gd name="connsiteY24" fmla="*/ 1330036 h 13036904"/>
                  <a:gd name="connsiteX25" fmla="*/ 462216 w 9874318"/>
                  <a:gd name="connsiteY25" fmla="*/ 1147299 h 13036904"/>
                  <a:gd name="connsiteX26" fmla="*/ 2119746 w 9874318"/>
                  <a:gd name="connsiteY26" fmla="*/ 332509 h 13036904"/>
                  <a:gd name="connsiteX27" fmla="*/ 3408218 w 9874318"/>
                  <a:gd name="connsiteY27" fmla="*/ 2078182 h 13036904"/>
                  <a:gd name="connsiteX28" fmla="*/ 4530437 w 9874318"/>
                  <a:gd name="connsiteY28" fmla="*/ 3283527 h 13036904"/>
                  <a:gd name="connsiteX29" fmla="*/ 5112328 w 9874318"/>
                  <a:gd name="connsiteY29" fmla="*/ 976745 h 13036904"/>
                  <a:gd name="connsiteX30" fmla="*/ 5049982 w 9874318"/>
                  <a:gd name="connsiteY30" fmla="*/ 0 h 13036904"/>
                  <a:gd name="connsiteX31" fmla="*/ 4987637 w 9874318"/>
                  <a:gd name="connsiteY31" fmla="*/ 41563 h 13036904"/>
                  <a:gd name="connsiteX0" fmla="*/ 4987637 w 9874318"/>
                  <a:gd name="connsiteY0" fmla="*/ 41563 h 13036904"/>
                  <a:gd name="connsiteX1" fmla="*/ 6795655 w 9874318"/>
                  <a:gd name="connsiteY1" fmla="*/ 436418 h 13036904"/>
                  <a:gd name="connsiteX2" fmla="*/ 7502237 w 9874318"/>
                  <a:gd name="connsiteY2" fmla="*/ 727363 h 13036904"/>
                  <a:gd name="connsiteX3" fmla="*/ 7148946 w 9874318"/>
                  <a:gd name="connsiteY3" fmla="*/ 1766454 h 13036904"/>
                  <a:gd name="connsiteX4" fmla="*/ 6754091 w 9874318"/>
                  <a:gd name="connsiteY4" fmla="*/ 3366654 h 13036904"/>
                  <a:gd name="connsiteX5" fmla="*/ 7523018 w 9874318"/>
                  <a:gd name="connsiteY5" fmla="*/ 6380018 h 13036904"/>
                  <a:gd name="connsiteX6" fmla="*/ 7938655 w 9874318"/>
                  <a:gd name="connsiteY6" fmla="*/ 7419109 h 13036904"/>
                  <a:gd name="connsiteX7" fmla="*/ 8458200 w 9874318"/>
                  <a:gd name="connsiteY7" fmla="*/ 8021782 h 13036904"/>
                  <a:gd name="connsiteX8" fmla="*/ 8395855 w 9874318"/>
                  <a:gd name="connsiteY8" fmla="*/ 8146473 h 13036904"/>
                  <a:gd name="connsiteX9" fmla="*/ 9102437 w 9874318"/>
                  <a:gd name="connsiteY9" fmla="*/ 9621982 h 13036904"/>
                  <a:gd name="connsiteX10" fmla="*/ 9871364 w 9874318"/>
                  <a:gd name="connsiteY10" fmla="*/ 11139054 h 13036904"/>
                  <a:gd name="connsiteX11" fmla="*/ 9850582 w 9874318"/>
                  <a:gd name="connsiteY11" fmla="*/ 11139054 h 13036904"/>
                  <a:gd name="connsiteX12" fmla="*/ 7917873 w 9874318"/>
                  <a:gd name="connsiteY12" fmla="*/ 12157363 h 13036904"/>
                  <a:gd name="connsiteX13" fmla="*/ 6380018 w 9874318"/>
                  <a:gd name="connsiteY13" fmla="*/ 11159836 h 13036904"/>
                  <a:gd name="connsiteX14" fmla="*/ 5943600 w 9874318"/>
                  <a:gd name="connsiteY14" fmla="*/ 9975273 h 13036904"/>
                  <a:gd name="connsiteX15" fmla="*/ 5964382 w 9874318"/>
                  <a:gd name="connsiteY15" fmla="*/ 11263745 h 13036904"/>
                  <a:gd name="connsiteX16" fmla="*/ 5105625 w 9874318"/>
                  <a:gd name="connsiteY16" fmla="*/ 12839812 h 13036904"/>
                  <a:gd name="connsiteX17" fmla="*/ 3013364 w 9874318"/>
                  <a:gd name="connsiteY17" fmla="*/ 12988636 h 13036904"/>
                  <a:gd name="connsiteX18" fmla="*/ 1496291 w 9874318"/>
                  <a:gd name="connsiteY18" fmla="*/ 12863945 h 13036904"/>
                  <a:gd name="connsiteX19" fmla="*/ 1745673 w 9874318"/>
                  <a:gd name="connsiteY19" fmla="*/ 11014363 h 13036904"/>
                  <a:gd name="connsiteX20" fmla="*/ 1891146 w 9874318"/>
                  <a:gd name="connsiteY20" fmla="*/ 9393382 h 13036904"/>
                  <a:gd name="connsiteX21" fmla="*/ 1724891 w 9874318"/>
                  <a:gd name="connsiteY21" fmla="*/ 9289473 h 13036904"/>
                  <a:gd name="connsiteX22" fmla="*/ 1911928 w 9874318"/>
                  <a:gd name="connsiteY22" fmla="*/ 8562109 h 13036904"/>
                  <a:gd name="connsiteX23" fmla="*/ 1766455 w 9874318"/>
                  <a:gd name="connsiteY23" fmla="*/ 6629400 h 13036904"/>
                  <a:gd name="connsiteX24" fmla="*/ 0 w 9874318"/>
                  <a:gd name="connsiteY24" fmla="*/ 1330036 h 13036904"/>
                  <a:gd name="connsiteX25" fmla="*/ 462216 w 9874318"/>
                  <a:gd name="connsiteY25" fmla="*/ 1147299 h 13036904"/>
                  <a:gd name="connsiteX26" fmla="*/ 2119746 w 9874318"/>
                  <a:gd name="connsiteY26" fmla="*/ 332509 h 13036904"/>
                  <a:gd name="connsiteX27" fmla="*/ 3408218 w 9874318"/>
                  <a:gd name="connsiteY27" fmla="*/ 2078182 h 13036904"/>
                  <a:gd name="connsiteX28" fmla="*/ 4530437 w 9874318"/>
                  <a:gd name="connsiteY28" fmla="*/ 3283527 h 13036904"/>
                  <a:gd name="connsiteX29" fmla="*/ 5112328 w 9874318"/>
                  <a:gd name="connsiteY29" fmla="*/ 976745 h 13036904"/>
                  <a:gd name="connsiteX30" fmla="*/ 5049982 w 9874318"/>
                  <a:gd name="connsiteY30" fmla="*/ 0 h 13036904"/>
                  <a:gd name="connsiteX31" fmla="*/ 4987637 w 9874318"/>
                  <a:gd name="connsiteY31" fmla="*/ 41563 h 13036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874318" h="13036904">
                    <a:moveTo>
                      <a:pt x="4987637" y="41563"/>
                    </a:moveTo>
                    <a:lnTo>
                      <a:pt x="6795655" y="436418"/>
                    </a:lnTo>
                    <a:lnTo>
                      <a:pt x="7502237" y="727363"/>
                    </a:lnTo>
                    <a:cubicBezTo>
                      <a:pt x="7166687" y="1754986"/>
                      <a:pt x="7422224" y="1493190"/>
                      <a:pt x="7148946" y="1766454"/>
                    </a:cubicBezTo>
                    <a:cubicBezTo>
                      <a:pt x="7015697" y="2299449"/>
                      <a:pt x="6754091" y="2817255"/>
                      <a:pt x="6754091" y="3366654"/>
                    </a:cubicBezTo>
                    <a:lnTo>
                      <a:pt x="7523018" y="6380018"/>
                    </a:lnTo>
                    <a:lnTo>
                      <a:pt x="7938655" y="7419109"/>
                    </a:lnTo>
                    <a:lnTo>
                      <a:pt x="8458200" y="8021782"/>
                    </a:lnTo>
                    <a:lnTo>
                      <a:pt x="8395855" y="8146473"/>
                    </a:lnTo>
                    <a:cubicBezTo>
                      <a:pt x="8631382" y="8638309"/>
                      <a:pt x="8858562" y="9134231"/>
                      <a:pt x="9102437" y="9621982"/>
                    </a:cubicBezTo>
                    <a:cubicBezTo>
                      <a:pt x="9348355" y="10120745"/>
                      <a:pt x="9746673" y="10886209"/>
                      <a:pt x="9871364" y="11139054"/>
                    </a:cubicBezTo>
                    <a:cubicBezTo>
                      <a:pt x="9874318" y="11145320"/>
                      <a:pt x="9857509" y="11139054"/>
                      <a:pt x="9850582" y="11139054"/>
                    </a:cubicBezTo>
                    <a:cubicBezTo>
                      <a:pt x="9206346" y="11478490"/>
                      <a:pt x="8709592" y="11876920"/>
                      <a:pt x="7917873" y="12157363"/>
                    </a:cubicBezTo>
                    <a:cubicBezTo>
                      <a:pt x="7139784" y="12178815"/>
                      <a:pt x="6863139" y="11964294"/>
                      <a:pt x="6380018" y="11159836"/>
                    </a:cubicBezTo>
                    <a:lnTo>
                      <a:pt x="5943600" y="9975273"/>
                    </a:lnTo>
                    <a:lnTo>
                      <a:pt x="5964382" y="11263745"/>
                    </a:lnTo>
                    <a:cubicBezTo>
                      <a:pt x="6051755" y="12300378"/>
                      <a:pt x="5814666" y="12540598"/>
                      <a:pt x="5105625" y="12839812"/>
                    </a:cubicBezTo>
                    <a:cubicBezTo>
                      <a:pt x="4319714" y="13036904"/>
                      <a:pt x="3710784" y="12939028"/>
                      <a:pt x="3013364" y="12988636"/>
                    </a:cubicBezTo>
                    <a:lnTo>
                      <a:pt x="1496291" y="12863945"/>
                    </a:lnTo>
                    <a:lnTo>
                      <a:pt x="1745673" y="11014363"/>
                    </a:lnTo>
                    <a:lnTo>
                      <a:pt x="1891146" y="9393382"/>
                    </a:lnTo>
                    <a:lnTo>
                      <a:pt x="1724891" y="9289473"/>
                    </a:lnTo>
                    <a:cubicBezTo>
                      <a:pt x="1913701" y="8576194"/>
                      <a:pt x="1911928" y="8826530"/>
                      <a:pt x="1911928" y="8562109"/>
                    </a:cubicBezTo>
                    <a:cubicBezTo>
                      <a:pt x="1862377" y="7917953"/>
                      <a:pt x="1766455" y="7275459"/>
                      <a:pt x="1766455" y="6629400"/>
                    </a:cubicBezTo>
                    <a:lnTo>
                      <a:pt x="0" y="1330036"/>
                    </a:lnTo>
                    <a:cubicBezTo>
                      <a:pt x="472548" y="1265598"/>
                      <a:pt x="293821" y="1231842"/>
                      <a:pt x="462216" y="1147299"/>
                    </a:cubicBezTo>
                    <a:cubicBezTo>
                      <a:pt x="1077788" y="970295"/>
                      <a:pt x="1567236" y="604106"/>
                      <a:pt x="2119746" y="332509"/>
                    </a:cubicBezTo>
                    <a:lnTo>
                      <a:pt x="3408218" y="2078182"/>
                    </a:lnTo>
                    <a:lnTo>
                      <a:pt x="4530437" y="3283527"/>
                    </a:lnTo>
                    <a:cubicBezTo>
                      <a:pt x="4717867" y="2512981"/>
                      <a:pt x="4319314" y="976745"/>
                      <a:pt x="5112328" y="976745"/>
                    </a:cubicBezTo>
                    <a:lnTo>
                      <a:pt x="5049982" y="0"/>
                    </a:lnTo>
                    <a:lnTo>
                      <a:pt x="4987637" y="4156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73" name="Freeform 284">
                <a:extLst>
                  <a:ext uri="{FF2B5EF4-FFF2-40B4-BE49-F238E27FC236}">
                    <a16:creationId xmlns:a16="http://schemas.microsoft.com/office/drawing/2014/main" id="{85DDA9B3-7AE0-4AF6-9FA7-A0D48B591ECC}"/>
                  </a:ext>
                </a:extLst>
              </p:cNvPr>
              <p:cNvSpPr/>
              <p:nvPr/>
            </p:nvSpPr>
            <p:spPr>
              <a:xfrm rot="21114987" flipH="1">
                <a:off x="6725588" y="3162482"/>
                <a:ext cx="715204" cy="504640"/>
              </a:xfrm>
              <a:custGeom>
                <a:avLst/>
                <a:gdLst>
                  <a:gd name="connsiteX0" fmla="*/ 147918 w 6113929"/>
                  <a:gd name="connsiteY0" fmla="*/ 1792941 h 4262717"/>
                  <a:gd name="connsiteX1" fmla="*/ 228600 w 6113929"/>
                  <a:gd name="connsiteY1" fmla="*/ 2384612 h 4262717"/>
                  <a:gd name="connsiteX2" fmla="*/ 524435 w 6113929"/>
                  <a:gd name="connsiteY2" fmla="*/ 2465294 h 4262717"/>
                  <a:gd name="connsiteX3" fmla="*/ 2111188 w 6113929"/>
                  <a:gd name="connsiteY3" fmla="*/ 2599765 h 4262717"/>
                  <a:gd name="connsiteX4" fmla="*/ 3321424 w 6113929"/>
                  <a:gd name="connsiteY4" fmla="*/ 2008094 h 4262717"/>
                  <a:gd name="connsiteX5" fmla="*/ 3563471 w 6113929"/>
                  <a:gd name="connsiteY5" fmla="*/ 2303929 h 4262717"/>
                  <a:gd name="connsiteX6" fmla="*/ 4128247 w 6113929"/>
                  <a:gd name="connsiteY6" fmla="*/ 3944470 h 4262717"/>
                  <a:gd name="connsiteX7" fmla="*/ 4208929 w 6113929"/>
                  <a:gd name="connsiteY7" fmla="*/ 4078941 h 4262717"/>
                  <a:gd name="connsiteX8" fmla="*/ 3913094 w 6113929"/>
                  <a:gd name="connsiteY8" fmla="*/ 2841812 h 4262717"/>
                  <a:gd name="connsiteX9" fmla="*/ 3778624 w 6113929"/>
                  <a:gd name="connsiteY9" fmla="*/ 1846729 h 4262717"/>
                  <a:gd name="connsiteX10" fmla="*/ 4235824 w 6113929"/>
                  <a:gd name="connsiteY10" fmla="*/ 1604682 h 4262717"/>
                  <a:gd name="connsiteX11" fmla="*/ 5741894 w 6113929"/>
                  <a:gd name="connsiteY11" fmla="*/ 878541 h 4262717"/>
                  <a:gd name="connsiteX12" fmla="*/ 5768788 w 6113929"/>
                  <a:gd name="connsiteY12" fmla="*/ 609600 h 4262717"/>
                  <a:gd name="connsiteX13" fmla="*/ 5715000 w 6113929"/>
                  <a:gd name="connsiteY13" fmla="*/ 44823 h 4262717"/>
                  <a:gd name="connsiteX14" fmla="*/ 3375212 w 6113929"/>
                  <a:gd name="connsiteY14" fmla="*/ 340659 h 4262717"/>
                  <a:gd name="connsiteX15" fmla="*/ 1116106 w 6113929"/>
                  <a:gd name="connsiteY15" fmla="*/ 1281953 h 4262717"/>
                  <a:gd name="connsiteX16" fmla="*/ 147918 w 6113929"/>
                  <a:gd name="connsiteY16" fmla="*/ 1792941 h 4262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13929" h="4262717">
                    <a:moveTo>
                      <a:pt x="147918" y="1792941"/>
                    </a:moveTo>
                    <a:cubicBezTo>
                      <a:pt x="0" y="1976717"/>
                      <a:pt x="165847" y="2272553"/>
                      <a:pt x="228600" y="2384612"/>
                    </a:cubicBezTo>
                    <a:cubicBezTo>
                      <a:pt x="291353" y="2496671"/>
                      <a:pt x="210670" y="2429435"/>
                      <a:pt x="524435" y="2465294"/>
                    </a:cubicBezTo>
                    <a:cubicBezTo>
                      <a:pt x="838200" y="2501153"/>
                      <a:pt x="1645023" y="2675965"/>
                      <a:pt x="2111188" y="2599765"/>
                    </a:cubicBezTo>
                    <a:cubicBezTo>
                      <a:pt x="2577353" y="2523565"/>
                      <a:pt x="3079377" y="2057400"/>
                      <a:pt x="3321424" y="2008094"/>
                    </a:cubicBezTo>
                    <a:cubicBezTo>
                      <a:pt x="3563471" y="1958788"/>
                      <a:pt x="3429001" y="1981200"/>
                      <a:pt x="3563471" y="2303929"/>
                    </a:cubicBezTo>
                    <a:cubicBezTo>
                      <a:pt x="3697942" y="2626658"/>
                      <a:pt x="4020671" y="3648635"/>
                      <a:pt x="4128247" y="3944470"/>
                    </a:cubicBezTo>
                    <a:cubicBezTo>
                      <a:pt x="4235823" y="4240305"/>
                      <a:pt x="4244788" y="4262717"/>
                      <a:pt x="4208929" y="4078941"/>
                    </a:cubicBezTo>
                    <a:cubicBezTo>
                      <a:pt x="4173070" y="3895165"/>
                      <a:pt x="3984811" y="3213847"/>
                      <a:pt x="3913094" y="2841812"/>
                    </a:cubicBezTo>
                    <a:cubicBezTo>
                      <a:pt x="3841377" y="2469777"/>
                      <a:pt x="3724836" y="2052917"/>
                      <a:pt x="3778624" y="1846729"/>
                    </a:cubicBezTo>
                    <a:cubicBezTo>
                      <a:pt x="3832412" y="1640541"/>
                      <a:pt x="3908612" y="1766047"/>
                      <a:pt x="4235824" y="1604682"/>
                    </a:cubicBezTo>
                    <a:cubicBezTo>
                      <a:pt x="4563036" y="1443317"/>
                      <a:pt x="5486400" y="1044388"/>
                      <a:pt x="5741894" y="878541"/>
                    </a:cubicBezTo>
                    <a:cubicBezTo>
                      <a:pt x="5997388" y="712694"/>
                      <a:pt x="5773270" y="748553"/>
                      <a:pt x="5768788" y="609600"/>
                    </a:cubicBezTo>
                    <a:cubicBezTo>
                      <a:pt x="5764306" y="470647"/>
                      <a:pt x="6113929" y="89646"/>
                      <a:pt x="5715000" y="44823"/>
                    </a:cubicBezTo>
                    <a:cubicBezTo>
                      <a:pt x="5316071" y="0"/>
                      <a:pt x="4141694" y="134471"/>
                      <a:pt x="3375212" y="340659"/>
                    </a:cubicBezTo>
                    <a:cubicBezTo>
                      <a:pt x="2608730" y="546847"/>
                      <a:pt x="1658471" y="1044388"/>
                      <a:pt x="1116106" y="1281953"/>
                    </a:cubicBezTo>
                    <a:cubicBezTo>
                      <a:pt x="573741" y="1519518"/>
                      <a:pt x="295836" y="1609165"/>
                      <a:pt x="147918" y="179294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74" name="Freeform 285">
                <a:extLst>
                  <a:ext uri="{FF2B5EF4-FFF2-40B4-BE49-F238E27FC236}">
                    <a16:creationId xmlns:a16="http://schemas.microsoft.com/office/drawing/2014/main" id="{F110E340-3571-4A28-9D5F-FA1F0540BF7C}"/>
                  </a:ext>
                </a:extLst>
              </p:cNvPr>
              <p:cNvSpPr/>
              <p:nvPr/>
            </p:nvSpPr>
            <p:spPr>
              <a:xfrm rot="21114987" flipH="1">
                <a:off x="7009932" y="2416458"/>
                <a:ext cx="343688" cy="434028"/>
              </a:xfrm>
              <a:custGeom>
                <a:avLst/>
                <a:gdLst>
                  <a:gd name="connsiteX0" fmla="*/ 2680854 w 2680854"/>
                  <a:gd name="connsiteY0" fmla="*/ 3304309 h 3366655"/>
                  <a:gd name="connsiteX1" fmla="*/ 2078182 w 2680854"/>
                  <a:gd name="connsiteY1" fmla="*/ 2639291 h 3366655"/>
                  <a:gd name="connsiteX2" fmla="*/ 436418 w 2680854"/>
                  <a:gd name="connsiteY2" fmla="*/ 1537855 h 3366655"/>
                  <a:gd name="connsiteX3" fmla="*/ 706582 w 2680854"/>
                  <a:gd name="connsiteY3" fmla="*/ 1080655 h 3366655"/>
                  <a:gd name="connsiteX4" fmla="*/ 270164 w 2680854"/>
                  <a:gd name="connsiteY4" fmla="*/ 1184564 h 3366655"/>
                  <a:gd name="connsiteX5" fmla="*/ 0 w 2680854"/>
                  <a:gd name="connsiteY5" fmla="*/ 789709 h 3366655"/>
                  <a:gd name="connsiteX6" fmla="*/ 623454 w 2680854"/>
                  <a:gd name="connsiteY6" fmla="*/ 0 h 3366655"/>
                  <a:gd name="connsiteX7" fmla="*/ 1558636 w 2680854"/>
                  <a:gd name="connsiteY7" fmla="*/ 1080655 h 3366655"/>
                  <a:gd name="connsiteX8" fmla="*/ 2680854 w 2680854"/>
                  <a:gd name="connsiteY8" fmla="*/ 2888673 h 3366655"/>
                  <a:gd name="connsiteX9" fmla="*/ 2680854 w 2680854"/>
                  <a:gd name="connsiteY9" fmla="*/ 3366655 h 3366655"/>
                  <a:gd name="connsiteX10" fmla="*/ 2680854 w 2680854"/>
                  <a:gd name="connsiteY10" fmla="*/ 3304309 h 3366655"/>
                  <a:gd name="connsiteX0" fmla="*/ 2738004 w 2738004"/>
                  <a:gd name="connsiteY0" fmla="*/ 3304309 h 3366655"/>
                  <a:gd name="connsiteX1" fmla="*/ 2135332 w 2738004"/>
                  <a:gd name="connsiteY1" fmla="*/ 2639291 h 3366655"/>
                  <a:gd name="connsiteX2" fmla="*/ 493568 w 2738004"/>
                  <a:gd name="connsiteY2" fmla="*/ 1537855 h 3366655"/>
                  <a:gd name="connsiteX3" fmla="*/ 763732 w 2738004"/>
                  <a:gd name="connsiteY3" fmla="*/ 1080655 h 3366655"/>
                  <a:gd name="connsiteX4" fmla="*/ 327314 w 2738004"/>
                  <a:gd name="connsiteY4" fmla="*/ 1184564 h 3366655"/>
                  <a:gd name="connsiteX5" fmla="*/ 0 w 2738004"/>
                  <a:gd name="connsiteY5" fmla="*/ 713509 h 3366655"/>
                  <a:gd name="connsiteX6" fmla="*/ 680604 w 2738004"/>
                  <a:gd name="connsiteY6" fmla="*/ 0 h 3366655"/>
                  <a:gd name="connsiteX7" fmla="*/ 1615786 w 2738004"/>
                  <a:gd name="connsiteY7" fmla="*/ 1080655 h 3366655"/>
                  <a:gd name="connsiteX8" fmla="*/ 2738004 w 2738004"/>
                  <a:gd name="connsiteY8" fmla="*/ 2888673 h 3366655"/>
                  <a:gd name="connsiteX9" fmla="*/ 2738004 w 2738004"/>
                  <a:gd name="connsiteY9" fmla="*/ 3366655 h 3366655"/>
                  <a:gd name="connsiteX10" fmla="*/ 2738004 w 2738004"/>
                  <a:gd name="connsiteY10" fmla="*/ 3304309 h 3366655"/>
                  <a:gd name="connsiteX0" fmla="*/ 2738004 w 2738004"/>
                  <a:gd name="connsiteY0" fmla="*/ 3304309 h 3366655"/>
                  <a:gd name="connsiteX1" fmla="*/ 2135332 w 2738004"/>
                  <a:gd name="connsiteY1" fmla="*/ 2639291 h 3366655"/>
                  <a:gd name="connsiteX2" fmla="*/ 493568 w 2738004"/>
                  <a:gd name="connsiteY2" fmla="*/ 1537855 h 3366655"/>
                  <a:gd name="connsiteX3" fmla="*/ 763732 w 2738004"/>
                  <a:gd name="connsiteY3" fmla="*/ 1080655 h 3366655"/>
                  <a:gd name="connsiteX4" fmla="*/ 327314 w 2738004"/>
                  <a:gd name="connsiteY4" fmla="*/ 1184564 h 3366655"/>
                  <a:gd name="connsiteX5" fmla="*/ 0 w 2738004"/>
                  <a:gd name="connsiteY5" fmla="*/ 713509 h 3366655"/>
                  <a:gd name="connsiteX6" fmla="*/ 680604 w 2738004"/>
                  <a:gd name="connsiteY6" fmla="*/ 0 h 3366655"/>
                  <a:gd name="connsiteX7" fmla="*/ 1615786 w 2738004"/>
                  <a:gd name="connsiteY7" fmla="*/ 1080655 h 3366655"/>
                  <a:gd name="connsiteX8" fmla="*/ 2738004 w 2738004"/>
                  <a:gd name="connsiteY8" fmla="*/ 2888673 h 3366655"/>
                  <a:gd name="connsiteX9" fmla="*/ 2738004 w 2738004"/>
                  <a:gd name="connsiteY9" fmla="*/ 3366655 h 3366655"/>
                  <a:gd name="connsiteX10" fmla="*/ 2738004 w 2738004"/>
                  <a:gd name="connsiteY10" fmla="*/ 3304309 h 3366655"/>
                  <a:gd name="connsiteX0" fmla="*/ 2738004 w 2738004"/>
                  <a:gd name="connsiteY0" fmla="*/ 3304309 h 3366655"/>
                  <a:gd name="connsiteX1" fmla="*/ 2135332 w 2738004"/>
                  <a:gd name="connsiteY1" fmla="*/ 2639291 h 3366655"/>
                  <a:gd name="connsiteX2" fmla="*/ 493568 w 2738004"/>
                  <a:gd name="connsiteY2" fmla="*/ 1537855 h 3366655"/>
                  <a:gd name="connsiteX3" fmla="*/ 763732 w 2738004"/>
                  <a:gd name="connsiteY3" fmla="*/ 1080655 h 3366655"/>
                  <a:gd name="connsiteX4" fmla="*/ 327314 w 2738004"/>
                  <a:gd name="connsiteY4" fmla="*/ 1184564 h 3366655"/>
                  <a:gd name="connsiteX5" fmla="*/ 0 w 2738004"/>
                  <a:gd name="connsiteY5" fmla="*/ 713509 h 3366655"/>
                  <a:gd name="connsiteX6" fmla="*/ 680604 w 2738004"/>
                  <a:gd name="connsiteY6" fmla="*/ 0 h 3366655"/>
                  <a:gd name="connsiteX7" fmla="*/ 1615786 w 2738004"/>
                  <a:gd name="connsiteY7" fmla="*/ 1080655 h 3366655"/>
                  <a:gd name="connsiteX8" fmla="*/ 2738004 w 2738004"/>
                  <a:gd name="connsiteY8" fmla="*/ 2888673 h 3366655"/>
                  <a:gd name="connsiteX9" fmla="*/ 2738004 w 2738004"/>
                  <a:gd name="connsiteY9" fmla="*/ 3366655 h 3366655"/>
                  <a:gd name="connsiteX10" fmla="*/ 2738004 w 2738004"/>
                  <a:gd name="connsiteY10" fmla="*/ 3304309 h 3366655"/>
                  <a:gd name="connsiteX0" fmla="*/ 2738004 w 2738004"/>
                  <a:gd name="connsiteY0" fmla="*/ 3304309 h 3366655"/>
                  <a:gd name="connsiteX1" fmla="*/ 2116282 w 2738004"/>
                  <a:gd name="connsiteY1" fmla="*/ 2677391 h 3366655"/>
                  <a:gd name="connsiteX2" fmla="*/ 493568 w 2738004"/>
                  <a:gd name="connsiteY2" fmla="*/ 1537855 h 3366655"/>
                  <a:gd name="connsiteX3" fmla="*/ 763732 w 2738004"/>
                  <a:gd name="connsiteY3" fmla="*/ 1080655 h 3366655"/>
                  <a:gd name="connsiteX4" fmla="*/ 327314 w 2738004"/>
                  <a:gd name="connsiteY4" fmla="*/ 1184564 h 3366655"/>
                  <a:gd name="connsiteX5" fmla="*/ 0 w 2738004"/>
                  <a:gd name="connsiteY5" fmla="*/ 713509 h 3366655"/>
                  <a:gd name="connsiteX6" fmla="*/ 680604 w 2738004"/>
                  <a:gd name="connsiteY6" fmla="*/ 0 h 3366655"/>
                  <a:gd name="connsiteX7" fmla="*/ 1615786 w 2738004"/>
                  <a:gd name="connsiteY7" fmla="*/ 1080655 h 3366655"/>
                  <a:gd name="connsiteX8" fmla="*/ 2738004 w 2738004"/>
                  <a:gd name="connsiteY8" fmla="*/ 2888673 h 3366655"/>
                  <a:gd name="connsiteX9" fmla="*/ 2738004 w 2738004"/>
                  <a:gd name="connsiteY9" fmla="*/ 3366655 h 3366655"/>
                  <a:gd name="connsiteX10" fmla="*/ 2738004 w 2738004"/>
                  <a:gd name="connsiteY10" fmla="*/ 3304309 h 3366655"/>
                  <a:gd name="connsiteX0" fmla="*/ 2738004 w 2738004"/>
                  <a:gd name="connsiteY0" fmla="*/ 3304309 h 3366655"/>
                  <a:gd name="connsiteX1" fmla="*/ 2116282 w 2738004"/>
                  <a:gd name="connsiteY1" fmla="*/ 2677391 h 3366655"/>
                  <a:gd name="connsiteX2" fmla="*/ 493568 w 2738004"/>
                  <a:gd name="connsiteY2" fmla="*/ 1537855 h 3366655"/>
                  <a:gd name="connsiteX3" fmla="*/ 763732 w 2738004"/>
                  <a:gd name="connsiteY3" fmla="*/ 1080655 h 3366655"/>
                  <a:gd name="connsiteX4" fmla="*/ 327314 w 2738004"/>
                  <a:gd name="connsiteY4" fmla="*/ 1184564 h 3366655"/>
                  <a:gd name="connsiteX5" fmla="*/ 0 w 2738004"/>
                  <a:gd name="connsiteY5" fmla="*/ 713509 h 3366655"/>
                  <a:gd name="connsiteX6" fmla="*/ 680604 w 2738004"/>
                  <a:gd name="connsiteY6" fmla="*/ 0 h 3366655"/>
                  <a:gd name="connsiteX7" fmla="*/ 1615786 w 2738004"/>
                  <a:gd name="connsiteY7" fmla="*/ 1080655 h 3366655"/>
                  <a:gd name="connsiteX8" fmla="*/ 2738004 w 2738004"/>
                  <a:gd name="connsiteY8" fmla="*/ 2888673 h 3366655"/>
                  <a:gd name="connsiteX9" fmla="*/ 2738004 w 2738004"/>
                  <a:gd name="connsiteY9" fmla="*/ 3366655 h 3366655"/>
                  <a:gd name="connsiteX10" fmla="*/ 2738004 w 2738004"/>
                  <a:gd name="connsiteY10" fmla="*/ 3304309 h 3366655"/>
                  <a:gd name="connsiteX0" fmla="*/ 2738004 w 2738004"/>
                  <a:gd name="connsiteY0" fmla="*/ 3304309 h 3366655"/>
                  <a:gd name="connsiteX1" fmla="*/ 2116282 w 2738004"/>
                  <a:gd name="connsiteY1" fmla="*/ 2677391 h 3366655"/>
                  <a:gd name="connsiteX2" fmla="*/ 493568 w 2738004"/>
                  <a:gd name="connsiteY2" fmla="*/ 1537855 h 3366655"/>
                  <a:gd name="connsiteX3" fmla="*/ 763732 w 2738004"/>
                  <a:gd name="connsiteY3" fmla="*/ 1080655 h 3366655"/>
                  <a:gd name="connsiteX4" fmla="*/ 327314 w 2738004"/>
                  <a:gd name="connsiteY4" fmla="*/ 1184564 h 3366655"/>
                  <a:gd name="connsiteX5" fmla="*/ 0 w 2738004"/>
                  <a:gd name="connsiteY5" fmla="*/ 713509 h 3366655"/>
                  <a:gd name="connsiteX6" fmla="*/ 680604 w 2738004"/>
                  <a:gd name="connsiteY6" fmla="*/ 0 h 3366655"/>
                  <a:gd name="connsiteX7" fmla="*/ 1615786 w 2738004"/>
                  <a:gd name="connsiteY7" fmla="*/ 1080655 h 3366655"/>
                  <a:gd name="connsiteX8" fmla="*/ 2738004 w 2738004"/>
                  <a:gd name="connsiteY8" fmla="*/ 2888673 h 3366655"/>
                  <a:gd name="connsiteX9" fmla="*/ 2738004 w 2738004"/>
                  <a:gd name="connsiteY9" fmla="*/ 3366655 h 3366655"/>
                  <a:gd name="connsiteX10" fmla="*/ 2738004 w 2738004"/>
                  <a:gd name="connsiteY10" fmla="*/ 3304309 h 3366655"/>
                  <a:gd name="connsiteX0" fmla="*/ 2738004 w 2738004"/>
                  <a:gd name="connsiteY0" fmla="*/ 3304309 h 3366655"/>
                  <a:gd name="connsiteX1" fmla="*/ 2116282 w 2738004"/>
                  <a:gd name="connsiteY1" fmla="*/ 2677391 h 3366655"/>
                  <a:gd name="connsiteX2" fmla="*/ 493568 w 2738004"/>
                  <a:gd name="connsiteY2" fmla="*/ 1537855 h 3366655"/>
                  <a:gd name="connsiteX3" fmla="*/ 763732 w 2738004"/>
                  <a:gd name="connsiteY3" fmla="*/ 1080655 h 3366655"/>
                  <a:gd name="connsiteX4" fmla="*/ 327314 w 2738004"/>
                  <a:gd name="connsiteY4" fmla="*/ 1184564 h 3366655"/>
                  <a:gd name="connsiteX5" fmla="*/ 0 w 2738004"/>
                  <a:gd name="connsiteY5" fmla="*/ 713509 h 3366655"/>
                  <a:gd name="connsiteX6" fmla="*/ 680604 w 2738004"/>
                  <a:gd name="connsiteY6" fmla="*/ 0 h 3366655"/>
                  <a:gd name="connsiteX7" fmla="*/ 1615786 w 2738004"/>
                  <a:gd name="connsiteY7" fmla="*/ 1080655 h 3366655"/>
                  <a:gd name="connsiteX8" fmla="*/ 2738004 w 2738004"/>
                  <a:gd name="connsiteY8" fmla="*/ 2888673 h 3366655"/>
                  <a:gd name="connsiteX9" fmla="*/ 2738004 w 2738004"/>
                  <a:gd name="connsiteY9" fmla="*/ 3366655 h 3366655"/>
                  <a:gd name="connsiteX10" fmla="*/ 2738004 w 2738004"/>
                  <a:gd name="connsiteY10" fmla="*/ 3304309 h 3366655"/>
                  <a:gd name="connsiteX0" fmla="*/ 2738004 w 2738004"/>
                  <a:gd name="connsiteY0" fmla="*/ 3304309 h 3366655"/>
                  <a:gd name="connsiteX1" fmla="*/ 2116282 w 2738004"/>
                  <a:gd name="connsiteY1" fmla="*/ 2677391 h 3366655"/>
                  <a:gd name="connsiteX2" fmla="*/ 493568 w 2738004"/>
                  <a:gd name="connsiteY2" fmla="*/ 1537855 h 3366655"/>
                  <a:gd name="connsiteX3" fmla="*/ 763732 w 2738004"/>
                  <a:gd name="connsiteY3" fmla="*/ 1080655 h 3366655"/>
                  <a:gd name="connsiteX4" fmla="*/ 327314 w 2738004"/>
                  <a:gd name="connsiteY4" fmla="*/ 1184564 h 3366655"/>
                  <a:gd name="connsiteX5" fmla="*/ 0 w 2738004"/>
                  <a:gd name="connsiteY5" fmla="*/ 713509 h 3366655"/>
                  <a:gd name="connsiteX6" fmla="*/ 680604 w 2738004"/>
                  <a:gd name="connsiteY6" fmla="*/ 0 h 3366655"/>
                  <a:gd name="connsiteX7" fmla="*/ 1615786 w 2738004"/>
                  <a:gd name="connsiteY7" fmla="*/ 1080655 h 3366655"/>
                  <a:gd name="connsiteX8" fmla="*/ 2738004 w 2738004"/>
                  <a:gd name="connsiteY8" fmla="*/ 2888673 h 3366655"/>
                  <a:gd name="connsiteX9" fmla="*/ 2738004 w 2738004"/>
                  <a:gd name="connsiteY9" fmla="*/ 3366655 h 3366655"/>
                  <a:gd name="connsiteX10" fmla="*/ 2738004 w 2738004"/>
                  <a:gd name="connsiteY10" fmla="*/ 3304309 h 3366655"/>
                  <a:gd name="connsiteX0" fmla="*/ 2738004 w 2738004"/>
                  <a:gd name="connsiteY0" fmla="*/ 3304309 h 3366655"/>
                  <a:gd name="connsiteX1" fmla="*/ 2116282 w 2738004"/>
                  <a:gd name="connsiteY1" fmla="*/ 2677391 h 3366655"/>
                  <a:gd name="connsiteX2" fmla="*/ 493568 w 2738004"/>
                  <a:gd name="connsiteY2" fmla="*/ 1537855 h 3366655"/>
                  <a:gd name="connsiteX3" fmla="*/ 763732 w 2738004"/>
                  <a:gd name="connsiteY3" fmla="*/ 1080655 h 3366655"/>
                  <a:gd name="connsiteX4" fmla="*/ 327314 w 2738004"/>
                  <a:gd name="connsiteY4" fmla="*/ 1184564 h 3366655"/>
                  <a:gd name="connsiteX5" fmla="*/ 0 w 2738004"/>
                  <a:gd name="connsiteY5" fmla="*/ 713509 h 3366655"/>
                  <a:gd name="connsiteX6" fmla="*/ 680604 w 2738004"/>
                  <a:gd name="connsiteY6" fmla="*/ 0 h 3366655"/>
                  <a:gd name="connsiteX7" fmla="*/ 1615786 w 2738004"/>
                  <a:gd name="connsiteY7" fmla="*/ 1080655 h 3366655"/>
                  <a:gd name="connsiteX8" fmla="*/ 2738004 w 2738004"/>
                  <a:gd name="connsiteY8" fmla="*/ 2888673 h 3366655"/>
                  <a:gd name="connsiteX9" fmla="*/ 2738004 w 2738004"/>
                  <a:gd name="connsiteY9" fmla="*/ 3366655 h 3366655"/>
                  <a:gd name="connsiteX10" fmla="*/ 2738004 w 2738004"/>
                  <a:gd name="connsiteY10" fmla="*/ 3304309 h 3366655"/>
                  <a:gd name="connsiteX0" fmla="*/ 2738004 w 2738004"/>
                  <a:gd name="connsiteY0" fmla="*/ 3304309 h 3304309"/>
                  <a:gd name="connsiteX1" fmla="*/ 2116282 w 2738004"/>
                  <a:gd name="connsiteY1" fmla="*/ 2677391 h 3304309"/>
                  <a:gd name="connsiteX2" fmla="*/ 493568 w 2738004"/>
                  <a:gd name="connsiteY2" fmla="*/ 1537855 h 3304309"/>
                  <a:gd name="connsiteX3" fmla="*/ 763732 w 2738004"/>
                  <a:gd name="connsiteY3" fmla="*/ 1080655 h 3304309"/>
                  <a:gd name="connsiteX4" fmla="*/ 327314 w 2738004"/>
                  <a:gd name="connsiteY4" fmla="*/ 1184564 h 3304309"/>
                  <a:gd name="connsiteX5" fmla="*/ 0 w 2738004"/>
                  <a:gd name="connsiteY5" fmla="*/ 713509 h 3304309"/>
                  <a:gd name="connsiteX6" fmla="*/ 680604 w 2738004"/>
                  <a:gd name="connsiteY6" fmla="*/ 0 h 3304309"/>
                  <a:gd name="connsiteX7" fmla="*/ 1615786 w 2738004"/>
                  <a:gd name="connsiteY7" fmla="*/ 1080655 h 3304309"/>
                  <a:gd name="connsiteX8" fmla="*/ 2738004 w 2738004"/>
                  <a:gd name="connsiteY8" fmla="*/ 2888673 h 3304309"/>
                  <a:gd name="connsiteX9" fmla="*/ 2738004 w 2738004"/>
                  <a:gd name="connsiteY9" fmla="*/ 3304309 h 3304309"/>
                  <a:gd name="connsiteX0" fmla="*/ 2785629 w 2785629"/>
                  <a:gd name="connsiteY0" fmla="*/ 3409084 h 3409084"/>
                  <a:gd name="connsiteX1" fmla="*/ 2116282 w 2785629"/>
                  <a:gd name="connsiteY1" fmla="*/ 2677391 h 3409084"/>
                  <a:gd name="connsiteX2" fmla="*/ 493568 w 2785629"/>
                  <a:gd name="connsiteY2" fmla="*/ 1537855 h 3409084"/>
                  <a:gd name="connsiteX3" fmla="*/ 763732 w 2785629"/>
                  <a:gd name="connsiteY3" fmla="*/ 1080655 h 3409084"/>
                  <a:gd name="connsiteX4" fmla="*/ 327314 w 2785629"/>
                  <a:gd name="connsiteY4" fmla="*/ 1184564 h 3409084"/>
                  <a:gd name="connsiteX5" fmla="*/ 0 w 2785629"/>
                  <a:gd name="connsiteY5" fmla="*/ 713509 h 3409084"/>
                  <a:gd name="connsiteX6" fmla="*/ 680604 w 2785629"/>
                  <a:gd name="connsiteY6" fmla="*/ 0 h 3409084"/>
                  <a:gd name="connsiteX7" fmla="*/ 1615786 w 2785629"/>
                  <a:gd name="connsiteY7" fmla="*/ 1080655 h 3409084"/>
                  <a:gd name="connsiteX8" fmla="*/ 2738004 w 2785629"/>
                  <a:gd name="connsiteY8" fmla="*/ 2888673 h 3409084"/>
                  <a:gd name="connsiteX9" fmla="*/ 2785629 w 2785629"/>
                  <a:gd name="connsiteY9" fmla="*/ 3409084 h 3409084"/>
                  <a:gd name="connsiteX0" fmla="*/ 2785629 w 2852304"/>
                  <a:gd name="connsiteY0" fmla="*/ 3409084 h 3409084"/>
                  <a:gd name="connsiteX1" fmla="*/ 2116282 w 2852304"/>
                  <a:gd name="connsiteY1" fmla="*/ 2677391 h 3409084"/>
                  <a:gd name="connsiteX2" fmla="*/ 493568 w 2852304"/>
                  <a:gd name="connsiteY2" fmla="*/ 1537855 h 3409084"/>
                  <a:gd name="connsiteX3" fmla="*/ 763732 w 2852304"/>
                  <a:gd name="connsiteY3" fmla="*/ 1080655 h 3409084"/>
                  <a:gd name="connsiteX4" fmla="*/ 327314 w 2852304"/>
                  <a:gd name="connsiteY4" fmla="*/ 1184564 h 3409084"/>
                  <a:gd name="connsiteX5" fmla="*/ 0 w 2852304"/>
                  <a:gd name="connsiteY5" fmla="*/ 713509 h 3409084"/>
                  <a:gd name="connsiteX6" fmla="*/ 680604 w 2852304"/>
                  <a:gd name="connsiteY6" fmla="*/ 0 h 3409084"/>
                  <a:gd name="connsiteX7" fmla="*/ 1615786 w 2852304"/>
                  <a:gd name="connsiteY7" fmla="*/ 1080655 h 3409084"/>
                  <a:gd name="connsiteX8" fmla="*/ 2852304 w 2852304"/>
                  <a:gd name="connsiteY8" fmla="*/ 3050598 h 3409084"/>
                  <a:gd name="connsiteX9" fmla="*/ 2785629 w 2852304"/>
                  <a:gd name="connsiteY9" fmla="*/ 3409084 h 3409084"/>
                  <a:gd name="connsiteX0" fmla="*/ 2909454 w 2909454"/>
                  <a:gd name="connsiteY0" fmla="*/ 3618634 h 3618634"/>
                  <a:gd name="connsiteX1" fmla="*/ 2116282 w 2909454"/>
                  <a:gd name="connsiteY1" fmla="*/ 2677391 h 3618634"/>
                  <a:gd name="connsiteX2" fmla="*/ 493568 w 2909454"/>
                  <a:gd name="connsiteY2" fmla="*/ 1537855 h 3618634"/>
                  <a:gd name="connsiteX3" fmla="*/ 763732 w 2909454"/>
                  <a:gd name="connsiteY3" fmla="*/ 1080655 h 3618634"/>
                  <a:gd name="connsiteX4" fmla="*/ 327314 w 2909454"/>
                  <a:gd name="connsiteY4" fmla="*/ 1184564 h 3618634"/>
                  <a:gd name="connsiteX5" fmla="*/ 0 w 2909454"/>
                  <a:gd name="connsiteY5" fmla="*/ 713509 h 3618634"/>
                  <a:gd name="connsiteX6" fmla="*/ 680604 w 2909454"/>
                  <a:gd name="connsiteY6" fmla="*/ 0 h 3618634"/>
                  <a:gd name="connsiteX7" fmla="*/ 1615786 w 2909454"/>
                  <a:gd name="connsiteY7" fmla="*/ 1080655 h 3618634"/>
                  <a:gd name="connsiteX8" fmla="*/ 2852304 w 2909454"/>
                  <a:gd name="connsiteY8" fmla="*/ 3050598 h 3618634"/>
                  <a:gd name="connsiteX9" fmla="*/ 2909454 w 2909454"/>
                  <a:gd name="connsiteY9" fmla="*/ 3618634 h 3618634"/>
                  <a:gd name="connsiteX0" fmla="*/ 2909454 w 2909454"/>
                  <a:gd name="connsiteY0" fmla="*/ 3618634 h 3618634"/>
                  <a:gd name="connsiteX1" fmla="*/ 2116282 w 2909454"/>
                  <a:gd name="connsiteY1" fmla="*/ 2677391 h 3618634"/>
                  <a:gd name="connsiteX2" fmla="*/ 493568 w 2909454"/>
                  <a:gd name="connsiteY2" fmla="*/ 1537855 h 3618634"/>
                  <a:gd name="connsiteX3" fmla="*/ 763732 w 2909454"/>
                  <a:gd name="connsiteY3" fmla="*/ 1080655 h 3618634"/>
                  <a:gd name="connsiteX4" fmla="*/ 327314 w 2909454"/>
                  <a:gd name="connsiteY4" fmla="*/ 1184564 h 3618634"/>
                  <a:gd name="connsiteX5" fmla="*/ 0 w 2909454"/>
                  <a:gd name="connsiteY5" fmla="*/ 713509 h 3618634"/>
                  <a:gd name="connsiteX6" fmla="*/ 680604 w 2909454"/>
                  <a:gd name="connsiteY6" fmla="*/ 0 h 3618634"/>
                  <a:gd name="connsiteX7" fmla="*/ 1615786 w 2909454"/>
                  <a:gd name="connsiteY7" fmla="*/ 1080655 h 3618634"/>
                  <a:gd name="connsiteX8" fmla="*/ 2852304 w 2909454"/>
                  <a:gd name="connsiteY8" fmla="*/ 3050598 h 3618634"/>
                  <a:gd name="connsiteX9" fmla="*/ 2909454 w 2909454"/>
                  <a:gd name="connsiteY9" fmla="*/ 3618634 h 3618634"/>
                  <a:gd name="connsiteX0" fmla="*/ 2871354 w 2871354"/>
                  <a:gd name="connsiteY0" fmla="*/ 3666259 h 3666259"/>
                  <a:gd name="connsiteX1" fmla="*/ 2116282 w 2871354"/>
                  <a:gd name="connsiteY1" fmla="*/ 2677391 h 3666259"/>
                  <a:gd name="connsiteX2" fmla="*/ 493568 w 2871354"/>
                  <a:gd name="connsiteY2" fmla="*/ 1537855 h 3666259"/>
                  <a:gd name="connsiteX3" fmla="*/ 763732 w 2871354"/>
                  <a:gd name="connsiteY3" fmla="*/ 1080655 h 3666259"/>
                  <a:gd name="connsiteX4" fmla="*/ 327314 w 2871354"/>
                  <a:gd name="connsiteY4" fmla="*/ 1184564 h 3666259"/>
                  <a:gd name="connsiteX5" fmla="*/ 0 w 2871354"/>
                  <a:gd name="connsiteY5" fmla="*/ 713509 h 3666259"/>
                  <a:gd name="connsiteX6" fmla="*/ 680604 w 2871354"/>
                  <a:gd name="connsiteY6" fmla="*/ 0 h 3666259"/>
                  <a:gd name="connsiteX7" fmla="*/ 1615786 w 2871354"/>
                  <a:gd name="connsiteY7" fmla="*/ 1080655 h 3666259"/>
                  <a:gd name="connsiteX8" fmla="*/ 2852304 w 2871354"/>
                  <a:gd name="connsiteY8" fmla="*/ 3050598 h 3666259"/>
                  <a:gd name="connsiteX9" fmla="*/ 2871354 w 2871354"/>
                  <a:gd name="connsiteY9" fmla="*/ 3666259 h 3666259"/>
                  <a:gd name="connsiteX0" fmla="*/ 2909454 w 2909454"/>
                  <a:gd name="connsiteY0" fmla="*/ 3666259 h 3666259"/>
                  <a:gd name="connsiteX1" fmla="*/ 2116282 w 2909454"/>
                  <a:gd name="connsiteY1" fmla="*/ 2677391 h 3666259"/>
                  <a:gd name="connsiteX2" fmla="*/ 493568 w 2909454"/>
                  <a:gd name="connsiteY2" fmla="*/ 1537855 h 3666259"/>
                  <a:gd name="connsiteX3" fmla="*/ 763732 w 2909454"/>
                  <a:gd name="connsiteY3" fmla="*/ 1080655 h 3666259"/>
                  <a:gd name="connsiteX4" fmla="*/ 327314 w 2909454"/>
                  <a:gd name="connsiteY4" fmla="*/ 1184564 h 3666259"/>
                  <a:gd name="connsiteX5" fmla="*/ 0 w 2909454"/>
                  <a:gd name="connsiteY5" fmla="*/ 713509 h 3666259"/>
                  <a:gd name="connsiteX6" fmla="*/ 680604 w 2909454"/>
                  <a:gd name="connsiteY6" fmla="*/ 0 h 3666259"/>
                  <a:gd name="connsiteX7" fmla="*/ 1615786 w 2909454"/>
                  <a:gd name="connsiteY7" fmla="*/ 1080655 h 3666259"/>
                  <a:gd name="connsiteX8" fmla="*/ 2852304 w 2909454"/>
                  <a:gd name="connsiteY8" fmla="*/ 3050598 h 3666259"/>
                  <a:gd name="connsiteX9" fmla="*/ 2909454 w 2909454"/>
                  <a:gd name="connsiteY9" fmla="*/ 3666259 h 3666259"/>
                  <a:gd name="connsiteX0" fmla="*/ 2909454 w 2909454"/>
                  <a:gd name="connsiteY0" fmla="*/ 3666259 h 3666259"/>
                  <a:gd name="connsiteX1" fmla="*/ 2116282 w 2909454"/>
                  <a:gd name="connsiteY1" fmla="*/ 2677391 h 3666259"/>
                  <a:gd name="connsiteX2" fmla="*/ 493568 w 2909454"/>
                  <a:gd name="connsiteY2" fmla="*/ 1537855 h 3666259"/>
                  <a:gd name="connsiteX3" fmla="*/ 763732 w 2909454"/>
                  <a:gd name="connsiteY3" fmla="*/ 1080655 h 3666259"/>
                  <a:gd name="connsiteX4" fmla="*/ 327314 w 2909454"/>
                  <a:gd name="connsiteY4" fmla="*/ 1184564 h 3666259"/>
                  <a:gd name="connsiteX5" fmla="*/ 0 w 2909454"/>
                  <a:gd name="connsiteY5" fmla="*/ 713509 h 3666259"/>
                  <a:gd name="connsiteX6" fmla="*/ 680604 w 2909454"/>
                  <a:gd name="connsiteY6" fmla="*/ 0 h 3666259"/>
                  <a:gd name="connsiteX7" fmla="*/ 1615786 w 2909454"/>
                  <a:gd name="connsiteY7" fmla="*/ 1080655 h 3666259"/>
                  <a:gd name="connsiteX8" fmla="*/ 2852304 w 2909454"/>
                  <a:gd name="connsiteY8" fmla="*/ 3050598 h 3666259"/>
                  <a:gd name="connsiteX9" fmla="*/ 2909454 w 2909454"/>
                  <a:gd name="connsiteY9" fmla="*/ 3666259 h 3666259"/>
                  <a:gd name="connsiteX0" fmla="*/ 2909454 w 2938029"/>
                  <a:gd name="connsiteY0" fmla="*/ 3666259 h 3666259"/>
                  <a:gd name="connsiteX1" fmla="*/ 2116282 w 2938029"/>
                  <a:gd name="connsiteY1" fmla="*/ 2677391 h 3666259"/>
                  <a:gd name="connsiteX2" fmla="*/ 493568 w 2938029"/>
                  <a:gd name="connsiteY2" fmla="*/ 1537855 h 3666259"/>
                  <a:gd name="connsiteX3" fmla="*/ 763732 w 2938029"/>
                  <a:gd name="connsiteY3" fmla="*/ 1080655 h 3666259"/>
                  <a:gd name="connsiteX4" fmla="*/ 327314 w 2938029"/>
                  <a:gd name="connsiteY4" fmla="*/ 1184564 h 3666259"/>
                  <a:gd name="connsiteX5" fmla="*/ 0 w 2938029"/>
                  <a:gd name="connsiteY5" fmla="*/ 713509 h 3666259"/>
                  <a:gd name="connsiteX6" fmla="*/ 680604 w 2938029"/>
                  <a:gd name="connsiteY6" fmla="*/ 0 h 3666259"/>
                  <a:gd name="connsiteX7" fmla="*/ 1615786 w 2938029"/>
                  <a:gd name="connsiteY7" fmla="*/ 1080655 h 3666259"/>
                  <a:gd name="connsiteX8" fmla="*/ 2938029 w 2938029"/>
                  <a:gd name="connsiteY8" fmla="*/ 3202998 h 3666259"/>
                  <a:gd name="connsiteX9" fmla="*/ 2909454 w 2938029"/>
                  <a:gd name="connsiteY9" fmla="*/ 3666259 h 3666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38029" h="3666259">
                    <a:moveTo>
                      <a:pt x="2909454" y="3666259"/>
                    </a:moveTo>
                    <a:cubicBezTo>
                      <a:pt x="2737138" y="3311236"/>
                      <a:pt x="2402898" y="2899064"/>
                      <a:pt x="2116282" y="2677391"/>
                    </a:cubicBezTo>
                    <a:cubicBezTo>
                      <a:pt x="1511877" y="2214996"/>
                      <a:pt x="555048" y="1724025"/>
                      <a:pt x="493568" y="1537855"/>
                    </a:cubicBezTo>
                    <a:cubicBezTo>
                      <a:pt x="526473" y="1375930"/>
                      <a:pt x="673677" y="1233055"/>
                      <a:pt x="763732" y="1080655"/>
                    </a:cubicBezTo>
                    <a:cubicBezTo>
                      <a:pt x="618259" y="1115291"/>
                      <a:pt x="453737" y="1226128"/>
                      <a:pt x="327314" y="1184564"/>
                    </a:cubicBezTo>
                    <a:cubicBezTo>
                      <a:pt x="218209" y="1103746"/>
                      <a:pt x="109105" y="870527"/>
                      <a:pt x="0" y="713509"/>
                    </a:cubicBezTo>
                    <a:lnTo>
                      <a:pt x="680604" y="0"/>
                    </a:lnTo>
                    <a:lnTo>
                      <a:pt x="1615786" y="1080655"/>
                    </a:lnTo>
                    <a:lnTo>
                      <a:pt x="2938029" y="3202998"/>
                    </a:lnTo>
                    <a:lnTo>
                      <a:pt x="2909454" y="366625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75" name="Freeform 286">
                <a:extLst>
                  <a:ext uri="{FF2B5EF4-FFF2-40B4-BE49-F238E27FC236}">
                    <a16:creationId xmlns:a16="http://schemas.microsoft.com/office/drawing/2014/main" id="{8A0EEED3-36E6-4115-9C9D-B2A48B5B98FA}"/>
                  </a:ext>
                </a:extLst>
              </p:cNvPr>
              <p:cNvSpPr/>
              <p:nvPr/>
            </p:nvSpPr>
            <p:spPr>
              <a:xfrm rot="21114987" flipH="1">
                <a:off x="6863801" y="2428595"/>
                <a:ext cx="174123" cy="591999"/>
              </a:xfrm>
              <a:custGeom>
                <a:avLst/>
                <a:gdLst>
                  <a:gd name="connsiteX0" fmla="*/ 477982 w 1517073"/>
                  <a:gd name="connsiteY0" fmla="*/ 5029200 h 5029200"/>
                  <a:gd name="connsiteX1" fmla="*/ 0 w 1517073"/>
                  <a:gd name="connsiteY1" fmla="*/ 3678382 h 5029200"/>
                  <a:gd name="connsiteX2" fmla="*/ 249382 w 1517073"/>
                  <a:gd name="connsiteY2" fmla="*/ 1662546 h 5029200"/>
                  <a:gd name="connsiteX3" fmla="*/ 353291 w 1517073"/>
                  <a:gd name="connsiteY3" fmla="*/ 0 h 5029200"/>
                  <a:gd name="connsiteX4" fmla="*/ 955964 w 1517073"/>
                  <a:gd name="connsiteY4" fmla="*/ 519546 h 5029200"/>
                  <a:gd name="connsiteX5" fmla="*/ 1309255 w 1517073"/>
                  <a:gd name="connsiteY5" fmla="*/ 768928 h 5029200"/>
                  <a:gd name="connsiteX6" fmla="*/ 872837 w 1517073"/>
                  <a:gd name="connsiteY6" fmla="*/ 976746 h 5029200"/>
                  <a:gd name="connsiteX7" fmla="*/ 1517073 w 1517073"/>
                  <a:gd name="connsiteY7" fmla="*/ 1101437 h 5029200"/>
                  <a:gd name="connsiteX8" fmla="*/ 311728 w 1517073"/>
                  <a:gd name="connsiteY8" fmla="*/ 3408218 h 5029200"/>
                  <a:gd name="connsiteX9" fmla="*/ 477982 w 1517073"/>
                  <a:gd name="connsiteY9" fmla="*/ 5029200 h 5029200"/>
                  <a:gd name="connsiteX0" fmla="*/ 477982 w 1517073"/>
                  <a:gd name="connsiteY0" fmla="*/ 5029200 h 5029200"/>
                  <a:gd name="connsiteX1" fmla="*/ 0 w 1517073"/>
                  <a:gd name="connsiteY1" fmla="*/ 3678382 h 5029200"/>
                  <a:gd name="connsiteX2" fmla="*/ 249382 w 1517073"/>
                  <a:gd name="connsiteY2" fmla="*/ 1662546 h 5029200"/>
                  <a:gd name="connsiteX3" fmla="*/ 353291 w 1517073"/>
                  <a:gd name="connsiteY3" fmla="*/ 0 h 5029200"/>
                  <a:gd name="connsiteX4" fmla="*/ 955964 w 1517073"/>
                  <a:gd name="connsiteY4" fmla="*/ 519546 h 5029200"/>
                  <a:gd name="connsiteX5" fmla="*/ 1309255 w 1517073"/>
                  <a:gd name="connsiteY5" fmla="*/ 768928 h 5029200"/>
                  <a:gd name="connsiteX6" fmla="*/ 872837 w 1517073"/>
                  <a:gd name="connsiteY6" fmla="*/ 976746 h 5029200"/>
                  <a:gd name="connsiteX7" fmla="*/ 1517073 w 1517073"/>
                  <a:gd name="connsiteY7" fmla="*/ 1101437 h 5029200"/>
                  <a:gd name="connsiteX8" fmla="*/ 311728 w 1517073"/>
                  <a:gd name="connsiteY8" fmla="*/ 3408218 h 5029200"/>
                  <a:gd name="connsiteX9" fmla="*/ 477982 w 1517073"/>
                  <a:gd name="connsiteY9" fmla="*/ 5029200 h 5029200"/>
                  <a:gd name="connsiteX0" fmla="*/ 477982 w 1517073"/>
                  <a:gd name="connsiteY0" fmla="*/ 5029200 h 5029200"/>
                  <a:gd name="connsiteX1" fmla="*/ 0 w 1517073"/>
                  <a:gd name="connsiteY1" fmla="*/ 3678382 h 5029200"/>
                  <a:gd name="connsiteX2" fmla="*/ 249382 w 1517073"/>
                  <a:gd name="connsiteY2" fmla="*/ 1662546 h 5029200"/>
                  <a:gd name="connsiteX3" fmla="*/ 353291 w 1517073"/>
                  <a:gd name="connsiteY3" fmla="*/ 0 h 5029200"/>
                  <a:gd name="connsiteX4" fmla="*/ 955964 w 1517073"/>
                  <a:gd name="connsiteY4" fmla="*/ 519546 h 5029200"/>
                  <a:gd name="connsiteX5" fmla="*/ 1309255 w 1517073"/>
                  <a:gd name="connsiteY5" fmla="*/ 768928 h 5029200"/>
                  <a:gd name="connsiteX6" fmla="*/ 872837 w 1517073"/>
                  <a:gd name="connsiteY6" fmla="*/ 976746 h 5029200"/>
                  <a:gd name="connsiteX7" fmla="*/ 1517073 w 1517073"/>
                  <a:gd name="connsiteY7" fmla="*/ 1101437 h 5029200"/>
                  <a:gd name="connsiteX8" fmla="*/ 311728 w 1517073"/>
                  <a:gd name="connsiteY8" fmla="*/ 3408218 h 5029200"/>
                  <a:gd name="connsiteX9" fmla="*/ 477982 w 1517073"/>
                  <a:gd name="connsiteY9" fmla="*/ 5029200 h 5029200"/>
                  <a:gd name="connsiteX0" fmla="*/ 477982 w 1517073"/>
                  <a:gd name="connsiteY0" fmla="*/ 5029200 h 5029200"/>
                  <a:gd name="connsiteX1" fmla="*/ 0 w 1517073"/>
                  <a:gd name="connsiteY1" fmla="*/ 3678382 h 5029200"/>
                  <a:gd name="connsiteX2" fmla="*/ 249382 w 1517073"/>
                  <a:gd name="connsiteY2" fmla="*/ 1662546 h 5029200"/>
                  <a:gd name="connsiteX3" fmla="*/ 353291 w 1517073"/>
                  <a:gd name="connsiteY3" fmla="*/ 0 h 5029200"/>
                  <a:gd name="connsiteX4" fmla="*/ 889289 w 1517073"/>
                  <a:gd name="connsiteY4" fmla="*/ 471921 h 5029200"/>
                  <a:gd name="connsiteX5" fmla="*/ 1309255 w 1517073"/>
                  <a:gd name="connsiteY5" fmla="*/ 768928 h 5029200"/>
                  <a:gd name="connsiteX6" fmla="*/ 872837 w 1517073"/>
                  <a:gd name="connsiteY6" fmla="*/ 976746 h 5029200"/>
                  <a:gd name="connsiteX7" fmla="*/ 1517073 w 1517073"/>
                  <a:gd name="connsiteY7" fmla="*/ 1101437 h 5029200"/>
                  <a:gd name="connsiteX8" fmla="*/ 311728 w 1517073"/>
                  <a:gd name="connsiteY8" fmla="*/ 3408218 h 5029200"/>
                  <a:gd name="connsiteX9" fmla="*/ 477982 w 1517073"/>
                  <a:gd name="connsiteY9" fmla="*/ 5029200 h 5029200"/>
                  <a:gd name="connsiteX0" fmla="*/ 477982 w 1517073"/>
                  <a:gd name="connsiteY0" fmla="*/ 5029200 h 5029200"/>
                  <a:gd name="connsiteX1" fmla="*/ 0 w 1517073"/>
                  <a:gd name="connsiteY1" fmla="*/ 3678382 h 5029200"/>
                  <a:gd name="connsiteX2" fmla="*/ 249382 w 1517073"/>
                  <a:gd name="connsiteY2" fmla="*/ 1662546 h 5029200"/>
                  <a:gd name="connsiteX3" fmla="*/ 353291 w 1517073"/>
                  <a:gd name="connsiteY3" fmla="*/ 0 h 5029200"/>
                  <a:gd name="connsiteX4" fmla="*/ 889289 w 1517073"/>
                  <a:gd name="connsiteY4" fmla="*/ 471921 h 5029200"/>
                  <a:gd name="connsiteX5" fmla="*/ 1309255 w 1517073"/>
                  <a:gd name="connsiteY5" fmla="*/ 768928 h 5029200"/>
                  <a:gd name="connsiteX6" fmla="*/ 872837 w 1517073"/>
                  <a:gd name="connsiteY6" fmla="*/ 976746 h 5029200"/>
                  <a:gd name="connsiteX7" fmla="*/ 1517073 w 1517073"/>
                  <a:gd name="connsiteY7" fmla="*/ 1101437 h 5029200"/>
                  <a:gd name="connsiteX8" fmla="*/ 311728 w 1517073"/>
                  <a:gd name="connsiteY8" fmla="*/ 3408218 h 5029200"/>
                  <a:gd name="connsiteX9" fmla="*/ 477982 w 1517073"/>
                  <a:gd name="connsiteY9" fmla="*/ 5029200 h 5029200"/>
                  <a:gd name="connsiteX0" fmla="*/ 477982 w 1517073"/>
                  <a:gd name="connsiteY0" fmla="*/ 4962525 h 4962525"/>
                  <a:gd name="connsiteX1" fmla="*/ 0 w 1517073"/>
                  <a:gd name="connsiteY1" fmla="*/ 3611707 h 4962525"/>
                  <a:gd name="connsiteX2" fmla="*/ 249382 w 1517073"/>
                  <a:gd name="connsiteY2" fmla="*/ 1595871 h 4962525"/>
                  <a:gd name="connsiteX3" fmla="*/ 372341 w 1517073"/>
                  <a:gd name="connsiteY3" fmla="*/ 0 h 4962525"/>
                  <a:gd name="connsiteX4" fmla="*/ 889289 w 1517073"/>
                  <a:gd name="connsiteY4" fmla="*/ 405246 h 4962525"/>
                  <a:gd name="connsiteX5" fmla="*/ 1309255 w 1517073"/>
                  <a:gd name="connsiteY5" fmla="*/ 702253 h 4962525"/>
                  <a:gd name="connsiteX6" fmla="*/ 872837 w 1517073"/>
                  <a:gd name="connsiteY6" fmla="*/ 910071 h 4962525"/>
                  <a:gd name="connsiteX7" fmla="*/ 1517073 w 1517073"/>
                  <a:gd name="connsiteY7" fmla="*/ 1034762 h 4962525"/>
                  <a:gd name="connsiteX8" fmla="*/ 311728 w 1517073"/>
                  <a:gd name="connsiteY8" fmla="*/ 3341543 h 4962525"/>
                  <a:gd name="connsiteX9" fmla="*/ 477982 w 1517073"/>
                  <a:gd name="connsiteY9" fmla="*/ 4962525 h 4962525"/>
                  <a:gd name="connsiteX0" fmla="*/ 477982 w 1517073"/>
                  <a:gd name="connsiteY0" fmla="*/ 4962525 h 4962525"/>
                  <a:gd name="connsiteX1" fmla="*/ 0 w 1517073"/>
                  <a:gd name="connsiteY1" fmla="*/ 3611707 h 4962525"/>
                  <a:gd name="connsiteX2" fmla="*/ 249382 w 1517073"/>
                  <a:gd name="connsiteY2" fmla="*/ 1595871 h 4962525"/>
                  <a:gd name="connsiteX3" fmla="*/ 372341 w 1517073"/>
                  <a:gd name="connsiteY3" fmla="*/ 0 h 4962525"/>
                  <a:gd name="connsiteX4" fmla="*/ 889289 w 1517073"/>
                  <a:gd name="connsiteY4" fmla="*/ 405246 h 4962525"/>
                  <a:gd name="connsiteX5" fmla="*/ 1309255 w 1517073"/>
                  <a:gd name="connsiteY5" fmla="*/ 702253 h 4962525"/>
                  <a:gd name="connsiteX6" fmla="*/ 872837 w 1517073"/>
                  <a:gd name="connsiteY6" fmla="*/ 910071 h 4962525"/>
                  <a:gd name="connsiteX7" fmla="*/ 1517073 w 1517073"/>
                  <a:gd name="connsiteY7" fmla="*/ 1034762 h 4962525"/>
                  <a:gd name="connsiteX8" fmla="*/ 311728 w 1517073"/>
                  <a:gd name="connsiteY8" fmla="*/ 3341543 h 4962525"/>
                  <a:gd name="connsiteX9" fmla="*/ 477982 w 1517073"/>
                  <a:gd name="connsiteY9" fmla="*/ 4962525 h 4962525"/>
                  <a:gd name="connsiteX0" fmla="*/ 477982 w 1517073"/>
                  <a:gd name="connsiteY0" fmla="*/ 4962525 h 4962525"/>
                  <a:gd name="connsiteX1" fmla="*/ 0 w 1517073"/>
                  <a:gd name="connsiteY1" fmla="*/ 3611707 h 4962525"/>
                  <a:gd name="connsiteX2" fmla="*/ 249382 w 1517073"/>
                  <a:gd name="connsiteY2" fmla="*/ 1595871 h 4962525"/>
                  <a:gd name="connsiteX3" fmla="*/ 372341 w 1517073"/>
                  <a:gd name="connsiteY3" fmla="*/ 0 h 4962525"/>
                  <a:gd name="connsiteX4" fmla="*/ 889289 w 1517073"/>
                  <a:gd name="connsiteY4" fmla="*/ 405246 h 4962525"/>
                  <a:gd name="connsiteX5" fmla="*/ 1309255 w 1517073"/>
                  <a:gd name="connsiteY5" fmla="*/ 702253 h 4962525"/>
                  <a:gd name="connsiteX6" fmla="*/ 872837 w 1517073"/>
                  <a:gd name="connsiteY6" fmla="*/ 910071 h 4962525"/>
                  <a:gd name="connsiteX7" fmla="*/ 1517073 w 1517073"/>
                  <a:gd name="connsiteY7" fmla="*/ 1034762 h 4962525"/>
                  <a:gd name="connsiteX8" fmla="*/ 311728 w 1517073"/>
                  <a:gd name="connsiteY8" fmla="*/ 3341543 h 4962525"/>
                  <a:gd name="connsiteX9" fmla="*/ 477982 w 1517073"/>
                  <a:gd name="connsiteY9" fmla="*/ 4962525 h 4962525"/>
                  <a:gd name="connsiteX0" fmla="*/ 477982 w 1517073"/>
                  <a:gd name="connsiteY0" fmla="*/ 4962525 h 4962525"/>
                  <a:gd name="connsiteX1" fmla="*/ 0 w 1517073"/>
                  <a:gd name="connsiteY1" fmla="*/ 3611707 h 4962525"/>
                  <a:gd name="connsiteX2" fmla="*/ 249382 w 1517073"/>
                  <a:gd name="connsiteY2" fmla="*/ 1595871 h 4962525"/>
                  <a:gd name="connsiteX3" fmla="*/ 372341 w 1517073"/>
                  <a:gd name="connsiteY3" fmla="*/ 0 h 4962525"/>
                  <a:gd name="connsiteX4" fmla="*/ 889289 w 1517073"/>
                  <a:gd name="connsiteY4" fmla="*/ 405246 h 4962525"/>
                  <a:gd name="connsiteX5" fmla="*/ 1309255 w 1517073"/>
                  <a:gd name="connsiteY5" fmla="*/ 702253 h 4962525"/>
                  <a:gd name="connsiteX6" fmla="*/ 872837 w 1517073"/>
                  <a:gd name="connsiteY6" fmla="*/ 910071 h 4962525"/>
                  <a:gd name="connsiteX7" fmla="*/ 1517073 w 1517073"/>
                  <a:gd name="connsiteY7" fmla="*/ 1034762 h 4962525"/>
                  <a:gd name="connsiteX8" fmla="*/ 340303 w 1517073"/>
                  <a:gd name="connsiteY8" fmla="*/ 3379643 h 4962525"/>
                  <a:gd name="connsiteX9" fmla="*/ 477982 w 1517073"/>
                  <a:gd name="connsiteY9" fmla="*/ 4962525 h 4962525"/>
                  <a:gd name="connsiteX0" fmla="*/ 477982 w 1517073"/>
                  <a:gd name="connsiteY0" fmla="*/ 4962525 h 4962525"/>
                  <a:gd name="connsiteX1" fmla="*/ 0 w 1517073"/>
                  <a:gd name="connsiteY1" fmla="*/ 3611707 h 4962525"/>
                  <a:gd name="connsiteX2" fmla="*/ 249382 w 1517073"/>
                  <a:gd name="connsiteY2" fmla="*/ 1595871 h 4962525"/>
                  <a:gd name="connsiteX3" fmla="*/ 372341 w 1517073"/>
                  <a:gd name="connsiteY3" fmla="*/ 0 h 4962525"/>
                  <a:gd name="connsiteX4" fmla="*/ 889289 w 1517073"/>
                  <a:gd name="connsiteY4" fmla="*/ 405246 h 4962525"/>
                  <a:gd name="connsiteX5" fmla="*/ 1309255 w 1517073"/>
                  <a:gd name="connsiteY5" fmla="*/ 702253 h 4962525"/>
                  <a:gd name="connsiteX6" fmla="*/ 872837 w 1517073"/>
                  <a:gd name="connsiteY6" fmla="*/ 910071 h 4962525"/>
                  <a:gd name="connsiteX7" fmla="*/ 1517073 w 1517073"/>
                  <a:gd name="connsiteY7" fmla="*/ 1034762 h 4962525"/>
                  <a:gd name="connsiteX8" fmla="*/ 340303 w 1517073"/>
                  <a:gd name="connsiteY8" fmla="*/ 3379643 h 4962525"/>
                  <a:gd name="connsiteX9" fmla="*/ 477982 w 1517073"/>
                  <a:gd name="connsiteY9" fmla="*/ 4962525 h 4962525"/>
                  <a:gd name="connsiteX0" fmla="*/ 477982 w 1517073"/>
                  <a:gd name="connsiteY0" fmla="*/ 4962525 h 4962525"/>
                  <a:gd name="connsiteX1" fmla="*/ 0 w 1517073"/>
                  <a:gd name="connsiteY1" fmla="*/ 3611707 h 4962525"/>
                  <a:gd name="connsiteX2" fmla="*/ 249382 w 1517073"/>
                  <a:gd name="connsiteY2" fmla="*/ 1595871 h 4962525"/>
                  <a:gd name="connsiteX3" fmla="*/ 372341 w 1517073"/>
                  <a:gd name="connsiteY3" fmla="*/ 0 h 4962525"/>
                  <a:gd name="connsiteX4" fmla="*/ 889289 w 1517073"/>
                  <a:gd name="connsiteY4" fmla="*/ 405246 h 4962525"/>
                  <a:gd name="connsiteX5" fmla="*/ 1309255 w 1517073"/>
                  <a:gd name="connsiteY5" fmla="*/ 702253 h 4962525"/>
                  <a:gd name="connsiteX6" fmla="*/ 872837 w 1517073"/>
                  <a:gd name="connsiteY6" fmla="*/ 910071 h 4962525"/>
                  <a:gd name="connsiteX7" fmla="*/ 1517073 w 1517073"/>
                  <a:gd name="connsiteY7" fmla="*/ 1034762 h 4962525"/>
                  <a:gd name="connsiteX8" fmla="*/ 340303 w 1517073"/>
                  <a:gd name="connsiteY8" fmla="*/ 3379643 h 4962525"/>
                  <a:gd name="connsiteX9" fmla="*/ 477982 w 1517073"/>
                  <a:gd name="connsiteY9" fmla="*/ 4962525 h 4962525"/>
                  <a:gd name="connsiteX0" fmla="*/ 477982 w 1517073"/>
                  <a:gd name="connsiteY0" fmla="*/ 4962525 h 4962525"/>
                  <a:gd name="connsiteX1" fmla="*/ 0 w 1517073"/>
                  <a:gd name="connsiteY1" fmla="*/ 3611707 h 4962525"/>
                  <a:gd name="connsiteX2" fmla="*/ 249382 w 1517073"/>
                  <a:gd name="connsiteY2" fmla="*/ 1595871 h 4962525"/>
                  <a:gd name="connsiteX3" fmla="*/ 372341 w 1517073"/>
                  <a:gd name="connsiteY3" fmla="*/ 0 h 4962525"/>
                  <a:gd name="connsiteX4" fmla="*/ 889289 w 1517073"/>
                  <a:gd name="connsiteY4" fmla="*/ 405246 h 4962525"/>
                  <a:gd name="connsiteX5" fmla="*/ 1309255 w 1517073"/>
                  <a:gd name="connsiteY5" fmla="*/ 702253 h 4962525"/>
                  <a:gd name="connsiteX6" fmla="*/ 872837 w 1517073"/>
                  <a:gd name="connsiteY6" fmla="*/ 910071 h 4962525"/>
                  <a:gd name="connsiteX7" fmla="*/ 1517073 w 1517073"/>
                  <a:gd name="connsiteY7" fmla="*/ 1034762 h 4962525"/>
                  <a:gd name="connsiteX8" fmla="*/ 340303 w 1517073"/>
                  <a:gd name="connsiteY8" fmla="*/ 3379643 h 4962525"/>
                  <a:gd name="connsiteX9" fmla="*/ 477982 w 1517073"/>
                  <a:gd name="connsiteY9" fmla="*/ 4962525 h 4962525"/>
                  <a:gd name="connsiteX0" fmla="*/ 477982 w 1517073"/>
                  <a:gd name="connsiteY0" fmla="*/ 4962525 h 4962525"/>
                  <a:gd name="connsiteX1" fmla="*/ 0 w 1517073"/>
                  <a:gd name="connsiteY1" fmla="*/ 3611707 h 4962525"/>
                  <a:gd name="connsiteX2" fmla="*/ 249382 w 1517073"/>
                  <a:gd name="connsiteY2" fmla="*/ 1595871 h 4962525"/>
                  <a:gd name="connsiteX3" fmla="*/ 372341 w 1517073"/>
                  <a:gd name="connsiteY3" fmla="*/ 0 h 4962525"/>
                  <a:gd name="connsiteX4" fmla="*/ 889289 w 1517073"/>
                  <a:gd name="connsiteY4" fmla="*/ 405246 h 4962525"/>
                  <a:gd name="connsiteX5" fmla="*/ 1309255 w 1517073"/>
                  <a:gd name="connsiteY5" fmla="*/ 702253 h 4962525"/>
                  <a:gd name="connsiteX6" fmla="*/ 872837 w 1517073"/>
                  <a:gd name="connsiteY6" fmla="*/ 910071 h 4962525"/>
                  <a:gd name="connsiteX7" fmla="*/ 1517073 w 1517073"/>
                  <a:gd name="connsiteY7" fmla="*/ 1034762 h 4962525"/>
                  <a:gd name="connsiteX8" fmla="*/ 340303 w 1517073"/>
                  <a:gd name="connsiteY8" fmla="*/ 3379643 h 4962525"/>
                  <a:gd name="connsiteX9" fmla="*/ 477982 w 1517073"/>
                  <a:gd name="connsiteY9" fmla="*/ 4962525 h 4962525"/>
                  <a:gd name="connsiteX0" fmla="*/ 477982 w 1517073"/>
                  <a:gd name="connsiteY0" fmla="*/ 4962525 h 4962525"/>
                  <a:gd name="connsiteX1" fmla="*/ 0 w 1517073"/>
                  <a:gd name="connsiteY1" fmla="*/ 3611707 h 4962525"/>
                  <a:gd name="connsiteX2" fmla="*/ 249382 w 1517073"/>
                  <a:gd name="connsiteY2" fmla="*/ 1595871 h 4962525"/>
                  <a:gd name="connsiteX3" fmla="*/ 372341 w 1517073"/>
                  <a:gd name="connsiteY3" fmla="*/ 0 h 4962525"/>
                  <a:gd name="connsiteX4" fmla="*/ 889289 w 1517073"/>
                  <a:gd name="connsiteY4" fmla="*/ 405246 h 4962525"/>
                  <a:gd name="connsiteX5" fmla="*/ 1309255 w 1517073"/>
                  <a:gd name="connsiteY5" fmla="*/ 702253 h 4962525"/>
                  <a:gd name="connsiteX6" fmla="*/ 872837 w 1517073"/>
                  <a:gd name="connsiteY6" fmla="*/ 910071 h 4962525"/>
                  <a:gd name="connsiteX7" fmla="*/ 1517073 w 1517073"/>
                  <a:gd name="connsiteY7" fmla="*/ 1034762 h 4962525"/>
                  <a:gd name="connsiteX8" fmla="*/ 368878 w 1517073"/>
                  <a:gd name="connsiteY8" fmla="*/ 3446318 h 4962525"/>
                  <a:gd name="connsiteX9" fmla="*/ 477982 w 1517073"/>
                  <a:gd name="connsiteY9" fmla="*/ 4962525 h 4962525"/>
                  <a:gd name="connsiteX0" fmla="*/ 487507 w 1517073"/>
                  <a:gd name="connsiteY0" fmla="*/ 5000625 h 5000625"/>
                  <a:gd name="connsiteX1" fmla="*/ 0 w 1517073"/>
                  <a:gd name="connsiteY1" fmla="*/ 3611707 h 5000625"/>
                  <a:gd name="connsiteX2" fmla="*/ 249382 w 1517073"/>
                  <a:gd name="connsiteY2" fmla="*/ 1595871 h 5000625"/>
                  <a:gd name="connsiteX3" fmla="*/ 372341 w 1517073"/>
                  <a:gd name="connsiteY3" fmla="*/ 0 h 5000625"/>
                  <a:gd name="connsiteX4" fmla="*/ 889289 w 1517073"/>
                  <a:gd name="connsiteY4" fmla="*/ 405246 h 5000625"/>
                  <a:gd name="connsiteX5" fmla="*/ 1309255 w 1517073"/>
                  <a:gd name="connsiteY5" fmla="*/ 702253 h 5000625"/>
                  <a:gd name="connsiteX6" fmla="*/ 872837 w 1517073"/>
                  <a:gd name="connsiteY6" fmla="*/ 910071 h 5000625"/>
                  <a:gd name="connsiteX7" fmla="*/ 1517073 w 1517073"/>
                  <a:gd name="connsiteY7" fmla="*/ 1034762 h 5000625"/>
                  <a:gd name="connsiteX8" fmla="*/ 368878 w 1517073"/>
                  <a:gd name="connsiteY8" fmla="*/ 3446318 h 5000625"/>
                  <a:gd name="connsiteX9" fmla="*/ 487507 w 1517073"/>
                  <a:gd name="connsiteY9" fmla="*/ 5000625 h 5000625"/>
                  <a:gd name="connsiteX0" fmla="*/ 458932 w 1488498"/>
                  <a:gd name="connsiteY0" fmla="*/ 5000625 h 5000625"/>
                  <a:gd name="connsiteX1" fmla="*/ 0 w 1488498"/>
                  <a:gd name="connsiteY1" fmla="*/ 3592657 h 5000625"/>
                  <a:gd name="connsiteX2" fmla="*/ 220807 w 1488498"/>
                  <a:gd name="connsiteY2" fmla="*/ 1595871 h 5000625"/>
                  <a:gd name="connsiteX3" fmla="*/ 343766 w 1488498"/>
                  <a:gd name="connsiteY3" fmla="*/ 0 h 5000625"/>
                  <a:gd name="connsiteX4" fmla="*/ 860714 w 1488498"/>
                  <a:gd name="connsiteY4" fmla="*/ 405246 h 5000625"/>
                  <a:gd name="connsiteX5" fmla="*/ 1280680 w 1488498"/>
                  <a:gd name="connsiteY5" fmla="*/ 702253 h 5000625"/>
                  <a:gd name="connsiteX6" fmla="*/ 844262 w 1488498"/>
                  <a:gd name="connsiteY6" fmla="*/ 910071 h 5000625"/>
                  <a:gd name="connsiteX7" fmla="*/ 1488498 w 1488498"/>
                  <a:gd name="connsiteY7" fmla="*/ 1034762 h 5000625"/>
                  <a:gd name="connsiteX8" fmla="*/ 340303 w 1488498"/>
                  <a:gd name="connsiteY8" fmla="*/ 3446318 h 5000625"/>
                  <a:gd name="connsiteX9" fmla="*/ 458932 w 1488498"/>
                  <a:gd name="connsiteY9" fmla="*/ 5000625 h 5000625"/>
                  <a:gd name="connsiteX0" fmla="*/ 458932 w 1488498"/>
                  <a:gd name="connsiteY0" fmla="*/ 5000625 h 5000625"/>
                  <a:gd name="connsiteX1" fmla="*/ 0 w 1488498"/>
                  <a:gd name="connsiteY1" fmla="*/ 3592657 h 5000625"/>
                  <a:gd name="connsiteX2" fmla="*/ 220807 w 1488498"/>
                  <a:gd name="connsiteY2" fmla="*/ 1595871 h 5000625"/>
                  <a:gd name="connsiteX3" fmla="*/ 343766 w 1488498"/>
                  <a:gd name="connsiteY3" fmla="*/ 0 h 5000625"/>
                  <a:gd name="connsiteX4" fmla="*/ 860714 w 1488498"/>
                  <a:gd name="connsiteY4" fmla="*/ 405246 h 5000625"/>
                  <a:gd name="connsiteX5" fmla="*/ 1280680 w 1488498"/>
                  <a:gd name="connsiteY5" fmla="*/ 702253 h 5000625"/>
                  <a:gd name="connsiteX6" fmla="*/ 844262 w 1488498"/>
                  <a:gd name="connsiteY6" fmla="*/ 910071 h 5000625"/>
                  <a:gd name="connsiteX7" fmla="*/ 1488498 w 1488498"/>
                  <a:gd name="connsiteY7" fmla="*/ 1034762 h 5000625"/>
                  <a:gd name="connsiteX8" fmla="*/ 340303 w 1488498"/>
                  <a:gd name="connsiteY8" fmla="*/ 3446318 h 5000625"/>
                  <a:gd name="connsiteX9" fmla="*/ 458932 w 1488498"/>
                  <a:gd name="connsiteY9" fmla="*/ 5000625 h 500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88498" h="5000625">
                    <a:moveTo>
                      <a:pt x="458932" y="5000625"/>
                    </a:moveTo>
                    <a:cubicBezTo>
                      <a:pt x="305955" y="4531302"/>
                      <a:pt x="172027" y="3947680"/>
                      <a:pt x="0" y="3592657"/>
                    </a:cubicBezTo>
                    <a:lnTo>
                      <a:pt x="220807" y="1595871"/>
                    </a:lnTo>
                    <a:lnTo>
                      <a:pt x="343766" y="0"/>
                    </a:lnTo>
                    <a:cubicBezTo>
                      <a:pt x="522432" y="157307"/>
                      <a:pt x="634423" y="247939"/>
                      <a:pt x="860714" y="405246"/>
                    </a:cubicBezTo>
                    <a:cubicBezTo>
                      <a:pt x="978478" y="488373"/>
                      <a:pt x="1172441" y="590551"/>
                      <a:pt x="1280680" y="702253"/>
                    </a:cubicBezTo>
                    <a:cubicBezTo>
                      <a:pt x="1211407" y="838201"/>
                      <a:pt x="989735" y="840798"/>
                      <a:pt x="844262" y="910071"/>
                    </a:cubicBezTo>
                    <a:cubicBezTo>
                      <a:pt x="1059007" y="951635"/>
                      <a:pt x="1340428" y="955098"/>
                      <a:pt x="1488498" y="1034762"/>
                    </a:cubicBezTo>
                    <a:cubicBezTo>
                      <a:pt x="1391516" y="1432214"/>
                      <a:pt x="627785" y="2715491"/>
                      <a:pt x="340303" y="3446318"/>
                    </a:cubicBezTo>
                    <a:cubicBezTo>
                      <a:pt x="243321" y="3773920"/>
                      <a:pt x="413039" y="4472998"/>
                      <a:pt x="458932" y="500062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76" name="Freeform 287">
                <a:extLst>
                  <a:ext uri="{FF2B5EF4-FFF2-40B4-BE49-F238E27FC236}">
                    <a16:creationId xmlns:a16="http://schemas.microsoft.com/office/drawing/2014/main" id="{0E324216-D403-4BA4-AE77-D4F83D927F66}"/>
                  </a:ext>
                </a:extLst>
              </p:cNvPr>
              <p:cNvSpPr/>
              <p:nvPr/>
            </p:nvSpPr>
            <p:spPr>
              <a:xfrm rot="21114987" flipH="1">
                <a:off x="6972231" y="2381259"/>
                <a:ext cx="286255" cy="430545"/>
              </a:xfrm>
              <a:custGeom>
                <a:avLst/>
                <a:gdLst>
                  <a:gd name="connsiteX0" fmla="*/ 0 w 2389909"/>
                  <a:gd name="connsiteY0" fmla="*/ 477982 h 3636819"/>
                  <a:gd name="connsiteX1" fmla="*/ 166254 w 2389909"/>
                  <a:gd name="connsiteY1" fmla="*/ 124691 h 3636819"/>
                  <a:gd name="connsiteX2" fmla="*/ 290945 w 2389909"/>
                  <a:gd name="connsiteY2" fmla="*/ 519546 h 3636819"/>
                  <a:gd name="connsiteX3" fmla="*/ 1475509 w 2389909"/>
                  <a:gd name="connsiteY3" fmla="*/ 1309255 h 3636819"/>
                  <a:gd name="connsiteX4" fmla="*/ 1579418 w 2389909"/>
                  <a:gd name="connsiteY4" fmla="*/ 1724891 h 3636819"/>
                  <a:gd name="connsiteX5" fmla="*/ 1620982 w 2389909"/>
                  <a:gd name="connsiteY5" fmla="*/ 2327564 h 3636819"/>
                  <a:gd name="connsiteX6" fmla="*/ 1787236 w 2389909"/>
                  <a:gd name="connsiteY6" fmla="*/ 2389909 h 3636819"/>
                  <a:gd name="connsiteX7" fmla="*/ 1995054 w 2389909"/>
                  <a:gd name="connsiteY7" fmla="*/ 1558637 h 3636819"/>
                  <a:gd name="connsiteX8" fmla="*/ 1745672 w 2389909"/>
                  <a:gd name="connsiteY8" fmla="*/ 1205346 h 3636819"/>
                  <a:gd name="connsiteX9" fmla="*/ 2223654 w 2389909"/>
                  <a:gd name="connsiteY9" fmla="*/ 166255 h 3636819"/>
                  <a:gd name="connsiteX10" fmla="*/ 2244436 w 2389909"/>
                  <a:gd name="connsiteY10" fmla="*/ 0 h 3636819"/>
                  <a:gd name="connsiteX11" fmla="*/ 2389909 w 2389909"/>
                  <a:gd name="connsiteY11" fmla="*/ 207819 h 3636819"/>
                  <a:gd name="connsiteX12" fmla="*/ 2389909 w 2389909"/>
                  <a:gd name="connsiteY12" fmla="*/ 1953491 h 3636819"/>
                  <a:gd name="connsiteX13" fmla="*/ 2119745 w 2389909"/>
                  <a:gd name="connsiteY13" fmla="*/ 3636819 h 3636819"/>
                  <a:gd name="connsiteX14" fmla="*/ 415636 w 2389909"/>
                  <a:gd name="connsiteY14" fmla="*/ 1350819 h 3636819"/>
                  <a:gd name="connsiteX15" fmla="*/ 0 w 2389909"/>
                  <a:gd name="connsiteY15" fmla="*/ 477982 h 3636819"/>
                  <a:gd name="connsiteX0" fmla="*/ 0 w 2389909"/>
                  <a:gd name="connsiteY0" fmla="*/ 477982 h 3636819"/>
                  <a:gd name="connsiteX1" fmla="*/ 166254 w 2389909"/>
                  <a:gd name="connsiteY1" fmla="*/ 124691 h 3636819"/>
                  <a:gd name="connsiteX2" fmla="*/ 290945 w 2389909"/>
                  <a:gd name="connsiteY2" fmla="*/ 519546 h 3636819"/>
                  <a:gd name="connsiteX3" fmla="*/ 1475509 w 2389909"/>
                  <a:gd name="connsiteY3" fmla="*/ 1309255 h 3636819"/>
                  <a:gd name="connsiteX4" fmla="*/ 1579418 w 2389909"/>
                  <a:gd name="connsiteY4" fmla="*/ 1724891 h 3636819"/>
                  <a:gd name="connsiteX5" fmla="*/ 1620982 w 2389909"/>
                  <a:gd name="connsiteY5" fmla="*/ 2327564 h 3636819"/>
                  <a:gd name="connsiteX6" fmla="*/ 1787236 w 2389909"/>
                  <a:gd name="connsiteY6" fmla="*/ 2389909 h 3636819"/>
                  <a:gd name="connsiteX7" fmla="*/ 1995054 w 2389909"/>
                  <a:gd name="connsiteY7" fmla="*/ 1558637 h 3636819"/>
                  <a:gd name="connsiteX8" fmla="*/ 1745672 w 2389909"/>
                  <a:gd name="connsiteY8" fmla="*/ 1205346 h 3636819"/>
                  <a:gd name="connsiteX9" fmla="*/ 2223654 w 2389909"/>
                  <a:gd name="connsiteY9" fmla="*/ 166255 h 3636819"/>
                  <a:gd name="connsiteX10" fmla="*/ 2244436 w 2389909"/>
                  <a:gd name="connsiteY10" fmla="*/ 0 h 3636819"/>
                  <a:gd name="connsiteX11" fmla="*/ 2389909 w 2389909"/>
                  <a:gd name="connsiteY11" fmla="*/ 207819 h 3636819"/>
                  <a:gd name="connsiteX12" fmla="*/ 2389909 w 2389909"/>
                  <a:gd name="connsiteY12" fmla="*/ 1953491 h 3636819"/>
                  <a:gd name="connsiteX13" fmla="*/ 2119745 w 2389909"/>
                  <a:gd name="connsiteY13" fmla="*/ 3636819 h 3636819"/>
                  <a:gd name="connsiteX14" fmla="*/ 415636 w 2389909"/>
                  <a:gd name="connsiteY14" fmla="*/ 1350819 h 3636819"/>
                  <a:gd name="connsiteX15" fmla="*/ 0 w 2389909"/>
                  <a:gd name="connsiteY15" fmla="*/ 477982 h 3636819"/>
                  <a:gd name="connsiteX0" fmla="*/ 0 w 2389909"/>
                  <a:gd name="connsiteY0" fmla="*/ 477982 h 3636819"/>
                  <a:gd name="connsiteX1" fmla="*/ 166254 w 2389909"/>
                  <a:gd name="connsiteY1" fmla="*/ 124691 h 3636819"/>
                  <a:gd name="connsiteX2" fmla="*/ 329045 w 2389909"/>
                  <a:gd name="connsiteY2" fmla="*/ 519546 h 3636819"/>
                  <a:gd name="connsiteX3" fmla="*/ 1475509 w 2389909"/>
                  <a:gd name="connsiteY3" fmla="*/ 1309255 h 3636819"/>
                  <a:gd name="connsiteX4" fmla="*/ 1579418 w 2389909"/>
                  <a:gd name="connsiteY4" fmla="*/ 1724891 h 3636819"/>
                  <a:gd name="connsiteX5" fmla="*/ 1620982 w 2389909"/>
                  <a:gd name="connsiteY5" fmla="*/ 2327564 h 3636819"/>
                  <a:gd name="connsiteX6" fmla="*/ 1787236 w 2389909"/>
                  <a:gd name="connsiteY6" fmla="*/ 2389909 h 3636819"/>
                  <a:gd name="connsiteX7" fmla="*/ 1995054 w 2389909"/>
                  <a:gd name="connsiteY7" fmla="*/ 1558637 h 3636819"/>
                  <a:gd name="connsiteX8" fmla="*/ 1745672 w 2389909"/>
                  <a:gd name="connsiteY8" fmla="*/ 1205346 h 3636819"/>
                  <a:gd name="connsiteX9" fmla="*/ 2223654 w 2389909"/>
                  <a:gd name="connsiteY9" fmla="*/ 166255 h 3636819"/>
                  <a:gd name="connsiteX10" fmla="*/ 2244436 w 2389909"/>
                  <a:gd name="connsiteY10" fmla="*/ 0 h 3636819"/>
                  <a:gd name="connsiteX11" fmla="*/ 2389909 w 2389909"/>
                  <a:gd name="connsiteY11" fmla="*/ 207819 h 3636819"/>
                  <a:gd name="connsiteX12" fmla="*/ 2389909 w 2389909"/>
                  <a:gd name="connsiteY12" fmla="*/ 1953491 h 3636819"/>
                  <a:gd name="connsiteX13" fmla="*/ 2119745 w 2389909"/>
                  <a:gd name="connsiteY13" fmla="*/ 3636819 h 3636819"/>
                  <a:gd name="connsiteX14" fmla="*/ 415636 w 2389909"/>
                  <a:gd name="connsiteY14" fmla="*/ 1350819 h 3636819"/>
                  <a:gd name="connsiteX15" fmla="*/ 0 w 2389909"/>
                  <a:gd name="connsiteY15" fmla="*/ 477982 h 3636819"/>
                  <a:gd name="connsiteX0" fmla="*/ 0 w 2389909"/>
                  <a:gd name="connsiteY0" fmla="*/ 477982 h 3636819"/>
                  <a:gd name="connsiteX1" fmla="*/ 232929 w 2389909"/>
                  <a:gd name="connsiteY1" fmla="*/ 143741 h 3636819"/>
                  <a:gd name="connsiteX2" fmla="*/ 329045 w 2389909"/>
                  <a:gd name="connsiteY2" fmla="*/ 519546 h 3636819"/>
                  <a:gd name="connsiteX3" fmla="*/ 1475509 w 2389909"/>
                  <a:gd name="connsiteY3" fmla="*/ 1309255 h 3636819"/>
                  <a:gd name="connsiteX4" fmla="*/ 1579418 w 2389909"/>
                  <a:gd name="connsiteY4" fmla="*/ 1724891 h 3636819"/>
                  <a:gd name="connsiteX5" fmla="*/ 1620982 w 2389909"/>
                  <a:gd name="connsiteY5" fmla="*/ 2327564 h 3636819"/>
                  <a:gd name="connsiteX6" fmla="*/ 1787236 w 2389909"/>
                  <a:gd name="connsiteY6" fmla="*/ 2389909 h 3636819"/>
                  <a:gd name="connsiteX7" fmla="*/ 1995054 w 2389909"/>
                  <a:gd name="connsiteY7" fmla="*/ 1558637 h 3636819"/>
                  <a:gd name="connsiteX8" fmla="*/ 1745672 w 2389909"/>
                  <a:gd name="connsiteY8" fmla="*/ 1205346 h 3636819"/>
                  <a:gd name="connsiteX9" fmla="*/ 2223654 w 2389909"/>
                  <a:gd name="connsiteY9" fmla="*/ 166255 h 3636819"/>
                  <a:gd name="connsiteX10" fmla="*/ 2244436 w 2389909"/>
                  <a:gd name="connsiteY10" fmla="*/ 0 h 3636819"/>
                  <a:gd name="connsiteX11" fmla="*/ 2389909 w 2389909"/>
                  <a:gd name="connsiteY11" fmla="*/ 207819 h 3636819"/>
                  <a:gd name="connsiteX12" fmla="*/ 2389909 w 2389909"/>
                  <a:gd name="connsiteY12" fmla="*/ 1953491 h 3636819"/>
                  <a:gd name="connsiteX13" fmla="*/ 2119745 w 2389909"/>
                  <a:gd name="connsiteY13" fmla="*/ 3636819 h 3636819"/>
                  <a:gd name="connsiteX14" fmla="*/ 415636 w 2389909"/>
                  <a:gd name="connsiteY14" fmla="*/ 1350819 h 3636819"/>
                  <a:gd name="connsiteX15" fmla="*/ 0 w 2389909"/>
                  <a:gd name="connsiteY15" fmla="*/ 477982 h 3636819"/>
                  <a:gd name="connsiteX0" fmla="*/ 0 w 2389909"/>
                  <a:gd name="connsiteY0" fmla="*/ 477982 h 3636819"/>
                  <a:gd name="connsiteX1" fmla="*/ 185304 w 2389909"/>
                  <a:gd name="connsiteY1" fmla="*/ 143741 h 3636819"/>
                  <a:gd name="connsiteX2" fmla="*/ 329045 w 2389909"/>
                  <a:gd name="connsiteY2" fmla="*/ 519546 h 3636819"/>
                  <a:gd name="connsiteX3" fmla="*/ 1475509 w 2389909"/>
                  <a:gd name="connsiteY3" fmla="*/ 1309255 h 3636819"/>
                  <a:gd name="connsiteX4" fmla="*/ 1579418 w 2389909"/>
                  <a:gd name="connsiteY4" fmla="*/ 1724891 h 3636819"/>
                  <a:gd name="connsiteX5" fmla="*/ 1620982 w 2389909"/>
                  <a:gd name="connsiteY5" fmla="*/ 2327564 h 3636819"/>
                  <a:gd name="connsiteX6" fmla="*/ 1787236 w 2389909"/>
                  <a:gd name="connsiteY6" fmla="*/ 2389909 h 3636819"/>
                  <a:gd name="connsiteX7" fmla="*/ 1995054 w 2389909"/>
                  <a:gd name="connsiteY7" fmla="*/ 1558637 h 3636819"/>
                  <a:gd name="connsiteX8" fmla="*/ 1745672 w 2389909"/>
                  <a:gd name="connsiteY8" fmla="*/ 1205346 h 3636819"/>
                  <a:gd name="connsiteX9" fmla="*/ 2223654 w 2389909"/>
                  <a:gd name="connsiteY9" fmla="*/ 166255 h 3636819"/>
                  <a:gd name="connsiteX10" fmla="*/ 2244436 w 2389909"/>
                  <a:gd name="connsiteY10" fmla="*/ 0 h 3636819"/>
                  <a:gd name="connsiteX11" fmla="*/ 2389909 w 2389909"/>
                  <a:gd name="connsiteY11" fmla="*/ 207819 h 3636819"/>
                  <a:gd name="connsiteX12" fmla="*/ 2389909 w 2389909"/>
                  <a:gd name="connsiteY12" fmla="*/ 1953491 h 3636819"/>
                  <a:gd name="connsiteX13" fmla="*/ 2119745 w 2389909"/>
                  <a:gd name="connsiteY13" fmla="*/ 3636819 h 3636819"/>
                  <a:gd name="connsiteX14" fmla="*/ 415636 w 2389909"/>
                  <a:gd name="connsiteY14" fmla="*/ 1350819 h 3636819"/>
                  <a:gd name="connsiteX15" fmla="*/ 0 w 2389909"/>
                  <a:gd name="connsiteY15" fmla="*/ 477982 h 3636819"/>
                  <a:gd name="connsiteX0" fmla="*/ 0 w 2389909"/>
                  <a:gd name="connsiteY0" fmla="*/ 477982 h 3636819"/>
                  <a:gd name="connsiteX1" fmla="*/ 185304 w 2389909"/>
                  <a:gd name="connsiteY1" fmla="*/ 143741 h 3636819"/>
                  <a:gd name="connsiteX2" fmla="*/ 329045 w 2389909"/>
                  <a:gd name="connsiteY2" fmla="*/ 519546 h 3636819"/>
                  <a:gd name="connsiteX3" fmla="*/ 1475509 w 2389909"/>
                  <a:gd name="connsiteY3" fmla="*/ 1309255 h 3636819"/>
                  <a:gd name="connsiteX4" fmla="*/ 1579418 w 2389909"/>
                  <a:gd name="connsiteY4" fmla="*/ 1724891 h 3636819"/>
                  <a:gd name="connsiteX5" fmla="*/ 1620982 w 2389909"/>
                  <a:gd name="connsiteY5" fmla="*/ 2327564 h 3636819"/>
                  <a:gd name="connsiteX6" fmla="*/ 1787236 w 2389909"/>
                  <a:gd name="connsiteY6" fmla="*/ 2389909 h 3636819"/>
                  <a:gd name="connsiteX7" fmla="*/ 1995054 w 2389909"/>
                  <a:gd name="connsiteY7" fmla="*/ 1558637 h 3636819"/>
                  <a:gd name="connsiteX8" fmla="*/ 1745672 w 2389909"/>
                  <a:gd name="connsiteY8" fmla="*/ 1205346 h 3636819"/>
                  <a:gd name="connsiteX9" fmla="*/ 2223654 w 2389909"/>
                  <a:gd name="connsiteY9" fmla="*/ 166255 h 3636819"/>
                  <a:gd name="connsiteX10" fmla="*/ 2244436 w 2389909"/>
                  <a:gd name="connsiteY10" fmla="*/ 0 h 3636819"/>
                  <a:gd name="connsiteX11" fmla="*/ 2389909 w 2389909"/>
                  <a:gd name="connsiteY11" fmla="*/ 207819 h 3636819"/>
                  <a:gd name="connsiteX12" fmla="*/ 2389909 w 2389909"/>
                  <a:gd name="connsiteY12" fmla="*/ 1953491 h 3636819"/>
                  <a:gd name="connsiteX13" fmla="*/ 2119745 w 2389909"/>
                  <a:gd name="connsiteY13" fmla="*/ 3636819 h 3636819"/>
                  <a:gd name="connsiteX14" fmla="*/ 415636 w 2389909"/>
                  <a:gd name="connsiteY14" fmla="*/ 1350819 h 3636819"/>
                  <a:gd name="connsiteX15" fmla="*/ 0 w 2389909"/>
                  <a:gd name="connsiteY15" fmla="*/ 477982 h 3636819"/>
                  <a:gd name="connsiteX0" fmla="*/ 0 w 2389909"/>
                  <a:gd name="connsiteY0" fmla="*/ 477982 h 3636819"/>
                  <a:gd name="connsiteX1" fmla="*/ 223404 w 2389909"/>
                  <a:gd name="connsiteY1" fmla="*/ 143741 h 3636819"/>
                  <a:gd name="connsiteX2" fmla="*/ 329045 w 2389909"/>
                  <a:gd name="connsiteY2" fmla="*/ 519546 h 3636819"/>
                  <a:gd name="connsiteX3" fmla="*/ 1475509 w 2389909"/>
                  <a:gd name="connsiteY3" fmla="*/ 1309255 h 3636819"/>
                  <a:gd name="connsiteX4" fmla="*/ 1579418 w 2389909"/>
                  <a:gd name="connsiteY4" fmla="*/ 1724891 h 3636819"/>
                  <a:gd name="connsiteX5" fmla="*/ 1620982 w 2389909"/>
                  <a:gd name="connsiteY5" fmla="*/ 2327564 h 3636819"/>
                  <a:gd name="connsiteX6" fmla="*/ 1787236 w 2389909"/>
                  <a:gd name="connsiteY6" fmla="*/ 2389909 h 3636819"/>
                  <a:gd name="connsiteX7" fmla="*/ 1995054 w 2389909"/>
                  <a:gd name="connsiteY7" fmla="*/ 1558637 h 3636819"/>
                  <a:gd name="connsiteX8" fmla="*/ 1745672 w 2389909"/>
                  <a:gd name="connsiteY8" fmla="*/ 1205346 h 3636819"/>
                  <a:gd name="connsiteX9" fmla="*/ 2223654 w 2389909"/>
                  <a:gd name="connsiteY9" fmla="*/ 166255 h 3636819"/>
                  <a:gd name="connsiteX10" fmla="*/ 2244436 w 2389909"/>
                  <a:gd name="connsiteY10" fmla="*/ 0 h 3636819"/>
                  <a:gd name="connsiteX11" fmla="*/ 2389909 w 2389909"/>
                  <a:gd name="connsiteY11" fmla="*/ 207819 h 3636819"/>
                  <a:gd name="connsiteX12" fmla="*/ 2389909 w 2389909"/>
                  <a:gd name="connsiteY12" fmla="*/ 1953491 h 3636819"/>
                  <a:gd name="connsiteX13" fmla="*/ 2119745 w 2389909"/>
                  <a:gd name="connsiteY13" fmla="*/ 3636819 h 3636819"/>
                  <a:gd name="connsiteX14" fmla="*/ 415636 w 2389909"/>
                  <a:gd name="connsiteY14" fmla="*/ 1350819 h 3636819"/>
                  <a:gd name="connsiteX15" fmla="*/ 0 w 2389909"/>
                  <a:gd name="connsiteY15" fmla="*/ 477982 h 3636819"/>
                  <a:gd name="connsiteX0" fmla="*/ 0 w 2389909"/>
                  <a:gd name="connsiteY0" fmla="*/ 477982 h 3636819"/>
                  <a:gd name="connsiteX1" fmla="*/ 223404 w 2389909"/>
                  <a:gd name="connsiteY1" fmla="*/ 143741 h 3636819"/>
                  <a:gd name="connsiteX2" fmla="*/ 329045 w 2389909"/>
                  <a:gd name="connsiteY2" fmla="*/ 519546 h 3636819"/>
                  <a:gd name="connsiteX3" fmla="*/ 1475509 w 2389909"/>
                  <a:gd name="connsiteY3" fmla="*/ 1309255 h 3636819"/>
                  <a:gd name="connsiteX4" fmla="*/ 1579418 w 2389909"/>
                  <a:gd name="connsiteY4" fmla="*/ 1724891 h 3636819"/>
                  <a:gd name="connsiteX5" fmla="*/ 1620982 w 2389909"/>
                  <a:gd name="connsiteY5" fmla="*/ 2327564 h 3636819"/>
                  <a:gd name="connsiteX6" fmla="*/ 1787236 w 2389909"/>
                  <a:gd name="connsiteY6" fmla="*/ 2389909 h 3636819"/>
                  <a:gd name="connsiteX7" fmla="*/ 1995054 w 2389909"/>
                  <a:gd name="connsiteY7" fmla="*/ 1558637 h 3636819"/>
                  <a:gd name="connsiteX8" fmla="*/ 1745672 w 2389909"/>
                  <a:gd name="connsiteY8" fmla="*/ 1205346 h 3636819"/>
                  <a:gd name="connsiteX9" fmla="*/ 2223654 w 2389909"/>
                  <a:gd name="connsiteY9" fmla="*/ 166255 h 3636819"/>
                  <a:gd name="connsiteX10" fmla="*/ 2244436 w 2389909"/>
                  <a:gd name="connsiteY10" fmla="*/ 0 h 3636819"/>
                  <a:gd name="connsiteX11" fmla="*/ 2389909 w 2389909"/>
                  <a:gd name="connsiteY11" fmla="*/ 207819 h 3636819"/>
                  <a:gd name="connsiteX12" fmla="*/ 2389909 w 2389909"/>
                  <a:gd name="connsiteY12" fmla="*/ 1953491 h 3636819"/>
                  <a:gd name="connsiteX13" fmla="*/ 2119745 w 2389909"/>
                  <a:gd name="connsiteY13" fmla="*/ 3636819 h 3636819"/>
                  <a:gd name="connsiteX14" fmla="*/ 415636 w 2389909"/>
                  <a:gd name="connsiteY14" fmla="*/ 1350819 h 3636819"/>
                  <a:gd name="connsiteX15" fmla="*/ 0 w 2389909"/>
                  <a:gd name="connsiteY15" fmla="*/ 477982 h 3636819"/>
                  <a:gd name="connsiteX0" fmla="*/ 0 w 2389909"/>
                  <a:gd name="connsiteY0" fmla="*/ 468457 h 3627294"/>
                  <a:gd name="connsiteX1" fmla="*/ 223404 w 2389909"/>
                  <a:gd name="connsiteY1" fmla="*/ 134216 h 3627294"/>
                  <a:gd name="connsiteX2" fmla="*/ 329045 w 2389909"/>
                  <a:gd name="connsiteY2" fmla="*/ 510021 h 3627294"/>
                  <a:gd name="connsiteX3" fmla="*/ 1475509 w 2389909"/>
                  <a:gd name="connsiteY3" fmla="*/ 1299730 h 3627294"/>
                  <a:gd name="connsiteX4" fmla="*/ 1579418 w 2389909"/>
                  <a:gd name="connsiteY4" fmla="*/ 1715366 h 3627294"/>
                  <a:gd name="connsiteX5" fmla="*/ 1620982 w 2389909"/>
                  <a:gd name="connsiteY5" fmla="*/ 2318039 h 3627294"/>
                  <a:gd name="connsiteX6" fmla="*/ 1787236 w 2389909"/>
                  <a:gd name="connsiteY6" fmla="*/ 2380384 h 3627294"/>
                  <a:gd name="connsiteX7" fmla="*/ 1995054 w 2389909"/>
                  <a:gd name="connsiteY7" fmla="*/ 1549112 h 3627294"/>
                  <a:gd name="connsiteX8" fmla="*/ 1745672 w 2389909"/>
                  <a:gd name="connsiteY8" fmla="*/ 1195821 h 3627294"/>
                  <a:gd name="connsiteX9" fmla="*/ 2223654 w 2389909"/>
                  <a:gd name="connsiteY9" fmla="*/ 156730 h 3627294"/>
                  <a:gd name="connsiteX10" fmla="*/ 2215861 w 2389909"/>
                  <a:gd name="connsiteY10" fmla="*/ 0 h 3627294"/>
                  <a:gd name="connsiteX11" fmla="*/ 2389909 w 2389909"/>
                  <a:gd name="connsiteY11" fmla="*/ 198294 h 3627294"/>
                  <a:gd name="connsiteX12" fmla="*/ 2389909 w 2389909"/>
                  <a:gd name="connsiteY12" fmla="*/ 1943966 h 3627294"/>
                  <a:gd name="connsiteX13" fmla="*/ 2119745 w 2389909"/>
                  <a:gd name="connsiteY13" fmla="*/ 3627294 h 3627294"/>
                  <a:gd name="connsiteX14" fmla="*/ 415636 w 2389909"/>
                  <a:gd name="connsiteY14" fmla="*/ 1341294 h 3627294"/>
                  <a:gd name="connsiteX15" fmla="*/ 0 w 2389909"/>
                  <a:gd name="connsiteY15" fmla="*/ 468457 h 3627294"/>
                  <a:gd name="connsiteX0" fmla="*/ 0 w 2389909"/>
                  <a:gd name="connsiteY0" fmla="*/ 468457 h 3627294"/>
                  <a:gd name="connsiteX1" fmla="*/ 223404 w 2389909"/>
                  <a:gd name="connsiteY1" fmla="*/ 134216 h 3627294"/>
                  <a:gd name="connsiteX2" fmla="*/ 329045 w 2389909"/>
                  <a:gd name="connsiteY2" fmla="*/ 510021 h 3627294"/>
                  <a:gd name="connsiteX3" fmla="*/ 1475509 w 2389909"/>
                  <a:gd name="connsiteY3" fmla="*/ 1299730 h 3627294"/>
                  <a:gd name="connsiteX4" fmla="*/ 1579418 w 2389909"/>
                  <a:gd name="connsiteY4" fmla="*/ 1715366 h 3627294"/>
                  <a:gd name="connsiteX5" fmla="*/ 1620982 w 2389909"/>
                  <a:gd name="connsiteY5" fmla="*/ 2318039 h 3627294"/>
                  <a:gd name="connsiteX6" fmla="*/ 1787236 w 2389909"/>
                  <a:gd name="connsiteY6" fmla="*/ 2380384 h 3627294"/>
                  <a:gd name="connsiteX7" fmla="*/ 1995054 w 2389909"/>
                  <a:gd name="connsiteY7" fmla="*/ 1549112 h 3627294"/>
                  <a:gd name="connsiteX8" fmla="*/ 1745672 w 2389909"/>
                  <a:gd name="connsiteY8" fmla="*/ 1195821 h 3627294"/>
                  <a:gd name="connsiteX9" fmla="*/ 2195079 w 2389909"/>
                  <a:gd name="connsiteY9" fmla="*/ 271030 h 3627294"/>
                  <a:gd name="connsiteX10" fmla="*/ 2215861 w 2389909"/>
                  <a:gd name="connsiteY10" fmla="*/ 0 h 3627294"/>
                  <a:gd name="connsiteX11" fmla="*/ 2389909 w 2389909"/>
                  <a:gd name="connsiteY11" fmla="*/ 198294 h 3627294"/>
                  <a:gd name="connsiteX12" fmla="*/ 2389909 w 2389909"/>
                  <a:gd name="connsiteY12" fmla="*/ 1943966 h 3627294"/>
                  <a:gd name="connsiteX13" fmla="*/ 2119745 w 2389909"/>
                  <a:gd name="connsiteY13" fmla="*/ 3627294 h 3627294"/>
                  <a:gd name="connsiteX14" fmla="*/ 415636 w 2389909"/>
                  <a:gd name="connsiteY14" fmla="*/ 1341294 h 3627294"/>
                  <a:gd name="connsiteX15" fmla="*/ 0 w 2389909"/>
                  <a:gd name="connsiteY15" fmla="*/ 468457 h 3627294"/>
                  <a:gd name="connsiteX0" fmla="*/ 0 w 2389909"/>
                  <a:gd name="connsiteY0" fmla="*/ 468457 h 3627294"/>
                  <a:gd name="connsiteX1" fmla="*/ 223404 w 2389909"/>
                  <a:gd name="connsiteY1" fmla="*/ 134216 h 3627294"/>
                  <a:gd name="connsiteX2" fmla="*/ 329045 w 2389909"/>
                  <a:gd name="connsiteY2" fmla="*/ 510021 h 3627294"/>
                  <a:gd name="connsiteX3" fmla="*/ 1475509 w 2389909"/>
                  <a:gd name="connsiteY3" fmla="*/ 1299730 h 3627294"/>
                  <a:gd name="connsiteX4" fmla="*/ 1579418 w 2389909"/>
                  <a:gd name="connsiteY4" fmla="*/ 1715366 h 3627294"/>
                  <a:gd name="connsiteX5" fmla="*/ 1620982 w 2389909"/>
                  <a:gd name="connsiteY5" fmla="*/ 2318039 h 3627294"/>
                  <a:gd name="connsiteX6" fmla="*/ 1787236 w 2389909"/>
                  <a:gd name="connsiteY6" fmla="*/ 2380384 h 3627294"/>
                  <a:gd name="connsiteX7" fmla="*/ 1995054 w 2389909"/>
                  <a:gd name="connsiteY7" fmla="*/ 1549112 h 3627294"/>
                  <a:gd name="connsiteX8" fmla="*/ 1745672 w 2389909"/>
                  <a:gd name="connsiteY8" fmla="*/ 1195821 h 3627294"/>
                  <a:gd name="connsiteX9" fmla="*/ 2195079 w 2389909"/>
                  <a:gd name="connsiteY9" fmla="*/ 271030 h 3627294"/>
                  <a:gd name="connsiteX10" fmla="*/ 2215861 w 2389909"/>
                  <a:gd name="connsiteY10" fmla="*/ 0 h 3627294"/>
                  <a:gd name="connsiteX11" fmla="*/ 2389909 w 2389909"/>
                  <a:gd name="connsiteY11" fmla="*/ 198294 h 3627294"/>
                  <a:gd name="connsiteX12" fmla="*/ 2389909 w 2389909"/>
                  <a:gd name="connsiteY12" fmla="*/ 1943966 h 3627294"/>
                  <a:gd name="connsiteX13" fmla="*/ 2119745 w 2389909"/>
                  <a:gd name="connsiteY13" fmla="*/ 3627294 h 3627294"/>
                  <a:gd name="connsiteX14" fmla="*/ 415636 w 2389909"/>
                  <a:gd name="connsiteY14" fmla="*/ 1341294 h 3627294"/>
                  <a:gd name="connsiteX15" fmla="*/ 0 w 2389909"/>
                  <a:gd name="connsiteY15" fmla="*/ 468457 h 3627294"/>
                  <a:gd name="connsiteX0" fmla="*/ 0 w 2389909"/>
                  <a:gd name="connsiteY0" fmla="*/ 468457 h 3627294"/>
                  <a:gd name="connsiteX1" fmla="*/ 223404 w 2389909"/>
                  <a:gd name="connsiteY1" fmla="*/ 134216 h 3627294"/>
                  <a:gd name="connsiteX2" fmla="*/ 329045 w 2389909"/>
                  <a:gd name="connsiteY2" fmla="*/ 510021 h 3627294"/>
                  <a:gd name="connsiteX3" fmla="*/ 1475509 w 2389909"/>
                  <a:gd name="connsiteY3" fmla="*/ 1299730 h 3627294"/>
                  <a:gd name="connsiteX4" fmla="*/ 1579418 w 2389909"/>
                  <a:gd name="connsiteY4" fmla="*/ 1715366 h 3627294"/>
                  <a:gd name="connsiteX5" fmla="*/ 1620982 w 2389909"/>
                  <a:gd name="connsiteY5" fmla="*/ 2318039 h 3627294"/>
                  <a:gd name="connsiteX6" fmla="*/ 1787236 w 2389909"/>
                  <a:gd name="connsiteY6" fmla="*/ 2380384 h 3627294"/>
                  <a:gd name="connsiteX7" fmla="*/ 1995054 w 2389909"/>
                  <a:gd name="connsiteY7" fmla="*/ 1549112 h 3627294"/>
                  <a:gd name="connsiteX8" fmla="*/ 1745672 w 2389909"/>
                  <a:gd name="connsiteY8" fmla="*/ 1195821 h 3627294"/>
                  <a:gd name="connsiteX9" fmla="*/ 2185554 w 2389909"/>
                  <a:gd name="connsiteY9" fmla="*/ 242455 h 3627294"/>
                  <a:gd name="connsiteX10" fmla="*/ 2215861 w 2389909"/>
                  <a:gd name="connsiteY10" fmla="*/ 0 h 3627294"/>
                  <a:gd name="connsiteX11" fmla="*/ 2389909 w 2389909"/>
                  <a:gd name="connsiteY11" fmla="*/ 198294 h 3627294"/>
                  <a:gd name="connsiteX12" fmla="*/ 2389909 w 2389909"/>
                  <a:gd name="connsiteY12" fmla="*/ 1943966 h 3627294"/>
                  <a:gd name="connsiteX13" fmla="*/ 2119745 w 2389909"/>
                  <a:gd name="connsiteY13" fmla="*/ 3627294 h 3627294"/>
                  <a:gd name="connsiteX14" fmla="*/ 415636 w 2389909"/>
                  <a:gd name="connsiteY14" fmla="*/ 1341294 h 3627294"/>
                  <a:gd name="connsiteX15" fmla="*/ 0 w 2389909"/>
                  <a:gd name="connsiteY15" fmla="*/ 468457 h 3627294"/>
                  <a:gd name="connsiteX0" fmla="*/ 0 w 2389909"/>
                  <a:gd name="connsiteY0" fmla="*/ 468457 h 3627294"/>
                  <a:gd name="connsiteX1" fmla="*/ 223404 w 2389909"/>
                  <a:gd name="connsiteY1" fmla="*/ 134216 h 3627294"/>
                  <a:gd name="connsiteX2" fmla="*/ 329045 w 2389909"/>
                  <a:gd name="connsiteY2" fmla="*/ 510021 h 3627294"/>
                  <a:gd name="connsiteX3" fmla="*/ 1475509 w 2389909"/>
                  <a:gd name="connsiteY3" fmla="*/ 1299730 h 3627294"/>
                  <a:gd name="connsiteX4" fmla="*/ 1579418 w 2389909"/>
                  <a:gd name="connsiteY4" fmla="*/ 1715366 h 3627294"/>
                  <a:gd name="connsiteX5" fmla="*/ 1620982 w 2389909"/>
                  <a:gd name="connsiteY5" fmla="*/ 2318039 h 3627294"/>
                  <a:gd name="connsiteX6" fmla="*/ 1787236 w 2389909"/>
                  <a:gd name="connsiteY6" fmla="*/ 2380384 h 3627294"/>
                  <a:gd name="connsiteX7" fmla="*/ 1995054 w 2389909"/>
                  <a:gd name="connsiteY7" fmla="*/ 1549112 h 3627294"/>
                  <a:gd name="connsiteX8" fmla="*/ 1745672 w 2389909"/>
                  <a:gd name="connsiteY8" fmla="*/ 1195821 h 3627294"/>
                  <a:gd name="connsiteX9" fmla="*/ 2185554 w 2389909"/>
                  <a:gd name="connsiteY9" fmla="*/ 242455 h 3627294"/>
                  <a:gd name="connsiteX10" fmla="*/ 2215861 w 2389909"/>
                  <a:gd name="connsiteY10" fmla="*/ 0 h 3627294"/>
                  <a:gd name="connsiteX11" fmla="*/ 2389909 w 2389909"/>
                  <a:gd name="connsiteY11" fmla="*/ 198294 h 3627294"/>
                  <a:gd name="connsiteX12" fmla="*/ 2389909 w 2389909"/>
                  <a:gd name="connsiteY12" fmla="*/ 1943966 h 3627294"/>
                  <a:gd name="connsiteX13" fmla="*/ 2119745 w 2389909"/>
                  <a:gd name="connsiteY13" fmla="*/ 3627294 h 3627294"/>
                  <a:gd name="connsiteX14" fmla="*/ 415636 w 2389909"/>
                  <a:gd name="connsiteY14" fmla="*/ 1341294 h 3627294"/>
                  <a:gd name="connsiteX15" fmla="*/ 0 w 2389909"/>
                  <a:gd name="connsiteY15" fmla="*/ 468457 h 3627294"/>
                  <a:gd name="connsiteX0" fmla="*/ 0 w 2389909"/>
                  <a:gd name="connsiteY0" fmla="*/ 468457 h 3627294"/>
                  <a:gd name="connsiteX1" fmla="*/ 223404 w 2389909"/>
                  <a:gd name="connsiteY1" fmla="*/ 134216 h 3627294"/>
                  <a:gd name="connsiteX2" fmla="*/ 329045 w 2389909"/>
                  <a:gd name="connsiteY2" fmla="*/ 510021 h 3627294"/>
                  <a:gd name="connsiteX3" fmla="*/ 1475509 w 2389909"/>
                  <a:gd name="connsiteY3" fmla="*/ 1299730 h 3627294"/>
                  <a:gd name="connsiteX4" fmla="*/ 1579418 w 2389909"/>
                  <a:gd name="connsiteY4" fmla="*/ 1715366 h 3627294"/>
                  <a:gd name="connsiteX5" fmla="*/ 1620982 w 2389909"/>
                  <a:gd name="connsiteY5" fmla="*/ 2318039 h 3627294"/>
                  <a:gd name="connsiteX6" fmla="*/ 1787236 w 2389909"/>
                  <a:gd name="connsiteY6" fmla="*/ 2380384 h 3627294"/>
                  <a:gd name="connsiteX7" fmla="*/ 1995054 w 2389909"/>
                  <a:gd name="connsiteY7" fmla="*/ 1549112 h 3627294"/>
                  <a:gd name="connsiteX8" fmla="*/ 1745672 w 2389909"/>
                  <a:gd name="connsiteY8" fmla="*/ 1195821 h 3627294"/>
                  <a:gd name="connsiteX9" fmla="*/ 2185554 w 2389909"/>
                  <a:gd name="connsiteY9" fmla="*/ 242455 h 3627294"/>
                  <a:gd name="connsiteX10" fmla="*/ 2215861 w 2389909"/>
                  <a:gd name="connsiteY10" fmla="*/ 0 h 3627294"/>
                  <a:gd name="connsiteX11" fmla="*/ 2361334 w 2389909"/>
                  <a:gd name="connsiteY11" fmla="*/ 169719 h 3627294"/>
                  <a:gd name="connsiteX12" fmla="*/ 2389909 w 2389909"/>
                  <a:gd name="connsiteY12" fmla="*/ 1943966 h 3627294"/>
                  <a:gd name="connsiteX13" fmla="*/ 2119745 w 2389909"/>
                  <a:gd name="connsiteY13" fmla="*/ 3627294 h 3627294"/>
                  <a:gd name="connsiteX14" fmla="*/ 415636 w 2389909"/>
                  <a:gd name="connsiteY14" fmla="*/ 1341294 h 3627294"/>
                  <a:gd name="connsiteX15" fmla="*/ 0 w 2389909"/>
                  <a:gd name="connsiteY15" fmla="*/ 468457 h 3627294"/>
                  <a:gd name="connsiteX0" fmla="*/ 0 w 2389909"/>
                  <a:gd name="connsiteY0" fmla="*/ 468457 h 3627294"/>
                  <a:gd name="connsiteX1" fmla="*/ 223404 w 2389909"/>
                  <a:gd name="connsiteY1" fmla="*/ 134216 h 3627294"/>
                  <a:gd name="connsiteX2" fmla="*/ 329045 w 2389909"/>
                  <a:gd name="connsiteY2" fmla="*/ 510021 h 3627294"/>
                  <a:gd name="connsiteX3" fmla="*/ 1475509 w 2389909"/>
                  <a:gd name="connsiteY3" fmla="*/ 1299730 h 3627294"/>
                  <a:gd name="connsiteX4" fmla="*/ 1579418 w 2389909"/>
                  <a:gd name="connsiteY4" fmla="*/ 1715366 h 3627294"/>
                  <a:gd name="connsiteX5" fmla="*/ 1620982 w 2389909"/>
                  <a:gd name="connsiteY5" fmla="*/ 2318039 h 3627294"/>
                  <a:gd name="connsiteX6" fmla="*/ 1787236 w 2389909"/>
                  <a:gd name="connsiteY6" fmla="*/ 2380384 h 3627294"/>
                  <a:gd name="connsiteX7" fmla="*/ 1995054 w 2389909"/>
                  <a:gd name="connsiteY7" fmla="*/ 1549112 h 3627294"/>
                  <a:gd name="connsiteX8" fmla="*/ 1745672 w 2389909"/>
                  <a:gd name="connsiteY8" fmla="*/ 1195821 h 3627294"/>
                  <a:gd name="connsiteX9" fmla="*/ 2185554 w 2389909"/>
                  <a:gd name="connsiteY9" fmla="*/ 242455 h 3627294"/>
                  <a:gd name="connsiteX10" fmla="*/ 2215861 w 2389909"/>
                  <a:gd name="connsiteY10" fmla="*/ 0 h 3627294"/>
                  <a:gd name="connsiteX11" fmla="*/ 2361334 w 2389909"/>
                  <a:gd name="connsiteY11" fmla="*/ 169719 h 3627294"/>
                  <a:gd name="connsiteX12" fmla="*/ 2389909 w 2389909"/>
                  <a:gd name="connsiteY12" fmla="*/ 1943966 h 3627294"/>
                  <a:gd name="connsiteX13" fmla="*/ 2119745 w 2389909"/>
                  <a:gd name="connsiteY13" fmla="*/ 3627294 h 3627294"/>
                  <a:gd name="connsiteX14" fmla="*/ 415636 w 2389909"/>
                  <a:gd name="connsiteY14" fmla="*/ 1341294 h 3627294"/>
                  <a:gd name="connsiteX15" fmla="*/ 0 w 2389909"/>
                  <a:gd name="connsiteY15" fmla="*/ 468457 h 3627294"/>
                  <a:gd name="connsiteX0" fmla="*/ 0 w 2389909"/>
                  <a:gd name="connsiteY0" fmla="*/ 468457 h 3627294"/>
                  <a:gd name="connsiteX1" fmla="*/ 223404 w 2389909"/>
                  <a:gd name="connsiteY1" fmla="*/ 134216 h 3627294"/>
                  <a:gd name="connsiteX2" fmla="*/ 329045 w 2389909"/>
                  <a:gd name="connsiteY2" fmla="*/ 510021 h 3627294"/>
                  <a:gd name="connsiteX3" fmla="*/ 1475509 w 2389909"/>
                  <a:gd name="connsiteY3" fmla="*/ 1299730 h 3627294"/>
                  <a:gd name="connsiteX4" fmla="*/ 1579418 w 2389909"/>
                  <a:gd name="connsiteY4" fmla="*/ 1715366 h 3627294"/>
                  <a:gd name="connsiteX5" fmla="*/ 1620982 w 2389909"/>
                  <a:gd name="connsiteY5" fmla="*/ 2318039 h 3627294"/>
                  <a:gd name="connsiteX6" fmla="*/ 1787236 w 2389909"/>
                  <a:gd name="connsiteY6" fmla="*/ 2380384 h 3627294"/>
                  <a:gd name="connsiteX7" fmla="*/ 1995054 w 2389909"/>
                  <a:gd name="connsiteY7" fmla="*/ 1549112 h 3627294"/>
                  <a:gd name="connsiteX8" fmla="*/ 1745672 w 2389909"/>
                  <a:gd name="connsiteY8" fmla="*/ 1195821 h 3627294"/>
                  <a:gd name="connsiteX9" fmla="*/ 2185554 w 2389909"/>
                  <a:gd name="connsiteY9" fmla="*/ 242455 h 3627294"/>
                  <a:gd name="connsiteX10" fmla="*/ 2215861 w 2389909"/>
                  <a:gd name="connsiteY10" fmla="*/ 0 h 3627294"/>
                  <a:gd name="connsiteX11" fmla="*/ 2361334 w 2389909"/>
                  <a:gd name="connsiteY11" fmla="*/ 169719 h 3627294"/>
                  <a:gd name="connsiteX12" fmla="*/ 2389909 w 2389909"/>
                  <a:gd name="connsiteY12" fmla="*/ 1943966 h 3627294"/>
                  <a:gd name="connsiteX13" fmla="*/ 2119745 w 2389909"/>
                  <a:gd name="connsiteY13" fmla="*/ 3627294 h 3627294"/>
                  <a:gd name="connsiteX14" fmla="*/ 415636 w 2389909"/>
                  <a:gd name="connsiteY14" fmla="*/ 1341294 h 3627294"/>
                  <a:gd name="connsiteX15" fmla="*/ 0 w 2389909"/>
                  <a:gd name="connsiteY15" fmla="*/ 468457 h 3627294"/>
                  <a:gd name="connsiteX0" fmla="*/ 0 w 2437534"/>
                  <a:gd name="connsiteY0" fmla="*/ 468457 h 3627294"/>
                  <a:gd name="connsiteX1" fmla="*/ 223404 w 2437534"/>
                  <a:gd name="connsiteY1" fmla="*/ 134216 h 3627294"/>
                  <a:gd name="connsiteX2" fmla="*/ 329045 w 2437534"/>
                  <a:gd name="connsiteY2" fmla="*/ 510021 h 3627294"/>
                  <a:gd name="connsiteX3" fmla="*/ 1475509 w 2437534"/>
                  <a:gd name="connsiteY3" fmla="*/ 1299730 h 3627294"/>
                  <a:gd name="connsiteX4" fmla="*/ 1579418 w 2437534"/>
                  <a:gd name="connsiteY4" fmla="*/ 1715366 h 3627294"/>
                  <a:gd name="connsiteX5" fmla="*/ 1620982 w 2437534"/>
                  <a:gd name="connsiteY5" fmla="*/ 2318039 h 3627294"/>
                  <a:gd name="connsiteX6" fmla="*/ 1787236 w 2437534"/>
                  <a:gd name="connsiteY6" fmla="*/ 2380384 h 3627294"/>
                  <a:gd name="connsiteX7" fmla="*/ 1995054 w 2437534"/>
                  <a:gd name="connsiteY7" fmla="*/ 1549112 h 3627294"/>
                  <a:gd name="connsiteX8" fmla="*/ 1745672 w 2437534"/>
                  <a:gd name="connsiteY8" fmla="*/ 1195821 h 3627294"/>
                  <a:gd name="connsiteX9" fmla="*/ 2185554 w 2437534"/>
                  <a:gd name="connsiteY9" fmla="*/ 242455 h 3627294"/>
                  <a:gd name="connsiteX10" fmla="*/ 2215861 w 2437534"/>
                  <a:gd name="connsiteY10" fmla="*/ 0 h 3627294"/>
                  <a:gd name="connsiteX11" fmla="*/ 2361334 w 2437534"/>
                  <a:gd name="connsiteY11" fmla="*/ 169719 h 3627294"/>
                  <a:gd name="connsiteX12" fmla="*/ 2389909 w 2437534"/>
                  <a:gd name="connsiteY12" fmla="*/ 1943966 h 3627294"/>
                  <a:gd name="connsiteX13" fmla="*/ 2119745 w 2437534"/>
                  <a:gd name="connsiteY13" fmla="*/ 3627294 h 3627294"/>
                  <a:gd name="connsiteX14" fmla="*/ 415636 w 2437534"/>
                  <a:gd name="connsiteY14" fmla="*/ 1341294 h 3627294"/>
                  <a:gd name="connsiteX15" fmla="*/ 0 w 2437534"/>
                  <a:gd name="connsiteY15" fmla="*/ 468457 h 3627294"/>
                  <a:gd name="connsiteX0" fmla="*/ 0 w 2437534"/>
                  <a:gd name="connsiteY0" fmla="*/ 468457 h 3627294"/>
                  <a:gd name="connsiteX1" fmla="*/ 223404 w 2437534"/>
                  <a:gd name="connsiteY1" fmla="*/ 134216 h 3627294"/>
                  <a:gd name="connsiteX2" fmla="*/ 329045 w 2437534"/>
                  <a:gd name="connsiteY2" fmla="*/ 510021 h 3627294"/>
                  <a:gd name="connsiteX3" fmla="*/ 1475509 w 2437534"/>
                  <a:gd name="connsiteY3" fmla="*/ 1299730 h 3627294"/>
                  <a:gd name="connsiteX4" fmla="*/ 1579418 w 2437534"/>
                  <a:gd name="connsiteY4" fmla="*/ 1715366 h 3627294"/>
                  <a:gd name="connsiteX5" fmla="*/ 1620982 w 2437534"/>
                  <a:gd name="connsiteY5" fmla="*/ 2318039 h 3627294"/>
                  <a:gd name="connsiteX6" fmla="*/ 1787236 w 2437534"/>
                  <a:gd name="connsiteY6" fmla="*/ 2380384 h 3627294"/>
                  <a:gd name="connsiteX7" fmla="*/ 1995054 w 2437534"/>
                  <a:gd name="connsiteY7" fmla="*/ 1549112 h 3627294"/>
                  <a:gd name="connsiteX8" fmla="*/ 1745672 w 2437534"/>
                  <a:gd name="connsiteY8" fmla="*/ 1195821 h 3627294"/>
                  <a:gd name="connsiteX9" fmla="*/ 2185554 w 2437534"/>
                  <a:gd name="connsiteY9" fmla="*/ 242455 h 3627294"/>
                  <a:gd name="connsiteX10" fmla="*/ 2215861 w 2437534"/>
                  <a:gd name="connsiteY10" fmla="*/ 0 h 3627294"/>
                  <a:gd name="connsiteX11" fmla="*/ 2361334 w 2437534"/>
                  <a:gd name="connsiteY11" fmla="*/ 169719 h 3627294"/>
                  <a:gd name="connsiteX12" fmla="*/ 2389909 w 2437534"/>
                  <a:gd name="connsiteY12" fmla="*/ 1943966 h 3627294"/>
                  <a:gd name="connsiteX13" fmla="*/ 2119745 w 2437534"/>
                  <a:gd name="connsiteY13" fmla="*/ 3627294 h 3627294"/>
                  <a:gd name="connsiteX14" fmla="*/ 415636 w 2437534"/>
                  <a:gd name="connsiteY14" fmla="*/ 1341294 h 3627294"/>
                  <a:gd name="connsiteX15" fmla="*/ 0 w 2437534"/>
                  <a:gd name="connsiteY15" fmla="*/ 468457 h 3627294"/>
                  <a:gd name="connsiteX0" fmla="*/ 0 w 2437534"/>
                  <a:gd name="connsiteY0" fmla="*/ 468457 h 3627294"/>
                  <a:gd name="connsiteX1" fmla="*/ 223404 w 2437534"/>
                  <a:gd name="connsiteY1" fmla="*/ 134216 h 3627294"/>
                  <a:gd name="connsiteX2" fmla="*/ 329045 w 2437534"/>
                  <a:gd name="connsiteY2" fmla="*/ 510021 h 3627294"/>
                  <a:gd name="connsiteX3" fmla="*/ 1475509 w 2437534"/>
                  <a:gd name="connsiteY3" fmla="*/ 1299730 h 3627294"/>
                  <a:gd name="connsiteX4" fmla="*/ 1579418 w 2437534"/>
                  <a:gd name="connsiteY4" fmla="*/ 1715366 h 3627294"/>
                  <a:gd name="connsiteX5" fmla="*/ 1620982 w 2437534"/>
                  <a:gd name="connsiteY5" fmla="*/ 2318039 h 3627294"/>
                  <a:gd name="connsiteX6" fmla="*/ 1787236 w 2437534"/>
                  <a:gd name="connsiteY6" fmla="*/ 2380384 h 3627294"/>
                  <a:gd name="connsiteX7" fmla="*/ 1995054 w 2437534"/>
                  <a:gd name="connsiteY7" fmla="*/ 1549112 h 3627294"/>
                  <a:gd name="connsiteX8" fmla="*/ 1745672 w 2437534"/>
                  <a:gd name="connsiteY8" fmla="*/ 1195821 h 3627294"/>
                  <a:gd name="connsiteX9" fmla="*/ 2185554 w 2437534"/>
                  <a:gd name="connsiteY9" fmla="*/ 242455 h 3627294"/>
                  <a:gd name="connsiteX10" fmla="*/ 2215861 w 2437534"/>
                  <a:gd name="connsiteY10" fmla="*/ 0 h 3627294"/>
                  <a:gd name="connsiteX11" fmla="*/ 2361334 w 2437534"/>
                  <a:gd name="connsiteY11" fmla="*/ 169719 h 3627294"/>
                  <a:gd name="connsiteX12" fmla="*/ 2389909 w 2437534"/>
                  <a:gd name="connsiteY12" fmla="*/ 1943966 h 3627294"/>
                  <a:gd name="connsiteX13" fmla="*/ 2119745 w 2437534"/>
                  <a:gd name="connsiteY13" fmla="*/ 3627294 h 3627294"/>
                  <a:gd name="connsiteX14" fmla="*/ 415636 w 2437534"/>
                  <a:gd name="connsiteY14" fmla="*/ 1341294 h 3627294"/>
                  <a:gd name="connsiteX15" fmla="*/ 0 w 2437534"/>
                  <a:gd name="connsiteY15" fmla="*/ 468457 h 3627294"/>
                  <a:gd name="connsiteX0" fmla="*/ 0 w 2437534"/>
                  <a:gd name="connsiteY0" fmla="*/ 468457 h 3627294"/>
                  <a:gd name="connsiteX1" fmla="*/ 223404 w 2437534"/>
                  <a:gd name="connsiteY1" fmla="*/ 134216 h 3627294"/>
                  <a:gd name="connsiteX2" fmla="*/ 329045 w 2437534"/>
                  <a:gd name="connsiteY2" fmla="*/ 510021 h 3627294"/>
                  <a:gd name="connsiteX3" fmla="*/ 1475509 w 2437534"/>
                  <a:gd name="connsiteY3" fmla="*/ 1299730 h 3627294"/>
                  <a:gd name="connsiteX4" fmla="*/ 1579418 w 2437534"/>
                  <a:gd name="connsiteY4" fmla="*/ 1715366 h 3627294"/>
                  <a:gd name="connsiteX5" fmla="*/ 1620982 w 2437534"/>
                  <a:gd name="connsiteY5" fmla="*/ 2318039 h 3627294"/>
                  <a:gd name="connsiteX6" fmla="*/ 1787236 w 2437534"/>
                  <a:gd name="connsiteY6" fmla="*/ 2380384 h 3627294"/>
                  <a:gd name="connsiteX7" fmla="*/ 1995054 w 2437534"/>
                  <a:gd name="connsiteY7" fmla="*/ 1549112 h 3627294"/>
                  <a:gd name="connsiteX8" fmla="*/ 1745672 w 2437534"/>
                  <a:gd name="connsiteY8" fmla="*/ 1195821 h 3627294"/>
                  <a:gd name="connsiteX9" fmla="*/ 2185554 w 2437534"/>
                  <a:gd name="connsiteY9" fmla="*/ 242455 h 3627294"/>
                  <a:gd name="connsiteX10" fmla="*/ 2215861 w 2437534"/>
                  <a:gd name="connsiteY10" fmla="*/ 0 h 3627294"/>
                  <a:gd name="connsiteX11" fmla="*/ 2380384 w 2437534"/>
                  <a:gd name="connsiteY11" fmla="*/ 245919 h 3627294"/>
                  <a:gd name="connsiteX12" fmla="*/ 2389909 w 2437534"/>
                  <a:gd name="connsiteY12" fmla="*/ 1943966 h 3627294"/>
                  <a:gd name="connsiteX13" fmla="*/ 2119745 w 2437534"/>
                  <a:gd name="connsiteY13" fmla="*/ 3627294 h 3627294"/>
                  <a:gd name="connsiteX14" fmla="*/ 415636 w 2437534"/>
                  <a:gd name="connsiteY14" fmla="*/ 1341294 h 3627294"/>
                  <a:gd name="connsiteX15" fmla="*/ 0 w 2437534"/>
                  <a:gd name="connsiteY15" fmla="*/ 468457 h 3627294"/>
                  <a:gd name="connsiteX0" fmla="*/ 0 w 2447059"/>
                  <a:gd name="connsiteY0" fmla="*/ 468457 h 3627294"/>
                  <a:gd name="connsiteX1" fmla="*/ 223404 w 2447059"/>
                  <a:gd name="connsiteY1" fmla="*/ 134216 h 3627294"/>
                  <a:gd name="connsiteX2" fmla="*/ 329045 w 2447059"/>
                  <a:gd name="connsiteY2" fmla="*/ 510021 h 3627294"/>
                  <a:gd name="connsiteX3" fmla="*/ 1475509 w 2447059"/>
                  <a:gd name="connsiteY3" fmla="*/ 1299730 h 3627294"/>
                  <a:gd name="connsiteX4" fmla="*/ 1579418 w 2447059"/>
                  <a:gd name="connsiteY4" fmla="*/ 1715366 h 3627294"/>
                  <a:gd name="connsiteX5" fmla="*/ 1620982 w 2447059"/>
                  <a:gd name="connsiteY5" fmla="*/ 2318039 h 3627294"/>
                  <a:gd name="connsiteX6" fmla="*/ 1787236 w 2447059"/>
                  <a:gd name="connsiteY6" fmla="*/ 2380384 h 3627294"/>
                  <a:gd name="connsiteX7" fmla="*/ 1995054 w 2447059"/>
                  <a:gd name="connsiteY7" fmla="*/ 1549112 h 3627294"/>
                  <a:gd name="connsiteX8" fmla="*/ 1745672 w 2447059"/>
                  <a:gd name="connsiteY8" fmla="*/ 1195821 h 3627294"/>
                  <a:gd name="connsiteX9" fmla="*/ 2185554 w 2447059"/>
                  <a:gd name="connsiteY9" fmla="*/ 242455 h 3627294"/>
                  <a:gd name="connsiteX10" fmla="*/ 2215861 w 2447059"/>
                  <a:gd name="connsiteY10" fmla="*/ 0 h 3627294"/>
                  <a:gd name="connsiteX11" fmla="*/ 2389909 w 2447059"/>
                  <a:gd name="connsiteY11" fmla="*/ 169719 h 3627294"/>
                  <a:gd name="connsiteX12" fmla="*/ 2389909 w 2447059"/>
                  <a:gd name="connsiteY12" fmla="*/ 1943966 h 3627294"/>
                  <a:gd name="connsiteX13" fmla="*/ 2119745 w 2447059"/>
                  <a:gd name="connsiteY13" fmla="*/ 3627294 h 3627294"/>
                  <a:gd name="connsiteX14" fmla="*/ 415636 w 2447059"/>
                  <a:gd name="connsiteY14" fmla="*/ 1341294 h 3627294"/>
                  <a:gd name="connsiteX15" fmla="*/ 0 w 2447059"/>
                  <a:gd name="connsiteY15" fmla="*/ 468457 h 3627294"/>
                  <a:gd name="connsiteX0" fmla="*/ 0 w 2447059"/>
                  <a:gd name="connsiteY0" fmla="*/ 477982 h 3636819"/>
                  <a:gd name="connsiteX1" fmla="*/ 223404 w 2447059"/>
                  <a:gd name="connsiteY1" fmla="*/ 143741 h 3636819"/>
                  <a:gd name="connsiteX2" fmla="*/ 329045 w 2447059"/>
                  <a:gd name="connsiteY2" fmla="*/ 519546 h 3636819"/>
                  <a:gd name="connsiteX3" fmla="*/ 1475509 w 2447059"/>
                  <a:gd name="connsiteY3" fmla="*/ 1309255 h 3636819"/>
                  <a:gd name="connsiteX4" fmla="*/ 1579418 w 2447059"/>
                  <a:gd name="connsiteY4" fmla="*/ 1724891 h 3636819"/>
                  <a:gd name="connsiteX5" fmla="*/ 1620982 w 2447059"/>
                  <a:gd name="connsiteY5" fmla="*/ 2327564 h 3636819"/>
                  <a:gd name="connsiteX6" fmla="*/ 1787236 w 2447059"/>
                  <a:gd name="connsiteY6" fmla="*/ 2389909 h 3636819"/>
                  <a:gd name="connsiteX7" fmla="*/ 1995054 w 2447059"/>
                  <a:gd name="connsiteY7" fmla="*/ 1558637 h 3636819"/>
                  <a:gd name="connsiteX8" fmla="*/ 1745672 w 2447059"/>
                  <a:gd name="connsiteY8" fmla="*/ 1205346 h 3636819"/>
                  <a:gd name="connsiteX9" fmla="*/ 2185554 w 2447059"/>
                  <a:gd name="connsiteY9" fmla="*/ 251980 h 3636819"/>
                  <a:gd name="connsiteX10" fmla="*/ 2187286 w 2447059"/>
                  <a:gd name="connsiteY10" fmla="*/ 0 h 3636819"/>
                  <a:gd name="connsiteX11" fmla="*/ 2389909 w 2447059"/>
                  <a:gd name="connsiteY11" fmla="*/ 179244 h 3636819"/>
                  <a:gd name="connsiteX12" fmla="*/ 2389909 w 2447059"/>
                  <a:gd name="connsiteY12" fmla="*/ 1953491 h 3636819"/>
                  <a:gd name="connsiteX13" fmla="*/ 2119745 w 2447059"/>
                  <a:gd name="connsiteY13" fmla="*/ 3636819 h 3636819"/>
                  <a:gd name="connsiteX14" fmla="*/ 415636 w 2447059"/>
                  <a:gd name="connsiteY14" fmla="*/ 1350819 h 3636819"/>
                  <a:gd name="connsiteX15" fmla="*/ 0 w 2447059"/>
                  <a:gd name="connsiteY15" fmla="*/ 477982 h 3636819"/>
                  <a:gd name="connsiteX0" fmla="*/ 0 w 2447059"/>
                  <a:gd name="connsiteY0" fmla="*/ 477982 h 3636819"/>
                  <a:gd name="connsiteX1" fmla="*/ 297034 w 2447059"/>
                  <a:gd name="connsiteY1" fmla="*/ 133418 h 3636819"/>
                  <a:gd name="connsiteX2" fmla="*/ 329045 w 2447059"/>
                  <a:gd name="connsiteY2" fmla="*/ 519546 h 3636819"/>
                  <a:gd name="connsiteX3" fmla="*/ 1475509 w 2447059"/>
                  <a:gd name="connsiteY3" fmla="*/ 1309255 h 3636819"/>
                  <a:gd name="connsiteX4" fmla="*/ 1579418 w 2447059"/>
                  <a:gd name="connsiteY4" fmla="*/ 1724891 h 3636819"/>
                  <a:gd name="connsiteX5" fmla="*/ 1620982 w 2447059"/>
                  <a:gd name="connsiteY5" fmla="*/ 2327564 h 3636819"/>
                  <a:gd name="connsiteX6" fmla="*/ 1787236 w 2447059"/>
                  <a:gd name="connsiteY6" fmla="*/ 2389909 h 3636819"/>
                  <a:gd name="connsiteX7" fmla="*/ 1995054 w 2447059"/>
                  <a:gd name="connsiteY7" fmla="*/ 1558637 h 3636819"/>
                  <a:gd name="connsiteX8" fmla="*/ 1745672 w 2447059"/>
                  <a:gd name="connsiteY8" fmla="*/ 1205346 h 3636819"/>
                  <a:gd name="connsiteX9" fmla="*/ 2185554 w 2447059"/>
                  <a:gd name="connsiteY9" fmla="*/ 251980 h 3636819"/>
                  <a:gd name="connsiteX10" fmla="*/ 2187286 w 2447059"/>
                  <a:gd name="connsiteY10" fmla="*/ 0 h 3636819"/>
                  <a:gd name="connsiteX11" fmla="*/ 2389909 w 2447059"/>
                  <a:gd name="connsiteY11" fmla="*/ 179244 h 3636819"/>
                  <a:gd name="connsiteX12" fmla="*/ 2389909 w 2447059"/>
                  <a:gd name="connsiteY12" fmla="*/ 1953491 h 3636819"/>
                  <a:gd name="connsiteX13" fmla="*/ 2119745 w 2447059"/>
                  <a:gd name="connsiteY13" fmla="*/ 3636819 h 3636819"/>
                  <a:gd name="connsiteX14" fmla="*/ 415636 w 2447059"/>
                  <a:gd name="connsiteY14" fmla="*/ 1350819 h 3636819"/>
                  <a:gd name="connsiteX15" fmla="*/ 0 w 2447059"/>
                  <a:gd name="connsiteY15" fmla="*/ 477982 h 3636819"/>
                  <a:gd name="connsiteX0" fmla="*/ 0 w 2447059"/>
                  <a:gd name="connsiteY0" fmla="*/ 477982 h 3636819"/>
                  <a:gd name="connsiteX1" fmla="*/ 297034 w 2447059"/>
                  <a:gd name="connsiteY1" fmla="*/ 133418 h 3636819"/>
                  <a:gd name="connsiteX2" fmla="*/ 430692 w 2447059"/>
                  <a:gd name="connsiteY2" fmla="*/ 530030 h 3636819"/>
                  <a:gd name="connsiteX3" fmla="*/ 1475509 w 2447059"/>
                  <a:gd name="connsiteY3" fmla="*/ 1309255 h 3636819"/>
                  <a:gd name="connsiteX4" fmla="*/ 1579418 w 2447059"/>
                  <a:gd name="connsiteY4" fmla="*/ 1724891 h 3636819"/>
                  <a:gd name="connsiteX5" fmla="*/ 1620982 w 2447059"/>
                  <a:gd name="connsiteY5" fmla="*/ 2327564 h 3636819"/>
                  <a:gd name="connsiteX6" fmla="*/ 1787236 w 2447059"/>
                  <a:gd name="connsiteY6" fmla="*/ 2389909 h 3636819"/>
                  <a:gd name="connsiteX7" fmla="*/ 1995054 w 2447059"/>
                  <a:gd name="connsiteY7" fmla="*/ 1558637 h 3636819"/>
                  <a:gd name="connsiteX8" fmla="*/ 1745672 w 2447059"/>
                  <a:gd name="connsiteY8" fmla="*/ 1205346 h 3636819"/>
                  <a:gd name="connsiteX9" fmla="*/ 2185554 w 2447059"/>
                  <a:gd name="connsiteY9" fmla="*/ 251980 h 3636819"/>
                  <a:gd name="connsiteX10" fmla="*/ 2187286 w 2447059"/>
                  <a:gd name="connsiteY10" fmla="*/ 0 h 3636819"/>
                  <a:gd name="connsiteX11" fmla="*/ 2389909 w 2447059"/>
                  <a:gd name="connsiteY11" fmla="*/ 179244 h 3636819"/>
                  <a:gd name="connsiteX12" fmla="*/ 2389909 w 2447059"/>
                  <a:gd name="connsiteY12" fmla="*/ 1953491 h 3636819"/>
                  <a:gd name="connsiteX13" fmla="*/ 2119745 w 2447059"/>
                  <a:gd name="connsiteY13" fmla="*/ 3636819 h 3636819"/>
                  <a:gd name="connsiteX14" fmla="*/ 415636 w 2447059"/>
                  <a:gd name="connsiteY14" fmla="*/ 1350819 h 3636819"/>
                  <a:gd name="connsiteX15" fmla="*/ 0 w 2447059"/>
                  <a:gd name="connsiteY15" fmla="*/ 477982 h 3636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47059" h="3636819">
                    <a:moveTo>
                      <a:pt x="0" y="477982"/>
                    </a:moveTo>
                    <a:cubicBezTo>
                      <a:pt x="61768" y="366568"/>
                      <a:pt x="206691" y="149582"/>
                      <a:pt x="297034" y="133418"/>
                    </a:cubicBezTo>
                    <a:cubicBezTo>
                      <a:pt x="300498" y="265036"/>
                      <a:pt x="322453" y="388887"/>
                      <a:pt x="430692" y="530030"/>
                    </a:cubicBezTo>
                    <a:lnTo>
                      <a:pt x="1475509" y="1309255"/>
                    </a:lnTo>
                    <a:lnTo>
                      <a:pt x="1579418" y="1724891"/>
                    </a:lnTo>
                    <a:lnTo>
                      <a:pt x="1620982" y="2327564"/>
                    </a:lnTo>
                    <a:lnTo>
                      <a:pt x="1787236" y="2389909"/>
                    </a:lnTo>
                    <a:lnTo>
                      <a:pt x="1995054" y="1558637"/>
                    </a:lnTo>
                    <a:lnTo>
                      <a:pt x="1745672" y="1205346"/>
                    </a:lnTo>
                    <a:lnTo>
                      <a:pt x="2185554" y="251980"/>
                    </a:lnTo>
                    <a:cubicBezTo>
                      <a:pt x="2211531" y="104487"/>
                      <a:pt x="2180359" y="90343"/>
                      <a:pt x="2187286" y="0"/>
                    </a:cubicBezTo>
                    <a:cubicBezTo>
                      <a:pt x="2245302" y="66098"/>
                      <a:pt x="2331893" y="36946"/>
                      <a:pt x="2389909" y="179244"/>
                    </a:cubicBezTo>
                    <a:cubicBezTo>
                      <a:pt x="2447059" y="770660"/>
                      <a:pt x="2437534" y="1247775"/>
                      <a:pt x="2389909" y="1953491"/>
                    </a:cubicBezTo>
                    <a:cubicBezTo>
                      <a:pt x="2357004" y="2581275"/>
                      <a:pt x="2209800" y="3075710"/>
                      <a:pt x="2119745" y="3636819"/>
                    </a:cubicBezTo>
                    <a:lnTo>
                      <a:pt x="415636" y="1350819"/>
                    </a:lnTo>
                    <a:cubicBezTo>
                      <a:pt x="134216" y="964623"/>
                      <a:pt x="62345" y="749878"/>
                      <a:pt x="0" y="47798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77" name="Freeform 288">
                <a:extLst>
                  <a:ext uri="{FF2B5EF4-FFF2-40B4-BE49-F238E27FC236}">
                    <a16:creationId xmlns:a16="http://schemas.microsoft.com/office/drawing/2014/main" id="{580A904B-4D5D-4C94-8C11-30316C75BE4A}"/>
                  </a:ext>
                </a:extLst>
              </p:cNvPr>
              <p:cNvSpPr/>
              <p:nvPr/>
            </p:nvSpPr>
            <p:spPr>
              <a:xfrm rot="21114987" flipH="1">
                <a:off x="6662885" y="3430272"/>
                <a:ext cx="151434" cy="111293"/>
              </a:xfrm>
              <a:custGeom>
                <a:avLst/>
                <a:gdLst>
                  <a:gd name="connsiteX0" fmla="*/ 0 w 1253371"/>
                  <a:gd name="connsiteY0" fmla="*/ 0 h 748146"/>
                  <a:gd name="connsiteX1" fmla="*/ 311727 w 1253371"/>
                  <a:gd name="connsiteY1" fmla="*/ 623455 h 748146"/>
                  <a:gd name="connsiteX2" fmla="*/ 1246909 w 1253371"/>
                  <a:gd name="connsiteY2" fmla="*/ 270164 h 748146"/>
                  <a:gd name="connsiteX3" fmla="*/ 1226127 w 1253371"/>
                  <a:gd name="connsiteY3" fmla="*/ 270164 h 748146"/>
                  <a:gd name="connsiteX4" fmla="*/ 1226127 w 1253371"/>
                  <a:gd name="connsiteY4" fmla="*/ 457200 h 748146"/>
                  <a:gd name="connsiteX5" fmla="*/ 187036 w 1253371"/>
                  <a:gd name="connsiteY5" fmla="*/ 748146 h 748146"/>
                  <a:gd name="connsiteX6" fmla="*/ 0 w 1253371"/>
                  <a:gd name="connsiteY6" fmla="*/ 0 h 748146"/>
                  <a:gd name="connsiteX0" fmla="*/ 0 w 1253371"/>
                  <a:gd name="connsiteY0" fmla="*/ 0 h 748146"/>
                  <a:gd name="connsiteX1" fmla="*/ 311727 w 1253371"/>
                  <a:gd name="connsiteY1" fmla="*/ 623455 h 748146"/>
                  <a:gd name="connsiteX2" fmla="*/ 1246909 w 1253371"/>
                  <a:gd name="connsiteY2" fmla="*/ 270164 h 748146"/>
                  <a:gd name="connsiteX3" fmla="*/ 1226127 w 1253371"/>
                  <a:gd name="connsiteY3" fmla="*/ 270164 h 748146"/>
                  <a:gd name="connsiteX4" fmla="*/ 1226127 w 1253371"/>
                  <a:gd name="connsiteY4" fmla="*/ 457200 h 748146"/>
                  <a:gd name="connsiteX5" fmla="*/ 187036 w 1253371"/>
                  <a:gd name="connsiteY5" fmla="*/ 748146 h 748146"/>
                  <a:gd name="connsiteX6" fmla="*/ 0 w 1253371"/>
                  <a:gd name="connsiteY6" fmla="*/ 0 h 748146"/>
                  <a:gd name="connsiteX0" fmla="*/ 0 w 1253371"/>
                  <a:gd name="connsiteY0" fmla="*/ 0 h 748146"/>
                  <a:gd name="connsiteX1" fmla="*/ 311727 w 1253371"/>
                  <a:gd name="connsiteY1" fmla="*/ 623455 h 748146"/>
                  <a:gd name="connsiteX2" fmla="*/ 1246909 w 1253371"/>
                  <a:gd name="connsiteY2" fmla="*/ 270164 h 748146"/>
                  <a:gd name="connsiteX3" fmla="*/ 1226127 w 1253371"/>
                  <a:gd name="connsiteY3" fmla="*/ 270164 h 748146"/>
                  <a:gd name="connsiteX4" fmla="*/ 1226127 w 1253371"/>
                  <a:gd name="connsiteY4" fmla="*/ 457200 h 748146"/>
                  <a:gd name="connsiteX5" fmla="*/ 187036 w 1253371"/>
                  <a:gd name="connsiteY5" fmla="*/ 748146 h 748146"/>
                  <a:gd name="connsiteX6" fmla="*/ 0 w 1253371"/>
                  <a:gd name="connsiteY6" fmla="*/ 0 h 748146"/>
                  <a:gd name="connsiteX0" fmla="*/ 0 w 1253371"/>
                  <a:gd name="connsiteY0" fmla="*/ 0 h 795771"/>
                  <a:gd name="connsiteX1" fmla="*/ 311727 w 1253371"/>
                  <a:gd name="connsiteY1" fmla="*/ 623455 h 795771"/>
                  <a:gd name="connsiteX2" fmla="*/ 1246909 w 1253371"/>
                  <a:gd name="connsiteY2" fmla="*/ 270164 h 795771"/>
                  <a:gd name="connsiteX3" fmla="*/ 1226127 w 1253371"/>
                  <a:gd name="connsiteY3" fmla="*/ 270164 h 795771"/>
                  <a:gd name="connsiteX4" fmla="*/ 1226127 w 1253371"/>
                  <a:gd name="connsiteY4" fmla="*/ 457200 h 795771"/>
                  <a:gd name="connsiteX5" fmla="*/ 187036 w 1253371"/>
                  <a:gd name="connsiteY5" fmla="*/ 795771 h 795771"/>
                  <a:gd name="connsiteX6" fmla="*/ 0 w 1253371"/>
                  <a:gd name="connsiteY6" fmla="*/ 0 h 795771"/>
                  <a:gd name="connsiteX0" fmla="*/ 0 w 1253371"/>
                  <a:gd name="connsiteY0" fmla="*/ 0 h 795771"/>
                  <a:gd name="connsiteX1" fmla="*/ 311727 w 1253371"/>
                  <a:gd name="connsiteY1" fmla="*/ 623455 h 795771"/>
                  <a:gd name="connsiteX2" fmla="*/ 1246909 w 1253371"/>
                  <a:gd name="connsiteY2" fmla="*/ 270164 h 795771"/>
                  <a:gd name="connsiteX3" fmla="*/ 1226127 w 1253371"/>
                  <a:gd name="connsiteY3" fmla="*/ 270164 h 795771"/>
                  <a:gd name="connsiteX4" fmla="*/ 1226127 w 1253371"/>
                  <a:gd name="connsiteY4" fmla="*/ 457200 h 795771"/>
                  <a:gd name="connsiteX5" fmla="*/ 187036 w 1253371"/>
                  <a:gd name="connsiteY5" fmla="*/ 795771 h 795771"/>
                  <a:gd name="connsiteX6" fmla="*/ 0 w 1253371"/>
                  <a:gd name="connsiteY6" fmla="*/ 0 h 795771"/>
                  <a:gd name="connsiteX0" fmla="*/ 0 w 1253371"/>
                  <a:gd name="connsiteY0" fmla="*/ 0 h 816264"/>
                  <a:gd name="connsiteX1" fmla="*/ 311727 w 1253371"/>
                  <a:gd name="connsiteY1" fmla="*/ 623455 h 816264"/>
                  <a:gd name="connsiteX2" fmla="*/ 1246909 w 1253371"/>
                  <a:gd name="connsiteY2" fmla="*/ 270164 h 816264"/>
                  <a:gd name="connsiteX3" fmla="*/ 1226127 w 1253371"/>
                  <a:gd name="connsiteY3" fmla="*/ 270164 h 816264"/>
                  <a:gd name="connsiteX4" fmla="*/ 1226127 w 1253371"/>
                  <a:gd name="connsiteY4" fmla="*/ 457200 h 816264"/>
                  <a:gd name="connsiteX5" fmla="*/ 187036 w 1253371"/>
                  <a:gd name="connsiteY5" fmla="*/ 795771 h 816264"/>
                  <a:gd name="connsiteX6" fmla="*/ 0 w 1253371"/>
                  <a:gd name="connsiteY6" fmla="*/ 0 h 816264"/>
                  <a:gd name="connsiteX0" fmla="*/ 0 w 1253371"/>
                  <a:gd name="connsiteY0" fmla="*/ 0 h 940089"/>
                  <a:gd name="connsiteX1" fmla="*/ 311727 w 1253371"/>
                  <a:gd name="connsiteY1" fmla="*/ 623455 h 940089"/>
                  <a:gd name="connsiteX2" fmla="*/ 1246909 w 1253371"/>
                  <a:gd name="connsiteY2" fmla="*/ 270164 h 940089"/>
                  <a:gd name="connsiteX3" fmla="*/ 1226127 w 1253371"/>
                  <a:gd name="connsiteY3" fmla="*/ 270164 h 940089"/>
                  <a:gd name="connsiteX4" fmla="*/ 1226127 w 1253371"/>
                  <a:gd name="connsiteY4" fmla="*/ 457200 h 940089"/>
                  <a:gd name="connsiteX5" fmla="*/ 187036 w 1253371"/>
                  <a:gd name="connsiteY5" fmla="*/ 795771 h 940089"/>
                  <a:gd name="connsiteX6" fmla="*/ 0 w 1253371"/>
                  <a:gd name="connsiteY6" fmla="*/ 0 h 940089"/>
                  <a:gd name="connsiteX0" fmla="*/ 0 w 1402772"/>
                  <a:gd name="connsiteY0" fmla="*/ 0 h 940089"/>
                  <a:gd name="connsiteX1" fmla="*/ 311727 w 1402772"/>
                  <a:gd name="connsiteY1" fmla="*/ 623455 h 940089"/>
                  <a:gd name="connsiteX2" fmla="*/ 1246909 w 1402772"/>
                  <a:gd name="connsiteY2" fmla="*/ 270164 h 940089"/>
                  <a:gd name="connsiteX3" fmla="*/ 1226127 w 1402772"/>
                  <a:gd name="connsiteY3" fmla="*/ 457200 h 940089"/>
                  <a:gd name="connsiteX4" fmla="*/ 187036 w 1402772"/>
                  <a:gd name="connsiteY4" fmla="*/ 795771 h 940089"/>
                  <a:gd name="connsiteX5" fmla="*/ 0 w 1402772"/>
                  <a:gd name="connsiteY5" fmla="*/ 0 h 940089"/>
                  <a:gd name="connsiteX0" fmla="*/ 0 w 1402772"/>
                  <a:gd name="connsiteY0" fmla="*/ 0 h 940089"/>
                  <a:gd name="connsiteX1" fmla="*/ 311727 w 1402772"/>
                  <a:gd name="connsiteY1" fmla="*/ 623455 h 940089"/>
                  <a:gd name="connsiteX2" fmla="*/ 1246909 w 1402772"/>
                  <a:gd name="connsiteY2" fmla="*/ 270164 h 940089"/>
                  <a:gd name="connsiteX3" fmla="*/ 1226127 w 1402772"/>
                  <a:gd name="connsiteY3" fmla="*/ 457200 h 940089"/>
                  <a:gd name="connsiteX4" fmla="*/ 187036 w 1402772"/>
                  <a:gd name="connsiteY4" fmla="*/ 795771 h 940089"/>
                  <a:gd name="connsiteX5" fmla="*/ 0 w 1402772"/>
                  <a:gd name="connsiteY5" fmla="*/ 0 h 940089"/>
                  <a:gd name="connsiteX0" fmla="*/ 0 w 1402772"/>
                  <a:gd name="connsiteY0" fmla="*/ 0 h 940089"/>
                  <a:gd name="connsiteX1" fmla="*/ 311727 w 1402772"/>
                  <a:gd name="connsiteY1" fmla="*/ 623455 h 940089"/>
                  <a:gd name="connsiteX2" fmla="*/ 1285009 w 1402772"/>
                  <a:gd name="connsiteY2" fmla="*/ 232064 h 940089"/>
                  <a:gd name="connsiteX3" fmla="*/ 1226127 w 1402772"/>
                  <a:gd name="connsiteY3" fmla="*/ 457200 h 940089"/>
                  <a:gd name="connsiteX4" fmla="*/ 187036 w 1402772"/>
                  <a:gd name="connsiteY4" fmla="*/ 795771 h 940089"/>
                  <a:gd name="connsiteX5" fmla="*/ 0 w 1402772"/>
                  <a:gd name="connsiteY5" fmla="*/ 0 h 940089"/>
                  <a:gd name="connsiteX0" fmla="*/ 0 w 1285009"/>
                  <a:gd name="connsiteY0" fmla="*/ 0 h 940089"/>
                  <a:gd name="connsiteX1" fmla="*/ 311727 w 1285009"/>
                  <a:gd name="connsiteY1" fmla="*/ 623455 h 940089"/>
                  <a:gd name="connsiteX2" fmla="*/ 1285009 w 1285009"/>
                  <a:gd name="connsiteY2" fmla="*/ 232064 h 940089"/>
                  <a:gd name="connsiteX3" fmla="*/ 1226127 w 1285009"/>
                  <a:gd name="connsiteY3" fmla="*/ 457200 h 940089"/>
                  <a:gd name="connsiteX4" fmla="*/ 187036 w 1285009"/>
                  <a:gd name="connsiteY4" fmla="*/ 795771 h 940089"/>
                  <a:gd name="connsiteX5" fmla="*/ 0 w 1285009"/>
                  <a:gd name="connsiteY5" fmla="*/ 0 h 940089"/>
                  <a:gd name="connsiteX0" fmla="*/ 0 w 1297997"/>
                  <a:gd name="connsiteY0" fmla="*/ 0 h 940089"/>
                  <a:gd name="connsiteX1" fmla="*/ 311727 w 1297997"/>
                  <a:gd name="connsiteY1" fmla="*/ 623455 h 940089"/>
                  <a:gd name="connsiteX2" fmla="*/ 1285009 w 1297997"/>
                  <a:gd name="connsiteY2" fmla="*/ 232064 h 940089"/>
                  <a:gd name="connsiteX3" fmla="*/ 1226127 w 1297997"/>
                  <a:gd name="connsiteY3" fmla="*/ 457200 h 940089"/>
                  <a:gd name="connsiteX4" fmla="*/ 187036 w 1297997"/>
                  <a:gd name="connsiteY4" fmla="*/ 795771 h 940089"/>
                  <a:gd name="connsiteX5" fmla="*/ 0 w 1297997"/>
                  <a:gd name="connsiteY5" fmla="*/ 0 h 940089"/>
                  <a:gd name="connsiteX0" fmla="*/ 0 w 1297997"/>
                  <a:gd name="connsiteY0" fmla="*/ 0 h 940089"/>
                  <a:gd name="connsiteX1" fmla="*/ 311727 w 1297997"/>
                  <a:gd name="connsiteY1" fmla="*/ 623455 h 940089"/>
                  <a:gd name="connsiteX2" fmla="*/ 1294534 w 1297997"/>
                  <a:gd name="connsiteY2" fmla="*/ 193964 h 940089"/>
                  <a:gd name="connsiteX3" fmla="*/ 1226127 w 1297997"/>
                  <a:gd name="connsiteY3" fmla="*/ 457200 h 940089"/>
                  <a:gd name="connsiteX4" fmla="*/ 187036 w 1297997"/>
                  <a:gd name="connsiteY4" fmla="*/ 795771 h 940089"/>
                  <a:gd name="connsiteX5" fmla="*/ 0 w 1297997"/>
                  <a:gd name="connsiteY5" fmla="*/ 0 h 940089"/>
                  <a:gd name="connsiteX0" fmla="*/ 0 w 1294534"/>
                  <a:gd name="connsiteY0" fmla="*/ 0 h 940089"/>
                  <a:gd name="connsiteX1" fmla="*/ 311727 w 1294534"/>
                  <a:gd name="connsiteY1" fmla="*/ 623455 h 940089"/>
                  <a:gd name="connsiteX2" fmla="*/ 1294534 w 1294534"/>
                  <a:gd name="connsiteY2" fmla="*/ 193964 h 940089"/>
                  <a:gd name="connsiteX3" fmla="*/ 1226127 w 1294534"/>
                  <a:gd name="connsiteY3" fmla="*/ 457200 h 940089"/>
                  <a:gd name="connsiteX4" fmla="*/ 187036 w 1294534"/>
                  <a:gd name="connsiteY4" fmla="*/ 795771 h 940089"/>
                  <a:gd name="connsiteX5" fmla="*/ 0 w 1294534"/>
                  <a:gd name="connsiteY5" fmla="*/ 0 h 940089"/>
                  <a:gd name="connsiteX0" fmla="*/ 0 w 1294534"/>
                  <a:gd name="connsiteY0" fmla="*/ 0 h 940089"/>
                  <a:gd name="connsiteX1" fmla="*/ 311727 w 1294534"/>
                  <a:gd name="connsiteY1" fmla="*/ 623455 h 940089"/>
                  <a:gd name="connsiteX2" fmla="*/ 1294534 w 1294534"/>
                  <a:gd name="connsiteY2" fmla="*/ 193964 h 940089"/>
                  <a:gd name="connsiteX3" fmla="*/ 1226127 w 1294534"/>
                  <a:gd name="connsiteY3" fmla="*/ 457200 h 940089"/>
                  <a:gd name="connsiteX4" fmla="*/ 187036 w 1294534"/>
                  <a:gd name="connsiteY4" fmla="*/ 795771 h 940089"/>
                  <a:gd name="connsiteX5" fmla="*/ 0 w 1294534"/>
                  <a:gd name="connsiteY5" fmla="*/ 0 h 940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94534" h="940089">
                    <a:moveTo>
                      <a:pt x="0" y="0"/>
                    </a:moveTo>
                    <a:cubicBezTo>
                      <a:pt x="103909" y="207818"/>
                      <a:pt x="207818" y="577562"/>
                      <a:pt x="311727" y="623455"/>
                    </a:cubicBezTo>
                    <a:cubicBezTo>
                      <a:pt x="452004" y="648566"/>
                      <a:pt x="982807" y="311728"/>
                      <a:pt x="1294534" y="193964"/>
                    </a:cubicBezTo>
                    <a:cubicBezTo>
                      <a:pt x="1275484" y="185305"/>
                      <a:pt x="1174172" y="350549"/>
                      <a:pt x="1226127" y="457200"/>
                    </a:cubicBezTo>
                    <a:cubicBezTo>
                      <a:pt x="879763" y="570057"/>
                      <a:pt x="361950" y="940089"/>
                      <a:pt x="187036" y="795771"/>
                    </a:cubicBezTo>
                    <a:cubicBezTo>
                      <a:pt x="86591" y="692439"/>
                      <a:pt x="62345" y="265257"/>
                      <a:pt x="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78" name="Freeform 289">
                <a:extLst>
                  <a:ext uri="{FF2B5EF4-FFF2-40B4-BE49-F238E27FC236}">
                    <a16:creationId xmlns:a16="http://schemas.microsoft.com/office/drawing/2014/main" id="{F79EFAD3-5F85-49A4-8411-0E132EBA8062}"/>
                  </a:ext>
                </a:extLst>
              </p:cNvPr>
              <p:cNvSpPr/>
              <p:nvPr/>
            </p:nvSpPr>
            <p:spPr>
              <a:xfrm rot="21114987" flipH="1">
                <a:off x="7175596" y="3420429"/>
                <a:ext cx="277037" cy="129778"/>
              </a:xfrm>
              <a:custGeom>
                <a:avLst/>
                <a:gdLst>
                  <a:gd name="connsiteX0" fmla="*/ 2036619 w 2286000"/>
                  <a:gd name="connsiteY0" fmla="*/ 103909 h 958776"/>
                  <a:gd name="connsiteX1" fmla="*/ 2057400 w 2286000"/>
                  <a:gd name="connsiteY1" fmla="*/ 768927 h 958776"/>
                  <a:gd name="connsiteX2" fmla="*/ 0 w 2286000"/>
                  <a:gd name="connsiteY2" fmla="*/ 872836 h 958776"/>
                  <a:gd name="connsiteX3" fmla="*/ 207819 w 2286000"/>
                  <a:gd name="connsiteY3" fmla="*/ 955963 h 958776"/>
                  <a:gd name="connsiteX4" fmla="*/ 2078182 w 2286000"/>
                  <a:gd name="connsiteY4" fmla="*/ 955963 h 958776"/>
                  <a:gd name="connsiteX5" fmla="*/ 2286000 w 2286000"/>
                  <a:gd name="connsiteY5" fmla="*/ 768927 h 958776"/>
                  <a:gd name="connsiteX6" fmla="*/ 2119746 w 2286000"/>
                  <a:gd name="connsiteY6" fmla="*/ 0 h 958776"/>
                  <a:gd name="connsiteX7" fmla="*/ 2036619 w 2286000"/>
                  <a:gd name="connsiteY7" fmla="*/ 103909 h 958776"/>
                  <a:gd name="connsiteX0" fmla="*/ 2036619 w 2119746"/>
                  <a:gd name="connsiteY0" fmla="*/ 103909 h 958776"/>
                  <a:gd name="connsiteX1" fmla="*/ 2057400 w 2119746"/>
                  <a:gd name="connsiteY1" fmla="*/ 768927 h 958776"/>
                  <a:gd name="connsiteX2" fmla="*/ 0 w 2119746"/>
                  <a:gd name="connsiteY2" fmla="*/ 872836 h 958776"/>
                  <a:gd name="connsiteX3" fmla="*/ 207819 w 2119746"/>
                  <a:gd name="connsiteY3" fmla="*/ 955963 h 958776"/>
                  <a:gd name="connsiteX4" fmla="*/ 2078182 w 2119746"/>
                  <a:gd name="connsiteY4" fmla="*/ 955963 h 958776"/>
                  <a:gd name="connsiteX5" fmla="*/ 2119746 w 2119746"/>
                  <a:gd name="connsiteY5" fmla="*/ 0 h 958776"/>
                  <a:gd name="connsiteX6" fmla="*/ 2036619 w 2119746"/>
                  <a:gd name="connsiteY6" fmla="*/ 103909 h 958776"/>
                  <a:gd name="connsiteX0" fmla="*/ 2036619 w 2311112"/>
                  <a:gd name="connsiteY0" fmla="*/ 103909 h 958776"/>
                  <a:gd name="connsiteX1" fmla="*/ 2057400 w 2311112"/>
                  <a:gd name="connsiteY1" fmla="*/ 768927 h 958776"/>
                  <a:gd name="connsiteX2" fmla="*/ 0 w 2311112"/>
                  <a:gd name="connsiteY2" fmla="*/ 872836 h 958776"/>
                  <a:gd name="connsiteX3" fmla="*/ 207819 w 2311112"/>
                  <a:gd name="connsiteY3" fmla="*/ 955963 h 958776"/>
                  <a:gd name="connsiteX4" fmla="*/ 2078182 w 2311112"/>
                  <a:gd name="connsiteY4" fmla="*/ 955963 h 958776"/>
                  <a:gd name="connsiteX5" fmla="*/ 2119746 w 2311112"/>
                  <a:gd name="connsiteY5" fmla="*/ 0 h 958776"/>
                  <a:gd name="connsiteX6" fmla="*/ 2036619 w 2311112"/>
                  <a:gd name="connsiteY6" fmla="*/ 103909 h 958776"/>
                  <a:gd name="connsiteX0" fmla="*/ 2036619 w 2311112"/>
                  <a:gd name="connsiteY0" fmla="*/ 103909 h 1032163"/>
                  <a:gd name="connsiteX1" fmla="*/ 2057400 w 2311112"/>
                  <a:gd name="connsiteY1" fmla="*/ 768927 h 1032163"/>
                  <a:gd name="connsiteX2" fmla="*/ 0 w 2311112"/>
                  <a:gd name="connsiteY2" fmla="*/ 872836 h 1032163"/>
                  <a:gd name="connsiteX3" fmla="*/ 207819 w 2311112"/>
                  <a:gd name="connsiteY3" fmla="*/ 955963 h 1032163"/>
                  <a:gd name="connsiteX4" fmla="*/ 2078182 w 2311112"/>
                  <a:gd name="connsiteY4" fmla="*/ 955963 h 1032163"/>
                  <a:gd name="connsiteX5" fmla="*/ 2119746 w 2311112"/>
                  <a:gd name="connsiteY5" fmla="*/ 0 h 1032163"/>
                  <a:gd name="connsiteX6" fmla="*/ 2036619 w 2311112"/>
                  <a:gd name="connsiteY6" fmla="*/ 103909 h 1032163"/>
                  <a:gd name="connsiteX0" fmla="*/ 2036619 w 2425412"/>
                  <a:gd name="connsiteY0" fmla="*/ 103909 h 994063"/>
                  <a:gd name="connsiteX1" fmla="*/ 2057400 w 2425412"/>
                  <a:gd name="connsiteY1" fmla="*/ 768927 h 994063"/>
                  <a:gd name="connsiteX2" fmla="*/ 0 w 2425412"/>
                  <a:gd name="connsiteY2" fmla="*/ 872836 h 994063"/>
                  <a:gd name="connsiteX3" fmla="*/ 207819 w 2425412"/>
                  <a:gd name="connsiteY3" fmla="*/ 955963 h 994063"/>
                  <a:gd name="connsiteX4" fmla="*/ 2192482 w 2425412"/>
                  <a:gd name="connsiteY4" fmla="*/ 917863 h 994063"/>
                  <a:gd name="connsiteX5" fmla="*/ 2119746 w 2425412"/>
                  <a:gd name="connsiteY5" fmla="*/ 0 h 994063"/>
                  <a:gd name="connsiteX6" fmla="*/ 2036619 w 2425412"/>
                  <a:gd name="connsiteY6" fmla="*/ 103909 h 994063"/>
                  <a:gd name="connsiteX0" fmla="*/ 2036619 w 2425412"/>
                  <a:gd name="connsiteY0" fmla="*/ 139411 h 1029565"/>
                  <a:gd name="connsiteX1" fmla="*/ 2057400 w 2425412"/>
                  <a:gd name="connsiteY1" fmla="*/ 804429 h 1029565"/>
                  <a:gd name="connsiteX2" fmla="*/ 0 w 2425412"/>
                  <a:gd name="connsiteY2" fmla="*/ 908338 h 1029565"/>
                  <a:gd name="connsiteX3" fmla="*/ 207819 w 2425412"/>
                  <a:gd name="connsiteY3" fmla="*/ 991465 h 1029565"/>
                  <a:gd name="connsiteX4" fmla="*/ 2192482 w 2425412"/>
                  <a:gd name="connsiteY4" fmla="*/ 953365 h 1029565"/>
                  <a:gd name="connsiteX5" fmla="*/ 2119746 w 2425412"/>
                  <a:gd name="connsiteY5" fmla="*/ 35502 h 1029565"/>
                  <a:gd name="connsiteX6" fmla="*/ 2036619 w 2425412"/>
                  <a:gd name="connsiteY6" fmla="*/ 139411 h 1029565"/>
                  <a:gd name="connsiteX0" fmla="*/ 2036619 w 2425412"/>
                  <a:gd name="connsiteY0" fmla="*/ 139411 h 1029565"/>
                  <a:gd name="connsiteX1" fmla="*/ 2057400 w 2425412"/>
                  <a:gd name="connsiteY1" fmla="*/ 804429 h 1029565"/>
                  <a:gd name="connsiteX2" fmla="*/ 0 w 2425412"/>
                  <a:gd name="connsiteY2" fmla="*/ 908338 h 1029565"/>
                  <a:gd name="connsiteX3" fmla="*/ 207819 w 2425412"/>
                  <a:gd name="connsiteY3" fmla="*/ 991465 h 1029565"/>
                  <a:gd name="connsiteX4" fmla="*/ 2192482 w 2425412"/>
                  <a:gd name="connsiteY4" fmla="*/ 953365 h 1029565"/>
                  <a:gd name="connsiteX5" fmla="*/ 2119746 w 2425412"/>
                  <a:gd name="connsiteY5" fmla="*/ 35502 h 1029565"/>
                  <a:gd name="connsiteX6" fmla="*/ 2036619 w 2425412"/>
                  <a:gd name="connsiteY6" fmla="*/ 139411 h 1029565"/>
                  <a:gd name="connsiteX0" fmla="*/ 2036619 w 2425412"/>
                  <a:gd name="connsiteY0" fmla="*/ 139411 h 1029565"/>
                  <a:gd name="connsiteX1" fmla="*/ 2057400 w 2425412"/>
                  <a:gd name="connsiteY1" fmla="*/ 804429 h 1029565"/>
                  <a:gd name="connsiteX2" fmla="*/ 0 w 2425412"/>
                  <a:gd name="connsiteY2" fmla="*/ 908338 h 1029565"/>
                  <a:gd name="connsiteX3" fmla="*/ 207819 w 2425412"/>
                  <a:gd name="connsiteY3" fmla="*/ 991465 h 1029565"/>
                  <a:gd name="connsiteX4" fmla="*/ 2192482 w 2425412"/>
                  <a:gd name="connsiteY4" fmla="*/ 953365 h 1029565"/>
                  <a:gd name="connsiteX5" fmla="*/ 2119746 w 2425412"/>
                  <a:gd name="connsiteY5" fmla="*/ 35502 h 1029565"/>
                  <a:gd name="connsiteX6" fmla="*/ 2036619 w 2425412"/>
                  <a:gd name="connsiteY6" fmla="*/ 139411 h 1029565"/>
                  <a:gd name="connsiteX0" fmla="*/ 2036619 w 2425412"/>
                  <a:gd name="connsiteY0" fmla="*/ 139411 h 1029565"/>
                  <a:gd name="connsiteX1" fmla="*/ 2057400 w 2425412"/>
                  <a:gd name="connsiteY1" fmla="*/ 804429 h 1029565"/>
                  <a:gd name="connsiteX2" fmla="*/ 0 w 2425412"/>
                  <a:gd name="connsiteY2" fmla="*/ 908338 h 1029565"/>
                  <a:gd name="connsiteX3" fmla="*/ 207819 w 2425412"/>
                  <a:gd name="connsiteY3" fmla="*/ 991465 h 1029565"/>
                  <a:gd name="connsiteX4" fmla="*/ 2192482 w 2425412"/>
                  <a:gd name="connsiteY4" fmla="*/ 953365 h 1029565"/>
                  <a:gd name="connsiteX5" fmla="*/ 2119746 w 2425412"/>
                  <a:gd name="connsiteY5" fmla="*/ 35502 h 1029565"/>
                  <a:gd name="connsiteX6" fmla="*/ 2036619 w 2425412"/>
                  <a:gd name="connsiteY6" fmla="*/ 139411 h 1029565"/>
                  <a:gd name="connsiteX0" fmla="*/ 2036619 w 2425412"/>
                  <a:gd name="connsiteY0" fmla="*/ 139411 h 1029565"/>
                  <a:gd name="connsiteX1" fmla="*/ 2057400 w 2425412"/>
                  <a:gd name="connsiteY1" fmla="*/ 804429 h 1029565"/>
                  <a:gd name="connsiteX2" fmla="*/ 0 w 2425412"/>
                  <a:gd name="connsiteY2" fmla="*/ 908338 h 1029565"/>
                  <a:gd name="connsiteX3" fmla="*/ 207819 w 2425412"/>
                  <a:gd name="connsiteY3" fmla="*/ 991465 h 1029565"/>
                  <a:gd name="connsiteX4" fmla="*/ 2192482 w 2425412"/>
                  <a:gd name="connsiteY4" fmla="*/ 953365 h 1029565"/>
                  <a:gd name="connsiteX5" fmla="*/ 2119746 w 2425412"/>
                  <a:gd name="connsiteY5" fmla="*/ 35502 h 1029565"/>
                  <a:gd name="connsiteX6" fmla="*/ 2036619 w 2425412"/>
                  <a:gd name="connsiteY6" fmla="*/ 139411 h 1029565"/>
                  <a:gd name="connsiteX0" fmla="*/ 2036619 w 2425412"/>
                  <a:gd name="connsiteY0" fmla="*/ 139411 h 1096240"/>
                  <a:gd name="connsiteX1" fmla="*/ 2057400 w 2425412"/>
                  <a:gd name="connsiteY1" fmla="*/ 804429 h 1096240"/>
                  <a:gd name="connsiteX2" fmla="*/ 0 w 2425412"/>
                  <a:gd name="connsiteY2" fmla="*/ 908338 h 1096240"/>
                  <a:gd name="connsiteX3" fmla="*/ 207819 w 2425412"/>
                  <a:gd name="connsiteY3" fmla="*/ 991465 h 1096240"/>
                  <a:gd name="connsiteX4" fmla="*/ 2192482 w 2425412"/>
                  <a:gd name="connsiteY4" fmla="*/ 1020040 h 1096240"/>
                  <a:gd name="connsiteX5" fmla="*/ 2119746 w 2425412"/>
                  <a:gd name="connsiteY5" fmla="*/ 35502 h 1096240"/>
                  <a:gd name="connsiteX6" fmla="*/ 2036619 w 2425412"/>
                  <a:gd name="connsiteY6" fmla="*/ 139411 h 1096240"/>
                  <a:gd name="connsiteX0" fmla="*/ 1979469 w 2368262"/>
                  <a:gd name="connsiteY0" fmla="*/ 139411 h 1096240"/>
                  <a:gd name="connsiteX1" fmla="*/ 2000250 w 2368262"/>
                  <a:gd name="connsiteY1" fmla="*/ 804429 h 1096240"/>
                  <a:gd name="connsiteX2" fmla="*/ 0 w 2368262"/>
                  <a:gd name="connsiteY2" fmla="*/ 879763 h 1096240"/>
                  <a:gd name="connsiteX3" fmla="*/ 150669 w 2368262"/>
                  <a:gd name="connsiteY3" fmla="*/ 991465 h 1096240"/>
                  <a:gd name="connsiteX4" fmla="*/ 2135332 w 2368262"/>
                  <a:gd name="connsiteY4" fmla="*/ 1020040 h 1096240"/>
                  <a:gd name="connsiteX5" fmla="*/ 2062596 w 2368262"/>
                  <a:gd name="connsiteY5" fmla="*/ 35502 h 1096240"/>
                  <a:gd name="connsiteX6" fmla="*/ 1979469 w 2368262"/>
                  <a:gd name="connsiteY6" fmla="*/ 139411 h 1096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68262" h="1096240">
                    <a:moveTo>
                      <a:pt x="1979469" y="139411"/>
                    </a:moveTo>
                    <a:cubicBezTo>
                      <a:pt x="1986396" y="361084"/>
                      <a:pt x="2059998" y="639906"/>
                      <a:pt x="2000250" y="804429"/>
                    </a:cubicBezTo>
                    <a:cubicBezTo>
                      <a:pt x="1952625" y="953365"/>
                      <a:pt x="685800" y="845127"/>
                      <a:pt x="0" y="879763"/>
                    </a:cubicBezTo>
                    <a:cubicBezTo>
                      <a:pt x="193367" y="965703"/>
                      <a:pt x="61661" y="991465"/>
                      <a:pt x="150669" y="991465"/>
                    </a:cubicBezTo>
                    <a:cubicBezTo>
                      <a:pt x="774123" y="991465"/>
                      <a:pt x="1902403" y="1096240"/>
                      <a:pt x="2135332" y="1020040"/>
                    </a:cubicBezTo>
                    <a:cubicBezTo>
                      <a:pt x="2368262" y="977611"/>
                      <a:pt x="2048741" y="354156"/>
                      <a:pt x="2062596" y="35502"/>
                    </a:cubicBezTo>
                    <a:cubicBezTo>
                      <a:pt x="2034887" y="70138"/>
                      <a:pt x="1988128" y="0"/>
                      <a:pt x="1979469" y="13941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79" name="Freeform 290">
                <a:extLst>
                  <a:ext uri="{FF2B5EF4-FFF2-40B4-BE49-F238E27FC236}">
                    <a16:creationId xmlns:a16="http://schemas.microsoft.com/office/drawing/2014/main" id="{38324ED3-791D-4DA5-9F82-0E2FB841D3E7}"/>
                  </a:ext>
                </a:extLst>
              </p:cNvPr>
              <p:cNvSpPr/>
              <p:nvPr/>
            </p:nvSpPr>
            <p:spPr>
              <a:xfrm rot="21114987" flipH="1">
                <a:off x="6871286" y="2584269"/>
                <a:ext cx="743900" cy="778117"/>
              </a:xfrm>
              <a:custGeom>
                <a:avLst/>
                <a:gdLst>
                  <a:gd name="connsiteX0" fmla="*/ 6317673 w 6359237"/>
                  <a:gd name="connsiteY0" fmla="*/ 3013364 h 6567055"/>
                  <a:gd name="connsiteX1" fmla="*/ 4717473 w 6359237"/>
                  <a:gd name="connsiteY1" fmla="*/ 3408218 h 6567055"/>
                  <a:gd name="connsiteX2" fmla="*/ 4239491 w 6359237"/>
                  <a:gd name="connsiteY2" fmla="*/ 3366655 h 6567055"/>
                  <a:gd name="connsiteX3" fmla="*/ 3262746 w 6359237"/>
                  <a:gd name="connsiteY3" fmla="*/ 3865418 h 6567055"/>
                  <a:gd name="connsiteX4" fmla="*/ 2888673 w 6359237"/>
                  <a:gd name="connsiteY4" fmla="*/ 3990109 h 6567055"/>
                  <a:gd name="connsiteX5" fmla="*/ 2722418 w 6359237"/>
                  <a:gd name="connsiteY5" fmla="*/ 3366655 h 6567055"/>
                  <a:gd name="connsiteX6" fmla="*/ 2286000 w 6359237"/>
                  <a:gd name="connsiteY6" fmla="*/ 2348346 h 6567055"/>
                  <a:gd name="connsiteX7" fmla="*/ 1662546 w 6359237"/>
                  <a:gd name="connsiteY7" fmla="*/ 1371600 h 6567055"/>
                  <a:gd name="connsiteX8" fmla="*/ 1226128 w 6359237"/>
                  <a:gd name="connsiteY8" fmla="*/ 685800 h 6567055"/>
                  <a:gd name="connsiteX9" fmla="*/ 290946 w 6359237"/>
                  <a:gd name="connsiteY9" fmla="*/ 0 h 6567055"/>
                  <a:gd name="connsiteX10" fmla="*/ 83128 w 6359237"/>
                  <a:gd name="connsiteY10" fmla="*/ 62346 h 6567055"/>
                  <a:gd name="connsiteX11" fmla="*/ 0 w 6359237"/>
                  <a:gd name="connsiteY11" fmla="*/ 1579418 h 6567055"/>
                  <a:gd name="connsiteX12" fmla="*/ 228600 w 6359237"/>
                  <a:gd name="connsiteY12" fmla="*/ 2556164 h 6567055"/>
                  <a:gd name="connsiteX13" fmla="*/ 290946 w 6359237"/>
                  <a:gd name="connsiteY13" fmla="*/ 3408218 h 6567055"/>
                  <a:gd name="connsiteX14" fmla="*/ 1163782 w 6359237"/>
                  <a:gd name="connsiteY14" fmla="*/ 5257800 h 6567055"/>
                  <a:gd name="connsiteX15" fmla="*/ 2223655 w 6359237"/>
                  <a:gd name="connsiteY15" fmla="*/ 6567055 h 6567055"/>
                  <a:gd name="connsiteX16" fmla="*/ 3595255 w 6359237"/>
                  <a:gd name="connsiteY16" fmla="*/ 6151418 h 6567055"/>
                  <a:gd name="connsiteX17" fmla="*/ 4655128 w 6359237"/>
                  <a:gd name="connsiteY17" fmla="*/ 5985164 h 6567055"/>
                  <a:gd name="connsiteX18" fmla="*/ 6359237 w 6359237"/>
                  <a:gd name="connsiteY18" fmla="*/ 4675909 h 6567055"/>
                  <a:gd name="connsiteX19" fmla="*/ 6317673 w 6359237"/>
                  <a:gd name="connsiteY19" fmla="*/ 3013364 h 6567055"/>
                  <a:gd name="connsiteX0" fmla="*/ 6317673 w 6359237"/>
                  <a:gd name="connsiteY0" fmla="*/ 3013364 h 6567055"/>
                  <a:gd name="connsiteX1" fmla="*/ 4717473 w 6359237"/>
                  <a:gd name="connsiteY1" fmla="*/ 3408218 h 6567055"/>
                  <a:gd name="connsiteX2" fmla="*/ 4239491 w 6359237"/>
                  <a:gd name="connsiteY2" fmla="*/ 3366655 h 6567055"/>
                  <a:gd name="connsiteX3" fmla="*/ 3262746 w 6359237"/>
                  <a:gd name="connsiteY3" fmla="*/ 3865418 h 6567055"/>
                  <a:gd name="connsiteX4" fmla="*/ 2888673 w 6359237"/>
                  <a:gd name="connsiteY4" fmla="*/ 3990109 h 6567055"/>
                  <a:gd name="connsiteX5" fmla="*/ 2722418 w 6359237"/>
                  <a:gd name="connsiteY5" fmla="*/ 3366655 h 6567055"/>
                  <a:gd name="connsiteX6" fmla="*/ 2286000 w 6359237"/>
                  <a:gd name="connsiteY6" fmla="*/ 2348346 h 6567055"/>
                  <a:gd name="connsiteX7" fmla="*/ 1662546 w 6359237"/>
                  <a:gd name="connsiteY7" fmla="*/ 1371600 h 6567055"/>
                  <a:gd name="connsiteX8" fmla="*/ 1226128 w 6359237"/>
                  <a:gd name="connsiteY8" fmla="*/ 685800 h 6567055"/>
                  <a:gd name="connsiteX9" fmla="*/ 290946 w 6359237"/>
                  <a:gd name="connsiteY9" fmla="*/ 0 h 6567055"/>
                  <a:gd name="connsiteX10" fmla="*/ 83128 w 6359237"/>
                  <a:gd name="connsiteY10" fmla="*/ 62346 h 6567055"/>
                  <a:gd name="connsiteX11" fmla="*/ 0 w 6359237"/>
                  <a:gd name="connsiteY11" fmla="*/ 1579418 h 6567055"/>
                  <a:gd name="connsiteX12" fmla="*/ 228600 w 6359237"/>
                  <a:gd name="connsiteY12" fmla="*/ 2556164 h 6567055"/>
                  <a:gd name="connsiteX13" fmla="*/ 290946 w 6359237"/>
                  <a:gd name="connsiteY13" fmla="*/ 3408218 h 6567055"/>
                  <a:gd name="connsiteX14" fmla="*/ 1163782 w 6359237"/>
                  <a:gd name="connsiteY14" fmla="*/ 5257800 h 6567055"/>
                  <a:gd name="connsiteX15" fmla="*/ 2223655 w 6359237"/>
                  <a:gd name="connsiteY15" fmla="*/ 6567055 h 6567055"/>
                  <a:gd name="connsiteX16" fmla="*/ 3595255 w 6359237"/>
                  <a:gd name="connsiteY16" fmla="*/ 6151418 h 6567055"/>
                  <a:gd name="connsiteX17" fmla="*/ 4655128 w 6359237"/>
                  <a:gd name="connsiteY17" fmla="*/ 5985164 h 6567055"/>
                  <a:gd name="connsiteX18" fmla="*/ 6359237 w 6359237"/>
                  <a:gd name="connsiteY18" fmla="*/ 4675909 h 6567055"/>
                  <a:gd name="connsiteX19" fmla="*/ 6317673 w 6359237"/>
                  <a:gd name="connsiteY19" fmla="*/ 3013364 h 6567055"/>
                  <a:gd name="connsiteX0" fmla="*/ 6317673 w 6359237"/>
                  <a:gd name="connsiteY0" fmla="*/ 3013364 h 6567055"/>
                  <a:gd name="connsiteX1" fmla="*/ 4717473 w 6359237"/>
                  <a:gd name="connsiteY1" fmla="*/ 3408218 h 6567055"/>
                  <a:gd name="connsiteX2" fmla="*/ 4239491 w 6359237"/>
                  <a:gd name="connsiteY2" fmla="*/ 3366655 h 6567055"/>
                  <a:gd name="connsiteX3" fmla="*/ 3262746 w 6359237"/>
                  <a:gd name="connsiteY3" fmla="*/ 3865418 h 6567055"/>
                  <a:gd name="connsiteX4" fmla="*/ 2888673 w 6359237"/>
                  <a:gd name="connsiteY4" fmla="*/ 3990109 h 6567055"/>
                  <a:gd name="connsiteX5" fmla="*/ 2722418 w 6359237"/>
                  <a:gd name="connsiteY5" fmla="*/ 3366655 h 6567055"/>
                  <a:gd name="connsiteX6" fmla="*/ 2286000 w 6359237"/>
                  <a:gd name="connsiteY6" fmla="*/ 2348346 h 6567055"/>
                  <a:gd name="connsiteX7" fmla="*/ 1662546 w 6359237"/>
                  <a:gd name="connsiteY7" fmla="*/ 1371600 h 6567055"/>
                  <a:gd name="connsiteX8" fmla="*/ 1226128 w 6359237"/>
                  <a:gd name="connsiteY8" fmla="*/ 685800 h 6567055"/>
                  <a:gd name="connsiteX9" fmla="*/ 290946 w 6359237"/>
                  <a:gd name="connsiteY9" fmla="*/ 0 h 6567055"/>
                  <a:gd name="connsiteX10" fmla="*/ 83128 w 6359237"/>
                  <a:gd name="connsiteY10" fmla="*/ 62346 h 6567055"/>
                  <a:gd name="connsiteX11" fmla="*/ 0 w 6359237"/>
                  <a:gd name="connsiteY11" fmla="*/ 1579418 h 6567055"/>
                  <a:gd name="connsiteX12" fmla="*/ 228600 w 6359237"/>
                  <a:gd name="connsiteY12" fmla="*/ 2556164 h 6567055"/>
                  <a:gd name="connsiteX13" fmla="*/ 290946 w 6359237"/>
                  <a:gd name="connsiteY13" fmla="*/ 3408218 h 6567055"/>
                  <a:gd name="connsiteX14" fmla="*/ 1163782 w 6359237"/>
                  <a:gd name="connsiteY14" fmla="*/ 5257800 h 6567055"/>
                  <a:gd name="connsiteX15" fmla="*/ 2223655 w 6359237"/>
                  <a:gd name="connsiteY15" fmla="*/ 6567055 h 6567055"/>
                  <a:gd name="connsiteX16" fmla="*/ 3595255 w 6359237"/>
                  <a:gd name="connsiteY16" fmla="*/ 6151418 h 6567055"/>
                  <a:gd name="connsiteX17" fmla="*/ 4655128 w 6359237"/>
                  <a:gd name="connsiteY17" fmla="*/ 5985164 h 6567055"/>
                  <a:gd name="connsiteX18" fmla="*/ 6359237 w 6359237"/>
                  <a:gd name="connsiteY18" fmla="*/ 4675909 h 6567055"/>
                  <a:gd name="connsiteX19" fmla="*/ 6317673 w 6359237"/>
                  <a:gd name="connsiteY19" fmla="*/ 3013364 h 6567055"/>
                  <a:gd name="connsiteX0" fmla="*/ 6317673 w 6359237"/>
                  <a:gd name="connsiteY0" fmla="*/ 3013364 h 6567055"/>
                  <a:gd name="connsiteX1" fmla="*/ 4717473 w 6359237"/>
                  <a:gd name="connsiteY1" fmla="*/ 3408218 h 6567055"/>
                  <a:gd name="connsiteX2" fmla="*/ 4239491 w 6359237"/>
                  <a:gd name="connsiteY2" fmla="*/ 3366655 h 6567055"/>
                  <a:gd name="connsiteX3" fmla="*/ 3262746 w 6359237"/>
                  <a:gd name="connsiteY3" fmla="*/ 3865418 h 6567055"/>
                  <a:gd name="connsiteX4" fmla="*/ 2888673 w 6359237"/>
                  <a:gd name="connsiteY4" fmla="*/ 3990109 h 6567055"/>
                  <a:gd name="connsiteX5" fmla="*/ 2722418 w 6359237"/>
                  <a:gd name="connsiteY5" fmla="*/ 3366655 h 6567055"/>
                  <a:gd name="connsiteX6" fmla="*/ 2286000 w 6359237"/>
                  <a:gd name="connsiteY6" fmla="*/ 2348346 h 6567055"/>
                  <a:gd name="connsiteX7" fmla="*/ 1662546 w 6359237"/>
                  <a:gd name="connsiteY7" fmla="*/ 1371600 h 6567055"/>
                  <a:gd name="connsiteX8" fmla="*/ 1226128 w 6359237"/>
                  <a:gd name="connsiteY8" fmla="*/ 685800 h 6567055"/>
                  <a:gd name="connsiteX9" fmla="*/ 290946 w 6359237"/>
                  <a:gd name="connsiteY9" fmla="*/ 0 h 6567055"/>
                  <a:gd name="connsiteX10" fmla="*/ 83128 w 6359237"/>
                  <a:gd name="connsiteY10" fmla="*/ 62346 h 6567055"/>
                  <a:gd name="connsiteX11" fmla="*/ 0 w 6359237"/>
                  <a:gd name="connsiteY11" fmla="*/ 1579418 h 6567055"/>
                  <a:gd name="connsiteX12" fmla="*/ 228600 w 6359237"/>
                  <a:gd name="connsiteY12" fmla="*/ 2556164 h 6567055"/>
                  <a:gd name="connsiteX13" fmla="*/ 369774 w 6359237"/>
                  <a:gd name="connsiteY13" fmla="*/ 3502811 h 6567055"/>
                  <a:gd name="connsiteX14" fmla="*/ 1163782 w 6359237"/>
                  <a:gd name="connsiteY14" fmla="*/ 5257800 h 6567055"/>
                  <a:gd name="connsiteX15" fmla="*/ 2223655 w 6359237"/>
                  <a:gd name="connsiteY15" fmla="*/ 6567055 h 6567055"/>
                  <a:gd name="connsiteX16" fmla="*/ 3595255 w 6359237"/>
                  <a:gd name="connsiteY16" fmla="*/ 6151418 h 6567055"/>
                  <a:gd name="connsiteX17" fmla="*/ 4655128 w 6359237"/>
                  <a:gd name="connsiteY17" fmla="*/ 5985164 h 6567055"/>
                  <a:gd name="connsiteX18" fmla="*/ 6359237 w 6359237"/>
                  <a:gd name="connsiteY18" fmla="*/ 4675909 h 6567055"/>
                  <a:gd name="connsiteX19" fmla="*/ 6317673 w 6359237"/>
                  <a:gd name="connsiteY19" fmla="*/ 3013364 h 6567055"/>
                  <a:gd name="connsiteX0" fmla="*/ 6317673 w 6359237"/>
                  <a:gd name="connsiteY0" fmla="*/ 3013364 h 6567055"/>
                  <a:gd name="connsiteX1" fmla="*/ 4717473 w 6359237"/>
                  <a:gd name="connsiteY1" fmla="*/ 3408218 h 6567055"/>
                  <a:gd name="connsiteX2" fmla="*/ 4239491 w 6359237"/>
                  <a:gd name="connsiteY2" fmla="*/ 3366655 h 6567055"/>
                  <a:gd name="connsiteX3" fmla="*/ 3262746 w 6359237"/>
                  <a:gd name="connsiteY3" fmla="*/ 3865418 h 6567055"/>
                  <a:gd name="connsiteX4" fmla="*/ 2888673 w 6359237"/>
                  <a:gd name="connsiteY4" fmla="*/ 3990109 h 6567055"/>
                  <a:gd name="connsiteX5" fmla="*/ 2722418 w 6359237"/>
                  <a:gd name="connsiteY5" fmla="*/ 3366655 h 6567055"/>
                  <a:gd name="connsiteX6" fmla="*/ 2286000 w 6359237"/>
                  <a:gd name="connsiteY6" fmla="*/ 2348346 h 6567055"/>
                  <a:gd name="connsiteX7" fmla="*/ 1662546 w 6359237"/>
                  <a:gd name="connsiteY7" fmla="*/ 1371600 h 6567055"/>
                  <a:gd name="connsiteX8" fmla="*/ 1226128 w 6359237"/>
                  <a:gd name="connsiteY8" fmla="*/ 685800 h 6567055"/>
                  <a:gd name="connsiteX9" fmla="*/ 290946 w 6359237"/>
                  <a:gd name="connsiteY9" fmla="*/ 0 h 6567055"/>
                  <a:gd name="connsiteX10" fmla="*/ 83128 w 6359237"/>
                  <a:gd name="connsiteY10" fmla="*/ 62346 h 6567055"/>
                  <a:gd name="connsiteX11" fmla="*/ 0 w 6359237"/>
                  <a:gd name="connsiteY11" fmla="*/ 1579418 h 6567055"/>
                  <a:gd name="connsiteX12" fmla="*/ 228600 w 6359237"/>
                  <a:gd name="connsiteY12" fmla="*/ 2682289 h 6567055"/>
                  <a:gd name="connsiteX13" fmla="*/ 369774 w 6359237"/>
                  <a:gd name="connsiteY13" fmla="*/ 3502811 h 6567055"/>
                  <a:gd name="connsiteX14" fmla="*/ 1163782 w 6359237"/>
                  <a:gd name="connsiteY14" fmla="*/ 5257800 h 6567055"/>
                  <a:gd name="connsiteX15" fmla="*/ 2223655 w 6359237"/>
                  <a:gd name="connsiteY15" fmla="*/ 6567055 h 6567055"/>
                  <a:gd name="connsiteX16" fmla="*/ 3595255 w 6359237"/>
                  <a:gd name="connsiteY16" fmla="*/ 6151418 h 6567055"/>
                  <a:gd name="connsiteX17" fmla="*/ 4655128 w 6359237"/>
                  <a:gd name="connsiteY17" fmla="*/ 5985164 h 6567055"/>
                  <a:gd name="connsiteX18" fmla="*/ 6359237 w 6359237"/>
                  <a:gd name="connsiteY18" fmla="*/ 4675909 h 6567055"/>
                  <a:gd name="connsiteX19" fmla="*/ 6317673 w 6359237"/>
                  <a:gd name="connsiteY19" fmla="*/ 3013364 h 6567055"/>
                  <a:gd name="connsiteX0" fmla="*/ 6317673 w 6359237"/>
                  <a:gd name="connsiteY0" fmla="*/ 3013364 h 6567055"/>
                  <a:gd name="connsiteX1" fmla="*/ 4717473 w 6359237"/>
                  <a:gd name="connsiteY1" fmla="*/ 3408218 h 6567055"/>
                  <a:gd name="connsiteX2" fmla="*/ 4239491 w 6359237"/>
                  <a:gd name="connsiteY2" fmla="*/ 3366655 h 6567055"/>
                  <a:gd name="connsiteX3" fmla="*/ 3262746 w 6359237"/>
                  <a:gd name="connsiteY3" fmla="*/ 3865418 h 6567055"/>
                  <a:gd name="connsiteX4" fmla="*/ 2888673 w 6359237"/>
                  <a:gd name="connsiteY4" fmla="*/ 3990109 h 6567055"/>
                  <a:gd name="connsiteX5" fmla="*/ 2722418 w 6359237"/>
                  <a:gd name="connsiteY5" fmla="*/ 3366655 h 6567055"/>
                  <a:gd name="connsiteX6" fmla="*/ 2286000 w 6359237"/>
                  <a:gd name="connsiteY6" fmla="*/ 2348346 h 6567055"/>
                  <a:gd name="connsiteX7" fmla="*/ 1662546 w 6359237"/>
                  <a:gd name="connsiteY7" fmla="*/ 1371600 h 6567055"/>
                  <a:gd name="connsiteX8" fmla="*/ 1226128 w 6359237"/>
                  <a:gd name="connsiteY8" fmla="*/ 685800 h 6567055"/>
                  <a:gd name="connsiteX9" fmla="*/ 290946 w 6359237"/>
                  <a:gd name="connsiteY9" fmla="*/ 0 h 6567055"/>
                  <a:gd name="connsiteX10" fmla="*/ 83128 w 6359237"/>
                  <a:gd name="connsiteY10" fmla="*/ 62346 h 6567055"/>
                  <a:gd name="connsiteX11" fmla="*/ 0 w 6359237"/>
                  <a:gd name="connsiteY11" fmla="*/ 1579418 h 6567055"/>
                  <a:gd name="connsiteX12" fmla="*/ 228600 w 6359237"/>
                  <a:gd name="connsiteY12" fmla="*/ 2682289 h 6567055"/>
                  <a:gd name="connsiteX13" fmla="*/ 369774 w 6359237"/>
                  <a:gd name="connsiteY13" fmla="*/ 3502811 h 6567055"/>
                  <a:gd name="connsiteX14" fmla="*/ 1163782 w 6359237"/>
                  <a:gd name="connsiteY14" fmla="*/ 5257800 h 6567055"/>
                  <a:gd name="connsiteX15" fmla="*/ 2223655 w 6359237"/>
                  <a:gd name="connsiteY15" fmla="*/ 6567055 h 6567055"/>
                  <a:gd name="connsiteX16" fmla="*/ 3595255 w 6359237"/>
                  <a:gd name="connsiteY16" fmla="*/ 6151418 h 6567055"/>
                  <a:gd name="connsiteX17" fmla="*/ 4655128 w 6359237"/>
                  <a:gd name="connsiteY17" fmla="*/ 5985164 h 6567055"/>
                  <a:gd name="connsiteX18" fmla="*/ 6359237 w 6359237"/>
                  <a:gd name="connsiteY18" fmla="*/ 4675909 h 6567055"/>
                  <a:gd name="connsiteX19" fmla="*/ 6317673 w 6359237"/>
                  <a:gd name="connsiteY19" fmla="*/ 3013364 h 6567055"/>
                  <a:gd name="connsiteX0" fmla="*/ 6317673 w 6359237"/>
                  <a:gd name="connsiteY0" fmla="*/ 3034862 h 6588553"/>
                  <a:gd name="connsiteX1" fmla="*/ 4717473 w 6359237"/>
                  <a:gd name="connsiteY1" fmla="*/ 3429716 h 6588553"/>
                  <a:gd name="connsiteX2" fmla="*/ 4239491 w 6359237"/>
                  <a:gd name="connsiteY2" fmla="*/ 3388153 h 6588553"/>
                  <a:gd name="connsiteX3" fmla="*/ 3262746 w 6359237"/>
                  <a:gd name="connsiteY3" fmla="*/ 3886916 h 6588553"/>
                  <a:gd name="connsiteX4" fmla="*/ 2888673 w 6359237"/>
                  <a:gd name="connsiteY4" fmla="*/ 4011607 h 6588553"/>
                  <a:gd name="connsiteX5" fmla="*/ 2722418 w 6359237"/>
                  <a:gd name="connsiteY5" fmla="*/ 3388153 h 6588553"/>
                  <a:gd name="connsiteX6" fmla="*/ 2286000 w 6359237"/>
                  <a:gd name="connsiteY6" fmla="*/ 2369844 h 6588553"/>
                  <a:gd name="connsiteX7" fmla="*/ 1662546 w 6359237"/>
                  <a:gd name="connsiteY7" fmla="*/ 1393098 h 6588553"/>
                  <a:gd name="connsiteX8" fmla="*/ 1226128 w 6359237"/>
                  <a:gd name="connsiteY8" fmla="*/ 707298 h 6588553"/>
                  <a:gd name="connsiteX9" fmla="*/ 290946 w 6359237"/>
                  <a:gd name="connsiteY9" fmla="*/ 21498 h 6588553"/>
                  <a:gd name="connsiteX10" fmla="*/ 83128 w 6359237"/>
                  <a:gd name="connsiteY10" fmla="*/ 83844 h 6588553"/>
                  <a:gd name="connsiteX11" fmla="*/ 0 w 6359237"/>
                  <a:gd name="connsiteY11" fmla="*/ 1600916 h 6588553"/>
                  <a:gd name="connsiteX12" fmla="*/ 228600 w 6359237"/>
                  <a:gd name="connsiteY12" fmla="*/ 2703787 h 6588553"/>
                  <a:gd name="connsiteX13" fmla="*/ 369774 w 6359237"/>
                  <a:gd name="connsiteY13" fmla="*/ 3524309 h 6588553"/>
                  <a:gd name="connsiteX14" fmla="*/ 1163782 w 6359237"/>
                  <a:gd name="connsiteY14" fmla="*/ 5279298 h 6588553"/>
                  <a:gd name="connsiteX15" fmla="*/ 2223655 w 6359237"/>
                  <a:gd name="connsiteY15" fmla="*/ 6588553 h 6588553"/>
                  <a:gd name="connsiteX16" fmla="*/ 3595255 w 6359237"/>
                  <a:gd name="connsiteY16" fmla="*/ 6172916 h 6588553"/>
                  <a:gd name="connsiteX17" fmla="*/ 4655128 w 6359237"/>
                  <a:gd name="connsiteY17" fmla="*/ 6006662 h 6588553"/>
                  <a:gd name="connsiteX18" fmla="*/ 6359237 w 6359237"/>
                  <a:gd name="connsiteY18" fmla="*/ 4697407 h 6588553"/>
                  <a:gd name="connsiteX19" fmla="*/ 6317673 w 6359237"/>
                  <a:gd name="connsiteY19" fmla="*/ 3034862 h 6588553"/>
                  <a:gd name="connsiteX0" fmla="*/ 6317673 w 6359237"/>
                  <a:gd name="connsiteY0" fmla="*/ 3013364 h 6567055"/>
                  <a:gd name="connsiteX1" fmla="*/ 4717473 w 6359237"/>
                  <a:gd name="connsiteY1" fmla="*/ 3408218 h 6567055"/>
                  <a:gd name="connsiteX2" fmla="*/ 4239491 w 6359237"/>
                  <a:gd name="connsiteY2" fmla="*/ 3366655 h 6567055"/>
                  <a:gd name="connsiteX3" fmla="*/ 3262746 w 6359237"/>
                  <a:gd name="connsiteY3" fmla="*/ 3865418 h 6567055"/>
                  <a:gd name="connsiteX4" fmla="*/ 2888673 w 6359237"/>
                  <a:gd name="connsiteY4" fmla="*/ 3990109 h 6567055"/>
                  <a:gd name="connsiteX5" fmla="*/ 2722418 w 6359237"/>
                  <a:gd name="connsiteY5" fmla="*/ 3366655 h 6567055"/>
                  <a:gd name="connsiteX6" fmla="*/ 2286000 w 6359237"/>
                  <a:gd name="connsiteY6" fmla="*/ 2348346 h 6567055"/>
                  <a:gd name="connsiteX7" fmla="*/ 1662546 w 6359237"/>
                  <a:gd name="connsiteY7" fmla="*/ 1371600 h 6567055"/>
                  <a:gd name="connsiteX8" fmla="*/ 1226128 w 6359237"/>
                  <a:gd name="connsiteY8" fmla="*/ 685800 h 6567055"/>
                  <a:gd name="connsiteX9" fmla="*/ 290946 w 6359237"/>
                  <a:gd name="connsiteY9" fmla="*/ 0 h 6567055"/>
                  <a:gd name="connsiteX10" fmla="*/ 83128 w 6359237"/>
                  <a:gd name="connsiteY10" fmla="*/ 156939 h 6567055"/>
                  <a:gd name="connsiteX11" fmla="*/ 0 w 6359237"/>
                  <a:gd name="connsiteY11" fmla="*/ 1579418 h 6567055"/>
                  <a:gd name="connsiteX12" fmla="*/ 228600 w 6359237"/>
                  <a:gd name="connsiteY12" fmla="*/ 2682289 h 6567055"/>
                  <a:gd name="connsiteX13" fmla="*/ 369774 w 6359237"/>
                  <a:gd name="connsiteY13" fmla="*/ 3502811 h 6567055"/>
                  <a:gd name="connsiteX14" fmla="*/ 1163782 w 6359237"/>
                  <a:gd name="connsiteY14" fmla="*/ 5257800 h 6567055"/>
                  <a:gd name="connsiteX15" fmla="*/ 2223655 w 6359237"/>
                  <a:gd name="connsiteY15" fmla="*/ 6567055 h 6567055"/>
                  <a:gd name="connsiteX16" fmla="*/ 3595255 w 6359237"/>
                  <a:gd name="connsiteY16" fmla="*/ 6151418 h 6567055"/>
                  <a:gd name="connsiteX17" fmla="*/ 4655128 w 6359237"/>
                  <a:gd name="connsiteY17" fmla="*/ 5985164 h 6567055"/>
                  <a:gd name="connsiteX18" fmla="*/ 6359237 w 6359237"/>
                  <a:gd name="connsiteY18" fmla="*/ 4675909 h 6567055"/>
                  <a:gd name="connsiteX19" fmla="*/ 6317673 w 6359237"/>
                  <a:gd name="connsiteY19" fmla="*/ 3013364 h 6567055"/>
                  <a:gd name="connsiteX0" fmla="*/ 6317673 w 6359237"/>
                  <a:gd name="connsiteY0" fmla="*/ 3013364 h 6567055"/>
                  <a:gd name="connsiteX1" fmla="*/ 4717473 w 6359237"/>
                  <a:gd name="connsiteY1" fmla="*/ 3408218 h 6567055"/>
                  <a:gd name="connsiteX2" fmla="*/ 4239491 w 6359237"/>
                  <a:gd name="connsiteY2" fmla="*/ 3366655 h 6567055"/>
                  <a:gd name="connsiteX3" fmla="*/ 3262746 w 6359237"/>
                  <a:gd name="connsiteY3" fmla="*/ 3865418 h 6567055"/>
                  <a:gd name="connsiteX4" fmla="*/ 2888673 w 6359237"/>
                  <a:gd name="connsiteY4" fmla="*/ 3990109 h 6567055"/>
                  <a:gd name="connsiteX5" fmla="*/ 2722418 w 6359237"/>
                  <a:gd name="connsiteY5" fmla="*/ 3366655 h 6567055"/>
                  <a:gd name="connsiteX6" fmla="*/ 2286000 w 6359237"/>
                  <a:gd name="connsiteY6" fmla="*/ 2348346 h 6567055"/>
                  <a:gd name="connsiteX7" fmla="*/ 1662546 w 6359237"/>
                  <a:gd name="connsiteY7" fmla="*/ 1371600 h 6567055"/>
                  <a:gd name="connsiteX8" fmla="*/ 1226128 w 6359237"/>
                  <a:gd name="connsiteY8" fmla="*/ 685800 h 6567055"/>
                  <a:gd name="connsiteX9" fmla="*/ 290946 w 6359237"/>
                  <a:gd name="connsiteY9" fmla="*/ 0 h 6567055"/>
                  <a:gd name="connsiteX10" fmla="*/ 83128 w 6359237"/>
                  <a:gd name="connsiteY10" fmla="*/ 156939 h 6567055"/>
                  <a:gd name="connsiteX11" fmla="*/ 0 w 6359237"/>
                  <a:gd name="connsiteY11" fmla="*/ 1579418 h 6567055"/>
                  <a:gd name="connsiteX12" fmla="*/ 228600 w 6359237"/>
                  <a:gd name="connsiteY12" fmla="*/ 2682289 h 6567055"/>
                  <a:gd name="connsiteX13" fmla="*/ 369774 w 6359237"/>
                  <a:gd name="connsiteY13" fmla="*/ 3502811 h 6567055"/>
                  <a:gd name="connsiteX14" fmla="*/ 1163782 w 6359237"/>
                  <a:gd name="connsiteY14" fmla="*/ 5257800 h 6567055"/>
                  <a:gd name="connsiteX15" fmla="*/ 2223655 w 6359237"/>
                  <a:gd name="connsiteY15" fmla="*/ 6567055 h 6567055"/>
                  <a:gd name="connsiteX16" fmla="*/ 3595255 w 6359237"/>
                  <a:gd name="connsiteY16" fmla="*/ 6151418 h 6567055"/>
                  <a:gd name="connsiteX17" fmla="*/ 4655128 w 6359237"/>
                  <a:gd name="connsiteY17" fmla="*/ 5985164 h 6567055"/>
                  <a:gd name="connsiteX18" fmla="*/ 6359237 w 6359237"/>
                  <a:gd name="connsiteY18" fmla="*/ 4675909 h 6567055"/>
                  <a:gd name="connsiteX19" fmla="*/ 6317673 w 6359237"/>
                  <a:gd name="connsiteY19" fmla="*/ 3013364 h 6567055"/>
                  <a:gd name="connsiteX0" fmla="*/ 6317673 w 6359237"/>
                  <a:gd name="connsiteY0" fmla="*/ 3019097 h 6572788"/>
                  <a:gd name="connsiteX1" fmla="*/ 4717473 w 6359237"/>
                  <a:gd name="connsiteY1" fmla="*/ 3413951 h 6572788"/>
                  <a:gd name="connsiteX2" fmla="*/ 4239491 w 6359237"/>
                  <a:gd name="connsiteY2" fmla="*/ 3372388 h 6572788"/>
                  <a:gd name="connsiteX3" fmla="*/ 3262746 w 6359237"/>
                  <a:gd name="connsiteY3" fmla="*/ 3871151 h 6572788"/>
                  <a:gd name="connsiteX4" fmla="*/ 2888673 w 6359237"/>
                  <a:gd name="connsiteY4" fmla="*/ 3995842 h 6572788"/>
                  <a:gd name="connsiteX5" fmla="*/ 2722418 w 6359237"/>
                  <a:gd name="connsiteY5" fmla="*/ 3372388 h 6572788"/>
                  <a:gd name="connsiteX6" fmla="*/ 2286000 w 6359237"/>
                  <a:gd name="connsiteY6" fmla="*/ 2354079 h 6572788"/>
                  <a:gd name="connsiteX7" fmla="*/ 1662546 w 6359237"/>
                  <a:gd name="connsiteY7" fmla="*/ 1377333 h 6572788"/>
                  <a:gd name="connsiteX8" fmla="*/ 1226128 w 6359237"/>
                  <a:gd name="connsiteY8" fmla="*/ 691533 h 6572788"/>
                  <a:gd name="connsiteX9" fmla="*/ 290946 w 6359237"/>
                  <a:gd name="connsiteY9" fmla="*/ 5733 h 6572788"/>
                  <a:gd name="connsiteX10" fmla="*/ 83128 w 6359237"/>
                  <a:gd name="connsiteY10" fmla="*/ 162672 h 6572788"/>
                  <a:gd name="connsiteX11" fmla="*/ 0 w 6359237"/>
                  <a:gd name="connsiteY11" fmla="*/ 1585151 h 6572788"/>
                  <a:gd name="connsiteX12" fmla="*/ 228600 w 6359237"/>
                  <a:gd name="connsiteY12" fmla="*/ 2688022 h 6572788"/>
                  <a:gd name="connsiteX13" fmla="*/ 369774 w 6359237"/>
                  <a:gd name="connsiteY13" fmla="*/ 3508544 h 6572788"/>
                  <a:gd name="connsiteX14" fmla="*/ 1163782 w 6359237"/>
                  <a:gd name="connsiteY14" fmla="*/ 5263533 h 6572788"/>
                  <a:gd name="connsiteX15" fmla="*/ 2223655 w 6359237"/>
                  <a:gd name="connsiteY15" fmla="*/ 6572788 h 6572788"/>
                  <a:gd name="connsiteX16" fmla="*/ 3595255 w 6359237"/>
                  <a:gd name="connsiteY16" fmla="*/ 6157151 h 6572788"/>
                  <a:gd name="connsiteX17" fmla="*/ 4655128 w 6359237"/>
                  <a:gd name="connsiteY17" fmla="*/ 5990897 h 6572788"/>
                  <a:gd name="connsiteX18" fmla="*/ 6359237 w 6359237"/>
                  <a:gd name="connsiteY18" fmla="*/ 4681642 h 6572788"/>
                  <a:gd name="connsiteX19" fmla="*/ 6317673 w 6359237"/>
                  <a:gd name="connsiteY19" fmla="*/ 3019097 h 6572788"/>
                  <a:gd name="connsiteX0" fmla="*/ 6317673 w 6359237"/>
                  <a:gd name="connsiteY0" fmla="*/ 3019097 h 6572788"/>
                  <a:gd name="connsiteX1" fmla="*/ 4717473 w 6359237"/>
                  <a:gd name="connsiteY1" fmla="*/ 3413951 h 6572788"/>
                  <a:gd name="connsiteX2" fmla="*/ 4239491 w 6359237"/>
                  <a:gd name="connsiteY2" fmla="*/ 3372388 h 6572788"/>
                  <a:gd name="connsiteX3" fmla="*/ 3262746 w 6359237"/>
                  <a:gd name="connsiteY3" fmla="*/ 3871151 h 6572788"/>
                  <a:gd name="connsiteX4" fmla="*/ 2888673 w 6359237"/>
                  <a:gd name="connsiteY4" fmla="*/ 3995842 h 6572788"/>
                  <a:gd name="connsiteX5" fmla="*/ 2722418 w 6359237"/>
                  <a:gd name="connsiteY5" fmla="*/ 3372388 h 6572788"/>
                  <a:gd name="connsiteX6" fmla="*/ 2286000 w 6359237"/>
                  <a:gd name="connsiteY6" fmla="*/ 2354079 h 6572788"/>
                  <a:gd name="connsiteX7" fmla="*/ 1662546 w 6359237"/>
                  <a:gd name="connsiteY7" fmla="*/ 1377333 h 6572788"/>
                  <a:gd name="connsiteX8" fmla="*/ 1320721 w 6359237"/>
                  <a:gd name="connsiteY8" fmla="*/ 691533 h 6572788"/>
                  <a:gd name="connsiteX9" fmla="*/ 290946 w 6359237"/>
                  <a:gd name="connsiteY9" fmla="*/ 5733 h 6572788"/>
                  <a:gd name="connsiteX10" fmla="*/ 83128 w 6359237"/>
                  <a:gd name="connsiteY10" fmla="*/ 162672 h 6572788"/>
                  <a:gd name="connsiteX11" fmla="*/ 0 w 6359237"/>
                  <a:gd name="connsiteY11" fmla="*/ 1585151 h 6572788"/>
                  <a:gd name="connsiteX12" fmla="*/ 228600 w 6359237"/>
                  <a:gd name="connsiteY12" fmla="*/ 2688022 h 6572788"/>
                  <a:gd name="connsiteX13" fmla="*/ 369774 w 6359237"/>
                  <a:gd name="connsiteY13" fmla="*/ 3508544 h 6572788"/>
                  <a:gd name="connsiteX14" fmla="*/ 1163782 w 6359237"/>
                  <a:gd name="connsiteY14" fmla="*/ 5263533 h 6572788"/>
                  <a:gd name="connsiteX15" fmla="*/ 2223655 w 6359237"/>
                  <a:gd name="connsiteY15" fmla="*/ 6572788 h 6572788"/>
                  <a:gd name="connsiteX16" fmla="*/ 3595255 w 6359237"/>
                  <a:gd name="connsiteY16" fmla="*/ 6157151 h 6572788"/>
                  <a:gd name="connsiteX17" fmla="*/ 4655128 w 6359237"/>
                  <a:gd name="connsiteY17" fmla="*/ 5990897 h 6572788"/>
                  <a:gd name="connsiteX18" fmla="*/ 6359237 w 6359237"/>
                  <a:gd name="connsiteY18" fmla="*/ 4681642 h 6572788"/>
                  <a:gd name="connsiteX19" fmla="*/ 6317673 w 6359237"/>
                  <a:gd name="connsiteY19" fmla="*/ 3019097 h 6572788"/>
                  <a:gd name="connsiteX0" fmla="*/ 6317673 w 6359237"/>
                  <a:gd name="connsiteY0" fmla="*/ 3019097 h 6572788"/>
                  <a:gd name="connsiteX1" fmla="*/ 4717473 w 6359237"/>
                  <a:gd name="connsiteY1" fmla="*/ 3413951 h 6572788"/>
                  <a:gd name="connsiteX2" fmla="*/ 4239491 w 6359237"/>
                  <a:gd name="connsiteY2" fmla="*/ 3372388 h 6572788"/>
                  <a:gd name="connsiteX3" fmla="*/ 3262746 w 6359237"/>
                  <a:gd name="connsiteY3" fmla="*/ 3871151 h 6572788"/>
                  <a:gd name="connsiteX4" fmla="*/ 2888673 w 6359237"/>
                  <a:gd name="connsiteY4" fmla="*/ 3995842 h 6572788"/>
                  <a:gd name="connsiteX5" fmla="*/ 2722418 w 6359237"/>
                  <a:gd name="connsiteY5" fmla="*/ 3372388 h 6572788"/>
                  <a:gd name="connsiteX6" fmla="*/ 2286000 w 6359237"/>
                  <a:gd name="connsiteY6" fmla="*/ 2354079 h 6572788"/>
                  <a:gd name="connsiteX7" fmla="*/ 1757139 w 6359237"/>
                  <a:gd name="connsiteY7" fmla="*/ 1377333 h 6572788"/>
                  <a:gd name="connsiteX8" fmla="*/ 1320721 w 6359237"/>
                  <a:gd name="connsiteY8" fmla="*/ 691533 h 6572788"/>
                  <a:gd name="connsiteX9" fmla="*/ 290946 w 6359237"/>
                  <a:gd name="connsiteY9" fmla="*/ 5733 h 6572788"/>
                  <a:gd name="connsiteX10" fmla="*/ 83128 w 6359237"/>
                  <a:gd name="connsiteY10" fmla="*/ 162672 h 6572788"/>
                  <a:gd name="connsiteX11" fmla="*/ 0 w 6359237"/>
                  <a:gd name="connsiteY11" fmla="*/ 1585151 h 6572788"/>
                  <a:gd name="connsiteX12" fmla="*/ 228600 w 6359237"/>
                  <a:gd name="connsiteY12" fmla="*/ 2688022 h 6572788"/>
                  <a:gd name="connsiteX13" fmla="*/ 369774 w 6359237"/>
                  <a:gd name="connsiteY13" fmla="*/ 3508544 h 6572788"/>
                  <a:gd name="connsiteX14" fmla="*/ 1163782 w 6359237"/>
                  <a:gd name="connsiteY14" fmla="*/ 5263533 h 6572788"/>
                  <a:gd name="connsiteX15" fmla="*/ 2223655 w 6359237"/>
                  <a:gd name="connsiteY15" fmla="*/ 6572788 h 6572788"/>
                  <a:gd name="connsiteX16" fmla="*/ 3595255 w 6359237"/>
                  <a:gd name="connsiteY16" fmla="*/ 6157151 h 6572788"/>
                  <a:gd name="connsiteX17" fmla="*/ 4655128 w 6359237"/>
                  <a:gd name="connsiteY17" fmla="*/ 5990897 h 6572788"/>
                  <a:gd name="connsiteX18" fmla="*/ 6359237 w 6359237"/>
                  <a:gd name="connsiteY18" fmla="*/ 4681642 h 6572788"/>
                  <a:gd name="connsiteX19" fmla="*/ 6317673 w 6359237"/>
                  <a:gd name="connsiteY19" fmla="*/ 3019097 h 6572788"/>
                  <a:gd name="connsiteX0" fmla="*/ 6317673 w 6359237"/>
                  <a:gd name="connsiteY0" fmla="*/ 3019097 h 6572788"/>
                  <a:gd name="connsiteX1" fmla="*/ 4717473 w 6359237"/>
                  <a:gd name="connsiteY1" fmla="*/ 3413951 h 6572788"/>
                  <a:gd name="connsiteX2" fmla="*/ 4239491 w 6359237"/>
                  <a:gd name="connsiteY2" fmla="*/ 3372388 h 6572788"/>
                  <a:gd name="connsiteX3" fmla="*/ 3262746 w 6359237"/>
                  <a:gd name="connsiteY3" fmla="*/ 3871151 h 6572788"/>
                  <a:gd name="connsiteX4" fmla="*/ 2888673 w 6359237"/>
                  <a:gd name="connsiteY4" fmla="*/ 3995842 h 6572788"/>
                  <a:gd name="connsiteX5" fmla="*/ 2722418 w 6359237"/>
                  <a:gd name="connsiteY5" fmla="*/ 3372388 h 6572788"/>
                  <a:gd name="connsiteX6" fmla="*/ 2286000 w 6359237"/>
                  <a:gd name="connsiteY6" fmla="*/ 2354079 h 6572788"/>
                  <a:gd name="connsiteX7" fmla="*/ 1757139 w 6359237"/>
                  <a:gd name="connsiteY7" fmla="*/ 1377333 h 6572788"/>
                  <a:gd name="connsiteX8" fmla="*/ 1320721 w 6359237"/>
                  <a:gd name="connsiteY8" fmla="*/ 691533 h 6572788"/>
                  <a:gd name="connsiteX9" fmla="*/ 290946 w 6359237"/>
                  <a:gd name="connsiteY9" fmla="*/ 5733 h 6572788"/>
                  <a:gd name="connsiteX10" fmla="*/ 83128 w 6359237"/>
                  <a:gd name="connsiteY10" fmla="*/ 162672 h 6572788"/>
                  <a:gd name="connsiteX11" fmla="*/ 0 w 6359237"/>
                  <a:gd name="connsiteY11" fmla="*/ 1585151 h 6572788"/>
                  <a:gd name="connsiteX12" fmla="*/ 228600 w 6359237"/>
                  <a:gd name="connsiteY12" fmla="*/ 2688022 h 6572788"/>
                  <a:gd name="connsiteX13" fmla="*/ 369774 w 6359237"/>
                  <a:gd name="connsiteY13" fmla="*/ 3508544 h 6572788"/>
                  <a:gd name="connsiteX14" fmla="*/ 1163782 w 6359237"/>
                  <a:gd name="connsiteY14" fmla="*/ 5263533 h 6572788"/>
                  <a:gd name="connsiteX15" fmla="*/ 2223655 w 6359237"/>
                  <a:gd name="connsiteY15" fmla="*/ 6572788 h 6572788"/>
                  <a:gd name="connsiteX16" fmla="*/ 3595255 w 6359237"/>
                  <a:gd name="connsiteY16" fmla="*/ 6157151 h 6572788"/>
                  <a:gd name="connsiteX17" fmla="*/ 4655128 w 6359237"/>
                  <a:gd name="connsiteY17" fmla="*/ 5990897 h 6572788"/>
                  <a:gd name="connsiteX18" fmla="*/ 6359237 w 6359237"/>
                  <a:gd name="connsiteY18" fmla="*/ 4681642 h 6572788"/>
                  <a:gd name="connsiteX19" fmla="*/ 6317673 w 6359237"/>
                  <a:gd name="connsiteY19" fmla="*/ 3019097 h 6572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359237" h="6572788">
                    <a:moveTo>
                      <a:pt x="6317673" y="3019097"/>
                    </a:moveTo>
                    <a:lnTo>
                      <a:pt x="4717473" y="3413951"/>
                    </a:lnTo>
                    <a:cubicBezTo>
                      <a:pt x="4232622" y="3350710"/>
                      <a:pt x="4239491" y="3190929"/>
                      <a:pt x="4239491" y="3372388"/>
                    </a:cubicBezTo>
                    <a:lnTo>
                      <a:pt x="3262746" y="3871151"/>
                    </a:lnTo>
                    <a:lnTo>
                      <a:pt x="2888673" y="3995842"/>
                    </a:lnTo>
                    <a:lnTo>
                      <a:pt x="2722418" y="3372388"/>
                    </a:lnTo>
                    <a:lnTo>
                      <a:pt x="2286000" y="2354079"/>
                    </a:lnTo>
                    <a:cubicBezTo>
                      <a:pt x="2075002" y="2030549"/>
                      <a:pt x="1930560" y="1763587"/>
                      <a:pt x="1757139" y="1377333"/>
                    </a:cubicBezTo>
                    <a:lnTo>
                      <a:pt x="1320721" y="691533"/>
                    </a:lnTo>
                    <a:lnTo>
                      <a:pt x="290946" y="5733"/>
                    </a:lnTo>
                    <a:cubicBezTo>
                      <a:pt x="221673" y="26515"/>
                      <a:pt x="105104" y="0"/>
                      <a:pt x="83128" y="162672"/>
                    </a:cubicBezTo>
                    <a:lnTo>
                      <a:pt x="0" y="1585151"/>
                    </a:lnTo>
                    <a:lnTo>
                      <a:pt x="228600" y="2688022"/>
                    </a:lnTo>
                    <a:cubicBezTo>
                      <a:pt x="249382" y="2972040"/>
                      <a:pt x="301695" y="3145699"/>
                      <a:pt x="369774" y="3508544"/>
                    </a:cubicBezTo>
                    <a:cubicBezTo>
                      <a:pt x="597657" y="4235430"/>
                      <a:pt x="809775" y="4678537"/>
                      <a:pt x="1163782" y="5263533"/>
                    </a:cubicBezTo>
                    <a:lnTo>
                      <a:pt x="2223655" y="6572788"/>
                    </a:lnTo>
                    <a:lnTo>
                      <a:pt x="3595255" y="6157151"/>
                    </a:lnTo>
                    <a:cubicBezTo>
                      <a:pt x="3948375" y="6100652"/>
                      <a:pt x="4297517" y="5990897"/>
                      <a:pt x="4655128" y="5990897"/>
                    </a:cubicBezTo>
                    <a:cubicBezTo>
                      <a:pt x="5226514" y="5558873"/>
                      <a:pt x="6359237" y="5397970"/>
                      <a:pt x="6359237" y="4681642"/>
                    </a:cubicBezTo>
                    <a:lnTo>
                      <a:pt x="6317673" y="301909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80" name="Freeform 291">
                <a:extLst>
                  <a:ext uri="{FF2B5EF4-FFF2-40B4-BE49-F238E27FC236}">
                    <a16:creationId xmlns:a16="http://schemas.microsoft.com/office/drawing/2014/main" id="{6E1E42C5-AB89-4B30-972E-0B06A8394B14}"/>
                  </a:ext>
                </a:extLst>
              </p:cNvPr>
              <p:cNvSpPr/>
              <p:nvPr/>
            </p:nvSpPr>
            <p:spPr>
              <a:xfrm rot="21114987" flipH="1">
                <a:off x="7007505" y="2661795"/>
                <a:ext cx="457847" cy="403598"/>
              </a:xfrm>
              <a:custGeom>
                <a:avLst/>
                <a:gdLst>
                  <a:gd name="connsiteX0" fmla="*/ 101326 w 3821271"/>
                  <a:gd name="connsiteY0" fmla="*/ 0 h 3387437"/>
                  <a:gd name="connsiteX1" fmla="*/ 891035 w 3821271"/>
                  <a:gd name="connsiteY1" fmla="*/ 1143000 h 3387437"/>
                  <a:gd name="connsiteX2" fmla="*/ 1701526 w 3821271"/>
                  <a:gd name="connsiteY2" fmla="*/ 2847109 h 3387437"/>
                  <a:gd name="connsiteX3" fmla="*/ 1743089 w 3821271"/>
                  <a:gd name="connsiteY3" fmla="*/ 3221182 h 3387437"/>
                  <a:gd name="connsiteX4" fmla="*/ 2200289 w 3821271"/>
                  <a:gd name="connsiteY4" fmla="*/ 3054928 h 3387437"/>
                  <a:gd name="connsiteX5" fmla="*/ 2324980 w 3821271"/>
                  <a:gd name="connsiteY5" fmla="*/ 2784764 h 3387437"/>
                  <a:gd name="connsiteX6" fmla="*/ 2221071 w 3821271"/>
                  <a:gd name="connsiteY6" fmla="*/ 2286000 h 3387437"/>
                  <a:gd name="connsiteX7" fmla="*/ 2595144 w 3821271"/>
                  <a:gd name="connsiteY7" fmla="*/ 2722419 h 3387437"/>
                  <a:gd name="connsiteX8" fmla="*/ 3364071 w 3821271"/>
                  <a:gd name="connsiteY8" fmla="*/ 2535382 h 3387437"/>
                  <a:gd name="connsiteX9" fmla="*/ 3779707 w 3821271"/>
                  <a:gd name="connsiteY9" fmla="*/ 2639291 h 3387437"/>
                  <a:gd name="connsiteX10" fmla="*/ 3821271 w 3821271"/>
                  <a:gd name="connsiteY10" fmla="*/ 2701637 h 3387437"/>
                  <a:gd name="connsiteX11" fmla="*/ 3052344 w 3821271"/>
                  <a:gd name="connsiteY11" fmla="*/ 2784764 h 3387437"/>
                  <a:gd name="connsiteX12" fmla="*/ 2470453 w 3821271"/>
                  <a:gd name="connsiteY12" fmla="*/ 3075709 h 3387437"/>
                  <a:gd name="connsiteX13" fmla="*/ 1701526 w 3821271"/>
                  <a:gd name="connsiteY13" fmla="*/ 3387437 h 3387437"/>
                  <a:gd name="connsiteX14" fmla="*/ 1514489 w 3821271"/>
                  <a:gd name="connsiteY14" fmla="*/ 3096491 h 3387437"/>
                  <a:gd name="connsiteX15" fmla="*/ 1493707 w 3821271"/>
                  <a:gd name="connsiteY15" fmla="*/ 2805546 h 3387437"/>
                  <a:gd name="connsiteX16" fmla="*/ 1327453 w 3821271"/>
                  <a:gd name="connsiteY16" fmla="*/ 2618509 h 3387437"/>
                  <a:gd name="connsiteX17" fmla="*/ 1265107 w 3821271"/>
                  <a:gd name="connsiteY17" fmla="*/ 2182091 h 3387437"/>
                  <a:gd name="connsiteX18" fmla="*/ 703998 w 3821271"/>
                  <a:gd name="connsiteY18" fmla="*/ 1226128 h 3387437"/>
                  <a:gd name="connsiteX19" fmla="*/ 38980 w 3821271"/>
                  <a:gd name="connsiteY19" fmla="*/ 935182 h 3387437"/>
                  <a:gd name="connsiteX20" fmla="*/ 496180 w 3821271"/>
                  <a:gd name="connsiteY20" fmla="*/ 914400 h 3387437"/>
                  <a:gd name="connsiteX21" fmla="*/ 205235 w 3821271"/>
                  <a:gd name="connsiteY21" fmla="*/ 457200 h 3387437"/>
                  <a:gd name="connsiteX22" fmla="*/ 101326 w 3821271"/>
                  <a:gd name="connsiteY22" fmla="*/ 0 h 3387437"/>
                  <a:gd name="connsiteX0" fmla="*/ 101326 w 3821271"/>
                  <a:gd name="connsiteY0" fmla="*/ 0 h 3387437"/>
                  <a:gd name="connsiteX1" fmla="*/ 891035 w 3821271"/>
                  <a:gd name="connsiteY1" fmla="*/ 1143000 h 3387437"/>
                  <a:gd name="connsiteX2" fmla="*/ 1701526 w 3821271"/>
                  <a:gd name="connsiteY2" fmla="*/ 2847109 h 3387437"/>
                  <a:gd name="connsiteX3" fmla="*/ 1743089 w 3821271"/>
                  <a:gd name="connsiteY3" fmla="*/ 3221182 h 3387437"/>
                  <a:gd name="connsiteX4" fmla="*/ 2200289 w 3821271"/>
                  <a:gd name="connsiteY4" fmla="*/ 3054928 h 3387437"/>
                  <a:gd name="connsiteX5" fmla="*/ 2324980 w 3821271"/>
                  <a:gd name="connsiteY5" fmla="*/ 2784764 h 3387437"/>
                  <a:gd name="connsiteX6" fmla="*/ 2221071 w 3821271"/>
                  <a:gd name="connsiteY6" fmla="*/ 2286000 h 3387437"/>
                  <a:gd name="connsiteX7" fmla="*/ 2595144 w 3821271"/>
                  <a:gd name="connsiteY7" fmla="*/ 2722419 h 3387437"/>
                  <a:gd name="connsiteX8" fmla="*/ 3364071 w 3821271"/>
                  <a:gd name="connsiteY8" fmla="*/ 2535382 h 3387437"/>
                  <a:gd name="connsiteX9" fmla="*/ 3779707 w 3821271"/>
                  <a:gd name="connsiteY9" fmla="*/ 2639291 h 3387437"/>
                  <a:gd name="connsiteX10" fmla="*/ 3821271 w 3821271"/>
                  <a:gd name="connsiteY10" fmla="*/ 2701637 h 3387437"/>
                  <a:gd name="connsiteX11" fmla="*/ 3052344 w 3821271"/>
                  <a:gd name="connsiteY11" fmla="*/ 2784764 h 3387437"/>
                  <a:gd name="connsiteX12" fmla="*/ 2470453 w 3821271"/>
                  <a:gd name="connsiteY12" fmla="*/ 3075709 h 3387437"/>
                  <a:gd name="connsiteX13" fmla="*/ 1701526 w 3821271"/>
                  <a:gd name="connsiteY13" fmla="*/ 3387437 h 3387437"/>
                  <a:gd name="connsiteX14" fmla="*/ 1514489 w 3821271"/>
                  <a:gd name="connsiteY14" fmla="*/ 3096491 h 3387437"/>
                  <a:gd name="connsiteX15" fmla="*/ 1493707 w 3821271"/>
                  <a:gd name="connsiteY15" fmla="*/ 2805546 h 3387437"/>
                  <a:gd name="connsiteX16" fmla="*/ 1327453 w 3821271"/>
                  <a:gd name="connsiteY16" fmla="*/ 2618509 h 3387437"/>
                  <a:gd name="connsiteX17" fmla="*/ 1265107 w 3821271"/>
                  <a:gd name="connsiteY17" fmla="*/ 2182091 h 3387437"/>
                  <a:gd name="connsiteX18" fmla="*/ 703998 w 3821271"/>
                  <a:gd name="connsiteY18" fmla="*/ 1226128 h 3387437"/>
                  <a:gd name="connsiteX19" fmla="*/ 38980 w 3821271"/>
                  <a:gd name="connsiteY19" fmla="*/ 935182 h 3387437"/>
                  <a:gd name="connsiteX20" fmla="*/ 496180 w 3821271"/>
                  <a:gd name="connsiteY20" fmla="*/ 914400 h 3387437"/>
                  <a:gd name="connsiteX21" fmla="*/ 205235 w 3821271"/>
                  <a:gd name="connsiteY21" fmla="*/ 457200 h 3387437"/>
                  <a:gd name="connsiteX22" fmla="*/ 101326 w 3821271"/>
                  <a:gd name="connsiteY22" fmla="*/ 0 h 3387437"/>
                  <a:gd name="connsiteX0" fmla="*/ 101326 w 3821271"/>
                  <a:gd name="connsiteY0" fmla="*/ 0 h 3387437"/>
                  <a:gd name="connsiteX1" fmla="*/ 891035 w 3821271"/>
                  <a:gd name="connsiteY1" fmla="*/ 1143000 h 3387437"/>
                  <a:gd name="connsiteX2" fmla="*/ 1701526 w 3821271"/>
                  <a:gd name="connsiteY2" fmla="*/ 2847109 h 3387437"/>
                  <a:gd name="connsiteX3" fmla="*/ 1743089 w 3821271"/>
                  <a:gd name="connsiteY3" fmla="*/ 3221182 h 3387437"/>
                  <a:gd name="connsiteX4" fmla="*/ 2200289 w 3821271"/>
                  <a:gd name="connsiteY4" fmla="*/ 3054928 h 3387437"/>
                  <a:gd name="connsiteX5" fmla="*/ 2324980 w 3821271"/>
                  <a:gd name="connsiteY5" fmla="*/ 2784764 h 3387437"/>
                  <a:gd name="connsiteX6" fmla="*/ 2221071 w 3821271"/>
                  <a:gd name="connsiteY6" fmla="*/ 2286000 h 3387437"/>
                  <a:gd name="connsiteX7" fmla="*/ 2595144 w 3821271"/>
                  <a:gd name="connsiteY7" fmla="*/ 2722419 h 3387437"/>
                  <a:gd name="connsiteX8" fmla="*/ 3364071 w 3821271"/>
                  <a:gd name="connsiteY8" fmla="*/ 2535382 h 3387437"/>
                  <a:gd name="connsiteX9" fmla="*/ 3779707 w 3821271"/>
                  <a:gd name="connsiteY9" fmla="*/ 2639291 h 3387437"/>
                  <a:gd name="connsiteX10" fmla="*/ 3821271 w 3821271"/>
                  <a:gd name="connsiteY10" fmla="*/ 2701637 h 3387437"/>
                  <a:gd name="connsiteX11" fmla="*/ 3052344 w 3821271"/>
                  <a:gd name="connsiteY11" fmla="*/ 2784764 h 3387437"/>
                  <a:gd name="connsiteX12" fmla="*/ 2470453 w 3821271"/>
                  <a:gd name="connsiteY12" fmla="*/ 3075709 h 3387437"/>
                  <a:gd name="connsiteX13" fmla="*/ 1701526 w 3821271"/>
                  <a:gd name="connsiteY13" fmla="*/ 3387437 h 3387437"/>
                  <a:gd name="connsiteX14" fmla="*/ 1514489 w 3821271"/>
                  <a:gd name="connsiteY14" fmla="*/ 3096491 h 3387437"/>
                  <a:gd name="connsiteX15" fmla="*/ 1493707 w 3821271"/>
                  <a:gd name="connsiteY15" fmla="*/ 2805546 h 3387437"/>
                  <a:gd name="connsiteX16" fmla="*/ 1327453 w 3821271"/>
                  <a:gd name="connsiteY16" fmla="*/ 2618509 h 3387437"/>
                  <a:gd name="connsiteX17" fmla="*/ 1265107 w 3821271"/>
                  <a:gd name="connsiteY17" fmla="*/ 2182091 h 3387437"/>
                  <a:gd name="connsiteX18" fmla="*/ 703998 w 3821271"/>
                  <a:gd name="connsiteY18" fmla="*/ 1226128 h 3387437"/>
                  <a:gd name="connsiteX19" fmla="*/ 38980 w 3821271"/>
                  <a:gd name="connsiteY19" fmla="*/ 935182 h 3387437"/>
                  <a:gd name="connsiteX20" fmla="*/ 496180 w 3821271"/>
                  <a:gd name="connsiteY20" fmla="*/ 914400 h 3387437"/>
                  <a:gd name="connsiteX21" fmla="*/ 205235 w 3821271"/>
                  <a:gd name="connsiteY21" fmla="*/ 457200 h 3387437"/>
                  <a:gd name="connsiteX22" fmla="*/ 101326 w 3821271"/>
                  <a:gd name="connsiteY22" fmla="*/ 0 h 3387437"/>
                  <a:gd name="connsiteX0" fmla="*/ 101326 w 3821271"/>
                  <a:gd name="connsiteY0" fmla="*/ 0 h 3387437"/>
                  <a:gd name="connsiteX1" fmla="*/ 891035 w 3821271"/>
                  <a:gd name="connsiteY1" fmla="*/ 1143000 h 3387437"/>
                  <a:gd name="connsiteX2" fmla="*/ 1701526 w 3821271"/>
                  <a:gd name="connsiteY2" fmla="*/ 2847109 h 3387437"/>
                  <a:gd name="connsiteX3" fmla="*/ 1743089 w 3821271"/>
                  <a:gd name="connsiteY3" fmla="*/ 3221182 h 3387437"/>
                  <a:gd name="connsiteX4" fmla="*/ 2200289 w 3821271"/>
                  <a:gd name="connsiteY4" fmla="*/ 3054928 h 3387437"/>
                  <a:gd name="connsiteX5" fmla="*/ 2324980 w 3821271"/>
                  <a:gd name="connsiteY5" fmla="*/ 2784764 h 3387437"/>
                  <a:gd name="connsiteX6" fmla="*/ 2221071 w 3821271"/>
                  <a:gd name="connsiteY6" fmla="*/ 2286000 h 3387437"/>
                  <a:gd name="connsiteX7" fmla="*/ 2595144 w 3821271"/>
                  <a:gd name="connsiteY7" fmla="*/ 2722419 h 3387437"/>
                  <a:gd name="connsiteX8" fmla="*/ 3364071 w 3821271"/>
                  <a:gd name="connsiteY8" fmla="*/ 2535382 h 3387437"/>
                  <a:gd name="connsiteX9" fmla="*/ 3779707 w 3821271"/>
                  <a:gd name="connsiteY9" fmla="*/ 2639291 h 3387437"/>
                  <a:gd name="connsiteX10" fmla="*/ 3821271 w 3821271"/>
                  <a:gd name="connsiteY10" fmla="*/ 2701637 h 3387437"/>
                  <a:gd name="connsiteX11" fmla="*/ 3052344 w 3821271"/>
                  <a:gd name="connsiteY11" fmla="*/ 2784764 h 3387437"/>
                  <a:gd name="connsiteX12" fmla="*/ 2470453 w 3821271"/>
                  <a:gd name="connsiteY12" fmla="*/ 3075709 h 3387437"/>
                  <a:gd name="connsiteX13" fmla="*/ 1701526 w 3821271"/>
                  <a:gd name="connsiteY13" fmla="*/ 3387437 h 3387437"/>
                  <a:gd name="connsiteX14" fmla="*/ 1514489 w 3821271"/>
                  <a:gd name="connsiteY14" fmla="*/ 3096491 h 3387437"/>
                  <a:gd name="connsiteX15" fmla="*/ 1493707 w 3821271"/>
                  <a:gd name="connsiteY15" fmla="*/ 2805546 h 3387437"/>
                  <a:gd name="connsiteX16" fmla="*/ 1327453 w 3821271"/>
                  <a:gd name="connsiteY16" fmla="*/ 2618509 h 3387437"/>
                  <a:gd name="connsiteX17" fmla="*/ 1265107 w 3821271"/>
                  <a:gd name="connsiteY17" fmla="*/ 2182091 h 3387437"/>
                  <a:gd name="connsiteX18" fmla="*/ 703998 w 3821271"/>
                  <a:gd name="connsiteY18" fmla="*/ 1226128 h 3387437"/>
                  <a:gd name="connsiteX19" fmla="*/ 38980 w 3821271"/>
                  <a:gd name="connsiteY19" fmla="*/ 935182 h 3387437"/>
                  <a:gd name="connsiteX20" fmla="*/ 496180 w 3821271"/>
                  <a:gd name="connsiteY20" fmla="*/ 914400 h 3387437"/>
                  <a:gd name="connsiteX21" fmla="*/ 205235 w 3821271"/>
                  <a:gd name="connsiteY21" fmla="*/ 457200 h 3387437"/>
                  <a:gd name="connsiteX22" fmla="*/ 101326 w 3821271"/>
                  <a:gd name="connsiteY22" fmla="*/ 0 h 3387437"/>
                  <a:gd name="connsiteX0" fmla="*/ 101326 w 3821271"/>
                  <a:gd name="connsiteY0" fmla="*/ 0 h 3387437"/>
                  <a:gd name="connsiteX1" fmla="*/ 891035 w 3821271"/>
                  <a:gd name="connsiteY1" fmla="*/ 1143000 h 3387437"/>
                  <a:gd name="connsiteX2" fmla="*/ 1701526 w 3821271"/>
                  <a:gd name="connsiteY2" fmla="*/ 2847109 h 3387437"/>
                  <a:gd name="connsiteX3" fmla="*/ 1743089 w 3821271"/>
                  <a:gd name="connsiteY3" fmla="*/ 3221182 h 3387437"/>
                  <a:gd name="connsiteX4" fmla="*/ 2200289 w 3821271"/>
                  <a:gd name="connsiteY4" fmla="*/ 3054928 h 3387437"/>
                  <a:gd name="connsiteX5" fmla="*/ 2324980 w 3821271"/>
                  <a:gd name="connsiteY5" fmla="*/ 2784764 h 3387437"/>
                  <a:gd name="connsiteX6" fmla="*/ 2221071 w 3821271"/>
                  <a:gd name="connsiteY6" fmla="*/ 2286000 h 3387437"/>
                  <a:gd name="connsiteX7" fmla="*/ 2595144 w 3821271"/>
                  <a:gd name="connsiteY7" fmla="*/ 2722419 h 3387437"/>
                  <a:gd name="connsiteX8" fmla="*/ 3364071 w 3821271"/>
                  <a:gd name="connsiteY8" fmla="*/ 2535382 h 3387437"/>
                  <a:gd name="connsiteX9" fmla="*/ 3779707 w 3821271"/>
                  <a:gd name="connsiteY9" fmla="*/ 2639291 h 3387437"/>
                  <a:gd name="connsiteX10" fmla="*/ 3821271 w 3821271"/>
                  <a:gd name="connsiteY10" fmla="*/ 2701637 h 3387437"/>
                  <a:gd name="connsiteX11" fmla="*/ 3052344 w 3821271"/>
                  <a:gd name="connsiteY11" fmla="*/ 2784764 h 3387437"/>
                  <a:gd name="connsiteX12" fmla="*/ 2470453 w 3821271"/>
                  <a:gd name="connsiteY12" fmla="*/ 3075709 h 3387437"/>
                  <a:gd name="connsiteX13" fmla="*/ 1701526 w 3821271"/>
                  <a:gd name="connsiteY13" fmla="*/ 3387437 h 3387437"/>
                  <a:gd name="connsiteX14" fmla="*/ 1514489 w 3821271"/>
                  <a:gd name="connsiteY14" fmla="*/ 3096491 h 3387437"/>
                  <a:gd name="connsiteX15" fmla="*/ 1493707 w 3821271"/>
                  <a:gd name="connsiteY15" fmla="*/ 2805546 h 3387437"/>
                  <a:gd name="connsiteX16" fmla="*/ 1327453 w 3821271"/>
                  <a:gd name="connsiteY16" fmla="*/ 2618509 h 3387437"/>
                  <a:gd name="connsiteX17" fmla="*/ 1265107 w 3821271"/>
                  <a:gd name="connsiteY17" fmla="*/ 2182091 h 3387437"/>
                  <a:gd name="connsiteX18" fmla="*/ 703998 w 3821271"/>
                  <a:gd name="connsiteY18" fmla="*/ 1226128 h 3387437"/>
                  <a:gd name="connsiteX19" fmla="*/ 38980 w 3821271"/>
                  <a:gd name="connsiteY19" fmla="*/ 935182 h 3387437"/>
                  <a:gd name="connsiteX20" fmla="*/ 496180 w 3821271"/>
                  <a:gd name="connsiteY20" fmla="*/ 914400 h 3387437"/>
                  <a:gd name="connsiteX21" fmla="*/ 205235 w 3821271"/>
                  <a:gd name="connsiteY21" fmla="*/ 457200 h 3387437"/>
                  <a:gd name="connsiteX22" fmla="*/ 101326 w 3821271"/>
                  <a:gd name="connsiteY22" fmla="*/ 0 h 3387437"/>
                  <a:gd name="connsiteX0" fmla="*/ 101326 w 3821271"/>
                  <a:gd name="connsiteY0" fmla="*/ 0 h 3387437"/>
                  <a:gd name="connsiteX1" fmla="*/ 891035 w 3821271"/>
                  <a:gd name="connsiteY1" fmla="*/ 1143000 h 3387437"/>
                  <a:gd name="connsiteX2" fmla="*/ 1701526 w 3821271"/>
                  <a:gd name="connsiteY2" fmla="*/ 2847109 h 3387437"/>
                  <a:gd name="connsiteX3" fmla="*/ 1743089 w 3821271"/>
                  <a:gd name="connsiteY3" fmla="*/ 3221182 h 3387437"/>
                  <a:gd name="connsiteX4" fmla="*/ 2200289 w 3821271"/>
                  <a:gd name="connsiteY4" fmla="*/ 3054928 h 3387437"/>
                  <a:gd name="connsiteX5" fmla="*/ 2324980 w 3821271"/>
                  <a:gd name="connsiteY5" fmla="*/ 2784764 h 3387437"/>
                  <a:gd name="connsiteX6" fmla="*/ 2221071 w 3821271"/>
                  <a:gd name="connsiteY6" fmla="*/ 2286000 h 3387437"/>
                  <a:gd name="connsiteX7" fmla="*/ 2595144 w 3821271"/>
                  <a:gd name="connsiteY7" fmla="*/ 2722419 h 3387437"/>
                  <a:gd name="connsiteX8" fmla="*/ 3364071 w 3821271"/>
                  <a:gd name="connsiteY8" fmla="*/ 2535382 h 3387437"/>
                  <a:gd name="connsiteX9" fmla="*/ 3779707 w 3821271"/>
                  <a:gd name="connsiteY9" fmla="*/ 2639291 h 3387437"/>
                  <a:gd name="connsiteX10" fmla="*/ 3821271 w 3821271"/>
                  <a:gd name="connsiteY10" fmla="*/ 2701637 h 3387437"/>
                  <a:gd name="connsiteX11" fmla="*/ 3052344 w 3821271"/>
                  <a:gd name="connsiteY11" fmla="*/ 2784764 h 3387437"/>
                  <a:gd name="connsiteX12" fmla="*/ 2470453 w 3821271"/>
                  <a:gd name="connsiteY12" fmla="*/ 3075709 h 3387437"/>
                  <a:gd name="connsiteX13" fmla="*/ 1701526 w 3821271"/>
                  <a:gd name="connsiteY13" fmla="*/ 3387437 h 3387437"/>
                  <a:gd name="connsiteX14" fmla="*/ 1514489 w 3821271"/>
                  <a:gd name="connsiteY14" fmla="*/ 3096491 h 3387437"/>
                  <a:gd name="connsiteX15" fmla="*/ 1493707 w 3821271"/>
                  <a:gd name="connsiteY15" fmla="*/ 2805546 h 3387437"/>
                  <a:gd name="connsiteX16" fmla="*/ 1327453 w 3821271"/>
                  <a:gd name="connsiteY16" fmla="*/ 2618509 h 3387437"/>
                  <a:gd name="connsiteX17" fmla="*/ 1265107 w 3821271"/>
                  <a:gd name="connsiteY17" fmla="*/ 2182091 h 3387437"/>
                  <a:gd name="connsiteX18" fmla="*/ 703998 w 3821271"/>
                  <a:gd name="connsiteY18" fmla="*/ 1226128 h 3387437"/>
                  <a:gd name="connsiteX19" fmla="*/ 38980 w 3821271"/>
                  <a:gd name="connsiteY19" fmla="*/ 935182 h 3387437"/>
                  <a:gd name="connsiteX20" fmla="*/ 496180 w 3821271"/>
                  <a:gd name="connsiteY20" fmla="*/ 914400 h 3387437"/>
                  <a:gd name="connsiteX21" fmla="*/ 205235 w 3821271"/>
                  <a:gd name="connsiteY21" fmla="*/ 457200 h 3387437"/>
                  <a:gd name="connsiteX22" fmla="*/ 101326 w 3821271"/>
                  <a:gd name="connsiteY22" fmla="*/ 0 h 3387437"/>
                  <a:gd name="connsiteX0" fmla="*/ 101326 w 3821271"/>
                  <a:gd name="connsiteY0" fmla="*/ 0 h 3387437"/>
                  <a:gd name="connsiteX1" fmla="*/ 891035 w 3821271"/>
                  <a:gd name="connsiteY1" fmla="*/ 1143000 h 3387437"/>
                  <a:gd name="connsiteX2" fmla="*/ 1701526 w 3821271"/>
                  <a:gd name="connsiteY2" fmla="*/ 2847109 h 3387437"/>
                  <a:gd name="connsiteX3" fmla="*/ 1743089 w 3821271"/>
                  <a:gd name="connsiteY3" fmla="*/ 3221182 h 3387437"/>
                  <a:gd name="connsiteX4" fmla="*/ 2324980 w 3821271"/>
                  <a:gd name="connsiteY4" fmla="*/ 2784764 h 3387437"/>
                  <a:gd name="connsiteX5" fmla="*/ 2221071 w 3821271"/>
                  <a:gd name="connsiteY5" fmla="*/ 2286000 h 3387437"/>
                  <a:gd name="connsiteX6" fmla="*/ 2595144 w 3821271"/>
                  <a:gd name="connsiteY6" fmla="*/ 2722419 h 3387437"/>
                  <a:gd name="connsiteX7" fmla="*/ 3364071 w 3821271"/>
                  <a:gd name="connsiteY7" fmla="*/ 2535382 h 3387437"/>
                  <a:gd name="connsiteX8" fmla="*/ 3779707 w 3821271"/>
                  <a:gd name="connsiteY8" fmla="*/ 2639291 h 3387437"/>
                  <a:gd name="connsiteX9" fmla="*/ 3821271 w 3821271"/>
                  <a:gd name="connsiteY9" fmla="*/ 2701637 h 3387437"/>
                  <a:gd name="connsiteX10" fmla="*/ 3052344 w 3821271"/>
                  <a:gd name="connsiteY10" fmla="*/ 2784764 h 3387437"/>
                  <a:gd name="connsiteX11" fmla="*/ 2470453 w 3821271"/>
                  <a:gd name="connsiteY11" fmla="*/ 3075709 h 3387437"/>
                  <a:gd name="connsiteX12" fmla="*/ 1701526 w 3821271"/>
                  <a:gd name="connsiteY12" fmla="*/ 3387437 h 3387437"/>
                  <a:gd name="connsiteX13" fmla="*/ 1514489 w 3821271"/>
                  <a:gd name="connsiteY13" fmla="*/ 3096491 h 3387437"/>
                  <a:gd name="connsiteX14" fmla="*/ 1493707 w 3821271"/>
                  <a:gd name="connsiteY14" fmla="*/ 2805546 h 3387437"/>
                  <a:gd name="connsiteX15" fmla="*/ 1327453 w 3821271"/>
                  <a:gd name="connsiteY15" fmla="*/ 2618509 h 3387437"/>
                  <a:gd name="connsiteX16" fmla="*/ 1265107 w 3821271"/>
                  <a:gd name="connsiteY16" fmla="*/ 2182091 h 3387437"/>
                  <a:gd name="connsiteX17" fmla="*/ 703998 w 3821271"/>
                  <a:gd name="connsiteY17" fmla="*/ 1226128 h 3387437"/>
                  <a:gd name="connsiteX18" fmla="*/ 38980 w 3821271"/>
                  <a:gd name="connsiteY18" fmla="*/ 935182 h 3387437"/>
                  <a:gd name="connsiteX19" fmla="*/ 496180 w 3821271"/>
                  <a:gd name="connsiteY19" fmla="*/ 914400 h 3387437"/>
                  <a:gd name="connsiteX20" fmla="*/ 205235 w 3821271"/>
                  <a:gd name="connsiteY20" fmla="*/ 457200 h 3387437"/>
                  <a:gd name="connsiteX21" fmla="*/ 101326 w 3821271"/>
                  <a:gd name="connsiteY21" fmla="*/ 0 h 3387437"/>
                  <a:gd name="connsiteX0" fmla="*/ 101326 w 3821271"/>
                  <a:gd name="connsiteY0" fmla="*/ 0 h 3387437"/>
                  <a:gd name="connsiteX1" fmla="*/ 891035 w 3821271"/>
                  <a:gd name="connsiteY1" fmla="*/ 1143000 h 3387437"/>
                  <a:gd name="connsiteX2" fmla="*/ 1701526 w 3821271"/>
                  <a:gd name="connsiteY2" fmla="*/ 2847109 h 3387437"/>
                  <a:gd name="connsiteX3" fmla="*/ 1743089 w 3821271"/>
                  <a:gd name="connsiteY3" fmla="*/ 3221182 h 3387437"/>
                  <a:gd name="connsiteX4" fmla="*/ 2324980 w 3821271"/>
                  <a:gd name="connsiteY4" fmla="*/ 2784764 h 3387437"/>
                  <a:gd name="connsiteX5" fmla="*/ 2221071 w 3821271"/>
                  <a:gd name="connsiteY5" fmla="*/ 2286000 h 3387437"/>
                  <a:gd name="connsiteX6" fmla="*/ 2595144 w 3821271"/>
                  <a:gd name="connsiteY6" fmla="*/ 2722419 h 3387437"/>
                  <a:gd name="connsiteX7" fmla="*/ 3364071 w 3821271"/>
                  <a:gd name="connsiteY7" fmla="*/ 2535382 h 3387437"/>
                  <a:gd name="connsiteX8" fmla="*/ 3779707 w 3821271"/>
                  <a:gd name="connsiteY8" fmla="*/ 2639291 h 3387437"/>
                  <a:gd name="connsiteX9" fmla="*/ 3821271 w 3821271"/>
                  <a:gd name="connsiteY9" fmla="*/ 2701637 h 3387437"/>
                  <a:gd name="connsiteX10" fmla="*/ 3052344 w 3821271"/>
                  <a:gd name="connsiteY10" fmla="*/ 2784764 h 3387437"/>
                  <a:gd name="connsiteX11" fmla="*/ 2470453 w 3821271"/>
                  <a:gd name="connsiteY11" fmla="*/ 3075709 h 3387437"/>
                  <a:gd name="connsiteX12" fmla="*/ 1701526 w 3821271"/>
                  <a:gd name="connsiteY12" fmla="*/ 3387437 h 3387437"/>
                  <a:gd name="connsiteX13" fmla="*/ 1514489 w 3821271"/>
                  <a:gd name="connsiteY13" fmla="*/ 3096491 h 3387437"/>
                  <a:gd name="connsiteX14" fmla="*/ 1493707 w 3821271"/>
                  <a:gd name="connsiteY14" fmla="*/ 2805546 h 3387437"/>
                  <a:gd name="connsiteX15" fmla="*/ 1327453 w 3821271"/>
                  <a:gd name="connsiteY15" fmla="*/ 2618509 h 3387437"/>
                  <a:gd name="connsiteX16" fmla="*/ 1265107 w 3821271"/>
                  <a:gd name="connsiteY16" fmla="*/ 2182091 h 3387437"/>
                  <a:gd name="connsiteX17" fmla="*/ 703998 w 3821271"/>
                  <a:gd name="connsiteY17" fmla="*/ 1226128 h 3387437"/>
                  <a:gd name="connsiteX18" fmla="*/ 38980 w 3821271"/>
                  <a:gd name="connsiteY18" fmla="*/ 935182 h 3387437"/>
                  <a:gd name="connsiteX19" fmla="*/ 496180 w 3821271"/>
                  <a:gd name="connsiteY19" fmla="*/ 914400 h 3387437"/>
                  <a:gd name="connsiteX20" fmla="*/ 205235 w 3821271"/>
                  <a:gd name="connsiteY20" fmla="*/ 457200 h 3387437"/>
                  <a:gd name="connsiteX21" fmla="*/ 101326 w 3821271"/>
                  <a:gd name="connsiteY21" fmla="*/ 0 h 3387437"/>
                  <a:gd name="connsiteX0" fmla="*/ 101326 w 3821271"/>
                  <a:gd name="connsiteY0" fmla="*/ 0 h 3387437"/>
                  <a:gd name="connsiteX1" fmla="*/ 891035 w 3821271"/>
                  <a:gd name="connsiteY1" fmla="*/ 1143000 h 3387437"/>
                  <a:gd name="connsiteX2" fmla="*/ 1701526 w 3821271"/>
                  <a:gd name="connsiteY2" fmla="*/ 2847109 h 3387437"/>
                  <a:gd name="connsiteX3" fmla="*/ 1743089 w 3821271"/>
                  <a:gd name="connsiteY3" fmla="*/ 3221182 h 3387437"/>
                  <a:gd name="connsiteX4" fmla="*/ 2324980 w 3821271"/>
                  <a:gd name="connsiteY4" fmla="*/ 2784764 h 3387437"/>
                  <a:gd name="connsiteX5" fmla="*/ 2221071 w 3821271"/>
                  <a:gd name="connsiteY5" fmla="*/ 2286000 h 3387437"/>
                  <a:gd name="connsiteX6" fmla="*/ 2595144 w 3821271"/>
                  <a:gd name="connsiteY6" fmla="*/ 2722419 h 3387437"/>
                  <a:gd name="connsiteX7" fmla="*/ 3364071 w 3821271"/>
                  <a:gd name="connsiteY7" fmla="*/ 2535382 h 3387437"/>
                  <a:gd name="connsiteX8" fmla="*/ 3779707 w 3821271"/>
                  <a:gd name="connsiteY8" fmla="*/ 2639291 h 3387437"/>
                  <a:gd name="connsiteX9" fmla="*/ 3821271 w 3821271"/>
                  <a:gd name="connsiteY9" fmla="*/ 2701637 h 3387437"/>
                  <a:gd name="connsiteX10" fmla="*/ 3052344 w 3821271"/>
                  <a:gd name="connsiteY10" fmla="*/ 2784764 h 3387437"/>
                  <a:gd name="connsiteX11" fmla="*/ 2470453 w 3821271"/>
                  <a:gd name="connsiteY11" fmla="*/ 3075709 h 3387437"/>
                  <a:gd name="connsiteX12" fmla="*/ 1701526 w 3821271"/>
                  <a:gd name="connsiteY12" fmla="*/ 3387437 h 3387437"/>
                  <a:gd name="connsiteX13" fmla="*/ 1514489 w 3821271"/>
                  <a:gd name="connsiteY13" fmla="*/ 3096491 h 3387437"/>
                  <a:gd name="connsiteX14" fmla="*/ 1493707 w 3821271"/>
                  <a:gd name="connsiteY14" fmla="*/ 2805546 h 3387437"/>
                  <a:gd name="connsiteX15" fmla="*/ 1327453 w 3821271"/>
                  <a:gd name="connsiteY15" fmla="*/ 2618509 h 3387437"/>
                  <a:gd name="connsiteX16" fmla="*/ 1265107 w 3821271"/>
                  <a:gd name="connsiteY16" fmla="*/ 2182091 h 3387437"/>
                  <a:gd name="connsiteX17" fmla="*/ 703998 w 3821271"/>
                  <a:gd name="connsiteY17" fmla="*/ 1226128 h 3387437"/>
                  <a:gd name="connsiteX18" fmla="*/ 38980 w 3821271"/>
                  <a:gd name="connsiteY18" fmla="*/ 935182 h 3387437"/>
                  <a:gd name="connsiteX19" fmla="*/ 496180 w 3821271"/>
                  <a:gd name="connsiteY19" fmla="*/ 914400 h 3387437"/>
                  <a:gd name="connsiteX20" fmla="*/ 205235 w 3821271"/>
                  <a:gd name="connsiteY20" fmla="*/ 457200 h 3387437"/>
                  <a:gd name="connsiteX21" fmla="*/ 101326 w 3821271"/>
                  <a:gd name="connsiteY21" fmla="*/ 0 h 3387437"/>
                  <a:gd name="connsiteX0" fmla="*/ 101326 w 3821271"/>
                  <a:gd name="connsiteY0" fmla="*/ 0 h 3387437"/>
                  <a:gd name="connsiteX1" fmla="*/ 891035 w 3821271"/>
                  <a:gd name="connsiteY1" fmla="*/ 1143000 h 3387437"/>
                  <a:gd name="connsiteX2" fmla="*/ 1701526 w 3821271"/>
                  <a:gd name="connsiteY2" fmla="*/ 2847109 h 3387437"/>
                  <a:gd name="connsiteX3" fmla="*/ 1743089 w 3821271"/>
                  <a:gd name="connsiteY3" fmla="*/ 3221182 h 3387437"/>
                  <a:gd name="connsiteX4" fmla="*/ 2324980 w 3821271"/>
                  <a:gd name="connsiteY4" fmla="*/ 2784764 h 3387437"/>
                  <a:gd name="connsiteX5" fmla="*/ 2221071 w 3821271"/>
                  <a:gd name="connsiteY5" fmla="*/ 2286000 h 3387437"/>
                  <a:gd name="connsiteX6" fmla="*/ 2595144 w 3821271"/>
                  <a:gd name="connsiteY6" fmla="*/ 2798619 h 3387437"/>
                  <a:gd name="connsiteX7" fmla="*/ 3364071 w 3821271"/>
                  <a:gd name="connsiteY7" fmla="*/ 2535382 h 3387437"/>
                  <a:gd name="connsiteX8" fmla="*/ 3779707 w 3821271"/>
                  <a:gd name="connsiteY8" fmla="*/ 2639291 h 3387437"/>
                  <a:gd name="connsiteX9" fmla="*/ 3821271 w 3821271"/>
                  <a:gd name="connsiteY9" fmla="*/ 2701637 h 3387437"/>
                  <a:gd name="connsiteX10" fmla="*/ 3052344 w 3821271"/>
                  <a:gd name="connsiteY10" fmla="*/ 2784764 h 3387437"/>
                  <a:gd name="connsiteX11" fmla="*/ 2470453 w 3821271"/>
                  <a:gd name="connsiteY11" fmla="*/ 3075709 h 3387437"/>
                  <a:gd name="connsiteX12" fmla="*/ 1701526 w 3821271"/>
                  <a:gd name="connsiteY12" fmla="*/ 3387437 h 3387437"/>
                  <a:gd name="connsiteX13" fmla="*/ 1514489 w 3821271"/>
                  <a:gd name="connsiteY13" fmla="*/ 3096491 h 3387437"/>
                  <a:gd name="connsiteX14" fmla="*/ 1493707 w 3821271"/>
                  <a:gd name="connsiteY14" fmla="*/ 2805546 h 3387437"/>
                  <a:gd name="connsiteX15" fmla="*/ 1327453 w 3821271"/>
                  <a:gd name="connsiteY15" fmla="*/ 2618509 h 3387437"/>
                  <a:gd name="connsiteX16" fmla="*/ 1265107 w 3821271"/>
                  <a:gd name="connsiteY16" fmla="*/ 2182091 h 3387437"/>
                  <a:gd name="connsiteX17" fmla="*/ 703998 w 3821271"/>
                  <a:gd name="connsiteY17" fmla="*/ 1226128 h 3387437"/>
                  <a:gd name="connsiteX18" fmla="*/ 38980 w 3821271"/>
                  <a:gd name="connsiteY18" fmla="*/ 935182 h 3387437"/>
                  <a:gd name="connsiteX19" fmla="*/ 496180 w 3821271"/>
                  <a:gd name="connsiteY19" fmla="*/ 914400 h 3387437"/>
                  <a:gd name="connsiteX20" fmla="*/ 205235 w 3821271"/>
                  <a:gd name="connsiteY20" fmla="*/ 457200 h 3387437"/>
                  <a:gd name="connsiteX21" fmla="*/ 101326 w 3821271"/>
                  <a:gd name="connsiteY21" fmla="*/ 0 h 3387437"/>
                  <a:gd name="connsiteX0" fmla="*/ 101326 w 3821271"/>
                  <a:gd name="connsiteY0" fmla="*/ 0 h 3387437"/>
                  <a:gd name="connsiteX1" fmla="*/ 891035 w 3821271"/>
                  <a:gd name="connsiteY1" fmla="*/ 1143000 h 3387437"/>
                  <a:gd name="connsiteX2" fmla="*/ 1701526 w 3821271"/>
                  <a:gd name="connsiteY2" fmla="*/ 2847109 h 3387437"/>
                  <a:gd name="connsiteX3" fmla="*/ 1743089 w 3821271"/>
                  <a:gd name="connsiteY3" fmla="*/ 3221182 h 3387437"/>
                  <a:gd name="connsiteX4" fmla="*/ 2324980 w 3821271"/>
                  <a:gd name="connsiteY4" fmla="*/ 2784764 h 3387437"/>
                  <a:gd name="connsiteX5" fmla="*/ 2221071 w 3821271"/>
                  <a:gd name="connsiteY5" fmla="*/ 2286000 h 3387437"/>
                  <a:gd name="connsiteX6" fmla="*/ 2595144 w 3821271"/>
                  <a:gd name="connsiteY6" fmla="*/ 2798619 h 3387437"/>
                  <a:gd name="connsiteX7" fmla="*/ 3364071 w 3821271"/>
                  <a:gd name="connsiteY7" fmla="*/ 2535382 h 3387437"/>
                  <a:gd name="connsiteX8" fmla="*/ 3779707 w 3821271"/>
                  <a:gd name="connsiteY8" fmla="*/ 2639291 h 3387437"/>
                  <a:gd name="connsiteX9" fmla="*/ 3821271 w 3821271"/>
                  <a:gd name="connsiteY9" fmla="*/ 2701637 h 3387437"/>
                  <a:gd name="connsiteX10" fmla="*/ 3052344 w 3821271"/>
                  <a:gd name="connsiteY10" fmla="*/ 2784764 h 3387437"/>
                  <a:gd name="connsiteX11" fmla="*/ 2470453 w 3821271"/>
                  <a:gd name="connsiteY11" fmla="*/ 3075709 h 3387437"/>
                  <a:gd name="connsiteX12" fmla="*/ 1701526 w 3821271"/>
                  <a:gd name="connsiteY12" fmla="*/ 3387437 h 3387437"/>
                  <a:gd name="connsiteX13" fmla="*/ 1514489 w 3821271"/>
                  <a:gd name="connsiteY13" fmla="*/ 3096491 h 3387437"/>
                  <a:gd name="connsiteX14" fmla="*/ 1493707 w 3821271"/>
                  <a:gd name="connsiteY14" fmla="*/ 2805546 h 3387437"/>
                  <a:gd name="connsiteX15" fmla="*/ 1327453 w 3821271"/>
                  <a:gd name="connsiteY15" fmla="*/ 2618509 h 3387437"/>
                  <a:gd name="connsiteX16" fmla="*/ 1265107 w 3821271"/>
                  <a:gd name="connsiteY16" fmla="*/ 2182091 h 3387437"/>
                  <a:gd name="connsiteX17" fmla="*/ 703998 w 3821271"/>
                  <a:gd name="connsiteY17" fmla="*/ 1226128 h 3387437"/>
                  <a:gd name="connsiteX18" fmla="*/ 38980 w 3821271"/>
                  <a:gd name="connsiteY18" fmla="*/ 935182 h 3387437"/>
                  <a:gd name="connsiteX19" fmla="*/ 496180 w 3821271"/>
                  <a:gd name="connsiteY19" fmla="*/ 914400 h 3387437"/>
                  <a:gd name="connsiteX20" fmla="*/ 205235 w 3821271"/>
                  <a:gd name="connsiteY20" fmla="*/ 457200 h 3387437"/>
                  <a:gd name="connsiteX21" fmla="*/ 101326 w 3821271"/>
                  <a:gd name="connsiteY21" fmla="*/ 0 h 3387437"/>
                  <a:gd name="connsiteX0" fmla="*/ 101326 w 3821271"/>
                  <a:gd name="connsiteY0" fmla="*/ 0 h 3387437"/>
                  <a:gd name="connsiteX1" fmla="*/ 891035 w 3821271"/>
                  <a:gd name="connsiteY1" fmla="*/ 1143000 h 3387437"/>
                  <a:gd name="connsiteX2" fmla="*/ 1701526 w 3821271"/>
                  <a:gd name="connsiteY2" fmla="*/ 2847109 h 3387437"/>
                  <a:gd name="connsiteX3" fmla="*/ 1743089 w 3821271"/>
                  <a:gd name="connsiteY3" fmla="*/ 3221182 h 3387437"/>
                  <a:gd name="connsiteX4" fmla="*/ 2324980 w 3821271"/>
                  <a:gd name="connsiteY4" fmla="*/ 2784764 h 3387437"/>
                  <a:gd name="connsiteX5" fmla="*/ 2221071 w 3821271"/>
                  <a:gd name="connsiteY5" fmla="*/ 2286000 h 3387437"/>
                  <a:gd name="connsiteX6" fmla="*/ 2595144 w 3821271"/>
                  <a:gd name="connsiteY6" fmla="*/ 2798619 h 3387437"/>
                  <a:gd name="connsiteX7" fmla="*/ 3364071 w 3821271"/>
                  <a:gd name="connsiteY7" fmla="*/ 2535382 h 3387437"/>
                  <a:gd name="connsiteX8" fmla="*/ 3779707 w 3821271"/>
                  <a:gd name="connsiteY8" fmla="*/ 2639291 h 3387437"/>
                  <a:gd name="connsiteX9" fmla="*/ 3821271 w 3821271"/>
                  <a:gd name="connsiteY9" fmla="*/ 2701637 h 3387437"/>
                  <a:gd name="connsiteX10" fmla="*/ 3052344 w 3821271"/>
                  <a:gd name="connsiteY10" fmla="*/ 2784764 h 3387437"/>
                  <a:gd name="connsiteX11" fmla="*/ 2470453 w 3821271"/>
                  <a:gd name="connsiteY11" fmla="*/ 3075709 h 3387437"/>
                  <a:gd name="connsiteX12" fmla="*/ 1701526 w 3821271"/>
                  <a:gd name="connsiteY12" fmla="*/ 3387437 h 3387437"/>
                  <a:gd name="connsiteX13" fmla="*/ 1514489 w 3821271"/>
                  <a:gd name="connsiteY13" fmla="*/ 3096491 h 3387437"/>
                  <a:gd name="connsiteX14" fmla="*/ 1493707 w 3821271"/>
                  <a:gd name="connsiteY14" fmla="*/ 2805546 h 3387437"/>
                  <a:gd name="connsiteX15" fmla="*/ 1327453 w 3821271"/>
                  <a:gd name="connsiteY15" fmla="*/ 2618509 h 3387437"/>
                  <a:gd name="connsiteX16" fmla="*/ 1265107 w 3821271"/>
                  <a:gd name="connsiteY16" fmla="*/ 2182091 h 3387437"/>
                  <a:gd name="connsiteX17" fmla="*/ 703998 w 3821271"/>
                  <a:gd name="connsiteY17" fmla="*/ 1226128 h 3387437"/>
                  <a:gd name="connsiteX18" fmla="*/ 38980 w 3821271"/>
                  <a:gd name="connsiteY18" fmla="*/ 935182 h 3387437"/>
                  <a:gd name="connsiteX19" fmla="*/ 496180 w 3821271"/>
                  <a:gd name="connsiteY19" fmla="*/ 914400 h 3387437"/>
                  <a:gd name="connsiteX20" fmla="*/ 205235 w 3821271"/>
                  <a:gd name="connsiteY20" fmla="*/ 457200 h 3387437"/>
                  <a:gd name="connsiteX21" fmla="*/ 101326 w 3821271"/>
                  <a:gd name="connsiteY21" fmla="*/ 0 h 3387437"/>
                  <a:gd name="connsiteX0" fmla="*/ 101326 w 3821271"/>
                  <a:gd name="connsiteY0" fmla="*/ 0 h 3387437"/>
                  <a:gd name="connsiteX1" fmla="*/ 891035 w 3821271"/>
                  <a:gd name="connsiteY1" fmla="*/ 1143000 h 3387437"/>
                  <a:gd name="connsiteX2" fmla="*/ 1701526 w 3821271"/>
                  <a:gd name="connsiteY2" fmla="*/ 2847109 h 3387437"/>
                  <a:gd name="connsiteX3" fmla="*/ 1743089 w 3821271"/>
                  <a:gd name="connsiteY3" fmla="*/ 3221182 h 3387437"/>
                  <a:gd name="connsiteX4" fmla="*/ 2324980 w 3821271"/>
                  <a:gd name="connsiteY4" fmla="*/ 2784764 h 3387437"/>
                  <a:gd name="connsiteX5" fmla="*/ 2221071 w 3821271"/>
                  <a:gd name="connsiteY5" fmla="*/ 2286000 h 3387437"/>
                  <a:gd name="connsiteX6" fmla="*/ 2595144 w 3821271"/>
                  <a:gd name="connsiteY6" fmla="*/ 2798619 h 3387437"/>
                  <a:gd name="connsiteX7" fmla="*/ 3364071 w 3821271"/>
                  <a:gd name="connsiteY7" fmla="*/ 2535382 h 3387437"/>
                  <a:gd name="connsiteX8" fmla="*/ 3779707 w 3821271"/>
                  <a:gd name="connsiteY8" fmla="*/ 2639291 h 3387437"/>
                  <a:gd name="connsiteX9" fmla="*/ 3821271 w 3821271"/>
                  <a:gd name="connsiteY9" fmla="*/ 2701637 h 3387437"/>
                  <a:gd name="connsiteX10" fmla="*/ 3052344 w 3821271"/>
                  <a:gd name="connsiteY10" fmla="*/ 2784764 h 3387437"/>
                  <a:gd name="connsiteX11" fmla="*/ 2470453 w 3821271"/>
                  <a:gd name="connsiteY11" fmla="*/ 3075709 h 3387437"/>
                  <a:gd name="connsiteX12" fmla="*/ 1701526 w 3821271"/>
                  <a:gd name="connsiteY12" fmla="*/ 3387437 h 3387437"/>
                  <a:gd name="connsiteX13" fmla="*/ 1514489 w 3821271"/>
                  <a:gd name="connsiteY13" fmla="*/ 3096491 h 3387437"/>
                  <a:gd name="connsiteX14" fmla="*/ 1493707 w 3821271"/>
                  <a:gd name="connsiteY14" fmla="*/ 2805546 h 3387437"/>
                  <a:gd name="connsiteX15" fmla="*/ 1327453 w 3821271"/>
                  <a:gd name="connsiteY15" fmla="*/ 2618509 h 3387437"/>
                  <a:gd name="connsiteX16" fmla="*/ 1265107 w 3821271"/>
                  <a:gd name="connsiteY16" fmla="*/ 2182091 h 3387437"/>
                  <a:gd name="connsiteX17" fmla="*/ 703998 w 3821271"/>
                  <a:gd name="connsiteY17" fmla="*/ 1226128 h 3387437"/>
                  <a:gd name="connsiteX18" fmla="*/ 38980 w 3821271"/>
                  <a:gd name="connsiteY18" fmla="*/ 935182 h 3387437"/>
                  <a:gd name="connsiteX19" fmla="*/ 496180 w 3821271"/>
                  <a:gd name="connsiteY19" fmla="*/ 914400 h 3387437"/>
                  <a:gd name="connsiteX20" fmla="*/ 205235 w 3821271"/>
                  <a:gd name="connsiteY20" fmla="*/ 457200 h 3387437"/>
                  <a:gd name="connsiteX21" fmla="*/ 101326 w 3821271"/>
                  <a:gd name="connsiteY21" fmla="*/ 0 h 3387437"/>
                  <a:gd name="connsiteX0" fmla="*/ 101326 w 3821271"/>
                  <a:gd name="connsiteY0" fmla="*/ 0 h 3387437"/>
                  <a:gd name="connsiteX1" fmla="*/ 891035 w 3821271"/>
                  <a:gd name="connsiteY1" fmla="*/ 1143000 h 3387437"/>
                  <a:gd name="connsiteX2" fmla="*/ 1701526 w 3821271"/>
                  <a:gd name="connsiteY2" fmla="*/ 2847109 h 3387437"/>
                  <a:gd name="connsiteX3" fmla="*/ 1743089 w 3821271"/>
                  <a:gd name="connsiteY3" fmla="*/ 3221182 h 3387437"/>
                  <a:gd name="connsiteX4" fmla="*/ 2324980 w 3821271"/>
                  <a:gd name="connsiteY4" fmla="*/ 2784764 h 3387437"/>
                  <a:gd name="connsiteX5" fmla="*/ 2221071 w 3821271"/>
                  <a:gd name="connsiteY5" fmla="*/ 2286000 h 3387437"/>
                  <a:gd name="connsiteX6" fmla="*/ 2595144 w 3821271"/>
                  <a:gd name="connsiteY6" fmla="*/ 2798619 h 3387437"/>
                  <a:gd name="connsiteX7" fmla="*/ 3364071 w 3821271"/>
                  <a:gd name="connsiteY7" fmla="*/ 2535382 h 3387437"/>
                  <a:gd name="connsiteX8" fmla="*/ 3779707 w 3821271"/>
                  <a:gd name="connsiteY8" fmla="*/ 2639291 h 3387437"/>
                  <a:gd name="connsiteX9" fmla="*/ 3821271 w 3821271"/>
                  <a:gd name="connsiteY9" fmla="*/ 2701637 h 3387437"/>
                  <a:gd name="connsiteX10" fmla="*/ 3052344 w 3821271"/>
                  <a:gd name="connsiteY10" fmla="*/ 2784764 h 3387437"/>
                  <a:gd name="connsiteX11" fmla="*/ 2470453 w 3821271"/>
                  <a:gd name="connsiteY11" fmla="*/ 3075709 h 3387437"/>
                  <a:gd name="connsiteX12" fmla="*/ 1701526 w 3821271"/>
                  <a:gd name="connsiteY12" fmla="*/ 3387437 h 3387437"/>
                  <a:gd name="connsiteX13" fmla="*/ 1514489 w 3821271"/>
                  <a:gd name="connsiteY13" fmla="*/ 3096491 h 3387437"/>
                  <a:gd name="connsiteX14" fmla="*/ 1493707 w 3821271"/>
                  <a:gd name="connsiteY14" fmla="*/ 2805546 h 3387437"/>
                  <a:gd name="connsiteX15" fmla="*/ 1327453 w 3821271"/>
                  <a:gd name="connsiteY15" fmla="*/ 2618509 h 3387437"/>
                  <a:gd name="connsiteX16" fmla="*/ 1265107 w 3821271"/>
                  <a:gd name="connsiteY16" fmla="*/ 2182091 h 3387437"/>
                  <a:gd name="connsiteX17" fmla="*/ 703998 w 3821271"/>
                  <a:gd name="connsiteY17" fmla="*/ 1226128 h 3387437"/>
                  <a:gd name="connsiteX18" fmla="*/ 38980 w 3821271"/>
                  <a:gd name="connsiteY18" fmla="*/ 935182 h 3387437"/>
                  <a:gd name="connsiteX19" fmla="*/ 496180 w 3821271"/>
                  <a:gd name="connsiteY19" fmla="*/ 914400 h 3387437"/>
                  <a:gd name="connsiteX20" fmla="*/ 205235 w 3821271"/>
                  <a:gd name="connsiteY20" fmla="*/ 457200 h 3387437"/>
                  <a:gd name="connsiteX21" fmla="*/ 101326 w 3821271"/>
                  <a:gd name="connsiteY21" fmla="*/ 0 h 3387437"/>
                  <a:gd name="connsiteX0" fmla="*/ 101326 w 3821271"/>
                  <a:gd name="connsiteY0" fmla="*/ 0 h 3387437"/>
                  <a:gd name="connsiteX1" fmla="*/ 891035 w 3821271"/>
                  <a:gd name="connsiteY1" fmla="*/ 1143000 h 3387437"/>
                  <a:gd name="connsiteX2" fmla="*/ 1701526 w 3821271"/>
                  <a:gd name="connsiteY2" fmla="*/ 2847109 h 3387437"/>
                  <a:gd name="connsiteX3" fmla="*/ 1743089 w 3821271"/>
                  <a:gd name="connsiteY3" fmla="*/ 3221182 h 3387437"/>
                  <a:gd name="connsiteX4" fmla="*/ 2324980 w 3821271"/>
                  <a:gd name="connsiteY4" fmla="*/ 2784764 h 3387437"/>
                  <a:gd name="connsiteX5" fmla="*/ 2221071 w 3821271"/>
                  <a:gd name="connsiteY5" fmla="*/ 2286000 h 3387437"/>
                  <a:gd name="connsiteX6" fmla="*/ 2595144 w 3821271"/>
                  <a:gd name="connsiteY6" fmla="*/ 2798619 h 3387437"/>
                  <a:gd name="connsiteX7" fmla="*/ 3364071 w 3821271"/>
                  <a:gd name="connsiteY7" fmla="*/ 2535382 h 3387437"/>
                  <a:gd name="connsiteX8" fmla="*/ 3649078 w 3821271"/>
                  <a:gd name="connsiteY8" fmla="*/ 2606633 h 3387437"/>
                  <a:gd name="connsiteX9" fmla="*/ 3821271 w 3821271"/>
                  <a:gd name="connsiteY9" fmla="*/ 2701637 h 3387437"/>
                  <a:gd name="connsiteX10" fmla="*/ 3052344 w 3821271"/>
                  <a:gd name="connsiteY10" fmla="*/ 2784764 h 3387437"/>
                  <a:gd name="connsiteX11" fmla="*/ 2470453 w 3821271"/>
                  <a:gd name="connsiteY11" fmla="*/ 3075709 h 3387437"/>
                  <a:gd name="connsiteX12" fmla="*/ 1701526 w 3821271"/>
                  <a:gd name="connsiteY12" fmla="*/ 3387437 h 3387437"/>
                  <a:gd name="connsiteX13" fmla="*/ 1514489 w 3821271"/>
                  <a:gd name="connsiteY13" fmla="*/ 3096491 h 3387437"/>
                  <a:gd name="connsiteX14" fmla="*/ 1493707 w 3821271"/>
                  <a:gd name="connsiteY14" fmla="*/ 2805546 h 3387437"/>
                  <a:gd name="connsiteX15" fmla="*/ 1327453 w 3821271"/>
                  <a:gd name="connsiteY15" fmla="*/ 2618509 h 3387437"/>
                  <a:gd name="connsiteX16" fmla="*/ 1265107 w 3821271"/>
                  <a:gd name="connsiteY16" fmla="*/ 2182091 h 3387437"/>
                  <a:gd name="connsiteX17" fmla="*/ 703998 w 3821271"/>
                  <a:gd name="connsiteY17" fmla="*/ 1226128 h 3387437"/>
                  <a:gd name="connsiteX18" fmla="*/ 38980 w 3821271"/>
                  <a:gd name="connsiteY18" fmla="*/ 935182 h 3387437"/>
                  <a:gd name="connsiteX19" fmla="*/ 496180 w 3821271"/>
                  <a:gd name="connsiteY19" fmla="*/ 914400 h 3387437"/>
                  <a:gd name="connsiteX20" fmla="*/ 205235 w 3821271"/>
                  <a:gd name="connsiteY20" fmla="*/ 457200 h 3387437"/>
                  <a:gd name="connsiteX21" fmla="*/ 101326 w 3821271"/>
                  <a:gd name="connsiteY21" fmla="*/ 0 h 3387437"/>
                  <a:gd name="connsiteX0" fmla="*/ 101326 w 3821271"/>
                  <a:gd name="connsiteY0" fmla="*/ 0 h 3387437"/>
                  <a:gd name="connsiteX1" fmla="*/ 891035 w 3821271"/>
                  <a:gd name="connsiteY1" fmla="*/ 1143000 h 3387437"/>
                  <a:gd name="connsiteX2" fmla="*/ 1701526 w 3821271"/>
                  <a:gd name="connsiteY2" fmla="*/ 2847109 h 3387437"/>
                  <a:gd name="connsiteX3" fmla="*/ 1743089 w 3821271"/>
                  <a:gd name="connsiteY3" fmla="*/ 3221182 h 3387437"/>
                  <a:gd name="connsiteX4" fmla="*/ 2324980 w 3821271"/>
                  <a:gd name="connsiteY4" fmla="*/ 2784764 h 3387437"/>
                  <a:gd name="connsiteX5" fmla="*/ 2221071 w 3821271"/>
                  <a:gd name="connsiteY5" fmla="*/ 2286000 h 3387437"/>
                  <a:gd name="connsiteX6" fmla="*/ 2595144 w 3821271"/>
                  <a:gd name="connsiteY6" fmla="*/ 2798619 h 3387437"/>
                  <a:gd name="connsiteX7" fmla="*/ 3364071 w 3821271"/>
                  <a:gd name="connsiteY7" fmla="*/ 2535382 h 3387437"/>
                  <a:gd name="connsiteX8" fmla="*/ 3649078 w 3821271"/>
                  <a:gd name="connsiteY8" fmla="*/ 2606633 h 3387437"/>
                  <a:gd name="connsiteX9" fmla="*/ 3821271 w 3821271"/>
                  <a:gd name="connsiteY9" fmla="*/ 2701637 h 3387437"/>
                  <a:gd name="connsiteX10" fmla="*/ 3052344 w 3821271"/>
                  <a:gd name="connsiteY10" fmla="*/ 2784764 h 3387437"/>
                  <a:gd name="connsiteX11" fmla="*/ 2470453 w 3821271"/>
                  <a:gd name="connsiteY11" fmla="*/ 3075709 h 3387437"/>
                  <a:gd name="connsiteX12" fmla="*/ 1701526 w 3821271"/>
                  <a:gd name="connsiteY12" fmla="*/ 3387437 h 3387437"/>
                  <a:gd name="connsiteX13" fmla="*/ 1514489 w 3821271"/>
                  <a:gd name="connsiteY13" fmla="*/ 3096491 h 3387437"/>
                  <a:gd name="connsiteX14" fmla="*/ 1493707 w 3821271"/>
                  <a:gd name="connsiteY14" fmla="*/ 2805546 h 3387437"/>
                  <a:gd name="connsiteX15" fmla="*/ 1327453 w 3821271"/>
                  <a:gd name="connsiteY15" fmla="*/ 2618509 h 3387437"/>
                  <a:gd name="connsiteX16" fmla="*/ 1265107 w 3821271"/>
                  <a:gd name="connsiteY16" fmla="*/ 2182091 h 3387437"/>
                  <a:gd name="connsiteX17" fmla="*/ 703998 w 3821271"/>
                  <a:gd name="connsiteY17" fmla="*/ 1226128 h 3387437"/>
                  <a:gd name="connsiteX18" fmla="*/ 38980 w 3821271"/>
                  <a:gd name="connsiteY18" fmla="*/ 935182 h 3387437"/>
                  <a:gd name="connsiteX19" fmla="*/ 496180 w 3821271"/>
                  <a:gd name="connsiteY19" fmla="*/ 914400 h 3387437"/>
                  <a:gd name="connsiteX20" fmla="*/ 205235 w 3821271"/>
                  <a:gd name="connsiteY20" fmla="*/ 457200 h 3387437"/>
                  <a:gd name="connsiteX21" fmla="*/ 101326 w 3821271"/>
                  <a:gd name="connsiteY21" fmla="*/ 0 h 3387437"/>
                  <a:gd name="connsiteX0" fmla="*/ 101326 w 3821271"/>
                  <a:gd name="connsiteY0" fmla="*/ 0 h 3387437"/>
                  <a:gd name="connsiteX1" fmla="*/ 891035 w 3821271"/>
                  <a:gd name="connsiteY1" fmla="*/ 1143000 h 3387437"/>
                  <a:gd name="connsiteX2" fmla="*/ 1701526 w 3821271"/>
                  <a:gd name="connsiteY2" fmla="*/ 2847109 h 3387437"/>
                  <a:gd name="connsiteX3" fmla="*/ 1743089 w 3821271"/>
                  <a:gd name="connsiteY3" fmla="*/ 3221182 h 3387437"/>
                  <a:gd name="connsiteX4" fmla="*/ 2324980 w 3821271"/>
                  <a:gd name="connsiteY4" fmla="*/ 2784764 h 3387437"/>
                  <a:gd name="connsiteX5" fmla="*/ 2221071 w 3821271"/>
                  <a:gd name="connsiteY5" fmla="*/ 2286000 h 3387437"/>
                  <a:gd name="connsiteX6" fmla="*/ 2595144 w 3821271"/>
                  <a:gd name="connsiteY6" fmla="*/ 2798619 h 3387437"/>
                  <a:gd name="connsiteX7" fmla="*/ 3364071 w 3821271"/>
                  <a:gd name="connsiteY7" fmla="*/ 2535382 h 3387437"/>
                  <a:gd name="connsiteX8" fmla="*/ 3649078 w 3821271"/>
                  <a:gd name="connsiteY8" fmla="*/ 2606633 h 3387437"/>
                  <a:gd name="connsiteX9" fmla="*/ 3821271 w 3821271"/>
                  <a:gd name="connsiteY9" fmla="*/ 2701637 h 3387437"/>
                  <a:gd name="connsiteX10" fmla="*/ 3052344 w 3821271"/>
                  <a:gd name="connsiteY10" fmla="*/ 2828307 h 3387437"/>
                  <a:gd name="connsiteX11" fmla="*/ 2470453 w 3821271"/>
                  <a:gd name="connsiteY11" fmla="*/ 3075709 h 3387437"/>
                  <a:gd name="connsiteX12" fmla="*/ 1701526 w 3821271"/>
                  <a:gd name="connsiteY12" fmla="*/ 3387437 h 3387437"/>
                  <a:gd name="connsiteX13" fmla="*/ 1514489 w 3821271"/>
                  <a:gd name="connsiteY13" fmla="*/ 3096491 h 3387437"/>
                  <a:gd name="connsiteX14" fmla="*/ 1493707 w 3821271"/>
                  <a:gd name="connsiteY14" fmla="*/ 2805546 h 3387437"/>
                  <a:gd name="connsiteX15" fmla="*/ 1327453 w 3821271"/>
                  <a:gd name="connsiteY15" fmla="*/ 2618509 h 3387437"/>
                  <a:gd name="connsiteX16" fmla="*/ 1265107 w 3821271"/>
                  <a:gd name="connsiteY16" fmla="*/ 2182091 h 3387437"/>
                  <a:gd name="connsiteX17" fmla="*/ 703998 w 3821271"/>
                  <a:gd name="connsiteY17" fmla="*/ 1226128 h 3387437"/>
                  <a:gd name="connsiteX18" fmla="*/ 38980 w 3821271"/>
                  <a:gd name="connsiteY18" fmla="*/ 935182 h 3387437"/>
                  <a:gd name="connsiteX19" fmla="*/ 496180 w 3821271"/>
                  <a:gd name="connsiteY19" fmla="*/ 914400 h 3387437"/>
                  <a:gd name="connsiteX20" fmla="*/ 205235 w 3821271"/>
                  <a:gd name="connsiteY20" fmla="*/ 457200 h 3387437"/>
                  <a:gd name="connsiteX21" fmla="*/ 101326 w 3821271"/>
                  <a:gd name="connsiteY21" fmla="*/ 0 h 3387437"/>
                  <a:gd name="connsiteX0" fmla="*/ 101326 w 3821271"/>
                  <a:gd name="connsiteY0" fmla="*/ 0 h 3387437"/>
                  <a:gd name="connsiteX1" fmla="*/ 891035 w 3821271"/>
                  <a:gd name="connsiteY1" fmla="*/ 1143000 h 3387437"/>
                  <a:gd name="connsiteX2" fmla="*/ 1701526 w 3821271"/>
                  <a:gd name="connsiteY2" fmla="*/ 2847109 h 3387437"/>
                  <a:gd name="connsiteX3" fmla="*/ 1743089 w 3821271"/>
                  <a:gd name="connsiteY3" fmla="*/ 3221182 h 3387437"/>
                  <a:gd name="connsiteX4" fmla="*/ 2324980 w 3821271"/>
                  <a:gd name="connsiteY4" fmla="*/ 2784764 h 3387437"/>
                  <a:gd name="connsiteX5" fmla="*/ 2221071 w 3821271"/>
                  <a:gd name="connsiteY5" fmla="*/ 2286000 h 3387437"/>
                  <a:gd name="connsiteX6" fmla="*/ 2595144 w 3821271"/>
                  <a:gd name="connsiteY6" fmla="*/ 2798619 h 3387437"/>
                  <a:gd name="connsiteX7" fmla="*/ 3364071 w 3821271"/>
                  <a:gd name="connsiteY7" fmla="*/ 2535382 h 3387437"/>
                  <a:gd name="connsiteX8" fmla="*/ 3649078 w 3821271"/>
                  <a:gd name="connsiteY8" fmla="*/ 2606633 h 3387437"/>
                  <a:gd name="connsiteX9" fmla="*/ 3821271 w 3821271"/>
                  <a:gd name="connsiteY9" fmla="*/ 2701637 h 3387437"/>
                  <a:gd name="connsiteX10" fmla="*/ 3052344 w 3821271"/>
                  <a:gd name="connsiteY10" fmla="*/ 2828307 h 3387437"/>
                  <a:gd name="connsiteX11" fmla="*/ 2470453 w 3821271"/>
                  <a:gd name="connsiteY11" fmla="*/ 3075709 h 3387437"/>
                  <a:gd name="connsiteX12" fmla="*/ 1701526 w 3821271"/>
                  <a:gd name="connsiteY12" fmla="*/ 3387437 h 3387437"/>
                  <a:gd name="connsiteX13" fmla="*/ 1514489 w 3821271"/>
                  <a:gd name="connsiteY13" fmla="*/ 3096491 h 3387437"/>
                  <a:gd name="connsiteX14" fmla="*/ 1493707 w 3821271"/>
                  <a:gd name="connsiteY14" fmla="*/ 2805546 h 3387437"/>
                  <a:gd name="connsiteX15" fmla="*/ 1327453 w 3821271"/>
                  <a:gd name="connsiteY15" fmla="*/ 2618509 h 3387437"/>
                  <a:gd name="connsiteX16" fmla="*/ 1265107 w 3821271"/>
                  <a:gd name="connsiteY16" fmla="*/ 2182091 h 3387437"/>
                  <a:gd name="connsiteX17" fmla="*/ 703998 w 3821271"/>
                  <a:gd name="connsiteY17" fmla="*/ 1226128 h 3387437"/>
                  <a:gd name="connsiteX18" fmla="*/ 38980 w 3821271"/>
                  <a:gd name="connsiteY18" fmla="*/ 935182 h 3387437"/>
                  <a:gd name="connsiteX19" fmla="*/ 496180 w 3821271"/>
                  <a:gd name="connsiteY19" fmla="*/ 914400 h 3387437"/>
                  <a:gd name="connsiteX20" fmla="*/ 205235 w 3821271"/>
                  <a:gd name="connsiteY20" fmla="*/ 457200 h 3387437"/>
                  <a:gd name="connsiteX21" fmla="*/ 101326 w 3821271"/>
                  <a:gd name="connsiteY21" fmla="*/ 0 h 3387437"/>
                  <a:gd name="connsiteX0" fmla="*/ 101326 w 3821271"/>
                  <a:gd name="connsiteY0" fmla="*/ 0 h 3387437"/>
                  <a:gd name="connsiteX1" fmla="*/ 891035 w 3821271"/>
                  <a:gd name="connsiteY1" fmla="*/ 1143000 h 3387437"/>
                  <a:gd name="connsiteX2" fmla="*/ 1701526 w 3821271"/>
                  <a:gd name="connsiteY2" fmla="*/ 2847109 h 3387437"/>
                  <a:gd name="connsiteX3" fmla="*/ 1743089 w 3821271"/>
                  <a:gd name="connsiteY3" fmla="*/ 3221182 h 3387437"/>
                  <a:gd name="connsiteX4" fmla="*/ 2324980 w 3821271"/>
                  <a:gd name="connsiteY4" fmla="*/ 2784764 h 3387437"/>
                  <a:gd name="connsiteX5" fmla="*/ 2221071 w 3821271"/>
                  <a:gd name="connsiteY5" fmla="*/ 2286000 h 3387437"/>
                  <a:gd name="connsiteX6" fmla="*/ 2595144 w 3821271"/>
                  <a:gd name="connsiteY6" fmla="*/ 2798619 h 3387437"/>
                  <a:gd name="connsiteX7" fmla="*/ 3364071 w 3821271"/>
                  <a:gd name="connsiteY7" fmla="*/ 2535382 h 3387437"/>
                  <a:gd name="connsiteX8" fmla="*/ 3649078 w 3821271"/>
                  <a:gd name="connsiteY8" fmla="*/ 2606633 h 3387437"/>
                  <a:gd name="connsiteX9" fmla="*/ 3821271 w 3821271"/>
                  <a:gd name="connsiteY9" fmla="*/ 2701637 h 3387437"/>
                  <a:gd name="connsiteX10" fmla="*/ 3052344 w 3821271"/>
                  <a:gd name="connsiteY10" fmla="*/ 2828307 h 3387437"/>
                  <a:gd name="connsiteX11" fmla="*/ 2470453 w 3821271"/>
                  <a:gd name="connsiteY11" fmla="*/ 3075709 h 3387437"/>
                  <a:gd name="connsiteX12" fmla="*/ 1701526 w 3821271"/>
                  <a:gd name="connsiteY12" fmla="*/ 3387437 h 3387437"/>
                  <a:gd name="connsiteX13" fmla="*/ 1514489 w 3821271"/>
                  <a:gd name="connsiteY13" fmla="*/ 3096491 h 3387437"/>
                  <a:gd name="connsiteX14" fmla="*/ 1493707 w 3821271"/>
                  <a:gd name="connsiteY14" fmla="*/ 2805546 h 3387437"/>
                  <a:gd name="connsiteX15" fmla="*/ 1327453 w 3821271"/>
                  <a:gd name="connsiteY15" fmla="*/ 2618509 h 3387437"/>
                  <a:gd name="connsiteX16" fmla="*/ 1265107 w 3821271"/>
                  <a:gd name="connsiteY16" fmla="*/ 2182091 h 3387437"/>
                  <a:gd name="connsiteX17" fmla="*/ 703998 w 3821271"/>
                  <a:gd name="connsiteY17" fmla="*/ 1226128 h 3387437"/>
                  <a:gd name="connsiteX18" fmla="*/ 38980 w 3821271"/>
                  <a:gd name="connsiteY18" fmla="*/ 935182 h 3387437"/>
                  <a:gd name="connsiteX19" fmla="*/ 496180 w 3821271"/>
                  <a:gd name="connsiteY19" fmla="*/ 914400 h 3387437"/>
                  <a:gd name="connsiteX20" fmla="*/ 205235 w 3821271"/>
                  <a:gd name="connsiteY20" fmla="*/ 457200 h 3387437"/>
                  <a:gd name="connsiteX21" fmla="*/ 101326 w 3821271"/>
                  <a:gd name="connsiteY21" fmla="*/ 0 h 3387437"/>
                  <a:gd name="connsiteX0" fmla="*/ 101326 w 3821271"/>
                  <a:gd name="connsiteY0" fmla="*/ 0 h 3387437"/>
                  <a:gd name="connsiteX1" fmla="*/ 891035 w 3821271"/>
                  <a:gd name="connsiteY1" fmla="*/ 1143000 h 3387437"/>
                  <a:gd name="connsiteX2" fmla="*/ 1701526 w 3821271"/>
                  <a:gd name="connsiteY2" fmla="*/ 2847109 h 3387437"/>
                  <a:gd name="connsiteX3" fmla="*/ 1743089 w 3821271"/>
                  <a:gd name="connsiteY3" fmla="*/ 3221182 h 3387437"/>
                  <a:gd name="connsiteX4" fmla="*/ 2324980 w 3821271"/>
                  <a:gd name="connsiteY4" fmla="*/ 2784764 h 3387437"/>
                  <a:gd name="connsiteX5" fmla="*/ 2221071 w 3821271"/>
                  <a:gd name="connsiteY5" fmla="*/ 2286000 h 3387437"/>
                  <a:gd name="connsiteX6" fmla="*/ 2595144 w 3821271"/>
                  <a:gd name="connsiteY6" fmla="*/ 2798619 h 3387437"/>
                  <a:gd name="connsiteX7" fmla="*/ 3364071 w 3821271"/>
                  <a:gd name="connsiteY7" fmla="*/ 2535382 h 3387437"/>
                  <a:gd name="connsiteX8" fmla="*/ 3649078 w 3821271"/>
                  <a:gd name="connsiteY8" fmla="*/ 2606633 h 3387437"/>
                  <a:gd name="connsiteX9" fmla="*/ 3821271 w 3821271"/>
                  <a:gd name="connsiteY9" fmla="*/ 2701637 h 3387437"/>
                  <a:gd name="connsiteX10" fmla="*/ 3052344 w 3821271"/>
                  <a:gd name="connsiteY10" fmla="*/ 2828307 h 3387437"/>
                  <a:gd name="connsiteX11" fmla="*/ 2470453 w 3821271"/>
                  <a:gd name="connsiteY11" fmla="*/ 3075709 h 3387437"/>
                  <a:gd name="connsiteX12" fmla="*/ 1701526 w 3821271"/>
                  <a:gd name="connsiteY12" fmla="*/ 3387437 h 3387437"/>
                  <a:gd name="connsiteX13" fmla="*/ 1514489 w 3821271"/>
                  <a:gd name="connsiteY13" fmla="*/ 3096491 h 3387437"/>
                  <a:gd name="connsiteX14" fmla="*/ 1493707 w 3821271"/>
                  <a:gd name="connsiteY14" fmla="*/ 2805546 h 3387437"/>
                  <a:gd name="connsiteX15" fmla="*/ 1327453 w 3821271"/>
                  <a:gd name="connsiteY15" fmla="*/ 2618509 h 3387437"/>
                  <a:gd name="connsiteX16" fmla="*/ 1265107 w 3821271"/>
                  <a:gd name="connsiteY16" fmla="*/ 2182091 h 3387437"/>
                  <a:gd name="connsiteX17" fmla="*/ 703998 w 3821271"/>
                  <a:gd name="connsiteY17" fmla="*/ 1226128 h 3387437"/>
                  <a:gd name="connsiteX18" fmla="*/ 38980 w 3821271"/>
                  <a:gd name="connsiteY18" fmla="*/ 935182 h 3387437"/>
                  <a:gd name="connsiteX19" fmla="*/ 496180 w 3821271"/>
                  <a:gd name="connsiteY19" fmla="*/ 914400 h 3387437"/>
                  <a:gd name="connsiteX20" fmla="*/ 205235 w 3821271"/>
                  <a:gd name="connsiteY20" fmla="*/ 457200 h 3387437"/>
                  <a:gd name="connsiteX21" fmla="*/ 101326 w 3821271"/>
                  <a:gd name="connsiteY21" fmla="*/ 0 h 3387437"/>
                  <a:gd name="connsiteX0" fmla="*/ 101326 w 3821271"/>
                  <a:gd name="connsiteY0" fmla="*/ 0 h 3387437"/>
                  <a:gd name="connsiteX1" fmla="*/ 891035 w 3821271"/>
                  <a:gd name="connsiteY1" fmla="*/ 1143000 h 3387437"/>
                  <a:gd name="connsiteX2" fmla="*/ 1701526 w 3821271"/>
                  <a:gd name="connsiteY2" fmla="*/ 2847109 h 3387437"/>
                  <a:gd name="connsiteX3" fmla="*/ 1743089 w 3821271"/>
                  <a:gd name="connsiteY3" fmla="*/ 3221182 h 3387437"/>
                  <a:gd name="connsiteX4" fmla="*/ 2324980 w 3821271"/>
                  <a:gd name="connsiteY4" fmla="*/ 2784764 h 3387437"/>
                  <a:gd name="connsiteX5" fmla="*/ 2221071 w 3821271"/>
                  <a:gd name="connsiteY5" fmla="*/ 2286000 h 3387437"/>
                  <a:gd name="connsiteX6" fmla="*/ 2595144 w 3821271"/>
                  <a:gd name="connsiteY6" fmla="*/ 2798619 h 3387437"/>
                  <a:gd name="connsiteX7" fmla="*/ 3364071 w 3821271"/>
                  <a:gd name="connsiteY7" fmla="*/ 2535382 h 3387437"/>
                  <a:gd name="connsiteX8" fmla="*/ 3649078 w 3821271"/>
                  <a:gd name="connsiteY8" fmla="*/ 2606633 h 3387437"/>
                  <a:gd name="connsiteX9" fmla="*/ 3821271 w 3821271"/>
                  <a:gd name="connsiteY9" fmla="*/ 2701637 h 3387437"/>
                  <a:gd name="connsiteX10" fmla="*/ 3052344 w 3821271"/>
                  <a:gd name="connsiteY10" fmla="*/ 2828307 h 3387437"/>
                  <a:gd name="connsiteX11" fmla="*/ 2470453 w 3821271"/>
                  <a:gd name="connsiteY11" fmla="*/ 3075709 h 3387437"/>
                  <a:gd name="connsiteX12" fmla="*/ 1701526 w 3821271"/>
                  <a:gd name="connsiteY12" fmla="*/ 3387437 h 3387437"/>
                  <a:gd name="connsiteX13" fmla="*/ 1514489 w 3821271"/>
                  <a:gd name="connsiteY13" fmla="*/ 3096491 h 3387437"/>
                  <a:gd name="connsiteX14" fmla="*/ 1493707 w 3821271"/>
                  <a:gd name="connsiteY14" fmla="*/ 2805546 h 3387437"/>
                  <a:gd name="connsiteX15" fmla="*/ 1327453 w 3821271"/>
                  <a:gd name="connsiteY15" fmla="*/ 2618509 h 3387437"/>
                  <a:gd name="connsiteX16" fmla="*/ 1265107 w 3821271"/>
                  <a:gd name="connsiteY16" fmla="*/ 2182091 h 3387437"/>
                  <a:gd name="connsiteX17" fmla="*/ 703998 w 3821271"/>
                  <a:gd name="connsiteY17" fmla="*/ 1226128 h 3387437"/>
                  <a:gd name="connsiteX18" fmla="*/ 38980 w 3821271"/>
                  <a:gd name="connsiteY18" fmla="*/ 935182 h 3387437"/>
                  <a:gd name="connsiteX19" fmla="*/ 496180 w 3821271"/>
                  <a:gd name="connsiteY19" fmla="*/ 914400 h 3387437"/>
                  <a:gd name="connsiteX20" fmla="*/ 205235 w 3821271"/>
                  <a:gd name="connsiteY20" fmla="*/ 457200 h 3387437"/>
                  <a:gd name="connsiteX21" fmla="*/ 101326 w 3821271"/>
                  <a:gd name="connsiteY21" fmla="*/ 0 h 3387437"/>
                  <a:gd name="connsiteX0" fmla="*/ 101326 w 3821271"/>
                  <a:gd name="connsiteY0" fmla="*/ 0 h 3387437"/>
                  <a:gd name="connsiteX1" fmla="*/ 891035 w 3821271"/>
                  <a:gd name="connsiteY1" fmla="*/ 1143000 h 3387437"/>
                  <a:gd name="connsiteX2" fmla="*/ 1701526 w 3821271"/>
                  <a:gd name="connsiteY2" fmla="*/ 2847109 h 3387437"/>
                  <a:gd name="connsiteX3" fmla="*/ 1743089 w 3821271"/>
                  <a:gd name="connsiteY3" fmla="*/ 3221182 h 3387437"/>
                  <a:gd name="connsiteX4" fmla="*/ 2324980 w 3821271"/>
                  <a:gd name="connsiteY4" fmla="*/ 2784764 h 3387437"/>
                  <a:gd name="connsiteX5" fmla="*/ 2221071 w 3821271"/>
                  <a:gd name="connsiteY5" fmla="*/ 2286000 h 3387437"/>
                  <a:gd name="connsiteX6" fmla="*/ 2595144 w 3821271"/>
                  <a:gd name="connsiteY6" fmla="*/ 2798619 h 3387437"/>
                  <a:gd name="connsiteX7" fmla="*/ 3364071 w 3821271"/>
                  <a:gd name="connsiteY7" fmla="*/ 2535382 h 3387437"/>
                  <a:gd name="connsiteX8" fmla="*/ 3649078 w 3821271"/>
                  <a:gd name="connsiteY8" fmla="*/ 2606633 h 3387437"/>
                  <a:gd name="connsiteX9" fmla="*/ 3821271 w 3821271"/>
                  <a:gd name="connsiteY9" fmla="*/ 2701637 h 3387437"/>
                  <a:gd name="connsiteX10" fmla="*/ 3052344 w 3821271"/>
                  <a:gd name="connsiteY10" fmla="*/ 2828307 h 3387437"/>
                  <a:gd name="connsiteX11" fmla="*/ 2470453 w 3821271"/>
                  <a:gd name="connsiteY11" fmla="*/ 3075709 h 3387437"/>
                  <a:gd name="connsiteX12" fmla="*/ 1701526 w 3821271"/>
                  <a:gd name="connsiteY12" fmla="*/ 3387437 h 3387437"/>
                  <a:gd name="connsiteX13" fmla="*/ 1514489 w 3821271"/>
                  <a:gd name="connsiteY13" fmla="*/ 3096491 h 3387437"/>
                  <a:gd name="connsiteX14" fmla="*/ 1493707 w 3821271"/>
                  <a:gd name="connsiteY14" fmla="*/ 2805546 h 3387437"/>
                  <a:gd name="connsiteX15" fmla="*/ 1327453 w 3821271"/>
                  <a:gd name="connsiteY15" fmla="*/ 2618509 h 3387437"/>
                  <a:gd name="connsiteX16" fmla="*/ 1265107 w 3821271"/>
                  <a:gd name="connsiteY16" fmla="*/ 2182091 h 3387437"/>
                  <a:gd name="connsiteX17" fmla="*/ 703998 w 3821271"/>
                  <a:gd name="connsiteY17" fmla="*/ 1226128 h 3387437"/>
                  <a:gd name="connsiteX18" fmla="*/ 38980 w 3821271"/>
                  <a:gd name="connsiteY18" fmla="*/ 935182 h 3387437"/>
                  <a:gd name="connsiteX19" fmla="*/ 496180 w 3821271"/>
                  <a:gd name="connsiteY19" fmla="*/ 914400 h 3387437"/>
                  <a:gd name="connsiteX20" fmla="*/ 205235 w 3821271"/>
                  <a:gd name="connsiteY20" fmla="*/ 457200 h 3387437"/>
                  <a:gd name="connsiteX21" fmla="*/ 101326 w 3821271"/>
                  <a:gd name="connsiteY21" fmla="*/ 0 h 3387437"/>
                  <a:gd name="connsiteX0" fmla="*/ 101326 w 3821271"/>
                  <a:gd name="connsiteY0" fmla="*/ 0 h 3387437"/>
                  <a:gd name="connsiteX1" fmla="*/ 891035 w 3821271"/>
                  <a:gd name="connsiteY1" fmla="*/ 1143000 h 3387437"/>
                  <a:gd name="connsiteX2" fmla="*/ 1701526 w 3821271"/>
                  <a:gd name="connsiteY2" fmla="*/ 2847109 h 3387437"/>
                  <a:gd name="connsiteX3" fmla="*/ 1743089 w 3821271"/>
                  <a:gd name="connsiteY3" fmla="*/ 3221182 h 3387437"/>
                  <a:gd name="connsiteX4" fmla="*/ 2324980 w 3821271"/>
                  <a:gd name="connsiteY4" fmla="*/ 2784764 h 3387437"/>
                  <a:gd name="connsiteX5" fmla="*/ 2221071 w 3821271"/>
                  <a:gd name="connsiteY5" fmla="*/ 2286000 h 3387437"/>
                  <a:gd name="connsiteX6" fmla="*/ 2595144 w 3821271"/>
                  <a:gd name="connsiteY6" fmla="*/ 2798619 h 3387437"/>
                  <a:gd name="connsiteX7" fmla="*/ 3364071 w 3821271"/>
                  <a:gd name="connsiteY7" fmla="*/ 2535382 h 3387437"/>
                  <a:gd name="connsiteX8" fmla="*/ 3649078 w 3821271"/>
                  <a:gd name="connsiteY8" fmla="*/ 2606633 h 3387437"/>
                  <a:gd name="connsiteX9" fmla="*/ 3821271 w 3821271"/>
                  <a:gd name="connsiteY9" fmla="*/ 2701637 h 3387437"/>
                  <a:gd name="connsiteX10" fmla="*/ 3052344 w 3821271"/>
                  <a:gd name="connsiteY10" fmla="*/ 2828307 h 3387437"/>
                  <a:gd name="connsiteX11" fmla="*/ 2470453 w 3821271"/>
                  <a:gd name="connsiteY11" fmla="*/ 3075709 h 3387437"/>
                  <a:gd name="connsiteX12" fmla="*/ 1701526 w 3821271"/>
                  <a:gd name="connsiteY12" fmla="*/ 3387437 h 3387437"/>
                  <a:gd name="connsiteX13" fmla="*/ 1514489 w 3821271"/>
                  <a:gd name="connsiteY13" fmla="*/ 3096491 h 3387437"/>
                  <a:gd name="connsiteX14" fmla="*/ 1493707 w 3821271"/>
                  <a:gd name="connsiteY14" fmla="*/ 2805546 h 3387437"/>
                  <a:gd name="connsiteX15" fmla="*/ 1327453 w 3821271"/>
                  <a:gd name="connsiteY15" fmla="*/ 2618509 h 3387437"/>
                  <a:gd name="connsiteX16" fmla="*/ 1265107 w 3821271"/>
                  <a:gd name="connsiteY16" fmla="*/ 2182091 h 3387437"/>
                  <a:gd name="connsiteX17" fmla="*/ 703998 w 3821271"/>
                  <a:gd name="connsiteY17" fmla="*/ 1226128 h 3387437"/>
                  <a:gd name="connsiteX18" fmla="*/ 38980 w 3821271"/>
                  <a:gd name="connsiteY18" fmla="*/ 935182 h 3387437"/>
                  <a:gd name="connsiteX19" fmla="*/ 496180 w 3821271"/>
                  <a:gd name="connsiteY19" fmla="*/ 914400 h 3387437"/>
                  <a:gd name="connsiteX20" fmla="*/ 205235 w 3821271"/>
                  <a:gd name="connsiteY20" fmla="*/ 457200 h 3387437"/>
                  <a:gd name="connsiteX21" fmla="*/ 101326 w 3821271"/>
                  <a:gd name="connsiteY21" fmla="*/ 0 h 3387437"/>
                  <a:gd name="connsiteX0" fmla="*/ 101326 w 3821271"/>
                  <a:gd name="connsiteY0" fmla="*/ 0 h 3387437"/>
                  <a:gd name="connsiteX1" fmla="*/ 891035 w 3821271"/>
                  <a:gd name="connsiteY1" fmla="*/ 1143000 h 3387437"/>
                  <a:gd name="connsiteX2" fmla="*/ 1701526 w 3821271"/>
                  <a:gd name="connsiteY2" fmla="*/ 2847109 h 3387437"/>
                  <a:gd name="connsiteX3" fmla="*/ 1743089 w 3821271"/>
                  <a:gd name="connsiteY3" fmla="*/ 3221182 h 3387437"/>
                  <a:gd name="connsiteX4" fmla="*/ 2324980 w 3821271"/>
                  <a:gd name="connsiteY4" fmla="*/ 2784764 h 3387437"/>
                  <a:gd name="connsiteX5" fmla="*/ 2221071 w 3821271"/>
                  <a:gd name="connsiteY5" fmla="*/ 2286000 h 3387437"/>
                  <a:gd name="connsiteX6" fmla="*/ 2595144 w 3821271"/>
                  <a:gd name="connsiteY6" fmla="*/ 2798619 h 3387437"/>
                  <a:gd name="connsiteX7" fmla="*/ 3364071 w 3821271"/>
                  <a:gd name="connsiteY7" fmla="*/ 2535382 h 3387437"/>
                  <a:gd name="connsiteX8" fmla="*/ 3649078 w 3821271"/>
                  <a:gd name="connsiteY8" fmla="*/ 2606633 h 3387437"/>
                  <a:gd name="connsiteX9" fmla="*/ 3821271 w 3821271"/>
                  <a:gd name="connsiteY9" fmla="*/ 2701637 h 3387437"/>
                  <a:gd name="connsiteX10" fmla="*/ 3052344 w 3821271"/>
                  <a:gd name="connsiteY10" fmla="*/ 2828307 h 3387437"/>
                  <a:gd name="connsiteX11" fmla="*/ 2470453 w 3821271"/>
                  <a:gd name="connsiteY11" fmla="*/ 3075709 h 3387437"/>
                  <a:gd name="connsiteX12" fmla="*/ 1701526 w 3821271"/>
                  <a:gd name="connsiteY12" fmla="*/ 3387437 h 3387437"/>
                  <a:gd name="connsiteX13" fmla="*/ 1514489 w 3821271"/>
                  <a:gd name="connsiteY13" fmla="*/ 3096491 h 3387437"/>
                  <a:gd name="connsiteX14" fmla="*/ 1493707 w 3821271"/>
                  <a:gd name="connsiteY14" fmla="*/ 2805546 h 3387437"/>
                  <a:gd name="connsiteX15" fmla="*/ 1327453 w 3821271"/>
                  <a:gd name="connsiteY15" fmla="*/ 2618509 h 3387437"/>
                  <a:gd name="connsiteX16" fmla="*/ 1265107 w 3821271"/>
                  <a:gd name="connsiteY16" fmla="*/ 2182091 h 3387437"/>
                  <a:gd name="connsiteX17" fmla="*/ 703998 w 3821271"/>
                  <a:gd name="connsiteY17" fmla="*/ 1226128 h 3387437"/>
                  <a:gd name="connsiteX18" fmla="*/ 38980 w 3821271"/>
                  <a:gd name="connsiteY18" fmla="*/ 935182 h 3387437"/>
                  <a:gd name="connsiteX19" fmla="*/ 496180 w 3821271"/>
                  <a:gd name="connsiteY19" fmla="*/ 914400 h 3387437"/>
                  <a:gd name="connsiteX20" fmla="*/ 205235 w 3821271"/>
                  <a:gd name="connsiteY20" fmla="*/ 457200 h 3387437"/>
                  <a:gd name="connsiteX21" fmla="*/ 101326 w 3821271"/>
                  <a:gd name="connsiteY21" fmla="*/ 0 h 3387437"/>
                  <a:gd name="connsiteX0" fmla="*/ 101326 w 3821271"/>
                  <a:gd name="connsiteY0" fmla="*/ 0 h 3387437"/>
                  <a:gd name="connsiteX1" fmla="*/ 891035 w 3821271"/>
                  <a:gd name="connsiteY1" fmla="*/ 1143000 h 3387437"/>
                  <a:gd name="connsiteX2" fmla="*/ 1701526 w 3821271"/>
                  <a:gd name="connsiteY2" fmla="*/ 2847109 h 3387437"/>
                  <a:gd name="connsiteX3" fmla="*/ 1743089 w 3821271"/>
                  <a:gd name="connsiteY3" fmla="*/ 3221182 h 3387437"/>
                  <a:gd name="connsiteX4" fmla="*/ 2324980 w 3821271"/>
                  <a:gd name="connsiteY4" fmla="*/ 2784764 h 3387437"/>
                  <a:gd name="connsiteX5" fmla="*/ 2221071 w 3821271"/>
                  <a:gd name="connsiteY5" fmla="*/ 2286000 h 3387437"/>
                  <a:gd name="connsiteX6" fmla="*/ 2595144 w 3821271"/>
                  <a:gd name="connsiteY6" fmla="*/ 2798619 h 3387437"/>
                  <a:gd name="connsiteX7" fmla="*/ 3364071 w 3821271"/>
                  <a:gd name="connsiteY7" fmla="*/ 2535382 h 3387437"/>
                  <a:gd name="connsiteX8" fmla="*/ 3649078 w 3821271"/>
                  <a:gd name="connsiteY8" fmla="*/ 2606633 h 3387437"/>
                  <a:gd name="connsiteX9" fmla="*/ 3821271 w 3821271"/>
                  <a:gd name="connsiteY9" fmla="*/ 2701637 h 3387437"/>
                  <a:gd name="connsiteX10" fmla="*/ 3052344 w 3821271"/>
                  <a:gd name="connsiteY10" fmla="*/ 2828307 h 3387437"/>
                  <a:gd name="connsiteX11" fmla="*/ 2470453 w 3821271"/>
                  <a:gd name="connsiteY11" fmla="*/ 3075709 h 3387437"/>
                  <a:gd name="connsiteX12" fmla="*/ 1701526 w 3821271"/>
                  <a:gd name="connsiteY12" fmla="*/ 3387437 h 3387437"/>
                  <a:gd name="connsiteX13" fmla="*/ 1514489 w 3821271"/>
                  <a:gd name="connsiteY13" fmla="*/ 3096491 h 3387437"/>
                  <a:gd name="connsiteX14" fmla="*/ 1493707 w 3821271"/>
                  <a:gd name="connsiteY14" fmla="*/ 2805546 h 3387437"/>
                  <a:gd name="connsiteX15" fmla="*/ 1327453 w 3821271"/>
                  <a:gd name="connsiteY15" fmla="*/ 2618509 h 3387437"/>
                  <a:gd name="connsiteX16" fmla="*/ 1265107 w 3821271"/>
                  <a:gd name="connsiteY16" fmla="*/ 2182091 h 3387437"/>
                  <a:gd name="connsiteX17" fmla="*/ 703998 w 3821271"/>
                  <a:gd name="connsiteY17" fmla="*/ 1226128 h 3387437"/>
                  <a:gd name="connsiteX18" fmla="*/ 38980 w 3821271"/>
                  <a:gd name="connsiteY18" fmla="*/ 935182 h 3387437"/>
                  <a:gd name="connsiteX19" fmla="*/ 496180 w 3821271"/>
                  <a:gd name="connsiteY19" fmla="*/ 914400 h 3387437"/>
                  <a:gd name="connsiteX20" fmla="*/ 205235 w 3821271"/>
                  <a:gd name="connsiteY20" fmla="*/ 457200 h 3387437"/>
                  <a:gd name="connsiteX21" fmla="*/ 101326 w 3821271"/>
                  <a:gd name="connsiteY21" fmla="*/ 0 h 3387437"/>
                  <a:gd name="connsiteX0" fmla="*/ 116774 w 3836719"/>
                  <a:gd name="connsiteY0" fmla="*/ 0 h 3387437"/>
                  <a:gd name="connsiteX1" fmla="*/ 906483 w 3836719"/>
                  <a:gd name="connsiteY1" fmla="*/ 1143000 h 3387437"/>
                  <a:gd name="connsiteX2" fmla="*/ 1716974 w 3836719"/>
                  <a:gd name="connsiteY2" fmla="*/ 2847109 h 3387437"/>
                  <a:gd name="connsiteX3" fmla="*/ 1758537 w 3836719"/>
                  <a:gd name="connsiteY3" fmla="*/ 3221182 h 3387437"/>
                  <a:gd name="connsiteX4" fmla="*/ 2340428 w 3836719"/>
                  <a:gd name="connsiteY4" fmla="*/ 2784764 h 3387437"/>
                  <a:gd name="connsiteX5" fmla="*/ 2236519 w 3836719"/>
                  <a:gd name="connsiteY5" fmla="*/ 2286000 h 3387437"/>
                  <a:gd name="connsiteX6" fmla="*/ 2610592 w 3836719"/>
                  <a:gd name="connsiteY6" fmla="*/ 2798619 h 3387437"/>
                  <a:gd name="connsiteX7" fmla="*/ 3379519 w 3836719"/>
                  <a:gd name="connsiteY7" fmla="*/ 2535382 h 3387437"/>
                  <a:gd name="connsiteX8" fmla="*/ 3664526 w 3836719"/>
                  <a:gd name="connsiteY8" fmla="*/ 2606633 h 3387437"/>
                  <a:gd name="connsiteX9" fmla="*/ 3836719 w 3836719"/>
                  <a:gd name="connsiteY9" fmla="*/ 2701637 h 3387437"/>
                  <a:gd name="connsiteX10" fmla="*/ 3067792 w 3836719"/>
                  <a:gd name="connsiteY10" fmla="*/ 2828307 h 3387437"/>
                  <a:gd name="connsiteX11" fmla="*/ 2485901 w 3836719"/>
                  <a:gd name="connsiteY11" fmla="*/ 3075709 h 3387437"/>
                  <a:gd name="connsiteX12" fmla="*/ 1716974 w 3836719"/>
                  <a:gd name="connsiteY12" fmla="*/ 3387437 h 3387437"/>
                  <a:gd name="connsiteX13" fmla="*/ 1529937 w 3836719"/>
                  <a:gd name="connsiteY13" fmla="*/ 3096491 h 3387437"/>
                  <a:gd name="connsiteX14" fmla="*/ 1509155 w 3836719"/>
                  <a:gd name="connsiteY14" fmla="*/ 2805546 h 3387437"/>
                  <a:gd name="connsiteX15" fmla="*/ 1342901 w 3836719"/>
                  <a:gd name="connsiteY15" fmla="*/ 2618509 h 3387437"/>
                  <a:gd name="connsiteX16" fmla="*/ 1280555 w 3836719"/>
                  <a:gd name="connsiteY16" fmla="*/ 2182091 h 3387437"/>
                  <a:gd name="connsiteX17" fmla="*/ 719446 w 3836719"/>
                  <a:gd name="connsiteY17" fmla="*/ 1226128 h 3387437"/>
                  <a:gd name="connsiteX18" fmla="*/ 54428 w 3836719"/>
                  <a:gd name="connsiteY18" fmla="*/ 935182 h 3387437"/>
                  <a:gd name="connsiteX19" fmla="*/ 511628 w 3836719"/>
                  <a:gd name="connsiteY19" fmla="*/ 914400 h 3387437"/>
                  <a:gd name="connsiteX20" fmla="*/ 220683 w 3836719"/>
                  <a:gd name="connsiteY20" fmla="*/ 457200 h 3387437"/>
                  <a:gd name="connsiteX21" fmla="*/ 116774 w 3836719"/>
                  <a:gd name="connsiteY21" fmla="*/ 0 h 3387437"/>
                  <a:gd name="connsiteX0" fmla="*/ 182088 w 3902033"/>
                  <a:gd name="connsiteY0" fmla="*/ 0 h 3387437"/>
                  <a:gd name="connsiteX1" fmla="*/ 971797 w 3902033"/>
                  <a:gd name="connsiteY1" fmla="*/ 1143000 h 3387437"/>
                  <a:gd name="connsiteX2" fmla="*/ 1782288 w 3902033"/>
                  <a:gd name="connsiteY2" fmla="*/ 2847109 h 3387437"/>
                  <a:gd name="connsiteX3" fmla="*/ 1823851 w 3902033"/>
                  <a:gd name="connsiteY3" fmla="*/ 3221182 h 3387437"/>
                  <a:gd name="connsiteX4" fmla="*/ 2405742 w 3902033"/>
                  <a:gd name="connsiteY4" fmla="*/ 2784764 h 3387437"/>
                  <a:gd name="connsiteX5" fmla="*/ 2301833 w 3902033"/>
                  <a:gd name="connsiteY5" fmla="*/ 2286000 h 3387437"/>
                  <a:gd name="connsiteX6" fmla="*/ 2675906 w 3902033"/>
                  <a:gd name="connsiteY6" fmla="*/ 2798619 h 3387437"/>
                  <a:gd name="connsiteX7" fmla="*/ 3444833 w 3902033"/>
                  <a:gd name="connsiteY7" fmla="*/ 2535382 h 3387437"/>
                  <a:gd name="connsiteX8" fmla="*/ 3729840 w 3902033"/>
                  <a:gd name="connsiteY8" fmla="*/ 2606633 h 3387437"/>
                  <a:gd name="connsiteX9" fmla="*/ 3902033 w 3902033"/>
                  <a:gd name="connsiteY9" fmla="*/ 2701637 h 3387437"/>
                  <a:gd name="connsiteX10" fmla="*/ 3133106 w 3902033"/>
                  <a:gd name="connsiteY10" fmla="*/ 2828307 h 3387437"/>
                  <a:gd name="connsiteX11" fmla="*/ 2551215 w 3902033"/>
                  <a:gd name="connsiteY11" fmla="*/ 3075709 h 3387437"/>
                  <a:gd name="connsiteX12" fmla="*/ 1782288 w 3902033"/>
                  <a:gd name="connsiteY12" fmla="*/ 3387437 h 3387437"/>
                  <a:gd name="connsiteX13" fmla="*/ 1595251 w 3902033"/>
                  <a:gd name="connsiteY13" fmla="*/ 3096491 h 3387437"/>
                  <a:gd name="connsiteX14" fmla="*/ 1574469 w 3902033"/>
                  <a:gd name="connsiteY14" fmla="*/ 2805546 h 3387437"/>
                  <a:gd name="connsiteX15" fmla="*/ 1408215 w 3902033"/>
                  <a:gd name="connsiteY15" fmla="*/ 2618509 h 3387437"/>
                  <a:gd name="connsiteX16" fmla="*/ 1345869 w 3902033"/>
                  <a:gd name="connsiteY16" fmla="*/ 2182091 h 3387437"/>
                  <a:gd name="connsiteX17" fmla="*/ 784760 w 3902033"/>
                  <a:gd name="connsiteY17" fmla="*/ 1226128 h 3387437"/>
                  <a:gd name="connsiteX18" fmla="*/ 119742 w 3902033"/>
                  <a:gd name="connsiteY18" fmla="*/ 935182 h 3387437"/>
                  <a:gd name="connsiteX19" fmla="*/ 576942 w 3902033"/>
                  <a:gd name="connsiteY19" fmla="*/ 914400 h 3387437"/>
                  <a:gd name="connsiteX20" fmla="*/ 285997 w 3902033"/>
                  <a:gd name="connsiteY20" fmla="*/ 457200 h 3387437"/>
                  <a:gd name="connsiteX21" fmla="*/ 182088 w 3902033"/>
                  <a:gd name="connsiteY21" fmla="*/ 0 h 3387437"/>
                  <a:gd name="connsiteX0" fmla="*/ 193964 w 3913909"/>
                  <a:gd name="connsiteY0" fmla="*/ 21772 h 3409209"/>
                  <a:gd name="connsiteX1" fmla="*/ 983673 w 3913909"/>
                  <a:gd name="connsiteY1" fmla="*/ 1164772 h 3409209"/>
                  <a:gd name="connsiteX2" fmla="*/ 1794164 w 3913909"/>
                  <a:gd name="connsiteY2" fmla="*/ 2868881 h 3409209"/>
                  <a:gd name="connsiteX3" fmla="*/ 1835727 w 3913909"/>
                  <a:gd name="connsiteY3" fmla="*/ 3242954 h 3409209"/>
                  <a:gd name="connsiteX4" fmla="*/ 2417618 w 3913909"/>
                  <a:gd name="connsiteY4" fmla="*/ 2806536 h 3409209"/>
                  <a:gd name="connsiteX5" fmla="*/ 2313709 w 3913909"/>
                  <a:gd name="connsiteY5" fmla="*/ 2307772 h 3409209"/>
                  <a:gd name="connsiteX6" fmla="*/ 2687782 w 3913909"/>
                  <a:gd name="connsiteY6" fmla="*/ 2820391 h 3409209"/>
                  <a:gd name="connsiteX7" fmla="*/ 3456709 w 3913909"/>
                  <a:gd name="connsiteY7" fmla="*/ 2557154 h 3409209"/>
                  <a:gd name="connsiteX8" fmla="*/ 3741716 w 3913909"/>
                  <a:gd name="connsiteY8" fmla="*/ 2628405 h 3409209"/>
                  <a:gd name="connsiteX9" fmla="*/ 3913909 w 3913909"/>
                  <a:gd name="connsiteY9" fmla="*/ 2723409 h 3409209"/>
                  <a:gd name="connsiteX10" fmla="*/ 3144982 w 3913909"/>
                  <a:gd name="connsiteY10" fmla="*/ 2850079 h 3409209"/>
                  <a:gd name="connsiteX11" fmla="*/ 2563091 w 3913909"/>
                  <a:gd name="connsiteY11" fmla="*/ 3097481 h 3409209"/>
                  <a:gd name="connsiteX12" fmla="*/ 1794164 w 3913909"/>
                  <a:gd name="connsiteY12" fmla="*/ 3409209 h 3409209"/>
                  <a:gd name="connsiteX13" fmla="*/ 1607127 w 3913909"/>
                  <a:gd name="connsiteY13" fmla="*/ 3118263 h 3409209"/>
                  <a:gd name="connsiteX14" fmla="*/ 1586345 w 3913909"/>
                  <a:gd name="connsiteY14" fmla="*/ 2827318 h 3409209"/>
                  <a:gd name="connsiteX15" fmla="*/ 1420091 w 3913909"/>
                  <a:gd name="connsiteY15" fmla="*/ 2640281 h 3409209"/>
                  <a:gd name="connsiteX16" fmla="*/ 1357745 w 3913909"/>
                  <a:gd name="connsiteY16" fmla="*/ 2203863 h 3409209"/>
                  <a:gd name="connsiteX17" fmla="*/ 796636 w 3913909"/>
                  <a:gd name="connsiteY17" fmla="*/ 1247900 h 3409209"/>
                  <a:gd name="connsiteX18" fmla="*/ 131618 w 3913909"/>
                  <a:gd name="connsiteY18" fmla="*/ 956954 h 3409209"/>
                  <a:gd name="connsiteX19" fmla="*/ 588818 w 3913909"/>
                  <a:gd name="connsiteY19" fmla="*/ 936172 h 3409209"/>
                  <a:gd name="connsiteX20" fmla="*/ 297873 w 3913909"/>
                  <a:gd name="connsiteY20" fmla="*/ 478972 h 3409209"/>
                  <a:gd name="connsiteX21" fmla="*/ 193964 w 3913909"/>
                  <a:gd name="connsiteY21" fmla="*/ 21772 h 3409209"/>
                  <a:gd name="connsiteX0" fmla="*/ 193964 w 3913909"/>
                  <a:gd name="connsiteY0" fmla="*/ 21772 h 3409209"/>
                  <a:gd name="connsiteX1" fmla="*/ 983673 w 3913909"/>
                  <a:gd name="connsiteY1" fmla="*/ 1164772 h 3409209"/>
                  <a:gd name="connsiteX2" fmla="*/ 1794164 w 3913909"/>
                  <a:gd name="connsiteY2" fmla="*/ 2868881 h 3409209"/>
                  <a:gd name="connsiteX3" fmla="*/ 1835727 w 3913909"/>
                  <a:gd name="connsiteY3" fmla="*/ 3242954 h 3409209"/>
                  <a:gd name="connsiteX4" fmla="*/ 2417618 w 3913909"/>
                  <a:gd name="connsiteY4" fmla="*/ 2806536 h 3409209"/>
                  <a:gd name="connsiteX5" fmla="*/ 2313709 w 3913909"/>
                  <a:gd name="connsiteY5" fmla="*/ 2307772 h 3409209"/>
                  <a:gd name="connsiteX6" fmla="*/ 2687782 w 3913909"/>
                  <a:gd name="connsiteY6" fmla="*/ 2820391 h 3409209"/>
                  <a:gd name="connsiteX7" fmla="*/ 3456709 w 3913909"/>
                  <a:gd name="connsiteY7" fmla="*/ 2557154 h 3409209"/>
                  <a:gd name="connsiteX8" fmla="*/ 3741716 w 3913909"/>
                  <a:gd name="connsiteY8" fmla="*/ 2628405 h 3409209"/>
                  <a:gd name="connsiteX9" fmla="*/ 3913909 w 3913909"/>
                  <a:gd name="connsiteY9" fmla="*/ 2723409 h 3409209"/>
                  <a:gd name="connsiteX10" fmla="*/ 3144982 w 3913909"/>
                  <a:gd name="connsiteY10" fmla="*/ 2850079 h 3409209"/>
                  <a:gd name="connsiteX11" fmla="*/ 2563091 w 3913909"/>
                  <a:gd name="connsiteY11" fmla="*/ 3097481 h 3409209"/>
                  <a:gd name="connsiteX12" fmla="*/ 1794164 w 3913909"/>
                  <a:gd name="connsiteY12" fmla="*/ 3409209 h 3409209"/>
                  <a:gd name="connsiteX13" fmla="*/ 1607127 w 3913909"/>
                  <a:gd name="connsiteY13" fmla="*/ 3118263 h 3409209"/>
                  <a:gd name="connsiteX14" fmla="*/ 1586345 w 3913909"/>
                  <a:gd name="connsiteY14" fmla="*/ 2827318 h 3409209"/>
                  <a:gd name="connsiteX15" fmla="*/ 1420091 w 3913909"/>
                  <a:gd name="connsiteY15" fmla="*/ 2640281 h 3409209"/>
                  <a:gd name="connsiteX16" fmla="*/ 1357745 w 3913909"/>
                  <a:gd name="connsiteY16" fmla="*/ 2203863 h 3409209"/>
                  <a:gd name="connsiteX17" fmla="*/ 796636 w 3913909"/>
                  <a:gd name="connsiteY17" fmla="*/ 1247900 h 3409209"/>
                  <a:gd name="connsiteX18" fmla="*/ 131618 w 3913909"/>
                  <a:gd name="connsiteY18" fmla="*/ 956954 h 3409209"/>
                  <a:gd name="connsiteX19" fmla="*/ 588818 w 3913909"/>
                  <a:gd name="connsiteY19" fmla="*/ 936172 h 3409209"/>
                  <a:gd name="connsiteX20" fmla="*/ 297873 w 3913909"/>
                  <a:gd name="connsiteY20" fmla="*/ 478972 h 3409209"/>
                  <a:gd name="connsiteX21" fmla="*/ 193964 w 3913909"/>
                  <a:gd name="connsiteY21" fmla="*/ 21772 h 3409209"/>
                  <a:gd name="connsiteX0" fmla="*/ 193964 w 3913909"/>
                  <a:gd name="connsiteY0" fmla="*/ 21772 h 3409209"/>
                  <a:gd name="connsiteX1" fmla="*/ 983673 w 3913909"/>
                  <a:gd name="connsiteY1" fmla="*/ 1164772 h 3409209"/>
                  <a:gd name="connsiteX2" fmla="*/ 1794164 w 3913909"/>
                  <a:gd name="connsiteY2" fmla="*/ 2868881 h 3409209"/>
                  <a:gd name="connsiteX3" fmla="*/ 1835727 w 3913909"/>
                  <a:gd name="connsiteY3" fmla="*/ 3242954 h 3409209"/>
                  <a:gd name="connsiteX4" fmla="*/ 2417618 w 3913909"/>
                  <a:gd name="connsiteY4" fmla="*/ 2806536 h 3409209"/>
                  <a:gd name="connsiteX5" fmla="*/ 2313709 w 3913909"/>
                  <a:gd name="connsiteY5" fmla="*/ 2307772 h 3409209"/>
                  <a:gd name="connsiteX6" fmla="*/ 2687782 w 3913909"/>
                  <a:gd name="connsiteY6" fmla="*/ 2820391 h 3409209"/>
                  <a:gd name="connsiteX7" fmla="*/ 3456709 w 3913909"/>
                  <a:gd name="connsiteY7" fmla="*/ 2557154 h 3409209"/>
                  <a:gd name="connsiteX8" fmla="*/ 3741716 w 3913909"/>
                  <a:gd name="connsiteY8" fmla="*/ 2628405 h 3409209"/>
                  <a:gd name="connsiteX9" fmla="*/ 3913909 w 3913909"/>
                  <a:gd name="connsiteY9" fmla="*/ 2723409 h 3409209"/>
                  <a:gd name="connsiteX10" fmla="*/ 3144982 w 3913909"/>
                  <a:gd name="connsiteY10" fmla="*/ 2850079 h 3409209"/>
                  <a:gd name="connsiteX11" fmla="*/ 2563091 w 3913909"/>
                  <a:gd name="connsiteY11" fmla="*/ 3097481 h 3409209"/>
                  <a:gd name="connsiteX12" fmla="*/ 1794164 w 3913909"/>
                  <a:gd name="connsiteY12" fmla="*/ 3409209 h 3409209"/>
                  <a:gd name="connsiteX13" fmla="*/ 1607127 w 3913909"/>
                  <a:gd name="connsiteY13" fmla="*/ 3118263 h 3409209"/>
                  <a:gd name="connsiteX14" fmla="*/ 1586345 w 3913909"/>
                  <a:gd name="connsiteY14" fmla="*/ 2827318 h 3409209"/>
                  <a:gd name="connsiteX15" fmla="*/ 1420091 w 3913909"/>
                  <a:gd name="connsiteY15" fmla="*/ 2640281 h 3409209"/>
                  <a:gd name="connsiteX16" fmla="*/ 1357745 w 3913909"/>
                  <a:gd name="connsiteY16" fmla="*/ 2203863 h 3409209"/>
                  <a:gd name="connsiteX17" fmla="*/ 796636 w 3913909"/>
                  <a:gd name="connsiteY17" fmla="*/ 1247900 h 3409209"/>
                  <a:gd name="connsiteX18" fmla="*/ 131618 w 3913909"/>
                  <a:gd name="connsiteY18" fmla="*/ 956954 h 3409209"/>
                  <a:gd name="connsiteX19" fmla="*/ 588818 w 3913909"/>
                  <a:gd name="connsiteY19" fmla="*/ 936172 h 3409209"/>
                  <a:gd name="connsiteX20" fmla="*/ 297873 w 3913909"/>
                  <a:gd name="connsiteY20" fmla="*/ 478972 h 3409209"/>
                  <a:gd name="connsiteX21" fmla="*/ 193964 w 3913909"/>
                  <a:gd name="connsiteY21" fmla="*/ 21772 h 3409209"/>
                  <a:gd name="connsiteX0" fmla="*/ 193964 w 3913909"/>
                  <a:gd name="connsiteY0" fmla="*/ 21772 h 3409209"/>
                  <a:gd name="connsiteX1" fmla="*/ 983673 w 3913909"/>
                  <a:gd name="connsiteY1" fmla="*/ 1164772 h 3409209"/>
                  <a:gd name="connsiteX2" fmla="*/ 1794164 w 3913909"/>
                  <a:gd name="connsiteY2" fmla="*/ 2868881 h 3409209"/>
                  <a:gd name="connsiteX3" fmla="*/ 1835727 w 3913909"/>
                  <a:gd name="connsiteY3" fmla="*/ 3242954 h 3409209"/>
                  <a:gd name="connsiteX4" fmla="*/ 2417618 w 3913909"/>
                  <a:gd name="connsiteY4" fmla="*/ 2806536 h 3409209"/>
                  <a:gd name="connsiteX5" fmla="*/ 2313709 w 3913909"/>
                  <a:gd name="connsiteY5" fmla="*/ 2307772 h 3409209"/>
                  <a:gd name="connsiteX6" fmla="*/ 2687782 w 3913909"/>
                  <a:gd name="connsiteY6" fmla="*/ 2820391 h 3409209"/>
                  <a:gd name="connsiteX7" fmla="*/ 3456709 w 3913909"/>
                  <a:gd name="connsiteY7" fmla="*/ 2557154 h 3409209"/>
                  <a:gd name="connsiteX8" fmla="*/ 3741716 w 3913909"/>
                  <a:gd name="connsiteY8" fmla="*/ 2628405 h 3409209"/>
                  <a:gd name="connsiteX9" fmla="*/ 3913909 w 3913909"/>
                  <a:gd name="connsiteY9" fmla="*/ 2723409 h 3409209"/>
                  <a:gd name="connsiteX10" fmla="*/ 3144982 w 3913909"/>
                  <a:gd name="connsiteY10" fmla="*/ 2850079 h 3409209"/>
                  <a:gd name="connsiteX11" fmla="*/ 2563091 w 3913909"/>
                  <a:gd name="connsiteY11" fmla="*/ 3097481 h 3409209"/>
                  <a:gd name="connsiteX12" fmla="*/ 1794164 w 3913909"/>
                  <a:gd name="connsiteY12" fmla="*/ 3409209 h 3409209"/>
                  <a:gd name="connsiteX13" fmla="*/ 1607127 w 3913909"/>
                  <a:gd name="connsiteY13" fmla="*/ 3118263 h 3409209"/>
                  <a:gd name="connsiteX14" fmla="*/ 1586345 w 3913909"/>
                  <a:gd name="connsiteY14" fmla="*/ 2827318 h 3409209"/>
                  <a:gd name="connsiteX15" fmla="*/ 1420091 w 3913909"/>
                  <a:gd name="connsiteY15" fmla="*/ 2640281 h 3409209"/>
                  <a:gd name="connsiteX16" fmla="*/ 1357745 w 3913909"/>
                  <a:gd name="connsiteY16" fmla="*/ 2203863 h 3409209"/>
                  <a:gd name="connsiteX17" fmla="*/ 796636 w 3913909"/>
                  <a:gd name="connsiteY17" fmla="*/ 1247900 h 3409209"/>
                  <a:gd name="connsiteX18" fmla="*/ 131618 w 3913909"/>
                  <a:gd name="connsiteY18" fmla="*/ 956954 h 3409209"/>
                  <a:gd name="connsiteX19" fmla="*/ 588818 w 3913909"/>
                  <a:gd name="connsiteY19" fmla="*/ 936172 h 3409209"/>
                  <a:gd name="connsiteX20" fmla="*/ 297873 w 3913909"/>
                  <a:gd name="connsiteY20" fmla="*/ 478972 h 3409209"/>
                  <a:gd name="connsiteX21" fmla="*/ 193964 w 3913909"/>
                  <a:gd name="connsiteY21" fmla="*/ 21772 h 3409209"/>
                  <a:gd name="connsiteX0" fmla="*/ 193964 w 3913909"/>
                  <a:gd name="connsiteY0" fmla="*/ 21772 h 3409209"/>
                  <a:gd name="connsiteX1" fmla="*/ 983673 w 3913909"/>
                  <a:gd name="connsiteY1" fmla="*/ 1164772 h 3409209"/>
                  <a:gd name="connsiteX2" fmla="*/ 1794164 w 3913909"/>
                  <a:gd name="connsiteY2" fmla="*/ 2868881 h 3409209"/>
                  <a:gd name="connsiteX3" fmla="*/ 1835727 w 3913909"/>
                  <a:gd name="connsiteY3" fmla="*/ 3242954 h 3409209"/>
                  <a:gd name="connsiteX4" fmla="*/ 2417618 w 3913909"/>
                  <a:gd name="connsiteY4" fmla="*/ 2806536 h 3409209"/>
                  <a:gd name="connsiteX5" fmla="*/ 2313709 w 3913909"/>
                  <a:gd name="connsiteY5" fmla="*/ 2307772 h 3409209"/>
                  <a:gd name="connsiteX6" fmla="*/ 2687782 w 3913909"/>
                  <a:gd name="connsiteY6" fmla="*/ 2820391 h 3409209"/>
                  <a:gd name="connsiteX7" fmla="*/ 3456709 w 3913909"/>
                  <a:gd name="connsiteY7" fmla="*/ 2557154 h 3409209"/>
                  <a:gd name="connsiteX8" fmla="*/ 3741716 w 3913909"/>
                  <a:gd name="connsiteY8" fmla="*/ 2628405 h 3409209"/>
                  <a:gd name="connsiteX9" fmla="*/ 3913909 w 3913909"/>
                  <a:gd name="connsiteY9" fmla="*/ 2723409 h 3409209"/>
                  <a:gd name="connsiteX10" fmla="*/ 3144982 w 3913909"/>
                  <a:gd name="connsiteY10" fmla="*/ 2850079 h 3409209"/>
                  <a:gd name="connsiteX11" fmla="*/ 2563091 w 3913909"/>
                  <a:gd name="connsiteY11" fmla="*/ 3097481 h 3409209"/>
                  <a:gd name="connsiteX12" fmla="*/ 1794164 w 3913909"/>
                  <a:gd name="connsiteY12" fmla="*/ 3409209 h 3409209"/>
                  <a:gd name="connsiteX13" fmla="*/ 1607127 w 3913909"/>
                  <a:gd name="connsiteY13" fmla="*/ 3118263 h 3409209"/>
                  <a:gd name="connsiteX14" fmla="*/ 1586345 w 3913909"/>
                  <a:gd name="connsiteY14" fmla="*/ 2827318 h 3409209"/>
                  <a:gd name="connsiteX15" fmla="*/ 1420091 w 3913909"/>
                  <a:gd name="connsiteY15" fmla="*/ 2640281 h 3409209"/>
                  <a:gd name="connsiteX16" fmla="*/ 1357745 w 3913909"/>
                  <a:gd name="connsiteY16" fmla="*/ 2203863 h 3409209"/>
                  <a:gd name="connsiteX17" fmla="*/ 796636 w 3913909"/>
                  <a:gd name="connsiteY17" fmla="*/ 1247900 h 3409209"/>
                  <a:gd name="connsiteX18" fmla="*/ 131618 w 3913909"/>
                  <a:gd name="connsiteY18" fmla="*/ 956954 h 3409209"/>
                  <a:gd name="connsiteX19" fmla="*/ 588818 w 3913909"/>
                  <a:gd name="connsiteY19" fmla="*/ 936172 h 3409209"/>
                  <a:gd name="connsiteX20" fmla="*/ 297873 w 3913909"/>
                  <a:gd name="connsiteY20" fmla="*/ 478972 h 3409209"/>
                  <a:gd name="connsiteX21" fmla="*/ 193964 w 3913909"/>
                  <a:gd name="connsiteY21" fmla="*/ 21772 h 3409209"/>
                  <a:gd name="connsiteX0" fmla="*/ 193964 w 3913909"/>
                  <a:gd name="connsiteY0" fmla="*/ 21772 h 3409209"/>
                  <a:gd name="connsiteX1" fmla="*/ 983673 w 3913909"/>
                  <a:gd name="connsiteY1" fmla="*/ 1164772 h 3409209"/>
                  <a:gd name="connsiteX2" fmla="*/ 1794164 w 3913909"/>
                  <a:gd name="connsiteY2" fmla="*/ 2868881 h 3409209"/>
                  <a:gd name="connsiteX3" fmla="*/ 1835727 w 3913909"/>
                  <a:gd name="connsiteY3" fmla="*/ 3242954 h 3409209"/>
                  <a:gd name="connsiteX4" fmla="*/ 2417618 w 3913909"/>
                  <a:gd name="connsiteY4" fmla="*/ 2806536 h 3409209"/>
                  <a:gd name="connsiteX5" fmla="*/ 2313709 w 3913909"/>
                  <a:gd name="connsiteY5" fmla="*/ 2307772 h 3409209"/>
                  <a:gd name="connsiteX6" fmla="*/ 2687782 w 3913909"/>
                  <a:gd name="connsiteY6" fmla="*/ 2820391 h 3409209"/>
                  <a:gd name="connsiteX7" fmla="*/ 3456709 w 3913909"/>
                  <a:gd name="connsiteY7" fmla="*/ 2557154 h 3409209"/>
                  <a:gd name="connsiteX8" fmla="*/ 3741716 w 3913909"/>
                  <a:gd name="connsiteY8" fmla="*/ 2628405 h 3409209"/>
                  <a:gd name="connsiteX9" fmla="*/ 3913909 w 3913909"/>
                  <a:gd name="connsiteY9" fmla="*/ 2723409 h 3409209"/>
                  <a:gd name="connsiteX10" fmla="*/ 3144982 w 3913909"/>
                  <a:gd name="connsiteY10" fmla="*/ 2850079 h 3409209"/>
                  <a:gd name="connsiteX11" fmla="*/ 2563091 w 3913909"/>
                  <a:gd name="connsiteY11" fmla="*/ 3097481 h 3409209"/>
                  <a:gd name="connsiteX12" fmla="*/ 1794164 w 3913909"/>
                  <a:gd name="connsiteY12" fmla="*/ 3409209 h 3409209"/>
                  <a:gd name="connsiteX13" fmla="*/ 1607127 w 3913909"/>
                  <a:gd name="connsiteY13" fmla="*/ 3118263 h 3409209"/>
                  <a:gd name="connsiteX14" fmla="*/ 1586345 w 3913909"/>
                  <a:gd name="connsiteY14" fmla="*/ 2827318 h 3409209"/>
                  <a:gd name="connsiteX15" fmla="*/ 1420091 w 3913909"/>
                  <a:gd name="connsiteY15" fmla="*/ 2640281 h 3409209"/>
                  <a:gd name="connsiteX16" fmla="*/ 1357745 w 3913909"/>
                  <a:gd name="connsiteY16" fmla="*/ 2203863 h 3409209"/>
                  <a:gd name="connsiteX17" fmla="*/ 796636 w 3913909"/>
                  <a:gd name="connsiteY17" fmla="*/ 1247900 h 3409209"/>
                  <a:gd name="connsiteX18" fmla="*/ 131618 w 3913909"/>
                  <a:gd name="connsiteY18" fmla="*/ 956954 h 3409209"/>
                  <a:gd name="connsiteX19" fmla="*/ 588818 w 3913909"/>
                  <a:gd name="connsiteY19" fmla="*/ 936172 h 3409209"/>
                  <a:gd name="connsiteX20" fmla="*/ 297873 w 3913909"/>
                  <a:gd name="connsiteY20" fmla="*/ 478972 h 3409209"/>
                  <a:gd name="connsiteX21" fmla="*/ 193964 w 3913909"/>
                  <a:gd name="connsiteY21" fmla="*/ 21772 h 3409209"/>
                  <a:gd name="connsiteX0" fmla="*/ 193964 w 3913909"/>
                  <a:gd name="connsiteY0" fmla="*/ 21772 h 3409209"/>
                  <a:gd name="connsiteX1" fmla="*/ 983673 w 3913909"/>
                  <a:gd name="connsiteY1" fmla="*/ 1164772 h 3409209"/>
                  <a:gd name="connsiteX2" fmla="*/ 1794164 w 3913909"/>
                  <a:gd name="connsiteY2" fmla="*/ 2868881 h 3409209"/>
                  <a:gd name="connsiteX3" fmla="*/ 1835727 w 3913909"/>
                  <a:gd name="connsiteY3" fmla="*/ 3242954 h 3409209"/>
                  <a:gd name="connsiteX4" fmla="*/ 2417618 w 3913909"/>
                  <a:gd name="connsiteY4" fmla="*/ 2806536 h 3409209"/>
                  <a:gd name="connsiteX5" fmla="*/ 2313709 w 3913909"/>
                  <a:gd name="connsiteY5" fmla="*/ 2307772 h 3409209"/>
                  <a:gd name="connsiteX6" fmla="*/ 2687782 w 3913909"/>
                  <a:gd name="connsiteY6" fmla="*/ 2820391 h 3409209"/>
                  <a:gd name="connsiteX7" fmla="*/ 3456709 w 3913909"/>
                  <a:gd name="connsiteY7" fmla="*/ 2557154 h 3409209"/>
                  <a:gd name="connsiteX8" fmla="*/ 3741716 w 3913909"/>
                  <a:gd name="connsiteY8" fmla="*/ 2628405 h 3409209"/>
                  <a:gd name="connsiteX9" fmla="*/ 3913909 w 3913909"/>
                  <a:gd name="connsiteY9" fmla="*/ 2723409 h 3409209"/>
                  <a:gd name="connsiteX10" fmla="*/ 3144982 w 3913909"/>
                  <a:gd name="connsiteY10" fmla="*/ 2850079 h 3409209"/>
                  <a:gd name="connsiteX11" fmla="*/ 2563091 w 3913909"/>
                  <a:gd name="connsiteY11" fmla="*/ 3097481 h 3409209"/>
                  <a:gd name="connsiteX12" fmla="*/ 1794164 w 3913909"/>
                  <a:gd name="connsiteY12" fmla="*/ 3409209 h 3409209"/>
                  <a:gd name="connsiteX13" fmla="*/ 1607127 w 3913909"/>
                  <a:gd name="connsiteY13" fmla="*/ 3118263 h 3409209"/>
                  <a:gd name="connsiteX14" fmla="*/ 1586345 w 3913909"/>
                  <a:gd name="connsiteY14" fmla="*/ 2827318 h 3409209"/>
                  <a:gd name="connsiteX15" fmla="*/ 1420091 w 3913909"/>
                  <a:gd name="connsiteY15" fmla="*/ 2640281 h 3409209"/>
                  <a:gd name="connsiteX16" fmla="*/ 1357745 w 3913909"/>
                  <a:gd name="connsiteY16" fmla="*/ 2203863 h 3409209"/>
                  <a:gd name="connsiteX17" fmla="*/ 796636 w 3913909"/>
                  <a:gd name="connsiteY17" fmla="*/ 1247900 h 3409209"/>
                  <a:gd name="connsiteX18" fmla="*/ 131618 w 3913909"/>
                  <a:gd name="connsiteY18" fmla="*/ 956954 h 3409209"/>
                  <a:gd name="connsiteX19" fmla="*/ 588818 w 3913909"/>
                  <a:gd name="connsiteY19" fmla="*/ 936172 h 3409209"/>
                  <a:gd name="connsiteX20" fmla="*/ 297873 w 3913909"/>
                  <a:gd name="connsiteY20" fmla="*/ 478972 h 3409209"/>
                  <a:gd name="connsiteX21" fmla="*/ 193964 w 3913909"/>
                  <a:gd name="connsiteY21" fmla="*/ 21772 h 3409209"/>
                  <a:gd name="connsiteX0" fmla="*/ 193964 w 3913909"/>
                  <a:gd name="connsiteY0" fmla="*/ 21772 h 3409209"/>
                  <a:gd name="connsiteX1" fmla="*/ 983673 w 3913909"/>
                  <a:gd name="connsiteY1" fmla="*/ 1164772 h 3409209"/>
                  <a:gd name="connsiteX2" fmla="*/ 1794164 w 3913909"/>
                  <a:gd name="connsiteY2" fmla="*/ 2868881 h 3409209"/>
                  <a:gd name="connsiteX3" fmla="*/ 1835727 w 3913909"/>
                  <a:gd name="connsiteY3" fmla="*/ 3242954 h 3409209"/>
                  <a:gd name="connsiteX4" fmla="*/ 2417618 w 3913909"/>
                  <a:gd name="connsiteY4" fmla="*/ 2806536 h 3409209"/>
                  <a:gd name="connsiteX5" fmla="*/ 2313709 w 3913909"/>
                  <a:gd name="connsiteY5" fmla="*/ 2307772 h 3409209"/>
                  <a:gd name="connsiteX6" fmla="*/ 2687782 w 3913909"/>
                  <a:gd name="connsiteY6" fmla="*/ 2820391 h 3409209"/>
                  <a:gd name="connsiteX7" fmla="*/ 3456709 w 3913909"/>
                  <a:gd name="connsiteY7" fmla="*/ 2557154 h 3409209"/>
                  <a:gd name="connsiteX8" fmla="*/ 3741716 w 3913909"/>
                  <a:gd name="connsiteY8" fmla="*/ 2628405 h 3409209"/>
                  <a:gd name="connsiteX9" fmla="*/ 3913909 w 3913909"/>
                  <a:gd name="connsiteY9" fmla="*/ 2723409 h 3409209"/>
                  <a:gd name="connsiteX10" fmla="*/ 3144982 w 3913909"/>
                  <a:gd name="connsiteY10" fmla="*/ 2850079 h 3409209"/>
                  <a:gd name="connsiteX11" fmla="*/ 2563091 w 3913909"/>
                  <a:gd name="connsiteY11" fmla="*/ 3097481 h 3409209"/>
                  <a:gd name="connsiteX12" fmla="*/ 1794164 w 3913909"/>
                  <a:gd name="connsiteY12" fmla="*/ 3409209 h 3409209"/>
                  <a:gd name="connsiteX13" fmla="*/ 1607127 w 3913909"/>
                  <a:gd name="connsiteY13" fmla="*/ 3118263 h 3409209"/>
                  <a:gd name="connsiteX14" fmla="*/ 1586345 w 3913909"/>
                  <a:gd name="connsiteY14" fmla="*/ 2827318 h 3409209"/>
                  <a:gd name="connsiteX15" fmla="*/ 1420091 w 3913909"/>
                  <a:gd name="connsiteY15" fmla="*/ 2640281 h 3409209"/>
                  <a:gd name="connsiteX16" fmla="*/ 1357745 w 3913909"/>
                  <a:gd name="connsiteY16" fmla="*/ 2203863 h 3409209"/>
                  <a:gd name="connsiteX17" fmla="*/ 796636 w 3913909"/>
                  <a:gd name="connsiteY17" fmla="*/ 1247900 h 3409209"/>
                  <a:gd name="connsiteX18" fmla="*/ 131618 w 3913909"/>
                  <a:gd name="connsiteY18" fmla="*/ 956954 h 3409209"/>
                  <a:gd name="connsiteX19" fmla="*/ 588818 w 3913909"/>
                  <a:gd name="connsiteY19" fmla="*/ 936172 h 3409209"/>
                  <a:gd name="connsiteX20" fmla="*/ 297873 w 3913909"/>
                  <a:gd name="connsiteY20" fmla="*/ 478972 h 3409209"/>
                  <a:gd name="connsiteX21" fmla="*/ 193964 w 3913909"/>
                  <a:gd name="connsiteY21" fmla="*/ 21772 h 3409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913909" h="3409209">
                    <a:moveTo>
                      <a:pt x="193964" y="21772"/>
                    </a:moveTo>
                    <a:cubicBezTo>
                      <a:pt x="435428" y="217715"/>
                      <a:pt x="513607" y="283030"/>
                      <a:pt x="983673" y="1164772"/>
                    </a:cubicBezTo>
                    <a:cubicBezTo>
                      <a:pt x="1297380" y="1732808"/>
                      <a:pt x="1665514" y="2191988"/>
                      <a:pt x="1794164" y="2868881"/>
                    </a:cubicBezTo>
                    <a:lnTo>
                      <a:pt x="1835727" y="3242954"/>
                    </a:lnTo>
                    <a:cubicBezTo>
                      <a:pt x="2029691" y="3206338"/>
                      <a:pt x="2452254" y="3180609"/>
                      <a:pt x="2417618" y="2806536"/>
                    </a:cubicBezTo>
                    <a:cubicBezTo>
                      <a:pt x="2382982" y="2640281"/>
                      <a:pt x="2293916" y="2463141"/>
                      <a:pt x="2313709" y="2307772"/>
                    </a:cubicBezTo>
                    <a:cubicBezTo>
                      <a:pt x="2405743" y="2148445"/>
                      <a:pt x="2541320" y="2381004"/>
                      <a:pt x="2687782" y="2820391"/>
                    </a:cubicBezTo>
                    <a:cubicBezTo>
                      <a:pt x="2944091" y="2656445"/>
                      <a:pt x="3200400" y="2568700"/>
                      <a:pt x="3456709" y="2557154"/>
                    </a:cubicBezTo>
                    <a:cubicBezTo>
                      <a:pt x="3660569" y="2580905"/>
                      <a:pt x="3603171" y="2593769"/>
                      <a:pt x="3741716" y="2628405"/>
                    </a:cubicBezTo>
                    <a:lnTo>
                      <a:pt x="3913909" y="2723409"/>
                    </a:lnTo>
                    <a:cubicBezTo>
                      <a:pt x="3657600" y="2751118"/>
                      <a:pt x="3455720" y="2757055"/>
                      <a:pt x="3144982" y="2850079"/>
                    </a:cubicBezTo>
                    <a:lnTo>
                      <a:pt x="2563091" y="3097481"/>
                    </a:lnTo>
                    <a:lnTo>
                      <a:pt x="1794164" y="3409209"/>
                    </a:lnTo>
                    <a:cubicBezTo>
                      <a:pt x="1655618" y="3312227"/>
                      <a:pt x="1669473" y="3215245"/>
                      <a:pt x="1607127" y="3118263"/>
                    </a:cubicBezTo>
                    <a:cubicBezTo>
                      <a:pt x="1621972" y="2966853"/>
                      <a:pt x="1647700" y="2924300"/>
                      <a:pt x="1586345" y="2827318"/>
                    </a:cubicBezTo>
                    <a:lnTo>
                      <a:pt x="1420091" y="2640281"/>
                    </a:lnTo>
                    <a:cubicBezTo>
                      <a:pt x="1399309" y="2494808"/>
                      <a:pt x="1422070" y="2371107"/>
                      <a:pt x="1357745" y="2203863"/>
                    </a:cubicBezTo>
                    <a:cubicBezTo>
                      <a:pt x="1214252" y="1896094"/>
                      <a:pt x="972786" y="1381497"/>
                      <a:pt x="796636" y="1247900"/>
                    </a:cubicBezTo>
                    <a:cubicBezTo>
                      <a:pt x="509649" y="1063832"/>
                      <a:pt x="353291" y="1053936"/>
                      <a:pt x="131618" y="956954"/>
                    </a:cubicBezTo>
                    <a:cubicBezTo>
                      <a:pt x="11876" y="775856"/>
                      <a:pt x="436418" y="943099"/>
                      <a:pt x="588818" y="936172"/>
                    </a:cubicBezTo>
                    <a:cubicBezTo>
                      <a:pt x="273189" y="473248"/>
                      <a:pt x="5553" y="478972"/>
                      <a:pt x="297873" y="478972"/>
                    </a:cubicBezTo>
                    <a:cubicBezTo>
                      <a:pt x="263237" y="326572"/>
                      <a:pt x="0" y="0"/>
                      <a:pt x="193964" y="2177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nvGrpSpPr>
              <p:cNvPr id="681" name="Group 121">
                <a:extLst>
                  <a:ext uri="{FF2B5EF4-FFF2-40B4-BE49-F238E27FC236}">
                    <a16:creationId xmlns:a16="http://schemas.microsoft.com/office/drawing/2014/main" id="{4F8FD66B-8CEF-4F66-B4BA-3F1D807B4B57}"/>
                  </a:ext>
                </a:extLst>
              </p:cNvPr>
              <p:cNvGrpSpPr/>
              <p:nvPr/>
            </p:nvGrpSpPr>
            <p:grpSpPr>
              <a:xfrm rot="21114987" flipH="1">
                <a:off x="7172917" y="3054556"/>
                <a:ext cx="387252" cy="286598"/>
                <a:chOff x="588090" y="7497497"/>
                <a:chExt cx="3310446" cy="2420900"/>
              </a:xfrm>
              <a:grpFill/>
            </p:grpSpPr>
            <p:sp>
              <p:nvSpPr>
                <p:cNvPr id="688" name="Freeform 107">
                  <a:extLst>
                    <a:ext uri="{FF2B5EF4-FFF2-40B4-BE49-F238E27FC236}">
                      <a16:creationId xmlns:a16="http://schemas.microsoft.com/office/drawing/2014/main" id="{F0899ED0-5F97-4112-BA02-05AF69A1A701}"/>
                    </a:ext>
                  </a:extLst>
                </p:cNvPr>
                <p:cNvSpPr/>
                <p:nvPr/>
              </p:nvSpPr>
              <p:spPr>
                <a:xfrm>
                  <a:off x="588090" y="7497497"/>
                  <a:ext cx="3310446" cy="2420900"/>
                </a:xfrm>
                <a:custGeom>
                  <a:avLst/>
                  <a:gdLst>
                    <a:gd name="connsiteX0" fmla="*/ 2833213 w 3228067"/>
                    <a:gd name="connsiteY0" fmla="*/ 41563 h 2473036"/>
                    <a:gd name="connsiteX1" fmla="*/ 2105849 w 3228067"/>
                    <a:gd name="connsiteY1" fmla="*/ 249381 h 2473036"/>
                    <a:gd name="connsiteX2" fmla="*/ 1191449 w 3228067"/>
                    <a:gd name="connsiteY2" fmla="*/ 0 h 2473036"/>
                    <a:gd name="connsiteX3" fmla="*/ 526431 w 3228067"/>
                    <a:gd name="connsiteY3" fmla="*/ 270163 h 2473036"/>
                    <a:gd name="connsiteX4" fmla="*/ 193922 w 3228067"/>
                    <a:gd name="connsiteY4" fmla="*/ 561109 h 2473036"/>
                    <a:gd name="connsiteX5" fmla="*/ 6885 w 3228067"/>
                    <a:gd name="connsiteY5" fmla="*/ 602672 h 2473036"/>
                    <a:gd name="connsiteX6" fmla="*/ 214704 w 3228067"/>
                    <a:gd name="connsiteY6" fmla="*/ 831272 h 2473036"/>
                    <a:gd name="connsiteX7" fmla="*/ 921285 w 3228067"/>
                    <a:gd name="connsiteY7" fmla="*/ 581890 h 2473036"/>
                    <a:gd name="connsiteX8" fmla="*/ 443304 w 3228067"/>
                    <a:gd name="connsiteY8" fmla="*/ 1080654 h 2473036"/>
                    <a:gd name="connsiteX9" fmla="*/ 214704 w 3228067"/>
                    <a:gd name="connsiteY9" fmla="*/ 1496290 h 2473036"/>
                    <a:gd name="connsiteX10" fmla="*/ 339394 w 3228067"/>
                    <a:gd name="connsiteY10" fmla="*/ 1704109 h 2473036"/>
                    <a:gd name="connsiteX11" fmla="*/ 505649 w 3228067"/>
                    <a:gd name="connsiteY11" fmla="*/ 1704109 h 2473036"/>
                    <a:gd name="connsiteX12" fmla="*/ 547213 w 3228067"/>
                    <a:gd name="connsiteY12" fmla="*/ 1932709 h 2473036"/>
                    <a:gd name="connsiteX13" fmla="*/ 734249 w 3228067"/>
                    <a:gd name="connsiteY13" fmla="*/ 2015836 h 2473036"/>
                    <a:gd name="connsiteX14" fmla="*/ 775813 w 3228067"/>
                    <a:gd name="connsiteY14" fmla="*/ 2244436 h 2473036"/>
                    <a:gd name="connsiteX15" fmla="*/ 1045976 w 3228067"/>
                    <a:gd name="connsiteY15" fmla="*/ 2265218 h 2473036"/>
                    <a:gd name="connsiteX16" fmla="*/ 1212231 w 3228067"/>
                    <a:gd name="connsiteY16" fmla="*/ 2473036 h 2473036"/>
                    <a:gd name="connsiteX17" fmla="*/ 1648649 w 3228067"/>
                    <a:gd name="connsiteY17" fmla="*/ 2202872 h 2473036"/>
                    <a:gd name="connsiteX18" fmla="*/ 2417576 w 3228067"/>
                    <a:gd name="connsiteY18" fmla="*/ 1787236 h 2473036"/>
                    <a:gd name="connsiteX19" fmla="*/ 2708522 w 3228067"/>
                    <a:gd name="connsiteY19" fmla="*/ 1226127 h 2473036"/>
                    <a:gd name="connsiteX20" fmla="*/ 3165722 w 3228067"/>
                    <a:gd name="connsiteY20" fmla="*/ 1205345 h 2473036"/>
                    <a:gd name="connsiteX21" fmla="*/ 3228067 w 3228067"/>
                    <a:gd name="connsiteY21" fmla="*/ 852054 h 2473036"/>
                    <a:gd name="connsiteX22" fmla="*/ 2833213 w 3228067"/>
                    <a:gd name="connsiteY22" fmla="*/ 41563 h 2473036"/>
                    <a:gd name="connsiteX0" fmla="*/ 2833213 w 3228067"/>
                    <a:gd name="connsiteY0" fmla="*/ 41563 h 2473036"/>
                    <a:gd name="connsiteX1" fmla="*/ 2105849 w 3228067"/>
                    <a:gd name="connsiteY1" fmla="*/ 249381 h 2473036"/>
                    <a:gd name="connsiteX2" fmla="*/ 1191449 w 3228067"/>
                    <a:gd name="connsiteY2" fmla="*/ 0 h 2473036"/>
                    <a:gd name="connsiteX3" fmla="*/ 526431 w 3228067"/>
                    <a:gd name="connsiteY3" fmla="*/ 270163 h 2473036"/>
                    <a:gd name="connsiteX4" fmla="*/ 193922 w 3228067"/>
                    <a:gd name="connsiteY4" fmla="*/ 561109 h 2473036"/>
                    <a:gd name="connsiteX5" fmla="*/ 6885 w 3228067"/>
                    <a:gd name="connsiteY5" fmla="*/ 602672 h 2473036"/>
                    <a:gd name="connsiteX6" fmla="*/ 214704 w 3228067"/>
                    <a:gd name="connsiteY6" fmla="*/ 831272 h 2473036"/>
                    <a:gd name="connsiteX7" fmla="*/ 921285 w 3228067"/>
                    <a:gd name="connsiteY7" fmla="*/ 581890 h 2473036"/>
                    <a:gd name="connsiteX8" fmla="*/ 443304 w 3228067"/>
                    <a:gd name="connsiteY8" fmla="*/ 1080654 h 2473036"/>
                    <a:gd name="connsiteX9" fmla="*/ 214704 w 3228067"/>
                    <a:gd name="connsiteY9" fmla="*/ 1496290 h 2473036"/>
                    <a:gd name="connsiteX10" fmla="*/ 339394 w 3228067"/>
                    <a:gd name="connsiteY10" fmla="*/ 1704109 h 2473036"/>
                    <a:gd name="connsiteX11" fmla="*/ 505649 w 3228067"/>
                    <a:gd name="connsiteY11" fmla="*/ 1704109 h 2473036"/>
                    <a:gd name="connsiteX12" fmla="*/ 547213 w 3228067"/>
                    <a:gd name="connsiteY12" fmla="*/ 1932709 h 2473036"/>
                    <a:gd name="connsiteX13" fmla="*/ 734249 w 3228067"/>
                    <a:gd name="connsiteY13" fmla="*/ 2015836 h 2473036"/>
                    <a:gd name="connsiteX14" fmla="*/ 775813 w 3228067"/>
                    <a:gd name="connsiteY14" fmla="*/ 2244436 h 2473036"/>
                    <a:gd name="connsiteX15" fmla="*/ 1045976 w 3228067"/>
                    <a:gd name="connsiteY15" fmla="*/ 2265218 h 2473036"/>
                    <a:gd name="connsiteX16" fmla="*/ 1212231 w 3228067"/>
                    <a:gd name="connsiteY16" fmla="*/ 2473036 h 2473036"/>
                    <a:gd name="connsiteX17" fmla="*/ 1648649 w 3228067"/>
                    <a:gd name="connsiteY17" fmla="*/ 2202872 h 2473036"/>
                    <a:gd name="connsiteX18" fmla="*/ 2417576 w 3228067"/>
                    <a:gd name="connsiteY18" fmla="*/ 1787236 h 2473036"/>
                    <a:gd name="connsiteX19" fmla="*/ 2708522 w 3228067"/>
                    <a:gd name="connsiteY19" fmla="*/ 1226127 h 2473036"/>
                    <a:gd name="connsiteX20" fmla="*/ 3165722 w 3228067"/>
                    <a:gd name="connsiteY20" fmla="*/ 1205345 h 2473036"/>
                    <a:gd name="connsiteX21" fmla="*/ 3228067 w 3228067"/>
                    <a:gd name="connsiteY21" fmla="*/ 852054 h 2473036"/>
                    <a:gd name="connsiteX22" fmla="*/ 2833213 w 3228067"/>
                    <a:gd name="connsiteY22" fmla="*/ 41563 h 2473036"/>
                    <a:gd name="connsiteX0" fmla="*/ 2850391 w 3245245"/>
                    <a:gd name="connsiteY0" fmla="*/ 41563 h 2473036"/>
                    <a:gd name="connsiteX1" fmla="*/ 2123027 w 3245245"/>
                    <a:gd name="connsiteY1" fmla="*/ 249381 h 2473036"/>
                    <a:gd name="connsiteX2" fmla="*/ 1208627 w 3245245"/>
                    <a:gd name="connsiteY2" fmla="*/ 0 h 2473036"/>
                    <a:gd name="connsiteX3" fmla="*/ 543609 w 3245245"/>
                    <a:gd name="connsiteY3" fmla="*/ 270163 h 2473036"/>
                    <a:gd name="connsiteX4" fmla="*/ 211100 w 3245245"/>
                    <a:gd name="connsiteY4" fmla="*/ 561109 h 2473036"/>
                    <a:gd name="connsiteX5" fmla="*/ 0 w 3245245"/>
                    <a:gd name="connsiteY5" fmla="*/ 690903 h 2473036"/>
                    <a:gd name="connsiteX6" fmla="*/ 231882 w 3245245"/>
                    <a:gd name="connsiteY6" fmla="*/ 831272 h 2473036"/>
                    <a:gd name="connsiteX7" fmla="*/ 938463 w 3245245"/>
                    <a:gd name="connsiteY7" fmla="*/ 581890 h 2473036"/>
                    <a:gd name="connsiteX8" fmla="*/ 460482 w 3245245"/>
                    <a:gd name="connsiteY8" fmla="*/ 1080654 h 2473036"/>
                    <a:gd name="connsiteX9" fmla="*/ 231882 w 3245245"/>
                    <a:gd name="connsiteY9" fmla="*/ 1496290 h 2473036"/>
                    <a:gd name="connsiteX10" fmla="*/ 356572 w 3245245"/>
                    <a:gd name="connsiteY10" fmla="*/ 1704109 h 2473036"/>
                    <a:gd name="connsiteX11" fmla="*/ 522827 w 3245245"/>
                    <a:gd name="connsiteY11" fmla="*/ 1704109 h 2473036"/>
                    <a:gd name="connsiteX12" fmla="*/ 564391 w 3245245"/>
                    <a:gd name="connsiteY12" fmla="*/ 1932709 h 2473036"/>
                    <a:gd name="connsiteX13" fmla="*/ 751427 w 3245245"/>
                    <a:gd name="connsiteY13" fmla="*/ 2015836 h 2473036"/>
                    <a:gd name="connsiteX14" fmla="*/ 792991 w 3245245"/>
                    <a:gd name="connsiteY14" fmla="*/ 2244436 h 2473036"/>
                    <a:gd name="connsiteX15" fmla="*/ 1063154 w 3245245"/>
                    <a:gd name="connsiteY15" fmla="*/ 2265218 h 2473036"/>
                    <a:gd name="connsiteX16" fmla="*/ 1229409 w 3245245"/>
                    <a:gd name="connsiteY16" fmla="*/ 2473036 h 2473036"/>
                    <a:gd name="connsiteX17" fmla="*/ 1665827 w 3245245"/>
                    <a:gd name="connsiteY17" fmla="*/ 2202872 h 2473036"/>
                    <a:gd name="connsiteX18" fmla="*/ 2434754 w 3245245"/>
                    <a:gd name="connsiteY18" fmla="*/ 1787236 h 2473036"/>
                    <a:gd name="connsiteX19" fmla="*/ 2725700 w 3245245"/>
                    <a:gd name="connsiteY19" fmla="*/ 1226127 h 2473036"/>
                    <a:gd name="connsiteX20" fmla="*/ 3182900 w 3245245"/>
                    <a:gd name="connsiteY20" fmla="*/ 1205345 h 2473036"/>
                    <a:gd name="connsiteX21" fmla="*/ 3245245 w 3245245"/>
                    <a:gd name="connsiteY21" fmla="*/ 852054 h 2473036"/>
                    <a:gd name="connsiteX22" fmla="*/ 2850391 w 3245245"/>
                    <a:gd name="connsiteY22" fmla="*/ 41563 h 2473036"/>
                    <a:gd name="connsiteX0" fmla="*/ 2850391 w 3245245"/>
                    <a:gd name="connsiteY0" fmla="*/ 41563 h 2473036"/>
                    <a:gd name="connsiteX1" fmla="*/ 2123027 w 3245245"/>
                    <a:gd name="connsiteY1" fmla="*/ 249381 h 2473036"/>
                    <a:gd name="connsiteX2" fmla="*/ 1208627 w 3245245"/>
                    <a:gd name="connsiteY2" fmla="*/ 0 h 2473036"/>
                    <a:gd name="connsiteX3" fmla="*/ 543609 w 3245245"/>
                    <a:gd name="connsiteY3" fmla="*/ 270163 h 2473036"/>
                    <a:gd name="connsiteX4" fmla="*/ 211100 w 3245245"/>
                    <a:gd name="connsiteY4" fmla="*/ 561109 h 2473036"/>
                    <a:gd name="connsiteX5" fmla="*/ 0 w 3245245"/>
                    <a:gd name="connsiteY5" fmla="*/ 690903 h 2473036"/>
                    <a:gd name="connsiteX6" fmla="*/ 231882 w 3245245"/>
                    <a:gd name="connsiteY6" fmla="*/ 831272 h 2473036"/>
                    <a:gd name="connsiteX7" fmla="*/ 938463 w 3245245"/>
                    <a:gd name="connsiteY7" fmla="*/ 581890 h 2473036"/>
                    <a:gd name="connsiteX8" fmla="*/ 460482 w 3245245"/>
                    <a:gd name="connsiteY8" fmla="*/ 1080654 h 2473036"/>
                    <a:gd name="connsiteX9" fmla="*/ 231882 w 3245245"/>
                    <a:gd name="connsiteY9" fmla="*/ 1496290 h 2473036"/>
                    <a:gd name="connsiteX10" fmla="*/ 356572 w 3245245"/>
                    <a:gd name="connsiteY10" fmla="*/ 1704109 h 2473036"/>
                    <a:gd name="connsiteX11" fmla="*/ 522827 w 3245245"/>
                    <a:gd name="connsiteY11" fmla="*/ 1704109 h 2473036"/>
                    <a:gd name="connsiteX12" fmla="*/ 564391 w 3245245"/>
                    <a:gd name="connsiteY12" fmla="*/ 1932709 h 2473036"/>
                    <a:gd name="connsiteX13" fmla="*/ 751427 w 3245245"/>
                    <a:gd name="connsiteY13" fmla="*/ 2015836 h 2473036"/>
                    <a:gd name="connsiteX14" fmla="*/ 792991 w 3245245"/>
                    <a:gd name="connsiteY14" fmla="*/ 2244436 h 2473036"/>
                    <a:gd name="connsiteX15" fmla="*/ 1063154 w 3245245"/>
                    <a:gd name="connsiteY15" fmla="*/ 2265218 h 2473036"/>
                    <a:gd name="connsiteX16" fmla="*/ 1229409 w 3245245"/>
                    <a:gd name="connsiteY16" fmla="*/ 2473036 h 2473036"/>
                    <a:gd name="connsiteX17" fmla="*/ 1665827 w 3245245"/>
                    <a:gd name="connsiteY17" fmla="*/ 2202872 h 2473036"/>
                    <a:gd name="connsiteX18" fmla="*/ 2434754 w 3245245"/>
                    <a:gd name="connsiteY18" fmla="*/ 1787236 h 2473036"/>
                    <a:gd name="connsiteX19" fmla="*/ 2725700 w 3245245"/>
                    <a:gd name="connsiteY19" fmla="*/ 1226127 h 2473036"/>
                    <a:gd name="connsiteX20" fmla="*/ 3182900 w 3245245"/>
                    <a:gd name="connsiteY20" fmla="*/ 1205345 h 2473036"/>
                    <a:gd name="connsiteX21" fmla="*/ 3245245 w 3245245"/>
                    <a:gd name="connsiteY21" fmla="*/ 852054 h 2473036"/>
                    <a:gd name="connsiteX22" fmla="*/ 2850391 w 3245245"/>
                    <a:gd name="connsiteY22" fmla="*/ 41563 h 2473036"/>
                    <a:gd name="connsiteX0" fmla="*/ 2850391 w 3245245"/>
                    <a:gd name="connsiteY0" fmla="*/ 41563 h 2473036"/>
                    <a:gd name="connsiteX1" fmla="*/ 2123027 w 3245245"/>
                    <a:gd name="connsiteY1" fmla="*/ 249381 h 2473036"/>
                    <a:gd name="connsiteX2" fmla="*/ 1208627 w 3245245"/>
                    <a:gd name="connsiteY2" fmla="*/ 0 h 2473036"/>
                    <a:gd name="connsiteX3" fmla="*/ 543609 w 3245245"/>
                    <a:gd name="connsiteY3" fmla="*/ 270163 h 2473036"/>
                    <a:gd name="connsiteX4" fmla="*/ 211100 w 3245245"/>
                    <a:gd name="connsiteY4" fmla="*/ 561109 h 2473036"/>
                    <a:gd name="connsiteX5" fmla="*/ 0 w 3245245"/>
                    <a:gd name="connsiteY5" fmla="*/ 690903 h 2473036"/>
                    <a:gd name="connsiteX6" fmla="*/ 231882 w 3245245"/>
                    <a:gd name="connsiteY6" fmla="*/ 831272 h 2473036"/>
                    <a:gd name="connsiteX7" fmla="*/ 938463 w 3245245"/>
                    <a:gd name="connsiteY7" fmla="*/ 581890 h 2473036"/>
                    <a:gd name="connsiteX8" fmla="*/ 460482 w 3245245"/>
                    <a:gd name="connsiteY8" fmla="*/ 1080654 h 2473036"/>
                    <a:gd name="connsiteX9" fmla="*/ 231882 w 3245245"/>
                    <a:gd name="connsiteY9" fmla="*/ 1496290 h 2473036"/>
                    <a:gd name="connsiteX10" fmla="*/ 356572 w 3245245"/>
                    <a:gd name="connsiteY10" fmla="*/ 1704109 h 2473036"/>
                    <a:gd name="connsiteX11" fmla="*/ 522827 w 3245245"/>
                    <a:gd name="connsiteY11" fmla="*/ 1704109 h 2473036"/>
                    <a:gd name="connsiteX12" fmla="*/ 564391 w 3245245"/>
                    <a:gd name="connsiteY12" fmla="*/ 1932709 h 2473036"/>
                    <a:gd name="connsiteX13" fmla="*/ 751427 w 3245245"/>
                    <a:gd name="connsiteY13" fmla="*/ 2015836 h 2473036"/>
                    <a:gd name="connsiteX14" fmla="*/ 792991 w 3245245"/>
                    <a:gd name="connsiteY14" fmla="*/ 2244436 h 2473036"/>
                    <a:gd name="connsiteX15" fmla="*/ 1063154 w 3245245"/>
                    <a:gd name="connsiteY15" fmla="*/ 2265218 h 2473036"/>
                    <a:gd name="connsiteX16" fmla="*/ 1229409 w 3245245"/>
                    <a:gd name="connsiteY16" fmla="*/ 2473036 h 2473036"/>
                    <a:gd name="connsiteX17" fmla="*/ 1665827 w 3245245"/>
                    <a:gd name="connsiteY17" fmla="*/ 2202872 h 2473036"/>
                    <a:gd name="connsiteX18" fmla="*/ 2434754 w 3245245"/>
                    <a:gd name="connsiteY18" fmla="*/ 1787236 h 2473036"/>
                    <a:gd name="connsiteX19" fmla="*/ 2725700 w 3245245"/>
                    <a:gd name="connsiteY19" fmla="*/ 1226127 h 2473036"/>
                    <a:gd name="connsiteX20" fmla="*/ 3182900 w 3245245"/>
                    <a:gd name="connsiteY20" fmla="*/ 1205345 h 2473036"/>
                    <a:gd name="connsiteX21" fmla="*/ 3245245 w 3245245"/>
                    <a:gd name="connsiteY21" fmla="*/ 852054 h 2473036"/>
                    <a:gd name="connsiteX22" fmla="*/ 2850391 w 3245245"/>
                    <a:gd name="connsiteY22" fmla="*/ 41563 h 2473036"/>
                    <a:gd name="connsiteX0" fmla="*/ 2850391 w 3245245"/>
                    <a:gd name="connsiteY0" fmla="*/ 41563 h 2473036"/>
                    <a:gd name="connsiteX1" fmla="*/ 2123027 w 3245245"/>
                    <a:gd name="connsiteY1" fmla="*/ 249381 h 2473036"/>
                    <a:gd name="connsiteX2" fmla="*/ 1208627 w 3245245"/>
                    <a:gd name="connsiteY2" fmla="*/ 0 h 2473036"/>
                    <a:gd name="connsiteX3" fmla="*/ 543609 w 3245245"/>
                    <a:gd name="connsiteY3" fmla="*/ 270163 h 2473036"/>
                    <a:gd name="connsiteX4" fmla="*/ 211100 w 3245245"/>
                    <a:gd name="connsiteY4" fmla="*/ 561109 h 2473036"/>
                    <a:gd name="connsiteX5" fmla="*/ 0 w 3245245"/>
                    <a:gd name="connsiteY5" fmla="*/ 690903 h 2473036"/>
                    <a:gd name="connsiteX6" fmla="*/ 231882 w 3245245"/>
                    <a:gd name="connsiteY6" fmla="*/ 831272 h 2473036"/>
                    <a:gd name="connsiteX7" fmla="*/ 938463 w 3245245"/>
                    <a:gd name="connsiteY7" fmla="*/ 581890 h 2473036"/>
                    <a:gd name="connsiteX8" fmla="*/ 460482 w 3245245"/>
                    <a:gd name="connsiteY8" fmla="*/ 1080654 h 2473036"/>
                    <a:gd name="connsiteX9" fmla="*/ 231882 w 3245245"/>
                    <a:gd name="connsiteY9" fmla="*/ 1496290 h 2473036"/>
                    <a:gd name="connsiteX10" fmla="*/ 356572 w 3245245"/>
                    <a:gd name="connsiteY10" fmla="*/ 1704109 h 2473036"/>
                    <a:gd name="connsiteX11" fmla="*/ 522827 w 3245245"/>
                    <a:gd name="connsiteY11" fmla="*/ 1704109 h 2473036"/>
                    <a:gd name="connsiteX12" fmla="*/ 564391 w 3245245"/>
                    <a:gd name="connsiteY12" fmla="*/ 1932709 h 2473036"/>
                    <a:gd name="connsiteX13" fmla="*/ 751427 w 3245245"/>
                    <a:gd name="connsiteY13" fmla="*/ 2015836 h 2473036"/>
                    <a:gd name="connsiteX14" fmla="*/ 792991 w 3245245"/>
                    <a:gd name="connsiteY14" fmla="*/ 2244436 h 2473036"/>
                    <a:gd name="connsiteX15" fmla="*/ 1063154 w 3245245"/>
                    <a:gd name="connsiteY15" fmla="*/ 2265218 h 2473036"/>
                    <a:gd name="connsiteX16" fmla="*/ 1229409 w 3245245"/>
                    <a:gd name="connsiteY16" fmla="*/ 2473036 h 2473036"/>
                    <a:gd name="connsiteX17" fmla="*/ 1665827 w 3245245"/>
                    <a:gd name="connsiteY17" fmla="*/ 2202872 h 2473036"/>
                    <a:gd name="connsiteX18" fmla="*/ 2434754 w 3245245"/>
                    <a:gd name="connsiteY18" fmla="*/ 1787236 h 2473036"/>
                    <a:gd name="connsiteX19" fmla="*/ 2725700 w 3245245"/>
                    <a:gd name="connsiteY19" fmla="*/ 1226127 h 2473036"/>
                    <a:gd name="connsiteX20" fmla="*/ 3182900 w 3245245"/>
                    <a:gd name="connsiteY20" fmla="*/ 1205345 h 2473036"/>
                    <a:gd name="connsiteX21" fmla="*/ 3245245 w 3245245"/>
                    <a:gd name="connsiteY21" fmla="*/ 852054 h 2473036"/>
                    <a:gd name="connsiteX22" fmla="*/ 2850391 w 3245245"/>
                    <a:gd name="connsiteY22" fmla="*/ 41563 h 2473036"/>
                    <a:gd name="connsiteX0" fmla="*/ 2850391 w 3245245"/>
                    <a:gd name="connsiteY0" fmla="*/ 41563 h 2473036"/>
                    <a:gd name="connsiteX1" fmla="*/ 2123027 w 3245245"/>
                    <a:gd name="connsiteY1" fmla="*/ 249381 h 2473036"/>
                    <a:gd name="connsiteX2" fmla="*/ 1208627 w 3245245"/>
                    <a:gd name="connsiteY2" fmla="*/ 0 h 2473036"/>
                    <a:gd name="connsiteX3" fmla="*/ 543609 w 3245245"/>
                    <a:gd name="connsiteY3" fmla="*/ 270163 h 2473036"/>
                    <a:gd name="connsiteX4" fmla="*/ 211100 w 3245245"/>
                    <a:gd name="connsiteY4" fmla="*/ 561109 h 2473036"/>
                    <a:gd name="connsiteX5" fmla="*/ 0 w 3245245"/>
                    <a:gd name="connsiteY5" fmla="*/ 690903 h 2473036"/>
                    <a:gd name="connsiteX6" fmla="*/ 231882 w 3245245"/>
                    <a:gd name="connsiteY6" fmla="*/ 831272 h 2473036"/>
                    <a:gd name="connsiteX7" fmla="*/ 938463 w 3245245"/>
                    <a:gd name="connsiteY7" fmla="*/ 581890 h 2473036"/>
                    <a:gd name="connsiteX8" fmla="*/ 460482 w 3245245"/>
                    <a:gd name="connsiteY8" fmla="*/ 1080654 h 2473036"/>
                    <a:gd name="connsiteX9" fmla="*/ 231882 w 3245245"/>
                    <a:gd name="connsiteY9" fmla="*/ 1496290 h 2473036"/>
                    <a:gd name="connsiteX10" fmla="*/ 356572 w 3245245"/>
                    <a:gd name="connsiteY10" fmla="*/ 1704109 h 2473036"/>
                    <a:gd name="connsiteX11" fmla="*/ 522827 w 3245245"/>
                    <a:gd name="connsiteY11" fmla="*/ 1704109 h 2473036"/>
                    <a:gd name="connsiteX12" fmla="*/ 564391 w 3245245"/>
                    <a:gd name="connsiteY12" fmla="*/ 1932709 h 2473036"/>
                    <a:gd name="connsiteX13" fmla="*/ 751427 w 3245245"/>
                    <a:gd name="connsiteY13" fmla="*/ 2015836 h 2473036"/>
                    <a:gd name="connsiteX14" fmla="*/ 792991 w 3245245"/>
                    <a:gd name="connsiteY14" fmla="*/ 2244436 h 2473036"/>
                    <a:gd name="connsiteX15" fmla="*/ 1063154 w 3245245"/>
                    <a:gd name="connsiteY15" fmla="*/ 2265218 h 2473036"/>
                    <a:gd name="connsiteX16" fmla="*/ 1229409 w 3245245"/>
                    <a:gd name="connsiteY16" fmla="*/ 2473036 h 2473036"/>
                    <a:gd name="connsiteX17" fmla="*/ 1665827 w 3245245"/>
                    <a:gd name="connsiteY17" fmla="*/ 2202872 h 2473036"/>
                    <a:gd name="connsiteX18" fmla="*/ 2434754 w 3245245"/>
                    <a:gd name="connsiteY18" fmla="*/ 1787236 h 2473036"/>
                    <a:gd name="connsiteX19" fmla="*/ 2725700 w 3245245"/>
                    <a:gd name="connsiteY19" fmla="*/ 1226127 h 2473036"/>
                    <a:gd name="connsiteX20" fmla="*/ 3182900 w 3245245"/>
                    <a:gd name="connsiteY20" fmla="*/ 1205345 h 2473036"/>
                    <a:gd name="connsiteX21" fmla="*/ 3245245 w 3245245"/>
                    <a:gd name="connsiteY21" fmla="*/ 852054 h 2473036"/>
                    <a:gd name="connsiteX22" fmla="*/ 2850391 w 3245245"/>
                    <a:gd name="connsiteY22" fmla="*/ 41563 h 2473036"/>
                    <a:gd name="connsiteX0" fmla="*/ 2850391 w 3245245"/>
                    <a:gd name="connsiteY0" fmla="*/ 41563 h 2473036"/>
                    <a:gd name="connsiteX1" fmla="*/ 2123027 w 3245245"/>
                    <a:gd name="connsiteY1" fmla="*/ 249381 h 2473036"/>
                    <a:gd name="connsiteX2" fmla="*/ 1208627 w 3245245"/>
                    <a:gd name="connsiteY2" fmla="*/ 0 h 2473036"/>
                    <a:gd name="connsiteX3" fmla="*/ 543609 w 3245245"/>
                    <a:gd name="connsiteY3" fmla="*/ 270163 h 2473036"/>
                    <a:gd name="connsiteX4" fmla="*/ 211100 w 3245245"/>
                    <a:gd name="connsiteY4" fmla="*/ 561109 h 2473036"/>
                    <a:gd name="connsiteX5" fmla="*/ 0 w 3245245"/>
                    <a:gd name="connsiteY5" fmla="*/ 690903 h 2473036"/>
                    <a:gd name="connsiteX6" fmla="*/ 231882 w 3245245"/>
                    <a:gd name="connsiteY6" fmla="*/ 831272 h 2473036"/>
                    <a:gd name="connsiteX7" fmla="*/ 938463 w 3245245"/>
                    <a:gd name="connsiteY7" fmla="*/ 581890 h 2473036"/>
                    <a:gd name="connsiteX8" fmla="*/ 460482 w 3245245"/>
                    <a:gd name="connsiteY8" fmla="*/ 1080654 h 2473036"/>
                    <a:gd name="connsiteX9" fmla="*/ 231882 w 3245245"/>
                    <a:gd name="connsiteY9" fmla="*/ 1496290 h 2473036"/>
                    <a:gd name="connsiteX10" fmla="*/ 356572 w 3245245"/>
                    <a:gd name="connsiteY10" fmla="*/ 1704109 h 2473036"/>
                    <a:gd name="connsiteX11" fmla="*/ 522827 w 3245245"/>
                    <a:gd name="connsiteY11" fmla="*/ 1704109 h 2473036"/>
                    <a:gd name="connsiteX12" fmla="*/ 564391 w 3245245"/>
                    <a:gd name="connsiteY12" fmla="*/ 1932709 h 2473036"/>
                    <a:gd name="connsiteX13" fmla="*/ 751427 w 3245245"/>
                    <a:gd name="connsiteY13" fmla="*/ 2015836 h 2473036"/>
                    <a:gd name="connsiteX14" fmla="*/ 792991 w 3245245"/>
                    <a:gd name="connsiteY14" fmla="*/ 2244436 h 2473036"/>
                    <a:gd name="connsiteX15" fmla="*/ 1063154 w 3245245"/>
                    <a:gd name="connsiteY15" fmla="*/ 2265218 h 2473036"/>
                    <a:gd name="connsiteX16" fmla="*/ 1229409 w 3245245"/>
                    <a:gd name="connsiteY16" fmla="*/ 2473036 h 2473036"/>
                    <a:gd name="connsiteX17" fmla="*/ 1665827 w 3245245"/>
                    <a:gd name="connsiteY17" fmla="*/ 2202872 h 2473036"/>
                    <a:gd name="connsiteX18" fmla="*/ 2434754 w 3245245"/>
                    <a:gd name="connsiteY18" fmla="*/ 1787236 h 2473036"/>
                    <a:gd name="connsiteX19" fmla="*/ 2725700 w 3245245"/>
                    <a:gd name="connsiteY19" fmla="*/ 1226127 h 2473036"/>
                    <a:gd name="connsiteX20" fmla="*/ 3182900 w 3245245"/>
                    <a:gd name="connsiteY20" fmla="*/ 1205345 h 2473036"/>
                    <a:gd name="connsiteX21" fmla="*/ 3245245 w 3245245"/>
                    <a:gd name="connsiteY21" fmla="*/ 852054 h 2473036"/>
                    <a:gd name="connsiteX22" fmla="*/ 2850391 w 3245245"/>
                    <a:gd name="connsiteY22" fmla="*/ 41563 h 2473036"/>
                    <a:gd name="connsiteX0" fmla="*/ 2850391 w 3245245"/>
                    <a:gd name="connsiteY0" fmla="*/ 25521 h 2456994"/>
                    <a:gd name="connsiteX1" fmla="*/ 2123027 w 3245245"/>
                    <a:gd name="connsiteY1" fmla="*/ 233339 h 2456994"/>
                    <a:gd name="connsiteX2" fmla="*/ 1208627 w 3245245"/>
                    <a:gd name="connsiteY2" fmla="*/ 0 h 2456994"/>
                    <a:gd name="connsiteX3" fmla="*/ 543609 w 3245245"/>
                    <a:gd name="connsiteY3" fmla="*/ 254121 h 2456994"/>
                    <a:gd name="connsiteX4" fmla="*/ 211100 w 3245245"/>
                    <a:gd name="connsiteY4" fmla="*/ 545067 h 2456994"/>
                    <a:gd name="connsiteX5" fmla="*/ 0 w 3245245"/>
                    <a:gd name="connsiteY5" fmla="*/ 674861 h 2456994"/>
                    <a:gd name="connsiteX6" fmla="*/ 231882 w 3245245"/>
                    <a:gd name="connsiteY6" fmla="*/ 815230 h 2456994"/>
                    <a:gd name="connsiteX7" fmla="*/ 938463 w 3245245"/>
                    <a:gd name="connsiteY7" fmla="*/ 565848 h 2456994"/>
                    <a:gd name="connsiteX8" fmla="*/ 460482 w 3245245"/>
                    <a:gd name="connsiteY8" fmla="*/ 1064612 h 2456994"/>
                    <a:gd name="connsiteX9" fmla="*/ 231882 w 3245245"/>
                    <a:gd name="connsiteY9" fmla="*/ 1480248 h 2456994"/>
                    <a:gd name="connsiteX10" fmla="*/ 356572 w 3245245"/>
                    <a:gd name="connsiteY10" fmla="*/ 1688067 h 2456994"/>
                    <a:gd name="connsiteX11" fmla="*/ 522827 w 3245245"/>
                    <a:gd name="connsiteY11" fmla="*/ 1688067 h 2456994"/>
                    <a:gd name="connsiteX12" fmla="*/ 564391 w 3245245"/>
                    <a:gd name="connsiteY12" fmla="*/ 1916667 h 2456994"/>
                    <a:gd name="connsiteX13" fmla="*/ 751427 w 3245245"/>
                    <a:gd name="connsiteY13" fmla="*/ 1999794 h 2456994"/>
                    <a:gd name="connsiteX14" fmla="*/ 792991 w 3245245"/>
                    <a:gd name="connsiteY14" fmla="*/ 2228394 h 2456994"/>
                    <a:gd name="connsiteX15" fmla="*/ 1063154 w 3245245"/>
                    <a:gd name="connsiteY15" fmla="*/ 2249176 h 2456994"/>
                    <a:gd name="connsiteX16" fmla="*/ 1229409 w 3245245"/>
                    <a:gd name="connsiteY16" fmla="*/ 2456994 h 2456994"/>
                    <a:gd name="connsiteX17" fmla="*/ 1665827 w 3245245"/>
                    <a:gd name="connsiteY17" fmla="*/ 2186830 h 2456994"/>
                    <a:gd name="connsiteX18" fmla="*/ 2434754 w 3245245"/>
                    <a:gd name="connsiteY18" fmla="*/ 1771194 h 2456994"/>
                    <a:gd name="connsiteX19" fmla="*/ 2725700 w 3245245"/>
                    <a:gd name="connsiteY19" fmla="*/ 1210085 h 2456994"/>
                    <a:gd name="connsiteX20" fmla="*/ 3182900 w 3245245"/>
                    <a:gd name="connsiteY20" fmla="*/ 1189303 h 2456994"/>
                    <a:gd name="connsiteX21" fmla="*/ 3245245 w 3245245"/>
                    <a:gd name="connsiteY21" fmla="*/ 836012 h 2456994"/>
                    <a:gd name="connsiteX22" fmla="*/ 2850391 w 3245245"/>
                    <a:gd name="connsiteY22" fmla="*/ 25521 h 2456994"/>
                    <a:gd name="connsiteX0" fmla="*/ 2850391 w 3245245"/>
                    <a:gd name="connsiteY0" fmla="*/ 25521 h 2456994"/>
                    <a:gd name="connsiteX1" fmla="*/ 2123027 w 3245245"/>
                    <a:gd name="connsiteY1" fmla="*/ 233339 h 2456994"/>
                    <a:gd name="connsiteX2" fmla="*/ 1208627 w 3245245"/>
                    <a:gd name="connsiteY2" fmla="*/ 0 h 2456994"/>
                    <a:gd name="connsiteX3" fmla="*/ 543609 w 3245245"/>
                    <a:gd name="connsiteY3" fmla="*/ 254121 h 2456994"/>
                    <a:gd name="connsiteX4" fmla="*/ 211100 w 3245245"/>
                    <a:gd name="connsiteY4" fmla="*/ 545067 h 2456994"/>
                    <a:gd name="connsiteX5" fmla="*/ 0 w 3245245"/>
                    <a:gd name="connsiteY5" fmla="*/ 674861 h 2456994"/>
                    <a:gd name="connsiteX6" fmla="*/ 231882 w 3245245"/>
                    <a:gd name="connsiteY6" fmla="*/ 815230 h 2456994"/>
                    <a:gd name="connsiteX7" fmla="*/ 938463 w 3245245"/>
                    <a:gd name="connsiteY7" fmla="*/ 565848 h 2456994"/>
                    <a:gd name="connsiteX8" fmla="*/ 460482 w 3245245"/>
                    <a:gd name="connsiteY8" fmla="*/ 1064612 h 2456994"/>
                    <a:gd name="connsiteX9" fmla="*/ 231882 w 3245245"/>
                    <a:gd name="connsiteY9" fmla="*/ 1480248 h 2456994"/>
                    <a:gd name="connsiteX10" fmla="*/ 356572 w 3245245"/>
                    <a:gd name="connsiteY10" fmla="*/ 1688067 h 2456994"/>
                    <a:gd name="connsiteX11" fmla="*/ 522827 w 3245245"/>
                    <a:gd name="connsiteY11" fmla="*/ 1688067 h 2456994"/>
                    <a:gd name="connsiteX12" fmla="*/ 564391 w 3245245"/>
                    <a:gd name="connsiteY12" fmla="*/ 1916667 h 2456994"/>
                    <a:gd name="connsiteX13" fmla="*/ 751427 w 3245245"/>
                    <a:gd name="connsiteY13" fmla="*/ 1999794 h 2456994"/>
                    <a:gd name="connsiteX14" fmla="*/ 792991 w 3245245"/>
                    <a:gd name="connsiteY14" fmla="*/ 2228394 h 2456994"/>
                    <a:gd name="connsiteX15" fmla="*/ 1063154 w 3245245"/>
                    <a:gd name="connsiteY15" fmla="*/ 2249176 h 2456994"/>
                    <a:gd name="connsiteX16" fmla="*/ 1229409 w 3245245"/>
                    <a:gd name="connsiteY16" fmla="*/ 2456994 h 2456994"/>
                    <a:gd name="connsiteX17" fmla="*/ 1665827 w 3245245"/>
                    <a:gd name="connsiteY17" fmla="*/ 2186830 h 2456994"/>
                    <a:gd name="connsiteX18" fmla="*/ 2434754 w 3245245"/>
                    <a:gd name="connsiteY18" fmla="*/ 1771194 h 2456994"/>
                    <a:gd name="connsiteX19" fmla="*/ 2725700 w 3245245"/>
                    <a:gd name="connsiteY19" fmla="*/ 1210085 h 2456994"/>
                    <a:gd name="connsiteX20" fmla="*/ 3182900 w 3245245"/>
                    <a:gd name="connsiteY20" fmla="*/ 1189303 h 2456994"/>
                    <a:gd name="connsiteX21" fmla="*/ 3245245 w 3245245"/>
                    <a:gd name="connsiteY21" fmla="*/ 836012 h 2456994"/>
                    <a:gd name="connsiteX22" fmla="*/ 2850391 w 3245245"/>
                    <a:gd name="connsiteY22" fmla="*/ 25521 h 2456994"/>
                    <a:gd name="connsiteX0" fmla="*/ 2850391 w 3245245"/>
                    <a:gd name="connsiteY0" fmla="*/ 25521 h 2456994"/>
                    <a:gd name="connsiteX1" fmla="*/ 2123027 w 3245245"/>
                    <a:gd name="connsiteY1" fmla="*/ 233339 h 2456994"/>
                    <a:gd name="connsiteX2" fmla="*/ 1208627 w 3245245"/>
                    <a:gd name="connsiteY2" fmla="*/ 0 h 2456994"/>
                    <a:gd name="connsiteX3" fmla="*/ 543609 w 3245245"/>
                    <a:gd name="connsiteY3" fmla="*/ 254121 h 2456994"/>
                    <a:gd name="connsiteX4" fmla="*/ 211100 w 3245245"/>
                    <a:gd name="connsiteY4" fmla="*/ 545067 h 2456994"/>
                    <a:gd name="connsiteX5" fmla="*/ 0 w 3245245"/>
                    <a:gd name="connsiteY5" fmla="*/ 674861 h 2456994"/>
                    <a:gd name="connsiteX6" fmla="*/ 231882 w 3245245"/>
                    <a:gd name="connsiteY6" fmla="*/ 815230 h 2456994"/>
                    <a:gd name="connsiteX7" fmla="*/ 938463 w 3245245"/>
                    <a:gd name="connsiteY7" fmla="*/ 565848 h 2456994"/>
                    <a:gd name="connsiteX8" fmla="*/ 460482 w 3245245"/>
                    <a:gd name="connsiteY8" fmla="*/ 1064612 h 2456994"/>
                    <a:gd name="connsiteX9" fmla="*/ 231882 w 3245245"/>
                    <a:gd name="connsiteY9" fmla="*/ 1480248 h 2456994"/>
                    <a:gd name="connsiteX10" fmla="*/ 356572 w 3245245"/>
                    <a:gd name="connsiteY10" fmla="*/ 1688067 h 2456994"/>
                    <a:gd name="connsiteX11" fmla="*/ 522827 w 3245245"/>
                    <a:gd name="connsiteY11" fmla="*/ 1688067 h 2456994"/>
                    <a:gd name="connsiteX12" fmla="*/ 564391 w 3245245"/>
                    <a:gd name="connsiteY12" fmla="*/ 1916667 h 2456994"/>
                    <a:gd name="connsiteX13" fmla="*/ 751427 w 3245245"/>
                    <a:gd name="connsiteY13" fmla="*/ 1999794 h 2456994"/>
                    <a:gd name="connsiteX14" fmla="*/ 792991 w 3245245"/>
                    <a:gd name="connsiteY14" fmla="*/ 2228394 h 2456994"/>
                    <a:gd name="connsiteX15" fmla="*/ 1063154 w 3245245"/>
                    <a:gd name="connsiteY15" fmla="*/ 2249176 h 2456994"/>
                    <a:gd name="connsiteX16" fmla="*/ 1229409 w 3245245"/>
                    <a:gd name="connsiteY16" fmla="*/ 2456994 h 2456994"/>
                    <a:gd name="connsiteX17" fmla="*/ 1665827 w 3245245"/>
                    <a:gd name="connsiteY17" fmla="*/ 2186830 h 2456994"/>
                    <a:gd name="connsiteX18" fmla="*/ 2434754 w 3245245"/>
                    <a:gd name="connsiteY18" fmla="*/ 1771194 h 2456994"/>
                    <a:gd name="connsiteX19" fmla="*/ 2725700 w 3245245"/>
                    <a:gd name="connsiteY19" fmla="*/ 1210085 h 2456994"/>
                    <a:gd name="connsiteX20" fmla="*/ 3182900 w 3245245"/>
                    <a:gd name="connsiteY20" fmla="*/ 1189303 h 2456994"/>
                    <a:gd name="connsiteX21" fmla="*/ 3245245 w 3245245"/>
                    <a:gd name="connsiteY21" fmla="*/ 836012 h 2456994"/>
                    <a:gd name="connsiteX22" fmla="*/ 2850391 w 3245245"/>
                    <a:gd name="connsiteY22" fmla="*/ 25521 h 2456994"/>
                    <a:gd name="connsiteX0" fmla="*/ 2850391 w 3245245"/>
                    <a:gd name="connsiteY0" fmla="*/ 25521 h 2456994"/>
                    <a:gd name="connsiteX1" fmla="*/ 2123027 w 3245245"/>
                    <a:gd name="connsiteY1" fmla="*/ 233339 h 2456994"/>
                    <a:gd name="connsiteX2" fmla="*/ 1208627 w 3245245"/>
                    <a:gd name="connsiteY2" fmla="*/ 0 h 2456994"/>
                    <a:gd name="connsiteX3" fmla="*/ 543609 w 3245245"/>
                    <a:gd name="connsiteY3" fmla="*/ 254121 h 2456994"/>
                    <a:gd name="connsiteX4" fmla="*/ 211100 w 3245245"/>
                    <a:gd name="connsiteY4" fmla="*/ 545067 h 2456994"/>
                    <a:gd name="connsiteX5" fmla="*/ 0 w 3245245"/>
                    <a:gd name="connsiteY5" fmla="*/ 674861 h 2456994"/>
                    <a:gd name="connsiteX6" fmla="*/ 231882 w 3245245"/>
                    <a:gd name="connsiteY6" fmla="*/ 815230 h 2456994"/>
                    <a:gd name="connsiteX7" fmla="*/ 938463 w 3245245"/>
                    <a:gd name="connsiteY7" fmla="*/ 565848 h 2456994"/>
                    <a:gd name="connsiteX8" fmla="*/ 460482 w 3245245"/>
                    <a:gd name="connsiteY8" fmla="*/ 1064612 h 2456994"/>
                    <a:gd name="connsiteX9" fmla="*/ 231882 w 3245245"/>
                    <a:gd name="connsiteY9" fmla="*/ 1480248 h 2456994"/>
                    <a:gd name="connsiteX10" fmla="*/ 356572 w 3245245"/>
                    <a:gd name="connsiteY10" fmla="*/ 1688067 h 2456994"/>
                    <a:gd name="connsiteX11" fmla="*/ 522827 w 3245245"/>
                    <a:gd name="connsiteY11" fmla="*/ 1688067 h 2456994"/>
                    <a:gd name="connsiteX12" fmla="*/ 564391 w 3245245"/>
                    <a:gd name="connsiteY12" fmla="*/ 1916667 h 2456994"/>
                    <a:gd name="connsiteX13" fmla="*/ 751427 w 3245245"/>
                    <a:gd name="connsiteY13" fmla="*/ 1999794 h 2456994"/>
                    <a:gd name="connsiteX14" fmla="*/ 792991 w 3245245"/>
                    <a:gd name="connsiteY14" fmla="*/ 2228394 h 2456994"/>
                    <a:gd name="connsiteX15" fmla="*/ 1063154 w 3245245"/>
                    <a:gd name="connsiteY15" fmla="*/ 2249176 h 2456994"/>
                    <a:gd name="connsiteX16" fmla="*/ 1229409 w 3245245"/>
                    <a:gd name="connsiteY16" fmla="*/ 2456994 h 2456994"/>
                    <a:gd name="connsiteX17" fmla="*/ 1665827 w 3245245"/>
                    <a:gd name="connsiteY17" fmla="*/ 2186830 h 2456994"/>
                    <a:gd name="connsiteX18" fmla="*/ 2434754 w 3245245"/>
                    <a:gd name="connsiteY18" fmla="*/ 1771194 h 2456994"/>
                    <a:gd name="connsiteX19" fmla="*/ 2725700 w 3245245"/>
                    <a:gd name="connsiteY19" fmla="*/ 1210085 h 2456994"/>
                    <a:gd name="connsiteX20" fmla="*/ 3182900 w 3245245"/>
                    <a:gd name="connsiteY20" fmla="*/ 1189303 h 2456994"/>
                    <a:gd name="connsiteX21" fmla="*/ 3245245 w 3245245"/>
                    <a:gd name="connsiteY21" fmla="*/ 836012 h 2456994"/>
                    <a:gd name="connsiteX22" fmla="*/ 2850391 w 3245245"/>
                    <a:gd name="connsiteY22" fmla="*/ 25521 h 2456994"/>
                    <a:gd name="connsiteX0" fmla="*/ 2850391 w 3245245"/>
                    <a:gd name="connsiteY0" fmla="*/ 25521 h 2456994"/>
                    <a:gd name="connsiteX1" fmla="*/ 2123027 w 3245245"/>
                    <a:gd name="connsiteY1" fmla="*/ 233339 h 2456994"/>
                    <a:gd name="connsiteX2" fmla="*/ 1208627 w 3245245"/>
                    <a:gd name="connsiteY2" fmla="*/ 0 h 2456994"/>
                    <a:gd name="connsiteX3" fmla="*/ 543609 w 3245245"/>
                    <a:gd name="connsiteY3" fmla="*/ 254121 h 2456994"/>
                    <a:gd name="connsiteX4" fmla="*/ 211100 w 3245245"/>
                    <a:gd name="connsiteY4" fmla="*/ 545067 h 2456994"/>
                    <a:gd name="connsiteX5" fmla="*/ 0 w 3245245"/>
                    <a:gd name="connsiteY5" fmla="*/ 674861 h 2456994"/>
                    <a:gd name="connsiteX6" fmla="*/ 231882 w 3245245"/>
                    <a:gd name="connsiteY6" fmla="*/ 815230 h 2456994"/>
                    <a:gd name="connsiteX7" fmla="*/ 938463 w 3245245"/>
                    <a:gd name="connsiteY7" fmla="*/ 565848 h 2456994"/>
                    <a:gd name="connsiteX8" fmla="*/ 460482 w 3245245"/>
                    <a:gd name="connsiteY8" fmla="*/ 1064612 h 2456994"/>
                    <a:gd name="connsiteX9" fmla="*/ 231882 w 3245245"/>
                    <a:gd name="connsiteY9" fmla="*/ 1480248 h 2456994"/>
                    <a:gd name="connsiteX10" fmla="*/ 356572 w 3245245"/>
                    <a:gd name="connsiteY10" fmla="*/ 1688067 h 2456994"/>
                    <a:gd name="connsiteX11" fmla="*/ 522827 w 3245245"/>
                    <a:gd name="connsiteY11" fmla="*/ 1688067 h 2456994"/>
                    <a:gd name="connsiteX12" fmla="*/ 564391 w 3245245"/>
                    <a:gd name="connsiteY12" fmla="*/ 1916667 h 2456994"/>
                    <a:gd name="connsiteX13" fmla="*/ 751427 w 3245245"/>
                    <a:gd name="connsiteY13" fmla="*/ 1999794 h 2456994"/>
                    <a:gd name="connsiteX14" fmla="*/ 792991 w 3245245"/>
                    <a:gd name="connsiteY14" fmla="*/ 2228394 h 2456994"/>
                    <a:gd name="connsiteX15" fmla="*/ 1063154 w 3245245"/>
                    <a:gd name="connsiteY15" fmla="*/ 2249176 h 2456994"/>
                    <a:gd name="connsiteX16" fmla="*/ 1229409 w 3245245"/>
                    <a:gd name="connsiteY16" fmla="*/ 2456994 h 2456994"/>
                    <a:gd name="connsiteX17" fmla="*/ 1665827 w 3245245"/>
                    <a:gd name="connsiteY17" fmla="*/ 2186830 h 2456994"/>
                    <a:gd name="connsiteX18" fmla="*/ 2434754 w 3245245"/>
                    <a:gd name="connsiteY18" fmla="*/ 1771194 h 2456994"/>
                    <a:gd name="connsiteX19" fmla="*/ 2725700 w 3245245"/>
                    <a:gd name="connsiteY19" fmla="*/ 1210085 h 2456994"/>
                    <a:gd name="connsiteX20" fmla="*/ 3182900 w 3245245"/>
                    <a:gd name="connsiteY20" fmla="*/ 1189303 h 2456994"/>
                    <a:gd name="connsiteX21" fmla="*/ 3245245 w 3245245"/>
                    <a:gd name="connsiteY21" fmla="*/ 836012 h 2456994"/>
                    <a:gd name="connsiteX22" fmla="*/ 2850391 w 3245245"/>
                    <a:gd name="connsiteY22" fmla="*/ 25521 h 2456994"/>
                    <a:gd name="connsiteX0" fmla="*/ 2850391 w 3245245"/>
                    <a:gd name="connsiteY0" fmla="*/ 25521 h 2456994"/>
                    <a:gd name="connsiteX1" fmla="*/ 2123027 w 3245245"/>
                    <a:gd name="connsiteY1" fmla="*/ 217297 h 2456994"/>
                    <a:gd name="connsiteX2" fmla="*/ 1208627 w 3245245"/>
                    <a:gd name="connsiteY2" fmla="*/ 0 h 2456994"/>
                    <a:gd name="connsiteX3" fmla="*/ 543609 w 3245245"/>
                    <a:gd name="connsiteY3" fmla="*/ 254121 h 2456994"/>
                    <a:gd name="connsiteX4" fmla="*/ 211100 w 3245245"/>
                    <a:gd name="connsiteY4" fmla="*/ 545067 h 2456994"/>
                    <a:gd name="connsiteX5" fmla="*/ 0 w 3245245"/>
                    <a:gd name="connsiteY5" fmla="*/ 674861 h 2456994"/>
                    <a:gd name="connsiteX6" fmla="*/ 231882 w 3245245"/>
                    <a:gd name="connsiteY6" fmla="*/ 815230 h 2456994"/>
                    <a:gd name="connsiteX7" fmla="*/ 938463 w 3245245"/>
                    <a:gd name="connsiteY7" fmla="*/ 565848 h 2456994"/>
                    <a:gd name="connsiteX8" fmla="*/ 460482 w 3245245"/>
                    <a:gd name="connsiteY8" fmla="*/ 1064612 h 2456994"/>
                    <a:gd name="connsiteX9" fmla="*/ 231882 w 3245245"/>
                    <a:gd name="connsiteY9" fmla="*/ 1480248 h 2456994"/>
                    <a:gd name="connsiteX10" fmla="*/ 356572 w 3245245"/>
                    <a:gd name="connsiteY10" fmla="*/ 1688067 h 2456994"/>
                    <a:gd name="connsiteX11" fmla="*/ 522827 w 3245245"/>
                    <a:gd name="connsiteY11" fmla="*/ 1688067 h 2456994"/>
                    <a:gd name="connsiteX12" fmla="*/ 564391 w 3245245"/>
                    <a:gd name="connsiteY12" fmla="*/ 1916667 h 2456994"/>
                    <a:gd name="connsiteX13" fmla="*/ 751427 w 3245245"/>
                    <a:gd name="connsiteY13" fmla="*/ 1999794 h 2456994"/>
                    <a:gd name="connsiteX14" fmla="*/ 792991 w 3245245"/>
                    <a:gd name="connsiteY14" fmla="*/ 2228394 h 2456994"/>
                    <a:gd name="connsiteX15" fmla="*/ 1063154 w 3245245"/>
                    <a:gd name="connsiteY15" fmla="*/ 2249176 h 2456994"/>
                    <a:gd name="connsiteX16" fmla="*/ 1229409 w 3245245"/>
                    <a:gd name="connsiteY16" fmla="*/ 2456994 h 2456994"/>
                    <a:gd name="connsiteX17" fmla="*/ 1665827 w 3245245"/>
                    <a:gd name="connsiteY17" fmla="*/ 2186830 h 2456994"/>
                    <a:gd name="connsiteX18" fmla="*/ 2434754 w 3245245"/>
                    <a:gd name="connsiteY18" fmla="*/ 1771194 h 2456994"/>
                    <a:gd name="connsiteX19" fmla="*/ 2725700 w 3245245"/>
                    <a:gd name="connsiteY19" fmla="*/ 1210085 h 2456994"/>
                    <a:gd name="connsiteX20" fmla="*/ 3182900 w 3245245"/>
                    <a:gd name="connsiteY20" fmla="*/ 1189303 h 2456994"/>
                    <a:gd name="connsiteX21" fmla="*/ 3245245 w 3245245"/>
                    <a:gd name="connsiteY21" fmla="*/ 836012 h 2456994"/>
                    <a:gd name="connsiteX22" fmla="*/ 2850391 w 3245245"/>
                    <a:gd name="connsiteY22" fmla="*/ 25521 h 2456994"/>
                    <a:gd name="connsiteX0" fmla="*/ 2850391 w 3245245"/>
                    <a:gd name="connsiteY0" fmla="*/ 25521 h 2456994"/>
                    <a:gd name="connsiteX1" fmla="*/ 2123027 w 3245245"/>
                    <a:gd name="connsiteY1" fmla="*/ 217297 h 2456994"/>
                    <a:gd name="connsiteX2" fmla="*/ 1208627 w 3245245"/>
                    <a:gd name="connsiteY2" fmla="*/ 0 h 2456994"/>
                    <a:gd name="connsiteX3" fmla="*/ 543609 w 3245245"/>
                    <a:gd name="connsiteY3" fmla="*/ 254121 h 2456994"/>
                    <a:gd name="connsiteX4" fmla="*/ 211100 w 3245245"/>
                    <a:gd name="connsiteY4" fmla="*/ 545067 h 2456994"/>
                    <a:gd name="connsiteX5" fmla="*/ 0 w 3245245"/>
                    <a:gd name="connsiteY5" fmla="*/ 674861 h 2456994"/>
                    <a:gd name="connsiteX6" fmla="*/ 231882 w 3245245"/>
                    <a:gd name="connsiteY6" fmla="*/ 815230 h 2456994"/>
                    <a:gd name="connsiteX7" fmla="*/ 938463 w 3245245"/>
                    <a:gd name="connsiteY7" fmla="*/ 565848 h 2456994"/>
                    <a:gd name="connsiteX8" fmla="*/ 460482 w 3245245"/>
                    <a:gd name="connsiteY8" fmla="*/ 1064612 h 2456994"/>
                    <a:gd name="connsiteX9" fmla="*/ 231882 w 3245245"/>
                    <a:gd name="connsiteY9" fmla="*/ 1480248 h 2456994"/>
                    <a:gd name="connsiteX10" fmla="*/ 356572 w 3245245"/>
                    <a:gd name="connsiteY10" fmla="*/ 1688067 h 2456994"/>
                    <a:gd name="connsiteX11" fmla="*/ 522827 w 3245245"/>
                    <a:gd name="connsiteY11" fmla="*/ 1688067 h 2456994"/>
                    <a:gd name="connsiteX12" fmla="*/ 564391 w 3245245"/>
                    <a:gd name="connsiteY12" fmla="*/ 1916667 h 2456994"/>
                    <a:gd name="connsiteX13" fmla="*/ 751427 w 3245245"/>
                    <a:gd name="connsiteY13" fmla="*/ 1999794 h 2456994"/>
                    <a:gd name="connsiteX14" fmla="*/ 792991 w 3245245"/>
                    <a:gd name="connsiteY14" fmla="*/ 2228394 h 2456994"/>
                    <a:gd name="connsiteX15" fmla="*/ 1063154 w 3245245"/>
                    <a:gd name="connsiteY15" fmla="*/ 2249176 h 2456994"/>
                    <a:gd name="connsiteX16" fmla="*/ 1229409 w 3245245"/>
                    <a:gd name="connsiteY16" fmla="*/ 2456994 h 2456994"/>
                    <a:gd name="connsiteX17" fmla="*/ 1665827 w 3245245"/>
                    <a:gd name="connsiteY17" fmla="*/ 2186830 h 2456994"/>
                    <a:gd name="connsiteX18" fmla="*/ 2434754 w 3245245"/>
                    <a:gd name="connsiteY18" fmla="*/ 1771194 h 2456994"/>
                    <a:gd name="connsiteX19" fmla="*/ 2725700 w 3245245"/>
                    <a:gd name="connsiteY19" fmla="*/ 1210085 h 2456994"/>
                    <a:gd name="connsiteX20" fmla="*/ 3202953 w 3245245"/>
                    <a:gd name="connsiteY20" fmla="*/ 1153208 h 2456994"/>
                    <a:gd name="connsiteX21" fmla="*/ 3245245 w 3245245"/>
                    <a:gd name="connsiteY21" fmla="*/ 836012 h 2456994"/>
                    <a:gd name="connsiteX22" fmla="*/ 2850391 w 3245245"/>
                    <a:gd name="connsiteY22" fmla="*/ 25521 h 2456994"/>
                    <a:gd name="connsiteX0" fmla="*/ 2850391 w 3281340"/>
                    <a:gd name="connsiteY0" fmla="*/ 25521 h 2456994"/>
                    <a:gd name="connsiteX1" fmla="*/ 2123027 w 3281340"/>
                    <a:gd name="connsiteY1" fmla="*/ 217297 h 2456994"/>
                    <a:gd name="connsiteX2" fmla="*/ 1208627 w 3281340"/>
                    <a:gd name="connsiteY2" fmla="*/ 0 h 2456994"/>
                    <a:gd name="connsiteX3" fmla="*/ 543609 w 3281340"/>
                    <a:gd name="connsiteY3" fmla="*/ 254121 h 2456994"/>
                    <a:gd name="connsiteX4" fmla="*/ 211100 w 3281340"/>
                    <a:gd name="connsiteY4" fmla="*/ 545067 h 2456994"/>
                    <a:gd name="connsiteX5" fmla="*/ 0 w 3281340"/>
                    <a:gd name="connsiteY5" fmla="*/ 674861 h 2456994"/>
                    <a:gd name="connsiteX6" fmla="*/ 231882 w 3281340"/>
                    <a:gd name="connsiteY6" fmla="*/ 815230 h 2456994"/>
                    <a:gd name="connsiteX7" fmla="*/ 938463 w 3281340"/>
                    <a:gd name="connsiteY7" fmla="*/ 565848 h 2456994"/>
                    <a:gd name="connsiteX8" fmla="*/ 460482 w 3281340"/>
                    <a:gd name="connsiteY8" fmla="*/ 1064612 h 2456994"/>
                    <a:gd name="connsiteX9" fmla="*/ 231882 w 3281340"/>
                    <a:gd name="connsiteY9" fmla="*/ 1480248 h 2456994"/>
                    <a:gd name="connsiteX10" fmla="*/ 356572 w 3281340"/>
                    <a:gd name="connsiteY10" fmla="*/ 1688067 h 2456994"/>
                    <a:gd name="connsiteX11" fmla="*/ 522827 w 3281340"/>
                    <a:gd name="connsiteY11" fmla="*/ 1688067 h 2456994"/>
                    <a:gd name="connsiteX12" fmla="*/ 564391 w 3281340"/>
                    <a:gd name="connsiteY12" fmla="*/ 1916667 h 2456994"/>
                    <a:gd name="connsiteX13" fmla="*/ 751427 w 3281340"/>
                    <a:gd name="connsiteY13" fmla="*/ 1999794 h 2456994"/>
                    <a:gd name="connsiteX14" fmla="*/ 792991 w 3281340"/>
                    <a:gd name="connsiteY14" fmla="*/ 2228394 h 2456994"/>
                    <a:gd name="connsiteX15" fmla="*/ 1063154 w 3281340"/>
                    <a:gd name="connsiteY15" fmla="*/ 2249176 h 2456994"/>
                    <a:gd name="connsiteX16" fmla="*/ 1229409 w 3281340"/>
                    <a:gd name="connsiteY16" fmla="*/ 2456994 h 2456994"/>
                    <a:gd name="connsiteX17" fmla="*/ 1665827 w 3281340"/>
                    <a:gd name="connsiteY17" fmla="*/ 2186830 h 2456994"/>
                    <a:gd name="connsiteX18" fmla="*/ 2434754 w 3281340"/>
                    <a:gd name="connsiteY18" fmla="*/ 1771194 h 2456994"/>
                    <a:gd name="connsiteX19" fmla="*/ 2725700 w 3281340"/>
                    <a:gd name="connsiteY19" fmla="*/ 1210085 h 2456994"/>
                    <a:gd name="connsiteX20" fmla="*/ 3202953 w 3281340"/>
                    <a:gd name="connsiteY20" fmla="*/ 1153208 h 2456994"/>
                    <a:gd name="connsiteX21" fmla="*/ 3281340 w 3281340"/>
                    <a:gd name="connsiteY21" fmla="*/ 844033 h 2456994"/>
                    <a:gd name="connsiteX22" fmla="*/ 2850391 w 3281340"/>
                    <a:gd name="connsiteY22" fmla="*/ 25521 h 2456994"/>
                    <a:gd name="connsiteX0" fmla="*/ 2850391 w 3281340"/>
                    <a:gd name="connsiteY0" fmla="*/ 25521 h 2456994"/>
                    <a:gd name="connsiteX1" fmla="*/ 2123027 w 3281340"/>
                    <a:gd name="connsiteY1" fmla="*/ 217297 h 2456994"/>
                    <a:gd name="connsiteX2" fmla="*/ 1208627 w 3281340"/>
                    <a:gd name="connsiteY2" fmla="*/ 0 h 2456994"/>
                    <a:gd name="connsiteX3" fmla="*/ 543609 w 3281340"/>
                    <a:gd name="connsiteY3" fmla="*/ 254121 h 2456994"/>
                    <a:gd name="connsiteX4" fmla="*/ 211100 w 3281340"/>
                    <a:gd name="connsiteY4" fmla="*/ 545067 h 2456994"/>
                    <a:gd name="connsiteX5" fmla="*/ 0 w 3281340"/>
                    <a:gd name="connsiteY5" fmla="*/ 674861 h 2456994"/>
                    <a:gd name="connsiteX6" fmla="*/ 231882 w 3281340"/>
                    <a:gd name="connsiteY6" fmla="*/ 815230 h 2456994"/>
                    <a:gd name="connsiteX7" fmla="*/ 938463 w 3281340"/>
                    <a:gd name="connsiteY7" fmla="*/ 565848 h 2456994"/>
                    <a:gd name="connsiteX8" fmla="*/ 460482 w 3281340"/>
                    <a:gd name="connsiteY8" fmla="*/ 1064612 h 2456994"/>
                    <a:gd name="connsiteX9" fmla="*/ 231882 w 3281340"/>
                    <a:gd name="connsiteY9" fmla="*/ 1480248 h 2456994"/>
                    <a:gd name="connsiteX10" fmla="*/ 356572 w 3281340"/>
                    <a:gd name="connsiteY10" fmla="*/ 1688067 h 2456994"/>
                    <a:gd name="connsiteX11" fmla="*/ 522827 w 3281340"/>
                    <a:gd name="connsiteY11" fmla="*/ 1688067 h 2456994"/>
                    <a:gd name="connsiteX12" fmla="*/ 564391 w 3281340"/>
                    <a:gd name="connsiteY12" fmla="*/ 1916667 h 2456994"/>
                    <a:gd name="connsiteX13" fmla="*/ 751427 w 3281340"/>
                    <a:gd name="connsiteY13" fmla="*/ 1999794 h 2456994"/>
                    <a:gd name="connsiteX14" fmla="*/ 792991 w 3281340"/>
                    <a:gd name="connsiteY14" fmla="*/ 2228394 h 2456994"/>
                    <a:gd name="connsiteX15" fmla="*/ 1063154 w 3281340"/>
                    <a:gd name="connsiteY15" fmla="*/ 2249176 h 2456994"/>
                    <a:gd name="connsiteX16" fmla="*/ 1229409 w 3281340"/>
                    <a:gd name="connsiteY16" fmla="*/ 2456994 h 2456994"/>
                    <a:gd name="connsiteX17" fmla="*/ 1665827 w 3281340"/>
                    <a:gd name="connsiteY17" fmla="*/ 2186830 h 2456994"/>
                    <a:gd name="connsiteX18" fmla="*/ 2434754 w 3281340"/>
                    <a:gd name="connsiteY18" fmla="*/ 1771194 h 2456994"/>
                    <a:gd name="connsiteX19" fmla="*/ 2725700 w 3281340"/>
                    <a:gd name="connsiteY19" fmla="*/ 1210085 h 2456994"/>
                    <a:gd name="connsiteX20" fmla="*/ 3202953 w 3281340"/>
                    <a:gd name="connsiteY20" fmla="*/ 1153208 h 2456994"/>
                    <a:gd name="connsiteX21" fmla="*/ 3281340 w 3281340"/>
                    <a:gd name="connsiteY21" fmla="*/ 844033 h 2456994"/>
                    <a:gd name="connsiteX22" fmla="*/ 2850391 w 3281340"/>
                    <a:gd name="connsiteY22" fmla="*/ 25521 h 2456994"/>
                    <a:gd name="connsiteX0" fmla="*/ 2850391 w 3281340"/>
                    <a:gd name="connsiteY0" fmla="*/ 25521 h 2456994"/>
                    <a:gd name="connsiteX1" fmla="*/ 2123027 w 3281340"/>
                    <a:gd name="connsiteY1" fmla="*/ 217297 h 2456994"/>
                    <a:gd name="connsiteX2" fmla="*/ 1208627 w 3281340"/>
                    <a:gd name="connsiteY2" fmla="*/ 0 h 2456994"/>
                    <a:gd name="connsiteX3" fmla="*/ 543609 w 3281340"/>
                    <a:gd name="connsiteY3" fmla="*/ 254121 h 2456994"/>
                    <a:gd name="connsiteX4" fmla="*/ 211100 w 3281340"/>
                    <a:gd name="connsiteY4" fmla="*/ 545067 h 2456994"/>
                    <a:gd name="connsiteX5" fmla="*/ 0 w 3281340"/>
                    <a:gd name="connsiteY5" fmla="*/ 674861 h 2456994"/>
                    <a:gd name="connsiteX6" fmla="*/ 231882 w 3281340"/>
                    <a:gd name="connsiteY6" fmla="*/ 815230 h 2456994"/>
                    <a:gd name="connsiteX7" fmla="*/ 938463 w 3281340"/>
                    <a:gd name="connsiteY7" fmla="*/ 565848 h 2456994"/>
                    <a:gd name="connsiteX8" fmla="*/ 460482 w 3281340"/>
                    <a:gd name="connsiteY8" fmla="*/ 1064612 h 2456994"/>
                    <a:gd name="connsiteX9" fmla="*/ 231882 w 3281340"/>
                    <a:gd name="connsiteY9" fmla="*/ 1480248 h 2456994"/>
                    <a:gd name="connsiteX10" fmla="*/ 356572 w 3281340"/>
                    <a:gd name="connsiteY10" fmla="*/ 1688067 h 2456994"/>
                    <a:gd name="connsiteX11" fmla="*/ 522827 w 3281340"/>
                    <a:gd name="connsiteY11" fmla="*/ 1688067 h 2456994"/>
                    <a:gd name="connsiteX12" fmla="*/ 564391 w 3281340"/>
                    <a:gd name="connsiteY12" fmla="*/ 1916667 h 2456994"/>
                    <a:gd name="connsiteX13" fmla="*/ 751427 w 3281340"/>
                    <a:gd name="connsiteY13" fmla="*/ 1999794 h 2456994"/>
                    <a:gd name="connsiteX14" fmla="*/ 792991 w 3281340"/>
                    <a:gd name="connsiteY14" fmla="*/ 2228394 h 2456994"/>
                    <a:gd name="connsiteX15" fmla="*/ 1063154 w 3281340"/>
                    <a:gd name="connsiteY15" fmla="*/ 2249176 h 2456994"/>
                    <a:gd name="connsiteX16" fmla="*/ 1229409 w 3281340"/>
                    <a:gd name="connsiteY16" fmla="*/ 2456994 h 2456994"/>
                    <a:gd name="connsiteX17" fmla="*/ 1665827 w 3281340"/>
                    <a:gd name="connsiteY17" fmla="*/ 2186830 h 2456994"/>
                    <a:gd name="connsiteX18" fmla="*/ 2434754 w 3281340"/>
                    <a:gd name="connsiteY18" fmla="*/ 1771194 h 2456994"/>
                    <a:gd name="connsiteX19" fmla="*/ 2725700 w 3281340"/>
                    <a:gd name="connsiteY19" fmla="*/ 1210085 h 2456994"/>
                    <a:gd name="connsiteX20" fmla="*/ 3202953 w 3281340"/>
                    <a:gd name="connsiteY20" fmla="*/ 1153208 h 2456994"/>
                    <a:gd name="connsiteX21" fmla="*/ 3281340 w 3281340"/>
                    <a:gd name="connsiteY21" fmla="*/ 844033 h 2456994"/>
                    <a:gd name="connsiteX22" fmla="*/ 2850391 w 3281340"/>
                    <a:gd name="connsiteY22" fmla="*/ 25521 h 2456994"/>
                    <a:gd name="connsiteX0" fmla="*/ 2850391 w 3281340"/>
                    <a:gd name="connsiteY0" fmla="*/ 25521 h 2456994"/>
                    <a:gd name="connsiteX1" fmla="*/ 2123027 w 3281340"/>
                    <a:gd name="connsiteY1" fmla="*/ 217297 h 2456994"/>
                    <a:gd name="connsiteX2" fmla="*/ 1208627 w 3281340"/>
                    <a:gd name="connsiteY2" fmla="*/ 0 h 2456994"/>
                    <a:gd name="connsiteX3" fmla="*/ 543609 w 3281340"/>
                    <a:gd name="connsiteY3" fmla="*/ 254121 h 2456994"/>
                    <a:gd name="connsiteX4" fmla="*/ 211100 w 3281340"/>
                    <a:gd name="connsiteY4" fmla="*/ 545067 h 2456994"/>
                    <a:gd name="connsiteX5" fmla="*/ 0 w 3281340"/>
                    <a:gd name="connsiteY5" fmla="*/ 674861 h 2456994"/>
                    <a:gd name="connsiteX6" fmla="*/ 231882 w 3281340"/>
                    <a:gd name="connsiteY6" fmla="*/ 815230 h 2456994"/>
                    <a:gd name="connsiteX7" fmla="*/ 938463 w 3281340"/>
                    <a:gd name="connsiteY7" fmla="*/ 565848 h 2456994"/>
                    <a:gd name="connsiteX8" fmla="*/ 460482 w 3281340"/>
                    <a:gd name="connsiteY8" fmla="*/ 1064612 h 2456994"/>
                    <a:gd name="connsiteX9" fmla="*/ 231882 w 3281340"/>
                    <a:gd name="connsiteY9" fmla="*/ 1480248 h 2456994"/>
                    <a:gd name="connsiteX10" fmla="*/ 356572 w 3281340"/>
                    <a:gd name="connsiteY10" fmla="*/ 1688067 h 2456994"/>
                    <a:gd name="connsiteX11" fmla="*/ 522827 w 3281340"/>
                    <a:gd name="connsiteY11" fmla="*/ 1688067 h 2456994"/>
                    <a:gd name="connsiteX12" fmla="*/ 564391 w 3281340"/>
                    <a:gd name="connsiteY12" fmla="*/ 1916667 h 2456994"/>
                    <a:gd name="connsiteX13" fmla="*/ 751427 w 3281340"/>
                    <a:gd name="connsiteY13" fmla="*/ 1999794 h 2456994"/>
                    <a:gd name="connsiteX14" fmla="*/ 792991 w 3281340"/>
                    <a:gd name="connsiteY14" fmla="*/ 2228394 h 2456994"/>
                    <a:gd name="connsiteX15" fmla="*/ 1063154 w 3281340"/>
                    <a:gd name="connsiteY15" fmla="*/ 2249176 h 2456994"/>
                    <a:gd name="connsiteX16" fmla="*/ 1229409 w 3281340"/>
                    <a:gd name="connsiteY16" fmla="*/ 2456994 h 2456994"/>
                    <a:gd name="connsiteX17" fmla="*/ 1665827 w 3281340"/>
                    <a:gd name="connsiteY17" fmla="*/ 2186830 h 2456994"/>
                    <a:gd name="connsiteX18" fmla="*/ 2434754 w 3281340"/>
                    <a:gd name="connsiteY18" fmla="*/ 1771194 h 2456994"/>
                    <a:gd name="connsiteX19" fmla="*/ 2725700 w 3281340"/>
                    <a:gd name="connsiteY19" fmla="*/ 1210085 h 2456994"/>
                    <a:gd name="connsiteX20" fmla="*/ 3202953 w 3281340"/>
                    <a:gd name="connsiteY20" fmla="*/ 1153208 h 2456994"/>
                    <a:gd name="connsiteX21" fmla="*/ 3281340 w 3281340"/>
                    <a:gd name="connsiteY21" fmla="*/ 844033 h 2456994"/>
                    <a:gd name="connsiteX22" fmla="*/ 2850391 w 3281340"/>
                    <a:gd name="connsiteY22" fmla="*/ 25521 h 2456994"/>
                    <a:gd name="connsiteX0" fmla="*/ 2850391 w 3281340"/>
                    <a:gd name="connsiteY0" fmla="*/ 25521 h 2456994"/>
                    <a:gd name="connsiteX1" fmla="*/ 2123027 w 3281340"/>
                    <a:gd name="connsiteY1" fmla="*/ 217297 h 2456994"/>
                    <a:gd name="connsiteX2" fmla="*/ 1208627 w 3281340"/>
                    <a:gd name="connsiteY2" fmla="*/ 0 h 2456994"/>
                    <a:gd name="connsiteX3" fmla="*/ 543609 w 3281340"/>
                    <a:gd name="connsiteY3" fmla="*/ 254121 h 2456994"/>
                    <a:gd name="connsiteX4" fmla="*/ 211100 w 3281340"/>
                    <a:gd name="connsiteY4" fmla="*/ 545067 h 2456994"/>
                    <a:gd name="connsiteX5" fmla="*/ 0 w 3281340"/>
                    <a:gd name="connsiteY5" fmla="*/ 674861 h 2456994"/>
                    <a:gd name="connsiteX6" fmla="*/ 231882 w 3281340"/>
                    <a:gd name="connsiteY6" fmla="*/ 815230 h 2456994"/>
                    <a:gd name="connsiteX7" fmla="*/ 938463 w 3281340"/>
                    <a:gd name="connsiteY7" fmla="*/ 565848 h 2456994"/>
                    <a:gd name="connsiteX8" fmla="*/ 460482 w 3281340"/>
                    <a:gd name="connsiteY8" fmla="*/ 1064612 h 2456994"/>
                    <a:gd name="connsiteX9" fmla="*/ 231882 w 3281340"/>
                    <a:gd name="connsiteY9" fmla="*/ 1480248 h 2456994"/>
                    <a:gd name="connsiteX10" fmla="*/ 356572 w 3281340"/>
                    <a:gd name="connsiteY10" fmla="*/ 1688067 h 2456994"/>
                    <a:gd name="connsiteX11" fmla="*/ 522827 w 3281340"/>
                    <a:gd name="connsiteY11" fmla="*/ 1688067 h 2456994"/>
                    <a:gd name="connsiteX12" fmla="*/ 564391 w 3281340"/>
                    <a:gd name="connsiteY12" fmla="*/ 1916667 h 2456994"/>
                    <a:gd name="connsiteX13" fmla="*/ 751427 w 3281340"/>
                    <a:gd name="connsiteY13" fmla="*/ 1999794 h 2456994"/>
                    <a:gd name="connsiteX14" fmla="*/ 792991 w 3281340"/>
                    <a:gd name="connsiteY14" fmla="*/ 2228394 h 2456994"/>
                    <a:gd name="connsiteX15" fmla="*/ 1063154 w 3281340"/>
                    <a:gd name="connsiteY15" fmla="*/ 2249176 h 2456994"/>
                    <a:gd name="connsiteX16" fmla="*/ 1229409 w 3281340"/>
                    <a:gd name="connsiteY16" fmla="*/ 2456994 h 2456994"/>
                    <a:gd name="connsiteX17" fmla="*/ 1665827 w 3281340"/>
                    <a:gd name="connsiteY17" fmla="*/ 2186830 h 2456994"/>
                    <a:gd name="connsiteX18" fmla="*/ 2434754 w 3281340"/>
                    <a:gd name="connsiteY18" fmla="*/ 1771194 h 2456994"/>
                    <a:gd name="connsiteX19" fmla="*/ 2725700 w 3281340"/>
                    <a:gd name="connsiteY19" fmla="*/ 1210085 h 2456994"/>
                    <a:gd name="connsiteX20" fmla="*/ 3202953 w 3281340"/>
                    <a:gd name="connsiteY20" fmla="*/ 1117113 h 2456994"/>
                    <a:gd name="connsiteX21" fmla="*/ 3281340 w 3281340"/>
                    <a:gd name="connsiteY21" fmla="*/ 844033 h 2456994"/>
                    <a:gd name="connsiteX22" fmla="*/ 2850391 w 3281340"/>
                    <a:gd name="connsiteY22" fmla="*/ 25521 h 2456994"/>
                    <a:gd name="connsiteX0" fmla="*/ 2850391 w 3281340"/>
                    <a:gd name="connsiteY0" fmla="*/ 25521 h 2456994"/>
                    <a:gd name="connsiteX1" fmla="*/ 2123027 w 3281340"/>
                    <a:gd name="connsiteY1" fmla="*/ 217297 h 2456994"/>
                    <a:gd name="connsiteX2" fmla="*/ 1208627 w 3281340"/>
                    <a:gd name="connsiteY2" fmla="*/ 0 h 2456994"/>
                    <a:gd name="connsiteX3" fmla="*/ 543609 w 3281340"/>
                    <a:gd name="connsiteY3" fmla="*/ 254121 h 2456994"/>
                    <a:gd name="connsiteX4" fmla="*/ 211100 w 3281340"/>
                    <a:gd name="connsiteY4" fmla="*/ 545067 h 2456994"/>
                    <a:gd name="connsiteX5" fmla="*/ 0 w 3281340"/>
                    <a:gd name="connsiteY5" fmla="*/ 674861 h 2456994"/>
                    <a:gd name="connsiteX6" fmla="*/ 231882 w 3281340"/>
                    <a:gd name="connsiteY6" fmla="*/ 815230 h 2456994"/>
                    <a:gd name="connsiteX7" fmla="*/ 938463 w 3281340"/>
                    <a:gd name="connsiteY7" fmla="*/ 565848 h 2456994"/>
                    <a:gd name="connsiteX8" fmla="*/ 460482 w 3281340"/>
                    <a:gd name="connsiteY8" fmla="*/ 1064612 h 2456994"/>
                    <a:gd name="connsiteX9" fmla="*/ 231882 w 3281340"/>
                    <a:gd name="connsiteY9" fmla="*/ 1480248 h 2456994"/>
                    <a:gd name="connsiteX10" fmla="*/ 356572 w 3281340"/>
                    <a:gd name="connsiteY10" fmla="*/ 1688067 h 2456994"/>
                    <a:gd name="connsiteX11" fmla="*/ 522827 w 3281340"/>
                    <a:gd name="connsiteY11" fmla="*/ 1688067 h 2456994"/>
                    <a:gd name="connsiteX12" fmla="*/ 564391 w 3281340"/>
                    <a:gd name="connsiteY12" fmla="*/ 1916667 h 2456994"/>
                    <a:gd name="connsiteX13" fmla="*/ 751427 w 3281340"/>
                    <a:gd name="connsiteY13" fmla="*/ 1999794 h 2456994"/>
                    <a:gd name="connsiteX14" fmla="*/ 792991 w 3281340"/>
                    <a:gd name="connsiteY14" fmla="*/ 2228394 h 2456994"/>
                    <a:gd name="connsiteX15" fmla="*/ 1063154 w 3281340"/>
                    <a:gd name="connsiteY15" fmla="*/ 2249176 h 2456994"/>
                    <a:gd name="connsiteX16" fmla="*/ 1229409 w 3281340"/>
                    <a:gd name="connsiteY16" fmla="*/ 2456994 h 2456994"/>
                    <a:gd name="connsiteX17" fmla="*/ 1665827 w 3281340"/>
                    <a:gd name="connsiteY17" fmla="*/ 2186830 h 2456994"/>
                    <a:gd name="connsiteX18" fmla="*/ 2434754 w 3281340"/>
                    <a:gd name="connsiteY18" fmla="*/ 1771194 h 2456994"/>
                    <a:gd name="connsiteX19" fmla="*/ 2725700 w 3281340"/>
                    <a:gd name="connsiteY19" fmla="*/ 1210085 h 2456994"/>
                    <a:gd name="connsiteX20" fmla="*/ 3202953 w 3281340"/>
                    <a:gd name="connsiteY20" fmla="*/ 1117113 h 2456994"/>
                    <a:gd name="connsiteX21" fmla="*/ 3281340 w 3281340"/>
                    <a:gd name="connsiteY21" fmla="*/ 844033 h 2456994"/>
                    <a:gd name="connsiteX22" fmla="*/ 2850391 w 3281340"/>
                    <a:gd name="connsiteY22" fmla="*/ 25521 h 2456994"/>
                    <a:gd name="connsiteX0" fmla="*/ 2850391 w 3281340"/>
                    <a:gd name="connsiteY0" fmla="*/ 25521 h 2456994"/>
                    <a:gd name="connsiteX1" fmla="*/ 2123027 w 3281340"/>
                    <a:gd name="connsiteY1" fmla="*/ 217297 h 2456994"/>
                    <a:gd name="connsiteX2" fmla="*/ 1208627 w 3281340"/>
                    <a:gd name="connsiteY2" fmla="*/ 0 h 2456994"/>
                    <a:gd name="connsiteX3" fmla="*/ 543609 w 3281340"/>
                    <a:gd name="connsiteY3" fmla="*/ 254121 h 2456994"/>
                    <a:gd name="connsiteX4" fmla="*/ 211100 w 3281340"/>
                    <a:gd name="connsiteY4" fmla="*/ 545067 h 2456994"/>
                    <a:gd name="connsiteX5" fmla="*/ 0 w 3281340"/>
                    <a:gd name="connsiteY5" fmla="*/ 674861 h 2456994"/>
                    <a:gd name="connsiteX6" fmla="*/ 231882 w 3281340"/>
                    <a:gd name="connsiteY6" fmla="*/ 815230 h 2456994"/>
                    <a:gd name="connsiteX7" fmla="*/ 938463 w 3281340"/>
                    <a:gd name="connsiteY7" fmla="*/ 565848 h 2456994"/>
                    <a:gd name="connsiteX8" fmla="*/ 460482 w 3281340"/>
                    <a:gd name="connsiteY8" fmla="*/ 1064612 h 2456994"/>
                    <a:gd name="connsiteX9" fmla="*/ 231882 w 3281340"/>
                    <a:gd name="connsiteY9" fmla="*/ 1480248 h 2456994"/>
                    <a:gd name="connsiteX10" fmla="*/ 356572 w 3281340"/>
                    <a:gd name="connsiteY10" fmla="*/ 1688067 h 2456994"/>
                    <a:gd name="connsiteX11" fmla="*/ 522827 w 3281340"/>
                    <a:gd name="connsiteY11" fmla="*/ 1688067 h 2456994"/>
                    <a:gd name="connsiteX12" fmla="*/ 564391 w 3281340"/>
                    <a:gd name="connsiteY12" fmla="*/ 1916667 h 2456994"/>
                    <a:gd name="connsiteX13" fmla="*/ 751427 w 3281340"/>
                    <a:gd name="connsiteY13" fmla="*/ 1999794 h 2456994"/>
                    <a:gd name="connsiteX14" fmla="*/ 792991 w 3281340"/>
                    <a:gd name="connsiteY14" fmla="*/ 2228394 h 2456994"/>
                    <a:gd name="connsiteX15" fmla="*/ 1063154 w 3281340"/>
                    <a:gd name="connsiteY15" fmla="*/ 2249176 h 2456994"/>
                    <a:gd name="connsiteX16" fmla="*/ 1229409 w 3281340"/>
                    <a:gd name="connsiteY16" fmla="*/ 2456994 h 2456994"/>
                    <a:gd name="connsiteX17" fmla="*/ 1665827 w 3281340"/>
                    <a:gd name="connsiteY17" fmla="*/ 2186830 h 2456994"/>
                    <a:gd name="connsiteX18" fmla="*/ 2482880 w 3281340"/>
                    <a:gd name="connsiteY18" fmla="*/ 1634836 h 2456994"/>
                    <a:gd name="connsiteX19" fmla="*/ 2725700 w 3281340"/>
                    <a:gd name="connsiteY19" fmla="*/ 1210085 h 2456994"/>
                    <a:gd name="connsiteX20" fmla="*/ 3202953 w 3281340"/>
                    <a:gd name="connsiteY20" fmla="*/ 1117113 h 2456994"/>
                    <a:gd name="connsiteX21" fmla="*/ 3281340 w 3281340"/>
                    <a:gd name="connsiteY21" fmla="*/ 844033 h 2456994"/>
                    <a:gd name="connsiteX22" fmla="*/ 2850391 w 3281340"/>
                    <a:gd name="connsiteY22" fmla="*/ 25521 h 2456994"/>
                    <a:gd name="connsiteX0" fmla="*/ 2850391 w 3281340"/>
                    <a:gd name="connsiteY0" fmla="*/ 25521 h 2456994"/>
                    <a:gd name="connsiteX1" fmla="*/ 2123027 w 3281340"/>
                    <a:gd name="connsiteY1" fmla="*/ 217297 h 2456994"/>
                    <a:gd name="connsiteX2" fmla="*/ 1208627 w 3281340"/>
                    <a:gd name="connsiteY2" fmla="*/ 0 h 2456994"/>
                    <a:gd name="connsiteX3" fmla="*/ 543609 w 3281340"/>
                    <a:gd name="connsiteY3" fmla="*/ 254121 h 2456994"/>
                    <a:gd name="connsiteX4" fmla="*/ 211100 w 3281340"/>
                    <a:gd name="connsiteY4" fmla="*/ 545067 h 2456994"/>
                    <a:gd name="connsiteX5" fmla="*/ 0 w 3281340"/>
                    <a:gd name="connsiteY5" fmla="*/ 674861 h 2456994"/>
                    <a:gd name="connsiteX6" fmla="*/ 231882 w 3281340"/>
                    <a:gd name="connsiteY6" fmla="*/ 815230 h 2456994"/>
                    <a:gd name="connsiteX7" fmla="*/ 938463 w 3281340"/>
                    <a:gd name="connsiteY7" fmla="*/ 565848 h 2456994"/>
                    <a:gd name="connsiteX8" fmla="*/ 460482 w 3281340"/>
                    <a:gd name="connsiteY8" fmla="*/ 1064612 h 2456994"/>
                    <a:gd name="connsiteX9" fmla="*/ 231882 w 3281340"/>
                    <a:gd name="connsiteY9" fmla="*/ 1480248 h 2456994"/>
                    <a:gd name="connsiteX10" fmla="*/ 356572 w 3281340"/>
                    <a:gd name="connsiteY10" fmla="*/ 1688067 h 2456994"/>
                    <a:gd name="connsiteX11" fmla="*/ 522827 w 3281340"/>
                    <a:gd name="connsiteY11" fmla="*/ 1688067 h 2456994"/>
                    <a:gd name="connsiteX12" fmla="*/ 564391 w 3281340"/>
                    <a:gd name="connsiteY12" fmla="*/ 1916667 h 2456994"/>
                    <a:gd name="connsiteX13" fmla="*/ 751427 w 3281340"/>
                    <a:gd name="connsiteY13" fmla="*/ 1999794 h 2456994"/>
                    <a:gd name="connsiteX14" fmla="*/ 792991 w 3281340"/>
                    <a:gd name="connsiteY14" fmla="*/ 2228394 h 2456994"/>
                    <a:gd name="connsiteX15" fmla="*/ 1063154 w 3281340"/>
                    <a:gd name="connsiteY15" fmla="*/ 2249176 h 2456994"/>
                    <a:gd name="connsiteX16" fmla="*/ 1229409 w 3281340"/>
                    <a:gd name="connsiteY16" fmla="*/ 2456994 h 2456994"/>
                    <a:gd name="connsiteX17" fmla="*/ 1665827 w 3281340"/>
                    <a:gd name="connsiteY17" fmla="*/ 2186830 h 2456994"/>
                    <a:gd name="connsiteX18" fmla="*/ 2482880 w 3281340"/>
                    <a:gd name="connsiteY18" fmla="*/ 1634836 h 2456994"/>
                    <a:gd name="connsiteX19" fmla="*/ 2725700 w 3281340"/>
                    <a:gd name="connsiteY19" fmla="*/ 1210085 h 2456994"/>
                    <a:gd name="connsiteX20" fmla="*/ 3202953 w 3281340"/>
                    <a:gd name="connsiteY20" fmla="*/ 1117113 h 2456994"/>
                    <a:gd name="connsiteX21" fmla="*/ 3281340 w 3281340"/>
                    <a:gd name="connsiteY21" fmla="*/ 844033 h 2456994"/>
                    <a:gd name="connsiteX22" fmla="*/ 2850391 w 3281340"/>
                    <a:gd name="connsiteY22" fmla="*/ 25521 h 2456994"/>
                    <a:gd name="connsiteX0" fmla="*/ 2850391 w 3281340"/>
                    <a:gd name="connsiteY0" fmla="*/ 25521 h 2456994"/>
                    <a:gd name="connsiteX1" fmla="*/ 2123027 w 3281340"/>
                    <a:gd name="connsiteY1" fmla="*/ 217297 h 2456994"/>
                    <a:gd name="connsiteX2" fmla="*/ 1208627 w 3281340"/>
                    <a:gd name="connsiteY2" fmla="*/ 0 h 2456994"/>
                    <a:gd name="connsiteX3" fmla="*/ 543609 w 3281340"/>
                    <a:gd name="connsiteY3" fmla="*/ 254121 h 2456994"/>
                    <a:gd name="connsiteX4" fmla="*/ 211100 w 3281340"/>
                    <a:gd name="connsiteY4" fmla="*/ 545067 h 2456994"/>
                    <a:gd name="connsiteX5" fmla="*/ 0 w 3281340"/>
                    <a:gd name="connsiteY5" fmla="*/ 674861 h 2456994"/>
                    <a:gd name="connsiteX6" fmla="*/ 231882 w 3281340"/>
                    <a:gd name="connsiteY6" fmla="*/ 815230 h 2456994"/>
                    <a:gd name="connsiteX7" fmla="*/ 938463 w 3281340"/>
                    <a:gd name="connsiteY7" fmla="*/ 565848 h 2456994"/>
                    <a:gd name="connsiteX8" fmla="*/ 460482 w 3281340"/>
                    <a:gd name="connsiteY8" fmla="*/ 1064612 h 2456994"/>
                    <a:gd name="connsiteX9" fmla="*/ 231882 w 3281340"/>
                    <a:gd name="connsiteY9" fmla="*/ 1480248 h 2456994"/>
                    <a:gd name="connsiteX10" fmla="*/ 356572 w 3281340"/>
                    <a:gd name="connsiteY10" fmla="*/ 1688067 h 2456994"/>
                    <a:gd name="connsiteX11" fmla="*/ 522827 w 3281340"/>
                    <a:gd name="connsiteY11" fmla="*/ 1688067 h 2456994"/>
                    <a:gd name="connsiteX12" fmla="*/ 564391 w 3281340"/>
                    <a:gd name="connsiteY12" fmla="*/ 1916667 h 2456994"/>
                    <a:gd name="connsiteX13" fmla="*/ 751427 w 3281340"/>
                    <a:gd name="connsiteY13" fmla="*/ 1999794 h 2456994"/>
                    <a:gd name="connsiteX14" fmla="*/ 792991 w 3281340"/>
                    <a:gd name="connsiteY14" fmla="*/ 2228394 h 2456994"/>
                    <a:gd name="connsiteX15" fmla="*/ 1063154 w 3281340"/>
                    <a:gd name="connsiteY15" fmla="*/ 2249176 h 2456994"/>
                    <a:gd name="connsiteX16" fmla="*/ 1229409 w 3281340"/>
                    <a:gd name="connsiteY16" fmla="*/ 2456994 h 2456994"/>
                    <a:gd name="connsiteX17" fmla="*/ 1665827 w 3281340"/>
                    <a:gd name="connsiteY17" fmla="*/ 2186830 h 2456994"/>
                    <a:gd name="connsiteX18" fmla="*/ 2482880 w 3281340"/>
                    <a:gd name="connsiteY18" fmla="*/ 1634836 h 2456994"/>
                    <a:gd name="connsiteX19" fmla="*/ 2725700 w 3281340"/>
                    <a:gd name="connsiteY19" fmla="*/ 1210085 h 2456994"/>
                    <a:gd name="connsiteX20" fmla="*/ 3202953 w 3281340"/>
                    <a:gd name="connsiteY20" fmla="*/ 1117113 h 2456994"/>
                    <a:gd name="connsiteX21" fmla="*/ 3281340 w 3281340"/>
                    <a:gd name="connsiteY21" fmla="*/ 844033 h 2456994"/>
                    <a:gd name="connsiteX22" fmla="*/ 2850391 w 3281340"/>
                    <a:gd name="connsiteY22" fmla="*/ 25521 h 2456994"/>
                    <a:gd name="connsiteX0" fmla="*/ 2850391 w 3281340"/>
                    <a:gd name="connsiteY0" fmla="*/ 25521 h 2456994"/>
                    <a:gd name="connsiteX1" fmla="*/ 2123027 w 3281340"/>
                    <a:gd name="connsiteY1" fmla="*/ 217297 h 2456994"/>
                    <a:gd name="connsiteX2" fmla="*/ 1208627 w 3281340"/>
                    <a:gd name="connsiteY2" fmla="*/ 0 h 2456994"/>
                    <a:gd name="connsiteX3" fmla="*/ 543609 w 3281340"/>
                    <a:gd name="connsiteY3" fmla="*/ 254121 h 2456994"/>
                    <a:gd name="connsiteX4" fmla="*/ 211100 w 3281340"/>
                    <a:gd name="connsiteY4" fmla="*/ 545067 h 2456994"/>
                    <a:gd name="connsiteX5" fmla="*/ 0 w 3281340"/>
                    <a:gd name="connsiteY5" fmla="*/ 674861 h 2456994"/>
                    <a:gd name="connsiteX6" fmla="*/ 231882 w 3281340"/>
                    <a:gd name="connsiteY6" fmla="*/ 815230 h 2456994"/>
                    <a:gd name="connsiteX7" fmla="*/ 938463 w 3281340"/>
                    <a:gd name="connsiteY7" fmla="*/ 565848 h 2456994"/>
                    <a:gd name="connsiteX8" fmla="*/ 460482 w 3281340"/>
                    <a:gd name="connsiteY8" fmla="*/ 1064612 h 2456994"/>
                    <a:gd name="connsiteX9" fmla="*/ 231882 w 3281340"/>
                    <a:gd name="connsiteY9" fmla="*/ 1480248 h 2456994"/>
                    <a:gd name="connsiteX10" fmla="*/ 356572 w 3281340"/>
                    <a:gd name="connsiteY10" fmla="*/ 1688067 h 2456994"/>
                    <a:gd name="connsiteX11" fmla="*/ 522827 w 3281340"/>
                    <a:gd name="connsiteY11" fmla="*/ 1688067 h 2456994"/>
                    <a:gd name="connsiteX12" fmla="*/ 564391 w 3281340"/>
                    <a:gd name="connsiteY12" fmla="*/ 1916667 h 2456994"/>
                    <a:gd name="connsiteX13" fmla="*/ 751427 w 3281340"/>
                    <a:gd name="connsiteY13" fmla="*/ 1999794 h 2456994"/>
                    <a:gd name="connsiteX14" fmla="*/ 792991 w 3281340"/>
                    <a:gd name="connsiteY14" fmla="*/ 2228394 h 2456994"/>
                    <a:gd name="connsiteX15" fmla="*/ 1063154 w 3281340"/>
                    <a:gd name="connsiteY15" fmla="*/ 2249176 h 2456994"/>
                    <a:gd name="connsiteX16" fmla="*/ 1229409 w 3281340"/>
                    <a:gd name="connsiteY16" fmla="*/ 2456994 h 2456994"/>
                    <a:gd name="connsiteX17" fmla="*/ 1665827 w 3281340"/>
                    <a:gd name="connsiteY17" fmla="*/ 2186830 h 2456994"/>
                    <a:gd name="connsiteX18" fmla="*/ 2318448 w 3281340"/>
                    <a:gd name="connsiteY18" fmla="*/ 1707026 h 2456994"/>
                    <a:gd name="connsiteX19" fmla="*/ 2725700 w 3281340"/>
                    <a:gd name="connsiteY19" fmla="*/ 1210085 h 2456994"/>
                    <a:gd name="connsiteX20" fmla="*/ 3202953 w 3281340"/>
                    <a:gd name="connsiteY20" fmla="*/ 1117113 h 2456994"/>
                    <a:gd name="connsiteX21" fmla="*/ 3281340 w 3281340"/>
                    <a:gd name="connsiteY21" fmla="*/ 844033 h 2456994"/>
                    <a:gd name="connsiteX22" fmla="*/ 2850391 w 3281340"/>
                    <a:gd name="connsiteY22" fmla="*/ 25521 h 2456994"/>
                    <a:gd name="connsiteX0" fmla="*/ 2850391 w 3281340"/>
                    <a:gd name="connsiteY0" fmla="*/ 25521 h 2456994"/>
                    <a:gd name="connsiteX1" fmla="*/ 2123027 w 3281340"/>
                    <a:gd name="connsiteY1" fmla="*/ 217297 h 2456994"/>
                    <a:gd name="connsiteX2" fmla="*/ 1208627 w 3281340"/>
                    <a:gd name="connsiteY2" fmla="*/ 0 h 2456994"/>
                    <a:gd name="connsiteX3" fmla="*/ 543609 w 3281340"/>
                    <a:gd name="connsiteY3" fmla="*/ 254121 h 2456994"/>
                    <a:gd name="connsiteX4" fmla="*/ 211100 w 3281340"/>
                    <a:gd name="connsiteY4" fmla="*/ 545067 h 2456994"/>
                    <a:gd name="connsiteX5" fmla="*/ 0 w 3281340"/>
                    <a:gd name="connsiteY5" fmla="*/ 674861 h 2456994"/>
                    <a:gd name="connsiteX6" fmla="*/ 231882 w 3281340"/>
                    <a:gd name="connsiteY6" fmla="*/ 815230 h 2456994"/>
                    <a:gd name="connsiteX7" fmla="*/ 938463 w 3281340"/>
                    <a:gd name="connsiteY7" fmla="*/ 565848 h 2456994"/>
                    <a:gd name="connsiteX8" fmla="*/ 460482 w 3281340"/>
                    <a:gd name="connsiteY8" fmla="*/ 1064612 h 2456994"/>
                    <a:gd name="connsiteX9" fmla="*/ 231882 w 3281340"/>
                    <a:gd name="connsiteY9" fmla="*/ 1480248 h 2456994"/>
                    <a:gd name="connsiteX10" fmla="*/ 356572 w 3281340"/>
                    <a:gd name="connsiteY10" fmla="*/ 1688067 h 2456994"/>
                    <a:gd name="connsiteX11" fmla="*/ 522827 w 3281340"/>
                    <a:gd name="connsiteY11" fmla="*/ 1688067 h 2456994"/>
                    <a:gd name="connsiteX12" fmla="*/ 564391 w 3281340"/>
                    <a:gd name="connsiteY12" fmla="*/ 1916667 h 2456994"/>
                    <a:gd name="connsiteX13" fmla="*/ 751427 w 3281340"/>
                    <a:gd name="connsiteY13" fmla="*/ 1999794 h 2456994"/>
                    <a:gd name="connsiteX14" fmla="*/ 792991 w 3281340"/>
                    <a:gd name="connsiteY14" fmla="*/ 2228394 h 2456994"/>
                    <a:gd name="connsiteX15" fmla="*/ 1063154 w 3281340"/>
                    <a:gd name="connsiteY15" fmla="*/ 2249176 h 2456994"/>
                    <a:gd name="connsiteX16" fmla="*/ 1229409 w 3281340"/>
                    <a:gd name="connsiteY16" fmla="*/ 2456994 h 2456994"/>
                    <a:gd name="connsiteX17" fmla="*/ 1665827 w 3281340"/>
                    <a:gd name="connsiteY17" fmla="*/ 2186830 h 2456994"/>
                    <a:gd name="connsiteX18" fmla="*/ 2085838 w 3281340"/>
                    <a:gd name="connsiteY18" fmla="*/ 1843384 h 2456994"/>
                    <a:gd name="connsiteX19" fmla="*/ 2725700 w 3281340"/>
                    <a:gd name="connsiteY19" fmla="*/ 1210085 h 2456994"/>
                    <a:gd name="connsiteX20" fmla="*/ 3202953 w 3281340"/>
                    <a:gd name="connsiteY20" fmla="*/ 1117113 h 2456994"/>
                    <a:gd name="connsiteX21" fmla="*/ 3281340 w 3281340"/>
                    <a:gd name="connsiteY21" fmla="*/ 844033 h 2456994"/>
                    <a:gd name="connsiteX22" fmla="*/ 2850391 w 3281340"/>
                    <a:gd name="connsiteY22" fmla="*/ 25521 h 2456994"/>
                    <a:gd name="connsiteX0" fmla="*/ 2850391 w 3281340"/>
                    <a:gd name="connsiteY0" fmla="*/ 25521 h 2456994"/>
                    <a:gd name="connsiteX1" fmla="*/ 2123027 w 3281340"/>
                    <a:gd name="connsiteY1" fmla="*/ 217297 h 2456994"/>
                    <a:gd name="connsiteX2" fmla="*/ 1208627 w 3281340"/>
                    <a:gd name="connsiteY2" fmla="*/ 0 h 2456994"/>
                    <a:gd name="connsiteX3" fmla="*/ 543609 w 3281340"/>
                    <a:gd name="connsiteY3" fmla="*/ 254121 h 2456994"/>
                    <a:gd name="connsiteX4" fmla="*/ 211100 w 3281340"/>
                    <a:gd name="connsiteY4" fmla="*/ 545067 h 2456994"/>
                    <a:gd name="connsiteX5" fmla="*/ 0 w 3281340"/>
                    <a:gd name="connsiteY5" fmla="*/ 674861 h 2456994"/>
                    <a:gd name="connsiteX6" fmla="*/ 231882 w 3281340"/>
                    <a:gd name="connsiteY6" fmla="*/ 815230 h 2456994"/>
                    <a:gd name="connsiteX7" fmla="*/ 938463 w 3281340"/>
                    <a:gd name="connsiteY7" fmla="*/ 565848 h 2456994"/>
                    <a:gd name="connsiteX8" fmla="*/ 460482 w 3281340"/>
                    <a:gd name="connsiteY8" fmla="*/ 1064612 h 2456994"/>
                    <a:gd name="connsiteX9" fmla="*/ 231882 w 3281340"/>
                    <a:gd name="connsiteY9" fmla="*/ 1480248 h 2456994"/>
                    <a:gd name="connsiteX10" fmla="*/ 356572 w 3281340"/>
                    <a:gd name="connsiteY10" fmla="*/ 1688067 h 2456994"/>
                    <a:gd name="connsiteX11" fmla="*/ 522827 w 3281340"/>
                    <a:gd name="connsiteY11" fmla="*/ 1688067 h 2456994"/>
                    <a:gd name="connsiteX12" fmla="*/ 564391 w 3281340"/>
                    <a:gd name="connsiteY12" fmla="*/ 1916667 h 2456994"/>
                    <a:gd name="connsiteX13" fmla="*/ 751427 w 3281340"/>
                    <a:gd name="connsiteY13" fmla="*/ 1999794 h 2456994"/>
                    <a:gd name="connsiteX14" fmla="*/ 792991 w 3281340"/>
                    <a:gd name="connsiteY14" fmla="*/ 2228394 h 2456994"/>
                    <a:gd name="connsiteX15" fmla="*/ 1063154 w 3281340"/>
                    <a:gd name="connsiteY15" fmla="*/ 2249176 h 2456994"/>
                    <a:gd name="connsiteX16" fmla="*/ 1229409 w 3281340"/>
                    <a:gd name="connsiteY16" fmla="*/ 2456994 h 2456994"/>
                    <a:gd name="connsiteX17" fmla="*/ 1665827 w 3281340"/>
                    <a:gd name="connsiteY17" fmla="*/ 2186830 h 2456994"/>
                    <a:gd name="connsiteX18" fmla="*/ 2109902 w 3281340"/>
                    <a:gd name="connsiteY18" fmla="*/ 1871457 h 2456994"/>
                    <a:gd name="connsiteX19" fmla="*/ 2725700 w 3281340"/>
                    <a:gd name="connsiteY19" fmla="*/ 1210085 h 2456994"/>
                    <a:gd name="connsiteX20" fmla="*/ 3202953 w 3281340"/>
                    <a:gd name="connsiteY20" fmla="*/ 1117113 h 2456994"/>
                    <a:gd name="connsiteX21" fmla="*/ 3281340 w 3281340"/>
                    <a:gd name="connsiteY21" fmla="*/ 844033 h 2456994"/>
                    <a:gd name="connsiteX22" fmla="*/ 2850391 w 3281340"/>
                    <a:gd name="connsiteY22" fmla="*/ 25521 h 2456994"/>
                    <a:gd name="connsiteX0" fmla="*/ 2850391 w 3281340"/>
                    <a:gd name="connsiteY0" fmla="*/ 25521 h 2456994"/>
                    <a:gd name="connsiteX1" fmla="*/ 2123027 w 3281340"/>
                    <a:gd name="connsiteY1" fmla="*/ 217297 h 2456994"/>
                    <a:gd name="connsiteX2" fmla="*/ 1208627 w 3281340"/>
                    <a:gd name="connsiteY2" fmla="*/ 0 h 2456994"/>
                    <a:gd name="connsiteX3" fmla="*/ 543609 w 3281340"/>
                    <a:gd name="connsiteY3" fmla="*/ 254121 h 2456994"/>
                    <a:gd name="connsiteX4" fmla="*/ 211100 w 3281340"/>
                    <a:gd name="connsiteY4" fmla="*/ 545067 h 2456994"/>
                    <a:gd name="connsiteX5" fmla="*/ 0 w 3281340"/>
                    <a:gd name="connsiteY5" fmla="*/ 674861 h 2456994"/>
                    <a:gd name="connsiteX6" fmla="*/ 231882 w 3281340"/>
                    <a:gd name="connsiteY6" fmla="*/ 815230 h 2456994"/>
                    <a:gd name="connsiteX7" fmla="*/ 938463 w 3281340"/>
                    <a:gd name="connsiteY7" fmla="*/ 565848 h 2456994"/>
                    <a:gd name="connsiteX8" fmla="*/ 460482 w 3281340"/>
                    <a:gd name="connsiteY8" fmla="*/ 1064612 h 2456994"/>
                    <a:gd name="connsiteX9" fmla="*/ 231882 w 3281340"/>
                    <a:gd name="connsiteY9" fmla="*/ 1480248 h 2456994"/>
                    <a:gd name="connsiteX10" fmla="*/ 356572 w 3281340"/>
                    <a:gd name="connsiteY10" fmla="*/ 1688067 h 2456994"/>
                    <a:gd name="connsiteX11" fmla="*/ 522827 w 3281340"/>
                    <a:gd name="connsiteY11" fmla="*/ 1688067 h 2456994"/>
                    <a:gd name="connsiteX12" fmla="*/ 564391 w 3281340"/>
                    <a:gd name="connsiteY12" fmla="*/ 1916667 h 2456994"/>
                    <a:gd name="connsiteX13" fmla="*/ 751427 w 3281340"/>
                    <a:gd name="connsiteY13" fmla="*/ 1999794 h 2456994"/>
                    <a:gd name="connsiteX14" fmla="*/ 792991 w 3281340"/>
                    <a:gd name="connsiteY14" fmla="*/ 2228394 h 2456994"/>
                    <a:gd name="connsiteX15" fmla="*/ 1063154 w 3281340"/>
                    <a:gd name="connsiteY15" fmla="*/ 2249176 h 2456994"/>
                    <a:gd name="connsiteX16" fmla="*/ 1229409 w 3281340"/>
                    <a:gd name="connsiteY16" fmla="*/ 2456994 h 2456994"/>
                    <a:gd name="connsiteX17" fmla="*/ 1665827 w 3281340"/>
                    <a:gd name="connsiteY17" fmla="*/ 2186830 h 2456994"/>
                    <a:gd name="connsiteX18" fmla="*/ 2109902 w 3281340"/>
                    <a:gd name="connsiteY18" fmla="*/ 1871457 h 2456994"/>
                    <a:gd name="connsiteX19" fmla="*/ 2725700 w 3281340"/>
                    <a:gd name="connsiteY19" fmla="*/ 1210085 h 2456994"/>
                    <a:gd name="connsiteX20" fmla="*/ 3202953 w 3281340"/>
                    <a:gd name="connsiteY20" fmla="*/ 1117113 h 2456994"/>
                    <a:gd name="connsiteX21" fmla="*/ 3281340 w 3281340"/>
                    <a:gd name="connsiteY21" fmla="*/ 844033 h 2456994"/>
                    <a:gd name="connsiteX22" fmla="*/ 2850391 w 3281340"/>
                    <a:gd name="connsiteY22" fmla="*/ 25521 h 2456994"/>
                    <a:gd name="connsiteX0" fmla="*/ 2850391 w 3281340"/>
                    <a:gd name="connsiteY0" fmla="*/ 25521 h 2456994"/>
                    <a:gd name="connsiteX1" fmla="*/ 2123027 w 3281340"/>
                    <a:gd name="connsiteY1" fmla="*/ 217297 h 2456994"/>
                    <a:gd name="connsiteX2" fmla="*/ 1208627 w 3281340"/>
                    <a:gd name="connsiteY2" fmla="*/ 0 h 2456994"/>
                    <a:gd name="connsiteX3" fmla="*/ 543609 w 3281340"/>
                    <a:gd name="connsiteY3" fmla="*/ 254121 h 2456994"/>
                    <a:gd name="connsiteX4" fmla="*/ 211100 w 3281340"/>
                    <a:gd name="connsiteY4" fmla="*/ 545067 h 2456994"/>
                    <a:gd name="connsiteX5" fmla="*/ 0 w 3281340"/>
                    <a:gd name="connsiteY5" fmla="*/ 674861 h 2456994"/>
                    <a:gd name="connsiteX6" fmla="*/ 231882 w 3281340"/>
                    <a:gd name="connsiteY6" fmla="*/ 815230 h 2456994"/>
                    <a:gd name="connsiteX7" fmla="*/ 938463 w 3281340"/>
                    <a:gd name="connsiteY7" fmla="*/ 565848 h 2456994"/>
                    <a:gd name="connsiteX8" fmla="*/ 460482 w 3281340"/>
                    <a:gd name="connsiteY8" fmla="*/ 1064612 h 2456994"/>
                    <a:gd name="connsiteX9" fmla="*/ 231882 w 3281340"/>
                    <a:gd name="connsiteY9" fmla="*/ 1480248 h 2456994"/>
                    <a:gd name="connsiteX10" fmla="*/ 356572 w 3281340"/>
                    <a:gd name="connsiteY10" fmla="*/ 1688067 h 2456994"/>
                    <a:gd name="connsiteX11" fmla="*/ 522827 w 3281340"/>
                    <a:gd name="connsiteY11" fmla="*/ 1688067 h 2456994"/>
                    <a:gd name="connsiteX12" fmla="*/ 564391 w 3281340"/>
                    <a:gd name="connsiteY12" fmla="*/ 1916667 h 2456994"/>
                    <a:gd name="connsiteX13" fmla="*/ 751427 w 3281340"/>
                    <a:gd name="connsiteY13" fmla="*/ 1999794 h 2456994"/>
                    <a:gd name="connsiteX14" fmla="*/ 792991 w 3281340"/>
                    <a:gd name="connsiteY14" fmla="*/ 2228394 h 2456994"/>
                    <a:gd name="connsiteX15" fmla="*/ 1063154 w 3281340"/>
                    <a:gd name="connsiteY15" fmla="*/ 2249176 h 2456994"/>
                    <a:gd name="connsiteX16" fmla="*/ 1229409 w 3281340"/>
                    <a:gd name="connsiteY16" fmla="*/ 2456994 h 2456994"/>
                    <a:gd name="connsiteX17" fmla="*/ 1665827 w 3281340"/>
                    <a:gd name="connsiteY17" fmla="*/ 2186830 h 2456994"/>
                    <a:gd name="connsiteX18" fmla="*/ 2109902 w 3281340"/>
                    <a:gd name="connsiteY18" fmla="*/ 1871457 h 2456994"/>
                    <a:gd name="connsiteX19" fmla="*/ 2725700 w 3281340"/>
                    <a:gd name="connsiteY19" fmla="*/ 1210085 h 2456994"/>
                    <a:gd name="connsiteX20" fmla="*/ 3202953 w 3281340"/>
                    <a:gd name="connsiteY20" fmla="*/ 1117113 h 2456994"/>
                    <a:gd name="connsiteX21" fmla="*/ 3281340 w 3281340"/>
                    <a:gd name="connsiteY21" fmla="*/ 844033 h 2456994"/>
                    <a:gd name="connsiteX22" fmla="*/ 2850391 w 3281340"/>
                    <a:gd name="connsiteY22" fmla="*/ 25521 h 2456994"/>
                    <a:gd name="connsiteX0" fmla="*/ 2850391 w 3281340"/>
                    <a:gd name="connsiteY0" fmla="*/ 25521 h 2456994"/>
                    <a:gd name="connsiteX1" fmla="*/ 2123027 w 3281340"/>
                    <a:gd name="connsiteY1" fmla="*/ 217297 h 2456994"/>
                    <a:gd name="connsiteX2" fmla="*/ 1208627 w 3281340"/>
                    <a:gd name="connsiteY2" fmla="*/ 0 h 2456994"/>
                    <a:gd name="connsiteX3" fmla="*/ 543609 w 3281340"/>
                    <a:gd name="connsiteY3" fmla="*/ 254121 h 2456994"/>
                    <a:gd name="connsiteX4" fmla="*/ 211100 w 3281340"/>
                    <a:gd name="connsiteY4" fmla="*/ 545067 h 2456994"/>
                    <a:gd name="connsiteX5" fmla="*/ 0 w 3281340"/>
                    <a:gd name="connsiteY5" fmla="*/ 674861 h 2456994"/>
                    <a:gd name="connsiteX6" fmla="*/ 231882 w 3281340"/>
                    <a:gd name="connsiteY6" fmla="*/ 815230 h 2456994"/>
                    <a:gd name="connsiteX7" fmla="*/ 938463 w 3281340"/>
                    <a:gd name="connsiteY7" fmla="*/ 565848 h 2456994"/>
                    <a:gd name="connsiteX8" fmla="*/ 460482 w 3281340"/>
                    <a:gd name="connsiteY8" fmla="*/ 1064612 h 2456994"/>
                    <a:gd name="connsiteX9" fmla="*/ 231882 w 3281340"/>
                    <a:gd name="connsiteY9" fmla="*/ 1480248 h 2456994"/>
                    <a:gd name="connsiteX10" fmla="*/ 356572 w 3281340"/>
                    <a:gd name="connsiteY10" fmla="*/ 1688067 h 2456994"/>
                    <a:gd name="connsiteX11" fmla="*/ 522827 w 3281340"/>
                    <a:gd name="connsiteY11" fmla="*/ 1688067 h 2456994"/>
                    <a:gd name="connsiteX12" fmla="*/ 564391 w 3281340"/>
                    <a:gd name="connsiteY12" fmla="*/ 1916667 h 2456994"/>
                    <a:gd name="connsiteX13" fmla="*/ 751427 w 3281340"/>
                    <a:gd name="connsiteY13" fmla="*/ 1999794 h 2456994"/>
                    <a:gd name="connsiteX14" fmla="*/ 792991 w 3281340"/>
                    <a:gd name="connsiteY14" fmla="*/ 2228394 h 2456994"/>
                    <a:gd name="connsiteX15" fmla="*/ 1063154 w 3281340"/>
                    <a:gd name="connsiteY15" fmla="*/ 2249176 h 2456994"/>
                    <a:gd name="connsiteX16" fmla="*/ 1229409 w 3281340"/>
                    <a:gd name="connsiteY16" fmla="*/ 2456994 h 2456994"/>
                    <a:gd name="connsiteX17" fmla="*/ 1665827 w 3281340"/>
                    <a:gd name="connsiteY17" fmla="*/ 2186830 h 2456994"/>
                    <a:gd name="connsiteX18" fmla="*/ 2109902 w 3281340"/>
                    <a:gd name="connsiteY18" fmla="*/ 1871457 h 2456994"/>
                    <a:gd name="connsiteX19" fmla="*/ 2725700 w 3281340"/>
                    <a:gd name="connsiteY19" fmla="*/ 1210085 h 2456994"/>
                    <a:gd name="connsiteX20" fmla="*/ 3202953 w 3281340"/>
                    <a:gd name="connsiteY20" fmla="*/ 1117113 h 2456994"/>
                    <a:gd name="connsiteX21" fmla="*/ 3281340 w 3281340"/>
                    <a:gd name="connsiteY21" fmla="*/ 844033 h 2456994"/>
                    <a:gd name="connsiteX22" fmla="*/ 2850391 w 3281340"/>
                    <a:gd name="connsiteY22" fmla="*/ 25521 h 2456994"/>
                    <a:gd name="connsiteX0" fmla="*/ 2850391 w 3281340"/>
                    <a:gd name="connsiteY0" fmla="*/ 25521 h 2420900"/>
                    <a:gd name="connsiteX1" fmla="*/ 2123027 w 3281340"/>
                    <a:gd name="connsiteY1" fmla="*/ 217297 h 2420900"/>
                    <a:gd name="connsiteX2" fmla="*/ 1208627 w 3281340"/>
                    <a:gd name="connsiteY2" fmla="*/ 0 h 2420900"/>
                    <a:gd name="connsiteX3" fmla="*/ 543609 w 3281340"/>
                    <a:gd name="connsiteY3" fmla="*/ 254121 h 2420900"/>
                    <a:gd name="connsiteX4" fmla="*/ 211100 w 3281340"/>
                    <a:gd name="connsiteY4" fmla="*/ 545067 h 2420900"/>
                    <a:gd name="connsiteX5" fmla="*/ 0 w 3281340"/>
                    <a:gd name="connsiteY5" fmla="*/ 674861 h 2420900"/>
                    <a:gd name="connsiteX6" fmla="*/ 231882 w 3281340"/>
                    <a:gd name="connsiteY6" fmla="*/ 815230 h 2420900"/>
                    <a:gd name="connsiteX7" fmla="*/ 938463 w 3281340"/>
                    <a:gd name="connsiteY7" fmla="*/ 565848 h 2420900"/>
                    <a:gd name="connsiteX8" fmla="*/ 460482 w 3281340"/>
                    <a:gd name="connsiteY8" fmla="*/ 1064612 h 2420900"/>
                    <a:gd name="connsiteX9" fmla="*/ 231882 w 3281340"/>
                    <a:gd name="connsiteY9" fmla="*/ 1480248 h 2420900"/>
                    <a:gd name="connsiteX10" fmla="*/ 356572 w 3281340"/>
                    <a:gd name="connsiteY10" fmla="*/ 1688067 h 2420900"/>
                    <a:gd name="connsiteX11" fmla="*/ 522827 w 3281340"/>
                    <a:gd name="connsiteY11" fmla="*/ 1688067 h 2420900"/>
                    <a:gd name="connsiteX12" fmla="*/ 564391 w 3281340"/>
                    <a:gd name="connsiteY12" fmla="*/ 1916667 h 2420900"/>
                    <a:gd name="connsiteX13" fmla="*/ 751427 w 3281340"/>
                    <a:gd name="connsiteY13" fmla="*/ 1999794 h 2420900"/>
                    <a:gd name="connsiteX14" fmla="*/ 792991 w 3281340"/>
                    <a:gd name="connsiteY14" fmla="*/ 2228394 h 2420900"/>
                    <a:gd name="connsiteX15" fmla="*/ 1063154 w 3281340"/>
                    <a:gd name="connsiteY15" fmla="*/ 2249176 h 2420900"/>
                    <a:gd name="connsiteX16" fmla="*/ 1221388 w 3281340"/>
                    <a:gd name="connsiteY16" fmla="*/ 2420900 h 2420900"/>
                    <a:gd name="connsiteX17" fmla="*/ 1665827 w 3281340"/>
                    <a:gd name="connsiteY17" fmla="*/ 2186830 h 2420900"/>
                    <a:gd name="connsiteX18" fmla="*/ 2109902 w 3281340"/>
                    <a:gd name="connsiteY18" fmla="*/ 1871457 h 2420900"/>
                    <a:gd name="connsiteX19" fmla="*/ 2725700 w 3281340"/>
                    <a:gd name="connsiteY19" fmla="*/ 1210085 h 2420900"/>
                    <a:gd name="connsiteX20" fmla="*/ 3202953 w 3281340"/>
                    <a:gd name="connsiteY20" fmla="*/ 1117113 h 2420900"/>
                    <a:gd name="connsiteX21" fmla="*/ 3281340 w 3281340"/>
                    <a:gd name="connsiteY21" fmla="*/ 844033 h 2420900"/>
                    <a:gd name="connsiteX22" fmla="*/ 2850391 w 3281340"/>
                    <a:gd name="connsiteY22" fmla="*/ 25521 h 2420900"/>
                    <a:gd name="connsiteX0" fmla="*/ 2850391 w 3281340"/>
                    <a:gd name="connsiteY0" fmla="*/ 25521 h 2420900"/>
                    <a:gd name="connsiteX1" fmla="*/ 2123027 w 3281340"/>
                    <a:gd name="connsiteY1" fmla="*/ 217297 h 2420900"/>
                    <a:gd name="connsiteX2" fmla="*/ 1208627 w 3281340"/>
                    <a:gd name="connsiteY2" fmla="*/ 0 h 2420900"/>
                    <a:gd name="connsiteX3" fmla="*/ 543609 w 3281340"/>
                    <a:gd name="connsiteY3" fmla="*/ 254121 h 2420900"/>
                    <a:gd name="connsiteX4" fmla="*/ 211100 w 3281340"/>
                    <a:gd name="connsiteY4" fmla="*/ 545067 h 2420900"/>
                    <a:gd name="connsiteX5" fmla="*/ 0 w 3281340"/>
                    <a:gd name="connsiteY5" fmla="*/ 674861 h 2420900"/>
                    <a:gd name="connsiteX6" fmla="*/ 231882 w 3281340"/>
                    <a:gd name="connsiteY6" fmla="*/ 815230 h 2420900"/>
                    <a:gd name="connsiteX7" fmla="*/ 938463 w 3281340"/>
                    <a:gd name="connsiteY7" fmla="*/ 565848 h 2420900"/>
                    <a:gd name="connsiteX8" fmla="*/ 460482 w 3281340"/>
                    <a:gd name="connsiteY8" fmla="*/ 1064612 h 2420900"/>
                    <a:gd name="connsiteX9" fmla="*/ 231882 w 3281340"/>
                    <a:gd name="connsiteY9" fmla="*/ 1480248 h 2420900"/>
                    <a:gd name="connsiteX10" fmla="*/ 356572 w 3281340"/>
                    <a:gd name="connsiteY10" fmla="*/ 1688067 h 2420900"/>
                    <a:gd name="connsiteX11" fmla="*/ 522827 w 3281340"/>
                    <a:gd name="connsiteY11" fmla="*/ 1688067 h 2420900"/>
                    <a:gd name="connsiteX12" fmla="*/ 564391 w 3281340"/>
                    <a:gd name="connsiteY12" fmla="*/ 1916667 h 2420900"/>
                    <a:gd name="connsiteX13" fmla="*/ 751427 w 3281340"/>
                    <a:gd name="connsiteY13" fmla="*/ 1999794 h 2420900"/>
                    <a:gd name="connsiteX14" fmla="*/ 792991 w 3281340"/>
                    <a:gd name="connsiteY14" fmla="*/ 2228394 h 2420900"/>
                    <a:gd name="connsiteX15" fmla="*/ 1063154 w 3281340"/>
                    <a:gd name="connsiteY15" fmla="*/ 2249176 h 2420900"/>
                    <a:gd name="connsiteX16" fmla="*/ 1221388 w 3281340"/>
                    <a:gd name="connsiteY16" fmla="*/ 2420900 h 2420900"/>
                    <a:gd name="connsiteX17" fmla="*/ 1665827 w 3281340"/>
                    <a:gd name="connsiteY17" fmla="*/ 2186830 h 2420900"/>
                    <a:gd name="connsiteX18" fmla="*/ 2109902 w 3281340"/>
                    <a:gd name="connsiteY18" fmla="*/ 1871457 h 2420900"/>
                    <a:gd name="connsiteX19" fmla="*/ 2725700 w 3281340"/>
                    <a:gd name="connsiteY19" fmla="*/ 1210085 h 2420900"/>
                    <a:gd name="connsiteX20" fmla="*/ 3202953 w 3281340"/>
                    <a:gd name="connsiteY20" fmla="*/ 1117113 h 2420900"/>
                    <a:gd name="connsiteX21" fmla="*/ 3281340 w 3281340"/>
                    <a:gd name="connsiteY21" fmla="*/ 844033 h 2420900"/>
                    <a:gd name="connsiteX22" fmla="*/ 2850391 w 3281340"/>
                    <a:gd name="connsiteY22" fmla="*/ 25521 h 2420900"/>
                    <a:gd name="connsiteX0" fmla="*/ 2850391 w 3281340"/>
                    <a:gd name="connsiteY0" fmla="*/ 25521 h 2420900"/>
                    <a:gd name="connsiteX1" fmla="*/ 2123027 w 3281340"/>
                    <a:gd name="connsiteY1" fmla="*/ 217297 h 2420900"/>
                    <a:gd name="connsiteX2" fmla="*/ 1208627 w 3281340"/>
                    <a:gd name="connsiteY2" fmla="*/ 0 h 2420900"/>
                    <a:gd name="connsiteX3" fmla="*/ 543609 w 3281340"/>
                    <a:gd name="connsiteY3" fmla="*/ 254121 h 2420900"/>
                    <a:gd name="connsiteX4" fmla="*/ 211100 w 3281340"/>
                    <a:gd name="connsiteY4" fmla="*/ 545067 h 2420900"/>
                    <a:gd name="connsiteX5" fmla="*/ 0 w 3281340"/>
                    <a:gd name="connsiteY5" fmla="*/ 674861 h 2420900"/>
                    <a:gd name="connsiteX6" fmla="*/ 231882 w 3281340"/>
                    <a:gd name="connsiteY6" fmla="*/ 815230 h 2420900"/>
                    <a:gd name="connsiteX7" fmla="*/ 938463 w 3281340"/>
                    <a:gd name="connsiteY7" fmla="*/ 565848 h 2420900"/>
                    <a:gd name="connsiteX8" fmla="*/ 460482 w 3281340"/>
                    <a:gd name="connsiteY8" fmla="*/ 1064612 h 2420900"/>
                    <a:gd name="connsiteX9" fmla="*/ 231882 w 3281340"/>
                    <a:gd name="connsiteY9" fmla="*/ 1480248 h 2420900"/>
                    <a:gd name="connsiteX10" fmla="*/ 356572 w 3281340"/>
                    <a:gd name="connsiteY10" fmla="*/ 1688067 h 2420900"/>
                    <a:gd name="connsiteX11" fmla="*/ 522827 w 3281340"/>
                    <a:gd name="connsiteY11" fmla="*/ 1688067 h 2420900"/>
                    <a:gd name="connsiteX12" fmla="*/ 564391 w 3281340"/>
                    <a:gd name="connsiteY12" fmla="*/ 1916667 h 2420900"/>
                    <a:gd name="connsiteX13" fmla="*/ 751427 w 3281340"/>
                    <a:gd name="connsiteY13" fmla="*/ 1999794 h 2420900"/>
                    <a:gd name="connsiteX14" fmla="*/ 792991 w 3281340"/>
                    <a:gd name="connsiteY14" fmla="*/ 2228394 h 2420900"/>
                    <a:gd name="connsiteX15" fmla="*/ 1063154 w 3281340"/>
                    <a:gd name="connsiteY15" fmla="*/ 2249176 h 2420900"/>
                    <a:gd name="connsiteX16" fmla="*/ 1221388 w 3281340"/>
                    <a:gd name="connsiteY16" fmla="*/ 2420900 h 2420900"/>
                    <a:gd name="connsiteX17" fmla="*/ 1665827 w 3281340"/>
                    <a:gd name="connsiteY17" fmla="*/ 2186830 h 2420900"/>
                    <a:gd name="connsiteX18" fmla="*/ 2109902 w 3281340"/>
                    <a:gd name="connsiteY18" fmla="*/ 1871457 h 2420900"/>
                    <a:gd name="connsiteX19" fmla="*/ 2725700 w 3281340"/>
                    <a:gd name="connsiteY19" fmla="*/ 1210085 h 2420900"/>
                    <a:gd name="connsiteX20" fmla="*/ 3202953 w 3281340"/>
                    <a:gd name="connsiteY20" fmla="*/ 1117113 h 2420900"/>
                    <a:gd name="connsiteX21" fmla="*/ 3281340 w 3281340"/>
                    <a:gd name="connsiteY21" fmla="*/ 844033 h 2420900"/>
                    <a:gd name="connsiteX22" fmla="*/ 2850391 w 3281340"/>
                    <a:gd name="connsiteY22" fmla="*/ 25521 h 2420900"/>
                    <a:gd name="connsiteX0" fmla="*/ 2850391 w 3281340"/>
                    <a:gd name="connsiteY0" fmla="*/ 25521 h 2420900"/>
                    <a:gd name="connsiteX1" fmla="*/ 2123027 w 3281340"/>
                    <a:gd name="connsiteY1" fmla="*/ 217297 h 2420900"/>
                    <a:gd name="connsiteX2" fmla="*/ 1208627 w 3281340"/>
                    <a:gd name="connsiteY2" fmla="*/ 0 h 2420900"/>
                    <a:gd name="connsiteX3" fmla="*/ 543609 w 3281340"/>
                    <a:gd name="connsiteY3" fmla="*/ 254121 h 2420900"/>
                    <a:gd name="connsiteX4" fmla="*/ 211100 w 3281340"/>
                    <a:gd name="connsiteY4" fmla="*/ 545067 h 2420900"/>
                    <a:gd name="connsiteX5" fmla="*/ 0 w 3281340"/>
                    <a:gd name="connsiteY5" fmla="*/ 674861 h 2420900"/>
                    <a:gd name="connsiteX6" fmla="*/ 231882 w 3281340"/>
                    <a:gd name="connsiteY6" fmla="*/ 815230 h 2420900"/>
                    <a:gd name="connsiteX7" fmla="*/ 938463 w 3281340"/>
                    <a:gd name="connsiteY7" fmla="*/ 565848 h 2420900"/>
                    <a:gd name="connsiteX8" fmla="*/ 460482 w 3281340"/>
                    <a:gd name="connsiteY8" fmla="*/ 1064612 h 2420900"/>
                    <a:gd name="connsiteX9" fmla="*/ 231882 w 3281340"/>
                    <a:gd name="connsiteY9" fmla="*/ 1480248 h 2420900"/>
                    <a:gd name="connsiteX10" fmla="*/ 356572 w 3281340"/>
                    <a:gd name="connsiteY10" fmla="*/ 1688067 h 2420900"/>
                    <a:gd name="connsiteX11" fmla="*/ 522827 w 3281340"/>
                    <a:gd name="connsiteY11" fmla="*/ 1688067 h 2420900"/>
                    <a:gd name="connsiteX12" fmla="*/ 564391 w 3281340"/>
                    <a:gd name="connsiteY12" fmla="*/ 1916667 h 2420900"/>
                    <a:gd name="connsiteX13" fmla="*/ 751427 w 3281340"/>
                    <a:gd name="connsiteY13" fmla="*/ 1999794 h 2420900"/>
                    <a:gd name="connsiteX14" fmla="*/ 792991 w 3281340"/>
                    <a:gd name="connsiteY14" fmla="*/ 2228394 h 2420900"/>
                    <a:gd name="connsiteX15" fmla="*/ 1063154 w 3281340"/>
                    <a:gd name="connsiteY15" fmla="*/ 2249176 h 2420900"/>
                    <a:gd name="connsiteX16" fmla="*/ 1221388 w 3281340"/>
                    <a:gd name="connsiteY16" fmla="*/ 2420900 h 2420900"/>
                    <a:gd name="connsiteX17" fmla="*/ 1665827 w 3281340"/>
                    <a:gd name="connsiteY17" fmla="*/ 2186830 h 2420900"/>
                    <a:gd name="connsiteX18" fmla="*/ 2109902 w 3281340"/>
                    <a:gd name="connsiteY18" fmla="*/ 1871457 h 2420900"/>
                    <a:gd name="connsiteX19" fmla="*/ 2725700 w 3281340"/>
                    <a:gd name="connsiteY19" fmla="*/ 1210085 h 2420900"/>
                    <a:gd name="connsiteX20" fmla="*/ 3202953 w 3281340"/>
                    <a:gd name="connsiteY20" fmla="*/ 1117113 h 2420900"/>
                    <a:gd name="connsiteX21" fmla="*/ 3281340 w 3281340"/>
                    <a:gd name="connsiteY21" fmla="*/ 844033 h 2420900"/>
                    <a:gd name="connsiteX22" fmla="*/ 2850391 w 3281340"/>
                    <a:gd name="connsiteY22" fmla="*/ 25521 h 2420900"/>
                    <a:gd name="connsiteX0" fmla="*/ 2850391 w 3281340"/>
                    <a:gd name="connsiteY0" fmla="*/ 25521 h 2420900"/>
                    <a:gd name="connsiteX1" fmla="*/ 2123027 w 3281340"/>
                    <a:gd name="connsiteY1" fmla="*/ 217297 h 2420900"/>
                    <a:gd name="connsiteX2" fmla="*/ 1208627 w 3281340"/>
                    <a:gd name="connsiteY2" fmla="*/ 0 h 2420900"/>
                    <a:gd name="connsiteX3" fmla="*/ 543609 w 3281340"/>
                    <a:gd name="connsiteY3" fmla="*/ 254121 h 2420900"/>
                    <a:gd name="connsiteX4" fmla="*/ 211100 w 3281340"/>
                    <a:gd name="connsiteY4" fmla="*/ 545067 h 2420900"/>
                    <a:gd name="connsiteX5" fmla="*/ 0 w 3281340"/>
                    <a:gd name="connsiteY5" fmla="*/ 674861 h 2420900"/>
                    <a:gd name="connsiteX6" fmla="*/ 231882 w 3281340"/>
                    <a:gd name="connsiteY6" fmla="*/ 815230 h 2420900"/>
                    <a:gd name="connsiteX7" fmla="*/ 938463 w 3281340"/>
                    <a:gd name="connsiteY7" fmla="*/ 565848 h 2420900"/>
                    <a:gd name="connsiteX8" fmla="*/ 460482 w 3281340"/>
                    <a:gd name="connsiteY8" fmla="*/ 1064612 h 2420900"/>
                    <a:gd name="connsiteX9" fmla="*/ 231882 w 3281340"/>
                    <a:gd name="connsiteY9" fmla="*/ 1480248 h 2420900"/>
                    <a:gd name="connsiteX10" fmla="*/ 356572 w 3281340"/>
                    <a:gd name="connsiteY10" fmla="*/ 1688067 h 2420900"/>
                    <a:gd name="connsiteX11" fmla="*/ 522827 w 3281340"/>
                    <a:gd name="connsiteY11" fmla="*/ 1688067 h 2420900"/>
                    <a:gd name="connsiteX12" fmla="*/ 564391 w 3281340"/>
                    <a:gd name="connsiteY12" fmla="*/ 1916667 h 2420900"/>
                    <a:gd name="connsiteX13" fmla="*/ 751427 w 3281340"/>
                    <a:gd name="connsiteY13" fmla="*/ 1999794 h 2420900"/>
                    <a:gd name="connsiteX14" fmla="*/ 792991 w 3281340"/>
                    <a:gd name="connsiteY14" fmla="*/ 2228394 h 2420900"/>
                    <a:gd name="connsiteX15" fmla="*/ 1063154 w 3281340"/>
                    <a:gd name="connsiteY15" fmla="*/ 2249176 h 2420900"/>
                    <a:gd name="connsiteX16" fmla="*/ 1221388 w 3281340"/>
                    <a:gd name="connsiteY16" fmla="*/ 2420900 h 2420900"/>
                    <a:gd name="connsiteX17" fmla="*/ 1665827 w 3281340"/>
                    <a:gd name="connsiteY17" fmla="*/ 2186830 h 2420900"/>
                    <a:gd name="connsiteX18" fmla="*/ 2109902 w 3281340"/>
                    <a:gd name="connsiteY18" fmla="*/ 1871457 h 2420900"/>
                    <a:gd name="connsiteX19" fmla="*/ 2725700 w 3281340"/>
                    <a:gd name="connsiteY19" fmla="*/ 1210085 h 2420900"/>
                    <a:gd name="connsiteX20" fmla="*/ 3202953 w 3281340"/>
                    <a:gd name="connsiteY20" fmla="*/ 1117113 h 2420900"/>
                    <a:gd name="connsiteX21" fmla="*/ 3281340 w 3281340"/>
                    <a:gd name="connsiteY21" fmla="*/ 844033 h 2420900"/>
                    <a:gd name="connsiteX22" fmla="*/ 2850391 w 3281340"/>
                    <a:gd name="connsiteY22" fmla="*/ 25521 h 2420900"/>
                    <a:gd name="connsiteX0" fmla="*/ 2850391 w 3281340"/>
                    <a:gd name="connsiteY0" fmla="*/ 25521 h 2420900"/>
                    <a:gd name="connsiteX1" fmla="*/ 2123027 w 3281340"/>
                    <a:gd name="connsiteY1" fmla="*/ 217297 h 2420900"/>
                    <a:gd name="connsiteX2" fmla="*/ 1208627 w 3281340"/>
                    <a:gd name="connsiteY2" fmla="*/ 0 h 2420900"/>
                    <a:gd name="connsiteX3" fmla="*/ 543609 w 3281340"/>
                    <a:gd name="connsiteY3" fmla="*/ 254121 h 2420900"/>
                    <a:gd name="connsiteX4" fmla="*/ 211100 w 3281340"/>
                    <a:gd name="connsiteY4" fmla="*/ 545067 h 2420900"/>
                    <a:gd name="connsiteX5" fmla="*/ 0 w 3281340"/>
                    <a:gd name="connsiteY5" fmla="*/ 674861 h 2420900"/>
                    <a:gd name="connsiteX6" fmla="*/ 231882 w 3281340"/>
                    <a:gd name="connsiteY6" fmla="*/ 815230 h 2420900"/>
                    <a:gd name="connsiteX7" fmla="*/ 938463 w 3281340"/>
                    <a:gd name="connsiteY7" fmla="*/ 565848 h 2420900"/>
                    <a:gd name="connsiteX8" fmla="*/ 460482 w 3281340"/>
                    <a:gd name="connsiteY8" fmla="*/ 1064612 h 2420900"/>
                    <a:gd name="connsiteX9" fmla="*/ 231882 w 3281340"/>
                    <a:gd name="connsiteY9" fmla="*/ 1480248 h 2420900"/>
                    <a:gd name="connsiteX10" fmla="*/ 356572 w 3281340"/>
                    <a:gd name="connsiteY10" fmla="*/ 1688067 h 2420900"/>
                    <a:gd name="connsiteX11" fmla="*/ 522827 w 3281340"/>
                    <a:gd name="connsiteY11" fmla="*/ 1688067 h 2420900"/>
                    <a:gd name="connsiteX12" fmla="*/ 564391 w 3281340"/>
                    <a:gd name="connsiteY12" fmla="*/ 1916667 h 2420900"/>
                    <a:gd name="connsiteX13" fmla="*/ 751427 w 3281340"/>
                    <a:gd name="connsiteY13" fmla="*/ 1999794 h 2420900"/>
                    <a:gd name="connsiteX14" fmla="*/ 792991 w 3281340"/>
                    <a:gd name="connsiteY14" fmla="*/ 2228394 h 2420900"/>
                    <a:gd name="connsiteX15" fmla="*/ 1063154 w 3281340"/>
                    <a:gd name="connsiteY15" fmla="*/ 2249176 h 2420900"/>
                    <a:gd name="connsiteX16" fmla="*/ 1221388 w 3281340"/>
                    <a:gd name="connsiteY16" fmla="*/ 2420900 h 2420900"/>
                    <a:gd name="connsiteX17" fmla="*/ 1665827 w 3281340"/>
                    <a:gd name="connsiteY17" fmla="*/ 2186830 h 2420900"/>
                    <a:gd name="connsiteX18" fmla="*/ 2109902 w 3281340"/>
                    <a:gd name="connsiteY18" fmla="*/ 1871457 h 2420900"/>
                    <a:gd name="connsiteX19" fmla="*/ 2725700 w 3281340"/>
                    <a:gd name="connsiteY19" fmla="*/ 1210085 h 2420900"/>
                    <a:gd name="connsiteX20" fmla="*/ 3202953 w 3281340"/>
                    <a:gd name="connsiteY20" fmla="*/ 1117113 h 2420900"/>
                    <a:gd name="connsiteX21" fmla="*/ 3281340 w 3281340"/>
                    <a:gd name="connsiteY21" fmla="*/ 844033 h 2420900"/>
                    <a:gd name="connsiteX22" fmla="*/ 2850391 w 3281340"/>
                    <a:gd name="connsiteY22" fmla="*/ 25521 h 2420900"/>
                    <a:gd name="connsiteX0" fmla="*/ 2850391 w 3281340"/>
                    <a:gd name="connsiteY0" fmla="*/ 25521 h 2420900"/>
                    <a:gd name="connsiteX1" fmla="*/ 2123027 w 3281340"/>
                    <a:gd name="connsiteY1" fmla="*/ 217297 h 2420900"/>
                    <a:gd name="connsiteX2" fmla="*/ 1208627 w 3281340"/>
                    <a:gd name="connsiteY2" fmla="*/ 0 h 2420900"/>
                    <a:gd name="connsiteX3" fmla="*/ 543609 w 3281340"/>
                    <a:gd name="connsiteY3" fmla="*/ 254121 h 2420900"/>
                    <a:gd name="connsiteX4" fmla="*/ 211100 w 3281340"/>
                    <a:gd name="connsiteY4" fmla="*/ 545067 h 2420900"/>
                    <a:gd name="connsiteX5" fmla="*/ 0 w 3281340"/>
                    <a:gd name="connsiteY5" fmla="*/ 674861 h 2420900"/>
                    <a:gd name="connsiteX6" fmla="*/ 231882 w 3281340"/>
                    <a:gd name="connsiteY6" fmla="*/ 815230 h 2420900"/>
                    <a:gd name="connsiteX7" fmla="*/ 938463 w 3281340"/>
                    <a:gd name="connsiteY7" fmla="*/ 565848 h 2420900"/>
                    <a:gd name="connsiteX8" fmla="*/ 460482 w 3281340"/>
                    <a:gd name="connsiteY8" fmla="*/ 1064612 h 2420900"/>
                    <a:gd name="connsiteX9" fmla="*/ 231882 w 3281340"/>
                    <a:gd name="connsiteY9" fmla="*/ 1480248 h 2420900"/>
                    <a:gd name="connsiteX10" fmla="*/ 356572 w 3281340"/>
                    <a:gd name="connsiteY10" fmla="*/ 1688067 h 2420900"/>
                    <a:gd name="connsiteX11" fmla="*/ 522827 w 3281340"/>
                    <a:gd name="connsiteY11" fmla="*/ 1688067 h 2420900"/>
                    <a:gd name="connsiteX12" fmla="*/ 564391 w 3281340"/>
                    <a:gd name="connsiteY12" fmla="*/ 1916667 h 2420900"/>
                    <a:gd name="connsiteX13" fmla="*/ 751427 w 3281340"/>
                    <a:gd name="connsiteY13" fmla="*/ 1999794 h 2420900"/>
                    <a:gd name="connsiteX14" fmla="*/ 817054 w 3281340"/>
                    <a:gd name="connsiteY14" fmla="*/ 2188289 h 2420900"/>
                    <a:gd name="connsiteX15" fmla="*/ 1063154 w 3281340"/>
                    <a:gd name="connsiteY15" fmla="*/ 2249176 h 2420900"/>
                    <a:gd name="connsiteX16" fmla="*/ 1221388 w 3281340"/>
                    <a:gd name="connsiteY16" fmla="*/ 2420900 h 2420900"/>
                    <a:gd name="connsiteX17" fmla="*/ 1665827 w 3281340"/>
                    <a:gd name="connsiteY17" fmla="*/ 2186830 h 2420900"/>
                    <a:gd name="connsiteX18" fmla="*/ 2109902 w 3281340"/>
                    <a:gd name="connsiteY18" fmla="*/ 1871457 h 2420900"/>
                    <a:gd name="connsiteX19" fmla="*/ 2725700 w 3281340"/>
                    <a:gd name="connsiteY19" fmla="*/ 1210085 h 2420900"/>
                    <a:gd name="connsiteX20" fmla="*/ 3202953 w 3281340"/>
                    <a:gd name="connsiteY20" fmla="*/ 1117113 h 2420900"/>
                    <a:gd name="connsiteX21" fmla="*/ 3281340 w 3281340"/>
                    <a:gd name="connsiteY21" fmla="*/ 844033 h 2420900"/>
                    <a:gd name="connsiteX22" fmla="*/ 2850391 w 3281340"/>
                    <a:gd name="connsiteY22" fmla="*/ 25521 h 2420900"/>
                    <a:gd name="connsiteX0" fmla="*/ 2850391 w 3281340"/>
                    <a:gd name="connsiteY0" fmla="*/ 25521 h 2420900"/>
                    <a:gd name="connsiteX1" fmla="*/ 2123027 w 3281340"/>
                    <a:gd name="connsiteY1" fmla="*/ 217297 h 2420900"/>
                    <a:gd name="connsiteX2" fmla="*/ 1208627 w 3281340"/>
                    <a:gd name="connsiteY2" fmla="*/ 0 h 2420900"/>
                    <a:gd name="connsiteX3" fmla="*/ 543609 w 3281340"/>
                    <a:gd name="connsiteY3" fmla="*/ 254121 h 2420900"/>
                    <a:gd name="connsiteX4" fmla="*/ 211100 w 3281340"/>
                    <a:gd name="connsiteY4" fmla="*/ 545067 h 2420900"/>
                    <a:gd name="connsiteX5" fmla="*/ 0 w 3281340"/>
                    <a:gd name="connsiteY5" fmla="*/ 674861 h 2420900"/>
                    <a:gd name="connsiteX6" fmla="*/ 231882 w 3281340"/>
                    <a:gd name="connsiteY6" fmla="*/ 815230 h 2420900"/>
                    <a:gd name="connsiteX7" fmla="*/ 938463 w 3281340"/>
                    <a:gd name="connsiteY7" fmla="*/ 565848 h 2420900"/>
                    <a:gd name="connsiteX8" fmla="*/ 460482 w 3281340"/>
                    <a:gd name="connsiteY8" fmla="*/ 1064612 h 2420900"/>
                    <a:gd name="connsiteX9" fmla="*/ 231882 w 3281340"/>
                    <a:gd name="connsiteY9" fmla="*/ 1480248 h 2420900"/>
                    <a:gd name="connsiteX10" fmla="*/ 356572 w 3281340"/>
                    <a:gd name="connsiteY10" fmla="*/ 1688067 h 2420900"/>
                    <a:gd name="connsiteX11" fmla="*/ 522827 w 3281340"/>
                    <a:gd name="connsiteY11" fmla="*/ 1688067 h 2420900"/>
                    <a:gd name="connsiteX12" fmla="*/ 564391 w 3281340"/>
                    <a:gd name="connsiteY12" fmla="*/ 1916667 h 2420900"/>
                    <a:gd name="connsiteX13" fmla="*/ 751427 w 3281340"/>
                    <a:gd name="connsiteY13" fmla="*/ 1999794 h 2420900"/>
                    <a:gd name="connsiteX14" fmla="*/ 817054 w 3281340"/>
                    <a:gd name="connsiteY14" fmla="*/ 2188289 h 2420900"/>
                    <a:gd name="connsiteX15" fmla="*/ 1063154 w 3281340"/>
                    <a:gd name="connsiteY15" fmla="*/ 2249176 h 2420900"/>
                    <a:gd name="connsiteX16" fmla="*/ 1221388 w 3281340"/>
                    <a:gd name="connsiteY16" fmla="*/ 2420900 h 2420900"/>
                    <a:gd name="connsiteX17" fmla="*/ 1665827 w 3281340"/>
                    <a:gd name="connsiteY17" fmla="*/ 2186830 h 2420900"/>
                    <a:gd name="connsiteX18" fmla="*/ 2109902 w 3281340"/>
                    <a:gd name="connsiteY18" fmla="*/ 1871457 h 2420900"/>
                    <a:gd name="connsiteX19" fmla="*/ 2725700 w 3281340"/>
                    <a:gd name="connsiteY19" fmla="*/ 1210085 h 2420900"/>
                    <a:gd name="connsiteX20" fmla="*/ 3202953 w 3281340"/>
                    <a:gd name="connsiteY20" fmla="*/ 1117113 h 2420900"/>
                    <a:gd name="connsiteX21" fmla="*/ 3281340 w 3281340"/>
                    <a:gd name="connsiteY21" fmla="*/ 844033 h 2420900"/>
                    <a:gd name="connsiteX22" fmla="*/ 2850391 w 3281340"/>
                    <a:gd name="connsiteY22" fmla="*/ 25521 h 2420900"/>
                    <a:gd name="connsiteX0" fmla="*/ 2850391 w 3281340"/>
                    <a:gd name="connsiteY0" fmla="*/ 25521 h 2420900"/>
                    <a:gd name="connsiteX1" fmla="*/ 2123027 w 3281340"/>
                    <a:gd name="connsiteY1" fmla="*/ 217297 h 2420900"/>
                    <a:gd name="connsiteX2" fmla="*/ 1208627 w 3281340"/>
                    <a:gd name="connsiteY2" fmla="*/ 0 h 2420900"/>
                    <a:gd name="connsiteX3" fmla="*/ 543609 w 3281340"/>
                    <a:gd name="connsiteY3" fmla="*/ 254121 h 2420900"/>
                    <a:gd name="connsiteX4" fmla="*/ 211100 w 3281340"/>
                    <a:gd name="connsiteY4" fmla="*/ 545067 h 2420900"/>
                    <a:gd name="connsiteX5" fmla="*/ 0 w 3281340"/>
                    <a:gd name="connsiteY5" fmla="*/ 674861 h 2420900"/>
                    <a:gd name="connsiteX6" fmla="*/ 231882 w 3281340"/>
                    <a:gd name="connsiteY6" fmla="*/ 815230 h 2420900"/>
                    <a:gd name="connsiteX7" fmla="*/ 938463 w 3281340"/>
                    <a:gd name="connsiteY7" fmla="*/ 565848 h 2420900"/>
                    <a:gd name="connsiteX8" fmla="*/ 460482 w 3281340"/>
                    <a:gd name="connsiteY8" fmla="*/ 1064612 h 2420900"/>
                    <a:gd name="connsiteX9" fmla="*/ 231882 w 3281340"/>
                    <a:gd name="connsiteY9" fmla="*/ 1480248 h 2420900"/>
                    <a:gd name="connsiteX10" fmla="*/ 356572 w 3281340"/>
                    <a:gd name="connsiteY10" fmla="*/ 1688067 h 2420900"/>
                    <a:gd name="connsiteX11" fmla="*/ 522827 w 3281340"/>
                    <a:gd name="connsiteY11" fmla="*/ 1688067 h 2420900"/>
                    <a:gd name="connsiteX12" fmla="*/ 564391 w 3281340"/>
                    <a:gd name="connsiteY12" fmla="*/ 1916667 h 2420900"/>
                    <a:gd name="connsiteX13" fmla="*/ 751427 w 3281340"/>
                    <a:gd name="connsiteY13" fmla="*/ 1999794 h 2420900"/>
                    <a:gd name="connsiteX14" fmla="*/ 1063154 w 3281340"/>
                    <a:gd name="connsiteY14" fmla="*/ 2249176 h 2420900"/>
                    <a:gd name="connsiteX15" fmla="*/ 1221388 w 3281340"/>
                    <a:gd name="connsiteY15" fmla="*/ 2420900 h 2420900"/>
                    <a:gd name="connsiteX16" fmla="*/ 1665827 w 3281340"/>
                    <a:gd name="connsiteY16" fmla="*/ 2186830 h 2420900"/>
                    <a:gd name="connsiteX17" fmla="*/ 2109902 w 3281340"/>
                    <a:gd name="connsiteY17" fmla="*/ 1871457 h 2420900"/>
                    <a:gd name="connsiteX18" fmla="*/ 2725700 w 3281340"/>
                    <a:gd name="connsiteY18" fmla="*/ 1210085 h 2420900"/>
                    <a:gd name="connsiteX19" fmla="*/ 3202953 w 3281340"/>
                    <a:gd name="connsiteY19" fmla="*/ 1117113 h 2420900"/>
                    <a:gd name="connsiteX20" fmla="*/ 3281340 w 3281340"/>
                    <a:gd name="connsiteY20" fmla="*/ 844033 h 2420900"/>
                    <a:gd name="connsiteX21" fmla="*/ 2850391 w 3281340"/>
                    <a:gd name="connsiteY21" fmla="*/ 25521 h 2420900"/>
                    <a:gd name="connsiteX0" fmla="*/ 2850391 w 3281340"/>
                    <a:gd name="connsiteY0" fmla="*/ 25521 h 2420900"/>
                    <a:gd name="connsiteX1" fmla="*/ 2123027 w 3281340"/>
                    <a:gd name="connsiteY1" fmla="*/ 217297 h 2420900"/>
                    <a:gd name="connsiteX2" fmla="*/ 1208627 w 3281340"/>
                    <a:gd name="connsiteY2" fmla="*/ 0 h 2420900"/>
                    <a:gd name="connsiteX3" fmla="*/ 543609 w 3281340"/>
                    <a:gd name="connsiteY3" fmla="*/ 254121 h 2420900"/>
                    <a:gd name="connsiteX4" fmla="*/ 211100 w 3281340"/>
                    <a:gd name="connsiteY4" fmla="*/ 545067 h 2420900"/>
                    <a:gd name="connsiteX5" fmla="*/ 0 w 3281340"/>
                    <a:gd name="connsiteY5" fmla="*/ 674861 h 2420900"/>
                    <a:gd name="connsiteX6" fmla="*/ 231882 w 3281340"/>
                    <a:gd name="connsiteY6" fmla="*/ 815230 h 2420900"/>
                    <a:gd name="connsiteX7" fmla="*/ 938463 w 3281340"/>
                    <a:gd name="connsiteY7" fmla="*/ 565848 h 2420900"/>
                    <a:gd name="connsiteX8" fmla="*/ 460482 w 3281340"/>
                    <a:gd name="connsiteY8" fmla="*/ 1064612 h 2420900"/>
                    <a:gd name="connsiteX9" fmla="*/ 231882 w 3281340"/>
                    <a:gd name="connsiteY9" fmla="*/ 1480248 h 2420900"/>
                    <a:gd name="connsiteX10" fmla="*/ 356572 w 3281340"/>
                    <a:gd name="connsiteY10" fmla="*/ 1688067 h 2420900"/>
                    <a:gd name="connsiteX11" fmla="*/ 522827 w 3281340"/>
                    <a:gd name="connsiteY11" fmla="*/ 1688067 h 2420900"/>
                    <a:gd name="connsiteX12" fmla="*/ 564391 w 3281340"/>
                    <a:gd name="connsiteY12" fmla="*/ 1916667 h 2420900"/>
                    <a:gd name="connsiteX13" fmla="*/ 751427 w 3281340"/>
                    <a:gd name="connsiteY13" fmla="*/ 1999794 h 2420900"/>
                    <a:gd name="connsiteX14" fmla="*/ 1063154 w 3281340"/>
                    <a:gd name="connsiteY14" fmla="*/ 2249176 h 2420900"/>
                    <a:gd name="connsiteX15" fmla="*/ 1221388 w 3281340"/>
                    <a:gd name="connsiteY15" fmla="*/ 2420900 h 2420900"/>
                    <a:gd name="connsiteX16" fmla="*/ 1665827 w 3281340"/>
                    <a:gd name="connsiteY16" fmla="*/ 2186830 h 2420900"/>
                    <a:gd name="connsiteX17" fmla="*/ 2109902 w 3281340"/>
                    <a:gd name="connsiteY17" fmla="*/ 1871457 h 2420900"/>
                    <a:gd name="connsiteX18" fmla="*/ 2725700 w 3281340"/>
                    <a:gd name="connsiteY18" fmla="*/ 1210085 h 2420900"/>
                    <a:gd name="connsiteX19" fmla="*/ 3202953 w 3281340"/>
                    <a:gd name="connsiteY19" fmla="*/ 1117113 h 2420900"/>
                    <a:gd name="connsiteX20" fmla="*/ 3281340 w 3281340"/>
                    <a:gd name="connsiteY20" fmla="*/ 844033 h 2420900"/>
                    <a:gd name="connsiteX21" fmla="*/ 2850391 w 3281340"/>
                    <a:gd name="connsiteY21" fmla="*/ 25521 h 2420900"/>
                    <a:gd name="connsiteX0" fmla="*/ 2850391 w 3281340"/>
                    <a:gd name="connsiteY0" fmla="*/ 25521 h 2420900"/>
                    <a:gd name="connsiteX1" fmla="*/ 2123027 w 3281340"/>
                    <a:gd name="connsiteY1" fmla="*/ 217297 h 2420900"/>
                    <a:gd name="connsiteX2" fmla="*/ 1208627 w 3281340"/>
                    <a:gd name="connsiteY2" fmla="*/ 0 h 2420900"/>
                    <a:gd name="connsiteX3" fmla="*/ 543609 w 3281340"/>
                    <a:gd name="connsiteY3" fmla="*/ 254121 h 2420900"/>
                    <a:gd name="connsiteX4" fmla="*/ 211100 w 3281340"/>
                    <a:gd name="connsiteY4" fmla="*/ 545067 h 2420900"/>
                    <a:gd name="connsiteX5" fmla="*/ 0 w 3281340"/>
                    <a:gd name="connsiteY5" fmla="*/ 674861 h 2420900"/>
                    <a:gd name="connsiteX6" fmla="*/ 231882 w 3281340"/>
                    <a:gd name="connsiteY6" fmla="*/ 815230 h 2420900"/>
                    <a:gd name="connsiteX7" fmla="*/ 938463 w 3281340"/>
                    <a:gd name="connsiteY7" fmla="*/ 565848 h 2420900"/>
                    <a:gd name="connsiteX8" fmla="*/ 460482 w 3281340"/>
                    <a:gd name="connsiteY8" fmla="*/ 1064612 h 2420900"/>
                    <a:gd name="connsiteX9" fmla="*/ 231882 w 3281340"/>
                    <a:gd name="connsiteY9" fmla="*/ 1480248 h 2420900"/>
                    <a:gd name="connsiteX10" fmla="*/ 356572 w 3281340"/>
                    <a:gd name="connsiteY10" fmla="*/ 1688067 h 2420900"/>
                    <a:gd name="connsiteX11" fmla="*/ 522827 w 3281340"/>
                    <a:gd name="connsiteY11" fmla="*/ 1688067 h 2420900"/>
                    <a:gd name="connsiteX12" fmla="*/ 564391 w 3281340"/>
                    <a:gd name="connsiteY12" fmla="*/ 1916667 h 2420900"/>
                    <a:gd name="connsiteX13" fmla="*/ 751427 w 3281340"/>
                    <a:gd name="connsiteY13" fmla="*/ 1999794 h 2420900"/>
                    <a:gd name="connsiteX14" fmla="*/ 1063154 w 3281340"/>
                    <a:gd name="connsiteY14" fmla="*/ 2249176 h 2420900"/>
                    <a:gd name="connsiteX15" fmla="*/ 1221388 w 3281340"/>
                    <a:gd name="connsiteY15" fmla="*/ 2420900 h 2420900"/>
                    <a:gd name="connsiteX16" fmla="*/ 1665827 w 3281340"/>
                    <a:gd name="connsiteY16" fmla="*/ 2186830 h 2420900"/>
                    <a:gd name="connsiteX17" fmla="*/ 2109902 w 3281340"/>
                    <a:gd name="connsiteY17" fmla="*/ 1871457 h 2420900"/>
                    <a:gd name="connsiteX18" fmla="*/ 2725700 w 3281340"/>
                    <a:gd name="connsiteY18" fmla="*/ 1210085 h 2420900"/>
                    <a:gd name="connsiteX19" fmla="*/ 3202953 w 3281340"/>
                    <a:gd name="connsiteY19" fmla="*/ 1117113 h 2420900"/>
                    <a:gd name="connsiteX20" fmla="*/ 3281340 w 3281340"/>
                    <a:gd name="connsiteY20" fmla="*/ 844033 h 2420900"/>
                    <a:gd name="connsiteX21" fmla="*/ 2850391 w 3281340"/>
                    <a:gd name="connsiteY21" fmla="*/ 25521 h 2420900"/>
                    <a:gd name="connsiteX0" fmla="*/ 2850391 w 3281340"/>
                    <a:gd name="connsiteY0" fmla="*/ 25521 h 2420900"/>
                    <a:gd name="connsiteX1" fmla="*/ 2123027 w 3281340"/>
                    <a:gd name="connsiteY1" fmla="*/ 217297 h 2420900"/>
                    <a:gd name="connsiteX2" fmla="*/ 1208627 w 3281340"/>
                    <a:gd name="connsiteY2" fmla="*/ 0 h 2420900"/>
                    <a:gd name="connsiteX3" fmla="*/ 543609 w 3281340"/>
                    <a:gd name="connsiteY3" fmla="*/ 254121 h 2420900"/>
                    <a:gd name="connsiteX4" fmla="*/ 211100 w 3281340"/>
                    <a:gd name="connsiteY4" fmla="*/ 545067 h 2420900"/>
                    <a:gd name="connsiteX5" fmla="*/ 0 w 3281340"/>
                    <a:gd name="connsiteY5" fmla="*/ 674861 h 2420900"/>
                    <a:gd name="connsiteX6" fmla="*/ 231882 w 3281340"/>
                    <a:gd name="connsiteY6" fmla="*/ 815230 h 2420900"/>
                    <a:gd name="connsiteX7" fmla="*/ 938463 w 3281340"/>
                    <a:gd name="connsiteY7" fmla="*/ 565848 h 2420900"/>
                    <a:gd name="connsiteX8" fmla="*/ 460482 w 3281340"/>
                    <a:gd name="connsiteY8" fmla="*/ 1064612 h 2420900"/>
                    <a:gd name="connsiteX9" fmla="*/ 231882 w 3281340"/>
                    <a:gd name="connsiteY9" fmla="*/ 1480248 h 2420900"/>
                    <a:gd name="connsiteX10" fmla="*/ 356572 w 3281340"/>
                    <a:gd name="connsiteY10" fmla="*/ 1688067 h 2420900"/>
                    <a:gd name="connsiteX11" fmla="*/ 522827 w 3281340"/>
                    <a:gd name="connsiteY11" fmla="*/ 1688067 h 2420900"/>
                    <a:gd name="connsiteX12" fmla="*/ 564391 w 3281340"/>
                    <a:gd name="connsiteY12" fmla="*/ 1916667 h 2420900"/>
                    <a:gd name="connsiteX13" fmla="*/ 751427 w 3281340"/>
                    <a:gd name="connsiteY13" fmla="*/ 1999794 h 2420900"/>
                    <a:gd name="connsiteX14" fmla="*/ 1063154 w 3281340"/>
                    <a:gd name="connsiteY14" fmla="*/ 2249176 h 2420900"/>
                    <a:gd name="connsiteX15" fmla="*/ 1221388 w 3281340"/>
                    <a:gd name="connsiteY15" fmla="*/ 2420900 h 2420900"/>
                    <a:gd name="connsiteX16" fmla="*/ 1665827 w 3281340"/>
                    <a:gd name="connsiteY16" fmla="*/ 2186830 h 2420900"/>
                    <a:gd name="connsiteX17" fmla="*/ 2109902 w 3281340"/>
                    <a:gd name="connsiteY17" fmla="*/ 1871457 h 2420900"/>
                    <a:gd name="connsiteX18" fmla="*/ 2725700 w 3281340"/>
                    <a:gd name="connsiteY18" fmla="*/ 1210085 h 2420900"/>
                    <a:gd name="connsiteX19" fmla="*/ 3202953 w 3281340"/>
                    <a:gd name="connsiteY19" fmla="*/ 1117113 h 2420900"/>
                    <a:gd name="connsiteX20" fmla="*/ 3281340 w 3281340"/>
                    <a:gd name="connsiteY20" fmla="*/ 844033 h 2420900"/>
                    <a:gd name="connsiteX21" fmla="*/ 2850391 w 3281340"/>
                    <a:gd name="connsiteY21" fmla="*/ 25521 h 2420900"/>
                    <a:gd name="connsiteX0" fmla="*/ 2850391 w 3281340"/>
                    <a:gd name="connsiteY0" fmla="*/ 25521 h 2420900"/>
                    <a:gd name="connsiteX1" fmla="*/ 2123027 w 3281340"/>
                    <a:gd name="connsiteY1" fmla="*/ 217297 h 2420900"/>
                    <a:gd name="connsiteX2" fmla="*/ 1208627 w 3281340"/>
                    <a:gd name="connsiteY2" fmla="*/ 0 h 2420900"/>
                    <a:gd name="connsiteX3" fmla="*/ 543609 w 3281340"/>
                    <a:gd name="connsiteY3" fmla="*/ 254121 h 2420900"/>
                    <a:gd name="connsiteX4" fmla="*/ 211100 w 3281340"/>
                    <a:gd name="connsiteY4" fmla="*/ 545067 h 2420900"/>
                    <a:gd name="connsiteX5" fmla="*/ 0 w 3281340"/>
                    <a:gd name="connsiteY5" fmla="*/ 674861 h 2420900"/>
                    <a:gd name="connsiteX6" fmla="*/ 231882 w 3281340"/>
                    <a:gd name="connsiteY6" fmla="*/ 815230 h 2420900"/>
                    <a:gd name="connsiteX7" fmla="*/ 938463 w 3281340"/>
                    <a:gd name="connsiteY7" fmla="*/ 565848 h 2420900"/>
                    <a:gd name="connsiteX8" fmla="*/ 460482 w 3281340"/>
                    <a:gd name="connsiteY8" fmla="*/ 1064612 h 2420900"/>
                    <a:gd name="connsiteX9" fmla="*/ 231882 w 3281340"/>
                    <a:gd name="connsiteY9" fmla="*/ 1480248 h 2420900"/>
                    <a:gd name="connsiteX10" fmla="*/ 356572 w 3281340"/>
                    <a:gd name="connsiteY10" fmla="*/ 1688067 h 2420900"/>
                    <a:gd name="connsiteX11" fmla="*/ 522827 w 3281340"/>
                    <a:gd name="connsiteY11" fmla="*/ 1688067 h 2420900"/>
                    <a:gd name="connsiteX12" fmla="*/ 564391 w 3281340"/>
                    <a:gd name="connsiteY12" fmla="*/ 1916667 h 2420900"/>
                    <a:gd name="connsiteX13" fmla="*/ 751427 w 3281340"/>
                    <a:gd name="connsiteY13" fmla="*/ 1999794 h 2420900"/>
                    <a:gd name="connsiteX14" fmla="*/ 1063154 w 3281340"/>
                    <a:gd name="connsiteY14" fmla="*/ 2249176 h 2420900"/>
                    <a:gd name="connsiteX15" fmla="*/ 1221388 w 3281340"/>
                    <a:gd name="connsiteY15" fmla="*/ 2420900 h 2420900"/>
                    <a:gd name="connsiteX16" fmla="*/ 1665827 w 3281340"/>
                    <a:gd name="connsiteY16" fmla="*/ 2186830 h 2420900"/>
                    <a:gd name="connsiteX17" fmla="*/ 2109902 w 3281340"/>
                    <a:gd name="connsiteY17" fmla="*/ 1871457 h 2420900"/>
                    <a:gd name="connsiteX18" fmla="*/ 2725700 w 3281340"/>
                    <a:gd name="connsiteY18" fmla="*/ 1210085 h 2420900"/>
                    <a:gd name="connsiteX19" fmla="*/ 3202953 w 3281340"/>
                    <a:gd name="connsiteY19" fmla="*/ 1117113 h 2420900"/>
                    <a:gd name="connsiteX20" fmla="*/ 3281340 w 3281340"/>
                    <a:gd name="connsiteY20" fmla="*/ 844033 h 2420900"/>
                    <a:gd name="connsiteX21" fmla="*/ 2850391 w 3281340"/>
                    <a:gd name="connsiteY21" fmla="*/ 25521 h 2420900"/>
                    <a:gd name="connsiteX0" fmla="*/ 2850391 w 3281340"/>
                    <a:gd name="connsiteY0" fmla="*/ 25521 h 2420900"/>
                    <a:gd name="connsiteX1" fmla="*/ 2123027 w 3281340"/>
                    <a:gd name="connsiteY1" fmla="*/ 217297 h 2420900"/>
                    <a:gd name="connsiteX2" fmla="*/ 1208627 w 3281340"/>
                    <a:gd name="connsiteY2" fmla="*/ 0 h 2420900"/>
                    <a:gd name="connsiteX3" fmla="*/ 543609 w 3281340"/>
                    <a:gd name="connsiteY3" fmla="*/ 254121 h 2420900"/>
                    <a:gd name="connsiteX4" fmla="*/ 211100 w 3281340"/>
                    <a:gd name="connsiteY4" fmla="*/ 545067 h 2420900"/>
                    <a:gd name="connsiteX5" fmla="*/ 0 w 3281340"/>
                    <a:gd name="connsiteY5" fmla="*/ 674861 h 2420900"/>
                    <a:gd name="connsiteX6" fmla="*/ 231882 w 3281340"/>
                    <a:gd name="connsiteY6" fmla="*/ 815230 h 2420900"/>
                    <a:gd name="connsiteX7" fmla="*/ 938463 w 3281340"/>
                    <a:gd name="connsiteY7" fmla="*/ 565848 h 2420900"/>
                    <a:gd name="connsiteX8" fmla="*/ 460482 w 3281340"/>
                    <a:gd name="connsiteY8" fmla="*/ 1064612 h 2420900"/>
                    <a:gd name="connsiteX9" fmla="*/ 231882 w 3281340"/>
                    <a:gd name="connsiteY9" fmla="*/ 1480248 h 2420900"/>
                    <a:gd name="connsiteX10" fmla="*/ 356572 w 3281340"/>
                    <a:gd name="connsiteY10" fmla="*/ 1688067 h 2420900"/>
                    <a:gd name="connsiteX11" fmla="*/ 522827 w 3281340"/>
                    <a:gd name="connsiteY11" fmla="*/ 1688067 h 2420900"/>
                    <a:gd name="connsiteX12" fmla="*/ 751427 w 3281340"/>
                    <a:gd name="connsiteY12" fmla="*/ 1999794 h 2420900"/>
                    <a:gd name="connsiteX13" fmla="*/ 1063154 w 3281340"/>
                    <a:gd name="connsiteY13" fmla="*/ 2249176 h 2420900"/>
                    <a:gd name="connsiteX14" fmla="*/ 1221388 w 3281340"/>
                    <a:gd name="connsiteY14" fmla="*/ 2420900 h 2420900"/>
                    <a:gd name="connsiteX15" fmla="*/ 1665827 w 3281340"/>
                    <a:gd name="connsiteY15" fmla="*/ 2186830 h 2420900"/>
                    <a:gd name="connsiteX16" fmla="*/ 2109902 w 3281340"/>
                    <a:gd name="connsiteY16" fmla="*/ 1871457 h 2420900"/>
                    <a:gd name="connsiteX17" fmla="*/ 2725700 w 3281340"/>
                    <a:gd name="connsiteY17" fmla="*/ 1210085 h 2420900"/>
                    <a:gd name="connsiteX18" fmla="*/ 3202953 w 3281340"/>
                    <a:gd name="connsiteY18" fmla="*/ 1117113 h 2420900"/>
                    <a:gd name="connsiteX19" fmla="*/ 3281340 w 3281340"/>
                    <a:gd name="connsiteY19" fmla="*/ 844033 h 2420900"/>
                    <a:gd name="connsiteX20" fmla="*/ 2850391 w 3281340"/>
                    <a:gd name="connsiteY20" fmla="*/ 25521 h 2420900"/>
                    <a:gd name="connsiteX0" fmla="*/ 2850391 w 3281340"/>
                    <a:gd name="connsiteY0" fmla="*/ 25521 h 2420900"/>
                    <a:gd name="connsiteX1" fmla="*/ 2123027 w 3281340"/>
                    <a:gd name="connsiteY1" fmla="*/ 217297 h 2420900"/>
                    <a:gd name="connsiteX2" fmla="*/ 1208627 w 3281340"/>
                    <a:gd name="connsiteY2" fmla="*/ 0 h 2420900"/>
                    <a:gd name="connsiteX3" fmla="*/ 543609 w 3281340"/>
                    <a:gd name="connsiteY3" fmla="*/ 254121 h 2420900"/>
                    <a:gd name="connsiteX4" fmla="*/ 211100 w 3281340"/>
                    <a:gd name="connsiteY4" fmla="*/ 545067 h 2420900"/>
                    <a:gd name="connsiteX5" fmla="*/ 0 w 3281340"/>
                    <a:gd name="connsiteY5" fmla="*/ 674861 h 2420900"/>
                    <a:gd name="connsiteX6" fmla="*/ 231882 w 3281340"/>
                    <a:gd name="connsiteY6" fmla="*/ 815230 h 2420900"/>
                    <a:gd name="connsiteX7" fmla="*/ 938463 w 3281340"/>
                    <a:gd name="connsiteY7" fmla="*/ 565848 h 2420900"/>
                    <a:gd name="connsiteX8" fmla="*/ 460482 w 3281340"/>
                    <a:gd name="connsiteY8" fmla="*/ 1064612 h 2420900"/>
                    <a:gd name="connsiteX9" fmla="*/ 231882 w 3281340"/>
                    <a:gd name="connsiteY9" fmla="*/ 1480248 h 2420900"/>
                    <a:gd name="connsiteX10" fmla="*/ 356572 w 3281340"/>
                    <a:gd name="connsiteY10" fmla="*/ 1688067 h 2420900"/>
                    <a:gd name="connsiteX11" fmla="*/ 522827 w 3281340"/>
                    <a:gd name="connsiteY11" fmla="*/ 1688067 h 2420900"/>
                    <a:gd name="connsiteX12" fmla="*/ 751427 w 3281340"/>
                    <a:gd name="connsiteY12" fmla="*/ 1999794 h 2420900"/>
                    <a:gd name="connsiteX13" fmla="*/ 1063154 w 3281340"/>
                    <a:gd name="connsiteY13" fmla="*/ 2249176 h 2420900"/>
                    <a:gd name="connsiteX14" fmla="*/ 1221388 w 3281340"/>
                    <a:gd name="connsiteY14" fmla="*/ 2420900 h 2420900"/>
                    <a:gd name="connsiteX15" fmla="*/ 1665827 w 3281340"/>
                    <a:gd name="connsiteY15" fmla="*/ 2186830 h 2420900"/>
                    <a:gd name="connsiteX16" fmla="*/ 2109902 w 3281340"/>
                    <a:gd name="connsiteY16" fmla="*/ 1871457 h 2420900"/>
                    <a:gd name="connsiteX17" fmla="*/ 2725700 w 3281340"/>
                    <a:gd name="connsiteY17" fmla="*/ 1210085 h 2420900"/>
                    <a:gd name="connsiteX18" fmla="*/ 3202953 w 3281340"/>
                    <a:gd name="connsiteY18" fmla="*/ 1117113 h 2420900"/>
                    <a:gd name="connsiteX19" fmla="*/ 3281340 w 3281340"/>
                    <a:gd name="connsiteY19" fmla="*/ 844033 h 2420900"/>
                    <a:gd name="connsiteX20" fmla="*/ 2850391 w 3281340"/>
                    <a:gd name="connsiteY20" fmla="*/ 25521 h 2420900"/>
                    <a:gd name="connsiteX0" fmla="*/ 2850391 w 3281340"/>
                    <a:gd name="connsiteY0" fmla="*/ 25521 h 2420900"/>
                    <a:gd name="connsiteX1" fmla="*/ 2123027 w 3281340"/>
                    <a:gd name="connsiteY1" fmla="*/ 217297 h 2420900"/>
                    <a:gd name="connsiteX2" fmla="*/ 1208627 w 3281340"/>
                    <a:gd name="connsiteY2" fmla="*/ 0 h 2420900"/>
                    <a:gd name="connsiteX3" fmla="*/ 543609 w 3281340"/>
                    <a:gd name="connsiteY3" fmla="*/ 254121 h 2420900"/>
                    <a:gd name="connsiteX4" fmla="*/ 211100 w 3281340"/>
                    <a:gd name="connsiteY4" fmla="*/ 545067 h 2420900"/>
                    <a:gd name="connsiteX5" fmla="*/ 0 w 3281340"/>
                    <a:gd name="connsiteY5" fmla="*/ 674861 h 2420900"/>
                    <a:gd name="connsiteX6" fmla="*/ 231882 w 3281340"/>
                    <a:gd name="connsiteY6" fmla="*/ 815230 h 2420900"/>
                    <a:gd name="connsiteX7" fmla="*/ 938463 w 3281340"/>
                    <a:gd name="connsiteY7" fmla="*/ 565848 h 2420900"/>
                    <a:gd name="connsiteX8" fmla="*/ 460482 w 3281340"/>
                    <a:gd name="connsiteY8" fmla="*/ 1064612 h 2420900"/>
                    <a:gd name="connsiteX9" fmla="*/ 231882 w 3281340"/>
                    <a:gd name="connsiteY9" fmla="*/ 1480248 h 2420900"/>
                    <a:gd name="connsiteX10" fmla="*/ 356572 w 3281340"/>
                    <a:gd name="connsiteY10" fmla="*/ 1688067 h 2420900"/>
                    <a:gd name="connsiteX11" fmla="*/ 522827 w 3281340"/>
                    <a:gd name="connsiteY11" fmla="*/ 1688067 h 2420900"/>
                    <a:gd name="connsiteX12" fmla="*/ 751427 w 3281340"/>
                    <a:gd name="connsiteY12" fmla="*/ 1999794 h 2420900"/>
                    <a:gd name="connsiteX13" fmla="*/ 1063154 w 3281340"/>
                    <a:gd name="connsiteY13" fmla="*/ 2249176 h 2420900"/>
                    <a:gd name="connsiteX14" fmla="*/ 1221388 w 3281340"/>
                    <a:gd name="connsiteY14" fmla="*/ 2420900 h 2420900"/>
                    <a:gd name="connsiteX15" fmla="*/ 1665827 w 3281340"/>
                    <a:gd name="connsiteY15" fmla="*/ 2186830 h 2420900"/>
                    <a:gd name="connsiteX16" fmla="*/ 2109902 w 3281340"/>
                    <a:gd name="connsiteY16" fmla="*/ 1871457 h 2420900"/>
                    <a:gd name="connsiteX17" fmla="*/ 2725700 w 3281340"/>
                    <a:gd name="connsiteY17" fmla="*/ 1210085 h 2420900"/>
                    <a:gd name="connsiteX18" fmla="*/ 3202953 w 3281340"/>
                    <a:gd name="connsiteY18" fmla="*/ 1117113 h 2420900"/>
                    <a:gd name="connsiteX19" fmla="*/ 3281340 w 3281340"/>
                    <a:gd name="connsiteY19" fmla="*/ 844033 h 2420900"/>
                    <a:gd name="connsiteX20" fmla="*/ 2850391 w 3281340"/>
                    <a:gd name="connsiteY20" fmla="*/ 25521 h 2420900"/>
                    <a:gd name="connsiteX0" fmla="*/ 2850391 w 3281340"/>
                    <a:gd name="connsiteY0" fmla="*/ 25521 h 2420900"/>
                    <a:gd name="connsiteX1" fmla="*/ 2123027 w 3281340"/>
                    <a:gd name="connsiteY1" fmla="*/ 217297 h 2420900"/>
                    <a:gd name="connsiteX2" fmla="*/ 1208627 w 3281340"/>
                    <a:gd name="connsiteY2" fmla="*/ 0 h 2420900"/>
                    <a:gd name="connsiteX3" fmla="*/ 543609 w 3281340"/>
                    <a:gd name="connsiteY3" fmla="*/ 254121 h 2420900"/>
                    <a:gd name="connsiteX4" fmla="*/ 211100 w 3281340"/>
                    <a:gd name="connsiteY4" fmla="*/ 545067 h 2420900"/>
                    <a:gd name="connsiteX5" fmla="*/ 0 w 3281340"/>
                    <a:gd name="connsiteY5" fmla="*/ 674861 h 2420900"/>
                    <a:gd name="connsiteX6" fmla="*/ 231882 w 3281340"/>
                    <a:gd name="connsiteY6" fmla="*/ 815230 h 2420900"/>
                    <a:gd name="connsiteX7" fmla="*/ 938463 w 3281340"/>
                    <a:gd name="connsiteY7" fmla="*/ 565848 h 2420900"/>
                    <a:gd name="connsiteX8" fmla="*/ 460482 w 3281340"/>
                    <a:gd name="connsiteY8" fmla="*/ 1064612 h 2420900"/>
                    <a:gd name="connsiteX9" fmla="*/ 231882 w 3281340"/>
                    <a:gd name="connsiteY9" fmla="*/ 1480248 h 2420900"/>
                    <a:gd name="connsiteX10" fmla="*/ 356572 w 3281340"/>
                    <a:gd name="connsiteY10" fmla="*/ 1688067 h 2420900"/>
                    <a:gd name="connsiteX11" fmla="*/ 522827 w 3281340"/>
                    <a:gd name="connsiteY11" fmla="*/ 1688067 h 2420900"/>
                    <a:gd name="connsiteX12" fmla="*/ 751427 w 3281340"/>
                    <a:gd name="connsiteY12" fmla="*/ 1999794 h 2420900"/>
                    <a:gd name="connsiteX13" fmla="*/ 1063154 w 3281340"/>
                    <a:gd name="connsiteY13" fmla="*/ 2249176 h 2420900"/>
                    <a:gd name="connsiteX14" fmla="*/ 1221388 w 3281340"/>
                    <a:gd name="connsiteY14" fmla="*/ 2420900 h 2420900"/>
                    <a:gd name="connsiteX15" fmla="*/ 1665827 w 3281340"/>
                    <a:gd name="connsiteY15" fmla="*/ 2186830 h 2420900"/>
                    <a:gd name="connsiteX16" fmla="*/ 2109902 w 3281340"/>
                    <a:gd name="connsiteY16" fmla="*/ 1871457 h 2420900"/>
                    <a:gd name="connsiteX17" fmla="*/ 2725700 w 3281340"/>
                    <a:gd name="connsiteY17" fmla="*/ 1210085 h 2420900"/>
                    <a:gd name="connsiteX18" fmla="*/ 3202953 w 3281340"/>
                    <a:gd name="connsiteY18" fmla="*/ 1117113 h 2420900"/>
                    <a:gd name="connsiteX19" fmla="*/ 3281340 w 3281340"/>
                    <a:gd name="connsiteY19" fmla="*/ 844033 h 2420900"/>
                    <a:gd name="connsiteX20" fmla="*/ 2850391 w 3281340"/>
                    <a:gd name="connsiteY20" fmla="*/ 25521 h 2420900"/>
                    <a:gd name="connsiteX0" fmla="*/ 2850391 w 3281340"/>
                    <a:gd name="connsiteY0" fmla="*/ 25521 h 2420900"/>
                    <a:gd name="connsiteX1" fmla="*/ 2123027 w 3281340"/>
                    <a:gd name="connsiteY1" fmla="*/ 217297 h 2420900"/>
                    <a:gd name="connsiteX2" fmla="*/ 1208627 w 3281340"/>
                    <a:gd name="connsiteY2" fmla="*/ 0 h 2420900"/>
                    <a:gd name="connsiteX3" fmla="*/ 543609 w 3281340"/>
                    <a:gd name="connsiteY3" fmla="*/ 254121 h 2420900"/>
                    <a:gd name="connsiteX4" fmla="*/ 211100 w 3281340"/>
                    <a:gd name="connsiteY4" fmla="*/ 545067 h 2420900"/>
                    <a:gd name="connsiteX5" fmla="*/ 0 w 3281340"/>
                    <a:gd name="connsiteY5" fmla="*/ 674861 h 2420900"/>
                    <a:gd name="connsiteX6" fmla="*/ 231882 w 3281340"/>
                    <a:gd name="connsiteY6" fmla="*/ 815230 h 2420900"/>
                    <a:gd name="connsiteX7" fmla="*/ 938463 w 3281340"/>
                    <a:gd name="connsiteY7" fmla="*/ 565848 h 2420900"/>
                    <a:gd name="connsiteX8" fmla="*/ 460482 w 3281340"/>
                    <a:gd name="connsiteY8" fmla="*/ 1064612 h 2420900"/>
                    <a:gd name="connsiteX9" fmla="*/ 231882 w 3281340"/>
                    <a:gd name="connsiteY9" fmla="*/ 1480248 h 2420900"/>
                    <a:gd name="connsiteX10" fmla="*/ 356572 w 3281340"/>
                    <a:gd name="connsiteY10" fmla="*/ 1688067 h 2420900"/>
                    <a:gd name="connsiteX11" fmla="*/ 490743 w 3281340"/>
                    <a:gd name="connsiteY11" fmla="*/ 1720151 h 2420900"/>
                    <a:gd name="connsiteX12" fmla="*/ 751427 w 3281340"/>
                    <a:gd name="connsiteY12" fmla="*/ 1999794 h 2420900"/>
                    <a:gd name="connsiteX13" fmla="*/ 1063154 w 3281340"/>
                    <a:gd name="connsiteY13" fmla="*/ 2249176 h 2420900"/>
                    <a:gd name="connsiteX14" fmla="*/ 1221388 w 3281340"/>
                    <a:gd name="connsiteY14" fmla="*/ 2420900 h 2420900"/>
                    <a:gd name="connsiteX15" fmla="*/ 1665827 w 3281340"/>
                    <a:gd name="connsiteY15" fmla="*/ 2186830 h 2420900"/>
                    <a:gd name="connsiteX16" fmla="*/ 2109902 w 3281340"/>
                    <a:gd name="connsiteY16" fmla="*/ 1871457 h 2420900"/>
                    <a:gd name="connsiteX17" fmla="*/ 2725700 w 3281340"/>
                    <a:gd name="connsiteY17" fmla="*/ 1210085 h 2420900"/>
                    <a:gd name="connsiteX18" fmla="*/ 3202953 w 3281340"/>
                    <a:gd name="connsiteY18" fmla="*/ 1117113 h 2420900"/>
                    <a:gd name="connsiteX19" fmla="*/ 3281340 w 3281340"/>
                    <a:gd name="connsiteY19" fmla="*/ 844033 h 2420900"/>
                    <a:gd name="connsiteX20" fmla="*/ 2850391 w 3281340"/>
                    <a:gd name="connsiteY20" fmla="*/ 25521 h 2420900"/>
                    <a:gd name="connsiteX0" fmla="*/ 2850391 w 3281340"/>
                    <a:gd name="connsiteY0" fmla="*/ 25521 h 2420900"/>
                    <a:gd name="connsiteX1" fmla="*/ 2123027 w 3281340"/>
                    <a:gd name="connsiteY1" fmla="*/ 217297 h 2420900"/>
                    <a:gd name="connsiteX2" fmla="*/ 1208627 w 3281340"/>
                    <a:gd name="connsiteY2" fmla="*/ 0 h 2420900"/>
                    <a:gd name="connsiteX3" fmla="*/ 543609 w 3281340"/>
                    <a:gd name="connsiteY3" fmla="*/ 254121 h 2420900"/>
                    <a:gd name="connsiteX4" fmla="*/ 211100 w 3281340"/>
                    <a:gd name="connsiteY4" fmla="*/ 545067 h 2420900"/>
                    <a:gd name="connsiteX5" fmla="*/ 0 w 3281340"/>
                    <a:gd name="connsiteY5" fmla="*/ 674861 h 2420900"/>
                    <a:gd name="connsiteX6" fmla="*/ 231882 w 3281340"/>
                    <a:gd name="connsiteY6" fmla="*/ 815230 h 2420900"/>
                    <a:gd name="connsiteX7" fmla="*/ 938463 w 3281340"/>
                    <a:gd name="connsiteY7" fmla="*/ 565848 h 2420900"/>
                    <a:gd name="connsiteX8" fmla="*/ 460482 w 3281340"/>
                    <a:gd name="connsiteY8" fmla="*/ 1064612 h 2420900"/>
                    <a:gd name="connsiteX9" fmla="*/ 231882 w 3281340"/>
                    <a:gd name="connsiteY9" fmla="*/ 1480248 h 2420900"/>
                    <a:gd name="connsiteX10" fmla="*/ 332509 w 3281340"/>
                    <a:gd name="connsiteY10" fmla="*/ 1643951 h 2420900"/>
                    <a:gd name="connsiteX11" fmla="*/ 490743 w 3281340"/>
                    <a:gd name="connsiteY11" fmla="*/ 1720151 h 2420900"/>
                    <a:gd name="connsiteX12" fmla="*/ 751427 w 3281340"/>
                    <a:gd name="connsiteY12" fmla="*/ 1999794 h 2420900"/>
                    <a:gd name="connsiteX13" fmla="*/ 1063154 w 3281340"/>
                    <a:gd name="connsiteY13" fmla="*/ 2249176 h 2420900"/>
                    <a:gd name="connsiteX14" fmla="*/ 1221388 w 3281340"/>
                    <a:gd name="connsiteY14" fmla="*/ 2420900 h 2420900"/>
                    <a:gd name="connsiteX15" fmla="*/ 1665827 w 3281340"/>
                    <a:gd name="connsiteY15" fmla="*/ 2186830 h 2420900"/>
                    <a:gd name="connsiteX16" fmla="*/ 2109902 w 3281340"/>
                    <a:gd name="connsiteY16" fmla="*/ 1871457 h 2420900"/>
                    <a:gd name="connsiteX17" fmla="*/ 2725700 w 3281340"/>
                    <a:gd name="connsiteY17" fmla="*/ 1210085 h 2420900"/>
                    <a:gd name="connsiteX18" fmla="*/ 3202953 w 3281340"/>
                    <a:gd name="connsiteY18" fmla="*/ 1117113 h 2420900"/>
                    <a:gd name="connsiteX19" fmla="*/ 3281340 w 3281340"/>
                    <a:gd name="connsiteY19" fmla="*/ 844033 h 2420900"/>
                    <a:gd name="connsiteX20" fmla="*/ 2850391 w 3281340"/>
                    <a:gd name="connsiteY20" fmla="*/ 25521 h 2420900"/>
                    <a:gd name="connsiteX0" fmla="*/ 2850391 w 3281340"/>
                    <a:gd name="connsiteY0" fmla="*/ 25521 h 2420900"/>
                    <a:gd name="connsiteX1" fmla="*/ 2123027 w 3281340"/>
                    <a:gd name="connsiteY1" fmla="*/ 217297 h 2420900"/>
                    <a:gd name="connsiteX2" fmla="*/ 1208627 w 3281340"/>
                    <a:gd name="connsiteY2" fmla="*/ 0 h 2420900"/>
                    <a:gd name="connsiteX3" fmla="*/ 543609 w 3281340"/>
                    <a:gd name="connsiteY3" fmla="*/ 254121 h 2420900"/>
                    <a:gd name="connsiteX4" fmla="*/ 211100 w 3281340"/>
                    <a:gd name="connsiteY4" fmla="*/ 545067 h 2420900"/>
                    <a:gd name="connsiteX5" fmla="*/ 0 w 3281340"/>
                    <a:gd name="connsiteY5" fmla="*/ 674861 h 2420900"/>
                    <a:gd name="connsiteX6" fmla="*/ 231882 w 3281340"/>
                    <a:gd name="connsiteY6" fmla="*/ 815230 h 2420900"/>
                    <a:gd name="connsiteX7" fmla="*/ 938463 w 3281340"/>
                    <a:gd name="connsiteY7" fmla="*/ 565848 h 2420900"/>
                    <a:gd name="connsiteX8" fmla="*/ 460482 w 3281340"/>
                    <a:gd name="connsiteY8" fmla="*/ 1064612 h 2420900"/>
                    <a:gd name="connsiteX9" fmla="*/ 271987 w 3281340"/>
                    <a:gd name="connsiteY9" fmla="*/ 1396027 h 2420900"/>
                    <a:gd name="connsiteX10" fmla="*/ 332509 w 3281340"/>
                    <a:gd name="connsiteY10" fmla="*/ 1643951 h 2420900"/>
                    <a:gd name="connsiteX11" fmla="*/ 490743 w 3281340"/>
                    <a:gd name="connsiteY11" fmla="*/ 1720151 h 2420900"/>
                    <a:gd name="connsiteX12" fmla="*/ 751427 w 3281340"/>
                    <a:gd name="connsiteY12" fmla="*/ 1999794 h 2420900"/>
                    <a:gd name="connsiteX13" fmla="*/ 1063154 w 3281340"/>
                    <a:gd name="connsiteY13" fmla="*/ 2249176 h 2420900"/>
                    <a:gd name="connsiteX14" fmla="*/ 1221388 w 3281340"/>
                    <a:gd name="connsiteY14" fmla="*/ 2420900 h 2420900"/>
                    <a:gd name="connsiteX15" fmla="*/ 1665827 w 3281340"/>
                    <a:gd name="connsiteY15" fmla="*/ 2186830 h 2420900"/>
                    <a:gd name="connsiteX16" fmla="*/ 2109902 w 3281340"/>
                    <a:gd name="connsiteY16" fmla="*/ 1871457 h 2420900"/>
                    <a:gd name="connsiteX17" fmla="*/ 2725700 w 3281340"/>
                    <a:gd name="connsiteY17" fmla="*/ 1210085 h 2420900"/>
                    <a:gd name="connsiteX18" fmla="*/ 3202953 w 3281340"/>
                    <a:gd name="connsiteY18" fmla="*/ 1117113 h 2420900"/>
                    <a:gd name="connsiteX19" fmla="*/ 3281340 w 3281340"/>
                    <a:gd name="connsiteY19" fmla="*/ 844033 h 2420900"/>
                    <a:gd name="connsiteX20" fmla="*/ 2850391 w 3281340"/>
                    <a:gd name="connsiteY20" fmla="*/ 25521 h 2420900"/>
                    <a:gd name="connsiteX0" fmla="*/ 2850391 w 3281340"/>
                    <a:gd name="connsiteY0" fmla="*/ 25521 h 2420900"/>
                    <a:gd name="connsiteX1" fmla="*/ 2123027 w 3281340"/>
                    <a:gd name="connsiteY1" fmla="*/ 217297 h 2420900"/>
                    <a:gd name="connsiteX2" fmla="*/ 1208627 w 3281340"/>
                    <a:gd name="connsiteY2" fmla="*/ 0 h 2420900"/>
                    <a:gd name="connsiteX3" fmla="*/ 543609 w 3281340"/>
                    <a:gd name="connsiteY3" fmla="*/ 254121 h 2420900"/>
                    <a:gd name="connsiteX4" fmla="*/ 211100 w 3281340"/>
                    <a:gd name="connsiteY4" fmla="*/ 545067 h 2420900"/>
                    <a:gd name="connsiteX5" fmla="*/ 0 w 3281340"/>
                    <a:gd name="connsiteY5" fmla="*/ 674861 h 2420900"/>
                    <a:gd name="connsiteX6" fmla="*/ 231882 w 3281340"/>
                    <a:gd name="connsiteY6" fmla="*/ 815230 h 2420900"/>
                    <a:gd name="connsiteX7" fmla="*/ 938463 w 3281340"/>
                    <a:gd name="connsiteY7" fmla="*/ 565848 h 2420900"/>
                    <a:gd name="connsiteX8" fmla="*/ 460482 w 3281340"/>
                    <a:gd name="connsiteY8" fmla="*/ 1064612 h 2420900"/>
                    <a:gd name="connsiteX9" fmla="*/ 271987 w 3281340"/>
                    <a:gd name="connsiteY9" fmla="*/ 1396027 h 2420900"/>
                    <a:gd name="connsiteX10" fmla="*/ 332509 w 3281340"/>
                    <a:gd name="connsiteY10" fmla="*/ 1643951 h 2420900"/>
                    <a:gd name="connsiteX11" fmla="*/ 490743 w 3281340"/>
                    <a:gd name="connsiteY11" fmla="*/ 1720151 h 2420900"/>
                    <a:gd name="connsiteX12" fmla="*/ 751427 w 3281340"/>
                    <a:gd name="connsiteY12" fmla="*/ 1999794 h 2420900"/>
                    <a:gd name="connsiteX13" fmla="*/ 1063154 w 3281340"/>
                    <a:gd name="connsiteY13" fmla="*/ 2249176 h 2420900"/>
                    <a:gd name="connsiteX14" fmla="*/ 1221388 w 3281340"/>
                    <a:gd name="connsiteY14" fmla="*/ 2420900 h 2420900"/>
                    <a:gd name="connsiteX15" fmla="*/ 1665827 w 3281340"/>
                    <a:gd name="connsiteY15" fmla="*/ 2186830 h 2420900"/>
                    <a:gd name="connsiteX16" fmla="*/ 2109902 w 3281340"/>
                    <a:gd name="connsiteY16" fmla="*/ 1871457 h 2420900"/>
                    <a:gd name="connsiteX17" fmla="*/ 2725700 w 3281340"/>
                    <a:gd name="connsiteY17" fmla="*/ 1210085 h 2420900"/>
                    <a:gd name="connsiteX18" fmla="*/ 3202953 w 3281340"/>
                    <a:gd name="connsiteY18" fmla="*/ 1117113 h 2420900"/>
                    <a:gd name="connsiteX19" fmla="*/ 3281340 w 3281340"/>
                    <a:gd name="connsiteY19" fmla="*/ 844033 h 2420900"/>
                    <a:gd name="connsiteX20" fmla="*/ 2850391 w 3281340"/>
                    <a:gd name="connsiteY20" fmla="*/ 25521 h 2420900"/>
                    <a:gd name="connsiteX0" fmla="*/ 2850391 w 3281340"/>
                    <a:gd name="connsiteY0" fmla="*/ 25521 h 2420900"/>
                    <a:gd name="connsiteX1" fmla="*/ 2123027 w 3281340"/>
                    <a:gd name="connsiteY1" fmla="*/ 217297 h 2420900"/>
                    <a:gd name="connsiteX2" fmla="*/ 1208627 w 3281340"/>
                    <a:gd name="connsiteY2" fmla="*/ 0 h 2420900"/>
                    <a:gd name="connsiteX3" fmla="*/ 543609 w 3281340"/>
                    <a:gd name="connsiteY3" fmla="*/ 254121 h 2420900"/>
                    <a:gd name="connsiteX4" fmla="*/ 211100 w 3281340"/>
                    <a:gd name="connsiteY4" fmla="*/ 545067 h 2420900"/>
                    <a:gd name="connsiteX5" fmla="*/ 0 w 3281340"/>
                    <a:gd name="connsiteY5" fmla="*/ 674861 h 2420900"/>
                    <a:gd name="connsiteX6" fmla="*/ 231882 w 3281340"/>
                    <a:gd name="connsiteY6" fmla="*/ 815230 h 2420900"/>
                    <a:gd name="connsiteX7" fmla="*/ 938463 w 3281340"/>
                    <a:gd name="connsiteY7" fmla="*/ 565848 h 2420900"/>
                    <a:gd name="connsiteX8" fmla="*/ 460482 w 3281340"/>
                    <a:gd name="connsiteY8" fmla="*/ 1064612 h 2420900"/>
                    <a:gd name="connsiteX9" fmla="*/ 271987 w 3281340"/>
                    <a:gd name="connsiteY9" fmla="*/ 1396027 h 2420900"/>
                    <a:gd name="connsiteX10" fmla="*/ 332509 w 3281340"/>
                    <a:gd name="connsiteY10" fmla="*/ 1643951 h 2420900"/>
                    <a:gd name="connsiteX11" fmla="*/ 490743 w 3281340"/>
                    <a:gd name="connsiteY11" fmla="*/ 1720151 h 2420900"/>
                    <a:gd name="connsiteX12" fmla="*/ 751427 w 3281340"/>
                    <a:gd name="connsiteY12" fmla="*/ 1999794 h 2420900"/>
                    <a:gd name="connsiteX13" fmla="*/ 1063154 w 3281340"/>
                    <a:gd name="connsiteY13" fmla="*/ 2249176 h 2420900"/>
                    <a:gd name="connsiteX14" fmla="*/ 1221388 w 3281340"/>
                    <a:gd name="connsiteY14" fmla="*/ 2420900 h 2420900"/>
                    <a:gd name="connsiteX15" fmla="*/ 1665827 w 3281340"/>
                    <a:gd name="connsiteY15" fmla="*/ 2186830 h 2420900"/>
                    <a:gd name="connsiteX16" fmla="*/ 2109902 w 3281340"/>
                    <a:gd name="connsiteY16" fmla="*/ 1871457 h 2420900"/>
                    <a:gd name="connsiteX17" fmla="*/ 2725700 w 3281340"/>
                    <a:gd name="connsiteY17" fmla="*/ 1210085 h 2420900"/>
                    <a:gd name="connsiteX18" fmla="*/ 3202953 w 3281340"/>
                    <a:gd name="connsiteY18" fmla="*/ 1117113 h 2420900"/>
                    <a:gd name="connsiteX19" fmla="*/ 3281340 w 3281340"/>
                    <a:gd name="connsiteY19" fmla="*/ 844033 h 2420900"/>
                    <a:gd name="connsiteX20" fmla="*/ 2850391 w 3281340"/>
                    <a:gd name="connsiteY20" fmla="*/ 25521 h 2420900"/>
                    <a:gd name="connsiteX0" fmla="*/ 2850391 w 3281340"/>
                    <a:gd name="connsiteY0" fmla="*/ 25521 h 2420900"/>
                    <a:gd name="connsiteX1" fmla="*/ 2123027 w 3281340"/>
                    <a:gd name="connsiteY1" fmla="*/ 217297 h 2420900"/>
                    <a:gd name="connsiteX2" fmla="*/ 1208627 w 3281340"/>
                    <a:gd name="connsiteY2" fmla="*/ 0 h 2420900"/>
                    <a:gd name="connsiteX3" fmla="*/ 543609 w 3281340"/>
                    <a:gd name="connsiteY3" fmla="*/ 254121 h 2420900"/>
                    <a:gd name="connsiteX4" fmla="*/ 211100 w 3281340"/>
                    <a:gd name="connsiteY4" fmla="*/ 545067 h 2420900"/>
                    <a:gd name="connsiteX5" fmla="*/ 0 w 3281340"/>
                    <a:gd name="connsiteY5" fmla="*/ 674861 h 2420900"/>
                    <a:gd name="connsiteX6" fmla="*/ 231882 w 3281340"/>
                    <a:gd name="connsiteY6" fmla="*/ 815230 h 2420900"/>
                    <a:gd name="connsiteX7" fmla="*/ 938463 w 3281340"/>
                    <a:gd name="connsiteY7" fmla="*/ 565848 h 2420900"/>
                    <a:gd name="connsiteX8" fmla="*/ 460482 w 3281340"/>
                    <a:gd name="connsiteY8" fmla="*/ 1064612 h 2420900"/>
                    <a:gd name="connsiteX9" fmla="*/ 271987 w 3281340"/>
                    <a:gd name="connsiteY9" fmla="*/ 1396027 h 2420900"/>
                    <a:gd name="connsiteX10" fmla="*/ 312456 w 3281340"/>
                    <a:gd name="connsiteY10" fmla="*/ 1611866 h 2420900"/>
                    <a:gd name="connsiteX11" fmla="*/ 490743 w 3281340"/>
                    <a:gd name="connsiteY11" fmla="*/ 1720151 h 2420900"/>
                    <a:gd name="connsiteX12" fmla="*/ 751427 w 3281340"/>
                    <a:gd name="connsiteY12" fmla="*/ 1999794 h 2420900"/>
                    <a:gd name="connsiteX13" fmla="*/ 1063154 w 3281340"/>
                    <a:gd name="connsiteY13" fmla="*/ 2249176 h 2420900"/>
                    <a:gd name="connsiteX14" fmla="*/ 1221388 w 3281340"/>
                    <a:gd name="connsiteY14" fmla="*/ 2420900 h 2420900"/>
                    <a:gd name="connsiteX15" fmla="*/ 1665827 w 3281340"/>
                    <a:gd name="connsiteY15" fmla="*/ 2186830 h 2420900"/>
                    <a:gd name="connsiteX16" fmla="*/ 2109902 w 3281340"/>
                    <a:gd name="connsiteY16" fmla="*/ 1871457 h 2420900"/>
                    <a:gd name="connsiteX17" fmla="*/ 2725700 w 3281340"/>
                    <a:gd name="connsiteY17" fmla="*/ 1210085 h 2420900"/>
                    <a:gd name="connsiteX18" fmla="*/ 3202953 w 3281340"/>
                    <a:gd name="connsiteY18" fmla="*/ 1117113 h 2420900"/>
                    <a:gd name="connsiteX19" fmla="*/ 3281340 w 3281340"/>
                    <a:gd name="connsiteY19" fmla="*/ 844033 h 2420900"/>
                    <a:gd name="connsiteX20" fmla="*/ 2850391 w 3281340"/>
                    <a:gd name="connsiteY20" fmla="*/ 25521 h 2420900"/>
                    <a:gd name="connsiteX0" fmla="*/ 2850391 w 3281340"/>
                    <a:gd name="connsiteY0" fmla="*/ 25521 h 2420900"/>
                    <a:gd name="connsiteX1" fmla="*/ 2123027 w 3281340"/>
                    <a:gd name="connsiteY1" fmla="*/ 217297 h 2420900"/>
                    <a:gd name="connsiteX2" fmla="*/ 1208627 w 3281340"/>
                    <a:gd name="connsiteY2" fmla="*/ 0 h 2420900"/>
                    <a:gd name="connsiteX3" fmla="*/ 543609 w 3281340"/>
                    <a:gd name="connsiteY3" fmla="*/ 254121 h 2420900"/>
                    <a:gd name="connsiteX4" fmla="*/ 211100 w 3281340"/>
                    <a:gd name="connsiteY4" fmla="*/ 545067 h 2420900"/>
                    <a:gd name="connsiteX5" fmla="*/ 0 w 3281340"/>
                    <a:gd name="connsiteY5" fmla="*/ 674861 h 2420900"/>
                    <a:gd name="connsiteX6" fmla="*/ 231882 w 3281340"/>
                    <a:gd name="connsiteY6" fmla="*/ 815230 h 2420900"/>
                    <a:gd name="connsiteX7" fmla="*/ 938463 w 3281340"/>
                    <a:gd name="connsiteY7" fmla="*/ 565848 h 2420900"/>
                    <a:gd name="connsiteX8" fmla="*/ 460482 w 3281340"/>
                    <a:gd name="connsiteY8" fmla="*/ 1064612 h 2420900"/>
                    <a:gd name="connsiteX9" fmla="*/ 271987 w 3281340"/>
                    <a:gd name="connsiteY9" fmla="*/ 1396027 h 2420900"/>
                    <a:gd name="connsiteX10" fmla="*/ 312456 w 3281340"/>
                    <a:gd name="connsiteY10" fmla="*/ 1611866 h 2420900"/>
                    <a:gd name="connsiteX11" fmla="*/ 490743 w 3281340"/>
                    <a:gd name="connsiteY11" fmla="*/ 1720151 h 2420900"/>
                    <a:gd name="connsiteX12" fmla="*/ 751427 w 3281340"/>
                    <a:gd name="connsiteY12" fmla="*/ 1999794 h 2420900"/>
                    <a:gd name="connsiteX13" fmla="*/ 1063154 w 3281340"/>
                    <a:gd name="connsiteY13" fmla="*/ 2249176 h 2420900"/>
                    <a:gd name="connsiteX14" fmla="*/ 1221388 w 3281340"/>
                    <a:gd name="connsiteY14" fmla="*/ 2420900 h 2420900"/>
                    <a:gd name="connsiteX15" fmla="*/ 1665827 w 3281340"/>
                    <a:gd name="connsiteY15" fmla="*/ 2186830 h 2420900"/>
                    <a:gd name="connsiteX16" fmla="*/ 2109902 w 3281340"/>
                    <a:gd name="connsiteY16" fmla="*/ 1871457 h 2420900"/>
                    <a:gd name="connsiteX17" fmla="*/ 2725700 w 3281340"/>
                    <a:gd name="connsiteY17" fmla="*/ 1210085 h 2420900"/>
                    <a:gd name="connsiteX18" fmla="*/ 3249775 w 3281340"/>
                    <a:gd name="connsiteY18" fmla="*/ 1075800 h 2420900"/>
                    <a:gd name="connsiteX19" fmla="*/ 3281340 w 3281340"/>
                    <a:gd name="connsiteY19" fmla="*/ 844033 h 2420900"/>
                    <a:gd name="connsiteX20" fmla="*/ 2850391 w 3281340"/>
                    <a:gd name="connsiteY20" fmla="*/ 25521 h 2420900"/>
                    <a:gd name="connsiteX0" fmla="*/ 2850391 w 3281340"/>
                    <a:gd name="connsiteY0" fmla="*/ 25521 h 2420900"/>
                    <a:gd name="connsiteX1" fmla="*/ 2123027 w 3281340"/>
                    <a:gd name="connsiteY1" fmla="*/ 217297 h 2420900"/>
                    <a:gd name="connsiteX2" fmla="*/ 1208627 w 3281340"/>
                    <a:gd name="connsiteY2" fmla="*/ 0 h 2420900"/>
                    <a:gd name="connsiteX3" fmla="*/ 543609 w 3281340"/>
                    <a:gd name="connsiteY3" fmla="*/ 254121 h 2420900"/>
                    <a:gd name="connsiteX4" fmla="*/ 211100 w 3281340"/>
                    <a:gd name="connsiteY4" fmla="*/ 545067 h 2420900"/>
                    <a:gd name="connsiteX5" fmla="*/ 0 w 3281340"/>
                    <a:gd name="connsiteY5" fmla="*/ 674861 h 2420900"/>
                    <a:gd name="connsiteX6" fmla="*/ 231882 w 3281340"/>
                    <a:gd name="connsiteY6" fmla="*/ 815230 h 2420900"/>
                    <a:gd name="connsiteX7" fmla="*/ 938463 w 3281340"/>
                    <a:gd name="connsiteY7" fmla="*/ 565848 h 2420900"/>
                    <a:gd name="connsiteX8" fmla="*/ 460482 w 3281340"/>
                    <a:gd name="connsiteY8" fmla="*/ 1064612 h 2420900"/>
                    <a:gd name="connsiteX9" fmla="*/ 271987 w 3281340"/>
                    <a:gd name="connsiteY9" fmla="*/ 1396027 h 2420900"/>
                    <a:gd name="connsiteX10" fmla="*/ 312456 w 3281340"/>
                    <a:gd name="connsiteY10" fmla="*/ 1611866 h 2420900"/>
                    <a:gd name="connsiteX11" fmla="*/ 490743 w 3281340"/>
                    <a:gd name="connsiteY11" fmla="*/ 1720151 h 2420900"/>
                    <a:gd name="connsiteX12" fmla="*/ 751427 w 3281340"/>
                    <a:gd name="connsiteY12" fmla="*/ 1999794 h 2420900"/>
                    <a:gd name="connsiteX13" fmla="*/ 1063154 w 3281340"/>
                    <a:gd name="connsiteY13" fmla="*/ 2249176 h 2420900"/>
                    <a:gd name="connsiteX14" fmla="*/ 1221388 w 3281340"/>
                    <a:gd name="connsiteY14" fmla="*/ 2420900 h 2420900"/>
                    <a:gd name="connsiteX15" fmla="*/ 1665827 w 3281340"/>
                    <a:gd name="connsiteY15" fmla="*/ 2186830 h 2420900"/>
                    <a:gd name="connsiteX16" fmla="*/ 2109902 w 3281340"/>
                    <a:gd name="connsiteY16" fmla="*/ 1871457 h 2420900"/>
                    <a:gd name="connsiteX17" fmla="*/ 2725700 w 3281340"/>
                    <a:gd name="connsiteY17" fmla="*/ 1210085 h 2420900"/>
                    <a:gd name="connsiteX18" fmla="*/ 3249775 w 3281340"/>
                    <a:gd name="connsiteY18" fmla="*/ 1075800 h 2420900"/>
                    <a:gd name="connsiteX19" fmla="*/ 3281340 w 3281340"/>
                    <a:gd name="connsiteY19" fmla="*/ 844033 h 2420900"/>
                    <a:gd name="connsiteX20" fmla="*/ 2850391 w 3281340"/>
                    <a:gd name="connsiteY20" fmla="*/ 25521 h 2420900"/>
                    <a:gd name="connsiteX0" fmla="*/ 2850391 w 3310446"/>
                    <a:gd name="connsiteY0" fmla="*/ 25521 h 2420900"/>
                    <a:gd name="connsiteX1" fmla="*/ 2123027 w 3310446"/>
                    <a:gd name="connsiteY1" fmla="*/ 217297 h 2420900"/>
                    <a:gd name="connsiteX2" fmla="*/ 1208627 w 3310446"/>
                    <a:gd name="connsiteY2" fmla="*/ 0 h 2420900"/>
                    <a:gd name="connsiteX3" fmla="*/ 543609 w 3310446"/>
                    <a:gd name="connsiteY3" fmla="*/ 254121 h 2420900"/>
                    <a:gd name="connsiteX4" fmla="*/ 211100 w 3310446"/>
                    <a:gd name="connsiteY4" fmla="*/ 545067 h 2420900"/>
                    <a:gd name="connsiteX5" fmla="*/ 0 w 3310446"/>
                    <a:gd name="connsiteY5" fmla="*/ 674861 h 2420900"/>
                    <a:gd name="connsiteX6" fmla="*/ 231882 w 3310446"/>
                    <a:gd name="connsiteY6" fmla="*/ 815230 h 2420900"/>
                    <a:gd name="connsiteX7" fmla="*/ 938463 w 3310446"/>
                    <a:gd name="connsiteY7" fmla="*/ 565848 h 2420900"/>
                    <a:gd name="connsiteX8" fmla="*/ 460482 w 3310446"/>
                    <a:gd name="connsiteY8" fmla="*/ 1064612 h 2420900"/>
                    <a:gd name="connsiteX9" fmla="*/ 271987 w 3310446"/>
                    <a:gd name="connsiteY9" fmla="*/ 1396027 h 2420900"/>
                    <a:gd name="connsiteX10" fmla="*/ 312456 w 3310446"/>
                    <a:gd name="connsiteY10" fmla="*/ 1611866 h 2420900"/>
                    <a:gd name="connsiteX11" fmla="*/ 490743 w 3310446"/>
                    <a:gd name="connsiteY11" fmla="*/ 1720151 h 2420900"/>
                    <a:gd name="connsiteX12" fmla="*/ 751427 w 3310446"/>
                    <a:gd name="connsiteY12" fmla="*/ 1999794 h 2420900"/>
                    <a:gd name="connsiteX13" fmla="*/ 1063154 w 3310446"/>
                    <a:gd name="connsiteY13" fmla="*/ 2249176 h 2420900"/>
                    <a:gd name="connsiteX14" fmla="*/ 1221388 w 3310446"/>
                    <a:gd name="connsiteY14" fmla="*/ 2420900 h 2420900"/>
                    <a:gd name="connsiteX15" fmla="*/ 1665827 w 3310446"/>
                    <a:gd name="connsiteY15" fmla="*/ 2186830 h 2420900"/>
                    <a:gd name="connsiteX16" fmla="*/ 2109902 w 3310446"/>
                    <a:gd name="connsiteY16" fmla="*/ 1871457 h 2420900"/>
                    <a:gd name="connsiteX17" fmla="*/ 2725700 w 3310446"/>
                    <a:gd name="connsiteY17" fmla="*/ 1210085 h 2420900"/>
                    <a:gd name="connsiteX18" fmla="*/ 3310446 w 3310446"/>
                    <a:gd name="connsiteY18" fmla="*/ 1049798 h 2420900"/>
                    <a:gd name="connsiteX19" fmla="*/ 3281340 w 3310446"/>
                    <a:gd name="connsiteY19" fmla="*/ 844033 h 2420900"/>
                    <a:gd name="connsiteX20" fmla="*/ 2850391 w 3310446"/>
                    <a:gd name="connsiteY20" fmla="*/ 25521 h 2420900"/>
                    <a:gd name="connsiteX0" fmla="*/ 2850391 w 3310446"/>
                    <a:gd name="connsiteY0" fmla="*/ 25521 h 2420900"/>
                    <a:gd name="connsiteX1" fmla="*/ 2123027 w 3310446"/>
                    <a:gd name="connsiteY1" fmla="*/ 217297 h 2420900"/>
                    <a:gd name="connsiteX2" fmla="*/ 1208627 w 3310446"/>
                    <a:gd name="connsiteY2" fmla="*/ 0 h 2420900"/>
                    <a:gd name="connsiteX3" fmla="*/ 543609 w 3310446"/>
                    <a:gd name="connsiteY3" fmla="*/ 254121 h 2420900"/>
                    <a:gd name="connsiteX4" fmla="*/ 211100 w 3310446"/>
                    <a:gd name="connsiteY4" fmla="*/ 545067 h 2420900"/>
                    <a:gd name="connsiteX5" fmla="*/ 0 w 3310446"/>
                    <a:gd name="connsiteY5" fmla="*/ 674861 h 2420900"/>
                    <a:gd name="connsiteX6" fmla="*/ 231882 w 3310446"/>
                    <a:gd name="connsiteY6" fmla="*/ 815230 h 2420900"/>
                    <a:gd name="connsiteX7" fmla="*/ 938463 w 3310446"/>
                    <a:gd name="connsiteY7" fmla="*/ 565848 h 2420900"/>
                    <a:gd name="connsiteX8" fmla="*/ 460482 w 3310446"/>
                    <a:gd name="connsiteY8" fmla="*/ 1064612 h 2420900"/>
                    <a:gd name="connsiteX9" fmla="*/ 271987 w 3310446"/>
                    <a:gd name="connsiteY9" fmla="*/ 1396027 h 2420900"/>
                    <a:gd name="connsiteX10" fmla="*/ 312456 w 3310446"/>
                    <a:gd name="connsiteY10" fmla="*/ 1611866 h 2420900"/>
                    <a:gd name="connsiteX11" fmla="*/ 490743 w 3310446"/>
                    <a:gd name="connsiteY11" fmla="*/ 1720151 h 2420900"/>
                    <a:gd name="connsiteX12" fmla="*/ 751427 w 3310446"/>
                    <a:gd name="connsiteY12" fmla="*/ 1999794 h 2420900"/>
                    <a:gd name="connsiteX13" fmla="*/ 1063154 w 3310446"/>
                    <a:gd name="connsiteY13" fmla="*/ 2249176 h 2420900"/>
                    <a:gd name="connsiteX14" fmla="*/ 1221388 w 3310446"/>
                    <a:gd name="connsiteY14" fmla="*/ 2420900 h 2420900"/>
                    <a:gd name="connsiteX15" fmla="*/ 1665827 w 3310446"/>
                    <a:gd name="connsiteY15" fmla="*/ 2186830 h 2420900"/>
                    <a:gd name="connsiteX16" fmla="*/ 2109902 w 3310446"/>
                    <a:gd name="connsiteY16" fmla="*/ 1871457 h 2420900"/>
                    <a:gd name="connsiteX17" fmla="*/ 2725700 w 3310446"/>
                    <a:gd name="connsiteY17" fmla="*/ 1210085 h 2420900"/>
                    <a:gd name="connsiteX18" fmla="*/ 3310446 w 3310446"/>
                    <a:gd name="connsiteY18" fmla="*/ 1023796 h 2420900"/>
                    <a:gd name="connsiteX19" fmla="*/ 3281340 w 3310446"/>
                    <a:gd name="connsiteY19" fmla="*/ 844033 h 2420900"/>
                    <a:gd name="connsiteX20" fmla="*/ 2850391 w 3310446"/>
                    <a:gd name="connsiteY20" fmla="*/ 25521 h 2420900"/>
                    <a:gd name="connsiteX0" fmla="*/ 2850391 w 3310446"/>
                    <a:gd name="connsiteY0" fmla="*/ 25521 h 2420900"/>
                    <a:gd name="connsiteX1" fmla="*/ 2123027 w 3310446"/>
                    <a:gd name="connsiteY1" fmla="*/ 217297 h 2420900"/>
                    <a:gd name="connsiteX2" fmla="*/ 1208627 w 3310446"/>
                    <a:gd name="connsiteY2" fmla="*/ 0 h 2420900"/>
                    <a:gd name="connsiteX3" fmla="*/ 543609 w 3310446"/>
                    <a:gd name="connsiteY3" fmla="*/ 254121 h 2420900"/>
                    <a:gd name="connsiteX4" fmla="*/ 211100 w 3310446"/>
                    <a:gd name="connsiteY4" fmla="*/ 545067 h 2420900"/>
                    <a:gd name="connsiteX5" fmla="*/ 0 w 3310446"/>
                    <a:gd name="connsiteY5" fmla="*/ 674861 h 2420900"/>
                    <a:gd name="connsiteX6" fmla="*/ 231882 w 3310446"/>
                    <a:gd name="connsiteY6" fmla="*/ 815230 h 2420900"/>
                    <a:gd name="connsiteX7" fmla="*/ 938463 w 3310446"/>
                    <a:gd name="connsiteY7" fmla="*/ 565848 h 2420900"/>
                    <a:gd name="connsiteX8" fmla="*/ 460482 w 3310446"/>
                    <a:gd name="connsiteY8" fmla="*/ 1064612 h 2420900"/>
                    <a:gd name="connsiteX9" fmla="*/ 271987 w 3310446"/>
                    <a:gd name="connsiteY9" fmla="*/ 1396027 h 2420900"/>
                    <a:gd name="connsiteX10" fmla="*/ 312456 w 3310446"/>
                    <a:gd name="connsiteY10" fmla="*/ 1611866 h 2420900"/>
                    <a:gd name="connsiteX11" fmla="*/ 490743 w 3310446"/>
                    <a:gd name="connsiteY11" fmla="*/ 1720151 h 2420900"/>
                    <a:gd name="connsiteX12" fmla="*/ 751427 w 3310446"/>
                    <a:gd name="connsiteY12" fmla="*/ 1999794 h 2420900"/>
                    <a:gd name="connsiteX13" fmla="*/ 1063154 w 3310446"/>
                    <a:gd name="connsiteY13" fmla="*/ 2249176 h 2420900"/>
                    <a:gd name="connsiteX14" fmla="*/ 1221388 w 3310446"/>
                    <a:gd name="connsiteY14" fmla="*/ 2420900 h 2420900"/>
                    <a:gd name="connsiteX15" fmla="*/ 1665827 w 3310446"/>
                    <a:gd name="connsiteY15" fmla="*/ 2186830 h 2420900"/>
                    <a:gd name="connsiteX16" fmla="*/ 2109902 w 3310446"/>
                    <a:gd name="connsiteY16" fmla="*/ 1871457 h 2420900"/>
                    <a:gd name="connsiteX17" fmla="*/ 2725700 w 3310446"/>
                    <a:gd name="connsiteY17" fmla="*/ 1210085 h 2420900"/>
                    <a:gd name="connsiteX18" fmla="*/ 3310446 w 3310446"/>
                    <a:gd name="connsiteY18" fmla="*/ 1023796 h 2420900"/>
                    <a:gd name="connsiteX19" fmla="*/ 3281340 w 3310446"/>
                    <a:gd name="connsiteY19" fmla="*/ 844033 h 2420900"/>
                    <a:gd name="connsiteX20" fmla="*/ 2850391 w 3310446"/>
                    <a:gd name="connsiteY20" fmla="*/ 25521 h 2420900"/>
                    <a:gd name="connsiteX0" fmla="*/ 2850391 w 3310446"/>
                    <a:gd name="connsiteY0" fmla="*/ 25521 h 2420900"/>
                    <a:gd name="connsiteX1" fmla="*/ 2123027 w 3310446"/>
                    <a:gd name="connsiteY1" fmla="*/ 217297 h 2420900"/>
                    <a:gd name="connsiteX2" fmla="*/ 1208627 w 3310446"/>
                    <a:gd name="connsiteY2" fmla="*/ 0 h 2420900"/>
                    <a:gd name="connsiteX3" fmla="*/ 543609 w 3310446"/>
                    <a:gd name="connsiteY3" fmla="*/ 254121 h 2420900"/>
                    <a:gd name="connsiteX4" fmla="*/ 211100 w 3310446"/>
                    <a:gd name="connsiteY4" fmla="*/ 545067 h 2420900"/>
                    <a:gd name="connsiteX5" fmla="*/ 0 w 3310446"/>
                    <a:gd name="connsiteY5" fmla="*/ 674861 h 2420900"/>
                    <a:gd name="connsiteX6" fmla="*/ 231882 w 3310446"/>
                    <a:gd name="connsiteY6" fmla="*/ 815230 h 2420900"/>
                    <a:gd name="connsiteX7" fmla="*/ 938463 w 3310446"/>
                    <a:gd name="connsiteY7" fmla="*/ 565848 h 2420900"/>
                    <a:gd name="connsiteX8" fmla="*/ 460482 w 3310446"/>
                    <a:gd name="connsiteY8" fmla="*/ 1064612 h 2420900"/>
                    <a:gd name="connsiteX9" fmla="*/ 271987 w 3310446"/>
                    <a:gd name="connsiteY9" fmla="*/ 1396027 h 2420900"/>
                    <a:gd name="connsiteX10" fmla="*/ 312456 w 3310446"/>
                    <a:gd name="connsiteY10" fmla="*/ 1611866 h 2420900"/>
                    <a:gd name="connsiteX11" fmla="*/ 490743 w 3310446"/>
                    <a:gd name="connsiteY11" fmla="*/ 1720151 h 2420900"/>
                    <a:gd name="connsiteX12" fmla="*/ 751427 w 3310446"/>
                    <a:gd name="connsiteY12" fmla="*/ 1999794 h 2420900"/>
                    <a:gd name="connsiteX13" fmla="*/ 1063154 w 3310446"/>
                    <a:gd name="connsiteY13" fmla="*/ 2249176 h 2420900"/>
                    <a:gd name="connsiteX14" fmla="*/ 1221388 w 3310446"/>
                    <a:gd name="connsiteY14" fmla="*/ 2420900 h 2420900"/>
                    <a:gd name="connsiteX15" fmla="*/ 1665827 w 3310446"/>
                    <a:gd name="connsiteY15" fmla="*/ 2186830 h 2420900"/>
                    <a:gd name="connsiteX16" fmla="*/ 2109902 w 3310446"/>
                    <a:gd name="connsiteY16" fmla="*/ 1871457 h 2420900"/>
                    <a:gd name="connsiteX17" fmla="*/ 2725700 w 3310446"/>
                    <a:gd name="connsiteY17" fmla="*/ 1210085 h 2420900"/>
                    <a:gd name="connsiteX18" fmla="*/ 3310446 w 3310446"/>
                    <a:gd name="connsiteY18" fmla="*/ 1049798 h 2420900"/>
                    <a:gd name="connsiteX19" fmla="*/ 3281340 w 3310446"/>
                    <a:gd name="connsiteY19" fmla="*/ 844033 h 2420900"/>
                    <a:gd name="connsiteX20" fmla="*/ 2850391 w 3310446"/>
                    <a:gd name="connsiteY20" fmla="*/ 25521 h 2420900"/>
                    <a:gd name="connsiteX0" fmla="*/ 2850391 w 3310446"/>
                    <a:gd name="connsiteY0" fmla="*/ 25521 h 2420900"/>
                    <a:gd name="connsiteX1" fmla="*/ 2123027 w 3310446"/>
                    <a:gd name="connsiteY1" fmla="*/ 217297 h 2420900"/>
                    <a:gd name="connsiteX2" fmla="*/ 1208627 w 3310446"/>
                    <a:gd name="connsiteY2" fmla="*/ 0 h 2420900"/>
                    <a:gd name="connsiteX3" fmla="*/ 543609 w 3310446"/>
                    <a:gd name="connsiteY3" fmla="*/ 254121 h 2420900"/>
                    <a:gd name="connsiteX4" fmla="*/ 211100 w 3310446"/>
                    <a:gd name="connsiteY4" fmla="*/ 545067 h 2420900"/>
                    <a:gd name="connsiteX5" fmla="*/ 0 w 3310446"/>
                    <a:gd name="connsiteY5" fmla="*/ 674861 h 2420900"/>
                    <a:gd name="connsiteX6" fmla="*/ 231882 w 3310446"/>
                    <a:gd name="connsiteY6" fmla="*/ 815230 h 2420900"/>
                    <a:gd name="connsiteX7" fmla="*/ 938463 w 3310446"/>
                    <a:gd name="connsiteY7" fmla="*/ 565848 h 2420900"/>
                    <a:gd name="connsiteX8" fmla="*/ 460482 w 3310446"/>
                    <a:gd name="connsiteY8" fmla="*/ 1064612 h 2420900"/>
                    <a:gd name="connsiteX9" fmla="*/ 271987 w 3310446"/>
                    <a:gd name="connsiteY9" fmla="*/ 1396027 h 2420900"/>
                    <a:gd name="connsiteX10" fmla="*/ 312456 w 3310446"/>
                    <a:gd name="connsiteY10" fmla="*/ 1611866 h 2420900"/>
                    <a:gd name="connsiteX11" fmla="*/ 490743 w 3310446"/>
                    <a:gd name="connsiteY11" fmla="*/ 1720151 h 2420900"/>
                    <a:gd name="connsiteX12" fmla="*/ 751427 w 3310446"/>
                    <a:gd name="connsiteY12" fmla="*/ 1999794 h 2420900"/>
                    <a:gd name="connsiteX13" fmla="*/ 1063154 w 3310446"/>
                    <a:gd name="connsiteY13" fmla="*/ 2249176 h 2420900"/>
                    <a:gd name="connsiteX14" fmla="*/ 1221388 w 3310446"/>
                    <a:gd name="connsiteY14" fmla="*/ 2420900 h 2420900"/>
                    <a:gd name="connsiteX15" fmla="*/ 1665827 w 3310446"/>
                    <a:gd name="connsiteY15" fmla="*/ 2186830 h 2420900"/>
                    <a:gd name="connsiteX16" fmla="*/ 2109902 w 3310446"/>
                    <a:gd name="connsiteY16" fmla="*/ 1871457 h 2420900"/>
                    <a:gd name="connsiteX17" fmla="*/ 2725700 w 3310446"/>
                    <a:gd name="connsiteY17" fmla="*/ 1210085 h 2420900"/>
                    <a:gd name="connsiteX18" fmla="*/ 3310446 w 3310446"/>
                    <a:gd name="connsiteY18" fmla="*/ 1049798 h 2420900"/>
                    <a:gd name="connsiteX19" fmla="*/ 3281340 w 3310446"/>
                    <a:gd name="connsiteY19" fmla="*/ 844033 h 2420900"/>
                    <a:gd name="connsiteX20" fmla="*/ 2850391 w 3310446"/>
                    <a:gd name="connsiteY20" fmla="*/ 25521 h 2420900"/>
                    <a:gd name="connsiteX0" fmla="*/ 2850391 w 3310446"/>
                    <a:gd name="connsiteY0" fmla="*/ 25521 h 2420900"/>
                    <a:gd name="connsiteX1" fmla="*/ 2123027 w 3310446"/>
                    <a:gd name="connsiteY1" fmla="*/ 217297 h 2420900"/>
                    <a:gd name="connsiteX2" fmla="*/ 1208627 w 3310446"/>
                    <a:gd name="connsiteY2" fmla="*/ 0 h 2420900"/>
                    <a:gd name="connsiteX3" fmla="*/ 543609 w 3310446"/>
                    <a:gd name="connsiteY3" fmla="*/ 254121 h 2420900"/>
                    <a:gd name="connsiteX4" fmla="*/ 211100 w 3310446"/>
                    <a:gd name="connsiteY4" fmla="*/ 545067 h 2420900"/>
                    <a:gd name="connsiteX5" fmla="*/ 0 w 3310446"/>
                    <a:gd name="connsiteY5" fmla="*/ 674861 h 2420900"/>
                    <a:gd name="connsiteX6" fmla="*/ 231882 w 3310446"/>
                    <a:gd name="connsiteY6" fmla="*/ 815230 h 2420900"/>
                    <a:gd name="connsiteX7" fmla="*/ 938463 w 3310446"/>
                    <a:gd name="connsiteY7" fmla="*/ 565848 h 2420900"/>
                    <a:gd name="connsiteX8" fmla="*/ 460482 w 3310446"/>
                    <a:gd name="connsiteY8" fmla="*/ 1064612 h 2420900"/>
                    <a:gd name="connsiteX9" fmla="*/ 271987 w 3310446"/>
                    <a:gd name="connsiteY9" fmla="*/ 1396027 h 2420900"/>
                    <a:gd name="connsiteX10" fmla="*/ 312456 w 3310446"/>
                    <a:gd name="connsiteY10" fmla="*/ 1611866 h 2420900"/>
                    <a:gd name="connsiteX11" fmla="*/ 490743 w 3310446"/>
                    <a:gd name="connsiteY11" fmla="*/ 1720151 h 2420900"/>
                    <a:gd name="connsiteX12" fmla="*/ 751427 w 3310446"/>
                    <a:gd name="connsiteY12" fmla="*/ 1999794 h 2420900"/>
                    <a:gd name="connsiteX13" fmla="*/ 1063154 w 3310446"/>
                    <a:gd name="connsiteY13" fmla="*/ 2249176 h 2420900"/>
                    <a:gd name="connsiteX14" fmla="*/ 1221388 w 3310446"/>
                    <a:gd name="connsiteY14" fmla="*/ 2420900 h 2420900"/>
                    <a:gd name="connsiteX15" fmla="*/ 1665827 w 3310446"/>
                    <a:gd name="connsiteY15" fmla="*/ 2186830 h 2420900"/>
                    <a:gd name="connsiteX16" fmla="*/ 2098400 w 3310446"/>
                    <a:gd name="connsiteY16" fmla="*/ 1842702 h 2420900"/>
                    <a:gd name="connsiteX17" fmla="*/ 2725700 w 3310446"/>
                    <a:gd name="connsiteY17" fmla="*/ 1210085 h 2420900"/>
                    <a:gd name="connsiteX18" fmla="*/ 3310446 w 3310446"/>
                    <a:gd name="connsiteY18" fmla="*/ 1049798 h 2420900"/>
                    <a:gd name="connsiteX19" fmla="*/ 3281340 w 3310446"/>
                    <a:gd name="connsiteY19" fmla="*/ 844033 h 2420900"/>
                    <a:gd name="connsiteX20" fmla="*/ 2850391 w 3310446"/>
                    <a:gd name="connsiteY20" fmla="*/ 25521 h 2420900"/>
                    <a:gd name="connsiteX0" fmla="*/ 2850391 w 3310446"/>
                    <a:gd name="connsiteY0" fmla="*/ 25521 h 2420900"/>
                    <a:gd name="connsiteX1" fmla="*/ 2123027 w 3310446"/>
                    <a:gd name="connsiteY1" fmla="*/ 217297 h 2420900"/>
                    <a:gd name="connsiteX2" fmla="*/ 1208627 w 3310446"/>
                    <a:gd name="connsiteY2" fmla="*/ 0 h 2420900"/>
                    <a:gd name="connsiteX3" fmla="*/ 543609 w 3310446"/>
                    <a:gd name="connsiteY3" fmla="*/ 254121 h 2420900"/>
                    <a:gd name="connsiteX4" fmla="*/ 211100 w 3310446"/>
                    <a:gd name="connsiteY4" fmla="*/ 545067 h 2420900"/>
                    <a:gd name="connsiteX5" fmla="*/ 0 w 3310446"/>
                    <a:gd name="connsiteY5" fmla="*/ 674861 h 2420900"/>
                    <a:gd name="connsiteX6" fmla="*/ 231882 w 3310446"/>
                    <a:gd name="connsiteY6" fmla="*/ 815230 h 2420900"/>
                    <a:gd name="connsiteX7" fmla="*/ 938463 w 3310446"/>
                    <a:gd name="connsiteY7" fmla="*/ 565848 h 2420900"/>
                    <a:gd name="connsiteX8" fmla="*/ 460482 w 3310446"/>
                    <a:gd name="connsiteY8" fmla="*/ 1064612 h 2420900"/>
                    <a:gd name="connsiteX9" fmla="*/ 271987 w 3310446"/>
                    <a:gd name="connsiteY9" fmla="*/ 1396027 h 2420900"/>
                    <a:gd name="connsiteX10" fmla="*/ 312456 w 3310446"/>
                    <a:gd name="connsiteY10" fmla="*/ 1611866 h 2420900"/>
                    <a:gd name="connsiteX11" fmla="*/ 490743 w 3310446"/>
                    <a:gd name="connsiteY11" fmla="*/ 1720151 h 2420900"/>
                    <a:gd name="connsiteX12" fmla="*/ 751427 w 3310446"/>
                    <a:gd name="connsiteY12" fmla="*/ 1999794 h 2420900"/>
                    <a:gd name="connsiteX13" fmla="*/ 1063154 w 3310446"/>
                    <a:gd name="connsiteY13" fmla="*/ 2249176 h 2420900"/>
                    <a:gd name="connsiteX14" fmla="*/ 1221388 w 3310446"/>
                    <a:gd name="connsiteY14" fmla="*/ 2420900 h 2420900"/>
                    <a:gd name="connsiteX15" fmla="*/ 1665827 w 3310446"/>
                    <a:gd name="connsiteY15" fmla="*/ 2186830 h 2420900"/>
                    <a:gd name="connsiteX16" fmla="*/ 2098400 w 3310446"/>
                    <a:gd name="connsiteY16" fmla="*/ 1842702 h 2420900"/>
                    <a:gd name="connsiteX17" fmla="*/ 2702696 w 3310446"/>
                    <a:gd name="connsiteY17" fmla="*/ 1210085 h 2420900"/>
                    <a:gd name="connsiteX18" fmla="*/ 3310446 w 3310446"/>
                    <a:gd name="connsiteY18" fmla="*/ 1049798 h 2420900"/>
                    <a:gd name="connsiteX19" fmla="*/ 3281340 w 3310446"/>
                    <a:gd name="connsiteY19" fmla="*/ 844033 h 2420900"/>
                    <a:gd name="connsiteX20" fmla="*/ 2850391 w 3310446"/>
                    <a:gd name="connsiteY20" fmla="*/ 25521 h 2420900"/>
                    <a:gd name="connsiteX0" fmla="*/ 2850391 w 3310446"/>
                    <a:gd name="connsiteY0" fmla="*/ 25521 h 2420900"/>
                    <a:gd name="connsiteX1" fmla="*/ 2123027 w 3310446"/>
                    <a:gd name="connsiteY1" fmla="*/ 217297 h 2420900"/>
                    <a:gd name="connsiteX2" fmla="*/ 1208627 w 3310446"/>
                    <a:gd name="connsiteY2" fmla="*/ 0 h 2420900"/>
                    <a:gd name="connsiteX3" fmla="*/ 543609 w 3310446"/>
                    <a:gd name="connsiteY3" fmla="*/ 254121 h 2420900"/>
                    <a:gd name="connsiteX4" fmla="*/ 211100 w 3310446"/>
                    <a:gd name="connsiteY4" fmla="*/ 545067 h 2420900"/>
                    <a:gd name="connsiteX5" fmla="*/ 0 w 3310446"/>
                    <a:gd name="connsiteY5" fmla="*/ 674861 h 2420900"/>
                    <a:gd name="connsiteX6" fmla="*/ 231882 w 3310446"/>
                    <a:gd name="connsiteY6" fmla="*/ 815230 h 2420900"/>
                    <a:gd name="connsiteX7" fmla="*/ 938463 w 3310446"/>
                    <a:gd name="connsiteY7" fmla="*/ 565848 h 2420900"/>
                    <a:gd name="connsiteX8" fmla="*/ 460482 w 3310446"/>
                    <a:gd name="connsiteY8" fmla="*/ 1064612 h 2420900"/>
                    <a:gd name="connsiteX9" fmla="*/ 271987 w 3310446"/>
                    <a:gd name="connsiteY9" fmla="*/ 1396027 h 2420900"/>
                    <a:gd name="connsiteX10" fmla="*/ 312456 w 3310446"/>
                    <a:gd name="connsiteY10" fmla="*/ 1611866 h 2420900"/>
                    <a:gd name="connsiteX11" fmla="*/ 490743 w 3310446"/>
                    <a:gd name="connsiteY11" fmla="*/ 1720151 h 2420900"/>
                    <a:gd name="connsiteX12" fmla="*/ 751427 w 3310446"/>
                    <a:gd name="connsiteY12" fmla="*/ 1999794 h 2420900"/>
                    <a:gd name="connsiteX13" fmla="*/ 1063154 w 3310446"/>
                    <a:gd name="connsiteY13" fmla="*/ 2249176 h 2420900"/>
                    <a:gd name="connsiteX14" fmla="*/ 1221388 w 3310446"/>
                    <a:gd name="connsiteY14" fmla="*/ 2420900 h 2420900"/>
                    <a:gd name="connsiteX15" fmla="*/ 1665827 w 3310446"/>
                    <a:gd name="connsiteY15" fmla="*/ 2186830 h 2420900"/>
                    <a:gd name="connsiteX16" fmla="*/ 2098400 w 3310446"/>
                    <a:gd name="connsiteY16" fmla="*/ 1842702 h 2420900"/>
                    <a:gd name="connsiteX17" fmla="*/ 2702696 w 3310446"/>
                    <a:gd name="connsiteY17" fmla="*/ 1210085 h 2420900"/>
                    <a:gd name="connsiteX18" fmla="*/ 3310446 w 3310446"/>
                    <a:gd name="connsiteY18" fmla="*/ 1049798 h 2420900"/>
                    <a:gd name="connsiteX19" fmla="*/ 3281340 w 3310446"/>
                    <a:gd name="connsiteY19" fmla="*/ 844033 h 2420900"/>
                    <a:gd name="connsiteX20" fmla="*/ 2850391 w 3310446"/>
                    <a:gd name="connsiteY20" fmla="*/ 25521 h 2420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10446" h="2420900">
                      <a:moveTo>
                        <a:pt x="2850391" y="25521"/>
                      </a:moveTo>
                      <a:cubicBezTo>
                        <a:pt x="2607936" y="94794"/>
                        <a:pt x="2405587" y="176097"/>
                        <a:pt x="2123027" y="217297"/>
                      </a:cubicBezTo>
                      <a:cubicBezTo>
                        <a:pt x="1790153" y="155559"/>
                        <a:pt x="1393111" y="5591"/>
                        <a:pt x="1208627" y="0"/>
                      </a:cubicBezTo>
                      <a:cubicBezTo>
                        <a:pt x="1027059" y="57970"/>
                        <a:pt x="705124" y="152036"/>
                        <a:pt x="543609" y="254121"/>
                      </a:cubicBezTo>
                      <a:cubicBezTo>
                        <a:pt x="432773" y="351103"/>
                        <a:pt x="386105" y="448085"/>
                        <a:pt x="211100" y="545067"/>
                      </a:cubicBezTo>
                      <a:cubicBezTo>
                        <a:pt x="17178" y="566613"/>
                        <a:pt x="0" y="591350"/>
                        <a:pt x="0" y="674861"/>
                      </a:cubicBezTo>
                      <a:cubicBezTo>
                        <a:pt x="54088" y="786329"/>
                        <a:pt x="96097" y="815230"/>
                        <a:pt x="231882" y="815230"/>
                      </a:cubicBezTo>
                      <a:cubicBezTo>
                        <a:pt x="483451" y="756166"/>
                        <a:pt x="586631" y="476522"/>
                        <a:pt x="938463" y="565848"/>
                      </a:cubicBezTo>
                      <a:cubicBezTo>
                        <a:pt x="813642" y="743605"/>
                        <a:pt x="619809" y="898357"/>
                        <a:pt x="460482" y="1064612"/>
                      </a:cubicBezTo>
                      <a:lnTo>
                        <a:pt x="271987" y="1396027"/>
                      </a:lnTo>
                      <a:cubicBezTo>
                        <a:pt x="264087" y="1526794"/>
                        <a:pt x="292282" y="1529225"/>
                        <a:pt x="312456" y="1611866"/>
                      </a:cubicBezTo>
                      <a:cubicBezTo>
                        <a:pt x="371885" y="1655982"/>
                        <a:pt x="403241" y="1688067"/>
                        <a:pt x="490743" y="1720151"/>
                      </a:cubicBezTo>
                      <a:cubicBezTo>
                        <a:pt x="548531" y="1852315"/>
                        <a:pt x="525016" y="1926328"/>
                        <a:pt x="751427" y="1999794"/>
                      </a:cubicBezTo>
                      <a:cubicBezTo>
                        <a:pt x="814501" y="2207612"/>
                        <a:pt x="880553" y="2199045"/>
                        <a:pt x="1063154" y="2249176"/>
                      </a:cubicBezTo>
                      <a:cubicBezTo>
                        <a:pt x="1094510" y="2382618"/>
                        <a:pt x="1109823" y="2351627"/>
                        <a:pt x="1221388" y="2420900"/>
                      </a:cubicBezTo>
                      <a:cubicBezTo>
                        <a:pt x="1350819" y="2386992"/>
                        <a:pt x="1520354" y="2276885"/>
                        <a:pt x="1665827" y="2186830"/>
                      </a:cubicBezTo>
                      <a:cubicBezTo>
                        <a:pt x="1938178" y="2002832"/>
                        <a:pt x="1902249" y="2026700"/>
                        <a:pt x="2098400" y="1842702"/>
                      </a:cubicBezTo>
                      <a:cubicBezTo>
                        <a:pt x="2191372" y="1715824"/>
                        <a:pt x="2589672" y="1397121"/>
                        <a:pt x="2702696" y="1210085"/>
                      </a:cubicBezTo>
                      <a:cubicBezTo>
                        <a:pt x="2809150" y="1164910"/>
                        <a:pt x="3135359" y="1114802"/>
                        <a:pt x="3310446" y="1049798"/>
                      </a:cubicBezTo>
                      <a:lnTo>
                        <a:pt x="3281340" y="844033"/>
                      </a:lnTo>
                      <a:lnTo>
                        <a:pt x="2850391" y="2552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89" name="Freeform 115">
                  <a:extLst>
                    <a:ext uri="{FF2B5EF4-FFF2-40B4-BE49-F238E27FC236}">
                      <a16:creationId xmlns:a16="http://schemas.microsoft.com/office/drawing/2014/main" id="{91A3D84B-8CE8-47FF-941B-6DA765BD05CA}"/>
                    </a:ext>
                  </a:extLst>
                </p:cNvPr>
                <p:cNvSpPr/>
                <p:nvPr/>
              </p:nvSpPr>
              <p:spPr>
                <a:xfrm>
                  <a:off x="846533" y="8678600"/>
                  <a:ext cx="1385360" cy="1234054"/>
                </a:xfrm>
                <a:custGeom>
                  <a:avLst/>
                  <a:gdLst>
                    <a:gd name="connsiteX0" fmla="*/ 150349 w 1134457"/>
                    <a:gd name="connsiteY0" fmla="*/ 2050 h 1236969"/>
                    <a:gd name="connsiteX1" fmla="*/ 199555 w 1134457"/>
                    <a:gd name="connsiteY1" fmla="*/ 202972 h 1236969"/>
                    <a:gd name="connsiteX2" fmla="*/ 359472 w 1134457"/>
                    <a:gd name="connsiteY2" fmla="*/ 330086 h 1236969"/>
                    <a:gd name="connsiteX3" fmla="*/ 363573 w 1134457"/>
                    <a:gd name="connsiteY3" fmla="*/ 416196 h 1236969"/>
                    <a:gd name="connsiteX4" fmla="*/ 400477 w 1134457"/>
                    <a:gd name="connsiteY4" fmla="*/ 543310 h 1236969"/>
                    <a:gd name="connsiteX5" fmla="*/ 572696 w 1134457"/>
                    <a:gd name="connsiteY5" fmla="*/ 621218 h 1236969"/>
                    <a:gd name="connsiteX6" fmla="*/ 601399 w 1134457"/>
                    <a:gd name="connsiteY6" fmla="*/ 703227 h 1236969"/>
                    <a:gd name="connsiteX7" fmla="*/ 687508 w 1134457"/>
                    <a:gd name="connsiteY7" fmla="*/ 850843 h 1236969"/>
                    <a:gd name="connsiteX8" fmla="*/ 851526 w 1134457"/>
                    <a:gd name="connsiteY8" fmla="*/ 867245 h 1236969"/>
                    <a:gd name="connsiteX9" fmla="*/ 908932 w 1134457"/>
                    <a:gd name="connsiteY9" fmla="*/ 977957 h 1236969"/>
                    <a:gd name="connsiteX10" fmla="*/ 1077051 w 1134457"/>
                    <a:gd name="connsiteY10" fmla="*/ 1031263 h 1236969"/>
                    <a:gd name="connsiteX11" fmla="*/ 1126256 w 1134457"/>
                    <a:gd name="connsiteY11" fmla="*/ 1031263 h 1236969"/>
                    <a:gd name="connsiteX12" fmla="*/ 1027845 w 1134457"/>
                    <a:gd name="connsiteY12" fmla="*/ 1141975 h 1236969"/>
                    <a:gd name="connsiteX13" fmla="*/ 962238 w 1134457"/>
                    <a:gd name="connsiteY13" fmla="*/ 1232185 h 1236969"/>
                    <a:gd name="connsiteX14" fmla="*/ 835124 w 1134457"/>
                    <a:gd name="connsiteY14" fmla="*/ 1170678 h 1236969"/>
                    <a:gd name="connsiteX15" fmla="*/ 798220 w 1134457"/>
                    <a:gd name="connsiteY15" fmla="*/ 1064066 h 1236969"/>
                    <a:gd name="connsiteX16" fmla="*/ 695709 w 1134457"/>
                    <a:gd name="connsiteY16" fmla="*/ 1035363 h 1236969"/>
                    <a:gd name="connsiteX17" fmla="*/ 552193 w 1134457"/>
                    <a:gd name="connsiteY17" fmla="*/ 965656 h 1236969"/>
                    <a:gd name="connsiteX18" fmla="*/ 474285 w 1134457"/>
                    <a:gd name="connsiteY18" fmla="*/ 801638 h 1236969"/>
                    <a:gd name="connsiteX19" fmla="*/ 232358 w 1134457"/>
                    <a:gd name="connsiteY19" fmla="*/ 531008 h 1236969"/>
                    <a:gd name="connsiteX20" fmla="*/ 64240 w 1134457"/>
                    <a:gd name="connsiteY20" fmla="*/ 424397 h 1236969"/>
                    <a:gd name="connsiteX21" fmla="*/ 15035 w 1134457"/>
                    <a:gd name="connsiteY21" fmla="*/ 215274 h 1236969"/>
                    <a:gd name="connsiteX22" fmla="*/ 150349 w 1134457"/>
                    <a:gd name="connsiteY22" fmla="*/ 2050 h 1236969"/>
                    <a:gd name="connsiteX0" fmla="*/ 150349 w 1134457"/>
                    <a:gd name="connsiteY0" fmla="*/ 2050 h 1236969"/>
                    <a:gd name="connsiteX1" fmla="*/ 199555 w 1134457"/>
                    <a:gd name="connsiteY1" fmla="*/ 202972 h 1236969"/>
                    <a:gd name="connsiteX2" fmla="*/ 359472 w 1134457"/>
                    <a:gd name="connsiteY2" fmla="*/ 330086 h 1236969"/>
                    <a:gd name="connsiteX3" fmla="*/ 363573 w 1134457"/>
                    <a:gd name="connsiteY3" fmla="*/ 416196 h 1236969"/>
                    <a:gd name="connsiteX4" fmla="*/ 400477 w 1134457"/>
                    <a:gd name="connsiteY4" fmla="*/ 543310 h 1236969"/>
                    <a:gd name="connsiteX5" fmla="*/ 572696 w 1134457"/>
                    <a:gd name="connsiteY5" fmla="*/ 621218 h 1236969"/>
                    <a:gd name="connsiteX6" fmla="*/ 601399 w 1134457"/>
                    <a:gd name="connsiteY6" fmla="*/ 703227 h 1236969"/>
                    <a:gd name="connsiteX7" fmla="*/ 687508 w 1134457"/>
                    <a:gd name="connsiteY7" fmla="*/ 850843 h 1236969"/>
                    <a:gd name="connsiteX8" fmla="*/ 851526 w 1134457"/>
                    <a:gd name="connsiteY8" fmla="*/ 867245 h 1236969"/>
                    <a:gd name="connsiteX9" fmla="*/ 908932 w 1134457"/>
                    <a:gd name="connsiteY9" fmla="*/ 977957 h 1236969"/>
                    <a:gd name="connsiteX10" fmla="*/ 1077051 w 1134457"/>
                    <a:gd name="connsiteY10" fmla="*/ 1031263 h 1236969"/>
                    <a:gd name="connsiteX11" fmla="*/ 1126256 w 1134457"/>
                    <a:gd name="connsiteY11" fmla="*/ 1031263 h 1236969"/>
                    <a:gd name="connsiteX12" fmla="*/ 1027845 w 1134457"/>
                    <a:gd name="connsiteY12" fmla="*/ 1141975 h 1236969"/>
                    <a:gd name="connsiteX13" fmla="*/ 962238 w 1134457"/>
                    <a:gd name="connsiteY13" fmla="*/ 1232185 h 1236969"/>
                    <a:gd name="connsiteX14" fmla="*/ 835124 w 1134457"/>
                    <a:gd name="connsiteY14" fmla="*/ 1170678 h 1236969"/>
                    <a:gd name="connsiteX15" fmla="*/ 798220 w 1134457"/>
                    <a:gd name="connsiteY15" fmla="*/ 1064066 h 1236969"/>
                    <a:gd name="connsiteX16" fmla="*/ 695709 w 1134457"/>
                    <a:gd name="connsiteY16" fmla="*/ 1035363 h 1236969"/>
                    <a:gd name="connsiteX17" fmla="*/ 552193 w 1134457"/>
                    <a:gd name="connsiteY17" fmla="*/ 965656 h 1236969"/>
                    <a:gd name="connsiteX18" fmla="*/ 474285 w 1134457"/>
                    <a:gd name="connsiteY18" fmla="*/ 801638 h 1236969"/>
                    <a:gd name="connsiteX19" fmla="*/ 232358 w 1134457"/>
                    <a:gd name="connsiteY19" fmla="*/ 531008 h 1236969"/>
                    <a:gd name="connsiteX20" fmla="*/ 64240 w 1134457"/>
                    <a:gd name="connsiteY20" fmla="*/ 424397 h 1236969"/>
                    <a:gd name="connsiteX21" fmla="*/ 15035 w 1134457"/>
                    <a:gd name="connsiteY21" fmla="*/ 215274 h 1236969"/>
                    <a:gd name="connsiteX22" fmla="*/ 150349 w 1134457"/>
                    <a:gd name="connsiteY22" fmla="*/ 2050 h 1236969"/>
                    <a:gd name="connsiteX0" fmla="*/ 150349 w 1134457"/>
                    <a:gd name="connsiteY0" fmla="*/ 2050 h 1236969"/>
                    <a:gd name="connsiteX1" fmla="*/ 199555 w 1134457"/>
                    <a:gd name="connsiteY1" fmla="*/ 202972 h 1236969"/>
                    <a:gd name="connsiteX2" fmla="*/ 359472 w 1134457"/>
                    <a:gd name="connsiteY2" fmla="*/ 330086 h 1236969"/>
                    <a:gd name="connsiteX3" fmla="*/ 363573 w 1134457"/>
                    <a:gd name="connsiteY3" fmla="*/ 416196 h 1236969"/>
                    <a:gd name="connsiteX4" fmla="*/ 400477 w 1134457"/>
                    <a:gd name="connsiteY4" fmla="*/ 543310 h 1236969"/>
                    <a:gd name="connsiteX5" fmla="*/ 572696 w 1134457"/>
                    <a:gd name="connsiteY5" fmla="*/ 621218 h 1236969"/>
                    <a:gd name="connsiteX6" fmla="*/ 601399 w 1134457"/>
                    <a:gd name="connsiteY6" fmla="*/ 703227 h 1236969"/>
                    <a:gd name="connsiteX7" fmla="*/ 687508 w 1134457"/>
                    <a:gd name="connsiteY7" fmla="*/ 850843 h 1236969"/>
                    <a:gd name="connsiteX8" fmla="*/ 851526 w 1134457"/>
                    <a:gd name="connsiteY8" fmla="*/ 867245 h 1236969"/>
                    <a:gd name="connsiteX9" fmla="*/ 908932 w 1134457"/>
                    <a:gd name="connsiteY9" fmla="*/ 977957 h 1236969"/>
                    <a:gd name="connsiteX10" fmla="*/ 1077051 w 1134457"/>
                    <a:gd name="connsiteY10" fmla="*/ 1031263 h 1236969"/>
                    <a:gd name="connsiteX11" fmla="*/ 1126256 w 1134457"/>
                    <a:gd name="connsiteY11" fmla="*/ 1031263 h 1236969"/>
                    <a:gd name="connsiteX12" fmla="*/ 1027845 w 1134457"/>
                    <a:gd name="connsiteY12" fmla="*/ 1141975 h 1236969"/>
                    <a:gd name="connsiteX13" fmla="*/ 962238 w 1134457"/>
                    <a:gd name="connsiteY13" fmla="*/ 1232185 h 1236969"/>
                    <a:gd name="connsiteX14" fmla="*/ 835124 w 1134457"/>
                    <a:gd name="connsiteY14" fmla="*/ 1170678 h 1236969"/>
                    <a:gd name="connsiteX15" fmla="*/ 798220 w 1134457"/>
                    <a:gd name="connsiteY15" fmla="*/ 1064066 h 1236969"/>
                    <a:gd name="connsiteX16" fmla="*/ 695709 w 1134457"/>
                    <a:gd name="connsiteY16" fmla="*/ 1035363 h 1236969"/>
                    <a:gd name="connsiteX17" fmla="*/ 552193 w 1134457"/>
                    <a:gd name="connsiteY17" fmla="*/ 965656 h 1236969"/>
                    <a:gd name="connsiteX18" fmla="*/ 474285 w 1134457"/>
                    <a:gd name="connsiteY18" fmla="*/ 801638 h 1236969"/>
                    <a:gd name="connsiteX19" fmla="*/ 232358 w 1134457"/>
                    <a:gd name="connsiteY19" fmla="*/ 531008 h 1236969"/>
                    <a:gd name="connsiteX20" fmla="*/ 64240 w 1134457"/>
                    <a:gd name="connsiteY20" fmla="*/ 424397 h 1236969"/>
                    <a:gd name="connsiteX21" fmla="*/ 15035 w 1134457"/>
                    <a:gd name="connsiteY21" fmla="*/ 215274 h 1236969"/>
                    <a:gd name="connsiteX22" fmla="*/ 150349 w 1134457"/>
                    <a:gd name="connsiteY22" fmla="*/ 2050 h 1236969"/>
                    <a:gd name="connsiteX0" fmla="*/ 150349 w 1129546"/>
                    <a:gd name="connsiteY0" fmla="*/ 2050 h 1232239"/>
                    <a:gd name="connsiteX1" fmla="*/ 199555 w 1129546"/>
                    <a:gd name="connsiteY1" fmla="*/ 202972 h 1232239"/>
                    <a:gd name="connsiteX2" fmla="*/ 359472 w 1129546"/>
                    <a:gd name="connsiteY2" fmla="*/ 330086 h 1232239"/>
                    <a:gd name="connsiteX3" fmla="*/ 363573 w 1129546"/>
                    <a:gd name="connsiteY3" fmla="*/ 416196 h 1232239"/>
                    <a:gd name="connsiteX4" fmla="*/ 400477 w 1129546"/>
                    <a:gd name="connsiteY4" fmla="*/ 543310 h 1232239"/>
                    <a:gd name="connsiteX5" fmla="*/ 572696 w 1129546"/>
                    <a:gd name="connsiteY5" fmla="*/ 621218 h 1232239"/>
                    <a:gd name="connsiteX6" fmla="*/ 601399 w 1129546"/>
                    <a:gd name="connsiteY6" fmla="*/ 703227 h 1232239"/>
                    <a:gd name="connsiteX7" fmla="*/ 687508 w 1129546"/>
                    <a:gd name="connsiteY7" fmla="*/ 850843 h 1232239"/>
                    <a:gd name="connsiteX8" fmla="*/ 851526 w 1129546"/>
                    <a:gd name="connsiteY8" fmla="*/ 867245 h 1232239"/>
                    <a:gd name="connsiteX9" fmla="*/ 908932 w 1129546"/>
                    <a:gd name="connsiteY9" fmla="*/ 977957 h 1232239"/>
                    <a:gd name="connsiteX10" fmla="*/ 1077051 w 1129546"/>
                    <a:gd name="connsiteY10" fmla="*/ 1031263 h 1232239"/>
                    <a:gd name="connsiteX11" fmla="*/ 1126256 w 1129546"/>
                    <a:gd name="connsiteY11" fmla="*/ 1031263 h 1232239"/>
                    <a:gd name="connsiteX12" fmla="*/ 1096788 w 1129546"/>
                    <a:gd name="connsiteY12" fmla="*/ 1171004 h 1232239"/>
                    <a:gd name="connsiteX13" fmla="*/ 962238 w 1129546"/>
                    <a:gd name="connsiteY13" fmla="*/ 1232185 h 1232239"/>
                    <a:gd name="connsiteX14" fmla="*/ 835124 w 1129546"/>
                    <a:gd name="connsiteY14" fmla="*/ 1170678 h 1232239"/>
                    <a:gd name="connsiteX15" fmla="*/ 798220 w 1129546"/>
                    <a:gd name="connsiteY15" fmla="*/ 1064066 h 1232239"/>
                    <a:gd name="connsiteX16" fmla="*/ 695709 w 1129546"/>
                    <a:gd name="connsiteY16" fmla="*/ 1035363 h 1232239"/>
                    <a:gd name="connsiteX17" fmla="*/ 552193 w 1129546"/>
                    <a:gd name="connsiteY17" fmla="*/ 965656 h 1232239"/>
                    <a:gd name="connsiteX18" fmla="*/ 474285 w 1129546"/>
                    <a:gd name="connsiteY18" fmla="*/ 801638 h 1232239"/>
                    <a:gd name="connsiteX19" fmla="*/ 232358 w 1129546"/>
                    <a:gd name="connsiteY19" fmla="*/ 531008 h 1232239"/>
                    <a:gd name="connsiteX20" fmla="*/ 64240 w 1129546"/>
                    <a:gd name="connsiteY20" fmla="*/ 424397 h 1232239"/>
                    <a:gd name="connsiteX21" fmla="*/ 15035 w 1129546"/>
                    <a:gd name="connsiteY21" fmla="*/ 215274 h 1232239"/>
                    <a:gd name="connsiteX22" fmla="*/ 150349 w 1129546"/>
                    <a:gd name="connsiteY22" fmla="*/ 2050 h 1232239"/>
                    <a:gd name="connsiteX0" fmla="*/ 150349 w 1129546"/>
                    <a:gd name="connsiteY0" fmla="*/ 2050 h 1232239"/>
                    <a:gd name="connsiteX1" fmla="*/ 199555 w 1129546"/>
                    <a:gd name="connsiteY1" fmla="*/ 202972 h 1232239"/>
                    <a:gd name="connsiteX2" fmla="*/ 359472 w 1129546"/>
                    <a:gd name="connsiteY2" fmla="*/ 330086 h 1232239"/>
                    <a:gd name="connsiteX3" fmla="*/ 363573 w 1129546"/>
                    <a:gd name="connsiteY3" fmla="*/ 416196 h 1232239"/>
                    <a:gd name="connsiteX4" fmla="*/ 400477 w 1129546"/>
                    <a:gd name="connsiteY4" fmla="*/ 543310 h 1232239"/>
                    <a:gd name="connsiteX5" fmla="*/ 572696 w 1129546"/>
                    <a:gd name="connsiteY5" fmla="*/ 621218 h 1232239"/>
                    <a:gd name="connsiteX6" fmla="*/ 601399 w 1129546"/>
                    <a:gd name="connsiteY6" fmla="*/ 703227 h 1232239"/>
                    <a:gd name="connsiteX7" fmla="*/ 687508 w 1129546"/>
                    <a:gd name="connsiteY7" fmla="*/ 850843 h 1232239"/>
                    <a:gd name="connsiteX8" fmla="*/ 851526 w 1129546"/>
                    <a:gd name="connsiteY8" fmla="*/ 867245 h 1232239"/>
                    <a:gd name="connsiteX9" fmla="*/ 908932 w 1129546"/>
                    <a:gd name="connsiteY9" fmla="*/ 977957 h 1232239"/>
                    <a:gd name="connsiteX10" fmla="*/ 1077051 w 1129546"/>
                    <a:gd name="connsiteY10" fmla="*/ 1031263 h 1232239"/>
                    <a:gd name="connsiteX11" fmla="*/ 1126256 w 1129546"/>
                    <a:gd name="connsiteY11" fmla="*/ 1031263 h 1232239"/>
                    <a:gd name="connsiteX12" fmla="*/ 1096788 w 1129546"/>
                    <a:gd name="connsiteY12" fmla="*/ 1171004 h 1232239"/>
                    <a:gd name="connsiteX13" fmla="*/ 962238 w 1129546"/>
                    <a:gd name="connsiteY13" fmla="*/ 1232185 h 1232239"/>
                    <a:gd name="connsiteX14" fmla="*/ 835124 w 1129546"/>
                    <a:gd name="connsiteY14" fmla="*/ 1170678 h 1232239"/>
                    <a:gd name="connsiteX15" fmla="*/ 798220 w 1129546"/>
                    <a:gd name="connsiteY15" fmla="*/ 1064066 h 1232239"/>
                    <a:gd name="connsiteX16" fmla="*/ 695709 w 1129546"/>
                    <a:gd name="connsiteY16" fmla="*/ 1035363 h 1232239"/>
                    <a:gd name="connsiteX17" fmla="*/ 552193 w 1129546"/>
                    <a:gd name="connsiteY17" fmla="*/ 965656 h 1232239"/>
                    <a:gd name="connsiteX18" fmla="*/ 474285 w 1129546"/>
                    <a:gd name="connsiteY18" fmla="*/ 801638 h 1232239"/>
                    <a:gd name="connsiteX19" fmla="*/ 232358 w 1129546"/>
                    <a:gd name="connsiteY19" fmla="*/ 531008 h 1232239"/>
                    <a:gd name="connsiteX20" fmla="*/ 64240 w 1129546"/>
                    <a:gd name="connsiteY20" fmla="*/ 424397 h 1232239"/>
                    <a:gd name="connsiteX21" fmla="*/ 15035 w 1129546"/>
                    <a:gd name="connsiteY21" fmla="*/ 215274 h 1232239"/>
                    <a:gd name="connsiteX22" fmla="*/ 150349 w 1129546"/>
                    <a:gd name="connsiteY22" fmla="*/ 2050 h 1232239"/>
                    <a:gd name="connsiteX0" fmla="*/ 150349 w 1135010"/>
                    <a:gd name="connsiteY0" fmla="*/ 2050 h 1234054"/>
                    <a:gd name="connsiteX1" fmla="*/ 199555 w 1135010"/>
                    <a:gd name="connsiteY1" fmla="*/ 202972 h 1234054"/>
                    <a:gd name="connsiteX2" fmla="*/ 359472 w 1135010"/>
                    <a:gd name="connsiteY2" fmla="*/ 330086 h 1234054"/>
                    <a:gd name="connsiteX3" fmla="*/ 363573 w 1135010"/>
                    <a:gd name="connsiteY3" fmla="*/ 416196 h 1234054"/>
                    <a:gd name="connsiteX4" fmla="*/ 400477 w 1135010"/>
                    <a:gd name="connsiteY4" fmla="*/ 543310 h 1234054"/>
                    <a:gd name="connsiteX5" fmla="*/ 572696 w 1135010"/>
                    <a:gd name="connsiteY5" fmla="*/ 621218 h 1234054"/>
                    <a:gd name="connsiteX6" fmla="*/ 601399 w 1135010"/>
                    <a:gd name="connsiteY6" fmla="*/ 703227 h 1234054"/>
                    <a:gd name="connsiteX7" fmla="*/ 687508 w 1135010"/>
                    <a:gd name="connsiteY7" fmla="*/ 850843 h 1234054"/>
                    <a:gd name="connsiteX8" fmla="*/ 851526 w 1135010"/>
                    <a:gd name="connsiteY8" fmla="*/ 867245 h 1234054"/>
                    <a:gd name="connsiteX9" fmla="*/ 908932 w 1135010"/>
                    <a:gd name="connsiteY9" fmla="*/ 977957 h 1234054"/>
                    <a:gd name="connsiteX10" fmla="*/ 1077051 w 1135010"/>
                    <a:gd name="connsiteY10" fmla="*/ 1031263 h 1234054"/>
                    <a:gd name="connsiteX11" fmla="*/ 1126256 w 1135010"/>
                    <a:gd name="connsiteY11" fmla="*/ 1031263 h 1234054"/>
                    <a:gd name="connsiteX12" fmla="*/ 1107674 w 1135010"/>
                    <a:gd name="connsiteY12" fmla="*/ 1181890 h 1234054"/>
                    <a:gd name="connsiteX13" fmla="*/ 962238 w 1135010"/>
                    <a:gd name="connsiteY13" fmla="*/ 1232185 h 1234054"/>
                    <a:gd name="connsiteX14" fmla="*/ 835124 w 1135010"/>
                    <a:gd name="connsiteY14" fmla="*/ 1170678 h 1234054"/>
                    <a:gd name="connsiteX15" fmla="*/ 798220 w 1135010"/>
                    <a:gd name="connsiteY15" fmla="*/ 1064066 h 1234054"/>
                    <a:gd name="connsiteX16" fmla="*/ 695709 w 1135010"/>
                    <a:gd name="connsiteY16" fmla="*/ 1035363 h 1234054"/>
                    <a:gd name="connsiteX17" fmla="*/ 552193 w 1135010"/>
                    <a:gd name="connsiteY17" fmla="*/ 965656 h 1234054"/>
                    <a:gd name="connsiteX18" fmla="*/ 474285 w 1135010"/>
                    <a:gd name="connsiteY18" fmla="*/ 801638 h 1234054"/>
                    <a:gd name="connsiteX19" fmla="*/ 232358 w 1135010"/>
                    <a:gd name="connsiteY19" fmla="*/ 531008 h 1234054"/>
                    <a:gd name="connsiteX20" fmla="*/ 64240 w 1135010"/>
                    <a:gd name="connsiteY20" fmla="*/ 424397 h 1234054"/>
                    <a:gd name="connsiteX21" fmla="*/ 15035 w 1135010"/>
                    <a:gd name="connsiteY21" fmla="*/ 215274 h 1234054"/>
                    <a:gd name="connsiteX22" fmla="*/ 150349 w 1135010"/>
                    <a:gd name="connsiteY22" fmla="*/ 2050 h 1234054"/>
                    <a:gd name="connsiteX0" fmla="*/ 150349 w 1182181"/>
                    <a:gd name="connsiteY0" fmla="*/ 2050 h 1234054"/>
                    <a:gd name="connsiteX1" fmla="*/ 199555 w 1182181"/>
                    <a:gd name="connsiteY1" fmla="*/ 202972 h 1234054"/>
                    <a:gd name="connsiteX2" fmla="*/ 359472 w 1182181"/>
                    <a:gd name="connsiteY2" fmla="*/ 330086 h 1234054"/>
                    <a:gd name="connsiteX3" fmla="*/ 363573 w 1182181"/>
                    <a:gd name="connsiteY3" fmla="*/ 416196 h 1234054"/>
                    <a:gd name="connsiteX4" fmla="*/ 400477 w 1182181"/>
                    <a:gd name="connsiteY4" fmla="*/ 543310 h 1234054"/>
                    <a:gd name="connsiteX5" fmla="*/ 572696 w 1182181"/>
                    <a:gd name="connsiteY5" fmla="*/ 621218 h 1234054"/>
                    <a:gd name="connsiteX6" fmla="*/ 601399 w 1182181"/>
                    <a:gd name="connsiteY6" fmla="*/ 703227 h 1234054"/>
                    <a:gd name="connsiteX7" fmla="*/ 687508 w 1182181"/>
                    <a:gd name="connsiteY7" fmla="*/ 850843 h 1234054"/>
                    <a:gd name="connsiteX8" fmla="*/ 851526 w 1182181"/>
                    <a:gd name="connsiteY8" fmla="*/ 867245 h 1234054"/>
                    <a:gd name="connsiteX9" fmla="*/ 908932 w 1182181"/>
                    <a:gd name="connsiteY9" fmla="*/ 977957 h 1234054"/>
                    <a:gd name="connsiteX10" fmla="*/ 1077051 w 1182181"/>
                    <a:gd name="connsiteY10" fmla="*/ 1031263 h 1234054"/>
                    <a:gd name="connsiteX11" fmla="*/ 1126256 w 1182181"/>
                    <a:gd name="connsiteY11" fmla="*/ 1031263 h 1234054"/>
                    <a:gd name="connsiteX12" fmla="*/ 1107674 w 1182181"/>
                    <a:gd name="connsiteY12" fmla="*/ 1181890 h 1234054"/>
                    <a:gd name="connsiteX13" fmla="*/ 962238 w 1182181"/>
                    <a:gd name="connsiteY13" fmla="*/ 1232185 h 1234054"/>
                    <a:gd name="connsiteX14" fmla="*/ 835124 w 1182181"/>
                    <a:gd name="connsiteY14" fmla="*/ 1170678 h 1234054"/>
                    <a:gd name="connsiteX15" fmla="*/ 798220 w 1182181"/>
                    <a:gd name="connsiteY15" fmla="*/ 1064066 h 1234054"/>
                    <a:gd name="connsiteX16" fmla="*/ 695709 w 1182181"/>
                    <a:gd name="connsiteY16" fmla="*/ 1035363 h 1234054"/>
                    <a:gd name="connsiteX17" fmla="*/ 552193 w 1182181"/>
                    <a:gd name="connsiteY17" fmla="*/ 965656 h 1234054"/>
                    <a:gd name="connsiteX18" fmla="*/ 474285 w 1182181"/>
                    <a:gd name="connsiteY18" fmla="*/ 801638 h 1234054"/>
                    <a:gd name="connsiteX19" fmla="*/ 232358 w 1182181"/>
                    <a:gd name="connsiteY19" fmla="*/ 531008 h 1234054"/>
                    <a:gd name="connsiteX20" fmla="*/ 64240 w 1182181"/>
                    <a:gd name="connsiteY20" fmla="*/ 424397 h 1234054"/>
                    <a:gd name="connsiteX21" fmla="*/ 15035 w 1182181"/>
                    <a:gd name="connsiteY21" fmla="*/ 215274 h 1234054"/>
                    <a:gd name="connsiteX22" fmla="*/ 150349 w 1182181"/>
                    <a:gd name="connsiteY22" fmla="*/ 2050 h 1234054"/>
                    <a:gd name="connsiteX0" fmla="*/ 150349 w 1530524"/>
                    <a:gd name="connsiteY0" fmla="*/ 2050 h 1234054"/>
                    <a:gd name="connsiteX1" fmla="*/ 199555 w 1530524"/>
                    <a:gd name="connsiteY1" fmla="*/ 202972 h 1234054"/>
                    <a:gd name="connsiteX2" fmla="*/ 359472 w 1530524"/>
                    <a:gd name="connsiteY2" fmla="*/ 330086 h 1234054"/>
                    <a:gd name="connsiteX3" fmla="*/ 363573 w 1530524"/>
                    <a:gd name="connsiteY3" fmla="*/ 416196 h 1234054"/>
                    <a:gd name="connsiteX4" fmla="*/ 400477 w 1530524"/>
                    <a:gd name="connsiteY4" fmla="*/ 543310 h 1234054"/>
                    <a:gd name="connsiteX5" fmla="*/ 572696 w 1530524"/>
                    <a:gd name="connsiteY5" fmla="*/ 621218 h 1234054"/>
                    <a:gd name="connsiteX6" fmla="*/ 601399 w 1530524"/>
                    <a:gd name="connsiteY6" fmla="*/ 703227 h 1234054"/>
                    <a:gd name="connsiteX7" fmla="*/ 687508 w 1530524"/>
                    <a:gd name="connsiteY7" fmla="*/ 850843 h 1234054"/>
                    <a:gd name="connsiteX8" fmla="*/ 851526 w 1530524"/>
                    <a:gd name="connsiteY8" fmla="*/ 867245 h 1234054"/>
                    <a:gd name="connsiteX9" fmla="*/ 908932 w 1530524"/>
                    <a:gd name="connsiteY9" fmla="*/ 977957 h 1234054"/>
                    <a:gd name="connsiteX10" fmla="*/ 1077051 w 1530524"/>
                    <a:gd name="connsiteY10" fmla="*/ 1031263 h 1234054"/>
                    <a:gd name="connsiteX11" fmla="*/ 1126256 w 1530524"/>
                    <a:gd name="connsiteY11" fmla="*/ 1031263 h 1234054"/>
                    <a:gd name="connsiteX12" fmla="*/ 1107674 w 1530524"/>
                    <a:gd name="connsiteY12" fmla="*/ 1181890 h 1234054"/>
                    <a:gd name="connsiteX13" fmla="*/ 962238 w 1530524"/>
                    <a:gd name="connsiteY13" fmla="*/ 1232185 h 1234054"/>
                    <a:gd name="connsiteX14" fmla="*/ 835124 w 1530524"/>
                    <a:gd name="connsiteY14" fmla="*/ 1170678 h 1234054"/>
                    <a:gd name="connsiteX15" fmla="*/ 798220 w 1530524"/>
                    <a:gd name="connsiteY15" fmla="*/ 1064066 h 1234054"/>
                    <a:gd name="connsiteX16" fmla="*/ 695709 w 1530524"/>
                    <a:gd name="connsiteY16" fmla="*/ 1035363 h 1234054"/>
                    <a:gd name="connsiteX17" fmla="*/ 552193 w 1530524"/>
                    <a:gd name="connsiteY17" fmla="*/ 965656 h 1234054"/>
                    <a:gd name="connsiteX18" fmla="*/ 474285 w 1530524"/>
                    <a:gd name="connsiteY18" fmla="*/ 801638 h 1234054"/>
                    <a:gd name="connsiteX19" fmla="*/ 232358 w 1530524"/>
                    <a:gd name="connsiteY19" fmla="*/ 531008 h 1234054"/>
                    <a:gd name="connsiteX20" fmla="*/ 64240 w 1530524"/>
                    <a:gd name="connsiteY20" fmla="*/ 424397 h 1234054"/>
                    <a:gd name="connsiteX21" fmla="*/ 15035 w 1530524"/>
                    <a:gd name="connsiteY21" fmla="*/ 215274 h 1234054"/>
                    <a:gd name="connsiteX22" fmla="*/ 150349 w 1530524"/>
                    <a:gd name="connsiteY22" fmla="*/ 2050 h 1234054"/>
                    <a:gd name="connsiteX0" fmla="*/ 150349 w 1530524"/>
                    <a:gd name="connsiteY0" fmla="*/ 2050 h 1234054"/>
                    <a:gd name="connsiteX1" fmla="*/ 199555 w 1530524"/>
                    <a:gd name="connsiteY1" fmla="*/ 202972 h 1234054"/>
                    <a:gd name="connsiteX2" fmla="*/ 359472 w 1530524"/>
                    <a:gd name="connsiteY2" fmla="*/ 330086 h 1234054"/>
                    <a:gd name="connsiteX3" fmla="*/ 363573 w 1530524"/>
                    <a:gd name="connsiteY3" fmla="*/ 416196 h 1234054"/>
                    <a:gd name="connsiteX4" fmla="*/ 400477 w 1530524"/>
                    <a:gd name="connsiteY4" fmla="*/ 543310 h 1234054"/>
                    <a:gd name="connsiteX5" fmla="*/ 572696 w 1530524"/>
                    <a:gd name="connsiteY5" fmla="*/ 621218 h 1234054"/>
                    <a:gd name="connsiteX6" fmla="*/ 601399 w 1530524"/>
                    <a:gd name="connsiteY6" fmla="*/ 703227 h 1234054"/>
                    <a:gd name="connsiteX7" fmla="*/ 687508 w 1530524"/>
                    <a:gd name="connsiteY7" fmla="*/ 850843 h 1234054"/>
                    <a:gd name="connsiteX8" fmla="*/ 851526 w 1530524"/>
                    <a:gd name="connsiteY8" fmla="*/ 867245 h 1234054"/>
                    <a:gd name="connsiteX9" fmla="*/ 908932 w 1530524"/>
                    <a:gd name="connsiteY9" fmla="*/ 977957 h 1234054"/>
                    <a:gd name="connsiteX10" fmla="*/ 1077051 w 1530524"/>
                    <a:gd name="connsiteY10" fmla="*/ 1031263 h 1234054"/>
                    <a:gd name="connsiteX11" fmla="*/ 1376628 w 1530524"/>
                    <a:gd name="connsiteY11" fmla="*/ 1009492 h 1234054"/>
                    <a:gd name="connsiteX12" fmla="*/ 1107674 w 1530524"/>
                    <a:gd name="connsiteY12" fmla="*/ 1181890 h 1234054"/>
                    <a:gd name="connsiteX13" fmla="*/ 962238 w 1530524"/>
                    <a:gd name="connsiteY13" fmla="*/ 1232185 h 1234054"/>
                    <a:gd name="connsiteX14" fmla="*/ 835124 w 1530524"/>
                    <a:gd name="connsiteY14" fmla="*/ 1170678 h 1234054"/>
                    <a:gd name="connsiteX15" fmla="*/ 798220 w 1530524"/>
                    <a:gd name="connsiteY15" fmla="*/ 1064066 h 1234054"/>
                    <a:gd name="connsiteX16" fmla="*/ 695709 w 1530524"/>
                    <a:gd name="connsiteY16" fmla="*/ 1035363 h 1234054"/>
                    <a:gd name="connsiteX17" fmla="*/ 552193 w 1530524"/>
                    <a:gd name="connsiteY17" fmla="*/ 965656 h 1234054"/>
                    <a:gd name="connsiteX18" fmla="*/ 474285 w 1530524"/>
                    <a:gd name="connsiteY18" fmla="*/ 801638 h 1234054"/>
                    <a:gd name="connsiteX19" fmla="*/ 232358 w 1530524"/>
                    <a:gd name="connsiteY19" fmla="*/ 531008 h 1234054"/>
                    <a:gd name="connsiteX20" fmla="*/ 64240 w 1530524"/>
                    <a:gd name="connsiteY20" fmla="*/ 424397 h 1234054"/>
                    <a:gd name="connsiteX21" fmla="*/ 15035 w 1530524"/>
                    <a:gd name="connsiteY21" fmla="*/ 215274 h 1234054"/>
                    <a:gd name="connsiteX22" fmla="*/ 150349 w 1530524"/>
                    <a:gd name="connsiteY22" fmla="*/ 2050 h 1234054"/>
                    <a:gd name="connsiteX0" fmla="*/ 150349 w 1381732"/>
                    <a:gd name="connsiteY0" fmla="*/ 2050 h 1234054"/>
                    <a:gd name="connsiteX1" fmla="*/ 199555 w 1381732"/>
                    <a:gd name="connsiteY1" fmla="*/ 202972 h 1234054"/>
                    <a:gd name="connsiteX2" fmla="*/ 359472 w 1381732"/>
                    <a:gd name="connsiteY2" fmla="*/ 330086 h 1234054"/>
                    <a:gd name="connsiteX3" fmla="*/ 363573 w 1381732"/>
                    <a:gd name="connsiteY3" fmla="*/ 416196 h 1234054"/>
                    <a:gd name="connsiteX4" fmla="*/ 400477 w 1381732"/>
                    <a:gd name="connsiteY4" fmla="*/ 543310 h 1234054"/>
                    <a:gd name="connsiteX5" fmla="*/ 572696 w 1381732"/>
                    <a:gd name="connsiteY5" fmla="*/ 621218 h 1234054"/>
                    <a:gd name="connsiteX6" fmla="*/ 601399 w 1381732"/>
                    <a:gd name="connsiteY6" fmla="*/ 703227 h 1234054"/>
                    <a:gd name="connsiteX7" fmla="*/ 687508 w 1381732"/>
                    <a:gd name="connsiteY7" fmla="*/ 850843 h 1234054"/>
                    <a:gd name="connsiteX8" fmla="*/ 851526 w 1381732"/>
                    <a:gd name="connsiteY8" fmla="*/ 867245 h 1234054"/>
                    <a:gd name="connsiteX9" fmla="*/ 908932 w 1381732"/>
                    <a:gd name="connsiteY9" fmla="*/ 977957 h 1234054"/>
                    <a:gd name="connsiteX10" fmla="*/ 1077051 w 1381732"/>
                    <a:gd name="connsiteY10" fmla="*/ 1031263 h 1234054"/>
                    <a:gd name="connsiteX11" fmla="*/ 1376628 w 1381732"/>
                    <a:gd name="connsiteY11" fmla="*/ 1009492 h 1234054"/>
                    <a:gd name="connsiteX12" fmla="*/ 1107674 w 1381732"/>
                    <a:gd name="connsiteY12" fmla="*/ 1181890 h 1234054"/>
                    <a:gd name="connsiteX13" fmla="*/ 962238 w 1381732"/>
                    <a:gd name="connsiteY13" fmla="*/ 1232185 h 1234054"/>
                    <a:gd name="connsiteX14" fmla="*/ 835124 w 1381732"/>
                    <a:gd name="connsiteY14" fmla="*/ 1170678 h 1234054"/>
                    <a:gd name="connsiteX15" fmla="*/ 798220 w 1381732"/>
                    <a:gd name="connsiteY15" fmla="*/ 1064066 h 1234054"/>
                    <a:gd name="connsiteX16" fmla="*/ 695709 w 1381732"/>
                    <a:gd name="connsiteY16" fmla="*/ 1035363 h 1234054"/>
                    <a:gd name="connsiteX17" fmla="*/ 552193 w 1381732"/>
                    <a:gd name="connsiteY17" fmla="*/ 965656 h 1234054"/>
                    <a:gd name="connsiteX18" fmla="*/ 474285 w 1381732"/>
                    <a:gd name="connsiteY18" fmla="*/ 801638 h 1234054"/>
                    <a:gd name="connsiteX19" fmla="*/ 232358 w 1381732"/>
                    <a:gd name="connsiteY19" fmla="*/ 531008 h 1234054"/>
                    <a:gd name="connsiteX20" fmla="*/ 64240 w 1381732"/>
                    <a:gd name="connsiteY20" fmla="*/ 424397 h 1234054"/>
                    <a:gd name="connsiteX21" fmla="*/ 15035 w 1381732"/>
                    <a:gd name="connsiteY21" fmla="*/ 215274 h 1234054"/>
                    <a:gd name="connsiteX22" fmla="*/ 150349 w 1381732"/>
                    <a:gd name="connsiteY22" fmla="*/ 2050 h 1234054"/>
                    <a:gd name="connsiteX0" fmla="*/ 150349 w 1381732"/>
                    <a:gd name="connsiteY0" fmla="*/ 2050 h 1234054"/>
                    <a:gd name="connsiteX1" fmla="*/ 199555 w 1381732"/>
                    <a:gd name="connsiteY1" fmla="*/ 202972 h 1234054"/>
                    <a:gd name="connsiteX2" fmla="*/ 359472 w 1381732"/>
                    <a:gd name="connsiteY2" fmla="*/ 330086 h 1234054"/>
                    <a:gd name="connsiteX3" fmla="*/ 363573 w 1381732"/>
                    <a:gd name="connsiteY3" fmla="*/ 416196 h 1234054"/>
                    <a:gd name="connsiteX4" fmla="*/ 400477 w 1381732"/>
                    <a:gd name="connsiteY4" fmla="*/ 543310 h 1234054"/>
                    <a:gd name="connsiteX5" fmla="*/ 572696 w 1381732"/>
                    <a:gd name="connsiteY5" fmla="*/ 621218 h 1234054"/>
                    <a:gd name="connsiteX6" fmla="*/ 601399 w 1381732"/>
                    <a:gd name="connsiteY6" fmla="*/ 703227 h 1234054"/>
                    <a:gd name="connsiteX7" fmla="*/ 687508 w 1381732"/>
                    <a:gd name="connsiteY7" fmla="*/ 850843 h 1234054"/>
                    <a:gd name="connsiteX8" fmla="*/ 851526 w 1381732"/>
                    <a:gd name="connsiteY8" fmla="*/ 867245 h 1234054"/>
                    <a:gd name="connsiteX9" fmla="*/ 908932 w 1381732"/>
                    <a:gd name="connsiteY9" fmla="*/ 977957 h 1234054"/>
                    <a:gd name="connsiteX10" fmla="*/ 1077051 w 1381732"/>
                    <a:gd name="connsiteY10" fmla="*/ 1031263 h 1234054"/>
                    <a:gd name="connsiteX11" fmla="*/ 1376628 w 1381732"/>
                    <a:gd name="connsiteY11" fmla="*/ 1009492 h 1234054"/>
                    <a:gd name="connsiteX12" fmla="*/ 1107674 w 1381732"/>
                    <a:gd name="connsiteY12" fmla="*/ 1181890 h 1234054"/>
                    <a:gd name="connsiteX13" fmla="*/ 962238 w 1381732"/>
                    <a:gd name="connsiteY13" fmla="*/ 1232185 h 1234054"/>
                    <a:gd name="connsiteX14" fmla="*/ 835124 w 1381732"/>
                    <a:gd name="connsiteY14" fmla="*/ 1170678 h 1234054"/>
                    <a:gd name="connsiteX15" fmla="*/ 798220 w 1381732"/>
                    <a:gd name="connsiteY15" fmla="*/ 1064066 h 1234054"/>
                    <a:gd name="connsiteX16" fmla="*/ 695709 w 1381732"/>
                    <a:gd name="connsiteY16" fmla="*/ 1035363 h 1234054"/>
                    <a:gd name="connsiteX17" fmla="*/ 552193 w 1381732"/>
                    <a:gd name="connsiteY17" fmla="*/ 965656 h 1234054"/>
                    <a:gd name="connsiteX18" fmla="*/ 474285 w 1381732"/>
                    <a:gd name="connsiteY18" fmla="*/ 801638 h 1234054"/>
                    <a:gd name="connsiteX19" fmla="*/ 232358 w 1381732"/>
                    <a:gd name="connsiteY19" fmla="*/ 531008 h 1234054"/>
                    <a:gd name="connsiteX20" fmla="*/ 64240 w 1381732"/>
                    <a:gd name="connsiteY20" fmla="*/ 424397 h 1234054"/>
                    <a:gd name="connsiteX21" fmla="*/ 15035 w 1381732"/>
                    <a:gd name="connsiteY21" fmla="*/ 215274 h 1234054"/>
                    <a:gd name="connsiteX22" fmla="*/ 150349 w 1381732"/>
                    <a:gd name="connsiteY22" fmla="*/ 2050 h 1234054"/>
                    <a:gd name="connsiteX0" fmla="*/ 150349 w 1381732"/>
                    <a:gd name="connsiteY0" fmla="*/ 2050 h 1234054"/>
                    <a:gd name="connsiteX1" fmla="*/ 199555 w 1381732"/>
                    <a:gd name="connsiteY1" fmla="*/ 202972 h 1234054"/>
                    <a:gd name="connsiteX2" fmla="*/ 359472 w 1381732"/>
                    <a:gd name="connsiteY2" fmla="*/ 330086 h 1234054"/>
                    <a:gd name="connsiteX3" fmla="*/ 363573 w 1381732"/>
                    <a:gd name="connsiteY3" fmla="*/ 416196 h 1234054"/>
                    <a:gd name="connsiteX4" fmla="*/ 400477 w 1381732"/>
                    <a:gd name="connsiteY4" fmla="*/ 543310 h 1234054"/>
                    <a:gd name="connsiteX5" fmla="*/ 572696 w 1381732"/>
                    <a:gd name="connsiteY5" fmla="*/ 621218 h 1234054"/>
                    <a:gd name="connsiteX6" fmla="*/ 601399 w 1381732"/>
                    <a:gd name="connsiteY6" fmla="*/ 703227 h 1234054"/>
                    <a:gd name="connsiteX7" fmla="*/ 687508 w 1381732"/>
                    <a:gd name="connsiteY7" fmla="*/ 850843 h 1234054"/>
                    <a:gd name="connsiteX8" fmla="*/ 851526 w 1381732"/>
                    <a:gd name="connsiteY8" fmla="*/ 867245 h 1234054"/>
                    <a:gd name="connsiteX9" fmla="*/ 908932 w 1381732"/>
                    <a:gd name="connsiteY9" fmla="*/ 977957 h 1234054"/>
                    <a:gd name="connsiteX10" fmla="*/ 1077051 w 1381732"/>
                    <a:gd name="connsiteY10" fmla="*/ 1031263 h 1234054"/>
                    <a:gd name="connsiteX11" fmla="*/ 1376628 w 1381732"/>
                    <a:gd name="connsiteY11" fmla="*/ 1009492 h 1234054"/>
                    <a:gd name="connsiteX12" fmla="*/ 1107674 w 1381732"/>
                    <a:gd name="connsiteY12" fmla="*/ 1181890 h 1234054"/>
                    <a:gd name="connsiteX13" fmla="*/ 962238 w 1381732"/>
                    <a:gd name="connsiteY13" fmla="*/ 1232185 h 1234054"/>
                    <a:gd name="connsiteX14" fmla="*/ 835124 w 1381732"/>
                    <a:gd name="connsiteY14" fmla="*/ 1170678 h 1234054"/>
                    <a:gd name="connsiteX15" fmla="*/ 798220 w 1381732"/>
                    <a:gd name="connsiteY15" fmla="*/ 1064066 h 1234054"/>
                    <a:gd name="connsiteX16" fmla="*/ 695709 w 1381732"/>
                    <a:gd name="connsiteY16" fmla="*/ 1035363 h 1234054"/>
                    <a:gd name="connsiteX17" fmla="*/ 552193 w 1381732"/>
                    <a:gd name="connsiteY17" fmla="*/ 965656 h 1234054"/>
                    <a:gd name="connsiteX18" fmla="*/ 474285 w 1381732"/>
                    <a:gd name="connsiteY18" fmla="*/ 801638 h 1234054"/>
                    <a:gd name="connsiteX19" fmla="*/ 232358 w 1381732"/>
                    <a:gd name="connsiteY19" fmla="*/ 531008 h 1234054"/>
                    <a:gd name="connsiteX20" fmla="*/ 64240 w 1381732"/>
                    <a:gd name="connsiteY20" fmla="*/ 424397 h 1234054"/>
                    <a:gd name="connsiteX21" fmla="*/ 15035 w 1381732"/>
                    <a:gd name="connsiteY21" fmla="*/ 215274 h 1234054"/>
                    <a:gd name="connsiteX22" fmla="*/ 150349 w 1381732"/>
                    <a:gd name="connsiteY22" fmla="*/ 2050 h 1234054"/>
                    <a:gd name="connsiteX0" fmla="*/ 150349 w 1381732"/>
                    <a:gd name="connsiteY0" fmla="*/ 2050 h 1234054"/>
                    <a:gd name="connsiteX1" fmla="*/ 199555 w 1381732"/>
                    <a:gd name="connsiteY1" fmla="*/ 202972 h 1234054"/>
                    <a:gd name="connsiteX2" fmla="*/ 359472 w 1381732"/>
                    <a:gd name="connsiteY2" fmla="*/ 330086 h 1234054"/>
                    <a:gd name="connsiteX3" fmla="*/ 363573 w 1381732"/>
                    <a:gd name="connsiteY3" fmla="*/ 416196 h 1234054"/>
                    <a:gd name="connsiteX4" fmla="*/ 400477 w 1381732"/>
                    <a:gd name="connsiteY4" fmla="*/ 543310 h 1234054"/>
                    <a:gd name="connsiteX5" fmla="*/ 572696 w 1381732"/>
                    <a:gd name="connsiteY5" fmla="*/ 621218 h 1234054"/>
                    <a:gd name="connsiteX6" fmla="*/ 601399 w 1381732"/>
                    <a:gd name="connsiteY6" fmla="*/ 703227 h 1234054"/>
                    <a:gd name="connsiteX7" fmla="*/ 687508 w 1381732"/>
                    <a:gd name="connsiteY7" fmla="*/ 850843 h 1234054"/>
                    <a:gd name="connsiteX8" fmla="*/ 851526 w 1381732"/>
                    <a:gd name="connsiteY8" fmla="*/ 867245 h 1234054"/>
                    <a:gd name="connsiteX9" fmla="*/ 908932 w 1381732"/>
                    <a:gd name="connsiteY9" fmla="*/ 977957 h 1234054"/>
                    <a:gd name="connsiteX10" fmla="*/ 1062537 w 1381732"/>
                    <a:gd name="connsiteY10" fmla="*/ 1063920 h 1234054"/>
                    <a:gd name="connsiteX11" fmla="*/ 1376628 w 1381732"/>
                    <a:gd name="connsiteY11" fmla="*/ 1009492 h 1234054"/>
                    <a:gd name="connsiteX12" fmla="*/ 1107674 w 1381732"/>
                    <a:gd name="connsiteY12" fmla="*/ 1181890 h 1234054"/>
                    <a:gd name="connsiteX13" fmla="*/ 962238 w 1381732"/>
                    <a:gd name="connsiteY13" fmla="*/ 1232185 h 1234054"/>
                    <a:gd name="connsiteX14" fmla="*/ 835124 w 1381732"/>
                    <a:gd name="connsiteY14" fmla="*/ 1170678 h 1234054"/>
                    <a:gd name="connsiteX15" fmla="*/ 798220 w 1381732"/>
                    <a:gd name="connsiteY15" fmla="*/ 1064066 h 1234054"/>
                    <a:gd name="connsiteX16" fmla="*/ 695709 w 1381732"/>
                    <a:gd name="connsiteY16" fmla="*/ 1035363 h 1234054"/>
                    <a:gd name="connsiteX17" fmla="*/ 552193 w 1381732"/>
                    <a:gd name="connsiteY17" fmla="*/ 965656 h 1234054"/>
                    <a:gd name="connsiteX18" fmla="*/ 474285 w 1381732"/>
                    <a:gd name="connsiteY18" fmla="*/ 801638 h 1234054"/>
                    <a:gd name="connsiteX19" fmla="*/ 232358 w 1381732"/>
                    <a:gd name="connsiteY19" fmla="*/ 531008 h 1234054"/>
                    <a:gd name="connsiteX20" fmla="*/ 64240 w 1381732"/>
                    <a:gd name="connsiteY20" fmla="*/ 424397 h 1234054"/>
                    <a:gd name="connsiteX21" fmla="*/ 15035 w 1381732"/>
                    <a:gd name="connsiteY21" fmla="*/ 215274 h 1234054"/>
                    <a:gd name="connsiteX22" fmla="*/ 150349 w 1381732"/>
                    <a:gd name="connsiteY22" fmla="*/ 2050 h 1234054"/>
                    <a:gd name="connsiteX0" fmla="*/ 150349 w 1381732"/>
                    <a:gd name="connsiteY0" fmla="*/ 2050 h 1234054"/>
                    <a:gd name="connsiteX1" fmla="*/ 199555 w 1381732"/>
                    <a:gd name="connsiteY1" fmla="*/ 202972 h 1234054"/>
                    <a:gd name="connsiteX2" fmla="*/ 359472 w 1381732"/>
                    <a:gd name="connsiteY2" fmla="*/ 330086 h 1234054"/>
                    <a:gd name="connsiteX3" fmla="*/ 363573 w 1381732"/>
                    <a:gd name="connsiteY3" fmla="*/ 416196 h 1234054"/>
                    <a:gd name="connsiteX4" fmla="*/ 400477 w 1381732"/>
                    <a:gd name="connsiteY4" fmla="*/ 543310 h 1234054"/>
                    <a:gd name="connsiteX5" fmla="*/ 572696 w 1381732"/>
                    <a:gd name="connsiteY5" fmla="*/ 621218 h 1234054"/>
                    <a:gd name="connsiteX6" fmla="*/ 601399 w 1381732"/>
                    <a:gd name="connsiteY6" fmla="*/ 703227 h 1234054"/>
                    <a:gd name="connsiteX7" fmla="*/ 687508 w 1381732"/>
                    <a:gd name="connsiteY7" fmla="*/ 850843 h 1234054"/>
                    <a:gd name="connsiteX8" fmla="*/ 851526 w 1381732"/>
                    <a:gd name="connsiteY8" fmla="*/ 867245 h 1234054"/>
                    <a:gd name="connsiteX9" fmla="*/ 908932 w 1381732"/>
                    <a:gd name="connsiteY9" fmla="*/ 977957 h 1234054"/>
                    <a:gd name="connsiteX10" fmla="*/ 1062537 w 1381732"/>
                    <a:gd name="connsiteY10" fmla="*/ 1063920 h 1234054"/>
                    <a:gd name="connsiteX11" fmla="*/ 1376628 w 1381732"/>
                    <a:gd name="connsiteY11" fmla="*/ 1009492 h 1234054"/>
                    <a:gd name="connsiteX12" fmla="*/ 1107674 w 1381732"/>
                    <a:gd name="connsiteY12" fmla="*/ 1181890 h 1234054"/>
                    <a:gd name="connsiteX13" fmla="*/ 962238 w 1381732"/>
                    <a:gd name="connsiteY13" fmla="*/ 1232185 h 1234054"/>
                    <a:gd name="connsiteX14" fmla="*/ 835124 w 1381732"/>
                    <a:gd name="connsiteY14" fmla="*/ 1170678 h 1234054"/>
                    <a:gd name="connsiteX15" fmla="*/ 798220 w 1381732"/>
                    <a:gd name="connsiteY15" fmla="*/ 1064066 h 1234054"/>
                    <a:gd name="connsiteX16" fmla="*/ 695709 w 1381732"/>
                    <a:gd name="connsiteY16" fmla="*/ 1035363 h 1234054"/>
                    <a:gd name="connsiteX17" fmla="*/ 552193 w 1381732"/>
                    <a:gd name="connsiteY17" fmla="*/ 965656 h 1234054"/>
                    <a:gd name="connsiteX18" fmla="*/ 474285 w 1381732"/>
                    <a:gd name="connsiteY18" fmla="*/ 801638 h 1234054"/>
                    <a:gd name="connsiteX19" fmla="*/ 232358 w 1381732"/>
                    <a:gd name="connsiteY19" fmla="*/ 531008 h 1234054"/>
                    <a:gd name="connsiteX20" fmla="*/ 64240 w 1381732"/>
                    <a:gd name="connsiteY20" fmla="*/ 424397 h 1234054"/>
                    <a:gd name="connsiteX21" fmla="*/ 15035 w 1381732"/>
                    <a:gd name="connsiteY21" fmla="*/ 215274 h 1234054"/>
                    <a:gd name="connsiteX22" fmla="*/ 150349 w 1381732"/>
                    <a:gd name="connsiteY22" fmla="*/ 2050 h 1234054"/>
                    <a:gd name="connsiteX0" fmla="*/ 150349 w 1381732"/>
                    <a:gd name="connsiteY0" fmla="*/ 2050 h 1234054"/>
                    <a:gd name="connsiteX1" fmla="*/ 199555 w 1381732"/>
                    <a:gd name="connsiteY1" fmla="*/ 202972 h 1234054"/>
                    <a:gd name="connsiteX2" fmla="*/ 359472 w 1381732"/>
                    <a:gd name="connsiteY2" fmla="*/ 330086 h 1234054"/>
                    <a:gd name="connsiteX3" fmla="*/ 363573 w 1381732"/>
                    <a:gd name="connsiteY3" fmla="*/ 416196 h 1234054"/>
                    <a:gd name="connsiteX4" fmla="*/ 400477 w 1381732"/>
                    <a:gd name="connsiteY4" fmla="*/ 543310 h 1234054"/>
                    <a:gd name="connsiteX5" fmla="*/ 572696 w 1381732"/>
                    <a:gd name="connsiteY5" fmla="*/ 621218 h 1234054"/>
                    <a:gd name="connsiteX6" fmla="*/ 601399 w 1381732"/>
                    <a:gd name="connsiteY6" fmla="*/ 703227 h 1234054"/>
                    <a:gd name="connsiteX7" fmla="*/ 676623 w 1381732"/>
                    <a:gd name="connsiteY7" fmla="*/ 825443 h 1234054"/>
                    <a:gd name="connsiteX8" fmla="*/ 851526 w 1381732"/>
                    <a:gd name="connsiteY8" fmla="*/ 867245 h 1234054"/>
                    <a:gd name="connsiteX9" fmla="*/ 908932 w 1381732"/>
                    <a:gd name="connsiteY9" fmla="*/ 977957 h 1234054"/>
                    <a:gd name="connsiteX10" fmla="*/ 1062537 w 1381732"/>
                    <a:gd name="connsiteY10" fmla="*/ 1063920 h 1234054"/>
                    <a:gd name="connsiteX11" fmla="*/ 1376628 w 1381732"/>
                    <a:gd name="connsiteY11" fmla="*/ 1009492 h 1234054"/>
                    <a:gd name="connsiteX12" fmla="*/ 1107674 w 1381732"/>
                    <a:gd name="connsiteY12" fmla="*/ 1181890 h 1234054"/>
                    <a:gd name="connsiteX13" fmla="*/ 962238 w 1381732"/>
                    <a:gd name="connsiteY13" fmla="*/ 1232185 h 1234054"/>
                    <a:gd name="connsiteX14" fmla="*/ 835124 w 1381732"/>
                    <a:gd name="connsiteY14" fmla="*/ 1170678 h 1234054"/>
                    <a:gd name="connsiteX15" fmla="*/ 798220 w 1381732"/>
                    <a:gd name="connsiteY15" fmla="*/ 1064066 h 1234054"/>
                    <a:gd name="connsiteX16" fmla="*/ 695709 w 1381732"/>
                    <a:gd name="connsiteY16" fmla="*/ 1035363 h 1234054"/>
                    <a:gd name="connsiteX17" fmla="*/ 552193 w 1381732"/>
                    <a:gd name="connsiteY17" fmla="*/ 965656 h 1234054"/>
                    <a:gd name="connsiteX18" fmla="*/ 474285 w 1381732"/>
                    <a:gd name="connsiteY18" fmla="*/ 801638 h 1234054"/>
                    <a:gd name="connsiteX19" fmla="*/ 232358 w 1381732"/>
                    <a:gd name="connsiteY19" fmla="*/ 531008 h 1234054"/>
                    <a:gd name="connsiteX20" fmla="*/ 64240 w 1381732"/>
                    <a:gd name="connsiteY20" fmla="*/ 424397 h 1234054"/>
                    <a:gd name="connsiteX21" fmla="*/ 15035 w 1381732"/>
                    <a:gd name="connsiteY21" fmla="*/ 215274 h 1234054"/>
                    <a:gd name="connsiteX22" fmla="*/ 150349 w 1381732"/>
                    <a:gd name="connsiteY22" fmla="*/ 2050 h 1234054"/>
                    <a:gd name="connsiteX0" fmla="*/ 150349 w 1381732"/>
                    <a:gd name="connsiteY0" fmla="*/ 2050 h 1234054"/>
                    <a:gd name="connsiteX1" fmla="*/ 199555 w 1381732"/>
                    <a:gd name="connsiteY1" fmla="*/ 202972 h 1234054"/>
                    <a:gd name="connsiteX2" fmla="*/ 359472 w 1381732"/>
                    <a:gd name="connsiteY2" fmla="*/ 330086 h 1234054"/>
                    <a:gd name="connsiteX3" fmla="*/ 363573 w 1381732"/>
                    <a:gd name="connsiteY3" fmla="*/ 416196 h 1234054"/>
                    <a:gd name="connsiteX4" fmla="*/ 400477 w 1381732"/>
                    <a:gd name="connsiteY4" fmla="*/ 543310 h 1234054"/>
                    <a:gd name="connsiteX5" fmla="*/ 572696 w 1381732"/>
                    <a:gd name="connsiteY5" fmla="*/ 621218 h 1234054"/>
                    <a:gd name="connsiteX6" fmla="*/ 601399 w 1381732"/>
                    <a:gd name="connsiteY6" fmla="*/ 703227 h 1234054"/>
                    <a:gd name="connsiteX7" fmla="*/ 676623 w 1381732"/>
                    <a:gd name="connsiteY7" fmla="*/ 825443 h 1234054"/>
                    <a:gd name="connsiteX8" fmla="*/ 884183 w 1381732"/>
                    <a:gd name="connsiteY8" fmla="*/ 863617 h 1234054"/>
                    <a:gd name="connsiteX9" fmla="*/ 908932 w 1381732"/>
                    <a:gd name="connsiteY9" fmla="*/ 977957 h 1234054"/>
                    <a:gd name="connsiteX10" fmla="*/ 1062537 w 1381732"/>
                    <a:gd name="connsiteY10" fmla="*/ 1063920 h 1234054"/>
                    <a:gd name="connsiteX11" fmla="*/ 1376628 w 1381732"/>
                    <a:gd name="connsiteY11" fmla="*/ 1009492 h 1234054"/>
                    <a:gd name="connsiteX12" fmla="*/ 1107674 w 1381732"/>
                    <a:gd name="connsiteY12" fmla="*/ 1181890 h 1234054"/>
                    <a:gd name="connsiteX13" fmla="*/ 962238 w 1381732"/>
                    <a:gd name="connsiteY13" fmla="*/ 1232185 h 1234054"/>
                    <a:gd name="connsiteX14" fmla="*/ 835124 w 1381732"/>
                    <a:gd name="connsiteY14" fmla="*/ 1170678 h 1234054"/>
                    <a:gd name="connsiteX15" fmla="*/ 798220 w 1381732"/>
                    <a:gd name="connsiteY15" fmla="*/ 1064066 h 1234054"/>
                    <a:gd name="connsiteX16" fmla="*/ 695709 w 1381732"/>
                    <a:gd name="connsiteY16" fmla="*/ 1035363 h 1234054"/>
                    <a:gd name="connsiteX17" fmla="*/ 552193 w 1381732"/>
                    <a:gd name="connsiteY17" fmla="*/ 965656 h 1234054"/>
                    <a:gd name="connsiteX18" fmla="*/ 474285 w 1381732"/>
                    <a:gd name="connsiteY18" fmla="*/ 801638 h 1234054"/>
                    <a:gd name="connsiteX19" fmla="*/ 232358 w 1381732"/>
                    <a:gd name="connsiteY19" fmla="*/ 531008 h 1234054"/>
                    <a:gd name="connsiteX20" fmla="*/ 64240 w 1381732"/>
                    <a:gd name="connsiteY20" fmla="*/ 424397 h 1234054"/>
                    <a:gd name="connsiteX21" fmla="*/ 15035 w 1381732"/>
                    <a:gd name="connsiteY21" fmla="*/ 215274 h 1234054"/>
                    <a:gd name="connsiteX22" fmla="*/ 150349 w 1381732"/>
                    <a:gd name="connsiteY22" fmla="*/ 2050 h 1234054"/>
                    <a:gd name="connsiteX0" fmla="*/ 150349 w 1381732"/>
                    <a:gd name="connsiteY0" fmla="*/ 2050 h 1234054"/>
                    <a:gd name="connsiteX1" fmla="*/ 199555 w 1381732"/>
                    <a:gd name="connsiteY1" fmla="*/ 202972 h 1234054"/>
                    <a:gd name="connsiteX2" fmla="*/ 359472 w 1381732"/>
                    <a:gd name="connsiteY2" fmla="*/ 330086 h 1234054"/>
                    <a:gd name="connsiteX3" fmla="*/ 363573 w 1381732"/>
                    <a:gd name="connsiteY3" fmla="*/ 416196 h 1234054"/>
                    <a:gd name="connsiteX4" fmla="*/ 400477 w 1381732"/>
                    <a:gd name="connsiteY4" fmla="*/ 543310 h 1234054"/>
                    <a:gd name="connsiteX5" fmla="*/ 572696 w 1381732"/>
                    <a:gd name="connsiteY5" fmla="*/ 621218 h 1234054"/>
                    <a:gd name="connsiteX6" fmla="*/ 601399 w 1381732"/>
                    <a:gd name="connsiteY6" fmla="*/ 703227 h 1234054"/>
                    <a:gd name="connsiteX7" fmla="*/ 676623 w 1381732"/>
                    <a:gd name="connsiteY7" fmla="*/ 825443 h 1234054"/>
                    <a:gd name="connsiteX8" fmla="*/ 884183 w 1381732"/>
                    <a:gd name="connsiteY8" fmla="*/ 863617 h 1234054"/>
                    <a:gd name="connsiteX9" fmla="*/ 945218 w 1381732"/>
                    <a:gd name="connsiteY9" fmla="*/ 977957 h 1234054"/>
                    <a:gd name="connsiteX10" fmla="*/ 1062537 w 1381732"/>
                    <a:gd name="connsiteY10" fmla="*/ 1063920 h 1234054"/>
                    <a:gd name="connsiteX11" fmla="*/ 1376628 w 1381732"/>
                    <a:gd name="connsiteY11" fmla="*/ 1009492 h 1234054"/>
                    <a:gd name="connsiteX12" fmla="*/ 1107674 w 1381732"/>
                    <a:gd name="connsiteY12" fmla="*/ 1181890 h 1234054"/>
                    <a:gd name="connsiteX13" fmla="*/ 962238 w 1381732"/>
                    <a:gd name="connsiteY13" fmla="*/ 1232185 h 1234054"/>
                    <a:gd name="connsiteX14" fmla="*/ 835124 w 1381732"/>
                    <a:gd name="connsiteY14" fmla="*/ 1170678 h 1234054"/>
                    <a:gd name="connsiteX15" fmla="*/ 798220 w 1381732"/>
                    <a:gd name="connsiteY15" fmla="*/ 1064066 h 1234054"/>
                    <a:gd name="connsiteX16" fmla="*/ 695709 w 1381732"/>
                    <a:gd name="connsiteY16" fmla="*/ 1035363 h 1234054"/>
                    <a:gd name="connsiteX17" fmla="*/ 552193 w 1381732"/>
                    <a:gd name="connsiteY17" fmla="*/ 965656 h 1234054"/>
                    <a:gd name="connsiteX18" fmla="*/ 474285 w 1381732"/>
                    <a:gd name="connsiteY18" fmla="*/ 801638 h 1234054"/>
                    <a:gd name="connsiteX19" fmla="*/ 232358 w 1381732"/>
                    <a:gd name="connsiteY19" fmla="*/ 531008 h 1234054"/>
                    <a:gd name="connsiteX20" fmla="*/ 64240 w 1381732"/>
                    <a:gd name="connsiteY20" fmla="*/ 424397 h 1234054"/>
                    <a:gd name="connsiteX21" fmla="*/ 15035 w 1381732"/>
                    <a:gd name="connsiteY21" fmla="*/ 215274 h 1234054"/>
                    <a:gd name="connsiteX22" fmla="*/ 150349 w 1381732"/>
                    <a:gd name="connsiteY22" fmla="*/ 2050 h 1234054"/>
                    <a:gd name="connsiteX0" fmla="*/ 150349 w 1381732"/>
                    <a:gd name="connsiteY0" fmla="*/ 2050 h 1234054"/>
                    <a:gd name="connsiteX1" fmla="*/ 199555 w 1381732"/>
                    <a:gd name="connsiteY1" fmla="*/ 202972 h 1234054"/>
                    <a:gd name="connsiteX2" fmla="*/ 359472 w 1381732"/>
                    <a:gd name="connsiteY2" fmla="*/ 330086 h 1234054"/>
                    <a:gd name="connsiteX3" fmla="*/ 363573 w 1381732"/>
                    <a:gd name="connsiteY3" fmla="*/ 416196 h 1234054"/>
                    <a:gd name="connsiteX4" fmla="*/ 400477 w 1381732"/>
                    <a:gd name="connsiteY4" fmla="*/ 543310 h 1234054"/>
                    <a:gd name="connsiteX5" fmla="*/ 572696 w 1381732"/>
                    <a:gd name="connsiteY5" fmla="*/ 621218 h 1234054"/>
                    <a:gd name="connsiteX6" fmla="*/ 601399 w 1381732"/>
                    <a:gd name="connsiteY6" fmla="*/ 703227 h 1234054"/>
                    <a:gd name="connsiteX7" fmla="*/ 676623 w 1381732"/>
                    <a:gd name="connsiteY7" fmla="*/ 825443 h 1234054"/>
                    <a:gd name="connsiteX8" fmla="*/ 884183 w 1381732"/>
                    <a:gd name="connsiteY8" fmla="*/ 863617 h 1234054"/>
                    <a:gd name="connsiteX9" fmla="*/ 945218 w 1381732"/>
                    <a:gd name="connsiteY9" fmla="*/ 977957 h 1234054"/>
                    <a:gd name="connsiteX10" fmla="*/ 1062537 w 1381732"/>
                    <a:gd name="connsiteY10" fmla="*/ 1063920 h 1234054"/>
                    <a:gd name="connsiteX11" fmla="*/ 1376628 w 1381732"/>
                    <a:gd name="connsiteY11" fmla="*/ 1009492 h 1234054"/>
                    <a:gd name="connsiteX12" fmla="*/ 1107674 w 1381732"/>
                    <a:gd name="connsiteY12" fmla="*/ 1181890 h 1234054"/>
                    <a:gd name="connsiteX13" fmla="*/ 962238 w 1381732"/>
                    <a:gd name="connsiteY13" fmla="*/ 1232185 h 1234054"/>
                    <a:gd name="connsiteX14" fmla="*/ 835124 w 1381732"/>
                    <a:gd name="connsiteY14" fmla="*/ 1170678 h 1234054"/>
                    <a:gd name="connsiteX15" fmla="*/ 798220 w 1381732"/>
                    <a:gd name="connsiteY15" fmla="*/ 1064066 h 1234054"/>
                    <a:gd name="connsiteX16" fmla="*/ 695709 w 1381732"/>
                    <a:gd name="connsiteY16" fmla="*/ 1035363 h 1234054"/>
                    <a:gd name="connsiteX17" fmla="*/ 552193 w 1381732"/>
                    <a:gd name="connsiteY17" fmla="*/ 965656 h 1234054"/>
                    <a:gd name="connsiteX18" fmla="*/ 474285 w 1381732"/>
                    <a:gd name="connsiteY18" fmla="*/ 801638 h 1234054"/>
                    <a:gd name="connsiteX19" fmla="*/ 232358 w 1381732"/>
                    <a:gd name="connsiteY19" fmla="*/ 531008 h 1234054"/>
                    <a:gd name="connsiteX20" fmla="*/ 64240 w 1381732"/>
                    <a:gd name="connsiteY20" fmla="*/ 424397 h 1234054"/>
                    <a:gd name="connsiteX21" fmla="*/ 15035 w 1381732"/>
                    <a:gd name="connsiteY21" fmla="*/ 215274 h 1234054"/>
                    <a:gd name="connsiteX22" fmla="*/ 150349 w 1381732"/>
                    <a:gd name="connsiteY22" fmla="*/ 2050 h 1234054"/>
                    <a:gd name="connsiteX0" fmla="*/ 150349 w 1381732"/>
                    <a:gd name="connsiteY0" fmla="*/ 2050 h 1234054"/>
                    <a:gd name="connsiteX1" fmla="*/ 199555 w 1381732"/>
                    <a:gd name="connsiteY1" fmla="*/ 202972 h 1234054"/>
                    <a:gd name="connsiteX2" fmla="*/ 359472 w 1381732"/>
                    <a:gd name="connsiteY2" fmla="*/ 330086 h 1234054"/>
                    <a:gd name="connsiteX3" fmla="*/ 363573 w 1381732"/>
                    <a:gd name="connsiteY3" fmla="*/ 416196 h 1234054"/>
                    <a:gd name="connsiteX4" fmla="*/ 400477 w 1381732"/>
                    <a:gd name="connsiteY4" fmla="*/ 543310 h 1234054"/>
                    <a:gd name="connsiteX5" fmla="*/ 572696 w 1381732"/>
                    <a:gd name="connsiteY5" fmla="*/ 621218 h 1234054"/>
                    <a:gd name="connsiteX6" fmla="*/ 601399 w 1381732"/>
                    <a:gd name="connsiteY6" fmla="*/ 703227 h 1234054"/>
                    <a:gd name="connsiteX7" fmla="*/ 676623 w 1381732"/>
                    <a:gd name="connsiteY7" fmla="*/ 825443 h 1234054"/>
                    <a:gd name="connsiteX8" fmla="*/ 884183 w 1381732"/>
                    <a:gd name="connsiteY8" fmla="*/ 863617 h 1234054"/>
                    <a:gd name="connsiteX9" fmla="*/ 945218 w 1381732"/>
                    <a:gd name="connsiteY9" fmla="*/ 977957 h 1234054"/>
                    <a:gd name="connsiteX10" fmla="*/ 1062537 w 1381732"/>
                    <a:gd name="connsiteY10" fmla="*/ 1063920 h 1234054"/>
                    <a:gd name="connsiteX11" fmla="*/ 1376628 w 1381732"/>
                    <a:gd name="connsiteY11" fmla="*/ 1009492 h 1234054"/>
                    <a:gd name="connsiteX12" fmla="*/ 1107674 w 1381732"/>
                    <a:gd name="connsiteY12" fmla="*/ 1181890 h 1234054"/>
                    <a:gd name="connsiteX13" fmla="*/ 962238 w 1381732"/>
                    <a:gd name="connsiteY13" fmla="*/ 1232185 h 1234054"/>
                    <a:gd name="connsiteX14" fmla="*/ 835124 w 1381732"/>
                    <a:gd name="connsiteY14" fmla="*/ 1170678 h 1234054"/>
                    <a:gd name="connsiteX15" fmla="*/ 798220 w 1381732"/>
                    <a:gd name="connsiteY15" fmla="*/ 1064066 h 1234054"/>
                    <a:gd name="connsiteX16" fmla="*/ 695709 w 1381732"/>
                    <a:gd name="connsiteY16" fmla="*/ 1035363 h 1234054"/>
                    <a:gd name="connsiteX17" fmla="*/ 552193 w 1381732"/>
                    <a:gd name="connsiteY17" fmla="*/ 965656 h 1234054"/>
                    <a:gd name="connsiteX18" fmla="*/ 474285 w 1381732"/>
                    <a:gd name="connsiteY18" fmla="*/ 801638 h 1234054"/>
                    <a:gd name="connsiteX19" fmla="*/ 232358 w 1381732"/>
                    <a:gd name="connsiteY19" fmla="*/ 531008 h 1234054"/>
                    <a:gd name="connsiteX20" fmla="*/ 64240 w 1381732"/>
                    <a:gd name="connsiteY20" fmla="*/ 424397 h 1234054"/>
                    <a:gd name="connsiteX21" fmla="*/ 15035 w 1381732"/>
                    <a:gd name="connsiteY21" fmla="*/ 215274 h 1234054"/>
                    <a:gd name="connsiteX22" fmla="*/ 150349 w 1381732"/>
                    <a:gd name="connsiteY22" fmla="*/ 2050 h 1234054"/>
                    <a:gd name="connsiteX0" fmla="*/ 150349 w 1381732"/>
                    <a:gd name="connsiteY0" fmla="*/ 2050 h 1234054"/>
                    <a:gd name="connsiteX1" fmla="*/ 199555 w 1381732"/>
                    <a:gd name="connsiteY1" fmla="*/ 202972 h 1234054"/>
                    <a:gd name="connsiteX2" fmla="*/ 359472 w 1381732"/>
                    <a:gd name="connsiteY2" fmla="*/ 330086 h 1234054"/>
                    <a:gd name="connsiteX3" fmla="*/ 363573 w 1381732"/>
                    <a:gd name="connsiteY3" fmla="*/ 416196 h 1234054"/>
                    <a:gd name="connsiteX4" fmla="*/ 400477 w 1381732"/>
                    <a:gd name="connsiteY4" fmla="*/ 543310 h 1234054"/>
                    <a:gd name="connsiteX5" fmla="*/ 572696 w 1381732"/>
                    <a:gd name="connsiteY5" fmla="*/ 621218 h 1234054"/>
                    <a:gd name="connsiteX6" fmla="*/ 601399 w 1381732"/>
                    <a:gd name="connsiteY6" fmla="*/ 703227 h 1234054"/>
                    <a:gd name="connsiteX7" fmla="*/ 676623 w 1381732"/>
                    <a:gd name="connsiteY7" fmla="*/ 825443 h 1234054"/>
                    <a:gd name="connsiteX8" fmla="*/ 884183 w 1381732"/>
                    <a:gd name="connsiteY8" fmla="*/ 863617 h 1234054"/>
                    <a:gd name="connsiteX9" fmla="*/ 945218 w 1381732"/>
                    <a:gd name="connsiteY9" fmla="*/ 977957 h 1234054"/>
                    <a:gd name="connsiteX10" fmla="*/ 1062537 w 1381732"/>
                    <a:gd name="connsiteY10" fmla="*/ 1063920 h 1234054"/>
                    <a:gd name="connsiteX11" fmla="*/ 1376628 w 1381732"/>
                    <a:gd name="connsiteY11" fmla="*/ 1009492 h 1234054"/>
                    <a:gd name="connsiteX12" fmla="*/ 1107674 w 1381732"/>
                    <a:gd name="connsiteY12" fmla="*/ 1181890 h 1234054"/>
                    <a:gd name="connsiteX13" fmla="*/ 962238 w 1381732"/>
                    <a:gd name="connsiteY13" fmla="*/ 1232185 h 1234054"/>
                    <a:gd name="connsiteX14" fmla="*/ 835124 w 1381732"/>
                    <a:gd name="connsiteY14" fmla="*/ 1170678 h 1234054"/>
                    <a:gd name="connsiteX15" fmla="*/ 798220 w 1381732"/>
                    <a:gd name="connsiteY15" fmla="*/ 1064066 h 1234054"/>
                    <a:gd name="connsiteX16" fmla="*/ 695709 w 1381732"/>
                    <a:gd name="connsiteY16" fmla="*/ 1035363 h 1234054"/>
                    <a:gd name="connsiteX17" fmla="*/ 552193 w 1381732"/>
                    <a:gd name="connsiteY17" fmla="*/ 965656 h 1234054"/>
                    <a:gd name="connsiteX18" fmla="*/ 474285 w 1381732"/>
                    <a:gd name="connsiteY18" fmla="*/ 801638 h 1234054"/>
                    <a:gd name="connsiteX19" fmla="*/ 232358 w 1381732"/>
                    <a:gd name="connsiteY19" fmla="*/ 531008 h 1234054"/>
                    <a:gd name="connsiteX20" fmla="*/ 64240 w 1381732"/>
                    <a:gd name="connsiteY20" fmla="*/ 424397 h 1234054"/>
                    <a:gd name="connsiteX21" fmla="*/ 15035 w 1381732"/>
                    <a:gd name="connsiteY21" fmla="*/ 215274 h 1234054"/>
                    <a:gd name="connsiteX22" fmla="*/ 150349 w 1381732"/>
                    <a:gd name="connsiteY22" fmla="*/ 2050 h 1234054"/>
                    <a:gd name="connsiteX0" fmla="*/ 150349 w 1381732"/>
                    <a:gd name="connsiteY0" fmla="*/ 2050 h 1234054"/>
                    <a:gd name="connsiteX1" fmla="*/ 199555 w 1381732"/>
                    <a:gd name="connsiteY1" fmla="*/ 202972 h 1234054"/>
                    <a:gd name="connsiteX2" fmla="*/ 359472 w 1381732"/>
                    <a:gd name="connsiteY2" fmla="*/ 330086 h 1234054"/>
                    <a:gd name="connsiteX3" fmla="*/ 363573 w 1381732"/>
                    <a:gd name="connsiteY3" fmla="*/ 416196 h 1234054"/>
                    <a:gd name="connsiteX4" fmla="*/ 400477 w 1381732"/>
                    <a:gd name="connsiteY4" fmla="*/ 543310 h 1234054"/>
                    <a:gd name="connsiteX5" fmla="*/ 572696 w 1381732"/>
                    <a:gd name="connsiteY5" fmla="*/ 621218 h 1234054"/>
                    <a:gd name="connsiteX6" fmla="*/ 601399 w 1381732"/>
                    <a:gd name="connsiteY6" fmla="*/ 703227 h 1234054"/>
                    <a:gd name="connsiteX7" fmla="*/ 676623 w 1381732"/>
                    <a:gd name="connsiteY7" fmla="*/ 825443 h 1234054"/>
                    <a:gd name="connsiteX8" fmla="*/ 884183 w 1381732"/>
                    <a:gd name="connsiteY8" fmla="*/ 863617 h 1234054"/>
                    <a:gd name="connsiteX9" fmla="*/ 945218 w 1381732"/>
                    <a:gd name="connsiteY9" fmla="*/ 977957 h 1234054"/>
                    <a:gd name="connsiteX10" fmla="*/ 1062537 w 1381732"/>
                    <a:gd name="connsiteY10" fmla="*/ 1063920 h 1234054"/>
                    <a:gd name="connsiteX11" fmla="*/ 1376628 w 1381732"/>
                    <a:gd name="connsiteY11" fmla="*/ 1009492 h 1234054"/>
                    <a:gd name="connsiteX12" fmla="*/ 1107674 w 1381732"/>
                    <a:gd name="connsiteY12" fmla="*/ 1181890 h 1234054"/>
                    <a:gd name="connsiteX13" fmla="*/ 962238 w 1381732"/>
                    <a:gd name="connsiteY13" fmla="*/ 1232185 h 1234054"/>
                    <a:gd name="connsiteX14" fmla="*/ 835124 w 1381732"/>
                    <a:gd name="connsiteY14" fmla="*/ 1170678 h 1234054"/>
                    <a:gd name="connsiteX15" fmla="*/ 798220 w 1381732"/>
                    <a:gd name="connsiteY15" fmla="*/ 1064066 h 1234054"/>
                    <a:gd name="connsiteX16" fmla="*/ 695709 w 1381732"/>
                    <a:gd name="connsiteY16" fmla="*/ 1035363 h 1234054"/>
                    <a:gd name="connsiteX17" fmla="*/ 552193 w 1381732"/>
                    <a:gd name="connsiteY17" fmla="*/ 965656 h 1234054"/>
                    <a:gd name="connsiteX18" fmla="*/ 474285 w 1381732"/>
                    <a:gd name="connsiteY18" fmla="*/ 801638 h 1234054"/>
                    <a:gd name="connsiteX19" fmla="*/ 232358 w 1381732"/>
                    <a:gd name="connsiteY19" fmla="*/ 531008 h 1234054"/>
                    <a:gd name="connsiteX20" fmla="*/ 64240 w 1381732"/>
                    <a:gd name="connsiteY20" fmla="*/ 424397 h 1234054"/>
                    <a:gd name="connsiteX21" fmla="*/ 15035 w 1381732"/>
                    <a:gd name="connsiteY21" fmla="*/ 215274 h 1234054"/>
                    <a:gd name="connsiteX22" fmla="*/ 150349 w 1381732"/>
                    <a:gd name="connsiteY22" fmla="*/ 2050 h 1234054"/>
                    <a:gd name="connsiteX0" fmla="*/ 150349 w 1381732"/>
                    <a:gd name="connsiteY0" fmla="*/ 2050 h 1234054"/>
                    <a:gd name="connsiteX1" fmla="*/ 199555 w 1381732"/>
                    <a:gd name="connsiteY1" fmla="*/ 202972 h 1234054"/>
                    <a:gd name="connsiteX2" fmla="*/ 359472 w 1381732"/>
                    <a:gd name="connsiteY2" fmla="*/ 330086 h 1234054"/>
                    <a:gd name="connsiteX3" fmla="*/ 363573 w 1381732"/>
                    <a:gd name="connsiteY3" fmla="*/ 416196 h 1234054"/>
                    <a:gd name="connsiteX4" fmla="*/ 400477 w 1381732"/>
                    <a:gd name="connsiteY4" fmla="*/ 543310 h 1234054"/>
                    <a:gd name="connsiteX5" fmla="*/ 572696 w 1381732"/>
                    <a:gd name="connsiteY5" fmla="*/ 621218 h 1234054"/>
                    <a:gd name="connsiteX6" fmla="*/ 601399 w 1381732"/>
                    <a:gd name="connsiteY6" fmla="*/ 703227 h 1234054"/>
                    <a:gd name="connsiteX7" fmla="*/ 676623 w 1381732"/>
                    <a:gd name="connsiteY7" fmla="*/ 825443 h 1234054"/>
                    <a:gd name="connsiteX8" fmla="*/ 884183 w 1381732"/>
                    <a:gd name="connsiteY8" fmla="*/ 863617 h 1234054"/>
                    <a:gd name="connsiteX9" fmla="*/ 945218 w 1381732"/>
                    <a:gd name="connsiteY9" fmla="*/ 977957 h 1234054"/>
                    <a:gd name="connsiteX10" fmla="*/ 1062537 w 1381732"/>
                    <a:gd name="connsiteY10" fmla="*/ 1063920 h 1234054"/>
                    <a:gd name="connsiteX11" fmla="*/ 1376628 w 1381732"/>
                    <a:gd name="connsiteY11" fmla="*/ 1009492 h 1234054"/>
                    <a:gd name="connsiteX12" fmla="*/ 1107674 w 1381732"/>
                    <a:gd name="connsiteY12" fmla="*/ 1181890 h 1234054"/>
                    <a:gd name="connsiteX13" fmla="*/ 962238 w 1381732"/>
                    <a:gd name="connsiteY13" fmla="*/ 1232185 h 1234054"/>
                    <a:gd name="connsiteX14" fmla="*/ 835124 w 1381732"/>
                    <a:gd name="connsiteY14" fmla="*/ 1170678 h 1234054"/>
                    <a:gd name="connsiteX15" fmla="*/ 798220 w 1381732"/>
                    <a:gd name="connsiteY15" fmla="*/ 1064066 h 1234054"/>
                    <a:gd name="connsiteX16" fmla="*/ 695709 w 1381732"/>
                    <a:gd name="connsiteY16" fmla="*/ 1035363 h 1234054"/>
                    <a:gd name="connsiteX17" fmla="*/ 552193 w 1381732"/>
                    <a:gd name="connsiteY17" fmla="*/ 965656 h 1234054"/>
                    <a:gd name="connsiteX18" fmla="*/ 474285 w 1381732"/>
                    <a:gd name="connsiteY18" fmla="*/ 801638 h 1234054"/>
                    <a:gd name="connsiteX19" fmla="*/ 232358 w 1381732"/>
                    <a:gd name="connsiteY19" fmla="*/ 531008 h 1234054"/>
                    <a:gd name="connsiteX20" fmla="*/ 64240 w 1381732"/>
                    <a:gd name="connsiteY20" fmla="*/ 424397 h 1234054"/>
                    <a:gd name="connsiteX21" fmla="*/ 15035 w 1381732"/>
                    <a:gd name="connsiteY21" fmla="*/ 215274 h 1234054"/>
                    <a:gd name="connsiteX22" fmla="*/ 150349 w 1381732"/>
                    <a:gd name="connsiteY22" fmla="*/ 2050 h 1234054"/>
                    <a:gd name="connsiteX0" fmla="*/ 150349 w 1381732"/>
                    <a:gd name="connsiteY0" fmla="*/ 2050 h 1234054"/>
                    <a:gd name="connsiteX1" fmla="*/ 199555 w 1381732"/>
                    <a:gd name="connsiteY1" fmla="*/ 202972 h 1234054"/>
                    <a:gd name="connsiteX2" fmla="*/ 359472 w 1381732"/>
                    <a:gd name="connsiteY2" fmla="*/ 330086 h 1234054"/>
                    <a:gd name="connsiteX3" fmla="*/ 363573 w 1381732"/>
                    <a:gd name="connsiteY3" fmla="*/ 416196 h 1234054"/>
                    <a:gd name="connsiteX4" fmla="*/ 400477 w 1381732"/>
                    <a:gd name="connsiteY4" fmla="*/ 543310 h 1234054"/>
                    <a:gd name="connsiteX5" fmla="*/ 572696 w 1381732"/>
                    <a:gd name="connsiteY5" fmla="*/ 621218 h 1234054"/>
                    <a:gd name="connsiteX6" fmla="*/ 601399 w 1381732"/>
                    <a:gd name="connsiteY6" fmla="*/ 703227 h 1234054"/>
                    <a:gd name="connsiteX7" fmla="*/ 702023 w 1381732"/>
                    <a:gd name="connsiteY7" fmla="*/ 814557 h 1234054"/>
                    <a:gd name="connsiteX8" fmla="*/ 884183 w 1381732"/>
                    <a:gd name="connsiteY8" fmla="*/ 863617 h 1234054"/>
                    <a:gd name="connsiteX9" fmla="*/ 945218 w 1381732"/>
                    <a:gd name="connsiteY9" fmla="*/ 977957 h 1234054"/>
                    <a:gd name="connsiteX10" fmla="*/ 1062537 w 1381732"/>
                    <a:gd name="connsiteY10" fmla="*/ 1063920 h 1234054"/>
                    <a:gd name="connsiteX11" fmla="*/ 1376628 w 1381732"/>
                    <a:gd name="connsiteY11" fmla="*/ 1009492 h 1234054"/>
                    <a:gd name="connsiteX12" fmla="*/ 1107674 w 1381732"/>
                    <a:gd name="connsiteY12" fmla="*/ 1181890 h 1234054"/>
                    <a:gd name="connsiteX13" fmla="*/ 962238 w 1381732"/>
                    <a:gd name="connsiteY13" fmla="*/ 1232185 h 1234054"/>
                    <a:gd name="connsiteX14" fmla="*/ 835124 w 1381732"/>
                    <a:gd name="connsiteY14" fmla="*/ 1170678 h 1234054"/>
                    <a:gd name="connsiteX15" fmla="*/ 798220 w 1381732"/>
                    <a:gd name="connsiteY15" fmla="*/ 1064066 h 1234054"/>
                    <a:gd name="connsiteX16" fmla="*/ 695709 w 1381732"/>
                    <a:gd name="connsiteY16" fmla="*/ 1035363 h 1234054"/>
                    <a:gd name="connsiteX17" fmla="*/ 552193 w 1381732"/>
                    <a:gd name="connsiteY17" fmla="*/ 965656 h 1234054"/>
                    <a:gd name="connsiteX18" fmla="*/ 474285 w 1381732"/>
                    <a:gd name="connsiteY18" fmla="*/ 801638 h 1234054"/>
                    <a:gd name="connsiteX19" fmla="*/ 232358 w 1381732"/>
                    <a:gd name="connsiteY19" fmla="*/ 531008 h 1234054"/>
                    <a:gd name="connsiteX20" fmla="*/ 64240 w 1381732"/>
                    <a:gd name="connsiteY20" fmla="*/ 424397 h 1234054"/>
                    <a:gd name="connsiteX21" fmla="*/ 15035 w 1381732"/>
                    <a:gd name="connsiteY21" fmla="*/ 215274 h 1234054"/>
                    <a:gd name="connsiteX22" fmla="*/ 150349 w 1381732"/>
                    <a:gd name="connsiteY22" fmla="*/ 2050 h 1234054"/>
                    <a:gd name="connsiteX0" fmla="*/ 150349 w 1381732"/>
                    <a:gd name="connsiteY0" fmla="*/ 2050 h 1234054"/>
                    <a:gd name="connsiteX1" fmla="*/ 199555 w 1381732"/>
                    <a:gd name="connsiteY1" fmla="*/ 202972 h 1234054"/>
                    <a:gd name="connsiteX2" fmla="*/ 359472 w 1381732"/>
                    <a:gd name="connsiteY2" fmla="*/ 330086 h 1234054"/>
                    <a:gd name="connsiteX3" fmla="*/ 363573 w 1381732"/>
                    <a:gd name="connsiteY3" fmla="*/ 416196 h 1234054"/>
                    <a:gd name="connsiteX4" fmla="*/ 400477 w 1381732"/>
                    <a:gd name="connsiteY4" fmla="*/ 543310 h 1234054"/>
                    <a:gd name="connsiteX5" fmla="*/ 572696 w 1381732"/>
                    <a:gd name="connsiteY5" fmla="*/ 621218 h 1234054"/>
                    <a:gd name="connsiteX6" fmla="*/ 601399 w 1381732"/>
                    <a:gd name="connsiteY6" fmla="*/ 703227 h 1234054"/>
                    <a:gd name="connsiteX7" fmla="*/ 691137 w 1381732"/>
                    <a:gd name="connsiteY7" fmla="*/ 825443 h 1234054"/>
                    <a:gd name="connsiteX8" fmla="*/ 884183 w 1381732"/>
                    <a:gd name="connsiteY8" fmla="*/ 863617 h 1234054"/>
                    <a:gd name="connsiteX9" fmla="*/ 945218 w 1381732"/>
                    <a:gd name="connsiteY9" fmla="*/ 977957 h 1234054"/>
                    <a:gd name="connsiteX10" fmla="*/ 1062537 w 1381732"/>
                    <a:gd name="connsiteY10" fmla="*/ 1063920 h 1234054"/>
                    <a:gd name="connsiteX11" fmla="*/ 1376628 w 1381732"/>
                    <a:gd name="connsiteY11" fmla="*/ 1009492 h 1234054"/>
                    <a:gd name="connsiteX12" fmla="*/ 1107674 w 1381732"/>
                    <a:gd name="connsiteY12" fmla="*/ 1181890 h 1234054"/>
                    <a:gd name="connsiteX13" fmla="*/ 962238 w 1381732"/>
                    <a:gd name="connsiteY13" fmla="*/ 1232185 h 1234054"/>
                    <a:gd name="connsiteX14" fmla="*/ 835124 w 1381732"/>
                    <a:gd name="connsiteY14" fmla="*/ 1170678 h 1234054"/>
                    <a:gd name="connsiteX15" fmla="*/ 798220 w 1381732"/>
                    <a:gd name="connsiteY15" fmla="*/ 1064066 h 1234054"/>
                    <a:gd name="connsiteX16" fmla="*/ 695709 w 1381732"/>
                    <a:gd name="connsiteY16" fmla="*/ 1035363 h 1234054"/>
                    <a:gd name="connsiteX17" fmla="*/ 552193 w 1381732"/>
                    <a:gd name="connsiteY17" fmla="*/ 965656 h 1234054"/>
                    <a:gd name="connsiteX18" fmla="*/ 474285 w 1381732"/>
                    <a:gd name="connsiteY18" fmla="*/ 801638 h 1234054"/>
                    <a:gd name="connsiteX19" fmla="*/ 232358 w 1381732"/>
                    <a:gd name="connsiteY19" fmla="*/ 531008 h 1234054"/>
                    <a:gd name="connsiteX20" fmla="*/ 64240 w 1381732"/>
                    <a:gd name="connsiteY20" fmla="*/ 424397 h 1234054"/>
                    <a:gd name="connsiteX21" fmla="*/ 15035 w 1381732"/>
                    <a:gd name="connsiteY21" fmla="*/ 215274 h 1234054"/>
                    <a:gd name="connsiteX22" fmla="*/ 150349 w 1381732"/>
                    <a:gd name="connsiteY22" fmla="*/ 2050 h 1234054"/>
                    <a:gd name="connsiteX0" fmla="*/ 150349 w 1381732"/>
                    <a:gd name="connsiteY0" fmla="*/ 2050 h 1234054"/>
                    <a:gd name="connsiteX1" fmla="*/ 199555 w 1381732"/>
                    <a:gd name="connsiteY1" fmla="*/ 202972 h 1234054"/>
                    <a:gd name="connsiteX2" fmla="*/ 359472 w 1381732"/>
                    <a:gd name="connsiteY2" fmla="*/ 330086 h 1234054"/>
                    <a:gd name="connsiteX3" fmla="*/ 363573 w 1381732"/>
                    <a:gd name="connsiteY3" fmla="*/ 416196 h 1234054"/>
                    <a:gd name="connsiteX4" fmla="*/ 400477 w 1381732"/>
                    <a:gd name="connsiteY4" fmla="*/ 543310 h 1234054"/>
                    <a:gd name="connsiteX5" fmla="*/ 572696 w 1381732"/>
                    <a:gd name="connsiteY5" fmla="*/ 621218 h 1234054"/>
                    <a:gd name="connsiteX6" fmla="*/ 623171 w 1381732"/>
                    <a:gd name="connsiteY6" fmla="*/ 703227 h 1234054"/>
                    <a:gd name="connsiteX7" fmla="*/ 691137 w 1381732"/>
                    <a:gd name="connsiteY7" fmla="*/ 825443 h 1234054"/>
                    <a:gd name="connsiteX8" fmla="*/ 884183 w 1381732"/>
                    <a:gd name="connsiteY8" fmla="*/ 863617 h 1234054"/>
                    <a:gd name="connsiteX9" fmla="*/ 945218 w 1381732"/>
                    <a:gd name="connsiteY9" fmla="*/ 977957 h 1234054"/>
                    <a:gd name="connsiteX10" fmla="*/ 1062537 w 1381732"/>
                    <a:gd name="connsiteY10" fmla="*/ 1063920 h 1234054"/>
                    <a:gd name="connsiteX11" fmla="*/ 1376628 w 1381732"/>
                    <a:gd name="connsiteY11" fmla="*/ 1009492 h 1234054"/>
                    <a:gd name="connsiteX12" fmla="*/ 1107674 w 1381732"/>
                    <a:gd name="connsiteY12" fmla="*/ 1181890 h 1234054"/>
                    <a:gd name="connsiteX13" fmla="*/ 962238 w 1381732"/>
                    <a:gd name="connsiteY13" fmla="*/ 1232185 h 1234054"/>
                    <a:gd name="connsiteX14" fmla="*/ 835124 w 1381732"/>
                    <a:gd name="connsiteY14" fmla="*/ 1170678 h 1234054"/>
                    <a:gd name="connsiteX15" fmla="*/ 798220 w 1381732"/>
                    <a:gd name="connsiteY15" fmla="*/ 1064066 h 1234054"/>
                    <a:gd name="connsiteX16" fmla="*/ 695709 w 1381732"/>
                    <a:gd name="connsiteY16" fmla="*/ 1035363 h 1234054"/>
                    <a:gd name="connsiteX17" fmla="*/ 552193 w 1381732"/>
                    <a:gd name="connsiteY17" fmla="*/ 965656 h 1234054"/>
                    <a:gd name="connsiteX18" fmla="*/ 474285 w 1381732"/>
                    <a:gd name="connsiteY18" fmla="*/ 801638 h 1234054"/>
                    <a:gd name="connsiteX19" fmla="*/ 232358 w 1381732"/>
                    <a:gd name="connsiteY19" fmla="*/ 531008 h 1234054"/>
                    <a:gd name="connsiteX20" fmla="*/ 64240 w 1381732"/>
                    <a:gd name="connsiteY20" fmla="*/ 424397 h 1234054"/>
                    <a:gd name="connsiteX21" fmla="*/ 15035 w 1381732"/>
                    <a:gd name="connsiteY21" fmla="*/ 215274 h 1234054"/>
                    <a:gd name="connsiteX22" fmla="*/ 150349 w 1381732"/>
                    <a:gd name="connsiteY22" fmla="*/ 2050 h 1234054"/>
                    <a:gd name="connsiteX0" fmla="*/ 150349 w 1381732"/>
                    <a:gd name="connsiteY0" fmla="*/ 2050 h 1234054"/>
                    <a:gd name="connsiteX1" fmla="*/ 199555 w 1381732"/>
                    <a:gd name="connsiteY1" fmla="*/ 202972 h 1234054"/>
                    <a:gd name="connsiteX2" fmla="*/ 359472 w 1381732"/>
                    <a:gd name="connsiteY2" fmla="*/ 330086 h 1234054"/>
                    <a:gd name="connsiteX3" fmla="*/ 363573 w 1381732"/>
                    <a:gd name="connsiteY3" fmla="*/ 416196 h 1234054"/>
                    <a:gd name="connsiteX4" fmla="*/ 400477 w 1381732"/>
                    <a:gd name="connsiteY4" fmla="*/ 543310 h 1234054"/>
                    <a:gd name="connsiteX5" fmla="*/ 572696 w 1381732"/>
                    <a:gd name="connsiteY5" fmla="*/ 621218 h 1234054"/>
                    <a:gd name="connsiteX6" fmla="*/ 623171 w 1381732"/>
                    <a:gd name="connsiteY6" fmla="*/ 703227 h 1234054"/>
                    <a:gd name="connsiteX7" fmla="*/ 691137 w 1381732"/>
                    <a:gd name="connsiteY7" fmla="*/ 825443 h 1234054"/>
                    <a:gd name="connsiteX8" fmla="*/ 884183 w 1381732"/>
                    <a:gd name="connsiteY8" fmla="*/ 863617 h 1234054"/>
                    <a:gd name="connsiteX9" fmla="*/ 945218 w 1381732"/>
                    <a:gd name="connsiteY9" fmla="*/ 977957 h 1234054"/>
                    <a:gd name="connsiteX10" fmla="*/ 1062537 w 1381732"/>
                    <a:gd name="connsiteY10" fmla="*/ 1063920 h 1234054"/>
                    <a:gd name="connsiteX11" fmla="*/ 1376628 w 1381732"/>
                    <a:gd name="connsiteY11" fmla="*/ 1009492 h 1234054"/>
                    <a:gd name="connsiteX12" fmla="*/ 1107674 w 1381732"/>
                    <a:gd name="connsiteY12" fmla="*/ 1181890 h 1234054"/>
                    <a:gd name="connsiteX13" fmla="*/ 962238 w 1381732"/>
                    <a:gd name="connsiteY13" fmla="*/ 1232185 h 1234054"/>
                    <a:gd name="connsiteX14" fmla="*/ 835124 w 1381732"/>
                    <a:gd name="connsiteY14" fmla="*/ 1170678 h 1234054"/>
                    <a:gd name="connsiteX15" fmla="*/ 798220 w 1381732"/>
                    <a:gd name="connsiteY15" fmla="*/ 1064066 h 1234054"/>
                    <a:gd name="connsiteX16" fmla="*/ 695709 w 1381732"/>
                    <a:gd name="connsiteY16" fmla="*/ 1035363 h 1234054"/>
                    <a:gd name="connsiteX17" fmla="*/ 552193 w 1381732"/>
                    <a:gd name="connsiteY17" fmla="*/ 965656 h 1234054"/>
                    <a:gd name="connsiteX18" fmla="*/ 474285 w 1381732"/>
                    <a:gd name="connsiteY18" fmla="*/ 801638 h 1234054"/>
                    <a:gd name="connsiteX19" fmla="*/ 232358 w 1381732"/>
                    <a:gd name="connsiteY19" fmla="*/ 531008 h 1234054"/>
                    <a:gd name="connsiteX20" fmla="*/ 64240 w 1381732"/>
                    <a:gd name="connsiteY20" fmla="*/ 424397 h 1234054"/>
                    <a:gd name="connsiteX21" fmla="*/ 15035 w 1381732"/>
                    <a:gd name="connsiteY21" fmla="*/ 215274 h 1234054"/>
                    <a:gd name="connsiteX22" fmla="*/ 150349 w 1381732"/>
                    <a:gd name="connsiteY22" fmla="*/ 2050 h 1234054"/>
                    <a:gd name="connsiteX0" fmla="*/ 150349 w 1381732"/>
                    <a:gd name="connsiteY0" fmla="*/ 2050 h 1234054"/>
                    <a:gd name="connsiteX1" fmla="*/ 199555 w 1381732"/>
                    <a:gd name="connsiteY1" fmla="*/ 202972 h 1234054"/>
                    <a:gd name="connsiteX2" fmla="*/ 359472 w 1381732"/>
                    <a:gd name="connsiteY2" fmla="*/ 330086 h 1234054"/>
                    <a:gd name="connsiteX3" fmla="*/ 363573 w 1381732"/>
                    <a:gd name="connsiteY3" fmla="*/ 416196 h 1234054"/>
                    <a:gd name="connsiteX4" fmla="*/ 400477 w 1381732"/>
                    <a:gd name="connsiteY4" fmla="*/ 543310 h 1234054"/>
                    <a:gd name="connsiteX5" fmla="*/ 572696 w 1381732"/>
                    <a:gd name="connsiteY5" fmla="*/ 621218 h 1234054"/>
                    <a:gd name="connsiteX6" fmla="*/ 623171 w 1381732"/>
                    <a:gd name="connsiteY6" fmla="*/ 703227 h 1234054"/>
                    <a:gd name="connsiteX7" fmla="*/ 691137 w 1381732"/>
                    <a:gd name="connsiteY7" fmla="*/ 825443 h 1234054"/>
                    <a:gd name="connsiteX8" fmla="*/ 884183 w 1381732"/>
                    <a:gd name="connsiteY8" fmla="*/ 863617 h 1234054"/>
                    <a:gd name="connsiteX9" fmla="*/ 945218 w 1381732"/>
                    <a:gd name="connsiteY9" fmla="*/ 977957 h 1234054"/>
                    <a:gd name="connsiteX10" fmla="*/ 1062537 w 1381732"/>
                    <a:gd name="connsiteY10" fmla="*/ 1063920 h 1234054"/>
                    <a:gd name="connsiteX11" fmla="*/ 1376628 w 1381732"/>
                    <a:gd name="connsiteY11" fmla="*/ 1009492 h 1234054"/>
                    <a:gd name="connsiteX12" fmla="*/ 1107674 w 1381732"/>
                    <a:gd name="connsiteY12" fmla="*/ 1181890 h 1234054"/>
                    <a:gd name="connsiteX13" fmla="*/ 962238 w 1381732"/>
                    <a:gd name="connsiteY13" fmla="*/ 1232185 h 1234054"/>
                    <a:gd name="connsiteX14" fmla="*/ 835124 w 1381732"/>
                    <a:gd name="connsiteY14" fmla="*/ 1170678 h 1234054"/>
                    <a:gd name="connsiteX15" fmla="*/ 798220 w 1381732"/>
                    <a:gd name="connsiteY15" fmla="*/ 1064066 h 1234054"/>
                    <a:gd name="connsiteX16" fmla="*/ 695709 w 1381732"/>
                    <a:gd name="connsiteY16" fmla="*/ 1035363 h 1234054"/>
                    <a:gd name="connsiteX17" fmla="*/ 552193 w 1381732"/>
                    <a:gd name="connsiteY17" fmla="*/ 965656 h 1234054"/>
                    <a:gd name="connsiteX18" fmla="*/ 474285 w 1381732"/>
                    <a:gd name="connsiteY18" fmla="*/ 801638 h 1234054"/>
                    <a:gd name="connsiteX19" fmla="*/ 232358 w 1381732"/>
                    <a:gd name="connsiteY19" fmla="*/ 531008 h 1234054"/>
                    <a:gd name="connsiteX20" fmla="*/ 64240 w 1381732"/>
                    <a:gd name="connsiteY20" fmla="*/ 424397 h 1234054"/>
                    <a:gd name="connsiteX21" fmla="*/ 15035 w 1381732"/>
                    <a:gd name="connsiteY21" fmla="*/ 215274 h 1234054"/>
                    <a:gd name="connsiteX22" fmla="*/ 150349 w 1381732"/>
                    <a:gd name="connsiteY22" fmla="*/ 2050 h 1234054"/>
                    <a:gd name="connsiteX0" fmla="*/ 150349 w 1381732"/>
                    <a:gd name="connsiteY0" fmla="*/ 2050 h 1234054"/>
                    <a:gd name="connsiteX1" fmla="*/ 199555 w 1381732"/>
                    <a:gd name="connsiteY1" fmla="*/ 202972 h 1234054"/>
                    <a:gd name="connsiteX2" fmla="*/ 334072 w 1381732"/>
                    <a:gd name="connsiteY2" fmla="*/ 301058 h 1234054"/>
                    <a:gd name="connsiteX3" fmla="*/ 363573 w 1381732"/>
                    <a:gd name="connsiteY3" fmla="*/ 416196 h 1234054"/>
                    <a:gd name="connsiteX4" fmla="*/ 400477 w 1381732"/>
                    <a:gd name="connsiteY4" fmla="*/ 543310 h 1234054"/>
                    <a:gd name="connsiteX5" fmla="*/ 572696 w 1381732"/>
                    <a:gd name="connsiteY5" fmla="*/ 621218 h 1234054"/>
                    <a:gd name="connsiteX6" fmla="*/ 623171 w 1381732"/>
                    <a:gd name="connsiteY6" fmla="*/ 703227 h 1234054"/>
                    <a:gd name="connsiteX7" fmla="*/ 691137 w 1381732"/>
                    <a:gd name="connsiteY7" fmla="*/ 825443 h 1234054"/>
                    <a:gd name="connsiteX8" fmla="*/ 884183 w 1381732"/>
                    <a:gd name="connsiteY8" fmla="*/ 863617 h 1234054"/>
                    <a:gd name="connsiteX9" fmla="*/ 945218 w 1381732"/>
                    <a:gd name="connsiteY9" fmla="*/ 977957 h 1234054"/>
                    <a:gd name="connsiteX10" fmla="*/ 1062537 w 1381732"/>
                    <a:gd name="connsiteY10" fmla="*/ 1063920 h 1234054"/>
                    <a:gd name="connsiteX11" fmla="*/ 1376628 w 1381732"/>
                    <a:gd name="connsiteY11" fmla="*/ 1009492 h 1234054"/>
                    <a:gd name="connsiteX12" fmla="*/ 1107674 w 1381732"/>
                    <a:gd name="connsiteY12" fmla="*/ 1181890 h 1234054"/>
                    <a:gd name="connsiteX13" fmla="*/ 962238 w 1381732"/>
                    <a:gd name="connsiteY13" fmla="*/ 1232185 h 1234054"/>
                    <a:gd name="connsiteX14" fmla="*/ 835124 w 1381732"/>
                    <a:gd name="connsiteY14" fmla="*/ 1170678 h 1234054"/>
                    <a:gd name="connsiteX15" fmla="*/ 798220 w 1381732"/>
                    <a:gd name="connsiteY15" fmla="*/ 1064066 h 1234054"/>
                    <a:gd name="connsiteX16" fmla="*/ 695709 w 1381732"/>
                    <a:gd name="connsiteY16" fmla="*/ 1035363 h 1234054"/>
                    <a:gd name="connsiteX17" fmla="*/ 552193 w 1381732"/>
                    <a:gd name="connsiteY17" fmla="*/ 965656 h 1234054"/>
                    <a:gd name="connsiteX18" fmla="*/ 474285 w 1381732"/>
                    <a:gd name="connsiteY18" fmla="*/ 801638 h 1234054"/>
                    <a:gd name="connsiteX19" fmla="*/ 232358 w 1381732"/>
                    <a:gd name="connsiteY19" fmla="*/ 531008 h 1234054"/>
                    <a:gd name="connsiteX20" fmla="*/ 64240 w 1381732"/>
                    <a:gd name="connsiteY20" fmla="*/ 424397 h 1234054"/>
                    <a:gd name="connsiteX21" fmla="*/ 15035 w 1381732"/>
                    <a:gd name="connsiteY21" fmla="*/ 215274 h 1234054"/>
                    <a:gd name="connsiteX22" fmla="*/ 150349 w 1381732"/>
                    <a:gd name="connsiteY22" fmla="*/ 2050 h 1234054"/>
                    <a:gd name="connsiteX0" fmla="*/ 150349 w 1381732"/>
                    <a:gd name="connsiteY0" fmla="*/ 2050 h 1234054"/>
                    <a:gd name="connsiteX1" fmla="*/ 199555 w 1381732"/>
                    <a:gd name="connsiteY1" fmla="*/ 202972 h 1234054"/>
                    <a:gd name="connsiteX2" fmla="*/ 334072 w 1381732"/>
                    <a:gd name="connsiteY2" fmla="*/ 301058 h 1234054"/>
                    <a:gd name="connsiteX3" fmla="*/ 341802 w 1381732"/>
                    <a:gd name="connsiteY3" fmla="*/ 390796 h 1234054"/>
                    <a:gd name="connsiteX4" fmla="*/ 400477 w 1381732"/>
                    <a:gd name="connsiteY4" fmla="*/ 543310 h 1234054"/>
                    <a:gd name="connsiteX5" fmla="*/ 572696 w 1381732"/>
                    <a:gd name="connsiteY5" fmla="*/ 621218 h 1234054"/>
                    <a:gd name="connsiteX6" fmla="*/ 623171 w 1381732"/>
                    <a:gd name="connsiteY6" fmla="*/ 703227 h 1234054"/>
                    <a:gd name="connsiteX7" fmla="*/ 691137 w 1381732"/>
                    <a:gd name="connsiteY7" fmla="*/ 825443 h 1234054"/>
                    <a:gd name="connsiteX8" fmla="*/ 884183 w 1381732"/>
                    <a:gd name="connsiteY8" fmla="*/ 863617 h 1234054"/>
                    <a:gd name="connsiteX9" fmla="*/ 945218 w 1381732"/>
                    <a:gd name="connsiteY9" fmla="*/ 977957 h 1234054"/>
                    <a:gd name="connsiteX10" fmla="*/ 1062537 w 1381732"/>
                    <a:gd name="connsiteY10" fmla="*/ 1063920 h 1234054"/>
                    <a:gd name="connsiteX11" fmla="*/ 1376628 w 1381732"/>
                    <a:gd name="connsiteY11" fmla="*/ 1009492 h 1234054"/>
                    <a:gd name="connsiteX12" fmla="*/ 1107674 w 1381732"/>
                    <a:gd name="connsiteY12" fmla="*/ 1181890 h 1234054"/>
                    <a:gd name="connsiteX13" fmla="*/ 962238 w 1381732"/>
                    <a:gd name="connsiteY13" fmla="*/ 1232185 h 1234054"/>
                    <a:gd name="connsiteX14" fmla="*/ 835124 w 1381732"/>
                    <a:gd name="connsiteY14" fmla="*/ 1170678 h 1234054"/>
                    <a:gd name="connsiteX15" fmla="*/ 798220 w 1381732"/>
                    <a:gd name="connsiteY15" fmla="*/ 1064066 h 1234054"/>
                    <a:gd name="connsiteX16" fmla="*/ 695709 w 1381732"/>
                    <a:gd name="connsiteY16" fmla="*/ 1035363 h 1234054"/>
                    <a:gd name="connsiteX17" fmla="*/ 552193 w 1381732"/>
                    <a:gd name="connsiteY17" fmla="*/ 965656 h 1234054"/>
                    <a:gd name="connsiteX18" fmla="*/ 474285 w 1381732"/>
                    <a:gd name="connsiteY18" fmla="*/ 801638 h 1234054"/>
                    <a:gd name="connsiteX19" fmla="*/ 232358 w 1381732"/>
                    <a:gd name="connsiteY19" fmla="*/ 531008 h 1234054"/>
                    <a:gd name="connsiteX20" fmla="*/ 64240 w 1381732"/>
                    <a:gd name="connsiteY20" fmla="*/ 424397 h 1234054"/>
                    <a:gd name="connsiteX21" fmla="*/ 15035 w 1381732"/>
                    <a:gd name="connsiteY21" fmla="*/ 215274 h 1234054"/>
                    <a:gd name="connsiteX22" fmla="*/ 150349 w 1381732"/>
                    <a:gd name="connsiteY22" fmla="*/ 2050 h 1234054"/>
                    <a:gd name="connsiteX0" fmla="*/ 150349 w 1381732"/>
                    <a:gd name="connsiteY0" fmla="*/ 2050 h 1234054"/>
                    <a:gd name="connsiteX1" fmla="*/ 199555 w 1381732"/>
                    <a:gd name="connsiteY1" fmla="*/ 202972 h 1234054"/>
                    <a:gd name="connsiteX2" fmla="*/ 334072 w 1381732"/>
                    <a:gd name="connsiteY2" fmla="*/ 301058 h 1234054"/>
                    <a:gd name="connsiteX3" fmla="*/ 341802 w 1381732"/>
                    <a:gd name="connsiteY3" fmla="*/ 390796 h 1234054"/>
                    <a:gd name="connsiteX4" fmla="*/ 433134 w 1381732"/>
                    <a:gd name="connsiteY4" fmla="*/ 536053 h 1234054"/>
                    <a:gd name="connsiteX5" fmla="*/ 572696 w 1381732"/>
                    <a:gd name="connsiteY5" fmla="*/ 621218 h 1234054"/>
                    <a:gd name="connsiteX6" fmla="*/ 623171 w 1381732"/>
                    <a:gd name="connsiteY6" fmla="*/ 703227 h 1234054"/>
                    <a:gd name="connsiteX7" fmla="*/ 691137 w 1381732"/>
                    <a:gd name="connsiteY7" fmla="*/ 825443 h 1234054"/>
                    <a:gd name="connsiteX8" fmla="*/ 884183 w 1381732"/>
                    <a:gd name="connsiteY8" fmla="*/ 863617 h 1234054"/>
                    <a:gd name="connsiteX9" fmla="*/ 945218 w 1381732"/>
                    <a:gd name="connsiteY9" fmla="*/ 977957 h 1234054"/>
                    <a:gd name="connsiteX10" fmla="*/ 1062537 w 1381732"/>
                    <a:gd name="connsiteY10" fmla="*/ 1063920 h 1234054"/>
                    <a:gd name="connsiteX11" fmla="*/ 1376628 w 1381732"/>
                    <a:gd name="connsiteY11" fmla="*/ 1009492 h 1234054"/>
                    <a:gd name="connsiteX12" fmla="*/ 1107674 w 1381732"/>
                    <a:gd name="connsiteY12" fmla="*/ 1181890 h 1234054"/>
                    <a:gd name="connsiteX13" fmla="*/ 962238 w 1381732"/>
                    <a:gd name="connsiteY13" fmla="*/ 1232185 h 1234054"/>
                    <a:gd name="connsiteX14" fmla="*/ 835124 w 1381732"/>
                    <a:gd name="connsiteY14" fmla="*/ 1170678 h 1234054"/>
                    <a:gd name="connsiteX15" fmla="*/ 798220 w 1381732"/>
                    <a:gd name="connsiteY15" fmla="*/ 1064066 h 1234054"/>
                    <a:gd name="connsiteX16" fmla="*/ 695709 w 1381732"/>
                    <a:gd name="connsiteY16" fmla="*/ 1035363 h 1234054"/>
                    <a:gd name="connsiteX17" fmla="*/ 552193 w 1381732"/>
                    <a:gd name="connsiteY17" fmla="*/ 965656 h 1234054"/>
                    <a:gd name="connsiteX18" fmla="*/ 474285 w 1381732"/>
                    <a:gd name="connsiteY18" fmla="*/ 801638 h 1234054"/>
                    <a:gd name="connsiteX19" fmla="*/ 232358 w 1381732"/>
                    <a:gd name="connsiteY19" fmla="*/ 531008 h 1234054"/>
                    <a:gd name="connsiteX20" fmla="*/ 64240 w 1381732"/>
                    <a:gd name="connsiteY20" fmla="*/ 424397 h 1234054"/>
                    <a:gd name="connsiteX21" fmla="*/ 15035 w 1381732"/>
                    <a:gd name="connsiteY21" fmla="*/ 215274 h 1234054"/>
                    <a:gd name="connsiteX22" fmla="*/ 150349 w 1381732"/>
                    <a:gd name="connsiteY22" fmla="*/ 2050 h 1234054"/>
                    <a:gd name="connsiteX0" fmla="*/ 150349 w 1381732"/>
                    <a:gd name="connsiteY0" fmla="*/ 2050 h 1234054"/>
                    <a:gd name="connsiteX1" fmla="*/ 199555 w 1381732"/>
                    <a:gd name="connsiteY1" fmla="*/ 202972 h 1234054"/>
                    <a:gd name="connsiteX2" fmla="*/ 334072 w 1381732"/>
                    <a:gd name="connsiteY2" fmla="*/ 301058 h 1234054"/>
                    <a:gd name="connsiteX3" fmla="*/ 341802 w 1381732"/>
                    <a:gd name="connsiteY3" fmla="*/ 390796 h 1234054"/>
                    <a:gd name="connsiteX4" fmla="*/ 433134 w 1381732"/>
                    <a:gd name="connsiteY4" fmla="*/ 536053 h 1234054"/>
                    <a:gd name="connsiteX5" fmla="*/ 572696 w 1381732"/>
                    <a:gd name="connsiteY5" fmla="*/ 621218 h 1234054"/>
                    <a:gd name="connsiteX6" fmla="*/ 623171 w 1381732"/>
                    <a:gd name="connsiteY6" fmla="*/ 703227 h 1234054"/>
                    <a:gd name="connsiteX7" fmla="*/ 691137 w 1381732"/>
                    <a:gd name="connsiteY7" fmla="*/ 825443 h 1234054"/>
                    <a:gd name="connsiteX8" fmla="*/ 884183 w 1381732"/>
                    <a:gd name="connsiteY8" fmla="*/ 863617 h 1234054"/>
                    <a:gd name="connsiteX9" fmla="*/ 945218 w 1381732"/>
                    <a:gd name="connsiteY9" fmla="*/ 977957 h 1234054"/>
                    <a:gd name="connsiteX10" fmla="*/ 1062537 w 1381732"/>
                    <a:gd name="connsiteY10" fmla="*/ 1063920 h 1234054"/>
                    <a:gd name="connsiteX11" fmla="*/ 1376628 w 1381732"/>
                    <a:gd name="connsiteY11" fmla="*/ 1009492 h 1234054"/>
                    <a:gd name="connsiteX12" fmla="*/ 1107674 w 1381732"/>
                    <a:gd name="connsiteY12" fmla="*/ 1181890 h 1234054"/>
                    <a:gd name="connsiteX13" fmla="*/ 962238 w 1381732"/>
                    <a:gd name="connsiteY13" fmla="*/ 1232185 h 1234054"/>
                    <a:gd name="connsiteX14" fmla="*/ 835124 w 1381732"/>
                    <a:gd name="connsiteY14" fmla="*/ 1170678 h 1234054"/>
                    <a:gd name="connsiteX15" fmla="*/ 798220 w 1381732"/>
                    <a:gd name="connsiteY15" fmla="*/ 1064066 h 1234054"/>
                    <a:gd name="connsiteX16" fmla="*/ 695709 w 1381732"/>
                    <a:gd name="connsiteY16" fmla="*/ 1035363 h 1234054"/>
                    <a:gd name="connsiteX17" fmla="*/ 552193 w 1381732"/>
                    <a:gd name="connsiteY17" fmla="*/ 965656 h 1234054"/>
                    <a:gd name="connsiteX18" fmla="*/ 474285 w 1381732"/>
                    <a:gd name="connsiteY18" fmla="*/ 801638 h 1234054"/>
                    <a:gd name="connsiteX19" fmla="*/ 232358 w 1381732"/>
                    <a:gd name="connsiteY19" fmla="*/ 531008 h 1234054"/>
                    <a:gd name="connsiteX20" fmla="*/ 64240 w 1381732"/>
                    <a:gd name="connsiteY20" fmla="*/ 424397 h 1234054"/>
                    <a:gd name="connsiteX21" fmla="*/ 15035 w 1381732"/>
                    <a:gd name="connsiteY21" fmla="*/ 215274 h 1234054"/>
                    <a:gd name="connsiteX22" fmla="*/ 150349 w 1381732"/>
                    <a:gd name="connsiteY22" fmla="*/ 2050 h 1234054"/>
                    <a:gd name="connsiteX0" fmla="*/ 150349 w 1381732"/>
                    <a:gd name="connsiteY0" fmla="*/ 2050 h 1234054"/>
                    <a:gd name="connsiteX1" fmla="*/ 199555 w 1381732"/>
                    <a:gd name="connsiteY1" fmla="*/ 202972 h 1234054"/>
                    <a:gd name="connsiteX2" fmla="*/ 334072 w 1381732"/>
                    <a:gd name="connsiteY2" fmla="*/ 301058 h 1234054"/>
                    <a:gd name="connsiteX3" fmla="*/ 433134 w 1381732"/>
                    <a:gd name="connsiteY3" fmla="*/ 536053 h 1234054"/>
                    <a:gd name="connsiteX4" fmla="*/ 572696 w 1381732"/>
                    <a:gd name="connsiteY4" fmla="*/ 621218 h 1234054"/>
                    <a:gd name="connsiteX5" fmla="*/ 623171 w 1381732"/>
                    <a:gd name="connsiteY5" fmla="*/ 703227 h 1234054"/>
                    <a:gd name="connsiteX6" fmla="*/ 691137 w 1381732"/>
                    <a:gd name="connsiteY6" fmla="*/ 825443 h 1234054"/>
                    <a:gd name="connsiteX7" fmla="*/ 884183 w 1381732"/>
                    <a:gd name="connsiteY7" fmla="*/ 863617 h 1234054"/>
                    <a:gd name="connsiteX8" fmla="*/ 945218 w 1381732"/>
                    <a:gd name="connsiteY8" fmla="*/ 977957 h 1234054"/>
                    <a:gd name="connsiteX9" fmla="*/ 1062537 w 1381732"/>
                    <a:gd name="connsiteY9" fmla="*/ 1063920 h 1234054"/>
                    <a:gd name="connsiteX10" fmla="*/ 1376628 w 1381732"/>
                    <a:gd name="connsiteY10" fmla="*/ 1009492 h 1234054"/>
                    <a:gd name="connsiteX11" fmla="*/ 1107674 w 1381732"/>
                    <a:gd name="connsiteY11" fmla="*/ 1181890 h 1234054"/>
                    <a:gd name="connsiteX12" fmla="*/ 962238 w 1381732"/>
                    <a:gd name="connsiteY12" fmla="*/ 1232185 h 1234054"/>
                    <a:gd name="connsiteX13" fmla="*/ 835124 w 1381732"/>
                    <a:gd name="connsiteY13" fmla="*/ 1170678 h 1234054"/>
                    <a:gd name="connsiteX14" fmla="*/ 798220 w 1381732"/>
                    <a:gd name="connsiteY14" fmla="*/ 1064066 h 1234054"/>
                    <a:gd name="connsiteX15" fmla="*/ 695709 w 1381732"/>
                    <a:gd name="connsiteY15" fmla="*/ 1035363 h 1234054"/>
                    <a:gd name="connsiteX16" fmla="*/ 552193 w 1381732"/>
                    <a:gd name="connsiteY16" fmla="*/ 965656 h 1234054"/>
                    <a:gd name="connsiteX17" fmla="*/ 474285 w 1381732"/>
                    <a:gd name="connsiteY17" fmla="*/ 801638 h 1234054"/>
                    <a:gd name="connsiteX18" fmla="*/ 232358 w 1381732"/>
                    <a:gd name="connsiteY18" fmla="*/ 531008 h 1234054"/>
                    <a:gd name="connsiteX19" fmla="*/ 64240 w 1381732"/>
                    <a:gd name="connsiteY19" fmla="*/ 424397 h 1234054"/>
                    <a:gd name="connsiteX20" fmla="*/ 15035 w 1381732"/>
                    <a:gd name="connsiteY20" fmla="*/ 215274 h 1234054"/>
                    <a:gd name="connsiteX21" fmla="*/ 150349 w 1381732"/>
                    <a:gd name="connsiteY21" fmla="*/ 2050 h 1234054"/>
                    <a:gd name="connsiteX0" fmla="*/ 150349 w 1381732"/>
                    <a:gd name="connsiteY0" fmla="*/ 2050 h 1234054"/>
                    <a:gd name="connsiteX1" fmla="*/ 199555 w 1381732"/>
                    <a:gd name="connsiteY1" fmla="*/ 202972 h 1234054"/>
                    <a:gd name="connsiteX2" fmla="*/ 334072 w 1381732"/>
                    <a:gd name="connsiteY2" fmla="*/ 301058 h 1234054"/>
                    <a:gd name="connsiteX3" fmla="*/ 433134 w 1381732"/>
                    <a:gd name="connsiteY3" fmla="*/ 536053 h 1234054"/>
                    <a:gd name="connsiteX4" fmla="*/ 572696 w 1381732"/>
                    <a:gd name="connsiteY4" fmla="*/ 621218 h 1234054"/>
                    <a:gd name="connsiteX5" fmla="*/ 623171 w 1381732"/>
                    <a:gd name="connsiteY5" fmla="*/ 703227 h 1234054"/>
                    <a:gd name="connsiteX6" fmla="*/ 691137 w 1381732"/>
                    <a:gd name="connsiteY6" fmla="*/ 825443 h 1234054"/>
                    <a:gd name="connsiteX7" fmla="*/ 884183 w 1381732"/>
                    <a:gd name="connsiteY7" fmla="*/ 863617 h 1234054"/>
                    <a:gd name="connsiteX8" fmla="*/ 945218 w 1381732"/>
                    <a:gd name="connsiteY8" fmla="*/ 977957 h 1234054"/>
                    <a:gd name="connsiteX9" fmla="*/ 1062537 w 1381732"/>
                    <a:gd name="connsiteY9" fmla="*/ 1063920 h 1234054"/>
                    <a:gd name="connsiteX10" fmla="*/ 1376628 w 1381732"/>
                    <a:gd name="connsiteY10" fmla="*/ 1009492 h 1234054"/>
                    <a:gd name="connsiteX11" fmla="*/ 1107674 w 1381732"/>
                    <a:gd name="connsiteY11" fmla="*/ 1181890 h 1234054"/>
                    <a:gd name="connsiteX12" fmla="*/ 962238 w 1381732"/>
                    <a:gd name="connsiteY12" fmla="*/ 1232185 h 1234054"/>
                    <a:gd name="connsiteX13" fmla="*/ 835124 w 1381732"/>
                    <a:gd name="connsiteY13" fmla="*/ 1170678 h 1234054"/>
                    <a:gd name="connsiteX14" fmla="*/ 798220 w 1381732"/>
                    <a:gd name="connsiteY14" fmla="*/ 1064066 h 1234054"/>
                    <a:gd name="connsiteX15" fmla="*/ 695709 w 1381732"/>
                    <a:gd name="connsiteY15" fmla="*/ 1035363 h 1234054"/>
                    <a:gd name="connsiteX16" fmla="*/ 552193 w 1381732"/>
                    <a:gd name="connsiteY16" fmla="*/ 965656 h 1234054"/>
                    <a:gd name="connsiteX17" fmla="*/ 474285 w 1381732"/>
                    <a:gd name="connsiteY17" fmla="*/ 801638 h 1234054"/>
                    <a:gd name="connsiteX18" fmla="*/ 232358 w 1381732"/>
                    <a:gd name="connsiteY18" fmla="*/ 531008 h 1234054"/>
                    <a:gd name="connsiteX19" fmla="*/ 64240 w 1381732"/>
                    <a:gd name="connsiteY19" fmla="*/ 424397 h 1234054"/>
                    <a:gd name="connsiteX20" fmla="*/ 15035 w 1381732"/>
                    <a:gd name="connsiteY20" fmla="*/ 215274 h 1234054"/>
                    <a:gd name="connsiteX21" fmla="*/ 150349 w 1381732"/>
                    <a:gd name="connsiteY21" fmla="*/ 2050 h 1234054"/>
                    <a:gd name="connsiteX0" fmla="*/ 150349 w 1381732"/>
                    <a:gd name="connsiteY0" fmla="*/ 2050 h 1234054"/>
                    <a:gd name="connsiteX1" fmla="*/ 199555 w 1381732"/>
                    <a:gd name="connsiteY1" fmla="*/ 202972 h 1234054"/>
                    <a:gd name="connsiteX2" fmla="*/ 334072 w 1381732"/>
                    <a:gd name="connsiteY2" fmla="*/ 301058 h 1234054"/>
                    <a:gd name="connsiteX3" fmla="*/ 433134 w 1381732"/>
                    <a:gd name="connsiteY3" fmla="*/ 536053 h 1234054"/>
                    <a:gd name="connsiteX4" fmla="*/ 572696 w 1381732"/>
                    <a:gd name="connsiteY4" fmla="*/ 621218 h 1234054"/>
                    <a:gd name="connsiteX5" fmla="*/ 623171 w 1381732"/>
                    <a:gd name="connsiteY5" fmla="*/ 703227 h 1234054"/>
                    <a:gd name="connsiteX6" fmla="*/ 691137 w 1381732"/>
                    <a:gd name="connsiteY6" fmla="*/ 825443 h 1234054"/>
                    <a:gd name="connsiteX7" fmla="*/ 884183 w 1381732"/>
                    <a:gd name="connsiteY7" fmla="*/ 863617 h 1234054"/>
                    <a:gd name="connsiteX8" fmla="*/ 945218 w 1381732"/>
                    <a:gd name="connsiteY8" fmla="*/ 977957 h 1234054"/>
                    <a:gd name="connsiteX9" fmla="*/ 1062537 w 1381732"/>
                    <a:gd name="connsiteY9" fmla="*/ 1063920 h 1234054"/>
                    <a:gd name="connsiteX10" fmla="*/ 1376628 w 1381732"/>
                    <a:gd name="connsiteY10" fmla="*/ 1009492 h 1234054"/>
                    <a:gd name="connsiteX11" fmla="*/ 1107674 w 1381732"/>
                    <a:gd name="connsiteY11" fmla="*/ 1181890 h 1234054"/>
                    <a:gd name="connsiteX12" fmla="*/ 962238 w 1381732"/>
                    <a:gd name="connsiteY12" fmla="*/ 1232185 h 1234054"/>
                    <a:gd name="connsiteX13" fmla="*/ 835124 w 1381732"/>
                    <a:gd name="connsiteY13" fmla="*/ 1170678 h 1234054"/>
                    <a:gd name="connsiteX14" fmla="*/ 798220 w 1381732"/>
                    <a:gd name="connsiteY14" fmla="*/ 1064066 h 1234054"/>
                    <a:gd name="connsiteX15" fmla="*/ 695709 w 1381732"/>
                    <a:gd name="connsiteY15" fmla="*/ 1035363 h 1234054"/>
                    <a:gd name="connsiteX16" fmla="*/ 552193 w 1381732"/>
                    <a:gd name="connsiteY16" fmla="*/ 965656 h 1234054"/>
                    <a:gd name="connsiteX17" fmla="*/ 474285 w 1381732"/>
                    <a:gd name="connsiteY17" fmla="*/ 801638 h 1234054"/>
                    <a:gd name="connsiteX18" fmla="*/ 232358 w 1381732"/>
                    <a:gd name="connsiteY18" fmla="*/ 531008 h 1234054"/>
                    <a:gd name="connsiteX19" fmla="*/ 64240 w 1381732"/>
                    <a:gd name="connsiteY19" fmla="*/ 424397 h 1234054"/>
                    <a:gd name="connsiteX20" fmla="*/ 15035 w 1381732"/>
                    <a:gd name="connsiteY20" fmla="*/ 215274 h 1234054"/>
                    <a:gd name="connsiteX21" fmla="*/ 150349 w 1381732"/>
                    <a:gd name="connsiteY21" fmla="*/ 2050 h 1234054"/>
                    <a:gd name="connsiteX0" fmla="*/ 150349 w 1381732"/>
                    <a:gd name="connsiteY0" fmla="*/ 2050 h 1234054"/>
                    <a:gd name="connsiteX1" fmla="*/ 199555 w 1381732"/>
                    <a:gd name="connsiteY1" fmla="*/ 202972 h 1234054"/>
                    <a:gd name="connsiteX2" fmla="*/ 334072 w 1381732"/>
                    <a:gd name="connsiteY2" fmla="*/ 301058 h 1234054"/>
                    <a:gd name="connsiteX3" fmla="*/ 433134 w 1381732"/>
                    <a:gd name="connsiteY3" fmla="*/ 536053 h 1234054"/>
                    <a:gd name="connsiteX4" fmla="*/ 554554 w 1381732"/>
                    <a:gd name="connsiteY4" fmla="*/ 606704 h 1234054"/>
                    <a:gd name="connsiteX5" fmla="*/ 623171 w 1381732"/>
                    <a:gd name="connsiteY5" fmla="*/ 703227 h 1234054"/>
                    <a:gd name="connsiteX6" fmla="*/ 691137 w 1381732"/>
                    <a:gd name="connsiteY6" fmla="*/ 825443 h 1234054"/>
                    <a:gd name="connsiteX7" fmla="*/ 884183 w 1381732"/>
                    <a:gd name="connsiteY7" fmla="*/ 863617 h 1234054"/>
                    <a:gd name="connsiteX8" fmla="*/ 945218 w 1381732"/>
                    <a:gd name="connsiteY8" fmla="*/ 977957 h 1234054"/>
                    <a:gd name="connsiteX9" fmla="*/ 1062537 w 1381732"/>
                    <a:gd name="connsiteY9" fmla="*/ 1063920 h 1234054"/>
                    <a:gd name="connsiteX10" fmla="*/ 1376628 w 1381732"/>
                    <a:gd name="connsiteY10" fmla="*/ 1009492 h 1234054"/>
                    <a:gd name="connsiteX11" fmla="*/ 1107674 w 1381732"/>
                    <a:gd name="connsiteY11" fmla="*/ 1181890 h 1234054"/>
                    <a:gd name="connsiteX12" fmla="*/ 962238 w 1381732"/>
                    <a:gd name="connsiteY12" fmla="*/ 1232185 h 1234054"/>
                    <a:gd name="connsiteX13" fmla="*/ 835124 w 1381732"/>
                    <a:gd name="connsiteY13" fmla="*/ 1170678 h 1234054"/>
                    <a:gd name="connsiteX14" fmla="*/ 798220 w 1381732"/>
                    <a:gd name="connsiteY14" fmla="*/ 1064066 h 1234054"/>
                    <a:gd name="connsiteX15" fmla="*/ 695709 w 1381732"/>
                    <a:gd name="connsiteY15" fmla="*/ 1035363 h 1234054"/>
                    <a:gd name="connsiteX16" fmla="*/ 552193 w 1381732"/>
                    <a:gd name="connsiteY16" fmla="*/ 965656 h 1234054"/>
                    <a:gd name="connsiteX17" fmla="*/ 474285 w 1381732"/>
                    <a:gd name="connsiteY17" fmla="*/ 801638 h 1234054"/>
                    <a:gd name="connsiteX18" fmla="*/ 232358 w 1381732"/>
                    <a:gd name="connsiteY18" fmla="*/ 531008 h 1234054"/>
                    <a:gd name="connsiteX19" fmla="*/ 64240 w 1381732"/>
                    <a:gd name="connsiteY19" fmla="*/ 424397 h 1234054"/>
                    <a:gd name="connsiteX20" fmla="*/ 15035 w 1381732"/>
                    <a:gd name="connsiteY20" fmla="*/ 215274 h 1234054"/>
                    <a:gd name="connsiteX21" fmla="*/ 150349 w 1381732"/>
                    <a:gd name="connsiteY21" fmla="*/ 2050 h 1234054"/>
                    <a:gd name="connsiteX0" fmla="*/ 150349 w 1381732"/>
                    <a:gd name="connsiteY0" fmla="*/ 2050 h 1234054"/>
                    <a:gd name="connsiteX1" fmla="*/ 199555 w 1381732"/>
                    <a:gd name="connsiteY1" fmla="*/ 202972 h 1234054"/>
                    <a:gd name="connsiteX2" fmla="*/ 334072 w 1381732"/>
                    <a:gd name="connsiteY2" fmla="*/ 301058 h 1234054"/>
                    <a:gd name="connsiteX3" fmla="*/ 433134 w 1381732"/>
                    <a:gd name="connsiteY3" fmla="*/ 536053 h 1234054"/>
                    <a:gd name="connsiteX4" fmla="*/ 554554 w 1381732"/>
                    <a:gd name="connsiteY4" fmla="*/ 606704 h 1234054"/>
                    <a:gd name="connsiteX5" fmla="*/ 623171 w 1381732"/>
                    <a:gd name="connsiteY5" fmla="*/ 703227 h 1234054"/>
                    <a:gd name="connsiteX6" fmla="*/ 691137 w 1381732"/>
                    <a:gd name="connsiteY6" fmla="*/ 825443 h 1234054"/>
                    <a:gd name="connsiteX7" fmla="*/ 884183 w 1381732"/>
                    <a:gd name="connsiteY7" fmla="*/ 863617 h 1234054"/>
                    <a:gd name="connsiteX8" fmla="*/ 945218 w 1381732"/>
                    <a:gd name="connsiteY8" fmla="*/ 977957 h 1234054"/>
                    <a:gd name="connsiteX9" fmla="*/ 1062537 w 1381732"/>
                    <a:gd name="connsiteY9" fmla="*/ 1063920 h 1234054"/>
                    <a:gd name="connsiteX10" fmla="*/ 1376628 w 1381732"/>
                    <a:gd name="connsiteY10" fmla="*/ 1009492 h 1234054"/>
                    <a:gd name="connsiteX11" fmla="*/ 1107674 w 1381732"/>
                    <a:gd name="connsiteY11" fmla="*/ 1181890 h 1234054"/>
                    <a:gd name="connsiteX12" fmla="*/ 962238 w 1381732"/>
                    <a:gd name="connsiteY12" fmla="*/ 1232185 h 1234054"/>
                    <a:gd name="connsiteX13" fmla="*/ 835124 w 1381732"/>
                    <a:gd name="connsiteY13" fmla="*/ 1170678 h 1234054"/>
                    <a:gd name="connsiteX14" fmla="*/ 798220 w 1381732"/>
                    <a:gd name="connsiteY14" fmla="*/ 1064066 h 1234054"/>
                    <a:gd name="connsiteX15" fmla="*/ 695709 w 1381732"/>
                    <a:gd name="connsiteY15" fmla="*/ 1035363 h 1234054"/>
                    <a:gd name="connsiteX16" fmla="*/ 552193 w 1381732"/>
                    <a:gd name="connsiteY16" fmla="*/ 965656 h 1234054"/>
                    <a:gd name="connsiteX17" fmla="*/ 474285 w 1381732"/>
                    <a:gd name="connsiteY17" fmla="*/ 801638 h 1234054"/>
                    <a:gd name="connsiteX18" fmla="*/ 232358 w 1381732"/>
                    <a:gd name="connsiteY18" fmla="*/ 531008 h 1234054"/>
                    <a:gd name="connsiteX19" fmla="*/ 64240 w 1381732"/>
                    <a:gd name="connsiteY19" fmla="*/ 424397 h 1234054"/>
                    <a:gd name="connsiteX20" fmla="*/ 15035 w 1381732"/>
                    <a:gd name="connsiteY20" fmla="*/ 215274 h 1234054"/>
                    <a:gd name="connsiteX21" fmla="*/ 150349 w 1381732"/>
                    <a:gd name="connsiteY21" fmla="*/ 2050 h 1234054"/>
                    <a:gd name="connsiteX0" fmla="*/ 139463 w 1370846"/>
                    <a:gd name="connsiteY0" fmla="*/ 2050 h 1234054"/>
                    <a:gd name="connsiteX1" fmla="*/ 188669 w 1370846"/>
                    <a:gd name="connsiteY1" fmla="*/ 202972 h 1234054"/>
                    <a:gd name="connsiteX2" fmla="*/ 323186 w 1370846"/>
                    <a:gd name="connsiteY2" fmla="*/ 301058 h 1234054"/>
                    <a:gd name="connsiteX3" fmla="*/ 422248 w 1370846"/>
                    <a:gd name="connsiteY3" fmla="*/ 536053 h 1234054"/>
                    <a:gd name="connsiteX4" fmla="*/ 543668 w 1370846"/>
                    <a:gd name="connsiteY4" fmla="*/ 606704 h 1234054"/>
                    <a:gd name="connsiteX5" fmla="*/ 612285 w 1370846"/>
                    <a:gd name="connsiteY5" fmla="*/ 703227 h 1234054"/>
                    <a:gd name="connsiteX6" fmla="*/ 680251 w 1370846"/>
                    <a:gd name="connsiteY6" fmla="*/ 825443 h 1234054"/>
                    <a:gd name="connsiteX7" fmla="*/ 873297 w 1370846"/>
                    <a:gd name="connsiteY7" fmla="*/ 863617 h 1234054"/>
                    <a:gd name="connsiteX8" fmla="*/ 934332 w 1370846"/>
                    <a:gd name="connsiteY8" fmla="*/ 977957 h 1234054"/>
                    <a:gd name="connsiteX9" fmla="*/ 1051651 w 1370846"/>
                    <a:gd name="connsiteY9" fmla="*/ 1063920 h 1234054"/>
                    <a:gd name="connsiteX10" fmla="*/ 1365742 w 1370846"/>
                    <a:gd name="connsiteY10" fmla="*/ 1009492 h 1234054"/>
                    <a:gd name="connsiteX11" fmla="*/ 1096788 w 1370846"/>
                    <a:gd name="connsiteY11" fmla="*/ 1181890 h 1234054"/>
                    <a:gd name="connsiteX12" fmla="*/ 951352 w 1370846"/>
                    <a:gd name="connsiteY12" fmla="*/ 1232185 h 1234054"/>
                    <a:gd name="connsiteX13" fmla="*/ 824238 w 1370846"/>
                    <a:gd name="connsiteY13" fmla="*/ 1170678 h 1234054"/>
                    <a:gd name="connsiteX14" fmla="*/ 787334 w 1370846"/>
                    <a:gd name="connsiteY14" fmla="*/ 1064066 h 1234054"/>
                    <a:gd name="connsiteX15" fmla="*/ 684823 w 1370846"/>
                    <a:gd name="connsiteY15" fmla="*/ 1035363 h 1234054"/>
                    <a:gd name="connsiteX16" fmla="*/ 541307 w 1370846"/>
                    <a:gd name="connsiteY16" fmla="*/ 965656 h 1234054"/>
                    <a:gd name="connsiteX17" fmla="*/ 463399 w 1370846"/>
                    <a:gd name="connsiteY17" fmla="*/ 801638 h 1234054"/>
                    <a:gd name="connsiteX18" fmla="*/ 221472 w 1370846"/>
                    <a:gd name="connsiteY18" fmla="*/ 531008 h 1234054"/>
                    <a:gd name="connsiteX19" fmla="*/ 53354 w 1370846"/>
                    <a:gd name="connsiteY19" fmla="*/ 424397 h 1234054"/>
                    <a:gd name="connsiteX20" fmla="*/ 15035 w 1370846"/>
                    <a:gd name="connsiteY20" fmla="*/ 247931 h 1234054"/>
                    <a:gd name="connsiteX21" fmla="*/ 139463 w 1370846"/>
                    <a:gd name="connsiteY21" fmla="*/ 2050 h 1234054"/>
                    <a:gd name="connsiteX0" fmla="*/ 139463 w 1370846"/>
                    <a:gd name="connsiteY0" fmla="*/ 2050 h 1234054"/>
                    <a:gd name="connsiteX1" fmla="*/ 188669 w 1370846"/>
                    <a:gd name="connsiteY1" fmla="*/ 202972 h 1234054"/>
                    <a:gd name="connsiteX2" fmla="*/ 323186 w 1370846"/>
                    <a:gd name="connsiteY2" fmla="*/ 301058 h 1234054"/>
                    <a:gd name="connsiteX3" fmla="*/ 422248 w 1370846"/>
                    <a:gd name="connsiteY3" fmla="*/ 536053 h 1234054"/>
                    <a:gd name="connsiteX4" fmla="*/ 543668 w 1370846"/>
                    <a:gd name="connsiteY4" fmla="*/ 606704 h 1234054"/>
                    <a:gd name="connsiteX5" fmla="*/ 612285 w 1370846"/>
                    <a:gd name="connsiteY5" fmla="*/ 703227 h 1234054"/>
                    <a:gd name="connsiteX6" fmla="*/ 680251 w 1370846"/>
                    <a:gd name="connsiteY6" fmla="*/ 825443 h 1234054"/>
                    <a:gd name="connsiteX7" fmla="*/ 873297 w 1370846"/>
                    <a:gd name="connsiteY7" fmla="*/ 863617 h 1234054"/>
                    <a:gd name="connsiteX8" fmla="*/ 934332 w 1370846"/>
                    <a:gd name="connsiteY8" fmla="*/ 977957 h 1234054"/>
                    <a:gd name="connsiteX9" fmla="*/ 1051651 w 1370846"/>
                    <a:gd name="connsiteY9" fmla="*/ 1063920 h 1234054"/>
                    <a:gd name="connsiteX10" fmla="*/ 1365742 w 1370846"/>
                    <a:gd name="connsiteY10" fmla="*/ 1009492 h 1234054"/>
                    <a:gd name="connsiteX11" fmla="*/ 1096788 w 1370846"/>
                    <a:gd name="connsiteY11" fmla="*/ 1181890 h 1234054"/>
                    <a:gd name="connsiteX12" fmla="*/ 951352 w 1370846"/>
                    <a:gd name="connsiteY12" fmla="*/ 1232185 h 1234054"/>
                    <a:gd name="connsiteX13" fmla="*/ 824238 w 1370846"/>
                    <a:gd name="connsiteY13" fmla="*/ 1170678 h 1234054"/>
                    <a:gd name="connsiteX14" fmla="*/ 787334 w 1370846"/>
                    <a:gd name="connsiteY14" fmla="*/ 1064066 h 1234054"/>
                    <a:gd name="connsiteX15" fmla="*/ 684823 w 1370846"/>
                    <a:gd name="connsiteY15" fmla="*/ 1035363 h 1234054"/>
                    <a:gd name="connsiteX16" fmla="*/ 541307 w 1370846"/>
                    <a:gd name="connsiteY16" fmla="*/ 965656 h 1234054"/>
                    <a:gd name="connsiteX17" fmla="*/ 463399 w 1370846"/>
                    <a:gd name="connsiteY17" fmla="*/ 801638 h 1234054"/>
                    <a:gd name="connsiteX18" fmla="*/ 221472 w 1370846"/>
                    <a:gd name="connsiteY18" fmla="*/ 531008 h 1234054"/>
                    <a:gd name="connsiteX19" fmla="*/ 53354 w 1370846"/>
                    <a:gd name="connsiteY19" fmla="*/ 424397 h 1234054"/>
                    <a:gd name="connsiteX20" fmla="*/ 15035 w 1370846"/>
                    <a:gd name="connsiteY20" fmla="*/ 247931 h 1234054"/>
                    <a:gd name="connsiteX21" fmla="*/ 139463 w 1370846"/>
                    <a:gd name="connsiteY21" fmla="*/ 2050 h 1234054"/>
                    <a:gd name="connsiteX0" fmla="*/ 153977 w 1385360"/>
                    <a:gd name="connsiteY0" fmla="*/ 2050 h 1234054"/>
                    <a:gd name="connsiteX1" fmla="*/ 203183 w 1385360"/>
                    <a:gd name="connsiteY1" fmla="*/ 202972 h 1234054"/>
                    <a:gd name="connsiteX2" fmla="*/ 337700 w 1385360"/>
                    <a:gd name="connsiteY2" fmla="*/ 301058 h 1234054"/>
                    <a:gd name="connsiteX3" fmla="*/ 436762 w 1385360"/>
                    <a:gd name="connsiteY3" fmla="*/ 536053 h 1234054"/>
                    <a:gd name="connsiteX4" fmla="*/ 558182 w 1385360"/>
                    <a:gd name="connsiteY4" fmla="*/ 606704 h 1234054"/>
                    <a:gd name="connsiteX5" fmla="*/ 626799 w 1385360"/>
                    <a:gd name="connsiteY5" fmla="*/ 703227 h 1234054"/>
                    <a:gd name="connsiteX6" fmla="*/ 694765 w 1385360"/>
                    <a:gd name="connsiteY6" fmla="*/ 825443 h 1234054"/>
                    <a:gd name="connsiteX7" fmla="*/ 887811 w 1385360"/>
                    <a:gd name="connsiteY7" fmla="*/ 863617 h 1234054"/>
                    <a:gd name="connsiteX8" fmla="*/ 948846 w 1385360"/>
                    <a:gd name="connsiteY8" fmla="*/ 977957 h 1234054"/>
                    <a:gd name="connsiteX9" fmla="*/ 1066165 w 1385360"/>
                    <a:gd name="connsiteY9" fmla="*/ 1063920 h 1234054"/>
                    <a:gd name="connsiteX10" fmla="*/ 1380256 w 1385360"/>
                    <a:gd name="connsiteY10" fmla="*/ 1009492 h 1234054"/>
                    <a:gd name="connsiteX11" fmla="*/ 1111302 w 1385360"/>
                    <a:gd name="connsiteY11" fmla="*/ 1181890 h 1234054"/>
                    <a:gd name="connsiteX12" fmla="*/ 965866 w 1385360"/>
                    <a:gd name="connsiteY12" fmla="*/ 1232185 h 1234054"/>
                    <a:gd name="connsiteX13" fmla="*/ 838752 w 1385360"/>
                    <a:gd name="connsiteY13" fmla="*/ 1170678 h 1234054"/>
                    <a:gd name="connsiteX14" fmla="*/ 801848 w 1385360"/>
                    <a:gd name="connsiteY14" fmla="*/ 1064066 h 1234054"/>
                    <a:gd name="connsiteX15" fmla="*/ 699337 w 1385360"/>
                    <a:gd name="connsiteY15" fmla="*/ 1035363 h 1234054"/>
                    <a:gd name="connsiteX16" fmla="*/ 555821 w 1385360"/>
                    <a:gd name="connsiteY16" fmla="*/ 965656 h 1234054"/>
                    <a:gd name="connsiteX17" fmla="*/ 477913 w 1385360"/>
                    <a:gd name="connsiteY17" fmla="*/ 801638 h 1234054"/>
                    <a:gd name="connsiteX18" fmla="*/ 235986 w 1385360"/>
                    <a:gd name="connsiteY18" fmla="*/ 531008 h 1234054"/>
                    <a:gd name="connsiteX19" fmla="*/ 67868 w 1385360"/>
                    <a:gd name="connsiteY19" fmla="*/ 424397 h 1234054"/>
                    <a:gd name="connsiteX20" fmla="*/ 15035 w 1385360"/>
                    <a:gd name="connsiteY20" fmla="*/ 215274 h 1234054"/>
                    <a:gd name="connsiteX21" fmla="*/ 153977 w 1385360"/>
                    <a:gd name="connsiteY21" fmla="*/ 2050 h 1234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85360" h="1234054">
                      <a:moveTo>
                        <a:pt x="153977" y="2050"/>
                      </a:moveTo>
                      <a:cubicBezTo>
                        <a:pt x="184730" y="0"/>
                        <a:pt x="172563" y="153137"/>
                        <a:pt x="203183" y="202972"/>
                      </a:cubicBezTo>
                      <a:cubicBezTo>
                        <a:pt x="233803" y="252807"/>
                        <a:pt x="298770" y="245545"/>
                        <a:pt x="337700" y="301058"/>
                      </a:cubicBezTo>
                      <a:cubicBezTo>
                        <a:pt x="354858" y="363830"/>
                        <a:pt x="338934" y="460921"/>
                        <a:pt x="436762" y="536053"/>
                      </a:cubicBezTo>
                      <a:cubicBezTo>
                        <a:pt x="476533" y="589413"/>
                        <a:pt x="526509" y="578842"/>
                        <a:pt x="558182" y="606704"/>
                      </a:cubicBezTo>
                      <a:cubicBezTo>
                        <a:pt x="589855" y="634566"/>
                        <a:pt x="617945" y="661933"/>
                        <a:pt x="626799" y="703227"/>
                      </a:cubicBezTo>
                      <a:cubicBezTo>
                        <a:pt x="639282" y="766292"/>
                        <a:pt x="651263" y="798711"/>
                        <a:pt x="694765" y="825443"/>
                      </a:cubicBezTo>
                      <a:cubicBezTo>
                        <a:pt x="738267" y="852175"/>
                        <a:pt x="845464" y="838198"/>
                        <a:pt x="887811" y="863617"/>
                      </a:cubicBezTo>
                      <a:cubicBezTo>
                        <a:pt x="930158" y="889036"/>
                        <a:pt x="940892" y="940944"/>
                        <a:pt x="948846" y="977957"/>
                      </a:cubicBezTo>
                      <a:cubicBezTo>
                        <a:pt x="964058" y="1014970"/>
                        <a:pt x="1006359" y="1055036"/>
                        <a:pt x="1066165" y="1063920"/>
                      </a:cubicBezTo>
                      <a:cubicBezTo>
                        <a:pt x="1133228" y="1098205"/>
                        <a:pt x="1371524" y="998902"/>
                        <a:pt x="1380256" y="1009492"/>
                      </a:cubicBezTo>
                      <a:cubicBezTo>
                        <a:pt x="1385360" y="1034597"/>
                        <a:pt x="1323696" y="1061319"/>
                        <a:pt x="1111302" y="1181890"/>
                      </a:cubicBezTo>
                      <a:cubicBezTo>
                        <a:pt x="1073081" y="1208119"/>
                        <a:pt x="1011291" y="1234054"/>
                        <a:pt x="965866" y="1232185"/>
                      </a:cubicBezTo>
                      <a:cubicBezTo>
                        <a:pt x="920441" y="1230316"/>
                        <a:pt x="866088" y="1198698"/>
                        <a:pt x="838752" y="1170678"/>
                      </a:cubicBezTo>
                      <a:cubicBezTo>
                        <a:pt x="811416" y="1142658"/>
                        <a:pt x="825084" y="1086619"/>
                        <a:pt x="801848" y="1064066"/>
                      </a:cubicBezTo>
                      <a:cubicBezTo>
                        <a:pt x="778612" y="1041514"/>
                        <a:pt x="740342" y="1051765"/>
                        <a:pt x="699337" y="1035363"/>
                      </a:cubicBezTo>
                      <a:cubicBezTo>
                        <a:pt x="658332" y="1018961"/>
                        <a:pt x="592725" y="1004610"/>
                        <a:pt x="555821" y="965656"/>
                      </a:cubicBezTo>
                      <a:cubicBezTo>
                        <a:pt x="518917" y="926702"/>
                        <a:pt x="531219" y="874079"/>
                        <a:pt x="477913" y="801638"/>
                      </a:cubicBezTo>
                      <a:cubicBezTo>
                        <a:pt x="322096" y="766101"/>
                        <a:pt x="283825" y="684092"/>
                        <a:pt x="235986" y="531008"/>
                      </a:cubicBezTo>
                      <a:cubicBezTo>
                        <a:pt x="167645" y="468135"/>
                        <a:pt x="104693" y="477019"/>
                        <a:pt x="67868" y="424397"/>
                      </a:cubicBezTo>
                      <a:cubicBezTo>
                        <a:pt x="31043" y="371775"/>
                        <a:pt x="0" y="288399"/>
                        <a:pt x="15035" y="215274"/>
                      </a:cubicBezTo>
                      <a:cubicBezTo>
                        <a:pt x="51841" y="142149"/>
                        <a:pt x="115967" y="58528"/>
                        <a:pt x="153977" y="205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90" name="Freeform 116">
                  <a:extLst>
                    <a:ext uri="{FF2B5EF4-FFF2-40B4-BE49-F238E27FC236}">
                      <a16:creationId xmlns:a16="http://schemas.microsoft.com/office/drawing/2014/main" id="{E496B0E4-013D-4085-9EF7-71B5E82FD53C}"/>
                    </a:ext>
                  </a:extLst>
                </p:cNvPr>
                <p:cNvSpPr/>
                <p:nvPr/>
              </p:nvSpPr>
              <p:spPr>
                <a:xfrm>
                  <a:off x="1011162" y="7885490"/>
                  <a:ext cx="697895" cy="328991"/>
                </a:xfrm>
                <a:custGeom>
                  <a:avLst/>
                  <a:gdLst>
                    <a:gd name="connsiteX0" fmla="*/ 509209 w 697895"/>
                    <a:gd name="connsiteY0" fmla="*/ 177196 h 328991"/>
                    <a:gd name="connsiteX1" fmla="*/ 683381 w 697895"/>
                    <a:gd name="connsiteY1" fmla="*/ 57453 h 328991"/>
                    <a:gd name="connsiteX2" fmla="*/ 596295 w 697895"/>
                    <a:gd name="connsiteY2" fmla="*/ 3024 h 328991"/>
                    <a:gd name="connsiteX3" fmla="*/ 440267 w 697895"/>
                    <a:gd name="connsiteY3" fmla="*/ 75596 h 328991"/>
                    <a:gd name="connsiteX4" fmla="*/ 215295 w 697895"/>
                    <a:gd name="connsiteY4" fmla="*/ 122767 h 328991"/>
                    <a:gd name="connsiteX5" fmla="*/ 77409 w 697895"/>
                    <a:gd name="connsiteY5" fmla="*/ 267910 h 328991"/>
                    <a:gd name="connsiteX6" fmla="*/ 12095 w 697895"/>
                    <a:gd name="connsiteY6" fmla="*/ 322339 h 328991"/>
                    <a:gd name="connsiteX7" fmla="*/ 149981 w 697895"/>
                    <a:gd name="connsiteY7" fmla="*/ 227996 h 328991"/>
                    <a:gd name="connsiteX8" fmla="*/ 320524 w 697895"/>
                    <a:gd name="connsiteY8" fmla="*/ 166310 h 328991"/>
                    <a:gd name="connsiteX9" fmla="*/ 509209 w 697895"/>
                    <a:gd name="connsiteY9" fmla="*/ 177196 h 328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7895" h="328991">
                      <a:moveTo>
                        <a:pt x="509209" y="177196"/>
                      </a:moveTo>
                      <a:cubicBezTo>
                        <a:pt x="569685" y="159053"/>
                        <a:pt x="668867" y="86482"/>
                        <a:pt x="683381" y="57453"/>
                      </a:cubicBezTo>
                      <a:cubicBezTo>
                        <a:pt x="697895" y="28424"/>
                        <a:pt x="636814" y="0"/>
                        <a:pt x="596295" y="3024"/>
                      </a:cubicBezTo>
                      <a:cubicBezTo>
                        <a:pt x="555776" y="6048"/>
                        <a:pt x="503767" y="55639"/>
                        <a:pt x="440267" y="75596"/>
                      </a:cubicBezTo>
                      <a:cubicBezTo>
                        <a:pt x="376767" y="95553"/>
                        <a:pt x="275771" y="90715"/>
                        <a:pt x="215295" y="122767"/>
                      </a:cubicBezTo>
                      <a:cubicBezTo>
                        <a:pt x="154819" y="154819"/>
                        <a:pt x="111276" y="234648"/>
                        <a:pt x="77409" y="267910"/>
                      </a:cubicBezTo>
                      <a:cubicBezTo>
                        <a:pt x="43542" y="301172"/>
                        <a:pt x="0" y="328991"/>
                        <a:pt x="12095" y="322339"/>
                      </a:cubicBezTo>
                      <a:cubicBezTo>
                        <a:pt x="24190" y="315687"/>
                        <a:pt x="98576" y="254001"/>
                        <a:pt x="149981" y="227996"/>
                      </a:cubicBezTo>
                      <a:cubicBezTo>
                        <a:pt x="201386" y="201991"/>
                        <a:pt x="260653" y="174777"/>
                        <a:pt x="320524" y="166310"/>
                      </a:cubicBezTo>
                      <a:cubicBezTo>
                        <a:pt x="380395" y="157843"/>
                        <a:pt x="448733" y="195339"/>
                        <a:pt x="509209" y="17719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sp>
            <p:nvSpPr>
              <p:cNvPr id="682" name="Freeform 293">
                <a:extLst>
                  <a:ext uri="{FF2B5EF4-FFF2-40B4-BE49-F238E27FC236}">
                    <a16:creationId xmlns:a16="http://schemas.microsoft.com/office/drawing/2014/main" id="{26B990F1-091E-48FC-B2FA-1E2E38AE67FF}"/>
                  </a:ext>
                </a:extLst>
              </p:cNvPr>
              <p:cNvSpPr/>
              <p:nvPr/>
            </p:nvSpPr>
            <p:spPr>
              <a:xfrm rot="21114987" flipH="1">
                <a:off x="7099270" y="3072451"/>
                <a:ext cx="132001" cy="212053"/>
              </a:xfrm>
              <a:custGeom>
                <a:avLst/>
                <a:gdLst>
                  <a:gd name="connsiteX0" fmla="*/ 498764 w 1198756"/>
                  <a:gd name="connsiteY0" fmla="*/ 0 h 2098964"/>
                  <a:gd name="connsiteX1" fmla="*/ 0 w 1198756"/>
                  <a:gd name="connsiteY1" fmla="*/ 41564 h 2098964"/>
                  <a:gd name="connsiteX2" fmla="*/ 457200 w 1198756"/>
                  <a:gd name="connsiteY2" fmla="*/ 1039091 h 2098964"/>
                  <a:gd name="connsiteX3" fmla="*/ 374073 w 1198756"/>
                  <a:gd name="connsiteY3" fmla="*/ 1309254 h 2098964"/>
                  <a:gd name="connsiteX4" fmla="*/ 103909 w 1198756"/>
                  <a:gd name="connsiteY4" fmla="*/ 1246909 h 2098964"/>
                  <a:gd name="connsiteX5" fmla="*/ 519546 w 1198756"/>
                  <a:gd name="connsiteY5" fmla="*/ 2098964 h 2098964"/>
                  <a:gd name="connsiteX6" fmla="*/ 1143000 w 1198756"/>
                  <a:gd name="connsiteY6" fmla="*/ 1849582 h 2098964"/>
                  <a:gd name="connsiteX7" fmla="*/ 893618 w 1198756"/>
                  <a:gd name="connsiteY7" fmla="*/ 644236 h 2098964"/>
                  <a:gd name="connsiteX8" fmla="*/ 498764 w 1198756"/>
                  <a:gd name="connsiteY8" fmla="*/ 0 h 2098964"/>
                  <a:gd name="connsiteX0" fmla="*/ 498764 w 1198756"/>
                  <a:gd name="connsiteY0" fmla="*/ 0 h 2098964"/>
                  <a:gd name="connsiteX1" fmla="*/ 0 w 1198756"/>
                  <a:gd name="connsiteY1" fmla="*/ 41564 h 2098964"/>
                  <a:gd name="connsiteX2" fmla="*/ 457200 w 1198756"/>
                  <a:gd name="connsiteY2" fmla="*/ 1039091 h 2098964"/>
                  <a:gd name="connsiteX3" fmla="*/ 374073 w 1198756"/>
                  <a:gd name="connsiteY3" fmla="*/ 1309254 h 2098964"/>
                  <a:gd name="connsiteX4" fmla="*/ 93577 w 1198756"/>
                  <a:gd name="connsiteY4" fmla="*/ 1215912 h 2098964"/>
                  <a:gd name="connsiteX5" fmla="*/ 519546 w 1198756"/>
                  <a:gd name="connsiteY5" fmla="*/ 2098964 h 2098964"/>
                  <a:gd name="connsiteX6" fmla="*/ 1143000 w 1198756"/>
                  <a:gd name="connsiteY6" fmla="*/ 1849582 h 2098964"/>
                  <a:gd name="connsiteX7" fmla="*/ 893618 w 1198756"/>
                  <a:gd name="connsiteY7" fmla="*/ 644236 h 2098964"/>
                  <a:gd name="connsiteX8" fmla="*/ 498764 w 1198756"/>
                  <a:gd name="connsiteY8" fmla="*/ 0 h 2098964"/>
                  <a:gd name="connsiteX0" fmla="*/ 498764 w 1198756"/>
                  <a:gd name="connsiteY0" fmla="*/ 0 h 2098964"/>
                  <a:gd name="connsiteX1" fmla="*/ 0 w 1198756"/>
                  <a:gd name="connsiteY1" fmla="*/ 41564 h 2098964"/>
                  <a:gd name="connsiteX2" fmla="*/ 457200 w 1198756"/>
                  <a:gd name="connsiteY2" fmla="*/ 1039091 h 2098964"/>
                  <a:gd name="connsiteX3" fmla="*/ 363741 w 1198756"/>
                  <a:gd name="connsiteY3" fmla="*/ 1138772 h 2098964"/>
                  <a:gd name="connsiteX4" fmla="*/ 93577 w 1198756"/>
                  <a:gd name="connsiteY4" fmla="*/ 1215912 h 2098964"/>
                  <a:gd name="connsiteX5" fmla="*/ 519546 w 1198756"/>
                  <a:gd name="connsiteY5" fmla="*/ 2098964 h 2098964"/>
                  <a:gd name="connsiteX6" fmla="*/ 1143000 w 1198756"/>
                  <a:gd name="connsiteY6" fmla="*/ 1849582 h 2098964"/>
                  <a:gd name="connsiteX7" fmla="*/ 893618 w 1198756"/>
                  <a:gd name="connsiteY7" fmla="*/ 644236 h 2098964"/>
                  <a:gd name="connsiteX8" fmla="*/ 498764 w 1198756"/>
                  <a:gd name="connsiteY8" fmla="*/ 0 h 2098964"/>
                  <a:gd name="connsiteX0" fmla="*/ 498764 w 1198756"/>
                  <a:gd name="connsiteY0" fmla="*/ 0 h 2098964"/>
                  <a:gd name="connsiteX1" fmla="*/ 0 w 1198756"/>
                  <a:gd name="connsiteY1" fmla="*/ 41564 h 2098964"/>
                  <a:gd name="connsiteX2" fmla="*/ 400373 w 1198756"/>
                  <a:gd name="connsiteY2" fmla="*/ 946101 h 2098964"/>
                  <a:gd name="connsiteX3" fmla="*/ 363741 w 1198756"/>
                  <a:gd name="connsiteY3" fmla="*/ 1138772 h 2098964"/>
                  <a:gd name="connsiteX4" fmla="*/ 93577 w 1198756"/>
                  <a:gd name="connsiteY4" fmla="*/ 1215912 h 2098964"/>
                  <a:gd name="connsiteX5" fmla="*/ 519546 w 1198756"/>
                  <a:gd name="connsiteY5" fmla="*/ 2098964 h 2098964"/>
                  <a:gd name="connsiteX6" fmla="*/ 1143000 w 1198756"/>
                  <a:gd name="connsiteY6" fmla="*/ 1849582 h 2098964"/>
                  <a:gd name="connsiteX7" fmla="*/ 893618 w 1198756"/>
                  <a:gd name="connsiteY7" fmla="*/ 644236 h 2098964"/>
                  <a:gd name="connsiteX8" fmla="*/ 498764 w 1198756"/>
                  <a:gd name="connsiteY8" fmla="*/ 0 h 2098964"/>
                  <a:gd name="connsiteX0" fmla="*/ 498764 w 1198756"/>
                  <a:gd name="connsiteY0" fmla="*/ 0 h 2098964"/>
                  <a:gd name="connsiteX1" fmla="*/ 0 w 1198756"/>
                  <a:gd name="connsiteY1" fmla="*/ 41564 h 2098964"/>
                  <a:gd name="connsiteX2" fmla="*/ 400373 w 1198756"/>
                  <a:gd name="connsiteY2" fmla="*/ 946101 h 2098964"/>
                  <a:gd name="connsiteX3" fmla="*/ 363741 w 1198756"/>
                  <a:gd name="connsiteY3" fmla="*/ 1138772 h 2098964"/>
                  <a:gd name="connsiteX4" fmla="*/ 93577 w 1198756"/>
                  <a:gd name="connsiteY4" fmla="*/ 1215912 h 2098964"/>
                  <a:gd name="connsiteX5" fmla="*/ 519546 w 1198756"/>
                  <a:gd name="connsiteY5" fmla="*/ 2098964 h 2098964"/>
                  <a:gd name="connsiteX6" fmla="*/ 1143000 w 1198756"/>
                  <a:gd name="connsiteY6" fmla="*/ 1849582 h 2098964"/>
                  <a:gd name="connsiteX7" fmla="*/ 893618 w 1198756"/>
                  <a:gd name="connsiteY7" fmla="*/ 644236 h 2098964"/>
                  <a:gd name="connsiteX8" fmla="*/ 498764 w 1198756"/>
                  <a:gd name="connsiteY8" fmla="*/ 0 h 2098964"/>
                  <a:gd name="connsiteX0" fmla="*/ 498764 w 1198756"/>
                  <a:gd name="connsiteY0" fmla="*/ 0 h 2098964"/>
                  <a:gd name="connsiteX1" fmla="*/ 0 w 1198756"/>
                  <a:gd name="connsiteY1" fmla="*/ 41564 h 2098964"/>
                  <a:gd name="connsiteX2" fmla="*/ 400373 w 1198756"/>
                  <a:gd name="connsiteY2" fmla="*/ 946101 h 2098964"/>
                  <a:gd name="connsiteX3" fmla="*/ 363741 w 1198756"/>
                  <a:gd name="connsiteY3" fmla="*/ 1138772 h 2098964"/>
                  <a:gd name="connsiteX4" fmla="*/ 93577 w 1198756"/>
                  <a:gd name="connsiteY4" fmla="*/ 1215912 h 2098964"/>
                  <a:gd name="connsiteX5" fmla="*/ 519546 w 1198756"/>
                  <a:gd name="connsiteY5" fmla="*/ 2098964 h 2098964"/>
                  <a:gd name="connsiteX6" fmla="*/ 1143000 w 1198756"/>
                  <a:gd name="connsiteY6" fmla="*/ 1849582 h 2098964"/>
                  <a:gd name="connsiteX7" fmla="*/ 893618 w 1198756"/>
                  <a:gd name="connsiteY7" fmla="*/ 644236 h 2098964"/>
                  <a:gd name="connsiteX8" fmla="*/ 498764 w 1198756"/>
                  <a:gd name="connsiteY8" fmla="*/ 0 h 2098964"/>
                  <a:gd name="connsiteX0" fmla="*/ 498764 w 1198756"/>
                  <a:gd name="connsiteY0" fmla="*/ 0 h 2091712"/>
                  <a:gd name="connsiteX1" fmla="*/ 0 w 1198756"/>
                  <a:gd name="connsiteY1" fmla="*/ 41564 h 2091712"/>
                  <a:gd name="connsiteX2" fmla="*/ 400373 w 1198756"/>
                  <a:gd name="connsiteY2" fmla="*/ 946101 h 2091712"/>
                  <a:gd name="connsiteX3" fmla="*/ 363741 w 1198756"/>
                  <a:gd name="connsiteY3" fmla="*/ 1138772 h 2091712"/>
                  <a:gd name="connsiteX4" fmla="*/ 93577 w 1198756"/>
                  <a:gd name="connsiteY4" fmla="*/ 1215912 h 2091712"/>
                  <a:gd name="connsiteX5" fmla="*/ 400726 w 1198756"/>
                  <a:gd name="connsiteY5" fmla="*/ 1840659 h 2091712"/>
                  <a:gd name="connsiteX6" fmla="*/ 1143000 w 1198756"/>
                  <a:gd name="connsiteY6" fmla="*/ 1849582 h 2091712"/>
                  <a:gd name="connsiteX7" fmla="*/ 893618 w 1198756"/>
                  <a:gd name="connsiteY7" fmla="*/ 644236 h 2091712"/>
                  <a:gd name="connsiteX8" fmla="*/ 498764 w 1198756"/>
                  <a:gd name="connsiteY8" fmla="*/ 0 h 2091712"/>
                  <a:gd name="connsiteX0" fmla="*/ 498764 w 1198756"/>
                  <a:gd name="connsiteY0" fmla="*/ 0 h 2167613"/>
                  <a:gd name="connsiteX1" fmla="*/ 0 w 1198756"/>
                  <a:gd name="connsiteY1" fmla="*/ 41564 h 2167613"/>
                  <a:gd name="connsiteX2" fmla="*/ 400373 w 1198756"/>
                  <a:gd name="connsiteY2" fmla="*/ 946101 h 2167613"/>
                  <a:gd name="connsiteX3" fmla="*/ 363741 w 1198756"/>
                  <a:gd name="connsiteY3" fmla="*/ 1138772 h 2167613"/>
                  <a:gd name="connsiteX4" fmla="*/ 93577 w 1198756"/>
                  <a:gd name="connsiteY4" fmla="*/ 1215912 h 2167613"/>
                  <a:gd name="connsiteX5" fmla="*/ 400726 w 1198756"/>
                  <a:gd name="connsiteY5" fmla="*/ 1840659 h 2167613"/>
                  <a:gd name="connsiteX6" fmla="*/ 1143000 w 1198756"/>
                  <a:gd name="connsiteY6" fmla="*/ 1849582 h 2167613"/>
                  <a:gd name="connsiteX7" fmla="*/ 893618 w 1198756"/>
                  <a:gd name="connsiteY7" fmla="*/ 644236 h 2167613"/>
                  <a:gd name="connsiteX8" fmla="*/ 498764 w 1198756"/>
                  <a:gd name="connsiteY8" fmla="*/ 0 h 2167613"/>
                  <a:gd name="connsiteX0" fmla="*/ 498764 w 1198756"/>
                  <a:gd name="connsiteY0" fmla="*/ 0 h 2167613"/>
                  <a:gd name="connsiteX1" fmla="*/ 0 w 1198756"/>
                  <a:gd name="connsiteY1" fmla="*/ 41564 h 2167613"/>
                  <a:gd name="connsiteX2" fmla="*/ 400373 w 1198756"/>
                  <a:gd name="connsiteY2" fmla="*/ 946101 h 2167613"/>
                  <a:gd name="connsiteX3" fmla="*/ 363741 w 1198756"/>
                  <a:gd name="connsiteY3" fmla="*/ 1138772 h 2167613"/>
                  <a:gd name="connsiteX4" fmla="*/ 93577 w 1198756"/>
                  <a:gd name="connsiteY4" fmla="*/ 1215912 h 2167613"/>
                  <a:gd name="connsiteX5" fmla="*/ 400726 w 1198756"/>
                  <a:gd name="connsiteY5" fmla="*/ 1840659 h 2167613"/>
                  <a:gd name="connsiteX6" fmla="*/ 1143000 w 1198756"/>
                  <a:gd name="connsiteY6" fmla="*/ 1849582 h 2167613"/>
                  <a:gd name="connsiteX7" fmla="*/ 893618 w 1198756"/>
                  <a:gd name="connsiteY7" fmla="*/ 644236 h 2167613"/>
                  <a:gd name="connsiteX8" fmla="*/ 498764 w 1198756"/>
                  <a:gd name="connsiteY8" fmla="*/ 0 h 2167613"/>
                  <a:gd name="connsiteX0" fmla="*/ 498764 w 1198756"/>
                  <a:gd name="connsiteY0" fmla="*/ 0 h 2141782"/>
                  <a:gd name="connsiteX1" fmla="*/ 0 w 1198756"/>
                  <a:gd name="connsiteY1" fmla="*/ 41564 h 2141782"/>
                  <a:gd name="connsiteX2" fmla="*/ 400373 w 1198756"/>
                  <a:gd name="connsiteY2" fmla="*/ 946101 h 2141782"/>
                  <a:gd name="connsiteX3" fmla="*/ 363741 w 1198756"/>
                  <a:gd name="connsiteY3" fmla="*/ 1138772 h 2141782"/>
                  <a:gd name="connsiteX4" fmla="*/ 93577 w 1198756"/>
                  <a:gd name="connsiteY4" fmla="*/ 1215912 h 2141782"/>
                  <a:gd name="connsiteX5" fmla="*/ 442055 w 1198756"/>
                  <a:gd name="connsiteY5" fmla="*/ 1814828 h 2141782"/>
                  <a:gd name="connsiteX6" fmla="*/ 1143000 w 1198756"/>
                  <a:gd name="connsiteY6" fmla="*/ 1849582 h 2141782"/>
                  <a:gd name="connsiteX7" fmla="*/ 893618 w 1198756"/>
                  <a:gd name="connsiteY7" fmla="*/ 644236 h 2141782"/>
                  <a:gd name="connsiteX8" fmla="*/ 498764 w 1198756"/>
                  <a:gd name="connsiteY8" fmla="*/ 0 h 2141782"/>
                  <a:gd name="connsiteX0" fmla="*/ 498764 w 1198756"/>
                  <a:gd name="connsiteY0" fmla="*/ 0 h 2141782"/>
                  <a:gd name="connsiteX1" fmla="*/ 0 w 1198756"/>
                  <a:gd name="connsiteY1" fmla="*/ 41564 h 2141782"/>
                  <a:gd name="connsiteX2" fmla="*/ 400373 w 1198756"/>
                  <a:gd name="connsiteY2" fmla="*/ 946101 h 2141782"/>
                  <a:gd name="connsiteX3" fmla="*/ 363741 w 1198756"/>
                  <a:gd name="connsiteY3" fmla="*/ 1138772 h 2141782"/>
                  <a:gd name="connsiteX4" fmla="*/ 93577 w 1198756"/>
                  <a:gd name="connsiteY4" fmla="*/ 1215912 h 2141782"/>
                  <a:gd name="connsiteX5" fmla="*/ 442055 w 1198756"/>
                  <a:gd name="connsiteY5" fmla="*/ 1814828 h 2141782"/>
                  <a:gd name="connsiteX6" fmla="*/ 1143000 w 1198756"/>
                  <a:gd name="connsiteY6" fmla="*/ 1849582 h 2141782"/>
                  <a:gd name="connsiteX7" fmla="*/ 893618 w 1198756"/>
                  <a:gd name="connsiteY7" fmla="*/ 644236 h 2141782"/>
                  <a:gd name="connsiteX8" fmla="*/ 498764 w 1198756"/>
                  <a:gd name="connsiteY8" fmla="*/ 0 h 2141782"/>
                  <a:gd name="connsiteX0" fmla="*/ 498764 w 1198756"/>
                  <a:gd name="connsiteY0" fmla="*/ 0 h 2141782"/>
                  <a:gd name="connsiteX1" fmla="*/ 0 w 1198756"/>
                  <a:gd name="connsiteY1" fmla="*/ 41564 h 2141782"/>
                  <a:gd name="connsiteX2" fmla="*/ 400373 w 1198756"/>
                  <a:gd name="connsiteY2" fmla="*/ 946101 h 2141782"/>
                  <a:gd name="connsiteX3" fmla="*/ 363741 w 1198756"/>
                  <a:gd name="connsiteY3" fmla="*/ 1138772 h 2141782"/>
                  <a:gd name="connsiteX4" fmla="*/ 93577 w 1198756"/>
                  <a:gd name="connsiteY4" fmla="*/ 1215912 h 2141782"/>
                  <a:gd name="connsiteX5" fmla="*/ 442055 w 1198756"/>
                  <a:gd name="connsiteY5" fmla="*/ 1814828 h 2141782"/>
                  <a:gd name="connsiteX6" fmla="*/ 1143000 w 1198756"/>
                  <a:gd name="connsiteY6" fmla="*/ 1849582 h 2141782"/>
                  <a:gd name="connsiteX7" fmla="*/ 893618 w 1198756"/>
                  <a:gd name="connsiteY7" fmla="*/ 644236 h 2141782"/>
                  <a:gd name="connsiteX8" fmla="*/ 498764 w 1198756"/>
                  <a:gd name="connsiteY8" fmla="*/ 0 h 2141782"/>
                  <a:gd name="connsiteX0" fmla="*/ 498764 w 1198756"/>
                  <a:gd name="connsiteY0" fmla="*/ 0 h 2177944"/>
                  <a:gd name="connsiteX1" fmla="*/ 0 w 1198756"/>
                  <a:gd name="connsiteY1" fmla="*/ 41564 h 2177944"/>
                  <a:gd name="connsiteX2" fmla="*/ 400373 w 1198756"/>
                  <a:gd name="connsiteY2" fmla="*/ 946101 h 2177944"/>
                  <a:gd name="connsiteX3" fmla="*/ 363741 w 1198756"/>
                  <a:gd name="connsiteY3" fmla="*/ 1138772 h 2177944"/>
                  <a:gd name="connsiteX4" fmla="*/ 93577 w 1198756"/>
                  <a:gd name="connsiteY4" fmla="*/ 1215912 h 2177944"/>
                  <a:gd name="connsiteX5" fmla="*/ 442055 w 1198756"/>
                  <a:gd name="connsiteY5" fmla="*/ 1814828 h 2177944"/>
                  <a:gd name="connsiteX6" fmla="*/ 1143000 w 1198756"/>
                  <a:gd name="connsiteY6" fmla="*/ 1849582 h 2177944"/>
                  <a:gd name="connsiteX7" fmla="*/ 893618 w 1198756"/>
                  <a:gd name="connsiteY7" fmla="*/ 644236 h 2177944"/>
                  <a:gd name="connsiteX8" fmla="*/ 498764 w 1198756"/>
                  <a:gd name="connsiteY8" fmla="*/ 0 h 2177944"/>
                  <a:gd name="connsiteX0" fmla="*/ 498764 w 1198756"/>
                  <a:gd name="connsiteY0" fmla="*/ 0 h 2177944"/>
                  <a:gd name="connsiteX1" fmla="*/ 0 w 1198756"/>
                  <a:gd name="connsiteY1" fmla="*/ 41564 h 2177944"/>
                  <a:gd name="connsiteX2" fmla="*/ 400373 w 1198756"/>
                  <a:gd name="connsiteY2" fmla="*/ 946101 h 2177944"/>
                  <a:gd name="connsiteX3" fmla="*/ 363741 w 1198756"/>
                  <a:gd name="connsiteY3" fmla="*/ 1138772 h 2177944"/>
                  <a:gd name="connsiteX4" fmla="*/ 93577 w 1198756"/>
                  <a:gd name="connsiteY4" fmla="*/ 1215912 h 2177944"/>
                  <a:gd name="connsiteX5" fmla="*/ 442055 w 1198756"/>
                  <a:gd name="connsiteY5" fmla="*/ 1814828 h 2177944"/>
                  <a:gd name="connsiteX6" fmla="*/ 1143000 w 1198756"/>
                  <a:gd name="connsiteY6" fmla="*/ 1849582 h 2177944"/>
                  <a:gd name="connsiteX7" fmla="*/ 893618 w 1198756"/>
                  <a:gd name="connsiteY7" fmla="*/ 644236 h 2177944"/>
                  <a:gd name="connsiteX8" fmla="*/ 498764 w 1198756"/>
                  <a:gd name="connsiteY8" fmla="*/ 0 h 2177944"/>
                  <a:gd name="connsiteX0" fmla="*/ 498764 w 1198756"/>
                  <a:gd name="connsiteY0" fmla="*/ 0 h 2024553"/>
                  <a:gd name="connsiteX1" fmla="*/ 0 w 1198756"/>
                  <a:gd name="connsiteY1" fmla="*/ 41564 h 2024553"/>
                  <a:gd name="connsiteX2" fmla="*/ 400373 w 1198756"/>
                  <a:gd name="connsiteY2" fmla="*/ 946101 h 2024553"/>
                  <a:gd name="connsiteX3" fmla="*/ 363741 w 1198756"/>
                  <a:gd name="connsiteY3" fmla="*/ 1138772 h 2024553"/>
                  <a:gd name="connsiteX4" fmla="*/ 93577 w 1198756"/>
                  <a:gd name="connsiteY4" fmla="*/ 1215912 h 2024553"/>
                  <a:gd name="connsiteX5" fmla="*/ 247502 w 1198756"/>
                  <a:gd name="connsiteY5" fmla="*/ 1484088 h 2024553"/>
                  <a:gd name="connsiteX6" fmla="*/ 1143000 w 1198756"/>
                  <a:gd name="connsiteY6" fmla="*/ 1849582 h 2024553"/>
                  <a:gd name="connsiteX7" fmla="*/ 893618 w 1198756"/>
                  <a:gd name="connsiteY7" fmla="*/ 644236 h 2024553"/>
                  <a:gd name="connsiteX8" fmla="*/ 498764 w 1198756"/>
                  <a:gd name="connsiteY8" fmla="*/ 0 h 2024553"/>
                  <a:gd name="connsiteX0" fmla="*/ 498764 w 1198756"/>
                  <a:gd name="connsiteY0" fmla="*/ 0 h 2024553"/>
                  <a:gd name="connsiteX1" fmla="*/ 0 w 1198756"/>
                  <a:gd name="connsiteY1" fmla="*/ 41564 h 2024553"/>
                  <a:gd name="connsiteX2" fmla="*/ 400373 w 1198756"/>
                  <a:gd name="connsiteY2" fmla="*/ 946101 h 2024553"/>
                  <a:gd name="connsiteX3" fmla="*/ 363741 w 1198756"/>
                  <a:gd name="connsiteY3" fmla="*/ 1138772 h 2024553"/>
                  <a:gd name="connsiteX4" fmla="*/ 93577 w 1198756"/>
                  <a:gd name="connsiteY4" fmla="*/ 1215912 h 2024553"/>
                  <a:gd name="connsiteX5" fmla="*/ 247502 w 1198756"/>
                  <a:gd name="connsiteY5" fmla="*/ 1484088 h 2024553"/>
                  <a:gd name="connsiteX6" fmla="*/ 1143000 w 1198756"/>
                  <a:gd name="connsiteY6" fmla="*/ 1849582 h 2024553"/>
                  <a:gd name="connsiteX7" fmla="*/ 893618 w 1198756"/>
                  <a:gd name="connsiteY7" fmla="*/ 644236 h 2024553"/>
                  <a:gd name="connsiteX8" fmla="*/ 498764 w 1198756"/>
                  <a:gd name="connsiteY8" fmla="*/ 0 h 2024553"/>
                  <a:gd name="connsiteX0" fmla="*/ 498764 w 1198756"/>
                  <a:gd name="connsiteY0" fmla="*/ 0 h 2024553"/>
                  <a:gd name="connsiteX1" fmla="*/ 0 w 1198756"/>
                  <a:gd name="connsiteY1" fmla="*/ 41564 h 2024553"/>
                  <a:gd name="connsiteX2" fmla="*/ 400373 w 1198756"/>
                  <a:gd name="connsiteY2" fmla="*/ 946101 h 2024553"/>
                  <a:gd name="connsiteX3" fmla="*/ 363741 w 1198756"/>
                  <a:gd name="connsiteY3" fmla="*/ 1138772 h 2024553"/>
                  <a:gd name="connsiteX4" fmla="*/ 93577 w 1198756"/>
                  <a:gd name="connsiteY4" fmla="*/ 1215912 h 2024553"/>
                  <a:gd name="connsiteX5" fmla="*/ 266958 w 1198756"/>
                  <a:gd name="connsiteY5" fmla="*/ 1493815 h 2024553"/>
                  <a:gd name="connsiteX6" fmla="*/ 1143000 w 1198756"/>
                  <a:gd name="connsiteY6" fmla="*/ 1849582 h 2024553"/>
                  <a:gd name="connsiteX7" fmla="*/ 893618 w 1198756"/>
                  <a:gd name="connsiteY7" fmla="*/ 644236 h 2024553"/>
                  <a:gd name="connsiteX8" fmla="*/ 498764 w 1198756"/>
                  <a:gd name="connsiteY8" fmla="*/ 0 h 2024553"/>
                  <a:gd name="connsiteX0" fmla="*/ 498764 w 1198756"/>
                  <a:gd name="connsiteY0" fmla="*/ 0 h 2024553"/>
                  <a:gd name="connsiteX1" fmla="*/ 0 w 1198756"/>
                  <a:gd name="connsiteY1" fmla="*/ 41564 h 2024553"/>
                  <a:gd name="connsiteX2" fmla="*/ 400373 w 1198756"/>
                  <a:gd name="connsiteY2" fmla="*/ 946101 h 2024553"/>
                  <a:gd name="connsiteX3" fmla="*/ 363741 w 1198756"/>
                  <a:gd name="connsiteY3" fmla="*/ 1138772 h 2024553"/>
                  <a:gd name="connsiteX4" fmla="*/ 64394 w 1198756"/>
                  <a:gd name="connsiteY4" fmla="*/ 1215912 h 2024553"/>
                  <a:gd name="connsiteX5" fmla="*/ 266958 w 1198756"/>
                  <a:gd name="connsiteY5" fmla="*/ 1493815 h 2024553"/>
                  <a:gd name="connsiteX6" fmla="*/ 1143000 w 1198756"/>
                  <a:gd name="connsiteY6" fmla="*/ 1849582 h 2024553"/>
                  <a:gd name="connsiteX7" fmla="*/ 893618 w 1198756"/>
                  <a:gd name="connsiteY7" fmla="*/ 644236 h 2024553"/>
                  <a:gd name="connsiteX8" fmla="*/ 498764 w 1198756"/>
                  <a:gd name="connsiteY8" fmla="*/ 0 h 2024553"/>
                  <a:gd name="connsiteX0" fmla="*/ 498764 w 1198756"/>
                  <a:gd name="connsiteY0" fmla="*/ 0 h 1856931"/>
                  <a:gd name="connsiteX1" fmla="*/ 0 w 1198756"/>
                  <a:gd name="connsiteY1" fmla="*/ 41564 h 1856931"/>
                  <a:gd name="connsiteX2" fmla="*/ 400373 w 1198756"/>
                  <a:gd name="connsiteY2" fmla="*/ 946101 h 1856931"/>
                  <a:gd name="connsiteX3" fmla="*/ 363741 w 1198756"/>
                  <a:gd name="connsiteY3" fmla="*/ 1138772 h 1856931"/>
                  <a:gd name="connsiteX4" fmla="*/ 64394 w 1198756"/>
                  <a:gd name="connsiteY4" fmla="*/ 1215912 h 1856931"/>
                  <a:gd name="connsiteX5" fmla="*/ 266958 w 1198756"/>
                  <a:gd name="connsiteY5" fmla="*/ 1493815 h 1856931"/>
                  <a:gd name="connsiteX6" fmla="*/ 1084634 w 1198756"/>
                  <a:gd name="connsiteY6" fmla="*/ 1465339 h 1856931"/>
                  <a:gd name="connsiteX7" fmla="*/ 893618 w 1198756"/>
                  <a:gd name="connsiteY7" fmla="*/ 644236 h 1856931"/>
                  <a:gd name="connsiteX8" fmla="*/ 498764 w 1198756"/>
                  <a:gd name="connsiteY8" fmla="*/ 0 h 1856931"/>
                  <a:gd name="connsiteX0" fmla="*/ 498764 w 1198756"/>
                  <a:gd name="connsiteY0" fmla="*/ 0 h 1856931"/>
                  <a:gd name="connsiteX1" fmla="*/ 0 w 1198756"/>
                  <a:gd name="connsiteY1" fmla="*/ 41564 h 1856931"/>
                  <a:gd name="connsiteX2" fmla="*/ 400373 w 1198756"/>
                  <a:gd name="connsiteY2" fmla="*/ 946101 h 1856931"/>
                  <a:gd name="connsiteX3" fmla="*/ 363741 w 1198756"/>
                  <a:gd name="connsiteY3" fmla="*/ 1138772 h 1856931"/>
                  <a:gd name="connsiteX4" fmla="*/ 64394 w 1198756"/>
                  <a:gd name="connsiteY4" fmla="*/ 1215912 h 1856931"/>
                  <a:gd name="connsiteX5" fmla="*/ 266958 w 1198756"/>
                  <a:gd name="connsiteY5" fmla="*/ 1493815 h 1856931"/>
                  <a:gd name="connsiteX6" fmla="*/ 1084634 w 1198756"/>
                  <a:gd name="connsiteY6" fmla="*/ 1465339 h 1856931"/>
                  <a:gd name="connsiteX7" fmla="*/ 893618 w 1198756"/>
                  <a:gd name="connsiteY7" fmla="*/ 644236 h 1856931"/>
                  <a:gd name="connsiteX8" fmla="*/ 498764 w 1198756"/>
                  <a:gd name="connsiteY8" fmla="*/ 0 h 1856931"/>
                  <a:gd name="connsiteX0" fmla="*/ 498764 w 1198756"/>
                  <a:gd name="connsiteY0" fmla="*/ 0 h 1783974"/>
                  <a:gd name="connsiteX1" fmla="*/ 0 w 1198756"/>
                  <a:gd name="connsiteY1" fmla="*/ 41564 h 1783974"/>
                  <a:gd name="connsiteX2" fmla="*/ 400373 w 1198756"/>
                  <a:gd name="connsiteY2" fmla="*/ 946101 h 1783974"/>
                  <a:gd name="connsiteX3" fmla="*/ 363741 w 1198756"/>
                  <a:gd name="connsiteY3" fmla="*/ 1138772 h 1783974"/>
                  <a:gd name="connsiteX4" fmla="*/ 64394 w 1198756"/>
                  <a:gd name="connsiteY4" fmla="*/ 1215912 h 1783974"/>
                  <a:gd name="connsiteX5" fmla="*/ 266958 w 1198756"/>
                  <a:gd name="connsiteY5" fmla="*/ 1493815 h 1783974"/>
                  <a:gd name="connsiteX6" fmla="*/ 1084634 w 1198756"/>
                  <a:gd name="connsiteY6" fmla="*/ 1465339 h 1783974"/>
                  <a:gd name="connsiteX7" fmla="*/ 893618 w 1198756"/>
                  <a:gd name="connsiteY7" fmla="*/ 644236 h 1783974"/>
                  <a:gd name="connsiteX8" fmla="*/ 498764 w 1198756"/>
                  <a:gd name="connsiteY8" fmla="*/ 0 h 1783974"/>
                  <a:gd name="connsiteX0" fmla="*/ 498764 w 1198756"/>
                  <a:gd name="connsiteY0" fmla="*/ 0 h 1783974"/>
                  <a:gd name="connsiteX1" fmla="*/ 0 w 1198756"/>
                  <a:gd name="connsiteY1" fmla="*/ 41564 h 1783974"/>
                  <a:gd name="connsiteX2" fmla="*/ 400373 w 1198756"/>
                  <a:gd name="connsiteY2" fmla="*/ 946101 h 1783974"/>
                  <a:gd name="connsiteX3" fmla="*/ 363741 w 1198756"/>
                  <a:gd name="connsiteY3" fmla="*/ 1138772 h 1783974"/>
                  <a:gd name="connsiteX4" fmla="*/ 64394 w 1198756"/>
                  <a:gd name="connsiteY4" fmla="*/ 1215912 h 1783974"/>
                  <a:gd name="connsiteX5" fmla="*/ 266958 w 1198756"/>
                  <a:gd name="connsiteY5" fmla="*/ 1493815 h 1783974"/>
                  <a:gd name="connsiteX6" fmla="*/ 1084634 w 1198756"/>
                  <a:gd name="connsiteY6" fmla="*/ 1465339 h 1783974"/>
                  <a:gd name="connsiteX7" fmla="*/ 893618 w 1198756"/>
                  <a:gd name="connsiteY7" fmla="*/ 644236 h 1783974"/>
                  <a:gd name="connsiteX8" fmla="*/ 498764 w 1198756"/>
                  <a:gd name="connsiteY8" fmla="*/ 0 h 1783974"/>
                  <a:gd name="connsiteX0" fmla="*/ 498764 w 1198756"/>
                  <a:gd name="connsiteY0" fmla="*/ 0 h 1783974"/>
                  <a:gd name="connsiteX1" fmla="*/ 0 w 1198756"/>
                  <a:gd name="connsiteY1" fmla="*/ 41564 h 1783974"/>
                  <a:gd name="connsiteX2" fmla="*/ 400373 w 1198756"/>
                  <a:gd name="connsiteY2" fmla="*/ 946101 h 1783974"/>
                  <a:gd name="connsiteX3" fmla="*/ 363741 w 1198756"/>
                  <a:gd name="connsiteY3" fmla="*/ 1138772 h 1783974"/>
                  <a:gd name="connsiteX4" fmla="*/ 64394 w 1198756"/>
                  <a:gd name="connsiteY4" fmla="*/ 1215912 h 1783974"/>
                  <a:gd name="connsiteX5" fmla="*/ 266958 w 1198756"/>
                  <a:gd name="connsiteY5" fmla="*/ 1493815 h 1783974"/>
                  <a:gd name="connsiteX6" fmla="*/ 1084634 w 1198756"/>
                  <a:gd name="connsiteY6" fmla="*/ 1465339 h 1783974"/>
                  <a:gd name="connsiteX7" fmla="*/ 893618 w 1198756"/>
                  <a:gd name="connsiteY7" fmla="*/ 644236 h 1783974"/>
                  <a:gd name="connsiteX8" fmla="*/ 498764 w 1198756"/>
                  <a:gd name="connsiteY8" fmla="*/ 0 h 1783974"/>
                  <a:gd name="connsiteX0" fmla="*/ 498764 w 1198756"/>
                  <a:gd name="connsiteY0" fmla="*/ 0 h 1783974"/>
                  <a:gd name="connsiteX1" fmla="*/ 0 w 1198756"/>
                  <a:gd name="connsiteY1" fmla="*/ 41564 h 1783974"/>
                  <a:gd name="connsiteX2" fmla="*/ 400373 w 1198756"/>
                  <a:gd name="connsiteY2" fmla="*/ 946101 h 1783974"/>
                  <a:gd name="connsiteX3" fmla="*/ 363741 w 1198756"/>
                  <a:gd name="connsiteY3" fmla="*/ 1138772 h 1783974"/>
                  <a:gd name="connsiteX4" fmla="*/ 64394 w 1198756"/>
                  <a:gd name="connsiteY4" fmla="*/ 1215912 h 1783974"/>
                  <a:gd name="connsiteX5" fmla="*/ 266958 w 1198756"/>
                  <a:gd name="connsiteY5" fmla="*/ 1493815 h 1783974"/>
                  <a:gd name="connsiteX6" fmla="*/ 1084634 w 1198756"/>
                  <a:gd name="connsiteY6" fmla="*/ 1465339 h 1783974"/>
                  <a:gd name="connsiteX7" fmla="*/ 893618 w 1198756"/>
                  <a:gd name="connsiteY7" fmla="*/ 644236 h 1783974"/>
                  <a:gd name="connsiteX8" fmla="*/ 498764 w 1198756"/>
                  <a:gd name="connsiteY8" fmla="*/ 0 h 1783974"/>
                  <a:gd name="connsiteX0" fmla="*/ 498764 w 1198756"/>
                  <a:gd name="connsiteY0" fmla="*/ 0 h 1764519"/>
                  <a:gd name="connsiteX1" fmla="*/ 0 w 1198756"/>
                  <a:gd name="connsiteY1" fmla="*/ 41564 h 1764519"/>
                  <a:gd name="connsiteX2" fmla="*/ 400373 w 1198756"/>
                  <a:gd name="connsiteY2" fmla="*/ 946101 h 1764519"/>
                  <a:gd name="connsiteX3" fmla="*/ 363741 w 1198756"/>
                  <a:gd name="connsiteY3" fmla="*/ 1138772 h 1764519"/>
                  <a:gd name="connsiteX4" fmla="*/ 64394 w 1198756"/>
                  <a:gd name="connsiteY4" fmla="*/ 1215912 h 1764519"/>
                  <a:gd name="connsiteX5" fmla="*/ 266958 w 1198756"/>
                  <a:gd name="connsiteY5" fmla="*/ 1493815 h 1764519"/>
                  <a:gd name="connsiteX6" fmla="*/ 1084634 w 1198756"/>
                  <a:gd name="connsiteY6" fmla="*/ 1465339 h 1764519"/>
                  <a:gd name="connsiteX7" fmla="*/ 893618 w 1198756"/>
                  <a:gd name="connsiteY7" fmla="*/ 644236 h 1764519"/>
                  <a:gd name="connsiteX8" fmla="*/ 498764 w 1198756"/>
                  <a:gd name="connsiteY8" fmla="*/ 0 h 1764519"/>
                  <a:gd name="connsiteX0" fmla="*/ 498764 w 1198756"/>
                  <a:gd name="connsiteY0" fmla="*/ 0 h 1759655"/>
                  <a:gd name="connsiteX1" fmla="*/ 0 w 1198756"/>
                  <a:gd name="connsiteY1" fmla="*/ 41564 h 1759655"/>
                  <a:gd name="connsiteX2" fmla="*/ 400373 w 1198756"/>
                  <a:gd name="connsiteY2" fmla="*/ 946101 h 1759655"/>
                  <a:gd name="connsiteX3" fmla="*/ 363741 w 1198756"/>
                  <a:gd name="connsiteY3" fmla="*/ 1138772 h 1759655"/>
                  <a:gd name="connsiteX4" fmla="*/ 64394 w 1198756"/>
                  <a:gd name="connsiteY4" fmla="*/ 1215912 h 1759655"/>
                  <a:gd name="connsiteX5" fmla="*/ 266958 w 1198756"/>
                  <a:gd name="connsiteY5" fmla="*/ 1493815 h 1759655"/>
                  <a:gd name="connsiteX6" fmla="*/ 1084634 w 1198756"/>
                  <a:gd name="connsiteY6" fmla="*/ 1465339 h 1759655"/>
                  <a:gd name="connsiteX7" fmla="*/ 893618 w 1198756"/>
                  <a:gd name="connsiteY7" fmla="*/ 644236 h 1759655"/>
                  <a:gd name="connsiteX8" fmla="*/ 498764 w 1198756"/>
                  <a:gd name="connsiteY8" fmla="*/ 0 h 1759655"/>
                  <a:gd name="connsiteX0" fmla="*/ 498764 w 1084634"/>
                  <a:gd name="connsiteY0" fmla="*/ 0 h 1759655"/>
                  <a:gd name="connsiteX1" fmla="*/ 0 w 1084634"/>
                  <a:gd name="connsiteY1" fmla="*/ 41564 h 1759655"/>
                  <a:gd name="connsiteX2" fmla="*/ 400373 w 1084634"/>
                  <a:gd name="connsiteY2" fmla="*/ 946101 h 1759655"/>
                  <a:gd name="connsiteX3" fmla="*/ 363741 w 1084634"/>
                  <a:gd name="connsiteY3" fmla="*/ 1138772 h 1759655"/>
                  <a:gd name="connsiteX4" fmla="*/ 64394 w 1084634"/>
                  <a:gd name="connsiteY4" fmla="*/ 1215912 h 1759655"/>
                  <a:gd name="connsiteX5" fmla="*/ 266958 w 1084634"/>
                  <a:gd name="connsiteY5" fmla="*/ 1493815 h 1759655"/>
                  <a:gd name="connsiteX6" fmla="*/ 1084634 w 1084634"/>
                  <a:gd name="connsiteY6" fmla="*/ 1465339 h 1759655"/>
                  <a:gd name="connsiteX7" fmla="*/ 893618 w 1084634"/>
                  <a:gd name="connsiteY7" fmla="*/ 644236 h 1759655"/>
                  <a:gd name="connsiteX8" fmla="*/ 498764 w 1084634"/>
                  <a:gd name="connsiteY8" fmla="*/ 0 h 1759655"/>
                  <a:gd name="connsiteX0" fmla="*/ 498764 w 1079770"/>
                  <a:gd name="connsiteY0" fmla="*/ 0 h 1759655"/>
                  <a:gd name="connsiteX1" fmla="*/ 0 w 1079770"/>
                  <a:gd name="connsiteY1" fmla="*/ 41564 h 1759655"/>
                  <a:gd name="connsiteX2" fmla="*/ 400373 w 1079770"/>
                  <a:gd name="connsiteY2" fmla="*/ 946101 h 1759655"/>
                  <a:gd name="connsiteX3" fmla="*/ 363741 w 1079770"/>
                  <a:gd name="connsiteY3" fmla="*/ 1138772 h 1759655"/>
                  <a:gd name="connsiteX4" fmla="*/ 64394 w 1079770"/>
                  <a:gd name="connsiteY4" fmla="*/ 1215912 h 1759655"/>
                  <a:gd name="connsiteX5" fmla="*/ 266958 w 1079770"/>
                  <a:gd name="connsiteY5" fmla="*/ 1493815 h 1759655"/>
                  <a:gd name="connsiteX6" fmla="*/ 1079770 w 1079770"/>
                  <a:gd name="connsiteY6" fmla="*/ 1450747 h 1759655"/>
                  <a:gd name="connsiteX7" fmla="*/ 893618 w 1079770"/>
                  <a:gd name="connsiteY7" fmla="*/ 644236 h 1759655"/>
                  <a:gd name="connsiteX8" fmla="*/ 498764 w 1079770"/>
                  <a:gd name="connsiteY8" fmla="*/ 0 h 1759655"/>
                  <a:gd name="connsiteX0" fmla="*/ 498764 w 1079770"/>
                  <a:gd name="connsiteY0" fmla="*/ 0 h 1759655"/>
                  <a:gd name="connsiteX1" fmla="*/ 0 w 1079770"/>
                  <a:gd name="connsiteY1" fmla="*/ 41564 h 1759655"/>
                  <a:gd name="connsiteX2" fmla="*/ 400373 w 1079770"/>
                  <a:gd name="connsiteY2" fmla="*/ 946101 h 1759655"/>
                  <a:gd name="connsiteX3" fmla="*/ 363741 w 1079770"/>
                  <a:gd name="connsiteY3" fmla="*/ 1138772 h 1759655"/>
                  <a:gd name="connsiteX4" fmla="*/ 64394 w 1079770"/>
                  <a:gd name="connsiteY4" fmla="*/ 1215912 h 1759655"/>
                  <a:gd name="connsiteX5" fmla="*/ 266958 w 1079770"/>
                  <a:gd name="connsiteY5" fmla="*/ 1493815 h 1759655"/>
                  <a:gd name="connsiteX6" fmla="*/ 1079770 w 1079770"/>
                  <a:gd name="connsiteY6" fmla="*/ 1450747 h 1759655"/>
                  <a:gd name="connsiteX7" fmla="*/ 893618 w 1079770"/>
                  <a:gd name="connsiteY7" fmla="*/ 644236 h 1759655"/>
                  <a:gd name="connsiteX8" fmla="*/ 498764 w 1079770"/>
                  <a:gd name="connsiteY8" fmla="*/ 0 h 1759655"/>
                  <a:gd name="connsiteX0" fmla="*/ 498764 w 1079770"/>
                  <a:gd name="connsiteY0" fmla="*/ 0 h 1759655"/>
                  <a:gd name="connsiteX1" fmla="*/ 0 w 1079770"/>
                  <a:gd name="connsiteY1" fmla="*/ 41564 h 1759655"/>
                  <a:gd name="connsiteX2" fmla="*/ 400373 w 1079770"/>
                  <a:gd name="connsiteY2" fmla="*/ 946101 h 1759655"/>
                  <a:gd name="connsiteX3" fmla="*/ 363741 w 1079770"/>
                  <a:gd name="connsiteY3" fmla="*/ 1138772 h 1759655"/>
                  <a:gd name="connsiteX4" fmla="*/ 64394 w 1079770"/>
                  <a:gd name="connsiteY4" fmla="*/ 1215912 h 1759655"/>
                  <a:gd name="connsiteX5" fmla="*/ 266958 w 1079770"/>
                  <a:gd name="connsiteY5" fmla="*/ 1493815 h 1759655"/>
                  <a:gd name="connsiteX6" fmla="*/ 1079770 w 1079770"/>
                  <a:gd name="connsiteY6" fmla="*/ 1450747 h 1759655"/>
                  <a:gd name="connsiteX7" fmla="*/ 893618 w 1079770"/>
                  <a:gd name="connsiteY7" fmla="*/ 644236 h 1759655"/>
                  <a:gd name="connsiteX8" fmla="*/ 498764 w 1079770"/>
                  <a:gd name="connsiteY8" fmla="*/ 0 h 1759655"/>
                  <a:gd name="connsiteX0" fmla="*/ 498764 w 1079770"/>
                  <a:gd name="connsiteY0" fmla="*/ 0 h 1759655"/>
                  <a:gd name="connsiteX1" fmla="*/ 0 w 1079770"/>
                  <a:gd name="connsiteY1" fmla="*/ 41564 h 1759655"/>
                  <a:gd name="connsiteX2" fmla="*/ 400373 w 1079770"/>
                  <a:gd name="connsiteY2" fmla="*/ 946101 h 1759655"/>
                  <a:gd name="connsiteX3" fmla="*/ 363741 w 1079770"/>
                  <a:gd name="connsiteY3" fmla="*/ 1138772 h 1759655"/>
                  <a:gd name="connsiteX4" fmla="*/ 64394 w 1079770"/>
                  <a:gd name="connsiteY4" fmla="*/ 1215912 h 1759655"/>
                  <a:gd name="connsiteX5" fmla="*/ 266958 w 1079770"/>
                  <a:gd name="connsiteY5" fmla="*/ 1493815 h 1759655"/>
                  <a:gd name="connsiteX6" fmla="*/ 1079770 w 1079770"/>
                  <a:gd name="connsiteY6" fmla="*/ 1450747 h 1759655"/>
                  <a:gd name="connsiteX7" fmla="*/ 893618 w 1079770"/>
                  <a:gd name="connsiteY7" fmla="*/ 644236 h 1759655"/>
                  <a:gd name="connsiteX8" fmla="*/ 498764 w 1079770"/>
                  <a:gd name="connsiteY8" fmla="*/ 0 h 1759655"/>
                  <a:gd name="connsiteX0" fmla="*/ 498764 w 1079770"/>
                  <a:gd name="connsiteY0" fmla="*/ 0 h 1759655"/>
                  <a:gd name="connsiteX1" fmla="*/ 0 w 1079770"/>
                  <a:gd name="connsiteY1" fmla="*/ 41564 h 1759655"/>
                  <a:gd name="connsiteX2" fmla="*/ 400373 w 1079770"/>
                  <a:gd name="connsiteY2" fmla="*/ 946101 h 1759655"/>
                  <a:gd name="connsiteX3" fmla="*/ 363741 w 1079770"/>
                  <a:gd name="connsiteY3" fmla="*/ 1138772 h 1759655"/>
                  <a:gd name="connsiteX4" fmla="*/ 64394 w 1079770"/>
                  <a:gd name="connsiteY4" fmla="*/ 1215912 h 1759655"/>
                  <a:gd name="connsiteX5" fmla="*/ 266958 w 1079770"/>
                  <a:gd name="connsiteY5" fmla="*/ 1493815 h 1759655"/>
                  <a:gd name="connsiteX6" fmla="*/ 1079770 w 1079770"/>
                  <a:gd name="connsiteY6" fmla="*/ 1450747 h 1759655"/>
                  <a:gd name="connsiteX7" fmla="*/ 893618 w 1079770"/>
                  <a:gd name="connsiteY7" fmla="*/ 644236 h 1759655"/>
                  <a:gd name="connsiteX8" fmla="*/ 498764 w 1079770"/>
                  <a:gd name="connsiteY8" fmla="*/ 0 h 1759655"/>
                  <a:gd name="connsiteX0" fmla="*/ 498764 w 1079770"/>
                  <a:gd name="connsiteY0" fmla="*/ 0 h 1759655"/>
                  <a:gd name="connsiteX1" fmla="*/ 0 w 1079770"/>
                  <a:gd name="connsiteY1" fmla="*/ 41564 h 1759655"/>
                  <a:gd name="connsiteX2" fmla="*/ 35373 w 1079770"/>
                  <a:gd name="connsiteY2" fmla="*/ 99047 h 1759655"/>
                  <a:gd name="connsiteX3" fmla="*/ 400373 w 1079770"/>
                  <a:gd name="connsiteY3" fmla="*/ 946101 h 1759655"/>
                  <a:gd name="connsiteX4" fmla="*/ 363741 w 1079770"/>
                  <a:gd name="connsiteY4" fmla="*/ 1138772 h 1759655"/>
                  <a:gd name="connsiteX5" fmla="*/ 64394 w 1079770"/>
                  <a:gd name="connsiteY5" fmla="*/ 1215912 h 1759655"/>
                  <a:gd name="connsiteX6" fmla="*/ 266958 w 1079770"/>
                  <a:gd name="connsiteY6" fmla="*/ 1493815 h 1759655"/>
                  <a:gd name="connsiteX7" fmla="*/ 1079770 w 1079770"/>
                  <a:gd name="connsiteY7" fmla="*/ 1450747 h 1759655"/>
                  <a:gd name="connsiteX8" fmla="*/ 893618 w 1079770"/>
                  <a:gd name="connsiteY8" fmla="*/ 644236 h 1759655"/>
                  <a:gd name="connsiteX9" fmla="*/ 498764 w 1079770"/>
                  <a:gd name="connsiteY9" fmla="*/ 0 h 1759655"/>
                  <a:gd name="connsiteX0" fmla="*/ 537675 w 1118681"/>
                  <a:gd name="connsiteY0" fmla="*/ 0 h 1759655"/>
                  <a:gd name="connsiteX1" fmla="*/ 0 w 1118681"/>
                  <a:gd name="connsiteY1" fmla="*/ 90203 h 1759655"/>
                  <a:gd name="connsiteX2" fmla="*/ 74284 w 1118681"/>
                  <a:gd name="connsiteY2" fmla="*/ 99047 h 1759655"/>
                  <a:gd name="connsiteX3" fmla="*/ 439284 w 1118681"/>
                  <a:gd name="connsiteY3" fmla="*/ 946101 h 1759655"/>
                  <a:gd name="connsiteX4" fmla="*/ 402652 w 1118681"/>
                  <a:gd name="connsiteY4" fmla="*/ 1138772 h 1759655"/>
                  <a:gd name="connsiteX5" fmla="*/ 103305 w 1118681"/>
                  <a:gd name="connsiteY5" fmla="*/ 1215912 h 1759655"/>
                  <a:gd name="connsiteX6" fmla="*/ 305869 w 1118681"/>
                  <a:gd name="connsiteY6" fmla="*/ 1493815 h 1759655"/>
                  <a:gd name="connsiteX7" fmla="*/ 1118681 w 1118681"/>
                  <a:gd name="connsiteY7" fmla="*/ 1450747 h 1759655"/>
                  <a:gd name="connsiteX8" fmla="*/ 932529 w 1118681"/>
                  <a:gd name="connsiteY8" fmla="*/ 644236 h 1759655"/>
                  <a:gd name="connsiteX9" fmla="*/ 537675 w 1118681"/>
                  <a:gd name="connsiteY9" fmla="*/ 0 h 1759655"/>
                  <a:gd name="connsiteX0" fmla="*/ 537675 w 1118681"/>
                  <a:gd name="connsiteY0" fmla="*/ 31562 h 1791217"/>
                  <a:gd name="connsiteX1" fmla="*/ 0 w 1118681"/>
                  <a:gd name="connsiteY1" fmla="*/ 121765 h 1791217"/>
                  <a:gd name="connsiteX2" fmla="*/ 74284 w 1118681"/>
                  <a:gd name="connsiteY2" fmla="*/ 130609 h 1791217"/>
                  <a:gd name="connsiteX3" fmla="*/ 439284 w 1118681"/>
                  <a:gd name="connsiteY3" fmla="*/ 977663 h 1791217"/>
                  <a:gd name="connsiteX4" fmla="*/ 402652 w 1118681"/>
                  <a:gd name="connsiteY4" fmla="*/ 1170334 h 1791217"/>
                  <a:gd name="connsiteX5" fmla="*/ 103305 w 1118681"/>
                  <a:gd name="connsiteY5" fmla="*/ 1247474 h 1791217"/>
                  <a:gd name="connsiteX6" fmla="*/ 305869 w 1118681"/>
                  <a:gd name="connsiteY6" fmla="*/ 1525377 h 1791217"/>
                  <a:gd name="connsiteX7" fmla="*/ 1118681 w 1118681"/>
                  <a:gd name="connsiteY7" fmla="*/ 1482309 h 1791217"/>
                  <a:gd name="connsiteX8" fmla="*/ 932529 w 1118681"/>
                  <a:gd name="connsiteY8" fmla="*/ 675798 h 1791217"/>
                  <a:gd name="connsiteX9" fmla="*/ 537675 w 1118681"/>
                  <a:gd name="connsiteY9" fmla="*/ 31562 h 1791217"/>
                  <a:gd name="connsiteX0" fmla="*/ 537675 w 1118681"/>
                  <a:gd name="connsiteY0" fmla="*/ 31562 h 1791217"/>
                  <a:gd name="connsiteX1" fmla="*/ 0 w 1118681"/>
                  <a:gd name="connsiteY1" fmla="*/ 121765 h 1791217"/>
                  <a:gd name="connsiteX2" fmla="*/ 74284 w 1118681"/>
                  <a:gd name="connsiteY2" fmla="*/ 130609 h 1791217"/>
                  <a:gd name="connsiteX3" fmla="*/ 439284 w 1118681"/>
                  <a:gd name="connsiteY3" fmla="*/ 977663 h 1791217"/>
                  <a:gd name="connsiteX4" fmla="*/ 402652 w 1118681"/>
                  <a:gd name="connsiteY4" fmla="*/ 1170334 h 1791217"/>
                  <a:gd name="connsiteX5" fmla="*/ 103305 w 1118681"/>
                  <a:gd name="connsiteY5" fmla="*/ 1247474 h 1791217"/>
                  <a:gd name="connsiteX6" fmla="*/ 305869 w 1118681"/>
                  <a:gd name="connsiteY6" fmla="*/ 1525377 h 1791217"/>
                  <a:gd name="connsiteX7" fmla="*/ 1118681 w 1118681"/>
                  <a:gd name="connsiteY7" fmla="*/ 1482309 h 1791217"/>
                  <a:gd name="connsiteX8" fmla="*/ 932529 w 1118681"/>
                  <a:gd name="connsiteY8" fmla="*/ 675798 h 1791217"/>
                  <a:gd name="connsiteX9" fmla="*/ 537675 w 1118681"/>
                  <a:gd name="connsiteY9" fmla="*/ 31562 h 1791217"/>
                  <a:gd name="connsiteX0" fmla="*/ 537675 w 1118681"/>
                  <a:gd name="connsiteY0" fmla="*/ 16971 h 1776626"/>
                  <a:gd name="connsiteX1" fmla="*/ 0 w 1118681"/>
                  <a:gd name="connsiteY1" fmla="*/ 121765 h 1776626"/>
                  <a:gd name="connsiteX2" fmla="*/ 74284 w 1118681"/>
                  <a:gd name="connsiteY2" fmla="*/ 116018 h 1776626"/>
                  <a:gd name="connsiteX3" fmla="*/ 439284 w 1118681"/>
                  <a:gd name="connsiteY3" fmla="*/ 963072 h 1776626"/>
                  <a:gd name="connsiteX4" fmla="*/ 402652 w 1118681"/>
                  <a:gd name="connsiteY4" fmla="*/ 1155743 h 1776626"/>
                  <a:gd name="connsiteX5" fmla="*/ 103305 w 1118681"/>
                  <a:gd name="connsiteY5" fmla="*/ 1232883 h 1776626"/>
                  <a:gd name="connsiteX6" fmla="*/ 305869 w 1118681"/>
                  <a:gd name="connsiteY6" fmla="*/ 1510786 h 1776626"/>
                  <a:gd name="connsiteX7" fmla="*/ 1118681 w 1118681"/>
                  <a:gd name="connsiteY7" fmla="*/ 1467718 h 1776626"/>
                  <a:gd name="connsiteX8" fmla="*/ 932529 w 1118681"/>
                  <a:gd name="connsiteY8" fmla="*/ 661207 h 1776626"/>
                  <a:gd name="connsiteX9" fmla="*/ 537675 w 1118681"/>
                  <a:gd name="connsiteY9" fmla="*/ 16971 h 1776626"/>
                  <a:gd name="connsiteX0" fmla="*/ 537675 w 1118681"/>
                  <a:gd name="connsiteY0" fmla="*/ 16971 h 1776626"/>
                  <a:gd name="connsiteX1" fmla="*/ 0 w 1118681"/>
                  <a:gd name="connsiteY1" fmla="*/ 121765 h 1776626"/>
                  <a:gd name="connsiteX2" fmla="*/ 74284 w 1118681"/>
                  <a:gd name="connsiteY2" fmla="*/ 116018 h 1776626"/>
                  <a:gd name="connsiteX3" fmla="*/ 439284 w 1118681"/>
                  <a:gd name="connsiteY3" fmla="*/ 963072 h 1776626"/>
                  <a:gd name="connsiteX4" fmla="*/ 402652 w 1118681"/>
                  <a:gd name="connsiteY4" fmla="*/ 1155743 h 1776626"/>
                  <a:gd name="connsiteX5" fmla="*/ 103305 w 1118681"/>
                  <a:gd name="connsiteY5" fmla="*/ 1232883 h 1776626"/>
                  <a:gd name="connsiteX6" fmla="*/ 305869 w 1118681"/>
                  <a:gd name="connsiteY6" fmla="*/ 1510786 h 1776626"/>
                  <a:gd name="connsiteX7" fmla="*/ 1118681 w 1118681"/>
                  <a:gd name="connsiteY7" fmla="*/ 1467718 h 1776626"/>
                  <a:gd name="connsiteX8" fmla="*/ 932529 w 1118681"/>
                  <a:gd name="connsiteY8" fmla="*/ 661207 h 1776626"/>
                  <a:gd name="connsiteX9" fmla="*/ 537675 w 1118681"/>
                  <a:gd name="connsiteY9" fmla="*/ 16971 h 1776626"/>
                  <a:gd name="connsiteX0" fmla="*/ 537675 w 1118681"/>
                  <a:gd name="connsiteY0" fmla="*/ 16971 h 1776626"/>
                  <a:gd name="connsiteX1" fmla="*/ 0 w 1118681"/>
                  <a:gd name="connsiteY1" fmla="*/ 121765 h 1776626"/>
                  <a:gd name="connsiteX2" fmla="*/ 74284 w 1118681"/>
                  <a:gd name="connsiteY2" fmla="*/ 116018 h 1776626"/>
                  <a:gd name="connsiteX3" fmla="*/ 439284 w 1118681"/>
                  <a:gd name="connsiteY3" fmla="*/ 963072 h 1776626"/>
                  <a:gd name="connsiteX4" fmla="*/ 402652 w 1118681"/>
                  <a:gd name="connsiteY4" fmla="*/ 1155743 h 1776626"/>
                  <a:gd name="connsiteX5" fmla="*/ 103305 w 1118681"/>
                  <a:gd name="connsiteY5" fmla="*/ 1232883 h 1776626"/>
                  <a:gd name="connsiteX6" fmla="*/ 305869 w 1118681"/>
                  <a:gd name="connsiteY6" fmla="*/ 1510786 h 1776626"/>
                  <a:gd name="connsiteX7" fmla="*/ 1118681 w 1118681"/>
                  <a:gd name="connsiteY7" fmla="*/ 1467718 h 1776626"/>
                  <a:gd name="connsiteX8" fmla="*/ 932529 w 1118681"/>
                  <a:gd name="connsiteY8" fmla="*/ 661207 h 1776626"/>
                  <a:gd name="connsiteX9" fmla="*/ 537675 w 1118681"/>
                  <a:gd name="connsiteY9" fmla="*/ 16971 h 1776626"/>
                  <a:gd name="connsiteX0" fmla="*/ 547403 w 1128409"/>
                  <a:gd name="connsiteY0" fmla="*/ 31563 h 1791218"/>
                  <a:gd name="connsiteX1" fmla="*/ 0 w 1128409"/>
                  <a:gd name="connsiteY1" fmla="*/ 121765 h 1791218"/>
                  <a:gd name="connsiteX2" fmla="*/ 84012 w 1128409"/>
                  <a:gd name="connsiteY2" fmla="*/ 130610 h 1791218"/>
                  <a:gd name="connsiteX3" fmla="*/ 449012 w 1128409"/>
                  <a:gd name="connsiteY3" fmla="*/ 977664 h 1791218"/>
                  <a:gd name="connsiteX4" fmla="*/ 412380 w 1128409"/>
                  <a:gd name="connsiteY4" fmla="*/ 1170335 h 1791218"/>
                  <a:gd name="connsiteX5" fmla="*/ 113033 w 1128409"/>
                  <a:gd name="connsiteY5" fmla="*/ 1247475 h 1791218"/>
                  <a:gd name="connsiteX6" fmla="*/ 315597 w 1128409"/>
                  <a:gd name="connsiteY6" fmla="*/ 1525378 h 1791218"/>
                  <a:gd name="connsiteX7" fmla="*/ 1128409 w 1128409"/>
                  <a:gd name="connsiteY7" fmla="*/ 1482310 h 1791218"/>
                  <a:gd name="connsiteX8" fmla="*/ 942257 w 1128409"/>
                  <a:gd name="connsiteY8" fmla="*/ 675799 h 1791218"/>
                  <a:gd name="connsiteX9" fmla="*/ 547403 w 1128409"/>
                  <a:gd name="connsiteY9" fmla="*/ 31563 h 1791218"/>
                  <a:gd name="connsiteX0" fmla="*/ 547403 w 1128409"/>
                  <a:gd name="connsiteY0" fmla="*/ 31563 h 1791218"/>
                  <a:gd name="connsiteX1" fmla="*/ 0 w 1128409"/>
                  <a:gd name="connsiteY1" fmla="*/ 121765 h 1791218"/>
                  <a:gd name="connsiteX2" fmla="*/ 84012 w 1128409"/>
                  <a:gd name="connsiteY2" fmla="*/ 130610 h 1791218"/>
                  <a:gd name="connsiteX3" fmla="*/ 449012 w 1128409"/>
                  <a:gd name="connsiteY3" fmla="*/ 977664 h 1791218"/>
                  <a:gd name="connsiteX4" fmla="*/ 486052 w 1128409"/>
                  <a:gd name="connsiteY4" fmla="*/ 1153000 h 1791218"/>
                  <a:gd name="connsiteX5" fmla="*/ 113033 w 1128409"/>
                  <a:gd name="connsiteY5" fmla="*/ 1247475 h 1791218"/>
                  <a:gd name="connsiteX6" fmla="*/ 315597 w 1128409"/>
                  <a:gd name="connsiteY6" fmla="*/ 1525378 h 1791218"/>
                  <a:gd name="connsiteX7" fmla="*/ 1128409 w 1128409"/>
                  <a:gd name="connsiteY7" fmla="*/ 1482310 h 1791218"/>
                  <a:gd name="connsiteX8" fmla="*/ 942257 w 1128409"/>
                  <a:gd name="connsiteY8" fmla="*/ 675799 h 1791218"/>
                  <a:gd name="connsiteX9" fmla="*/ 547403 w 1128409"/>
                  <a:gd name="connsiteY9" fmla="*/ 31563 h 1791218"/>
                  <a:gd name="connsiteX0" fmla="*/ 547403 w 1128409"/>
                  <a:gd name="connsiteY0" fmla="*/ 31563 h 1791218"/>
                  <a:gd name="connsiteX1" fmla="*/ 0 w 1128409"/>
                  <a:gd name="connsiteY1" fmla="*/ 121765 h 1791218"/>
                  <a:gd name="connsiteX2" fmla="*/ 84012 w 1128409"/>
                  <a:gd name="connsiteY2" fmla="*/ 130610 h 1791218"/>
                  <a:gd name="connsiteX3" fmla="*/ 449012 w 1128409"/>
                  <a:gd name="connsiteY3" fmla="*/ 977664 h 1791218"/>
                  <a:gd name="connsiteX4" fmla="*/ 525055 w 1128409"/>
                  <a:gd name="connsiteY4" fmla="*/ 1144333 h 1791218"/>
                  <a:gd name="connsiteX5" fmla="*/ 113033 w 1128409"/>
                  <a:gd name="connsiteY5" fmla="*/ 1247475 h 1791218"/>
                  <a:gd name="connsiteX6" fmla="*/ 315597 w 1128409"/>
                  <a:gd name="connsiteY6" fmla="*/ 1525378 h 1791218"/>
                  <a:gd name="connsiteX7" fmla="*/ 1128409 w 1128409"/>
                  <a:gd name="connsiteY7" fmla="*/ 1482310 h 1791218"/>
                  <a:gd name="connsiteX8" fmla="*/ 942257 w 1128409"/>
                  <a:gd name="connsiteY8" fmla="*/ 675799 h 1791218"/>
                  <a:gd name="connsiteX9" fmla="*/ 547403 w 1128409"/>
                  <a:gd name="connsiteY9" fmla="*/ 31563 h 1791218"/>
                  <a:gd name="connsiteX0" fmla="*/ 547403 w 1128409"/>
                  <a:gd name="connsiteY0" fmla="*/ 31563 h 1791218"/>
                  <a:gd name="connsiteX1" fmla="*/ 0 w 1128409"/>
                  <a:gd name="connsiteY1" fmla="*/ 121765 h 1791218"/>
                  <a:gd name="connsiteX2" fmla="*/ 84012 w 1128409"/>
                  <a:gd name="connsiteY2" fmla="*/ 130610 h 1791218"/>
                  <a:gd name="connsiteX3" fmla="*/ 462013 w 1128409"/>
                  <a:gd name="connsiteY3" fmla="*/ 968997 h 1791218"/>
                  <a:gd name="connsiteX4" fmla="*/ 525055 w 1128409"/>
                  <a:gd name="connsiteY4" fmla="*/ 1144333 h 1791218"/>
                  <a:gd name="connsiteX5" fmla="*/ 113033 w 1128409"/>
                  <a:gd name="connsiteY5" fmla="*/ 1247475 h 1791218"/>
                  <a:gd name="connsiteX6" fmla="*/ 315597 w 1128409"/>
                  <a:gd name="connsiteY6" fmla="*/ 1525378 h 1791218"/>
                  <a:gd name="connsiteX7" fmla="*/ 1128409 w 1128409"/>
                  <a:gd name="connsiteY7" fmla="*/ 1482310 h 1791218"/>
                  <a:gd name="connsiteX8" fmla="*/ 942257 w 1128409"/>
                  <a:gd name="connsiteY8" fmla="*/ 675799 h 1791218"/>
                  <a:gd name="connsiteX9" fmla="*/ 547403 w 1128409"/>
                  <a:gd name="connsiteY9" fmla="*/ 31563 h 1791218"/>
                  <a:gd name="connsiteX0" fmla="*/ 547403 w 1128409"/>
                  <a:gd name="connsiteY0" fmla="*/ 31563 h 1791218"/>
                  <a:gd name="connsiteX1" fmla="*/ 0 w 1128409"/>
                  <a:gd name="connsiteY1" fmla="*/ 121765 h 1791218"/>
                  <a:gd name="connsiteX2" fmla="*/ 84012 w 1128409"/>
                  <a:gd name="connsiteY2" fmla="*/ 130610 h 1791218"/>
                  <a:gd name="connsiteX3" fmla="*/ 462013 w 1128409"/>
                  <a:gd name="connsiteY3" fmla="*/ 968997 h 1791218"/>
                  <a:gd name="connsiteX4" fmla="*/ 525055 w 1128409"/>
                  <a:gd name="connsiteY4" fmla="*/ 1144333 h 1791218"/>
                  <a:gd name="connsiteX5" fmla="*/ 113033 w 1128409"/>
                  <a:gd name="connsiteY5" fmla="*/ 1247475 h 1791218"/>
                  <a:gd name="connsiteX6" fmla="*/ 315597 w 1128409"/>
                  <a:gd name="connsiteY6" fmla="*/ 1525378 h 1791218"/>
                  <a:gd name="connsiteX7" fmla="*/ 1128409 w 1128409"/>
                  <a:gd name="connsiteY7" fmla="*/ 1482310 h 1791218"/>
                  <a:gd name="connsiteX8" fmla="*/ 942257 w 1128409"/>
                  <a:gd name="connsiteY8" fmla="*/ 675799 h 1791218"/>
                  <a:gd name="connsiteX9" fmla="*/ 547403 w 1128409"/>
                  <a:gd name="connsiteY9" fmla="*/ 31563 h 1791218"/>
                  <a:gd name="connsiteX0" fmla="*/ 547403 w 1128409"/>
                  <a:gd name="connsiteY0" fmla="*/ 31563 h 1791218"/>
                  <a:gd name="connsiteX1" fmla="*/ 0 w 1128409"/>
                  <a:gd name="connsiteY1" fmla="*/ 121765 h 1791218"/>
                  <a:gd name="connsiteX2" fmla="*/ 84012 w 1128409"/>
                  <a:gd name="connsiteY2" fmla="*/ 130610 h 1791218"/>
                  <a:gd name="connsiteX3" fmla="*/ 462013 w 1128409"/>
                  <a:gd name="connsiteY3" fmla="*/ 968997 h 1791218"/>
                  <a:gd name="connsiteX4" fmla="*/ 525055 w 1128409"/>
                  <a:gd name="connsiteY4" fmla="*/ 1144333 h 1791218"/>
                  <a:gd name="connsiteX5" fmla="*/ 113033 w 1128409"/>
                  <a:gd name="connsiteY5" fmla="*/ 1247475 h 1791218"/>
                  <a:gd name="connsiteX6" fmla="*/ 315597 w 1128409"/>
                  <a:gd name="connsiteY6" fmla="*/ 1525378 h 1791218"/>
                  <a:gd name="connsiteX7" fmla="*/ 1128409 w 1128409"/>
                  <a:gd name="connsiteY7" fmla="*/ 1482310 h 1791218"/>
                  <a:gd name="connsiteX8" fmla="*/ 942257 w 1128409"/>
                  <a:gd name="connsiteY8" fmla="*/ 675799 h 1791218"/>
                  <a:gd name="connsiteX9" fmla="*/ 547403 w 1128409"/>
                  <a:gd name="connsiteY9" fmla="*/ 31563 h 1791218"/>
                  <a:gd name="connsiteX0" fmla="*/ 547403 w 1128409"/>
                  <a:gd name="connsiteY0" fmla="*/ 31563 h 1791218"/>
                  <a:gd name="connsiteX1" fmla="*/ 0 w 1128409"/>
                  <a:gd name="connsiteY1" fmla="*/ 121765 h 1791218"/>
                  <a:gd name="connsiteX2" fmla="*/ 84012 w 1128409"/>
                  <a:gd name="connsiteY2" fmla="*/ 130610 h 1791218"/>
                  <a:gd name="connsiteX3" fmla="*/ 462013 w 1128409"/>
                  <a:gd name="connsiteY3" fmla="*/ 968997 h 1791218"/>
                  <a:gd name="connsiteX4" fmla="*/ 525055 w 1128409"/>
                  <a:gd name="connsiteY4" fmla="*/ 1144333 h 1791218"/>
                  <a:gd name="connsiteX5" fmla="*/ 113033 w 1128409"/>
                  <a:gd name="connsiteY5" fmla="*/ 1247475 h 1791218"/>
                  <a:gd name="connsiteX6" fmla="*/ 315597 w 1128409"/>
                  <a:gd name="connsiteY6" fmla="*/ 1525378 h 1791218"/>
                  <a:gd name="connsiteX7" fmla="*/ 1128409 w 1128409"/>
                  <a:gd name="connsiteY7" fmla="*/ 1482310 h 1791218"/>
                  <a:gd name="connsiteX8" fmla="*/ 942257 w 1128409"/>
                  <a:gd name="connsiteY8" fmla="*/ 675799 h 1791218"/>
                  <a:gd name="connsiteX9" fmla="*/ 547403 w 1128409"/>
                  <a:gd name="connsiteY9" fmla="*/ 31563 h 1791218"/>
                  <a:gd name="connsiteX0" fmla="*/ 547403 w 1128409"/>
                  <a:gd name="connsiteY0" fmla="*/ 31563 h 1791218"/>
                  <a:gd name="connsiteX1" fmla="*/ 0 w 1128409"/>
                  <a:gd name="connsiteY1" fmla="*/ 121765 h 1791218"/>
                  <a:gd name="connsiteX2" fmla="*/ 84012 w 1128409"/>
                  <a:gd name="connsiteY2" fmla="*/ 130610 h 1791218"/>
                  <a:gd name="connsiteX3" fmla="*/ 462013 w 1128409"/>
                  <a:gd name="connsiteY3" fmla="*/ 968997 h 1791218"/>
                  <a:gd name="connsiteX4" fmla="*/ 512054 w 1128409"/>
                  <a:gd name="connsiteY4" fmla="*/ 1144333 h 1791218"/>
                  <a:gd name="connsiteX5" fmla="*/ 113033 w 1128409"/>
                  <a:gd name="connsiteY5" fmla="*/ 1247475 h 1791218"/>
                  <a:gd name="connsiteX6" fmla="*/ 315597 w 1128409"/>
                  <a:gd name="connsiteY6" fmla="*/ 1525378 h 1791218"/>
                  <a:gd name="connsiteX7" fmla="*/ 1128409 w 1128409"/>
                  <a:gd name="connsiteY7" fmla="*/ 1482310 h 1791218"/>
                  <a:gd name="connsiteX8" fmla="*/ 942257 w 1128409"/>
                  <a:gd name="connsiteY8" fmla="*/ 675799 h 1791218"/>
                  <a:gd name="connsiteX9" fmla="*/ 547403 w 1128409"/>
                  <a:gd name="connsiteY9" fmla="*/ 31563 h 1791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8409" h="1791218">
                    <a:moveTo>
                      <a:pt x="547403" y="31563"/>
                    </a:moveTo>
                    <a:cubicBezTo>
                      <a:pt x="381148" y="45418"/>
                      <a:pt x="309" y="0"/>
                      <a:pt x="0" y="121765"/>
                    </a:cubicBezTo>
                    <a:cubicBezTo>
                      <a:pt x="39354" y="119849"/>
                      <a:pt x="44659" y="98479"/>
                      <a:pt x="84012" y="130610"/>
                    </a:cubicBezTo>
                    <a:lnTo>
                      <a:pt x="462013" y="968997"/>
                    </a:lnTo>
                    <a:cubicBezTo>
                      <a:pt x="498967" y="1051044"/>
                      <a:pt x="519932" y="1123446"/>
                      <a:pt x="512054" y="1144333"/>
                    </a:cubicBezTo>
                    <a:lnTo>
                      <a:pt x="113033" y="1247475"/>
                    </a:lnTo>
                    <a:cubicBezTo>
                      <a:pt x="215416" y="1455724"/>
                      <a:pt x="250943" y="1456998"/>
                      <a:pt x="315597" y="1525378"/>
                    </a:cubicBezTo>
                    <a:cubicBezTo>
                      <a:pt x="674526" y="1791218"/>
                      <a:pt x="680937" y="1564867"/>
                      <a:pt x="1128409" y="1482310"/>
                    </a:cubicBezTo>
                    <a:cubicBezTo>
                      <a:pt x="1082778" y="1090659"/>
                      <a:pt x="994476" y="786383"/>
                      <a:pt x="942257" y="675799"/>
                    </a:cubicBezTo>
                    <a:cubicBezTo>
                      <a:pt x="805775" y="339458"/>
                      <a:pt x="703341" y="217125"/>
                      <a:pt x="547403" y="3156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83" name="Freeform 294">
                <a:extLst>
                  <a:ext uri="{FF2B5EF4-FFF2-40B4-BE49-F238E27FC236}">
                    <a16:creationId xmlns:a16="http://schemas.microsoft.com/office/drawing/2014/main" id="{277278B9-970D-4941-AC66-3DE90B66FF1C}"/>
                  </a:ext>
                </a:extLst>
              </p:cNvPr>
              <p:cNvSpPr/>
              <p:nvPr/>
            </p:nvSpPr>
            <p:spPr>
              <a:xfrm rot="21114987" flipH="1">
                <a:off x="7157238" y="3074373"/>
                <a:ext cx="74987" cy="190247"/>
              </a:xfrm>
              <a:custGeom>
                <a:avLst/>
                <a:gdLst>
                  <a:gd name="connsiteX0" fmla="*/ 28414 w 813662"/>
                  <a:gd name="connsiteY0" fmla="*/ 90406 h 1995837"/>
                  <a:gd name="connsiteX1" fmla="*/ 235058 w 813662"/>
                  <a:gd name="connsiteY1" fmla="*/ 524359 h 1995837"/>
                  <a:gd name="connsiteX2" fmla="*/ 431370 w 813662"/>
                  <a:gd name="connsiteY2" fmla="*/ 984142 h 1995837"/>
                  <a:gd name="connsiteX3" fmla="*/ 312550 w 813662"/>
                  <a:gd name="connsiteY3" fmla="*/ 1149457 h 1995837"/>
                  <a:gd name="connsiteX4" fmla="*/ 178231 w 813662"/>
                  <a:gd name="connsiteY4" fmla="*/ 1195952 h 1995837"/>
                  <a:gd name="connsiteX5" fmla="*/ 638014 w 813662"/>
                  <a:gd name="connsiteY5" fmla="*/ 1898542 h 1995837"/>
                  <a:gd name="connsiteX6" fmla="*/ 808496 w 813662"/>
                  <a:gd name="connsiteY6" fmla="*/ 1779722 h 1995837"/>
                  <a:gd name="connsiteX7" fmla="*/ 607018 w 813662"/>
                  <a:gd name="connsiteY7" fmla="*/ 1139125 h 1995837"/>
                  <a:gd name="connsiteX8" fmla="*/ 488197 w 813662"/>
                  <a:gd name="connsiteY8" fmla="*/ 885986 h 1995837"/>
                  <a:gd name="connsiteX9" fmla="*/ 281553 w 813662"/>
                  <a:gd name="connsiteY9" fmla="*/ 364210 h 1995837"/>
                  <a:gd name="connsiteX10" fmla="*/ 131736 w 813662"/>
                  <a:gd name="connsiteY10" fmla="*/ 54244 h 1995837"/>
                  <a:gd name="connsiteX11" fmla="*/ 64577 w 813662"/>
                  <a:gd name="connsiteY11" fmla="*/ 38745 h 1995837"/>
                  <a:gd name="connsiteX12" fmla="*/ 28414 w 813662"/>
                  <a:gd name="connsiteY12" fmla="*/ 90406 h 1995837"/>
                  <a:gd name="connsiteX0" fmla="*/ 28414 w 855211"/>
                  <a:gd name="connsiteY0" fmla="*/ 90406 h 1834955"/>
                  <a:gd name="connsiteX1" fmla="*/ 235058 w 855211"/>
                  <a:gd name="connsiteY1" fmla="*/ 524359 h 1834955"/>
                  <a:gd name="connsiteX2" fmla="*/ 431370 w 855211"/>
                  <a:gd name="connsiteY2" fmla="*/ 984142 h 1834955"/>
                  <a:gd name="connsiteX3" fmla="*/ 312550 w 855211"/>
                  <a:gd name="connsiteY3" fmla="*/ 1149457 h 1834955"/>
                  <a:gd name="connsiteX4" fmla="*/ 178231 w 855211"/>
                  <a:gd name="connsiteY4" fmla="*/ 1195952 h 1834955"/>
                  <a:gd name="connsiteX5" fmla="*/ 326729 w 855211"/>
                  <a:gd name="connsiteY5" fmla="*/ 1470525 h 1834955"/>
                  <a:gd name="connsiteX6" fmla="*/ 808496 w 855211"/>
                  <a:gd name="connsiteY6" fmla="*/ 1779722 h 1834955"/>
                  <a:gd name="connsiteX7" fmla="*/ 607018 w 855211"/>
                  <a:gd name="connsiteY7" fmla="*/ 1139125 h 1834955"/>
                  <a:gd name="connsiteX8" fmla="*/ 488197 w 855211"/>
                  <a:gd name="connsiteY8" fmla="*/ 885986 h 1834955"/>
                  <a:gd name="connsiteX9" fmla="*/ 281553 w 855211"/>
                  <a:gd name="connsiteY9" fmla="*/ 364210 h 1834955"/>
                  <a:gd name="connsiteX10" fmla="*/ 131736 w 855211"/>
                  <a:gd name="connsiteY10" fmla="*/ 54244 h 1834955"/>
                  <a:gd name="connsiteX11" fmla="*/ 64577 w 855211"/>
                  <a:gd name="connsiteY11" fmla="*/ 38745 h 1834955"/>
                  <a:gd name="connsiteX12" fmla="*/ 28414 w 855211"/>
                  <a:gd name="connsiteY12" fmla="*/ 90406 h 1834955"/>
                  <a:gd name="connsiteX0" fmla="*/ 28414 w 621747"/>
                  <a:gd name="connsiteY0" fmla="*/ 90406 h 1502969"/>
                  <a:gd name="connsiteX1" fmla="*/ 235058 w 621747"/>
                  <a:gd name="connsiteY1" fmla="*/ 524359 h 1502969"/>
                  <a:gd name="connsiteX2" fmla="*/ 431370 w 621747"/>
                  <a:gd name="connsiteY2" fmla="*/ 984142 h 1502969"/>
                  <a:gd name="connsiteX3" fmla="*/ 312550 w 621747"/>
                  <a:gd name="connsiteY3" fmla="*/ 1149457 h 1502969"/>
                  <a:gd name="connsiteX4" fmla="*/ 178231 w 621747"/>
                  <a:gd name="connsiteY4" fmla="*/ 1195952 h 1502969"/>
                  <a:gd name="connsiteX5" fmla="*/ 326729 w 621747"/>
                  <a:gd name="connsiteY5" fmla="*/ 1470525 h 1502969"/>
                  <a:gd name="connsiteX6" fmla="*/ 575032 w 621747"/>
                  <a:gd name="connsiteY6" fmla="*/ 1390616 h 1502969"/>
                  <a:gd name="connsiteX7" fmla="*/ 607018 w 621747"/>
                  <a:gd name="connsiteY7" fmla="*/ 1139125 h 1502969"/>
                  <a:gd name="connsiteX8" fmla="*/ 488197 w 621747"/>
                  <a:gd name="connsiteY8" fmla="*/ 885986 h 1502969"/>
                  <a:gd name="connsiteX9" fmla="*/ 281553 w 621747"/>
                  <a:gd name="connsiteY9" fmla="*/ 364210 h 1502969"/>
                  <a:gd name="connsiteX10" fmla="*/ 131736 w 621747"/>
                  <a:gd name="connsiteY10" fmla="*/ 54244 h 1502969"/>
                  <a:gd name="connsiteX11" fmla="*/ 64577 w 621747"/>
                  <a:gd name="connsiteY11" fmla="*/ 38745 h 1502969"/>
                  <a:gd name="connsiteX12" fmla="*/ 28414 w 621747"/>
                  <a:gd name="connsiteY12" fmla="*/ 90406 h 1502969"/>
                  <a:gd name="connsiteX0" fmla="*/ 28414 w 614451"/>
                  <a:gd name="connsiteY0" fmla="*/ 90406 h 1502969"/>
                  <a:gd name="connsiteX1" fmla="*/ 235058 w 614451"/>
                  <a:gd name="connsiteY1" fmla="*/ 524359 h 1502969"/>
                  <a:gd name="connsiteX2" fmla="*/ 431370 w 614451"/>
                  <a:gd name="connsiteY2" fmla="*/ 984142 h 1502969"/>
                  <a:gd name="connsiteX3" fmla="*/ 312550 w 614451"/>
                  <a:gd name="connsiteY3" fmla="*/ 1149457 h 1502969"/>
                  <a:gd name="connsiteX4" fmla="*/ 178231 w 614451"/>
                  <a:gd name="connsiteY4" fmla="*/ 1195952 h 1502969"/>
                  <a:gd name="connsiteX5" fmla="*/ 326729 w 614451"/>
                  <a:gd name="connsiteY5" fmla="*/ 1470525 h 1502969"/>
                  <a:gd name="connsiteX6" fmla="*/ 575032 w 614451"/>
                  <a:gd name="connsiteY6" fmla="*/ 1390616 h 1502969"/>
                  <a:gd name="connsiteX7" fmla="*/ 563244 w 614451"/>
                  <a:gd name="connsiteY7" fmla="*/ 1143989 h 1502969"/>
                  <a:gd name="connsiteX8" fmla="*/ 488197 w 614451"/>
                  <a:gd name="connsiteY8" fmla="*/ 885986 h 1502969"/>
                  <a:gd name="connsiteX9" fmla="*/ 281553 w 614451"/>
                  <a:gd name="connsiteY9" fmla="*/ 364210 h 1502969"/>
                  <a:gd name="connsiteX10" fmla="*/ 131736 w 614451"/>
                  <a:gd name="connsiteY10" fmla="*/ 54244 h 1502969"/>
                  <a:gd name="connsiteX11" fmla="*/ 64577 w 614451"/>
                  <a:gd name="connsiteY11" fmla="*/ 38745 h 1502969"/>
                  <a:gd name="connsiteX12" fmla="*/ 28414 w 614451"/>
                  <a:gd name="connsiteY12" fmla="*/ 90406 h 1502969"/>
                  <a:gd name="connsiteX0" fmla="*/ 28414 w 612830"/>
                  <a:gd name="connsiteY0" fmla="*/ 90406 h 1459195"/>
                  <a:gd name="connsiteX1" fmla="*/ 235058 w 612830"/>
                  <a:gd name="connsiteY1" fmla="*/ 524359 h 1459195"/>
                  <a:gd name="connsiteX2" fmla="*/ 431370 w 612830"/>
                  <a:gd name="connsiteY2" fmla="*/ 984142 h 1459195"/>
                  <a:gd name="connsiteX3" fmla="*/ 312550 w 612830"/>
                  <a:gd name="connsiteY3" fmla="*/ 1149457 h 1459195"/>
                  <a:gd name="connsiteX4" fmla="*/ 178231 w 612830"/>
                  <a:gd name="connsiteY4" fmla="*/ 1195952 h 1459195"/>
                  <a:gd name="connsiteX5" fmla="*/ 336456 w 612830"/>
                  <a:gd name="connsiteY5" fmla="*/ 1426751 h 1459195"/>
                  <a:gd name="connsiteX6" fmla="*/ 575032 w 612830"/>
                  <a:gd name="connsiteY6" fmla="*/ 1390616 h 1459195"/>
                  <a:gd name="connsiteX7" fmla="*/ 563244 w 612830"/>
                  <a:gd name="connsiteY7" fmla="*/ 1143989 h 1459195"/>
                  <a:gd name="connsiteX8" fmla="*/ 488197 w 612830"/>
                  <a:gd name="connsiteY8" fmla="*/ 885986 h 1459195"/>
                  <a:gd name="connsiteX9" fmla="*/ 281553 w 612830"/>
                  <a:gd name="connsiteY9" fmla="*/ 364210 h 1459195"/>
                  <a:gd name="connsiteX10" fmla="*/ 131736 w 612830"/>
                  <a:gd name="connsiteY10" fmla="*/ 54244 h 1459195"/>
                  <a:gd name="connsiteX11" fmla="*/ 64577 w 612830"/>
                  <a:gd name="connsiteY11" fmla="*/ 38745 h 1459195"/>
                  <a:gd name="connsiteX12" fmla="*/ 28414 w 612830"/>
                  <a:gd name="connsiteY12" fmla="*/ 90406 h 1459195"/>
                  <a:gd name="connsiteX0" fmla="*/ 28414 w 612830"/>
                  <a:gd name="connsiteY0" fmla="*/ 90406 h 1459195"/>
                  <a:gd name="connsiteX1" fmla="*/ 235058 w 612830"/>
                  <a:gd name="connsiteY1" fmla="*/ 524359 h 1459195"/>
                  <a:gd name="connsiteX2" fmla="*/ 431370 w 612830"/>
                  <a:gd name="connsiteY2" fmla="*/ 984142 h 1459195"/>
                  <a:gd name="connsiteX3" fmla="*/ 312550 w 612830"/>
                  <a:gd name="connsiteY3" fmla="*/ 1149457 h 1459195"/>
                  <a:gd name="connsiteX4" fmla="*/ 178231 w 612830"/>
                  <a:gd name="connsiteY4" fmla="*/ 1195952 h 1459195"/>
                  <a:gd name="connsiteX5" fmla="*/ 336456 w 612830"/>
                  <a:gd name="connsiteY5" fmla="*/ 1426751 h 1459195"/>
                  <a:gd name="connsiteX6" fmla="*/ 575032 w 612830"/>
                  <a:gd name="connsiteY6" fmla="*/ 1390616 h 1459195"/>
                  <a:gd name="connsiteX7" fmla="*/ 563244 w 612830"/>
                  <a:gd name="connsiteY7" fmla="*/ 1143989 h 1459195"/>
                  <a:gd name="connsiteX8" fmla="*/ 488197 w 612830"/>
                  <a:gd name="connsiteY8" fmla="*/ 885986 h 1459195"/>
                  <a:gd name="connsiteX9" fmla="*/ 281553 w 612830"/>
                  <a:gd name="connsiteY9" fmla="*/ 364210 h 1459195"/>
                  <a:gd name="connsiteX10" fmla="*/ 131736 w 612830"/>
                  <a:gd name="connsiteY10" fmla="*/ 54244 h 1459195"/>
                  <a:gd name="connsiteX11" fmla="*/ 64577 w 612830"/>
                  <a:gd name="connsiteY11" fmla="*/ 38745 h 1459195"/>
                  <a:gd name="connsiteX12" fmla="*/ 28414 w 612830"/>
                  <a:gd name="connsiteY12" fmla="*/ 90406 h 1459195"/>
                  <a:gd name="connsiteX0" fmla="*/ 28414 w 612830"/>
                  <a:gd name="connsiteY0" fmla="*/ 90406 h 1478650"/>
                  <a:gd name="connsiteX1" fmla="*/ 235058 w 612830"/>
                  <a:gd name="connsiteY1" fmla="*/ 524359 h 1478650"/>
                  <a:gd name="connsiteX2" fmla="*/ 431370 w 612830"/>
                  <a:gd name="connsiteY2" fmla="*/ 984142 h 1478650"/>
                  <a:gd name="connsiteX3" fmla="*/ 312550 w 612830"/>
                  <a:gd name="connsiteY3" fmla="*/ 1149457 h 1478650"/>
                  <a:gd name="connsiteX4" fmla="*/ 178231 w 612830"/>
                  <a:gd name="connsiteY4" fmla="*/ 1195952 h 1478650"/>
                  <a:gd name="connsiteX5" fmla="*/ 336456 w 612830"/>
                  <a:gd name="connsiteY5" fmla="*/ 1426751 h 1478650"/>
                  <a:gd name="connsiteX6" fmla="*/ 575032 w 612830"/>
                  <a:gd name="connsiteY6" fmla="*/ 1390616 h 1478650"/>
                  <a:gd name="connsiteX7" fmla="*/ 563244 w 612830"/>
                  <a:gd name="connsiteY7" fmla="*/ 1143989 h 1478650"/>
                  <a:gd name="connsiteX8" fmla="*/ 488197 w 612830"/>
                  <a:gd name="connsiteY8" fmla="*/ 885986 h 1478650"/>
                  <a:gd name="connsiteX9" fmla="*/ 281553 w 612830"/>
                  <a:gd name="connsiteY9" fmla="*/ 364210 h 1478650"/>
                  <a:gd name="connsiteX10" fmla="*/ 131736 w 612830"/>
                  <a:gd name="connsiteY10" fmla="*/ 54244 h 1478650"/>
                  <a:gd name="connsiteX11" fmla="*/ 64577 w 612830"/>
                  <a:gd name="connsiteY11" fmla="*/ 38745 h 1478650"/>
                  <a:gd name="connsiteX12" fmla="*/ 28414 w 612830"/>
                  <a:gd name="connsiteY12" fmla="*/ 90406 h 1478650"/>
                  <a:gd name="connsiteX0" fmla="*/ 28414 w 583647"/>
                  <a:gd name="connsiteY0" fmla="*/ 90406 h 1478650"/>
                  <a:gd name="connsiteX1" fmla="*/ 235058 w 583647"/>
                  <a:gd name="connsiteY1" fmla="*/ 524359 h 1478650"/>
                  <a:gd name="connsiteX2" fmla="*/ 431370 w 583647"/>
                  <a:gd name="connsiteY2" fmla="*/ 984142 h 1478650"/>
                  <a:gd name="connsiteX3" fmla="*/ 312550 w 583647"/>
                  <a:gd name="connsiteY3" fmla="*/ 1149457 h 1478650"/>
                  <a:gd name="connsiteX4" fmla="*/ 178231 w 583647"/>
                  <a:gd name="connsiteY4" fmla="*/ 1195952 h 1478650"/>
                  <a:gd name="connsiteX5" fmla="*/ 336456 w 583647"/>
                  <a:gd name="connsiteY5" fmla="*/ 1426751 h 1478650"/>
                  <a:gd name="connsiteX6" fmla="*/ 545849 w 583647"/>
                  <a:gd name="connsiteY6" fmla="*/ 1390616 h 1478650"/>
                  <a:gd name="connsiteX7" fmla="*/ 563244 w 583647"/>
                  <a:gd name="connsiteY7" fmla="*/ 1143989 h 1478650"/>
                  <a:gd name="connsiteX8" fmla="*/ 488197 w 583647"/>
                  <a:gd name="connsiteY8" fmla="*/ 885986 h 1478650"/>
                  <a:gd name="connsiteX9" fmla="*/ 281553 w 583647"/>
                  <a:gd name="connsiteY9" fmla="*/ 364210 h 1478650"/>
                  <a:gd name="connsiteX10" fmla="*/ 131736 w 583647"/>
                  <a:gd name="connsiteY10" fmla="*/ 54244 h 1478650"/>
                  <a:gd name="connsiteX11" fmla="*/ 64577 w 583647"/>
                  <a:gd name="connsiteY11" fmla="*/ 38745 h 1478650"/>
                  <a:gd name="connsiteX12" fmla="*/ 28414 w 583647"/>
                  <a:gd name="connsiteY12" fmla="*/ 90406 h 1478650"/>
                  <a:gd name="connsiteX0" fmla="*/ 28414 w 578783"/>
                  <a:gd name="connsiteY0" fmla="*/ 90406 h 1478650"/>
                  <a:gd name="connsiteX1" fmla="*/ 235058 w 578783"/>
                  <a:gd name="connsiteY1" fmla="*/ 524359 h 1478650"/>
                  <a:gd name="connsiteX2" fmla="*/ 431370 w 578783"/>
                  <a:gd name="connsiteY2" fmla="*/ 984142 h 1478650"/>
                  <a:gd name="connsiteX3" fmla="*/ 312550 w 578783"/>
                  <a:gd name="connsiteY3" fmla="*/ 1149457 h 1478650"/>
                  <a:gd name="connsiteX4" fmla="*/ 178231 w 578783"/>
                  <a:gd name="connsiteY4" fmla="*/ 1195952 h 1478650"/>
                  <a:gd name="connsiteX5" fmla="*/ 336456 w 578783"/>
                  <a:gd name="connsiteY5" fmla="*/ 1426751 h 1478650"/>
                  <a:gd name="connsiteX6" fmla="*/ 545849 w 578783"/>
                  <a:gd name="connsiteY6" fmla="*/ 1390616 h 1478650"/>
                  <a:gd name="connsiteX7" fmla="*/ 563244 w 578783"/>
                  <a:gd name="connsiteY7" fmla="*/ 1143989 h 1478650"/>
                  <a:gd name="connsiteX8" fmla="*/ 488197 w 578783"/>
                  <a:gd name="connsiteY8" fmla="*/ 885986 h 1478650"/>
                  <a:gd name="connsiteX9" fmla="*/ 281553 w 578783"/>
                  <a:gd name="connsiteY9" fmla="*/ 364210 h 1478650"/>
                  <a:gd name="connsiteX10" fmla="*/ 131736 w 578783"/>
                  <a:gd name="connsiteY10" fmla="*/ 54244 h 1478650"/>
                  <a:gd name="connsiteX11" fmla="*/ 64577 w 578783"/>
                  <a:gd name="connsiteY11" fmla="*/ 38745 h 1478650"/>
                  <a:gd name="connsiteX12" fmla="*/ 28414 w 578783"/>
                  <a:gd name="connsiteY12" fmla="*/ 90406 h 1478650"/>
                  <a:gd name="connsiteX0" fmla="*/ 28414 w 578783"/>
                  <a:gd name="connsiteY0" fmla="*/ 90406 h 1478650"/>
                  <a:gd name="connsiteX1" fmla="*/ 235058 w 578783"/>
                  <a:gd name="connsiteY1" fmla="*/ 524359 h 1478650"/>
                  <a:gd name="connsiteX2" fmla="*/ 431370 w 578783"/>
                  <a:gd name="connsiteY2" fmla="*/ 984142 h 1478650"/>
                  <a:gd name="connsiteX3" fmla="*/ 312550 w 578783"/>
                  <a:gd name="connsiteY3" fmla="*/ 1149457 h 1478650"/>
                  <a:gd name="connsiteX4" fmla="*/ 178231 w 578783"/>
                  <a:gd name="connsiteY4" fmla="*/ 1195952 h 1478650"/>
                  <a:gd name="connsiteX5" fmla="*/ 336456 w 578783"/>
                  <a:gd name="connsiteY5" fmla="*/ 1426751 h 1478650"/>
                  <a:gd name="connsiteX6" fmla="*/ 545849 w 578783"/>
                  <a:gd name="connsiteY6" fmla="*/ 1390616 h 1478650"/>
                  <a:gd name="connsiteX7" fmla="*/ 563244 w 578783"/>
                  <a:gd name="connsiteY7" fmla="*/ 1143989 h 1478650"/>
                  <a:gd name="connsiteX8" fmla="*/ 488197 w 578783"/>
                  <a:gd name="connsiteY8" fmla="*/ 885986 h 1478650"/>
                  <a:gd name="connsiteX9" fmla="*/ 281553 w 578783"/>
                  <a:gd name="connsiteY9" fmla="*/ 364210 h 1478650"/>
                  <a:gd name="connsiteX10" fmla="*/ 131736 w 578783"/>
                  <a:gd name="connsiteY10" fmla="*/ 54244 h 1478650"/>
                  <a:gd name="connsiteX11" fmla="*/ 64577 w 578783"/>
                  <a:gd name="connsiteY11" fmla="*/ 38745 h 1478650"/>
                  <a:gd name="connsiteX12" fmla="*/ 28414 w 578783"/>
                  <a:gd name="connsiteY12" fmla="*/ 90406 h 1478650"/>
                  <a:gd name="connsiteX0" fmla="*/ 28414 w 578783"/>
                  <a:gd name="connsiteY0" fmla="*/ 90406 h 1478650"/>
                  <a:gd name="connsiteX1" fmla="*/ 235058 w 578783"/>
                  <a:gd name="connsiteY1" fmla="*/ 524359 h 1478650"/>
                  <a:gd name="connsiteX2" fmla="*/ 431370 w 578783"/>
                  <a:gd name="connsiteY2" fmla="*/ 984142 h 1478650"/>
                  <a:gd name="connsiteX3" fmla="*/ 312550 w 578783"/>
                  <a:gd name="connsiteY3" fmla="*/ 1149457 h 1478650"/>
                  <a:gd name="connsiteX4" fmla="*/ 178231 w 578783"/>
                  <a:gd name="connsiteY4" fmla="*/ 1195952 h 1478650"/>
                  <a:gd name="connsiteX5" fmla="*/ 336456 w 578783"/>
                  <a:gd name="connsiteY5" fmla="*/ 1426751 h 1478650"/>
                  <a:gd name="connsiteX6" fmla="*/ 545849 w 578783"/>
                  <a:gd name="connsiteY6" fmla="*/ 1390616 h 1478650"/>
                  <a:gd name="connsiteX7" fmla="*/ 563244 w 578783"/>
                  <a:gd name="connsiteY7" fmla="*/ 1143989 h 1478650"/>
                  <a:gd name="connsiteX8" fmla="*/ 488197 w 578783"/>
                  <a:gd name="connsiteY8" fmla="*/ 885986 h 1478650"/>
                  <a:gd name="connsiteX9" fmla="*/ 281553 w 578783"/>
                  <a:gd name="connsiteY9" fmla="*/ 364210 h 1478650"/>
                  <a:gd name="connsiteX10" fmla="*/ 131736 w 578783"/>
                  <a:gd name="connsiteY10" fmla="*/ 54244 h 1478650"/>
                  <a:gd name="connsiteX11" fmla="*/ 64577 w 578783"/>
                  <a:gd name="connsiteY11" fmla="*/ 38745 h 1478650"/>
                  <a:gd name="connsiteX12" fmla="*/ 28414 w 578783"/>
                  <a:gd name="connsiteY12" fmla="*/ 90406 h 1478650"/>
                  <a:gd name="connsiteX0" fmla="*/ 17220 w 567589"/>
                  <a:gd name="connsiteY0" fmla="*/ 81796 h 1470040"/>
                  <a:gd name="connsiteX1" fmla="*/ 223864 w 567589"/>
                  <a:gd name="connsiteY1" fmla="*/ 515749 h 1470040"/>
                  <a:gd name="connsiteX2" fmla="*/ 420176 w 567589"/>
                  <a:gd name="connsiteY2" fmla="*/ 975532 h 1470040"/>
                  <a:gd name="connsiteX3" fmla="*/ 301356 w 567589"/>
                  <a:gd name="connsiteY3" fmla="*/ 1140847 h 1470040"/>
                  <a:gd name="connsiteX4" fmla="*/ 167037 w 567589"/>
                  <a:gd name="connsiteY4" fmla="*/ 1187342 h 1470040"/>
                  <a:gd name="connsiteX5" fmla="*/ 325262 w 567589"/>
                  <a:gd name="connsiteY5" fmla="*/ 1418141 h 1470040"/>
                  <a:gd name="connsiteX6" fmla="*/ 534655 w 567589"/>
                  <a:gd name="connsiteY6" fmla="*/ 1382006 h 1470040"/>
                  <a:gd name="connsiteX7" fmla="*/ 552050 w 567589"/>
                  <a:gd name="connsiteY7" fmla="*/ 1135379 h 1470040"/>
                  <a:gd name="connsiteX8" fmla="*/ 477003 w 567589"/>
                  <a:gd name="connsiteY8" fmla="*/ 877376 h 1470040"/>
                  <a:gd name="connsiteX9" fmla="*/ 270359 w 567589"/>
                  <a:gd name="connsiteY9" fmla="*/ 355600 h 1470040"/>
                  <a:gd name="connsiteX10" fmla="*/ 120542 w 567589"/>
                  <a:gd name="connsiteY10" fmla="*/ 45634 h 1470040"/>
                  <a:gd name="connsiteX11" fmla="*/ 17220 w 567589"/>
                  <a:gd name="connsiteY11" fmla="*/ 81796 h 1470040"/>
                  <a:gd name="connsiteX0" fmla="*/ 17220 w 552997"/>
                  <a:gd name="connsiteY0" fmla="*/ 81796 h 1470040"/>
                  <a:gd name="connsiteX1" fmla="*/ 209272 w 552997"/>
                  <a:gd name="connsiteY1" fmla="*/ 515749 h 1470040"/>
                  <a:gd name="connsiteX2" fmla="*/ 405584 w 552997"/>
                  <a:gd name="connsiteY2" fmla="*/ 975532 h 1470040"/>
                  <a:gd name="connsiteX3" fmla="*/ 286764 w 552997"/>
                  <a:gd name="connsiteY3" fmla="*/ 1140847 h 1470040"/>
                  <a:gd name="connsiteX4" fmla="*/ 152445 w 552997"/>
                  <a:gd name="connsiteY4" fmla="*/ 1187342 h 1470040"/>
                  <a:gd name="connsiteX5" fmla="*/ 310670 w 552997"/>
                  <a:gd name="connsiteY5" fmla="*/ 1418141 h 1470040"/>
                  <a:gd name="connsiteX6" fmla="*/ 520063 w 552997"/>
                  <a:gd name="connsiteY6" fmla="*/ 1382006 h 1470040"/>
                  <a:gd name="connsiteX7" fmla="*/ 537458 w 552997"/>
                  <a:gd name="connsiteY7" fmla="*/ 1135379 h 1470040"/>
                  <a:gd name="connsiteX8" fmla="*/ 462411 w 552997"/>
                  <a:gd name="connsiteY8" fmla="*/ 877376 h 1470040"/>
                  <a:gd name="connsiteX9" fmla="*/ 255767 w 552997"/>
                  <a:gd name="connsiteY9" fmla="*/ 355600 h 1470040"/>
                  <a:gd name="connsiteX10" fmla="*/ 105950 w 552997"/>
                  <a:gd name="connsiteY10" fmla="*/ 45634 h 1470040"/>
                  <a:gd name="connsiteX11" fmla="*/ 17220 w 552997"/>
                  <a:gd name="connsiteY11" fmla="*/ 81796 h 1470040"/>
                  <a:gd name="connsiteX0" fmla="*/ 17220 w 613483"/>
                  <a:gd name="connsiteY0" fmla="*/ 81796 h 1607032"/>
                  <a:gd name="connsiteX1" fmla="*/ 209272 w 613483"/>
                  <a:gd name="connsiteY1" fmla="*/ 515749 h 1607032"/>
                  <a:gd name="connsiteX2" fmla="*/ 405584 w 613483"/>
                  <a:gd name="connsiteY2" fmla="*/ 975532 h 1607032"/>
                  <a:gd name="connsiteX3" fmla="*/ 286764 w 613483"/>
                  <a:gd name="connsiteY3" fmla="*/ 1140847 h 1607032"/>
                  <a:gd name="connsiteX4" fmla="*/ 152445 w 613483"/>
                  <a:gd name="connsiteY4" fmla="*/ 1187342 h 1607032"/>
                  <a:gd name="connsiteX5" fmla="*/ 310670 w 613483"/>
                  <a:gd name="connsiteY5" fmla="*/ 1418141 h 1607032"/>
                  <a:gd name="connsiteX6" fmla="*/ 580549 w 613483"/>
                  <a:gd name="connsiteY6" fmla="*/ 1559905 h 1607032"/>
                  <a:gd name="connsiteX7" fmla="*/ 537458 w 613483"/>
                  <a:gd name="connsiteY7" fmla="*/ 1135379 h 1607032"/>
                  <a:gd name="connsiteX8" fmla="*/ 462411 w 613483"/>
                  <a:gd name="connsiteY8" fmla="*/ 877376 h 1607032"/>
                  <a:gd name="connsiteX9" fmla="*/ 255767 w 613483"/>
                  <a:gd name="connsiteY9" fmla="*/ 355600 h 1607032"/>
                  <a:gd name="connsiteX10" fmla="*/ 105950 w 613483"/>
                  <a:gd name="connsiteY10" fmla="*/ 45634 h 1607032"/>
                  <a:gd name="connsiteX11" fmla="*/ 17220 w 613483"/>
                  <a:gd name="connsiteY11" fmla="*/ 81796 h 1607032"/>
                  <a:gd name="connsiteX0" fmla="*/ 17220 w 613483"/>
                  <a:gd name="connsiteY0" fmla="*/ 81796 h 1607032"/>
                  <a:gd name="connsiteX1" fmla="*/ 209272 w 613483"/>
                  <a:gd name="connsiteY1" fmla="*/ 515749 h 1607032"/>
                  <a:gd name="connsiteX2" fmla="*/ 405584 w 613483"/>
                  <a:gd name="connsiteY2" fmla="*/ 975532 h 1607032"/>
                  <a:gd name="connsiteX3" fmla="*/ 286764 w 613483"/>
                  <a:gd name="connsiteY3" fmla="*/ 1140847 h 1607032"/>
                  <a:gd name="connsiteX4" fmla="*/ 152445 w 613483"/>
                  <a:gd name="connsiteY4" fmla="*/ 1187342 h 1607032"/>
                  <a:gd name="connsiteX5" fmla="*/ 310670 w 613483"/>
                  <a:gd name="connsiteY5" fmla="*/ 1432373 h 1607032"/>
                  <a:gd name="connsiteX6" fmla="*/ 580549 w 613483"/>
                  <a:gd name="connsiteY6" fmla="*/ 1559905 h 1607032"/>
                  <a:gd name="connsiteX7" fmla="*/ 537458 w 613483"/>
                  <a:gd name="connsiteY7" fmla="*/ 1135379 h 1607032"/>
                  <a:gd name="connsiteX8" fmla="*/ 462411 w 613483"/>
                  <a:gd name="connsiteY8" fmla="*/ 877376 h 1607032"/>
                  <a:gd name="connsiteX9" fmla="*/ 255767 w 613483"/>
                  <a:gd name="connsiteY9" fmla="*/ 355600 h 1607032"/>
                  <a:gd name="connsiteX10" fmla="*/ 105950 w 613483"/>
                  <a:gd name="connsiteY10" fmla="*/ 45634 h 1607032"/>
                  <a:gd name="connsiteX11" fmla="*/ 17220 w 613483"/>
                  <a:gd name="connsiteY11" fmla="*/ 81796 h 1607032"/>
                  <a:gd name="connsiteX0" fmla="*/ 17220 w 613483"/>
                  <a:gd name="connsiteY0" fmla="*/ 81796 h 1607032"/>
                  <a:gd name="connsiteX1" fmla="*/ 209272 w 613483"/>
                  <a:gd name="connsiteY1" fmla="*/ 515749 h 1607032"/>
                  <a:gd name="connsiteX2" fmla="*/ 405584 w 613483"/>
                  <a:gd name="connsiteY2" fmla="*/ 975532 h 1607032"/>
                  <a:gd name="connsiteX3" fmla="*/ 286764 w 613483"/>
                  <a:gd name="connsiteY3" fmla="*/ 1140847 h 1607032"/>
                  <a:gd name="connsiteX4" fmla="*/ 152445 w 613483"/>
                  <a:gd name="connsiteY4" fmla="*/ 1187342 h 1607032"/>
                  <a:gd name="connsiteX5" fmla="*/ 310670 w 613483"/>
                  <a:gd name="connsiteY5" fmla="*/ 1432373 h 1607032"/>
                  <a:gd name="connsiteX6" fmla="*/ 580549 w 613483"/>
                  <a:gd name="connsiteY6" fmla="*/ 1559905 h 1607032"/>
                  <a:gd name="connsiteX7" fmla="*/ 537458 w 613483"/>
                  <a:gd name="connsiteY7" fmla="*/ 1135379 h 1607032"/>
                  <a:gd name="connsiteX8" fmla="*/ 462411 w 613483"/>
                  <a:gd name="connsiteY8" fmla="*/ 877376 h 1607032"/>
                  <a:gd name="connsiteX9" fmla="*/ 255767 w 613483"/>
                  <a:gd name="connsiteY9" fmla="*/ 355600 h 1607032"/>
                  <a:gd name="connsiteX10" fmla="*/ 105950 w 613483"/>
                  <a:gd name="connsiteY10" fmla="*/ 45634 h 1607032"/>
                  <a:gd name="connsiteX11" fmla="*/ 17220 w 613483"/>
                  <a:gd name="connsiteY11" fmla="*/ 81796 h 1607032"/>
                  <a:gd name="connsiteX0" fmla="*/ 17220 w 613483"/>
                  <a:gd name="connsiteY0" fmla="*/ 81796 h 1607032"/>
                  <a:gd name="connsiteX1" fmla="*/ 209272 w 613483"/>
                  <a:gd name="connsiteY1" fmla="*/ 515749 h 1607032"/>
                  <a:gd name="connsiteX2" fmla="*/ 405584 w 613483"/>
                  <a:gd name="connsiteY2" fmla="*/ 975532 h 1607032"/>
                  <a:gd name="connsiteX3" fmla="*/ 286764 w 613483"/>
                  <a:gd name="connsiteY3" fmla="*/ 1140847 h 1607032"/>
                  <a:gd name="connsiteX4" fmla="*/ 113307 w 613483"/>
                  <a:gd name="connsiteY4" fmla="*/ 1190900 h 1607032"/>
                  <a:gd name="connsiteX5" fmla="*/ 310670 w 613483"/>
                  <a:gd name="connsiteY5" fmla="*/ 1432373 h 1607032"/>
                  <a:gd name="connsiteX6" fmla="*/ 580549 w 613483"/>
                  <a:gd name="connsiteY6" fmla="*/ 1559905 h 1607032"/>
                  <a:gd name="connsiteX7" fmla="*/ 537458 w 613483"/>
                  <a:gd name="connsiteY7" fmla="*/ 1135379 h 1607032"/>
                  <a:gd name="connsiteX8" fmla="*/ 462411 w 613483"/>
                  <a:gd name="connsiteY8" fmla="*/ 877376 h 1607032"/>
                  <a:gd name="connsiteX9" fmla="*/ 255767 w 613483"/>
                  <a:gd name="connsiteY9" fmla="*/ 355600 h 1607032"/>
                  <a:gd name="connsiteX10" fmla="*/ 105950 w 613483"/>
                  <a:gd name="connsiteY10" fmla="*/ 45634 h 1607032"/>
                  <a:gd name="connsiteX11" fmla="*/ 17220 w 613483"/>
                  <a:gd name="connsiteY11" fmla="*/ 81796 h 1607032"/>
                  <a:gd name="connsiteX0" fmla="*/ 17220 w 613483"/>
                  <a:gd name="connsiteY0" fmla="*/ 81796 h 1607032"/>
                  <a:gd name="connsiteX1" fmla="*/ 209272 w 613483"/>
                  <a:gd name="connsiteY1" fmla="*/ 515749 h 1607032"/>
                  <a:gd name="connsiteX2" fmla="*/ 405584 w 613483"/>
                  <a:gd name="connsiteY2" fmla="*/ 975532 h 1607032"/>
                  <a:gd name="connsiteX3" fmla="*/ 286764 w 613483"/>
                  <a:gd name="connsiteY3" fmla="*/ 1140847 h 1607032"/>
                  <a:gd name="connsiteX4" fmla="*/ 113307 w 613483"/>
                  <a:gd name="connsiteY4" fmla="*/ 1190900 h 1607032"/>
                  <a:gd name="connsiteX5" fmla="*/ 285764 w 613483"/>
                  <a:gd name="connsiteY5" fmla="*/ 1443046 h 1607032"/>
                  <a:gd name="connsiteX6" fmla="*/ 580549 w 613483"/>
                  <a:gd name="connsiteY6" fmla="*/ 1559905 h 1607032"/>
                  <a:gd name="connsiteX7" fmla="*/ 537458 w 613483"/>
                  <a:gd name="connsiteY7" fmla="*/ 1135379 h 1607032"/>
                  <a:gd name="connsiteX8" fmla="*/ 462411 w 613483"/>
                  <a:gd name="connsiteY8" fmla="*/ 877376 h 1607032"/>
                  <a:gd name="connsiteX9" fmla="*/ 255767 w 613483"/>
                  <a:gd name="connsiteY9" fmla="*/ 355600 h 1607032"/>
                  <a:gd name="connsiteX10" fmla="*/ 105950 w 613483"/>
                  <a:gd name="connsiteY10" fmla="*/ 45634 h 1607032"/>
                  <a:gd name="connsiteX11" fmla="*/ 17220 w 613483"/>
                  <a:gd name="connsiteY11" fmla="*/ 81796 h 1607032"/>
                  <a:gd name="connsiteX0" fmla="*/ 17220 w 613483"/>
                  <a:gd name="connsiteY0" fmla="*/ 81796 h 1607032"/>
                  <a:gd name="connsiteX1" fmla="*/ 209272 w 613483"/>
                  <a:gd name="connsiteY1" fmla="*/ 515749 h 1607032"/>
                  <a:gd name="connsiteX2" fmla="*/ 405584 w 613483"/>
                  <a:gd name="connsiteY2" fmla="*/ 975532 h 1607032"/>
                  <a:gd name="connsiteX3" fmla="*/ 286764 w 613483"/>
                  <a:gd name="connsiteY3" fmla="*/ 1140847 h 1607032"/>
                  <a:gd name="connsiteX4" fmla="*/ 113307 w 613483"/>
                  <a:gd name="connsiteY4" fmla="*/ 1190900 h 1607032"/>
                  <a:gd name="connsiteX5" fmla="*/ 285764 w 613483"/>
                  <a:gd name="connsiteY5" fmla="*/ 1443046 h 1607032"/>
                  <a:gd name="connsiteX6" fmla="*/ 580549 w 613483"/>
                  <a:gd name="connsiteY6" fmla="*/ 1559905 h 1607032"/>
                  <a:gd name="connsiteX7" fmla="*/ 537458 w 613483"/>
                  <a:gd name="connsiteY7" fmla="*/ 1135379 h 1607032"/>
                  <a:gd name="connsiteX8" fmla="*/ 462411 w 613483"/>
                  <a:gd name="connsiteY8" fmla="*/ 877376 h 1607032"/>
                  <a:gd name="connsiteX9" fmla="*/ 255767 w 613483"/>
                  <a:gd name="connsiteY9" fmla="*/ 355600 h 1607032"/>
                  <a:gd name="connsiteX10" fmla="*/ 105950 w 613483"/>
                  <a:gd name="connsiteY10" fmla="*/ 45634 h 1607032"/>
                  <a:gd name="connsiteX11" fmla="*/ 17220 w 613483"/>
                  <a:gd name="connsiteY11" fmla="*/ 81796 h 1607032"/>
                  <a:gd name="connsiteX0" fmla="*/ 17220 w 613483"/>
                  <a:gd name="connsiteY0" fmla="*/ 81796 h 1607032"/>
                  <a:gd name="connsiteX1" fmla="*/ 209272 w 613483"/>
                  <a:gd name="connsiteY1" fmla="*/ 515749 h 1607032"/>
                  <a:gd name="connsiteX2" fmla="*/ 405584 w 613483"/>
                  <a:gd name="connsiteY2" fmla="*/ 975532 h 1607032"/>
                  <a:gd name="connsiteX3" fmla="*/ 113307 w 613483"/>
                  <a:gd name="connsiteY3" fmla="*/ 1190900 h 1607032"/>
                  <a:gd name="connsiteX4" fmla="*/ 285764 w 613483"/>
                  <a:gd name="connsiteY4" fmla="*/ 1443046 h 1607032"/>
                  <a:gd name="connsiteX5" fmla="*/ 580549 w 613483"/>
                  <a:gd name="connsiteY5" fmla="*/ 1559905 h 1607032"/>
                  <a:gd name="connsiteX6" fmla="*/ 537458 w 613483"/>
                  <a:gd name="connsiteY6" fmla="*/ 1135379 h 1607032"/>
                  <a:gd name="connsiteX7" fmla="*/ 462411 w 613483"/>
                  <a:gd name="connsiteY7" fmla="*/ 877376 h 1607032"/>
                  <a:gd name="connsiteX8" fmla="*/ 255767 w 613483"/>
                  <a:gd name="connsiteY8" fmla="*/ 355600 h 1607032"/>
                  <a:gd name="connsiteX9" fmla="*/ 105950 w 613483"/>
                  <a:gd name="connsiteY9" fmla="*/ 45634 h 1607032"/>
                  <a:gd name="connsiteX10" fmla="*/ 17220 w 613483"/>
                  <a:gd name="connsiteY10" fmla="*/ 81796 h 1607032"/>
                  <a:gd name="connsiteX0" fmla="*/ 17220 w 613483"/>
                  <a:gd name="connsiteY0" fmla="*/ 81796 h 1607032"/>
                  <a:gd name="connsiteX1" fmla="*/ 209272 w 613483"/>
                  <a:gd name="connsiteY1" fmla="*/ 515749 h 1607032"/>
                  <a:gd name="connsiteX2" fmla="*/ 405584 w 613483"/>
                  <a:gd name="connsiteY2" fmla="*/ 975532 h 1607032"/>
                  <a:gd name="connsiteX3" fmla="*/ 113307 w 613483"/>
                  <a:gd name="connsiteY3" fmla="*/ 1190900 h 1607032"/>
                  <a:gd name="connsiteX4" fmla="*/ 285764 w 613483"/>
                  <a:gd name="connsiteY4" fmla="*/ 1443046 h 1607032"/>
                  <a:gd name="connsiteX5" fmla="*/ 580549 w 613483"/>
                  <a:gd name="connsiteY5" fmla="*/ 1559905 h 1607032"/>
                  <a:gd name="connsiteX6" fmla="*/ 537458 w 613483"/>
                  <a:gd name="connsiteY6" fmla="*/ 1135379 h 1607032"/>
                  <a:gd name="connsiteX7" fmla="*/ 462411 w 613483"/>
                  <a:gd name="connsiteY7" fmla="*/ 877376 h 1607032"/>
                  <a:gd name="connsiteX8" fmla="*/ 255767 w 613483"/>
                  <a:gd name="connsiteY8" fmla="*/ 355600 h 1607032"/>
                  <a:gd name="connsiteX9" fmla="*/ 105950 w 613483"/>
                  <a:gd name="connsiteY9" fmla="*/ 45634 h 1607032"/>
                  <a:gd name="connsiteX10" fmla="*/ 17220 w 613483"/>
                  <a:gd name="connsiteY10" fmla="*/ 81796 h 1607032"/>
                  <a:gd name="connsiteX0" fmla="*/ 17220 w 613483"/>
                  <a:gd name="connsiteY0" fmla="*/ 81796 h 1607032"/>
                  <a:gd name="connsiteX1" fmla="*/ 209272 w 613483"/>
                  <a:gd name="connsiteY1" fmla="*/ 515749 h 1607032"/>
                  <a:gd name="connsiteX2" fmla="*/ 405584 w 613483"/>
                  <a:gd name="connsiteY2" fmla="*/ 975532 h 1607032"/>
                  <a:gd name="connsiteX3" fmla="*/ 113307 w 613483"/>
                  <a:gd name="connsiteY3" fmla="*/ 1190900 h 1607032"/>
                  <a:gd name="connsiteX4" fmla="*/ 285764 w 613483"/>
                  <a:gd name="connsiteY4" fmla="*/ 1443046 h 1607032"/>
                  <a:gd name="connsiteX5" fmla="*/ 580549 w 613483"/>
                  <a:gd name="connsiteY5" fmla="*/ 1559905 h 1607032"/>
                  <a:gd name="connsiteX6" fmla="*/ 558806 w 613483"/>
                  <a:gd name="connsiteY6" fmla="*/ 1181632 h 1607032"/>
                  <a:gd name="connsiteX7" fmla="*/ 462411 w 613483"/>
                  <a:gd name="connsiteY7" fmla="*/ 877376 h 1607032"/>
                  <a:gd name="connsiteX8" fmla="*/ 255767 w 613483"/>
                  <a:gd name="connsiteY8" fmla="*/ 355600 h 1607032"/>
                  <a:gd name="connsiteX9" fmla="*/ 105950 w 613483"/>
                  <a:gd name="connsiteY9" fmla="*/ 45634 h 1607032"/>
                  <a:gd name="connsiteX10" fmla="*/ 17220 w 613483"/>
                  <a:gd name="connsiteY10" fmla="*/ 81796 h 1607032"/>
                  <a:gd name="connsiteX0" fmla="*/ 17220 w 613483"/>
                  <a:gd name="connsiteY0" fmla="*/ 81796 h 1607032"/>
                  <a:gd name="connsiteX1" fmla="*/ 209272 w 613483"/>
                  <a:gd name="connsiteY1" fmla="*/ 515749 h 1607032"/>
                  <a:gd name="connsiteX2" fmla="*/ 405584 w 613483"/>
                  <a:gd name="connsiteY2" fmla="*/ 975532 h 1607032"/>
                  <a:gd name="connsiteX3" fmla="*/ 113307 w 613483"/>
                  <a:gd name="connsiteY3" fmla="*/ 1190900 h 1607032"/>
                  <a:gd name="connsiteX4" fmla="*/ 285764 w 613483"/>
                  <a:gd name="connsiteY4" fmla="*/ 1443046 h 1607032"/>
                  <a:gd name="connsiteX5" fmla="*/ 580549 w 613483"/>
                  <a:gd name="connsiteY5" fmla="*/ 1559905 h 1607032"/>
                  <a:gd name="connsiteX6" fmla="*/ 558806 w 613483"/>
                  <a:gd name="connsiteY6" fmla="*/ 1181632 h 1607032"/>
                  <a:gd name="connsiteX7" fmla="*/ 462411 w 613483"/>
                  <a:gd name="connsiteY7" fmla="*/ 877376 h 1607032"/>
                  <a:gd name="connsiteX8" fmla="*/ 255767 w 613483"/>
                  <a:gd name="connsiteY8" fmla="*/ 355600 h 1607032"/>
                  <a:gd name="connsiteX9" fmla="*/ 105950 w 613483"/>
                  <a:gd name="connsiteY9" fmla="*/ 45634 h 1607032"/>
                  <a:gd name="connsiteX10" fmla="*/ 17220 w 613483"/>
                  <a:gd name="connsiteY10" fmla="*/ 81796 h 1607032"/>
                  <a:gd name="connsiteX0" fmla="*/ 17220 w 613483"/>
                  <a:gd name="connsiteY0" fmla="*/ 81796 h 1607032"/>
                  <a:gd name="connsiteX1" fmla="*/ 209272 w 613483"/>
                  <a:gd name="connsiteY1" fmla="*/ 515749 h 1607032"/>
                  <a:gd name="connsiteX2" fmla="*/ 405584 w 613483"/>
                  <a:gd name="connsiteY2" fmla="*/ 975532 h 1607032"/>
                  <a:gd name="connsiteX3" fmla="*/ 113307 w 613483"/>
                  <a:gd name="connsiteY3" fmla="*/ 1190900 h 1607032"/>
                  <a:gd name="connsiteX4" fmla="*/ 285764 w 613483"/>
                  <a:gd name="connsiteY4" fmla="*/ 1443046 h 1607032"/>
                  <a:gd name="connsiteX5" fmla="*/ 580549 w 613483"/>
                  <a:gd name="connsiteY5" fmla="*/ 1559905 h 1607032"/>
                  <a:gd name="connsiteX6" fmla="*/ 558806 w 613483"/>
                  <a:gd name="connsiteY6" fmla="*/ 1181632 h 1607032"/>
                  <a:gd name="connsiteX7" fmla="*/ 462411 w 613483"/>
                  <a:gd name="connsiteY7" fmla="*/ 877376 h 1607032"/>
                  <a:gd name="connsiteX8" fmla="*/ 255767 w 613483"/>
                  <a:gd name="connsiteY8" fmla="*/ 355600 h 1607032"/>
                  <a:gd name="connsiteX9" fmla="*/ 105950 w 613483"/>
                  <a:gd name="connsiteY9" fmla="*/ 45634 h 1607032"/>
                  <a:gd name="connsiteX10" fmla="*/ 17220 w 613483"/>
                  <a:gd name="connsiteY10" fmla="*/ 81796 h 1607032"/>
                  <a:gd name="connsiteX0" fmla="*/ 22729 w 618992"/>
                  <a:gd name="connsiteY0" fmla="*/ 81796 h 1607032"/>
                  <a:gd name="connsiteX1" fmla="*/ 247831 w 618992"/>
                  <a:gd name="connsiteY1" fmla="*/ 515749 h 1607032"/>
                  <a:gd name="connsiteX2" fmla="*/ 411093 w 618992"/>
                  <a:gd name="connsiteY2" fmla="*/ 975532 h 1607032"/>
                  <a:gd name="connsiteX3" fmla="*/ 118816 w 618992"/>
                  <a:gd name="connsiteY3" fmla="*/ 1190900 h 1607032"/>
                  <a:gd name="connsiteX4" fmla="*/ 291273 w 618992"/>
                  <a:gd name="connsiteY4" fmla="*/ 1443046 h 1607032"/>
                  <a:gd name="connsiteX5" fmla="*/ 586058 w 618992"/>
                  <a:gd name="connsiteY5" fmla="*/ 1559905 h 1607032"/>
                  <a:gd name="connsiteX6" fmla="*/ 564315 w 618992"/>
                  <a:gd name="connsiteY6" fmla="*/ 1181632 h 1607032"/>
                  <a:gd name="connsiteX7" fmla="*/ 467920 w 618992"/>
                  <a:gd name="connsiteY7" fmla="*/ 877376 h 1607032"/>
                  <a:gd name="connsiteX8" fmla="*/ 261276 w 618992"/>
                  <a:gd name="connsiteY8" fmla="*/ 355600 h 1607032"/>
                  <a:gd name="connsiteX9" fmla="*/ 111459 w 618992"/>
                  <a:gd name="connsiteY9" fmla="*/ 45634 h 1607032"/>
                  <a:gd name="connsiteX10" fmla="*/ 22729 w 618992"/>
                  <a:gd name="connsiteY10" fmla="*/ 81796 h 1607032"/>
                  <a:gd name="connsiteX0" fmla="*/ 22729 w 641025"/>
                  <a:gd name="connsiteY0" fmla="*/ 81796 h 1607032"/>
                  <a:gd name="connsiteX1" fmla="*/ 269864 w 641025"/>
                  <a:gd name="connsiteY1" fmla="*/ 515749 h 1607032"/>
                  <a:gd name="connsiteX2" fmla="*/ 433126 w 641025"/>
                  <a:gd name="connsiteY2" fmla="*/ 975532 h 1607032"/>
                  <a:gd name="connsiteX3" fmla="*/ 140849 w 641025"/>
                  <a:gd name="connsiteY3" fmla="*/ 1190900 h 1607032"/>
                  <a:gd name="connsiteX4" fmla="*/ 313306 w 641025"/>
                  <a:gd name="connsiteY4" fmla="*/ 1443046 h 1607032"/>
                  <a:gd name="connsiteX5" fmla="*/ 608091 w 641025"/>
                  <a:gd name="connsiteY5" fmla="*/ 1559905 h 1607032"/>
                  <a:gd name="connsiteX6" fmla="*/ 586348 w 641025"/>
                  <a:gd name="connsiteY6" fmla="*/ 1181632 h 1607032"/>
                  <a:gd name="connsiteX7" fmla="*/ 489953 w 641025"/>
                  <a:gd name="connsiteY7" fmla="*/ 877376 h 1607032"/>
                  <a:gd name="connsiteX8" fmla="*/ 283309 w 641025"/>
                  <a:gd name="connsiteY8" fmla="*/ 355600 h 1607032"/>
                  <a:gd name="connsiteX9" fmla="*/ 133492 w 641025"/>
                  <a:gd name="connsiteY9" fmla="*/ 45634 h 1607032"/>
                  <a:gd name="connsiteX10" fmla="*/ 22729 w 641025"/>
                  <a:gd name="connsiteY10" fmla="*/ 81796 h 1607032"/>
                  <a:gd name="connsiteX0" fmla="*/ 22729 w 641025"/>
                  <a:gd name="connsiteY0" fmla="*/ 81796 h 1607032"/>
                  <a:gd name="connsiteX1" fmla="*/ 269864 w 641025"/>
                  <a:gd name="connsiteY1" fmla="*/ 515749 h 1607032"/>
                  <a:gd name="connsiteX2" fmla="*/ 433126 w 641025"/>
                  <a:gd name="connsiteY2" fmla="*/ 975532 h 1607032"/>
                  <a:gd name="connsiteX3" fmla="*/ 140849 w 641025"/>
                  <a:gd name="connsiteY3" fmla="*/ 1190900 h 1607032"/>
                  <a:gd name="connsiteX4" fmla="*/ 313306 w 641025"/>
                  <a:gd name="connsiteY4" fmla="*/ 1443046 h 1607032"/>
                  <a:gd name="connsiteX5" fmla="*/ 608091 w 641025"/>
                  <a:gd name="connsiteY5" fmla="*/ 1559905 h 1607032"/>
                  <a:gd name="connsiteX6" fmla="*/ 586348 w 641025"/>
                  <a:gd name="connsiteY6" fmla="*/ 1181632 h 1607032"/>
                  <a:gd name="connsiteX7" fmla="*/ 489953 w 641025"/>
                  <a:gd name="connsiteY7" fmla="*/ 877376 h 1607032"/>
                  <a:gd name="connsiteX8" fmla="*/ 283309 w 641025"/>
                  <a:gd name="connsiteY8" fmla="*/ 355600 h 1607032"/>
                  <a:gd name="connsiteX9" fmla="*/ 133492 w 641025"/>
                  <a:gd name="connsiteY9" fmla="*/ 45634 h 1607032"/>
                  <a:gd name="connsiteX10" fmla="*/ 22729 w 641025"/>
                  <a:gd name="connsiteY10" fmla="*/ 81796 h 1607032"/>
                  <a:gd name="connsiteX0" fmla="*/ 22729 w 641025"/>
                  <a:gd name="connsiteY0" fmla="*/ 81796 h 1607032"/>
                  <a:gd name="connsiteX1" fmla="*/ 269864 w 641025"/>
                  <a:gd name="connsiteY1" fmla="*/ 515749 h 1607032"/>
                  <a:gd name="connsiteX2" fmla="*/ 433126 w 641025"/>
                  <a:gd name="connsiteY2" fmla="*/ 975532 h 1607032"/>
                  <a:gd name="connsiteX3" fmla="*/ 140849 w 641025"/>
                  <a:gd name="connsiteY3" fmla="*/ 1190900 h 1607032"/>
                  <a:gd name="connsiteX4" fmla="*/ 313306 w 641025"/>
                  <a:gd name="connsiteY4" fmla="*/ 1443046 h 1607032"/>
                  <a:gd name="connsiteX5" fmla="*/ 608091 w 641025"/>
                  <a:gd name="connsiteY5" fmla="*/ 1559905 h 1607032"/>
                  <a:gd name="connsiteX6" fmla="*/ 586348 w 641025"/>
                  <a:gd name="connsiteY6" fmla="*/ 1181632 h 1607032"/>
                  <a:gd name="connsiteX7" fmla="*/ 489953 w 641025"/>
                  <a:gd name="connsiteY7" fmla="*/ 877376 h 1607032"/>
                  <a:gd name="connsiteX8" fmla="*/ 283309 w 641025"/>
                  <a:gd name="connsiteY8" fmla="*/ 355600 h 1607032"/>
                  <a:gd name="connsiteX9" fmla="*/ 133492 w 641025"/>
                  <a:gd name="connsiteY9" fmla="*/ 45634 h 1607032"/>
                  <a:gd name="connsiteX10" fmla="*/ 22729 w 641025"/>
                  <a:gd name="connsiteY10" fmla="*/ 81796 h 1607032"/>
                  <a:gd name="connsiteX0" fmla="*/ 22729 w 641025"/>
                  <a:gd name="connsiteY0" fmla="*/ 81796 h 1607032"/>
                  <a:gd name="connsiteX1" fmla="*/ 269864 w 641025"/>
                  <a:gd name="connsiteY1" fmla="*/ 515749 h 1607032"/>
                  <a:gd name="connsiteX2" fmla="*/ 452406 w 641025"/>
                  <a:gd name="connsiteY2" fmla="*/ 1008583 h 1607032"/>
                  <a:gd name="connsiteX3" fmla="*/ 140849 w 641025"/>
                  <a:gd name="connsiteY3" fmla="*/ 1190900 h 1607032"/>
                  <a:gd name="connsiteX4" fmla="*/ 313306 w 641025"/>
                  <a:gd name="connsiteY4" fmla="*/ 1443046 h 1607032"/>
                  <a:gd name="connsiteX5" fmla="*/ 608091 w 641025"/>
                  <a:gd name="connsiteY5" fmla="*/ 1559905 h 1607032"/>
                  <a:gd name="connsiteX6" fmla="*/ 586348 w 641025"/>
                  <a:gd name="connsiteY6" fmla="*/ 1181632 h 1607032"/>
                  <a:gd name="connsiteX7" fmla="*/ 489953 w 641025"/>
                  <a:gd name="connsiteY7" fmla="*/ 877376 h 1607032"/>
                  <a:gd name="connsiteX8" fmla="*/ 283309 w 641025"/>
                  <a:gd name="connsiteY8" fmla="*/ 355600 h 1607032"/>
                  <a:gd name="connsiteX9" fmla="*/ 133492 w 641025"/>
                  <a:gd name="connsiteY9" fmla="*/ 45634 h 1607032"/>
                  <a:gd name="connsiteX10" fmla="*/ 22729 w 641025"/>
                  <a:gd name="connsiteY10" fmla="*/ 81796 h 1607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1025" h="1607032">
                    <a:moveTo>
                      <a:pt x="22729" y="81796"/>
                    </a:moveTo>
                    <a:cubicBezTo>
                      <a:pt x="100542" y="69259"/>
                      <a:pt x="198251" y="361285"/>
                      <a:pt x="269864" y="515749"/>
                    </a:cubicBezTo>
                    <a:cubicBezTo>
                      <a:pt x="341477" y="670214"/>
                      <a:pt x="451876" y="907075"/>
                      <a:pt x="452406" y="1008583"/>
                    </a:cubicBezTo>
                    <a:cubicBezTo>
                      <a:pt x="430903" y="1121108"/>
                      <a:pt x="317370" y="1145003"/>
                      <a:pt x="140849" y="1190900"/>
                    </a:cubicBezTo>
                    <a:cubicBezTo>
                      <a:pt x="144833" y="1237116"/>
                      <a:pt x="236499" y="1375250"/>
                      <a:pt x="313306" y="1443046"/>
                    </a:cubicBezTo>
                    <a:cubicBezTo>
                      <a:pt x="408623" y="1530525"/>
                      <a:pt x="570293" y="1607032"/>
                      <a:pt x="608091" y="1559905"/>
                    </a:cubicBezTo>
                    <a:cubicBezTo>
                      <a:pt x="641025" y="1469003"/>
                      <a:pt x="620270" y="1316734"/>
                      <a:pt x="586348" y="1181632"/>
                    </a:cubicBezTo>
                    <a:cubicBezTo>
                      <a:pt x="548868" y="1067877"/>
                      <a:pt x="540460" y="1015048"/>
                      <a:pt x="489953" y="877376"/>
                    </a:cubicBezTo>
                    <a:cubicBezTo>
                      <a:pt x="439446" y="739704"/>
                      <a:pt x="342719" y="494224"/>
                      <a:pt x="283309" y="355600"/>
                    </a:cubicBezTo>
                    <a:cubicBezTo>
                      <a:pt x="223899" y="216976"/>
                      <a:pt x="176922" y="91268"/>
                      <a:pt x="133492" y="45634"/>
                    </a:cubicBezTo>
                    <a:cubicBezTo>
                      <a:pt x="90062" y="0"/>
                      <a:pt x="0" y="3444"/>
                      <a:pt x="22729" y="8179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84" name="Freeform 295">
                <a:extLst>
                  <a:ext uri="{FF2B5EF4-FFF2-40B4-BE49-F238E27FC236}">
                    <a16:creationId xmlns:a16="http://schemas.microsoft.com/office/drawing/2014/main" id="{19630B0D-E66D-4FBD-B96E-042296F09435}"/>
                  </a:ext>
                </a:extLst>
              </p:cNvPr>
              <p:cNvSpPr/>
              <p:nvPr/>
            </p:nvSpPr>
            <p:spPr>
              <a:xfrm rot="21114987" flipH="1">
                <a:off x="6586147" y="2568459"/>
                <a:ext cx="565527" cy="828422"/>
              </a:xfrm>
              <a:custGeom>
                <a:avLst/>
                <a:gdLst>
                  <a:gd name="connsiteX0" fmla="*/ 0 w 5120162"/>
                  <a:gd name="connsiteY0" fmla="*/ 4613563 h 7045036"/>
                  <a:gd name="connsiteX1" fmla="*/ 685800 w 5120162"/>
                  <a:gd name="connsiteY1" fmla="*/ 4260273 h 7045036"/>
                  <a:gd name="connsiteX2" fmla="*/ 1433945 w 5120162"/>
                  <a:gd name="connsiteY2" fmla="*/ 3990109 h 7045036"/>
                  <a:gd name="connsiteX3" fmla="*/ 1974273 w 5120162"/>
                  <a:gd name="connsiteY3" fmla="*/ 3969327 h 7045036"/>
                  <a:gd name="connsiteX4" fmla="*/ 2556164 w 5120162"/>
                  <a:gd name="connsiteY4" fmla="*/ 3532909 h 7045036"/>
                  <a:gd name="connsiteX5" fmla="*/ 2805545 w 5120162"/>
                  <a:gd name="connsiteY5" fmla="*/ 3574473 h 7045036"/>
                  <a:gd name="connsiteX6" fmla="*/ 2847109 w 5120162"/>
                  <a:gd name="connsiteY6" fmla="*/ 1808018 h 7045036"/>
                  <a:gd name="connsiteX7" fmla="*/ 3221182 w 5120162"/>
                  <a:gd name="connsiteY7" fmla="*/ 1413163 h 7045036"/>
                  <a:gd name="connsiteX8" fmla="*/ 3449782 w 5120162"/>
                  <a:gd name="connsiteY8" fmla="*/ 394854 h 7045036"/>
                  <a:gd name="connsiteX9" fmla="*/ 3823854 w 5120162"/>
                  <a:gd name="connsiteY9" fmla="*/ 0 h 7045036"/>
                  <a:gd name="connsiteX10" fmla="*/ 3906982 w 5120162"/>
                  <a:gd name="connsiteY10" fmla="*/ 332509 h 7045036"/>
                  <a:gd name="connsiteX11" fmla="*/ 4073236 w 5120162"/>
                  <a:gd name="connsiteY11" fmla="*/ 789709 h 7045036"/>
                  <a:gd name="connsiteX12" fmla="*/ 4094018 w 5120162"/>
                  <a:gd name="connsiteY12" fmla="*/ 1101436 h 7045036"/>
                  <a:gd name="connsiteX13" fmla="*/ 4239491 w 5120162"/>
                  <a:gd name="connsiteY13" fmla="*/ 1288473 h 7045036"/>
                  <a:gd name="connsiteX14" fmla="*/ 4177145 w 5120162"/>
                  <a:gd name="connsiteY14" fmla="*/ 1475509 h 7045036"/>
                  <a:gd name="connsiteX15" fmla="*/ 4405745 w 5120162"/>
                  <a:gd name="connsiteY15" fmla="*/ 1683327 h 7045036"/>
                  <a:gd name="connsiteX16" fmla="*/ 4447309 w 5120162"/>
                  <a:gd name="connsiteY16" fmla="*/ 2119745 h 7045036"/>
                  <a:gd name="connsiteX17" fmla="*/ 4779818 w 5120162"/>
                  <a:gd name="connsiteY17" fmla="*/ 3075709 h 7045036"/>
                  <a:gd name="connsiteX18" fmla="*/ 4675909 w 5120162"/>
                  <a:gd name="connsiteY18" fmla="*/ 4343400 h 7045036"/>
                  <a:gd name="connsiteX19" fmla="*/ 4572000 w 5120162"/>
                  <a:gd name="connsiteY19" fmla="*/ 5091545 h 7045036"/>
                  <a:gd name="connsiteX20" fmla="*/ 4281054 w 5120162"/>
                  <a:gd name="connsiteY20" fmla="*/ 5403273 h 7045036"/>
                  <a:gd name="connsiteX21" fmla="*/ 2680854 w 5120162"/>
                  <a:gd name="connsiteY21" fmla="*/ 6047509 h 7045036"/>
                  <a:gd name="connsiteX22" fmla="*/ 852054 w 5120162"/>
                  <a:gd name="connsiteY22" fmla="*/ 7045036 h 7045036"/>
                  <a:gd name="connsiteX23" fmla="*/ 644236 w 5120162"/>
                  <a:gd name="connsiteY23" fmla="*/ 5881254 h 7045036"/>
                  <a:gd name="connsiteX24" fmla="*/ 0 w 5120162"/>
                  <a:gd name="connsiteY24" fmla="*/ 4613563 h 7045036"/>
                  <a:gd name="connsiteX0" fmla="*/ 0 w 5120162"/>
                  <a:gd name="connsiteY0" fmla="*/ 4613563 h 7045036"/>
                  <a:gd name="connsiteX1" fmla="*/ 685800 w 5120162"/>
                  <a:gd name="connsiteY1" fmla="*/ 4260273 h 7045036"/>
                  <a:gd name="connsiteX2" fmla="*/ 1433945 w 5120162"/>
                  <a:gd name="connsiteY2" fmla="*/ 3990109 h 7045036"/>
                  <a:gd name="connsiteX3" fmla="*/ 1974273 w 5120162"/>
                  <a:gd name="connsiteY3" fmla="*/ 3969327 h 7045036"/>
                  <a:gd name="connsiteX4" fmla="*/ 2556164 w 5120162"/>
                  <a:gd name="connsiteY4" fmla="*/ 3532909 h 7045036"/>
                  <a:gd name="connsiteX5" fmla="*/ 2805545 w 5120162"/>
                  <a:gd name="connsiteY5" fmla="*/ 3574473 h 7045036"/>
                  <a:gd name="connsiteX6" fmla="*/ 2894734 w 5120162"/>
                  <a:gd name="connsiteY6" fmla="*/ 1836593 h 7045036"/>
                  <a:gd name="connsiteX7" fmla="*/ 3221182 w 5120162"/>
                  <a:gd name="connsiteY7" fmla="*/ 1413163 h 7045036"/>
                  <a:gd name="connsiteX8" fmla="*/ 3449782 w 5120162"/>
                  <a:gd name="connsiteY8" fmla="*/ 394854 h 7045036"/>
                  <a:gd name="connsiteX9" fmla="*/ 3823854 w 5120162"/>
                  <a:gd name="connsiteY9" fmla="*/ 0 h 7045036"/>
                  <a:gd name="connsiteX10" fmla="*/ 3906982 w 5120162"/>
                  <a:gd name="connsiteY10" fmla="*/ 332509 h 7045036"/>
                  <a:gd name="connsiteX11" fmla="*/ 4073236 w 5120162"/>
                  <a:gd name="connsiteY11" fmla="*/ 789709 h 7045036"/>
                  <a:gd name="connsiteX12" fmla="*/ 4094018 w 5120162"/>
                  <a:gd name="connsiteY12" fmla="*/ 1101436 h 7045036"/>
                  <a:gd name="connsiteX13" fmla="*/ 4239491 w 5120162"/>
                  <a:gd name="connsiteY13" fmla="*/ 1288473 h 7045036"/>
                  <a:gd name="connsiteX14" fmla="*/ 4177145 w 5120162"/>
                  <a:gd name="connsiteY14" fmla="*/ 1475509 h 7045036"/>
                  <a:gd name="connsiteX15" fmla="*/ 4405745 w 5120162"/>
                  <a:gd name="connsiteY15" fmla="*/ 1683327 h 7045036"/>
                  <a:gd name="connsiteX16" fmla="*/ 4447309 w 5120162"/>
                  <a:gd name="connsiteY16" fmla="*/ 2119745 h 7045036"/>
                  <a:gd name="connsiteX17" fmla="*/ 4779818 w 5120162"/>
                  <a:gd name="connsiteY17" fmla="*/ 3075709 h 7045036"/>
                  <a:gd name="connsiteX18" fmla="*/ 4675909 w 5120162"/>
                  <a:gd name="connsiteY18" fmla="*/ 4343400 h 7045036"/>
                  <a:gd name="connsiteX19" fmla="*/ 4572000 w 5120162"/>
                  <a:gd name="connsiteY19" fmla="*/ 5091545 h 7045036"/>
                  <a:gd name="connsiteX20" fmla="*/ 4281054 w 5120162"/>
                  <a:gd name="connsiteY20" fmla="*/ 5403273 h 7045036"/>
                  <a:gd name="connsiteX21" fmla="*/ 2680854 w 5120162"/>
                  <a:gd name="connsiteY21" fmla="*/ 6047509 h 7045036"/>
                  <a:gd name="connsiteX22" fmla="*/ 852054 w 5120162"/>
                  <a:gd name="connsiteY22" fmla="*/ 7045036 h 7045036"/>
                  <a:gd name="connsiteX23" fmla="*/ 644236 w 5120162"/>
                  <a:gd name="connsiteY23" fmla="*/ 5881254 h 7045036"/>
                  <a:gd name="connsiteX24" fmla="*/ 0 w 5120162"/>
                  <a:gd name="connsiteY24" fmla="*/ 4613563 h 7045036"/>
                  <a:gd name="connsiteX0" fmla="*/ 0 w 5120162"/>
                  <a:gd name="connsiteY0" fmla="*/ 4613563 h 7045036"/>
                  <a:gd name="connsiteX1" fmla="*/ 685800 w 5120162"/>
                  <a:gd name="connsiteY1" fmla="*/ 4260273 h 7045036"/>
                  <a:gd name="connsiteX2" fmla="*/ 1433945 w 5120162"/>
                  <a:gd name="connsiteY2" fmla="*/ 3990109 h 7045036"/>
                  <a:gd name="connsiteX3" fmla="*/ 1974273 w 5120162"/>
                  <a:gd name="connsiteY3" fmla="*/ 3969327 h 7045036"/>
                  <a:gd name="connsiteX4" fmla="*/ 2556164 w 5120162"/>
                  <a:gd name="connsiteY4" fmla="*/ 3532909 h 7045036"/>
                  <a:gd name="connsiteX5" fmla="*/ 2805545 w 5120162"/>
                  <a:gd name="connsiteY5" fmla="*/ 3574473 h 7045036"/>
                  <a:gd name="connsiteX6" fmla="*/ 2894734 w 5120162"/>
                  <a:gd name="connsiteY6" fmla="*/ 1836593 h 7045036"/>
                  <a:gd name="connsiteX7" fmla="*/ 3249757 w 5120162"/>
                  <a:gd name="connsiteY7" fmla="*/ 1451263 h 7045036"/>
                  <a:gd name="connsiteX8" fmla="*/ 3449782 w 5120162"/>
                  <a:gd name="connsiteY8" fmla="*/ 394854 h 7045036"/>
                  <a:gd name="connsiteX9" fmla="*/ 3823854 w 5120162"/>
                  <a:gd name="connsiteY9" fmla="*/ 0 h 7045036"/>
                  <a:gd name="connsiteX10" fmla="*/ 3906982 w 5120162"/>
                  <a:gd name="connsiteY10" fmla="*/ 332509 h 7045036"/>
                  <a:gd name="connsiteX11" fmla="*/ 4073236 w 5120162"/>
                  <a:gd name="connsiteY11" fmla="*/ 789709 h 7045036"/>
                  <a:gd name="connsiteX12" fmla="*/ 4094018 w 5120162"/>
                  <a:gd name="connsiteY12" fmla="*/ 1101436 h 7045036"/>
                  <a:gd name="connsiteX13" fmla="*/ 4239491 w 5120162"/>
                  <a:gd name="connsiteY13" fmla="*/ 1288473 h 7045036"/>
                  <a:gd name="connsiteX14" fmla="*/ 4177145 w 5120162"/>
                  <a:gd name="connsiteY14" fmla="*/ 1475509 h 7045036"/>
                  <a:gd name="connsiteX15" fmla="*/ 4405745 w 5120162"/>
                  <a:gd name="connsiteY15" fmla="*/ 1683327 h 7045036"/>
                  <a:gd name="connsiteX16" fmla="*/ 4447309 w 5120162"/>
                  <a:gd name="connsiteY16" fmla="*/ 2119745 h 7045036"/>
                  <a:gd name="connsiteX17" fmla="*/ 4779818 w 5120162"/>
                  <a:gd name="connsiteY17" fmla="*/ 3075709 h 7045036"/>
                  <a:gd name="connsiteX18" fmla="*/ 4675909 w 5120162"/>
                  <a:gd name="connsiteY18" fmla="*/ 4343400 h 7045036"/>
                  <a:gd name="connsiteX19" fmla="*/ 4572000 w 5120162"/>
                  <a:gd name="connsiteY19" fmla="*/ 5091545 h 7045036"/>
                  <a:gd name="connsiteX20" fmla="*/ 4281054 w 5120162"/>
                  <a:gd name="connsiteY20" fmla="*/ 5403273 h 7045036"/>
                  <a:gd name="connsiteX21" fmla="*/ 2680854 w 5120162"/>
                  <a:gd name="connsiteY21" fmla="*/ 6047509 h 7045036"/>
                  <a:gd name="connsiteX22" fmla="*/ 852054 w 5120162"/>
                  <a:gd name="connsiteY22" fmla="*/ 7045036 h 7045036"/>
                  <a:gd name="connsiteX23" fmla="*/ 644236 w 5120162"/>
                  <a:gd name="connsiteY23" fmla="*/ 5881254 h 7045036"/>
                  <a:gd name="connsiteX24" fmla="*/ 0 w 5120162"/>
                  <a:gd name="connsiteY24" fmla="*/ 4613563 h 7045036"/>
                  <a:gd name="connsiteX0" fmla="*/ 0 w 5120162"/>
                  <a:gd name="connsiteY0" fmla="*/ 4613563 h 7045036"/>
                  <a:gd name="connsiteX1" fmla="*/ 685800 w 5120162"/>
                  <a:gd name="connsiteY1" fmla="*/ 4260273 h 7045036"/>
                  <a:gd name="connsiteX2" fmla="*/ 1433945 w 5120162"/>
                  <a:gd name="connsiteY2" fmla="*/ 3990109 h 7045036"/>
                  <a:gd name="connsiteX3" fmla="*/ 1974273 w 5120162"/>
                  <a:gd name="connsiteY3" fmla="*/ 3969327 h 7045036"/>
                  <a:gd name="connsiteX4" fmla="*/ 2556164 w 5120162"/>
                  <a:gd name="connsiteY4" fmla="*/ 3532909 h 7045036"/>
                  <a:gd name="connsiteX5" fmla="*/ 2805545 w 5120162"/>
                  <a:gd name="connsiteY5" fmla="*/ 3574473 h 7045036"/>
                  <a:gd name="connsiteX6" fmla="*/ 2894734 w 5120162"/>
                  <a:gd name="connsiteY6" fmla="*/ 1836593 h 7045036"/>
                  <a:gd name="connsiteX7" fmla="*/ 3249757 w 5120162"/>
                  <a:gd name="connsiteY7" fmla="*/ 1451263 h 7045036"/>
                  <a:gd name="connsiteX8" fmla="*/ 3449782 w 5120162"/>
                  <a:gd name="connsiteY8" fmla="*/ 394854 h 7045036"/>
                  <a:gd name="connsiteX9" fmla="*/ 3823854 w 5120162"/>
                  <a:gd name="connsiteY9" fmla="*/ 0 h 7045036"/>
                  <a:gd name="connsiteX10" fmla="*/ 3906982 w 5120162"/>
                  <a:gd name="connsiteY10" fmla="*/ 332509 h 7045036"/>
                  <a:gd name="connsiteX11" fmla="*/ 4073236 w 5120162"/>
                  <a:gd name="connsiteY11" fmla="*/ 789709 h 7045036"/>
                  <a:gd name="connsiteX12" fmla="*/ 4094018 w 5120162"/>
                  <a:gd name="connsiteY12" fmla="*/ 1101436 h 7045036"/>
                  <a:gd name="connsiteX13" fmla="*/ 4239491 w 5120162"/>
                  <a:gd name="connsiteY13" fmla="*/ 1288473 h 7045036"/>
                  <a:gd name="connsiteX14" fmla="*/ 4177145 w 5120162"/>
                  <a:gd name="connsiteY14" fmla="*/ 1475509 h 7045036"/>
                  <a:gd name="connsiteX15" fmla="*/ 4415270 w 5120162"/>
                  <a:gd name="connsiteY15" fmla="*/ 1769052 h 7045036"/>
                  <a:gd name="connsiteX16" fmla="*/ 4447309 w 5120162"/>
                  <a:gd name="connsiteY16" fmla="*/ 2119745 h 7045036"/>
                  <a:gd name="connsiteX17" fmla="*/ 4779818 w 5120162"/>
                  <a:gd name="connsiteY17" fmla="*/ 3075709 h 7045036"/>
                  <a:gd name="connsiteX18" fmla="*/ 4675909 w 5120162"/>
                  <a:gd name="connsiteY18" fmla="*/ 4343400 h 7045036"/>
                  <a:gd name="connsiteX19" fmla="*/ 4572000 w 5120162"/>
                  <a:gd name="connsiteY19" fmla="*/ 5091545 h 7045036"/>
                  <a:gd name="connsiteX20" fmla="*/ 4281054 w 5120162"/>
                  <a:gd name="connsiteY20" fmla="*/ 5403273 h 7045036"/>
                  <a:gd name="connsiteX21" fmla="*/ 2680854 w 5120162"/>
                  <a:gd name="connsiteY21" fmla="*/ 6047509 h 7045036"/>
                  <a:gd name="connsiteX22" fmla="*/ 852054 w 5120162"/>
                  <a:gd name="connsiteY22" fmla="*/ 7045036 h 7045036"/>
                  <a:gd name="connsiteX23" fmla="*/ 644236 w 5120162"/>
                  <a:gd name="connsiteY23" fmla="*/ 5881254 h 7045036"/>
                  <a:gd name="connsiteX24" fmla="*/ 0 w 5120162"/>
                  <a:gd name="connsiteY24" fmla="*/ 4613563 h 7045036"/>
                  <a:gd name="connsiteX0" fmla="*/ 0 w 5120162"/>
                  <a:gd name="connsiteY0" fmla="*/ 4613563 h 7045036"/>
                  <a:gd name="connsiteX1" fmla="*/ 685800 w 5120162"/>
                  <a:gd name="connsiteY1" fmla="*/ 4260273 h 7045036"/>
                  <a:gd name="connsiteX2" fmla="*/ 1433945 w 5120162"/>
                  <a:gd name="connsiteY2" fmla="*/ 3990109 h 7045036"/>
                  <a:gd name="connsiteX3" fmla="*/ 1974273 w 5120162"/>
                  <a:gd name="connsiteY3" fmla="*/ 3969327 h 7045036"/>
                  <a:gd name="connsiteX4" fmla="*/ 2556164 w 5120162"/>
                  <a:gd name="connsiteY4" fmla="*/ 3532909 h 7045036"/>
                  <a:gd name="connsiteX5" fmla="*/ 2805545 w 5120162"/>
                  <a:gd name="connsiteY5" fmla="*/ 3574473 h 7045036"/>
                  <a:gd name="connsiteX6" fmla="*/ 2894734 w 5120162"/>
                  <a:gd name="connsiteY6" fmla="*/ 1836593 h 7045036"/>
                  <a:gd name="connsiteX7" fmla="*/ 3249757 w 5120162"/>
                  <a:gd name="connsiteY7" fmla="*/ 1451263 h 7045036"/>
                  <a:gd name="connsiteX8" fmla="*/ 3449782 w 5120162"/>
                  <a:gd name="connsiteY8" fmla="*/ 394854 h 7045036"/>
                  <a:gd name="connsiteX9" fmla="*/ 3823854 w 5120162"/>
                  <a:gd name="connsiteY9" fmla="*/ 0 h 7045036"/>
                  <a:gd name="connsiteX10" fmla="*/ 3906982 w 5120162"/>
                  <a:gd name="connsiteY10" fmla="*/ 332509 h 7045036"/>
                  <a:gd name="connsiteX11" fmla="*/ 4073236 w 5120162"/>
                  <a:gd name="connsiteY11" fmla="*/ 789709 h 7045036"/>
                  <a:gd name="connsiteX12" fmla="*/ 4094018 w 5120162"/>
                  <a:gd name="connsiteY12" fmla="*/ 1101436 h 7045036"/>
                  <a:gd name="connsiteX13" fmla="*/ 4239491 w 5120162"/>
                  <a:gd name="connsiteY13" fmla="*/ 1288473 h 7045036"/>
                  <a:gd name="connsiteX14" fmla="*/ 4177145 w 5120162"/>
                  <a:gd name="connsiteY14" fmla="*/ 1475509 h 7045036"/>
                  <a:gd name="connsiteX15" fmla="*/ 4415270 w 5120162"/>
                  <a:gd name="connsiteY15" fmla="*/ 1769052 h 7045036"/>
                  <a:gd name="connsiteX16" fmla="*/ 4447309 w 5120162"/>
                  <a:gd name="connsiteY16" fmla="*/ 2119745 h 7045036"/>
                  <a:gd name="connsiteX17" fmla="*/ 4779818 w 5120162"/>
                  <a:gd name="connsiteY17" fmla="*/ 3075709 h 7045036"/>
                  <a:gd name="connsiteX18" fmla="*/ 4675909 w 5120162"/>
                  <a:gd name="connsiteY18" fmla="*/ 4343400 h 7045036"/>
                  <a:gd name="connsiteX19" fmla="*/ 4572000 w 5120162"/>
                  <a:gd name="connsiteY19" fmla="*/ 5091545 h 7045036"/>
                  <a:gd name="connsiteX20" fmla="*/ 4281054 w 5120162"/>
                  <a:gd name="connsiteY20" fmla="*/ 5403273 h 7045036"/>
                  <a:gd name="connsiteX21" fmla="*/ 2680854 w 5120162"/>
                  <a:gd name="connsiteY21" fmla="*/ 6047509 h 7045036"/>
                  <a:gd name="connsiteX22" fmla="*/ 852054 w 5120162"/>
                  <a:gd name="connsiteY22" fmla="*/ 7045036 h 7045036"/>
                  <a:gd name="connsiteX23" fmla="*/ 644236 w 5120162"/>
                  <a:gd name="connsiteY23" fmla="*/ 5881254 h 7045036"/>
                  <a:gd name="connsiteX24" fmla="*/ 0 w 5120162"/>
                  <a:gd name="connsiteY24" fmla="*/ 4613563 h 7045036"/>
                  <a:gd name="connsiteX0" fmla="*/ 0 w 5120162"/>
                  <a:gd name="connsiteY0" fmla="*/ 4613563 h 7045036"/>
                  <a:gd name="connsiteX1" fmla="*/ 685800 w 5120162"/>
                  <a:gd name="connsiteY1" fmla="*/ 4260273 h 7045036"/>
                  <a:gd name="connsiteX2" fmla="*/ 1433945 w 5120162"/>
                  <a:gd name="connsiteY2" fmla="*/ 3990109 h 7045036"/>
                  <a:gd name="connsiteX3" fmla="*/ 1974273 w 5120162"/>
                  <a:gd name="connsiteY3" fmla="*/ 3969327 h 7045036"/>
                  <a:gd name="connsiteX4" fmla="*/ 2556164 w 5120162"/>
                  <a:gd name="connsiteY4" fmla="*/ 3532909 h 7045036"/>
                  <a:gd name="connsiteX5" fmla="*/ 2805545 w 5120162"/>
                  <a:gd name="connsiteY5" fmla="*/ 3574473 h 7045036"/>
                  <a:gd name="connsiteX6" fmla="*/ 2894734 w 5120162"/>
                  <a:gd name="connsiteY6" fmla="*/ 1836593 h 7045036"/>
                  <a:gd name="connsiteX7" fmla="*/ 3249757 w 5120162"/>
                  <a:gd name="connsiteY7" fmla="*/ 1451263 h 7045036"/>
                  <a:gd name="connsiteX8" fmla="*/ 3449782 w 5120162"/>
                  <a:gd name="connsiteY8" fmla="*/ 394854 h 7045036"/>
                  <a:gd name="connsiteX9" fmla="*/ 3823854 w 5120162"/>
                  <a:gd name="connsiteY9" fmla="*/ 0 h 7045036"/>
                  <a:gd name="connsiteX10" fmla="*/ 4073236 w 5120162"/>
                  <a:gd name="connsiteY10" fmla="*/ 789709 h 7045036"/>
                  <a:gd name="connsiteX11" fmla="*/ 4094018 w 5120162"/>
                  <a:gd name="connsiteY11" fmla="*/ 1101436 h 7045036"/>
                  <a:gd name="connsiteX12" fmla="*/ 4239491 w 5120162"/>
                  <a:gd name="connsiteY12" fmla="*/ 1288473 h 7045036"/>
                  <a:gd name="connsiteX13" fmla="*/ 4177145 w 5120162"/>
                  <a:gd name="connsiteY13" fmla="*/ 1475509 h 7045036"/>
                  <a:gd name="connsiteX14" fmla="*/ 4415270 w 5120162"/>
                  <a:gd name="connsiteY14" fmla="*/ 1769052 h 7045036"/>
                  <a:gd name="connsiteX15" fmla="*/ 4447309 w 5120162"/>
                  <a:gd name="connsiteY15" fmla="*/ 2119745 h 7045036"/>
                  <a:gd name="connsiteX16" fmla="*/ 4779818 w 5120162"/>
                  <a:gd name="connsiteY16" fmla="*/ 3075709 h 7045036"/>
                  <a:gd name="connsiteX17" fmla="*/ 4675909 w 5120162"/>
                  <a:gd name="connsiteY17" fmla="*/ 4343400 h 7045036"/>
                  <a:gd name="connsiteX18" fmla="*/ 4572000 w 5120162"/>
                  <a:gd name="connsiteY18" fmla="*/ 5091545 h 7045036"/>
                  <a:gd name="connsiteX19" fmla="*/ 4281054 w 5120162"/>
                  <a:gd name="connsiteY19" fmla="*/ 5403273 h 7045036"/>
                  <a:gd name="connsiteX20" fmla="*/ 2680854 w 5120162"/>
                  <a:gd name="connsiteY20" fmla="*/ 6047509 h 7045036"/>
                  <a:gd name="connsiteX21" fmla="*/ 852054 w 5120162"/>
                  <a:gd name="connsiteY21" fmla="*/ 7045036 h 7045036"/>
                  <a:gd name="connsiteX22" fmla="*/ 644236 w 5120162"/>
                  <a:gd name="connsiteY22" fmla="*/ 5881254 h 7045036"/>
                  <a:gd name="connsiteX23" fmla="*/ 0 w 5120162"/>
                  <a:gd name="connsiteY23" fmla="*/ 4613563 h 7045036"/>
                  <a:gd name="connsiteX0" fmla="*/ 0 w 5120162"/>
                  <a:gd name="connsiteY0" fmla="*/ 4565938 h 6997411"/>
                  <a:gd name="connsiteX1" fmla="*/ 685800 w 5120162"/>
                  <a:gd name="connsiteY1" fmla="*/ 4212648 h 6997411"/>
                  <a:gd name="connsiteX2" fmla="*/ 1433945 w 5120162"/>
                  <a:gd name="connsiteY2" fmla="*/ 3942484 h 6997411"/>
                  <a:gd name="connsiteX3" fmla="*/ 1974273 w 5120162"/>
                  <a:gd name="connsiteY3" fmla="*/ 3921702 h 6997411"/>
                  <a:gd name="connsiteX4" fmla="*/ 2556164 w 5120162"/>
                  <a:gd name="connsiteY4" fmla="*/ 3485284 h 6997411"/>
                  <a:gd name="connsiteX5" fmla="*/ 2805545 w 5120162"/>
                  <a:gd name="connsiteY5" fmla="*/ 3526848 h 6997411"/>
                  <a:gd name="connsiteX6" fmla="*/ 2894734 w 5120162"/>
                  <a:gd name="connsiteY6" fmla="*/ 1788968 h 6997411"/>
                  <a:gd name="connsiteX7" fmla="*/ 3249757 w 5120162"/>
                  <a:gd name="connsiteY7" fmla="*/ 1403638 h 6997411"/>
                  <a:gd name="connsiteX8" fmla="*/ 3449782 w 5120162"/>
                  <a:gd name="connsiteY8" fmla="*/ 347229 h 6997411"/>
                  <a:gd name="connsiteX9" fmla="*/ 3776229 w 5120162"/>
                  <a:gd name="connsiteY9" fmla="*/ 0 h 6997411"/>
                  <a:gd name="connsiteX10" fmla="*/ 4073236 w 5120162"/>
                  <a:gd name="connsiteY10" fmla="*/ 742084 h 6997411"/>
                  <a:gd name="connsiteX11" fmla="*/ 4094018 w 5120162"/>
                  <a:gd name="connsiteY11" fmla="*/ 1053811 h 6997411"/>
                  <a:gd name="connsiteX12" fmla="*/ 4239491 w 5120162"/>
                  <a:gd name="connsiteY12" fmla="*/ 1240848 h 6997411"/>
                  <a:gd name="connsiteX13" fmla="*/ 4177145 w 5120162"/>
                  <a:gd name="connsiteY13" fmla="*/ 1427884 h 6997411"/>
                  <a:gd name="connsiteX14" fmla="*/ 4415270 w 5120162"/>
                  <a:gd name="connsiteY14" fmla="*/ 1721427 h 6997411"/>
                  <a:gd name="connsiteX15" fmla="*/ 4447309 w 5120162"/>
                  <a:gd name="connsiteY15" fmla="*/ 2072120 h 6997411"/>
                  <a:gd name="connsiteX16" fmla="*/ 4779818 w 5120162"/>
                  <a:gd name="connsiteY16" fmla="*/ 3028084 h 6997411"/>
                  <a:gd name="connsiteX17" fmla="*/ 4675909 w 5120162"/>
                  <a:gd name="connsiteY17" fmla="*/ 4295775 h 6997411"/>
                  <a:gd name="connsiteX18" fmla="*/ 4572000 w 5120162"/>
                  <a:gd name="connsiteY18" fmla="*/ 5043920 h 6997411"/>
                  <a:gd name="connsiteX19" fmla="*/ 4281054 w 5120162"/>
                  <a:gd name="connsiteY19" fmla="*/ 5355648 h 6997411"/>
                  <a:gd name="connsiteX20" fmla="*/ 2680854 w 5120162"/>
                  <a:gd name="connsiteY20" fmla="*/ 5999884 h 6997411"/>
                  <a:gd name="connsiteX21" fmla="*/ 852054 w 5120162"/>
                  <a:gd name="connsiteY21" fmla="*/ 6997411 h 6997411"/>
                  <a:gd name="connsiteX22" fmla="*/ 644236 w 5120162"/>
                  <a:gd name="connsiteY22" fmla="*/ 5833629 h 6997411"/>
                  <a:gd name="connsiteX23" fmla="*/ 0 w 5120162"/>
                  <a:gd name="connsiteY23" fmla="*/ 4565938 h 6997411"/>
                  <a:gd name="connsiteX0" fmla="*/ 0 w 5120162"/>
                  <a:gd name="connsiteY0" fmla="*/ 4566227 h 6997700"/>
                  <a:gd name="connsiteX1" fmla="*/ 685800 w 5120162"/>
                  <a:gd name="connsiteY1" fmla="*/ 4212937 h 6997700"/>
                  <a:gd name="connsiteX2" fmla="*/ 1433945 w 5120162"/>
                  <a:gd name="connsiteY2" fmla="*/ 3942773 h 6997700"/>
                  <a:gd name="connsiteX3" fmla="*/ 1974273 w 5120162"/>
                  <a:gd name="connsiteY3" fmla="*/ 3921991 h 6997700"/>
                  <a:gd name="connsiteX4" fmla="*/ 2556164 w 5120162"/>
                  <a:gd name="connsiteY4" fmla="*/ 3485573 h 6997700"/>
                  <a:gd name="connsiteX5" fmla="*/ 2805545 w 5120162"/>
                  <a:gd name="connsiteY5" fmla="*/ 3527137 h 6997700"/>
                  <a:gd name="connsiteX6" fmla="*/ 2894734 w 5120162"/>
                  <a:gd name="connsiteY6" fmla="*/ 1789257 h 6997700"/>
                  <a:gd name="connsiteX7" fmla="*/ 3249757 w 5120162"/>
                  <a:gd name="connsiteY7" fmla="*/ 1403927 h 6997700"/>
                  <a:gd name="connsiteX8" fmla="*/ 3449782 w 5120162"/>
                  <a:gd name="connsiteY8" fmla="*/ 347518 h 6997700"/>
                  <a:gd name="connsiteX9" fmla="*/ 3776229 w 5120162"/>
                  <a:gd name="connsiteY9" fmla="*/ 289 h 6997700"/>
                  <a:gd name="connsiteX10" fmla="*/ 4073236 w 5120162"/>
                  <a:gd name="connsiteY10" fmla="*/ 742373 h 6997700"/>
                  <a:gd name="connsiteX11" fmla="*/ 4094018 w 5120162"/>
                  <a:gd name="connsiteY11" fmla="*/ 1054100 h 6997700"/>
                  <a:gd name="connsiteX12" fmla="*/ 4239491 w 5120162"/>
                  <a:gd name="connsiteY12" fmla="*/ 1241137 h 6997700"/>
                  <a:gd name="connsiteX13" fmla="*/ 4177145 w 5120162"/>
                  <a:gd name="connsiteY13" fmla="*/ 1428173 h 6997700"/>
                  <a:gd name="connsiteX14" fmla="*/ 4415270 w 5120162"/>
                  <a:gd name="connsiteY14" fmla="*/ 1721716 h 6997700"/>
                  <a:gd name="connsiteX15" fmla="*/ 4447309 w 5120162"/>
                  <a:gd name="connsiteY15" fmla="*/ 2072409 h 6997700"/>
                  <a:gd name="connsiteX16" fmla="*/ 4779818 w 5120162"/>
                  <a:gd name="connsiteY16" fmla="*/ 3028373 h 6997700"/>
                  <a:gd name="connsiteX17" fmla="*/ 4675909 w 5120162"/>
                  <a:gd name="connsiteY17" fmla="*/ 4296064 h 6997700"/>
                  <a:gd name="connsiteX18" fmla="*/ 4572000 w 5120162"/>
                  <a:gd name="connsiteY18" fmla="*/ 5044209 h 6997700"/>
                  <a:gd name="connsiteX19" fmla="*/ 4281054 w 5120162"/>
                  <a:gd name="connsiteY19" fmla="*/ 5355937 h 6997700"/>
                  <a:gd name="connsiteX20" fmla="*/ 2680854 w 5120162"/>
                  <a:gd name="connsiteY20" fmla="*/ 6000173 h 6997700"/>
                  <a:gd name="connsiteX21" fmla="*/ 852054 w 5120162"/>
                  <a:gd name="connsiteY21" fmla="*/ 6997700 h 6997700"/>
                  <a:gd name="connsiteX22" fmla="*/ 644236 w 5120162"/>
                  <a:gd name="connsiteY22" fmla="*/ 5833918 h 6997700"/>
                  <a:gd name="connsiteX23" fmla="*/ 0 w 5120162"/>
                  <a:gd name="connsiteY23" fmla="*/ 4566227 h 6997700"/>
                  <a:gd name="connsiteX0" fmla="*/ 0 w 5120162"/>
                  <a:gd name="connsiteY0" fmla="*/ 4566227 h 6997700"/>
                  <a:gd name="connsiteX1" fmla="*/ 685800 w 5120162"/>
                  <a:gd name="connsiteY1" fmla="*/ 4212937 h 6997700"/>
                  <a:gd name="connsiteX2" fmla="*/ 1433945 w 5120162"/>
                  <a:gd name="connsiteY2" fmla="*/ 3942773 h 6997700"/>
                  <a:gd name="connsiteX3" fmla="*/ 1974273 w 5120162"/>
                  <a:gd name="connsiteY3" fmla="*/ 3921991 h 6997700"/>
                  <a:gd name="connsiteX4" fmla="*/ 2556164 w 5120162"/>
                  <a:gd name="connsiteY4" fmla="*/ 3485573 h 6997700"/>
                  <a:gd name="connsiteX5" fmla="*/ 2805545 w 5120162"/>
                  <a:gd name="connsiteY5" fmla="*/ 3527137 h 6997700"/>
                  <a:gd name="connsiteX6" fmla="*/ 2894734 w 5120162"/>
                  <a:gd name="connsiteY6" fmla="*/ 1789257 h 6997700"/>
                  <a:gd name="connsiteX7" fmla="*/ 3249757 w 5120162"/>
                  <a:gd name="connsiteY7" fmla="*/ 1403927 h 6997700"/>
                  <a:gd name="connsiteX8" fmla="*/ 3449782 w 5120162"/>
                  <a:gd name="connsiteY8" fmla="*/ 347518 h 6997700"/>
                  <a:gd name="connsiteX9" fmla="*/ 3776229 w 5120162"/>
                  <a:gd name="connsiteY9" fmla="*/ 289 h 6997700"/>
                  <a:gd name="connsiteX10" fmla="*/ 4073236 w 5120162"/>
                  <a:gd name="connsiteY10" fmla="*/ 742373 h 6997700"/>
                  <a:gd name="connsiteX11" fmla="*/ 4094018 w 5120162"/>
                  <a:gd name="connsiteY11" fmla="*/ 1054100 h 6997700"/>
                  <a:gd name="connsiteX12" fmla="*/ 4239491 w 5120162"/>
                  <a:gd name="connsiteY12" fmla="*/ 1241137 h 6997700"/>
                  <a:gd name="connsiteX13" fmla="*/ 4177145 w 5120162"/>
                  <a:gd name="connsiteY13" fmla="*/ 1428173 h 6997700"/>
                  <a:gd name="connsiteX14" fmla="*/ 4415270 w 5120162"/>
                  <a:gd name="connsiteY14" fmla="*/ 1721716 h 6997700"/>
                  <a:gd name="connsiteX15" fmla="*/ 4447309 w 5120162"/>
                  <a:gd name="connsiteY15" fmla="*/ 2072409 h 6997700"/>
                  <a:gd name="connsiteX16" fmla="*/ 4779818 w 5120162"/>
                  <a:gd name="connsiteY16" fmla="*/ 3028373 h 6997700"/>
                  <a:gd name="connsiteX17" fmla="*/ 4675909 w 5120162"/>
                  <a:gd name="connsiteY17" fmla="*/ 4296064 h 6997700"/>
                  <a:gd name="connsiteX18" fmla="*/ 4572000 w 5120162"/>
                  <a:gd name="connsiteY18" fmla="*/ 5044209 h 6997700"/>
                  <a:gd name="connsiteX19" fmla="*/ 4281054 w 5120162"/>
                  <a:gd name="connsiteY19" fmla="*/ 5355937 h 6997700"/>
                  <a:gd name="connsiteX20" fmla="*/ 2680854 w 5120162"/>
                  <a:gd name="connsiteY20" fmla="*/ 6000173 h 6997700"/>
                  <a:gd name="connsiteX21" fmla="*/ 852054 w 5120162"/>
                  <a:gd name="connsiteY21" fmla="*/ 6997700 h 6997700"/>
                  <a:gd name="connsiteX22" fmla="*/ 644236 w 5120162"/>
                  <a:gd name="connsiteY22" fmla="*/ 5833918 h 6997700"/>
                  <a:gd name="connsiteX23" fmla="*/ 0 w 5120162"/>
                  <a:gd name="connsiteY23" fmla="*/ 4566227 h 6997700"/>
                  <a:gd name="connsiteX0" fmla="*/ 0 w 5120162"/>
                  <a:gd name="connsiteY0" fmla="*/ 4566227 h 6997700"/>
                  <a:gd name="connsiteX1" fmla="*/ 685800 w 5120162"/>
                  <a:gd name="connsiteY1" fmla="*/ 4212937 h 6997700"/>
                  <a:gd name="connsiteX2" fmla="*/ 1433945 w 5120162"/>
                  <a:gd name="connsiteY2" fmla="*/ 3942773 h 6997700"/>
                  <a:gd name="connsiteX3" fmla="*/ 1974273 w 5120162"/>
                  <a:gd name="connsiteY3" fmla="*/ 3921991 h 6997700"/>
                  <a:gd name="connsiteX4" fmla="*/ 2556164 w 5120162"/>
                  <a:gd name="connsiteY4" fmla="*/ 3485573 h 6997700"/>
                  <a:gd name="connsiteX5" fmla="*/ 2805545 w 5120162"/>
                  <a:gd name="connsiteY5" fmla="*/ 3527137 h 6997700"/>
                  <a:gd name="connsiteX6" fmla="*/ 2894734 w 5120162"/>
                  <a:gd name="connsiteY6" fmla="*/ 1789257 h 6997700"/>
                  <a:gd name="connsiteX7" fmla="*/ 3249757 w 5120162"/>
                  <a:gd name="connsiteY7" fmla="*/ 1403927 h 6997700"/>
                  <a:gd name="connsiteX8" fmla="*/ 3449782 w 5120162"/>
                  <a:gd name="connsiteY8" fmla="*/ 347518 h 6997700"/>
                  <a:gd name="connsiteX9" fmla="*/ 3776229 w 5120162"/>
                  <a:gd name="connsiteY9" fmla="*/ 289 h 6997700"/>
                  <a:gd name="connsiteX10" fmla="*/ 4073236 w 5120162"/>
                  <a:gd name="connsiteY10" fmla="*/ 742373 h 6997700"/>
                  <a:gd name="connsiteX11" fmla="*/ 4094018 w 5120162"/>
                  <a:gd name="connsiteY11" fmla="*/ 1054100 h 6997700"/>
                  <a:gd name="connsiteX12" fmla="*/ 4239491 w 5120162"/>
                  <a:gd name="connsiteY12" fmla="*/ 1241137 h 6997700"/>
                  <a:gd name="connsiteX13" fmla="*/ 4177145 w 5120162"/>
                  <a:gd name="connsiteY13" fmla="*/ 1428173 h 6997700"/>
                  <a:gd name="connsiteX14" fmla="*/ 4415270 w 5120162"/>
                  <a:gd name="connsiteY14" fmla="*/ 1721716 h 6997700"/>
                  <a:gd name="connsiteX15" fmla="*/ 4447309 w 5120162"/>
                  <a:gd name="connsiteY15" fmla="*/ 2072409 h 6997700"/>
                  <a:gd name="connsiteX16" fmla="*/ 4779818 w 5120162"/>
                  <a:gd name="connsiteY16" fmla="*/ 3028373 h 6997700"/>
                  <a:gd name="connsiteX17" fmla="*/ 4675909 w 5120162"/>
                  <a:gd name="connsiteY17" fmla="*/ 4296064 h 6997700"/>
                  <a:gd name="connsiteX18" fmla="*/ 4572000 w 5120162"/>
                  <a:gd name="connsiteY18" fmla="*/ 5044209 h 6997700"/>
                  <a:gd name="connsiteX19" fmla="*/ 4281054 w 5120162"/>
                  <a:gd name="connsiteY19" fmla="*/ 5355937 h 6997700"/>
                  <a:gd name="connsiteX20" fmla="*/ 2680854 w 5120162"/>
                  <a:gd name="connsiteY20" fmla="*/ 6000173 h 6997700"/>
                  <a:gd name="connsiteX21" fmla="*/ 852054 w 5120162"/>
                  <a:gd name="connsiteY21" fmla="*/ 6997700 h 6997700"/>
                  <a:gd name="connsiteX22" fmla="*/ 644236 w 5120162"/>
                  <a:gd name="connsiteY22" fmla="*/ 5833918 h 6997700"/>
                  <a:gd name="connsiteX23" fmla="*/ 0 w 5120162"/>
                  <a:gd name="connsiteY23" fmla="*/ 4566227 h 6997700"/>
                  <a:gd name="connsiteX0" fmla="*/ 0 w 5120162"/>
                  <a:gd name="connsiteY0" fmla="*/ 4566227 h 6997700"/>
                  <a:gd name="connsiteX1" fmla="*/ 685800 w 5120162"/>
                  <a:gd name="connsiteY1" fmla="*/ 4212937 h 6997700"/>
                  <a:gd name="connsiteX2" fmla="*/ 1433945 w 5120162"/>
                  <a:gd name="connsiteY2" fmla="*/ 3942773 h 6997700"/>
                  <a:gd name="connsiteX3" fmla="*/ 1974273 w 5120162"/>
                  <a:gd name="connsiteY3" fmla="*/ 3921991 h 6997700"/>
                  <a:gd name="connsiteX4" fmla="*/ 2556164 w 5120162"/>
                  <a:gd name="connsiteY4" fmla="*/ 3485573 h 6997700"/>
                  <a:gd name="connsiteX5" fmla="*/ 2805545 w 5120162"/>
                  <a:gd name="connsiteY5" fmla="*/ 3527137 h 6997700"/>
                  <a:gd name="connsiteX6" fmla="*/ 2894734 w 5120162"/>
                  <a:gd name="connsiteY6" fmla="*/ 1789257 h 6997700"/>
                  <a:gd name="connsiteX7" fmla="*/ 3249757 w 5120162"/>
                  <a:gd name="connsiteY7" fmla="*/ 1403927 h 6997700"/>
                  <a:gd name="connsiteX8" fmla="*/ 3449782 w 5120162"/>
                  <a:gd name="connsiteY8" fmla="*/ 347518 h 6997700"/>
                  <a:gd name="connsiteX9" fmla="*/ 3776229 w 5120162"/>
                  <a:gd name="connsiteY9" fmla="*/ 289 h 6997700"/>
                  <a:gd name="connsiteX10" fmla="*/ 4073236 w 5120162"/>
                  <a:gd name="connsiteY10" fmla="*/ 742373 h 6997700"/>
                  <a:gd name="connsiteX11" fmla="*/ 4094018 w 5120162"/>
                  <a:gd name="connsiteY11" fmla="*/ 1054100 h 6997700"/>
                  <a:gd name="connsiteX12" fmla="*/ 4239491 w 5120162"/>
                  <a:gd name="connsiteY12" fmla="*/ 1241137 h 6997700"/>
                  <a:gd name="connsiteX13" fmla="*/ 4177145 w 5120162"/>
                  <a:gd name="connsiteY13" fmla="*/ 1428173 h 6997700"/>
                  <a:gd name="connsiteX14" fmla="*/ 4415270 w 5120162"/>
                  <a:gd name="connsiteY14" fmla="*/ 1721716 h 6997700"/>
                  <a:gd name="connsiteX15" fmla="*/ 4447309 w 5120162"/>
                  <a:gd name="connsiteY15" fmla="*/ 2072409 h 6997700"/>
                  <a:gd name="connsiteX16" fmla="*/ 4779818 w 5120162"/>
                  <a:gd name="connsiteY16" fmla="*/ 3028373 h 6997700"/>
                  <a:gd name="connsiteX17" fmla="*/ 4675909 w 5120162"/>
                  <a:gd name="connsiteY17" fmla="*/ 4296064 h 6997700"/>
                  <a:gd name="connsiteX18" fmla="*/ 4572000 w 5120162"/>
                  <a:gd name="connsiteY18" fmla="*/ 5044209 h 6997700"/>
                  <a:gd name="connsiteX19" fmla="*/ 4281054 w 5120162"/>
                  <a:gd name="connsiteY19" fmla="*/ 5355937 h 6997700"/>
                  <a:gd name="connsiteX20" fmla="*/ 2680854 w 5120162"/>
                  <a:gd name="connsiteY20" fmla="*/ 6000173 h 6997700"/>
                  <a:gd name="connsiteX21" fmla="*/ 852054 w 5120162"/>
                  <a:gd name="connsiteY21" fmla="*/ 6997700 h 6997700"/>
                  <a:gd name="connsiteX22" fmla="*/ 644236 w 5120162"/>
                  <a:gd name="connsiteY22" fmla="*/ 5833918 h 6997700"/>
                  <a:gd name="connsiteX23" fmla="*/ 0 w 5120162"/>
                  <a:gd name="connsiteY23" fmla="*/ 4566227 h 6997700"/>
                  <a:gd name="connsiteX0" fmla="*/ 0 w 5120162"/>
                  <a:gd name="connsiteY0" fmla="*/ 4566227 h 6997700"/>
                  <a:gd name="connsiteX1" fmla="*/ 685800 w 5120162"/>
                  <a:gd name="connsiteY1" fmla="*/ 4212937 h 6997700"/>
                  <a:gd name="connsiteX2" fmla="*/ 1433945 w 5120162"/>
                  <a:gd name="connsiteY2" fmla="*/ 3942773 h 6997700"/>
                  <a:gd name="connsiteX3" fmla="*/ 1974273 w 5120162"/>
                  <a:gd name="connsiteY3" fmla="*/ 3921991 h 6997700"/>
                  <a:gd name="connsiteX4" fmla="*/ 2556164 w 5120162"/>
                  <a:gd name="connsiteY4" fmla="*/ 3485573 h 6997700"/>
                  <a:gd name="connsiteX5" fmla="*/ 2805545 w 5120162"/>
                  <a:gd name="connsiteY5" fmla="*/ 3527137 h 6997700"/>
                  <a:gd name="connsiteX6" fmla="*/ 2894734 w 5120162"/>
                  <a:gd name="connsiteY6" fmla="*/ 1789257 h 6997700"/>
                  <a:gd name="connsiteX7" fmla="*/ 3249757 w 5120162"/>
                  <a:gd name="connsiteY7" fmla="*/ 1403927 h 6997700"/>
                  <a:gd name="connsiteX8" fmla="*/ 3449782 w 5120162"/>
                  <a:gd name="connsiteY8" fmla="*/ 347518 h 6997700"/>
                  <a:gd name="connsiteX9" fmla="*/ 3776229 w 5120162"/>
                  <a:gd name="connsiteY9" fmla="*/ 289 h 6997700"/>
                  <a:gd name="connsiteX10" fmla="*/ 4073236 w 5120162"/>
                  <a:gd name="connsiteY10" fmla="*/ 742373 h 6997700"/>
                  <a:gd name="connsiteX11" fmla="*/ 4094018 w 5120162"/>
                  <a:gd name="connsiteY11" fmla="*/ 1054100 h 6997700"/>
                  <a:gd name="connsiteX12" fmla="*/ 4239491 w 5120162"/>
                  <a:gd name="connsiteY12" fmla="*/ 1241137 h 6997700"/>
                  <a:gd name="connsiteX13" fmla="*/ 4177145 w 5120162"/>
                  <a:gd name="connsiteY13" fmla="*/ 1428173 h 6997700"/>
                  <a:gd name="connsiteX14" fmla="*/ 4415270 w 5120162"/>
                  <a:gd name="connsiteY14" fmla="*/ 1721716 h 6997700"/>
                  <a:gd name="connsiteX15" fmla="*/ 4447309 w 5120162"/>
                  <a:gd name="connsiteY15" fmla="*/ 2072409 h 6997700"/>
                  <a:gd name="connsiteX16" fmla="*/ 4779818 w 5120162"/>
                  <a:gd name="connsiteY16" fmla="*/ 3028373 h 6997700"/>
                  <a:gd name="connsiteX17" fmla="*/ 4675909 w 5120162"/>
                  <a:gd name="connsiteY17" fmla="*/ 4296064 h 6997700"/>
                  <a:gd name="connsiteX18" fmla="*/ 4572000 w 5120162"/>
                  <a:gd name="connsiteY18" fmla="*/ 5044209 h 6997700"/>
                  <a:gd name="connsiteX19" fmla="*/ 4281054 w 5120162"/>
                  <a:gd name="connsiteY19" fmla="*/ 5355937 h 6997700"/>
                  <a:gd name="connsiteX20" fmla="*/ 2680854 w 5120162"/>
                  <a:gd name="connsiteY20" fmla="*/ 6000173 h 6997700"/>
                  <a:gd name="connsiteX21" fmla="*/ 852054 w 5120162"/>
                  <a:gd name="connsiteY21" fmla="*/ 6997700 h 6997700"/>
                  <a:gd name="connsiteX22" fmla="*/ 644236 w 5120162"/>
                  <a:gd name="connsiteY22" fmla="*/ 5833918 h 6997700"/>
                  <a:gd name="connsiteX23" fmla="*/ 0 w 5120162"/>
                  <a:gd name="connsiteY23" fmla="*/ 4566227 h 6997700"/>
                  <a:gd name="connsiteX0" fmla="*/ 0 w 5120162"/>
                  <a:gd name="connsiteY0" fmla="*/ 4566227 h 6997700"/>
                  <a:gd name="connsiteX1" fmla="*/ 685800 w 5120162"/>
                  <a:gd name="connsiteY1" fmla="*/ 4212937 h 6997700"/>
                  <a:gd name="connsiteX2" fmla="*/ 1433945 w 5120162"/>
                  <a:gd name="connsiteY2" fmla="*/ 3942773 h 6997700"/>
                  <a:gd name="connsiteX3" fmla="*/ 1974273 w 5120162"/>
                  <a:gd name="connsiteY3" fmla="*/ 3921991 h 6997700"/>
                  <a:gd name="connsiteX4" fmla="*/ 2556164 w 5120162"/>
                  <a:gd name="connsiteY4" fmla="*/ 3485573 h 6997700"/>
                  <a:gd name="connsiteX5" fmla="*/ 2805545 w 5120162"/>
                  <a:gd name="connsiteY5" fmla="*/ 3527137 h 6997700"/>
                  <a:gd name="connsiteX6" fmla="*/ 2894734 w 5120162"/>
                  <a:gd name="connsiteY6" fmla="*/ 1789257 h 6997700"/>
                  <a:gd name="connsiteX7" fmla="*/ 3249757 w 5120162"/>
                  <a:gd name="connsiteY7" fmla="*/ 1403927 h 6997700"/>
                  <a:gd name="connsiteX8" fmla="*/ 3449782 w 5120162"/>
                  <a:gd name="connsiteY8" fmla="*/ 347518 h 6997700"/>
                  <a:gd name="connsiteX9" fmla="*/ 3776229 w 5120162"/>
                  <a:gd name="connsiteY9" fmla="*/ 289 h 6997700"/>
                  <a:gd name="connsiteX10" fmla="*/ 4073236 w 5120162"/>
                  <a:gd name="connsiteY10" fmla="*/ 742373 h 6997700"/>
                  <a:gd name="connsiteX11" fmla="*/ 4094018 w 5120162"/>
                  <a:gd name="connsiteY11" fmla="*/ 1054100 h 6997700"/>
                  <a:gd name="connsiteX12" fmla="*/ 4239491 w 5120162"/>
                  <a:gd name="connsiteY12" fmla="*/ 1241137 h 6997700"/>
                  <a:gd name="connsiteX13" fmla="*/ 4177145 w 5120162"/>
                  <a:gd name="connsiteY13" fmla="*/ 1428173 h 6997700"/>
                  <a:gd name="connsiteX14" fmla="*/ 4415270 w 5120162"/>
                  <a:gd name="connsiteY14" fmla="*/ 1721716 h 6997700"/>
                  <a:gd name="connsiteX15" fmla="*/ 4447309 w 5120162"/>
                  <a:gd name="connsiteY15" fmla="*/ 2072409 h 6997700"/>
                  <a:gd name="connsiteX16" fmla="*/ 4779818 w 5120162"/>
                  <a:gd name="connsiteY16" fmla="*/ 3028373 h 6997700"/>
                  <a:gd name="connsiteX17" fmla="*/ 4675909 w 5120162"/>
                  <a:gd name="connsiteY17" fmla="*/ 4296064 h 6997700"/>
                  <a:gd name="connsiteX18" fmla="*/ 4572000 w 5120162"/>
                  <a:gd name="connsiteY18" fmla="*/ 5044209 h 6997700"/>
                  <a:gd name="connsiteX19" fmla="*/ 4281054 w 5120162"/>
                  <a:gd name="connsiteY19" fmla="*/ 5355937 h 6997700"/>
                  <a:gd name="connsiteX20" fmla="*/ 2680854 w 5120162"/>
                  <a:gd name="connsiteY20" fmla="*/ 6000173 h 6997700"/>
                  <a:gd name="connsiteX21" fmla="*/ 852054 w 5120162"/>
                  <a:gd name="connsiteY21" fmla="*/ 6997700 h 6997700"/>
                  <a:gd name="connsiteX22" fmla="*/ 644236 w 5120162"/>
                  <a:gd name="connsiteY22" fmla="*/ 5833918 h 6997700"/>
                  <a:gd name="connsiteX23" fmla="*/ 0 w 5120162"/>
                  <a:gd name="connsiteY23" fmla="*/ 4566227 h 6997700"/>
                  <a:gd name="connsiteX0" fmla="*/ 0 w 5120162"/>
                  <a:gd name="connsiteY0" fmla="*/ 4566227 h 6997700"/>
                  <a:gd name="connsiteX1" fmla="*/ 685800 w 5120162"/>
                  <a:gd name="connsiteY1" fmla="*/ 4212937 h 6997700"/>
                  <a:gd name="connsiteX2" fmla="*/ 1433945 w 5120162"/>
                  <a:gd name="connsiteY2" fmla="*/ 3942773 h 6997700"/>
                  <a:gd name="connsiteX3" fmla="*/ 1974273 w 5120162"/>
                  <a:gd name="connsiteY3" fmla="*/ 3921991 h 6997700"/>
                  <a:gd name="connsiteX4" fmla="*/ 2556164 w 5120162"/>
                  <a:gd name="connsiteY4" fmla="*/ 3485573 h 6997700"/>
                  <a:gd name="connsiteX5" fmla="*/ 2805545 w 5120162"/>
                  <a:gd name="connsiteY5" fmla="*/ 3527137 h 6997700"/>
                  <a:gd name="connsiteX6" fmla="*/ 2894734 w 5120162"/>
                  <a:gd name="connsiteY6" fmla="*/ 1789257 h 6997700"/>
                  <a:gd name="connsiteX7" fmla="*/ 3249757 w 5120162"/>
                  <a:gd name="connsiteY7" fmla="*/ 1403927 h 6997700"/>
                  <a:gd name="connsiteX8" fmla="*/ 3449782 w 5120162"/>
                  <a:gd name="connsiteY8" fmla="*/ 347518 h 6997700"/>
                  <a:gd name="connsiteX9" fmla="*/ 3776229 w 5120162"/>
                  <a:gd name="connsiteY9" fmla="*/ 289 h 6997700"/>
                  <a:gd name="connsiteX10" fmla="*/ 4073236 w 5120162"/>
                  <a:gd name="connsiteY10" fmla="*/ 742373 h 6997700"/>
                  <a:gd name="connsiteX11" fmla="*/ 4094018 w 5120162"/>
                  <a:gd name="connsiteY11" fmla="*/ 1054100 h 6997700"/>
                  <a:gd name="connsiteX12" fmla="*/ 4239491 w 5120162"/>
                  <a:gd name="connsiteY12" fmla="*/ 1241137 h 6997700"/>
                  <a:gd name="connsiteX13" fmla="*/ 4177145 w 5120162"/>
                  <a:gd name="connsiteY13" fmla="*/ 1428173 h 6997700"/>
                  <a:gd name="connsiteX14" fmla="*/ 4415270 w 5120162"/>
                  <a:gd name="connsiteY14" fmla="*/ 1721716 h 6997700"/>
                  <a:gd name="connsiteX15" fmla="*/ 4447309 w 5120162"/>
                  <a:gd name="connsiteY15" fmla="*/ 2072409 h 6997700"/>
                  <a:gd name="connsiteX16" fmla="*/ 4779818 w 5120162"/>
                  <a:gd name="connsiteY16" fmla="*/ 3028373 h 6997700"/>
                  <a:gd name="connsiteX17" fmla="*/ 4675909 w 5120162"/>
                  <a:gd name="connsiteY17" fmla="*/ 4296064 h 6997700"/>
                  <a:gd name="connsiteX18" fmla="*/ 4572000 w 5120162"/>
                  <a:gd name="connsiteY18" fmla="*/ 5044209 h 6997700"/>
                  <a:gd name="connsiteX19" fmla="*/ 4281054 w 5120162"/>
                  <a:gd name="connsiteY19" fmla="*/ 5355937 h 6997700"/>
                  <a:gd name="connsiteX20" fmla="*/ 2680854 w 5120162"/>
                  <a:gd name="connsiteY20" fmla="*/ 6000173 h 6997700"/>
                  <a:gd name="connsiteX21" fmla="*/ 852054 w 5120162"/>
                  <a:gd name="connsiteY21" fmla="*/ 6997700 h 6997700"/>
                  <a:gd name="connsiteX22" fmla="*/ 644236 w 5120162"/>
                  <a:gd name="connsiteY22" fmla="*/ 5833918 h 6997700"/>
                  <a:gd name="connsiteX23" fmla="*/ 0 w 5120162"/>
                  <a:gd name="connsiteY23" fmla="*/ 4566227 h 6997700"/>
                  <a:gd name="connsiteX0" fmla="*/ 0 w 4843937"/>
                  <a:gd name="connsiteY0" fmla="*/ 4566227 h 6997700"/>
                  <a:gd name="connsiteX1" fmla="*/ 685800 w 4843937"/>
                  <a:gd name="connsiteY1" fmla="*/ 4212937 h 6997700"/>
                  <a:gd name="connsiteX2" fmla="*/ 1433945 w 4843937"/>
                  <a:gd name="connsiteY2" fmla="*/ 3942773 h 6997700"/>
                  <a:gd name="connsiteX3" fmla="*/ 1974273 w 4843937"/>
                  <a:gd name="connsiteY3" fmla="*/ 3921991 h 6997700"/>
                  <a:gd name="connsiteX4" fmla="*/ 2556164 w 4843937"/>
                  <a:gd name="connsiteY4" fmla="*/ 3485573 h 6997700"/>
                  <a:gd name="connsiteX5" fmla="*/ 2805545 w 4843937"/>
                  <a:gd name="connsiteY5" fmla="*/ 3527137 h 6997700"/>
                  <a:gd name="connsiteX6" fmla="*/ 2894734 w 4843937"/>
                  <a:gd name="connsiteY6" fmla="*/ 1789257 h 6997700"/>
                  <a:gd name="connsiteX7" fmla="*/ 3249757 w 4843937"/>
                  <a:gd name="connsiteY7" fmla="*/ 1403927 h 6997700"/>
                  <a:gd name="connsiteX8" fmla="*/ 3449782 w 4843937"/>
                  <a:gd name="connsiteY8" fmla="*/ 347518 h 6997700"/>
                  <a:gd name="connsiteX9" fmla="*/ 3776229 w 4843937"/>
                  <a:gd name="connsiteY9" fmla="*/ 289 h 6997700"/>
                  <a:gd name="connsiteX10" fmla="*/ 4073236 w 4843937"/>
                  <a:gd name="connsiteY10" fmla="*/ 742373 h 6997700"/>
                  <a:gd name="connsiteX11" fmla="*/ 4094018 w 4843937"/>
                  <a:gd name="connsiteY11" fmla="*/ 1054100 h 6997700"/>
                  <a:gd name="connsiteX12" fmla="*/ 4239491 w 4843937"/>
                  <a:gd name="connsiteY12" fmla="*/ 1241137 h 6997700"/>
                  <a:gd name="connsiteX13" fmla="*/ 4177145 w 4843937"/>
                  <a:gd name="connsiteY13" fmla="*/ 1428173 h 6997700"/>
                  <a:gd name="connsiteX14" fmla="*/ 4415270 w 4843937"/>
                  <a:gd name="connsiteY14" fmla="*/ 1721716 h 6997700"/>
                  <a:gd name="connsiteX15" fmla="*/ 4447309 w 4843937"/>
                  <a:gd name="connsiteY15" fmla="*/ 2072409 h 6997700"/>
                  <a:gd name="connsiteX16" fmla="*/ 4779818 w 4843937"/>
                  <a:gd name="connsiteY16" fmla="*/ 3028373 h 6997700"/>
                  <a:gd name="connsiteX17" fmla="*/ 4675909 w 4843937"/>
                  <a:gd name="connsiteY17" fmla="*/ 4296064 h 6997700"/>
                  <a:gd name="connsiteX18" fmla="*/ 4572000 w 4843937"/>
                  <a:gd name="connsiteY18" fmla="*/ 5044209 h 6997700"/>
                  <a:gd name="connsiteX19" fmla="*/ 4281054 w 4843937"/>
                  <a:gd name="connsiteY19" fmla="*/ 5355937 h 6997700"/>
                  <a:gd name="connsiteX20" fmla="*/ 2680854 w 4843937"/>
                  <a:gd name="connsiteY20" fmla="*/ 6000173 h 6997700"/>
                  <a:gd name="connsiteX21" fmla="*/ 852054 w 4843937"/>
                  <a:gd name="connsiteY21" fmla="*/ 6997700 h 6997700"/>
                  <a:gd name="connsiteX22" fmla="*/ 644236 w 4843937"/>
                  <a:gd name="connsiteY22" fmla="*/ 5833918 h 6997700"/>
                  <a:gd name="connsiteX23" fmla="*/ 0 w 4843937"/>
                  <a:gd name="connsiteY23" fmla="*/ 4566227 h 6997700"/>
                  <a:gd name="connsiteX0" fmla="*/ 0 w 4843698"/>
                  <a:gd name="connsiteY0" fmla="*/ 4566227 h 6997700"/>
                  <a:gd name="connsiteX1" fmla="*/ 685800 w 4843698"/>
                  <a:gd name="connsiteY1" fmla="*/ 4212937 h 6997700"/>
                  <a:gd name="connsiteX2" fmla="*/ 1433945 w 4843698"/>
                  <a:gd name="connsiteY2" fmla="*/ 3942773 h 6997700"/>
                  <a:gd name="connsiteX3" fmla="*/ 1974273 w 4843698"/>
                  <a:gd name="connsiteY3" fmla="*/ 3921991 h 6997700"/>
                  <a:gd name="connsiteX4" fmla="*/ 2556164 w 4843698"/>
                  <a:gd name="connsiteY4" fmla="*/ 3485573 h 6997700"/>
                  <a:gd name="connsiteX5" fmla="*/ 2805545 w 4843698"/>
                  <a:gd name="connsiteY5" fmla="*/ 3527137 h 6997700"/>
                  <a:gd name="connsiteX6" fmla="*/ 2894734 w 4843698"/>
                  <a:gd name="connsiteY6" fmla="*/ 1789257 h 6997700"/>
                  <a:gd name="connsiteX7" fmla="*/ 3249757 w 4843698"/>
                  <a:gd name="connsiteY7" fmla="*/ 1403927 h 6997700"/>
                  <a:gd name="connsiteX8" fmla="*/ 3449782 w 4843698"/>
                  <a:gd name="connsiteY8" fmla="*/ 347518 h 6997700"/>
                  <a:gd name="connsiteX9" fmla="*/ 3776229 w 4843698"/>
                  <a:gd name="connsiteY9" fmla="*/ 289 h 6997700"/>
                  <a:gd name="connsiteX10" fmla="*/ 4073236 w 4843698"/>
                  <a:gd name="connsiteY10" fmla="*/ 742373 h 6997700"/>
                  <a:gd name="connsiteX11" fmla="*/ 4094018 w 4843698"/>
                  <a:gd name="connsiteY11" fmla="*/ 1054100 h 6997700"/>
                  <a:gd name="connsiteX12" fmla="*/ 4239491 w 4843698"/>
                  <a:gd name="connsiteY12" fmla="*/ 1241137 h 6997700"/>
                  <a:gd name="connsiteX13" fmla="*/ 4177145 w 4843698"/>
                  <a:gd name="connsiteY13" fmla="*/ 1428173 h 6997700"/>
                  <a:gd name="connsiteX14" fmla="*/ 4415270 w 4843698"/>
                  <a:gd name="connsiteY14" fmla="*/ 1721716 h 6997700"/>
                  <a:gd name="connsiteX15" fmla="*/ 4447309 w 4843698"/>
                  <a:gd name="connsiteY15" fmla="*/ 2072409 h 6997700"/>
                  <a:gd name="connsiteX16" fmla="*/ 4779818 w 4843698"/>
                  <a:gd name="connsiteY16" fmla="*/ 3028373 h 6997700"/>
                  <a:gd name="connsiteX17" fmla="*/ 4675909 w 4843698"/>
                  <a:gd name="connsiteY17" fmla="*/ 4296064 h 6997700"/>
                  <a:gd name="connsiteX18" fmla="*/ 4572000 w 4843698"/>
                  <a:gd name="connsiteY18" fmla="*/ 5044209 h 6997700"/>
                  <a:gd name="connsiteX19" fmla="*/ 4281054 w 4843698"/>
                  <a:gd name="connsiteY19" fmla="*/ 5355937 h 6997700"/>
                  <a:gd name="connsiteX20" fmla="*/ 2680854 w 4843698"/>
                  <a:gd name="connsiteY20" fmla="*/ 6000173 h 6997700"/>
                  <a:gd name="connsiteX21" fmla="*/ 852054 w 4843698"/>
                  <a:gd name="connsiteY21" fmla="*/ 6997700 h 6997700"/>
                  <a:gd name="connsiteX22" fmla="*/ 644236 w 4843698"/>
                  <a:gd name="connsiteY22" fmla="*/ 5833918 h 6997700"/>
                  <a:gd name="connsiteX23" fmla="*/ 0 w 4843698"/>
                  <a:gd name="connsiteY23" fmla="*/ 4566227 h 6997700"/>
                  <a:gd name="connsiteX0" fmla="*/ 0 w 4843698"/>
                  <a:gd name="connsiteY0" fmla="*/ 4566227 h 6997700"/>
                  <a:gd name="connsiteX1" fmla="*/ 685800 w 4843698"/>
                  <a:gd name="connsiteY1" fmla="*/ 4212937 h 6997700"/>
                  <a:gd name="connsiteX2" fmla="*/ 1433945 w 4843698"/>
                  <a:gd name="connsiteY2" fmla="*/ 3942773 h 6997700"/>
                  <a:gd name="connsiteX3" fmla="*/ 1974273 w 4843698"/>
                  <a:gd name="connsiteY3" fmla="*/ 3921991 h 6997700"/>
                  <a:gd name="connsiteX4" fmla="*/ 2556164 w 4843698"/>
                  <a:gd name="connsiteY4" fmla="*/ 3485573 h 6997700"/>
                  <a:gd name="connsiteX5" fmla="*/ 2805545 w 4843698"/>
                  <a:gd name="connsiteY5" fmla="*/ 3527137 h 6997700"/>
                  <a:gd name="connsiteX6" fmla="*/ 2894734 w 4843698"/>
                  <a:gd name="connsiteY6" fmla="*/ 1789257 h 6997700"/>
                  <a:gd name="connsiteX7" fmla="*/ 3249757 w 4843698"/>
                  <a:gd name="connsiteY7" fmla="*/ 1403927 h 6997700"/>
                  <a:gd name="connsiteX8" fmla="*/ 3449782 w 4843698"/>
                  <a:gd name="connsiteY8" fmla="*/ 347518 h 6997700"/>
                  <a:gd name="connsiteX9" fmla="*/ 3776229 w 4843698"/>
                  <a:gd name="connsiteY9" fmla="*/ 289 h 6997700"/>
                  <a:gd name="connsiteX10" fmla="*/ 4073236 w 4843698"/>
                  <a:gd name="connsiteY10" fmla="*/ 742373 h 6997700"/>
                  <a:gd name="connsiteX11" fmla="*/ 4094018 w 4843698"/>
                  <a:gd name="connsiteY11" fmla="*/ 1054100 h 6997700"/>
                  <a:gd name="connsiteX12" fmla="*/ 4239491 w 4843698"/>
                  <a:gd name="connsiteY12" fmla="*/ 1241137 h 6997700"/>
                  <a:gd name="connsiteX13" fmla="*/ 4177145 w 4843698"/>
                  <a:gd name="connsiteY13" fmla="*/ 1428173 h 6997700"/>
                  <a:gd name="connsiteX14" fmla="*/ 4415270 w 4843698"/>
                  <a:gd name="connsiteY14" fmla="*/ 1721716 h 6997700"/>
                  <a:gd name="connsiteX15" fmla="*/ 4447309 w 4843698"/>
                  <a:gd name="connsiteY15" fmla="*/ 2072409 h 6997700"/>
                  <a:gd name="connsiteX16" fmla="*/ 4779818 w 4843698"/>
                  <a:gd name="connsiteY16" fmla="*/ 3028373 h 6997700"/>
                  <a:gd name="connsiteX17" fmla="*/ 4675909 w 4843698"/>
                  <a:gd name="connsiteY17" fmla="*/ 4296064 h 6997700"/>
                  <a:gd name="connsiteX18" fmla="*/ 4572000 w 4843698"/>
                  <a:gd name="connsiteY18" fmla="*/ 5044209 h 6997700"/>
                  <a:gd name="connsiteX19" fmla="*/ 4281054 w 4843698"/>
                  <a:gd name="connsiteY19" fmla="*/ 5355937 h 6997700"/>
                  <a:gd name="connsiteX20" fmla="*/ 2680854 w 4843698"/>
                  <a:gd name="connsiteY20" fmla="*/ 6000173 h 6997700"/>
                  <a:gd name="connsiteX21" fmla="*/ 852054 w 4843698"/>
                  <a:gd name="connsiteY21" fmla="*/ 6997700 h 6997700"/>
                  <a:gd name="connsiteX22" fmla="*/ 644236 w 4843698"/>
                  <a:gd name="connsiteY22" fmla="*/ 5833918 h 6997700"/>
                  <a:gd name="connsiteX23" fmla="*/ 0 w 4843698"/>
                  <a:gd name="connsiteY23" fmla="*/ 4566227 h 6997700"/>
                  <a:gd name="connsiteX0" fmla="*/ 0 w 4843698"/>
                  <a:gd name="connsiteY0" fmla="*/ 4566227 h 6997700"/>
                  <a:gd name="connsiteX1" fmla="*/ 685800 w 4843698"/>
                  <a:gd name="connsiteY1" fmla="*/ 4212937 h 6997700"/>
                  <a:gd name="connsiteX2" fmla="*/ 1433945 w 4843698"/>
                  <a:gd name="connsiteY2" fmla="*/ 3942773 h 6997700"/>
                  <a:gd name="connsiteX3" fmla="*/ 1974273 w 4843698"/>
                  <a:gd name="connsiteY3" fmla="*/ 3921991 h 6997700"/>
                  <a:gd name="connsiteX4" fmla="*/ 2556164 w 4843698"/>
                  <a:gd name="connsiteY4" fmla="*/ 3485573 h 6997700"/>
                  <a:gd name="connsiteX5" fmla="*/ 2805545 w 4843698"/>
                  <a:gd name="connsiteY5" fmla="*/ 3527137 h 6997700"/>
                  <a:gd name="connsiteX6" fmla="*/ 2894734 w 4843698"/>
                  <a:gd name="connsiteY6" fmla="*/ 1789257 h 6997700"/>
                  <a:gd name="connsiteX7" fmla="*/ 3249757 w 4843698"/>
                  <a:gd name="connsiteY7" fmla="*/ 1403927 h 6997700"/>
                  <a:gd name="connsiteX8" fmla="*/ 3449782 w 4843698"/>
                  <a:gd name="connsiteY8" fmla="*/ 347518 h 6997700"/>
                  <a:gd name="connsiteX9" fmla="*/ 3776229 w 4843698"/>
                  <a:gd name="connsiteY9" fmla="*/ 289 h 6997700"/>
                  <a:gd name="connsiteX10" fmla="*/ 4073236 w 4843698"/>
                  <a:gd name="connsiteY10" fmla="*/ 742373 h 6997700"/>
                  <a:gd name="connsiteX11" fmla="*/ 4094018 w 4843698"/>
                  <a:gd name="connsiteY11" fmla="*/ 1054100 h 6997700"/>
                  <a:gd name="connsiteX12" fmla="*/ 4239491 w 4843698"/>
                  <a:gd name="connsiteY12" fmla="*/ 1241137 h 6997700"/>
                  <a:gd name="connsiteX13" fmla="*/ 4177145 w 4843698"/>
                  <a:gd name="connsiteY13" fmla="*/ 1428173 h 6997700"/>
                  <a:gd name="connsiteX14" fmla="*/ 4415270 w 4843698"/>
                  <a:gd name="connsiteY14" fmla="*/ 1721716 h 6997700"/>
                  <a:gd name="connsiteX15" fmla="*/ 4447309 w 4843698"/>
                  <a:gd name="connsiteY15" fmla="*/ 2072409 h 6997700"/>
                  <a:gd name="connsiteX16" fmla="*/ 4779818 w 4843698"/>
                  <a:gd name="connsiteY16" fmla="*/ 3028373 h 6997700"/>
                  <a:gd name="connsiteX17" fmla="*/ 4675909 w 4843698"/>
                  <a:gd name="connsiteY17" fmla="*/ 4296064 h 6997700"/>
                  <a:gd name="connsiteX18" fmla="*/ 4572000 w 4843698"/>
                  <a:gd name="connsiteY18" fmla="*/ 5044209 h 6997700"/>
                  <a:gd name="connsiteX19" fmla="*/ 4281054 w 4843698"/>
                  <a:gd name="connsiteY19" fmla="*/ 5355937 h 6997700"/>
                  <a:gd name="connsiteX20" fmla="*/ 2680854 w 4843698"/>
                  <a:gd name="connsiteY20" fmla="*/ 6000173 h 6997700"/>
                  <a:gd name="connsiteX21" fmla="*/ 852054 w 4843698"/>
                  <a:gd name="connsiteY21" fmla="*/ 6997700 h 6997700"/>
                  <a:gd name="connsiteX22" fmla="*/ 644236 w 4843698"/>
                  <a:gd name="connsiteY22" fmla="*/ 5833918 h 6997700"/>
                  <a:gd name="connsiteX23" fmla="*/ 0 w 4843698"/>
                  <a:gd name="connsiteY23" fmla="*/ 4566227 h 6997700"/>
                  <a:gd name="connsiteX0" fmla="*/ 0 w 4834412"/>
                  <a:gd name="connsiteY0" fmla="*/ 4566227 h 6997700"/>
                  <a:gd name="connsiteX1" fmla="*/ 685800 w 4834412"/>
                  <a:gd name="connsiteY1" fmla="*/ 4212937 h 6997700"/>
                  <a:gd name="connsiteX2" fmla="*/ 1433945 w 4834412"/>
                  <a:gd name="connsiteY2" fmla="*/ 3942773 h 6997700"/>
                  <a:gd name="connsiteX3" fmla="*/ 1974273 w 4834412"/>
                  <a:gd name="connsiteY3" fmla="*/ 3921991 h 6997700"/>
                  <a:gd name="connsiteX4" fmla="*/ 2556164 w 4834412"/>
                  <a:gd name="connsiteY4" fmla="*/ 3485573 h 6997700"/>
                  <a:gd name="connsiteX5" fmla="*/ 2805545 w 4834412"/>
                  <a:gd name="connsiteY5" fmla="*/ 3527137 h 6997700"/>
                  <a:gd name="connsiteX6" fmla="*/ 2894734 w 4834412"/>
                  <a:gd name="connsiteY6" fmla="*/ 1789257 h 6997700"/>
                  <a:gd name="connsiteX7" fmla="*/ 3249757 w 4834412"/>
                  <a:gd name="connsiteY7" fmla="*/ 1403927 h 6997700"/>
                  <a:gd name="connsiteX8" fmla="*/ 3449782 w 4834412"/>
                  <a:gd name="connsiteY8" fmla="*/ 347518 h 6997700"/>
                  <a:gd name="connsiteX9" fmla="*/ 3776229 w 4834412"/>
                  <a:gd name="connsiteY9" fmla="*/ 289 h 6997700"/>
                  <a:gd name="connsiteX10" fmla="*/ 4073236 w 4834412"/>
                  <a:gd name="connsiteY10" fmla="*/ 742373 h 6997700"/>
                  <a:gd name="connsiteX11" fmla="*/ 4094018 w 4834412"/>
                  <a:gd name="connsiteY11" fmla="*/ 1054100 h 6997700"/>
                  <a:gd name="connsiteX12" fmla="*/ 4239491 w 4834412"/>
                  <a:gd name="connsiteY12" fmla="*/ 1241137 h 6997700"/>
                  <a:gd name="connsiteX13" fmla="*/ 4177145 w 4834412"/>
                  <a:gd name="connsiteY13" fmla="*/ 1428173 h 6997700"/>
                  <a:gd name="connsiteX14" fmla="*/ 4415270 w 4834412"/>
                  <a:gd name="connsiteY14" fmla="*/ 1721716 h 6997700"/>
                  <a:gd name="connsiteX15" fmla="*/ 4447309 w 4834412"/>
                  <a:gd name="connsiteY15" fmla="*/ 2072409 h 6997700"/>
                  <a:gd name="connsiteX16" fmla="*/ 4779818 w 4834412"/>
                  <a:gd name="connsiteY16" fmla="*/ 3028373 h 6997700"/>
                  <a:gd name="connsiteX17" fmla="*/ 4675909 w 4834412"/>
                  <a:gd name="connsiteY17" fmla="*/ 4296064 h 6997700"/>
                  <a:gd name="connsiteX18" fmla="*/ 4572000 w 4834412"/>
                  <a:gd name="connsiteY18" fmla="*/ 5044209 h 6997700"/>
                  <a:gd name="connsiteX19" fmla="*/ 4281054 w 4834412"/>
                  <a:gd name="connsiteY19" fmla="*/ 5355937 h 6997700"/>
                  <a:gd name="connsiteX20" fmla="*/ 2680854 w 4834412"/>
                  <a:gd name="connsiteY20" fmla="*/ 6000173 h 6997700"/>
                  <a:gd name="connsiteX21" fmla="*/ 852054 w 4834412"/>
                  <a:gd name="connsiteY21" fmla="*/ 6997700 h 6997700"/>
                  <a:gd name="connsiteX22" fmla="*/ 644236 w 4834412"/>
                  <a:gd name="connsiteY22" fmla="*/ 5833918 h 6997700"/>
                  <a:gd name="connsiteX23" fmla="*/ 0 w 4834412"/>
                  <a:gd name="connsiteY23" fmla="*/ 4566227 h 6997700"/>
                  <a:gd name="connsiteX0" fmla="*/ 0 w 4834412"/>
                  <a:gd name="connsiteY0" fmla="*/ 4566227 h 6997700"/>
                  <a:gd name="connsiteX1" fmla="*/ 685800 w 4834412"/>
                  <a:gd name="connsiteY1" fmla="*/ 4212937 h 6997700"/>
                  <a:gd name="connsiteX2" fmla="*/ 1433945 w 4834412"/>
                  <a:gd name="connsiteY2" fmla="*/ 3942773 h 6997700"/>
                  <a:gd name="connsiteX3" fmla="*/ 1974273 w 4834412"/>
                  <a:gd name="connsiteY3" fmla="*/ 3921991 h 6997700"/>
                  <a:gd name="connsiteX4" fmla="*/ 2556164 w 4834412"/>
                  <a:gd name="connsiteY4" fmla="*/ 3485573 h 6997700"/>
                  <a:gd name="connsiteX5" fmla="*/ 2805545 w 4834412"/>
                  <a:gd name="connsiteY5" fmla="*/ 3527137 h 6997700"/>
                  <a:gd name="connsiteX6" fmla="*/ 2894734 w 4834412"/>
                  <a:gd name="connsiteY6" fmla="*/ 1789257 h 6997700"/>
                  <a:gd name="connsiteX7" fmla="*/ 3249757 w 4834412"/>
                  <a:gd name="connsiteY7" fmla="*/ 1403927 h 6997700"/>
                  <a:gd name="connsiteX8" fmla="*/ 3449782 w 4834412"/>
                  <a:gd name="connsiteY8" fmla="*/ 347518 h 6997700"/>
                  <a:gd name="connsiteX9" fmla="*/ 3776229 w 4834412"/>
                  <a:gd name="connsiteY9" fmla="*/ 289 h 6997700"/>
                  <a:gd name="connsiteX10" fmla="*/ 4073236 w 4834412"/>
                  <a:gd name="connsiteY10" fmla="*/ 742373 h 6997700"/>
                  <a:gd name="connsiteX11" fmla="*/ 4094018 w 4834412"/>
                  <a:gd name="connsiteY11" fmla="*/ 1054100 h 6997700"/>
                  <a:gd name="connsiteX12" fmla="*/ 4239491 w 4834412"/>
                  <a:gd name="connsiteY12" fmla="*/ 1241137 h 6997700"/>
                  <a:gd name="connsiteX13" fmla="*/ 4177145 w 4834412"/>
                  <a:gd name="connsiteY13" fmla="*/ 1428173 h 6997700"/>
                  <a:gd name="connsiteX14" fmla="*/ 4415270 w 4834412"/>
                  <a:gd name="connsiteY14" fmla="*/ 1721716 h 6997700"/>
                  <a:gd name="connsiteX15" fmla="*/ 4447309 w 4834412"/>
                  <a:gd name="connsiteY15" fmla="*/ 2072409 h 6997700"/>
                  <a:gd name="connsiteX16" fmla="*/ 4779818 w 4834412"/>
                  <a:gd name="connsiteY16" fmla="*/ 3028373 h 6997700"/>
                  <a:gd name="connsiteX17" fmla="*/ 4675909 w 4834412"/>
                  <a:gd name="connsiteY17" fmla="*/ 4296064 h 6997700"/>
                  <a:gd name="connsiteX18" fmla="*/ 4572000 w 4834412"/>
                  <a:gd name="connsiteY18" fmla="*/ 5044209 h 6997700"/>
                  <a:gd name="connsiteX19" fmla="*/ 4281054 w 4834412"/>
                  <a:gd name="connsiteY19" fmla="*/ 5355937 h 6997700"/>
                  <a:gd name="connsiteX20" fmla="*/ 2680854 w 4834412"/>
                  <a:gd name="connsiteY20" fmla="*/ 6000173 h 6997700"/>
                  <a:gd name="connsiteX21" fmla="*/ 852054 w 4834412"/>
                  <a:gd name="connsiteY21" fmla="*/ 6997700 h 6997700"/>
                  <a:gd name="connsiteX22" fmla="*/ 644236 w 4834412"/>
                  <a:gd name="connsiteY22" fmla="*/ 5833918 h 6997700"/>
                  <a:gd name="connsiteX23" fmla="*/ 0 w 4834412"/>
                  <a:gd name="connsiteY23" fmla="*/ 4566227 h 6997700"/>
                  <a:gd name="connsiteX0" fmla="*/ 0 w 4862987"/>
                  <a:gd name="connsiteY0" fmla="*/ 4566227 h 6997700"/>
                  <a:gd name="connsiteX1" fmla="*/ 685800 w 4862987"/>
                  <a:gd name="connsiteY1" fmla="*/ 4212937 h 6997700"/>
                  <a:gd name="connsiteX2" fmla="*/ 1433945 w 4862987"/>
                  <a:gd name="connsiteY2" fmla="*/ 3942773 h 6997700"/>
                  <a:gd name="connsiteX3" fmla="*/ 1974273 w 4862987"/>
                  <a:gd name="connsiteY3" fmla="*/ 3921991 h 6997700"/>
                  <a:gd name="connsiteX4" fmla="*/ 2556164 w 4862987"/>
                  <a:gd name="connsiteY4" fmla="*/ 3485573 h 6997700"/>
                  <a:gd name="connsiteX5" fmla="*/ 2805545 w 4862987"/>
                  <a:gd name="connsiteY5" fmla="*/ 3527137 h 6997700"/>
                  <a:gd name="connsiteX6" fmla="*/ 2894734 w 4862987"/>
                  <a:gd name="connsiteY6" fmla="*/ 1789257 h 6997700"/>
                  <a:gd name="connsiteX7" fmla="*/ 3249757 w 4862987"/>
                  <a:gd name="connsiteY7" fmla="*/ 1403927 h 6997700"/>
                  <a:gd name="connsiteX8" fmla="*/ 3449782 w 4862987"/>
                  <a:gd name="connsiteY8" fmla="*/ 347518 h 6997700"/>
                  <a:gd name="connsiteX9" fmla="*/ 3776229 w 4862987"/>
                  <a:gd name="connsiteY9" fmla="*/ 289 h 6997700"/>
                  <a:gd name="connsiteX10" fmla="*/ 4073236 w 4862987"/>
                  <a:gd name="connsiteY10" fmla="*/ 742373 h 6997700"/>
                  <a:gd name="connsiteX11" fmla="*/ 4094018 w 4862987"/>
                  <a:gd name="connsiteY11" fmla="*/ 1054100 h 6997700"/>
                  <a:gd name="connsiteX12" fmla="*/ 4239491 w 4862987"/>
                  <a:gd name="connsiteY12" fmla="*/ 1241137 h 6997700"/>
                  <a:gd name="connsiteX13" fmla="*/ 4177145 w 4862987"/>
                  <a:gd name="connsiteY13" fmla="*/ 1428173 h 6997700"/>
                  <a:gd name="connsiteX14" fmla="*/ 4415270 w 4862987"/>
                  <a:gd name="connsiteY14" fmla="*/ 1721716 h 6997700"/>
                  <a:gd name="connsiteX15" fmla="*/ 4447309 w 4862987"/>
                  <a:gd name="connsiteY15" fmla="*/ 2072409 h 6997700"/>
                  <a:gd name="connsiteX16" fmla="*/ 4779818 w 4862987"/>
                  <a:gd name="connsiteY16" fmla="*/ 3028373 h 6997700"/>
                  <a:gd name="connsiteX17" fmla="*/ 4704484 w 4862987"/>
                  <a:gd name="connsiteY17" fmla="*/ 4229389 h 6997700"/>
                  <a:gd name="connsiteX18" fmla="*/ 4572000 w 4862987"/>
                  <a:gd name="connsiteY18" fmla="*/ 5044209 h 6997700"/>
                  <a:gd name="connsiteX19" fmla="*/ 4281054 w 4862987"/>
                  <a:gd name="connsiteY19" fmla="*/ 5355937 h 6997700"/>
                  <a:gd name="connsiteX20" fmla="*/ 2680854 w 4862987"/>
                  <a:gd name="connsiteY20" fmla="*/ 6000173 h 6997700"/>
                  <a:gd name="connsiteX21" fmla="*/ 852054 w 4862987"/>
                  <a:gd name="connsiteY21" fmla="*/ 6997700 h 6997700"/>
                  <a:gd name="connsiteX22" fmla="*/ 644236 w 4862987"/>
                  <a:gd name="connsiteY22" fmla="*/ 5833918 h 6997700"/>
                  <a:gd name="connsiteX23" fmla="*/ 0 w 4862987"/>
                  <a:gd name="connsiteY23" fmla="*/ 4566227 h 6997700"/>
                  <a:gd name="connsiteX0" fmla="*/ 0 w 4834412"/>
                  <a:gd name="connsiteY0" fmla="*/ 4566227 h 6997700"/>
                  <a:gd name="connsiteX1" fmla="*/ 685800 w 4834412"/>
                  <a:gd name="connsiteY1" fmla="*/ 4212937 h 6997700"/>
                  <a:gd name="connsiteX2" fmla="*/ 1433945 w 4834412"/>
                  <a:gd name="connsiteY2" fmla="*/ 3942773 h 6997700"/>
                  <a:gd name="connsiteX3" fmla="*/ 1974273 w 4834412"/>
                  <a:gd name="connsiteY3" fmla="*/ 3921991 h 6997700"/>
                  <a:gd name="connsiteX4" fmla="*/ 2556164 w 4834412"/>
                  <a:gd name="connsiteY4" fmla="*/ 3485573 h 6997700"/>
                  <a:gd name="connsiteX5" fmla="*/ 2805545 w 4834412"/>
                  <a:gd name="connsiteY5" fmla="*/ 3527137 h 6997700"/>
                  <a:gd name="connsiteX6" fmla="*/ 2894734 w 4834412"/>
                  <a:gd name="connsiteY6" fmla="*/ 1789257 h 6997700"/>
                  <a:gd name="connsiteX7" fmla="*/ 3249757 w 4834412"/>
                  <a:gd name="connsiteY7" fmla="*/ 1403927 h 6997700"/>
                  <a:gd name="connsiteX8" fmla="*/ 3449782 w 4834412"/>
                  <a:gd name="connsiteY8" fmla="*/ 347518 h 6997700"/>
                  <a:gd name="connsiteX9" fmla="*/ 3776229 w 4834412"/>
                  <a:gd name="connsiteY9" fmla="*/ 289 h 6997700"/>
                  <a:gd name="connsiteX10" fmla="*/ 4073236 w 4834412"/>
                  <a:gd name="connsiteY10" fmla="*/ 742373 h 6997700"/>
                  <a:gd name="connsiteX11" fmla="*/ 4094018 w 4834412"/>
                  <a:gd name="connsiteY11" fmla="*/ 1054100 h 6997700"/>
                  <a:gd name="connsiteX12" fmla="*/ 4239491 w 4834412"/>
                  <a:gd name="connsiteY12" fmla="*/ 1241137 h 6997700"/>
                  <a:gd name="connsiteX13" fmla="*/ 4177145 w 4834412"/>
                  <a:gd name="connsiteY13" fmla="*/ 1428173 h 6997700"/>
                  <a:gd name="connsiteX14" fmla="*/ 4415270 w 4834412"/>
                  <a:gd name="connsiteY14" fmla="*/ 1721716 h 6997700"/>
                  <a:gd name="connsiteX15" fmla="*/ 4447309 w 4834412"/>
                  <a:gd name="connsiteY15" fmla="*/ 2072409 h 6997700"/>
                  <a:gd name="connsiteX16" fmla="*/ 4779818 w 4834412"/>
                  <a:gd name="connsiteY16" fmla="*/ 3028373 h 6997700"/>
                  <a:gd name="connsiteX17" fmla="*/ 4704484 w 4834412"/>
                  <a:gd name="connsiteY17" fmla="*/ 4229389 h 6997700"/>
                  <a:gd name="connsiteX18" fmla="*/ 4572000 w 4834412"/>
                  <a:gd name="connsiteY18" fmla="*/ 5044209 h 6997700"/>
                  <a:gd name="connsiteX19" fmla="*/ 4281054 w 4834412"/>
                  <a:gd name="connsiteY19" fmla="*/ 5355937 h 6997700"/>
                  <a:gd name="connsiteX20" fmla="*/ 2680854 w 4834412"/>
                  <a:gd name="connsiteY20" fmla="*/ 6000173 h 6997700"/>
                  <a:gd name="connsiteX21" fmla="*/ 852054 w 4834412"/>
                  <a:gd name="connsiteY21" fmla="*/ 6997700 h 6997700"/>
                  <a:gd name="connsiteX22" fmla="*/ 644236 w 4834412"/>
                  <a:gd name="connsiteY22" fmla="*/ 5833918 h 6997700"/>
                  <a:gd name="connsiteX23" fmla="*/ 0 w 4834412"/>
                  <a:gd name="connsiteY23" fmla="*/ 4566227 h 6997700"/>
                  <a:gd name="connsiteX0" fmla="*/ 0 w 4834412"/>
                  <a:gd name="connsiteY0" fmla="*/ 4566227 h 6997700"/>
                  <a:gd name="connsiteX1" fmla="*/ 685800 w 4834412"/>
                  <a:gd name="connsiteY1" fmla="*/ 4212937 h 6997700"/>
                  <a:gd name="connsiteX2" fmla="*/ 1433945 w 4834412"/>
                  <a:gd name="connsiteY2" fmla="*/ 3942773 h 6997700"/>
                  <a:gd name="connsiteX3" fmla="*/ 1974273 w 4834412"/>
                  <a:gd name="connsiteY3" fmla="*/ 3921991 h 6997700"/>
                  <a:gd name="connsiteX4" fmla="*/ 2556164 w 4834412"/>
                  <a:gd name="connsiteY4" fmla="*/ 3485573 h 6997700"/>
                  <a:gd name="connsiteX5" fmla="*/ 2805545 w 4834412"/>
                  <a:gd name="connsiteY5" fmla="*/ 3527137 h 6997700"/>
                  <a:gd name="connsiteX6" fmla="*/ 2894734 w 4834412"/>
                  <a:gd name="connsiteY6" fmla="*/ 1789257 h 6997700"/>
                  <a:gd name="connsiteX7" fmla="*/ 3249757 w 4834412"/>
                  <a:gd name="connsiteY7" fmla="*/ 1403927 h 6997700"/>
                  <a:gd name="connsiteX8" fmla="*/ 3449782 w 4834412"/>
                  <a:gd name="connsiteY8" fmla="*/ 347518 h 6997700"/>
                  <a:gd name="connsiteX9" fmla="*/ 3776229 w 4834412"/>
                  <a:gd name="connsiteY9" fmla="*/ 289 h 6997700"/>
                  <a:gd name="connsiteX10" fmla="*/ 4073236 w 4834412"/>
                  <a:gd name="connsiteY10" fmla="*/ 742373 h 6997700"/>
                  <a:gd name="connsiteX11" fmla="*/ 4094018 w 4834412"/>
                  <a:gd name="connsiteY11" fmla="*/ 1054100 h 6997700"/>
                  <a:gd name="connsiteX12" fmla="*/ 4239491 w 4834412"/>
                  <a:gd name="connsiteY12" fmla="*/ 1241137 h 6997700"/>
                  <a:gd name="connsiteX13" fmla="*/ 4177145 w 4834412"/>
                  <a:gd name="connsiteY13" fmla="*/ 1428173 h 6997700"/>
                  <a:gd name="connsiteX14" fmla="*/ 4415270 w 4834412"/>
                  <a:gd name="connsiteY14" fmla="*/ 1721716 h 6997700"/>
                  <a:gd name="connsiteX15" fmla="*/ 4447309 w 4834412"/>
                  <a:gd name="connsiteY15" fmla="*/ 2072409 h 6997700"/>
                  <a:gd name="connsiteX16" fmla="*/ 4779818 w 4834412"/>
                  <a:gd name="connsiteY16" fmla="*/ 3028373 h 6997700"/>
                  <a:gd name="connsiteX17" fmla="*/ 4704484 w 4834412"/>
                  <a:gd name="connsiteY17" fmla="*/ 4229389 h 6997700"/>
                  <a:gd name="connsiteX18" fmla="*/ 4572000 w 4834412"/>
                  <a:gd name="connsiteY18" fmla="*/ 5044209 h 6997700"/>
                  <a:gd name="connsiteX19" fmla="*/ 4281054 w 4834412"/>
                  <a:gd name="connsiteY19" fmla="*/ 5355937 h 6997700"/>
                  <a:gd name="connsiteX20" fmla="*/ 2680854 w 4834412"/>
                  <a:gd name="connsiteY20" fmla="*/ 6000173 h 6997700"/>
                  <a:gd name="connsiteX21" fmla="*/ 852054 w 4834412"/>
                  <a:gd name="connsiteY21" fmla="*/ 6997700 h 6997700"/>
                  <a:gd name="connsiteX22" fmla="*/ 644236 w 4834412"/>
                  <a:gd name="connsiteY22" fmla="*/ 5833918 h 6997700"/>
                  <a:gd name="connsiteX23" fmla="*/ 0 w 4834412"/>
                  <a:gd name="connsiteY23" fmla="*/ 4566227 h 6997700"/>
                  <a:gd name="connsiteX0" fmla="*/ 0 w 4834412"/>
                  <a:gd name="connsiteY0" fmla="*/ 4566227 h 6997700"/>
                  <a:gd name="connsiteX1" fmla="*/ 685800 w 4834412"/>
                  <a:gd name="connsiteY1" fmla="*/ 4212937 h 6997700"/>
                  <a:gd name="connsiteX2" fmla="*/ 1433945 w 4834412"/>
                  <a:gd name="connsiteY2" fmla="*/ 3942773 h 6997700"/>
                  <a:gd name="connsiteX3" fmla="*/ 1974273 w 4834412"/>
                  <a:gd name="connsiteY3" fmla="*/ 3921991 h 6997700"/>
                  <a:gd name="connsiteX4" fmla="*/ 2556164 w 4834412"/>
                  <a:gd name="connsiteY4" fmla="*/ 3485573 h 6997700"/>
                  <a:gd name="connsiteX5" fmla="*/ 2805545 w 4834412"/>
                  <a:gd name="connsiteY5" fmla="*/ 3527137 h 6997700"/>
                  <a:gd name="connsiteX6" fmla="*/ 2894734 w 4834412"/>
                  <a:gd name="connsiteY6" fmla="*/ 1789257 h 6997700"/>
                  <a:gd name="connsiteX7" fmla="*/ 3249757 w 4834412"/>
                  <a:gd name="connsiteY7" fmla="*/ 1403927 h 6997700"/>
                  <a:gd name="connsiteX8" fmla="*/ 3449782 w 4834412"/>
                  <a:gd name="connsiteY8" fmla="*/ 347518 h 6997700"/>
                  <a:gd name="connsiteX9" fmla="*/ 3776229 w 4834412"/>
                  <a:gd name="connsiteY9" fmla="*/ 289 h 6997700"/>
                  <a:gd name="connsiteX10" fmla="*/ 4073236 w 4834412"/>
                  <a:gd name="connsiteY10" fmla="*/ 742373 h 6997700"/>
                  <a:gd name="connsiteX11" fmla="*/ 4094018 w 4834412"/>
                  <a:gd name="connsiteY11" fmla="*/ 1054100 h 6997700"/>
                  <a:gd name="connsiteX12" fmla="*/ 4239491 w 4834412"/>
                  <a:gd name="connsiteY12" fmla="*/ 1241137 h 6997700"/>
                  <a:gd name="connsiteX13" fmla="*/ 4177145 w 4834412"/>
                  <a:gd name="connsiteY13" fmla="*/ 1428173 h 6997700"/>
                  <a:gd name="connsiteX14" fmla="*/ 4415270 w 4834412"/>
                  <a:gd name="connsiteY14" fmla="*/ 1721716 h 6997700"/>
                  <a:gd name="connsiteX15" fmla="*/ 4447309 w 4834412"/>
                  <a:gd name="connsiteY15" fmla="*/ 2072409 h 6997700"/>
                  <a:gd name="connsiteX16" fmla="*/ 4779818 w 4834412"/>
                  <a:gd name="connsiteY16" fmla="*/ 3028373 h 6997700"/>
                  <a:gd name="connsiteX17" fmla="*/ 4704484 w 4834412"/>
                  <a:gd name="connsiteY17" fmla="*/ 4229389 h 6997700"/>
                  <a:gd name="connsiteX18" fmla="*/ 4572000 w 4834412"/>
                  <a:gd name="connsiteY18" fmla="*/ 5044209 h 6997700"/>
                  <a:gd name="connsiteX19" fmla="*/ 4281054 w 4834412"/>
                  <a:gd name="connsiteY19" fmla="*/ 5355937 h 6997700"/>
                  <a:gd name="connsiteX20" fmla="*/ 2680854 w 4834412"/>
                  <a:gd name="connsiteY20" fmla="*/ 6000173 h 6997700"/>
                  <a:gd name="connsiteX21" fmla="*/ 852054 w 4834412"/>
                  <a:gd name="connsiteY21" fmla="*/ 6997700 h 6997700"/>
                  <a:gd name="connsiteX22" fmla="*/ 644236 w 4834412"/>
                  <a:gd name="connsiteY22" fmla="*/ 5833918 h 6997700"/>
                  <a:gd name="connsiteX23" fmla="*/ 0 w 4834412"/>
                  <a:gd name="connsiteY23" fmla="*/ 4566227 h 6997700"/>
                  <a:gd name="connsiteX0" fmla="*/ 0 w 4834412"/>
                  <a:gd name="connsiteY0" fmla="*/ 4566227 h 6997700"/>
                  <a:gd name="connsiteX1" fmla="*/ 685800 w 4834412"/>
                  <a:gd name="connsiteY1" fmla="*/ 4212937 h 6997700"/>
                  <a:gd name="connsiteX2" fmla="*/ 1433945 w 4834412"/>
                  <a:gd name="connsiteY2" fmla="*/ 3942773 h 6997700"/>
                  <a:gd name="connsiteX3" fmla="*/ 1974273 w 4834412"/>
                  <a:gd name="connsiteY3" fmla="*/ 3921991 h 6997700"/>
                  <a:gd name="connsiteX4" fmla="*/ 2556164 w 4834412"/>
                  <a:gd name="connsiteY4" fmla="*/ 3485573 h 6997700"/>
                  <a:gd name="connsiteX5" fmla="*/ 2805545 w 4834412"/>
                  <a:gd name="connsiteY5" fmla="*/ 3527137 h 6997700"/>
                  <a:gd name="connsiteX6" fmla="*/ 2894734 w 4834412"/>
                  <a:gd name="connsiteY6" fmla="*/ 1789257 h 6997700"/>
                  <a:gd name="connsiteX7" fmla="*/ 3249757 w 4834412"/>
                  <a:gd name="connsiteY7" fmla="*/ 1403927 h 6997700"/>
                  <a:gd name="connsiteX8" fmla="*/ 3449782 w 4834412"/>
                  <a:gd name="connsiteY8" fmla="*/ 347518 h 6997700"/>
                  <a:gd name="connsiteX9" fmla="*/ 3776229 w 4834412"/>
                  <a:gd name="connsiteY9" fmla="*/ 289 h 6997700"/>
                  <a:gd name="connsiteX10" fmla="*/ 4073236 w 4834412"/>
                  <a:gd name="connsiteY10" fmla="*/ 742373 h 6997700"/>
                  <a:gd name="connsiteX11" fmla="*/ 4094018 w 4834412"/>
                  <a:gd name="connsiteY11" fmla="*/ 1054100 h 6997700"/>
                  <a:gd name="connsiteX12" fmla="*/ 4239491 w 4834412"/>
                  <a:gd name="connsiteY12" fmla="*/ 1241137 h 6997700"/>
                  <a:gd name="connsiteX13" fmla="*/ 4177145 w 4834412"/>
                  <a:gd name="connsiteY13" fmla="*/ 1428173 h 6997700"/>
                  <a:gd name="connsiteX14" fmla="*/ 4415270 w 4834412"/>
                  <a:gd name="connsiteY14" fmla="*/ 1721716 h 6997700"/>
                  <a:gd name="connsiteX15" fmla="*/ 4447309 w 4834412"/>
                  <a:gd name="connsiteY15" fmla="*/ 2072409 h 6997700"/>
                  <a:gd name="connsiteX16" fmla="*/ 4779818 w 4834412"/>
                  <a:gd name="connsiteY16" fmla="*/ 3028373 h 6997700"/>
                  <a:gd name="connsiteX17" fmla="*/ 4704484 w 4834412"/>
                  <a:gd name="connsiteY17" fmla="*/ 4229389 h 6997700"/>
                  <a:gd name="connsiteX18" fmla="*/ 4581525 w 4834412"/>
                  <a:gd name="connsiteY18" fmla="*/ 5072784 h 6997700"/>
                  <a:gd name="connsiteX19" fmla="*/ 4281054 w 4834412"/>
                  <a:gd name="connsiteY19" fmla="*/ 5355937 h 6997700"/>
                  <a:gd name="connsiteX20" fmla="*/ 2680854 w 4834412"/>
                  <a:gd name="connsiteY20" fmla="*/ 6000173 h 6997700"/>
                  <a:gd name="connsiteX21" fmla="*/ 852054 w 4834412"/>
                  <a:gd name="connsiteY21" fmla="*/ 6997700 h 6997700"/>
                  <a:gd name="connsiteX22" fmla="*/ 644236 w 4834412"/>
                  <a:gd name="connsiteY22" fmla="*/ 5833918 h 6997700"/>
                  <a:gd name="connsiteX23" fmla="*/ 0 w 4834412"/>
                  <a:gd name="connsiteY23" fmla="*/ 4566227 h 6997700"/>
                  <a:gd name="connsiteX0" fmla="*/ 0 w 4834412"/>
                  <a:gd name="connsiteY0" fmla="*/ 4566227 h 6997700"/>
                  <a:gd name="connsiteX1" fmla="*/ 685800 w 4834412"/>
                  <a:gd name="connsiteY1" fmla="*/ 4212937 h 6997700"/>
                  <a:gd name="connsiteX2" fmla="*/ 1433945 w 4834412"/>
                  <a:gd name="connsiteY2" fmla="*/ 3942773 h 6997700"/>
                  <a:gd name="connsiteX3" fmla="*/ 1974273 w 4834412"/>
                  <a:gd name="connsiteY3" fmla="*/ 3921991 h 6997700"/>
                  <a:gd name="connsiteX4" fmla="*/ 2556164 w 4834412"/>
                  <a:gd name="connsiteY4" fmla="*/ 3485573 h 6997700"/>
                  <a:gd name="connsiteX5" fmla="*/ 2805545 w 4834412"/>
                  <a:gd name="connsiteY5" fmla="*/ 3527137 h 6997700"/>
                  <a:gd name="connsiteX6" fmla="*/ 2894734 w 4834412"/>
                  <a:gd name="connsiteY6" fmla="*/ 1789257 h 6997700"/>
                  <a:gd name="connsiteX7" fmla="*/ 3249757 w 4834412"/>
                  <a:gd name="connsiteY7" fmla="*/ 1403927 h 6997700"/>
                  <a:gd name="connsiteX8" fmla="*/ 3449782 w 4834412"/>
                  <a:gd name="connsiteY8" fmla="*/ 347518 h 6997700"/>
                  <a:gd name="connsiteX9" fmla="*/ 3776229 w 4834412"/>
                  <a:gd name="connsiteY9" fmla="*/ 289 h 6997700"/>
                  <a:gd name="connsiteX10" fmla="*/ 4073236 w 4834412"/>
                  <a:gd name="connsiteY10" fmla="*/ 742373 h 6997700"/>
                  <a:gd name="connsiteX11" fmla="*/ 4094018 w 4834412"/>
                  <a:gd name="connsiteY11" fmla="*/ 1054100 h 6997700"/>
                  <a:gd name="connsiteX12" fmla="*/ 4239491 w 4834412"/>
                  <a:gd name="connsiteY12" fmla="*/ 1241137 h 6997700"/>
                  <a:gd name="connsiteX13" fmla="*/ 4177145 w 4834412"/>
                  <a:gd name="connsiteY13" fmla="*/ 1428173 h 6997700"/>
                  <a:gd name="connsiteX14" fmla="*/ 4415270 w 4834412"/>
                  <a:gd name="connsiteY14" fmla="*/ 1721716 h 6997700"/>
                  <a:gd name="connsiteX15" fmla="*/ 4447309 w 4834412"/>
                  <a:gd name="connsiteY15" fmla="*/ 2072409 h 6997700"/>
                  <a:gd name="connsiteX16" fmla="*/ 4779818 w 4834412"/>
                  <a:gd name="connsiteY16" fmla="*/ 3028373 h 6997700"/>
                  <a:gd name="connsiteX17" fmla="*/ 4704484 w 4834412"/>
                  <a:gd name="connsiteY17" fmla="*/ 4229389 h 6997700"/>
                  <a:gd name="connsiteX18" fmla="*/ 4581525 w 4834412"/>
                  <a:gd name="connsiteY18" fmla="*/ 5072784 h 6997700"/>
                  <a:gd name="connsiteX19" fmla="*/ 4281054 w 4834412"/>
                  <a:gd name="connsiteY19" fmla="*/ 5355937 h 6997700"/>
                  <a:gd name="connsiteX20" fmla="*/ 2680854 w 4834412"/>
                  <a:gd name="connsiteY20" fmla="*/ 6000173 h 6997700"/>
                  <a:gd name="connsiteX21" fmla="*/ 852054 w 4834412"/>
                  <a:gd name="connsiteY21" fmla="*/ 6997700 h 6997700"/>
                  <a:gd name="connsiteX22" fmla="*/ 644236 w 4834412"/>
                  <a:gd name="connsiteY22" fmla="*/ 5833918 h 6997700"/>
                  <a:gd name="connsiteX23" fmla="*/ 0 w 4834412"/>
                  <a:gd name="connsiteY23" fmla="*/ 4566227 h 6997700"/>
                  <a:gd name="connsiteX0" fmla="*/ 0 w 4834412"/>
                  <a:gd name="connsiteY0" fmla="*/ 4566227 h 6997700"/>
                  <a:gd name="connsiteX1" fmla="*/ 685800 w 4834412"/>
                  <a:gd name="connsiteY1" fmla="*/ 4212937 h 6997700"/>
                  <a:gd name="connsiteX2" fmla="*/ 1433945 w 4834412"/>
                  <a:gd name="connsiteY2" fmla="*/ 3942773 h 6997700"/>
                  <a:gd name="connsiteX3" fmla="*/ 1974273 w 4834412"/>
                  <a:gd name="connsiteY3" fmla="*/ 3921991 h 6997700"/>
                  <a:gd name="connsiteX4" fmla="*/ 2556164 w 4834412"/>
                  <a:gd name="connsiteY4" fmla="*/ 3485573 h 6997700"/>
                  <a:gd name="connsiteX5" fmla="*/ 2805545 w 4834412"/>
                  <a:gd name="connsiteY5" fmla="*/ 3527137 h 6997700"/>
                  <a:gd name="connsiteX6" fmla="*/ 2894734 w 4834412"/>
                  <a:gd name="connsiteY6" fmla="*/ 1789257 h 6997700"/>
                  <a:gd name="connsiteX7" fmla="*/ 3249757 w 4834412"/>
                  <a:gd name="connsiteY7" fmla="*/ 1403927 h 6997700"/>
                  <a:gd name="connsiteX8" fmla="*/ 3449782 w 4834412"/>
                  <a:gd name="connsiteY8" fmla="*/ 347518 h 6997700"/>
                  <a:gd name="connsiteX9" fmla="*/ 3776229 w 4834412"/>
                  <a:gd name="connsiteY9" fmla="*/ 289 h 6997700"/>
                  <a:gd name="connsiteX10" fmla="*/ 4073236 w 4834412"/>
                  <a:gd name="connsiteY10" fmla="*/ 742373 h 6997700"/>
                  <a:gd name="connsiteX11" fmla="*/ 4094018 w 4834412"/>
                  <a:gd name="connsiteY11" fmla="*/ 1054100 h 6997700"/>
                  <a:gd name="connsiteX12" fmla="*/ 4239491 w 4834412"/>
                  <a:gd name="connsiteY12" fmla="*/ 1241137 h 6997700"/>
                  <a:gd name="connsiteX13" fmla="*/ 4177145 w 4834412"/>
                  <a:gd name="connsiteY13" fmla="*/ 1428173 h 6997700"/>
                  <a:gd name="connsiteX14" fmla="*/ 4415270 w 4834412"/>
                  <a:gd name="connsiteY14" fmla="*/ 1721716 h 6997700"/>
                  <a:gd name="connsiteX15" fmla="*/ 4447309 w 4834412"/>
                  <a:gd name="connsiteY15" fmla="*/ 2072409 h 6997700"/>
                  <a:gd name="connsiteX16" fmla="*/ 4779818 w 4834412"/>
                  <a:gd name="connsiteY16" fmla="*/ 3028373 h 6997700"/>
                  <a:gd name="connsiteX17" fmla="*/ 4704484 w 4834412"/>
                  <a:gd name="connsiteY17" fmla="*/ 4229389 h 6997700"/>
                  <a:gd name="connsiteX18" fmla="*/ 4581525 w 4834412"/>
                  <a:gd name="connsiteY18" fmla="*/ 5072784 h 6997700"/>
                  <a:gd name="connsiteX19" fmla="*/ 4223904 w 4834412"/>
                  <a:gd name="connsiteY19" fmla="*/ 5327362 h 6997700"/>
                  <a:gd name="connsiteX20" fmla="*/ 2680854 w 4834412"/>
                  <a:gd name="connsiteY20" fmla="*/ 6000173 h 6997700"/>
                  <a:gd name="connsiteX21" fmla="*/ 852054 w 4834412"/>
                  <a:gd name="connsiteY21" fmla="*/ 6997700 h 6997700"/>
                  <a:gd name="connsiteX22" fmla="*/ 644236 w 4834412"/>
                  <a:gd name="connsiteY22" fmla="*/ 5833918 h 6997700"/>
                  <a:gd name="connsiteX23" fmla="*/ 0 w 4834412"/>
                  <a:gd name="connsiteY23" fmla="*/ 4566227 h 6997700"/>
                  <a:gd name="connsiteX0" fmla="*/ 0 w 4834412"/>
                  <a:gd name="connsiteY0" fmla="*/ 4566227 h 6997700"/>
                  <a:gd name="connsiteX1" fmla="*/ 685800 w 4834412"/>
                  <a:gd name="connsiteY1" fmla="*/ 4212937 h 6997700"/>
                  <a:gd name="connsiteX2" fmla="*/ 1433945 w 4834412"/>
                  <a:gd name="connsiteY2" fmla="*/ 3942773 h 6997700"/>
                  <a:gd name="connsiteX3" fmla="*/ 1974273 w 4834412"/>
                  <a:gd name="connsiteY3" fmla="*/ 3921991 h 6997700"/>
                  <a:gd name="connsiteX4" fmla="*/ 2556164 w 4834412"/>
                  <a:gd name="connsiteY4" fmla="*/ 3485573 h 6997700"/>
                  <a:gd name="connsiteX5" fmla="*/ 2805545 w 4834412"/>
                  <a:gd name="connsiteY5" fmla="*/ 3527137 h 6997700"/>
                  <a:gd name="connsiteX6" fmla="*/ 2894734 w 4834412"/>
                  <a:gd name="connsiteY6" fmla="*/ 1789257 h 6997700"/>
                  <a:gd name="connsiteX7" fmla="*/ 3249757 w 4834412"/>
                  <a:gd name="connsiteY7" fmla="*/ 1403927 h 6997700"/>
                  <a:gd name="connsiteX8" fmla="*/ 3449782 w 4834412"/>
                  <a:gd name="connsiteY8" fmla="*/ 347518 h 6997700"/>
                  <a:gd name="connsiteX9" fmla="*/ 3776229 w 4834412"/>
                  <a:gd name="connsiteY9" fmla="*/ 289 h 6997700"/>
                  <a:gd name="connsiteX10" fmla="*/ 4073236 w 4834412"/>
                  <a:gd name="connsiteY10" fmla="*/ 742373 h 6997700"/>
                  <a:gd name="connsiteX11" fmla="*/ 4094018 w 4834412"/>
                  <a:gd name="connsiteY11" fmla="*/ 1054100 h 6997700"/>
                  <a:gd name="connsiteX12" fmla="*/ 4239491 w 4834412"/>
                  <a:gd name="connsiteY12" fmla="*/ 1241137 h 6997700"/>
                  <a:gd name="connsiteX13" fmla="*/ 4177145 w 4834412"/>
                  <a:gd name="connsiteY13" fmla="*/ 1428173 h 6997700"/>
                  <a:gd name="connsiteX14" fmla="*/ 4415270 w 4834412"/>
                  <a:gd name="connsiteY14" fmla="*/ 1721716 h 6997700"/>
                  <a:gd name="connsiteX15" fmla="*/ 4447309 w 4834412"/>
                  <a:gd name="connsiteY15" fmla="*/ 2072409 h 6997700"/>
                  <a:gd name="connsiteX16" fmla="*/ 4779818 w 4834412"/>
                  <a:gd name="connsiteY16" fmla="*/ 3028373 h 6997700"/>
                  <a:gd name="connsiteX17" fmla="*/ 4704484 w 4834412"/>
                  <a:gd name="connsiteY17" fmla="*/ 4229389 h 6997700"/>
                  <a:gd name="connsiteX18" fmla="*/ 4581525 w 4834412"/>
                  <a:gd name="connsiteY18" fmla="*/ 5072784 h 6997700"/>
                  <a:gd name="connsiteX19" fmla="*/ 4223904 w 4834412"/>
                  <a:gd name="connsiteY19" fmla="*/ 5327362 h 6997700"/>
                  <a:gd name="connsiteX20" fmla="*/ 2680854 w 4834412"/>
                  <a:gd name="connsiteY20" fmla="*/ 6000173 h 6997700"/>
                  <a:gd name="connsiteX21" fmla="*/ 852054 w 4834412"/>
                  <a:gd name="connsiteY21" fmla="*/ 6997700 h 6997700"/>
                  <a:gd name="connsiteX22" fmla="*/ 644236 w 4834412"/>
                  <a:gd name="connsiteY22" fmla="*/ 5833918 h 6997700"/>
                  <a:gd name="connsiteX23" fmla="*/ 0 w 4834412"/>
                  <a:gd name="connsiteY23" fmla="*/ 4566227 h 6997700"/>
                  <a:gd name="connsiteX0" fmla="*/ 0 w 4834412"/>
                  <a:gd name="connsiteY0" fmla="*/ 4566227 h 6997700"/>
                  <a:gd name="connsiteX1" fmla="*/ 685800 w 4834412"/>
                  <a:gd name="connsiteY1" fmla="*/ 4212937 h 6997700"/>
                  <a:gd name="connsiteX2" fmla="*/ 1433945 w 4834412"/>
                  <a:gd name="connsiteY2" fmla="*/ 3942773 h 6997700"/>
                  <a:gd name="connsiteX3" fmla="*/ 1974273 w 4834412"/>
                  <a:gd name="connsiteY3" fmla="*/ 3921991 h 6997700"/>
                  <a:gd name="connsiteX4" fmla="*/ 2556164 w 4834412"/>
                  <a:gd name="connsiteY4" fmla="*/ 3485573 h 6997700"/>
                  <a:gd name="connsiteX5" fmla="*/ 2805545 w 4834412"/>
                  <a:gd name="connsiteY5" fmla="*/ 3527137 h 6997700"/>
                  <a:gd name="connsiteX6" fmla="*/ 2894734 w 4834412"/>
                  <a:gd name="connsiteY6" fmla="*/ 1789257 h 6997700"/>
                  <a:gd name="connsiteX7" fmla="*/ 3249757 w 4834412"/>
                  <a:gd name="connsiteY7" fmla="*/ 1403927 h 6997700"/>
                  <a:gd name="connsiteX8" fmla="*/ 3449782 w 4834412"/>
                  <a:gd name="connsiteY8" fmla="*/ 347518 h 6997700"/>
                  <a:gd name="connsiteX9" fmla="*/ 3776229 w 4834412"/>
                  <a:gd name="connsiteY9" fmla="*/ 289 h 6997700"/>
                  <a:gd name="connsiteX10" fmla="*/ 4073236 w 4834412"/>
                  <a:gd name="connsiteY10" fmla="*/ 742373 h 6997700"/>
                  <a:gd name="connsiteX11" fmla="*/ 4094018 w 4834412"/>
                  <a:gd name="connsiteY11" fmla="*/ 1054100 h 6997700"/>
                  <a:gd name="connsiteX12" fmla="*/ 4239491 w 4834412"/>
                  <a:gd name="connsiteY12" fmla="*/ 1241137 h 6997700"/>
                  <a:gd name="connsiteX13" fmla="*/ 4177145 w 4834412"/>
                  <a:gd name="connsiteY13" fmla="*/ 1428173 h 6997700"/>
                  <a:gd name="connsiteX14" fmla="*/ 4415270 w 4834412"/>
                  <a:gd name="connsiteY14" fmla="*/ 1721716 h 6997700"/>
                  <a:gd name="connsiteX15" fmla="*/ 4447309 w 4834412"/>
                  <a:gd name="connsiteY15" fmla="*/ 2072409 h 6997700"/>
                  <a:gd name="connsiteX16" fmla="*/ 4779818 w 4834412"/>
                  <a:gd name="connsiteY16" fmla="*/ 3028373 h 6997700"/>
                  <a:gd name="connsiteX17" fmla="*/ 4704484 w 4834412"/>
                  <a:gd name="connsiteY17" fmla="*/ 4229389 h 6997700"/>
                  <a:gd name="connsiteX18" fmla="*/ 4581525 w 4834412"/>
                  <a:gd name="connsiteY18" fmla="*/ 5072784 h 6997700"/>
                  <a:gd name="connsiteX19" fmla="*/ 4223904 w 4834412"/>
                  <a:gd name="connsiteY19" fmla="*/ 5327362 h 6997700"/>
                  <a:gd name="connsiteX20" fmla="*/ 2680854 w 4834412"/>
                  <a:gd name="connsiteY20" fmla="*/ 6000173 h 6997700"/>
                  <a:gd name="connsiteX21" fmla="*/ 852054 w 4834412"/>
                  <a:gd name="connsiteY21" fmla="*/ 6997700 h 6997700"/>
                  <a:gd name="connsiteX22" fmla="*/ 644236 w 4834412"/>
                  <a:gd name="connsiteY22" fmla="*/ 5833918 h 6997700"/>
                  <a:gd name="connsiteX23" fmla="*/ 0 w 4834412"/>
                  <a:gd name="connsiteY23" fmla="*/ 4566227 h 6997700"/>
                  <a:gd name="connsiteX0" fmla="*/ 0 w 4834412"/>
                  <a:gd name="connsiteY0" fmla="*/ 4566227 h 6997700"/>
                  <a:gd name="connsiteX1" fmla="*/ 685800 w 4834412"/>
                  <a:gd name="connsiteY1" fmla="*/ 4212937 h 6997700"/>
                  <a:gd name="connsiteX2" fmla="*/ 1433945 w 4834412"/>
                  <a:gd name="connsiteY2" fmla="*/ 3942773 h 6997700"/>
                  <a:gd name="connsiteX3" fmla="*/ 1974273 w 4834412"/>
                  <a:gd name="connsiteY3" fmla="*/ 3921991 h 6997700"/>
                  <a:gd name="connsiteX4" fmla="*/ 2556164 w 4834412"/>
                  <a:gd name="connsiteY4" fmla="*/ 3542723 h 6997700"/>
                  <a:gd name="connsiteX5" fmla="*/ 2805545 w 4834412"/>
                  <a:gd name="connsiteY5" fmla="*/ 3527137 h 6997700"/>
                  <a:gd name="connsiteX6" fmla="*/ 2894734 w 4834412"/>
                  <a:gd name="connsiteY6" fmla="*/ 1789257 h 6997700"/>
                  <a:gd name="connsiteX7" fmla="*/ 3249757 w 4834412"/>
                  <a:gd name="connsiteY7" fmla="*/ 1403927 h 6997700"/>
                  <a:gd name="connsiteX8" fmla="*/ 3449782 w 4834412"/>
                  <a:gd name="connsiteY8" fmla="*/ 347518 h 6997700"/>
                  <a:gd name="connsiteX9" fmla="*/ 3776229 w 4834412"/>
                  <a:gd name="connsiteY9" fmla="*/ 289 h 6997700"/>
                  <a:gd name="connsiteX10" fmla="*/ 4073236 w 4834412"/>
                  <a:gd name="connsiteY10" fmla="*/ 742373 h 6997700"/>
                  <a:gd name="connsiteX11" fmla="*/ 4094018 w 4834412"/>
                  <a:gd name="connsiteY11" fmla="*/ 1054100 h 6997700"/>
                  <a:gd name="connsiteX12" fmla="*/ 4239491 w 4834412"/>
                  <a:gd name="connsiteY12" fmla="*/ 1241137 h 6997700"/>
                  <a:gd name="connsiteX13" fmla="*/ 4177145 w 4834412"/>
                  <a:gd name="connsiteY13" fmla="*/ 1428173 h 6997700"/>
                  <a:gd name="connsiteX14" fmla="*/ 4415270 w 4834412"/>
                  <a:gd name="connsiteY14" fmla="*/ 1721716 h 6997700"/>
                  <a:gd name="connsiteX15" fmla="*/ 4447309 w 4834412"/>
                  <a:gd name="connsiteY15" fmla="*/ 2072409 h 6997700"/>
                  <a:gd name="connsiteX16" fmla="*/ 4779818 w 4834412"/>
                  <a:gd name="connsiteY16" fmla="*/ 3028373 h 6997700"/>
                  <a:gd name="connsiteX17" fmla="*/ 4704484 w 4834412"/>
                  <a:gd name="connsiteY17" fmla="*/ 4229389 h 6997700"/>
                  <a:gd name="connsiteX18" fmla="*/ 4581525 w 4834412"/>
                  <a:gd name="connsiteY18" fmla="*/ 5072784 h 6997700"/>
                  <a:gd name="connsiteX19" fmla="*/ 4223904 w 4834412"/>
                  <a:gd name="connsiteY19" fmla="*/ 5327362 h 6997700"/>
                  <a:gd name="connsiteX20" fmla="*/ 2680854 w 4834412"/>
                  <a:gd name="connsiteY20" fmla="*/ 6000173 h 6997700"/>
                  <a:gd name="connsiteX21" fmla="*/ 852054 w 4834412"/>
                  <a:gd name="connsiteY21" fmla="*/ 6997700 h 6997700"/>
                  <a:gd name="connsiteX22" fmla="*/ 644236 w 4834412"/>
                  <a:gd name="connsiteY22" fmla="*/ 5833918 h 6997700"/>
                  <a:gd name="connsiteX23" fmla="*/ 0 w 4834412"/>
                  <a:gd name="connsiteY23" fmla="*/ 4566227 h 6997700"/>
                  <a:gd name="connsiteX0" fmla="*/ 0 w 4834412"/>
                  <a:gd name="connsiteY0" fmla="*/ 4566227 h 6997700"/>
                  <a:gd name="connsiteX1" fmla="*/ 685800 w 4834412"/>
                  <a:gd name="connsiteY1" fmla="*/ 4212937 h 6997700"/>
                  <a:gd name="connsiteX2" fmla="*/ 1433945 w 4834412"/>
                  <a:gd name="connsiteY2" fmla="*/ 3942773 h 6997700"/>
                  <a:gd name="connsiteX3" fmla="*/ 1993323 w 4834412"/>
                  <a:gd name="connsiteY3" fmla="*/ 3883891 h 6997700"/>
                  <a:gd name="connsiteX4" fmla="*/ 2556164 w 4834412"/>
                  <a:gd name="connsiteY4" fmla="*/ 3542723 h 6997700"/>
                  <a:gd name="connsiteX5" fmla="*/ 2805545 w 4834412"/>
                  <a:gd name="connsiteY5" fmla="*/ 3527137 h 6997700"/>
                  <a:gd name="connsiteX6" fmla="*/ 2894734 w 4834412"/>
                  <a:gd name="connsiteY6" fmla="*/ 1789257 h 6997700"/>
                  <a:gd name="connsiteX7" fmla="*/ 3249757 w 4834412"/>
                  <a:gd name="connsiteY7" fmla="*/ 1403927 h 6997700"/>
                  <a:gd name="connsiteX8" fmla="*/ 3449782 w 4834412"/>
                  <a:gd name="connsiteY8" fmla="*/ 347518 h 6997700"/>
                  <a:gd name="connsiteX9" fmla="*/ 3776229 w 4834412"/>
                  <a:gd name="connsiteY9" fmla="*/ 289 h 6997700"/>
                  <a:gd name="connsiteX10" fmla="*/ 4073236 w 4834412"/>
                  <a:gd name="connsiteY10" fmla="*/ 742373 h 6997700"/>
                  <a:gd name="connsiteX11" fmla="*/ 4094018 w 4834412"/>
                  <a:gd name="connsiteY11" fmla="*/ 1054100 h 6997700"/>
                  <a:gd name="connsiteX12" fmla="*/ 4239491 w 4834412"/>
                  <a:gd name="connsiteY12" fmla="*/ 1241137 h 6997700"/>
                  <a:gd name="connsiteX13" fmla="*/ 4177145 w 4834412"/>
                  <a:gd name="connsiteY13" fmla="*/ 1428173 h 6997700"/>
                  <a:gd name="connsiteX14" fmla="*/ 4415270 w 4834412"/>
                  <a:gd name="connsiteY14" fmla="*/ 1721716 h 6997700"/>
                  <a:gd name="connsiteX15" fmla="*/ 4447309 w 4834412"/>
                  <a:gd name="connsiteY15" fmla="*/ 2072409 h 6997700"/>
                  <a:gd name="connsiteX16" fmla="*/ 4779818 w 4834412"/>
                  <a:gd name="connsiteY16" fmla="*/ 3028373 h 6997700"/>
                  <a:gd name="connsiteX17" fmla="*/ 4704484 w 4834412"/>
                  <a:gd name="connsiteY17" fmla="*/ 4229389 h 6997700"/>
                  <a:gd name="connsiteX18" fmla="*/ 4581525 w 4834412"/>
                  <a:gd name="connsiteY18" fmla="*/ 5072784 h 6997700"/>
                  <a:gd name="connsiteX19" fmla="*/ 4223904 w 4834412"/>
                  <a:gd name="connsiteY19" fmla="*/ 5327362 h 6997700"/>
                  <a:gd name="connsiteX20" fmla="*/ 2680854 w 4834412"/>
                  <a:gd name="connsiteY20" fmla="*/ 6000173 h 6997700"/>
                  <a:gd name="connsiteX21" fmla="*/ 852054 w 4834412"/>
                  <a:gd name="connsiteY21" fmla="*/ 6997700 h 6997700"/>
                  <a:gd name="connsiteX22" fmla="*/ 644236 w 4834412"/>
                  <a:gd name="connsiteY22" fmla="*/ 5833918 h 6997700"/>
                  <a:gd name="connsiteX23" fmla="*/ 0 w 4834412"/>
                  <a:gd name="connsiteY23" fmla="*/ 4566227 h 6997700"/>
                  <a:gd name="connsiteX0" fmla="*/ 0 w 4834412"/>
                  <a:gd name="connsiteY0" fmla="*/ 4566227 h 6997700"/>
                  <a:gd name="connsiteX1" fmla="*/ 685800 w 4834412"/>
                  <a:gd name="connsiteY1" fmla="*/ 4212937 h 6997700"/>
                  <a:gd name="connsiteX2" fmla="*/ 1433945 w 4834412"/>
                  <a:gd name="connsiteY2" fmla="*/ 3942773 h 6997700"/>
                  <a:gd name="connsiteX3" fmla="*/ 1993323 w 4834412"/>
                  <a:gd name="connsiteY3" fmla="*/ 3883891 h 6997700"/>
                  <a:gd name="connsiteX4" fmla="*/ 2556164 w 4834412"/>
                  <a:gd name="connsiteY4" fmla="*/ 3542723 h 6997700"/>
                  <a:gd name="connsiteX5" fmla="*/ 2805545 w 4834412"/>
                  <a:gd name="connsiteY5" fmla="*/ 3527137 h 6997700"/>
                  <a:gd name="connsiteX6" fmla="*/ 2894734 w 4834412"/>
                  <a:gd name="connsiteY6" fmla="*/ 1789257 h 6997700"/>
                  <a:gd name="connsiteX7" fmla="*/ 3249757 w 4834412"/>
                  <a:gd name="connsiteY7" fmla="*/ 1403927 h 6997700"/>
                  <a:gd name="connsiteX8" fmla="*/ 3449782 w 4834412"/>
                  <a:gd name="connsiteY8" fmla="*/ 347518 h 6997700"/>
                  <a:gd name="connsiteX9" fmla="*/ 3776229 w 4834412"/>
                  <a:gd name="connsiteY9" fmla="*/ 289 h 6997700"/>
                  <a:gd name="connsiteX10" fmla="*/ 4073236 w 4834412"/>
                  <a:gd name="connsiteY10" fmla="*/ 742373 h 6997700"/>
                  <a:gd name="connsiteX11" fmla="*/ 4094018 w 4834412"/>
                  <a:gd name="connsiteY11" fmla="*/ 1054100 h 6997700"/>
                  <a:gd name="connsiteX12" fmla="*/ 4239491 w 4834412"/>
                  <a:gd name="connsiteY12" fmla="*/ 1241137 h 6997700"/>
                  <a:gd name="connsiteX13" fmla="*/ 4177145 w 4834412"/>
                  <a:gd name="connsiteY13" fmla="*/ 1428173 h 6997700"/>
                  <a:gd name="connsiteX14" fmla="*/ 4415270 w 4834412"/>
                  <a:gd name="connsiteY14" fmla="*/ 1721716 h 6997700"/>
                  <a:gd name="connsiteX15" fmla="*/ 4447309 w 4834412"/>
                  <a:gd name="connsiteY15" fmla="*/ 2072409 h 6997700"/>
                  <a:gd name="connsiteX16" fmla="*/ 4779818 w 4834412"/>
                  <a:gd name="connsiteY16" fmla="*/ 3028373 h 6997700"/>
                  <a:gd name="connsiteX17" fmla="*/ 4704484 w 4834412"/>
                  <a:gd name="connsiteY17" fmla="*/ 4229389 h 6997700"/>
                  <a:gd name="connsiteX18" fmla="*/ 4581525 w 4834412"/>
                  <a:gd name="connsiteY18" fmla="*/ 5072784 h 6997700"/>
                  <a:gd name="connsiteX19" fmla="*/ 4223904 w 4834412"/>
                  <a:gd name="connsiteY19" fmla="*/ 5327362 h 6997700"/>
                  <a:gd name="connsiteX20" fmla="*/ 2680854 w 4834412"/>
                  <a:gd name="connsiteY20" fmla="*/ 6000173 h 6997700"/>
                  <a:gd name="connsiteX21" fmla="*/ 852054 w 4834412"/>
                  <a:gd name="connsiteY21" fmla="*/ 6997700 h 6997700"/>
                  <a:gd name="connsiteX22" fmla="*/ 644236 w 4834412"/>
                  <a:gd name="connsiteY22" fmla="*/ 5833918 h 6997700"/>
                  <a:gd name="connsiteX23" fmla="*/ 0 w 4834412"/>
                  <a:gd name="connsiteY23" fmla="*/ 4566227 h 6997700"/>
                  <a:gd name="connsiteX0" fmla="*/ 0 w 4834412"/>
                  <a:gd name="connsiteY0" fmla="*/ 4566227 h 6997700"/>
                  <a:gd name="connsiteX1" fmla="*/ 685800 w 4834412"/>
                  <a:gd name="connsiteY1" fmla="*/ 4212937 h 6997700"/>
                  <a:gd name="connsiteX2" fmla="*/ 1348220 w 4834412"/>
                  <a:gd name="connsiteY2" fmla="*/ 3980873 h 6997700"/>
                  <a:gd name="connsiteX3" fmla="*/ 1993323 w 4834412"/>
                  <a:gd name="connsiteY3" fmla="*/ 3883891 h 6997700"/>
                  <a:gd name="connsiteX4" fmla="*/ 2556164 w 4834412"/>
                  <a:gd name="connsiteY4" fmla="*/ 3542723 h 6997700"/>
                  <a:gd name="connsiteX5" fmla="*/ 2805545 w 4834412"/>
                  <a:gd name="connsiteY5" fmla="*/ 3527137 h 6997700"/>
                  <a:gd name="connsiteX6" fmla="*/ 2894734 w 4834412"/>
                  <a:gd name="connsiteY6" fmla="*/ 1789257 h 6997700"/>
                  <a:gd name="connsiteX7" fmla="*/ 3249757 w 4834412"/>
                  <a:gd name="connsiteY7" fmla="*/ 1403927 h 6997700"/>
                  <a:gd name="connsiteX8" fmla="*/ 3449782 w 4834412"/>
                  <a:gd name="connsiteY8" fmla="*/ 347518 h 6997700"/>
                  <a:gd name="connsiteX9" fmla="*/ 3776229 w 4834412"/>
                  <a:gd name="connsiteY9" fmla="*/ 289 h 6997700"/>
                  <a:gd name="connsiteX10" fmla="*/ 4073236 w 4834412"/>
                  <a:gd name="connsiteY10" fmla="*/ 742373 h 6997700"/>
                  <a:gd name="connsiteX11" fmla="*/ 4094018 w 4834412"/>
                  <a:gd name="connsiteY11" fmla="*/ 1054100 h 6997700"/>
                  <a:gd name="connsiteX12" fmla="*/ 4239491 w 4834412"/>
                  <a:gd name="connsiteY12" fmla="*/ 1241137 h 6997700"/>
                  <a:gd name="connsiteX13" fmla="*/ 4177145 w 4834412"/>
                  <a:gd name="connsiteY13" fmla="*/ 1428173 h 6997700"/>
                  <a:gd name="connsiteX14" fmla="*/ 4415270 w 4834412"/>
                  <a:gd name="connsiteY14" fmla="*/ 1721716 h 6997700"/>
                  <a:gd name="connsiteX15" fmla="*/ 4447309 w 4834412"/>
                  <a:gd name="connsiteY15" fmla="*/ 2072409 h 6997700"/>
                  <a:gd name="connsiteX16" fmla="*/ 4779818 w 4834412"/>
                  <a:gd name="connsiteY16" fmla="*/ 3028373 h 6997700"/>
                  <a:gd name="connsiteX17" fmla="*/ 4704484 w 4834412"/>
                  <a:gd name="connsiteY17" fmla="*/ 4229389 h 6997700"/>
                  <a:gd name="connsiteX18" fmla="*/ 4581525 w 4834412"/>
                  <a:gd name="connsiteY18" fmla="*/ 5072784 h 6997700"/>
                  <a:gd name="connsiteX19" fmla="*/ 4223904 w 4834412"/>
                  <a:gd name="connsiteY19" fmla="*/ 5327362 h 6997700"/>
                  <a:gd name="connsiteX20" fmla="*/ 2680854 w 4834412"/>
                  <a:gd name="connsiteY20" fmla="*/ 6000173 h 6997700"/>
                  <a:gd name="connsiteX21" fmla="*/ 852054 w 4834412"/>
                  <a:gd name="connsiteY21" fmla="*/ 6997700 h 6997700"/>
                  <a:gd name="connsiteX22" fmla="*/ 644236 w 4834412"/>
                  <a:gd name="connsiteY22" fmla="*/ 5833918 h 6997700"/>
                  <a:gd name="connsiteX23" fmla="*/ 0 w 4834412"/>
                  <a:gd name="connsiteY23" fmla="*/ 4566227 h 6997700"/>
                  <a:gd name="connsiteX0" fmla="*/ 0 w 4834412"/>
                  <a:gd name="connsiteY0" fmla="*/ 4566227 h 6997700"/>
                  <a:gd name="connsiteX1" fmla="*/ 685800 w 4834412"/>
                  <a:gd name="connsiteY1" fmla="*/ 4212937 h 6997700"/>
                  <a:gd name="connsiteX2" fmla="*/ 1348220 w 4834412"/>
                  <a:gd name="connsiteY2" fmla="*/ 3980873 h 6997700"/>
                  <a:gd name="connsiteX3" fmla="*/ 1993323 w 4834412"/>
                  <a:gd name="connsiteY3" fmla="*/ 3883891 h 6997700"/>
                  <a:gd name="connsiteX4" fmla="*/ 2556164 w 4834412"/>
                  <a:gd name="connsiteY4" fmla="*/ 3542723 h 6997700"/>
                  <a:gd name="connsiteX5" fmla="*/ 2805545 w 4834412"/>
                  <a:gd name="connsiteY5" fmla="*/ 3527137 h 6997700"/>
                  <a:gd name="connsiteX6" fmla="*/ 2894734 w 4834412"/>
                  <a:gd name="connsiteY6" fmla="*/ 1789257 h 6997700"/>
                  <a:gd name="connsiteX7" fmla="*/ 3249757 w 4834412"/>
                  <a:gd name="connsiteY7" fmla="*/ 1403927 h 6997700"/>
                  <a:gd name="connsiteX8" fmla="*/ 3449782 w 4834412"/>
                  <a:gd name="connsiteY8" fmla="*/ 347518 h 6997700"/>
                  <a:gd name="connsiteX9" fmla="*/ 3776229 w 4834412"/>
                  <a:gd name="connsiteY9" fmla="*/ 289 h 6997700"/>
                  <a:gd name="connsiteX10" fmla="*/ 4073236 w 4834412"/>
                  <a:gd name="connsiteY10" fmla="*/ 742373 h 6997700"/>
                  <a:gd name="connsiteX11" fmla="*/ 4094018 w 4834412"/>
                  <a:gd name="connsiteY11" fmla="*/ 1054100 h 6997700"/>
                  <a:gd name="connsiteX12" fmla="*/ 4239491 w 4834412"/>
                  <a:gd name="connsiteY12" fmla="*/ 1241137 h 6997700"/>
                  <a:gd name="connsiteX13" fmla="*/ 4177145 w 4834412"/>
                  <a:gd name="connsiteY13" fmla="*/ 1428173 h 6997700"/>
                  <a:gd name="connsiteX14" fmla="*/ 4415270 w 4834412"/>
                  <a:gd name="connsiteY14" fmla="*/ 1721716 h 6997700"/>
                  <a:gd name="connsiteX15" fmla="*/ 4447309 w 4834412"/>
                  <a:gd name="connsiteY15" fmla="*/ 2072409 h 6997700"/>
                  <a:gd name="connsiteX16" fmla="*/ 4779818 w 4834412"/>
                  <a:gd name="connsiteY16" fmla="*/ 3028373 h 6997700"/>
                  <a:gd name="connsiteX17" fmla="*/ 4704484 w 4834412"/>
                  <a:gd name="connsiteY17" fmla="*/ 4229389 h 6997700"/>
                  <a:gd name="connsiteX18" fmla="*/ 4581525 w 4834412"/>
                  <a:gd name="connsiteY18" fmla="*/ 5072784 h 6997700"/>
                  <a:gd name="connsiteX19" fmla="*/ 4223904 w 4834412"/>
                  <a:gd name="connsiteY19" fmla="*/ 5327362 h 6997700"/>
                  <a:gd name="connsiteX20" fmla="*/ 2680854 w 4834412"/>
                  <a:gd name="connsiteY20" fmla="*/ 6000173 h 6997700"/>
                  <a:gd name="connsiteX21" fmla="*/ 852054 w 4834412"/>
                  <a:gd name="connsiteY21" fmla="*/ 6997700 h 6997700"/>
                  <a:gd name="connsiteX22" fmla="*/ 644236 w 4834412"/>
                  <a:gd name="connsiteY22" fmla="*/ 5833918 h 6997700"/>
                  <a:gd name="connsiteX23" fmla="*/ 0 w 4834412"/>
                  <a:gd name="connsiteY23" fmla="*/ 4566227 h 6997700"/>
                  <a:gd name="connsiteX0" fmla="*/ 0 w 4834412"/>
                  <a:gd name="connsiteY0" fmla="*/ 4566227 h 6997700"/>
                  <a:gd name="connsiteX1" fmla="*/ 685800 w 4834412"/>
                  <a:gd name="connsiteY1" fmla="*/ 4212937 h 6997700"/>
                  <a:gd name="connsiteX2" fmla="*/ 1348220 w 4834412"/>
                  <a:gd name="connsiteY2" fmla="*/ 3980873 h 6997700"/>
                  <a:gd name="connsiteX3" fmla="*/ 2002848 w 4834412"/>
                  <a:gd name="connsiteY3" fmla="*/ 3826741 h 6997700"/>
                  <a:gd name="connsiteX4" fmla="*/ 2556164 w 4834412"/>
                  <a:gd name="connsiteY4" fmla="*/ 3542723 h 6997700"/>
                  <a:gd name="connsiteX5" fmla="*/ 2805545 w 4834412"/>
                  <a:gd name="connsiteY5" fmla="*/ 3527137 h 6997700"/>
                  <a:gd name="connsiteX6" fmla="*/ 2894734 w 4834412"/>
                  <a:gd name="connsiteY6" fmla="*/ 1789257 h 6997700"/>
                  <a:gd name="connsiteX7" fmla="*/ 3249757 w 4834412"/>
                  <a:gd name="connsiteY7" fmla="*/ 1403927 h 6997700"/>
                  <a:gd name="connsiteX8" fmla="*/ 3449782 w 4834412"/>
                  <a:gd name="connsiteY8" fmla="*/ 347518 h 6997700"/>
                  <a:gd name="connsiteX9" fmla="*/ 3776229 w 4834412"/>
                  <a:gd name="connsiteY9" fmla="*/ 289 h 6997700"/>
                  <a:gd name="connsiteX10" fmla="*/ 4073236 w 4834412"/>
                  <a:gd name="connsiteY10" fmla="*/ 742373 h 6997700"/>
                  <a:gd name="connsiteX11" fmla="*/ 4094018 w 4834412"/>
                  <a:gd name="connsiteY11" fmla="*/ 1054100 h 6997700"/>
                  <a:gd name="connsiteX12" fmla="*/ 4239491 w 4834412"/>
                  <a:gd name="connsiteY12" fmla="*/ 1241137 h 6997700"/>
                  <a:gd name="connsiteX13" fmla="*/ 4177145 w 4834412"/>
                  <a:gd name="connsiteY13" fmla="*/ 1428173 h 6997700"/>
                  <a:gd name="connsiteX14" fmla="*/ 4415270 w 4834412"/>
                  <a:gd name="connsiteY14" fmla="*/ 1721716 h 6997700"/>
                  <a:gd name="connsiteX15" fmla="*/ 4447309 w 4834412"/>
                  <a:gd name="connsiteY15" fmla="*/ 2072409 h 6997700"/>
                  <a:gd name="connsiteX16" fmla="*/ 4779818 w 4834412"/>
                  <a:gd name="connsiteY16" fmla="*/ 3028373 h 6997700"/>
                  <a:gd name="connsiteX17" fmla="*/ 4704484 w 4834412"/>
                  <a:gd name="connsiteY17" fmla="*/ 4229389 h 6997700"/>
                  <a:gd name="connsiteX18" fmla="*/ 4581525 w 4834412"/>
                  <a:gd name="connsiteY18" fmla="*/ 5072784 h 6997700"/>
                  <a:gd name="connsiteX19" fmla="*/ 4223904 w 4834412"/>
                  <a:gd name="connsiteY19" fmla="*/ 5327362 h 6997700"/>
                  <a:gd name="connsiteX20" fmla="*/ 2680854 w 4834412"/>
                  <a:gd name="connsiteY20" fmla="*/ 6000173 h 6997700"/>
                  <a:gd name="connsiteX21" fmla="*/ 852054 w 4834412"/>
                  <a:gd name="connsiteY21" fmla="*/ 6997700 h 6997700"/>
                  <a:gd name="connsiteX22" fmla="*/ 644236 w 4834412"/>
                  <a:gd name="connsiteY22" fmla="*/ 5833918 h 6997700"/>
                  <a:gd name="connsiteX23" fmla="*/ 0 w 4834412"/>
                  <a:gd name="connsiteY23" fmla="*/ 4566227 h 6997700"/>
                  <a:gd name="connsiteX0" fmla="*/ 0 w 4834412"/>
                  <a:gd name="connsiteY0" fmla="*/ 4566227 h 6997700"/>
                  <a:gd name="connsiteX1" fmla="*/ 685800 w 4834412"/>
                  <a:gd name="connsiteY1" fmla="*/ 4212937 h 6997700"/>
                  <a:gd name="connsiteX2" fmla="*/ 1348220 w 4834412"/>
                  <a:gd name="connsiteY2" fmla="*/ 3980873 h 6997700"/>
                  <a:gd name="connsiteX3" fmla="*/ 2002848 w 4834412"/>
                  <a:gd name="connsiteY3" fmla="*/ 3826741 h 6997700"/>
                  <a:gd name="connsiteX4" fmla="*/ 2556164 w 4834412"/>
                  <a:gd name="connsiteY4" fmla="*/ 3542723 h 6997700"/>
                  <a:gd name="connsiteX5" fmla="*/ 2805545 w 4834412"/>
                  <a:gd name="connsiteY5" fmla="*/ 3527137 h 6997700"/>
                  <a:gd name="connsiteX6" fmla="*/ 2894734 w 4834412"/>
                  <a:gd name="connsiteY6" fmla="*/ 1789257 h 6997700"/>
                  <a:gd name="connsiteX7" fmla="*/ 3249757 w 4834412"/>
                  <a:gd name="connsiteY7" fmla="*/ 1403927 h 6997700"/>
                  <a:gd name="connsiteX8" fmla="*/ 3449782 w 4834412"/>
                  <a:gd name="connsiteY8" fmla="*/ 347518 h 6997700"/>
                  <a:gd name="connsiteX9" fmla="*/ 3776229 w 4834412"/>
                  <a:gd name="connsiteY9" fmla="*/ 289 h 6997700"/>
                  <a:gd name="connsiteX10" fmla="*/ 4073236 w 4834412"/>
                  <a:gd name="connsiteY10" fmla="*/ 742373 h 6997700"/>
                  <a:gd name="connsiteX11" fmla="*/ 4094018 w 4834412"/>
                  <a:gd name="connsiteY11" fmla="*/ 1054100 h 6997700"/>
                  <a:gd name="connsiteX12" fmla="*/ 4239491 w 4834412"/>
                  <a:gd name="connsiteY12" fmla="*/ 1241137 h 6997700"/>
                  <a:gd name="connsiteX13" fmla="*/ 4177145 w 4834412"/>
                  <a:gd name="connsiteY13" fmla="*/ 1428173 h 6997700"/>
                  <a:gd name="connsiteX14" fmla="*/ 4415270 w 4834412"/>
                  <a:gd name="connsiteY14" fmla="*/ 1721716 h 6997700"/>
                  <a:gd name="connsiteX15" fmla="*/ 4447309 w 4834412"/>
                  <a:gd name="connsiteY15" fmla="*/ 2072409 h 6997700"/>
                  <a:gd name="connsiteX16" fmla="*/ 4779818 w 4834412"/>
                  <a:gd name="connsiteY16" fmla="*/ 3028373 h 6997700"/>
                  <a:gd name="connsiteX17" fmla="*/ 4704484 w 4834412"/>
                  <a:gd name="connsiteY17" fmla="*/ 4229389 h 6997700"/>
                  <a:gd name="connsiteX18" fmla="*/ 4581525 w 4834412"/>
                  <a:gd name="connsiteY18" fmla="*/ 5072784 h 6997700"/>
                  <a:gd name="connsiteX19" fmla="*/ 4223904 w 4834412"/>
                  <a:gd name="connsiteY19" fmla="*/ 5327362 h 6997700"/>
                  <a:gd name="connsiteX20" fmla="*/ 2680854 w 4834412"/>
                  <a:gd name="connsiteY20" fmla="*/ 6000173 h 6997700"/>
                  <a:gd name="connsiteX21" fmla="*/ 852054 w 4834412"/>
                  <a:gd name="connsiteY21" fmla="*/ 6997700 h 6997700"/>
                  <a:gd name="connsiteX22" fmla="*/ 644236 w 4834412"/>
                  <a:gd name="connsiteY22" fmla="*/ 5833918 h 6997700"/>
                  <a:gd name="connsiteX23" fmla="*/ 0 w 4834412"/>
                  <a:gd name="connsiteY23" fmla="*/ 4566227 h 6997700"/>
                  <a:gd name="connsiteX0" fmla="*/ 0 w 4834412"/>
                  <a:gd name="connsiteY0" fmla="*/ 4566227 h 6997700"/>
                  <a:gd name="connsiteX1" fmla="*/ 685800 w 4834412"/>
                  <a:gd name="connsiteY1" fmla="*/ 4212937 h 6997700"/>
                  <a:gd name="connsiteX2" fmla="*/ 1348220 w 4834412"/>
                  <a:gd name="connsiteY2" fmla="*/ 3980873 h 6997700"/>
                  <a:gd name="connsiteX3" fmla="*/ 2002848 w 4834412"/>
                  <a:gd name="connsiteY3" fmla="*/ 3826741 h 6997700"/>
                  <a:gd name="connsiteX4" fmla="*/ 2556164 w 4834412"/>
                  <a:gd name="connsiteY4" fmla="*/ 3542723 h 6997700"/>
                  <a:gd name="connsiteX5" fmla="*/ 2805545 w 4834412"/>
                  <a:gd name="connsiteY5" fmla="*/ 3527137 h 6997700"/>
                  <a:gd name="connsiteX6" fmla="*/ 2894734 w 4834412"/>
                  <a:gd name="connsiteY6" fmla="*/ 1789257 h 6997700"/>
                  <a:gd name="connsiteX7" fmla="*/ 3249757 w 4834412"/>
                  <a:gd name="connsiteY7" fmla="*/ 1403927 h 6997700"/>
                  <a:gd name="connsiteX8" fmla="*/ 3449782 w 4834412"/>
                  <a:gd name="connsiteY8" fmla="*/ 347518 h 6997700"/>
                  <a:gd name="connsiteX9" fmla="*/ 3776229 w 4834412"/>
                  <a:gd name="connsiteY9" fmla="*/ 289 h 6997700"/>
                  <a:gd name="connsiteX10" fmla="*/ 4073236 w 4834412"/>
                  <a:gd name="connsiteY10" fmla="*/ 742373 h 6997700"/>
                  <a:gd name="connsiteX11" fmla="*/ 4094018 w 4834412"/>
                  <a:gd name="connsiteY11" fmla="*/ 1054100 h 6997700"/>
                  <a:gd name="connsiteX12" fmla="*/ 4239491 w 4834412"/>
                  <a:gd name="connsiteY12" fmla="*/ 1241137 h 6997700"/>
                  <a:gd name="connsiteX13" fmla="*/ 4177145 w 4834412"/>
                  <a:gd name="connsiteY13" fmla="*/ 1428173 h 6997700"/>
                  <a:gd name="connsiteX14" fmla="*/ 4415270 w 4834412"/>
                  <a:gd name="connsiteY14" fmla="*/ 1721716 h 6997700"/>
                  <a:gd name="connsiteX15" fmla="*/ 4447309 w 4834412"/>
                  <a:gd name="connsiteY15" fmla="*/ 2072409 h 6997700"/>
                  <a:gd name="connsiteX16" fmla="*/ 4779818 w 4834412"/>
                  <a:gd name="connsiteY16" fmla="*/ 3028373 h 6997700"/>
                  <a:gd name="connsiteX17" fmla="*/ 4704484 w 4834412"/>
                  <a:gd name="connsiteY17" fmla="*/ 4229389 h 6997700"/>
                  <a:gd name="connsiteX18" fmla="*/ 4581525 w 4834412"/>
                  <a:gd name="connsiteY18" fmla="*/ 5072784 h 6997700"/>
                  <a:gd name="connsiteX19" fmla="*/ 4223904 w 4834412"/>
                  <a:gd name="connsiteY19" fmla="*/ 5327362 h 6997700"/>
                  <a:gd name="connsiteX20" fmla="*/ 2680854 w 4834412"/>
                  <a:gd name="connsiteY20" fmla="*/ 6000173 h 6997700"/>
                  <a:gd name="connsiteX21" fmla="*/ 852054 w 4834412"/>
                  <a:gd name="connsiteY21" fmla="*/ 6997700 h 6997700"/>
                  <a:gd name="connsiteX22" fmla="*/ 644236 w 4834412"/>
                  <a:gd name="connsiteY22" fmla="*/ 5833918 h 6997700"/>
                  <a:gd name="connsiteX23" fmla="*/ 0 w 4834412"/>
                  <a:gd name="connsiteY23" fmla="*/ 4566227 h 6997700"/>
                  <a:gd name="connsiteX0" fmla="*/ 0 w 4834412"/>
                  <a:gd name="connsiteY0" fmla="*/ 4566227 h 6997700"/>
                  <a:gd name="connsiteX1" fmla="*/ 685800 w 4834412"/>
                  <a:gd name="connsiteY1" fmla="*/ 4212937 h 6997700"/>
                  <a:gd name="connsiteX2" fmla="*/ 1348220 w 4834412"/>
                  <a:gd name="connsiteY2" fmla="*/ 3980873 h 6997700"/>
                  <a:gd name="connsiteX3" fmla="*/ 2002848 w 4834412"/>
                  <a:gd name="connsiteY3" fmla="*/ 3826741 h 6997700"/>
                  <a:gd name="connsiteX4" fmla="*/ 2556164 w 4834412"/>
                  <a:gd name="connsiteY4" fmla="*/ 3542723 h 6997700"/>
                  <a:gd name="connsiteX5" fmla="*/ 2805545 w 4834412"/>
                  <a:gd name="connsiteY5" fmla="*/ 3527137 h 6997700"/>
                  <a:gd name="connsiteX6" fmla="*/ 2894734 w 4834412"/>
                  <a:gd name="connsiteY6" fmla="*/ 1789257 h 6997700"/>
                  <a:gd name="connsiteX7" fmla="*/ 3249757 w 4834412"/>
                  <a:gd name="connsiteY7" fmla="*/ 1403927 h 6997700"/>
                  <a:gd name="connsiteX8" fmla="*/ 3449782 w 4834412"/>
                  <a:gd name="connsiteY8" fmla="*/ 347518 h 6997700"/>
                  <a:gd name="connsiteX9" fmla="*/ 3776229 w 4834412"/>
                  <a:gd name="connsiteY9" fmla="*/ 289 h 6997700"/>
                  <a:gd name="connsiteX10" fmla="*/ 4073236 w 4834412"/>
                  <a:gd name="connsiteY10" fmla="*/ 742373 h 6997700"/>
                  <a:gd name="connsiteX11" fmla="*/ 4094018 w 4834412"/>
                  <a:gd name="connsiteY11" fmla="*/ 1054100 h 6997700"/>
                  <a:gd name="connsiteX12" fmla="*/ 4239491 w 4834412"/>
                  <a:gd name="connsiteY12" fmla="*/ 1241137 h 6997700"/>
                  <a:gd name="connsiteX13" fmla="*/ 4177145 w 4834412"/>
                  <a:gd name="connsiteY13" fmla="*/ 1428173 h 6997700"/>
                  <a:gd name="connsiteX14" fmla="*/ 4415270 w 4834412"/>
                  <a:gd name="connsiteY14" fmla="*/ 1721716 h 6997700"/>
                  <a:gd name="connsiteX15" fmla="*/ 4447309 w 4834412"/>
                  <a:gd name="connsiteY15" fmla="*/ 2072409 h 6997700"/>
                  <a:gd name="connsiteX16" fmla="*/ 4779818 w 4834412"/>
                  <a:gd name="connsiteY16" fmla="*/ 3028373 h 6997700"/>
                  <a:gd name="connsiteX17" fmla="*/ 4704484 w 4834412"/>
                  <a:gd name="connsiteY17" fmla="*/ 4229389 h 6997700"/>
                  <a:gd name="connsiteX18" fmla="*/ 4581525 w 4834412"/>
                  <a:gd name="connsiteY18" fmla="*/ 5072784 h 6997700"/>
                  <a:gd name="connsiteX19" fmla="*/ 4223904 w 4834412"/>
                  <a:gd name="connsiteY19" fmla="*/ 5327362 h 6997700"/>
                  <a:gd name="connsiteX20" fmla="*/ 2680854 w 4834412"/>
                  <a:gd name="connsiteY20" fmla="*/ 6000173 h 6997700"/>
                  <a:gd name="connsiteX21" fmla="*/ 852054 w 4834412"/>
                  <a:gd name="connsiteY21" fmla="*/ 6997700 h 6997700"/>
                  <a:gd name="connsiteX22" fmla="*/ 644236 w 4834412"/>
                  <a:gd name="connsiteY22" fmla="*/ 5833918 h 6997700"/>
                  <a:gd name="connsiteX23" fmla="*/ 0 w 4834412"/>
                  <a:gd name="connsiteY23" fmla="*/ 4566227 h 6997700"/>
                  <a:gd name="connsiteX0" fmla="*/ 0 w 4834412"/>
                  <a:gd name="connsiteY0" fmla="*/ 4566227 h 6997700"/>
                  <a:gd name="connsiteX1" fmla="*/ 781050 w 4834412"/>
                  <a:gd name="connsiteY1" fmla="*/ 4231987 h 6997700"/>
                  <a:gd name="connsiteX2" fmla="*/ 1348220 w 4834412"/>
                  <a:gd name="connsiteY2" fmla="*/ 3980873 h 6997700"/>
                  <a:gd name="connsiteX3" fmla="*/ 2002848 w 4834412"/>
                  <a:gd name="connsiteY3" fmla="*/ 3826741 h 6997700"/>
                  <a:gd name="connsiteX4" fmla="*/ 2556164 w 4834412"/>
                  <a:gd name="connsiteY4" fmla="*/ 3542723 h 6997700"/>
                  <a:gd name="connsiteX5" fmla="*/ 2805545 w 4834412"/>
                  <a:gd name="connsiteY5" fmla="*/ 3527137 h 6997700"/>
                  <a:gd name="connsiteX6" fmla="*/ 2894734 w 4834412"/>
                  <a:gd name="connsiteY6" fmla="*/ 1789257 h 6997700"/>
                  <a:gd name="connsiteX7" fmla="*/ 3249757 w 4834412"/>
                  <a:gd name="connsiteY7" fmla="*/ 1403927 h 6997700"/>
                  <a:gd name="connsiteX8" fmla="*/ 3449782 w 4834412"/>
                  <a:gd name="connsiteY8" fmla="*/ 347518 h 6997700"/>
                  <a:gd name="connsiteX9" fmla="*/ 3776229 w 4834412"/>
                  <a:gd name="connsiteY9" fmla="*/ 289 h 6997700"/>
                  <a:gd name="connsiteX10" fmla="*/ 4073236 w 4834412"/>
                  <a:gd name="connsiteY10" fmla="*/ 742373 h 6997700"/>
                  <a:gd name="connsiteX11" fmla="*/ 4094018 w 4834412"/>
                  <a:gd name="connsiteY11" fmla="*/ 1054100 h 6997700"/>
                  <a:gd name="connsiteX12" fmla="*/ 4239491 w 4834412"/>
                  <a:gd name="connsiteY12" fmla="*/ 1241137 h 6997700"/>
                  <a:gd name="connsiteX13" fmla="*/ 4177145 w 4834412"/>
                  <a:gd name="connsiteY13" fmla="*/ 1428173 h 6997700"/>
                  <a:gd name="connsiteX14" fmla="*/ 4415270 w 4834412"/>
                  <a:gd name="connsiteY14" fmla="*/ 1721716 h 6997700"/>
                  <a:gd name="connsiteX15" fmla="*/ 4447309 w 4834412"/>
                  <a:gd name="connsiteY15" fmla="*/ 2072409 h 6997700"/>
                  <a:gd name="connsiteX16" fmla="*/ 4779818 w 4834412"/>
                  <a:gd name="connsiteY16" fmla="*/ 3028373 h 6997700"/>
                  <a:gd name="connsiteX17" fmla="*/ 4704484 w 4834412"/>
                  <a:gd name="connsiteY17" fmla="*/ 4229389 h 6997700"/>
                  <a:gd name="connsiteX18" fmla="*/ 4581525 w 4834412"/>
                  <a:gd name="connsiteY18" fmla="*/ 5072784 h 6997700"/>
                  <a:gd name="connsiteX19" fmla="*/ 4223904 w 4834412"/>
                  <a:gd name="connsiteY19" fmla="*/ 5327362 h 6997700"/>
                  <a:gd name="connsiteX20" fmla="*/ 2680854 w 4834412"/>
                  <a:gd name="connsiteY20" fmla="*/ 6000173 h 6997700"/>
                  <a:gd name="connsiteX21" fmla="*/ 852054 w 4834412"/>
                  <a:gd name="connsiteY21" fmla="*/ 6997700 h 6997700"/>
                  <a:gd name="connsiteX22" fmla="*/ 644236 w 4834412"/>
                  <a:gd name="connsiteY22" fmla="*/ 5833918 h 6997700"/>
                  <a:gd name="connsiteX23" fmla="*/ 0 w 4834412"/>
                  <a:gd name="connsiteY23" fmla="*/ 4566227 h 6997700"/>
                  <a:gd name="connsiteX0" fmla="*/ 0 w 4834412"/>
                  <a:gd name="connsiteY0" fmla="*/ 4566227 h 6997700"/>
                  <a:gd name="connsiteX1" fmla="*/ 781050 w 4834412"/>
                  <a:gd name="connsiteY1" fmla="*/ 4231987 h 6997700"/>
                  <a:gd name="connsiteX2" fmla="*/ 1348220 w 4834412"/>
                  <a:gd name="connsiteY2" fmla="*/ 3980873 h 6997700"/>
                  <a:gd name="connsiteX3" fmla="*/ 2002848 w 4834412"/>
                  <a:gd name="connsiteY3" fmla="*/ 3826741 h 6997700"/>
                  <a:gd name="connsiteX4" fmla="*/ 2556164 w 4834412"/>
                  <a:gd name="connsiteY4" fmla="*/ 3542723 h 6997700"/>
                  <a:gd name="connsiteX5" fmla="*/ 2805545 w 4834412"/>
                  <a:gd name="connsiteY5" fmla="*/ 3527137 h 6997700"/>
                  <a:gd name="connsiteX6" fmla="*/ 2894734 w 4834412"/>
                  <a:gd name="connsiteY6" fmla="*/ 1789257 h 6997700"/>
                  <a:gd name="connsiteX7" fmla="*/ 3249757 w 4834412"/>
                  <a:gd name="connsiteY7" fmla="*/ 1403927 h 6997700"/>
                  <a:gd name="connsiteX8" fmla="*/ 3449782 w 4834412"/>
                  <a:gd name="connsiteY8" fmla="*/ 347518 h 6997700"/>
                  <a:gd name="connsiteX9" fmla="*/ 3776229 w 4834412"/>
                  <a:gd name="connsiteY9" fmla="*/ 289 h 6997700"/>
                  <a:gd name="connsiteX10" fmla="*/ 4073236 w 4834412"/>
                  <a:gd name="connsiteY10" fmla="*/ 742373 h 6997700"/>
                  <a:gd name="connsiteX11" fmla="*/ 4094018 w 4834412"/>
                  <a:gd name="connsiteY11" fmla="*/ 1054100 h 6997700"/>
                  <a:gd name="connsiteX12" fmla="*/ 4239491 w 4834412"/>
                  <a:gd name="connsiteY12" fmla="*/ 1241137 h 6997700"/>
                  <a:gd name="connsiteX13" fmla="*/ 4177145 w 4834412"/>
                  <a:gd name="connsiteY13" fmla="*/ 1428173 h 6997700"/>
                  <a:gd name="connsiteX14" fmla="*/ 4415270 w 4834412"/>
                  <a:gd name="connsiteY14" fmla="*/ 1721716 h 6997700"/>
                  <a:gd name="connsiteX15" fmla="*/ 4447309 w 4834412"/>
                  <a:gd name="connsiteY15" fmla="*/ 2072409 h 6997700"/>
                  <a:gd name="connsiteX16" fmla="*/ 4779818 w 4834412"/>
                  <a:gd name="connsiteY16" fmla="*/ 3028373 h 6997700"/>
                  <a:gd name="connsiteX17" fmla="*/ 4704484 w 4834412"/>
                  <a:gd name="connsiteY17" fmla="*/ 4229389 h 6997700"/>
                  <a:gd name="connsiteX18" fmla="*/ 4581525 w 4834412"/>
                  <a:gd name="connsiteY18" fmla="*/ 5072784 h 6997700"/>
                  <a:gd name="connsiteX19" fmla="*/ 4223904 w 4834412"/>
                  <a:gd name="connsiteY19" fmla="*/ 5327362 h 6997700"/>
                  <a:gd name="connsiteX20" fmla="*/ 2680854 w 4834412"/>
                  <a:gd name="connsiteY20" fmla="*/ 6000173 h 6997700"/>
                  <a:gd name="connsiteX21" fmla="*/ 852054 w 4834412"/>
                  <a:gd name="connsiteY21" fmla="*/ 6997700 h 6997700"/>
                  <a:gd name="connsiteX22" fmla="*/ 644236 w 4834412"/>
                  <a:gd name="connsiteY22" fmla="*/ 5833918 h 6997700"/>
                  <a:gd name="connsiteX23" fmla="*/ 0 w 4834412"/>
                  <a:gd name="connsiteY23" fmla="*/ 4566227 h 6997700"/>
                  <a:gd name="connsiteX0" fmla="*/ 0 w 4834412"/>
                  <a:gd name="connsiteY0" fmla="*/ 4566227 h 6997700"/>
                  <a:gd name="connsiteX1" fmla="*/ 781050 w 4834412"/>
                  <a:gd name="connsiteY1" fmla="*/ 4231987 h 6997700"/>
                  <a:gd name="connsiteX2" fmla="*/ 1348220 w 4834412"/>
                  <a:gd name="connsiteY2" fmla="*/ 3980873 h 6997700"/>
                  <a:gd name="connsiteX3" fmla="*/ 2002848 w 4834412"/>
                  <a:gd name="connsiteY3" fmla="*/ 3826741 h 6997700"/>
                  <a:gd name="connsiteX4" fmla="*/ 2556164 w 4834412"/>
                  <a:gd name="connsiteY4" fmla="*/ 3599873 h 6997700"/>
                  <a:gd name="connsiteX5" fmla="*/ 2805545 w 4834412"/>
                  <a:gd name="connsiteY5" fmla="*/ 3527137 h 6997700"/>
                  <a:gd name="connsiteX6" fmla="*/ 2894734 w 4834412"/>
                  <a:gd name="connsiteY6" fmla="*/ 1789257 h 6997700"/>
                  <a:gd name="connsiteX7" fmla="*/ 3249757 w 4834412"/>
                  <a:gd name="connsiteY7" fmla="*/ 1403927 h 6997700"/>
                  <a:gd name="connsiteX8" fmla="*/ 3449782 w 4834412"/>
                  <a:gd name="connsiteY8" fmla="*/ 347518 h 6997700"/>
                  <a:gd name="connsiteX9" fmla="*/ 3776229 w 4834412"/>
                  <a:gd name="connsiteY9" fmla="*/ 289 h 6997700"/>
                  <a:gd name="connsiteX10" fmla="*/ 4073236 w 4834412"/>
                  <a:gd name="connsiteY10" fmla="*/ 742373 h 6997700"/>
                  <a:gd name="connsiteX11" fmla="*/ 4094018 w 4834412"/>
                  <a:gd name="connsiteY11" fmla="*/ 1054100 h 6997700"/>
                  <a:gd name="connsiteX12" fmla="*/ 4239491 w 4834412"/>
                  <a:gd name="connsiteY12" fmla="*/ 1241137 h 6997700"/>
                  <a:gd name="connsiteX13" fmla="*/ 4177145 w 4834412"/>
                  <a:gd name="connsiteY13" fmla="*/ 1428173 h 6997700"/>
                  <a:gd name="connsiteX14" fmla="*/ 4415270 w 4834412"/>
                  <a:gd name="connsiteY14" fmla="*/ 1721716 h 6997700"/>
                  <a:gd name="connsiteX15" fmla="*/ 4447309 w 4834412"/>
                  <a:gd name="connsiteY15" fmla="*/ 2072409 h 6997700"/>
                  <a:gd name="connsiteX16" fmla="*/ 4779818 w 4834412"/>
                  <a:gd name="connsiteY16" fmla="*/ 3028373 h 6997700"/>
                  <a:gd name="connsiteX17" fmla="*/ 4704484 w 4834412"/>
                  <a:gd name="connsiteY17" fmla="*/ 4229389 h 6997700"/>
                  <a:gd name="connsiteX18" fmla="*/ 4581525 w 4834412"/>
                  <a:gd name="connsiteY18" fmla="*/ 5072784 h 6997700"/>
                  <a:gd name="connsiteX19" fmla="*/ 4223904 w 4834412"/>
                  <a:gd name="connsiteY19" fmla="*/ 5327362 h 6997700"/>
                  <a:gd name="connsiteX20" fmla="*/ 2680854 w 4834412"/>
                  <a:gd name="connsiteY20" fmla="*/ 6000173 h 6997700"/>
                  <a:gd name="connsiteX21" fmla="*/ 852054 w 4834412"/>
                  <a:gd name="connsiteY21" fmla="*/ 6997700 h 6997700"/>
                  <a:gd name="connsiteX22" fmla="*/ 644236 w 4834412"/>
                  <a:gd name="connsiteY22" fmla="*/ 5833918 h 6997700"/>
                  <a:gd name="connsiteX23" fmla="*/ 0 w 4834412"/>
                  <a:gd name="connsiteY23" fmla="*/ 4566227 h 6997700"/>
                  <a:gd name="connsiteX0" fmla="*/ 0 w 4834412"/>
                  <a:gd name="connsiteY0" fmla="*/ 4566227 h 6997700"/>
                  <a:gd name="connsiteX1" fmla="*/ 781050 w 4834412"/>
                  <a:gd name="connsiteY1" fmla="*/ 4231987 h 6997700"/>
                  <a:gd name="connsiteX2" fmla="*/ 1348220 w 4834412"/>
                  <a:gd name="connsiteY2" fmla="*/ 3980873 h 6997700"/>
                  <a:gd name="connsiteX3" fmla="*/ 2002848 w 4834412"/>
                  <a:gd name="connsiteY3" fmla="*/ 3826741 h 6997700"/>
                  <a:gd name="connsiteX4" fmla="*/ 2556164 w 4834412"/>
                  <a:gd name="connsiteY4" fmla="*/ 3599873 h 6997700"/>
                  <a:gd name="connsiteX5" fmla="*/ 2805545 w 4834412"/>
                  <a:gd name="connsiteY5" fmla="*/ 3527137 h 6997700"/>
                  <a:gd name="connsiteX6" fmla="*/ 2894734 w 4834412"/>
                  <a:gd name="connsiteY6" fmla="*/ 1789257 h 6997700"/>
                  <a:gd name="connsiteX7" fmla="*/ 3249757 w 4834412"/>
                  <a:gd name="connsiteY7" fmla="*/ 1403927 h 6997700"/>
                  <a:gd name="connsiteX8" fmla="*/ 3449782 w 4834412"/>
                  <a:gd name="connsiteY8" fmla="*/ 347518 h 6997700"/>
                  <a:gd name="connsiteX9" fmla="*/ 3776229 w 4834412"/>
                  <a:gd name="connsiteY9" fmla="*/ 289 h 6997700"/>
                  <a:gd name="connsiteX10" fmla="*/ 4073236 w 4834412"/>
                  <a:gd name="connsiteY10" fmla="*/ 742373 h 6997700"/>
                  <a:gd name="connsiteX11" fmla="*/ 4094018 w 4834412"/>
                  <a:gd name="connsiteY11" fmla="*/ 1054100 h 6997700"/>
                  <a:gd name="connsiteX12" fmla="*/ 4239491 w 4834412"/>
                  <a:gd name="connsiteY12" fmla="*/ 1241137 h 6997700"/>
                  <a:gd name="connsiteX13" fmla="*/ 4177145 w 4834412"/>
                  <a:gd name="connsiteY13" fmla="*/ 1428173 h 6997700"/>
                  <a:gd name="connsiteX14" fmla="*/ 4415270 w 4834412"/>
                  <a:gd name="connsiteY14" fmla="*/ 1721716 h 6997700"/>
                  <a:gd name="connsiteX15" fmla="*/ 4447309 w 4834412"/>
                  <a:gd name="connsiteY15" fmla="*/ 2072409 h 6997700"/>
                  <a:gd name="connsiteX16" fmla="*/ 4779818 w 4834412"/>
                  <a:gd name="connsiteY16" fmla="*/ 3028373 h 6997700"/>
                  <a:gd name="connsiteX17" fmla="*/ 4704484 w 4834412"/>
                  <a:gd name="connsiteY17" fmla="*/ 4229389 h 6997700"/>
                  <a:gd name="connsiteX18" fmla="*/ 4581525 w 4834412"/>
                  <a:gd name="connsiteY18" fmla="*/ 5072784 h 6997700"/>
                  <a:gd name="connsiteX19" fmla="*/ 4223904 w 4834412"/>
                  <a:gd name="connsiteY19" fmla="*/ 5327362 h 6997700"/>
                  <a:gd name="connsiteX20" fmla="*/ 2680854 w 4834412"/>
                  <a:gd name="connsiteY20" fmla="*/ 6000173 h 6997700"/>
                  <a:gd name="connsiteX21" fmla="*/ 852054 w 4834412"/>
                  <a:gd name="connsiteY21" fmla="*/ 6997700 h 6997700"/>
                  <a:gd name="connsiteX22" fmla="*/ 644236 w 4834412"/>
                  <a:gd name="connsiteY22" fmla="*/ 5833918 h 6997700"/>
                  <a:gd name="connsiteX23" fmla="*/ 0 w 4834412"/>
                  <a:gd name="connsiteY23" fmla="*/ 4566227 h 6997700"/>
                  <a:gd name="connsiteX0" fmla="*/ 0 w 4834412"/>
                  <a:gd name="connsiteY0" fmla="*/ 4566227 h 6997700"/>
                  <a:gd name="connsiteX1" fmla="*/ 781050 w 4834412"/>
                  <a:gd name="connsiteY1" fmla="*/ 4231987 h 6997700"/>
                  <a:gd name="connsiteX2" fmla="*/ 1348220 w 4834412"/>
                  <a:gd name="connsiteY2" fmla="*/ 3980873 h 6997700"/>
                  <a:gd name="connsiteX3" fmla="*/ 2002848 w 4834412"/>
                  <a:gd name="connsiteY3" fmla="*/ 3826741 h 6997700"/>
                  <a:gd name="connsiteX4" fmla="*/ 2556164 w 4834412"/>
                  <a:gd name="connsiteY4" fmla="*/ 3542723 h 6997700"/>
                  <a:gd name="connsiteX5" fmla="*/ 2805545 w 4834412"/>
                  <a:gd name="connsiteY5" fmla="*/ 3527137 h 6997700"/>
                  <a:gd name="connsiteX6" fmla="*/ 2894734 w 4834412"/>
                  <a:gd name="connsiteY6" fmla="*/ 1789257 h 6997700"/>
                  <a:gd name="connsiteX7" fmla="*/ 3249757 w 4834412"/>
                  <a:gd name="connsiteY7" fmla="*/ 1403927 h 6997700"/>
                  <a:gd name="connsiteX8" fmla="*/ 3449782 w 4834412"/>
                  <a:gd name="connsiteY8" fmla="*/ 347518 h 6997700"/>
                  <a:gd name="connsiteX9" fmla="*/ 3776229 w 4834412"/>
                  <a:gd name="connsiteY9" fmla="*/ 289 h 6997700"/>
                  <a:gd name="connsiteX10" fmla="*/ 4073236 w 4834412"/>
                  <a:gd name="connsiteY10" fmla="*/ 742373 h 6997700"/>
                  <a:gd name="connsiteX11" fmla="*/ 4094018 w 4834412"/>
                  <a:gd name="connsiteY11" fmla="*/ 1054100 h 6997700"/>
                  <a:gd name="connsiteX12" fmla="*/ 4239491 w 4834412"/>
                  <a:gd name="connsiteY12" fmla="*/ 1241137 h 6997700"/>
                  <a:gd name="connsiteX13" fmla="*/ 4177145 w 4834412"/>
                  <a:gd name="connsiteY13" fmla="*/ 1428173 h 6997700"/>
                  <a:gd name="connsiteX14" fmla="*/ 4415270 w 4834412"/>
                  <a:gd name="connsiteY14" fmla="*/ 1721716 h 6997700"/>
                  <a:gd name="connsiteX15" fmla="*/ 4447309 w 4834412"/>
                  <a:gd name="connsiteY15" fmla="*/ 2072409 h 6997700"/>
                  <a:gd name="connsiteX16" fmla="*/ 4779818 w 4834412"/>
                  <a:gd name="connsiteY16" fmla="*/ 3028373 h 6997700"/>
                  <a:gd name="connsiteX17" fmla="*/ 4704484 w 4834412"/>
                  <a:gd name="connsiteY17" fmla="*/ 4229389 h 6997700"/>
                  <a:gd name="connsiteX18" fmla="*/ 4581525 w 4834412"/>
                  <a:gd name="connsiteY18" fmla="*/ 5072784 h 6997700"/>
                  <a:gd name="connsiteX19" fmla="*/ 4223904 w 4834412"/>
                  <a:gd name="connsiteY19" fmla="*/ 5327362 h 6997700"/>
                  <a:gd name="connsiteX20" fmla="*/ 2680854 w 4834412"/>
                  <a:gd name="connsiteY20" fmla="*/ 6000173 h 6997700"/>
                  <a:gd name="connsiteX21" fmla="*/ 852054 w 4834412"/>
                  <a:gd name="connsiteY21" fmla="*/ 6997700 h 6997700"/>
                  <a:gd name="connsiteX22" fmla="*/ 644236 w 4834412"/>
                  <a:gd name="connsiteY22" fmla="*/ 5833918 h 6997700"/>
                  <a:gd name="connsiteX23" fmla="*/ 0 w 4834412"/>
                  <a:gd name="connsiteY23" fmla="*/ 4566227 h 699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834412" h="6997700">
                    <a:moveTo>
                      <a:pt x="0" y="4566227"/>
                    </a:moveTo>
                    <a:cubicBezTo>
                      <a:pt x="692033" y="4230696"/>
                      <a:pt x="609600" y="4487770"/>
                      <a:pt x="781050" y="4231987"/>
                    </a:cubicBezTo>
                    <a:cubicBezTo>
                      <a:pt x="973282" y="4087957"/>
                      <a:pt x="1127413" y="4058228"/>
                      <a:pt x="1348220" y="3980873"/>
                    </a:cubicBezTo>
                    <a:cubicBezTo>
                      <a:pt x="1620404" y="3900921"/>
                      <a:pt x="1787814" y="3906693"/>
                      <a:pt x="2002848" y="3826741"/>
                    </a:cubicBezTo>
                    <a:cubicBezTo>
                      <a:pt x="2199987" y="3655868"/>
                      <a:pt x="2368550" y="3608821"/>
                      <a:pt x="2556164" y="3542723"/>
                    </a:cubicBezTo>
                    <a:lnTo>
                      <a:pt x="2805545" y="3527137"/>
                    </a:lnTo>
                    <a:lnTo>
                      <a:pt x="2894734" y="1789257"/>
                    </a:lnTo>
                    <a:lnTo>
                      <a:pt x="3249757" y="1403927"/>
                    </a:lnTo>
                    <a:lnTo>
                      <a:pt x="3449782" y="347518"/>
                    </a:lnTo>
                    <a:lnTo>
                      <a:pt x="3776229" y="289"/>
                    </a:lnTo>
                    <a:cubicBezTo>
                      <a:pt x="3894281" y="0"/>
                      <a:pt x="3878984" y="409287"/>
                      <a:pt x="4073236" y="742373"/>
                    </a:cubicBezTo>
                    <a:cubicBezTo>
                      <a:pt x="4137313" y="846282"/>
                      <a:pt x="4087091" y="950191"/>
                      <a:pt x="4094018" y="1054100"/>
                    </a:cubicBezTo>
                    <a:cubicBezTo>
                      <a:pt x="4132984" y="1154546"/>
                      <a:pt x="4191000" y="1140691"/>
                      <a:pt x="4239491" y="1241137"/>
                    </a:cubicBezTo>
                    <a:lnTo>
                      <a:pt x="4177145" y="1428173"/>
                    </a:lnTo>
                    <a:cubicBezTo>
                      <a:pt x="4434364" y="1621087"/>
                      <a:pt x="4433327" y="1475059"/>
                      <a:pt x="4415270" y="1721716"/>
                    </a:cubicBezTo>
                    <a:lnTo>
                      <a:pt x="4447309" y="2072409"/>
                    </a:lnTo>
                    <a:cubicBezTo>
                      <a:pt x="4558145" y="2486314"/>
                      <a:pt x="4668982" y="2652568"/>
                      <a:pt x="4779818" y="3028373"/>
                    </a:cubicBezTo>
                    <a:cubicBezTo>
                      <a:pt x="4781963" y="3455251"/>
                      <a:pt x="4834412" y="3791239"/>
                      <a:pt x="4704484" y="4229389"/>
                    </a:cubicBezTo>
                    <a:cubicBezTo>
                      <a:pt x="4620592" y="4689144"/>
                      <a:pt x="4643673" y="4929909"/>
                      <a:pt x="4581525" y="5072784"/>
                    </a:cubicBezTo>
                    <a:cubicBezTo>
                      <a:pt x="4481368" y="5252893"/>
                      <a:pt x="4324061" y="5232978"/>
                      <a:pt x="4223904" y="5327362"/>
                    </a:cubicBezTo>
                    <a:cubicBezTo>
                      <a:pt x="3709554" y="5523057"/>
                      <a:pt x="3195204" y="5775903"/>
                      <a:pt x="2680854" y="6000173"/>
                    </a:cubicBezTo>
                    <a:cubicBezTo>
                      <a:pt x="1985529" y="6332682"/>
                      <a:pt x="1461654" y="6665191"/>
                      <a:pt x="852054" y="6997700"/>
                    </a:cubicBezTo>
                    <a:cubicBezTo>
                      <a:pt x="640383" y="5875842"/>
                      <a:pt x="644236" y="6269887"/>
                      <a:pt x="644236" y="5833918"/>
                    </a:cubicBezTo>
                    <a:lnTo>
                      <a:pt x="0" y="456622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85" name="Freeform 296">
                <a:extLst>
                  <a:ext uri="{FF2B5EF4-FFF2-40B4-BE49-F238E27FC236}">
                    <a16:creationId xmlns:a16="http://schemas.microsoft.com/office/drawing/2014/main" id="{67C7DC8D-2528-4FEF-BAB8-76ACFFA8E938}"/>
                  </a:ext>
                </a:extLst>
              </p:cNvPr>
              <p:cNvSpPr/>
              <p:nvPr/>
            </p:nvSpPr>
            <p:spPr>
              <a:xfrm rot="21114987" flipH="1">
                <a:off x="6667339" y="2715370"/>
                <a:ext cx="176552" cy="297896"/>
              </a:xfrm>
              <a:custGeom>
                <a:avLst/>
                <a:gdLst>
                  <a:gd name="connsiteX0" fmla="*/ 0 w 1537855"/>
                  <a:gd name="connsiteY0" fmla="*/ 2410691 h 2493819"/>
                  <a:gd name="connsiteX1" fmla="*/ 436419 w 1537855"/>
                  <a:gd name="connsiteY1" fmla="*/ 0 h 2493819"/>
                  <a:gd name="connsiteX2" fmla="*/ 498764 w 1537855"/>
                  <a:gd name="connsiteY2" fmla="*/ 561110 h 2493819"/>
                  <a:gd name="connsiteX3" fmla="*/ 1059873 w 1537855"/>
                  <a:gd name="connsiteY3" fmla="*/ 145473 h 2493819"/>
                  <a:gd name="connsiteX4" fmla="*/ 561110 w 1537855"/>
                  <a:gd name="connsiteY4" fmla="*/ 748146 h 2493819"/>
                  <a:gd name="connsiteX5" fmla="*/ 519546 w 1537855"/>
                  <a:gd name="connsiteY5" fmla="*/ 955964 h 2493819"/>
                  <a:gd name="connsiteX6" fmla="*/ 955964 w 1537855"/>
                  <a:gd name="connsiteY6" fmla="*/ 768928 h 2493819"/>
                  <a:gd name="connsiteX7" fmla="*/ 436419 w 1537855"/>
                  <a:gd name="connsiteY7" fmla="*/ 1330037 h 2493819"/>
                  <a:gd name="connsiteX8" fmla="*/ 415637 w 1537855"/>
                  <a:gd name="connsiteY8" fmla="*/ 2098964 h 2493819"/>
                  <a:gd name="connsiteX9" fmla="*/ 498764 w 1537855"/>
                  <a:gd name="connsiteY9" fmla="*/ 2348346 h 2493819"/>
                  <a:gd name="connsiteX10" fmla="*/ 1122219 w 1537855"/>
                  <a:gd name="connsiteY10" fmla="*/ 1787237 h 2493819"/>
                  <a:gd name="connsiteX11" fmla="*/ 1537855 w 1537855"/>
                  <a:gd name="connsiteY11" fmla="*/ 1808019 h 2493819"/>
                  <a:gd name="connsiteX12" fmla="*/ 831273 w 1537855"/>
                  <a:gd name="connsiteY12" fmla="*/ 2223655 h 2493819"/>
                  <a:gd name="connsiteX13" fmla="*/ 436419 w 1537855"/>
                  <a:gd name="connsiteY13" fmla="*/ 2493819 h 2493819"/>
                  <a:gd name="connsiteX14" fmla="*/ 0 w 1537855"/>
                  <a:gd name="connsiteY14" fmla="*/ 2410691 h 2493819"/>
                  <a:gd name="connsiteX0" fmla="*/ 0 w 1537855"/>
                  <a:gd name="connsiteY0" fmla="*/ 2410691 h 2493819"/>
                  <a:gd name="connsiteX1" fmla="*/ 436419 w 1537855"/>
                  <a:gd name="connsiteY1" fmla="*/ 0 h 2493819"/>
                  <a:gd name="connsiteX2" fmla="*/ 498764 w 1537855"/>
                  <a:gd name="connsiteY2" fmla="*/ 561110 h 2493819"/>
                  <a:gd name="connsiteX3" fmla="*/ 1059873 w 1537855"/>
                  <a:gd name="connsiteY3" fmla="*/ 145473 h 2493819"/>
                  <a:gd name="connsiteX4" fmla="*/ 561110 w 1537855"/>
                  <a:gd name="connsiteY4" fmla="*/ 748146 h 2493819"/>
                  <a:gd name="connsiteX5" fmla="*/ 519546 w 1537855"/>
                  <a:gd name="connsiteY5" fmla="*/ 955964 h 2493819"/>
                  <a:gd name="connsiteX6" fmla="*/ 955964 w 1537855"/>
                  <a:gd name="connsiteY6" fmla="*/ 768928 h 2493819"/>
                  <a:gd name="connsiteX7" fmla="*/ 436419 w 1537855"/>
                  <a:gd name="connsiteY7" fmla="*/ 1330037 h 2493819"/>
                  <a:gd name="connsiteX8" fmla="*/ 415637 w 1537855"/>
                  <a:gd name="connsiteY8" fmla="*/ 2098964 h 2493819"/>
                  <a:gd name="connsiteX9" fmla="*/ 498764 w 1537855"/>
                  <a:gd name="connsiteY9" fmla="*/ 2348346 h 2493819"/>
                  <a:gd name="connsiteX10" fmla="*/ 1122219 w 1537855"/>
                  <a:gd name="connsiteY10" fmla="*/ 1787237 h 2493819"/>
                  <a:gd name="connsiteX11" fmla="*/ 1537855 w 1537855"/>
                  <a:gd name="connsiteY11" fmla="*/ 1808019 h 2493819"/>
                  <a:gd name="connsiteX12" fmla="*/ 831273 w 1537855"/>
                  <a:gd name="connsiteY12" fmla="*/ 2223655 h 2493819"/>
                  <a:gd name="connsiteX13" fmla="*/ 436419 w 1537855"/>
                  <a:gd name="connsiteY13" fmla="*/ 2493819 h 2493819"/>
                  <a:gd name="connsiteX14" fmla="*/ 0 w 1537855"/>
                  <a:gd name="connsiteY14" fmla="*/ 2410691 h 2493819"/>
                  <a:gd name="connsiteX0" fmla="*/ 0 w 1537855"/>
                  <a:gd name="connsiteY0" fmla="*/ 2410691 h 2493819"/>
                  <a:gd name="connsiteX1" fmla="*/ 436419 w 1537855"/>
                  <a:gd name="connsiteY1" fmla="*/ 0 h 2493819"/>
                  <a:gd name="connsiteX2" fmla="*/ 498764 w 1537855"/>
                  <a:gd name="connsiteY2" fmla="*/ 561110 h 2493819"/>
                  <a:gd name="connsiteX3" fmla="*/ 1059873 w 1537855"/>
                  <a:gd name="connsiteY3" fmla="*/ 145473 h 2493819"/>
                  <a:gd name="connsiteX4" fmla="*/ 561110 w 1537855"/>
                  <a:gd name="connsiteY4" fmla="*/ 748146 h 2493819"/>
                  <a:gd name="connsiteX5" fmla="*/ 519546 w 1537855"/>
                  <a:gd name="connsiteY5" fmla="*/ 955964 h 2493819"/>
                  <a:gd name="connsiteX6" fmla="*/ 955964 w 1537855"/>
                  <a:gd name="connsiteY6" fmla="*/ 768928 h 2493819"/>
                  <a:gd name="connsiteX7" fmla="*/ 436419 w 1537855"/>
                  <a:gd name="connsiteY7" fmla="*/ 1330037 h 2493819"/>
                  <a:gd name="connsiteX8" fmla="*/ 415637 w 1537855"/>
                  <a:gd name="connsiteY8" fmla="*/ 2098964 h 2493819"/>
                  <a:gd name="connsiteX9" fmla="*/ 498764 w 1537855"/>
                  <a:gd name="connsiteY9" fmla="*/ 2348346 h 2493819"/>
                  <a:gd name="connsiteX10" fmla="*/ 1122219 w 1537855"/>
                  <a:gd name="connsiteY10" fmla="*/ 1787237 h 2493819"/>
                  <a:gd name="connsiteX11" fmla="*/ 1537855 w 1537855"/>
                  <a:gd name="connsiteY11" fmla="*/ 1808019 h 2493819"/>
                  <a:gd name="connsiteX12" fmla="*/ 831273 w 1537855"/>
                  <a:gd name="connsiteY12" fmla="*/ 2223655 h 2493819"/>
                  <a:gd name="connsiteX13" fmla="*/ 436419 w 1537855"/>
                  <a:gd name="connsiteY13" fmla="*/ 2493819 h 2493819"/>
                  <a:gd name="connsiteX14" fmla="*/ 0 w 1537855"/>
                  <a:gd name="connsiteY14" fmla="*/ 2410691 h 2493819"/>
                  <a:gd name="connsiteX0" fmla="*/ 0 w 1537855"/>
                  <a:gd name="connsiteY0" fmla="*/ 2410691 h 2493819"/>
                  <a:gd name="connsiteX1" fmla="*/ 436419 w 1537855"/>
                  <a:gd name="connsiteY1" fmla="*/ 0 h 2493819"/>
                  <a:gd name="connsiteX2" fmla="*/ 498764 w 1537855"/>
                  <a:gd name="connsiteY2" fmla="*/ 561110 h 2493819"/>
                  <a:gd name="connsiteX3" fmla="*/ 1059873 w 1537855"/>
                  <a:gd name="connsiteY3" fmla="*/ 145473 h 2493819"/>
                  <a:gd name="connsiteX4" fmla="*/ 561110 w 1537855"/>
                  <a:gd name="connsiteY4" fmla="*/ 748146 h 2493819"/>
                  <a:gd name="connsiteX5" fmla="*/ 519546 w 1537855"/>
                  <a:gd name="connsiteY5" fmla="*/ 955964 h 2493819"/>
                  <a:gd name="connsiteX6" fmla="*/ 955964 w 1537855"/>
                  <a:gd name="connsiteY6" fmla="*/ 768928 h 2493819"/>
                  <a:gd name="connsiteX7" fmla="*/ 436419 w 1537855"/>
                  <a:gd name="connsiteY7" fmla="*/ 1330037 h 2493819"/>
                  <a:gd name="connsiteX8" fmla="*/ 415637 w 1537855"/>
                  <a:gd name="connsiteY8" fmla="*/ 2098964 h 2493819"/>
                  <a:gd name="connsiteX9" fmla="*/ 498764 w 1537855"/>
                  <a:gd name="connsiteY9" fmla="*/ 2348346 h 2493819"/>
                  <a:gd name="connsiteX10" fmla="*/ 1122219 w 1537855"/>
                  <a:gd name="connsiteY10" fmla="*/ 1787237 h 2493819"/>
                  <a:gd name="connsiteX11" fmla="*/ 1537855 w 1537855"/>
                  <a:gd name="connsiteY11" fmla="*/ 1808019 h 2493819"/>
                  <a:gd name="connsiteX12" fmla="*/ 831273 w 1537855"/>
                  <a:gd name="connsiteY12" fmla="*/ 2223655 h 2493819"/>
                  <a:gd name="connsiteX13" fmla="*/ 436419 w 1537855"/>
                  <a:gd name="connsiteY13" fmla="*/ 2493819 h 2493819"/>
                  <a:gd name="connsiteX14" fmla="*/ 0 w 1537855"/>
                  <a:gd name="connsiteY14" fmla="*/ 2410691 h 2493819"/>
                  <a:gd name="connsiteX0" fmla="*/ 0 w 1537855"/>
                  <a:gd name="connsiteY0" fmla="*/ 2410691 h 2493819"/>
                  <a:gd name="connsiteX1" fmla="*/ 436419 w 1537855"/>
                  <a:gd name="connsiteY1" fmla="*/ 0 h 2493819"/>
                  <a:gd name="connsiteX2" fmla="*/ 498764 w 1537855"/>
                  <a:gd name="connsiteY2" fmla="*/ 561110 h 2493819"/>
                  <a:gd name="connsiteX3" fmla="*/ 1059873 w 1537855"/>
                  <a:gd name="connsiteY3" fmla="*/ 145473 h 2493819"/>
                  <a:gd name="connsiteX4" fmla="*/ 561110 w 1537855"/>
                  <a:gd name="connsiteY4" fmla="*/ 748146 h 2493819"/>
                  <a:gd name="connsiteX5" fmla="*/ 519546 w 1537855"/>
                  <a:gd name="connsiteY5" fmla="*/ 955964 h 2493819"/>
                  <a:gd name="connsiteX6" fmla="*/ 955964 w 1537855"/>
                  <a:gd name="connsiteY6" fmla="*/ 768928 h 2493819"/>
                  <a:gd name="connsiteX7" fmla="*/ 474519 w 1537855"/>
                  <a:gd name="connsiteY7" fmla="*/ 1301462 h 2493819"/>
                  <a:gd name="connsiteX8" fmla="*/ 415637 w 1537855"/>
                  <a:gd name="connsiteY8" fmla="*/ 2098964 h 2493819"/>
                  <a:gd name="connsiteX9" fmla="*/ 498764 w 1537855"/>
                  <a:gd name="connsiteY9" fmla="*/ 2348346 h 2493819"/>
                  <a:gd name="connsiteX10" fmla="*/ 1122219 w 1537855"/>
                  <a:gd name="connsiteY10" fmla="*/ 1787237 h 2493819"/>
                  <a:gd name="connsiteX11" fmla="*/ 1537855 w 1537855"/>
                  <a:gd name="connsiteY11" fmla="*/ 1808019 h 2493819"/>
                  <a:gd name="connsiteX12" fmla="*/ 831273 w 1537855"/>
                  <a:gd name="connsiteY12" fmla="*/ 2223655 h 2493819"/>
                  <a:gd name="connsiteX13" fmla="*/ 436419 w 1537855"/>
                  <a:gd name="connsiteY13" fmla="*/ 2493819 h 2493819"/>
                  <a:gd name="connsiteX14" fmla="*/ 0 w 1537855"/>
                  <a:gd name="connsiteY14" fmla="*/ 2410691 h 2493819"/>
                  <a:gd name="connsiteX0" fmla="*/ 0 w 1537855"/>
                  <a:gd name="connsiteY0" fmla="*/ 2410691 h 2493819"/>
                  <a:gd name="connsiteX1" fmla="*/ 436419 w 1537855"/>
                  <a:gd name="connsiteY1" fmla="*/ 0 h 2493819"/>
                  <a:gd name="connsiteX2" fmla="*/ 498764 w 1537855"/>
                  <a:gd name="connsiteY2" fmla="*/ 561110 h 2493819"/>
                  <a:gd name="connsiteX3" fmla="*/ 1059873 w 1537855"/>
                  <a:gd name="connsiteY3" fmla="*/ 145473 h 2493819"/>
                  <a:gd name="connsiteX4" fmla="*/ 561110 w 1537855"/>
                  <a:gd name="connsiteY4" fmla="*/ 748146 h 2493819"/>
                  <a:gd name="connsiteX5" fmla="*/ 519546 w 1537855"/>
                  <a:gd name="connsiteY5" fmla="*/ 955964 h 2493819"/>
                  <a:gd name="connsiteX6" fmla="*/ 955964 w 1537855"/>
                  <a:gd name="connsiteY6" fmla="*/ 768928 h 2493819"/>
                  <a:gd name="connsiteX7" fmla="*/ 474519 w 1537855"/>
                  <a:gd name="connsiteY7" fmla="*/ 1301462 h 2493819"/>
                  <a:gd name="connsiteX8" fmla="*/ 415637 w 1537855"/>
                  <a:gd name="connsiteY8" fmla="*/ 2098964 h 2493819"/>
                  <a:gd name="connsiteX9" fmla="*/ 498764 w 1537855"/>
                  <a:gd name="connsiteY9" fmla="*/ 2348346 h 2493819"/>
                  <a:gd name="connsiteX10" fmla="*/ 1122219 w 1537855"/>
                  <a:gd name="connsiteY10" fmla="*/ 1787237 h 2493819"/>
                  <a:gd name="connsiteX11" fmla="*/ 1537855 w 1537855"/>
                  <a:gd name="connsiteY11" fmla="*/ 1808019 h 2493819"/>
                  <a:gd name="connsiteX12" fmla="*/ 831273 w 1537855"/>
                  <a:gd name="connsiteY12" fmla="*/ 2223655 h 2493819"/>
                  <a:gd name="connsiteX13" fmla="*/ 436419 w 1537855"/>
                  <a:gd name="connsiteY13" fmla="*/ 2493819 h 2493819"/>
                  <a:gd name="connsiteX14" fmla="*/ 0 w 1537855"/>
                  <a:gd name="connsiteY14" fmla="*/ 2410691 h 2493819"/>
                  <a:gd name="connsiteX0" fmla="*/ 0 w 1537855"/>
                  <a:gd name="connsiteY0" fmla="*/ 2410691 h 2493819"/>
                  <a:gd name="connsiteX1" fmla="*/ 436419 w 1537855"/>
                  <a:gd name="connsiteY1" fmla="*/ 0 h 2493819"/>
                  <a:gd name="connsiteX2" fmla="*/ 498764 w 1537855"/>
                  <a:gd name="connsiteY2" fmla="*/ 561110 h 2493819"/>
                  <a:gd name="connsiteX3" fmla="*/ 1059873 w 1537855"/>
                  <a:gd name="connsiteY3" fmla="*/ 145473 h 2493819"/>
                  <a:gd name="connsiteX4" fmla="*/ 561110 w 1537855"/>
                  <a:gd name="connsiteY4" fmla="*/ 748146 h 2493819"/>
                  <a:gd name="connsiteX5" fmla="*/ 519546 w 1537855"/>
                  <a:gd name="connsiteY5" fmla="*/ 955964 h 2493819"/>
                  <a:gd name="connsiteX6" fmla="*/ 955964 w 1537855"/>
                  <a:gd name="connsiteY6" fmla="*/ 768928 h 2493819"/>
                  <a:gd name="connsiteX7" fmla="*/ 474519 w 1537855"/>
                  <a:gd name="connsiteY7" fmla="*/ 1301462 h 2493819"/>
                  <a:gd name="connsiteX8" fmla="*/ 415637 w 1537855"/>
                  <a:gd name="connsiteY8" fmla="*/ 2098964 h 2493819"/>
                  <a:gd name="connsiteX9" fmla="*/ 498764 w 1537855"/>
                  <a:gd name="connsiteY9" fmla="*/ 2348346 h 2493819"/>
                  <a:gd name="connsiteX10" fmla="*/ 1122219 w 1537855"/>
                  <a:gd name="connsiteY10" fmla="*/ 1787237 h 2493819"/>
                  <a:gd name="connsiteX11" fmla="*/ 1537855 w 1537855"/>
                  <a:gd name="connsiteY11" fmla="*/ 1808019 h 2493819"/>
                  <a:gd name="connsiteX12" fmla="*/ 831273 w 1537855"/>
                  <a:gd name="connsiteY12" fmla="*/ 2223655 h 2493819"/>
                  <a:gd name="connsiteX13" fmla="*/ 436419 w 1537855"/>
                  <a:gd name="connsiteY13" fmla="*/ 2493819 h 2493819"/>
                  <a:gd name="connsiteX14" fmla="*/ 0 w 1537855"/>
                  <a:gd name="connsiteY14" fmla="*/ 2410691 h 2493819"/>
                  <a:gd name="connsiteX0" fmla="*/ 0 w 1537855"/>
                  <a:gd name="connsiteY0" fmla="*/ 2410691 h 2493819"/>
                  <a:gd name="connsiteX1" fmla="*/ 436419 w 1537855"/>
                  <a:gd name="connsiteY1" fmla="*/ 0 h 2493819"/>
                  <a:gd name="connsiteX2" fmla="*/ 498764 w 1537855"/>
                  <a:gd name="connsiteY2" fmla="*/ 561110 h 2493819"/>
                  <a:gd name="connsiteX3" fmla="*/ 1059873 w 1537855"/>
                  <a:gd name="connsiteY3" fmla="*/ 145473 h 2493819"/>
                  <a:gd name="connsiteX4" fmla="*/ 561110 w 1537855"/>
                  <a:gd name="connsiteY4" fmla="*/ 748146 h 2493819"/>
                  <a:gd name="connsiteX5" fmla="*/ 519546 w 1537855"/>
                  <a:gd name="connsiteY5" fmla="*/ 955964 h 2493819"/>
                  <a:gd name="connsiteX6" fmla="*/ 955964 w 1537855"/>
                  <a:gd name="connsiteY6" fmla="*/ 768928 h 2493819"/>
                  <a:gd name="connsiteX7" fmla="*/ 474519 w 1537855"/>
                  <a:gd name="connsiteY7" fmla="*/ 1301462 h 2493819"/>
                  <a:gd name="connsiteX8" fmla="*/ 415637 w 1537855"/>
                  <a:gd name="connsiteY8" fmla="*/ 2098964 h 2493819"/>
                  <a:gd name="connsiteX9" fmla="*/ 498764 w 1537855"/>
                  <a:gd name="connsiteY9" fmla="*/ 2348346 h 2493819"/>
                  <a:gd name="connsiteX10" fmla="*/ 1122219 w 1537855"/>
                  <a:gd name="connsiteY10" fmla="*/ 1787237 h 2493819"/>
                  <a:gd name="connsiteX11" fmla="*/ 1537855 w 1537855"/>
                  <a:gd name="connsiteY11" fmla="*/ 1808019 h 2493819"/>
                  <a:gd name="connsiteX12" fmla="*/ 831273 w 1537855"/>
                  <a:gd name="connsiteY12" fmla="*/ 2223655 h 2493819"/>
                  <a:gd name="connsiteX13" fmla="*/ 436419 w 1537855"/>
                  <a:gd name="connsiteY13" fmla="*/ 2493819 h 2493819"/>
                  <a:gd name="connsiteX14" fmla="*/ 0 w 1537855"/>
                  <a:gd name="connsiteY14" fmla="*/ 2410691 h 2493819"/>
                  <a:gd name="connsiteX0" fmla="*/ 0 w 1537855"/>
                  <a:gd name="connsiteY0" fmla="*/ 2410691 h 2493819"/>
                  <a:gd name="connsiteX1" fmla="*/ 436419 w 1537855"/>
                  <a:gd name="connsiteY1" fmla="*/ 0 h 2493819"/>
                  <a:gd name="connsiteX2" fmla="*/ 498764 w 1537855"/>
                  <a:gd name="connsiteY2" fmla="*/ 561110 h 2493819"/>
                  <a:gd name="connsiteX3" fmla="*/ 1059873 w 1537855"/>
                  <a:gd name="connsiteY3" fmla="*/ 145473 h 2493819"/>
                  <a:gd name="connsiteX4" fmla="*/ 561110 w 1537855"/>
                  <a:gd name="connsiteY4" fmla="*/ 748146 h 2493819"/>
                  <a:gd name="connsiteX5" fmla="*/ 519546 w 1537855"/>
                  <a:gd name="connsiteY5" fmla="*/ 955964 h 2493819"/>
                  <a:gd name="connsiteX6" fmla="*/ 955964 w 1537855"/>
                  <a:gd name="connsiteY6" fmla="*/ 768928 h 2493819"/>
                  <a:gd name="connsiteX7" fmla="*/ 474519 w 1537855"/>
                  <a:gd name="connsiteY7" fmla="*/ 1301462 h 2493819"/>
                  <a:gd name="connsiteX8" fmla="*/ 415637 w 1537855"/>
                  <a:gd name="connsiteY8" fmla="*/ 2098964 h 2493819"/>
                  <a:gd name="connsiteX9" fmla="*/ 498764 w 1537855"/>
                  <a:gd name="connsiteY9" fmla="*/ 2348346 h 2493819"/>
                  <a:gd name="connsiteX10" fmla="*/ 1122219 w 1537855"/>
                  <a:gd name="connsiteY10" fmla="*/ 1787237 h 2493819"/>
                  <a:gd name="connsiteX11" fmla="*/ 1537855 w 1537855"/>
                  <a:gd name="connsiteY11" fmla="*/ 1808019 h 2493819"/>
                  <a:gd name="connsiteX12" fmla="*/ 831273 w 1537855"/>
                  <a:gd name="connsiteY12" fmla="*/ 2223655 h 2493819"/>
                  <a:gd name="connsiteX13" fmla="*/ 436419 w 1537855"/>
                  <a:gd name="connsiteY13" fmla="*/ 2493819 h 2493819"/>
                  <a:gd name="connsiteX14" fmla="*/ 0 w 1537855"/>
                  <a:gd name="connsiteY14" fmla="*/ 2410691 h 2493819"/>
                  <a:gd name="connsiteX0" fmla="*/ 0 w 1537855"/>
                  <a:gd name="connsiteY0" fmla="*/ 2410691 h 2493819"/>
                  <a:gd name="connsiteX1" fmla="*/ 436419 w 1537855"/>
                  <a:gd name="connsiteY1" fmla="*/ 0 h 2493819"/>
                  <a:gd name="connsiteX2" fmla="*/ 498764 w 1537855"/>
                  <a:gd name="connsiteY2" fmla="*/ 561110 h 2493819"/>
                  <a:gd name="connsiteX3" fmla="*/ 1059873 w 1537855"/>
                  <a:gd name="connsiteY3" fmla="*/ 145473 h 2493819"/>
                  <a:gd name="connsiteX4" fmla="*/ 561110 w 1537855"/>
                  <a:gd name="connsiteY4" fmla="*/ 748146 h 2493819"/>
                  <a:gd name="connsiteX5" fmla="*/ 519546 w 1537855"/>
                  <a:gd name="connsiteY5" fmla="*/ 955964 h 2493819"/>
                  <a:gd name="connsiteX6" fmla="*/ 955964 w 1537855"/>
                  <a:gd name="connsiteY6" fmla="*/ 768928 h 2493819"/>
                  <a:gd name="connsiteX7" fmla="*/ 474519 w 1537855"/>
                  <a:gd name="connsiteY7" fmla="*/ 1301462 h 2493819"/>
                  <a:gd name="connsiteX8" fmla="*/ 415637 w 1537855"/>
                  <a:gd name="connsiteY8" fmla="*/ 2098964 h 2493819"/>
                  <a:gd name="connsiteX9" fmla="*/ 498764 w 1537855"/>
                  <a:gd name="connsiteY9" fmla="*/ 2348346 h 2493819"/>
                  <a:gd name="connsiteX10" fmla="*/ 1122219 w 1537855"/>
                  <a:gd name="connsiteY10" fmla="*/ 1787237 h 2493819"/>
                  <a:gd name="connsiteX11" fmla="*/ 1537855 w 1537855"/>
                  <a:gd name="connsiteY11" fmla="*/ 1808019 h 2493819"/>
                  <a:gd name="connsiteX12" fmla="*/ 831273 w 1537855"/>
                  <a:gd name="connsiteY12" fmla="*/ 2223655 h 2493819"/>
                  <a:gd name="connsiteX13" fmla="*/ 436419 w 1537855"/>
                  <a:gd name="connsiteY13" fmla="*/ 2493819 h 2493819"/>
                  <a:gd name="connsiteX14" fmla="*/ 0 w 1537855"/>
                  <a:gd name="connsiteY14" fmla="*/ 2410691 h 2493819"/>
                  <a:gd name="connsiteX0" fmla="*/ 0 w 1537855"/>
                  <a:gd name="connsiteY0" fmla="*/ 2410691 h 2493819"/>
                  <a:gd name="connsiteX1" fmla="*/ 436419 w 1537855"/>
                  <a:gd name="connsiteY1" fmla="*/ 0 h 2493819"/>
                  <a:gd name="connsiteX2" fmla="*/ 498764 w 1537855"/>
                  <a:gd name="connsiteY2" fmla="*/ 561110 h 2493819"/>
                  <a:gd name="connsiteX3" fmla="*/ 1059873 w 1537855"/>
                  <a:gd name="connsiteY3" fmla="*/ 145473 h 2493819"/>
                  <a:gd name="connsiteX4" fmla="*/ 561110 w 1537855"/>
                  <a:gd name="connsiteY4" fmla="*/ 748146 h 2493819"/>
                  <a:gd name="connsiteX5" fmla="*/ 519546 w 1537855"/>
                  <a:gd name="connsiteY5" fmla="*/ 955964 h 2493819"/>
                  <a:gd name="connsiteX6" fmla="*/ 955964 w 1537855"/>
                  <a:gd name="connsiteY6" fmla="*/ 768928 h 2493819"/>
                  <a:gd name="connsiteX7" fmla="*/ 474519 w 1537855"/>
                  <a:gd name="connsiteY7" fmla="*/ 1301462 h 2493819"/>
                  <a:gd name="connsiteX8" fmla="*/ 415637 w 1537855"/>
                  <a:gd name="connsiteY8" fmla="*/ 2098964 h 2493819"/>
                  <a:gd name="connsiteX9" fmla="*/ 498764 w 1537855"/>
                  <a:gd name="connsiteY9" fmla="*/ 2348346 h 2493819"/>
                  <a:gd name="connsiteX10" fmla="*/ 1122219 w 1537855"/>
                  <a:gd name="connsiteY10" fmla="*/ 1787237 h 2493819"/>
                  <a:gd name="connsiteX11" fmla="*/ 1537855 w 1537855"/>
                  <a:gd name="connsiteY11" fmla="*/ 1808019 h 2493819"/>
                  <a:gd name="connsiteX12" fmla="*/ 831273 w 1537855"/>
                  <a:gd name="connsiteY12" fmla="*/ 2223655 h 2493819"/>
                  <a:gd name="connsiteX13" fmla="*/ 436419 w 1537855"/>
                  <a:gd name="connsiteY13" fmla="*/ 2493819 h 2493819"/>
                  <a:gd name="connsiteX14" fmla="*/ 0 w 1537855"/>
                  <a:gd name="connsiteY14" fmla="*/ 2410691 h 2493819"/>
                  <a:gd name="connsiteX0" fmla="*/ 0 w 1537855"/>
                  <a:gd name="connsiteY0" fmla="*/ 2410691 h 2493819"/>
                  <a:gd name="connsiteX1" fmla="*/ 436419 w 1537855"/>
                  <a:gd name="connsiteY1" fmla="*/ 0 h 2493819"/>
                  <a:gd name="connsiteX2" fmla="*/ 498764 w 1537855"/>
                  <a:gd name="connsiteY2" fmla="*/ 561110 h 2493819"/>
                  <a:gd name="connsiteX3" fmla="*/ 1059873 w 1537855"/>
                  <a:gd name="connsiteY3" fmla="*/ 145473 h 2493819"/>
                  <a:gd name="connsiteX4" fmla="*/ 561110 w 1537855"/>
                  <a:gd name="connsiteY4" fmla="*/ 748146 h 2493819"/>
                  <a:gd name="connsiteX5" fmla="*/ 519546 w 1537855"/>
                  <a:gd name="connsiteY5" fmla="*/ 955964 h 2493819"/>
                  <a:gd name="connsiteX6" fmla="*/ 955964 w 1537855"/>
                  <a:gd name="connsiteY6" fmla="*/ 768928 h 2493819"/>
                  <a:gd name="connsiteX7" fmla="*/ 474519 w 1537855"/>
                  <a:gd name="connsiteY7" fmla="*/ 1301462 h 2493819"/>
                  <a:gd name="connsiteX8" fmla="*/ 415637 w 1537855"/>
                  <a:gd name="connsiteY8" fmla="*/ 2098964 h 2493819"/>
                  <a:gd name="connsiteX9" fmla="*/ 498764 w 1537855"/>
                  <a:gd name="connsiteY9" fmla="*/ 2348346 h 2493819"/>
                  <a:gd name="connsiteX10" fmla="*/ 1122219 w 1537855"/>
                  <a:gd name="connsiteY10" fmla="*/ 1787237 h 2493819"/>
                  <a:gd name="connsiteX11" fmla="*/ 1537855 w 1537855"/>
                  <a:gd name="connsiteY11" fmla="*/ 1808019 h 2493819"/>
                  <a:gd name="connsiteX12" fmla="*/ 831273 w 1537855"/>
                  <a:gd name="connsiteY12" fmla="*/ 2223655 h 2493819"/>
                  <a:gd name="connsiteX13" fmla="*/ 436419 w 1537855"/>
                  <a:gd name="connsiteY13" fmla="*/ 2493819 h 2493819"/>
                  <a:gd name="connsiteX14" fmla="*/ 0 w 1537855"/>
                  <a:gd name="connsiteY14" fmla="*/ 2410691 h 2493819"/>
                  <a:gd name="connsiteX0" fmla="*/ 0 w 1537855"/>
                  <a:gd name="connsiteY0" fmla="*/ 2410691 h 2493819"/>
                  <a:gd name="connsiteX1" fmla="*/ 436419 w 1537855"/>
                  <a:gd name="connsiteY1" fmla="*/ 0 h 2493819"/>
                  <a:gd name="connsiteX2" fmla="*/ 498764 w 1537855"/>
                  <a:gd name="connsiteY2" fmla="*/ 561110 h 2493819"/>
                  <a:gd name="connsiteX3" fmla="*/ 1059873 w 1537855"/>
                  <a:gd name="connsiteY3" fmla="*/ 145473 h 2493819"/>
                  <a:gd name="connsiteX4" fmla="*/ 561110 w 1537855"/>
                  <a:gd name="connsiteY4" fmla="*/ 748146 h 2493819"/>
                  <a:gd name="connsiteX5" fmla="*/ 519546 w 1537855"/>
                  <a:gd name="connsiteY5" fmla="*/ 955964 h 2493819"/>
                  <a:gd name="connsiteX6" fmla="*/ 955964 w 1537855"/>
                  <a:gd name="connsiteY6" fmla="*/ 768928 h 2493819"/>
                  <a:gd name="connsiteX7" fmla="*/ 474519 w 1537855"/>
                  <a:gd name="connsiteY7" fmla="*/ 1301462 h 2493819"/>
                  <a:gd name="connsiteX8" fmla="*/ 415637 w 1537855"/>
                  <a:gd name="connsiteY8" fmla="*/ 2098964 h 2493819"/>
                  <a:gd name="connsiteX9" fmla="*/ 498764 w 1537855"/>
                  <a:gd name="connsiteY9" fmla="*/ 2348346 h 2493819"/>
                  <a:gd name="connsiteX10" fmla="*/ 1122219 w 1537855"/>
                  <a:gd name="connsiteY10" fmla="*/ 1787237 h 2493819"/>
                  <a:gd name="connsiteX11" fmla="*/ 1537855 w 1537855"/>
                  <a:gd name="connsiteY11" fmla="*/ 1808019 h 2493819"/>
                  <a:gd name="connsiteX12" fmla="*/ 831273 w 1537855"/>
                  <a:gd name="connsiteY12" fmla="*/ 2223655 h 2493819"/>
                  <a:gd name="connsiteX13" fmla="*/ 436419 w 1537855"/>
                  <a:gd name="connsiteY13" fmla="*/ 2493819 h 2493819"/>
                  <a:gd name="connsiteX14" fmla="*/ 0 w 1537855"/>
                  <a:gd name="connsiteY14" fmla="*/ 2410691 h 2493819"/>
                  <a:gd name="connsiteX0" fmla="*/ 0 w 1509280"/>
                  <a:gd name="connsiteY0" fmla="*/ 2439266 h 2493819"/>
                  <a:gd name="connsiteX1" fmla="*/ 407844 w 1509280"/>
                  <a:gd name="connsiteY1" fmla="*/ 0 h 2493819"/>
                  <a:gd name="connsiteX2" fmla="*/ 470189 w 1509280"/>
                  <a:gd name="connsiteY2" fmla="*/ 561110 h 2493819"/>
                  <a:gd name="connsiteX3" fmla="*/ 1031298 w 1509280"/>
                  <a:gd name="connsiteY3" fmla="*/ 145473 h 2493819"/>
                  <a:gd name="connsiteX4" fmla="*/ 532535 w 1509280"/>
                  <a:gd name="connsiteY4" fmla="*/ 748146 h 2493819"/>
                  <a:gd name="connsiteX5" fmla="*/ 490971 w 1509280"/>
                  <a:gd name="connsiteY5" fmla="*/ 955964 h 2493819"/>
                  <a:gd name="connsiteX6" fmla="*/ 927389 w 1509280"/>
                  <a:gd name="connsiteY6" fmla="*/ 768928 h 2493819"/>
                  <a:gd name="connsiteX7" fmla="*/ 445944 w 1509280"/>
                  <a:gd name="connsiteY7" fmla="*/ 1301462 h 2493819"/>
                  <a:gd name="connsiteX8" fmla="*/ 387062 w 1509280"/>
                  <a:gd name="connsiteY8" fmla="*/ 2098964 h 2493819"/>
                  <a:gd name="connsiteX9" fmla="*/ 470189 w 1509280"/>
                  <a:gd name="connsiteY9" fmla="*/ 2348346 h 2493819"/>
                  <a:gd name="connsiteX10" fmla="*/ 1093644 w 1509280"/>
                  <a:gd name="connsiteY10" fmla="*/ 1787237 h 2493819"/>
                  <a:gd name="connsiteX11" fmla="*/ 1509280 w 1509280"/>
                  <a:gd name="connsiteY11" fmla="*/ 1808019 h 2493819"/>
                  <a:gd name="connsiteX12" fmla="*/ 802698 w 1509280"/>
                  <a:gd name="connsiteY12" fmla="*/ 2223655 h 2493819"/>
                  <a:gd name="connsiteX13" fmla="*/ 407844 w 1509280"/>
                  <a:gd name="connsiteY13" fmla="*/ 2493819 h 2493819"/>
                  <a:gd name="connsiteX14" fmla="*/ 0 w 1509280"/>
                  <a:gd name="connsiteY14" fmla="*/ 2439266 h 2493819"/>
                  <a:gd name="connsiteX0" fmla="*/ 0 w 1509280"/>
                  <a:gd name="connsiteY0" fmla="*/ 2439266 h 2493819"/>
                  <a:gd name="connsiteX1" fmla="*/ 407844 w 1509280"/>
                  <a:gd name="connsiteY1" fmla="*/ 0 h 2493819"/>
                  <a:gd name="connsiteX2" fmla="*/ 470189 w 1509280"/>
                  <a:gd name="connsiteY2" fmla="*/ 561110 h 2493819"/>
                  <a:gd name="connsiteX3" fmla="*/ 1031298 w 1509280"/>
                  <a:gd name="connsiteY3" fmla="*/ 145473 h 2493819"/>
                  <a:gd name="connsiteX4" fmla="*/ 532535 w 1509280"/>
                  <a:gd name="connsiteY4" fmla="*/ 748146 h 2493819"/>
                  <a:gd name="connsiteX5" fmla="*/ 490971 w 1509280"/>
                  <a:gd name="connsiteY5" fmla="*/ 955964 h 2493819"/>
                  <a:gd name="connsiteX6" fmla="*/ 927389 w 1509280"/>
                  <a:gd name="connsiteY6" fmla="*/ 768928 h 2493819"/>
                  <a:gd name="connsiteX7" fmla="*/ 445944 w 1509280"/>
                  <a:gd name="connsiteY7" fmla="*/ 1301462 h 2493819"/>
                  <a:gd name="connsiteX8" fmla="*/ 387062 w 1509280"/>
                  <a:gd name="connsiteY8" fmla="*/ 2098964 h 2493819"/>
                  <a:gd name="connsiteX9" fmla="*/ 470189 w 1509280"/>
                  <a:gd name="connsiteY9" fmla="*/ 2348346 h 2493819"/>
                  <a:gd name="connsiteX10" fmla="*/ 1093644 w 1509280"/>
                  <a:gd name="connsiteY10" fmla="*/ 1787237 h 2493819"/>
                  <a:gd name="connsiteX11" fmla="*/ 1509280 w 1509280"/>
                  <a:gd name="connsiteY11" fmla="*/ 1808019 h 2493819"/>
                  <a:gd name="connsiteX12" fmla="*/ 802698 w 1509280"/>
                  <a:gd name="connsiteY12" fmla="*/ 2223655 h 2493819"/>
                  <a:gd name="connsiteX13" fmla="*/ 407844 w 1509280"/>
                  <a:gd name="connsiteY13" fmla="*/ 2493819 h 2493819"/>
                  <a:gd name="connsiteX14" fmla="*/ 0 w 1509280"/>
                  <a:gd name="connsiteY14" fmla="*/ 2439266 h 2493819"/>
                  <a:gd name="connsiteX0" fmla="*/ 0 w 1518805"/>
                  <a:gd name="connsiteY0" fmla="*/ 2391641 h 2493819"/>
                  <a:gd name="connsiteX1" fmla="*/ 417369 w 1518805"/>
                  <a:gd name="connsiteY1" fmla="*/ 0 h 2493819"/>
                  <a:gd name="connsiteX2" fmla="*/ 479714 w 1518805"/>
                  <a:gd name="connsiteY2" fmla="*/ 561110 h 2493819"/>
                  <a:gd name="connsiteX3" fmla="*/ 1040823 w 1518805"/>
                  <a:gd name="connsiteY3" fmla="*/ 145473 h 2493819"/>
                  <a:gd name="connsiteX4" fmla="*/ 542060 w 1518805"/>
                  <a:gd name="connsiteY4" fmla="*/ 748146 h 2493819"/>
                  <a:gd name="connsiteX5" fmla="*/ 500496 w 1518805"/>
                  <a:gd name="connsiteY5" fmla="*/ 955964 h 2493819"/>
                  <a:gd name="connsiteX6" fmla="*/ 936914 w 1518805"/>
                  <a:gd name="connsiteY6" fmla="*/ 768928 h 2493819"/>
                  <a:gd name="connsiteX7" fmla="*/ 455469 w 1518805"/>
                  <a:gd name="connsiteY7" fmla="*/ 1301462 h 2493819"/>
                  <a:gd name="connsiteX8" fmla="*/ 396587 w 1518805"/>
                  <a:gd name="connsiteY8" fmla="*/ 2098964 h 2493819"/>
                  <a:gd name="connsiteX9" fmla="*/ 479714 w 1518805"/>
                  <a:gd name="connsiteY9" fmla="*/ 2348346 h 2493819"/>
                  <a:gd name="connsiteX10" fmla="*/ 1103169 w 1518805"/>
                  <a:gd name="connsiteY10" fmla="*/ 1787237 h 2493819"/>
                  <a:gd name="connsiteX11" fmla="*/ 1518805 w 1518805"/>
                  <a:gd name="connsiteY11" fmla="*/ 1808019 h 2493819"/>
                  <a:gd name="connsiteX12" fmla="*/ 812223 w 1518805"/>
                  <a:gd name="connsiteY12" fmla="*/ 2223655 h 2493819"/>
                  <a:gd name="connsiteX13" fmla="*/ 417369 w 1518805"/>
                  <a:gd name="connsiteY13" fmla="*/ 2493819 h 2493819"/>
                  <a:gd name="connsiteX14" fmla="*/ 0 w 1518805"/>
                  <a:gd name="connsiteY14" fmla="*/ 2391641 h 2493819"/>
                  <a:gd name="connsiteX0" fmla="*/ 0 w 1509280"/>
                  <a:gd name="connsiteY0" fmla="*/ 2429741 h 2493819"/>
                  <a:gd name="connsiteX1" fmla="*/ 407844 w 1509280"/>
                  <a:gd name="connsiteY1" fmla="*/ 0 h 2493819"/>
                  <a:gd name="connsiteX2" fmla="*/ 470189 w 1509280"/>
                  <a:gd name="connsiteY2" fmla="*/ 561110 h 2493819"/>
                  <a:gd name="connsiteX3" fmla="*/ 1031298 w 1509280"/>
                  <a:gd name="connsiteY3" fmla="*/ 145473 h 2493819"/>
                  <a:gd name="connsiteX4" fmla="*/ 532535 w 1509280"/>
                  <a:gd name="connsiteY4" fmla="*/ 748146 h 2493819"/>
                  <a:gd name="connsiteX5" fmla="*/ 490971 w 1509280"/>
                  <a:gd name="connsiteY5" fmla="*/ 955964 h 2493819"/>
                  <a:gd name="connsiteX6" fmla="*/ 927389 w 1509280"/>
                  <a:gd name="connsiteY6" fmla="*/ 768928 h 2493819"/>
                  <a:gd name="connsiteX7" fmla="*/ 445944 w 1509280"/>
                  <a:gd name="connsiteY7" fmla="*/ 1301462 h 2493819"/>
                  <a:gd name="connsiteX8" fmla="*/ 387062 w 1509280"/>
                  <a:gd name="connsiteY8" fmla="*/ 2098964 h 2493819"/>
                  <a:gd name="connsiteX9" fmla="*/ 470189 w 1509280"/>
                  <a:gd name="connsiteY9" fmla="*/ 2348346 h 2493819"/>
                  <a:gd name="connsiteX10" fmla="*/ 1093644 w 1509280"/>
                  <a:gd name="connsiteY10" fmla="*/ 1787237 h 2493819"/>
                  <a:gd name="connsiteX11" fmla="*/ 1509280 w 1509280"/>
                  <a:gd name="connsiteY11" fmla="*/ 1808019 h 2493819"/>
                  <a:gd name="connsiteX12" fmla="*/ 802698 w 1509280"/>
                  <a:gd name="connsiteY12" fmla="*/ 2223655 h 2493819"/>
                  <a:gd name="connsiteX13" fmla="*/ 407844 w 1509280"/>
                  <a:gd name="connsiteY13" fmla="*/ 2493819 h 2493819"/>
                  <a:gd name="connsiteX14" fmla="*/ 0 w 1509280"/>
                  <a:gd name="connsiteY14" fmla="*/ 2429741 h 2493819"/>
                  <a:gd name="connsiteX0" fmla="*/ 0 w 1509280"/>
                  <a:gd name="connsiteY0" fmla="*/ 2429741 h 2493819"/>
                  <a:gd name="connsiteX1" fmla="*/ 407844 w 1509280"/>
                  <a:gd name="connsiteY1" fmla="*/ 0 h 2493819"/>
                  <a:gd name="connsiteX2" fmla="*/ 470189 w 1509280"/>
                  <a:gd name="connsiteY2" fmla="*/ 561110 h 2493819"/>
                  <a:gd name="connsiteX3" fmla="*/ 1031298 w 1509280"/>
                  <a:gd name="connsiteY3" fmla="*/ 145473 h 2493819"/>
                  <a:gd name="connsiteX4" fmla="*/ 532535 w 1509280"/>
                  <a:gd name="connsiteY4" fmla="*/ 748146 h 2493819"/>
                  <a:gd name="connsiteX5" fmla="*/ 490971 w 1509280"/>
                  <a:gd name="connsiteY5" fmla="*/ 955964 h 2493819"/>
                  <a:gd name="connsiteX6" fmla="*/ 927389 w 1509280"/>
                  <a:gd name="connsiteY6" fmla="*/ 768928 h 2493819"/>
                  <a:gd name="connsiteX7" fmla="*/ 445944 w 1509280"/>
                  <a:gd name="connsiteY7" fmla="*/ 1301462 h 2493819"/>
                  <a:gd name="connsiteX8" fmla="*/ 387062 w 1509280"/>
                  <a:gd name="connsiteY8" fmla="*/ 2098964 h 2493819"/>
                  <a:gd name="connsiteX9" fmla="*/ 470189 w 1509280"/>
                  <a:gd name="connsiteY9" fmla="*/ 2348346 h 2493819"/>
                  <a:gd name="connsiteX10" fmla="*/ 1093644 w 1509280"/>
                  <a:gd name="connsiteY10" fmla="*/ 1787237 h 2493819"/>
                  <a:gd name="connsiteX11" fmla="*/ 1509280 w 1509280"/>
                  <a:gd name="connsiteY11" fmla="*/ 1808019 h 2493819"/>
                  <a:gd name="connsiteX12" fmla="*/ 802698 w 1509280"/>
                  <a:gd name="connsiteY12" fmla="*/ 2223655 h 2493819"/>
                  <a:gd name="connsiteX13" fmla="*/ 407844 w 1509280"/>
                  <a:gd name="connsiteY13" fmla="*/ 2493819 h 2493819"/>
                  <a:gd name="connsiteX14" fmla="*/ 0 w 1509280"/>
                  <a:gd name="connsiteY14" fmla="*/ 2429741 h 2493819"/>
                  <a:gd name="connsiteX0" fmla="*/ 0 w 1509280"/>
                  <a:gd name="connsiteY0" fmla="*/ 2429741 h 2493819"/>
                  <a:gd name="connsiteX1" fmla="*/ 407844 w 1509280"/>
                  <a:gd name="connsiteY1" fmla="*/ 0 h 2493819"/>
                  <a:gd name="connsiteX2" fmla="*/ 470189 w 1509280"/>
                  <a:gd name="connsiteY2" fmla="*/ 561110 h 2493819"/>
                  <a:gd name="connsiteX3" fmla="*/ 1031298 w 1509280"/>
                  <a:gd name="connsiteY3" fmla="*/ 145473 h 2493819"/>
                  <a:gd name="connsiteX4" fmla="*/ 532535 w 1509280"/>
                  <a:gd name="connsiteY4" fmla="*/ 748146 h 2493819"/>
                  <a:gd name="connsiteX5" fmla="*/ 490971 w 1509280"/>
                  <a:gd name="connsiteY5" fmla="*/ 955964 h 2493819"/>
                  <a:gd name="connsiteX6" fmla="*/ 927389 w 1509280"/>
                  <a:gd name="connsiteY6" fmla="*/ 768928 h 2493819"/>
                  <a:gd name="connsiteX7" fmla="*/ 445944 w 1509280"/>
                  <a:gd name="connsiteY7" fmla="*/ 1301462 h 2493819"/>
                  <a:gd name="connsiteX8" fmla="*/ 387062 w 1509280"/>
                  <a:gd name="connsiteY8" fmla="*/ 2098964 h 2493819"/>
                  <a:gd name="connsiteX9" fmla="*/ 470189 w 1509280"/>
                  <a:gd name="connsiteY9" fmla="*/ 2348346 h 2493819"/>
                  <a:gd name="connsiteX10" fmla="*/ 1093644 w 1509280"/>
                  <a:gd name="connsiteY10" fmla="*/ 1787237 h 2493819"/>
                  <a:gd name="connsiteX11" fmla="*/ 1509280 w 1509280"/>
                  <a:gd name="connsiteY11" fmla="*/ 1808019 h 2493819"/>
                  <a:gd name="connsiteX12" fmla="*/ 802698 w 1509280"/>
                  <a:gd name="connsiteY12" fmla="*/ 2223655 h 2493819"/>
                  <a:gd name="connsiteX13" fmla="*/ 407844 w 1509280"/>
                  <a:gd name="connsiteY13" fmla="*/ 2493819 h 2493819"/>
                  <a:gd name="connsiteX14" fmla="*/ 0 w 1509280"/>
                  <a:gd name="connsiteY14" fmla="*/ 2429741 h 2493819"/>
                  <a:gd name="connsiteX0" fmla="*/ 0 w 1509280"/>
                  <a:gd name="connsiteY0" fmla="*/ 2429741 h 2493819"/>
                  <a:gd name="connsiteX1" fmla="*/ 407844 w 1509280"/>
                  <a:gd name="connsiteY1" fmla="*/ 0 h 2493819"/>
                  <a:gd name="connsiteX2" fmla="*/ 470189 w 1509280"/>
                  <a:gd name="connsiteY2" fmla="*/ 561110 h 2493819"/>
                  <a:gd name="connsiteX3" fmla="*/ 1031298 w 1509280"/>
                  <a:gd name="connsiteY3" fmla="*/ 145473 h 2493819"/>
                  <a:gd name="connsiteX4" fmla="*/ 532535 w 1509280"/>
                  <a:gd name="connsiteY4" fmla="*/ 748146 h 2493819"/>
                  <a:gd name="connsiteX5" fmla="*/ 490971 w 1509280"/>
                  <a:gd name="connsiteY5" fmla="*/ 955964 h 2493819"/>
                  <a:gd name="connsiteX6" fmla="*/ 927389 w 1509280"/>
                  <a:gd name="connsiteY6" fmla="*/ 768928 h 2493819"/>
                  <a:gd name="connsiteX7" fmla="*/ 445944 w 1509280"/>
                  <a:gd name="connsiteY7" fmla="*/ 1301462 h 2493819"/>
                  <a:gd name="connsiteX8" fmla="*/ 387062 w 1509280"/>
                  <a:gd name="connsiteY8" fmla="*/ 2098964 h 2493819"/>
                  <a:gd name="connsiteX9" fmla="*/ 470189 w 1509280"/>
                  <a:gd name="connsiteY9" fmla="*/ 2348346 h 2493819"/>
                  <a:gd name="connsiteX10" fmla="*/ 1093644 w 1509280"/>
                  <a:gd name="connsiteY10" fmla="*/ 1787237 h 2493819"/>
                  <a:gd name="connsiteX11" fmla="*/ 1509280 w 1509280"/>
                  <a:gd name="connsiteY11" fmla="*/ 1808019 h 2493819"/>
                  <a:gd name="connsiteX12" fmla="*/ 802698 w 1509280"/>
                  <a:gd name="connsiteY12" fmla="*/ 2223655 h 2493819"/>
                  <a:gd name="connsiteX13" fmla="*/ 407844 w 1509280"/>
                  <a:gd name="connsiteY13" fmla="*/ 2493819 h 2493819"/>
                  <a:gd name="connsiteX14" fmla="*/ 0 w 1509280"/>
                  <a:gd name="connsiteY14" fmla="*/ 2429741 h 2493819"/>
                  <a:gd name="connsiteX0" fmla="*/ 0 w 1509280"/>
                  <a:gd name="connsiteY0" fmla="*/ 2429741 h 2493819"/>
                  <a:gd name="connsiteX1" fmla="*/ 407844 w 1509280"/>
                  <a:gd name="connsiteY1" fmla="*/ 0 h 2493819"/>
                  <a:gd name="connsiteX2" fmla="*/ 470189 w 1509280"/>
                  <a:gd name="connsiteY2" fmla="*/ 561110 h 2493819"/>
                  <a:gd name="connsiteX3" fmla="*/ 1031298 w 1509280"/>
                  <a:gd name="connsiteY3" fmla="*/ 145473 h 2493819"/>
                  <a:gd name="connsiteX4" fmla="*/ 532535 w 1509280"/>
                  <a:gd name="connsiteY4" fmla="*/ 748146 h 2493819"/>
                  <a:gd name="connsiteX5" fmla="*/ 490971 w 1509280"/>
                  <a:gd name="connsiteY5" fmla="*/ 955964 h 2493819"/>
                  <a:gd name="connsiteX6" fmla="*/ 927389 w 1509280"/>
                  <a:gd name="connsiteY6" fmla="*/ 768928 h 2493819"/>
                  <a:gd name="connsiteX7" fmla="*/ 445944 w 1509280"/>
                  <a:gd name="connsiteY7" fmla="*/ 1301462 h 2493819"/>
                  <a:gd name="connsiteX8" fmla="*/ 387062 w 1509280"/>
                  <a:gd name="connsiteY8" fmla="*/ 2098964 h 2493819"/>
                  <a:gd name="connsiteX9" fmla="*/ 470189 w 1509280"/>
                  <a:gd name="connsiteY9" fmla="*/ 2348346 h 2493819"/>
                  <a:gd name="connsiteX10" fmla="*/ 1093644 w 1509280"/>
                  <a:gd name="connsiteY10" fmla="*/ 1787237 h 2493819"/>
                  <a:gd name="connsiteX11" fmla="*/ 1509280 w 1509280"/>
                  <a:gd name="connsiteY11" fmla="*/ 1808019 h 2493819"/>
                  <a:gd name="connsiteX12" fmla="*/ 802698 w 1509280"/>
                  <a:gd name="connsiteY12" fmla="*/ 2223655 h 2493819"/>
                  <a:gd name="connsiteX13" fmla="*/ 407844 w 1509280"/>
                  <a:gd name="connsiteY13" fmla="*/ 2493819 h 2493819"/>
                  <a:gd name="connsiteX14" fmla="*/ 0 w 1509280"/>
                  <a:gd name="connsiteY14" fmla="*/ 2429741 h 2493819"/>
                  <a:gd name="connsiteX0" fmla="*/ 0 w 1509280"/>
                  <a:gd name="connsiteY0" fmla="*/ 2429741 h 2493819"/>
                  <a:gd name="connsiteX1" fmla="*/ 407844 w 1509280"/>
                  <a:gd name="connsiteY1" fmla="*/ 0 h 2493819"/>
                  <a:gd name="connsiteX2" fmla="*/ 470189 w 1509280"/>
                  <a:gd name="connsiteY2" fmla="*/ 561110 h 2493819"/>
                  <a:gd name="connsiteX3" fmla="*/ 1031298 w 1509280"/>
                  <a:gd name="connsiteY3" fmla="*/ 145473 h 2493819"/>
                  <a:gd name="connsiteX4" fmla="*/ 532535 w 1509280"/>
                  <a:gd name="connsiteY4" fmla="*/ 748146 h 2493819"/>
                  <a:gd name="connsiteX5" fmla="*/ 490971 w 1509280"/>
                  <a:gd name="connsiteY5" fmla="*/ 955964 h 2493819"/>
                  <a:gd name="connsiteX6" fmla="*/ 927389 w 1509280"/>
                  <a:gd name="connsiteY6" fmla="*/ 768928 h 2493819"/>
                  <a:gd name="connsiteX7" fmla="*/ 445944 w 1509280"/>
                  <a:gd name="connsiteY7" fmla="*/ 1301462 h 2493819"/>
                  <a:gd name="connsiteX8" fmla="*/ 387062 w 1509280"/>
                  <a:gd name="connsiteY8" fmla="*/ 2098964 h 2493819"/>
                  <a:gd name="connsiteX9" fmla="*/ 470189 w 1509280"/>
                  <a:gd name="connsiteY9" fmla="*/ 2348346 h 2493819"/>
                  <a:gd name="connsiteX10" fmla="*/ 1093644 w 1509280"/>
                  <a:gd name="connsiteY10" fmla="*/ 1787237 h 2493819"/>
                  <a:gd name="connsiteX11" fmla="*/ 1509280 w 1509280"/>
                  <a:gd name="connsiteY11" fmla="*/ 1808019 h 2493819"/>
                  <a:gd name="connsiteX12" fmla="*/ 802698 w 1509280"/>
                  <a:gd name="connsiteY12" fmla="*/ 2223655 h 2493819"/>
                  <a:gd name="connsiteX13" fmla="*/ 407844 w 1509280"/>
                  <a:gd name="connsiteY13" fmla="*/ 2493819 h 2493819"/>
                  <a:gd name="connsiteX14" fmla="*/ 0 w 1509280"/>
                  <a:gd name="connsiteY14" fmla="*/ 2429741 h 2493819"/>
                  <a:gd name="connsiteX0" fmla="*/ 0 w 1509280"/>
                  <a:gd name="connsiteY0" fmla="*/ 2429741 h 2493819"/>
                  <a:gd name="connsiteX1" fmla="*/ 407844 w 1509280"/>
                  <a:gd name="connsiteY1" fmla="*/ 0 h 2493819"/>
                  <a:gd name="connsiteX2" fmla="*/ 470189 w 1509280"/>
                  <a:gd name="connsiteY2" fmla="*/ 561110 h 2493819"/>
                  <a:gd name="connsiteX3" fmla="*/ 1031298 w 1509280"/>
                  <a:gd name="connsiteY3" fmla="*/ 145473 h 2493819"/>
                  <a:gd name="connsiteX4" fmla="*/ 532535 w 1509280"/>
                  <a:gd name="connsiteY4" fmla="*/ 748146 h 2493819"/>
                  <a:gd name="connsiteX5" fmla="*/ 490971 w 1509280"/>
                  <a:gd name="connsiteY5" fmla="*/ 955964 h 2493819"/>
                  <a:gd name="connsiteX6" fmla="*/ 927389 w 1509280"/>
                  <a:gd name="connsiteY6" fmla="*/ 768928 h 2493819"/>
                  <a:gd name="connsiteX7" fmla="*/ 445944 w 1509280"/>
                  <a:gd name="connsiteY7" fmla="*/ 1301462 h 2493819"/>
                  <a:gd name="connsiteX8" fmla="*/ 387062 w 1509280"/>
                  <a:gd name="connsiteY8" fmla="*/ 2098964 h 2493819"/>
                  <a:gd name="connsiteX9" fmla="*/ 470189 w 1509280"/>
                  <a:gd name="connsiteY9" fmla="*/ 2348346 h 2493819"/>
                  <a:gd name="connsiteX10" fmla="*/ 1093644 w 1509280"/>
                  <a:gd name="connsiteY10" fmla="*/ 1787237 h 2493819"/>
                  <a:gd name="connsiteX11" fmla="*/ 1509280 w 1509280"/>
                  <a:gd name="connsiteY11" fmla="*/ 1808019 h 2493819"/>
                  <a:gd name="connsiteX12" fmla="*/ 802698 w 1509280"/>
                  <a:gd name="connsiteY12" fmla="*/ 2223655 h 2493819"/>
                  <a:gd name="connsiteX13" fmla="*/ 407844 w 1509280"/>
                  <a:gd name="connsiteY13" fmla="*/ 2493819 h 2493819"/>
                  <a:gd name="connsiteX14" fmla="*/ 0 w 1509280"/>
                  <a:gd name="connsiteY14" fmla="*/ 2429741 h 2493819"/>
                  <a:gd name="connsiteX0" fmla="*/ 0 w 1509280"/>
                  <a:gd name="connsiteY0" fmla="*/ 2429741 h 2493819"/>
                  <a:gd name="connsiteX1" fmla="*/ 407844 w 1509280"/>
                  <a:gd name="connsiteY1" fmla="*/ 0 h 2493819"/>
                  <a:gd name="connsiteX2" fmla="*/ 470189 w 1509280"/>
                  <a:gd name="connsiteY2" fmla="*/ 561110 h 2493819"/>
                  <a:gd name="connsiteX3" fmla="*/ 1031298 w 1509280"/>
                  <a:gd name="connsiteY3" fmla="*/ 145473 h 2493819"/>
                  <a:gd name="connsiteX4" fmla="*/ 532535 w 1509280"/>
                  <a:gd name="connsiteY4" fmla="*/ 748146 h 2493819"/>
                  <a:gd name="connsiteX5" fmla="*/ 490971 w 1509280"/>
                  <a:gd name="connsiteY5" fmla="*/ 955964 h 2493819"/>
                  <a:gd name="connsiteX6" fmla="*/ 927389 w 1509280"/>
                  <a:gd name="connsiteY6" fmla="*/ 768928 h 2493819"/>
                  <a:gd name="connsiteX7" fmla="*/ 445944 w 1509280"/>
                  <a:gd name="connsiteY7" fmla="*/ 1301462 h 2493819"/>
                  <a:gd name="connsiteX8" fmla="*/ 387062 w 1509280"/>
                  <a:gd name="connsiteY8" fmla="*/ 2098964 h 2493819"/>
                  <a:gd name="connsiteX9" fmla="*/ 470189 w 1509280"/>
                  <a:gd name="connsiteY9" fmla="*/ 2348346 h 2493819"/>
                  <a:gd name="connsiteX10" fmla="*/ 1093644 w 1509280"/>
                  <a:gd name="connsiteY10" fmla="*/ 1787237 h 2493819"/>
                  <a:gd name="connsiteX11" fmla="*/ 1509280 w 1509280"/>
                  <a:gd name="connsiteY11" fmla="*/ 1808019 h 2493819"/>
                  <a:gd name="connsiteX12" fmla="*/ 802698 w 1509280"/>
                  <a:gd name="connsiteY12" fmla="*/ 2223655 h 2493819"/>
                  <a:gd name="connsiteX13" fmla="*/ 407844 w 1509280"/>
                  <a:gd name="connsiteY13" fmla="*/ 2493819 h 2493819"/>
                  <a:gd name="connsiteX14" fmla="*/ 0 w 1509280"/>
                  <a:gd name="connsiteY14" fmla="*/ 2429741 h 2493819"/>
                  <a:gd name="connsiteX0" fmla="*/ 0 w 1509280"/>
                  <a:gd name="connsiteY0" fmla="*/ 2429741 h 2493819"/>
                  <a:gd name="connsiteX1" fmla="*/ 407844 w 1509280"/>
                  <a:gd name="connsiteY1" fmla="*/ 0 h 2493819"/>
                  <a:gd name="connsiteX2" fmla="*/ 470189 w 1509280"/>
                  <a:gd name="connsiteY2" fmla="*/ 561110 h 2493819"/>
                  <a:gd name="connsiteX3" fmla="*/ 1031298 w 1509280"/>
                  <a:gd name="connsiteY3" fmla="*/ 145473 h 2493819"/>
                  <a:gd name="connsiteX4" fmla="*/ 532535 w 1509280"/>
                  <a:gd name="connsiteY4" fmla="*/ 748146 h 2493819"/>
                  <a:gd name="connsiteX5" fmla="*/ 490971 w 1509280"/>
                  <a:gd name="connsiteY5" fmla="*/ 955964 h 2493819"/>
                  <a:gd name="connsiteX6" fmla="*/ 927389 w 1509280"/>
                  <a:gd name="connsiteY6" fmla="*/ 768928 h 2493819"/>
                  <a:gd name="connsiteX7" fmla="*/ 445944 w 1509280"/>
                  <a:gd name="connsiteY7" fmla="*/ 1301462 h 2493819"/>
                  <a:gd name="connsiteX8" fmla="*/ 387062 w 1509280"/>
                  <a:gd name="connsiteY8" fmla="*/ 2098964 h 2493819"/>
                  <a:gd name="connsiteX9" fmla="*/ 470189 w 1509280"/>
                  <a:gd name="connsiteY9" fmla="*/ 2348346 h 2493819"/>
                  <a:gd name="connsiteX10" fmla="*/ 1093644 w 1509280"/>
                  <a:gd name="connsiteY10" fmla="*/ 1787237 h 2493819"/>
                  <a:gd name="connsiteX11" fmla="*/ 1509280 w 1509280"/>
                  <a:gd name="connsiteY11" fmla="*/ 1808019 h 2493819"/>
                  <a:gd name="connsiteX12" fmla="*/ 802698 w 1509280"/>
                  <a:gd name="connsiteY12" fmla="*/ 2223655 h 2493819"/>
                  <a:gd name="connsiteX13" fmla="*/ 407844 w 1509280"/>
                  <a:gd name="connsiteY13" fmla="*/ 2493819 h 2493819"/>
                  <a:gd name="connsiteX14" fmla="*/ 0 w 1509280"/>
                  <a:gd name="connsiteY14" fmla="*/ 2429741 h 2493819"/>
                  <a:gd name="connsiteX0" fmla="*/ 0 w 1509280"/>
                  <a:gd name="connsiteY0" fmla="*/ 2429741 h 2493819"/>
                  <a:gd name="connsiteX1" fmla="*/ 407844 w 1509280"/>
                  <a:gd name="connsiteY1" fmla="*/ 0 h 2493819"/>
                  <a:gd name="connsiteX2" fmla="*/ 470189 w 1509280"/>
                  <a:gd name="connsiteY2" fmla="*/ 561110 h 2493819"/>
                  <a:gd name="connsiteX3" fmla="*/ 1031298 w 1509280"/>
                  <a:gd name="connsiteY3" fmla="*/ 145473 h 2493819"/>
                  <a:gd name="connsiteX4" fmla="*/ 532535 w 1509280"/>
                  <a:gd name="connsiteY4" fmla="*/ 748146 h 2493819"/>
                  <a:gd name="connsiteX5" fmla="*/ 490971 w 1509280"/>
                  <a:gd name="connsiteY5" fmla="*/ 955964 h 2493819"/>
                  <a:gd name="connsiteX6" fmla="*/ 927389 w 1509280"/>
                  <a:gd name="connsiteY6" fmla="*/ 768928 h 2493819"/>
                  <a:gd name="connsiteX7" fmla="*/ 445944 w 1509280"/>
                  <a:gd name="connsiteY7" fmla="*/ 1301462 h 2493819"/>
                  <a:gd name="connsiteX8" fmla="*/ 387062 w 1509280"/>
                  <a:gd name="connsiteY8" fmla="*/ 2098964 h 2493819"/>
                  <a:gd name="connsiteX9" fmla="*/ 470189 w 1509280"/>
                  <a:gd name="connsiteY9" fmla="*/ 2348346 h 2493819"/>
                  <a:gd name="connsiteX10" fmla="*/ 1093644 w 1509280"/>
                  <a:gd name="connsiteY10" fmla="*/ 1787237 h 2493819"/>
                  <a:gd name="connsiteX11" fmla="*/ 1509280 w 1509280"/>
                  <a:gd name="connsiteY11" fmla="*/ 1808019 h 2493819"/>
                  <a:gd name="connsiteX12" fmla="*/ 802698 w 1509280"/>
                  <a:gd name="connsiteY12" fmla="*/ 2223655 h 2493819"/>
                  <a:gd name="connsiteX13" fmla="*/ 407844 w 1509280"/>
                  <a:gd name="connsiteY13" fmla="*/ 2493819 h 2493819"/>
                  <a:gd name="connsiteX14" fmla="*/ 0 w 1509280"/>
                  <a:gd name="connsiteY14" fmla="*/ 2429741 h 2493819"/>
                  <a:gd name="connsiteX0" fmla="*/ 0 w 1509280"/>
                  <a:gd name="connsiteY0" fmla="*/ 2452254 h 2516332"/>
                  <a:gd name="connsiteX1" fmla="*/ 407844 w 1509280"/>
                  <a:gd name="connsiteY1" fmla="*/ 22513 h 2516332"/>
                  <a:gd name="connsiteX2" fmla="*/ 470189 w 1509280"/>
                  <a:gd name="connsiteY2" fmla="*/ 583623 h 2516332"/>
                  <a:gd name="connsiteX3" fmla="*/ 1031298 w 1509280"/>
                  <a:gd name="connsiteY3" fmla="*/ 167986 h 2516332"/>
                  <a:gd name="connsiteX4" fmla="*/ 532535 w 1509280"/>
                  <a:gd name="connsiteY4" fmla="*/ 770659 h 2516332"/>
                  <a:gd name="connsiteX5" fmla="*/ 490971 w 1509280"/>
                  <a:gd name="connsiteY5" fmla="*/ 978477 h 2516332"/>
                  <a:gd name="connsiteX6" fmla="*/ 927389 w 1509280"/>
                  <a:gd name="connsiteY6" fmla="*/ 791441 h 2516332"/>
                  <a:gd name="connsiteX7" fmla="*/ 445944 w 1509280"/>
                  <a:gd name="connsiteY7" fmla="*/ 1323975 h 2516332"/>
                  <a:gd name="connsiteX8" fmla="*/ 387062 w 1509280"/>
                  <a:gd name="connsiteY8" fmla="*/ 2121477 h 2516332"/>
                  <a:gd name="connsiteX9" fmla="*/ 470189 w 1509280"/>
                  <a:gd name="connsiteY9" fmla="*/ 2370859 h 2516332"/>
                  <a:gd name="connsiteX10" fmla="*/ 1093644 w 1509280"/>
                  <a:gd name="connsiteY10" fmla="*/ 1809750 h 2516332"/>
                  <a:gd name="connsiteX11" fmla="*/ 1509280 w 1509280"/>
                  <a:gd name="connsiteY11" fmla="*/ 1830532 h 2516332"/>
                  <a:gd name="connsiteX12" fmla="*/ 802698 w 1509280"/>
                  <a:gd name="connsiteY12" fmla="*/ 2246168 h 2516332"/>
                  <a:gd name="connsiteX13" fmla="*/ 407844 w 1509280"/>
                  <a:gd name="connsiteY13" fmla="*/ 2516332 h 2516332"/>
                  <a:gd name="connsiteX14" fmla="*/ 0 w 1509280"/>
                  <a:gd name="connsiteY14" fmla="*/ 2452254 h 2516332"/>
                  <a:gd name="connsiteX0" fmla="*/ 0 w 1509280"/>
                  <a:gd name="connsiteY0" fmla="*/ 2452254 h 2516332"/>
                  <a:gd name="connsiteX1" fmla="*/ 407844 w 1509280"/>
                  <a:gd name="connsiteY1" fmla="*/ 22513 h 2516332"/>
                  <a:gd name="connsiteX2" fmla="*/ 470189 w 1509280"/>
                  <a:gd name="connsiteY2" fmla="*/ 583623 h 2516332"/>
                  <a:gd name="connsiteX3" fmla="*/ 1031298 w 1509280"/>
                  <a:gd name="connsiteY3" fmla="*/ 167986 h 2516332"/>
                  <a:gd name="connsiteX4" fmla="*/ 532535 w 1509280"/>
                  <a:gd name="connsiteY4" fmla="*/ 770659 h 2516332"/>
                  <a:gd name="connsiteX5" fmla="*/ 490971 w 1509280"/>
                  <a:gd name="connsiteY5" fmla="*/ 978477 h 2516332"/>
                  <a:gd name="connsiteX6" fmla="*/ 927389 w 1509280"/>
                  <a:gd name="connsiteY6" fmla="*/ 791441 h 2516332"/>
                  <a:gd name="connsiteX7" fmla="*/ 445944 w 1509280"/>
                  <a:gd name="connsiteY7" fmla="*/ 1323975 h 2516332"/>
                  <a:gd name="connsiteX8" fmla="*/ 387062 w 1509280"/>
                  <a:gd name="connsiteY8" fmla="*/ 2121477 h 2516332"/>
                  <a:gd name="connsiteX9" fmla="*/ 470189 w 1509280"/>
                  <a:gd name="connsiteY9" fmla="*/ 2370859 h 2516332"/>
                  <a:gd name="connsiteX10" fmla="*/ 1093644 w 1509280"/>
                  <a:gd name="connsiteY10" fmla="*/ 1809750 h 2516332"/>
                  <a:gd name="connsiteX11" fmla="*/ 1509280 w 1509280"/>
                  <a:gd name="connsiteY11" fmla="*/ 1830532 h 2516332"/>
                  <a:gd name="connsiteX12" fmla="*/ 802698 w 1509280"/>
                  <a:gd name="connsiteY12" fmla="*/ 2246168 h 2516332"/>
                  <a:gd name="connsiteX13" fmla="*/ 407844 w 1509280"/>
                  <a:gd name="connsiteY13" fmla="*/ 2516332 h 2516332"/>
                  <a:gd name="connsiteX14" fmla="*/ 0 w 1509280"/>
                  <a:gd name="connsiteY14" fmla="*/ 2452254 h 2516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09280" h="2516332">
                    <a:moveTo>
                      <a:pt x="0" y="2452254"/>
                    </a:moveTo>
                    <a:cubicBezTo>
                      <a:pt x="259773" y="1934440"/>
                      <a:pt x="367146" y="749877"/>
                      <a:pt x="407844" y="22513"/>
                    </a:cubicBezTo>
                    <a:cubicBezTo>
                      <a:pt x="495301" y="0"/>
                      <a:pt x="449407" y="396586"/>
                      <a:pt x="470189" y="583623"/>
                    </a:cubicBezTo>
                    <a:cubicBezTo>
                      <a:pt x="657225" y="445077"/>
                      <a:pt x="949037" y="30307"/>
                      <a:pt x="1031298" y="167986"/>
                    </a:cubicBezTo>
                    <a:cubicBezTo>
                      <a:pt x="798369" y="330777"/>
                      <a:pt x="698789" y="569768"/>
                      <a:pt x="532535" y="770659"/>
                    </a:cubicBezTo>
                    <a:cubicBezTo>
                      <a:pt x="471055" y="887557"/>
                      <a:pt x="447676" y="899679"/>
                      <a:pt x="490971" y="978477"/>
                    </a:cubicBezTo>
                    <a:cubicBezTo>
                      <a:pt x="636444" y="916132"/>
                      <a:pt x="924791" y="672811"/>
                      <a:pt x="927389" y="791441"/>
                    </a:cubicBezTo>
                    <a:cubicBezTo>
                      <a:pt x="916132" y="930852"/>
                      <a:pt x="514351" y="1051214"/>
                      <a:pt x="445944" y="1323975"/>
                    </a:cubicBezTo>
                    <a:cubicBezTo>
                      <a:pt x="410442" y="1589809"/>
                      <a:pt x="393989" y="1865168"/>
                      <a:pt x="387062" y="2121477"/>
                    </a:cubicBezTo>
                    <a:cubicBezTo>
                      <a:pt x="414771" y="2204604"/>
                      <a:pt x="385330" y="2306782"/>
                      <a:pt x="470189" y="2370859"/>
                    </a:cubicBezTo>
                    <a:cubicBezTo>
                      <a:pt x="658957" y="2307648"/>
                      <a:pt x="819151" y="1987261"/>
                      <a:pt x="1093644" y="1809750"/>
                    </a:cubicBezTo>
                    <a:cubicBezTo>
                      <a:pt x="1356014" y="1702377"/>
                      <a:pt x="1485035" y="1737880"/>
                      <a:pt x="1509280" y="1830532"/>
                    </a:cubicBezTo>
                    <a:cubicBezTo>
                      <a:pt x="1435678" y="1978602"/>
                      <a:pt x="1038225" y="2107623"/>
                      <a:pt x="802698" y="2246168"/>
                    </a:cubicBezTo>
                    <a:cubicBezTo>
                      <a:pt x="632980" y="2336223"/>
                      <a:pt x="539462" y="2426277"/>
                      <a:pt x="407844" y="2516332"/>
                    </a:cubicBezTo>
                    <a:cubicBezTo>
                      <a:pt x="252846" y="2374323"/>
                      <a:pt x="145473" y="2479963"/>
                      <a:pt x="0" y="245225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86" name="Freeform 297">
                <a:extLst>
                  <a:ext uri="{FF2B5EF4-FFF2-40B4-BE49-F238E27FC236}">
                    <a16:creationId xmlns:a16="http://schemas.microsoft.com/office/drawing/2014/main" id="{478F395B-ACA0-41E9-9CB4-9AAF43767474}"/>
                  </a:ext>
                </a:extLst>
              </p:cNvPr>
              <p:cNvSpPr/>
              <p:nvPr/>
            </p:nvSpPr>
            <p:spPr>
              <a:xfrm rot="21114987" flipH="1">
                <a:off x="7015982" y="2546090"/>
                <a:ext cx="150302" cy="349405"/>
              </a:xfrm>
              <a:custGeom>
                <a:avLst/>
                <a:gdLst>
                  <a:gd name="connsiteX0" fmla="*/ 58737 w 954087"/>
                  <a:gd name="connsiteY0" fmla="*/ 746125 h 2005012"/>
                  <a:gd name="connsiteX1" fmla="*/ 173037 w 954087"/>
                  <a:gd name="connsiteY1" fmla="*/ 765175 h 2005012"/>
                  <a:gd name="connsiteX2" fmla="*/ 277812 w 954087"/>
                  <a:gd name="connsiteY2" fmla="*/ 612775 h 2005012"/>
                  <a:gd name="connsiteX3" fmla="*/ 515937 w 954087"/>
                  <a:gd name="connsiteY3" fmla="*/ 79375 h 2005012"/>
                  <a:gd name="connsiteX4" fmla="*/ 544512 w 954087"/>
                  <a:gd name="connsiteY4" fmla="*/ 136525 h 2005012"/>
                  <a:gd name="connsiteX5" fmla="*/ 611187 w 954087"/>
                  <a:gd name="connsiteY5" fmla="*/ 374650 h 2005012"/>
                  <a:gd name="connsiteX6" fmla="*/ 649287 w 954087"/>
                  <a:gd name="connsiteY6" fmla="*/ 984250 h 2005012"/>
                  <a:gd name="connsiteX7" fmla="*/ 696912 w 954087"/>
                  <a:gd name="connsiteY7" fmla="*/ 1050925 h 2005012"/>
                  <a:gd name="connsiteX8" fmla="*/ 868362 w 954087"/>
                  <a:gd name="connsiteY8" fmla="*/ 1108075 h 2005012"/>
                  <a:gd name="connsiteX9" fmla="*/ 858837 w 954087"/>
                  <a:gd name="connsiteY9" fmla="*/ 1450975 h 2005012"/>
                  <a:gd name="connsiteX10" fmla="*/ 954087 w 954087"/>
                  <a:gd name="connsiteY10" fmla="*/ 1946275 h 2005012"/>
                  <a:gd name="connsiteX11" fmla="*/ 858837 w 954087"/>
                  <a:gd name="connsiteY11" fmla="*/ 1803400 h 2005012"/>
                  <a:gd name="connsiteX12" fmla="*/ 525462 w 954087"/>
                  <a:gd name="connsiteY12" fmla="*/ 1365250 h 2005012"/>
                  <a:gd name="connsiteX13" fmla="*/ 58737 w 954087"/>
                  <a:gd name="connsiteY13" fmla="*/ 746125 h 2005012"/>
                  <a:gd name="connsiteX0" fmla="*/ 58737 w 1009650"/>
                  <a:gd name="connsiteY0" fmla="*/ 746125 h 1960563"/>
                  <a:gd name="connsiteX1" fmla="*/ 173037 w 1009650"/>
                  <a:gd name="connsiteY1" fmla="*/ 765175 h 1960563"/>
                  <a:gd name="connsiteX2" fmla="*/ 277812 w 1009650"/>
                  <a:gd name="connsiteY2" fmla="*/ 612775 h 1960563"/>
                  <a:gd name="connsiteX3" fmla="*/ 515937 w 1009650"/>
                  <a:gd name="connsiteY3" fmla="*/ 79375 h 1960563"/>
                  <a:gd name="connsiteX4" fmla="*/ 544512 w 1009650"/>
                  <a:gd name="connsiteY4" fmla="*/ 136525 h 1960563"/>
                  <a:gd name="connsiteX5" fmla="*/ 611187 w 1009650"/>
                  <a:gd name="connsiteY5" fmla="*/ 374650 h 1960563"/>
                  <a:gd name="connsiteX6" fmla="*/ 649287 w 1009650"/>
                  <a:gd name="connsiteY6" fmla="*/ 984250 h 1960563"/>
                  <a:gd name="connsiteX7" fmla="*/ 696912 w 1009650"/>
                  <a:gd name="connsiteY7" fmla="*/ 1050925 h 1960563"/>
                  <a:gd name="connsiteX8" fmla="*/ 868362 w 1009650"/>
                  <a:gd name="connsiteY8" fmla="*/ 1108075 h 1960563"/>
                  <a:gd name="connsiteX9" fmla="*/ 858837 w 1009650"/>
                  <a:gd name="connsiteY9" fmla="*/ 1450975 h 1960563"/>
                  <a:gd name="connsiteX10" fmla="*/ 954087 w 1009650"/>
                  <a:gd name="connsiteY10" fmla="*/ 1946275 h 1960563"/>
                  <a:gd name="connsiteX11" fmla="*/ 525462 w 1009650"/>
                  <a:gd name="connsiteY11" fmla="*/ 1365250 h 1960563"/>
                  <a:gd name="connsiteX12" fmla="*/ 58737 w 1009650"/>
                  <a:gd name="connsiteY12" fmla="*/ 746125 h 1960563"/>
                  <a:gd name="connsiteX0" fmla="*/ 58737 w 1009650"/>
                  <a:gd name="connsiteY0" fmla="*/ 746125 h 1960563"/>
                  <a:gd name="connsiteX1" fmla="*/ 173037 w 1009650"/>
                  <a:gd name="connsiteY1" fmla="*/ 765175 h 1960563"/>
                  <a:gd name="connsiteX2" fmla="*/ 277812 w 1009650"/>
                  <a:gd name="connsiteY2" fmla="*/ 612775 h 1960563"/>
                  <a:gd name="connsiteX3" fmla="*/ 515937 w 1009650"/>
                  <a:gd name="connsiteY3" fmla="*/ 79375 h 1960563"/>
                  <a:gd name="connsiteX4" fmla="*/ 544512 w 1009650"/>
                  <a:gd name="connsiteY4" fmla="*/ 136525 h 1960563"/>
                  <a:gd name="connsiteX5" fmla="*/ 611187 w 1009650"/>
                  <a:gd name="connsiteY5" fmla="*/ 374650 h 1960563"/>
                  <a:gd name="connsiteX6" fmla="*/ 649287 w 1009650"/>
                  <a:gd name="connsiteY6" fmla="*/ 984250 h 1960563"/>
                  <a:gd name="connsiteX7" fmla="*/ 696912 w 1009650"/>
                  <a:gd name="connsiteY7" fmla="*/ 1050925 h 1960563"/>
                  <a:gd name="connsiteX8" fmla="*/ 868362 w 1009650"/>
                  <a:gd name="connsiteY8" fmla="*/ 1108075 h 1960563"/>
                  <a:gd name="connsiteX9" fmla="*/ 858837 w 1009650"/>
                  <a:gd name="connsiteY9" fmla="*/ 1450975 h 1960563"/>
                  <a:gd name="connsiteX10" fmla="*/ 954087 w 1009650"/>
                  <a:gd name="connsiteY10" fmla="*/ 1946275 h 1960563"/>
                  <a:gd name="connsiteX11" fmla="*/ 525462 w 1009650"/>
                  <a:gd name="connsiteY11" fmla="*/ 1365250 h 1960563"/>
                  <a:gd name="connsiteX12" fmla="*/ 58737 w 1009650"/>
                  <a:gd name="connsiteY12" fmla="*/ 746125 h 1960563"/>
                  <a:gd name="connsiteX0" fmla="*/ 58737 w 1009650"/>
                  <a:gd name="connsiteY0" fmla="*/ 746125 h 1960563"/>
                  <a:gd name="connsiteX1" fmla="*/ 173037 w 1009650"/>
                  <a:gd name="connsiteY1" fmla="*/ 765175 h 1960563"/>
                  <a:gd name="connsiteX2" fmla="*/ 277812 w 1009650"/>
                  <a:gd name="connsiteY2" fmla="*/ 612775 h 1960563"/>
                  <a:gd name="connsiteX3" fmla="*/ 515937 w 1009650"/>
                  <a:gd name="connsiteY3" fmla="*/ 79375 h 1960563"/>
                  <a:gd name="connsiteX4" fmla="*/ 544512 w 1009650"/>
                  <a:gd name="connsiteY4" fmla="*/ 136525 h 1960563"/>
                  <a:gd name="connsiteX5" fmla="*/ 611187 w 1009650"/>
                  <a:gd name="connsiteY5" fmla="*/ 374650 h 1960563"/>
                  <a:gd name="connsiteX6" fmla="*/ 649287 w 1009650"/>
                  <a:gd name="connsiteY6" fmla="*/ 984250 h 1960563"/>
                  <a:gd name="connsiteX7" fmla="*/ 696912 w 1009650"/>
                  <a:gd name="connsiteY7" fmla="*/ 1050925 h 1960563"/>
                  <a:gd name="connsiteX8" fmla="*/ 868362 w 1009650"/>
                  <a:gd name="connsiteY8" fmla="*/ 1108075 h 1960563"/>
                  <a:gd name="connsiteX9" fmla="*/ 858837 w 1009650"/>
                  <a:gd name="connsiteY9" fmla="*/ 1450975 h 1960563"/>
                  <a:gd name="connsiteX10" fmla="*/ 954087 w 1009650"/>
                  <a:gd name="connsiteY10" fmla="*/ 1946275 h 1960563"/>
                  <a:gd name="connsiteX11" fmla="*/ 525462 w 1009650"/>
                  <a:gd name="connsiteY11" fmla="*/ 1365250 h 1960563"/>
                  <a:gd name="connsiteX12" fmla="*/ 58737 w 1009650"/>
                  <a:gd name="connsiteY12" fmla="*/ 746125 h 1960563"/>
                  <a:gd name="connsiteX0" fmla="*/ 58737 w 1009650"/>
                  <a:gd name="connsiteY0" fmla="*/ 746125 h 2008188"/>
                  <a:gd name="connsiteX1" fmla="*/ 173037 w 1009650"/>
                  <a:gd name="connsiteY1" fmla="*/ 765175 h 2008188"/>
                  <a:gd name="connsiteX2" fmla="*/ 277812 w 1009650"/>
                  <a:gd name="connsiteY2" fmla="*/ 612775 h 2008188"/>
                  <a:gd name="connsiteX3" fmla="*/ 515937 w 1009650"/>
                  <a:gd name="connsiteY3" fmla="*/ 79375 h 2008188"/>
                  <a:gd name="connsiteX4" fmla="*/ 544512 w 1009650"/>
                  <a:gd name="connsiteY4" fmla="*/ 136525 h 2008188"/>
                  <a:gd name="connsiteX5" fmla="*/ 611187 w 1009650"/>
                  <a:gd name="connsiteY5" fmla="*/ 374650 h 2008188"/>
                  <a:gd name="connsiteX6" fmla="*/ 649287 w 1009650"/>
                  <a:gd name="connsiteY6" fmla="*/ 984250 h 2008188"/>
                  <a:gd name="connsiteX7" fmla="*/ 696912 w 1009650"/>
                  <a:gd name="connsiteY7" fmla="*/ 1050925 h 2008188"/>
                  <a:gd name="connsiteX8" fmla="*/ 868362 w 1009650"/>
                  <a:gd name="connsiteY8" fmla="*/ 1108075 h 2008188"/>
                  <a:gd name="connsiteX9" fmla="*/ 858837 w 1009650"/>
                  <a:gd name="connsiteY9" fmla="*/ 1450975 h 2008188"/>
                  <a:gd name="connsiteX10" fmla="*/ 954087 w 1009650"/>
                  <a:gd name="connsiteY10" fmla="*/ 1946275 h 2008188"/>
                  <a:gd name="connsiteX11" fmla="*/ 525462 w 1009650"/>
                  <a:gd name="connsiteY11" fmla="*/ 1365250 h 2008188"/>
                  <a:gd name="connsiteX12" fmla="*/ 58737 w 1009650"/>
                  <a:gd name="connsiteY12" fmla="*/ 746125 h 2008188"/>
                  <a:gd name="connsiteX0" fmla="*/ 58737 w 915987"/>
                  <a:gd name="connsiteY0" fmla="*/ 746125 h 1493838"/>
                  <a:gd name="connsiteX1" fmla="*/ 173037 w 915987"/>
                  <a:gd name="connsiteY1" fmla="*/ 765175 h 1493838"/>
                  <a:gd name="connsiteX2" fmla="*/ 277812 w 915987"/>
                  <a:gd name="connsiteY2" fmla="*/ 612775 h 1493838"/>
                  <a:gd name="connsiteX3" fmla="*/ 515937 w 915987"/>
                  <a:gd name="connsiteY3" fmla="*/ 79375 h 1493838"/>
                  <a:gd name="connsiteX4" fmla="*/ 544512 w 915987"/>
                  <a:gd name="connsiteY4" fmla="*/ 136525 h 1493838"/>
                  <a:gd name="connsiteX5" fmla="*/ 611187 w 915987"/>
                  <a:gd name="connsiteY5" fmla="*/ 374650 h 1493838"/>
                  <a:gd name="connsiteX6" fmla="*/ 649287 w 915987"/>
                  <a:gd name="connsiteY6" fmla="*/ 984250 h 1493838"/>
                  <a:gd name="connsiteX7" fmla="*/ 696912 w 915987"/>
                  <a:gd name="connsiteY7" fmla="*/ 1050925 h 1493838"/>
                  <a:gd name="connsiteX8" fmla="*/ 868362 w 915987"/>
                  <a:gd name="connsiteY8" fmla="*/ 1108075 h 1493838"/>
                  <a:gd name="connsiteX9" fmla="*/ 858837 w 915987"/>
                  <a:gd name="connsiteY9" fmla="*/ 1450975 h 1493838"/>
                  <a:gd name="connsiteX10" fmla="*/ 525462 w 915987"/>
                  <a:gd name="connsiteY10" fmla="*/ 1365250 h 1493838"/>
                  <a:gd name="connsiteX11" fmla="*/ 58737 w 915987"/>
                  <a:gd name="connsiteY11" fmla="*/ 746125 h 1493838"/>
                  <a:gd name="connsiteX0" fmla="*/ 58737 w 884617"/>
                  <a:gd name="connsiteY0" fmla="*/ 746125 h 1444088"/>
                  <a:gd name="connsiteX1" fmla="*/ 173037 w 884617"/>
                  <a:gd name="connsiteY1" fmla="*/ 765175 h 1444088"/>
                  <a:gd name="connsiteX2" fmla="*/ 277812 w 884617"/>
                  <a:gd name="connsiteY2" fmla="*/ 612775 h 1444088"/>
                  <a:gd name="connsiteX3" fmla="*/ 515937 w 884617"/>
                  <a:gd name="connsiteY3" fmla="*/ 79375 h 1444088"/>
                  <a:gd name="connsiteX4" fmla="*/ 544512 w 884617"/>
                  <a:gd name="connsiteY4" fmla="*/ 136525 h 1444088"/>
                  <a:gd name="connsiteX5" fmla="*/ 611187 w 884617"/>
                  <a:gd name="connsiteY5" fmla="*/ 374650 h 1444088"/>
                  <a:gd name="connsiteX6" fmla="*/ 649287 w 884617"/>
                  <a:gd name="connsiteY6" fmla="*/ 984250 h 1444088"/>
                  <a:gd name="connsiteX7" fmla="*/ 696912 w 884617"/>
                  <a:gd name="connsiteY7" fmla="*/ 1050925 h 1444088"/>
                  <a:gd name="connsiteX8" fmla="*/ 868362 w 884617"/>
                  <a:gd name="connsiteY8" fmla="*/ 1108075 h 1444088"/>
                  <a:gd name="connsiteX9" fmla="*/ 794443 w 884617"/>
                  <a:gd name="connsiteY9" fmla="*/ 1219155 h 1444088"/>
                  <a:gd name="connsiteX10" fmla="*/ 525462 w 884617"/>
                  <a:gd name="connsiteY10" fmla="*/ 1365250 h 1444088"/>
                  <a:gd name="connsiteX11" fmla="*/ 58737 w 884617"/>
                  <a:gd name="connsiteY11" fmla="*/ 746125 h 1444088"/>
                  <a:gd name="connsiteX0" fmla="*/ 58737 w 1186443"/>
                  <a:gd name="connsiteY0" fmla="*/ 746125 h 3017971"/>
                  <a:gd name="connsiteX1" fmla="*/ 173037 w 1186443"/>
                  <a:gd name="connsiteY1" fmla="*/ 765175 h 3017971"/>
                  <a:gd name="connsiteX2" fmla="*/ 277812 w 1186443"/>
                  <a:gd name="connsiteY2" fmla="*/ 612775 h 3017971"/>
                  <a:gd name="connsiteX3" fmla="*/ 515937 w 1186443"/>
                  <a:gd name="connsiteY3" fmla="*/ 79375 h 3017971"/>
                  <a:gd name="connsiteX4" fmla="*/ 544512 w 1186443"/>
                  <a:gd name="connsiteY4" fmla="*/ 136525 h 3017971"/>
                  <a:gd name="connsiteX5" fmla="*/ 611187 w 1186443"/>
                  <a:gd name="connsiteY5" fmla="*/ 374650 h 3017971"/>
                  <a:gd name="connsiteX6" fmla="*/ 649287 w 1186443"/>
                  <a:gd name="connsiteY6" fmla="*/ 984250 h 3017971"/>
                  <a:gd name="connsiteX7" fmla="*/ 696912 w 1186443"/>
                  <a:gd name="connsiteY7" fmla="*/ 1050925 h 3017971"/>
                  <a:gd name="connsiteX8" fmla="*/ 868362 w 1186443"/>
                  <a:gd name="connsiteY8" fmla="*/ 1108075 h 3017971"/>
                  <a:gd name="connsiteX9" fmla="*/ 794443 w 1186443"/>
                  <a:gd name="connsiteY9" fmla="*/ 1219155 h 3017971"/>
                  <a:gd name="connsiteX10" fmla="*/ 525462 w 1186443"/>
                  <a:gd name="connsiteY10" fmla="*/ 1365250 h 3017971"/>
                  <a:gd name="connsiteX11" fmla="*/ 58737 w 1186443"/>
                  <a:gd name="connsiteY11" fmla="*/ 746125 h 3017971"/>
                  <a:gd name="connsiteX0" fmla="*/ 58737 w 1186443"/>
                  <a:gd name="connsiteY0" fmla="*/ 746125 h 3017971"/>
                  <a:gd name="connsiteX1" fmla="*/ 173037 w 1186443"/>
                  <a:gd name="connsiteY1" fmla="*/ 765175 h 3017971"/>
                  <a:gd name="connsiteX2" fmla="*/ 277812 w 1186443"/>
                  <a:gd name="connsiteY2" fmla="*/ 612775 h 3017971"/>
                  <a:gd name="connsiteX3" fmla="*/ 515937 w 1186443"/>
                  <a:gd name="connsiteY3" fmla="*/ 79375 h 3017971"/>
                  <a:gd name="connsiteX4" fmla="*/ 544512 w 1186443"/>
                  <a:gd name="connsiteY4" fmla="*/ 136525 h 3017971"/>
                  <a:gd name="connsiteX5" fmla="*/ 611187 w 1186443"/>
                  <a:gd name="connsiteY5" fmla="*/ 374650 h 3017971"/>
                  <a:gd name="connsiteX6" fmla="*/ 649287 w 1186443"/>
                  <a:gd name="connsiteY6" fmla="*/ 984250 h 3017971"/>
                  <a:gd name="connsiteX7" fmla="*/ 696912 w 1186443"/>
                  <a:gd name="connsiteY7" fmla="*/ 1050925 h 3017971"/>
                  <a:gd name="connsiteX8" fmla="*/ 868362 w 1186443"/>
                  <a:gd name="connsiteY8" fmla="*/ 1108075 h 3017971"/>
                  <a:gd name="connsiteX9" fmla="*/ 794443 w 1186443"/>
                  <a:gd name="connsiteY9" fmla="*/ 1219155 h 3017971"/>
                  <a:gd name="connsiteX10" fmla="*/ 525462 w 1186443"/>
                  <a:gd name="connsiteY10" fmla="*/ 1365250 h 3017971"/>
                  <a:gd name="connsiteX11" fmla="*/ 58737 w 1186443"/>
                  <a:gd name="connsiteY11" fmla="*/ 746125 h 3017971"/>
                  <a:gd name="connsiteX0" fmla="*/ 58737 w 1186443"/>
                  <a:gd name="connsiteY0" fmla="*/ 746125 h 3017971"/>
                  <a:gd name="connsiteX1" fmla="*/ 173037 w 1186443"/>
                  <a:gd name="connsiteY1" fmla="*/ 765175 h 3017971"/>
                  <a:gd name="connsiteX2" fmla="*/ 277812 w 1186443"/>
                  <a:gd name="connsiteY2" fmla="*/ 612775 h 3017971"/>
                  <a:gd name="connsiteX3" fmla="*/ 515937 w 1186443"/>
                  <a:gd name="connsiteY3" fmla="*/ 79375 h 3017971"/>
                  <a:gd name="connsiteX4" fmla="*/ 544512 w 1186443"/>
                  <a:gd name="connsiteY4" fmla="*/ 136525 h 3017971"/>
                  <a:gd name="connsiteX5" fmla="*/ 611187 w 1186443"/>
                  <a:gd name="connsiteY5" fmla="*/ 374650 h 3017971"/>
                  <a:gd name="connsiteX6" fmla="*/ 649287 w 1186443"/>
                  <a:gd name="connsiteY6" fmla="*/ 984250 h 3017971"/>
                  <a:gd name="connsiteX7" fmla="*/ 696912 w 1186443"/>
                  <a:gd name="connsiteY7" fmla="*/ 1050925 h 3017971"/>
                  <a:gd name="connsiteX8" fmla="*/ 868362 w 1186443"/>
                  <a:gd name="connsiteY8" fmla="*/ 1108075 h 3017971"/>
                  <a:gd name="connsiteX9" fmla="*/ 794443 w 1186443"/>
                  <a:gd name="connsiteY9" fmla="*/ 1219155 h 3017971"/>
                  <a:gd name="connsiteX10" fmla="*/ 525462 w 1186443"/>
                  <a:gd name="connsiteY10" fmla="*/ 1365250 h 3017971"/>
                  <a:gd name="connsiteX11" fmla="*/ 58737 w 1186443"/>
                  <a:gd name="connsiteY11" fmla="*/ 746125 h 3017971"/>
                  <a:gd name="connsiteX0" fmla="*/ 35126 w 1162832"/>
                  <a:gd name="connsiteY0" fmla="*/ 746125 h 3017971"/>
                  <a:gd name="connsiteX1" fmla="*/ 149426 w 1162832"/>
                  <a:gd name="connsiteY1" fmla="*/ 765175 h 3017971"/>
                  <a:gd name="connsiteX2" fmla="*/ 254201 w 1162832"/>
                  <a:gd name="connsiteY2" fmla="*/ 612775 h 3017971"/>
                  <a:gd name="connsiteX3" fmla="*/ 492326 w 1162832"/>
                  <a:gd name="connsiteY3" fmla="*/ 79375 h 3017971"/>
                  <a:gd name="connsiteX4" fmla="*/ 520901 w 1162832"/>
                  <a:gd name="connsiteY4" fmla="*/ 136525 h 3017971"/>
                  <a:gd name="connsiteX5" fmla="*/ 587576 w 1162832"/>
                  <a:gd name="connsiteY5" fmla="*/ 374650 h 3017971"/>
                  <a:gd name="connsiteX6" fmla="*/ 625676 w 1162832"/>
                  <a:gd name="connsiteY6" fmla="*/ 984250 h 3017971"/>
                  <a:gd name="connsiteX7" fmla="*/ 673301 w 1162832"/>
                  <a:gd name="connsiteY7" fmla="*/ 1050925 h 3017971"/>
                  <a:gd name="connsiteX8" fmla="*/ 844751 w 1162832"/>
                  <a:gd name="connsiteY8" fmla="*/ 1108075 h 3017971"/>
                  <a:gd name="connsiteX9" fmla="*/ 770832 w 1162832"/>
                  <a:gd name="connsiteY9" fmla="*/ 1219155 h 3017971"/>
                  <a:gd name="connsiteX10" fmla="*/ 360184 w 1162832"/>
                  <a:gd name="connsiteY10" fmla="*/ 1197824 h 3017971"/>
                  <a:gd name="connsiteX11" fmla="*/ 35126 w 1162832"/>
                  <a:gd name="connsiteY11" fmla="*/ 746125 h 3017971"/>
                  <a:gd name="connsiteX0" fmla="*/ 35126 w 1162832"/>
                  <a:gd name="connsiteY0" fmla="*/ 746125 h 3017971"/>
                  <a:gd name="connsiteX1" fmla="*/ 149426 w 1162832"/>
                  <a:gd name="connsiteY1" fmla="*/ 765175 h 3017971"/>
                  <a:gd name="connsiteX2" fmla="*/ 254201 w 1162832"/>
                  <a:gd name="connsiteY2" fmla="*/ 612775 h 3017971"/>
                  <a:gd name="connsiteX3" fmla="*/ 492326 w 1162832"/>
                  <a:gd name="connsiteY3" fmla="*/ 79375 h 3017971"/>
                  <a:gd name="connsiteX4" fmla="*/ 520901 w 1162832"/>
                  <a:gd name="connsiteY4" fmla="*/ 136525 h 3017971"/>
                  <a:gd name="connsiteX5" fmla="*/ 587576 w 1162832"/>
                  <a:gd name="connsiteY5" fmla="*/ 374650 h 3017971"/>
                  <a:gd name="connsiteX6" fmla="*/ 625676 w 1162832"/>
                  <a:gd name="connsiteY6" fmla="*/ 984250 h 3017971"/>
                  <a:gd name="connsiteX7" fmla="*/ 673301 w 1162832"/>
                  <a:gd name="connsiteY7" fmla="*/ 1050925 h 3017971"/>
                  <a:gd name="connsiteX8" fmla="*/ 844751 w 1162832"/>
                  <a:gd name="connsiteY8" fmla="*/ 1108075 h 3017971"/>
                  <a:gd name="connsiteX9" fmla="*/ 770832 w 1162832"/>
                  <a:gd name="connsiteY9" fmla="*/ 1219155 h 3017971"/>
                  <a:gd name="connsiteX10" fmla="*/ 360184 w 1162832"/>
                  <a:gd name="connsiteY10" fmla="*/ 1197824 h 3017971"/>
                  <a:gd name="connsiteX11" fmla="*/ 35126 w 1162832"/>
                  <a:gd name="connsiteY11" fmla="*/ 746125 h 3017971"/>
                  <a:gd name="connsiteX0" fmla="*/ 35126 w 1162832"/>
                  <a:gd name="connsiteY0" fmla="*/ 746125 h 3017971"/>
                  <a:gd name="connsiteX1" fmla="*/ 149426 w 1162832"/>
                  <a:gd name="connsiteY1" fmla="*/ 765175 h 3017971"/>
                  <a:gd name="connsiteX2" fmla="*/ 254201 w 1162832"/>
                  <a:gd name="connsiteY2" fmla="*/ 612775 h 3017971"/>
                  <a:gd name="connsiteX3" fmla="*/ 492326 w 1162832"/>
                  <a:gd name="connsiteY3" fmla="*/ 79375 h 3017971"/>
                  <a:gd name="connsiteX4" fmla="*/ 520901 w 1162832"/>
                  <a:gd name="connsiteY4" fmla="*/ 136525 h 3017971"/>
                  <a:gd name="connsiteX5" fmla="*/ 587576 w 1162832"/>
                  <a:gd name="connsiteY5" fmla="*/ 374650 h 3017971"/>
                  <a:gd name="connsiteX6" fmla="*/ 625676 w 1162832"/>
                  <a:gd name="connsiteY6" fmla="*/ 984250 h 3017971"/>
                  <a:gd name="connsiteX7" fmla="*/ 673301 w 1162832"/>
                  <a:gd name="connsiteY7" fmla="*/ 1050925 h 3017971"/>
                  <a:gd name="connsiteX8" fmla="*/ 844751 w 1162832"/>
                  <a:gd name="connsiteY8" fmla="*/ 1108075 h 3017971"/>
                  <a:gd name="connsiteX9" fmla="*/ 770832 w 1162832"/>
                  <a:gd name="connsiteY9" fmla="*/ 1219155 h 3017971"/>
                  <a:gd name="connsiteX10" fmla="*/ 360184 w 1162832"/>
                  <a:gd name="connsiteY10" fmla="*/ 1197824 h 3017971"/>
                  <a:gd name="connsiteX11" fmla="*/ 35126 w 1162832"/>
                  <a:gd name="connsiteY11" fmla="*/ 746125 h 3017971"/>
                  <a:gd name="connsiteX0" fmla="*/ 35126 w 1162832"/>
                  <a:gd name="connsiteY0" fmla="*/ 746125 h 3017971"/>
                  <a:gd name="connsiteX1" fmla="*/ 149426 w 1162832"/>
                  <a:gd name="connsiteY1" fmla="*/ 765175 h 3017971"/>
                  <a:gd name="connsiteX2" fmla="*/ 254201 w 1162832"/>
                  <a:gd name="connsiteY2" fmla="*/ 612775 h 3017971"/>
                  <a:gd name="connsiteX3" fmla="*/ 492326 w 1162832"/>
                  <a:gd name="connsiteY3" fmla="*/ 79375 h 3017971"/>
                  <a:gd name="connsiteX4" fmla="*/ 520901 w 1162832"/>
                  <a:gd name="connsiteY4" fmla="*/ 136525 h 3017971"/>
                  <a:gd name="connsiteX5" fmla="*/ 587576 w 1162832"/>
                  <a:gd name="connsiteY5" fmla="*/ 374650 h 3017971"/>
                  <a:gd name="connsiteX6" fmla="*/ 625676 w 1162832"/>
                  <a:gd name="connsiteY6" fmla="*/ 984250 h 3017971"/>
                  <a:gd name="connsiteX7" fmla="*/ 673301 w 1162832"/>
                  <a:gd name="connsiteY7" fmla="*/ 1050925 h 3017971"/>
                  <a:gd name="connsiteX8" fmla="*/ 844751 w 1162832"/>
                  <a:gd name="connsiteY8" fmla="*/ 1108075 h 3017971"/>
                  <a:gd name="connsiteX9" fmla="*/ 770832 w 1162832"/>
                  <a:gd name="connsiteY9" fmla="*/ 1219155 h 3017971"/>
                  <a:gd name="connsiteX10" fmla="*/ 360184 w 1162832"/>
                  <a:gd name="connsiteY10" fmla="*/ 1197824 h 3017971"/>
                  <a:gd name="connsiteX11" fmla="*/ 35126 w 1162832"/>
                  <a:gd name="connsiteY11" fmla="*/ 746125 h 3017971"/>
                  <a:gd name="connsiteX0" fmla="*/ 35126 w 1162832"/>
                  <a:gd name="connsiteY0" fmla="*/ 746125 h 3017971"/>
                  <a:gd name="connsiteX1" fmla="*/ 149426 w 1162832"/>
                  <a:gd name="connsiteY1" fmla="*/ 765175 h 3017971"/>
                  <a:gd name="connsiteX2" fmla="*/ 254201 w 1162832"/>
                  <a:gd name="connsiteY2" fmla="*/ 612775 h 3017971"/>
                  <a:gd name="connsiteX3" fmla="*/ 492326 w 1162832"/>
                  <a:gd name="connsiteY3" fmla="*/ 79375 h 3017971"/>
                  <a:gd name="connsiteX4" fmla="*/ 520901 w 1162832"/>
                  <a:gd name="connsiteY4" fmla="*/ 136525 h 3017971"/>
                  <a:gd name="connsiteX5" fmla="*/ 587576 w 1162832"/>
                  <a:gd name="connsiteY5" fmla="*/ 374650 h 3017971"/>
                  <a:gd name="connsiteX6" fmla="*/ 625676 w 1162832"/>
                  <a:gd name="connsiteY6" fmla="*/ 984250 h 3017971"/>
                  <a:gd name="connsiteX7" fmla="*/ 673301 w 1162832"/>
                  <a:gd name="connsiteY7" fmla="*/ 1050925 h 3017971"/>
                  <a:gd name="connsiteX8" fmla="*/ 844751 w 1162832"/>
                  <a:gd name="connsiteY8" fmla="*/ 1108075 h 3017971"/>
                  <a:gd name="connsiteX9" fmla="*/ 770832 w 1162832"/>
                  <a:gd name="connsiteY9" fmla="*/ 1219155 h 3017971"/>
                  <a:gd name="connsiteX10" fmla="*/ 360184 w 1162832"/>
                  <a:gd name="connsiteY10" fmla="*/ 1197824 h 3017971"/>
                  <a:gd name="connsiteX11" fmla="*/ 35126 w 1162832"/>
                  <a:gd name="connsiteY11" fmla="*/ 746125 h 3017971"/>
                  <a:gd name="connsiteX0" fmla="*/ 35126 w 1301821"/>
                  <a:gd name="connsiteY0" fmla="*/ 746125 h 2937504"/>
                  <a:gd name="connsiteX1" fmla="*/ 149426 w 1301821"/>
                  <a:gd name="connsiteY1" fmla="*/ 765175 h 2937504"/>
                  <a:gd name="connsiteX2" fmla="*/ 254201 w 1301821"/>
                  <a:gd name="connsiteY2" fmla="*/ 612775 h 2937504"/>
                  <a:gd name="connsiteX3" fmla="*/ 492326 w 1301821"/>
                  <a:gd name="connsiteY3" fmla="*/ 79375 h 2937504"/>
                  <a:gd name="connsiteX4" fmla="*/ 520901 w 1301821"/>
                  <a:gd name="connsiteY4" fmla="*/ 136525 h 2937504"/>
                  <a:gd name="connsiteX5" fmla="*/ 587576 w 1301821"/>
                  <a:gd name="connsiteY5" fmla="*/ 374650 h 2937504"/>
                  <a:gd name="connsiteX6" fmla="*/ 625676 w 1301821"/>
                  <a:gd name="connsiteY6" fmla="*/ 984250 h 2937504"/>
                  <a:gd name="connsiteX7" fmla="*/ 673301 w 1301821"/>
                  <a:gd name="connsiteY7" fmla="*/ 1050925 h 2937504"/>
                  <a:gd name="connsiteX8" fmla="*/ 844751 w 1301821"/>
                  <a:gd name="connsiteY8" fmla="*/ 1108075 h 2937504"/>
                  <a:gd name="connsiteX9" fmla="*/ 770832 w 1301821"/>
                  <a:gd name="connsiteY9" fmla="*/ 1219155 h 2937504"/>
                  <a:gd name="connsiteX10" fmla="*/ 360184 w 1301821"/>
                  <a:gd name="connsiteY10" fmla="*/ 1197824 h 2937504"/>
                  <a:gd name="connsiteX11" fmla="*/ 35126 w 1301821"/>
                  <a:gd name="connsiteY11" fmla="*/ 746125 h 2937504"/>
                  <a:gd name="connsiteX0" fmla="*/ 35126 w 970303"/>
                  <a:gd name="connsiteY0" fmla="*/ 746125 h 1671723"/>
                  <a:gd name="connsiteX1" fmla="*/ 149426 w 970303"/>
                  <a:gd name="connsiteY1" fmla="*/ 765175 h 1671723"/>
                  <a:gd name="connsiteX2" fmla="*/ 254201 w 970303"/>
                  <a:gd name="connsiteY2" fmla="*/ 612775 h 1671723"/>
                  <a:gd name="connsiteX3" fmla="*/ 492326 w 970303"/>
                  <a:gd name="connsiteY3" fmla="*/ 79375 h 1671723"/>
                  <a:gd name="connsiteX4" fmla="*/ 520901 w 970303"/>
                  <a:gd name="connsiteY4" fmla="*/ 136525 h 1671723"/>
                  <a:gd name="connsiteX5" fmla="*/ 587576 w 970303"/>
                  <a:gd name="connsiteY5" fmla="*/ 374650 h 1671723"/>
                  <a:gd name="connsiteX6" fmla="*/ 625676 w 970303"/>
                  <a:gd name="connsiteY6" fmla="*/ 984250 h 1671723"/>
                  <a:gd name="connsiteX7" fmla="*/ 673301 w 970303"/>
                  <a:gd name="connsiteY7" fmla="*/ 1050925 h 1671723"/>
                  <a:gd name="connsiteX8" fmla="*/ 844751 w 970303"/>
                  <a:gd name="connsiteY8" fmla="*/ 1108075 h 1671723"/>
                  <a:gd name="connsiteX9" fmla="*/ 957983 w 970303"/>
                  <a:gd name="connsiteY9" fmla="*/ 1653210 h 1671723"/>
                  <a:gd name="connsiteX10" fmla="*/ 770832 w 970303"/>
                  <a:gd name="connsiteY10" fmla="*/ 1219155 h 1671723"/>
                  <a:gd name="connsiteX11" fmla="*/ 360184 w 970303"/>
                  <a:gd name="connsiteY11" fmla="*/ 1197824 h 1671723"/>
                  <a:gd name="connsiteX12" fmla="*/ 35126 w 970303"/>
                  <a:gd name="connsiteY12" fmla="*/ 746125 h 1671723"/>
                  <a:gd name="connsiteX0" fmla="*/ 35126 w 1087346"/>
                  <a:gd name="connsiteY0" fmla="*/ 746125 h 2388163"/>
                  <a:gd name="connsiteX1" fmla="*/ 149426 w 1087346"/>
                  <a:gd name="connsiteY1" fmla="*/ 765175 h 2388163"/>
                  <a:gd name="connsiteX2" fmla="*/ 254201 w 1087346"/>
                  <a:gd name="connsiteY2" fmla="*/ 612775 h 2388163"/>
                  <a:gd name="connsiteX3" fmla="*/ 492326 w 1087346"/>
                  <a:gd name="connsiteY3" fmla="*/ 79375 h 2388163"/>
                  <a:gd name="connsiteX4" fmla="*/ 520901 w 1087346"/>
                  <a:gd name="connsiteY4" fmla="*/ 136525 h 2388163"/>
                  <a:gd name="connsiteX5" fmla="*/ 587576 w 1087346"/>
                  <a:gd name="connsiteY5" fmla="*/ 374650 h 2388163"/>
                  <a:gd name="connsiteX6" fmla="*/ 625676 w 1087346"/>
                  <a:gd name="connsiteY6" fmla="*/ 984250 h 2388163"/>
                  <a:gd name="connsiteX7" fmla="*/ 673301 w 1087346"/>
                  <a:gd name="connsiteY7" fmla="*/ 1050925 h 2388163"/>
                  <a:gd name="connsiteX8" fmla="*/ 844751 w 1087346"/>
                  <a:gd name="connsiteY8" fmla="*/ 1108075 h 2388163"/>
                  <a:gd name="connsiteX9" fmla="*/ 957983 w 1087346"/>
                  <a:gd name="connsiteY9" fmla="*/ 1653210 h 2388163"/>
                  <a:gd name="connsiteX10" fmla="*/ 770832 w 1087346"/>
                  <a:gd name="connsiteY10" fmla="*/ 1219155 h 2388163"/>
                  <a:gd name="connsiteX11" fmla="*/ 360184 w 1087346"/>
                  <a:gd name="connsiteY11" fmla="*/ 1197824 h 2388163"/>
                  <a:gd name="connsiteX12" fmla="*/ 35126 w 1087346"/>
                  <a:gd name="connsiteY12" fmla="*/ 746125 h 2388163"/>
                  <a:gd name="connsiteX0" fmla="*/ 35126 w 1097023"/>
                  <a:gd name="connsiteY0" fmla="*/ 746125 h 2388163"/>
                  <a:gd name="connsiteX1" fmla="*/ 149426 w 1097023"/>
                  <a:gd name="connsiteY1" fmla="*/ 765175 h 2388163"/>
                  <a:gd name="connsiteX2" fmla="*/ 254201 w 1097023"/>
                  <a:gd name="connsiteY2" fmla="*/ 612775 h 2388163"/>
                  <a:gd name="connsiteX3" fmla="*/ 492326 w 1097023"/>
                  <a:gd name="connsiteY3" fmla="*/ 79375 h 2388163"/>
                  <a:gd name="connsiteX4" fmla="*/ 520901 w 1097023"/>
                  <a:gd name="connsiteY4" fmla="*/ 136525 h 2388163"/>
                  <a:gd name="connsiteX5" fmla="*/ 587576 w 1097023"/>
                  <a:gd name="connsiteY5" fmla="*/ 374650 h 2388163"/>
                  <a:gd name="connsiteX6" fmla="*/ 625676 w 1097023"/>
                  <a:gd name="connsiteY6" fmla="*/ 984250 h 2388163"/>
                  <a:gd name="connsiteX7" fmla="*/ 673301 w 1097023"/>
                  <a:gd name="connsiteY7" fmla="*/ 1050925 h 2388163"/>
                  <a:gd name="connsiteX8" fmla="*/ 844751 w 1097023"/>
                  <a:gd name="connsiteY8" fmla="*/ 1108075 h 2388163"/>
                  <a:gd name="connsiteX9" fmla="*/ 957983 w 1097023"/>
                  <a:gd name="connsiteY9" fmla="*/ 1653210 h 2388163"/>
                  <a:gd name="connsiteX10" fmla="*/ 770832 w 1097023"/>
                  <a:gd name="connsiteY10" fmla="*/ 1219155 h 2388163"/>
                  <a:gd name="connsiteX11" fmla="*/ 360184 w 1097023"/>
                  <a:gd name="connsiteY11" fmla="*/ 1197824 h 2388163"/>
                  <a:gd name="connsiteX12" fmla="*/ 35126 w 1097023"/>
                  <a:gd name="connsiteY12" fmla="*/ 746125 h 2388163"/>
                  <a:gd name="connsiteX0" fmla="*/ 35126 w 1087346"/>
                  <a:gd name="connsiteY0" fmla="*/ 746125 h 2388163"/>
                  <a:gd name="connsiteX1" fmla="*/ 149426 w 1087346"/>
                  <a:gd name="connsiteY1" fmla="*/ 765175 h 2388163"/>
                  <a:gd name="connsiteX2" fmla="*/ 254201 w 1087346"/>
                  <a:gd name="connsiteY2" fmla="*/ 612775 h 2388163"/>
                  <a:gd name="connsiteX3" fmla="*/ 492326 w 1087346"/>
                  <a:gd name="connsiteY3" fmla="*/ 79375 h 2388163"/>
                  <a:gd name="connsiteX4" fmla="*/ 520901 w 1087346"/>
                  <a:gd name="connsiteY4" fmla="*/ 136525 h 2388163"/>
                  <a:gd name="connsiteX5" fmla="*/ 587576 w 1087346"/>
                  <a:gd name="connsiteY5" fmla="*/ 374650 h 2388163"/>
                  <a:gd name="connsiteX6" fmla="*/ 625676 w 1087346"/>
                  <a:gd name="connsiteY6" fmla="*/ 984250 h 2388163"/>
                  <a:gd name="connsiteX7" fmla="*/ 673301 w 1087346"/>
                  <a:gd name="connsiteY7" fmla="*/ 1050925 h 2388163"/>
                  <a:gd name="connsiteX8" fmla="*/ 844751 w 1087346"/>
                  <a:gd name="connsiteY8" fmla="*/ 1108075 h 2388163"/>
                  <a:gd name="connsiteX9" fmla="*/ 957983 w 1087346"/>
                  <a:gd name="connsiteY9" fmla="*/ 1653210 h 2388163"/>
                  <a:gd name="connsiteX10" fmla="*/ 770832 w 1087346"/>
                  <a:gd name="connsiteY10" fmla="*/ 1219155 h 2388163"/>
                  <a:gd name="connsiteX11" fmla="*/ 360184 w 1087346"/>
                  <a:gd name="connsiteY11" fmla="*/ 1197824 h 2388163"/>
                  <a:gd name="connsiteX12" fmla="*/ 35126 w 1087346"/>
                  <a:gd name="connsiteY12" fmla="*/ 746125 h 2388163"/>
                  <a:gd name="connsiteX0" fmla="*/ 35126 w 1284857"/>
                  <a:gd name="connsiteY0" fmla="*/ 746125 h 2951433"/>
                  <a:gd name="connsiteX1" fmla="*/ 149426 w 1284857"/>
                  <a:gd name="connsiteY1" fmla="*/ 765175 h 2951433"/>
                  <a:gd name="connsiteX2" fmla="*/ 254201 w 1284857"/>
                  <a:gd name="connsiteY2" fmla="*/ 612775 h 2951433"/>
                  <a:gd name="connsiteX3" fmla="*/ 492326 w 1284857"/>
                  <a:gd name="connsiteY3" fmla="*/ 79375 h 2951433"/>
                  <a:gd name="connsiteX4" fmla="*/ 520901 w 1284857"/>
                  <a:gd name="connsiteY4" fmla="*/ 136525 h 2951433"/>
                  <a:gd name="connsiteX5" fmla="*/ 587576 w 1284857"/>
                  <a:gd name="connsiteY5" fmla="*/ 374650 h 2951433"/>
                  <a:gd name="connsiteX6" fmla="*/ 625676 w 1284857"/>
                  <a:gd name="connsiteY6" fmla="*/ 984250 h 2951433"/>
                  <a:gd name="connsiteX7" fmla="*/ 673301 w 1284857"/>
                  <a:gd name="connsiteY7" fmla="*/ 1050925 h 2951433"/>
                  <a:gd name="connsiteX8" fmla="*/ 844751 w 1284857"/>
                  <a:gd name="connsiteY8" fmla="*/ 1108075 h 2951433"/>
                  <a:gd name="connsiteX9" fmla="*/ 957983 w 1284857"/>
                  <a:gd name="connsiteY9" fmla="*/ 1653210 h 2951433"/>
                  <a:gd name="connsiteX10" fmla="*/ 770832 w 1284857"/>
                  <a:gd name="connsiteY10" fmla="*/ 1219155 h 2951433"/>
                  <a:gd name="connsiteX11" fmla="*/ 360184 w 1284857"/>
                  <a:gd name="connsiteY11" fmla="*/ 1197824 h 2951433"/>
                  <a:gd name="connsiteX12" fmla="*/ 35126 w 1284857"/>
                  <a:gd name="connsiteY12" fmla="*/ 746125 h 295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84857" h="2951433">
                    <a:moveTo>
                      <a:pt x="35126" y="746125"/>
                    </a:moveTo>
                    <a:cubicBezTo>
                      <a:pt x="0" y="674017"/>
                      <a:pt x="112914" y="787400"/>
                      <a:pt x="149426" y="765175"/>
                    </a:cubicBezTo>
                    <a:cubicBezTo>
                      <a:pt x="185938" y="742950"/>
                      <a:pt x="197051" y="727075"/>
                      <a:pt x="254201" y="612775"/>
                    </a:cubicBezTo>
                    <a:cubicBezTo>
                      <a:pt x="311351" y="498475"/>
                      <a:pt x="447876" y="158750"/>
                      <a:pt x="492326" y="79375"/>
                    </a:cubicBezTo>
                    <a:cubicBezTo>
                      <a:pt x="536776" y="0"/>
                      <a:pt x="505026" y="87313"/>
                      <a:pt x="520901" y="136525"/>
                    </a:cubicBezTo>
                    <a:cubicBezTo>
                      <a:pt x="536776" y="185737"/>
                      <a:pt x="570113" y="233362"/>
                      <a:pt x="587576" y="374650"/>
                    </a:cubicBezTo>
                    <a:cubicBezTo>
                      <a:pt x="605039" y="515938"/>
                      <a:pt x="611389" y="871538"/>
                      <a:pt x="625676" y="984250"/>
                    </a:cubicBezTo>
                    <a:cubicBezTo>
                      <a:pt x="639963" y="1096962"/>
                      <a:pt x="636789" y="1030288"/>
                      <a:pt x="673301" y="1050925"/>
                    </a:cubicBezTo>
                    <a:cubicBezTo>
                      <a:pt x="709814" y="1071563"/>
                      <a:pt x="797304" y="1007694"/>
                      <a:pt x="844751" y="1108075"/>
                    </a:cubicBezTo>
                    <a:cubicBezTo>
                      <a:pt x="1045817" y="1566901"/>
                      <a:pt x="1284857" y="2951433"/>
                      <a:pt x="957983" y="1653210"/>
                    </a:cubicBezTo>
                    <a:cubicBezTo>
                      <a:pt x="945663" y="1671723"/>
                      <a:pt x="861931" y="1295053"/>
                      <a:pt x="770832" y="1219155"/>
                    </a:cubicBezTo>
                    <a:cubicBezTo>
                      <a:pt x="526939" y="1146108"/>
                      <a:pt x="482803" y="1270223"/>
                      <a:pt x="360184" y="1197824"/>
                    </a:cubicBezTo>
                    <a:cubicBezTo>
                      <a:pt x="295521" y="1118986"/>
                      <a:pt x="70252" y="818233"/>
                      <a:pt x="35126" y="74612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87" name="Freeform 298">
                <a:extLst>
                  <a:ext uri="{FF2B5EF4-FFF2-40B4-BE49-F238E27FC236}">
                    <a16:creationId xmlns:a16="http://schemas.microsoft.com/office/drawing/2014/main" id="{6ACCD94D-4A4B-4C0E-A855-39917FA81F9D}"/>
                  </a:ext>
                </a:extLst>
              </p:cNvPr>
              <p:cNvSpPr/>
              <p:nvPr/>
            </p:nvSpPr>
            <p:spPr>
              <a:xfrm rot="21114987" flipH="1">
                <a:off x="6977906" y="2526773"/>
                <a:ext cx="72873" cy="157261"/>
              </a:xfrm>
              <a:custGeom>
                <a:avLst/>
                <a:gdLst>
                  <a:gd name="connsiteX0" fmla="*/ 631825 w 649287"/>
                  <a:gd name="connsiteY0" fmla="*/ 693737 h 1338262"/>
                  <a:gd name="connsiteX1" fmla="*/ 508000 w 649287"/>
                  <a:gd name="connsiteY1" fmla="*/ 617537 h 1338262"/>
                  <a:gd name="connsiteX2" fmla="*/ 107950 w 649287"/>
                  <a:gd name="connsiteY2" fmla="*/ 84137 h 1338262"/>
                  <a:gd name="connsiteX3" fmla="*/ 3175 w 649287"/>
                  <a:gd name="connsiteY3" fmla="*/ 112712 h 1338262"/>
                  <a:gd name="connsiteX4" fmla="*/ 127000 w 649287"/>
                  <a:gd name="connsiteY4" fmla="*/ 227012 h 1338262"/>
                  <a:gd name="connsiteX5" fmla="*/ 288925 w 649287"/>
                  <a:gd name="connsiteY5" fmla="*/ 474662 h 1338262"/>
                  <a:gd name="connsiteX6" fmla="*/ 250825 w 649287"/>
                  <a:gd name="connsiteY6" fmla="*/ 531812 h 1338262"/>
                  <a:gd name="connsiteX7" fmla="*/ 127000 w 649287"/>
                  <a:gd name="connsiteY7" fmla="*/ 998537 h 1338262"/>
                  <a:gd name="connsiteX8" fmla="*/ 79375 w 649287"/>
                  <a:gd name="connsiteY8" fmla="*/ 1265237 h 1338262"/>
                  <a:gd name="connsiteX9" fmla="*/ 203200 w 649287"/>
                  <a:gd name="connsiteY9" fmla="*/ 1284287 h 1338262"/>
                  <a:gd name="connsiteX10" fmla="*/ 346075 w 649287"/>
                  <a:gd name="connsiteY10" fmla="*/ 941387 h 1338262"/>
                  <a:gd name="connsiteX11" fmla="*/ 441325 w 649287"/>
                  <a:gd name="connsiteY11" fmla="*/ 912812 h 1338262"/>
                  <a:gd name="connsiteX12" fmla="*/ 612775 w 649287"/>
                  <a:gd name="connsiteY12" fmla="*/ 998537 h 1338262"/>
                  <a:gd name="connsiteX13" fmla="*/ 631825 w 649287"/>
                  <a:gd name="connsiteY13" fmla="*/ 693737 h 1338262"/>
                  <a:gd name="connsiteX0" fmla="*/ 631825 w 649287"/>
                  <a:gd name="connsiteY0" fmla="*/ 693737 h 1338262"/>
                  <a:gd name="connsiteX1" fmla="*/ 508000 w 649287"/>
                  <a:gd name="connsiteY1" fmla="*/ 617537 h 1338262"/>
                  <a:gd name="connsiteX2" fmla="*/ 107950 w 649287"/>
                  <a:gd name="connsiteY2" fmla="*/ 84137 h 1338262"/>
                  <a:gd name="connsiteX3" fmla="*/ 3175 w 649287"/>
                  <a:gd name="connsiteY3" fmla="*/ 112712 h 1338262"/>
                  <a:gd name="connsiteX4" fmla="*/ 127000 w 649287"/>
                  <a:gd name="connsiteY4" fmla="*/ 227012 h 1338262"/>
                  <a:gd name="connsiteX5" fmla="*/ 255440 w 649287"/>
                  <a:gd name="connsiteY5" fmla="*/ 428298 h 1338262"/>
                  <a:gd name="connsiteX6" fmla="*/ 250825 w 649287"/>
                  <a:gd name="connsiteY6" fmla="*/ 531812 h 1338262"/>
                  <a:gd name="connsiteX7" fmla="*/ 127000 w 649287"/>
                  <a:gd name="connsiteY7" fmla="*/ 998537 h 1338262"/>
                  <a:gd name="connsiteX8" fmla="*/ 79375 w 649287"/>
                  <a:gd name="connsiteY8" fmla="*/ 1265237 h 1338262"/>
                  <a:gd name="connsiteX9" fmla="*/ 203200 w 649287"/>
                  <a:gd name="connsiteY9" fmla="*/ 1284287 h 1338262"/>
                  <a:gd name="connsiteX10" fmla="*/ 346075 w 649287"/>
                  <a:gd name="connsiteY10" fmla="*/ 941387 h 1338262"/>
                  <a:gd name="connsiteX11" fmla="*/ 441325 w 649287"/>
                  <a:gd name="connsiteY11" fmla="*/ 912812 h 1338262"/>
                  <a:gd name="connsiteX12" fmla="*/ 612775 w 649287"/>
                  <a:gd name="connsiteY12" fmla="*/ 998537 h 1338262"/>
                  <a:gd name="connsiteX13" fmla="*/ 631825 w 649287"/>
                  <a:gd name="connsiteY13" fmla="*/ 693737 h 1338262"/>
                  <a:gd name="connsiteX0" fmla="*/ 631825 w 649287"/>
                  <a:gd name="connsiteY0" fmla="*/ 693737 h 1338262"/>
                  <a:gd name="connsiteX1" fmla="*/ 508000 w 649287"/>
                  <a:gd name="connsiteY1" fmla="*/ 617537 h 1338262"/>
                  <a:gd name="connsiteX2" fmla="*/ 107950 w 649287"/>
                  <a:gd name="connsiteY2" fmla="*/ 84137 h 1338262"/>
                  <a:gd name="connsiteX3" fmla="*/ 3175 w 649287"/>
                  <a:gd name="connsiteY3" fmla="*/ 112712 h 1338262"/>
                  <a:gd name="connsiteX4" fmla="*/ 127000 w 649287"/>
                  <a:gd name="connsiteY4" fmla="*/ 227012 h 1338262"/>
                  <a:gd name="connsiteX5" fmla="*/ 255440 w 649287"/>
                  <a:gd name="connsiteY5" fmla="*/ 428298 h 1338262"/>
                  <a:gd name="connsiteX6" fmla="*/ 235370 w 649287"/>
                  <a:gd name="connsiteY6" fmla="*/ 531812 h 1338262"/>
                  <a:gd name="connsiteX7" fmla="*/ 127000 w 649287"/>
                  <a:gd name="connsiteY7" fmla="*/ 998537 h 1338262"/>
                  <a:gd name="connsiteX8" fmla="*/ 79375 w 649287"/>
                  <a:gd name="connsiteY8" fmla="*/ 1265237 h 1338262"/>
                  <a:gd name="connsiteX9" fmla="*/ 203200 w 649287"/>
                  <a:gd name="connsiteY9" fmla="*/ 1284287 h 1338262"/>
                  <a:gd name="connsiteX10" fmla="*/ 346075 w 649287"/>
                  <a:gd name="connsiteY10" fmla="*/ 941387 h 1338262"/>
                  <a:gd name="connsiteX11" fmla="*/ 441325 w 649287"/>
                  <a:gd name="connsiteY11" fmla="*/ 912812 h 1338262"/>
                  <a:gd name="connsiteX12" fmla="*/ 612775 w 649287"/>
                  <a:gd name="connsiteY12" fmla="*/ 998537 h 1338262"/>
                  <a:gd name="connsiteX13" fmla="*/ 631825 w 649287"/>
                  <a:gd name="connsiteY13" fmla="*/ 693737 h 1338262"/>
                  <a:gd name="connsiteX0" fmla="*/ 631825 w 649287"/>
                  <a:gd name="connsiteY0" fmla="*/ 693737 h 1338262"/>
                  <a:gd name="connsiteX1" fmla="*/ 508000 w 649287"/>
                  <a:gd name="connsiteY1" fmla="*/ 617537 h 1338262"/>
                  <a:gd name="connsiteX2" fmla="*/ 107950 w 649287"/>
                  <a:gd name="connsiteY2" fmla="*/ 84137 h 1338262"/>
                  <a:gd name="connsiteX3" fmla="*/ 3175 w 649287"/>
                  <a:gd name="connsiteY3" fmla="*/ 112712 h 1338262"/>
                  <a:gd name="connsiteX4" fmla="*/ 127000 w 649287"/>
                  <a:gd name="connsiteY4" fmla="*/ 227012 h 1338262"/>
                  <a:gd name="connsiteX5" fmla="*/ 229682 w 649287"/>
                  <a:gd name="connsiteY5" fmla="*/ 415419 h 1338262"/>
                  <a:gd name="connsiteX6" fmla="*/ 235370 w 649287"/>
                  <a:gd name="connsiteY6" fmla="*/ 531812 h 1338262"/>
                  <a:gd name="connsiteX7" fmla="*/ 127000 w 649287"/>
                  <a:gd name="connsiteY7" fmla="*/ 998537 h 1338262"/>
                  <a:gd name="connsiteX8" fmla="*/ 79375 w 649287"/>
                  <a:gd name="connsiteY8" fmla="*/ 1265237 h 1338262"/>
                  <a:gd name="connsiteX9" fmla="*/ 203200 w 649287"/>
                  <a:gd name="connsiteY9" fmla="*/ 1284287 h 1338262"/>
                  <a:gd name="connsiteX10" fmla="*/ 346075 w 649287"/>
                  <a:gd name="connsiteY10" fmla="*/ 941387 h 1338262"/>
                  <a:gd name="connsiteX11" fmla="*/ 441325 w 649287"/>
                  <a:gd name="connsiteY11" fmla="*/ 912812 h 1338262"/>
                  <a:gd name="connsiteX12" fmla="*/ 612775 w 649287"/>
                  <a:gd name="connsiteY12" fmla="*/ 998537 h 1338262"/>
                  <a:gd name="connsiteX13" fmla="*/ 631825 w 649287"/>
                  <a:gd name="connsiteY13" fmla="*/ 693737 h 1338262"/>
                  <a:gd name="connsiteX0" fmla="*/ 630108 w 647570"/>
                  <a:gd name="connsiteY0" fmla="*/ 693737 h 1338262"/>
                  <a:gd name="connsiteX1" fmla="*/ 506283 w 647570"/>
                  <a:gd name="connsiteY1" fmla="*/ 617537 h 1338262"/>
                  <a:gd name="connsiteX2" fmla="*/ 106233 w 647570"/>
                  <a:gd name="connsiteY2" fmla="*/ 84137 h 1338262"/>
                  <a:gd name="connsiteX3" fmla="*/ 1458 w 647570"/>
                  <a:gd name="connsiteY3" fmla="*/ 112712 h 1338262"/>
                  <a:gd name="connsiteX4" fmla="*/ 114980 w 647570"/>
                  <a:gd name="connsiteY4" fmla="*/ 242467 h 1338262"/>
                  <a:gd name="connsiteX5" fmla="*/ 227965 w 647570"/>
                  <a:gd name="connsiteY5" fmla="*/ 415419 h 1338262"/>
                  <a:gd name="connsiteX6" fmla="*/ 233653 w 647570"/>
                  <a:gd name="connsiteY6" fmla="*/ 531812 h 1338262"/>
                  <a:gd name="connsiteX7" fmla="*/ 125283 w 647570"/>
                  <a:gd name="connsiteY7" fmla="*/ 998537 h 1338262"/>
                  <a:gd name="connsiteX8" fmla="*/ 77658 w 647570"/>
                  <a:gd name="connsiteY8" fmla="*/ 1265237 h 1338262"/>
                  <a:gd name="connsiteX9" fmla="*/ 201483 w 647570"/>
                  <a:gd name="connsiteY9" fmla="*/ 1284287 h 1338262"/>
                  <a:gd name="connsiteX10" fmla="*/ 344358 w 647570"/>
                  <a:gd name="connsiteY10" fmla="*/ 941387 h 1338262"/>
                  <a:gd name="connsiteX11" fmla="*/ 439608 w 647570"/>
                  <a:gd name="connsiteY11" fmla="*/ 912812 h 1338262"/>
                  <a:gd name="connsiteX12" fmla="*/ 611058 w 647570"/>
                  <a:gd name="connsiteY12" fmla="*/ 998537 h 1338262"/>
                  <a:gd name="connsiteX13" fmla="*/ 630108 w 647570"/>
                  <a:gd name="connsiteY13" fmla="*/ 693737 h 1338262"/>
                  <a:gd name="connsiteX0" fmla="*/ 630108 w 647570"/>
                  <a:gd name="connsiteY0" fmla="*/ 693737 h 1338262"/>
                  <a:gd name="connsiteX1" fmla="*/ 506283 w 647570"/>
                  <a:gd name="connsiteY1" fmla="*/ 617537 h 1338262"/>
                  <a:gd name="connsiteX2" fmla="*/ 106233 w 647570"/>
                  <a:gd name="connsiteY2" fmla="*/ 84137 h 1338262"/>
                  <a:gd name="connsiteX3" fmla="*/ 1458 w 647570"/>
                  <a:gd name="connsiteY3" fmla="*/ 112712 h 1338262"/>
                  <a:gd name="connsiteX4" fmla="*/ 114980 w 647570"/>
                  <a:gd name="connsiteY4" fmla="*/ 242467 h 1338262"/>
                  <a:gd name="connsiteX5" fmla="*/ 227965 w 647570"/>
                  <a:gd name="connsiteY5" fmla="*/ 415419 h 1338262"/>
                  <a:gd name="connsiteX6" fmla="*/ 233653 w 647570"/>
                  <a:gd name="connsiteY6" fmla="*/ 531812 h 1338262"/>
                  <a:gd name="connsiteX7" fmla="*/ 125283 w 647570"/>
                  <a:gd name="connsiteY7" fmla="*/ 998537 h 1338262"/>
                  <a:gd name="connsiteX8" fmla="*/ 77658 w 647570"/>
                  <a:gd name="connsiteY8" fmla="*/ 1265237 h 1338262"/>
                  <a:gd name="connsiteX9" fmla="*/ 201483 w 647570"/>
                  <a:gd name="connsiteY9" fmla="*/ 1284287 h 1338262"/>
                  <a:gd name="connsiteX10" fmla="*/ 344358 w 647570"/>
                  <a:gd name="connsiteY10" fmla="*/ 941387 h 1338262"/>
                  <a:gd name="connsiteX11" fmla="*/ 439608 w 647570"/>
                  <a:gd name="connsiteY11" fmla="*/ 912812 h 1338262"/>
                  <a:gd name="connsiteX12" fmla="*/ 611058 w 647570"/>
                  <a:gd name="connsiteY12" fmla="*/ 998537 h 1338262"/>
                  <a:gd name="connsiteX13" fmla="*/ 630108 w 647570"/>
                  <a:gd name="connsiteY13" fmla="*/ 693737 h 1338262"/>
                  <a:gd name="connsiteX0" fmla="*/ 630108 w 647570"/>
                  <a:gd name="connsiteY0" fmla="*/ 693737 h 1338262"/>
                  <a:gd name="connsiteX1" fmla="*/ 506283 w 647570"/>
                  <a:gd name="connsiteY1" fmla="*/ 617537 h 1338262"/>
                  <a:gd name="connsiteX2" fmla="*/ 106233 w 647570"/>
                  <a:gd name="connsiteY2" fmla="*/ 84137 h 1338262"/>
                  <a:gd name="connsiteX3" fmla="*/ 1458 w 647570"/>
                  <a:gd name="connsiteY3" fmla="*/ 112712 h 1338262"/>
                  <a:gd name="connsiteX4" fmla="*/ 114980 w 647570"/>
                  <a:gd name="connsiteY4" fmla="*/ 242467 h 1338262"/>
                  <a:gd name="connsiteX5" fmla="*/ 227965 w 647570"/>
                  <a:gd name="connsiteY5" fmla="*/ 415419 h 1338262"/>
                  <a:gd name="connsiteX6" fmla="*/ 233653 w 647570"/>
                  <a:gd name="connsiteY6" fmla="*/ 531812 h 1338262"/>
                  <a:gd name="connsiteX7" fmla="*/ 125283 w 647570"/>
                  <a:gd name="connsiteY7" fmla="*/ 998537 h 1338262"/>
                  <a:gd name="connsiteX8" fmla="*/ 77658 w 647570"/>
                  <a:gd name="connsiteY8" fmla="*/ 1265237 h 1338262"/>
                  <a:gd name="connsiteX9" fmla="*/ 201483 w 647570"/>
                  <a:gd name="connsiteY9" fmla="*/ 1284287 h 1338262"/>
                  <a:gd name="connsiteX10" fmla="*/ 344358 w 647570"/>
                  <a:gd name="connsiteY10" fmla="*/ 941387 h 1338262"/>
                  <a:gd name="connsiteX11" fmla="*/ 439608 w 647570"/>
                  <a:gd name="connsiteY11" fmla="*/ 912812 h 1338262"/>
                  <a:gd name="connsiteX12" fmla="*/ 611058 w 647570"/>
                  <a:gd name="connsiteY12" fmla="*/ 998537 h 1338262"/>
                  <a:gd name="connsiteX13" fmla="*/ 630108 w 647570"/>
                  <a:gd name="connsiteY13" fmla="*/ 693737 h 1338262"/>
                  <a:gd name="connsiteX0" fmla="*/ 619804 w 637266"/>
                  <a:gd name="connsiteY0" fmla="*/ 696742 h 1341267"/>
                  <a:gd name="connsiteX1" fmla="*/ 495979 w 637266"/>
                  <a:gd name="connsiteY1" fmla="*/ 620542 h 1341267"/>
                  <a:gd name="connsiteX2" fmla="*/ 95929 w 637266"/>
                  <a:gd name="connsiteY2" fmla="*/ 87142 h 1341267"/>
                  <a:gd name="connsiteX3" fmla="*/ 1458 w 637266"/>
                  <a:gd name="connsiteY3" fmla="*/ 97687 h 1341267"/>
                  <a:gd name="connsiteX4" fmla="*/ 104676 w 637266"/>
                  <a:gd name="connsiteY4" fmla="*/ 245472 h 1341267"/>
                  <a:gd name="connsiteX5" fmla="*/ 217661 w 637266"/>
                  <a:gd name="connsiteY5" fmla="*/ 418424 h 1341267"/>
                  <a:gd name="connsiteX6" fmla="*/ 223349 w 637266"/>
                  <a:gd name="connsiteY6" fmla="*/ 534817 h 1341267"/>
                  <a:gd name="connsiteX7" fmla="*/ 114979 w 637266"/>
                  <a:gd name="connsiteY7" fmla="*/ 1001542 h 1341267"/>
                  <a:gd name="connsiteX8" fmla="*/ 67354 w 637266"/>
                  <a:gd name="connsiteY8" fmla="*/ 1268242 h 1341267"/>
                  <a:gd name="connsiteX9" fmla="*/ 191179 w 637266"/>
                  <a:gd name="connsiteY9" fmla="*/ 1287292 h 1341267"/>
                  <a:gd name="connsiteX10" fmla="*/ 334054 w 637266"/>
                  <a:gd name="connsiteY10" fmla="*/ 944392 h 1341267"/>
                  <a:gd name="connsiteX11" fmla="*/ 429304 w 637266"/>
                  <a:gd name="connsiteY11" fmla="*/ 915817 h 1341267"/>
                  <a:gd name="connsiteX12" fmla="*/ 600754 w 637266"/>
                  <a:gd name="connsiteY12" fmla="*/ 1001542 h 1341267"/>
                  <a:gd name="connsiteX13" fmla="*/ 619804 w 637266"/>
                  <a:gd name="connsiteY13" fmla="*/ 696742 h 1341267"/>
                  <a:gd name="connsiteX0" fmla="*/ 619804 w 637266"/>
                  <a:gd name="connsiteY0" fmla="*/ 696742 h 1341267"/>
                  <a:gd name="connsiteX1" fmla="*/ 495979 w 637266"/>
                  <a:gd name="connsiteY1" fmla="*/ 620542 h 1341267"/>
                  <a:gd name="connsiteX2" fmla="*/ 95929 w 637266"/>
                  <a:gd name="connsiteY2" fmla="*/ 87142 h 1341267"/>
                  <a:gd name="connsiteX3" fmla="*/ 1458 w 637266"/>
                  <a:gd name="connsiteY3" fmla="*/ 97687 h 1341267"/>
                  <a:gd name="connsiteX4" fmla="*/ 104676 w 637266"/>
                  <a:gd name="connsiteY4" fmla="*/ 245472 h 1341267"/>
                  <a:gd name="connsiteX5" fmla="*/ 217661 w 637266"/>
                  <a:gd name="connsiteY5" fmla="*/ 418424 h 1341267"/>
                  <a:gd name="connsiteX6" fmla="*/ 223349 w 637266"/>
                  <a:gd name="connsiteY6" fmla="*/ 534817 h 1341267"/>
                  <a:gd name="connsiteX7" fmla="*/ 114979 w 637266"/>
                  <a:gd name="connsiteY7" fmla="*/ 1001542 h 1341267"/>
                  <a:gd name="connsiteX8" fmla="*/ 67354 w 637266"/>
                  <a:gd name="connsiteY8" fmla="*/ 1268242 h 1341267"/>
                  <a:gd name="connsiteX9" fmla="*/ 191179 w 637266"/>
                  <a:gd name="connsiteY9" fmla="*/ 1287292 h 1341267"/>
                  <a:gd name="connsiteX10" fmla="*/ 334054 w 637266"/>
                  <a:gd name="connsiteY10" fmla="*/ 944392 h 1341267"/>
                  <a:gd name="connsiteX11" fmla="*/ 429304 w 637266"/>
                  <a:gd name="connsiteY11" fmla="*/ 915817 h 1341267"/>
                  <a:gd name="connsiteX12" fmla="*/ 600754 w 637266"/>
                  <a:gd name="connsiteY12" fmla="*/ 1001542 h 1341267"/>
                  <a:gd name="connsiteX13" fmla="*/ 619804 w 637266"/>
                  <a:gd name="connsiteY13" fmla="*/ 696742 h 1341267"/>
                  <a:gd name="connsiteX0" fmla="*/ 619804 w 637266"/>
                  <a:gd name="connsiteY0" fmla="*/ 696742 h 1341267"/>
                  <a:gd name="connsiteX1" fmla="*/ 495979 w 637266"/>
                  <a:gd name="connsiteY1" fmla="*/ 620542 h 1341267"/>
                  <a:gd name="connsiteX2" fmla="*/ 95929 w 637266"/>
                  <a:gd name="connsiteY2" fmla="*/ 87142 h 1341267"/>
                  <a:gd name="connsiteX3" fmla="*/ 1458 w 637266"/>
                  <a:gd name="connsiteY3" fmla="*/ 97687 h 1341267"/>
                  <a:gd name="connsiteX4" fmla="*/ 104676 w 637266"/>
                  <a:gd name="connsiteY4" fmla="*/ 245472 h 1341267"/>
                  <a:gd name="connsiteX5" fmla="*/ 217661 w 637266"/>
                  <a:gd name="connsiteY5" fmla="*/ 418424 h 1341267"/>
                  <a:gd name="connsiteX6" fmla="*/ 223349 w 637266"/>
                  <a:gd name="connsiteY6" fmla="*/ 534817 h 1341267"/>
                  <a:gd name="connsiteX7" fmla="*/ 96949 w 637266"/>
                  <a:gd name="connsiteY7" fmla="*/ 1001542 h 1341267"/>
                  <a:gd name="connsiteX8" fmla="*/ 67354 w 637266"/>
                  <a:gd name="connsiteY8" fmla="*/ 1268242 h 1341267"/>
                  <a:gd name="connsiteX9" fmla="*/ 191179 w 637266"/>
                  <a:gd name="connsiteY9" fmla="*/ 1287292 h 1341267"/>
                  <a:gd name="connsiteX10" fmla="*/ 334054 w 637266"/>
                  <a:gd name="connsiteY10" fmla="*/ 944392 h 1341267"/>
                  <a:gd name="connsiteX11" fmla="*/ 429304 w 637266"/>
                  <a:gd name="connsiteY11" fmla="*/ 915817 h 1341267"/>
                  <a:gd name="connsiteX12" fmla="*/ 600754 w 637266"/>
                  <a:gd name="connsiteY12" fmla="*/ 1001542 h 1341267"/>
                  <a:gd name="connsiteX13" fmla="*/ 619804 w 637266"/>
                  <a:gd name="connsiteY13" fmla="*/ 696742 h 1341267"/>
                  <a:gd name="connsiteX0" fmla="*/ 619804 w 637266"/>
                  <a:gd name="connsiteY0" fmla="*/ 696742 h 1341267"/>
                  <a:gd name="connsiteX1" fmla="*/ 495979 w 637266"/>
                  <a:gd name="connsiteY1" fmla="*/ 620542 h 1341267"/>
                  <a:gd name="connsiteX2" fmla="*/ 95929 w 637266"/>
                  <a:gd name="connsiteY2" fmla="*/ 87142 h 1341267"/>
                  <a:gd name="connsiteX3" fmla="*/ 1458 w 637266"/>
                  <a:gd name="connsiteY3" fmla="*/ 97687 h 1341267"/>
                  <a:gd name="connsiteX4" fmla="*/ 104676 w 637266"/>
                  <a:gd name="connsiteY4" fmla="*/ 245472 h 1341267"/>
                  <a:gd name="connsiteX5" fmla="*/ 217661 w 637266"/>
                  <a:gd name="connsiteY5" fmla="*/ 418424 h 1341267"/>
                  <a:gd name="connsiteX6" fmla="*/ 213046 w 637266"/>
                  <a:gd name="connsiteY6" fmla="*/ 534817 h 1341267"/>
                  <a:gd name="connsiteX7" fmla="*/ 96949 w 637266"/>
                  <a:gd name="connsiteY7" fmla="*/ 1001542 h 1341267"/>
                  <a:gd name="connsiteX8" fmla="*/ 67354 w 637266"/>
                  <a:gd name="connsiteY8" fmla="*/ 1268242 h 1341267"/>
                  <a:gd name="connsiteX9" fmla="*/ 191179 w 637266"/>
                  <a:gd name="connsiteY9" fmla="*/ 1287292 h 1341267"/>
                  <a:gd name="connsiteX10" fmla="*/ 334054 w 637266"/>
                  <a:gd name="connsiteY10" fmla="*/ 944392 h 1341267"/>
                  <a:gd name="connsiteX11" fmla="*/ 429304 w 637266"/>
                  <a:gd name="connsiteY11" fmla="*/ 915817 h 1341267"/>
                  <a:gd name="connsiteX12" fmla="*/ 600754 w 637266"/>
                  <a:gd name="connsiteY12" fmla="*/ 1001542 h 1341267"/>
                  <a:gd name="connsiteX13" fmla="*/ 619804 w 637266"/>
                  <a:gd name="connsiteY13" fmla="*/ 696742 h 1341267"/>
                  <a:gd name="connsiteX0" fmla="*/ 619804 w 637266"/>
                  <a:gd name="connsiteY0" fmla="*/ 696742 h 1341267"/>
                  <a:gd name="connsiteX1" fmla="*/ 495979 w 637266"/>
                  <a:gd name="connsiteY1" fmla="*/ 620542 h 1341267"/>
                  <a:gd name="connsiteX2" fmla="*/ 95929 w 637266"/>
                  <a:gd name="connsiteY2" fmla="*/ 87142 h 1341267"/>
                  <a:gd name="connsiteX3" fmla="*/ 1458 w 637266"/>
                  <a:gd name="connsiteY3" fmla="*/ 97687 h 1341267"/>
                  <a:gd name="connsiteX4" fmla="*/ 104676 w 637266"/>
                  <a:gd name="connsiteY4" fmla="*/ 245472 h 1341267"/>
                  <a:gd name="connsiteX5" fmla="*/ 217661 w 637266"/>
                  <a:gd name="connsiteY5" fmla="*/ 418424 h 1341267"/>
                  <a:gd name="connsiteX6" fmla="*/ 213046 w 637266"/>
                  <a:gd name="connsiteY6" fmla="*/ 534817 h 1341267"/>
                  <a:gd name="connsiteX7" fmla="*/ 107252 w 637266"/>
                  <a:gd name="connsiteY7" fmla="*/ 1001542 h 1341267"/>
                  <a:gd name="connsiteX8" fmla="*/ 67354 w 637266"/>
                  <a:gd name="connsiteY8" fmla="*/ 1268242 h 1341267"/>
                  <a:gd name="connsiteX9" fmla="*/ 191179 w 637266"/>
                  <a:gd name="connsiteY9" fmla="*/ 1287292 h 1341267"/>
                  <a:gd name="connsiteX10" fmla="*/ 334054 w 637266"/>
                  <a:gd name="connsiteY10" fmla="*/ 944392 h 1341267"/>
                  <a:gd name="connsiteX11" fmla="*/ 429304 w 637266"/>
                  <a:gd name="connsiteY11" fmla="*/ 915817 h 1341267"/>
                  <a:gd name="connsiteX12" fmla="*/ 600754 w 637266"/>
                  <a:gd name="connsiteY12" fmla="*/ 1001542 h 1341267"/>
                  <a:gd name="connsiteX13" fmla="*/ 619804 w 637266"/>
                  <a:gd name="connsiteY13" fmla="*/ 696742 h 1341267"/>
                  <a:gd name="connsiteX0" fmla="*/ 619804 w 637266"/>
                  <a:gd name="connsiteY0" fmla="*/ 696742 h 1341267"/>
                  <a:gd name="connsiteX1" fmla="*/ 495979 w 637266"/>
                  <a:gd name="connsiteY1" fmla="*/ 620542 h 1341267"/>
                  <a:gd name="connsiteX2" fmla="*/ 95929 w 637266"/>
                  <a:gd name="connsiteY2" fmla="*/ 87142 h 1341267"/>
                  <a:gd name="connsiteX3" fmla="*/ 1458 w 637266"/>
                  <a:gd name="connsiteY3" fmla="*/ 97687 h 1341267"/>
                  <a:gd name="connsiteX4" fmla="*/ 104676 w 637266"/>
                  <a:gd name="connsiteY4" fmla="*/ 245472 h 1341267"/>
                  <a:gd name="connsiteX5" fmla="*/ 217661 w 637266"/>
                  <a:gd name="connsiteY5" fmla="*/ 418424 h 1341267"/>
                  <a:gd name="connsiteX6" fmla="*/ 213046 w 637266"/>
                  <a:gd name="connsiteY6" fmla="*/ 534817 h 1341267"/>
                  <a:gd name="connsiteX7" fmla="*/ 107252 w 637266"/>
                  <a:gd name="connsiteY7" fmla="*/ 1001542 h 1341267"/>
                  <a:gd name="connsiteX8" fmla="*/ 44172 w 637266"/>
                  <a:gd name="connsiteY8" fmla="*/ 1268242 h 1341267"/>
                  <a:gd name="connsiteX9" fmla="*/ 191179 w 637266"/>
                  <a:gd name="connsiteY9" fmla="*/ 1287292 h 1341267"/>
                  <a:gd name="connsiteX10" fmla="*/ 334054 w 637266"/>
                  <a:gd name="connsiteY10" fmla="*/ 944392 h 1341267"/>
                  <a:gd name="connsiteX11" fmla="*/ 429304 w 637266"/>
                  <a:gd name="connsiteY11" fmla="*/ 915817 h 1341267"/>
                  <a:gd name="connsiteX12" fmla="*/ 600754 w 637266"/>
                  <a:gd name="connsiteY12" fmla="*/ 1001542 h 1341267"/>
                  <a:gd name="connsiteX13" fmla="*/ 619804 w 637266"/>
                  <a:gd name="connsiteY13" fmla="*/ 696742 h 1341267"/>
                  <a:gd name="connsiteX0" fmla="*/ 619804 w 637266"/>
                  <a:gd name="connsiteY0" fmla="*/ 696742 h 1341267"/>
                  <a:gd name="connsiteX1" fmla="*/ 495979 w 637266"/>
                  <a:gd name="connsiteY1" fmla="*/ 620542 h 1341267"/>
                  <a:gd name="connsiteX2" fmla="*/ 95929 w 637266"/>
                  <a:gd name="connsiteY2" fmla="*/ 87142 h 1341267"/>
                  <a:gd name="connsiteX3" fmla="*/ 1458 w 637266"/>
                  <a:gd name="connsiteY3" fmla="*/ 97687 h 1341267"/>
                  <a:gd name="connsiteX4" fmla="*/ 104676 w 637266"/>
                  <a:gd name="connsiteY4" fmla="*/ 245472 h 1341267"/>
                  <a:gd name="connsiteX5" fmla="*/ 217661 w 637266"/>
                  <a:gd name="connsiteY5" fmla="*/ 418424 h 1341267"/>
                  <a:gd name="connsiteX6" fmla="*/ 213046 w 637266"/>
                  <a:gd name="connsiteY6" fmla="*/ 534817 h 1341267"/>
                  <a:gd name="connsiteX7" fmla="*/ 107252 w 637266"/>
                  <a:gd name="connsiteY7" fmla="*/ 1001542 h 1341267"/>
                  <a:gd name="connsiteX8" fmla="*/ 44172 w 637266"/>
                  <a:gd name="connsiteY8" fmla="*/ 1268242 h 1341267"/>
                  <a:gd name="connsiteX9" fmla="*/ 191179 w 637266"/>
                  <a:gd name="connsiteY9" fmla="*/ 1287292 h 1341267"/>
                  <a:gd name="connsiteX10" fmla="*/ 334054 w 637266"/>
                  <a:gd name="connsiteY10" fmla="*/ 944392 h 1341267"/>
                  <a:gd name="connsiteX11" fmla="*/ 429304 w 637266"/>
                  <a:gd name="connsiteY11" fmla="*/ 915817 h 1341267"/>
                  <a:gd name="connsiteX12" fmla="*/ 600754 w 637266"/>
                  <a:gd name="connsiteY12" fmla="*/ 1001542 h 1341267"/>
                  <a:gd name="connsiteX13" fmla="*/ 619804 w 637266"/>
                  <a:gd name="connsiteY13" fmla="*/ 696742 h 1341267"/>
                  <a:gd name="connsiteX0" fmla="*/ 619804 w 637266"/>
                  <a:gd name="connsiteY0" fmla="*/ 696742 h 1328388"/>
                  <a:gd name="connsiteX1" fmla="*/ 495979 w 637266"/>
                  <a:gd name="connsiteY1" fmla="*/ 620542 h 1328388"/>
                  <a:gd name="connsiteX2" fmla="*/ 95929 w 637266"/>
                  <a:gd name="connsiteY2" fmla="*/ 87142 h 1328388"/>
                  <a:gd name="connsiteX3" fmla="*/ 1458 w 637266"/>
                  <a:gd name="connsiteY3" fmla="*/ 97687 h 1328388"/>
                  <a:gd name="connsiteX4" fmla="*/ 104676 w 637266"/>
                  <a:gd name="connsiteY4" fmla="*/ 245472 h 1328388"/>
                  <a:gd name="connsiteX5" fmla="*/ 217661 w 637266"/>
                  <a:gd name="connsiteY5" fmla="*/ 418424 h 1328388"/>
                  <a:gd name="connsiteX6" fmla="*/ 213046 w 637266"/>
                  <a:gd name="connsiteY6" fmla="*/ 534817 h 1328388"/>
                  <a:gd name="connsiteX7" fmla="*/ 107252 w 637266"/>
                  <a:gd name="connsiteY7" fmla="*/ 1001542 h 1328388"/>
                  <a:gd name="connsiteX8" fmla="*/ 44172 w 637266"/>
                  <a:gd name="connsiteY8" fmla="*/ 1268242 h 1328388"/>
                  <a:gd name="connsiteX9" fmla="*/ 191179 w 637266"/>
                  <a:gd name="connsiteY9" fmla="*/ 1287292 h 1328388"/>
                  <a:gd name="connsiteX10" fmla="*/ 334054 w 637266"/>
                  <a:gd name="connsiteY10" fmla="*/ 944392 h 1328388"/>
                  <a:gd name="connsiteX11" fmla="*/ 429304 w 637266"/>
                  <a:gd name="connsiteY11" fmla="*/ 915817 h 1328388"/>
                  <a:gd name="connsiteX12" fmla="*/ 600754 w 637266"/>
                  <a:gd name="connsiteY12" fmla="*/ 1001542 h 1328388"/>
                  <a:gd name="connsiteX13" fmla="*/ 619804 w 637266"/>
                  <a:gd name="connsiteY13" fmla="*/ 696742 h 1328388"/>
                  <a:gd name="connsiteX0" fmla="*/ 619804 w 637266"/>
                  <a:gd name="connsiteY0" fmla="*/ 696742 h 1328388"/>
                  <a:gd name="connsiteX1" fmla="*/ 495979 w 637266"/>
                  <a:gd name="connsiteY1" fmla="*/ 620542 h 1328388"/>
                  <a:gd name="connsiteX2" fmla="*/ 95929 w 637266"/>
                  <a:gd name="connsiteY2" fmla="*/ 87142 h 1328388"/>
                  <a:gd name="connsiteX3" fmla="*/ 1458 w 637266"/>
                  <a:gd name="connsiteY3" fmla="*/ 97687 h 1328388"/>
                  <a:gd name="connsiteX4" fmla="*/ 104676 w 637266"/>
                  <a:gd name="connsiteY4" fmla="*/ 245472 h 1328388"/>
                  <a:gd name="connsiteX5" fmla="*/ 217661 w 637266"/>
                  <a:gd name="connsiteY5" fmla="*/ 418424 h 1328388"/>
                  <a:gd name="connsiteX6" fmla="*/ 213046 w 637266"/>
                  <a:gd name="connsiteY6" fmla="*/ 534817 h 1328388"/>
                  <a:gd name="connsiteX7" fmla="*/ 107252 w 637266"/>
                  <a:gd name="connsiteY7" fmla="*/ 1001542 h 1328388"/>
                  <a:gd name="connsiteX8" fmla="*/ 44172 w 637266"/>
                  <a:gd name="connsiteY8" fmla="*/ 1268242 h 1328388"/>
                  <a:gd name="connsiteX9" fmla="*/ 191179 w 637266"/>
                  <a:gd name="connsiteY9" fmla="*/ 1287292 h 1328388"/>
                  <a:gd name="connsiteX10" fmla="*/ 334054 w 637266"/>
                  <a:gd name="connsiteY10" fmla="*/ 944392 h 1328388"/>
                  <a:gd name="connsiteX11" fmla="*/ 429304 w 637266"/>
                  <a:gd name="connsiteY11" fmla="*/ 915817 h 1328388"/>
                  <a:gd name="connsiteX12" fmla="*/ 600754 w 637266"/>
                  <a:gd name="connsiteY12" fmla="*/ 1001542 h 1328388"/>
                  <a:gd name="connsiteX13" fmla="*/ 619804 w 637266"/>
                  <a:gd name="connsiteY13" fmla="*/ 696742 h 1328388"/>
                  <a:gd name="connsiteX0" fmla="*/ 619804 w 637266"/>
                  <a:gd name="connsiteY0" fmla="*/ 696742 h 1328388"/>
                  <a:gd name="connsiteX1" fmla="*/ 495979 w 637266"/>
                  <a:gd name="connsiteY1" fmla="*/ 620542 h 1328388"/>
                  <a:gd name="connsiteX2" fmla="*/ 95929 w 637266"/>
                  <a:gd name="connsiteY2" fmla="*/ 87142 h 1328388"/>
                  <a:gd name="connsiteX3" fmla="*/ 1458 w 637266"/>
                  <a:gd name="connsiteY3" fmla="*/ 97687 h 1328388"/>
                  <a:gd name="connsiteX4" fmla="*/ 104676 w 637266"/>
                  <a:gd name="connsiteY4" fmla="*/ 245472 h 1328388"/>
                  <a:gd name="connsiteX5" fmla="*/ 217661 w 637266"/>
                  <a:gd name="connsiteY5" fmla="*/ 418424 h 1328388"/>
                  <a:gd name="connsiteX6" fmla="*/ 213046 w 637266"/>
                  <a:gd name="connsiteY6" fmla="*/ 534817 h 1328388"/>
                  <a:gd name="connsiteX7" fmla="*/ 107252 w 637266"/>
                  <a:gd name="connsiteY7" fmla="*/ 1001542 h 1328388"/>
                  <a:gd name="connsiteX8" fmla="*/ 44172 w 637266"/>
                  <a:gd name="connsiteY8" fmla="*/ 1268242 h 1328388"/>
                  <a:gd name="connsiteX9" fmla="*/ 191179 w 637266"/>
                  <a:gd name="connsiteY9" fmla="*/ 1287292 h 1328388"/>
                  <a:gd name="connsiteX10" fmla="*/ 334054 w 637266"/>
                  <a:gd name="connsiteY10" fmla="*/ 944392 h 1328388"/>
                  <a:gd name="connsiteX11" fmla="*/ 429304 w 637266"/>
                  <a:gd name="connsiteY11" fmla="*/ 915817 h 1328388"/>
                  <a:gd name="connsiteX12" fmla="*/ 600754 w 637266"/>
                  <a:gd name="connsiteY12" fmla="*/ 1001542 h 1328388"/>
                  <a:gd name="connsiteX13" fmla="*/ 619804 w 637266"/>
                  <a:gd name="connsiteY13" fmla="*/ 696742 h 1328388"/>
                  <a:gd name="connsiteX0" fmla="*/ 619804 w 629538"/>
                  <a:gd name="connsiteY0" fmla="*/ 696742 h 1328388"/>
                  <a:gd name="connsiteX1" fmla="*/ 495979 w 629538"/>
                  <a:gd name="connsiteY1" fmla="*/ 620542 h 1328388"/>
                  <a:gd name="connsiteX2" fmla="*/ 95929 w 629538"/>
                  <a:gd name="connsiteY2" fmla="*/ 87142 h 1328388"/>
                  <a:gd name="connsiteX3" fmla="*/ 1458 w 629538"/>
                  <a:gd name="connsiteY3" fmla="*/ 97687 h 1328388"/>
                  <a:gd name="connsiteX4" fmla="*/ 104676 w 629538"/>
                  <a:gd name="connsiteY4" fmla="*/ 245472 h 1328388"/>
                  <a:gd name="connsiteX5" fmla="*/ 217661 w 629538"/>
                  <a:gd name="connsiteY5" fmla="*/ 418424 h 1328388"/>
                  <a:gd name="connsiteX6" fmla="*/ 213046 w 629538"/>
                  <a:gd name="connsiteY6" fmla="*/ 534817 h 1328388"/>
                  <a:gd name="connsiteX7" fmla="*/ 107252 w 629538"/>
                  <a:gd name="connsiteY7" fmla="*/ 1001542 h 1328388"/>
                  <a:gd name="connsiteX8" fmla="*/ 44172 w 629538"/>
                  <a:gd name="connsiteY8" fmla="*/ 1268242 h 1328388"/>
                  <a:gd name="connsiteX9" fmla="*/ 191179 w 629538"/>
                  <a:gd name="connsiteY9" fmla="*/ 1287292 h 1328388"/>
                  <a:gd name="connsiteX10" fmla="*/ 334054 w 629538"/>
                  <a:gd name="connsiteY10" fmla="*/ 944392 h 1328388"/>
                  <a:gd name="connsiteX11" fmla="*/ 429304 w 629538"/>
                  <a:gd name="connsiteY11" fmla="*/ 915817 h 1328388"/>
                  <a:gd name="connsiteX12" fmla="*/ 600754 w 629538"/>
                  <a:gd name="connsiteY12" fmla="*/ 1001542 h 1328388"/>
                  <a:gd name="connsiteX13" fmla="*/ 619804 w 629538"/>
                  <a:gd name="connsiteY13" fmla="*/ 696742 h 1328388"/>
                  <a:gd name="connsiteX0" fmla="*/ 619804 w 629538"/>
                  <a:gd name="connsiteY0" fmla="*/ 696742 h 1328388"/>
                  <a:gd name="connsiteX1" fmla="*/ 495979 w 629538"/>
                  <a:gd name="connsiteY1" fmla="*/ 620542 h 1328388"/>
                  <a:gd name="connsiteX2" fmla="*/ 95929 w 629538"/>
                  <a:gd name="connsiteY2" fmla="*/ 87142 h 1328388"/>
                  <a:gd name="connsiteX3" fmla="*/ 1458 w 629538"/>
                  <a:gd name="connsiteY3" fmla="*/ 97687 h 1328388"/>
                  <a:gd name="connsiteX4" fmla="*/ 104676 w 629538"/>
                  <a:gd name="connsiteY4" fmla="*/ 245472 h 1328388"/>
                  <a:gd name="connsiteX5" fmla="*/ 217661 w 629538"/>
                  <a:gd name="connsiteY5" fmla="*/ 418424 h 1328388"/>
                  <a:gd name="connsiteX6" fmla="*/ 213046 w 629538"/>
                  <a:gd name="connsiteY6" fmla="*/ 534817 h 1328388"/>
                  <a:gd name="connsiteX7" fmla="*/ 107252 w 629538"/>
                  <a:gd name="connsiteY7" fmla="*/ 1001542 h 1328388"/>
                  <a:gd name="connsiteX8" fmla="*/ 44172 w 629538"/>
                  <a:gd name="connsiteY8" fmla="*/ 1268242 h 1328388"/>
                  <a:gd name="connsiteX9" fmla="*/ 191179 w 629538"/>
                  <a:gd name="connsiteY9" fmla="*/ 1287292 h 1328388"/>
                  <a:gd name="connsiteX10" fmla="*/ 334054 w 629538"/>
                  <a:gd name="connsiteY10" fmla="*/ 944392 h 1328388"/>
                  <a:gd name="connsiteX11" fmla="*/ 429304 w 629538"/>
                  <a:gd name="connsiteY11" fmla="*/ 915817 h 1328388"/>
                  <a:gd name="connsiteX12" fmla="*/ 600754 w 629538"/>
                  <a:gd name="connsiteY12" fmla="*/ 1001542 h 1328388"/>
                  <a:gd name="connsiteX13" fmla="*/ 619804 w 629538"/>
                  <a:gd name="connsiteY13" fmla="*/ 696742 h 1328388"/>
                  <a:gd name="connsiteX0" fmla="*/ 619804 w 622948"/>
                  <a:gd name="connsiteY0" fmla="*/ 696742 h 1328388"/>
                  <a:gd name="connsiteX1" fmla="*/ 495979 w 622948"/>
                  <a:gd name="connsiteY1" fmla="*/ 620542 h 1328388"/>
                  <a:gd name="connsiteX2" fmla="*/ 95929 w 622948"/>
                  <a:gd name="connsiteY2" fmla="*/ 87142 h 1328388"/>
                  <a:gd name="connsiteX3" fmla="*/ 1458 w 622948"/>
                  <a:gd name="connsiteY3" fmla="*/ 97687 h 1328388"/>
                  <a:gd name="connsiteX4" fmla="*/ 104676 w 622948"/>
                  <a:gd name="connsiteY4" fmla="*/ 245472 h 1328388"/>
                  <a:gd name="connsiteX5" fmla="*/ 217661 w 622948"/>
                  <a:gd name="connsiteY5" fmla="*/ 418424 h 1328388"/>
                  <a:gd name="connsiteX6" fmla="*/ 213046 w 622948"/>
                  <a:gd name="connsiteY6" fmla="*/ 534817 h 1328388"/>
                  <a:gd name="connsiteX7" fmla="*/ 107252 w 622948"/>
                  <a:gd name="connsiteY7" fmla="*/ 1001542 h 1328388"/>
                  <a:gd name="connsiteX8" fmla="*/ 44172 w 622948"/>
                  <a:gd name="connsiteY8" fmla="*/ 1268242 h 1328388"/>
                  <a:gd name="connsiteX9" fmla="*/ 191179 w 622948"/>
                  <a:gd name="connsiteY9" fmla="*/ 1287292 h 1328388"/>
                  <a:gd name="connsiteX10" fmla="*/ 334054 w 622948"/>
                  <a:gd name="connsiteY10" fmla="*/ 944392 h 1328388"/>
                  <a:gd name="connsiteX11" fmla="*/ 429304 w 622948"/>
                  <a:gd name="connsiteY11" fmla="*/ 915817 h 1328388"/>
                  <a:gd name="connsiteX12" fmla="*/ 600754 w 622948"/>
                  <a:gd name="connsiteY12" fmla="*/ 1001542 h 1328388"/>
                  <a:gd name="connsiteX13" fmla="*/ 619804 w 622948"/>
                  <a:gd name="connsiteY13" fmla="*/ 696742 h 132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2948" h="1328388">
                    <a:moveTo>
                      <a:pt x="619804" y="696742"/>
                    </a:moveTo>
                    <a:cubicBezTo>
                      <a:pt x="622948" y="674454"/>
                      <a:pt x="583291" y="722142"/>
                      <a:pt x="495979" y="620542"/>
                    </a:cubicBezTo>
                    <a:cubicBezTo>
                      <a:pt x="408667" y="518942"/>
                      <a:pt x="178349" y="174284"/>
                      <a:pt x="95929" y="87142"/>
                    </a:cubicBezTo>
                    <a:cubicBezTo>
                      <a:pt x="13509" y="0"/>
                      <a:pt x="0" y="71299"/>
                      <a:pt x="1458" y="97687"/>
                    </a:cubicBezTo>
                    <a:cubicBezTo>
                      <a:pt x="10644" y="124075"/>
                      <a:pt x="66925" y="202748"/>
                      <a:pt x="104676" y="245472"/>
                    </a:cubicBezTo>
                    <a:cubicBezTo>
                      <a:pt x="139851" y="306226"/>
                      <a:pt x="199599" y="370200"/>
                      <a:pt x="217661" y="418424"/>
                    </a:cubicBezTo>
                    <a:cubicBezTo>
                      <a:pt x="235723" y="466648"/>
                      <a:pt x="231448" y="437631"/>
                      <a:pt x="213046" y="534817"/>
                    </a:cubicBezTo>
                    <a:cubicBezTo>
                      <a:pt x="194645" y="632003"/>
                      <a:pt x="135398" y="879305"/>
                      <a:pt x="107252" y="1001542"/>
                    </a:cubicBezTo>
                    <a:cubicBezTo>
                      <a:pt x="79106" y="1123780"/>
                      <a:pt x="45639" y="1228344"/>
                      <a:pt x="44172" y="1268242"/>
                    </a:cubicBezTo>
                    <a:cubicBezTo>
                      <a:pt x="58160" y="1315867"/>
                      <a:pt x="155744" y="1328388"/>
                      <a:pt x="191179" y="1287292"/>
                    </a:cubicBezTo>
                    <a:cubicBezTo>
                      <a:pt x="239493" y="1233317"/>
                      <a:pt x="294366" y="1006305"/>
                      <a:pt x="334054" y="944392"/>
                    </a:cubicBezTo>
                    <a:cubicBezTo>
                      <a:pt x="373742" y="882479"/>
                      <a:pt x="384854" y="906292"/>
                      <a:pt x="429304" y="915817"/>
                    </a:cubicBezTo>
                    <a:cubicBezTo>
                      <a:pt x="473754" y="925342"/>
                      <a:pt x="570591" y="1038055"/>
                      <a:pt x="600754" y="1001542"/>
                    </a:cubicBezTo>
                    <a:cubicBezTo>
                      <a:pt x="605159" y="972757"/>
                      <a:pt x="616659" y="796303"/>
                      <a:pt x="619804" y="69674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569" name="Group 568">
              <a:extLst>
                <a:ext uri="{FF2B5EF4-FFF2-40B4-BE49-F238E27FC236}">
                  <a16:creationId xmlns:a16="http://schemas.microsoft.com/office/drawing/2014/main" id="{50F7CB56-3E76-49EB-9E55-6688AE51D19A}"/>
                </a:ext>
              </a:extLst>
            </p:cNvPr>
            <p:cNvGrpSpPr/>
            <p:nvPr/>
          </p:nvGrpSpPr>
          <p:grpSpPr>
            <a:xfrm>
              <a:off x="4732609" y="4117531"/>
              <a:ext cx="527616" cy="1643774"/>
              <a:chOff x="3505201" y="381000"/>
              <a:chExt cx="2054508" cy="6400800"/>
            </a:xfrm>
            <a:grpFill/>
            <a:effectLst/>
          </p:grpSpPr>
          <p:grpSp>
            <p:nvGrpSpPr>
              <p:cNvPr id="573" name="Group 169">
                <a:extLst>
                  <a:ext uri="{FF2B5EF4-FFF2-40B4-BE49-F238E27FC236}">
                    <a16:creationId xmlns:a16="http://schemas.microsoft.com/office/drawing/2014/main" id="{BC96F46E-99C4-4BDB-B640-BA17DF6A35D0}"/>
                  </a:ext>
                </a:extLst>
              </p:cNvPr>
              <p:cNvGrpSpPr/>
              <p:nvPr/>
            </p:nvGrpSpPr>
            <p:grpSpPr>
              <a:xfrm>
                <a:off x="4468856" y="381000"/>
                <a:ext cx="590846" cy="1239869"/>
                <a:chOff x="4468856" y="381000"/>
                <a:chExt cx="590846" cy="1239869"/>
              </a:xfrm>
              <a:grpFill/>
            </p:grpSpPr>
            <p:sp>
              <p:nvSpPr>
                <p:cNvPr id="628" name="Freeform 239">
                  <a:extLst>
                    <a:ext uri="{FF2B5EF4-FFF2-40B4-BE49-F238E27FC236}">
                      <a16:creationId xmlns:a16="http://schemas.microsoft.com/office/drawing/2014/main" id="{933F0A5C-B240-42CD-8FD9-83CDE6A21462}"/>
                    </a:ext>
                  </a:extLst>
                </p:cNvPr>
                <p:cNvSpPr/>
                <p:nvPr/>
              </p:nvSpPr>
              <p:spPr>
                <a:xfrm>
                  <a:off x="4736264" y="762823"/>
                  <a:ext cx="95848" cy="42217"/>
                </a:xfrm>
                <a:custGeom>
                  <a:avLst/>
                  <a:gdLst>
                    <a:gd name="connsiteX0" fmla="*/ 57150 w 504825"/>
                    <a:gd name="connsiteY0" fmla="*/ 203200 h 222353"/>
                    <a:gd name="connsiteX1" fmla="*/ 0 w 504825"/>
                    <a:gd name="connsiteY1" fmla="*/ 187325 h 222353"/>
                    <a:gd name="connsiteX2" fmla="*/ 47625 w 504825"/>
                    <a:gd name="connsiteY2" fmla="*/ 82550 h 222353"/>
                    <a:gd name="connsiteX3" fmla="*/ 155575 w 504825"/>
                    <a:gd name="connsiteY3" fmla="*/ 9525 h 222353"/>
                    <a:gd name="connsiteX4" fmla="*/ 320675 w 504825"/>
                    <a:gd name="connsiteY4" fmla="*/ 0 h 222353"/>
                    <a:gd name="connsiteX5" fmla="*/ 482600 w 504825"/>
                    <a:gd name="connsiteY5" fmla="*/ 66675 h 222353"/>
                    <a:gd name="connsiteX6" fmla="*/ 504825 w 504825"/>
                    <a:gd name="connsiteY6" fmla="*/ 123825 h 222353"/>
                    <a:gd name="connsiteX7" fmla="*/ 438150 w 504825"/>
                    <a:gd name="connsiteY7" fmla="*/ 187325 h 222353"/>
                    <a:gd name="connsiteX8" fmla="*/ 317500 w 504825"/>
                    <a:gd name="connsiteY8" fmla="*/ 219075 h 222353"/>
                    <a:gd name="connsiteX9" fmla="*/ 174625 w 504825"/>
                    <a:gd name="connsiteY9" fmla="*/ 222250 h 222353"/>
                    <a:gd name="connsiteX10" fmla="*/ 57150 w 504825"/>
                    <a:gd name="connsiteY10" fmla="*/ 203200 h 222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4825" h="222353">
                      <a:moveTo>
                        <a:pt x="57150" y="203200"/>
                      </a:moveTo>
                      <a:lnTo>
                        <a:pt x="0" y="187325"/>
                      </a:lnTo>
                      <a:cubicBezTo>
                        <a:pt x="48074" y="84767"/>
                        <a:pt x="47625" y="123128"/>
                        <a:pt x="47625" y="82550"/>
                      </a:cubicBezTo>
                      <a:lnTo>
                        <a:pt x="155575" y="9525"/>
                      </a:lnTo>
                      <a:cubicBezTo>
                        <a:pt x="210605" y="6288"/>
                        <a:pt x="265550" y="0"/>
                        <a:pt x="320675" y="0"/>
                      </a:cubicBezTo>
                      <a:lnTo>
                        <a:pt x="482600" y="66675"/>
                      </a:lnTo>
                      <a:lnTo>
                        <a:pt x="504825" y="123825"/>
                      </a:lnTo>
                      <a:lnTo>
                        <a:pt x="438150" y="187325"/>
                      </a:lnTo>
                      <a:cubicBezTo>
                        <a:pt x="319653" y="219351"/>
                        <a:pt x="361238" y="219075"/>
                        <a:pt x="317500" y="219075"/>
                      </a:cubicBezTo>
                      <a:cubicBezTo>
                        <a:pt x="183093" y="222353"/>
                        <a:pt x="230730" y="222250"/>
                        <a:pt x="174625" y="222250"/>
                      </a:cubicBezTo>
                      <a:lnTo>
                        <a:pt x="57150" y="2032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29" name="Freeform 240">
                  <a:extLst>
                    <a:ext uri="{FF2B5EF4-FFF2-40B4-BE49-F238E27FC236}">
                      <a16:creationId xmlns:a16="http://schemas.microsoft.com/office/drawing/2014/main" id="{C99075A0-0CAA-4665-BB58-737FAEFCF6C8}"/>
                    </a:ext>
                  </a:extLst>
                </p:cNvPr>
                <p:cNvSpPr/>
                <p:nvPr/>
              </p:nvSpPr>
              <p:spPr>
                <a:xfrm>
                  <a:off x="4741087" y="781510"/>
                  <a:ext cx="93436" cy="25921"/>
                </a:xfrm>
                <a:custGeom>
                  <a:avLst/>
                  <a:gdLst>
                    <a:gd name="connsiteX0" fmla="*/ 0 w 492125"/>
                    <a:gd name="connsiteY0" fmla="*/ 98425 h 136525"/>
                    <a:gd name="connsiteX1" fmla="*/ 73025 w 492125"/>
                    <a:gd name="connsiteY1" fmla="*/ 98425 h 136525"/>
                    <a:gd name="connsiteX2" fmla="*/ 165100 w 492125"/>
                    <a:gd name="connsiteY2" fmla="*/ 111125 h 136525"/>
                    <a:gd name="connsiteX3" fmla="*/ 295275 w 492125"/>
                    <a:gd name="connsiteY3" fmla="*/ 98425 h 136525"/>
                    <a:gd name="connsiteX4" fmla="*/ 396875 w 492125"/>
                    <a:gd name="connsiteY4" fmla="*/ 69850 h 136525"/>
                    <a:gd name="connsiteX5" fmla="*/ 473075 w 492125"/>
                    <a:gd name="connsiteY5" fmla="*/ 0 h 136525"/>
                    <a:gd name="connsiteX6" fmla="*/ 492125 w 492125"/>
                    <a:gd name="connsiteY6" fmla="*/ 25400 h 136525"/>
                    <a:gd name="connsiteX7" fmla="*/ 482600 w 492125"/>
                    <a:gd name="connsiteY7" fmla="*/ 60325 h 136525"/>
                    <a:gd name="connsiteX8" fmla="*/ 419100 w 492125"/>
                    <a:gd name="connsiteY8" fmla="*/ 111125 h 136525"/>
                    <a:gd name="connsiteX9" fmla="*/ 311150 w 492125"/>
                    <a:gd name="connsiteY9" fmla="*/ 133350 h 136525"/>
                    <a:gd name="connsiteX10" fmla="*/ 149225 w 492125"/>
                    <a:gd name="connsiteY10" fmla="*/ 136525 h 136525"/>
                    <a:gd name="connsiteX11" fmla="*/ 53975 w 492125"/>
                    <a:gd name="connsiteY11" fmla="*/ 120650 h 136525"/>
                    <a:gd name="connsiteX12" fmla="*/ 0 w 492125"/>
                    <a:gd name="connsiteY12" fmla="*/ 98425 h 13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2125" h="136525">
                      <a:moveTo>
                        <a:pt x="0" y="98425"/>
                      </a:moveTo>
                      <a:lnTo>
                        <a:pt x="73025" y="98425"/>
                      </a:lnTo>
                      <a:lnTo>
                        <a:pt x="165100" y="111125"/>
                      </a:lnTo>
                      <a:lnTo>
                        <a:pt x="295275" y="98425"/>
                      </a:lnTo>
                      <a:lnTo>
                        <a:pt x="396875" y="69850"/>
                      </a:lnTo>
                      <a:cubicBezTo>
                        <a:pt x="473871" y="2478"/>
                        <a:pt x="473075" y="36926"/>
                        <a:pt x="473075" y="0"/>
                      </a:cubicBezTo>
                      <a:lnTo>
                        <a:pt x="492125" y="25400"/>
                      </a:lnTo>
                      <a:lnTo>
                        <a:pt x="482600" y="60325"/>
                      </a:lnTo>
                      <a:cubicBezTo>
                        <a:pt x="421465" y="111807"/>
                        <a:pt x="448563" y="111125"/>
                        <a:pt x="419100" y="111125"/>
                      </a:cubicBezTo>
                      <a:lnTo>
                        <a:pt x="311150" y="133350"/>
                      </a:lnTo>
                      <a:lnTo>
                        <a:pt x="149225" y="136525"/>
                      </a:lnTo>
                      <a:cubicBezTo>
                        <a:pt x="56107" y="120470"/>
                        <a:pt x="88295" y="120650"/>
                        <a:pt x="53975" y="120650"/>
                      </a:cubicBezTo>
                      <a:lnTo>
                        <a:pt x="0" y="9842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nvGrpSpPr>
                <p:cNvPr id="630" name="Group 168">
                  <a:extLst>
                    <a:ext uri="{FF2B5EF4-FFF2-40B4-BE49-F238E27FC236}">
                      <a16:creationId xmlns:a16="http://schemas.microsoft.com/office/drawing/2014/main" id="{D1667EB8-7BB3-4646-B273-B869D6E5B09B}"/>
                    </a:ext>
                  </a:extLst>
                </p:cNvPr>
                <p:cNvGrpSpPr/>
                <p:nvPr/>
              </p:nvGrpSpPr>
              <p:grpSpPr>
                <a:xfrm>
                  <a:off x="4468856" y="381000"/>
                  <a:ext cx="590846" cy="1239869"/>
                  <a:chOff x="4468856" y="381000"/>
                  <a:chExt cx="590846" cy="1239869"/>
                </a:xfrm>
                <a:grpFill/>
              </p:grpSpPr>
              <p:sp>
                <p:nvSpPr>
                  <p:cNvPr id="631" name="Freeform 242">
                    <a:extLst>
                      <a:ext uri="{FF2B5EF4-FFF2-40B4-BE49-F238E27FC236}">
                        <a16:creationId xmlns:a16="http://schemas.microsoft.com/office/drawing/2014/main" id="{D6561368-F3DA-44B8-8566-85175DC435A6}"/>
                      </a:ext>
                    </a:extLst>
                  </p:cNvPr>
                  <p:cNvSpPr/>
                  <p:nvPr/>
                </p:nvSpPr>
                <p:spPr>
                  <a:xfrm>
                    <a:off x="4606298" y="968383"/>
                    <a:ext cx="392071" cy="652486"/>
                  </a:xfrm>
                  <a:custGeom>
                    <a:avLst/>
                    <a:gdLst>
                      <a:gd name="connsiteX0" fmla="*/ 160020 w 2065020"/>
                      <a:gd name="connsiteY0" fmla="*/ 937260 h 3436620"/>
                      <a:gd name="connsiteX1" fmla="*/ 259080 w 2065020"/>
                      <a:gd name="connsiteY1" fmla="*/ 1028700 h 3436620"/>
                      <a:gd name="connsiteX2" fmla="*/ 373380 w 2065020"/>
                      <a:gd name="connsiteY2" fmla="*/ 1089660 h 3436620"/>
                      <a:gd name="connsiteX3" fmla="*/ 449580 w 2065020"/>
                      <a:gd name="connsiteY3" fmla="*/ 1120140 h 3436620"/>
                      <a:gd name="connsiteX4" fmla="*/ 617220 w 2065020"/>
                      <a:gd name="connsiteY4" fmla="*/ 1120140 h 3436620"/>
                      <a:gd name="connsiteX5" fmla="*/ 754380 w 2065020"/>
                      <a:gd name="connsiteY5" fmla="*/ 1120140 h 3436620"/>
                      <a:gd name="connsiteX6" fmla="*/ 975360 w 2065020"/>
                      <a:gd name="connsiteY6" fmla="*/ 1036320 h 3436620"/>
                      <a:gd name="connsiteX7" fmla="*/ 1203960 w 2065020"/>
                      <a:gd name="connsiteY7" fmla="*/ 906780 h 3436620"/>
                      <a:gd name="connsiteX8" fmla="*/ 1463040 w 2065020"/>
                      <a:gd name="connsiteY8" fmla="*/ 693420 h 3436620"/>
                      <a:gd name="connsiteX9" fmla="*/ 1645920 w 2065020"/>
                      <a:gd name="connsiteY9" fmla="*/ 495300 h 3436620"/>
                      <a:gd name="connsiteX10" fmla="*/ 1775460 w 2065020"/>
                      <a:gd name="connsiteY10" fmla="*/ 304800 h 3436620"/>
                      <a:gd name="connsiteX11" fmla="*/ 1897380 w 2065020"/>
                      <a:gd name="connsiteY11" fmla="*/ 0 h 3436620"/>
                      <a:gd name="connsiteX12" fmla="*/ 1882140 w 2065020"/>
                      <a:gd name="connsiteY12" fmla="*/ 281940 h 3436620"/>
                      <a:gd name="connsiteX13" fmla="*/ 1882140 w 2065020"/>
                      <a:gd name="connsiteY13" fmla="*/ 556260 h 3436620"/>
                      <a:gd name="connsiteX14" fmla="*/ 1920240 w 2065020"/>
                      <a:gd name="connsiteY14" fmla="*/ 830580 h 3436620"/>
                      <a:gd name="connsiteX15" fmla="*/ 1996440 w 2065020"/>
                      <a:gd name="connsiteY15" fmla="*/ 1059180 h 3436620"/>
                      <a:gd name="connsiteX16" fmla="*/ 2065020 w 2065020"/>
                      <a:gd name="connsiteY16" fmla="*/ 1158240 h 3436620"/>
                      <a:gd name="connsiteX17" fmla="*/ 1935480 w 2065020"/>
                      <a:gd name="connsiteY17" fmla="*/ 1440180 h 3436620"/>
                      <a:gd name="connsiteX18" fmla="*/ 1783080 w 2065020"/>
                      <a:gd name="connsiteY18" fmla="*/ 1798320 h 3436620"/>
                      <a:gd name="connsiteX19" fmla="*/ 1645920 w 2065020"/>
                      <a:gd name="connsiteY19" fmla="*/ 2065020 h 3436620"/>
                      <a:gd name="connsiteX20" fmla="*/ 1577340 w 2065020"/>
                      <a:gd name="connsiteY20" fmla="*/ 2202180 h 3436620"/>
                      <a:gd name="connsiteX21" fmla="*/ 1501140 w 2065020"/>
                      <a:gd name="connsiteY21" fmla="*/ 2331720 h 3436620"/>
                      <a:gd name="connsiteX22" fmla="*/ 1341120 w 2065020"/>
                      <a:gd name="connsiteY22" fmla="*/ 2407920 h 3436620"/>
                      <a:gd name="connsiteX23" fmla="*/ 1135380 w 2065020"/>
                      <a:gd name="connsiteY23" fmla="*/ 2438400 h 3436620"/>
                      <a:gd name="connsiteX24" fmla="*/ 998220 w 2065020"/>
                      <a:gd name="connsiteY24" fmla="*/ 2468880 h 3436620"/>
                      <a:gd name="connsiteX25" fmla="*/ 853440 w 2065020"/>
                      <a:gd name="connsiteY25" fmla="*/ 2598420 h 3436620"/>
                      <a:gd name="connsiteX26" fmla="*/ 662940 w 2065020"/>
                      <a:gd name="connsiteY26" fmla="*/ 3063240 h 3436620"/>
                      <a:gd name="connsiteX27" fmla="*/ 495300 w 2065020"/>
                      <a:gd name="connsiteY27" fmla="*/ 3436620 h 3436620"/>
                      <a:gd name="connsiteX28" fmla="*/ 350520 w 2065020"/>
                      <a:gd name="connsiteY28" fmla="*/ 3108960 h 3436620"/>
                      <a:gd name="connsiteX29" fmla="*/ 228600 w 2065020"/>
                      <a:gd name="connsiteY29" fmla="*/ 2613660 h 3436620"/>
                      <a:gd name="connsiteX30" fmla="*/ 137160 w 2065020"/>
                      <a:gd name="connsiteY30" fmla="*/ 2293620 h 3436620"/>
                      <a:gd name="connsiteX31" fmla="*/ 0 w 2065020"/>
                      <a:gd name="connsiteY31" fmla="*/ 1950720 h 3436620"/>
                      <a:gd name="connsiteX32" fmla="*/ 76200 w 2065020"/>
                      <a:gd name="connsiteY32" fmla="*/ 1645920 h 3436620"/>
                      <a:gd name="connsiteX33" fmla="*/ 152400 w 2065020"/>
                      <a:gd name="connsiteY33" fmla="*/ 1348740 h 3436620"/>
                      <a:gd name="connsiteX34" fmla="*/ 167640 w 2065020"/>
                      <a:gd name="connsiteY34" fmla="*/ 1082040 h 3436620"/>
                      <a:gd name="connsiteX35" fmla="*/ 160020 w 2065020"/>
                      <a:gd name="connsiteY35" fmla="*/ 937260 h 3436620"/>
                      <a:gd name="connsiteX0" fmla="*/ 160020 w 2065020"/>
                      <a:gd name="connsiteY0" fmla="*/ 937260 h 3436620"/>
                      <a:gd name="connsiteX1" fmla="*/ 259080 w 2065020"/>
                      <a:gd name="connsiteY1" fmla="*/ 1028700 h 3436620"/>
                      <a:gd name="connsiteX2" fmla="*/ 373380 w 2065020"/>
                      <a:gd name="connsiteY2" fmla="*/ 1089660 h 3436620"/>
                      <a:gd name="connsiteX3" fmla="*/ 449580 w 2065020"/>
                      <a:gd name="connsiteY3" fmla="*/ 1120140 h 3436620"/>
                      <a:gd name="connsiteX4" fmla="*/ 617220 w 2065020"/>
                      <a:gd name="connsiteY4" fmla="*/ 1120140 h 3436620"/>
                      <a:gd name="connsiteX5" fmla="*/ 754380 w 2065020"/>
                      <a:gd name="connsiteY5" fmla="*/ 1120140 h 3436620"/>
                      <a:gd name="connsiteX6" fmla="*/ 975360 w 2065020"/>
                      <a:gd name="connsiteY6" fmla="*/ 1036320 h 3436620"/>
                      <a:gd name="connsiteX7" fmla="*/ 1203960 w 2065020"/>
                      <a:gd name="connsiteY7" fmla="*/ 906780 h 3436620"/>
                      <a:gd name="connsiteX8" fmla="*/ 1463040 w 2065020"/>
                      <a:gd name="connsiteY8" fmla="*/ 693420 h 3436620"/>
                      <a:gd name="connsiteX9" fmla="*/ 1653540 w 2065020"/>
                      <a:gd name="connsiteY9" fmla="*/ 449580 h 3436620"/>
                      <a:gd name="connsiteX10" fmla="*/ 1775460 w 2065020"/>
                      <a:gd name="connsiteY10" fmla="*/ 304800 h 3436620"/>
                      <a:gd name="connsiteX11" fmla="*/ 1897380 w 2065020"/>
                      <a:gd name="connsiteY11" fmla="*/ 0 h 3436620"/>
                      <a:gd name="connsiteX12" fmla="*/ 1882140 w 2065020"/>
                      <a:gd name="connsiteY12" fmla="*/ 281940 h 3436620"/>
                      <a:gd name="connsiteX13" fmla="*/ 1882140 w 2065020"/>
                      <a:gd name="connsiteY13" fmla="*/ 556260 h 3436620"/>
                      <a:gd name="connsiteX14" fmla="*/ 1920240 w 2065020"/>
                      <a:gd name="connsiteY14" fmla="*/ 830580 h 3436620"/>
                      <a:gd name="connsiteX15" fmla="*/ 1996440 w 2065020"/>
                      <a:gd name="connsiteY15" fmla="*/ 1059180 h 3436620"/>
                      <a:gd name="connsiteX16" fmla="*/ 2065020 w 2065020"/>
                      <a:gd name="connsiteY16" fmla="*/ 1158240 h 3436620"/>
                      <a:gd name="connsiteX17" fmla="*/ 1935480 w 2065020"/>
                      <a:gd name="connsiteY17" fmla="*/ 1440180 h 3436620"/>
                      <a:gd name="connsiteX18" fmla="*/ 1783080 w 2065020"/>
                      <a:gd name="connsiteY18" fmla="*/ 1798320 h 3436620"/>
                      <a:gd name="connsiteX19" fmla="*/ 1645920 w 2065020"/>
                      <a:gd name="connsiteY19" fmla="*/ 2065020 h 3436620"/>
                      <a:gd name="connsiteX20" fmla="*/ 1577340 w 2065020"/>
                      <a:gd name="connsiteY20" fmla="*/ 2202180 h 3436620"/>
                      <a:gd name="connsiteX21" fmla="*/ 1501140 w 2065020"/>
                      <a:gd name="connsiteY21" fmla="*/ 2331720 h 3436620"/>
                      <a:gd name="connsiteX22" fmla="*/ 1341120 w 2065020"/>
                      <a:gd name="connsiteY22" fmla="*/ 2407920 h 3436620"/>
                      <a:gd name="connsiteX23" fmla="*/ 1135380 w 2065020"/>
                      <a:gd name="connsiteY23" fmla="*/ 2438400 h 3436620"/>
                      <a:gd name="connsiteX24" fmla="*/ 998220 w 2065020"/>
                      <a:gd name="connsiteY24" fmla="*/ 2468880 h 3436620"/>
                      <a:gd name="connsiteX25" fmla="*/ 853440 w 2065020"/>
                      <a:gd name="connsiteY25" fmla="*/ 2598420 h 3436620"/>
                      <a:gd name="connsiteX26" fmla="*/ 662940 w 2065020"/>
                      <a:gd name="connsiteY26" fmla="*/ 3063240 h 3436620"/>
                      <a:gd name="connsiteX27" fmla="*/ 495300 w 2065020"/>
                      <a:gd name="connsiteY27" fmla="*/ 3436620 h 3436620"/>
                      <a:gd name="connsiteX28" fmla="*/ 350520 w 2065020"/>
                      <a:gd name="connsiteY28" fmla="*/ 3108960 h 3436620"/>
                      <a:gd name="connsiteX29" fmla="*/ 228600 w 2065020"/>
                      <a:gd name="connsiteY29" fmla="*/ 2613660 h 3436620"/>
                      <a:gd name="connsiteX30" fmla="*/ 137160 w 2065020"/>
                      <a:gd name="connsiteY30" fmla="*/ 2293620 h 3436620"/>
                      <a:gd name="connsiteX31" fmla="*/ 0 w 2065020"/>
                      <a:gd name="connsiteY31" fmla="*/ 1950720 h 3436620"/>
                      <a:gd name="connsiteX32" fmla="*/ 76200 w 2065020"/>
                      <a:gd name="connsiteY32" fmla="*/ 1645920 h 3436620"/>
                      <a:gd name="connsiteX33" fmla="*/ 152400 w 2065020"/>
                      <a:gd name="connsiteY33" fmla="*/ 1348740 h 3436620"/>
                      <a:gd name="connsiteX34" fmla="*/ 167640 w 2065020"/>
                      <a:gd name="connsiteY34" fmla="*/ 1082040 h 3436620"/>
                      <a:gd name="connsiteX35" fmla="*/ 160020 w 2065020"/>
                      <a:gd name="connsiteY35" fmla="*/ 937260 h 3436620"/>
                      <a:gd name="connsiteX0" fmla="*/ 160020 w 2065020"/>
                      <a:gd name="connsiteY0" fmla="*/ 937260 h 3436620"/>
                      <a:gd name="connsiteX1" fmla="*/ 259080 w 2065020"/>
                      <a:gd name="connsiteY1" fmla="*/ 1028700 h 3436620"/>
                      <a:gd name="connsiteX2" fmla="*/ 373380 w 2065020"/>
                      <a:gd name="connsiteY2" fmla="*/ 1089660 h 3436620"/>
                      <a:gd name="connsiteX3" fmla="*/ 449580 w 2065020"/>
                      <a:gd name="connsiteY3" fmla="*/ 1120140 h 3436620"/>
                      <a:gd name="connsiteX4" fmla="*/ 617220 w 2065020"/>
                      <a:gd name="connsiteY4" fmla="*/ 1120140 h 3436620"/>
                      <a:gd name="connsiteX5" fmla="*/ 754380 w 2065020"/>
                      <a:gd name="connsiteY5" fmla="*/ 1120140 h 3436620"/>
                      <a:gd name="connsiteX6" fmla="*/ 975360 w 2065020"/>
                      <a:gd name="connsiteY6" fmla="*/ 1036320 h 3436620"/>
                      <a:gd name="connsiteX7" fmla="*/ 1203960 w 2065020"/>
                      <a:gd name="connsiteY7" fmla="*/ 906780 h 3436620"/>
                      <a:gd name="connsiteX8" fmla="*/ 1463040 w 2065020"/>
                      <a:gd name="connsiteY8" fmla="*/ 693420 h 3436620"/>
                      <a:gd name="connsiteX9" fmla="*/ 1653540 w 2065020"/>
                      <a:gd name="connsiteY9" fmla="*/ 449580 h 3436620"/>
                      <a:gd name="connsiteX10" fmla="*/ 1775460 w 2065020"/>
                      <a:gd name="connsiteY10" fmla="*/ 304800 h 3436620"/>
                      <a:gd name="connsiteX11" fmla="*/ 1897380 w 2065020"/>
                      <a:gd name="connsiteY11" fmla="*/ 0 h 3436620"/>
                      <a:gd name="connsiteX12" fmla="*/ 1882140 w 2065020"/>
                      <a:gd name="connsiteY12" fmla="*/ 281940 h 3436620"/>
                      <a:gd name="connsiteX13" fmla="*/ 1882140 w 2065020"/>
                      <a:gd name="connsiteY13" fmla="*/ 556260 h 3436620"/>
                      <a:gd name="connsiteX14" fmla="*/ 1920240 w 2065020"/>
                      <a:gd name="connsiteY14" fmla="*/ 830580 h 3436620"/>
                      <a:gd name="connsiteX15" fmla="*/ 1996440 w 2065020"/>
                      <a:gd name="connsiteY15" fmla="*/ 1059180 h 3436620"/>
                      <a:gd name="connsiteX16" fmla="*/ 2065020 w 2065020"/>
                      <a:gd name="connsiteY16" fmla="*/ 1158240 h 3436620"/>
                      <a:gd name="connsiteX17" fmla="*/ 1935480 w 2065020"/>
                      <a:gd name="connsiteY17" fmla="*/ 1440180 h 3436620"/>
                      <a:gd name="connsiteX18" fmla="*/ 1783080 w 2065020"/>
                      <a:gd name="connsiteY18" fmla="*/ 1798320 h 3436620"/>
                      <a:gd name="connsiteX19" fmla="*/ 1645920 w 2065020"/>
                      <a:gd name="connsiteY19" fmla="*/ 2065020 h 3436620"/>
                      <a:gd name="connsiteX20" fmla="*/ 1577340 w 2065020"/>
                      <a:gd name="connsiteY20" fmla="*/ 2202180 h 3436620"/>
                      <a:gd name="connsiteX21" fmla="*/ 1501140 w 2065020"/>
                      <a:gd name="connsiteY21" fmla="*/ 2331720 h 3436620"/>
                      <a:gd name="connsiteX22" fmla="*/ 1341120 w 2065020"/>
                      <a:gd name="connsiteY22" fmla="*/ 2407920 h 3436620"/>
                      <a:gd name="connsiteX23" fmla="*/ 1135380 w 2065020"/>
                      <a:gd name="connsiteY23" fmla="*/ 2438400 h 3436620"/>
                      <a:gd name="connsiteX24" fmla="*/ 998220 w 2065020"/>
                      <a:gd name="connsiteY24" fmla="*/ 2468880 h 3436620"/>
                      <a:gd name="connsiteX25" fmla="*/ 853440 w 2065020"/>
                      <a:gd name="connsiteY25" fmla="*/ 2598420 h 3436620"/>
                      <a:gd name="connsiteX26" fmla="*/ 662940 w 2065020"/>
                      <a:gd name="connsiteY26" fmla="*/ 3063240 h 3436620"/>
                      <a:gd name="connsiteX27" fmla="*/ 495300 w 2065020"/>
                      <a:gd name="connsiteY27" fmla="*/ 3436620 h 3436620"/>
                      <a:gd name="connsiteX28" fmla="*/ 350520 w 2065020"/>
                      <a:gd name="connsiteY28" fmla="*/ 3108960 h 3436620"/>
                      <a:gd name="connsiteX29" fmla="*/ 228600 w 2065020"/>
                      <a:gd name="connsiteY29" fmla="*/ 2613660 h 3436620"/>
                      <a:gd name="connsiteX30" fmla="*/ 137160 w 2065020"/>
                      <a:gd name="connsiteY30" fmla="*/ 2293620 h 3436620"/>
                      <a:gd name="connsiteX31" fmla="*/ 0 w 2065020"/>
                      <a:gd name="connsiteY31" fmla="*/ 1950720 h 3436620"/>
                      <a:gd name="connsiteX32" fmla="*/ 76200 w 2065020"/>
                      <a:gd name="connsiteY32" fmla="*/ 1645920 h 3436620"/>
                      <a:gd name="connsiteX33" fmla="*/ 152400 w 2065020"/>
                      <a:gd name="connsiteY33" fmla="*/ 1348740 h 3436620"/>
                      <a:gd name="connsiteX34" fmla="*/ 167640 w 2065020"/>
                      <a:gd name="connsiteY34" fmla="*/ 1082040 h 3436620"/>
                      <a:gd name="connsiteX35" fmla="*/ 160020 w 2065020"/>
                      <a:gd name="connsiteY35" fmla="*/ 937260 h 3436620"/>
                      <a:gd name="connsiteX0" fmla="*/ 160020 w 2065020"/>
                      <a:gd name="connsiteY0" fmla="*/ 937260 h 3436620"/>
                      <a:gd name="connsiteX1" fmla="*/ 259080 w 2065020"/>
                      <a:gd name="connsiteY1" fmla="*/ 1028700 h 3436620"/>
                      <a:gd name="connsiteX2" fmla="*/ 373380 w 2065020"/>
                      <a:gd name="connsiteY2" fmla="*/ 1089660 h 3436620"/>
                      <a:gd name="connsiteX3" fmla="*/ 449580 w 2065020"/>
                      <a:gd name="connsiteY3" fmla="*/ 1120140 h 3436620"/>
                      <a:gd name="connsiteX4" fmla="*/ 617220 w 2065020"/>
                      <a:gd name="connsiteY4" fmla="*/ 1120140 h 3436620"/>
                      <a:gd name="connsiteX5" fmla="*/ 754380 w 2065020"/>
                      <a:gd name="connsiteY5" fmla="*/ 1120140 h 3436620"/>
                      <a:gd name="connsiteX6" fmla="*/ 975360 w 2065020"/>
                      <a:gd name="connsiteY6" fmla="*/ 1036320 h 3436620"/>
                      <a:gd name="connsiteX7" fmla="*/ 1203960 w 2065020"/>
                      <a:gd name="connsiteY7" fmla="*/ 906780 h 3436620"/>
                      <a:gd name="connsiteX8" fmla="*/ 1463040 w 2065020"/>
                      <a:gd name="connsiteY8" fmla="*/ 693420 h 3436620"/>
                      <a:gd name="connsiteX9" fmla="*/ 1653540 w 2065020"/>
                      <a:gd name="connsiteY9" fmla="*/ 449580 h 3436620"/>
                      <a:gd name="connsiteX10" fmla="*/ 1775460 w 2065020"/>
                      <a:gd name="connsiteY10" fmla="*/ 304800 h 3436620"/>
                      <a:gd name="connsiteX11" fmla="*/ 1897380 w 2065020"/>
                      <a:gd name="connsiteY11" fmla="*/ 0 h 3436620"/>
                      <a:gd name="connsiteX12" fmla="*/ 1882140 w 2065020"/>
                      <a:gd name="connsiteY12" fmla="*/ 281940 h 3436620"/>
                      <a:gd name="connsiteX13" fmla="*/ 1882140 w 2065020"/>
                      <a:gd name="connsiteY13" fmla="*/ 556260 h 3436620"/>
                      <a:gd name="connsiteX14" fmla="*/ 1920240 w 2065020"/>
                      <a:gd name="connsiteY14" fmla="*/ 830580 h 3436620"/>
                      <a:gd name="connsiteX15" fmla="*/ 1996440 w 2065020"/>
                      <a:gd name="connsiteY15" fmla="*/ 1059180 h 3436620"/>
                      <a:gd name="connsiteX16" fmla="*/ 2065020 w 2065020"/>
                      <a:gd name="connsiteY16" fmla="*/ 1158240 h 3436620"/>
                      <a:gd name="connsiteX17" fmla="*/ 1935480 w 2065020"/>
                      <a:gd name="connsiteY17" fmla="*/ 1440180 h 3436620"/>
                      <a:gd name="connsiteX18" fmla="*/ 1783080 w 2065020"/>
                      <a:gd name="connsiteY18" fmla="*/ 1798320 h 3436620"/>
                      <a:gd name="connsiteX19" fmla="*/ 1645920 w 2065020"/>
                      <a:gd name="connsiteY19" fmla="*/ 2065020 h 3436620"/>
                      <a:gd name="connsiteX20" fmla="*/ 1577340 w 2065020"/>
                      <a:gd name="connsiteY20" fmla="*/ 2202180 h 3436620"/>
                      <a:gd name="connsiteX21" fmla="*/ 1501140 w 2065020"/>
                      <a:gd name="connsiteY21" fmla="*/ 2331720 h 3436620"/>
                      <a:gd name="connsiteX22" fmla="*/ 1341120 w 2065020"/>
                      <a:gd name="connsiteY22" fmla="*/ 2407920 h 3436620"/>
                      <a:gd name="connsiteX23" fmla="*/ 1135380 w 2065020"/>
                      <a:gd name="connsiteY23" fmla="*/ 2438400 h 3436620"/>
                      <a:gd name="connsiteX24" fmla="*/ 998220 w 2065020"/>
                      <a:gd name="connsiteY24" fmla="*/ 2468880 h 3436620"/>
                      <a:gd name="connsiteX25" fmla="*/ 853440 w 2065020"/>
                      <a:gd name="connsiteY25" fmla="*/ 2598420 h 3436620"/>
                      <a:gd name="connsiteX26" fmla="*/ 701040 w 2065020"/>
                      <a:gd name="connsiteY26" fmla="*/ 3075940 h 3436620"/>
                      <a:gd name="connsiteX27" fmla="*/ 495300 w 2065020"/>
                      <a:gd name="connsiteY27" fmla="*/ 3436620 h 3436620"/>
                      <a:gd name="connsiteX28" fmla="*/ 350520 w 2065020"/>
                      <a:gd name="connsiteY28" fmla="*/ 3108960 h 3436620"/>
                      <a:gd name="connsiteX29" fmla="*/ 228600 w 2065020"/>
                      <a:gd name="connsiteY29" fmla="*/ 2613660 h 3436620"/>
                      <a:gd name="connsiteX30" fmla="*/ 137160 w 2065020"/>
                      <a:gd name="connsiteY30" fmla="*/ 2293620 h 3436620"/>
                      <a:gd name="connsiteX31" fmla="*/ 0 w 2065020"/>
                      <a:gd name="connsiteY31" fmla="*/ 1950720 h 3436620"/>
                      <a:gd name="connsiteX32" fmla="*/ 76200 w 2065020"/>
                      <a:gd name="connsiteY32" fmla="*/ 1645920 h 3436620"/>
                      <a:gd name="connsiteX33" fmla="*/ 152400 w 2065020"/>
                      <a:gd name="connsiteY33" fmla="*/ 1348740 h 3436620"/>
                      <a:gd name="connsiteX34" fmla="*/ 167640 w 2065020"/>
                      <a:gd name="connsiteY34" fmla="*/ 1082040 h 3436620"/>
                      <a:gd name="connsiteX35" fmla="*/ 160020 w 2065020"/>
                      <a:gd name="connsiteY35" fmla="*/ 937260 h 3436620"/>
                      <a:gd name="connsiteX0" fmla="*/ 160020 w 2065020"/>
                      <a:gd name="connsiteY0" fmla="*/ 937260 h 3436620"/>
                      <a:gd name="connsiteX1" fmla="*/ 259080 w 2065020"/>
                      <a:gd name="connsiteY1" fmla="*/ 1028700 h 3436620"/>
                      <a:gd name="connsiteX2" fmla="*/ 373380 w 2065020"/>
                      <a:gd name="connsiteY2" fmla="*/ 1089660 h 3436620"/>
                      <a:gd name="connsiteX3" fmla="*/ 449580 w 2065020"/>
                      <a:gd name="connsiteY3" fmla="*/ 1120140 h 3436620"/>
                      <a:gd name="connsiteX4" fmla="*/ 617220 w 2065020"/>
                      <a:gd name="connsiteY4" fmla="*/ 1120140 h 3436620"/>
                      <a:gd name="connsiteX5" fmla="*/ 754380 w 2065020"/>
                      <a:gd name="connsiteY5" fmla="*/ 1120140 h 3436620"/>
                      <a:gd name="connsiteX6" fmla="*/ 975360 w 2065020"/>
                      <a:gd name="connsiteY6" fmla="*/ 1036320 h 3436620"/>
                      <a:gd name="connsiteX7" fmla="*/ 1203960 w 2065020"/>
                      <a:gd name="connsiteY7" fmla="*/ 906780 h 3436620"/>
                      <a:gd name="connsiteX8" fmla="*/ 1463040 w 2065020"/>
                      <a:gd name="connsiteY8" fmla="*/ 693420 h 3436620"/>
                      <a:gd name="connsiteX9" fmla="*/ 1653540 w 2065020"/>
                      <a:gd name="connsiteY9" fmla="*/ 449580 h 3436620"/>
                      <a:gd name="connsiteX10" fmla="*/ 1775460 w 2065020"/>
                      <a:gd name="connsiteY10" fmla="*/ 304800 h 3436620"/>
                      <a:gd name="connsiteX11" fmla="*/ 1897380 w 2065020"/>
                      <a:gd name="connsiteY11" fmla="*/ 0 h 3436620"/>
                      <a:gd name="connsiteX12" fmla="*/ 1882140 w 2065020"/>
                      <a:gd name="connsiteY12" fmla="*/ 281940 h 3436620"/>
                      <a:gd name="connsiteX13" fmla="*/ 1882140 w 2065020"/>
                      <a:gd name="connsiteY13" fmla="*/ 556260 h 3436620"/>
                      <a:gd name="connsiteX14" fmla="*/ 1920240 w 2065020"/>
                      <a:gd name="connsiteY14" fmla="*/ 830580 h 3436620"/>
                      <a:gd name="connsiteX15" fmla="*/ 1996440 w 2065020"/>
                      <a:gd name="connsiteY15" fmla="*/ 1059180 h 3436620"/>
                      <a:gd name="connsiteX16" fmla="*/ 2065020 w 2065020"/>
                      <a:gd name="connsiteY16" fmla="*/ 1158240 h 3436620"/>
                      <a:gd name="connsiteX17" fmla="*/ 1935480 w 2065020"/>
                      <a:gd name="connsiteY17" fmla="*/ 1440180 h 3436620"/>
                      <a:gd name="connsiteX18" fmla="*/ 1783080 w 2065020"/>
                      <a:gd name="connsiteY18" fmla="*/ 1798320 h 3436620"/>
                      <a:gd name="connsiteX19" fmla="*/ 1645920 w 2065020"/>
                      <a:gd name="connsiteY19" fmla="*/ 2065020 h 3436620"/>
                      <a:gd name="connsiteX20" fmla="*/ 1577340 w 2065020"/>
                      <a:gd name="connsiteY20" fmla="*/ 2202180 h 3436620"/>
                      <a:gd name="connsiteX21" fmla="*/ 1501140 w 2065020"/>
                      <a:gd name="connsiteY21" fmla="*/ 2331720 h 3436620"/>
                      <a:gd name="connsiteX22" fmla="*/ 1341120 w 2065020"/>
                      <a:gd name="connsiteY22" fmla="*/ 2407920 h 3436620"/>
                      <a:gd name="connsiteX23" fmla="*/ 1135380 w 2065020"/>
                      <a:gd name="connsiteY23" fmla="*/ 2438400 h 3436620"/>
                      <a:gd name="connsiteX24" fmla="*/ 998220 w 2065020"/>
                      <a:gd name="connsiteY24" fmla="*/ 2468880 h 3436620"/>
                      <a:gd name="connsiteX25" fmla="*/ 866140 w 2065020"/>
                      <a:gd name="connsiteY25" fmla="*/ 2633345 h 3436620"/>
                      <a:gd name="connsiteX26" fmla="*/ 701040 w 2065020"/>
                      <a:gd name="connsiteY26" fmla="*/ 3075940 h 3436620"/>
                      <a:gd name="connsiteX27" fmla="*/ 495300 w 2065020"/>
                      <a:gd name="connsiteY27" fmla="*/ 3436620 h 3436620"/>
                      <a:gd name="connsiteX28" fmla="*/ 350520 w 2065020"/>
                      <a:gd name="connsiteY28" fmla="*/ 3108960 h 3436620"/>
                      <a:gd name="connsiteX29" fmla="*/ 228600 w 2065020"/>
                      <a:gd name="connsiteY29" fmla="*/ 2613660 h 3436620"/>
                      <a:gd name="connsiteX30" fmla="*/ 137160 w 2065020"/>
                      <a:gd name="connsiteY30" fmla="*/ 2293620 h 3436620"/>
                      <a:gd name="connsiteX31" fmla="*/ 0 w 2065020"/>
                      <a:gd name="connsiteY31" fmla="*/ 1950720 h 3436620"/>
                      <a:gd name="connsiteX32" fmla="*/ 76200 w 2065020"/>
                      <a:gd name="connsiteY32" fmla="*/ 1645920 h 3436620"/>
                      <a:gd name="connsiteX33" fmla="*/ 152400 w 2065020"/>
                      <a:gd name="connsiteY33" fmla="*/ 1348740 h 3436620"/>
                      <a:gd name="connsiteX34" fmla="*/ 167640 w 2065020"/>
                      <a:gd name="connsiteY34" fmla="*/ 1082040 h 3436620"/>
                      <a:gd name="connsiteX35" fmla="*/ 160020 w 2065020"/>
                      <a:gd name="connsiteY35" fmla="*/ 937260 h 3436620"/>
                      <a:gd name="connsiteX0" fmla="*/ 160020 w 2065020"/>
                      <a:gd name="connsiteY0" fmla="*/ 937260 h 3436620"/>
                      <a:gd name="connsiteX1" fmla="*/ 259080 w 2065020"/>
                      <a:gd name="connsiteY1" fmla="*/ 1028700 h 3436620"/>
                      <a:gd name="connsiteX2" fmla="*/ 373380 w 2065020"/>
                      <a:gd name="connsiteY2" fmla="*/ 1089660 h 3436620"/>
                      <a:gd name="connsiteX3" fmla="*/ 449580 w 2065020"/>
                      <a:gd name="connsiteY3" fmla="*/ 1120140 h 3436620"/>
                      <a:gd name="connsiteX4" fmla="*/ 617220 w 2065020"/>
                      <a:gd name="connsiteY4" fmla="*/ 1120140 h 3436620"/>
                      <a:gd name="connsiteX5" fmla="*/ 754380 w 2065020"/>
                      <a:gd name="connsiteY5" fmla="*/ 1120140 h 3436620"/>
                      <a:gd name="connsiteX6" fmla="*/ 975360 w 2065020"/>
                      <a:gd name="connsiteY6" fmla="*/ 1036320 h 3436620"/>
                      <a:gd name="connsiteX7" fmla="*/ 1203960 w 2065020"/>
                      <a:gd name="connsiteY7" fmla="*/ 906780 h 3436620"/>
                      <a:gd name="connsiteX8" fmla="*/ 1463040 w 2065020"/>
                      <a:gd name="connsiteY8" fmla="*/ 693420 h 3436620"/>
                      <a:gd name="connsiteX9" fmla="*/ 1653540 w 2065020"/>
                      <a:gd name="connsiteY9" fmla="*/ 449580 h 3436620"/>
                      <a:gd name="connsiteX10" fmla="*/ 1775460 w 2065020"/>
                      <a:gd name="connsiteY10" fmla="*/ 304800 h 3436620"/>
                      <a:gd name="connsiteX11" fmla="*/ 1897380 w 2065020"/>
                      <a:gd name="connsiteY11" fmla="*/ 0 h 3436620"/>
                      <a:gd name="connsiteX12" fmla="*/ 1882140 w 2065020"/>
                      <a:gd name="connsiteY12" fmla="*/ 281940 h 3436620"/>
                      <a:gd name="connsiteX13" fmla="*/ 1882140 w 2065020"/>
                      <a:gd name="connsiteY13" fmla="*/ 556260 h 3436620"/>
                      <a:gd name="connsiteX14" fmla="*/ 1920240 w 2065020"/>
                      <a:gd name="connsiteY14" fmla="*/ 830580 h 3436620"/>
                      <a:gd name="connsiteX15" fmla="*/ 1996440 w 2065020"/>
                      <a:gd name="connsiteY15" fmla="*/ 1059180 h 3436620"/>
                      <a:gd name="connsiteX16" fmla="*/ 2065020 w 2065020"/>
                      <a:gd name="connsiteY16" fmla="*/ 1158240 h 3436620"/>
                      <a:gd name="connsiteX17" fmla="*/ 1935480 w 2065020"/>
                      <a:gd name="connsiteY17" fmla="*/ 1440180 h 3436620"/>
                      <a:gd name="connsiteX18" fmla="*/ 1783080 w 2065020"/>
                      <a:gd name="connsiteY18" fmla="*/ 1798320 h 3436620"/>
                      <a:gd name="connsiteX19" fmla="*/ 1645920 w 2065020"/>
                      <a:gd name="connsiteY19" fmla="*/ 2065020 h 3436620"/>
                      <a:gd name="connsiteX20" fmla="*/ 1577340 w 2065020"/>
                      <a:gd name="connsiteY20" fmla="*/ 2202180 h 3436620"/>
                      <a:gd name="connsiteX21" fmla="*/ 1501140 w 2065020"/>
                      <a:gd name="connsiteY21" fmla="*/ 2331720 h 3436620"/>
                      <a:gd name="connsiteX22" fmla="*/ 1341120 w 2065020"/>
                      <a:gd name="connsiteY22" fmla="*/ 2407920 h 3436620"/>
                      <a:gd name="connsiteX23" fmla="*/ 1135380 w 2065020"/>
                      <a:gd name="connsiteY23" fmla="*/ 2438400 h 3436620"/>
                      <a:gd name="connsiteX24" fmla="*/ 985520 w 2065020"/>
                      <a:gd name="connsiteY24" fmla="*/ 2529205 h 3436620"/>
                      <a:gd name="connsiteX25" fmla="*/ 866140 w 2065020"/>
                      <a:gd name="connsiteY25" fmla="*/ 2633345 h 3436620"/>
                      <a:gd name="connsiteX26" fmla="*/ 701040 w 2065020"/>
                      <a:gd name="connsiteY26" fmla="*/ 3075940 h 3436620"/>
                      <a:gd name="connsiteX27" fmla="*/ 495300 w 2065020"/>
                      <a:gd name="connsiteY27" fmla="*/ 3436620 h 3436620"/>
                      <a:gd name="connsiteX28" fmla="*/ 350520 w 2065020"/>
                      <a:gd name="connsiteY28" fmla="*/ 3108960 h 3436620"/>
                      <a:gd name="connsiteX29" fmla="*/ 228600 w 2065020"/>
                      <a:gd name="connsiteY29" fmla="*/ 2613660 h 3436620"/>
                      <a:gd name="connsiteX30" fmla="*/ 137160 w 2065020"/>
                      <a:gd name="connsiteY30" fmla="*/ 2293620 h 3436620"/>
                      <a:gd name="connsiteX31" fmla="*/ 0 w 2065020"/>
                      <a:gd name="connsiteY31" fmla="*/ 1950720 h 3436620"/>
                      <a:gd name="connsiteX32" fmla="*/ 76200 w 2065020"/>
                      <a:gd name="connsiteY32" fmla="*/ 1645920 h 3436620"/>
                      <a:gd name="connsiteX33" fmla="*/ 152400 w 2065020"/>
                      <a:gd name="connsiteY33" fmla="*/ 1348740 h 3436620"/>
                      <a:gd name="connsiteX34" fmla="*/ 167640 w 2065020"/>
                      <a:gd name="connsiteY34" fmla="*/ 1082040 h 3436620"/>
                      <a:gd name="connsiteX35" fmla="*/ 160020 w 2065020"/>
                      <a:gd name="connsiteY35" fmla="*/ 937260 h 3436620"/>
                      <a:gd name="connsiteX0" fmla="*/ 160020 w 2065020"/>
                      <a:gd name="connsiteY0" fmla="*/ 937260 h 3436620"/>
                      <a:gd name="connsiteX1" fmla="*/ 259080 w 2065020"/>
                      <a:gd name="connsiteY1" fmla="*/ 1028700 h 3436620"/>
                      <a:gd name="connsiteX2" fmla="*/ 373380 w 2065020"/>
                      <a:gd name="connsiteY2" fmla="*/ 1089660 h 3436620"/>
                      <a:gd name="connsiteX3" fmla="*/ 449580 w 2065020"/>
                      <a:gd name="connsiteY3" fmla="*/ 1120140 h 3436620"/>
                      <a:gd name="connsiteX4" fmla="*/ 617220 w 2065020"/>
                      <a:gd name="connsiteY4" fmla="*/ 1120140 h 3436620"/>
                      <a:gd name="connsiteX5" fmla="*/ 754380 w 2065020"/>
                      <a:gd name="connsiteY5" fmla="*/ 1120140 h 3436620"/>
                      <a:gd name="connsiteX6" fmla="*/ 975360 w 2065020"/>
                      <a:gd name="connsiteY6" fmla="*/ 1036320 h 3436620"/>
                      <a:gd name="connsiteX7" fmla="*/ 1203960 w 2065020"/>
                      <a:gd name="connsiteY7" fmla="*/ 906780 h 3436620"/>
                      <a:gd name="connsiteX8" fmla="*/ 1463040 w 2065020"/>
                      <a:gd name="connsiteY8" fmla="*/ 693420 h 3436620"/>
                      <a:gd name="connsiteX9" fmla="*/ 1653540 w 2065020"/>
                      <a:gd name="connsiteY9" fmla="*/ 449580 h 3436620"/>
                      <a:gd name="connsiteX10" fmla="*/ 1775460 w 2065020"/>
                      <a:gd name="connsiteY10" fmla="*/ 304800 h 3436620"/>
                      <a:gd name="connsiteX11" fmla="*/ 1897380 w 2065020"/>
                      <a:gd name="connsiteY11" fmla="*/ 0 h 3436620"/>
                      <a:gd name="connsiteX12" fmla="*/ 1882140 w 2065020"/>
                      <a:gd name="connsiteY12" fmla="*/ 281940 h 3436620"/>
                      <a:gd name="connsiteX13" fmla="*/ 1882140 w 2065020"/>
                      <a:gd name="connsiteY13" fmla="*/ 556260 h 3436620"/>
                      <a:gd name="connsiteX14" fmla="*/ 1920240 w 2065020"/>
                      <a:gd name="connsiteY14" fmla="*/ 830580 h 3436620"/>
                      <a:gd name="connsiteX15" fmla="*/ 1996440 w 2065020"/>
                      <a:gd name="connsiteY15" fmla="*/ 1059180 h 3436620"/>
                      <a:gd name="connsiteX16" fmla="*/ 2065020 w 2065020"/>
                      <a:gd name="connsiteY16" fmla="*/ 1158240 h 3436620"/>
                      <a:gd name="connsiteX17" fmla="*/ 1935480 w 2065020"/>
                      <a:gd name="connsiteY17" fmla="*/ 1440180 h 3436620"/>
                      <a:gd name="connsiteX18" fmla="*/ 1783080 w 2065020"/>
                      <a:gd name="connsiteY18" fmla="*/ 1798320 h 3436620"/>
                      <a:gd name="connsiteX19" fmla="*/ 1645920 w 2065020"/>
                      <a:gd name="connsiteY19" fmla="*/ 2065020 h 3436620"/>
                      <a:gd name="connsiteX20" fmla="*/ 1577340 w 2065020"/>
                      <a:gd name="connsiteY20" fmla="*/ 2202180 h 3436620"/>
                      <a:gd name="connsiteX21" fmla="*/ 1501140 w 2065020"/>
                      <a:gd name="connsiteY21" fmla="*/ 2331720 h 3436620"/>
                      <a:gd name="connsiteX22" fmla="*/ 1341120 w 2065020"/>
                      <a:gd name="connsiteY22" fmla="*/ 2407920 h 3436620"/>
                      <a:gd name="connsiteX23" fmla="*/ 1148080 w 2065020"/>
                      <a:gd name="connsiteY23" fmla="*/ 2489200 h 3436620"/>
                      <a:gd name="connsiteX24" fmla="*/ 985520 w 2065020"/>
                      <a:gd name="connsiteY24" fmla="*/ 2529205 h 3436620"/>
                      <a:gd name="connsiteX25" fmla="*/ 866140 w 2065020"/>
                      <a:gd name="connsiteY25" fmla="*/ 2633345 h 3436620"/>
                      <a:gd name="connsiteX26" fmla="*/ 701040 w 2065020"/>
                      <a:gd name="connsiteY26" fmla="*/ 3075940 h 3436620"/>
                      <a:gd name="connsiteX27" fmla="*/ 495300 w 2065020"/>
                      <a:gd name="connsiteY27" fmla="*/ 3436620 h 3436620"/>
                      <a:gd name="connsiteX28" fmla="*/ 350520 w 2065020"/>
                      <a:gd name="connsiteY28" fmla="*/ 3108960 h 3436620"/>
                      <a:gd name="connsiteX29" fmla="*/ 228600 w 2065020"/>
                      <a:gd name="connsiteY29" fmla="*/ 2613660 h 3436620"/>
                      <a:gd name="connsiteX30" fmla="*/ 137160 w 2065020"/>
                      <a:gd name="connsiteY30" fmla="*/ 2293620 h 3436620"/>
                      <a:gd name="connsiteX31" fmla="*/ 0 w 2065020"/>
                      <a:gd name="connsiteY31" fmla="*/ 1950720 h 3436620"/>
                      <a:gd name="connsiteX32" fmla="*/ 76200 w 2065020"/>
                      <a:gd name="connsiteY32" fmla="*/ 1645920 h 3436620"/>
                      <a:gd name="connsiteX33" fmla="*/ 152400 w 2065020"/>
                      <a:gd name="connsiteY33" fmla="*/ 1348740 h 3436620"/>
                      <a:gd name="connsiteX34" fmla="*/ 167640 w 2065020"/>
                      <a:gd name="connsiteY34" fmla="*/ 1082040 h 3436620"/>
                      <a:gd name="connsiteX35" fmla="*/ 160020 w 2065020"/>
                      <a:gd name="connsiteY35" fmla="*/ 937260 h 3436620"/>
                      <a:gd name="connsiteX0" fmla="*/ 160020 w 2065020"/>
                      <a:gd name="connsiteY0" fmla="*/ 937260 h 3436620"/>
                      <a:gd name="connsiteX1" fmla="*/ 259080 w 2065020"/>
                      <a:gd name="connsiteY1" fmla="*/ 1028700 h 3436620"/>
                      <a:gd name="connsiteX2" fmla="*/ 373380 w 2065020"/>
                      <a:gd name="connsiteY2" fmla="*/ 1089660 h 3436620"/>
                      <a:gd name="connsiteX3" fmla="*/ 449580 w 2065020"/>
                      <a:gd name="connsiteY3" fmla="*/ 1120140 h 3436620"/>
                      <a:gd name="connsiteX4" fmla="*/ 617220 w 2065020"/>
                      <a:gd name="connsiteY4" fmla="*/ 1120140 h 3436620"/>
                      <a:gd name="connsiteX5" fmla="*/ 754380 w 2065020"/>
                      <a:gd name="connsiteY5" fmla="*/ 1120140 h 3436620"/>
                      <a:gd name="connsiteX6" fmla="*/ 975360 w 2065020"/>
                      <a:gd name="connsiteY6" fmla="*/ 1036320 h 3436620"/>
                      <a:gd name="connsiteX7" fmla="*/ 1203960 w 2065020"/>
                      <a:gd name="connsiteY7" fmla="*/ 906780 h 3436620"/>
                      <a:gd name="connsiteX8" fmla="*/ 1463040 w 2065020"/>
                      <a:gd name="connsiteY8" fmla="*/ 693420 h 3436620"/>
                      <a:gd name="connsiteX9" fmla="*/ 1653540 w 2065020"/>
                      <a:gd name="connsiteY9" fmla="*/ 449580 h 3436620"/>
                      <a:gd name="connsiteX10" fmla="*/ 1775460 w 2065020"/>
                      <a:gd name="connsiteY10" fmla="*/ 304800 h 3436620"/>
                      <a:gd name="connsiteX11" fmla="*/ 1897380 w 2065020"/>
                      <a:gd name="connsiteY11" fmla="*/ 0 h 3436620"/>
                      <a:gd name="connsiteX12" fmla="*/ 1882140 w 2065020"/>
                      <a:gd name="connsiteY12" fmla="*/ 281940 h 3436620"/>
                      <a:gd name="connsiteX13" fmla="*/ 1882140 w 2065020"/>
                      <a:gd name="connsiteY13" fmla="*/ 556260 h 3436620"/>
                      <a:gd name="connsiteX14" fmla="*/ 1920240 w 2065020"/>
                      <a:gd name="connsiteY14" fmla="*/ 830580 h 3436620"/>
                      <a:gd name="connsiteX15" fmla="*/ 1996440 w 2065020"/>
                      <a:gd name="connsiteY15" fmla="*/ 1059180 h 3436620"/>
                      <a:gd name="connsiteX16" fmla="*/ 2065020 w 2065020"/>
                      <a:gd name="connsiteY16" fmla="*/ 1158240 h 3436620"/>
                      <a:gd name="connsiteX17" fmla="*/ 1935480 w 2065020"/>
                      <a:gd name="connsiteY17" fmla="*/ 1440180 h 3436620"/>
                      <a:gd name="connsiteX18" fmla="*/ 1783080 w 2065020"/>
                      <a:gd name="connsiteY18" fmla="*/ 1798320 h 3436620"/>
                      <a:gd name="connsiteX19" fmla="*/ 1645920 w 2065020"/>
                      <a:gd name="connsiteY19" fmla="*/ 2065020 h 3436620"/>
                      <a:gd name="connsiteX20" fmla="*/ 1577340 w 2065020"/>
                      <a:gd name="connsiteY20" fmla="*/ 2202180 h 3436620"/>
                      <a:gd name="connsiteX21" fmla="*/ 1501140 w 2065020"/>
                      <a:gd name="connsiteY21" fmla="*/ 2331720 h 3436620"/>
                      <a:gd name="connsiteX22" fmla="*/ 1341120 w 2065020"/>
                      <a:gd name="connsiteY22" fmla="*/ 2407920 h 3436620"/>
                      <a:gd name="connsiteX23" fmla="*/ 1148080 w 2065020"/>
                      <a:gd name="connsiteY23" fmla="*/ 2489200 h 3436620"/>
                      <a:gd name="connsiteX24" fmla="*/ 985520 w 2065020"/>
                      <a:gd name="connsiteY24" fmla="*/ 2529205 h 3436620"/>
                      <a:gd name="connsiteX25" fmla="*/ 866140 w 2065020"/>
                      <a:gd name="connsiteY25" fmla="*/ 2633345 h 3436620"/>
                      <a:gd name="connsiteX26" fmla="*/ 701040 w 2065020"/>
                      <a:gd name="connsiteY26" fmla="*/ 3075940 h 3436620"/>
                      <a:gd name="connsiteX27" fmla="*/ 495300 w 2065020"/>
                      <a:gd name="connsiteY27" fmla="*/ 3436620 h 3436620"/>
                      <a:gd name="connsiteX28" fmla="*/ 350520 w 2065020"/>
                      <a:gd name="connsiteY28" fmla="*/ 3108960 h 3436620"/>
                      <a:gd name="connsiteX29" fmla="*/ 228600 w 2065020"/>
                      <a:gd name="connsiteY29" fmla="*/ 2613660 h 3436620"/>
                      <a:gd name="connsiteX30" fmla="*/ 102235 w 2065020"/>
                      <a:gd name="connsiteY30" fmla="*/ 2290445 h 3436620"/>
                      <a:gd name="connsiteX31" fmla="*/ 0 w 2065020"/>
                      <a:gd name="connsiteY31" fmla="*/ 1950720 h 3436620"/>
                      <a:gd name="connsiteX32" fmla="*/ 76200 w 2065020"/>
                      <a:gd name="connsiteY32" fmla="*/ 1645920 h 3436620"/>
                      <a:gd name="connsiteX33" fmla="*/ 152400 w 2065020"/>
                      <a:gd name="connsiteY33" fmla="*/ 1348740 h 3436620"/>
                      <a:gd name="connsiteX34" fmla="*/ 167640 w 2065020"/>
                      <a:gd name="connsiteY34" fmla="*/ 1082040 h 3436620"/>
                      <a:gd name="connsiteX35" fmla="*/ 160020 w 2065020"/>
                      <a:gd name="connsiteY35" fmla="*/ 937260 h 3436620"/>
                      <a:gd name="connsiteX0" fmla="*/ 166370 w 2065020"/>
                      <a:gd name="connsiteY0" fmla="*/ 927735 h 3436620"/>
                      <a:gd name="connsiteX1" fmla="*/ 259080 w 2065020"/>
                      <a:gd name="connsiteY1" fmla="*/ 1028700 h 3436620"/>
                      <a:gd name="connsiteX2" fmla="*/ 373380 w 2065020"/>
                      <a:gd name="connsiteY2" fmla="*/ 1089660 h 3436620"/>
                      <a:gd name="connsiteX3" fmla="*/ 449580 w 2065020"/>
                      <a:gd name="connsiteY3" fmla="*/ 1120140 h 3436620"/>
                      <a:gd name="connsiteX4" fmla="*/ 617220 w 2065020"/>
                      <a:gd name="connsiteY4" fmla="*/ 1120140 h 3436620"/>
                      <a:gd name="connsiteX5" fmla="*/ 754380 w 2065020"/>
                      <a:gd name="connsiteY5" fmla="*/ 1120140 h 3436620"/>
                      <a:gd name="connsiteX6" fmla="*/ 975360 w 2065020"/>
                      <a:gd name="connsiteY6" fmla="*/ 1036320 h 3436620"/>
                      <a:gd name="connsiteX7" fmla="*/ 1203960 w 2065020"/>
                      <a:gd name="connsiteY7" fmla="*/ 906780 h 3436620"/>
                      <a:gd name="connsiteX8" fmla="*/ 1463040 w 2065020"/>
                      <a:gd name="connsiteY8" fmla="*/ 693420 h 3436620"/>
                      <a:gd name="connsiteX9" fmla="*/ 1653540 w 2065020"/>
                      <a:gd name="connsiteY9" fmla="*/ 449580 h 3436620"/>
                      <a:gd name="connsiteX10" fmla="*/ 1775460 w 2065020"/>
                      <a:gd name="connsiteY10" fmla="*/ 304800 h 3436620"/>
                      <a:gd name="connsiteX11" fmla="*/ 1897380 w 2065020"/>
                      <a:gd name="connsiteY11" fmla="*/ 0 h 3436620"/>
                      <a:gd name="connsiteX12" fmla="*/ 1882140 w 2065020"/>
                      <a:gd name="connsiteY12" fmla="*/ 281940 h 3436620"/>
                      <a:gd name="connsiteX13" fmla="*/ 1882140 w 2065020"/>
                      <a:gd name="connsiteY13" fmla="*/ 556260 h 3436620"/>
                      <a:gd name="connsiteX14" fmla="*/ 1920240 w 2065020"/>
                      <a:gd name="connsiteY14" fmla="*/ 830580 h 3436620"/>
                      <a:gd name="connsiteX15" fmla="*/ 1996440 w 2065020"/>
                      <a:gd name="connsiteY15" fmla="*/ 1059180 h 3436620"/>
                      <a:gd name="connsiteX16" fmla="*/ 2065020 w 2065020"/>
                      <a:gd name="connsiteY16" fmla="*/ 1158240 h 3436620"/>
                      <a:gd name="connsiteX17" fmla="*/ 1935480 w 2065020"/>
                      <a:gd name="connsiteY17" fmla="*/ 1440180 h 3436620"/>
                      <a:gd name="connsiteX18" fmla="*/ 1783080 w 2065020"/>
                      <a:gd name="connsiteY18" fmla="*/ 1798320 h 3436620"/>
                      <a:gd name="connsiteX19" fmla="*/ 1645920 w 2065020"/>
                      <a:gd name="connsiteY19" fmla="*/ 2065020 h 3436620"/>
                      <a:gd name="connsiteX20" fmla="*/ 1577340 w 2065020"/>
                      <a:gd name="connsiteY20" fmla="*/ 2202180 h 3436620"/>
                      <a:gd name="connsiteX21" fmla="*/ 1501140 w 2065020"/>
                      <a:gd name="connsiteY21" fmla="*/ 2331720 h 3436620"/>
                      <a:gd name="connsiteX22" fmla="*/ 1341120 w 2065020"/>
                      <a:gd name="connsiteY22" fmla="*/ 2407920 h 3436620"/>
                      <a:gd name="connsiteX23" fmla="*/ 1148080 w 2065020"/>
                      <a:gd name="connsiteY23" fmla="*/ 2489200 h 3436620"/>
                      <a:gd name="connsiteX24" fmla="*/ 985520 w 2065020"/>
                      <a:gd name="connsiteY24" fmla="*/ 2529205 h 3436620"/>
                      <a:gd name="connsiteX25" fmla="*/ 866140 w 2065020"/>
                      <a:gd name="connsiteY25" fmla="*/ 2633345 h 3436620"/>
                      <a:gd name="connsiteX26" fmla="*/ 701040 w 2065020"/>
                      <a:gd name="connsiteY26" fmla="*/ 3075940 h 3436620"/>
                      <a:gd name="connsiteX27" fmla="*/ 495300 w 2065020"/>
                      <a:gd name="connsiteY27" fmla="*/ 3436620 h 3436620"/>
                      <a:gd name="connsiteX28" fmla="*/ 350520 w 2065020"/>
                      <a:gd name="connsiteY28" fmla="*/ 3108960 h 3436620"/>
                      <a:gd name="connsiteX29" fmla="*/ 228600 w 2065020"/>
                      <a:gd name="connsiteY29" fmla="*/ 2613660 h 3436620"/>
                      <a:gd name="connsiteX30" fmla="*/ 102235 w 2065020"/>
                      <a:gd name="connsiteY30" fmla="*/ 2290445 h 3436620"/>
                      <a:gd name="connsiteX31" fmla="*/ 0 w 2065020"/>
                      <a:gd name="connsiteY31" fmla="*/ 1950720 h 3436620"/>
                      <a:gd name="connsiteX32" fmla="*/ 76200 w 2065020"/>
                      <a:gd name="connsiteY32" fmla="*/ 1645920 h 3436620"/>
                      <a:gd name="connsiteX33" fmla="*/ 152400 w 2065020"/>
                      <a:gd name="connsiteY33" fmla="*/ 1348740 h 3436620"/>
                      <a:gd name="connsiteX34" fmla="*/ 167640 w 2065020"/>
                      <a:gd name="connsiteY34" fmla="*/ 1082040 h 3436620"/>
                      <a:gd name="connsiteX35" fmla="*/ 166370 w 2065020"/>
                      <a:gd name="connsiteY35" fmla="*/ 927735 h 3436620"/>
                      <a:gd name="connsiteX0" fmla="*/ 166370 w 2065020"/>
                      <a:gd name="connsiteY0" fmla="*/ 927735 h 3436620"/>
                      <a:gd name="connsiteX1" fmla="*/ 259080 w 2065020"/>
                      <a:gd name="connsiteY1" fmla="*/ 1028700 h 3436620"/>
                      <a:gd name="connsiteX2" fmla="*/ 373380 w 2065020"/>
                      <a:gd name="connsiteY2" fmla="*/ 1089660 h 3436620"/>
                      <a:gd name="connsiteX3" fmla="*/ 449580 w 2065020"/>
                      <a:gd name="connsiteY3" fmla="*/ 1120140 h 3436620"/>
                      <a:gd name="connsiteX4" fmla="*/ 617220 w 2065020"/>
                      <a:gd name="connsiteY4" fmla="*/ 1120140 h 3436620"/>
                      <a:gd name="connsiteX5" fmla="*/ 754380 w 2065020"/>
                      <a:gd name="connsiteY5" fmla="*/ 1120140 h 3436620"/>
                      <a:gd name="connsiteX6" fmla="*/ 975360 w 2065020"/>
                      <a:gd name="connsiteY6" fmla="*/ 1036320 h 3436620"/>
                      <a:gd name="connsiteX7" fmla="*/ 1203960 w 2065020"/>
                      <a:gd name="connsiteY7" fmla="*/ 906780 h 3436620"/>
                      <a:gd name="connsiteX8" fmla="*/ 1463040 w 2065020"/>
                      <a:gd name="connsiteY8" fmla="*/ 693420 h 3436620"/>
                      <a:gd name="connsiteX9" fmla="*/ 1653540 w 2065020"/>
                      <a:gd name="connsiteY9" fmla="*/ 449580 h 3436620"/>
                      <a:gd name="connsiteX10" fmla="*/ 1775460 w 2065020"/>
                      <a:gd name="connsiteY10" fmla="*/ 304800 h 3436620"/>
                      <a:gd name="connsiteX11" fmla="*/ 1897380 w 2065020"/>
                      <a:gd name="connsiteY11" fmla="*/ 0 h 3436620"/>
                      <a:gd name="connsiteX12" fmla="*/ 1882140 w 2065020"/>
                      <a:gd name="connsiteY12" fmla="*/ 281940 h 3436620"/>
                      <a:gd name="connsiteX13" fmla="*/ 1882140 w 2065020"/>
                      <a:gd name="connsiteY13" fmla="*/ 556260 h 3436620"/>
                      <a:gd name="connsiteX14" fmla="*/ 1920240 w 2065020"/>
                      <a:gd name="connsiteY14" fmla="*/ 830580 h 3436620"/>
                      <a:gd name="connsiteX15" fmla="*/ 1996440 w 2065020"/>
                      <a:gd name="connsiteY15" fmla="*/ 1059180 h 3436620"/>
                      <a:gd name="connsiteX16" fmla="*/ 2065020 w 2065020"/>
                      <a:gd name="connsiteY16" fmla="*/ 1158240 h 3436620"/>
                      <a:gd name="connsiteX17" fmla="*/ 1935480 w 2065020"/>
                      <a:gd name="connsiteY17" fmla="*/ 1440180 h 3436620"/>
                      <a:gd name="connsiteX18" fmla="*/ 1783080 w 2065020"/>
                      <a:gd name="connsiteY18" fmla="*/ 1798320 h 3436620"/>
                      <a:gd name="connsiteX19" fmla="*/ 1645920 w 2065020"/>
                      <a:gd name="connsiteY19" fmla="*/ 2065020 h 3436620"/>
                      <a:gd name="connsiteX20" fmla="*/ 1577340 w 2065020"/>
                      <a:gd name="connsiteY20" fmla="*/ 2202180 h 3436620"/>
                      <a:gd name="connsiteX21" fmla="*/ 1501140 w 2065020"/>
                      <a:gd name="connsiteY21" fmla="*/ 2331720 h 3436620"/>
                      <a:gd name="connsiteX22" fmla="*/ 1341120 w 2065020"/>
                      <a:gd name="connsiteY22" fmla="*/ 2407920 h 3436620"/>
                      <a:gd name="connsiteX23" fmla="*/ 1148080 w 2065020"/>
                      <a:gd name="connsiteY23" fmla="*/ 2489200 h 3436620"/>
                      <a:gd name="connsiteX24" fmla="*/ 985520 w 2065020"/>
                      <a:gd name="connsiteY24" fmla="*/ 2529205 h 3436620"/>
                      <a:gd name="connsiteX25" fmla="*/ 866140 w 2065020"/>
                      <a:gd name="connsiteY25" fmla="*/ 2633345 h 3436620"/>
                      <a:gd name="connsiteX26" fmla="*/ 701040 w 2065020"/>
                      <a:gd name="connsiteY26" fmla="*/ 3075940 h 3436620"/>
                      <a:gd name="connsiteX27" fmla="*/ 495300 w 2065020"/>
                      <a:gd name="connsiteY27" fmla="*/ 3436620 h 3436620"/>
                      <a:gd name="connsiteX28" fmla="*/ 350520 w 2065020"/>
                      <a:gd name="connsiteY28" fmla="*/ 3108960 h 3436620"/>
                      <a:gd name="connsiteX29" fmla="*/ 228600 w 2065020"/>
                      <a:gd name="connsiteY29" fmla="*/ 2613660 h 3436620"/>
                      <a:gd name="connsiteX30" fmla="*/ 102235 w 2065020"/>
                      <a:gd name="connsiteY30" fmla="*/ 2290445 h 3436620"/>
                      <a:gd name="connsiteX31" fmla="*/ 0 w 2065020"/>
                      <a:gd name="connsiteY31" fmla="*/ 1950720 h 3436620"/>
                      <a:gd name="connsiteX32" fmla="*/ 76200 w 2065020"/>
                      <a:gd name="connsiteY32" fmla="*/ 1645920 h 3436620"/>
                      <a:gd name="connsiteX33" fmla="*/ 152400 w 2065020"/>
                      <a:gd name="connsiteY33" fmla="*/ 1348740 h 3436620"/>
                      <a:gd name="connsiteX34" fmla="*/ 167640 w 2065020"/>
                      <a:gd name="connsiteY34" fmla="*/ 1082040 h 3436620"/>
                      <a:gd name="connsiteX35" fmla="*/ 166370 w 2065020"/>
                      <a:gd name="connsiteY35" fmla="*/ 927735 h 3436620"/>
                      <a:gd name="connsiteX0" fmla="*/ 166370 w 2065020"/>
                      <a:gd name="connsiteY0" fmla="*/ 927735 h 3436620"/>
                      <a:gd name="connsiteX1" fmla="*/ 259080 w 2065020"/>
                      <a:gd name="connsiteY1" fmla="*/ 1028700 h 3436620"/>
                      <a:gd name="connsiteX2" fmla="*/ 373380 w 2065020"/>
                      <a:gd name="connsiteY2" fmla="*/ 1089660 h 3436620"/>
                      <a:gd name="connsiteX3" fmla="*/ 449580 w 2065020"/>
                      <a:gd name="connsiteY3" fmla="*/ 1120140 h 3436620"/>
                      <a:gd name="connsiteX4" fmla="*/ 617220 w 2065020"/>
                      <a:gd name="connsiteY4" fmla="*/ 1120140 h 3436620"/>
                      <a:gd name="connsiteX5" fmla="*/ 779780 w 2065020"/>
                      <a:gd name="connsiteY5" fmla="*/ 1104265 h 3436620"/>
                      <a:gd name="connsiteX6" fmla="*/ 975360 w 2065020"/>
                      <a:gd name="connsiteY6" fmla="*/ 1036320 h 3436620"/>
                      <a:gd name="connsiteX7" fmla="*/ 1203960 w 2065020"/>
                      <a:gd name="connsiteY7" fmla="*/ 906780 h 3436620"/>
                      <a:gd name="connsiteX8" fmla="*/ 1463040 w 2065020"/>
                      <a:gd name="connsiteY8" fmla="*/ 693420 h 3436620"/>
                      <a:gd name="connsiteX9" fmla="*/ 1653540 w 2065020"/>
                      <a:gd name="connsiteY9" fmla="*/ 449580 h 3436620"/>
                      <a:gd name="connsiteX10" fmla="*/ 1775460 w 2065020"/>
                      <a:gd name="connsiteY10" fmla="*/ 304800 h 3436620"/>
                      <a:gd name="connsiteX11" fmla="*/ 1897380 w 2065020"/>
                      <a:gd name="connsiteY11" fmla="*/ 0 h 3436620"/>
                      <a:gd name="connsiteX12" fmla="*/ 1882140 w 2065020"/>
                      <a:gd name="connsiteY12" fmla="*/ 281940 h 3436620"/>
                      <a:gd name="connsiteX13" fmla="*/ 1882140 w 2065020"/>
                      <a:gd name="connsiteY13" fmla="*/ 556260 h 3436620"/>
                      <a:gd name="connsiteX14" fmla="*/ 1920240 w 2065020"/>
                      <a:gd name="connsiteY14" fmla="*/ 830580 h 3436620"/>
                      <a:gd name="connsiteX15" fmla="*/ 1996440 w 2065020"/>
                      <a:gd name="connsiteY15" fmla="*/ 1059180 h 3436620"/>
                      <a:gd name="connsiteX16" fmla="*/ 2065020 w 2065020"/>
                      <a:gd name="connsiteY16" fmla="*/ 1158240 h 3436620"/>
                      <a:gd name="connsiteX17" fmla="*/ 1935480 w 2065020"/>
                      <a:gd name="connsiteY17" fmla="*/ 1440180 h 3436620"/>
                      <a:gd name="connsiteX18" fmla="*/ 1783080 w 2065020"/>
                      <a:gd name="connsiteY18" fmla="*/ 1798320 h 3436620"/>
                      <a:gd name="connsiteX19" fmla="*/ 1645920 w 2065020"/>
                      <a:gd name="connsiteY19" fmla="*/ 2065020 h 3436620"/>
                      <a:gd name="connsiteX20" fmla="*/ 1577340 w 2065020"/>
                      <a:gd name="connsiteY20" fmla="*/ 2202180 h 3436620"/>
                      <a:gd name="connsiteX21" fmla="*/ 1501140 w 2065020"/>
                      <a:gd name="connsiteY21" fmla="*/ 2331720 h 3436620"/>
                      <a:gd name="connsiteX22" fmla="*/ 1341120 w 2065020"/>
                      <a:gd name="connsiteY22" fmla="*/ 2407920 h 3436620"/>
                      <a:gd name="connsiteX23" fmla="*/ 1148080 w 2065020"/>
                      <a:gd name="connsiteY23" fmla="*/ 2489200 h 3436620"/>
                      <a:gd name="connsiteX24" fmla="*/ 985520 w 2065020"/>
                      <a:gd name="connsiteY24" fmla="*/ 2529205 h 3436620"/>
                      <a:gd name="connsiteX25" fmla="*/ 866140 w 2065020"/>
                      <a:gd name="connsiteY25" fmla="*/ 2633345 h 3436620"/>
                      <a:gd name="connsiteX26" fmla="*/ 701040 w 2065020"/>
                      <a:gd name="connsiteY26" fmla="*/ 3075940 h 3436620"/>
                      <a:gd name="connsiteX27" fmla="*/ 495300 w 2065020"/>
                      <a:gd name="connsiteY27" fmla="*/ 3436620 h 3436620"/>
                      <a:gd name="connsiteX28" fmla="*/ 350520 w 2065020"/>
                      <a:gd name="connsiteY28" fmla="*/ 3108960 h 3436620"/>
                      <a:gd name="connsiteX29" fmla="*/ 228600 w 2065020"/>
                      <a:gd name="connsiteY29" fmla="*/ 2613660 h 3436620"/>
                      <a:gd name="connsiteX30" fmla="*/ 102235 w 2065020"/>
                      <a:gd name="connsiteY30" fmla="*/ 2290445 h 3436620"/>
                      <a:gd name="connsiteX31" fmla="*/ 0 w 2065020"/>
                      <a:gd name="connsiteY31" fmla="*/ 1950720 h 3436620"/>
                      <a:gd name="connsiteX32" fmla="*/ 76200 w 2065020"/>
                      <a:gd name="connsiteY32" fmla="*/ 1645920 h 3436620"/>
                      <a:gd name="connsiteX33" fmla="*/ 152400 w 2065020"/>
                      <a:gd name="connsiteY33" fmla="*/ 1348740 h 3436620"/>
                      <a:gd name="connsiteX34" fmla="*/ 167640 w 2065020"/>
                      <a:gd name="connsiteY34" fmla="*/ 1082040 h 3436620"/>
                      <a:gd name="connsiteX35" fmla="*/ 166370 w 2065020"/>
                      <a:gd name="connsiteY35" fmla="*/ 927735 h 3436620"/>
                      <a:gd name="connsiteX0" fmla="*/ 166370 w 2065020"/>
                      <a:gd name="connsiteY0" fmla="*/ 927735 h 3436620"/>
                      <a:gd name="connsiteX1" fmla="*/ 259080 w 2065020"/>
                      <a:gd name="connsiteY1" fmla="*/ 1028700 h 3436620"/>
                      <a:gd name="connsiteX2" fmla="*/ 373380 w 2065020"/>
                      <a:gd name="connsiteY2" fmla="*/ 1089660 h 3436620"/>
                      <a:gd name="connsiteX3" fmla="*/ 449580 w 2065020"/>
                      <a:gd name="connsiteY3" fmla="*/ 1120140 h 3436620"/>
                      <a:gd name="connsiteX4" fmla="*/ 617220 w 2065020"/>
                      <a:gd name="connsiteY4" fmla="*/ 1120140 h 3436620"/>
                      <a:gd name="connsiteX5" fmla="*/ 779780 w 2065020"/>
                      <a:gd name="connsiteY5" fmla="*/ 1104265 h 3436620"/>
                      <a:gd name="connsiteX6" fmla="*/ 1007110 w 2065020"/>
                      <a:gd name="connsiteY6" fmla="*/ 1007745 h 3436620"/>
                      <a:gd name="connsiteX7" fmla="*/ 1203960 w 2065020"/>
                      <a:gd name="connsiteY7" fmla="*/ 906780 h 3436620"/>
                      <a:gd name="connsiteX8" fmla="*/ 1463040 w 2065020"/>
                      <a:gd name="connsiteY8" fmla="*/ 693420 h 3436620"/>
                      <a:gd name="connsiteX9" fmla="*/ 1653540 w 2065020"/>
                      <a:gd name="connsiteY9" fmla="*/ 449580 h 3436620"/>
                      <a:gd name="connsiteX10" fmla="*/ 1775460 w 2065020"/>
                      <a:gd name="connsiteY10" fmla="*/ 304800 h 3436620"/>
                      <a:gd name="connsiteX11" fmla="*/ 1897380 w 2065020"/>
                      <a:gd name="connsiteY11" fmla="*/ 0 h 3436620"/>
                      <a:gd name="connsiteX12" fmla="*/ 1882140 w 2065020"/>
                      <a:gd name="connsiteY12" fmla="*/ 281940 h 3436620"/>
                      <a:gd name="connsiteX13" fmla="*/ 1882140 w 2065020"/>
                      <a:gd name="connsiteY13" fmla="*/ 556260 h 3436620"/>
                      <a:gd name="connsiteX14" fmla="*/ 1920240 w 2065020"/>
                      <a:gd name="connsiteY14" fmla="*/ 830580 h 3436620"/>
                      <a:gd name="connsiteX15" fmla="*/ 1996440 w 2065020"/>
                      <a:gd name="connsiteY15" fmla="*/ 1059180 h 3436620"/>
                      <a:gd name="connsiteX16" fmla="*/ 2065020 w 2065020"/>
                      <a:gd name="connsiteY16" fmla="*/ 1158240 h 3436620"/>
                      <a:gd name="connsiteX17" fmla="*/ 1935480 w 2065020"/>
                      <a:gd name="connsiteY17" fmla="*/ 1440180 h 3436620"/>
                      <a:gd name="connsiteX18" fmla="*/ 1783080 w 2065020"/>
                      <a:gd name="connsiteY18" fmla="*/ 1798320 h 3436620"/>
                      <a:gd name="connsiteX19" fmla="*/ 1645920 w 2065020"/>
                      <a:gd name="connsiteY19" fmla="*/ 2065020 h 3436620"/>
                      <a:gd name="connsiteX20" fmla="*/ 1577340 w 2065020"/>
                      <a:gd name="connsiteY20" fmla="*/ 2202180 h 3436620"/>
                      <a:gd name="connsiteX21" fmla="*/ 1501140 w 2065020"/>
                      <a:gd name="connsiteY21" fmla="*/ 2331720 h 3436620"/>
                      <a:gd name="connsiteX22" fmla="*/ 1341120 w 2065020"/>
                      <a:gd name="connsiteY22" fmla="*/ 2407920 h 3436620"/>
                      <a:gd name="connsiteX23" fmla="*/ 1148080 w 2065020"/>
                      <a:gd name="connsiteY23" fmla="*/ 2489200 h 3436620"/>
                      <a:gd name="connsiteX24" fmla="*/ 985520 w 2065020"/>
                      <a:gd name="connsiteY24" fmla="*/ 2529205 h 3436620"/>
                      <a:gd name="connsiteX25" fmla="*/ 866140 w 2065020"/>
                      <a:gd name="connsiteY25" fmla="*/ 2633345 h 3436620"/>
                      <a:gd name="connsiteX26" fmla="*/ 701040 w 2065020"/>
                      <a:gd name="connsiteY26" fmla="*/ 3075940 h 3436620"/>
                      <a:gd name="connsiteX27" fmla="*/ 495300 w 2065020"/>
                      <a:gd name="connsiteY27" fmla="*/ 3436620 h 3436620"/>
                      <a:gd name="connsiteX28" fmla="*/ 350520 w 2065020"/>
                      <a:gd name="connsiteY28" fmla="*/ 3108960 h 3436620"/>
                      <a:gd name="connsiteX29" fmla="*/ 228600 w 2065020"/>
                      <a:gd name="connsiteY29" fmla="*/ 2613660 h 3436620"/>
                      <a:gd name="connsiteX30" fmla="*/ 102235 w 2065020"/>
                      <a:gd name="connsiteY30" fmla="*/ 2290445 h 3436620"/>
                      <a:gd name="connsiteX31" fmla="*/ 0 w 2065020"/>
                      <a:gd name="connsiteY31" fmla="*/ 1950720 h 3436620"/>
                      <a:gd name="connsiteX32" fmla="*/ 76200 w 2065020"/>
                      <a:gd name="connsiteY32" fmla="*/ 1645920 h 3436620"/>
                      <a:gd name="connsiteX33" fmla="*/ 152400 w 2065020"/>
                      <a:gd name="connsiteY33" fmla="*/ 1348740 h 3436620"/>
                      <a:gd name="connsiteX34" fmla="*/ 167640 w 2065020"/>
                      <a:gd name="connsiteY34" fmla="*/ 1082040 h 3436620"/>
                      <a:gd name="connsiteX35" fmla="*/ 166370 w 2065020"/>
                      <a:gd name="connsiteY35" fmla="*/ 927735 h 3436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65020" h="3436620">
                        <a:moveTo>
                          <a:pt x="166370" y="927735"/>
                        </a:moveTo>
                        <a:lnTo>
                          <a:pt x="259080" y="1028700"/>
                        </a:lnTo>
                        <a:cubicBezTo>
                          <a:pt x="367965" y="1090920"/>
                          <a:pt x="334329" y="1067435"/>
                          <a:pt x="373380" y="1089660"/>
                        </a:cubicBezTo>
                        <a:lnTo>
                          <a:pt x="449580" y="1120140"/>
                        </a:lnTo>
                        <a:lnTo>
                          <a:pt x="617220" y="1120140"/>
                        </a:lnTo>
                        <a:lnTo>
                          <a:pt x="779780" y="1104265"/>
                        </a:lnTo>
                        <a:lnTo>
                          <a:pt x="1007110" y="1007745"/>
                        </a:lnTo>
                        <a:lnTo>
                          <a:pt x="1203960" y="906780"/>
                        </a:lnTo>
                        <a:lnTo>
                          <a:pt x="1463040" y="693420"/>
                        </a:lnTo>
                        <a:lnTo>
                          <a:pt x="1653540" y="449580"/>
                        </a:lnTo>
                        <a:lnTo>
                          <a:pt x="1775460" y="304800"/>
                        </a:lnTo>
                        <a:lnTo>
                          <a:pt x="1897380" y="0"/>
                        </a:lnTo>
                        <a:lnTo>
                          <a:pt x="1882140" y="281940"/>
                        </a:lnTo>
                        <a:lnTo>
                          <a:pt x="1882140" y="556260"/>
                        </a:lnTo>
                        <a:lnTo>
                          <a:pt x="1920240" y="830580"/>
                        </a:lnTo>
                        <a:lnTo>
                          <a:pt x="1996440" y="1059180"/>
                        </a:lnTo>
                        <a:lnTo>
                          <a:pt x="2065020" y="1158240"/>
                        </a:lnTo>
                        <a:lnTo>
                          <a:pt x="1935480" y="1440180"/>
                        </a:lnTo>
                        <a:lnTo>
                          <a:pt x="1783080" y="1798320"/>
                        </a:lnTo>
                        <a:lnTo>
                          <a:pt x="1645920" y="2065020"/>
                        </a:lnTo>
                        <a:lnTo>
                          <a:pt x="1577340" y="2202180"/>
                        </a:lnTo>
                        <a:lnTo>
                          <a:pt x="1501140" y="2331720"/>
                        </a:lnTo>
                        <a:lnTo>
                          <a:pt x="1341120" y="2407920"/>
                        </a:lnTo>
                        <a:lnTo>
                          <a:pt x="1148080" y="2489200"/>
                        </a:lnTo>
                        <a:lnTo>
                          <a:pt x="985520" y="2529205"/>
                        </a:lnTo>
                        <a:lnTo>
                          <a:pt x="866140" y="2633345"/>
                        </a:lnTo>
                        <a:cubicBezTo>
                          <a:pt x="800484" y="2787384"/>
                          <a:pt x="841568" y="2875915"/>
                          <a:pt x="701040" y="3075940"/>
                        </a:cubicBezTo>
                        <a:lnTo>
                          <a:pt x="495300" y="3436620"/>
                        </a:lnTo>
                        <a:lnTo>
                          <a:pt x="350520" y="3108960"/>
                        </a:lnTo>
                        <a:lnTo>
                          <a:pt x="228600" y="2613660"/>
                        </a:lnTo>
                        <a:lnTo>
                          <a:pt x="102235" y="2290445"/>
                        </a:lnTo>
                        <a:lnTo>
                          <a:pt x="0" y="1950720"/>
                        </a:lnTo>
                        <a:lnTo>
                          <a:pt x="76200" y="1645920"/>
                        </a:lnTo>
                        <a:lnTo>
                          <a:pt x="152400" y="1348740"/>
                        </a:lnTo>
                        <a:lnTo>
                          <a:pt x="167640" y="1082040"/>
                        </a:lnTo>
                        <a:cubicBezTo>
                          <a:pt x="167217" y="1030605"/>
                          <a:pt x="166793" y="979170"/>
                          <a:pt x="166370" y="92773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32" name="Freeform 243">
                    <a:extLst>
                      <a:ext uri="{FF2B5EF4-FFF2-40B4-BE49-F238E27FC236}">
                        <a16:creationId xmlns:a16="http://schemas.microsoft.com/office/drawing/2014/main" id="{B93182A0-B9A4-4E2B-A270-216404C07D6D}"/>
                      </a:ext>
                    </a:extLst>
                  </p:cNvPr>
                  <p:cNvSpPr/>
                  <p:nvPr/>
                </p:nvSpPr>
                <p:spPr>
                  <a:xfrm>
                    <a:off x="4771228" y="1279435"/>
                    <a:ext cx="258607" cy="108507"/>
                  </a:xfrm>
                  <a:custGeom>
                    <a:avLst/>
                    <a:gdLst>
                      <a:gd name="connsiteX0" fmla="*/ 0 w 981075"/>
                      <a:gd name="connsiteY0" fmla="*/ 800100 h 800100"/>
                      <a:gd name="connsiteX1" fmla="*/ 142875 w 981075"/>
                      <a:gd name="connsiteY1" fmla="*/ 685800 h 800100"/>
                      <a:gd name="connsiteX2" fmla="*/ 457200 w 981075"/>
                      <a:gd name="connsiteY2" fmla="*/ 657225 h 800100"/>
                      <a:gd name="connsiteX3" fmla="*/ 714375 w 981075"/>
                      <a:gd name="connsiteY3" fmla="*/ 685800 h 800100"/>
                      <a:gd name="connsiteX4" fmla="*/ 790575 w 981075"/>
                      <a:gd name="connsiteY4" fmla="*/ 581025 h 800100"/>
                      <a:gd name="connsiteX5" fmla="*/ 962025 w 981075"/>
                      <a:gd name="connsiteY5" fmla="*/ 285750 h 800100"/>
                      <a:gd name="connsiteX6" fmla="*/ 981075 w 981075"/>
                      <a:gd name="connsiteY6" fmla="*/ 0 h 800100"/>
                      <a:gd name="connsiteX7" fmla="*/ 676275 w 981075"/>
                      <a:gd name="connsiteY7" fmla="*/ 152400 h 800100"/>
                      <a:gd name="connsiteX8" fmla="*/ 628650 w 981075"/>
                      <a:gd name="connsiteY8" fmla="*/ 381000 h 800100"/>
                      <a:gd name="connsiteX9" fmla="*/ 247650 w 981075"/>
                      <a:gd name="connsiteY9" fmla="*/ 485775 h 800100"/>
                      <a:gd name="connsiteX10" fmla="*/ 9525 w 981075"/>
                      <a:gd name="connsiteY10" fmla="*/ 600075 h 800100"/>
                      <a:gd name="connsiteX11" fmla="*/ 0 w 981075"/>
                      <a:gd name="connsiteY11" fmla="*/ 800100 h 800100"/>
                      <a:gd name="connsiteX0" fmla="*/ 0 w 981075"/>
                      <a:gd name="connsiteY0" fmla="*/ 800100 h 800100"/>
                      <a:gd name="connsiteX1" fmla="*/ 142875 w 981075"/>
                      <a:gd name="connsiteY1" fmla="*/ 685800 h 800100"/>
                      <a:gd name="connsiteX2" fmla="*/ 457200 w 981075"/>
                      <a:gd name="connsiteY2" fmla="*/ 657225 h 800100"/>
                      <a:gd name="connsiteX3" fmla="*/ 714375 w 981075"/>
                      <a:gd name="connsiteY3" fmla="*/ 685800 h 800100"/>
                      <a:gd name="connsiteX4" fmla="*/ 790575 w 981075"/>
                      <a:gd name="connsiteY4" fmla="*/ 581025 h 800100"/>
                      <a:gd name="connsiteX5" fmla="*/ 962025 w 981075"/>
                      <a:gd name="connsiteY5" fmla="*/ 285750 h 800100"/>
                      <a:gd name="connsiteX6" fmla="*/ 981075 w 981075"/>
                      <a:gd name="connsiteY6" fmla="*/ 0 h 800100"/>
                      <a:gd name="connsiteX7" fmla="*/ 676275 w 981075"/>
                      <a:gd name="connsiteY7" fmla="*/ 152400 h 800100"/>
                      <a:gd name="connsiteX8" fmla="*/ 628650 w 981075"/>
                      <a:gd name="connsiteY8" fmla="*/ 381000 h 800100"/>
                      <a:gd name="connsiteX9" fmla="*/ 247650 w 981075"/>
                      <a:gd name="connsiteY9" fmla="*/ 485775 h 800100"/>
                      <a:gd name="connsiteX10" fmla="*/ 95250 w 981075"/>
                      <a:gd name="connsiteY10" fmla="*/ 600075 h 800100"/>
                      <a:gd name="connsiteX11" fmla="*/ 0 w 981075"/>
                      <a:gd name="connsiteY11" fmla="*/ 800100 h 800100"/>
                      <a:gd name="connsiteX0" fmla="*/ 0 w 981075"/>
                      <a:gd name="connsiteY0" fmla="*/ 800100 h 800100"/>
                      <a:gd name="connsiteX1" fmla="*/ 142875 w 981075"/>
                      <a:gd name="connsiteY1" fmla="*/ 685800 h 800100"/>
                      <a:gd name="connsiteX2" fmla="*/ 457200 w 981075"/>
                      <a:gd name="connsiteY2" fmla="*/ 657225 h 800100"/>
                      <a:gd name="connsiteX3" fmla="*/ 714375 w 981075"/>
                      <a:gd name="connsiteY3" fmla="*/ 685800 h 800100"/>
                      <a:gd name="connsiteX4" fmla="*/ 790575 w 981075"/>
                      <a:gd name="connsiteY4" fmla="*/ 581025 h 800100"/>
                      <a:gd name="connsiteX5" fmla="*/ 962025 w 981075"/>
                      <a:gd name="connsiteY5" fmla="*/ 285750 h 800100"/>
                      <a:gd name="connsiteX6" fmla="*/ 981075 w 981075"/>
                      <a:gd name="connsiteY6" fmla="*/ 0 h 800100"/>
                      <a:gd name="connsiteX7" fmla="*/ 676275 w 981075"/>
                      <a:gd name="connsiteY7" fmla="*/ 152400 h 800100"/>
                      <a:gd name="connsiteX8" fmla="*/ 628650 w 981075"/>
                      <a:gd name="connsiteY8" fmla="*/ 381000 h 800100"/>
                      <a:gd name="connsiteX9" fmla="*/ 371475 w 981075"/>
                      <a:gd name="connsiteY9" fmla="*/ 514350 h 800100"/>
                      <a:gd name="connsiteX10" fmla="*/ 95250 w 981075"/>
                      <a:gd name="connsiteY10" fmla="*/ 600075 h 800100"/>
                      <a:gd name="connsiteX11" fmla="*/ 0 w 981075"/>
                      <a:gd name="connsiteY11" fmla="*/ 800100 h 800100"/>
                      <a:gd name="connsiteX0" fmla="*/ 0 w 981075"/>
                      <a:gd name="connsiteY0" fmla="*/ 800100 h 800100"/>
                      <a:gd name="connsiteX1" fmla="*/ 142875 w 981075"/>
                      <a:gd name="connsiteY1" fmla="*/ 685800 h 800100"/>
                      <a:gd name="connsiteX2" fmla="*/ 457200 w 981075"/>
                      <a:gd name="connsiteY2" fmla="*/ 657225 h 800100"/>
                      <a:gd name="connsiteX3" fmla="*/ 714375 w 981075"/>
                      <a:gd name="connsiteY3" fmla="*/ 685800 h 800100"/>
                      <a:gd name="connsiteX4" fmla="*/ 790575 w 981075"/>
                      <a:gd name="connsiteY4" fmla="*/ 581025 h 800100"/>
                      <a:gd name="connsiteX5" fmla="*/ 962025 w 981075"/>
                      <a:gd name="connsiteY5" fmla="*/ 285750 h 800100"/>
                      <a:gd name="connsiteX6" fmla="*/ 981075 w 981075"/>
                      <a:gd name="connsiteY6" fmla="*/ 0 h 800100"/>
                      <a:gd name="connsiteX7" fmla="*/ 676275 w 981075"/>
                      <a:gd name="connsiteY7" fmla="*/ 152400 h 800100"/>
                      <a:gd name="connsiteX8" fmla="*/ 628650 w 981075"/>
                      <a:gd name="connsiteY8" fmla="*/ 381000 h 800100"/>
                      <a:gd name="connsiteX9" fmla="*/ 714375 w 981075"/>
                      <a:gd name="connsiteY9" fmla="*/ 419100 h 800100"/>
                      <a:gd name="connsiteX10" fmla="*/ 371475 w 981075"/>
                      <a:gd name="connsiteY10" fmla="*/ 514350 h 800100"/>
                      <a:gd name="connsiteX11" fmla="*/ 95250 w 981075"/>
                      <a:gd name="connsiteY11" fmla="*/ 600075 h 800100"/>
                      <a:gd name="connsiteX12" fmla="*/ 0 w 981075"/>
                      <a:gd name="connsiteY12" fmla="*/ 800100 h 800100"/>
                      <a:gd name="connsiteX0" fmla="*/ 0 w 981075"/>
                      <a:gd name="connsiteY0" fmla="*/ 800100 h 800100"/>
                      <a:gd name="connsiteX1" fmla="*/ 142875 w 981075"/>
                      <a:gd name="connsiteY1" fmla="*/ 685800 h 800100"/>
                      <a:gd name="connsiteX2" fmla="*/ 457200 w 981075"/>
                      <a:gd name="connsiteY2" fmla="*/ 657225 h 800100"/>
                      <a:gd name="connsiteX3" fmla="*/ 714375 w 981075"/>
                      <a:gd name="connsiteY3" fmla="*/ 685800 h 800100"/>
                      <a:gd name="connsiteX4" fmla="*/ 895350 w 981075"/>
                      <a:gd name="connsiteY4" fmla="*/ 752475 h 800100"/>
                      <a:gd name="connsiteX5" fmla="*/ 790575 w 981075"/>
                      <a:gd name="connsiteY5" fmla="*/ 581025 h 800100"/>
                      <a:gd name="connsiteX6" fmla="*/ 962025 w 981075"/>
                      <a:gd name="connsiteY6" fmla="*/ 285750 h 800100"/>
                      <a:gd name="connsiteX7" fmla="*/ 981075 w 981075"/>
                      <a:gd name="connsiteY7" fmla="*/ 0 h 800100"/>
                      <a:gd name="connsiteX8" fmla="*/ 676275 w 981075"/>
                      <a:gd name="connsiteY8" fmla="*/ 152400 h 800100"/>
                      <a:gd name="connsiteX9" fmla="*/ 628650 w 981075"/>
                      <a:gd name="connsiteY9" fmla="*/ 381000 h 800100"/>
                      <a:gd name="connsiteX10" fmla="*/ 714375 w 981075"/>
                      <a:gd name="connsiteY10" fmla="*/ 419100 h 800100"/>
                      <a:gd name="connsiteX11" fmla="*/ 371475 w 981075"/>
                      <a:gd name="connsiteY11" fmla="*/ 514350 h 800100"/>
                      <a:gd name="connsiteX12" fmla="*/ 95250 w 981075"/>
                      <a:gd name="connsiteY12" fmla="*/ 600075 h 800100"/>
                      <a:gd name="connsiteX13" fmla="*/ 0 w 981075"/>
                      <a:gd name="connsiteY13" fmla="*/ 800100 h 800100"/>
                      <a:gd name="connsiteX0" fmla="*/ 0 w 1095375"/>
                      <a:gd name="connsiteY0" fmla="*/ 800100 h 800100"/>
                      <a:gd name="connsiteX1" fmla="*/ 142875 w 1095375"/>
                      <a:gd name="connsiteY1" fmla="*/ 685800 h 800100"/>
                      <a:gd name="connsiteX2" fmla="*/ 457200 w 1095375"/>
                      <a:gd name="connsiteY2" fmla="*/ 657225 h 800100"/>
                      <a:gd name="connsiteX3" fmla="*/ 714375 w 1095375"/>
                      <a:gd name="connsiteY3" fmla="*/ 685800 h 800100"/>
                      <a:gd name="connsiteX4" fmla="*/ 895350 w 1095375"/>
                      <a:gd name="connsiteY4" fmla="*/ 752475 h 800100"/>
                      <a:gd name="connsiteX5" fmla="*/ 1095375 w 1095375"/>
                      <a:gd name="connsiteY5" fmla="*/ 581025 h 800100"/>
                      <a:gd name="connsiteX6" fmla="*/ 962025 w 1095375"/>
                      <a:gd name="connsiteY6" fmla="*/ 285750 h 800100"/>
                      <a:gd name="connsiteX7" fmla="*/ 981075 w 1095375"/>
                      <a:gd name="connsiteY7" fmla="*/ 0 h 800100"/>
                      <a:gd name="connsiteX8" fmla="*/ 676275 w 1095375"/>
                      <a:gd name="connsiteY8" fmla="*/ 152400 h 800100"/>
                      <a:gd name="connsiteX9" fmla="*/ 628650 w 1095375"/>
                      <a:gd name="connsiteY9" fmla="*/ 381000 h 800100"/>
                      <a:gd name="connsiteX10" fmla="*/ 714375 w 1095375"/>
                      <a:gd name="connsiteY10" fmla="*/ 419100 h 800100"/>
                      <a:gd name="connsiteX11" fmla="*/ 371475 w 1095375"/>
                      <a:gd name="connsiteY11" fmla="*/ 514350 h 800100"/>
                      <a:gd name="connsiteX12" fmla="*/ 95250 w 1095375"/>
                      <a:gd name="connsiteY12" fmla="*/ 600075 h 800100"/>
                      <a:gd name="connsiteX13" fmla="*/ 0 w 1095375"/>
                      <a:gd name="connsiteY13" fmla="*/ 800100 h 800100"/>
                      <a:gd name="connsiteX0" fmla="*/ 0 w 1114425"/>
                      <a:gd name="connsiteY0" fmla="*/ 800100 h 800100"/>
                      <a:gd name="connsiteX1" fmla="*/ 142875 w 1114425"/>
                      <a:gd name="connsiteY1" fmla="*/ 685800 h 800100"/>
                      <a:gd name="connsiteX2" fmla="*/ 457200 w 1114425"/>
                      <a:gd name="connsiteY2" fmla="*/ 657225 h 800100"/>
                      <a:gd name="connsiteX3" fmla="*/ 714375 w 1114425"/>
                      <a:gd name="connsiteY3" fmla="*/ 685800 h 800100"/>
                      <a:gd name="connsiteX4" fmla="*/ 895350 w 1114425"/>
                      <a:gd name="connsiteY4" fmla="*/ 752475 h 800100"/>
                      <a:gd name="connsiteX5" fmla="*/ 1095375 w 1114425"/>
                      <a:gd name="connsiteY5" fmla="*/ 581025 h 800100"/>
                      <a:gd name="connsiteX6" fmla="*/ 1114425 w 1114425"/>
                      <a:gd name="connsiteY6" fmla="*/ 514350 h 800100"/>
                      <a:gd name="connsiteX7" fmla="*/ 981075 w 1114425"/>
                      <a:gd name="connsiteY7" fmla="*/ 0 h 800100"/>
                      <a:gd name="connsiteX8" fmla="*/ 676275 w 1114425"/>
                      <a:gd name="connsiteY8" fmla="*/ 152400 h 800100"/>
                      <a:gd name="connsiteX9" fmla="*/ 628650 w 1114425"/>
                      <a:gd name="connsiteY9" fmla="*/ 381000 h 800100"/>
                      <a:gd name="connsiteX10" fmla="*/ 714375 w 1114425"/>
                      <a:gd name="connsiteY10" fmla="*/ 419100 h 800100"/>
                      <a:gd name="connsiteX11" fmla="*/ 371475 w 1114425"/>
                      <a:gd name="connsiteY11" fmla="*/ 514350 h 800100"/>
                      <a:gd name="connsiteX12" fmla="*/ 95250 w 1114425"/>
                      <a:gd name="connsiteY12" fmla="*/ 600075 h 800100"/>
                      <a:gd name="connsiteX13" fmla="*/ 0 w 1114425"/>
                      <a:gd name="connsiteY13" fmla="*/ 800100 h 800100"/>
                      <a:gd name="connsiteX0" fmla="*/ 0 w 1362075"/>
                      <a:gd name="connsiteY0" fmla="*/ 647700 h 647700"/>
                      <a:gd name="connsiteX1" fmla="*/ 142875 w 1362075"/>
                      <a:gd name="connsiteY1" fmla="*/ 533400 h 647700"/>
                      <a:gd name="connsiteX2" fmla="*/ 457200 w 1362075"/>
                      <a:gd name="connsiteY2" fmla="*/ 504825 h 647700"/>
                      <a:gd name="connsiteX3" fmla="*/ 714375 w 1362075"/>
                      <a:gd name="connsiteY3" fmla="*/ 533400 h 647700"/>
                      <a:gd name="connsiteX4" fmla="*/ 895350 w 1362075"/>
                      <a:gd name="connsiteY4" fmla="*/ 600075 h 647700"/>
                      <a:gd name="connsiteX5" fmla="*/ 1095375 w 1362075"/>
                      <a:gd name="connsiteY5" fmla="*/ 428625 h 647700"/>
                      <a:gd name="connsiteX6" fmla="*/ 1114425 w 1362075"/>
                      <a:gd name="connsiteY6" fmla="*/ 361950 h 647700"/>
                      <a:gd name="connsiteX7" fmla="*/ 1362075 w 1362075"/>
                      <a:gd name="connsiteY7" fmla="*/ 76200 h 647700"/>
                      <a:gd name="connsiteX8" fmla="*/ 676275 w 1362075"/>
                      <a:gd name="connsiteY8" fmla="*/ 0 h 647700"/>
                      <a:gd name="connsiteX9" fmla="*/ 628650 w 1362075"/>
                      <a:gd name="connsiteY9" fmla="*/ 228600 h 647700"/>
                      <a:gd name="connsiteX10" fmla="*/ 714375 w 1362075"/>
                      <a:gd name="connsiteY10" fmla="*/ 266700 h 647700"/>
                      <a:gd name="connsiteX11" fmla="*/ 371475 w 1362075"/>
                      <a:gd name="connsiteY11" fmla="*/ 361950 h 647700"/>
                      <a:gd name="connsiteX12" fmla="*/ 95250 w 1362075"/>
                      <a:gd name="connsiteY12" fmla="*/ 447675 h 647700"/>
                      <a:gd name="connsiteX13" fmla="*/ 0 w 1362075"/>
                      <a:gd name="connsiteY13" fmla="*/ 647700 h 647700"/>
                      <a:gd name="connsiteX0" fmla="*/ 0 w 1362075"/>
                      <a:gd name="connsiteY0" fmla="*/ 571500 h 571500"/>
                      <a:gd name="connsiteX1" fmla="*/ 142875 w 1362075"/>
                      <a:gd name="connsiteY1" fmla="*/ 457200 h 571500"/>
                      <a:gd name="connsiteX2" fmla="*/ 457200 w 1362075"/>
                      <a:gd name="connsiteY2" fmla="*/ 428625 h 571500"/>
                      <a:gd name="connsiteX3" fmla="*/ 714375 w 1362075"/>
                      <a:gd name="connsiteY3" fmla="*/ 457200 h 571500"/>
                      <a:gd name="connsiteX4" fmla="*/ 895350 w 1362075"/>
                      <a:gd name="connsiteY4" fmla="*/ 523875 h 571500"/>
                      <a:gd name="connsiteX5" fmla="*/ 1095375 w 1362075"/>
                      <a:gd name="connsiteY5" fmla="*/ 352425 h 571500"/>
                      <a:gd name="connsiteX6" fmla="*/ 1114425 w 1362075"/>
                      <a:gd name="connsiteY6" fmla="*/ 285750 h 571500"/>
                      <a:gd name="connsiteX7" fmla="*/ 1362075 w 1362075"/>
                      <a:gd name="connsiteY7" fmla="*/ 0 h 571500"/>
                      <a:gd name="connsiteX8" fmla="*/ 1133475 w 1362075"/>
                      <a:gd name="connsiteY8" fmla="*/ 76200 h 571500"/>
                      <a:gd name="connsiteX9" fmla="*/ 628650 w 1362075"/>
                      <a:gd name="connsiteY9" fmla="*/ 152400 h 571500"/>
                      <a:gd name="connsiteX10" fmla="*/ 714375 w 1362075"/>
                      <a:gd name="connsiteY10" fmla="*/ 190500 h 571500"/>
                      <a:gd name="connsiteX11" fmla="*/ 371475 w 1362075"/>
                      <a:gd name="connsiteY11" fmla="*/ 285750 h 571500"/>
                      <a:gd name="connsiteX12" fmla="*/ 95250 w 1362075"/>
                      <a:gd name="connsiteY12" fmla="*/ 371475 h 571500"/>
                      <a:gd name="connsiteX13" fmla="*/ 0 w 1362075"/>
                      <a:gd name="connsiteY13" fmla="*/ 571500 h 571500"/>
                      <a:gd name="connsiteX0" fmla="*/ 0 w 1362075"/>
                      <a:gd name="connsiteY0" fmla="*/ 571500 h 571500"/>
                      <a:gd name="connsiteX1" fmla="*/ 142875 w 1362075"/>
                      <a:gd name="connsiteY1" fmla="*/ 457200 h 571500"/>
                      <a:gd name="connsiteX2" fmla="*/ 457200 w 1362075"/>
                      <a:gd name="connsiteY2" fmla="*/ 428625 h 571500"/>
                      <a:gd name="connsiteX3" fmla="*/ 714375 w 1362075"/>
                      <a:gd name="connsiteY3" fmla="*/ 457200 h 571500"/>
                      <a:gd name="connsiteX4" fmla="*/ 895350 w 1362075"/>
                      <a:gd name="connsiteY4" fmla="*/ 523875 h 571500"/>
                      <a:gd name="connsiteX5" fmla="*/ 1095375 w 1362075"/>
                      <a:gd name="connsiteY5" fmla="*/ 352425 h 571500"/>
                      <a:gd name="connsiteX6" fmla="*/ 1114425 w 1362075"/>
                      <a:gd name="connsiteY6" fmla="*/ 285750 h 571500"/>
                      <a:gd name="connsiteX7" fmla="*/ 1362075 w 1362075"/>
                      <a:gd name="connsiteY7" fmla="*/ 0 h 571500"/>
                      <a:gd name="connsiteX8" fmla="*/ 1133475 w 1362075"/>
                      <a:gd name="connsiteY8" fmla="*/ 76200 h 571500"/>
                      <a:gd name="connsiteX9" fmla="*/ 1009650 w 1362075"/>
                      <a:gd name="connsiteY9" fmla="*/ 152400 h 571500"/>
                      <a:gd name="connsiteX10" fmla="*/ 714375 w 1362075"/>
                      <a:gd name="connsiteY10" fmla="*/ 190500 h 571500"/>
                      <a:gd name="connsiteX11" fmla="*/ 371475 w 1362075"/>
                      <a:gd name="connsiteY11" fmla="*/ 285750 h 571500"/>
                      <a:gd name="connsiteX12" fmla="*/ 95250 w 1362075"/>
                      <a:gd name="connsiteY12" fmla="*/ 371475 h 571500"/>
                      <a:gd name="connsiteX13" fmla="*/ 0 w 1362075"/>
                      <a:gd name="connsiteY13" fmla="*/ 571500 h 571500"/>
                      <a:gd name="connsiteX0" fmla="*/ 0 w 1362075"/>
                      <a:gd name="connsiteY0" fmla="*/ 571500 h 571500"/>
                      <a:gd name="connsiteX1" fmla="*/ 142875 w 1362075"/>
                      <a:gd name="connsiteY1" fmla="*/ 457200 h 571500"/>
                      <a:gd name="connsiteX2" fmla="*/ 457200 w 1362075"/>
                      <a:gd name="connsiteY2" fmla="*/ 428625 h 571500"/>
                      <a:gd name="connsiteX3" fmla="*/ 714375 w 1362075"/>
                      <a:gd name="connsiteY3" fmla="*/ 457200 h 571500"/>
                      <a:gd name="connsiteX4" fmla="*/ 895350 w 1362075"/>
                      <a:gd name="connsiteY4" fmla="*/ 523875 h 571500"/>
                      <a:gd name="connsiteX5" fmla="*/ 1095375 w 1362075"/>
                      <a:gd name="connsiteY5" fmla="*/ 352425 h 571500"/>
                      <a:gd name="connsiteX6" fmla="*/ 1114425 w 1362075"/>
                      <a:gd name="connsiteY6" fmla="*/ 285750 h 571500"/>
                      <a:gd name="connsiteX7" fmla="*/ 1362075 w 1362075"/>
                      <a:gd name="connsiteY7" fmla="*/ 0 h 571500"/>
                      <a:gd name="connsiteX8" fmla="*/ 1133475 w 1362075"/>
                      <a:gd name="connsiteY8" fmla="*/ 76200 h 571500"/>
                      <a:gd name="connsiteX9" fmla="*/ 1009650 w 1362075"/>
                      <a:gd name="connsiteY9" fmla="*/ 152400 h 571500"/>
                      <a:gd name="connsiteX10" fmla="*/ 942975 w 1362075"/>
                      <a:gd name="connsiteY10" fmla="*/ 190500 h 571500"/>
                      <a:gd name="connsiteX11" fmla="*/ 371475 w 1362075"/>
                      <a:gd name="connsiteY11" fmla="*/ 285750 h 571500"/>
                      <a:gd name="connsiteX12" fmla="*/ 95250 w 1362075"/>
                      <a:gd name="connsiteY12" fmla="*/ 371475 h 571500"/>
                      <a:gd name="connsiteX13" fmla="*/ 0 w 1362075"/>
                      <a:gd name="connsiteY13" fmla="*/ 571500 h 5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62075" h="571500">
                        <a:moveTo>
                          <a:pt x="0" y="571500"/>
                        </a:moveTo>
                        <a:lnTo>
                          <a:pt x="142875" y="457200"/>
                        </a:lnTo>
                        <a:lnTo>
                          <a:pt x="457200" y="428625"/>
                        </a:lnTo>
                        <a:cubicBezTo>
                          <a:pt x="708004" y="457564"/>
                          <a:pt x="621752" y="457200"/>
                          <a:pt x="714375" y="457200"/>
                        </a:cubicBezTo>
                        <a:lnTo>
                          <a:pt x="895350" y="523875"/>
                        </a:lnTo>
                        <a:lnTo>
                          <a:pt x="1095375" y="352425"/>
                        </a:lnTo>
                        <a:lnTo>
                          <a:pt x="1114425" y="285750"/>
                        </a:lnTo>
                        <a:lnTo>
                          <a:pt x="1362075" y="0"/>
                        </a:lnTo>
                        <a:lnTo>
                          <a:pt x="1133475" y="76200"/>
                        </a:lnTo>
                        <a:lnTo>
                          <a:pt x="1009650" y="152400"/>
                        </a:lnTo>
                        <a:lnTo>
                          <a:pt x="942975" y="190500"/>
                        </a:lnTo>
                        <a:lnTo>
                          <a:pt x="371475" y="285750"/>
                        </a:lnTo>
                        <a:lnTo>
                          <a:pt x="95250" y="371475"/>
                        </a:lnTo>
                        <a:lnTo>
                          <a:pt x="0" y="5715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33" name="Freeform 244">
                    <a:extLst>
                      <a:ext uri="{FF2B5EF4-FFF2-40B4-BE49-F238E27FC236}">
                        <a16:creationId xmlns:a16="http://schemas.microsoft.com/office/drawing/2014/main" id="{2BDCF943-04F5-49BF-94EB-7D5D6574B5D8}"/>
                      </a:ext>
                    </a:extLst>
                  </p:cNvPr>
                  <p:cNvSpPr/>
                  <p:nvPr/>
                </p:nvSpPr>
                <p:spPr>
                  <a:xfrm flipH="1">
                    <a:off x="4554215" y="1236032"/>
                    <a:ext cx="186270" cy="151909"/>
                  </a:xfrm>
                  <a:custGeom>
                    <a:avLst/>
                    <a:gdLst>
                      <a:gd name="connsiteX0" fmla="*/ 0 w 981075"/>
                      <a:gd name="connsiteY0" fmla="*/ 800100 h 800100"/>
                      <a:gd name="connsiteX1" fmla="*/ 142875 w 981075"/>
                      <a:gd name="connsiteY1" fmla="*/ 685800 h 800100"/>
                      <a:gd name="connsiteX2" fmla="*/ 457200 w 981075"/>
                      <a:gd name="connsiteY2" fmla="*/ 657225 h 800100"/>
                      <a:gd name="connsiteX3" fmla="*/ 714375 w 981075"/>
                      <a:gd name="connsiteY3" fmla="*/ 685800 h 800100"/>
                      <a:gd name="connsiteX4" fmla="*/ 790575 w 981075"/>
                      <a:gd name="connsiteY4" fmla="*/ 581025 h 800100"/>
                      <a:gd name="connsiteX5" fmla="*/ 962025 w 981075"/>
                      <a:gd name="connsiteY5" fmla="*/ 285750 h 800100"/>
                      <a:gd name="connsiteX6" fmla="*/ 981075 w 981075"/>
                      <a:gd name="connsiteY6" fmla="*/ 0 h 800100"/>
                      <a:gd name="connsiteX7" fmla="*/ 676275 w 981075"/>
                      <a:gd name="connsiteY7" fmla="*/ 152400 h 800100"/>
                      <a:gd name="connsiteX8" fmla="*/ 628650 w 981075"/>
                      <a:gd name="connsiteY8" fmla="*/ 381000 h 800100"/>
                      <a:gd name="connsiteX9" fmla="*/ 247650 w 981075"/>
                      <a:gd name="connsiteY9" fmla="*/ 485775 h 800100"/>
                      <a:gd name="connsiteX10" fmla="*/ 9525 w 981075"/>
                      <a:gd name="connsiteY10" fmla="*/ 600075 h 800100"/>
                      <a:gd name="connsiteX11" fmla="*/ 0 w 981075"/>
                      <a:gd name="connsiteY11" fmla="*/ 800100 h 800100"/>
                      <a:gd name="connsiteX0" fmla="*/ 0 w 981075"/>
                      <a:gd name="connsiteY0" fmla="*/ 800100 h 800100"/>
                      <a:gd name="connsiteX1" fmla="*/ 142875 w 981075"/>
                      <a:gd name="connsiteY1" fmla="*/ 685800 h 800100"/>
                      <a:gd name="connsiteX2" fmla="*/ 457200 w 981075"/>
                      <a:gd name="connsiteY2" fmla="*/ 657225 h 800100"/>
                      <a:gd name="connsiteX3" fmla="*/ 714375 w 981075"/>
                      <a:gd name="connsiteY3" fmla="*/ 685800 h 800100"/>
                      <a:gd name="connsiteX4" fmla="*/ 790575 w 981075"/>
                      <a:gd name="connsiteY4" fmla="*/ 581025 h 800100"/>
                      <a:gd name="connsiteX5" fmla="*/ 962025 w 981075"/>
                      <a:gd name="connsiteY5" fmla="*/ 285750 h 800100"/>
                      <a:gd name="connsiteX6" fmla="*/ 981075 w 981075"/>
                      <a:gd name="connsiteY6" fmla="*/ 0 h 800100"/>
                      <a:gd name="connsiteX7" fmla="*/ 676275 w 981075"/>
                      <a:gd name="connsiteY7" fmla="*/ 152400 h 800100"/>
                      <a:gd name="connsiteX8" fmla="*/ 628650 w 981075"/>
                      <a:gd name="connsiteY8" fmla="*/ 381000 h 800100"/>
                      <a:gd name="connsiteX9" fmla="*/ 790575 w 981075"/>
                      <a:gd name="connsiteY9" fmla="*/ 542925 h 800100"/>
                      <a:gd name="connsiteX10" fmla="*/ 247650 w 981075"/>
                      <a:gd name="connsiteY10" fmla="*/ 485775 h 800100"/>
                      <a:gd name="connsiteX11" fmla="*/ 9525 w 981075"/>
                      <a:gd name="connsiteY11" fmla="*/ 600075 h 800100"/>
                      <a:gd name="connsiteX12" fmla="*/ 0 w 981075"/>
                      <a:gd name="connsiteY12" fmla="*/ 800100 h 800100"/>
                      <a:gd name="connsiteX0" fmla="*/ 0 w 981075"/>
                      <a:gd name="connsiteY0" fmla="*/ 800100 h 800100"/>
                      <a:gd name="connsiteX1" fmla="*/ 142875 w 981075"/>
                      <a:gd name="connsiteY1" fmla="*/ 685800 h 800100"/>
                      <a:gd name="connsiteX2" fmla="*/ 457200 w 981075"/>
                      <a:gd name="connsiteY2" fmla="*/ 657225 h 800100"/>
                      <a:gd name="connsiteX3" fmla="*/ 714375 w 981075"/>
                      <a:gd name="connsiteY3" fmla="*/ 685800 h 800100"/>
                      <a:gd name="connsiteX4" fmla="*/ 790575 w 981075"/>
                      <a:gd name="connsiteY4" fmla="*/ 581025 h 800100"/>
                      <a:gd name="connsiteX5" fmla="*/ 962025 w 981075"/>
                      <a:gd name="connsiteY5" fmla="*/ 285750 h 800100"/>
                      <a:gd name="connsiteX6" fmla="*/ 981075 w 981075"/>
                      <a:gd name="connsiteY6" fmla="*/ 0 h 800100"/>
                      <a:gd name="connsiteX7" fmla="*/ 676275 w 981075"/>
                      <a:gd name="connsiteY7" fmla="*/ 152400 h 800100"/>
                      <a:gd name="connsiteX8" fmla="*/ 628650 w 981075"/>
                      <a:gd name="connsiteY8" fmla="*/ 381000 h 800100"/>
                      <a:gd name="connsiteX9" fmla="*/ 790575 w 981075"/>
                      <a:gd name="connsiteY9" fmla="*/ 542925 h 800100"/>
                      <a:gd name="connsiteX10" fmla="*/ 342900 w 981075"/>
                      <a:gd name="connsiteY10" fmla="*/ 533400 h 800100"/>
                      <a:gd name="connsiteX11" fmla="*/ 9525 w 981075"/>
                      <a:gd name="connsiteY11" fmla="*/ 600075 h 800100"/>
                      <a:gd name="connsiteX12" fmla="*/ 0 w 981075"/>
                      <a:gd name="connsiteY12" fmla="*/ 800100 h 800100"/>
                      <a:gd name="connsiteX0" fmla="*/ 0 w 981075"/>
                      <a:gd name="connsiteY0" fmla="*/ 800100 h 800100"/>
                      <a:gd name="connsiteX1" fmla="*/ 142875 w 981075"/>
                      <a:gd name="connsiteY1" fmla="*/ 685800 h 800100"/>
                      <a:gd name="connsiteX2" fmla="*/ 457200 w 981075"/>
                      <a:gd name="connsiteY2" fmla="*/ 657225 h 800100"/>
                      <a:gd name="connsiteX3" fmla="*/ 714375 w 981075"/>
                      <a:gd name="connsiteY3" fmla="*/ 685800 h 800100"/>
                      <a:gd name="connsiteX4" fmla="*/ 790575 w 981075"/>
                      <a:gd name="connsiteY4" fmla="*/ 581025 h 800100"/>
                      <a:gd name="connsiteX5" fmla="*/ 962025 w 981075"/>
                      <a:gd name="connsiteY5" fmla="*/ 285750 h 800100"/>
                      <a:gd name="connsiteX6" fmla="*/ 981075 w 981075"/>
                      <a:gd name="connsiteY6" fmla="*/ 0 h 800100"/>
                      <a:gd name="connsiteX7" fmla="*/ 676275 w 981075"/>
                      <a:gd name="connsiteY7" fmla="*/ 152400 h 800100"/>
                      <a:gd name="connsiteX8" fmla="*/ 628650 w 981075"/>
                      <a:gd name="connsiteY8" fmla="*/ 381000 h 800100"/>
                      <a:gd name="connsiteX9" fmla="*/ 790575 w 981075"/>
                      <a:gd name="connsiteY9" fmla="*/ 542925 h 800100"/>
                      <a:gd name="connsiteX10" fmla="*/ 342900 w 981075"/>
                      <a:gd name="connsiteY10" fmla="*/ 533400 h 800100"/>
                      <a:gd name="connsiteX11" fmla="*/ 95250 w 981075"/>
                      <a:gd name="connsiteY11" fmla="*/ 647700 h 800100"/>
                      <a:gd name="connsiteX12" fmla="*/ 0 w 981075"/>
                      <a:gd name="connsiteY12" fmla="*/ 800100 h 800100"/>
                      <a:gd name="connsiteX0" fmla="*/ 0 w 981075"/>
                      <a:gd name="connsiteY0" fmla="*/ 800100 h 800100"/>
                      <a:gd name="connsiteX1" fmla="*/ 142875 w 981075"/>
                      <a:gd name="connsiteY1" fmla="*/ 685800 h 800100"/>
                      <a:gd name="connsiteX2" fmla="*/ 457200 w 981075"/>
                      <a:gd name="connsiteY2" fmla="*/ 657225 h 800100"/>
                      <a:gd name="connsiteX3" fmla="*/ 714375 w 981075"/>
                      <a:gd name="connsiteY3" fmla="*/ 685800 h 800100"/>
                      <a:gd name="connsiteX4" fmla="*/ 790575 w 981075"/>
                      <a:gd name="connsiteY4" fmla="*/ 581025 h 800100"/>
                      <a:gd name="connsiteX5" fmla="*/ 962025 w 981075"/>
                      <a:gd name="connsiteY5" fmla="*/ 285750 h 800100"/>
                      <a:gd name="connsiteX6" fmla="*/ 981075 w 981075"/>
                      <a:gd name="connsiteY6" fmla="*/ 0 h 800100"/>
                      <a:gd name="connsiteX7" fmla="*/ 733425 w 981075"/>
                      <a:gd name="connsiteY7" fmla="*/ 409575 h 800100"/>
                      <a:gd name="connsiteX8" fmla="*/ 676275 w 981075"/>
                      <a:gd name="connsiteY8" fmla="*/ 152400 h 800100"/>
                      <a:gd name="connsiteX9" fmla="*/ 628650 w 981075"/>
                      <a:gd name="connsiteY9" fmla="*/ 381000 h 800100"/>
                      <a:gd name="connsiteX10" fmla="*/ 790575 w 981075"/>
                      <a:gd name="connsiteY10" fmla="*/ 542925 h 800100"/>
                      <a:gd name="connsiteX11" fmla="*/ 342900 w 981075"/>
                      <a:gd name="connsiteY11" fmla="*/ 533400 h 800100"/>
                      <a:gd name="connsiteX12" fmla="*/ 95250 w 981075"/>
                      <a:gd name="connsiteY12" fmla="*/ 647700 h 800100"/>
                      <a:gd name="connsiteX13" fmla="*/ 0 w 981075"/>
                      <a:gd name="connsiteY13" fmla="*/ 800100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81075" h="800100">
                        <a:moveTo>
                          <a:pt x="0" y="800100"/>
                        </a:moveTo>
                        <a:lnTo>
                          <a:pt x="142875" y="685800"/>
                        </a:lnTo>
                        <a:lnTo>
                          <a:pt x="457200" y="657225"/>
                        </a:lnTo>
                        <a:cubicBezTo>
                          <a:pt x="708004" y="686164"/>
                          <a:pt x="621752" y="685800"/>
                          <a:pt x="714375" y="685800"/>
                        </a:cubicBezTo>
                        <a:lnTo>
                          <a:pt x="790575" y="581025"/>
                        </a:lnTo>
                        <a:lnTo>
                          <a:pt x="962025" y="285750"/>
                        </a:lnTo>
                        <a:lnTo>
                          <a:pt x="981075" y="0"/>
                        </a:lnTo>
                        <a:lnTo>
                          <a:pt x="733425" y="409575"/>
                        </a:lnTo>
                        <a:lnTo>
                          <a:pt x="676275" y="152400"/>
                        </a:lnTo>
                        <a:lnTo>
                          <a:pt x="628650" y="381000"/>
                        </a:lnTo>
                        <a:lnTo>
                          <a:pt x="790575" y="542925"/>
                        </a:lnTo>
                        <a:lnTo>
                          <a:pt x="342900" y="533400"/>
                        </a:lnTo>
                        <a:lnTo>
                          <a:pt x="95250" y="647700"/>
                        </a:lnTo>
                        <a:lnTo>
                          <a:pt x="0" y="8001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34" name="Freeform 245">
                    <a:extLst>
                      <a:ext uri="{FF2B5EF4-FFF2-40B4-BE49-F238E27FC236}">
                        <a16:creationId xmlns:a16="http://schemas.microsoft.com/office/drawing/2014/main" id="{D1BDA948-0623-4F51-A401-1D716357410F}"/>
                      </a:ext>
                    </a:extLst>
                  </p:cNvPr>
                  <p:cNvSpPr/>
                  <p:nvPr/>
                </p:nvSpPr>
                <p:spPr>
                  <a:xfrm>
                    <a:off x="4491960" y="539548"/>
                    <a:ext cx="567742" cy="641244"/>
                  </a:xfrm>
                  <a:custGeom>
                    <a:avLst/>
                    <a:gdLst>
                      <a:gd name="connsiteX0" fmla="*/ 119063 w 533400"/>
                      <a:gd name="connsiteY0" fmla="*/ 0 h 602456"/>
                      <a:gd name="connsiteX1" fmla="*/ 64294 w 533400"/>
                      <a:gd name="connsiteY1" fmla="*/ 19050 h 602456"/>
                      <a:gd name="connsiteX2" fmla="*/ 40481 w 533400"/>
                      <a:gd name="connsiteY2" fmla="*/ 38100 h 602456"/>
                      <a:gd name="connsiteX3" fmla="*/ 26194 w 533400"/>
                      <a:gd name="connsiteY3" fmla="*/ 69056 h 602456"/>
                      <a:gd name="connsiteX4" fmla="*/ 14288 w 533400"/>
                      <a:gd name="connsiteY4" fmla="*/ 102394 h 602456"/>
                      <a:gd name="connsiteX5" fmla="*/ 2381 w 533400"/>
                      <a:gd name="connsiteY5" fmla="*/ 140494 h 602456"/>
                      <a:gd name="connsiteX6" fmla="*/ 0 w 533400"/>
                      <a:gd name="connsiteY6" fmla="*/ 169069 h 602456"/>
                      <a:gd name="connsiteX7" fmla="*/ 4763 w 533400"/>
                      <a:gd name="connsiteY7" fmla="*/ 192881 h 602456"/>
                      <a:gd name="connsiteX8" fmla="*/ 7144 w 533400"/>
                      <a:gd name="connsiteY8" fmla="*/ 219075 h 602456"/>
                      <a:gd name="connsiteX9" fmla="*/ 7144 w 533400"/>
                      <a:gd name="connsiteY9" fmla="*/ 242887 h 602456"/>
                      <a:gd name="connsiteX10" fmla="*/ 11906 w 533400"/>
                      <a:gd name="connsiteY10" fmla="*/ 273844 h 602456"/>
                      <a:gd name="connsiteX11" fmla="*/ 9525 w 533400"/>
                      <a:gd name="connsiteY11" fmla="*/ 323850 h 602456"/>
                      <a:gd name="connsiteX12" fmla="*/ 16669 w 533400"/>
                      <a:gd name="connsiteY12" fmla="*/ 369094 h 602456"/>
                      <a:gd name="connsiteX13" fmla="*/ 38100 w 533400"/>
                      <a:gd name="connsiteY13" fmla="*/ 416719 h 602456"/>
                      <a:gd name="connsiteX14" fmla="*/ 52388 w 533400"/>
                      <a:gd name="connsiteY14" fmla="*/ 442912 h 602456"/>
                      <a:gd name="connsiteX15" fmla="*/ 66675 w 533400"/>
                      <a:gd name="connsiteY15" fmla="*/ 483394 h 602456"/>
                      <a:gd name="connsiteX16" fmla="*/ 92869 w 533400"/>
                      <a:gd name="connsiteY16" fmla="*/ 521494 h 602456"/>
                      <a:gd name="connsiteX17" fmla="*/ 126206 w 533400"/>
                      <a:gd name="connsiteY17" fmla="*/ 557212 h 602456"/>
                      <a:gd name="connsiteX18" fmla="*/ 157163 w 533400"/>
                      <a:gd name="connsiteY18" fmla="*/ 588169 h 602456"/>
                      <a:gd name="connsiteX19" fmla="*/ 183356 w 533400"/>
                      <a:gd name="connsiteY19" fmla="*/ 602456 h 602456"/>
                      <a:gd name="connsiteX20" fmla="*/ 209550 w 533400"/>
                      <a:gd name="connsiteY20" fmla="*/ 602456 h 602456"/>
                      <a:gd name="connsiteX21" fmla="*/ 238125 w 533400"/>
                      <a:gd name="connsiteY21" fmla="*/ 602456 h 602456"/>
                      <a:gd name="connsiteX22" fmla="*/ 276225 w 533400"/>
                      <a:gd name="connsiteY22" fmla="*/ 588169 h 602456"/>
                      <a:gd name="connsiteX23" fmla="*/ 321469 w 533400"/>
                      <a:gd name="connsiteY23" fmla="*/ 564356 h 602456"/>
                      <a:gd name="connsiteX24" fmla="*/ 378619 w 533400"/>
                      <a:gd name="connsiteY24" fmla="*/ 519112 h 602456"/>
                      <a:gd name="connsiteX25" fmla="*/ 423863 w 533400"/>
                      <a:gd name="connsiteY25" fmla="*/ 457200 h 602456"/>
                      <a:gd name="connsiteX26" fmla="*/ 442913 w 533400"/>
                      <a:gd name="connsiteY26" fmla="*/ 411956 h 602456"/>
                      <a:gd name="connsiteX27" fmla="*/ 452438 w 533400"/>
                      <a:gd name="connsiteY27" fmla="*/ 385762 h 602456"/>
                      <a:gd name="connsiteX28" fmla="*/ 452438 w 533400"/>
                      <a:gd name="connsiteY28" fmla="*/ 345281 h 602456"/>
                      <a:gd name="connsiteX29" fmla="*/ 469106 w 533400"/>
                      <a:gd name="connsiteY29" fmla="*/ 345281 h 602456"/>
                      <a:gd name="connsiteX30" fmla="*/ 495300 w 533400"/>
                      <a:gd name="connsiteY30" fmla="*/ 328612 h 602456"/>
                      <a:gd name="connsiteX31" fmla="*/ 519113 w 533400"/>
                      <a:gd name="connsiteY31" fmla="*/ 297656 h 602456"/>
                      <a:gd name="connsiteX32" fmla="*/ 528638 w 533400"/>
                      <a:gd name="connsiteY32" fmla="*/ 261937 h 602456"/>
                      <a:gd name="connsiteX33" fmla="*/ 533400 w 533400"/>
                      <a:gd name="connsiteY33" fmla="*/ 219075 h 602456"/>
                      <a:gd name="connsiteX34" fmla="*/ 528638 w 533400"/>
                      <a:gd name="connsiteY34" fmla="*/ 173831 h 602456"/>
                      <a:gd name="connsiteX35" fmla="*/ 519113 w 533400"/>
                      <a:gd name="connsiteY35" fmla="*/ 150019 h 602456"/>
                      <a:gd name="connsiteX36" fmla="*/ 492919 w 533400"/>
                      <a:gd name="connsiteY36" fmla="*/ 142875 h 602456"/>
                      <a:gd name="connsiteX37" fmla="*/ 473869 w 533400"/>
                      <a:gd name="connsiteY37" fmla="*/ 157162 h 602456"/>
                      <a:gd name="connsiteX38" fmla="*/ 464344 w 533400"/>
                      <a:gd name="connsiteY38" fmla="*/ 195262 h 602456"/>
                      <a:gd name="connsiteX39" fmla="*/ 440531 w 533400"/>
                      <a:gd name="connsiteY39" fmla="*/ 228600 h 602456"/>
                      <a:gd name="connsiteX40" fmla="*/ 419100 w 533400"/>
                      <a:gd name="connsiteY40" fmla="*/ 219075 h 602456"/>
                      <a:gd name="connsiteX41" fmla="*/ 411956 w 533400"/>
                      <a:gd name="connsiteY41" fmla="*/ 190500 h 602456"/>
                      <a:gd name="connsiteX42" fmla="*/ 397669 w 533400"/>
                      <a:gd name="connsiteY42" fmla="*/ 161925 h 602456"/>
                      <a:gd name="connsiteX43" fmla="*/ 376238 w 533400"/>
                      <a:gd name="connsiteY43" fmla="*/ 150019 h 602456"/>
                      <a:gd name="connsiteX44" fmla="*/ 364331 w 533400"/>
                      <a:gd name="connsiteY44" fmla="*/ 119062 h 602456"/>
                      <a:gd name="connsiteX45" fmla="*/ 369094 w 533400"/>
                      <a:gd name="connsiteY45" fmla="*/ 90487 h 602456"/>
                      <a:gd name="connsiteX46" fmla="*/ 338138 w 533400"/>
                      <a:gd name="connsiteY46" fmla="*/ 69056 h 602456"/>
                      <a:gd name="connsiteX47" fmla="*/ 311944 w 533400"/>
                      <a:gd name="connsiteY47" fmla="*/ 47625 h 602456"/>
                      <a:gd name="connsiteX48" fmla="*/ 295275 w 533400"/>
                      <a:gd name="connsiteY48" fmla="*/ 26194 h 602456"/>
                      <a:gd name="connsiteX49" fmla="*/ 269081 w 533400"/>
                      <a:gd name="connsiteY49" fmla="*/ 9525 h 602456"/>
                      <a:gd name="connsiteX50" fmla="*/ 242888 w 533400"/>
                      <a:gd name="connsiteY50" fmla="*/ 4762 h 602456"/>
                      <a:gd name="connsiteX51" fmla="*/ 214313 w 533400"/>
                      <a:gd name="connsiteY51" fmla="*/ 0 h 602456"/>
                      <a:gd name="connsiteX52" fmla="*/ 185738 w 533400"/>
                      <a:gd name="connsiteY52" fmla="*/ 4762 h 602456"/>
                      <a:gd name="connsiteX53" fmla="*/ 119063 w 533400"/>
                      <a:gd name="connsiteY53" fmla="*/ 0 h 602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33400" h="602456">
                        <a:moveTo>
                          <a:pt x="119063" y="0"/>
                        </a:moveTo>
                        <a:lnTo>
                          <a:pt x="64294" y="19050"/>
                        </a:lnTo>
                        <a:lnTo>
                          <a:pt x="40481" y="38100"/>
                        </a:lnTo>
                        <a:lnTo>
                          <a:pt x="26194" y="69056"/>
                        </a:lnTo>
                        <a:lnTo>
                          <a:pt x="14288" y="102394"/>
                        </a:lnTo>
                        <a:lnTo>
                          <a:pt x="2381" y="140494"/>
                        </a:lnTo>
                        <a:lnTo>
                          <a:pt x="0" y="169069"/>
                        </a:lnTo>
                        <a:lnTo>
                          <a:pt x="4763" y="192881"/>
                        </a:lnTo>
                        <a:lnTo>
                          <a:pt x="7144" y="219075"/>
                        </a:lnTo>
                        <a:lnTo>
                          <a:pt x="7144" y="242887"/>
                        </a:lnTo>
                        <a:cubicBezTo>
                          <a:pt x="12037" y="272245"/>
                          <a:pt x="11906" y="261806"/>
                          <a:pt x="11906" y="273844"/>
                        </a:cubicBezTo>
                        <a:lnTo>
                          <a:pt x="9525" y="323850"/>
                        </a:lnTo>
                        <a:lnTo>
                          <a:pt x="16669" y="369094"/>
                        </a:lnTo>
                        <a:lnTo>
                          <a:pt x="38100" y="416719"/>
                        </a:lnTo>
                        <a:lnTo>
                          <a:pt x="52388" y="442912"/>
                        </a:lnTo>
                        <a:lnTo>
                          <a:pt x="66675" y="483394"/>
                        </a:lnTo>
                        <a:lnTo>
                          <a:pt x="92869" y="521494"/>
                        </a:lnTo>
                        <a:lnTo>
                          <a:pt x="126206" y="557212"/>
                        </a:lnTo>
                        <a:lnTo>
                          <a:pt x="157163" y="588169"/>
                        </a:lnTo>
                        <a:lnTo>
                          <a:pt x="183356" y="602456"/>
                        </a:lnTo>
                        <a:lnTo>
                          <a:pt x="209550" y="602456"/>
                        </a:lnTo>
                        <a:lnTo>
                          <a:pt x="238125" y="602456"/>
                        </a:lnTo>
                        <a:lnTo>
                          <a:pt x="276225" y="588169"/>
                        </a:lnTo>
                        <a:lnTo>
                          <a:pt x="321469" y="564356"/>
                        </a:lnTo>
                        <a:lnTo>
                          <a:pt x="378619" y="519112"/>
                        </a:lnTo>
                        <a:lnTo>
                          <a:pt x="423863" y="457200"/>
                        </a:lnTo>
                        <a:cubicBezTo>
                          <a:pt x="443235" y="413612"/>
                          <a:pt x="442913" y="429972"/>
                          <a:pt x="442913" y="411956"/>
                        </a:cubicBezTo>
                        <a:lnTo>
                          <a:pt x="452438" y="385762"/>
                        </a:lnTo>
                        <a:lnTo>
                          <a:pt x="452438" y="345281"/>
                        </a:lnTo>
                        <a:lnTo>
                          <a:pt x="469106" y="345281"/>
                        </a:lnTo>
                        <a:lnTo>
                          <a:pt x="495300" y="328612"/>
                        </a:lnTo>
                        <a:lnTo>
                          <a:pt x="519113" y="297656"/>
                        </a:lnTo>
                        <a:lnTo>
                          <a:pt x="528638" y="261937"/>
                        </a:lnTo>
                        <a:lnTo>
                          <a:pt x="533400" y="219075"/>
                        </a:lnTo>
                        <a:lnTo>
                          <a:pt x="528638" y="173831"/>
                        </a:lnTo>
                        <a:lnTo>
                          <a:pt x="519113" y="150019"/>
                        </a:lnTo>
                        <a:lnTo>
                          <a:pt x="492919" y="142875"/>
                        </a:lnTo>
                        <a:cubicBezTo>
                          <a:pt x="473271" y="160067"/>
                          <a:pt x="473869" y="167982"/>
                          <a:pt x="473869" y="157162"/>
                        </a:cubicBezTo>
                        <a:lnTo>
                          <a:pt x="464344" y="195262"/>
                        </a:lnTo>
                        <a:lnTo>
                          <a:pt x="440531" y="228600"/>
                        </a:lnTo>
                        <a:lnTo>
                          <a:pt x="419100" y="219075"/>
                        </a:lnTo>
                        <a:lnTo>
                          <a:pt x="411956" y="190500"/>
                        </a:lnTo>
                        <a:lnTo>
                          <a:pt x="397669" y="161925"/>
                        </a:lnTo>
                        <a:lnTo>
                          <a:pt x="376238" y="150019"/>
                        </a:lnTo>
                        <a:lnTo>
                          <a:pt x="364331" y="119062"/>
                        </a:lnTo>
                        <a:lnTo>
                          <a:pt x="369094" y="90487"/>
                        </a:lnTo>
                        <a:lnTo>
                          <a:pt x="338138" y="69056"/>
                        </a:lnTo>
                        <a:lnTo>
                          <a:pt x="311944" y="47625"/>
                        </a:lnTo>
                        <a:lnTo>
                          <a:pt x="295275" y="26194"/>
                        </a:lnTo>
                        <a:lnTo>
                          <a:pt x="269081" y="9525"/>
                        </a:lnTo>
                        <a:lnTo>
                          <a:pt x="242888" y="4762"/>
                        </a:lnTo>
                        <a:lnTo>
                          <a:pt x="214313" y="0"/>
                        </a:lnTo>
                        <a:lnTo>
                          <a:pt x="185738" y="4762"/>
                        </a:lnTo>
                        <a:lnTo>
                          <a:pt x="119063"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nvGrpSpPr>
                  <p:cNvPr id="635" name="Group 25">
                    <a:extLst>
                      <a:ext uri="{FF2B5EF4-FFF2-40B4-BE49-F238E27FC236}">
                        <a16:creationId xmlns:a16="http://schemas.microsoft.com/office/drawing/2014/main" id="{B6D734EA-2C6D-4721-AF32-9FECA8819CA2}"/>
                      </a:ext>
                    </a:extLst>
                  </p:cNvPr>
                  <p:cNvGrpSpPr/>
                  <p:nvPr/>
                </p:nvGrpSpPr>
                <p:grpSpPr>
                  <a:xfrm>
                    <a:off x="4727222" y="755602"/>
                    <a:ext cx="121769" cy="51843"/>
                    <a:chOff x="3959225" y="3527425"/>
                    <a:chExt cx="641350" cy="273050"/>
                  </a:xfrm>
                  <a:grpFill/>
                </p:grpSpPr>
                <p:sp>
                  <p:nvSpPr>
                    <p:cNvPr id="657" name="Freeform 268">
                      <a:extLst>
                        <a:ext uri="{FF2B5EF4-FFF2-40B4-BE49-F238E27FC236}">
                          <a16:creationId xmlns:a16="http://schemas.microsoft.com/office/drawing/2014/main" id="{94145666-18DA-4E61-9642-A36E283BDED7}"/>
                        </a:ext>
                      </a:extLst>
                    </p:cNvPr>
                    <p:cNvSpPr/>
                    <p:nvPr/>
                  </p:nvSpPr>
                  <p:spPr>
                    <a:xfrm>
                      <a:off x="4006850" y="3565525"/>
                      <a:ext cx="504825" cy="222353"/>
                    </a:xfrm>
                    <a:custGeom>
                      <a:avLst/>
                      <a:gdLst>
                        <a:gd name="connsiteX0" fmla="*/ 57150 w 504825"/>
                        <a:gd name="connsiteY0" fmla="*/ 203200 h 222353"/>
                        <a:gd name="connsiteX1" fmla="*/ 0 w 504825"/>
                        <a:gd name="connsiteY1" fmla="*/ 187325 h 222353"/>
                        <a:gd name="connsiteX2" fmla="*/ 47625 w 504825"/>
                        <a:gd name="connsiteY2" fmla="*/ 82550 h 222353"/>
                        <a:gd name="connsiteX3" fmla="*/ 155575 w 504825"/>
                        <a:gd name="connsiteY3" fmla="*/ 9525 h 222353"/>
                        <a:gd name="connsiteX4" fmla="*/ 320675 w 504825"/>
                        <a:gd name="connsiteY4" fmla="*/ 0 h 222353"/>
                        <a:gd name="connsiteX5" fmla="*/ 482600 w 504825"/>
                        <a:gd name="connsiteY5" fmla="*/ 66675 h 222353"/>
                        <a:gd name="connsiteX6" fmla="*/ 504825 w 504825"/>
                        <a:gd name="connsiteY6" fmla="*/ 123825 h 222353"/>
                        <a:gd name="connsiteX7" fmla="*/ 438150 w 504825"/>
                        <a:gd name="connsiteY7" fmla="*/ 187325 h 222353"/>
                        <a:gd name="connsiteX8" fmla="*/ 317500 w 504825"/>
                        <a:gd name="connsiteY8" fmla="*/ 219075 h 222353"/>
                        <a:gd name="connsiteX9" fmla="*/ 174625 w 504825"/>
                        <a:gd name="connsiteY9" fmla="*/ 222250 h 222353"/>
                        <a:gd name="connsiteX10" fmla="*/ 57150 w 504825"/>
                        <a:gd name="connsiteY10" fmla="*/ 203200 h 222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4825" h="222353">
                          <a:moveTo>
                            <a:pt x="57150" y="203200"/>
                          </a:moveTo>
                          <a:lnTo>
                            <a:pt x="0" y="187325"/>
                          </a:lnTo>
                          <a:cubicBezTo>
                            <a:pt x="48074" y="84767"/>
                            <a:pt x="47625" y="123128"/>
                            <a:pt x="47625" y="82550"/>
                          </a:cubicBezTo>
                          <a:lnTo>
                            <a:pt x="155575" y="9525"/>
                          </a:lnTo>
                          <a:cubicBezTo>
                            <a:pt x="210605" y="6288"/>
                            <a:pt x="265550" y="0"/>
                            <a:pt x="320675" y="0"/>
                          </a:cubicBezTo>
                          <a:lnTo>
                            <a:pt x="482600" y="66675"/>
                          </a:lnTo>
                          <a:lnTo>
                            <a:pt x="504825" y="123825"/>
                          </a:lnTo>
                          <a:lnTo>
                            <a:pt x="438150" y="187325"/>
                          </a:lnTo>
                          <a:cubicBezTo>
                            <a:pt x="319653" y="219351"/>
                            <a:pt x="361238" y="219075"/>
                            <a:pt x="317500" y="219075"/>
                          </a:cubicBezTo>
                          <a:cubicBezTo>
                            <a:pt x="183093" y="222353"/>
                            <a:pt x="230730" y="222250"/>
                            <a:pt x="174625" y="222250"/>
                          </a:cubicBezTo>
                          <a:lnTo>
                            <a:pt x="57150" y="2032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nvGrpSpPr>
                    <p:cNvPr id="658" name="Group 22">
                      <a:extLst>
                        <a:ext uri="{FF2B5EF4-FFF2-40B4-BE49-F238E27FC236}">
                          <a16:creationId xmlns:a16="http://schemas.microsoft.com/office/drawing/2014/main" id="{04B6778A-F204-4CFC-82B2-A1AADA0DEC44}"/>
                        </a:ext>
                      </a:extLst>
                    </p:cNvPr>
                    <p:cNvGrpSpPr/>
                    <p:nvPr/>
                  </p:nvGrpSpPr>
                  <p:grpSpPr>
                    <a:xfrm>
                      <a:off x="4181475" y="3562351"/>
                      <a:ext cx="225425" cy="215900"/>
                      <a:chOff x="4114800" y="3581400"/>
                      <a:chExt cx="228600" cy="228600"/>
                    </a:xfrm>
                    <a:grpFill/>
                  </p:grpSpPr>
                  <p:sp>
                    <p:nvSpPr>
                      <p:cNvPr id="661" name="Oval 660">
                        <a:extLst>
                          <a:ext uri="{FF2B5EF4-FFF2-40B4-BE49-F238E27FC236}">
                            <a16:creationId xmlns:a16="http://schemas.microsoft.com/office/drawing/2014/main" id="{63390FFC-7767-4BD5-A46E-AA4D7484E414}"/>
                          </a:ext>
                        </a:extLst>
                      </p:cNvPr>
                      <p:cNvSpPr/>
                      <p:nvPr/>
                    </p:nvSpPr>
                    <p:spPr>
                      <a:xfrm>
                        <a:off x="4114800" y="3581400"/>
                        <a:ext cx="228600" cy="2286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62" name="Oval 661">
                        <a:extLst>
                          <a:ext uri="{FF2B5EF4-FFF2-40B4-BE49-F238E27FC236}">
                            <a16:creationId xmlns:a16="http://schemas.microsoft.com/office/drawing/2014/main" id="{22FDA4B8-CDD3-4E1A-9CF4-27CB8C1119A2}"/>
                          </a:ext>
                        </a:extLst>
                      </p:cNvPr>
                      <p:cNvSpPr/>
                      <p:nvPr/>
                    </p:nvSpPr>
                    <p:spPr>
                      <a:xfrm>
                        <a:off x="4165599" y="3632195"/>
                        <a:ext cx="123825" cy="12382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63" name="Oval 662">
                        <a:extLst>
                          <a:ext uri="{FF2B5EF4-FFF2-40B4-BE49-F238E27FC236}">
                            <a16:creationId xmlns:a16="http://schemas.microsoft.com/office/drawing/2014/main" id="{D4A31F50-3033-4014-81E2-E5265CA08D4A}"/>
                          </a:ext>
                        </a:extLst>
                      </p:cNvPr>
                      <p:cNvSpPr/>
                      <p:nvPr/>
                    </p:nvSpPr>
                    <p:spPr>
                      <a:xfrm>
                        <a:off x="4241800" y="3641725"/>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sp>
                  <p:nvSpPr>
                    <p:cNvPr id="659" name="Freeform 270">
                      <a:extLst>
                        <a:ext uri="{FF2B5EF4-FFF2-40B4-BE49-F238E27FC236}">
                          <a16:creationId xmlns:a16="http://schemas.microsoft.com/office/drawing/2014/main" id="{B46177C4-774A-442F-B963-790791D61787}"/>
                        </a:ext>
                      </a:extLst>
                    </p:cNvPr>
                    <p:cNvSpPr/>
                    <p:nvPr/>
                  </p:nvSpPr>
                  <p:spPr>
                    <a:xfrm>
                      <a:off x="4032250" y="3663950"/>
                      <a:ext cx="492125" cy="136525"/>
                    </a:xfrm>
                    <a:custGeom>
                      <a:avLst/>
                      <a:gdLst>
                        <a:gd name="connsiteX0" fmla="*/ 0 w 492125"/>
                        <a:gd name="connsiteY0" fmla="*/ 98425 h 136525"/>
                        <a:gd name="connsiteX1" fmla="*/ 73025 w 492125"/>
                        <a:gd name="connsiteY1" fmla="*/ 98425 h 136525"/>
                        <a:gd name="connsiteX2" fmla="*/ 165100 w 492125"/>
                        <a:gd name="connsiteY2" fmla="*/ 111125 h 136525"/>
                        <a:gd name="connsiteX3" fmla="*/ 295275 w 492125"/>
                        <a:gd name="connsiteY3" fmla="*/ 98425 h 136525"/>
                        <a:gd name="connsiteX4" fmla="*/ 396875 w 492125"/>
                        <a:gd name="connsiteY4" fmla="*/ 69850 h 136525"/>
                        <a:gd name="connsiteX5" fmla="*/ 473075 w 492125"/>
                        <a:gd name="connsiteY5" fmla="*/ 0 h 136525"/>
                        <a:gd name="connsiteX6" fmla="*/ 492125 w 492125"/>
                        <a:gd name="connsiteY6" fmla="*/ 25400 h 136525"/>
                        <a:gd name="connsiteX7" fmla="*/ 482600 w 492125"/>
                        <a:gd name="connsiteY7" fmla="*/ 60325 h 136525"/>
                        <a:gd name="connsiteX8" fmla="*/ 419100 w 492125"/>
                        <a:gd name="connsiteY8" fmla="*/ 111125 h 136525"/>
                        <a:gd name="connsiteX9" fmla="*/ 311150 w 492125"/>
                        <a:gd name="connsiteY9" fmla="*/ 133350 h 136525"/>
                        <a:gd name="connsiteX10" fmla="*/ 149225 w 492125"/>
                        <a:gd name="connsiteY10" fmla="*/ 136525 h 136525"/>
                        <a:gd name="connsiteX11" fmla="*/ 53975 w 492125"/>
                        <a:gd name="connsiteY11" fmla="*/ 120650 h 136525"/>
                        <a:gd name="connsiteX12" fmla="*/ 0 w 492125"/>
                        <a:gd name="connsiteY12" fmla="*/ 98425 h 13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2125" h="136525">
                          <a:moveTo>
                            <a:pt x="0" y="98425"/>
                          </a:moveTo>
                          <a:lnTo>
                            <a:pt x="73025" y="98425"/>
                          </a:lnTo>
                          <a:lnTo>
                            <a:pt x="165100" y="111125"/>
                          </a:lnTo>
                          <a:lnTo>
                            <a:pt x="295275" y="98425"/>
                          </a:lnTo>
                          <a:lnTo>
                            <a:pt x="396875" y="69850"/>
                          </a:lnTo>
                          <a:cubicBezTo>
                            <a:pt x="473871" y="2478"/>
                            <a:pt x="473075" y="36926"/>
                            <a:pt x="473075" y="0"/>
                          </a:cubicBezTo>
                          <a:lnTo>
                            <a:pt x="492125" y="25400"/>
                          </a:lnTo>
                          <a:lnTo>
                            <a:pt x="482600" y="60325"/>
                          </a:lnTo>
                          <a:cubicBezTo>
                            <a:pt x="421465" y="111807"/>
                            <a:pt x="448563" y="111125"/>
                            <a:pt x="419100" y="111125"/>
                          </a:cubicBezTo>
                          <a:lnTo>
                            <a:pt x="311150" y="133350"/>
                          </a:lnTo>
                          <a:lnTo>
                            <a:pt x="149225" y="136525"/>
                          </a:lnTo>
                          <a:cubicBezTo>
                            <a:pt x="56107" y="120470"/>
                            <a:pt x="88295" y="120650"/>
                            <a:pt x="53975" y="120650"/>
                          </a:cubicBezTo>
                          <a:lnTo>
                            <a:pt x="0" y="9842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60" name="Freeform 271">
                      <a:extLst>
                        <a:ext uri="{FF2B5EF4-FFF2-40B4-BE49-F238E27FC236}">
                          <a16:creationId xmlns:a16="http://schemas.microsoft.com/office/drawing/2014/main" id="{F398111E-1B3C-4577-8065-A9B97670C8C6}"/>
                        </a:ext>
                      </a:extLst>
                    </p:cNvPr>
                    <p:cNvSpPr/>
                    <p:nvPr/>
                  </p:nvSpPr>
                  <p:spPr>
                    <a:xfrm>
                      <a:off x="3959225" y="3527425"/>
                      <a:ext cx="641350" cy="263525"/>
                    </a:xfrm>
                    <a:custGeom>
                      <a:avLst/>
                      <a:gdLst>
                        <a:gd name="connsiteX0" fmla="*/ 0 w 641350"/>
                        <a:gd name="connsiteY0" fmla="*/ 263525 h 263525"/>
                        <a:gd name="connsiteX1" fmla="*/ 73025 w 641350"/>
                        <a:gd name="connsiteY1" fmla="*/ 228600 h 263525"/>
                        <a:gd name="connsiteX2" fmla="*/ 101600 w 641350"/>
                        <a:gd name="connsiteY2" fmla="*/ 165100 h 263525"/>
                        <a:gd name="connsiteX3" fmla="*/ 155575 w 641350"/>
                        <a:gd name="connsiteY3" fmla="*/ 88900 h 263525"/>
                        <a:gd name="connsiteX4" fmla="*/ 257175 w 641350"/>
                        <a:gd name="connsiteY4" fmla="*/ 73025 h 263525"/>
                        <a:gd name="connsiteX5" fmla="*/ 384175 w 641350"/>
                        <a:gd name="connsiteY5" fmla="*/ 88900 h 263525"/>
                        <a:gd name="connsiteX6" fmla="*/ 508000 w 641350"/>
                        <a:gd name="connsiteY6" fmla="*/ 127000 h 263525"/>
                        <a:gd name="connsiteX7" fmla="*/ 619125 w 641350"/>
                        <a:gd name="connsiteY7" fmla="*/ 190500 h 263525"/>
                        <a:gd name="connsiteX8" fmla="*/ 641350 w 641350"/>
                        <a:gd name="connsiteY8" fmla="*/ 200025 h 263525"/>
                        <a:gd name="connsiteX9" fmla="*/ 606425 w 641350"/>
                        <a:gd name="connsiteY9" fmla="*/ 161925 h 263525"/>
                        <a:gd name="connsiteX10" fmla="*/ 530225 w 641350"/>
                        <a:gd name="connsiteY10" fmla="*/ 76200 h 263525"/>
                        <a:gd name="connsiteX11" fmla="*/ 438150 w 641350"/>
                        <a:gd name="connsiteY11" fmla="*/ 19050 h 263525"/>
                        <a:gd name="connsiteX12" fmla="*/ 247650 w 641350"/>
                        <a:gd name="connsiteY12" fmla="*/ 0 h 263525"/>
                        <a:gd name="connsiteX13" fmla="*/ 133350 w 641350"/>
                        <a:gd name="connsiteY13" fmla="*/ 22225 h 263525"/>
                        <a:gd name="connsiteX14" fmla="*/ 79375 w 641350"/>
                        <a:gd name="connsiteY14" fmla="*/ 82550 h 263525"/>
                        <a:gd name="connsiteX15" fmla="*/ 41275 w 641350"/>
                        <a:gd name="connsiteY15" fmla="*/ 200025 h 263525"/>
                        <a:gd name="connsiteX16" fmla="*/ 0 w 641350"/>
                        <a:gd name="connsiteY16" fmla="*/ 263525 h 263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41350" h="263525">
                          <a:moveTo>
                            <a:pt x="0" y="263525"/>
                          </a:moveTo>
                          <a:lnTo>
                            <a:pt x="73025" y="228600"/>
                          </a:lnTo>
                          <a:lnTo>
                            <a:pt x="101600" y="165100"/>
                          </a:lnTo>
                          <a:lnTo>
                            <a:pt x="155575" y="88900"/>
                          </a:lnTo>
                          <a:lnTo>
                            <a:pt x="257175" y="73025"/>
                          </a:lnTo>
                          <a:lnTo>
                            <a:pt x="384175" y="88900"/>
                          </a:lnTo>
                          <a:lnTo>
                            <a:pt x="508000" y="127000"/>
                          </a:lnTo>
                          <a:lnTo>
                            <a:pt x="619125" y="190500"/>
                          </a:lnTo>
                          <a:lnTo>
                            <a:pt x="641350" y="200025"/>
                          </a:lnTo>
                          <a:lnTo>
                            <a:pt x="606425" y="161925"/>
                          </a:lnTo>
                          <a:lnTo>
                            <a:pt x="530225" y="76200"/>
                          </a:lnTo>
                          <a:lnTo>
                            <a:pt x="438150" y="19050"/>
                          </a:lnTo>
                          <a:lnTo>
                            <a:pt x="247650" y="0"/>
                          </a:lnTo>
                          <a:lnTo>
                            <a:pt x="133350" y="22225"/>
                          </a:lnTo>
                          <a:lnTo>
                            <a:pt x="79375" y="82550"/>
                          </a:lnTo>
                          <a:lnTo>
                            <a:pt x="41275" y="200025"/>
                          </a:lnTo>
                          <a:lnTo>
                            <a:pt x="0" y="26352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sp>
                <p:nvSpPr>
                  <p:cNvPr id="636" name="Freeform 247">
                    <a:extLst>
                      <a:ext uri="{FF2B5EF4-FFF2-40B4-BE49-F238E27FC236}">
                        <a16:creationId xmlns:a16="http://schemas.microsoft.com/office/drawing/2014/main" id="{E6D9CF73-113F-4C7D-AB85-9BAAE889413F}"/>
                      </a:ext>
                    </a:extLst>
                  </p:cNvPr>
                  <p:cNvSpPr/>
                  <p:nvPr/>
                </p:nvSpPr>
                <p:spPr>
                  <a:xfrm>
                    <a:off x="4499564" y="742313"/>
                    <a:ext cx="99861" cy="50691"/>
                  </a:xfrm>
                  <a:custGeom>
                    <a:avLst/>
                    <a:gdLst>
                      <a:gd name="connsiteX0" fmla="*/ 88106 w 88106"/>
                      <a:gd name="connsiteY0" fmla="*/ 26194 h 47625"/>
                      <a:gd name="connsiteX1" fmla="*/ 30956 w 88106"/>
                      <a:gd name="connsiteY1" fmla="*/ 9525 h 47625"/>
                      <a:gd name="connsiteX2" fmla="*/ 16669 w 88106"/>
                      <a:gd name="connsiteY2" fmla="*/ 19050 h 47625"/>
                      <a:gd name="connsiteX3" fmla="*/ 2381 w 88106"/>
                      <a:gd name="connsiteY3" fmla="*/ 33337 h 47625"/>
                      <a:gd name="connsiteX4" fmla="*/ 0 w 88106"/>
                      <a:gd name="connsiteY4" fmla="*/ 47625 h 47625"/>
                      <a:gd name="connsiteX5" fmla="*/ 0 w 88106"/>
                      <a:gd name="connsiteY5" fmla="*/ 23812 h 47625"/>
                      <a:gd name="connsiteX6" fmla="*/ 23812 w 88106"/>
                      <a:gd name="connsiteY6" fmla="*/ 2381 h 47625"/>
                      <a:gd name="connsiteX7" fmla="*/ 45244 w 88106"/>
                      <a:gd name="connsiteY7" fmla="*/ 0 h 47625"/>
                      <a:gd name="connsiteX8" fmla="*/ 88106 w 88106"/>
                      <a:gd name="connsiteY8" fmla="*/ 26194 h 47625"/>
                      <a:gd name="connsiteX0" fmla="*/ 88106 w 90488"/>
                      <a:gd name="connsiteY0" fmla="*/ 26194 h 47625"/>
                      <a:gd name="connsiteX1" fmla="*/ 30956 w 90488"/>
                      <a:gd name="connsiteY1" fmla="*/ 9525 h 47625"/>
                      <a:gd name="connsiteX2" fmla="*/ 16669 w 90488"/>
                      <a:gd name="connsiteY2" fmla="*/ 19050 h 47625"/>
                      <a:gd name="connsiteX3" fmla="*/ 2381 w 90488"/>
                      <a:gd name="connsiteY3" fmla="*/ 33337 h 47625"/>
                      <a:gd name="connsiteX4" fmla="*/ 0 w 90488"/>
                      <a:gd name="connsiteY4" fmla="*/ 47625 h 47625"/>
                      <a:gd name="connsiteX5" fmla="*/ 0 w 90488"/>
                      <a:gd name="connsiteY5" fmla="*/ 23812 h 47625"/>
                      <a:gd name="connsiteX6" fmla="*/ 23812 w 90488"/>
                      <a:gd name="connsiteY6" fmla="*/ 2381 h 47625"/>
                      <a:gd name="connsiteX7" fmla="*/ 45244 w 90488"/>
                      <a:gd name="connsiteY7" fmla="*/ 0 h 47625"/>
                      <a:gd name="connsiteX8" fmla="*/ 90488 w 90488"/>
                      <a:gd name="connsiteY8" fmla="*/ 14288 h 47625"/>
                      <a:gd name="connsiteX9" fmla="*/ 88106 w 90488"/>
                      <a:gd name="connsiteY9" fmla="*/ 26194 h 47625"/>
                      <a:gd name="connsiteX0" fmla="*/ 88106 w 93821"/>
                      <a:gd name="connsiteY0" fmla="*/ 26194 h 47625"/>
                      <a:gd name="connsiteX1" fmla="*/ 30956 w 93821"/>
                      <a:gd name="connsiteY1" fmla="*/ 9525 h 47625"/>
                      <a:gd name="connsiteX2" fmla="*/ 16669 w 93821"/>
                      <a:gd name="connsiteY2" fmla="*/ 19050 h 47625"/>
                      <a:gd name="connsiteX3" fmla="*/ 2381 w 93821"/>
                      <a:gd name="connsiteY3" fmla="*/ 33337 h 47625"/>
                      <a:gd name="connsiteX4" fmla="*/ 0 w 93821"/>
                      <a:gd name="connsiteY4" fmla="*/ 47625 h 47625"/>
                      <a:gd name="connsiteX5" fmla="*/ 0 w 93821"/>
                      <a:gd name="connsiteY5" fmla="*/ 23812 h 47625"/>
                      <a:gd name="connsiteX6" fmla="*/ 23812 w 93821"/>
                      <a:gd name="connsiteY6" fmla="*/ 2381 h 47625"/>
                      <a:gd name="connsiteX7" fmla="*/ 45244 w 93821"/>
                      <a:gd name="connsiteY7" fmla="*/ 0 h 47625"/>
                      <a:gd name="connsiteX8" fmla="*/ 90488 w 93821"/>
                      <a:gd name="connsiteY8" fmla="*/ 14288 h 47625"/>
                      <a:gd name="connsiteX9" fmla="*/ 93821 w 93821"/>
                      <a:gd name="connsiteY9" fmla="*/ 23234 h 47625"/>
                      <a:gd name="connsiteX10" fmla="*/ 88106 w 93821"/>
                      <a:gd name="connsiteY10" fmla="*/ 2619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3821" h="47625">
                        <a:moveTo>
                          <a:pt x="88106" y="26194"/>
                        </a:moveTo>
                        <a:cubicBezTo>
                          <a:pt x="32578" y="9294"/>
                          <a:pt x="52420" y="9525"/>
                          <a:pt x="30956" y="9525"/>
                        </a:cubicBezTo>
                        <a:lnTo>
                          <a:pt x="16669" y="19050"/>
                        </a:lnTo>
                        <a:lnTo>
                          <a:pt x="2381" y="33337"/>
                        </a:lnTo>
                        <a:lnTo>
                          <a:pt x="0" y="47625"/>
                        </a:lnTo>
                        <a:lnTo>
                          <a:pt x="0" y="23812"/>
                        </a:lnTo>
                        <a:lnTo>
                          <a:pt x="23812" y="2381"/>
                        </a:lnTo>
                        <a:lnTo>
                          <a:pt x="45244" y="0"/>
                        </a:lnTo>
                        <a:lnTo>
                          <a:pt x="90488" y="14288"/>
                        </a:lnTo>
                        <a:lnTo>
                          <a:pt x="93821" y="23234"/>
                        </a:lnTo>
                        <a:lnTo>
                          <a:pt x="88106" y="2619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37" name="Freeform 248">
                    <a:extLst>
                      <a:ext uri="{FF2B5EF4-FFF2-40B4-BE49-F238E27FC236}">
                        <a16:creationId xmlns:a16="http://schemas.microsoft.com/office/drawing/2014/main" id="{6BBCF097-7630-4EAA-AF7D-EDC27FF80969}"/>
                      </a:ext>
                    </a:extLst>
                  </p:cNvPr>
                  <p:cNvSpPr/>
                  <p:nvPr/>
                </p:nvSpPr>
                <p:spPr>
                  <a:xfrm>
                    <a:off x="4709932" y="716682"/>
                    <a:ext cx="144470" cy="35769"/>
                  </a:xfrm>
                  <a:custGeom>
                    <a:avLst/>
                    <a:gdLst>
                      <a:gd name="connsiteX0" fmla="*/ 0 w 128588"/>
                      <a:gd name="connsiteY0" fmla="*/ 33605 h 33605"/>
                      <a:gd name="connsiteX1" fmla="*/ 52388 w 128588"/>
                      <a:gd name="connsiteY1" fmla="*/ 14555 h 33605"/>
                      <a:gd name="connsiteX2" fmla="*/ 78582 w 128588"/>
                      <a:gd name="connsiteY2" fmla="*/ 9792 h 33605"/>
                      <a:gd name="connsiteX3" fmla="*/ 114300 w 128588"/>
                      <a:gd name="connsiteY3" fmla="*/ 19317 h 33605"/>
                      <a:gd name="connsiteX4" fmla="*/ 128588 w 128588"/>
                      <a:gd name="connsiteY4" fmla="*/ 28842 h 33605"/>
                      <a:gd name="connsiteX5" fmla="*/ 109538 w 128588"/>
                      <a:gd name="connsiteY5" fmla="*/ 12174 h 33605"/>
                      <a:gd name="connsiteX6" fmla="*/ 73819 w 128588"/>
                      <a:gd name="connsiteY6" fmla="*/ 267 h 33605"/>
                      <a:gd name="connsiteX7" fmla="*/ 40482 w 128588"/>
                      <a:gd name="connsiteY7" fmla="*/ 2649 h 33605"/>
                      <a:gd name="connsiteX8" fmla="*/ 0 w 128588"/>
                      <a:gd name="connsiteY8" fmla="*/ 33605 h 33605"/>
                      <a:gd name="connsiteX0" fmla="*/ 7143 w 135731"/>
                      <a:gd name="connsiteY0" fmla="*/ 33605 h 33605"/>
                      <a:gd name="connsiteX1" fmla="*/ 59531 w 135731"/>
                      <a:gd name="connsiteY1" fmla="*/ 14555 h 33605"/>
                      <a:gd name="connsiteX2" fmla="*/ 85725 w 135731"/>
                      <a:gd name="connsiteY2" fmla="*/ 9792 h 33605"/>
                      <a:gd name="connsiteX3" fmla="*/ 121443 w 135731"/>
                      <a:gd name="connsiteY3" fmla="*/ 19317 h 33605"/>
                      <a:gd name="connsiteX4" fmla="*/ 135731 w 135731"/>
                      <a:gd name="connsiteY4" fmla="*/ 28842 h 33605"/>
                      <a:gd name="connsiteX5" fmla="*/ 116681 w 135731"/>
                      <a:gd name="connsiteY5" fmla="*/ 12174 h 33605"/>
                      <a:gd name="connsiteX6" fmla="*/ 80962 w 135731"/>
                      <a:gd name="connsiteY6" fmla="*/ 267 h 33605"/>
                      <a:gd name="connsiteX7" fmla="*/ 47625 w 135731"/>
                      <a:gd name="connsiteY7" fmla="*/ 2649 h 33605"/>
                      <a:gd name="connsiteX8" fmla="*/ 0 w 135731"/>
                      <a:gd name="connsiteY8" fmla="*/ 21699 h 33605"/>
                      <a:gd name="connsiteX9" fmla="*/ 7143 w 135731"/>
                      <a:gd name="connsiteY9" fmla="*/ 33605 h 33605"/>
                      <a:gd name="connsiteX0" fmla="*/ 7143 w 135731"/>
                      <a:gd name="connsiteY0" fmla="*/ 33605 h 33605"/>
                      <a:gd name="connsiteX1" fmla="*/ 59531 w 135731"/>
                      <a:gd name="connsiteY1" fmla="*/ 14555 h 33605"/>
                      <a:gd name="connsiteX2" fmla="*/ 85725 w 135731"/>
                      <a:gd name="connsiteY2" fmla="*/ 9792 h 33605"/>
                      <a:gd name="connsiteX3" fmla="*/ 121443 w 135731"/>
                      <a:gd name="connsiteY3" fmla="*/ 19317 h 33605"/>
                      <a:gd name="connsiteX4" fmla="*/ 135731 w 135731"/>
                      <a:gd name="connsiteY4" fmla="*/ 28842 h 33605"/>
                      <a:gd name="connsiteX5" fmla="*/ 116681 w 135731"/>
                      <a:gd name="connsiteY5" fmla="*/ 12174 h 33605"/>
                      <a:gd name="connsiteX6" fmla="*/ 80962 w 135731"/>
                      <a:gd name="connsiteY6" fmla="*/ 267 h 33605"/>
                      <a:gd name="connsiteX7" fmla="*/ 47625 w 135731"/>
                      <a:gd name="connsiteY7" fmla="*/ 2649 h 33605"/>
                      <a:gd name="connsiteX8" fmla="*/ 0 w 135731"/>
                      <a:gd name="connsiteY8" fmla="*/ 21699 h 33605"/>
                      <a:gd name="connsiteX9" fmla="*/ 1519 w 135731"/>
                      <a:gd name="connsiteY9" fmla="*/ 31456 h 33605"/>
                      <a:gd name="connsiteX10" fmla="*/ 7143 w 135731"/>
                      <a:gd name="connsiteY10" fmla="*/ 33605 h 33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5731" h="33605">
                        <a:moveTo>
                          <a:pt x="7143" y="33605"/>
                        </a:moveTo>
                        <a:lnTo>
                          <a:pt x="59531" y="14555"/>
                        </a:lnTo>
                        <a:lnTo>
                          <a:pt x="85725" y="9792"/>
                        </a:lnTo>
                        <a:lnTo>
                          <a:pt x="121443" y="19317"/>
                        </a:lnTo>
                        <a:lnTo>
                          <a:pt x="135731" y="28842"/>
                        </a:lnTo>
                        <a:lnTo>
                          <a:pt x="116681" y="12174"/>
                        </a:lnTo>
                        <a:cubicBezTo>
                          <a:pt x="82596" y="0"/>
                          <a:pt x="95143" y="267"/>
                          <a:pt x="80962" y="267"/>
                        </a:cubicBezTo>
                        <a:lnTo>
                          <a:pt x="47625" y="2649"/>
                        </a:lnTo>
                        <a:lnTo>
                          <a:pt x="0" y="21699"/>
                        </a:lnTo>
                        <a:lnTo>
                          <a:pt x="1519" y="31456"/>
                        </a:lnTo>
                        <a:lnTo>
                          <a:pt x="7143" y="3360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38" name="Freeform 249">
                    <a:extLst>
                      <a:ext uri="{FF2B5EF4-FFF2-40B4-BE49-F238E27FC236}">
                        <a16:creationId xmlns:a16="http://schemas.microsoft.com/office/drawing/2014/main" id="{091A8597-6BE0-4FA2-AB0E-C7BF1CAF67FD}"/>
                      </a:ext>
                    </a:extLst>
                  </p:cNvPr>
                  <p:cNvSpPr/>
                  <p:nvPr/>
                </p:nvSpPr>
                <p:spPr>
                  <a:xfrm>
                    <a:off x="4612601" y="797525"/>
                    <a:ext cx="142954" cy="183035"/>
                  </a:xfrm>
                  <a:custGeom>
                    <a:avLst/>
                    <a:gdLst>
                      <a:gd name="connsiteX0" fmla="*/ 7143 w 138112"/>
                      <a:gd name="connsiteY0" fmla="*/ 0 h 176212"/>
                      <a:gd name="connsiteX1" fmla="*/ 30956 w 138112"/>
                      <a:gd name="connsiteY1" fmla="*/ 47625 h 176212"/>
                      <a:gd name="connsiteX2" fmla="*/ 33337 w 138112"/>
                      <a:gd name="connsiteY2" fmla="*/ 92869 h 176212"/>
                      <a:gd name="connsiteX3" fmla="*/ 23812 w 138112"/>
                      <a:gd name="connsiteY3" fmla="*/ 116681 h 176212"/>
                      <a:gd name="connsiteX4" fmla="*/ 21431 w 138112"/>
                      <a:gd name="connsiteY4" fmla="*/ 138112 h 176212"/>
                      <a:gd name="connsiteX5" fmla="*/ 33337 w 138112"/>
                      <a:gd name="connsiteY5" fmla="*/ 154781 h 176212"/>
                      <a:gd name="connsiteX6" fmla="*/ 47625 w 138112"/>
                      <a:gd name="connsiteY6" fmla="*/ 166687 h 176212"/>
                      <a:gd name="connsiteX7" fmla="*/ 61912 w 138112"/>
                      <a:gd name="connsiteY7" fmla="*/ 164306 h 176212"/>
                      <a:gd name="connsiteX8" fmla="*/ 76200 w 138112"/>
                      <a:gd name="connsiteY8" fmla="*/ 150019 h 176212"/>
                      <a:gd name="connsiteX9" fmla="*/ 92868 w 138112"/>
                      <a:gd name="connsiteY9" fmla="*/ 138112 h 176212"/>
                      <a:gd name="connsiteX10" fmla="*/ 109537 w 138112"/>
                      <a:gd name="connsiteY10" fmla="*/ 145256 h 176212"/>
                      <a:gd name="connsiteX11" fmla="*/ 128587 w 138112"/>
                      <a:gd name="connsiteY11" fmla="*/ 135731 h 176212"/>
                      <a:gd name="connsiteX12" fmla="*/ 133350 w 138112"/>
                      <a:gd name="connsiteY12" fmla="*/ 123825 h 176212"/>
                      <a:gd name="connsiteX13" fmla="*/ 119062 w 138112"/>
                      <a:gd name="connsiteY13" fmla="*/ 107156 h 176212"/>
                      <a:gd name="connsiteX14" fmla="*/ 133350 w 138112"/>
                      <a:gd name="connsiteY14" fmla="*/ 116681 h 176212"/>
                      <a:gd name="connsiteX15" fmla="*/ 138112 w 138112"/>
                      <a:gd name="connsiteY15" fmla="*/ 130969 h 176212"/>
                      <a:gd name="connsiteX16" fmla="*/ 121443 w 138112"/>
                      <a:gd name="connsiteY16" fmla="*/ 145256 h 176212"/>
                      <a:gd name="connsiteX17" fmla="*/ 100012 w 138112"/>
                      <a:gd name="connsiteY17" fmla="*/ 152400 h 176212"/>
                      <a:gd name="connsiteX18" fmla="*/ 85725 w 138112"/>
                      <a:gd name="connsiteY18" fmla="*/ 157162 h 176212"/>
                      <a:gd name="connsiteX19" fmla="*/ 66675 w 138112"/>
                      <a:gd name="connsiteY19" fmla="*/ 169069 h 176212"/>
                      <a:gd name="connsiteX20" fmla="*/ 47625 w 138112"/>
                      <a:gd name="connsiteY20" fmla="*/ 176212 h 176212"/>
                      <a:gd name="connsiteX21" fmla="*/ 30956 w 138112"/>
                      <a:gd name="connsiteY21" fmla="*/ 166687 h 176212"/>
                      <a:gd name="connsiteX22" fmla="*/ 26193 w 138112"/>
                      <a:gd name="connsiteY22" fmla="*/ 157162 h 176212"/>
                      <a:gd name="connsiteX23" fmla="*/ 26193 w 138112"/>
                      <a:gd name="connsiteY23" fmla="*/ 157162 h 176212"/>
                      <a:gd name="connsiteX24" fmla="*/ 4762 w 138112"/>
                      <a:gd name="connsiteY24" fmla="*/ 159544 h 176212"/>
                      <a:gd name="connsiteX25" fmla="*/ 0 w 138112"/>
                      <a:gd name="connsiteY25" fmla="*/ 140494 h 176212"/>
                      <a:gd name="connsiteX26" fmla="*/ 11906 w 138112"/>
                      <a:gd name="connsiteY26" fmla="*/ 126206 h 176212"/>
                      <a:gd name="connsiteX27" fmla="*/ 23812 w 138112"/>
                      <a:gd name="connsiteY27" fmla="*/ 107156 h 176212"/>
                      <a:gd name="connsiteX28" fmla="*/ 30956 w 138112"/>
                      <a:gd name="connsiteY28" fmla="*/ 71437 h 176212"/>
                      <a:gd name="connsiteX29" fmla="*/ 7143 w 138112"/>
                      <a:gd name="connsiteY29" fmla="*/ 0 h 176212"/>
                      <a:gd name="connsiteX0" fmla="*/ 7143 w 138112"/>
                      <a:gd name="connsiteY0" fmla="*/ 0 h 176212"/>
                      <a:gd name="connsiteX1" fmla="*/ 30956 w 138112"/>
                      <a:gd name="connsiteY1" fmla="*/ 47625 h 176212"/>
                      <a:gd name="connsiteX2" fmla="*/ 33337 w 138112"/>
                      <a:gd name="connsiteY2" fmla="*/ 92869 h 176212"/>
                      <a:gd name="connsiteX3" fmla="*/ 23812 w 138112"/>
                      <a:gd name="connsiteY3" fmla="*/ 116681 h 176212"/>
                      <a:gd name="connsiteX4" fmla="*/ 21431 w 138112"/>
                      <a:gd name="connsiteY4" fmla="*/ 138112 h 176212"/>
                      <a:gd name="connsiteX5" fmla="*/ 33337 w 138112"/>
                      <a:gd name="connsiteY5" fmla="*/ 154781 h 176212"/>
                      <a:gd name="connsiteX6" fmla="*/ 47625 w 138112"/>
                      <a:gd name="connsiteY6" fmla="*/ 166687 h 176212"/>
                      <a:gd name="connsiteX7" fmla="*/ 61912 w 138112"/>
                      <a:gd name="connsiteY7" fmla="*/ 164306 h 176212"/>
                      <a:gd name="connsiteX8" fmla="*/ 76200 w 138112"/>
                      <a:gd name="connsiteY8" fmla="*/ 150019 h 176212"/>
                      <a:gd name="connsiteX9" fmla="*/ 92868 w 138112"/>
                      <a:gd name="connsiteY9" fmla="*/ 138112 h 176212"/>
                      <a:gd name="connsiteX10" fmla="*/ 109537 w 138112"/>
                      <a:gd name="connsiteY10" fmla="*/ 145256 h 176212"/>
                      <a:gd name="connsiteX11" fmla="*/ 128587 w 138112"/>
                      <a:gd name="connsiteY11" fmla="*/ 135731 h 176212"/>
                      <a:gd name="connsiteX12" fmla="*/ 133350 w 138112"/>
                      <a:gd name="connsiteY12" fmla="*/ 123825 h 176212"/>
                      <a:gd name="connsiteX13" fmla="*/ 119062 w 138112"/>
                      <a:gd name="connsiteY13" fmla="*/ 107156 h 176212"/>
                      <a:gd name="connsiteX14" fmla="*/ 133350 w 138112"/>
                      <a:gd name="connsiteY14" fmla="*/ 116681 h 176212"/>
                      <a:gd name="connsiteX15" fmla="*/ 138112 w 138112"/>
                      <a:gd name="connsiteY15" fmla="*/ 130969 h 176212"/>
                      <a:gd name="connsiteX16" fmla="*/ 121443 w 138112"/>
                      <a:gd name="connsiteY16" fmla="*/ 145256 h 176212"/>
                      <a:gd name="connsiteX17" fmla="*/ 100012 w 138112"/>
                      <a:gd name="connsiteY17" fmla="*/ 152400 h 176212"/>
                      <a:gd name="connsiteX18" fmla="*/ 85725 w 138112"/>
                      <a:gd name="connsiteY18" fmla="*/ 157162 h 176212"/>
                      <a:gd name="connsiteX19" fmla="*/ 66675 w 138112"/>
                      <a:gd name="connsiteY19" fmla="*/ 169069 h 176212"/>
                      <a:gd name="connsiteX20" fmla="*/ 47625 w 138112"/>
                      <a:gd name="connsiteY20" fmla="*/ 176212 h 176212"/>
                      <a:gd name="connsiteX21" fmla="*/ 30956 w 138112"/>
                      <a:gd name="connsiteY21" fmla="*/ 166687 h 176212"/>
                      <a:gd name="connsiteX22" fmla="*/ 26193 w 138112"/>
                      <a:gd name="connsiteY22" fmla="*/ 157162 h 176212"/>
                      <a:gd name="connsiteX23" fmla="*/ 26193 w 138112"/>
                      <a:gd name="connsiteY23" fmla="*/ 157162 h 176212"/>
                      <a:gd name="connsiteX24" fmla="*/ 4762 w 138112"/>
                      <a:gd name="connsiteY24" fmla="*/ 145952 h 176212"/>
                      <a:gd name="connsiteX25" fmla="*/ 0 w 138112"/>
                      <a:gd name="connsiteY25" fmla="*/ 140494 h 176212"/>
                      <a:gd name="connsiteX26" fmla="*/ 11906 w 138112"/>
                      <a:gd name="connsiteY26" fmla="*/ 126206 h 176212"/>
                      <a:gd name="connsiteX27" fmla="*/ 23812 w 138112"/>
                      <a:gd name="connsiteY27" fmla="*/ 107156 h 176212"/>
                      <a:gd name="connsiteX28" fmla="*/ 30956 w 138112"/>
                      <a:gd name="connsiteY28" fmla="*/ 71437 h 176212"/>
                      <a:gd name="connsiteX29" fmla="*/ 7143 w 138112"/>
                      <a:gd name="connsiteY29" fmla="*/ 0 h 176212"/>
                      <a:gd name="connsiteX0" fmla="*/ 4878 w 135847"/>
                      <a:gd name="connsiteY0" fmla="*/ 0 h 176212"/>
                      <a:gd name="connsiteX1" fmla="*/ 28691 w 135847"/>
                      <a:gd name="connsiteY1" fmla="*/ 47625 h 176212"/>
                      <a:gd name="connsiteX2" fmla="*/ 31072 w 135847"/>
                      <a:gd name="connsiteY2" fmla="*/ 92869 h 176212"/>
                      <a:gd name="connsiteX3" fmla="*/ 21547 w 135847"/>
                      <a:gd name="connsiteY3" fmla="*/ 116681 h 176212"/>
                      <a:gd name="connsiteX4" fmla="*/ 19166 w 135847"/>
                      <a:gd name="connsiteY4" fmla="*/ 138112 h 176212"/>
                      <a:gd name="connsiteX5" fmla="*/ 31072 w 135847"/>
                      <a:gd name="connsiteY5" fmla="*/ 154781 h 176212"/>
                      <a:gd name="connsiteX6" fmla="*/ 45360 w 135847"/>
                      <a:gd name="connsiteY6" fmla="*/ 166687 h 176212"/>
                      <a:gd name="connsiteX7" fmla="*/ 59647 w 135847"/>
                      <a:gd name="connsiteY7" fmla="*/ 164306 h 176212"/>
                      <a:gd name="connsiteX8" fmla="*/ 73935 w 135847"/>
                      <a:gd name="connsiteY8" fmla="*/ 150019 h 176212"/>
                      <a:gd name="connsiteX9" fmla="*/ 90603 w 135847"/>
                      <a:gd name="connsiteY9" fmla="*/ 138112 h 176212"/>
                      <a:gd name="connsiteX10" fmla="*/ 107272 w 135847"/>
                      <a:gd name="connsiteY10" fmla="*/ 145256 h 176212"/>
                      <a:gd name="connsiteX11" fmla="*/ 126322 w 135847"/>
                      <a:gd name="connsiteY11" fmla="*/ 135731 h 176212"/>
                      <a:gd name="connsiteX12" fmla="*/ 131085 w 135847"/>
                      <a:gd name="connsiteY12" fmla="*/ 123825 h 176212"/>
                      <a:gd name="connsiteX13" fmla="*/ 116797 w 135847"/>
                      <a:gd name="connsiteY13" fmla="*/ 107156 h 176212"/>
                      <a:gd name="connsiteX14" fmla="*/ 131085 w 135847"/>
                      <a:gd name="connsiteY14" fmla="*/ 116681 h 176212"/>
                      <a:gd name="connsiteX15" fmla="*/ 135847 w 135847"/>
                      <a:gd name="connsiteY15" fmla="*/ 130969 h 176212"/>
                      <a:gd name="connsiteX16" fmla="*/ 119178 w 135847"/>
                      <a:gd name="connsiteY16" fmla="*/ 145256 h 176212"/>
                      <a:gd name="connsiteX17" fmla="*/ 97747 w 135847"/>
                      <a:gd name="connsiteY17" fmla="*/ 152400 h 176212"/>
                      <a:gd name="connsiteX18" fmla="*/ 83460 w 135847"/>
                      <a:gd name="connsiteY18" fmla="*/ 157162 h 176212"/>
                      <a:gd name="connsiteX19" fmla="*/ 64410 w 135847"/>
                      <a:gd name="connsiteY19" fmla="*/ 169069 h 176212"/>
                      <a:gd name="connsiteX20" fmla="*/ 45360 w 135847"/>
                      <a:gd name="connsiteY20" fmla="*/ 176212 h 176212"/>
                      <a:gd name="connsiteX21" fmla="*/ 28691 w 135847"/>
                      <a:gd name="connsiteY21" fmla="*/ 166687 h 176212"/>
                      <a:gd name="connsiteX22" fmla="*/ 23928 w 135847"/>
                      <a:gd name="connsiteY22" fmla="*/ 157162 h 176212"/>
                      <a:gd name="connsiteX23" fmla="*/ 23928 w 135847"/>
                      <a:gd name="connsiteY23" fmla="*/ 157162 h 176212"/>
                      <a:gd name="connsiteX24" fmla="*/ 2497 w 135847"/>
                      <a:gd name="connsiteY24" fmla="*/ 145952 h 176212"/>
                      <a:gd name="connsiteX25" fmla="*/ 0 w 135847"/>
                      <a:gd name="connsiteY25" fmla="*/ 137662 h 176212"/>
                      <a:gd name="connsiteX26" fmla="*/ 9641 w 135847"/>
                      <a:gd name="connsiteY26" fmla="*/ 126206 h 176212"/>
                      <a:gd name="connsiteX27" fmla="*/ 21547 w 135847"/>
                      <a:gd name="connsiteY27" fmla="*/ 107156 h 176212"/>
                      <a:gd name="connsiteX28" fmla="*/ 28691 w 135847"/>
                      <a:gd name="connsiteY28" fmla="*/ 71437 h 176212"/>
                      <a:gd name="connsiteX29" fmla="*/ 4878 w 135847"/>
                      <a:gd name="connsiteY29" fmla="*/ 0 h 176212"/>
                      <a:gd name="connsiteX0" fmla="*/ 4878 w 135847"/>
                      <a:gd name="connsiteY0" fmla="*/ 0 h 176212"/>
                      <a:gd name="connsiteX1" fmla="*/ 28691 w 135847"/>
                      <a:gd name="connsiteY1" fmla="*/ 47625 h 176212"/>
                      <a:gd name="connsiteX2" fmla="*/ 31072 w 135847"/>
                      <a:gd name="connsiteY2" fmla="*/ 92869 h 176212"/>
                      <a:gd name="connsiteX3" fmla="*/ 21547 w 135847"/>
                      <a:gd name="connsiteY3" fmla="*/ 116681 h 176212"/>
                      <a:gd name="connsiteX4" fmla="*/ 19166 w 135847"/>
                      <a:gd name="connsiteY4" fmla="*/ 138112 h 176212"/>
                      <a:gd name="connsiteX5" fmla="*/ 31072 w 135847"/>
                      <a:gd name="connsiteY5" fmla="*/ 154781 h 176212"/>
                      <a:gd name="connsiteX6" fmla="*/ 45360 w 135847"/>
                      <a:gd name="connsiteY6" fmla="*/ 166687 h 176212"/>
                      <a:gd name="connsiteX7" fmla="*/ 59647 w 135847"/>
                      <a:gd name="connsiteY7" fmla="*/ 164306 h 176212"/>
                      <a:gd name="connsiteX8" fmla="*/ 73935 w 135847"/>
                      <a:gd name="connsiteY8" fmla="*/ 150019 h 176212"/>
                      <a:gd name="connsiteX9" fmla="*/ 90603 w 135847"/>
                      <a:gd name="connsiteY9" fmla="*/ 138112 h 176212"/>
                      <a:gd name="connsiteX10" fmla="*/ 107272 w 135847"/>
                      <a:gd name="connsiteY10" fmla="*/ 145256 h 176212"/>
                      <a:gd name="connsiteX11" fmla="*/ 126322 w 135847"/>
                      <a:gd name="connsiteY11" fmla="*/ 135731 h 176212"/>
                      <a:gd name="connsiteX12" fmla="*/ 131085 w 135847"/>
                      <a:gd name="connsiteY12" fmla="*/ 123825 h 176212"/>
                      <a:gd name="connsiteX13" fmla="*/ 116797 w 135847"/>
                      <a:gd name="connsiteY13" fmla="*/ 107156 h 176212"/>
                      <a:gd name="connsiteX14" fmla="*/ 131085 w 135847"/>
                      <a:gd name="connsiteY14" fmla="*/ 116681 h 176212"/>
                      <a:gd name="connsiteX15" fmla="*/ 135847 w 135847"/>
                      <a:gd name="connsiteY15" fmla="*/ 130969 h 176212"/>
                      <a:gd name="connsiteX16" fmla="*/ 119178 w 135847"/>
                      <a:gd name="connsiteY16" fmla="*/ 145256 h 176212"/>
                      <a:gd name="connsiteX17" fmla="*/ 97747 w 135847"/>
                      <a:gd name="connsiteY17" fmla="*/ 152400 h 176212"/>
                      <a:gd name="connsiteX18" fmla="*/ 83460 w 135847"/>
                      <a:gd name="connsiteY18" fmla="*/ 157162 h 176212"/>
                      <a:gd name="connsiteX19" fmla="*/ 64410 w 135847"/>
                      <a:gd name="connsiteY19" fmla="*/ 169069 h 176212"/>
                      <a:gd name="connsiteX20" fmla="*/ 45360 w 135847"/>
                      <a:gd name="connsiteY20" fmla="*/ 176212 h 176212"/>
                      <a:gd name="connsiteX21" fmla="*/ 28691 w 135847"/>
                      <a:gd name="connsiteY21" fmla="*/ 166687 h 176212"/>
                      <a:gd name="connsiteX22" fmla="*/ 23928 w 135847"/>
                      <a:gd name="connsiteY22" fmla="*/ 157162 h 176212"/>
                      <a:gd name="connsiteX23" fmla="*/ 23928 w 135847"/>
                      <a:gd name="connsiteY23" fmla="*/ 157162 h 176212"/>
                      <a:gd name="connsiteX24" fmla="*/ 798 w 135847"/>
                      <a:gd name="connsiteY24" fmla="*/ 144819 h 176212"/>
                      <a:gd name="connsiteX25" fmla="*/ 0 w 135847"/>
                      <a:gd name="connsiteY25" fmla="*/ 137662 h 176212"/>
                      <a:gd name="connsiteX26" fmla="*/ 9641 w 135847"/>
                      <a:gd name="connsiteY26" fmla="*/ 126206 h 176212"/>
                      <a:gd name="connsiteX27" fmla="*/ 21547 w 135847"/>
                      <a:gd name="connsiteY27" fmla="*/ 107156 h 176212"/>
                      <a:gd name="connsiteX28" fmla="*/ 28691 w 135847"/>
                      <a:gd name="connsiteY28" fmla="*/ 71437 h 176212"/>
                      <a:gd name="connsiteX29" fmla="*/ 4878 w 135847"/>
                      <a:gd name="connsiteY29" fmla="*/ 0 h 176212"/>
                      <a:gd name="connsiteX0" fmla="*/ 4878 w 135847"/>
                      <a:gd name="connsiteY0" fmla="*/ 0 h 176212"/>
                      <a:gd name="connsiteX1" fmla="*/ 28691 w 135847"/>
                      <a:gd name="connsiteY1" fmla="*/ 47625 h 176212"/>
                      <a:gd name="connsiteX2" fmla="*/ 31072 w 135847"/>
                      <a:gd name="connsiteY2" fmla="*/ 92869 h 176212"/>
                      <a:gd name="connsiteX3" fmla="*/ 21547 w 135847"/>
                      <a:gd name="connsiteY3" fmla="*/ 116681 h 176212"/>
                      <a:gd name="connsiteX4" fmla="*/ 19166 w 135847"/>
                      <a:gd name="connsiteY4" fmla="*/ 138112 h 176212"/>
                      <a:gd name="connsiteX5" fmla="*/ 31072 w 135847"/>
                      <a:gd name="connsiteY5" fmla="*/ 154781 h 176212"/>
                      <a:gd name="connsiteX6" fmla="*/ 45360 w 135847"/>
                      <a:gd name="connsiteY6" fmla="*/ 166687 h 176212"/>
                      <a:gd name="connsiteX7" fmla="*/ 59647 w 135847"/>
                      <a:gd name="connsiteY7" fmla="*/ 164306 h 176212"/>
                      <a:gd name="connsiteX8" fmla="*/ 73935 w 135847"/>
                      <a:gd name="connsiteY8" fmla="*/ 150019 h 176212"/>
                      <a:gd name="connsiteX9" fmla="*/ 90603 w 135847"/>
                      <a:gd name="connsiteY9" fmla="*/ 138112 h 176212"/>
                      <a:gd name="connsiteX10" fmla="*/ 107272 w 135847"/>
                      <a:gd name="connsiteY10" fmla="*/ 145256 h 176212"/>
                      <a:gd name="connsiteX11" fmla="*/ 126322 w 135847"/>
                      <a:gd name="connsiteY11" fmla="*/ 135731 h 176212"/>
                      <a:gd name="connsiteX12" fmla="*/ 131085 w 135847"/>
                      <a:gd name="connsiteY12" fmla="*/ 123825 h 176212"/>
                      <a:gd name="connsiteX13" fmla="*/ 116797 w 135847"/>
                      <a:gd name="connsiteY13" fmla="*/ 107156 h 176212"/>
                      <a:gd name="connsiteX14" fmla="*/ 131085 w 135847"/>
                      <a:gd name="connsiteY14" fmla="*/ 116681 h 176212"/>
                      <a:gd name="connsiteX15" fmla="*/ 135847 w 135847"/>
                      <a:gd name="connsiteY15" fmla="*/ 130969 h 176212"/>
                      <a:gd name="connsiteX16" fmla="*/ 119178 w 135847"/>
                      <a:gd name="connsiteY16" fmla="*/ 145256 h 176212"/>
                      <a:gd name="connsiteX17" fmla="*/ 97747 w 135847"/>
                      <a:gd name="connsiteY17" fmla="*/ 152400 h 176212"/>
                      <a:gd name="connsiteX18" fmla="*/ 83460 w 135847"/>
                      <a:gd name="connsiteY18" fmla="*/ 157162 h 176212"/>
                      <a:gd name="connsiteX19" fmla="*/ 64410 w 135847"/>
                      <a:gd name="connsiteY19" fmla="*/ 169069 h 176212"/>
                      <a:gd name="connsiteX20" fmla="*/ 45360 w 135847"/>
                      <a:gd name="connsiteY20" fmla="*/ 176212 h 176212"/>
                      <a:gd name="connsiteX21" fmla="*/ 28691 w 135847"/>
                      <a:gd name="connsiteY21" fmla="*/ 166687 h 176212"/>
                      <a:gd name="connsiteX22" fmla="*/ 23928 w 135847"/>
                      <a:gd name="connsiteY22" fmla="*/ 157162 h 176212"/>
                      <a:gd name="connsiteX23" fmla="*/ 23928 w 135847"/>
                      <a:gd name="connsiteY23" fmla="*/ 157162 h 176212"/>
                      <a:gd name="connsiteX24" fmla="*/ 798 w 135847"/>
                      <a:gd name="connsiteY24" fmla="*/ 144819 h 176212"/>
                      <a:gd name="connsiteX25" fmla="*/ 0 w 135847"/>
                      <a:gd name="connsiteY25" fmla="*/ 137662 h 176212"/>
                      <a:gd name="connsiteX26" fmla="*/ 9641 w 135847"/>
                      <a:gd name="connsiteY26" fmla="*/ 126206 h 176212"/>
                      <a:gd name="connsiteX27" fmla="*/ 21547 w 135847"/>
                      <a:gd name="connsiteY27" fmla="*/ 107156 h 176212"/>
                      <a:gd name="connsiteX28" fmla="*/ 28691 w 135847"/>
                      <a:gd name="connsiteY28" fmla="*/ 71437 h 176212"/>
                      <a:gd name="connsiteX29" fmla="*/ 4878 w 135847"/>
                      <a:gd name="connsiteY29" fmla="*/ 0 h 176212"/>
                      <a:gd name="connsiteX0" fmla="*/ 4878 w 135847"/>
                      <a:gd name="connsiteY0" fmla="*/ 0 h 176212"/>
                      <a:gd name="connsiteX1" fmla="*/ 28691 w 135847"/>
                      <a:gd name="connsiteY1" fmla="*/ 47625 h 176212"/>
                      <a:gd name="connsiteX2" fmla="*/ 31072 w 135847"/>
                      <a:gd name="connsiteY2" fmla="*/ 92869 h 176212"/>
                      <a:gd name="connsiteX3" fmla="*/ 21547 w 135847"/>
                      <a:gd name="connsiteY3" fmla="*/ 116681 h 176212"/>
                      <a:gd name="connsiteX4" fmla="*/ 19166 w 135847"/>
                      <a:gd name="connsiteY4" fmla="*/ 138112 h 176212"/>
                      <a:gd name="connsiteX5" fmla="*/ 31072 w 135847"/>
                      <a:gd name="connsiteY5" fmla="*/ 154781 h 176212"/>
                      <a:gd name="connsiteX6" fmla="*/ 45360 w 135847"/>
                      <a:gd name="connsiteY6" fmla="*/ 166687 h 176212"/>
                      <a:gd name="connsiteX7" fmla="*/ 59647 w 135847"/>
                      <a:gd name="connsiteY7" fmla="*/ 164306 h 176212"/>
                      <a:gd name="connsiteX8" fmla="*/ 73935 w 135847"/>
                      <a:gd name="connsiteY8" fmla="*/ 150019 h 176212"/>
                      <a:gd name="connsiteX9" fmla="*/ 90603 w 135847"/>
                      <a:gd name="connsiteY9" fmla="*/ 138112 h 176212"/>
                      <a:gd name="connsiteX10" fmla="*/ 107272 w 135847"/>
                      <a:gd name="connsiteY10" fmla="*/ 145256 h 176212"/>
                      <a:gd name="connsiteX11" fmla="*/ 126322 w 135847"/>
                      <a:gd name="connsiteY11" fmla="*/ 135731 h 176212"/>
                      <a:gd name="connsiteX12" fmla="*/ 131085 w 135847"/>
                      <a:gd name="connsiteY12" fmla="*/ 123825 h 176212"/>
                      <a:gd name="connsiteX13" fmla="*/ 116797 w 135847"/>
                      <a:gd name="connsiteY13" fmla="*/ 107156 h 176212"/>
                      <a:gd name="connsiteX14" fmla="*/ 131085 w 135847"/>
                      <a:gd name="connsiteY14" fmla="*/ 116681 h 176212"/>
                      <a:gd name="connsiteX15" fmla="*/ 135281 w 135847"/>
                      <a:gd name="connsiteY15" fmla="*/ 120595 h 176212"/>
                      <a:gd name="connsiteX16" fmla="*/ 135847 w 135847"/>
                      <a:gd name="connsiteY16" fmla="*/ 130969 h 176212"/>
                      <a:gd name="connsiteX17" fmla="*/ 119178 w 135847"/>
                      <a:gd name="connsiteY17" fmla="*/ 145256 h 176212"/>
                      <a:gd name="connsiteX18" fmla="*/ 97747 w 135847"/>
                      <a:gd name="connsiteY18" fmla="*/ 152400 h 176212"/>
                      <a:gd name="connsiteX19" fmla="*/ 83460 w 135847"/>
                      <a:gd name="connsiteY19" fmla="*/ 157162 h 176212"/>
                      <a:gd name="connsiteX20" fmla="*/ 64410 w 135847"/>
                      <a:gd name="connsiteY20" fmla="*/ 169069 h 176212"/>
                      <a:gd name="connsiteX21" fmla="*/ 45360 w 135847"/>
                      <a:gd name="connsiteY21" fmla="*/ 176212 h 176212"/>
                      <a:gd name="connsiteX22" fmla="*/ 28691 w 135847"/>
                      <a:gd name="connsiteY22" fmla="*/ 166687 h 176212"/>
                      <a:gd name="connsiteX23" fmla="*/ 23928 w 135847"/>
                      <a:gd name="connsiteY23" fmla="*/ 157162 h 176212"/>
                      <a:gd name="connsiteX24" fmla="*/ 23928 w 135847"/>
                      <a:gd name="connsiteY24" fmla="*/ 157162 h 176212"/>
                      <a:gd name="connsiteX25" fmla="*/ 798 w 135847"/>
                      <a:gd name="connsiteY25" fmla="*/ 144819 h 176212"/>
                      <a:gd name="connsiteX26" fmla="*/ 0 w 135847"/>
                      <a:gd name="connsiteY26" fmla="*/ 137662 h 176212"/>
                      <a:gd name="connsiteX27" fmla="*/ 9641 w 135847"/>
                      <a:gd name="connsiteY27" fmla="*/ 126206 h 176212"/>
                      <a:gd name="connsiteX28" fmla="*/ 21547 w 135847"/>
                      <a:gd name="connsiteY28" fmla="*/ 107156 h 176212"/>
                      <a:gd name="connsiteX29" fmla="*/ 28691 w 135847"/>
                      <a:gd name="connsiteY29" fmla="*/ 71437 h 176212"/>
                      <a:gd name="connsiteX30" fmla="*/ 4878 w 135847"/>
                      <a:gd name="connsiteY30" fmla="*/ 0 h 176212"/>
                      <a:gd name="connsiteX0" fmla="*/ 4878 w 135847"/>
                      <a:gd name="connsiteY0" fmla="*/ 0 h 176212"/>
                      <a:gd name="connsiteX1" fmla="*/ 28691 w 135847"/>
                      <a:gd name="connsiteY1" fmla="*/ 47625 h 176212"/>
                      <a:gd name="connsiteX2" fmla="*/ 31072 w 135847"/>
                      <a:gd name="connsiteY2" fmla="*/ 92869 h 176212"/>
                      <a:gd name="connsiteX3" fmla="*/ 21547 w 135847"/>
                      <a:gd name="connsiteY3" fmla="*/ 116681 h 176212"/>
                      <a:gd name="connsiteX4" fmla="*/ 19166 w 135847"/>
                      <a:gd name="connsiteY4" fmla="*/ 138112 h 176212"/>
                      <a:gd name="connsiteX5" fmla="*/ 31072 w 135847"/>
                      <a:gd name="connsiteY5" fmla="*/ 154781 h 176212"/>
                      <a:gd name="connsiteX6" fmla="*/ 45360 w 135847"/>
                      <a:gd name="connsiteY6" fmla="*/ 166687 h 176212"/>
                      <a:gd name="connsiteX7" fmla="*/ 59647 w 135847"/>
                      <a:gd name="connsiteY7" fmla="*/ 164306 h 176212"/>
                      <a:gd name="connsiteX8" fmla="*/ 73935 w 135847"/>
                      <a:gd name="connsiteY8" fmla="*/ 150019 h 176212"/>
                      <a:gd name="connsiteX9" fmla="*/ 90603 w 135847"/>
                      <a:gd name="connsiteY9" fmla="*/ 138112 h 176212"/>
                      <a:gd name="connsiteX10" fmla="*/ 107272 w 135847"/>
                      <a:gd name="connsiteY10" fmla="*/ 145256 h 176212"/>
                      <a:gd name="connsiteX11" fmla="*/ 126322 w 135847"/>
                      <a:gd name="connsiteY11" fmla="*/ 135731 h 176212"/>
                      <a:gd name="connsiteX12" fmla="*/ 131085 w 135847"/>
                      <a:gd name="connsiteY12" fmla="*/ 123825 h 176212"/>
                      <a:gd name="connsiteX13" fmla="*/ 116797 w 135847"/>
                      <a:gd name="connsiteY13" fmla="*/ 107156 h 176212"/>
                      <a:gd name="connsiteX14" fmla="*/ 126785 w 135847"/>
                      <a:gd name="connsiteY14" fmla="*/ 111533 h 176212"/>
                      <a:gd name="connsiteX15" fmla="*/ 131085 w 135847"/>
                      <a:gd name="connsiteY15" fmla="*/ 116681 h 176212"/>
                      <a:gd name="connsiteX16" fmla="*/ 135281 w 135847"/>
                      <a:gd name="connsiteY16" fmla="*/ 120595 h 176212"/>
                      <a:gd name="connsiteX17" fmla="*/ 135847 w 135847"/>
                      <a:gd name="connsiteY17" fmla="*/ 130969 h 176212"/>
                      <a:gd name="connsiteX18" fmla="*/ 119178 w 135847"/>
                      <a:gd name="connsiteY18" fmla="*/ 145256 h 176212"/>
                      <a:gd name="connsiteX19" fmla="*/ 97747 w 135847"/>
                      <a:gd name="connsiteY19" fmla="*/ 152400 h 176212"/>
                      <a:gd name="connsiteX20" fmla="*/ 83460 w 135847"/>
                      <a:gd name="connsiteY20" fmla="*/ 157162 h 176212"/>
                      <a:gd name="connsiteX21" fmla="*/ 64410 w 135847"/>
                      <a:gd name="connsiteY21" fmla="*/ 169069 h 176212"/>
                      <a:gd name="connsiteX22" fmla="*/ 45360 w 135847"/>
                      <a:gd name="connsiteY22" fmla="*/ 176212 h 176212"/>
                      <a:gd name="connsiteX23" fmla="*/ 28691 w 135847"/>
                      <a:gd name="connsiteY23" fmla="*/ 166687 h 176212"/>
                      <a:gd name="connsiteX24" fmla="*/ 23928 w 135847"/>
                      <a:gd name="connsiteY24" fmla="*/ 157162 h 176212"/>
                      <a:gd name="connsiteX25" fmla="*/ 23928 w 135847"/>
                      <a:gd name="connsiteY25" fmla="*/ 157162 h 176212"/>
                      <a:gd name="connsiteX26" fmla="*/ 798 w 135847"/>
                      <a:gd name="connsiteY26" fmla="*/ 144819 h 176212"/>
                      <a:gd name="connsiteX27" fmla="*/ 0 w 135847"/>
                      <a:gd name="connsiteY27" fmla="*/ 137662 h 176212"/>
                      <a:gd name="connsiteX28" fmla="*/ 9641 w 135847"/>
                      <a:gd name="connsiteY28" fmla="*/ 126206 h 176212"/>
                      <a:gd name="connsiteX29" fmla="*/ 21547 w 135847"/>
                      <a:gd name="connsiteY29" fmla="*/ 107156 h 176212"/>
                      <a:gd name="connsiteX30" fmla="*/ 28691 w 135847"/>
                      <a:gd name="connsiteY30" fmla="*/ 71437 h 176212"/>
                      <a:gd name="connsiteX31" fmla="*/ 4878 w 135847"/>
                      <a:gd name="connsiteY31" fmla="*/ 0 h 176212"/>
                      <a:gd name="connsiteX0" fmla="*/ 4878 w 135847"/>
                      <a:gd name="connsiteY0" fmla="*/ 0 h 176212"/>
                      <a:gd name="connsiteX1" fmla="*/ 29373 w 135847"/>
                      <a:gd name="connsiteY1" fmla="*/ 29412 h 176212"/>
                      <a:gd name="connsiteX2" fmla="*/ 28691 w 135847"/>
                      <a:gd name="connsiteY2" fmla="*/ 47625 h 176212"/>
                      <a:gd name="connsiteX3" fmla="*/ 31072 w 135847"/>
                      <a:gd name="connsiteY3" fmla="*/ 92869 h 176212"/>
                      <a:gd name="connsiteX4" fmla="*/ 21547 w 135847"/>
                      <a:gd name="connsiteY4" fmla="*/ 116681 h 176212"/>
                      <a:gd name="connsiteX5" fmla="*/ 19166 w 135847"/>
                      <a:gd name="connsiteY5" fmla="*/ 138112 h 176212"/>
                      <a:gd name="connsiteX6" fmla="*/ 31072 w 135847"/>
                      <a:gd name="connsiteY6" fmla="*/ 154781 h 176212"/>
                      <a:gd name="connsiteX7" fmla="*/ 45360 w 135847"/>
                      <a:gd name="connsiteY7" fmla="*/ 166687 h 176212"/>
                      <a:gd name="connsiteX8" fmla="*/ 59647 w 135847"/>
                      <a:gd name="connsiteY8" fmla="*/ 164306 h 176212"/>
                      <a:gd name="connsiteX9" fmla="*/ 73935 w 135847"/>
                      <a:gd name="connsiteY9" fmla="*/ 150019 h 176212"/>
                      <a:gd name="connsiteX10" fmla="*/ 90603 w 135847"/>
                      <a:gd name="connsiteY10" fmla="*/ 138112 h 176212"/>
                      <a:gd name="connsiteX11" fmla="*/ 107272 w 135847"/>
                      <a:gd name="connsiteY11" fmla="*/ 145256 h 176212"/>
                      <a:gd name="connsiteX12" fmla="*/ 126322 w 135847"/>
                      <a:gd name="connsiteY12" fmla="*/ 135731 h 176212"/>
                      <a:gd name="connsiteX13" fmla="*/ 131085 w 135847"/>
                      <a:gd name="connsiteY13" fmla="*/ 123825 h 176212"/>
                      <a:gd name="connsiteX14" fmla="*/ 116797 w 135847"/>
                      <a:gd name="connsiteY14" fmla="*/ 107156 h 176212"/>
                      <a:gd name="connsiteX15" fmla="*/ 126785 w 135847"/>
                      <a:gd name="connsiteY15" fmla="*/ 111533 h 176212"/>
                      <a:gd name="connsiteX16" fmla="*/ 131085 w 135847"/>
                      <a:gd name="connsiteY16" fmla="*/ 116681 h 176212"/>
                      <a:gd name="connsiteX17" fmla="*/ 135281 w 135847"/>
                      <a:gd name="connsiteY17" fmla="*/ 120595 h 176212"/>
                      <a:gd name="connsiteX18" fmla="*/ 135847 w 135847"/>
                      <a:gd name="connsiteY18" fmla="*/ 130969 h 176212"/>
                      <a:gd name="connsiteX19" fmla="*/ 119178 w 135847"/>
                      <a:gd name="connsiteY19" fmla="*/ 145256 h 176212"/>
                      <a:gd name="connsiteX20" fmla="*/ 97747 w 135847"/>
                      <a:gd name="connsiteY20" fmla="*/ 152400 h 176212"/>
                      <a:gd name="connsiteX21" fmla="*/ 83460 w 135847"/>
                      <a:gd name="connsiteY21" fmla="*/ 157162 h 176212"/>
                      <a:gd name="connsiteX22" fmla="*/ 64410 w 135847"/>
                      <a:gd name="connsiteY22" fmla="*/ 169069 h 176212"/>
                      <a:gd name="connsiteX23" fmla="*/ 45360 w 135847"/>
                      <a:gd name="connsiteY23" fmla="*/ 176212 h 176212"/>
                      <a:gd name="connsiteX24" fmla="*/ 28691 w 135847"/>
                      <a:gd name="connsiteY24" fmla="*/ 166687 h 176212"/>
                      <a:gd name="connsiteX25" fmla="*/ 23928 w 135847"/>
                      <a:gd name="connsiteY25" fmla="*/ 157162 h 176212"/>
                      <a:gd name="connsiteX26" fmla="*/ 23928 w 135847"/>
                      <a:gd name="connsiteY26" fmla="*/ 157162 h 176212"/>
                      <a:gd name="connsiteX27" fmla="*/ 798 w 135847"/>
                      <a:gd name="connsiteY27" fmla="*/ 144819 h 176212"/>
                      <a:gd name="connsiteX28" fmla="*/ 0 w 135847"/>
                      <a:gd name="connsiteY28" fmla="*/ 137662 h 176212"/>
                      <a:gd name="connsiteX29" fmla="*/ 9641 w 135847"/>
                      <a:gd name="connsiteY29" fmla="*/ 126206 h 176212"/>
                      <a:gd name="connsiteX30" fmla="*/ 21547 w 135847"/>
                      <a:gd name="connsiteY30" fmla="*/ 107156 h 176212"/>
                      <a:gd name="connsiteX31" fmla="*/ 28691 w 135847"/>
                      <a:gd name="connsiteY31" fmla="*/ 71437 h 176212"/>
                      <a:gd name="connsiteX32" fmla="*/ 4878 w 135847"/>
                      <a:gd name="connsiteY32" fmla="*/ 0 h 176212"/>
                      <a:gd name="connsiteX0" fmla="*/ 4878 w 135847"/>
                      <a:gd name="connsiteY0" fmla="*/ 0 h 176212"/>
                      <a:gd name="connsiteX1" fmla="*/ 29373 w 135847"/>
                      <a:gd name="connsiteY1" fmla="*/ 29412 h 176212"/>
                      <a:gd name="connsiteX2" fmla="*/ 28691 w 135847"/>
                      <a:gd name="connsiteY2" fmla="*/ 47625 h 176212"/>
                      <a:gd name="connsiteX3" fmla="*/ 31072 w 135847"/>
                      <a:gd name="connsiteY3" fmla="*/ 92869 h 176212"/>
                      <a:gd name="connsiteX4" fmla="*/ 21547 w 135847"/>
                      <a:gd name="connsiteY4" fmla="*/ 116681 h 176212"/>
                      <a:gd name="connsiteX5" fmla="*/ 19166 w 135847"/>
                      <a:gd name="connsiteY5" fmla="*/ 138112 h 176212"/>
                      <a:gd name="connsiteX6" fmla="*/ 31072 w 135847"/>
                      <a:gd name="connsiteY6" fmla="*/ 154781 h 176212"/>
                      <a:gd name="connsiteX7" fmla="*/ 45360 w 135847"/>
                      <a:gd name="connsiteY7" fmla="*/ 166687 h 176212"/>
                      <a:gd name="connsiteX8" fmla="*/ 59647 w 135847"/>
                      <a:gd name="connsiteY8" fmla="*/ 164306 h 176212"/>
                      <a:gd name="connsiteX9" fmla="*/ 73935 w 135847"/>
                      <a:gd name="connsiteY9" fmla="*/ 150019 h 176212"/>
                      <a:gd name="connsiteX10" fmla="*/ 90603 w 135847"/>
                      <a:gd name="connsiteY10" fmla="*/ 138112 h 176212"/>
                      <a:gd name="connsiteX11" fmla="*/ 107272 w 135847"/>
                      <a:gd name="connsiteY11" fmla="*/ 145256 h 176212"/>
                      <a:gd name="connsiteX12" fmla="*/ 126322 w 135847"/>
                      <a:gd name="connsiteY12" fmla="*/ 135731 h 176212"/>
                      <a:gd name="connsiteX13" fmla="*/ 131085 w 135847"/>
                      <a:gd name="connsiteY13" fmla="*/ 123825 h 176212"/>
                      <a:gd name="connsiteX14" fmla="*/ 116797 w 135847"/>
                      <a:gd name="connsiteY14" fmla="*/ 107156 h 176212"/>
                      <a:gd name="connsiteX15" fmla="*/ 126785 w 135847"/>
                      <a:gd name="connsiteY15" fmla="*/ 111533 h 176212"/>
                      <a:gd name="connsiteX16" fmla="*/ 131085 w 135847"/>
                      <a:gd name="connsiteY16" fmla="*/ 116681 h 176212"/>
                      <a:gd name="connsiteX17" fmla="*/ 135281 w 135847"/>
                      <a:gd name="connsiteY17" fmla="*/ 120595 h 176212"/>
                      <a:gd name="connsiteX18" fmla="*/ 135847 w 135847"/>
                      <a:gd name="connsiteY18" fmla="*/ 130969 h 176212"/>
                      <a:gd name="connsiteX19" fmla="*/ 119178 w 135847"/>
                      <a:gd name="connsiteY19" fmla="*/ 145256 h 176212"/>
                      <a:gd name="connsiteX20" fmla="*/ 97747 w 135847"/>
                      <a:gd name="connsiteY20" fmla="*/ 152400 h 176212"/>
                      <a:gd name="connsiteX21" fmla="*/ 83460 w 135847"/>
                      <a:gd name="connsiteY21" fmla="*/ 157162 h 176212"/>
                      <a:gd name="connsiteX22" fmla="*/ 64410 w 135847"/>
                      <a:gd name="connsiteY22" fmla="*/ 169069 h 176212"/>
                      <a:gd name="connsiteX23" fmla="*/ 45360 w 135847"/>
                      <a:gd name="connsiteY23" fmla="*/ 176212 h 176212"/>
                      <a:gd name="connsiteX24" fmla="*/ 28691 w 135847"/>
                      <a:gd name="connsiteY24" fmla="*/ 166687 h 176212"/>
                      <a:gd name="connsiteX25" fmla="*/ 23928 w 135847"/>
                      <a:gd name="connsiteY25" fmla="*/ 157162 h 176212"/>
                      <a:gd name="connsiteX26" fmla="*/ 23928 w 135847"/>
                      <a:gd name="connsiteY26" fmla="*/ 157162 h 176212"/>
                      <a:gd name="connsiteX27" fmla="*/ 798 w 135847"/>
                      <a:gd name="connsiteY27" fmla="*/ 144819 h 176212"/>
                      <a:gd name="connsiteX28" fmla="*/ 0 w 135847"/>
                      <a:gd name="connsiteY28" fmla="*/ 137662 h 176212"/>
                      <a:gd name="connsiteX29" fmla="*/ 9641 w 135847"/>
                      <a:gd name="connsiteY29" fmla="*/ 126206 h 176212"/>
                      <a:gd name="connsiteX30" fmla="*/ 21547 w 135847"/>
                      <a:gd name="connsiteY30" fmla="*/ 107156 h 176212"/>
                      <a:gd name="connsiteX31" fmla="*/ 28691 w 135847"/>
                      <a:gd name="connsiteY31" fmla="*/ 71437 h 176212"/>
                      <a:gd name="connsiteX32" fmla="*/ 24276 w 135847"/>
                      <a:gd name="connsiteY32" fmla="*/ 33377 h 176212"/>
                      <a:gd name="connsiteX33" fmla="*/ 4878 w 135847"/>
                      <a:gd name="connsiteY33" fmla="*/ 0 h 176212"/>
                      <a:gd name="connsiteX0" fmla="*/ 4878 w 135847"/>
                      <a:gd name="connsiteY0" fmla="*/ 0 h 176212"/>
                      <a:gd name="connsiteX1" fmla="*/ 27674 w 135847"/>
                      <a:gd name="connsiteY1" fmla="*/ 18085 h 176212"/>
                      <a:gd name="connsiteX2" fmla="*/ 29373 w 135847"/>
                      <a:gd name="connsiteY2" fmla="*/ 29412 h 176212"/>
                      <a:gd name="connsiteX3" fmla="*/ 28691 w 135847"/>
                      <a:gd name="connsiteY3" fmla="*/ 47625 h 176212"/>
                      <a:gd name="connsiteX4" fmla="*/ 31072 w 135847"/>
                      <a:gd name="connsiteY4" fmla="*/ 92869 h 176212"/>
                      <a:gd name="connsiteX5" fmla="*/ 21547 w 135847"/>
                      <a:gd name="connsiteY5" fmla="*/ 116681 h 176212"/>
                      <a:gd name="connsiteX6" fmla="*/ 19166 w 135847"/>
                      <a:gd name="connsiteY6" fmla="*/ 138112 h 176212"/>
                      <a:gd name="connsiteX7" fmla="*/ 31072 w 135847"/>
                      <a:gd name="connsiteY7" fmla="*/ 154781 h 176212"/>
                      <a:gd name="connsiteX8" fmla="*/ 45360 w 135847"/>
                      <a:gd name="connsiteY8" fmla="*/ 166687 h 176212"/>
                      <a:gd name="connsiteX9" fmla="*/ 59647 w 135847"/>
                      <a:gd name="connsiteY9" fmla="*/ 164306 h 176212"/>
                      <a:gd name="connsiteX10" fmla="*/ 73935 w 135847"/>
                      <a:gd name="connsiteY10" fmla="*/ 150019 h 176212"/>
                      <a:gd name="connsiteX11" fmla="*/ 90603 w 135847"/>
                      <a:gd name="connsiteY11" fmla="*/ 138112 h 176212"/>
                      <a:gd name="connsiteX12" fmla="*/ 107272 w 135847"/>
                      <a:gd name="connsiteY12" fmla="*/ 145256 h 176212"/>
                      <a:gd name="connsiteX13" fmla="*/ 126322 w 135847"/>
                      <a:gd name="connsiteY13" fmla="*/ 135731 h 176212"/>
                      <a:gd name="connsiteX14" fmla="*/ 131085 w 135847"/>
                      <a:gd name="connsiteY14" fmla="*/ 123825 h 176212"/>
                      <a:gd name="connsiteX15" fmla="*/ 116797 w 135847"/>
                      <a:gd name="connsiteY15" fmla="*/ 107156 h 176212"/>
                      <a:gd name="connsiteX16" fmla="*/ 126785 w 135847"/>
                      <a:gd name="connsiteY16" fmla="*/ 111533 h 176212"/>
                      <a:gd name="connsiteX17" fmla="*/ 131085 w 135847"/>
                      <a:gd name="connsiteY17" fmla="*/ 116681 h 176212"/>
                      <a:gd name="connsiteX18" fmla="*/ 135281 w 135847"/>
                      <a:gd name="connsiteY18" fmla="*/ 120595 h 176212"/>
                      <a:gd name="connsiteX19" fmla="*/ 135847 w 135847"/>
                      <a:gd name="connsiteY19" fmla="*/ 130969 h 176212"/>
                      <a:gd name="connsiteX20" fmla="*/ 119178 w 135847"/>
                      <a:gd name="connsiteY20" fmla="*/ 145256 h 176212"/>
                      <a:gd name="connsiteX21" fmla="*/ 97747 w 135847"/>
                      <a:gd name="connsiteY21" fmla="*/ 152400 h 176212"/>
                      <a:gd name="connsiteX22" fmla="*/ 83460 w 135847"/>
                      <a:gd name="connsiteY22" fmla="*/ 157162 h 176212"/>
                      <a:gd name="connsiteX23" fmla="*/ 64410 w 135847"/>
                      <a:gd name="connsiteY23" fmla="*/ 169069 h 176212"/>
                      <a:gd name="connsiteX24" fmla="*/ 45360 w 135847"/>
                      <a:gd name="connsiteY24" fmla="*/ 176212 h 176212"/>
                      <a:gd name="connsiteX25" fmla="*/ 28691 w 135847"/>
                      <a:gd name="connsiteY25" fmla="*/ 166687 h 176212"/>
                      <a:gd name="connsiteX26" fmla="*/ 23928 w 135847"/>
                      <a:gd name="connsiteY26" fmla="*/ 157162 h 176212"/>
                      <a:gd name="connsiteX27" fmla="*/ 23928 w 135847"/>
                      <a:gd name="connsiteY27" fmla="*/ 157162 h 176212"/>
                      <a:gd name="connsiteX28" fmla="*/ 798 w 135847"/>
                      <a:gd name="connsiteY28" fmla="*/ 144819 h 176212"/>
                      <a:gd name="connsiteX29" fmla="*/ 0 w 135847"/>
                      <a:gd name="connsiteY29" fmla="*/ 137662 h 176212"/>
                      <a:gd name="connsiteX30" fmla="*/ 9641 w 135847"/>
                      <a:gd name="connsiteY30" fmla="*/ 126206 h 176212"/>
                      <a:gd name="connsiteX31" fmla="*/ 21547 w 135847"/>
                      <a:gd name="connsiteY31" fmla="*/ 107156 h 176212"/>
                      <a:gd name="connsiteX32" fmla="*/ 28691 w 135847"/>
                      <a:gd name="connsiteY32" fmla="*/ 71437 h 176212"/>
                      <a:gd name="connsiteX33" fmla="*/ 24276 w 135847"/>
                      <a:gd name="connsiteY33" fmla="*/ 33377 h 176212"/>
                      <a:gd name="connsiteX34" fmla="*/ 4878 w 135847"/>
                      <a:gd name="connsiteY34" fmla="*/ 0 h 176212"/>
                      <a:gd name="connsiteX0" fmla="*/ 4878 w 135847"/>
                      <a:gd name="connsiteY0" fmla="*/ 0 h 176212"/>
                      <a:gd name="connsiteX1" fmla="*/ 27674 w 135847"/>
                      <a:gd name="connsiteY1" fmla="*/ 18085 h 176212"/>
                      <a:gd name="connsiteX2" fmla="*/ 29373 w 135847"/>
                      <a:gd name="connsiteY2" fmla="*/ 29412 h 176212"/>
                      <a:gd name="connsiteX3" fmla="*/ 28691 w 135847"/>
                      <a:gd name="connsiteY3" fmla="*/ 47625 h 176212"/>
                      <a:gd name="connsiteX4" fmla="*/ 31072 w 135847"/>
                      <a:gd name="connsiteY4" fmla="*/ 92869 h 176212"/>
                      <a:gd name="connsiteX5" fmla="*/ 21547 w 135847"/>
                      <a:gd name="connsiteY5" fmla="*/ 116681 h 176212"/>
                      <a:gd name="connsiteX6" fmla="*/ 19166 w 135847"/>
                      <a:gd name="connsiteY6" fmla="*/ 138112 h 176212"/>
                      <a:gd name="connsiteX7" fmla="*/ 31072 w 135847"/>
                      <a:gd name="connsiteY7" fmla="*/ 154781 h 176212"/>
                      <a:gd name="connsiteX8" fmla="*/ 45360 w 135847"/>
                      <a:gd name="connsiteY8" fmla="*/ 166687 h 176212"/>
                      <a:gd name="connsiteX9" fmla="*/ 59647 w 135847"/>
                      <a:gd name="connsiteY9" fmla="*/ 164306 h 176212"/>
                      <a:gd name="connsiteX10" fmla="*/ 73935 w 135847"/>
                      <a:gd name="connsiteY10" fmla="*/ 150019 h 176212"/>
                      <a:gd name="connsiteX11" fmla="*/ 90603 w 135847"/>
                      <a:gd name="connsiteY11" fmla="*/ 138112 h 176212"/>
                      <a:gd name="connsiteX12" fmla="*/ 107272 w 135847"/>
                      <a:gd name="connsiteY12" fmla="*/ 145256 h 176212"/>
                      <a:gd name="connsiteX13" fmla="*/ 126322 w 135847"/>
                      <a:gd name="connsiteY13" fmla="*/ 135731 h 176212"/>
                      <a:gd name="connsiteX14" fmla="*/ 131085 w 135847"/>
                      <a:gd name="connsiteY14" fmla="*/ 123825 h 176212"/>
                      <a:gd name="connsiteX15" fmla="*/ 116797 w 135847"/>
                      <a:gd name="connsiteY15" fmla="*/ 107156 h 176212"/>
                      <a:gd name="connsiteX16" fmla="*/ 126785 w 135847"/>
                      <a:gd name="connsiteY16" fmla="*/ 111533 h 176212"/>
                      <a:gd name="connsiteX17" fmla="*/ 131085 w 135847"/>
                      <a:gd name="connsiteY17" fmla="*/ 116681 h 176212"/>
                      <a:gd name="connsiteX18" fmla="*/ 135281 w 135847"/>
                      <a:gd name="connsiteY18" fmla="*/ 120595 h 176212"/>
                      <a:gd name="connsiteX19" fmla="*/ 135847 w 135847"/>
                      <a:gd name="connsiteY19" fmla="*/ 130969 h 176212"/>
                      <a:gd name="connsiteX20" fmla="*/ 119178 w 135847"/>
                      <a:gd name="connsiteY20" fmla="*/ 145256 h 176212"/>
                      <a:gd name="connsiteX21" fmla="*/ 97747 w 135847"/>
                      <a:gd name="connsiteY21" fmla="*/ 152400 h 176212"/>
                      <a:gd name="connsiteX22" fmla="*/ 83460 w 135847"/>
                      <a:gd name="connsiteY22" fmla="*/ 157162 h 176212"/>
                      <a:gd name="connsiteX23" fmla="*/ 64410 w 135847"/>
                      <a:gd name="connsiteY23" fmla="*/ 169069 h 176212"/>
                      <a:gd name="connsiteX24" fmla="*/ 45360 w 135847"/>
                      <a:gd name="connsiteY24" fmla="*/ 176212 h 176212"/>
                      <a:gd name="connsiteX25" fmla="*/ 28691 w 135847"/>
                      <a:gd name="connsiteY25" fmla="*/ 166687 h 176212"/>
                      <a:gd name="connsiteX26" fmla="*/ 23928 w 135847"/>
                      <a:gd name="connsiteY26" fmla="*/ 157162 h 176212"/>
                      <a:gd name="connsiteX27" fmla="*/ 23928 w 135847"/>
                      <a:gd name="connsiteY27" fmla="*/ 157162 h 176212"/>
                      <a:gd name="connsiteX28" fmla="*/ 798 w 135847"/>
                      <a:gd name="connsiteY28" fmla="*/ 144819 h 176212"/>
                      <a:gd name="connsiteX29" fmla="*/ 0 w 135847"/>
                      <a:gd name="connsiteY29" fmla="*/ 137662 h 176212"/>
                      <a:gd name="connsiteX30" fmla="*/ 9641 w 135847"/>
                      <a:gd name="connsiteY30" fmla="*/ 126206 h 176212"/>
                      <a:gd name="connsiteX31" fmla="*/ 21547 w 135847"/>
                      <a:gd name="connsiteY31" fmla="*/ 107156 h 176212"/>
                      <a:gd name="connsiteX32" fmla="*/ 26426 w 135847"/>
                      <a:gd name="connsiteY32" fmla="*/ 76534 h 176212"/>
                      <a:gd name="connsiteX33" fmla="*/ 24276 w 135847"/>
                      <a:gd name="connsiteY33" fmla="*/ 33377 h 176212"/>
                      <a:gd name="connsiteX34" fmla="*/ 4878 w 135847"/>
                      <a:gd name="connsiteY34" fmla="*/ 0 h 176212"/>
                      <a:gd name="connsiteX0" fmla="*/ 4878 w 135847"/>
                      <a:gd name="connsiteY0" fmla="*/ 0 h 176212"/>
                      <a:gd name="connsiteX1" fmla="*/ 27674 w 135847"/>
                      <a:gd name="connsiteY1" fmla="*/ 18085 h 176212"/>
                      <a:gd name="connsiteX2" fmla="*/ 29373 w 135847"/>
                      <a:gd name="connsiteY2" fmla="*/ 29412 h 176212"/>
                      <a:gd name="connsiteX3" fmla="*/ 28691 w 135847"/>
                      <a:gd name="connsiteY3" fmla="*/ 47625 h 176212"/>
                      <a:gd name="connsiteX4" fmla="*/ 31072 w 135847"/>
                      <a:gd name="connsiteY4" fmla="*/ 92869 h 176212"/>
                      <a:gd name="connsiteX5" fmla="*/ 21547 w 135847"/>
                      <a:gd name="connsiteY5" fmla="*/ 116681 h 176212"/>
                      <a:gd name="connsiteX6" fmla="*/ 19166 w 135847"/>
                      <a:gd name="connsiteY6" fmla="*/ 138112 h 176212"/>
                      <a:gd name="connsiteX7" fmla="*/ 31072 w 135847"/>
                      <a:gd name="connsiteY7" fmla="*/ 154781 h 176212"/>
                      <a:gd name="connsiteX8" fmla="*/ 45360 w 135847"/>
                      <a:gd name="connsiteY8" fmla="*/ 166687 h 176212"/>
                      <a:gd name="connsiteX9" fmla="*/ 59647 w 135847"/>
                      <a:gd name="connsiteY9" fmla="*/ 164306 h 176212"/>
                      <a:gd name="connsiteX10" fmla="*/ 73935 w 135847"/>
                      <a:gd name="connsiteY10" fmla="*/ 150019 h 176212"/>
                      <a:gd name="connsiteX11" fmla="*/ 90603 w 135847"/>
                      <a:gd name="connsiteY11" fmla="*/ 138112 h 176212"/>
                      <a:gd name="connsiteX12" fmla="*/ 107272 w 135847"/>
                      <a:gd name="connsiteY12" fmla="*/ 145256 h 176212"/>
                      <a:gd name="connsiteX13" fmla="*/ 126322 w 135847"/>
                      <a:gd name="connsiteY13" fmla="*/ 135731 h 176212"/>
                      <a:gd name="connsiteX14" fmla="*/ 131085 w 135847"/>
                      <a:gd name="connsiteY14" fmla="*/ 123825 h 176212"/>
                      <a:gd name="connsiteX15" fmla="*/ 116797 w 135847"/>
                      <a:gd name="connsiteY15" fmla="*/ 107156 h 176212"/>
                      <a:gd name="connsiteX16" fmla="*/ 126785 w 135847"/>
                      <a:gd name="connsiteY16" fmla="*/ 111533 h 176212"/>
                      <a:gd name="connsiteX17" fmla="*/ 131085 w 135847"/>
                      <a:gd name="connsiteY17" fmla="*/ 116681 h 176212"/>
                      <a:gd name="connsiteX18" fmla="*/ 135281 w 135847"/>
                      <a:gd name="connsiteY18" fmla="*/ 120595 h 176212"/>
                      <a:gd name="connsiteX19" fmla="*/ 135847 w 135847"/>
                      <a:gd name="connsiteY19" fmla="*/ 130969 h 176212"/>
                      <a:gd name="connsiteX20" fmla="*/ 119178 w 135847"/>
                      <a:gd name="connsiteY20" fmla="*/ 145256 h 176212"/>
                      <a:gd name="connsiteX21" fmla="*/ 97747 w 135847"/>
                      <a:gd name="connsiteY21" fmla="*/ 152400 h 176212"/>
                      <a:gd name="connsiteX22" fmla="*/ 83460 w 135847"/>
                      <a:gd name="connsiteY22" fmla="*/ 157162 h 176212"/>
                      <a:gd name="connsiteX23" fmla="*/ 64410 w 135847"/>
                      <a:gd name="connsiteY23" fmla="*/ 169069 h 176212"/>
                      <a:gd name="connsiteX24" fmla="*/ 45360 w 135847"/>
                      <a:gd name="connsiteY24" fmla="*/ 176212 h 176212"/>
                      <a:gd name="connsiteX25" fmla="*/ 28691 w 135847"/>
                      <a:gd name="connsiteY25" fmla="*/ 166687 h 176212"/>
                      <a:gd name="connsiteX26" fmla="*/ 23928 w 135847"/>
                      <a:gd name="connsiteY26" fmla="*/ 157162 h 176212"/>
                      <a:gd name="connsiteX27" fmla="*/ 23928 w 135847"/>
                      <a:gd name="connsiteY27" fmla="*/ 157162 h 176212"/>
                      <a:gd name="connsiteX28" fmla="*/ 798 w 135847"/>
                      <a:gd name="connsiteY28" fmla="*/ 144819 h 176212"/>
                      <a:gd name="connsiteX29" fmla="*/ 0 w 135847"/>
                      <a:gd name="connsiteY29" fmla="*/ 137662 h 176212"/>
                      <a:gd name="connsiteX30" fmla="*/ 9641 w 135847"/>
                      <a:gd name="connsiteY30" fmla="*/ 126206 h 176212"/>
                      <a:gd name="connsiteX31" fmla="*/ 21547 w 135847"/>
                      <a:gd name="connsiteY31" fmla="*/ 107156 h 176212"/>
                      <a:gd name="connsiteX32" fmla="*/ 26426 w 135847"/>
                      <a:gd name="connsiteY32" fmla="*/ 76534 h 176212"/>
                      <a:gd name="connsiteX33" fmla="*/ 24276 w 135847"/>
                      <a:gd name="connsiteY33" fmla="*/ 33377 h 176212"/>
                      <a:gd name="connsiteX34" fmla="*/ 23709 w 135847"/>
                      <a:gd name="connsiteY34" fmla="*/ 20917 h 176212"/>
                      <a:gd name="connsiteX35" fmla="*/ 4878 w 135847"/>
                      <a:gd name="connsiteY35" fmla="*/ 0 h 176212"/>
                      <a:gd name="connsiteX0" fmla="*/ 4878 w 135847"/>
                      <a:gd name="connsiteY0" fmla="*/ 0 h 176212"/>
                      <a:gd name="connsiteX1" fmla="*/ 27674 w 135847"/>
                      <a:gd name="connsiteY1" fmla="*/ 18085 h 176212"/>
                      <a:gd name="connsiteX2" fmla="*/ 29373 w 135847"/>
                      <a:gd name="connsiteY2" fmla="*/ 29412 h 176212"/>
                      <a:gd name="connsiteX3" fmla="*/ 28691 w 135847"/>
                      <a:gd name="connsiteY3" fmla="*/ 47625 h 176212"/>
                      <a:gd name="connsiteX4" fmla="*/ 31072 w 135847"/>
                      <a:gd name="connsiteY4" fmla="*/ 92869 h 176212"/>
                      <a:gd name="connsiteX5" fmla="*/ 21547 w 135847"/>
                      <a:gd name="connsiteY5" fmla="*/ 116681 h 176212"/>
                      <a:gd name="connsiteX6" fmla="*/ 19166 w 135847"/>
                      <a:gd name="connsiteY6" fmla="*/ 138112 h 176212"/>
                      <a:gd name="connsiteX7" fmla="*/ 31072 w 135847"/>
                      <a:gd name="connsiteY7" fmla="*/ 154781 h 176212"/>
                      <a:gd name="connsiteX8" fmla="*/ 45360 w 135847"/>
                      <a:gd name="connsiteY8" fmla="*/ 166687 h 176212"/>
                      <a:gd name="connsiteX9" fmla="*/ 59647 w 135847"/>
                      <a:gd name="connsiteY9" fmla="*/ 164306 h 176212"/>
                      <a:gd name="connsiteX10" fmla="*/ 73935 w 135847"/>
                      <a:gd name="connsiteY10" fmla="*/ 150019 h 176212"/>
                      <a:gd name="connsiteX11" fmla="*/ 90603 w 135847"/>
                      <a:gd name="connsiteY11" fmla="*/ 138112 h 176212"/>
                      <a:gd name="connsiteX12" fmla="*/ 107272 w 135847"/>
                      <a:gd name="connsiteY12" fmla="*/ 145256 h 176212"/>
                      <a:gd name="connsiteX13" fmla="*/ 126322 w 135847"/>
                      <a:gd name="connsiteY13" fmla="*/ 135731 h 176212"/>
                      <a:gd name="connsiteX14" fmla="*/ 131085 w 135847"/>
                      <a:gd name="connsiteY14" fmla="*/ 123825 h 176212"/>
                      <a:gd name="connsiteX15" fmla="*/ 116797 w 135847"/>
                      <a:gd name="connsiteY15" fmla="*/ 107156 h 176212"/>
                      <a:gd name="connsiteX16" fmla="*/ 126785 w 135847"/>
                      <a:gd name="connsiteY16" fmla="*/ 111533 h 176212"/>
                      <a:gd name="connsiteX17" fmla="*/ 131085 w 135847"/>
                      <a:gd name="connsiteY17" fmla="*/ 116681 h 176212"/>
                      <a:gd name="connsiteX18" fmla="*/ 135281 w 135847"/>
                      <a:gd name="connsiteY18" fmla="*/ 120595 h 176212"/>
                      <a:gd name="connsiteX19" fmla="*/ 135847 w 135847"/>
                      <a:gd name="connsiteY19" fmla="*/ 130969 h 176212"/>
                      <a:gd name="connsiteX20" fmla="*/ 119178 w 135847"/>
                      <a:gd name="connsiteY20" fmla="*/ 145256 h 176212"/>
                      <a:gd name="connsiteX21" fmla="*/ 97747 w 135847"/>
                      <a:gd name="connsiteY21" fmla="*/ 152400 h 176212"/>
                      <a:gd name="connsiteX22" fmla="*/ 83460 w 135847"/>
                      <a:gd name="connsiteY22" fmla="*/ 157162 h 176212"/>
                      <a:gd name="connsiteX23" fmla="*/ 64410 w 135847"/>
                      <a:gd name="connsiteY23" fmla="*/ 169069 h 176212"/>
                      <a:gd name="connsiteX24" fmla="*/ 45360 w 135847"/>
                      <a:gd name="connsiteY24" fmla="*/ 176212 h 176212"/>
                      <a:gd name="connsiteX25" fmla="*/ 28691 w 135847"/>
                      <a:gd name="connsiteY25" fmla="*/ 166687 h 176212"/>
                      <a:gd name="connsiteX26" fmla="*/ 23928 w 135847"/>
                      <a:gd name="connsiteY26" fmla="*/ 157162 h 176212"/>
                      <a:gd name="connsiteX27" fmla="*/ 23928 w 135847"/>
                      <a:gd name="connsiteY27" fmla="*/ 157162 h 176212"/>
                      <a:gd name="connsiteX28" fmla="*/ 7852 w 135847"/>
                      <a:gd name="connsiteY28" fmla="*/ 154576 h 176212"/>
                      <a:gd name="connsiteX29" fmla="*/ 798 w 135847"/>
                      <a:gd name="connsiteY29" fmla="*/ 144819 h 176212"/>
                      <a:gd name="connsiteX30" fmla="*/ 0 w 135847"/>
                      <a:gd name="connsiteY30" fmla="*/ 137662 h 176212"/>
                      <a:gd name="connsiteX31" fmla="*/ 9641 w 135847"/>
                      <a:gd name="connsiteY31" fmla="*/ 126206 h 176212"/>
                      <a:gd name="connsiteX32" fmla="*/ 21547 w 135847"/>
                      <a:gd name="connsiteY32" fmla="*/ 107156 h 176212"/>
                      <a:gd name="connsiteX33" fmla="*/ 26426 w 135847"/>
                      <a:gd name="connsiteY33" fmla="*/ 76534 h 176212"/>
                      <a:gd name="connsiteX34" fmla="*/ 24276 w 135847"/>
                      <a:gd name="connsiteY34" fmla="*/ 33377 h 176212"/>
                      <a:gd name="connsiteX35" fmla="*/ 23709 w 135847"/>
                      <a:gd name="connsiteY35" fmla="*/ 20917 h 176212"/>
                      <a:gd name="connsiteX36" fmla="*/ 4878 w 135847"/>
                      <a:gd name="connsiteY36" fmla="*/ 0 h 176212"/>
                      <a:gd name="connsiteX0" fmla="*/ 4878 w 135847"/>
                      <a:gd name="connsiteY0" fmla="*/ 0 h 176212"/>
                      <a:gd name="connsiteX1" fmla="*/ 27674 w 135847"/>
                      <a:gd name="connsiteY1" fmla="*/ 18085 h 176212"/>
                      <a:gd name="connsiteX2" fmla="*/ 29373 w 135847"/>
                      <a:gd name="connsiteY2" fmla="*/ 29412 h 176212"/>
                      <a:gd name="connsiteX3" fmla="*/ 28691 w 135847"/>
                      <a:gd name="connsiteY3" fmla="*/ 47625 h 176212"/>
                      <a:gd name="connsiteX4" fmla="*/ 31072 w 135847"/>
                      <a:gd name="connsiteY4" fmla="*/ 92869 h 176212"/>
                      <a:gd name="connsiteX5" fmla="*/ 21547 w 135847"/>
                      <a:gd name="connsiteY5" fmla="*/ 116681 h 176212"/>
                      <a:gd name="connsiteX6" fmla="*/ 19166 w 135847"/>
                      <a:gd name="connsiteY6" fmla="*/ 138112 h 176212"/>
                      <a:gd name="connsiteX7" fmla="*/ 31072 w 135847"/>
                      <a:gd name="connsiteY7" fmla="*/ 154781 h 176212"/>
                      <a:gd name="connsiteX8" fmla="*/ 45360 w 135847"/>
                      <a:gd name="connsiteY8" fmla="*/ 166687 h 176212"/>
                      <a:gd name="connsiteX9" fmla="*/ 59647 w 135847"/>
                      <a:gd name="connsiteY9" fmla="*/ 164306 h 176212"/>
                      <a:gd name="connsiteX10" fmla="*/ 73935 w 135847"/>
                      <a:gd name="connsiteY10" fmla="*/ 150019 h 176212"/>
                      <a:gd name="connsiteX11" fmla="*/ 90603 w 135847"/>
                      <a:gd name="connsiteY11" fmla="*/ 138112 h 176212"/>
                      <a:gd name="connsiteX12" fmla="*/ 107272 w 135847"/>
                      <a:gd name="connsiteY12" fmla="*/ 145256 h 176212"/>
                      <a:gd name="connsiteX13" fmla="*/ 126322 w 135847"/>
                      <a:gd name="connsiteY13" fmla="*/ 135731 h 176212"/>
                      <a:gd name="connsiteX14" fmla="*/ 131085 w 135847"/>
                      <a:gd name="connsiteY14" fmla="*/ 123825 h 176212"/>
                      <a:gd name="connsiteX15" fmla="*/ 116797 w 135847"/>
                      <a:gd name="connsiteY15" fmla="*/ 107156 h 176212"/>
                      <a:gd name="connsiteX16" fmla="*/ 126785 w 135847"/>
                      <a:gd name="connsiteY16" fmla="*/ 111533 h 176212"/>
                      <a:gd name="connsiteX17" fmla="*/ 131085 w 135847"/>
                      <a:gd name="connsiteY17" fmla="*/ 116681 h 176212"/>
                      <a:gd name="connsiteX18" fmla="*/ 135281 w 135847"/>
                      <a:gd name="connsiteY18" fmla="*/ 120595 h 176212"/>
                      <a:gd name="connsiteX19" fmla="*/ 135847 w 135847"/>
                      <a:gd name="connsiteY19" fmla="*/ 130969 h 176212"/>
                      <a:gd name="connsiteX20" fmla="*/ 119178 w 135847"/>
                      <a:gd name="connsiteY20" fmla="*/ 145256 h 176212"/>
                      <a:gd name="connsiteX21" fmla="*/ 97747 w 135847"/>
                      <a:gd name="connsiteY21" fmla="*/ 152400 h 176212"/>
                      <a:gd name="connsiteX22" fmla="*/ 83460 w 135847"/>
                      <a:gd name="connsiteY22" fmla="*/ 157162 h 176212"/>
                      <a:gd name="connsiteX23" fmla="*/ 64410 w 135847"/>
                      <a:gd name="connsiteY23" fmla="*/ 169069 h 176212"/>
                      <a:gd name="connsiteX24" fmla="*/ 45360 w 135847"/>
                      <a:gd name="connsiteY24" fmla="*/ 176212 h 176212"/>
                      <a:gd name="connsiteX25" fmla="*/ 28691 w 135847"/>
                      <a:gd name="connsiteY25" fmla="*/ 166687 h 176212"/>
                      <a:gd name="connsiteX26" fmla="*/ 23928 w 135847"/>
                      <a:gd name="connsiteY26" fmla="*/ 157162 h 176212"/>
                      <a:gd name="connsiteX27" fmla="*/ 23928 w 135847"/>
                      <a:gd name="connsiteY27" fmla="*/ 157162 h 176212"/>
                      <a:gd name="connsiteX28" fmla="*/ 7852 w 135847"/>
                      <a:gd name="connsiteY28" fmla="*/ 154576 h 176212"/>
                      <a:gd name="connsiteX29" fmla="*/ 798 w 135847"/>
                      <a:gd name="connsiteY29" fmla="*/ 144819 h 176212"/>
                      <a:gd name="connsiteX30" fmla="*/ 0 w 135847"/>
                      <a:gd name="connsiteY30" fmla="*/ 137662 h 176212"/>
                      <a:gd name="connsiteX31" fmla="*/ 9641 w 135847"/>
                      <a:gd name="connsiteY31" fmla="*/ 126206 h 176212"/>
                      <a:gd name="connsiteX32" fmla="*/ 21547 w 135847"/>
                      <a:gd name="connsiteY32" fmla="*/ 107156 h 176212"/>
                      <a:gd name="connsiteX33" fmla="*/ 26426 w 135847"/>
                      <a:gd name="connsiteY33" fmla="*/ 76534 h 176212"/>
                      <a:gd name="connsiteX34" fmla="*/ 24276 w 135847"/>
                      <a:gd name="connsiteY34" fmla="*/ 33377 h 176212"/>
                      <a:gd name="connsiteX35" fmla="*/ 23709 w 135847"/>
                      <a:gd name="connsiteY35" fmla="*/ 20917 h 176212"/>
                      <a:gd name="connsiteX36" fmla="*/ 4878 w 135847"/>
                      <a:gd name="connsiteY36" fmla="*/ 0 h 176212"/>
                      <a:gd name="connsiteX0" fmla="*/ 4878 w 135847"/>
                      <a:gd name="connsiteY0" fmla="*/ 0 h 176212"/>
                      <a:gd name="connsiteX1" fmla="*/ 27674 w 135847"/>
                      <a:gd name="connsiteY1" fmla="*/ 18085 h 176212"/>
                      <a:gd name="connsiteX2" fmla="*/ 29373 w 135847"/>
                      <a:gd name="connsiteY2" fmla="*/ 29412 h 176212"/>
                      <a:gd name="connsiteX3" fmla="*/ 28691 w 135847"/>
                      <a:gd name="connsiteY3" fmla="*/ 47625 h 176212"/>
                      <a:gd name="connsiteX4" fmla="*/ 31072 w 135847"/>
                      <a:gd name="connsiteY4" fmla="*/ 92869 h 176212"/>
                      <a:gd name="connsiteX5" fmla="*/ 21547 w 135847"/>
                      <a:gd name="connsiteY5" fmla="*/ 116681 h 176212"/>
                      <a:gd name="connsiteX6" fmla="*/ 19166 w 135847"/>
                      <a:gd name="connsiteY6" fmla="*/ 138112 h 176212"/>
                      <a:gd name="connsiteX7" fmla="*/ 31072 w 135847"/>
                      <a:gd name="connsiteY7" fmla="*/ 154781 h 176212"/>
                      <a:gd name="connsiteX8" fmla="*/ 48333 w 135847"/>
                      <a:gd name="connsiteY8" fmla="*/ 167537 h 176212"/>
                      <a:gd name="connsiteX9" fmla="*/ 59647 w 135847"/>
                      <a:gd name="connsiteY9" fmla="*/ 164306 h 176212"/>
                      <a:gd name="connsiteX10" fmla="*/ 73935 w 135847"/>
                      <a:gd name="connsiteY10" fmla="*/ 150019 h 176212"/>
                      <a:gd name="connsiteX11" fmla="*/ 90603 w 135847"/>
                      <a:gd name="connsiteY11" fmla="*/ 138112 h 176212"/>
                      <a:gd name="connsiteX12" fmla="*/ 107272 w 135847"/>
                      <a:gd name="connsiteY12" fmla="*/ 145256 h 176212"/>
                      <a:gd name="connsiteX13" fmla="*/ 126322 w 135847"/>
                      <a:gd name="connsiteY13" fmla="*/ 135731 h 176212"/>
                      <a:gd name="connsiteX14" fmla="*/ 131085 w 135847"/>
                      <a:gd name="connsiteY14" fmla="*/ 123825 h 176212"/>
                      <a:gd name="connsiteX15" fmla="*/ 116797 w 135847"/>
                      <a:gd name="connsiteY15" fmla="*/ 107156 h 176212"/>
                      <a:gd name="connsiteX16" fmla="*/ 126785 w 135847"/>
                      <a:gd name="connsiteY16" fmla="*/ 111533 h 176212"/>
                      <a:gd name="connsiteX17" fmla="*/ 131085 w 135847"/>
                      <a:gd name="connsiteY17" fmla="*/ 116681 h 176212"/>
                      <a:gd name="connsiteX18" fmla="*/ 135281 w 135847"/>
                      <a:gd name="connsiteY18" fmla="*/ 120595 h 176212"/>
                      <a:gd name="connsiteX19" fmla="*/ 135847 w 135847"/>
                      <a:gd name="connsiteY19" fmla="*/ 130969 h 176212"/>
                      <a:gd name="connsiteX20" fmla="*/ 119178 w 135847"/>
                      <a:gd name="connsiteY20" fmla="*/ 145256 h 176212"/>
                      <a:gd name="connsiteX21" fmla="*/ 97747 w 135847"/>
                      <a:gd name="connsiteY21" fmla="*/ 152400 h 176212"/>
                      <a:gd name="connsiteX22" fmla="*/ 83460 w 135847"/>
                      <a:gd name="connsiteY22" fmla="*/ 157162 h 176212"/>
                      <a:gd name="connsiteX23" fmla="*/ 64410 w 135847"/>
                      <a:gd name="connsiteY23" fmla="*/ 169069 h 176212"/>
                      <a:gd name="connsiteX24" fmla="*/ 45360 w 135847"/>
                      <a:gd name="connsiteY24" fmla="*/ 176212 h 176212"/>
                      <a:gd name="connsiteX25" fmla="*/ 28691 w 135847"/>
                      <a:gd name="connsiteY25" fmla="*/ 166687 h 176212"/>
                      <a:gd name="connsiteX26" fmla="*/ 23928 w 135847"/>
                      <a:gd name="connsiteY26" fmla="*/ 157162 h 176212"/>
                      <a:gd name="connsiteX27" fmla="*/ 23928 w 135847"/>
                      <a:gd name="connsiteY27" fmla="*/ 157162 h 176212"/>
                      <a:gd name="connsiteX28" fmla="*/ 7852 w 135847"/>
                      <a:gd name="connsiteY28" fmla="*/ 154576 h 176212"/>
                      <a:gd name="connsiteX29" fmla="*/ 798 w 135847"/>
                      <a:gd name="connsiteY29" fmla="*/ 144819 h 176212"/>
                      <a:gd name="connsiteX30" fmla="*/ 0 w 135847"/>
                      <a:gd name="connsiteY30" fmla="*/ 137662 h 176212"/>
                      <a:gd name="connsiteX31" fmla="*/ 9641 w 135847"/>
                      <a:gd name="connsiteY31" fmla="*/ 126206 h 176212"/>
                      <a:gd name="connsiteX32" fmla="*/ 21547 w 135847"/>
                      <a:gd name="connsiteY32" fmla="*/ 107156 h 176212"/>
                      <a:gd name="connsiteX33" fmla="*/ 26426 w 135847"/>
                      <a:gd name="connsiteY33" fmla="*/ 76534 h 176212"/>
                      <a:gd name="connsiteX34" fmla="*/ 24276 w 135847"/>
                      <a:gd name="connsiteY34" fmla="*/ 33377 h 176212"/>
                      <a:gd name="connsiteX35" fmla="*/ 23709 w 135847"/>
                      <a:gd name="connsiteY35" fmla="*/ 20917 h 176212"/>
                      <a:gd name="connsiteX36" fmla="*/ 4878 w 135847"/>
                      <a:gd name="connsiteY36" fmla="*/ 0 h 176212"/>
                      <a:gd name="connsiteX0" fmla="*/ 4878 w 135847"/>
                      <a:gd name="connsiteY0" fmla="*/ 0 h 176212"/>
                      <a:gd name="connsiteX1" fmla="*/ 27674 w 135847"/>
                      <a:gd name="connsiteY1" fmla="*/ 18085 h 176212"/>
                      <a:gd name="connsiteX2" fmla="*/ 29373 w 135847"/>
                      <a:gd name="connsiteY2" fmla="*/ 29412 h 176212"/>
                      <a:gd name="connsiteX3" fmla="*/ 28691 w 135847"/>
                      <a:gd name="connsiteY3" fmla="*/ 47625 h 176212"/>
                      <a:gd name="connsiteX4" fmla="*/ 31072 w 135847"/>
                      <a:gd name="connsiteY4" fmla="*/ 92869 h 176212"/>
                      <a:gd name="connsiteX5" fmla="*/ 21547 w 135847"/>
                      <a:gd name="connsiteY5" fmla="*/ 116681 h 176212"/>
                      <a:gd name="connsiteX6" fmla="*/ 19166 w 135847"/>
                      <a:gd name="connsiteY6" fmla="*/ 138112 h 176212"/>
                      <a:gd name="connsiteX7" fmla="*/ 31072 w 135847"/>
                      <a:gd name="connsiteY7" fmla="*/ 154781 h 176212"/>
                      <a:gd name="connsiteX8" fmla="*/ 48333 w 135847"/>
                      <a:gd name="connsiteY8" fmla="*/ 167537 h 176212"/>
                      <a:gd name="connsiteX9" fmla="*/ 59647 w 135847"/>
                      <a:gd name="connsiteY9" fmla="*/ 164306 h 176212"/>
                      <a:gd name="connsiteX10" fmla="*/ 73935 w 135847"/>
                      <a:gd name="connsiteY10" fmla="*/ 150019 h 176212"/>
                      <a:gd name="connsiteX11" fmla="*/ 90603 w 135847"/>
                      <a:gd name="connsiteY11" fmla="*/ 138112 h 176212"/>
                      <a:gd name="connsiteX12" fmla="*/ 107272 w 135847"/>
                      <a:gd name="connsiteY12" fmla="*/ 145256 h 176212"/>
                      <a:gd name="connsiteX13" fmla="*/ 126322 w 135847"/>
                      <a:gd name="connsiteY13" fmla="*/ 135731 h 176212"/>
                      <a:gd name="connsiteX14" fmla="*/ 131085 w 135847"/>
                      <a:gd name="connsiteY14" fmla="*/ 123825 h 176212"/>
                      <a:gd name="connsiteX15" fmla="*/ 116797 w 135847"/>
                      <a:gd name="connsiteY15" fmla="*/ 107156 h 176212"/>
                      <a:gd name="connsiteX16" fmla="*/ 126785 w 135847"/>
                      <a:gd name="connsiteY16" fmla="*/ 111533 h 176212"/>
                      <a:gd name="connsiteX17" fmla="*/ 131085 w 135847"/>
                      <a:gd name="connsiteY17" fmla="*/ 116681 h 176212"/>
                      <a:gd name="connsiteX18" fmla="*/ 135281 w 135847"/>
                      <a:gd name="connsiteY18" fmla="*/ 120595 h 176212"/>
                      <a:gd name="connsiteX19" fmla="*/ 135847 w 135847"/>
                      <a:gd name="connsiteY19" fmla="*/ 130969 h 176212"/>
                      <a:gd name="connsiteX20" fmla="*/ 119178 w 135847"/>
                      <a:gd name="connsiteY20" fmla="*/ 145256 h 176212"/>
                      <a:gd name="connsiteX21" fmla="*/ 97747 w 135847"/>
                      <a:gd name="connsiteY21" fmla="*/ 152400 h 176212"/>
                      <a:gd name="connsiteX22" fmla="*/ 83460 w 135847"/>
                      <a:gd name="connsiteY22" fmla="*/ 157162 h 176212"/>
                      <a:gd name="connsiteX23" fmla="*/ 64410 w 135847"/>
                      <a:gd name="connsiteY23" fmla="*/ 169069 h 176212"/>
                      <a:gd name="connsiteX24" fmla="*/ 45360 w 135847"/>
                      <a:gd name="connsiteY24" fmla="*/ 176212 h 176212"/>
                      <a:gd name="connsiteX25" fmla="*/ 28691 w 135847"/>
                      <a:gd name="connsiteY25" fmla="*/ 166687 h 176212"/>
                      <a:gd name="connsiteX26" fmla="*/ 23928 w 135847"/>
                      <a:gd name="connsiteY26" fmla="*/ 157162 h 176212"/>
                      <a:gd name="connsiteX27" fmla="*/ 23928 w 135847"/>
                      <a:gd name="connsiteY27" fmla="*/ 157162 h 176212"/>
                      <a:gd name="connsiteX28" fmla="*/ 7852 w 135847"/>
                      <a:gd name="connsiteY28" fmla="*/ 154576 h 176212"/>
                      <a:gd name="connsiteX29" fmla="*/ 798 w 135847"/>
                      <a:gd name="connsiteY29" fmla="*/ 144819 h 176212"/>
                      <a:gd name="connsiteX30" fmla="*/ 0 w 135847"/>
                      <a:gd name="connsiteY30" fmla="*/ 137662 h 176212"/>
                      <a:gd name="connsiteX31" fmla="*/ 9641 w 135847"/>
                      <a:gd name="connsiteY31" fmla="*/ 126206 h 176212"/>
                      <a:gd name="connsiteX32" fmla="*/ 21547 w 135847"/>
                      <a:gd name="connsiteY32" fmla="*/ 107156 h 176212"/>
                      <a:gd name="connsiteX33" fmla="*/ 26426 w 135847"/>
                      <a:gd name="connsiteY33" fmla="*/ 76534 h 176212"/>
                      <a:gd name="connsiteX34" fmla="*/ 24276 w 135847"/>
                      <a:gd name="connsiteY34" fmla="*/ 33377 h 176212"/>
                      <a:gd name="connsiteX35" fmla="*/ 23709 w 135847"/>
                      <a:gd name="connsiteY35" fmla="*/ 20917 h 176212"/>
                      <a:gd name="connsiteX36" fmla="*/ 4878 w 135847"/>
                      <a:gd name="connsiteY36" fmla="*/ 0 h 176212"/>
                      <a:gd name="connsiteX0" fmla="*/ 4878 w 135847"/>
                      <a:gd name="connsiteY0" fmla="*/ 0 h 176212"/>
                      <a:gd name="connsiteX1" fmla="*/ 27674 w 135847"/>
                      <a:gd name="connsiteY1" fmla="*/ 18085 h 176212"/>
                      <a:gd name="connsiteX2" fmla="*/ 29373 w 135847"/>
                      <a:gd name="connsiteY2" fmla="*/ 29412 h 176212"/>
                      <a:gd name="connsiteX3" fmla="*/ 28691 w 135847"/>
                      <a:gd name="connsiteY3" fmla="*/ 47625 h 176212"/>
                      <a:gd name="connsiteX4" fmla="*/ 31072 w 135847"/>
                      <a:gd name="connsiteY4" fmla="*/ 92869 h 176212"/>
                      <a:gd name="connsiteX5" fmla="*/ 21547 w 135847"/>
                      <a:gd name="connsiteY5" fmla="*/ 116681 h 176212"/>
                      <a:gd name="connsiteX6" fmla="*/ 19166 w 135847"/>
                      <a:gd name="connsiteY6" fmla="*/ 138112 h 176212"/>
                      <a:gd name="connsiteX7" fmla="*/ 31072 w 135847"/>
                      <a:gd name="connsiteY7" fmla="*/ 154781 h 176212"/>
                      <a:gd name="connsiteX8" fmla="*/ 48333 w 135847"/>
                      <a:gd name="connsiteY8" fmla="*/ 167537 h 176212"/>
                      <a:gd name="connsiteX9" fmla="*/ 59647 w 135847"/>
                      <a:gd name="connsiteY9" fmla="*/ 164306 h 176212"/>
                      <a:gd name="connsiteX10" fmla="*/ 73935 w 135847"/>
                      <a:gd name="connsiteY10" fmla="*/ 150019 h 176212"/>
                      <a:gd name="connsiteX11" fmla="*/ 90603 w 135847"/>
                      <a:gd name="connsiteY11" fmla="*/ 138112 h 176212"/>
                      <a:gd name="connsiteX12" fmla="*/ 107272 w 135847"/>
                      <a:gd name="connsiteY12" fmla="*/ 145256 h 176212"/>
                      <a:gd name="connsiteX13" fmla="*/ 126322 w 135847"/>
                      <a:gd name="connsiteY13" fmla="*/ 135731 h 176212"/>
                      <a:gd name="connsiteX14" fmla="*/ 131085 w 135847"/>
                      <a:gd name="connsiteY14" fmla="*/ 123825 h 176212"/>
                      <a:gd name="connsiteX15" fmla="*/ 116797 w 135847"/>
                      <a:gd name="connsiteY15" fmla="*/ 107156 h 176212"/>
                      <a:gd name="connsiteX16" fmla="*/ 126785 w 135847"/>
                      <a:gd name="connsiteY16" fmla="*/ 111533 h 176212"/>
                      <a:gd name="connsiteX17" fmla="*/ 131085 w 135847"/>
                      <a:gd name="connsiteY17" fmla="*/ 116681 h 176212"/>
                      <a:gd name="connsiteX18" fmla="*/ 135281 w 135847"/>
                      <a:gd name="connsiteY18" fmla="*/ 120595 h 176212"/>
                      <a:gd name="connsiteX19" fmla="*/ 135847 w 135847"/>
                      <a:gd name="connsiteY19" fmla="*/ 130969 h 176212"/>
                      <a:gd name="connsiteX20" fmla="*/ 119178 w 135847"/>
                      <a:gd name="connsiteY20" fmla="*/ 145256 h 176212"/>
                      <a:gd name="connsiteX21" fmla="*/ 97747 w 135847"/>
                      <a:gd name="connsiteY21" fmla="*/ 152400 h 176212"/>
                      <a:gd name="connsiteX22" fmla="*/ 83460 w 135847"/>
                      <a:gd name="connsiteY22" fmla="*/ 157162 h 176212"/>
                      <a:gd name="connsiteX23" fmla="*/ 64410 w 135847"/>
                      <a:gd name="connsiteY23" fmla="*/ 169069 h 176212"/>
                      <a:gd name="connsiteX24" fmla="*/ 45360 w 135847"/>
                      <a:gd name="connsiteY24" fmla="*/ 176212 h 176212"/>
                      <a:gd name="connsiteX25" fmla="*/ 28691 w 135847"/>
                      <a:gd name="connsiteY25" fmla="*/ 166687 h 176212"/>
                      <a:gd name="connsiteX26" fmla="*/ 23928 w 135847"/>
                      <a:gd name="connsiteY26" fmla="*/ 157162 h 176212"/>
                      <a:gd name="connsiteX27" fmla="*/ 23928 w 135847"/>
                      <a:gd name="connsiteY27" fmla="*/ 157162 h 176212"/>
                      <a:gd name="connsiteX28" fmla="*/ 7852 w 135847"/>
                      <a:gd name="connsiteY28" fmla="*/ 154576 h 176212"/>
                      <a:gd name="connsiteX29" fmla="*/ 798 w 135847"/>
                      <a:gd name="connsiteY29" fmla="*/ 144819 h 176212"/>
                      <a:gd name="connsiteX30" fmla="*/ 0 w 135847"/>
                      <a:gd name="connsiteY30" fmla="*/ 137662 h 176212"/>
                      <a:gd name="connsiteX31" fmla="*/ 9641 w 135847"/>
                      <a:gd name="connsiteY31" fmla="*/ 126206 h 176212"/>
                      <a:gd name="connsiteX32" fmla="*/ 21547 w 135847"/>
                      <a:gd name="connsiteY32" fmla="*/ 107156 h 176212"/>
                      <a:gd name="connsiteX33" fmla="*/ 26426 w 135847"/>
                      <a:gd name="connsiteY33" fmla="*/ 76534 h 176212"/>
                      <a:gd name="connsiteX34" fmla="*/ 24276 w 135847"/>
                      <a:gd name="connsiteY34" fmla="*/ 33377 h 176212"/>
                      <a:gd name="connsiteX35" fmla="*/ 23709 w 135847"/>
                      <a:gd name="connsiteY35" fmla="*/ 20917 h 176212"/>
                      <a:gd name="connsiteX36" fmla="*/ 4878 w 135847"/>
                      <a:gd name="connsiteY36" fmla="*/ 0 h 176212"/>
                      <a:gd name="connsiteX0" fmla="*/ 4878 w 135847"/>
                      <a:gd name="connsiteY0" fmla="*/ 0 h 176212"/>
                      <a:gd name="connsiteX1" fmla="*/ 27674 w 135847"/>
                      <a:gd name="connsiteY1" fmla="*/ 18085 h 176212"/>
                      <a:gd name="connsiteX2" fmla="*/ 29373 w 135847"/>
                      <a:gd name="connsiteY2" fmla="*/ 29412 h 176212"/>
                      <a:gd name="connsiteX3" fmla="*/ 28691 w 135847"/>
                      <a:gd name="connsiteY3" fmla="*/ 47625 h 176212"/>
                      <a:gd name="connsiteX4" fmla="*/ 31072 w 135847"/>
                      <a:gd name="connsiteY4" fmla="*/ 92869 h 176212"/>
                      <a:gd name="connsiteX5" fmla="*/ 21547 w 135847"/>
                      <a:gd name="connsiteY5" fmla="*/ 116681 h 176212"/>
                      <a:gd name="connsiteX6" fmla="*/ 19166 w 135847"/>
                      <a:gd name="connsiteY6" fmla="*/ 138112 h 176212"/>
                      <a:gd name="connsiteX7" fmla="*/ 31072 w 135847"/>
                      <a:gd name="connsiteY7" fmla="*/ 154781 h 176212"/>
                      <a:gd name="connsiteX8" fmla="*/ 48333 w 135847"/>
                      <a:gd name="connsiteY8" fmla="*/ 167537 h 176212"/>
                      <a:gd name="connsiteX9" fmla="*/ 59647 w 135847"/>
                      <a:gd name="connsiteY9" fmla="*/ 164306 h 176212"/>
                      <a:gd name="connsiteX10" fmla="*/ 73935 w 135847"/>
                      <a:gd name="connsiteY10" fmla="*/ 150019 h 176212"/>
                      <a:gd name="connsiteX11" fmla="*/ 90603 w 135847"/>
                      <a:gd name="connsiteY11" fmla="*/ 138112 h 176212"/>
                      <a:gd name="connsiteX12" fmla="*/ 107272 w 135847"/>
                      <a:gd name="connsiteY12" fmla="*/ 145256 h 176212"/>
                      <a:gd name="connsiteX13" fmla="*/ 126322 w 135847"/>
                      <a:gd name="connsiteY13" fmla="*/ 135731 h 176212"/>
                      <a:gd name="connsiteX14" fmla="*/ 131085 w 135847"/>
                      <a:gd name="connsiteY14" fmla="*/ 123825 h 176212"/>
                      <a:gd name="connsiteX15" fmla="*/ 116797 w 135847"/>
                      <a:gd name="connsiteY15" fmla="*/ 107156 h 176212"/>
                      <a:gd name="connsiteX16" fmla="*/ 126785 w 135847"/>
                      <a:gd name="connsiteY16" fmla="*/ 111533 h 176212"/>
                      <a:gd name="connsiteX17" fmla="*/ 131085 w 135847"/>
                      <a:gd name="connsiteY17" fmla="*/ 116681 h 176212"/>
                      <a:gd name="connsiteX18" fmla="*/ 135281 w 135847"/>
                      <a:gd name="connsiteY18" fmla="*/ 120595 h 176212"/>
                      <a:gd name="connsiteX19" fmla="*/ 135847 w 135847"/>
                      <a:gd name="connsiteY19" fmla="*/ 130969 h 176212"/>
                      <a:gd name="connsiteX20" fmla="*/ 119178 w 135847"/>
                      <a:gd name="connsiteY20" fmla="*/ 145256 h 176212"/>
                      <a:gd name="connsiteX21" fmla="*/ 97747 w 135847"/>
                      <a:gd name="connsiteY21" fmla="*/ 152400 h 176212"/>
                      <a:gd name="connsiteX22" fmla="*/ 83460 w 135847"/>
                      <a:gd name="connsiteY22" fmla="*/ 157162 h 176212"/>
                      <a:gd name="connsiteX23" fmla="*/ 64410 w 135847"/>
                      <a:gd name="connsiteY23" fmla="*/ 169069 h 176212"/>
                      <a:gd name="connsiteX24" fmla="*/ 45360 w 135847"/>
                      <a:gd name="connsiteY24" fmla="*/ 176212 h 176212"/>
                      <a:gd name="connsiteX25" fmla="*/ 28691 w 135847"/>
                      <a:gd name="connsiteY25" fmla="*/ 166687 h 176212"/>
                      <a:gd name="connsiteX26" fmla="*/ 23928 w 135847"/>
                      <a:gd name="connsiteY26" fmla="*/ 157162 h 176212"/>
                      <a:gd name="connsiteX27" fmla="*/ 16282 w 135847"/>
                      <a:gd name="connsiteY27" fmla="*/ 159286 h 176212"/>
                      <a:gd name="connsiteX28" fmla="*/ 7852 w 135847"/>
                      <a:gd name="connsiteY28" fmla="*/ 154576 h 176212"/>
                      <a:gd name="connsiteX29" fmla="*/ 798 w 135847"/>
                      <a:gd name="connsiteY29" fmla="*/ 144819 h 176212"/>
                      <a:gd name="connsiteX30" fmla="*/ 0 w 135847"/>
                      <a:gd name="connsiteY30" fmla="*/ 137662 h 176212"/>
                      <a:gd name="connsiteX31" fmla="*/ 9641 w 135847"/>
                      <a:gd name="connsiteY31" fmla="*/ 126206 h 176212"/>
                      <a:gd name="connsiteX32" fmla="*/ 21547 w 135847"/>
                      <a:gd name="connsiteY32" fmla="*/ 107156 h 176212"/>
                      <a:gd name="connsiteX33" fmla="*/ 26426 w 135847"/>
                      <a:gd name="connsiteY33" fmla="*/ 76534 h 176212"/>
                      <a:gd name="connsiteX34" fmla="*/ 24276 w 135847"/>
                      <a:gd name="connsiteY34" fmla="*/ 33377 h 176212"/>
                      <a:gd name="connsiteX35" fmla="*/ 23709 w 135847"/>
                      <a:gd name="connsiteY35" fmla="*/ 20917 h 176212"/>
                      <a:gd name="connsiteX36" fmla="*/ 4878 w 135847"/>
                      <a:gd name="connsiteY36" fmla="*/ 0 h 176212"/>
                      <a:gd name="connsiteX0" fmla="*/ 4878 w 135847"/>
                      <a:gd name="connsiteY0" fmla="*/ 0 h 176212"/>
                      <a:gd name="connsiteX1" fmla="*/ 27674 w 135847"/>
                      <a:gd name="connsiteY1" fmla="*/ 18085 h 176212"/>
                      <a:gd name="connsiteX2" fmla="*/ 29373 w 135847"/>
                      <a:gd name="connsiteY2" fmla="*/ 29412 h 176212"/>
                      <a:gd name="connsiteX3" fmla="*/ 28691 w 135847"/>
                      <a:gd name="connsiteY3" fmla="*/ 47625 h 176212"/>
                      <a:gd name="connsiteX4" fmla="*/ 31072 w 135847"/>
                      <a:gd name="connsiteY4" fmla="*/ 92869 h 176212"/>
                      <a:gd name="connsiteX5" fmla="*/ 21547 w 135847"/>
                      <a:gd name="connsiteY5" fmla="*/ 116681 h 176212"/>
                      <a:gd name="connsiteX6" fmla="*/ 19166 w 135847"/>
                      <a:gd name="connsiteY6" fmla="*/ 138112 h 176212"/>
                      <a:gd name="connsiteX7" fmla="*/ 31072 w 135847"/>
                      <a:gd name="connsiteY7" fmla="*/ 154781 h 176212"/>
                      <a:gd name="connsiteX8" fmla="*/ 48333 w 135847"/>
                      <a:gd name="connsiteY8" fmla="*/ 167537 h 176212"/>
                      <a:gd name="connsiteX9" fmla="*/ 59647 w 135847"/>
                      <a:gd name="connsiteY9" fmla="*/ 164306 h 176212"/>
                      <a:gd name="connsiteX10" fmla="*/ 73935 w 135847"/>
                      <a:gd name="connsiteY10" fmla="*/ 150019 h 176212"/>
                      <a:gd name="connsiteX11" fmla="*/ 90603 w 135847"/>
                      <a:gd name="connsiteY11" fmla="*/ 138112 h 176212"/>
                      <a:gd name="connsiteX12" fmla="*/ 107272 w 135847"/>
                      <a:gd name="connsiteY12" fmla="*/ 145256 h 176212"/>
                      <a:gd name="connsiteX13" fmla="*/ 126322 w 135847"/>
                      <a:gd name="connsiteY13" fmla="*/ 135731 h 176212"/>
                      <a:gd name="connsiteX14" fmla="*/ 131085 w 135847"/>
                      <a:gd name="connsiteY14" fmla="*/ 123825 h 176212"/>
                      <a:gd name="connsiteX15" fmla="*/ 116797 w 135847"/>
                      <a:gd name="connsiteY15" fmla="*/ 107156 h 176212"/>
                      <a:gd name="connsiteX16" fmla="*/ 126785 w 135847"/>
                      <a:gd name="connsiteY16" fmla="*/ 111533 h 176212"/>
                      <a:gd name="connsiteX17" fmla="*/ 131085 w 135847"/>
                      <a:gd name="connsiteY17" fmla="*/ 116681 h 176212"/>
                      <a:gd name="connsiteX18" fmla="*/ 135281 w 135847"/>
                      <a:gd name="connsiteY18" fmla="*/ 120595 h 176212"/>
                      <a:gd name="connsiteX19" fmla="*/ 135847 w 135847"/>
                      <a:gd name="connsiteY19" fmla="*/ 130969 h 176212"/>
                      <a:gd name="connsiteX20" fmla="*/ 119178 w 135847"/>
                      <a:gd name="connsiteY20" fmla="*/ 145256 h 176212"/>
                      <a:gd name="connsiteX21" fmla="*/ 97747 w 135847"/>
                      <a:gd name="connsiteY21" fmla="*/ 152400 h 176212"/>
                      <a:gd name="connsiteX22" fmla="*/ 83460 w 135847"/>
                      <a:gd name="connsiteY22" fmla="*/ 157162 h 176212"/>
                      <a:gd name="connsiteX23" fmla="*/ 64410 w 135847"/>
                      <a:gd name="connsiteY23" fmla="*/ 169069 h 176212"/>
                      <a:gd name="connsiteX24" fmla="*/ 45360 w 135847"/>
                      <a:gd name="connsiteY24" fmla="*/ 176212 h 176212"/>
                      <a:gd name="connsiteX25" fmla="*/ 28691 w 135847"/>
                      <a:gd name="connsiteY25" fmla="*/ 166687 h 176212"/>
                      <a:gd name="connsiteX26" fmla="*/ 21380 w 135847"/>
                      <a:gd name="connsiteY26" fmla="*/ 160135 h 176212"/>
                      <a:gd name="connsiteX27" fmla="*/ 16282 w 135847"/>
                      <a:gd name="connsiteY27" fmla="*/ 159286 h 176212"/>
                      <a:gd name="connsiteX28" fmla="*/ 7852 w 135847"/>
                      <a:gd name="connsiteY28" fmla="*/ 154576 h 176212"/>
                      <a:gd name="connsiteX29" fmla="*/ 798 w 135847"/>
                      <a:gd name="connsiteY29" fmla="*/ 144819 h 176212"/>
                      <a:gd name="connsiteX30" fmla="*/ 0 w 135847"/>
                      <a:gd name="connsiteY30" fmla="*/ 137662 h 176212"/>
                      <a:gd name="connsiteX31" fmla="*/ 9641 w 135847"/>
                      <a:gd name="connsiteY31" fmla="*/ 126206 h 176212"/>
                      <a:gd name="connsiteX32" fmla="*/ 21547 w 135847"/>
                      <a:gd name="connsiteY32" fmla="*/ 107156 h 176212"/>
                      <a:gd name="connsiteX33" fmla="*/ 26426 w 135847"/>
                      <a:gd name="connsiteY33" fmla="*/ 76534 h 176212"/>
                      <a:gd name="connsiteX34" fmla="*/ 24276 w 135847"/>
                      <a:gd name="connsiteY34" fmla="*/ 33377 h 176212"/>
                      <a:gd name="connsiteX35" fmla="*/ 23709 w 135847"/>
                      <a:gd name="connsiteY35" fmla="*/ 20917 h 176212"/>
                      <a:gd name="connsiteX36" fmla="*/ 4878 w 135847"/>
                      <a:gd name="connsiteY36" fmla="*/ 0 h 176212"/>
                      <a:gd name="connsiteX0" fmla="*/ 5303 w 135847"/>
                      <a:gd name="connsiteY0" fmla="*/ 0 h 171964"/>
                      <a:gd name="connsiteX1" fmla="*/ 27674 w 135847"/>
                      <a:gd name="connsiteY1" fmla="*/ 13837 h 171964"/>
                      <a:gd name="connsiteX2" fmla="*/ 29373 w 135847"/>
                      <a:gd name="connsiteY2" fmla="*/ 25164 h 171964"/>
                      <a:gd name="connsiteX3" fmla="*/ 28691 w 135847"/>
                      <a:gd name="connsiteY3" fmla="*/ 43377 h 171964"/>
                      <a:gd name="connsiteX4" fmla="*/ 31072 w 135847"/>
                      <a:gd name="connsiteY4" fmla="*/ 88621 h 171964"/>
                      <a:gd name="connsiteX5" fmla="*/ 21547 w 135847"/>
                      <a:gd name="connsiteY5" fmla="*/ 112433 h 171964"/>
                      <a:gd name="connsiteX6" fmla="*/ 19166 w 135847"/>
                      <a:gd name="connsiteY6" fmla="*/ 133864 h 171964"/>
                      <a:gd name="connsiteX7" fmla="*/ 31072 w 135847"/>
                      <a:gd name="connsiteY7" fmla="*/ 150533 h 171964"/>
                      <a:gd name="connsiteX8" fmla="*/ 48333 w 135847"/>
                      <a:gd name="connsiteY8" fmla="*/ 163289 h 171964"/>
                      <a:gd name="connsiteX9" fmla="*/ 59647 w 135847"/>
                      <a:gd name="connsiteY9" fmla="*/ 160058 h 171964"/>
                      <a:gd name="connsiteX10" fmla="*/ 73935 w 135847"/>
                      <a:gd name="connsiteY10" fmla="*/ 145771 h 171964"/>
                      <a:gd name="connsiteX11" fmla="*/ 90603 w 135847"/>
                      <a:gd name="connsiteY11" fmla="*/ 133864 h 171964"/>
                      <a:gd name="connsiteX12" fmla="*/ 107272 w 135847"/>
                      <a:gd name="connsiteY12" fmla="*/ 141008 h 171964"/>
                      <a:gd name="connsiteX13" fmla="*/ 126322 w 135847"/>
                      <a:gd name="connsiteY13" fmla="*/ 131483 h 171964"/>
                      <a:gd name="connsiteX14" fmla="*/ 131085 w 135847"/>
                      <a:gd name="connsiteY14" fmla="*/ 119577 h 171964"/>
                      <a:gd name="connsiteX15" fmla="*/ 116797 w 135847"/>
                      <a:gd name="connsiteY15" fmla="*/ 102908 h 171964"/>
                      <a:gd name="connsiteX16" fmla="*/ 126785 w 135847"/>
                      <a:gd name="connsiteY16" fmla="*/ 107285 h 171964"/>
                      <a:gd name="connsiteX17" fmla="*/ 131085 w 135847"/>
                      <a:gd name="connsiteY17" fmla="*/ 112433 h 171964"/>
                      <a:gd name="connsiteX18" fmla="*/ 135281 w 135847"/>
                      <a:gd name="connsiteY18" fmla="*/ 116347 h 171964"/>
                      <a:gd name="connsiteX19" fmla="*/ 135847 w 135847"/>
                      <a:gd name="connsiteY19" fmla="*/ 126721 h 171964"/>
                      <a:gd name="connsiteX20" fmla="*/ 119178 w 135847"/>
                      <a:gd name="connsiteY20" fmla="*/ 141008 h 171964"/>
                      <a:gd name="connsiteX21" fmla="*/ 97747 w 135847"/>
                      <a:gd name="connsiteY21" fmla="*/ 148152 h 171964"/>
                      <a:gd name="connsiteX22" fmla="*/ 83460 w 135847"/>
                      <a:gd name="connsiteY22" fmla="*/ 152914 h 171964"/>
                      <a:gd name="connsiteX23" fmla="*/ 64410 w 135847"/>
                      <a:gd name="connsiteY23" fmla="*/ 164821 h 171964"/>
                      <a:gd name="connsiteX24" fmla="*/ 45360 w 135847"/>
                      <a:gd name="connsiteY24" fmla="*/ 171964 h 171964"/>
                      <a:gd name="connsiteX25" fmla="*/ 28691 w 135847"/>
                      <a:gd name="connsiteY25" fmla="*/ 162439 h 171964"/>
                      <a:gd name="connsiteX26" fmla="*/ 21380 w 135847"/>
                      <a:gd name="connsiteY26" fmla="*/ 155887 h 171964"/>
                      <a:gd name="connsiteX27" fmla="*/ 16282 w 135847"/>
                      <a:gd name="connsiteY27" fmla="*/ 155038 h 171964"/>
                      <a:gd name="connsiteX28" fmla="*/ 7852 w 135847"/>
                      <a:gd name="connsiteY28" fmla="*/ 150328 h 171964"/>
                      <a:gd name="connsiteX29" fmla="*/ 798 w 135847"/>
                      <a:gd name="connsiteY29" fmla="*/ 140571 h 171964"/>
                      <a:gd name="connsiteX30" fmla="*/ 0 w 135847"/>
                      <a:gd name="connsiteY30" fmla="*/ 133414 h 171964"/>
                      <a:gd name="connsiteX31" fmla="*/ 9641 w 135847"/>
                      <a:gd name="connsiteY31" fmla="*/ 121958 h 171964"/>
                      <a:gd name="connsiteX32" fmla="*/ 21547 w 135847"/>
                      <a:gd name="connsiteY32" fmla="*/ 102908 h 171964"/>
                      <a:gd name="connsiteX33" fmla="*/ 26426 w 135847"/>
                      <a:gd name="connsiteY33" fmla="*/ 72286 h 171964"/>
                      <a:gd name="connsiteX34" fmla="*/ 24276 w 135847"/>
                      <a:gd name="connsiteY34" fmla="*/ 29129 h 171964"/>
                      <a:gd name="connsiteX35" fmla="*/ 23709 w 135847"/>
                      <a:gd name="connsiteY35" fmla="*/ 16669 h 171964"/>
                      <a:gd name="connsiteX36" fmla="*/ 5303 w 135847"/>
                      <a:gd name="connsiteY36" fmla="*/ 0 h 171964"/>
                      <a:gd name="connsiteX0" fmla="*/ 5303 w 135847"/>
                      <a:gd name="connsiteY0" fmla="*/ 0 h 171964"/>
                      <a:gd name="connsiteX1" fmla="*/ 27674 w 135847"/>
                      <a:gd name="connsiteY1" fmla="*/ 13837 h 171964"/>
                      <a:gd name="connsiteX2" fmla="*/ 29373 w 135847"/>
                      <a:gd name="connsiteY2" fmla="*/ 25164 h 171964"/>
                      <a:gd name="connsiteX3" fmla="*/ 28691 w 135847"/>
                      <a:gd name="connsiteY3" fmla="*/ 43377 h 171964"/>
                      <a:gd name="connsiteX4" fmla="*/ 31072 w 135847"/>
                      <a:gd name="connsiteY4" fmla="*/ 88621 h 171964"/>
                      <a:gd name="connsiteX5" fmla="*/ 21547 w 135847"/>
                      <a:gd name="connsiteY5" fmla="*/ 112433 h 171964"/>
                      <a:gd name="connsiteX6" fmla="*/ 19166 w 135847"/>
                      <a:gd name="connsiteY6" fmla="*/ 133864 h 171964"/>
                      <a:gd name="connsiteX7" fmla="*/ 31072 w 135847"/>
                      <a:gd name="connsiteY7" fmla="*/ 150533 h 171964"/>
                      <a:gd name="connsiteX8" fmla="*/ 48333 w 135847"/>
                      <a:gd name="connsiteY8" fmla="*/ 163289 h 171964"/>
                      <a:gd name="connsiteX9" fmla="*/ 59647 w 135847"/>
                      <a:gd name="connsiteY9" fmla="*/ 160058 h 171964"/>
                      <a:gd name="connsiteX10" fmla="*/ 73935 w 135847"/>
                      <a:gd name="connsiteY10" fmla="*/ 145771 h 171964"/>
                      <a:gd name="connsiteX11" fmla="*/ 90603 w 135847"/>
                      <a:gd name="connsiteY11" fmla="*/ 133864 h 171964"/>
                      <a:gd name="connsiteX12" fmla="*/ 107272 w 135847"/>
                      <a:gd name="connsiteY12" fmla="*/ 141008 h 171964"/>
                      <a:gd name="connsiteX13" fmla="*/ 126322 w 135847"/>
                      <a:gd name="connsiteY13" fmla="*/ 131483 h 171964"/>
                      <a:gd name="connsiteX14" fmla="*/ 131085 w 135847"/>
                      <a:gd name="connsiteY14" fmla="*/ 119577 h 171964"/>
                      <a:gd name="connsiteX15" fmla="*/ 116797 w 135847"/>
                      <a:gd name="connsiteY15" fmla="*/ 102908 h 171964"/>
                      <a:gd name="connsiteX16" fmla="*/ 126785 w 135847"/>
                      <a:gd name="connsiteY16" fmla="*/ 107285 h 171964"/>
                      <a:gd name="connsiteX17" fmla="*/ 131085 w 135847"/>
                      <a:gd name="connsiteY17" fmla="*/ 112433 h 171964"/>
                      <a:gd name="connsiteX18" fmla="*/ 135281 w 135847"/>
                      <a:gd name="connsiteY18" fmla="*/ 116347 h 171964"/>
                      <a:gd name="connsiteX19" fmla="*/ 135847 w 135847"/>
                      <a:gd name="connsiteY19" fmla="*/ 126721 h 171964"/>
                      <a:gd name="connsiteX20" fmla="*/ 119178 w 135847"/>
                      <a:gd name="connsiteY20" fmla="*/ 141008 h 171964"/>
                      <a:gd name="connsiteX21" fmla="*/ 97747 w 135847"/>
                      <a:gd name="connsiteY21" fmla="*/ 148152 h 171964"/>
                      <a:gd name="connsiteX22" fmla="*/ 83460 w 135847"/>
                      <a:gd name="connsiteY22" fmla="*/ 152914 h 171964"/>
                      <a:gd name="connsiteX23" fmla="*/ 64410 w 135847"/>
                      <a:gd name="connsiteY23" fmla="*/ 164821 h 171964"/>
                      <a:gd name="connsiteX24" fmla="*/ 45360 w 135847"/>
                      <a:gd name="connsiteY24" fmla="*/ 171964 h 171964"/>
                      <a:gd name="connsiteX25" fmla="*/ 28691 w 135847"/>
                      <a:gd name="connsiteY25" fmla="*/ 162439 h 171964"/>
                      <a:gd name="connsiteX26" fmla="*/ 21380 w 135847"/>
                      <a:gd name="connsiteY26" fmla="*/ 155887 h 171964"/>
                      <a:gd name="connsiteX27" fmla="*/ 16282 w 135847"/>
                      <a:gd name="connsiteY27" fmla="*/ 155038 h 171964"/>
                      <a:gd name="connsiteX28" fmla="*/ 7852 w 135847"/>
                      <a:gd name="connsiteY28" fmla="*/ 150328 h 171964"/>
                      <a:gd name="connsiteX29" fmla="*/ 798 w 135847"/>
                      <a:gd name="connsiteY29" fmla="*/ 140571 h 171964"/>
                      <a:gd name="connsiteX30" fmla="*/ 0 w 135847"/>
                      <a:gd name="connsiteY30" fmla="*/ 133414 h 171964"/>
                      <a:gd name="connsiteX31" fmla="*/ 9641 w 135847"/>
                      <a:gd name="connsiteY31" fmla="*/ 121958 h 171964"/>
                      <a:gd name="connsiteX32" fmla="*/ 21547 w 135847"/>
                      <a:gd name="connsiteY32" fmla="*/ 102908 h 171964"/>
                      <a:gd name="connsiteX33" fmla="*/ 26541 w 135847"/>
                      <a:gd name="connsiteY33" fmla="*/ 88313 h 171964"/>
                      <a:gd name="connsiteX34" fmla="*/ 26426 w 135847"/>
                      <a:gd name="connsiteY34" fmla="*/ 72286 h 171964"/>
                      <a:gd name="connsiteX35" fmla="*/ 24276 w 135847"/>
                      <a:gd name="connsiteY35" fmla="*/ 29129 h 171964"/>
                      <a:gd name="connsiteX36" fmla="*/ 23709 w 135847"/>
                      <a:gd name="connsiteY36" fmla="*/ 16669 h 171964"/>
                      <a:gd name="connsiteX37" fmla="*/ 5303 w 135847"/>
                      <a:gd name="connsiteY37" fmla="*/ 0 h 171964"/>
                      <a:gd name="connsiteX0" fmla="*/ 4505 w 135049"/>
                      <a:gd name="connsiteY0" fmla="*/ 0 h 171964"/>
                      <a:gd name="connsiteX1" fmla="*/ 26876 w 135049"/>
                      <a:gd name="connsiteY1" fmla="*/ 13837 h 171964"/>
                      <a:gd name="connsiteX2" fmla="*/ 28575 w 135049"/>
                      <a:gd name="connsiteY2" fmla="*/ 25164 h 171964"/>
                      <a:gd name="connsiteX3" fmla="*/ 27893 w 135049"/>
                      <a:gd name="connsiteY3" fmla="*/ 43377 h 171964"/>
                      <a:gd name="connsiteX4" fmla="*/ 30274 w 135049"/>
                      <a:gd name="connsiteY4" fmla="*/ 88621 h 171964"/>
                      <a:gd name="connsiteX5" fmla="*/ 20749 w 135049"/>
                      <a:gd name="connsiteY5" fmla="*/ 112433 h 171964"/>
                      <a:gd name="connsiteX6" fmla="*/ 18368 w 135049"/>
                      <a:gd name="connsiteY6" fmla="*/ 133864 h 171964"/>
                      <a:gd name="connsiteX7" fmla="*/ 30274 w 135049"/>
                      <a:gd name="connsiteY7" fmla="*/ 150533 h 171964"/>
                      <a:gd name="connsiteX8" fmla="*/ 47535 w 135049"/>
                      <a:gd name="connsiteY8" fmla="*/ 163289 h 171964"/>
                      <a:gd name="connsiteX9" fmla="*/ 58849 w 135049"/>
                      <a:gd name="connsiteY9" fmla="*/ 160058 h 171964"/>
                      <a:gd name="connsiteX10" fmla="*/ 73137 w 135049"/>
                      <a:gd name="connsiteY10" fmla="*/ 145771 h 171964"/>
                      <a:gd name="connsiteX11" fmla="*/ 89805 w 135049"/>
                      <a:gd name="connsiteY11" fmla="*/ 133864 h 171964"/>
                      <a:gd name="connsiteX12" fmla="*/ 106474 w 135049"/>
                      <a:gd name="connsiteY12" fmla="*/ 141008 h 171964"/>
                      <a:gd name="connsiteX13" fmla="*/ 125524 w 135049"/>
                      <a:gd name="connsiteY13" fmla="*/ 131483 h 171964"/>
                      <a:gd name="connsiteX14" fmla="*/ 130287 w 135049"/>
                      <a:gd name="connsiteY14" fmla="*/ 119577 h 171964"/>
                      <a:gd name="connsiteX15" fmla="*/ 115999 w 135049"/>
                      <a:gd name="connsiteY15" fmla="*/ 102908 h 171964"/>
                      <a:gd name="connsiteX16" fmla="*/ 125987 w 135049"/>
                      <a:gd name="connsiteY16" fmla="*/ 107285 h 171964"/>
                      <a:gd name="connsiteX17" fmla="*/ 130287 w 135049"/>
                      <a:gd name="connsiteY17" fmla="*/ 112433 h 171964"/>
                      <a:gd name="connsiteX18" fmla="*/ 134483 w 135049"/>
                      <a:gd name="connsiteY18" fmla="*/ 116347 h 171964"/>
                      <a:gd name="connsiteX19" fmla="*/ 135049 w 135049"/>
                      <a:gd name="connsiteY19" fmla="*/ 126721 h 171964"/>
                      <a:gd name="connsiteX20" fmla="*/ 118380 w 135049"/>
                      <a:gd name="connsiteY20" fmla="*/ 141008 h 171964"/>
                      <a:gd name="connsiteX21" fmla="*/ 96949 w 135049"/>
                      <a:gd name="connsiteY21" fmla="*/ 148152 h 171964"/>
                      <a:gd name="connsiteX22" fmla="*/ 82662 w 135049"/>
                      <a:gd name="connsiteY22" fmla="*/ 152914 h 171964"/>
                      <a:gd name="connsiteX23" fmla="*/ 63612 w 135049"/>
                      <a:gd name="connsiteY23" fmla="*/ 164821 h 171964"/>
                      <a:gd name="connsiteX24" fmla="*/ 44562 w 135049"/>
                      <a:gd name="connsiteY24" fmla="*/ 171964 h 171964"/>
                      <a:gd name="connsiteX25" fmla="*/ 27893 w 135049"/>
                      <a:gd name="connsiteY25" fmla="*/ 162439 h 171964"/>
                      <a:gd name="connsiteX26" fmla="*/ 20582 w 135049"/>
                      <a:gd name="connsiteY26" fmla="*/ 155887 h 171964"/>
                      <a:gd name="connsiteX27" fmla="*/ 15484 w 135049"/>
                      <a:gd name="connsiteY27" fmla="*/ 155038 h 171964"/>
                      <a:gd name="connsiteX28" fmla="*/ 7054 w 135049"/>
                      <a:gd name="connsiteY28" fmla="*/ 150328 h 171964"/>
                      <a:gd name="connsiteX29" fmla="*/ 0 w 135049"/>
                      <a:gd name="connsiteY29" fmla="*/ 140571 h 171964"/>
                      <a:gd name="connsiteX30" fmla="*/ 476 w 135049"/>
                      <a:gd name="connsiteY30" fmla="*/ 134264 h 171964"/>
                      <a:gd name="connsiteX31" fmla="*/ 8843 w 135049"/>
                      <a:gd name="connsiteY31" fmla="*/ 121958 h 171964"/>
                      <a:gd name="connsiteX32" fmla="*/ 20749 w 135049"/>
                      <a:gd name="connsiteY32" fmla="*/ 102908 h 171964"/>
                      <a:gd name="connsiteX33" fmla="*/ 25743 w 135049"/>
                      <a:gd name="connsiteY33" fmla="*/ 88313 h 171964"/>
                      <a:gd name="connsiteX34" fmla="*/ 25628 w 135049"/>
                      <a:gd name="connsiteY34" fmla="*/ 72286 h 171964"/>
                      <a:gd name="connsiteX35" fmla="*/ 23478 w 135049"/>
                      <a:gd name="connsiteY35" fmla="*/ 29129 h 171964"/>
                      <a:gd name="connsiteX36" fmla="*/ 22911 w 135049"/>
                      <a:gd name="connsiteY36" fmla="*/ 16669 h 171964"/>
                      <a:gd name="connsiteX37" fmla="*/ 4505 w 135049"/>
                      <a:gd name="connsiteY37" fmla="*/ 0 h 171964"/>
                      <a:gd name="connsiteX0" fmla="*/ 4188 w 134732"/>
                      <a:gd name="connsiteY0" fmla="*/ 0 h 171964"/>
                      <a:gd name="connsiteX1" fmla="*/ 26559 w 134732"/>
                      <a:gd name="connsiteY1" fmla="*/ 13837 h 171964"/>
                      <a:gd name="connsiteX2" fmla="*/ 28258 w 134732"/>
                      <a:gd name="connsiteY2" fmla="*/ 25164 h 171964"/>
                      <a:gd name="connsiteX3" fmla="*/ 27576 w 134732"/>
                      <a:gd name="connsiteY3" fmla="*/ 43377 h 171964"/>
                      <a:gd name="connsiteX4" fmla="*/ 29957 w 134732"/>
                      <a:gd name="connsiteY4" fmla="*/ 88621 h 171964"/>
                      <a:gd name="connsiteX5" fmla="*/ 20432 w 134732"/>
                      <a:gd name="connsiteY5" fmla="*/ 112433 h 171964"/>
                      <a:gd name="connsiteX6" fmla="*/ 18051 w 134732"/>
                      <a:gd name="connsiteY6" fmla="*/ 133864 h 171964"/>
                      <a:gd name="connsiteX7" fmla="*/ 29957 w 134732"/>
                      <a:gd name="connsiteY7" fmla="*/ 150533 h 171964"/>
                      <a:gd name="connsiteX8" fmla="*/ 47218 w 134732"/>
                      <a:gd name="connsiteY8" fmla="*/ 163289 h 171964"/>
                      <a:gd name="connsiteX9" fmla="*/ 58532 w 134732"/>
                      <a:gd name="connsiteY9" fmla="*/ 160058 h 171964"/>
                      <a:gd name="connsiteX10" fmla="*/ 72820 w 134732"/>
                      <a:gd name="connsiteY10" fmla="*/ 145771 h 171964"/>
                      <a:gd name="connsiteX11" fmla="*/ 89488 w 134732"/>
                      <a:gd name="connsiteY11" fmla="*/ 133864 h 171964"/>
                      <a:gd name="connsiteX12" fmla="*/ 106157 w 134732"/>
                      <a:gd name="connsiteY12" fmla="*/ 141008 h 171964"/>
                      <a:gd name="connsiteX13" fmla="*/ 125207 w 134732"/>
                      <a:gd name="connsiteY13" fmla="*/ 131483 h 171964"/>
                      <a:gd name="connsiteX14" fmla="*/ 129970 w 134732"/>
                      <a:gd name="connsiteY14" fmla="*/ 119577 h 171964"/>
                      <a:gd name="connsiteX15" fmla="*/ 115682 w 134732"/>
                      <a:gd name="connsiteY15" fmla="*/ 102908 h 171964"/>
                      <a:gd name="connsiteX16" fmla="*/ 125670 w 134732"/>
                      <a:gd name="connsiteY16" fmla="*/ 107285 h 171964"/>
                      <a:gd name="connsiteX17" fmla="*/ 129970 w 134732"/>
                      <a:gd name="connsiteY17" fmla="*/ 112433 h 171964"/>
                      <a:gd name="connsiteX18" fmla="*/ 134166 w 134732"/>
                      <a:gd name="connsiteY18" fmla="*/ 116347 h 171964"/>
                      <a:gd name="connsiteX19" fmla="*/ 134732 w 134732"/>
                      <a:gd name="connsiteY19" fmla="*/ 126721 h 171964"/>
                      <a:gd name="connsiteX20" fmla="*/ 118063 w 134732"/>
                      <a:gd name="connsiteY20" fmla="*/ 141008 h 171964"/>
                      <a:gd name="connsiteX21" fmla="*/ 96632 w 134732"/>
                      <a:gd name="connsiteY21" fmla="*/ 148152 h 171964"/>
                      <a:gd name="connsiteX22" fmla="*/ 82345 w 134732"/>
                      <a:gd name="connsiteY22" fmla="*/ 152914 h 171964"/>
                      <a:gd name="connsiteX23" fmla="*/ 63295 w 134732"/>
                      <a:gd name="connsiteY23" fmla="*/ 164821 h 171964"/>
                      <a:gd name="connsiteX24" fmla="*/ 44245 w 134732"/>
                      <a:gd name="connsiteY24" fmla="*/ 171964 h 171964"/>
                      <a:gd name="connsiteX25" fmla="*/ 27576 w 134732"/>
                      <a:gd name="connsiteY25" fmla="*/ 162439 h 171964"/>
                      <a:gd name="connsiteX26" fmla="*/ 20265 w 134732"/>
                      <a:gd name="connsiteY26" fmla="*/ 155887 h 171964"/>
                      <a:gd name="connsiteX27" fmla="*/ 15167 w 134732"/>
                      <a:gd name="connsiteY27" fmla="*/ 155038 h 171964"/>
                      <a:gd name="connsiteX28" fmla="*/ 6737 w 134732"/>
                      <a:gd name="connsiteY28" fmla="*/ 150328 h 171964"/>
                      <a:gd name="connsiteX29" fmla="*/ 1382 w 134732"/>
                      <a:gd name="connsiteY29" fmla="*/ 137598 h 171964"/>
                      <a:gd name="connsiteX30" fmla="*/ 159 w 134732"/>
                      <a:gd name="connsiteY30" fmla="*/ 134264 h 171964"/>
                      <a:gd name="connsiteX31" fmla="*/ 8526 w 134732"/>
                      <a:gd name="connsiteY31" fmla="*/ 121958 h 171964"/>
                      <a:gd name="connsiteX32" fmla="*/ 20432 w 134732"/>
                      <a:gd name="connsiteY32" fmla="*/ 102908 h 171964"/>
                      <a:gd name="connsiteX33" fmla="*/ 25426 w 134732"/>
                      <a:gd name="connsiteY33" fmla="*/ 88313 h 171964"/>
                      <a:gd name="connsiteX34" fmla="*/ 25311 w 134732"/>
                      <a:gd name="connsiteY34" fmla="*/ 72286 h 171964"/>
                      <a:gd name="connsiteX35" fmla="*/ 23161 w 134732"/>
                      <a:gd name="connsiteY35" fmla="*/ 29129 h 171964"/>
                      <a:gd name="connsiteX36" fmla="*/ 22594 w 134732"/>
                      <a:gd name="connsiteY36" fmla="*/ 16669 h 171964"/>
                      <a:gd name="connsiteX37" fmla="*/ 4188 w 134732"/>
                      <a:gd name="connsiteY37" fmla="*/ 0 h 171964"/>
                      <a:gd name="connsiteX0" fmla="*/ 4188 w 134732"/>
                      <a:gd name="connsiteY0" fmla="*/ 0 h 171964"/>
                      <a:gd name="connsiteX1" fmla="*/ 26559 w 134732"/>
                      <a:gd name="connsiteY1" fmla="*/ 13837 h 171964"/>
                      <a:gd name="connsiteX2" fmla="*/ 28258 w 134732"/>
                      <a:gd name="connsiteY2" fmla="*/ 25164 h 171964"/>
                      <a:gd name="connsiteX3" fmla="*/ 27576 w 134732"/>
                      <a:gd name="connsiteY3" fmla="*/ 43377 h 171964"/>
                      <a:gd name="connsiteX4" fmla="*/ 29957 w 134732"/>
                      <a:gd name="connsiteY4" fmla="*/ 88621 h 171964"/>
                      <a:gd name="connsiteX5" fmla="*/ 20432 w 134732"/>
                      <a:gd name="connsiteY5" fmla="*/ 112433 h 171964"/>
                      <a:gd name="connsiteX6" fmla="*/ 18051 w 134732"/>
                      <a:gd name="connsiteY6" fmla="*/ 133864 h 171964"/>
                      <a:gd name="connsiteX7" fmla="*/ 29957 w 134732"/>
                      <a:gd name="connsiteY7" fmla="*/ 150533 h 171964"/>
                      <a:gd name="connsiteX8" fmla="*/ 47218 w 134732"/>
                      <a:gd name="connsiteY8" fmla="*/ 163289 h 171964"/>
                      <a:gd name="connsiteX9" fmla="*/ 58532 w 134732"/>
                      <a:gd name="connsiteY9" fmla="*/ 160058 h 171964"/>
                      <a:gd name="connsiteX10" fmla="*/ 72820 w 134732"/>
                      <a:gd name="connsiteY10" fmla="*/ 145771 h 171964"/>
                      <a:gd name="connsiteX11" fmla="*/ 89488 w 134732"/>
                      <a:gd name="connsiteY11" fmla="*/ 133864 h 171964"/>
                      <a:gd name="connsiteX12" fmla="*/ 106157 w 134732"/>
                      <a:gd name="connsiteY12" fmla="*/ 141008 h 171964"/>
                      <a:gd name="connsiteX13" fmla="*/ 125207 w 134732"/>
                      <a:gd name="connsiteY13" fmla="*/ 131483 h 171964"/>
                      <a:gd name="connsiteX14" fmla="*/ 129970 w 134732"/>
                      <a:gd name="connsiteY14" fmla="*/ 119577 h 171964"/>
                      <a:gd name="connsiteX15" fmla="*/ 115682 w 134732"/>
                      <a:gd name="connsiteY15" fmla="*/ 102908 h 171964"/>
                      <a:gd name="connsiteX16" fmla="*/ 125670 w 134732"/>
                      <a:gd name="connsiteY16" fmla="*/ 107285 h 171964"/>
                      <a:gd name="connsiteX17" fmla="*/ 129970 w 134732"/>
                      <a:gd name="connsiteY17" fmla="*/ 112433 h 171964"/>
                      <a:gd name="connsiteX18" fmla="*/ 134166 w 134732"/>
                      <a:gd name="connsiteY18" fmla="*/ 116347 h 171964"/>
                      <a:gd name="connsiteX19" fmla="*/ 134732 w 134732"/>
                      <a:gd name="connsiteY19" fmla="*/ 126721 h 171964"/>
                      <a:gd name="connsiteX20" fmla="*/ 118063 w 134732"/>
                      <a:gd name="connsiteY20" fmla="*/ 141008 h 171964"/>
                      <a:gd name="connsiteX21" fmla="*/ 96632 w 134732"/>
                      <a:gd name="connsiteY21" fmla="*/ 148152 h 171964"/>
                      <a:gd name="connsiteX22" fmla="*/ 82345 w 134732"/>
                      <a:gd name="connsiteY22" fmla="*/ 152914 h 171964"/>
                      <a:gd name="connsiteX23" fmla="*/ 63295 w 134732"/>
                      <a:gd name="connsiteY23" fmla="*/ 164821 h 171964"/>
                      <a:gd name="connsiteX24" fmla="*/ 44245 w 134732"/>
                      <a:gd name="connsiteY24" fmla="*/ 171964 h 171964"/>
                      <a:gd name="connsiteX25" fmla="*/ 27576 w 134732"/>
                      <a:gd name="connsiteY25" fmla="*/ 162439 h 171964"/>
                      <a:gd name="connsiteX26" fmla="*/ 20265 w 134732"/>
                      <a:gd name="connsiteY26" fmla="*/ 155887 h 171964"/>
                      <a:gd name="connsiteX27" fmla="*/ 15167 w 134732"/>
                      <a:gd name="connsiteY27" fmla="*/ 155038 h 171964"/>
                      <a:gd name="connsiteX28" fmla="*/ 7162 w 134732"/>
                      <a:gd name="connsiteY28" fmla="*/ 147355 h 171964"/>
                      <a:gd name="connsiteX29" fmla="*/ 1382 w 134732"/>
                      <a:gd name="connsiteY29" fmla="*/ 137598 h 171964"/>
                      <a:gd name="connsiteX30" fmla="*/ 159 w 134732"/>
                      <a:gd name="connsiteY30" fmla="*/ 134264 h 171964"/>
                      <a:gd name="connsiteX31" fmla="*/ 8526 w 134732"/>
                      <a:gd name="connsiteY31" fmla="*/ 121958 h 171964"/>
                      <a:gd name="connsiteX32" fmla="*/ 20432 w 134732"/>
                      <a:gd name="connsiteY32" fmla="*/ 102908 h 171964"/>
                      <a:gd name="connsiteX33" fmla="*/ 25426 w 134732"/>
                      <a:gd name="connsiteY33" fmla="*/ 88313 h 171964"/>
                      <a:gd name="connsiteX34" fmla="*/ 25311 w 134732"/>
                      <a:gd name="connsiteY34" fmla="*/ 72286 h 171964"/>
                      <a:gd name="connsiteX35" fmla="*/ 23161 w 134732"/>
                      <a:gd name="connsiteY35" fmla="*/ 29129 h 171964"/>
                      <a:gd name="connsiteX36" fmla="*/ 22594 w 134732"/>
                      <a:gd name="connsiteY36" fmla="*/ 16669 h 171964"/>
                      <a:gd name="connsiteX37" fmla="*/ 4188 w 134732"/>
                      <a:gd name="connsiteY37" fmla="*/ 0 h 171964"/>
                      <a:gd name="connsiteX0" fmla="*/ 4188 w 134732"/>
                      <a:gd name="connsiteY0" fmla="*/ 0 h 171964"/>
                      <a:gd name="connsiteX1" fmla="*/ 26559 w 134732"/>
                      <a:gd name="connsiteY1" fmla="*/ 13837 h 171964"/>
                      <a:gd name="connsiteX2" fmla="*/ 28258 w 134732"/>
                      <a:gd name="connsiteY2" fmla="*/ 25164 h 171964"/>
                      <a:gd name="connsiteX3" fmla="*/ 27576 w 134732"/>
                      <a:gd name="connsiteY3" fmla="*/ 43377 h 171964"/>
                      <a:gd name="connsiteX4" fmla="*/ 29957 w 134732"/>
                      <a:gd name="connsiteY4" fmla="*/ 88621 h 171964"/>
                      <a:gd name="connsiteX5" fmla="*/ 20432 w 134732"/>
                      <a:gd name="connsiteY5" fmla="*/ 112433 h 171964"/>
                      <a:gd name="connsiteX6" fmla="*/ 18051 w 134732"/>
                      <a:gd name="connsiteY6" fmla="*/ 133864 h 171964"/>
                      <a:gd name="connsiteX7" fmla="*/ 29957 w 134732"/>
                      <a:gd name="connsiteY7" fmla="*/ 150533 h 171964"/>
                      <a:gd name="connsiteX8" fmla="*/ 47218 w 134732"/>
                      <a:gd name="connsiteY8" fmla="*/ 163289 h 171964"/>
                      <a:gd name="connsiteX9" fmla="*/ 58532 w 134732"/>
                      <a:gd name="connsiteY9" fmla="*/ 160058 h 171964"/>
                      <a:gd name="connsiteX10" fmla="*/ 72820 w 134732"/>
                      <a:gd name="connsiteY10" fmla="*/ 145771 h 171964"/>
                      <a:gd name="connsiteX11" fmla="*/ 89488 w 134732"/>
                      <a:gd name="connsiteY11" fmla="*/ 133864 h 171964"/>
                      <a:gd name="connsiteX12" fmla="*/ 106157 w 134732"/>
                      <a:gd name="connsiteY12" fmla="*/ 141008 h 171964"/>
                      <a:gd name="connsiteX13" fmla="*/ 125207 w 134732"/>
                      <a:gd name="connsiteY13" fmla="*/ 131483 h 171964"/>
                      <a:gd name="connsiteX14" fmla="*/ 129970 w 134732"/>
                      <a:gd name="connsiteY14" fmla="*/ 119577 h 171964"/>
                      <a:gd name="connsiteX15" fmla="*/ 115682 w 134732"/>
                      <a:gd name="connsiteY15" fmla="*/ 102908 h 171964"/>
                      <a:gd name="connsiteX16" fmla="*/ 125670 w 134732"/>
                      <a:gd name="connsiteY16" fmla="*/ 107285 h 171964"/>
                      <a:gd name="connsiteX17" fmla="*/ 129970 w 134732"/>
                      <a:gd name="connsiteY17" fmla="*/ 112433 h 171964"/>
                      <a:gd name="connsiteX18" fmla="*/ 134166 w 134732"/>
                      <a:gd name="connsiteY18" fmla="*/ 116347 h 171964"/>
                      <a:gd name="connsiteX19" fmla="*/ 134732 w 134732"/>
                      <a:gd name="connsiteY19" fmla="*/ 126721 h 171964"/>
                      <a:gd name="connsiteX20" fmla="*/ 118063 w 134732"/>
                      <a:gd name="connsiteY20" fmla="*/ 141008 h 171964"/>
                      <a:gd name="connsiteX21" fmla="*/ 96632 w 134732"/>
                      <a:gd name="connsiteY21" fmla="*/ 148152 h 171964"/>
                      <a:gd name="connsiteX22" fmla="*/ 82345 w 134732"/>
                      <a:gd name="connsiteY22" fmla="*/ 152914 h 171964"/>
                      <a:gd name="connsiteX23" fmla="*/ 63295 w 134732"/>
                      <a:gd name="connsiteY23" fmla="*/ 164821 h 171964"/>
                      <a:gd name="connsiteX24" fmla="*/ 44245 w 134732"/>
                      <a:gd name="connsiteY24" fmla="*/ 171964 h 171964"/>
                      <a:gd name="connsiteX25" fmla="*/ 27576 w 134732"/>
                      <a:gd name="connsiteY25" fmla="*/ 162439 h 171964"/>
                      <a:gd name="connsiteX26" fmla="*/ 20265 w 134732"/>
                      <a:gd name="connsiteY26" fmla="*/ 155887 h 171964"/>
                      <a:gd name="connsiteX27" fmla="*/ 15167 w 134732"/>
                      <a:gd name="connsiteY27" fmla="*/ 155038 h 171964"/>
                      <a:gd name="connsiteX28" fmla="*/ 7162 w 134732"/>
                      <a:gd name="connsiteY28" fmla="*/ 147355 h 171964"/>
                      <a:gd name="connsiteX29" fmla="*/ 1382 w 134732"/>
                      <a:gd name="connsiteY29" fmla="*/ 137598 h 171964"/>
                      <a:gd name="connsiteX30" fmla="*/ 159 w 134732"/>
                      <a:gd name="connsiteY30" fmla="*/ 134264 h 171964"/>
                      <a:gd name="connsiteX31" fmla="*/ 8526 w 134732"/>
                      <a:gd name="connsiteY31" fmla="*/ 121958 h 171964"/>
                      <a:gd name="connsiteX32" fmla="*/ 20432 w 134732"/>
                      <a:gd name="connsiteY32" fmla="*/ 102908 h 171964"/>
                      <a:gd name="connsiteX33" fmla="*/ 25426 w 134732"/>
                      <a:gd name="connsiteY33" fmla="*/ 88313 h 171964"/>
                      <a:gd name="connsiteX34" fmla="*/ 25311 w 134732"/>
                      <a:gd name="connsiteY34" fmla="*/ 72286 h 171964"/>
                      <a:gd name="connsiteX35" fmla="*/ 23161 w 134732"/>
                      <a:gd name="connsiteY35" fmla="*/ 29129 h 171964"/>
                      <a:gd name="connsiteX36" fmla="*/ 22594 w 134732"/>
                      <a:gd name="connsiteY36" fmla="*/ 16669 h 171964"/>
                      <a:gd name="connsiteX37" fmla="*/ 4188 w 134732"/>
                      <a:gd name="connsiteY37" fmla="*/ 0 h 171964"/>
                      <a:gd name="connsiteX0" fmla="*/ 4188 w 134732"/>
                      <a:gd name="connsiteY0" fmla="*/ 0 h 171964"/>
                      <a:gd name="connsiteX1" fmla="*/ 26559 w 134732"/>
                      <a:gd name="connsiteY1" fmla="*/ 13837 h 171964"/>
                      <a:gd name="connsiteX2" fmla="*/ 28258 w 134732"/>
                      <a:gd name="connsiteY2" fmla="*/ 25164 h 171964"/>
                      <a:gd name="connsiteX3" fmla="*/ 27576 w 134732"/>
                      <a:gd name="connsiteY3" fmla="*/ 43377 h 171964"/>
                      <a:gd name="connsiteX4" fmla="*/ 29957 w 134732"/>
                      <a:gd name="connsiteY4" fmla="*/ 88621 h 171964"/>
                      <a:gd name="connsiteX5" fmla="*/ 20432 w 134732"/>
                      <a:gd name="connsiteY5" fmla="*/ 112433 h 171964"/>
                      <a:gd name="connsiteX6" fmla="*/ 18051 w 134732"/>
                      <a:gd name="connsiteY6" fmla="*/ 133864 h 171964"/>
                      <a:gd name="connsiteX7" fmla="*/ 29957 w 134732"/>
                      <a:gd name="connsiteY7" fmla="*/ 150533 h 171964"/>
                      <a:gd name="connsiteX8" fmla="*/ 47218 w 134732"/>
                      <a:gd name="connsiteY8" fmla="*/ 163289 h 171964"/>
                      <a:gd name="connsiteX9" fmla="*/ 58532 w 134732"/>
                      <a:gd name="connsiteY9" fmla="*/ 160058 h 171964"/>
                      <a:gd name="connsiteX10" fmla="*/ 72820 w 134732"/>
                      <a:gd name="connsiteY10" fmla="*/ 145771 h 171964"/>
                      <a:gd name="connsiteX11" fmla="*/ 89488 w 134732"/>
                      <a:gd name="connsiteY11" fmla="*/ 133864 h 171964"/>
                      <a:gd name="connsiteX12" fmla="*/ 106157 w 134732"/>
                      <a:gd name="connsiteY12" fmla="*/ 141008 h 171964"/>
                      <a:gd name="connsiteX13" fmla="*/ 125207 w 134732"/>
                      <a:gd name="connsiteY13" fmla="*/ 131483 h 171964"/>
                      <a:gd name="connsiteX14" fmla="*/ 129970 w 134732"/>
                      <a:gd name="connsiteY14" fmla="*/ 119577 h 171964"/>
                      <a:gd name="connsiteX15" fmla="*/ 115682 w 134732"/>
                      <a:gd name="connsiteY15" fmla="*/ 102908 h 171964"/>
                      <a:gd name="connsiteX16" fmla="*/ 125670 w 134732"/>
                      <a:gd name="connsiteY16" fmla="*/ 107285 h 171964"/>
                      <a:gd name="connsiteX17" fmla="*/ 129970 w 134732"/>
                      <a:gd name="connsiteY17" fmla="*/ 112433 h 171964"/>
                      <a:gd name="connsiteX18" fmla="*/ 134166 w 134732"/>
                      <a:gd name="connsiteY18" fmla="*/ 116347 h 171964"/>
                      <a:gd name="connsiteX19" fmla="*/ 134732 w 134732"/>
                      <a:gd name="connsiteY19" fmla="*/ 126721 h 171964"/>
                      <a:gd name="connsiteX20" fmla="*/ 118063 w 134732"/>
                      <a:gd name="connsiteY20" fmla="*/ 141008 h 171964"/>
                      <a:gd name="connsiteX21" fmla="*/ 96632 w 134732"/>
                      <a:gd name="connsiteY21" fmla="*/ 148152 h 171964"/>
                      <a:gd name="connsiteX22" fmla="*/ 82345 w 134732"/>
                      <a:gd name="connsiteY22" fmla="*/ 152914 h 171964"/>
                      <a:gd name="connsiteX23" fmla="*/ 63295 w 134732"/>
                      <a:gd name="connsiteY23" fmla="*/ 164821 h 171964"/>
                      <a:gd name="connsiteX24" fmla="*/ 44245 w 134732"/>
                      <a:gd name="connsiteY24" fmla="*/ 171964 h 171964"/>
                      <a:gd name="connsiteX25" fmla="*/ 27576 w 134732"/>
                      <a:gd name="connsiteY25" fmla="*/ 162439 h 171964"/>
                      <a:gd name="connsiteX26" fmla="*/ 20265 w 134732"/>
                      <a:gd name="connsiteY26" fmla="*/ 155887 h 171964"/>
                      <a:gd name="connsiteX27" fmla="*/ 15167 w 134732"/>
                      <a:gd name="connsiteY27" fmla="*/ 155038 h 171964"/>
                      <a:gd name="connsiteX28" fmla="*/ 7162 w 134732"/>
                      <a:gd name="connsiteY28" fmla="*/ 147355 h 171964"/>
                      <a:gd name="connsiteX29" fmla="*/ 1382 w 134732"/>
                      <a:gd name="connsiteY29" fmla="*/ 137598 h 171964"/>
                      <a:gd name="connsiteX30" fmla="*/ 159 w 134732"/>
                      <a:gd name="connsiteY30" fmla="*/ 134264 h 171964"/>
                      <a:gd name="connsiteX31" fmla="*/ 8526 w 134732"/>
                      <a:gd name="connsiteY31" fmla="*/ 121958 h 171964"/>
                      <a:gd name="connsiteX32" fmla="*/ 20432 w 134732"/>
                      <a:gd name="connsiteY32" fmla="*/ 102908 h 171964"/>
                      <a:gd name="connsiteX33" fmla="*/ 25426 w 134732"/>
                      <a:gd name="connsiteY33" fmla="*/ 88313 h 171964"/>
                      <a:gd name="connsiteX34" fmla="*/ 25311 w 134732"/>
                      <a:gd name="connsiteY34" fmla="*/ 72286 h 171964"/>
                      <a:gd name="connsiteX35" fmla="*/ 23161 w 134732"/>
                      <a:gd name="connsiteY35" fmla="*/ 29129 h 171964"/>
                      <a:gd name="connsiteX36" fmla="*/ 22594 w 134732"/>
                      <a:gd name="connsiteY36" fmla="*/ 16669 h 171964"/>
                      <a:gd name="connsiteX37" fmla="*/ 4188 w 134732"/>
                      <a:gd name="connsiteY37" fmla="*/ 0 h 171964"/>
                      <a:gd name="connsiteX0" fmla="*/ 3763 w 134307"/>
                      <a:gd name="connsiteY0" fmla="*/ 0 h 171964"/>
                      <a:gd name="connsiteX1" fmla="*/ 26134 w 134307"/>
                      <a:gd name="connsiteY1" fmla="*/ 13837 h 171964"/>
                      <a:gd name="connsiteX2" fmla="*/ 27833 w 134307"/>
                      <a:gd name="connsiteY2" fmla="*/ 25164 h 171964"/>
                      <a:gd name="connsiteX3" fmla="*/ 27151 w 134307"/>
                      <a:gd name="connsiteY3" fmla="*/ 43377 h 171964"/>
                      <a:gd name="connsiteX4" fmla="*/ 29532 w 134307"/>
                      <a:gd name="connsiteY4" fmla="*/ 88621 h 171964"/>
                      <a:gd name="connsiteX5" fmla="*/ 20007 w 134307"/>
                      <a:gd name="connsiteY5" fmla="*/ 112433 h 171964"/>
                      <a:gd name="connsiteX6" fmla="*/ 17626 w 134307"/>
                      <a:gd name="connsiteY6" fmla="*/ 133864 h 171964"/>
                      <a:gd name="connsiteX7" fmla="*/ 29532 w 134307"/>
                      <a:gd name="connsiteY7" fmla="*/ 150533 h 171964"/>
                      <a:gd name="connsiteX8" fmla="*/ 46793 w 134307"/>
                      <a:gd name="connsiteY8" fmla="*/ 163289 h 171964"/>
                      <a:gd name="connsiteX9" fmla="*/ 58107 w 134307"/>
                      <a:gd name="connsiteY9" fmla="*/ 160058 h 171964"/>
                      <a:gd name="connsiteX10" fmla="*/ 72395 w 134307"/>
                      <a:gd name="connsiteY10" fmla="*/ 145771 h 171964"/>
                      <a:gd name="connsiteX11" fmla="*/ 89063 w 134307"/>
                      <a:gd name="connsiteY11" fmla="*/ 133864 h 171964"/>
                      <a:gd name="connsiteX12" fmla="*/ 105732 w 134307"/>
                      <a:gd name="connsiteY12" fmla="*/ 141008 h 171964"/>
                      <a:gd name="connsiteX13" fmla="*/ 124782 w 134307"/>
                      <a:gd name="connsiteY13" fmla="*/ 131483 h 171964"/>
                      <a:gd name="connsiteX14" fmla="*/ 129545 w 134307"/>
                      <a:gd name="connsiteY14" fmla="*/ 119577 h 171964"/>
                      <a:gd name="connsiteX15" fmla="*/ 115257 w 134307"/>
                      <a:gd name="connsiteY15" fmla="*/ 102908 h 171964"/>
                      <a:gd name="connsiteX16" fmla="*/ 125245 w 134307"/>
                      <a:gd name="connsiteY16" fmla="*/ 107285 h 171964"/>
                      <a:gd name="connsiteX17" fmla="*/ 129545 w 134307"/>
                      <a:gd name="connsiteY17" fmla="*/ 112433 h 171964"/>
                      <a:gd name="connsiteX18" fmla="*/ 133741 w 134307"/>
                      <a:gd name="connsiteY18" fmla="*/ 116347 h 171964"/>
                      <a:gd name="connsiteX19" fmla="*/ 134307 w 134307"/>
                      <a:gd name="connsiteY19" fmla="*/ 126721 h 171964"/>
                      <a:gd name="connsiteX20" fmla="*/ 117638 w 134307"/>
                      <a:gd name="connsiteY20" fmla="*/ 141008 h 171964"/>
                      <a:gd name="connsiteX21" fmla="*/ 96207 w 134307"/>
                      <a:gd name="connsiteY21" fmla="*/ 148152 h 171964"/>
                      <a:gd name="connsiteX22" fmla="*/ 81920 w 134307"/>
                      <a:gd name="connsiteY22" fmla="*/ 152914 h 171964"/>
                      <a:gd name="connsiteX23" fmla="*/ 62870 w 134307"/>
                      <a:gd name="connsiteY23" fmla="*/ 164821 h 171964"/>
                      <a:gd name="connsiteX24" fmla="*/ 43820 w 134307"/>
                      <a:gd name="connsiteY24" fmla="*/ 171964 h 171964"/>
                      <a:gd name="connsiteX25" fmla="*/ 27151 w 134307"/>
                      <a:gd name="connsiteY25" fmla="*/ 162439 h 171964"/>
                      <a:gd name="connsiteX26" fmla="*/ 19840 w 134307"/>
                      <a:gd name="connsiteY26" fmla="*/ 155887 h 171964"/>
                      <a:gd name="connsiteX27" fmla="*/ 14742 w 134307"/>
                      <a:gd name="connsiteY27" fmla="*/ 155038 h 171964"/>
                      <a:gd name="connsiteX28" fmla="*/ 6737 w 134307"/>
                      <a:gd name="connsiteY28" fmla="*/ 147355 h 171964"/>
                      <a:gd name="connsiteX29" fmla="*/ 957 w 134307"/>
                      <a:gd name="connsiteY29" fmla="*/ 137598 h 171964"/>
                      <a:gd name="connsiteX30" fmla="*/ 159 w 134307"/>
                      <a:gd name="connsiteY30" fmla="*/ 134264 h 171964"/>
                      <a:gd name="connsiteX31" fmla="*/ 8101 w 134307"/>
                      <a:gd name="connsiteY31" fmla="*/ 121958 h 171964"/>
                      <a:gd name="connsiteX32" fmla="*/ 20007 w 134307"/>
                      <a:gd name="connsiteY32" fmla="*/ 102908 h 171964"/>
                      <a:gd name="connsiteX33" fmla="*/ 25001 w 134307"/>
                      <a:gd name="connsiteY33" fmla="*/ 88313 h 171964"/>
                      <a:gd name="connsiteX34" fmla="*/ 24886 w 134307"/>
                      <a:gd name="connsiteY34" fmla="*/ 72286 h 171964"/>
                      <a:gd name="connsiteX35" fmla="*/ 22736 w 134307"/>
                      <a:gd name="connsiteY35" fmla="*/ 29129 h 171964"/>
                      <a:gd name="connsiteX36" fmla="*/ 22169 w 134307"/>
                      <a:gd name="connsiteY36" fmla="*/ 16669 h 171964"/>
                      <a:gd name="connsiteX37" fmla="*/ 3763 w 134307"/>
                      <a:gd name="connsiteY37" fmla="*/ 0 h 171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34307" h="171964">
                        <a:moveTo>
                          <a:pt x="3763" y="0"/>
                        </a:moveTo>
                        <a:lnTo>
                          <a:pt x="26134" y="13837"/>
                        </a:lnTo>
                        <a:lnTo>
                          <a:pt x="27833" y="25164"/>
                        </a:lnTo>
                        <a:cubicBezTo>
                          <a:pt x="27606" y="31235"/>
                          <a:pt x="27378" y="37306"/>
                          <a:pt x="27151" y="43377"/>
                        </a:cubicBezTo>
                        <a:lnTo>
                          <a:pt x="29532" y="88621"/>
                        </a:lnTo>
                        <a:lnTo>
                          <a:pt x="20007" y="112433"/>
                        </a:lnTo>
                        <a:lnTo>
                          <a:pt x="17626" y="133864"/>
                        </a:lnTo>
                        <a:lnTo>
                          <a:pt x="29532" y="150533"/>
                        </a:lnTo>
                        <a:cubicBezTo>
                          <a:pt x="44480" y="160498"/>
                          <a:pt x="32351" y="150937"/>
                          <a:pt x="46793" y="163289"/>
                        </a:cubicBezTo>
                        <a:cubicBezTo>
                          <a:pt x="50564" y="162212"/>
                          <a:pt x="51363" y="163684"/>
                          <a:pt x="58107" y="160058"/>
                        </a:cubicBezTo>
                        <a:lnTo>
                          <a:pt x="72395" y="145771"/>
                        </a:lnTo>
                        <a:lnTo>
                          <a:pt x="89063" y="133864"/>
                        </a:lnTo>
                        <a:lnTo>
                          <a:pt x="105732" y="141008"/>
                        </a:lnTo>
                        <a:lnTo>
                          <a:pt x="124782" y="131483"/>
                        </a:lnTo>
                        <a:lnTo>
                          <a:pt x="129545" y="119577"/>
                        </a:lnTo>
                        <a:lnTo>
                          <a:pt x="115257" y="102908"/>
                        </a:lnTo>
                        <a:lnTo>
                          <a:pt x="125245" y="107285"/>
                        </a:lnTo>
                        <a:lnTo>
                          <a:pt x="129545" y="112433"/>
                        </a:lnTo>
                        <a:lnTo>
                          <a:pt x="133741" y="116347"/>
                        </a:lnTo>
                        <a:cubicBezTo>
                          <a:pt x="133930" y="119805"/>
                          <a:pt x="134118" y="123263"/>
                          <a:pt x="134307" y="126721"/>
                        </a:cubicBezTo>
                        <a:lnTo>
                          <a:pt x="117638" y="141008"/>
                        </a:lnTo>
                        <a:lnTo>
                          <a:pt x="96207" y="148152"/>
                        </a:lnTo>
                        <a:lnTo>
                          <a:pt x="81920" y="152914"/>
                        </a:lnTo>
                        <a:lnTo>
                          <a:pt x="62870" y="164821"/>
                        </a:lnTo>
                        <a:lnTo>
                          <a:pt x="43820" y="171964"/>
                        </a:lnTo>
                        <a:lnTo>
                          <a:pt x="27151" y="162439"/>
                        </a:lnTo>
                        <a:lnTo>
                          <a:pt x="19840" y="155887"/>
                        </a:lnTo>
                        <a:lnTo>
                          <a:pt x="14742" y="155038"/>
                        </a:lnTo>
                        <a:cubicBezTo>
                          <a:pt x="10600" y="149463"/>
                          <a:pt x="9034" y="150262"/>
                          <a:pt x="6737" y="147355"/>
                        </a:cubicBezTo>
                        <a:cubicBezTo>
                          <a:pt x="4440" y="144448"/>
                          <a:pt x="2077" y="140795"/>
                          <a:pt x="957" y="137598"/>
                        </a:cubicBezTo>
                        <a:cubicBezTo>
                          <a:pt x="1116" y="135496"/>
                          <a:pt x="0" y="136366"/>
                          <a:pt x="159" y="134264"/>
                        </a:cubicBezTo>
                        <a:lnTo>
                          <a:pt x="8101" y="121958"/>
                        </a:lnTo>
                        <a:lnTo>
                          <a:pt x="20007" y="102908"/>
                        </a:lnTo>
                        <a:lnTo>
                          <a:pt x="25001" y="88313"/>
                        </a:lnTo>
                        <a:cubicBezTo>
                          <a:pt x="24963" y="82971"/>
                          <a:pt x="24924" y="77628"/>
                          <a:pt x="24886" y="72286"/>
                        </a:cubicBezTo>
                        <a:lnTo>
                          <a:pt x="22736" y="29129"/>
                        </a:lnTo>
                        <a:lnTo>
                          <a:pt x="22169" y="16669"/>
                        </a:lnTo>
                        <a:lnTo>
                          <a:pt x="3763"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39" name="Freeform 250">
                    <a:extLst>
                      <a:ext uri="{FF2B5EF4-FFF2-40B4-BE49-F238E27FC236}">
                        <a16:creationId xmlns:a16="http://schemas.microsoft.com/office/drawing/2014/main" id="{E3385E58-CBDA-49C0-88D6-65E091BD3393}"/>
                      </a:ext>
                    </a:extLst>
                  </p:cNvPr>
                  <p:cNvSpPr/>
                  <p:nvPr/>
                </p:nvSpPr>
                <p:spPr>
                  <a:xfrm>
                    <a:off x="4622333" y="983409"/>
                    <a:ext cx="192494" cy="80925"/>
                  </a:xfrm>
                  <a:custGeom>
                    <a:avLst/>
                    <a:gdLst>
                      <a:gd name="connsiteX0" fmla="*/ 6350 w 1020827"/>
                      <a:gd name="connsiteY0" fmla="*/ 178265 h 445515"/>
                      <a:gd name="connsiteX1" fmla="*/ 101600 w 1020827"/>
                      <a:gd name="connsiteY1" fmla="*/ 181440 h 445515"/>
                      <a:gd name="connsiteX2" fmla="*/ 98425 w 1020827"/>
                      <a:gd name="connsiteY2" fmla="*/ 181440 h 445515"/>
                      <a:gd name="connsiteX3" fmla="*/ 304800 w 1020827"/>
                      <a:gd name="connsiteY3" fmla="*/ 159215 h 445515"/>
                      <a:gd name="connsiteX4" fmla="*/ 577850 w 1020827"/>
                      <a:gd name="connsiteY4" fmla="*/ 108415 h 445515"/>
                      <a:gd name="connsiteX5" fmla="*/ 790575 w 1020827"/>
                      <a:gd name="connsiteY5" fmla="*/ 57615 h 445515"/>
                      <a:gd name="connsiteX6" fmla="*/ 955675 w 1020827"/>
                      <a:gd name="connsiteY6" fmla="*/ 32215 h 445515"/>
                      <a:gd name="connsiteX7" fmla="*/ 1012825 w 1020827"/>
                      <a:gd name="connsiteY7" fmla="*/ 22690 h 445515"/>
                      <a:gd name="connsiteX8" fmla="*/ 993775 w 1020827"/>
                      <a:gd name="connsiteY8" fmla="*/ 92540 h 445515"/>
                      <a:gd name="connsiteX9" fmla="*/ 822325 w 1020827"/>
                      <a:gd name="connsiteY9" fmla="*/ 273515 h 445515"/>
                      <a:gd name="connsiteX10" fmla="*/ 806450 w 1020827"/>
                      <a:gd name="connsiteY10" fmla="*/ 276690 h 445515"/>
                      <a:gd name="connsiteX11" fmla="*/ 447675 w 1020827"/>
                      <a:gd name="connsiteY11" fmla="*/ 419565 h 445515"/>
                      <a:gd name="connsiteX12" fmla="*/ 434975 w 1020827"/>
                      <a:gd name="connsiteY12" fmla="*/ 425915 h 445515"/>
                      <a:gd name="connsiteX13" fmla="*/ 196850 w 1020827"/>
                      <a:gd name="connsiteY13" fmla="*/ 444965 h 445515"/>
                      <a:gd name="connsiteX14" fmla="*/ 73025 w 1020827"/>
                      <a:gd name="connsiteY14" fmla="*/ 356065 h 445515"/>
                      <a:gd name="connsiteX15" fmla="*/ 0 w 1020827"/>
                      <a:gd name="connsiteY15" fmla="*/ 241765 h 445515"/>
                      <a:gd name="connsiteX16" fmla="*/ 6350 w 1020827"/>
                      <a:gd name="connsiteY16" fmla="*/ 178265 h 445515"/>
                      <a:gd name="connsiteX0" fmla="*/ 6350 w 1013858"/>
                      <a:gd name="connsiteY0" fmla="*/ 178265 h 445515"/>
                      <a:gd name="connsiteX1" fmla="*/ 101600 w 1013858"/>
                      <a:gd name="connsiteY1" fmla="*/ 181440 h 445515"/>
                      <a:gd name="connsiteX2" fmla="*/ 98425 w 1013858"/>
                      <a:gd name="connsiteY2" fmla="*/ 181440 h 445515"/>
                      <a:gd name="connsiteX3" fmla="*/ 304800 w 1013858"/>
                      <a:gd name="connsiteY3" fmla="*/ 159215 h 445515"/>
                      <a:gd name="connsiteX4" fmla="*/ 577850 w 1013858"/>
                      <a:gd name="connsiteY4" fmla="*/ 108415 h 445515"/>
                      <a:gd name="connsiteX5" fmla="*/ 790575 w 1013858"/>
                      <a:gd name="connsiteY5" fmla="*/ 57615 h 445515"/>
                      <a:gd name="connsiteX6" fmla="*/ 955675 w 1013858"/>
                      <a:gd name="connsiteY6" fmla="*/ 32215 h 445515"/>
                      <a:gd name="connsiteX7" fmla="*/ 1012825 w 1013858"/>
                      <a:gd name="connsiteY7" fmla="*/ 22690 h 445515"/>
                      <a:gd name="connsiteX8" fmla="*/ 993775 w 1013858"/>
                      <a:gd name="connsiteY8" fmla="*/ 92540 h 445515"/>
                      <a:gd name="connsiteX9" fmla="*/ 822325 w 1013858"/>
                      <a:gd name="connsiteY9" fmla="*/ 273515 h 445515"/>
                      <a:gd name="connsiteX10" fmla="*/ 806450 w 1013858"/>
                      <a:gd name="connsiteY10" fmla="*/ 276690 h 445515"/>
                      <a:gd name="connsiteX11" fmla="*/ 447675 w 1013858"/>
                      <a:gd name="connsiteY11" fmla="*/ 419565 h 445515"/>
                      <a:gd name="connsiteX12" fmla="*/ 434975 w 1013858"/>
                      <a:gd name="connsiteY12" fmla="*/ 425915 h 445515"/>
                      <a:gd name="connsiteX13" fmla="*/ 196850 w 1013858"/>
                      <a:gd name="connsiteY13" fmla="*/ 444965 h 445515"/>
                      <a:gd name="connsiteX14" fmla="*/ 73025 w 1013858"/>
                      <a:gd name="connsiteY14" fmla="*/ 356065 h 445515"/>
                      <a:gd name="connsiteX15" fmla="*/ 0 w 1013858"/>
                      <a:gd name="connsiteY15" fmla="*/ 241765 h 445515"/>
                      <a:gd name="connsiteX16" fmla="*/ 6350 w 1013858"/>
                      <a:gd name="connsiteY16" fmla="*/ 178265 h 445515"/>
                      <a:gd name="connsiteX0" fmla="*/ 6350 w 1013858"/>
                      <a:gd name="connsiteY0" fmla="*/ 178265 h 445515"/>
                      <a:gd name="connsiteX1" fmla="*/ 101600 w 1013858"/>
                      <a:gd name="connsiteY1" fmla="*/ 181440 h 445515"/>
                      <a:gd name="connsiteX2" fmla="*/ 98425 w 1013858"/>
                      <a:gd name="connsiteY2" fmla="*/ 181440 h 445515"/>
                      <a:gd name="connsiteX3" fmla="*/ 304800 w 1013858"/>
                      <a:gd name="connsiteY3" fmla="*/ 159215 h 445515"/>
                      <a:gd name="connsiteX4" fmla="*/ 577850 w 1013858"/>
                      <a:gd name="connsiteY4" fmla="*/ 108415 h 445515"/>
                      <a:gd name="connsiteX5" fmla="*/ 790575 w 1013858"/>
                      <a:gd name="connsiteY5" fmla="*/ 57615 h 445515"/>
                      <a:gd name="connsiteX6" fmla="*/ 955675 w 1013858"/>
                      <a:gd name="connsiteY6" fmla="*/ 32215 h 445515"/>
                      <a:gd name="connsiteX7" fmla="*/ 1012825 w 1013858"/>
                      <a:gd name="connsiteY7" fmla="*/ 22690 h 445515"/>
                      <a:gd name="connsiteX8" fmla="*/ 993775 w 1013858"/>
                      <a:gd name="connsiteY8" fmla="*/ 92540 h 445515"/>
                      <a:gd name="connsiteX9" fmla="*/ 822325 w 1013858"/>
                      <a:gd name="connsiteY9" fmla="*/ 273515 h 445515"/>
                      <a:gd name="connsiteX10" fmla="*/ 806450 w 1013858"/>
                      <a:gd name="connsiteY10" fmla="*/ 276690 h 445515"/>
                      <a:gd name="connsiteX11" fmla="*/ 447675 w 1013858"/>
                      <a:gd name="connsiteY11" fmla="*/ 419565 h 445515"/>
                      <a:gd name="connsiteX12" fmla="*/ 434975 w 1013858"/>
                      <a:gd name="connsiteY12" fmla="*/ 425915 h 445515"/>
                      <a:gd name="connsiteX13" fmla="*/ 196850 w 1013858"/>
                      <a:gd name="connsiteY13" fmla="*/ 444965 h 445515"/>
                      <a:gd name="connsiteX14" fmla="*/ 73025 w 1013858"/>
                      <a:gd name="connsiteY14" fmla="*/ 356065 h 445515"/>
                      <a:gd name="connsiteX15" fmla="*/ 0 w 1013858"/>
                      <a:gd name="connsiteY15" fmla="*/ 241765 h 445515"/>
                      <a:gd name="connsiteX16" fmla="*/ 6350 w 1013858"/>
                      <a:gd name="connsiteY16" fmla="*/ 178265 h 445515"/>
                      <a:gd name="connsiteX0" fmla="*/ 6350 w 1013858"/>
                      <a:gd name="connsiteY0" fmla="*/ 158980 h 426230"/>
                      <a:gd name="connsiteX1" fmla="*/ 101600 w 1013858"/>
                      <a:gd name="connsiteY1" fmla="*/ 162155 h 426230"/>
                      <a:gd name="connsiteX2" fmla="*/ 98425 w 1013858"/>
                      <a:gd name="connsiteY2" fmla="*/ 162155 h 426230"/>
                      <a:gd name="connsiteX3" fmla="*/ 304800 w 1013858"/>
                      <a:gd name="connsiteY3" fmla="*/ 139930 h 426230"/>
                      <a:gd name="connsiteX4" fmla="*/ 577850 w 1013858"/>
                      <a:gd name="connsiteY4" fmla="*/ 89130 h 426230"/>
                      <a:gd name="connsiteX5" fmla="*/ 790575 w 1013858"/>
                      <a:gd name="connsiteY5" fmla="*/ 38330 h 426230"/>
                      <a:gd name="connsiteX6" fmla="*/ 955675 w 1013858"/>
                      <a:gd name="connsiteY6" fmla="*/ 12930 h 426230"/>
                      <a:gd name="connsiteX7" fmla="*/ 1012825 w 1013858"/>
                      <a:gd name="connsiteY7" fmla="*/ 3405 h 426230"/>
                      <a:gd name="connsiteX8" fmla="*/ 993775 w 1013858"/>
                      <a:gd name="connsiteY8" fmla="*/ 73255 h 426230"/>
                      <a:gd name="connsiteX9" fmla="*/ 822325 w 1013858"/>
                      <a:gd name="connsiteY9" fmla="*/ 254230 h 426230"/>
                      <a:gd name="connsiteX10" fmla="*/ 806450 w 1013858"/>
                      <a:gd name="connsiteY10" fmla="*/ 257405 h 426230"/>
                      <a:gd name="connsiteX11" fmla="*/ 447675 w 1013858"/>
                      <a:gd name="connsiteY11" fmla="*/ 400280 h 426230"/>
                      <a:gd name="connsiteX12" fmla="*/ 434975 w 1013858"/>
                      <a:gd name="connsiteY12" fmla="*/ 406630 h 426230"/>
                      <a:gd name="connsiteX13" fmla="*/ 196850 w 1013858"/>
                      <a:gd name="connsiteY13" fmla="*/ 425680 h 426230"/>
                      <a:gd name="connsiteX14" fmla="*/ 73025 w 1013858"/>
                      <a:gd name="connsiteY14" fmla="*/ 336780 h 426230"/>
                      <a:gd name="connsiteX15" fmla="*/ 0 w 1013858"/>
                      <a:gd name="connsiteY15" fmla="*/ 222480 h 426230"/>
                      <a:gd name="connsiteX16" fmla="*/ 6350 w 1013858"/>
                      <a:gd name="connsiteY16" fmla="*/ 158980 h 426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13858" h="426230">
                        <a:moveTo>
                          <a:pt x="6350" y="158980"/>
                        </a:moveTo>
                        <a:lnTo>
                          <a:pt x="101600" y="162155"/>
                        </a:lnTo>
                        <a:cubicBezTo>
                          <a:pt x="102658" y="162191"/>
                          <a:pt x="99483" y="162155"/>
                          <a:pt x="98425" y="162155"/>
                        </a:cubicBezTo>
                        <a:cubicBezTo>
                          <a:pt x="167204" y="154632"/>
                          <a:pt x="235611" y="139930"/>
                          <a:pt x="304800" y="139930"/>
                        </a:cubicBezTo>
                        <a:lnTo>
                          <a:pt x="577850" y="89130"/>
                        </a:lnTo>
                        <a:lnTo>
                          <a:pt x="790575" y="38330"/>
                        </a:lnTo>
                        <a:lnTo>
                          <a:pt x="955675" y="12930"/>
                        </a:lnTo>
                        <a:cubicBezTo>
                          <a:pt x="1013858" y="0"/>
                          <a:pt x="981869" y="11671"/>
                          <a:pt x="1012825" y="3405"/>
                        </a:cubicBezTo>
                        <a:cubicBezTo>
                          <a:pt x="996715" y="74287"/>
                          <a:pt x="994633" y="39917"/>
                          <a:pt x="993775" y="73255"/>
                        </a:cubicBezTo>
                        <a:cubicBezTo>
                          <a:pt x="936625" y="133580"/>
                          <a:pt x="881584" y="195975"/>
                          <a:pt x="822325" y="254230"/>
                        </a:cubicBezTo>
                        <a:cubicBezTo>
                          <a:pt x="818477" y="258013"/>
                          <a:pt x="806450" y="257405"/>
                          <a:pt x="806450" y="257405"/>
                        </a:cubicBezTo>
                        <a:lnTo>
                          <a:pt x="447675" y="400280"/>
                        </a:lnTo>
                        <a:cubicBezTo>
                          <a:pt x="443283" y="402044"/>
                          <a:pt x="434975" y="406630"/>
                          <a:pt x="434975" y="406630"/>
                        </a:cubicBezTo>
                        <a:cubicBezTo>
                          <a:pt x="209574" y="426230"/>
                          <a:pt x="289201" y="425680"/>
                          <a:pt x="196850" y="425680"/>
                        </a:cubicBezTo>
                        <a:cubicBezTo>
                          <a:pt x="74247" y="341794"/>
                          <a:pt x="97992" y="386715"/>
                          <a:pt x="73025" y="336780"/>
                        </a:cubicBezTo>
                        <a:lnTo>
                          <a:pt x="0" y="222480"/>
                        </a:lnTo>
                        <a:lnTo>
                          <a:pt x="6350" y="15898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40" name="Freeform 251">
                    <a:extLst>
                      <a:ext uri="{FF2B5EF4-FFF2-40B4-BE49-F238E27FC236}">
                        <a16:creationId xmlns:a16="http://schemas.microsoft.com/office/drawing/2014/main" id="{D19A83F1-DE73-49F5-B290-AB9ED44BEC6A}"/>
                      </a:ext>
                    </a:extLst>
                  </p:cNvPr>
                  <p:cNvSpPr/>
                  <p:nvPr/>
                </p:nvSpPr>
                <p:spPr>
                  <a:xfrm>
                    <a:off x="4615199" y="984659"/>
                    <a:ext cx="198828" cy="108507"/>
                  </a:xfrm>
                  <a:custGeom>
                    <a:avLst/>
                    <a:gdLst>
                      <a:gd name="connsiteX0" fmla="*/ 0 w 1047750"/>
                      <a:gd name="connsiteY0" fmla="*/ 174625 h 571500"/>
                      <a:gd name="connsiteX1" fmla="*/ 47625 w 1047750"/>
                      <a:gd name="connsiteY1" fmla="*/ 266700 h 571500"/>
                      <a:gd name="connsiteX2" fmla="*/ 76200 w 1047750"/>
                      <a:gd name="connsiteY2" fmla="*/ 346075 h 571500"/>
                      <a:gd name="connsiteX3" fmla="*/ 120650 w 1047750"/>
                      <a:gd name="connsiteY3" fmla="*/ 431800 h 571500"/>
                      <a:gd name="connsiteX4" fmla="*/ 177800 w 1047750"/>
                      <a:gd name="connsiteY4" fmla="*/ 498475 h 571500"/>
                      <a:gd name="connsiteX5" fmla="*/ 282575 w 1047750"/>
                      <a:gd name="connsiteY5" fmla="*/ 546100 h 571500"/>
                      <a:gd name="connsiteX6" fmla="*/ 438150 w 1047750"/>
                      <a:gd name="connsiteY6" fmla="*/ 571500 h 571500"/>
                      <a:gd name="connsiteX7" fmla="*/ 590550 w 1047750"/>
                      <a:gd name="connsiteY7" fmla="*/ 530225 h 571500"/>
                      <a:gd name="connsiteX8" fmla="*/ 730250 w 1047750"/>
                      <a:gd name="connsiteY8" fmla="*/ 450850 h 571500"/>
                      <a:gd name="connsiteX9" fmla="*/ 850900 w 1047750"/>
                      <a:gd name="connsiteY9" fmla="*/ 336550 h 571500"/>
                      <a:gd name="connsiteX10" fmla="*/ 917575 w 1047750"/>
                      <a:gd name="connsiteY10" fmla="*/ 241300 h 571500"/>
                      <a:gd name="connsiteX11" fmla="*/ 993775 w 1047750"/>
                      <a:gd name="connsiteY11" fmla="*/ 155575 h 571500"/>
                      <a:gd name="connsiteX12" fmla="*/ 1025525 w 1047750"/>
                      <a:gd name="connsiteY12" fmla="*/ 92075 h 571500"/>
                      <a:gd name="connsiteX13" fmla="*/ 1047750 w 1047750"/>
                      <a:gd name="connsiteY13" fmla="*/ 41275 h 571500"/>
                      <a:gd name="connsiteX14" fmla="*/ 1047750 w 1047750"/>
                      <a:gd name="connsiteY14" fmla="*/ 0 h 571500"/>
                      <a:gd name="connsiteX15" fmla="*/ 1016000 w 1047750"/>
                      <a:gd name="connsiteY15" fmla="*/ 63500 h 571500"/>
                      <a:gd name="connsiteX16" fmla="*/ 955675 w 1047750"/>
                      <a:gd name="connsiteY16" fmla="*/ 149225 h 571500"/>
                      <a:gd name="connsiteX17" fmla="*/ 777875 w 1047750"/>
                      <a:gd name="connsiteY17" fmla="*/ 238125 h 571500"/>
                      <a:gd name="connsiteX18" fmla="*/ 679450 w 1047750"/>
                      <a:gd name="connsiteY18" fmla="*/ 263525 h 571500"/>
                      <a:gd name="connsiteX19" fmla="*/ 574675 w 1047750"/>
                      <a:gd name="connsiteY19" fmla="*/ 301625 h 571500"/>
                      <a:gd name="connsiteX20" fmla="*/ 501650 w 1047750"/>
                      <a:gd name="connsiteY20" fmla="*/ 342900 h 571500"/>
                      <a:gd name="connsiteX21" fmla="*/ 431800 w 1047750"/>
                      <a:gd name="connsiteY21" fmla="*/ 365125 h 571500"/>
                      <a:gd name="connsiteX22" fmla="*/ 352425 w 1047750"/>
                      <a:gd name="connsiteY22" fmla="*/ 365125 h 571500"/>
                      <a:gd name="connsiteX23" fmla="*/ 266700 w 1047750"/>
                      <a:gd name="connsiteY23" fmla="*/ 352425 h 571500"/>
                      <a:gd name="connsiteX24" fmla="*/ 180975 w 1047750"/>
                      <a:gd name="connsiteY24" fmla="*/ 314325 h 571500"/>
                      <a:gd name="connsiteX25" fmla="*/ 104775 w 1047750"/>
                      <a:gd name="connsiteY25" fmla="*/ 257175 h 571500"/>
                      <a:gd name="connsiteX26" fmla="*/ 60325 w 1047750"/>
                      <a:gd name="connsiteY26" fmla="*/ 206375 h 571500"/>
                      <a:gd name="connsiteX27" fmla="*/ 0 w 1047750"/>
                      <a:gd name="connsiteY27" fmla="*/ 174625 h 571500"/>
                      <a:gd name="connsiteX0" fmla="*/ 0 w 1047750"/>
                      <a:gd name="connsiteY0" fmla="*/ 174625 h 571500"/>
                      <a:gd name="connsiteX1" fmla="*/ 47625 w 1047750"/>
                      <a:gd name="connsiteY1" fmla="*/ 266700 h 571500"/>
                      <a:gd name="connsiteX2" fmla="*/ 76200 w 1047750"/>
                      <a:gd name="connsiteY2" fmla="*/ 346075 h 571500"/>
                      <a:gd name="connsiteX3" fmla="*/ 120650 w 1047750"/>
                      <a:gd name="connsiteY3" fmla="*/ 431800 h 571500"/>
                      <a:gd name="connsiteX4" fmla="*/ 177800 w 1047750"/>
                      <a:gd name="connsiteY4" fmla="*/ 498475 h 571500"/>
                      <a:gd name="connsiteX5" fmla="*/ 282575 w 1047750"/>
                      <a:gd name="connsiteY5" fmla="*/ 546100 h 571500"/>
                      <a:gd name="connsiteX6" fmla="*/ 438150 w 1047750"/>
                      <a:gd name="connsiteY6" fmla="*/ 571500 h 571500"/>
                      <a:gd name="connsiteX7" fmla="*/ 590550 w 1047750"/>
                      <a:gd name="connsiteY7" fmla="*/ 530225 h 571500"/>
                      <a:gd name="connsiteX8" fmla="*/ 730250 w 1047750"/>
                      <a:gd name="connsiteY8" fmla="*/ 450850 h 571500"/>
                      <a:gd name="connsiteX9" fmla="*/ 850900 w 1047750"/>
                      <a:gd name="connsiteY9" fmla="*/ 336550 h 571500"/>
                      <a:gd name="connsiteX10" fmla="*/ 917575 w 1047750"/>
                      <a:gd name="connsiteY10" fmla="*/ 241300 h 571500"/>
                      <a:gd name="connsiteX11" fmla="*/ 993775 w 1047750"/>
                      <a:gd name="connsiteY11" fmla="*/ 155575 h 571500"/>
                      <a:gd name="connsiteX12" fmla="*/ 1025525 w 1047750"/>
                      <a:gd name="connsiteY12" fmla="*/ 92075 h 571500"/>
                      <a:gd name="connsiteX13" fmla="*/ 1047750 w 1047750"/>
                      <a:gd name="connsiteY13" fmla="*/ 41275 h 571500"/>
                      <a:gd name="connsiteX14" fmla="*/ 1047750 w 1047750"/>
                      <a:gd name="connsiteY14" fmla="*/ 0 h 571500"/>
                      <a:gd name="connsiteX15" fmla="*/ 1016000 w 1047750"/>
                      <a:gd name="connsiteY15" fmla="*/ 63500 h 571500"/>
                      <a:gd name="connsiteX16" fmla="*/ 990600 w 1047750"/>
                      <a:gd name="connsiteY16" fmla="*/ 111125 h 571500"/>
                      <a:gd name="connsiteX17" fmla="*/ 955675 w 1047750"/>
                      <a:gd name="connsiteY17" fmla="*/ 149225 h 571500"/>
                      <a:gd name="connsiteX18" fmla="*/ 777875 w 1047750"/>
                      <a:gd name="connsiteY18" fmla="*/ 238125 h 571500"/>
                      <a:gd name="connsiteX19" fmla="*/ 679450 w 1047750"/>
                      <a:gd name="connsiteY19" fmla="*/ 263525 h 571500"/>
                      <a:gd name="connsiteX20" fmla="*/ 574675 w 1047750"/>
                      <a:gd name="connsiteY20" fmla="*/ 301625 h 571500"/>
                      <a:gd name="connsiteX21" fmla="*/ 501650 w 1047750"/>
                      <a:gd name="connsiteY21" fmla="*/ 342900 h 571500"/>
                      <a:gd name="connsiteX22" fmla="*/ 431800 w 1047750"/>
                      <a:gd name="connsiteY22" fmla="*/ 365125 h 571500"/>
                      <a:gd name="connsiteX23" fmla="*/ 352425 w 1047750"/>
                      <a:gd name="connsiteY23" fmla="*/ 365125 h 571500"/>
                      <a:gd name="connsiteX24" fmla="*/ 266700 w 1047750"/>
                      <a:gd name="connsiteY24" fmla="*/ 352425 h 571500"/>
                      <a:gd name="connsiteX25" fmla="*/ 180975 w 1047750"/>
                      <a:gd name="connsiteY25" fmla="*/ 314325 h 571500"/>
                      <a:gd name="connsiteX26" fmla="*/ 104775 w 1047750"/>
                      <a:gd name="connsiteY26" fmla="*/ 257175 h 571500"/>
                      <a:gd name="connsiteX27" fmla="*/ 60325 w 1047750"/>
                      <a:gd name="connsiteY27" fmla="*/ 206375 h 571500"/>
                      <a:gd name="connsiteX28" fmla="*/ 0 w 1047750"/>
                      <a:gd name="connsiteY28" fmla="*/ 174625 h 571500"/>
                      <a:gd name="connsiteX0" fmla="*/ 0 w 1047750"/>
                      <a:gd name="connsiteY0" fmla="*/ 174625 h 571500"/>
                      <a:gd name="connsiteX1" fmla="*/ 47625 w 1047750"/>
                      <a:gd name="connsiteY1" fmla="*/ 266700 h 571500"/>
                      <a:gd name="connsiteX2" fmla="*/ 76200 w 1047750"/>
                      <a:gd name="connsiteY2" fmla="*/ 346075 h 571500"/>
                      <a:gd name="connsiteX3" fmla="*/ 120650 w 1047750"/>
                      <a:gd name="connsiteY3" fmla="*/ 431800 h 571500"/>
                      <a:gd name="connsiteX4" fmla="*/ 174625 w 1047750"/>
                      <a:gd name="connsiteY4" fmla="*/ 495300 h 571500"/>
                      <a:gd name="connsiteX5" fmla="*/ 282575 w 1047750"/>
                      <a:gd name="connsiteY5" fmla="*/ 546100 h 571500"/>
                      <a:gd name="connsiteX6" fmla="*/ 438150 w 1047750"/>
                      <a:gd name="connsiteY6" fmla="*/ 571500 h 571500"/>
                      <a:gd name="connsiteX7" fmla="*/ 590550 w 1047750"/>
                      <a:gd name="connsiteY7" fmla="*/ 530225 h 571500"/>
                      <a:gd name="connsiteX8" fmla="*/ 730250 w 1047750"/>
                      <a:gd name="connsiteY8" fmla="*/ 450850 h 571500"/>
                      <a:gd name="connsiteX9" fmla="*/ 850900 w 1047750"/>
                      <a:gd name="connsiteY9" fmla="*/ 336550 h 571500"/>
                      <a:gd name="connsiteX10" fmla="*/ 917575 w 1047750"/>
                      <a:gd name="connsiteY10" fmla="*/ 241300 h 571500"/>
                      <a:gd name="connsiteX11" fmla="*/ 993775 w 1047750"/>
                      <a:gd name="connsiteY11" fmla="*/ 155575 h 571500"/>
                      <a:gd name="connsiteX12" fmla="*/ 1025525 w 1047750"/>
                      <a:gd name="connsiteY12" fmla="*/ 92075 h 571500"/>
                      <a:gd name="connsiteX13" fmla="*/ 1047750 w 1047750"/>
                      <a:gd name="connsiteY13" fmla="*/ 41275 h 571500"/>
                      <a:gd name="connsiteX14" fmla="*/ 1047750 w 1047750"/>
                      <a:gd name="connsiteY14" fmla="*/ 0 h 571500"/>
                      <a:gd name="connsiteX15" fmla="*/ 1016000 w 1047750"/>
                      <a:gd name="connsiteY15" fmla="*/ 63500 h 571500"/>
                      <a:gd name="connsiteX16" fmla="*/ 990600 w 1047750"/>
                      <a:gd name="connsiteY16" fmla="*/ 111125 h 571500"/>
                      <a:gd name="connsiteX17" fmla="*/ 955675 w 1047750"/>
                      <a:gd name="connsiteY17" fmla="*/ 149225 h 571500"/>
                      <a:gd name="connsiteX18" fmla="*/ 777875 w 1047750"/>
                      <a:gd name="connsiteY18" fmla="*/ 238125 h 571500"/>
                      <a:gd name="connsiteX19" fmla="*/ 679450 w 1047750"/>
                      <a:gd name="connsiteY19" fmla="*/ 263525 h 571500"/>
                      <a:gd name="connsiteX20" fmla="*/ 574675 w 1047750"/>
                      <a:gd name="connsiteY20" fmla="*/ 301625 h 571500"/>
                      <a:gd name="connsiteX21" fmla="*/ 501650 w 1047750"/>
                      <a:gd name="connsiteY21" fmla="*/ 342900 h 571500"/>
                      <a:gd name="connsiteX22" fmla="*/ 431800 w 1047750"/>
                      <a:gd name="connsiteY22" fmla="*/ 365125 h 571500"/>
                      <a:gd name="connsiteX23" fmla="*/ 352425 w 1047750"/>
                      <a:gd name="connsiteY23" fmla="*/ 365125 h 571500"/>
                      <a:gd name="connsiteX24" fmla="*/ 266700 w 1047750"/>
                      <a:gd name="connsiteY24" fmla="*/ 352425 h 571500"/>
                      <a:gd name="connsiteX25" fmla="*/ 180975 w 1047750"/>
                      <a:gd name="connsiteY25" fmla="*/ 314325 h 571500"/>
                      <a:gd name="connsiteX26" fmla="*/ 104775 w 1047750"/>
                      <a:gd name="connsiteY26" fmla="*/ 257175 h 571500"/>
                      <a:gd name="connsiteX27" fmla="*/ 60325 w 1047750"/>
                      <a:gd name="connsiteY27" fmla="*/ 206375 h 571500"/>
                      <a:gd name="connsiteX28" fmla="*/ 0 w 1047750"/>
                      <a:gd name="connsiteY28" fmla="*/ 174625 h 571500"/>
                      <a:gd name="connsiteX0" fmla="*/ 0 w 1047750"/>
                      <a:gd name="connsiteY0" fmla="*/ 174625 h 571500"/>
                      <a:gd name="connsiteX1" fmla="*/ 47625 w 1047750"/>
                      <a:gd name="connsiteY1" fmla="*/ 266700 h 571500"/>
                      <a:gd name="connsiteX2" fmla="*/ 76200 w 1047750"/>
                      <a:gd name="connsiteY2" fmla="*/ 346075 h 571500"/>
                      <a:gd name="connsiteX3" fmla="*/ 120650 w 1047750"/>
                      <a:gd name="connsiteY3" fmla="*/ 431800 h 571500"/>
                      <a:gd name="connsiteX4" fmla="*/ 174625 w 1047750"/>
                      <a:gd name="connsiteY4" fmla="*/ 495300 h 571500"/>
                      <a:gd name="connsiteX5" fmla="*/ 282575 w 1047750"/>
                      <a:gd name="connsiteY5" fmla="*/ 546100 h 571500"/>
                      <a:gd name="connsiteX6" fmla="*/ 438150 w 1047750"/>
                      <a:gd name="connsiteY6" fmla="*/ 571500 h 571500"/>
                      <a:gd name="connsiteX7" fmla="*/ 590550 w 1047750"/>
                      <a:gd name="connsiteY7" fmla="*/ 530225 h 571500"/>
                      <a:gd name="connsiteX8" fmla="*/ 730250 w 1047750"/>
                      <a:gd name="connsiteY8" fmla="*/ 450850 h 571500"/>
                      <a:gd name="connsiteX9" fmla="*/ 850900 w 1047750"/>
                      <a:gd name="connsiteY9" fmla="*/ 336550 h 571500"/>
                      <a:gd name="connsiteX10" fmla="*/ 917575 w 1047750"/>
                      <a:gd name="connsiteY10" fmla="*/ 241300 h 571500"/>
                      <a:gd name="connsiteX11" fmla="*/ 993775 w 1047750"/>
                      <a:gd name="connsiteY11" fmla="*/ 155575 h 571500"/>
                      <a:gd name="connsiteX12" fmla="*/ 1025525 w 1047750"/>
                      <a:gd name="connsiteY12" fmla="*/ 92075 h 571500"/>
                      <a:gd name="connsiteX13" fmla="*/ 1047750 w 1047750"/>
                      <a:gd name="connsiteY13" fmla="*/ 41275 h 571500"/>
                      <a:gd name="connsiteX14" fmla="*/ 1047750 w 1047750"/>
                      <a:gd name="connsiteY14" fmla="*/ 0 h 571500"/>
                      <a:gd name="connsiteX15" fmla="*/ 1016000 w 1047750"/>
                      <a:gd name="connsiteY15" fmla="*/ 63500 h 571500"/>
                      <a:gd name="connsiteX16" fmla="*/ 990600 w 1047750"/>
                      <a:gd name="connsiteY16" fmla="*/ 111125 h 571500"/>
                      <a:gd name="connsiteX17" fmla="*/ 955675 w 1047750"/>
                      <a:gd name="connsiteY17" fmla="*/ 149225 h 571500"/>
                      <a:gd name="connsiteX18" fmla="*/ 777875 w 1047750"/>
                      <a:gd name="connsiteY18" fmla="*/ 238125 h 571500"/>
                      <a:gd name="connsiteX19" fmla="*/ 679450 w 1047750"/>
                      <a:gd name="connsiteY19" fmla="*/ 263525 h 571500"/>
                      <a:gd name="connsiteX20" fmla="*/ 574675 w 1047750"/>
                      <a:gd name="connsiteY20" fmla="*/ 301625 h 571500"/>
                      <a:gd name="connsiteX21" fmla="*/ 501650 w 1047750"/>
                      <a:gd name="connsiteY21" fmla="*/ 342900 h 571500"/>
                      <a:gd name="connsiteX22" fmla="*/ 431800 w 1047750"/>
                      <a:gd name="connsiteY22" fmla="*/ 365125 h 571500"/>
                      <a:gd name="connsiteX23" fmla="*/ 352425 w 1047750"/>
                      <a:gd name="connsiteY23" fmla="*/ 365125 h 571500"/>
                      <a:gd name="connsiteX24" fmla="*/ 266700 w 1047750"/>
                      <a:gd name="connsiteY24" fmla="*/ 352425 h 571500"/>
                      <a:gd name="connsiteX25" fmla="*/ 180975 w 1047750"/>
                      <a:gd name="connsiteY25" fmla="*/ 314325 h 571500"/>
                      <a:gd name="connsiteX26" fmla="*/ 104775 w 1047750"/>
                      <a:gd name="connsiteY26" fmla="*/ 257175 h 571500"/>
                      <a:gd name="connsiteX27" fmla="*/ 60325 w 1047750"/>
                      <a:gd name="connsiteY27" fmla="*/ 206375 h 571500"/>
                      <a:gd name="connsiteX28" fmla="*/ 0 w 1047750"/>
                      <a:gd name="connsiteY28" fmla="*/ 174625 h 571500"/>
                      <a:gd name="connsiteX0" fmla="*/ 0 w 1047750"/>
                      <a:gd name="connsiteY0" fmla="*/ 174625 h 571500"/>
                      <a:gd name="connsiteX1" fmla="*/ 47625 w 1047750"/>
                      <a:gd name="connsiteY1" fmla="*/ 266700 h 571500"/>
                      <a:gd name="connsiteX2" fmla="*/ 76200 w 1047750"/>
                      <a:gd name="connsiteY2" fmla="*/ 346075 h 571500"/>
                      <a:gd name="connsiteX3" fmla="*/ 120650 w 1047750"/>
                      <a:gd name="connsiteY3" fmla="*/ 431800 h 571500"/>
                      <a:gd name="connsiteX4" fmla="*/ 174625 w 1047750"/>
                      <a:gd name="connsiteY4" fmla="*/ 495300 h 571500"/>
                      <a:gd name="connsiteX5" fmla="*/ 282575 w 1047750"/>
                      <a:gd name="connsiteY5" fmla="*/ 546100 h 571500"/>
                      <a:gd name="connsiteX6" fmla="*/ 438150 w 1047750"/>
                      <a:gd name="connsiteY6" fmla="*/ 571500 h 571500"/>
                      <a:gd name="connsiteX7" fmla="*/ 590550 w 1047750"/>
                      <a:gd name="connsiteY7" fmla="*/ 530225 h 571500"/>
                      <a:gd name="connsiteX8" fmla="*/ 730250 w 1047750"/>
                      <a:gd name="connsiteY8" fmla="*/ 450850 h 571500"/>
                      <a:gd name="connsiteX9" fmla="*/ 850900 w 1047750"/>
                      <a:gd name="connsiteY9" fmla="*/ 336550 h 571500"/>
                      <a:gd name="connsiteX10" fmla="*/ 917575 w 1047750"/>
                      <a:gd name="connsiteY10" fmla="*/ 241300 h 571500"/>
                      <a:gd name="connsiteX11" fmla="*/ 993775 w 1047750"/>
                      <a:gd name="connsiteY11" fmla="*/ 155575 h 571500"/>
                      <a:gd name="connsiteX12" fmla="*/ 1025525 w 1047750"/>
                      <a:gd name="connsiteY12" fmla="*/ 92075 h 571500"/>
                      <a:gd name="connsiteX13" fmla="*/ 1047750 w 1047750"/>
                      <a:gd name="connsiteY13" fmla="*/ 41275 h 571500"/>
                      <a:gd name="connsiteX14" fmla="*/ 1047750 w 1047750"/>
                      <a:gd name="connsiteY14" fmla="*/ 0 h 571500"/>
                      <a:gd name="connsiteX15" fmla="*/ 1016000 w 1047750"/>
                      <a:gd name="connsiteY15" fmla="*/ 63500 h 571500"/>
                      <a:gd name="connsiteX16" fmla="*/ 990600 w 1047750"/>
                      <a:gd name="connsiteY16" fmla="*/ 111125 h 571500"/>
                      <a:gd name="connsiteX17" fmla="*/ 955675 w 1047750"/>
                      <a:gd name="connsiteY17" fmla="*/ 149225 h 571500"/>
                      <a:gd name="connsiteX18" fmla="*/ 777875 w 1047750"/>
                      <a:gd name="connsiteY18" fmla="*/ 238125 h 571500"/>
                      <a:gd name="connsiteX19" fmla="*/ 679450 w 1047750"/>
                      <a:gd name="connsiteY19" fmla="*/ 263525 h 571500"/>
                      <a:gd name="connsiteX20" fmla="*/ 555625 w 1047750"/>
                      <a:gd name="connsiteY20" fmla="*/ 320675 h 571500"/>
                      <a:gd name="connsiteX21" fmla="*/ 501650 w 1047750"/>
                      <a:gd name="connsiteY21" fmla="*/ 342900 h 571500"/>
                      <a:gd name="connsiteX22" fmla="*/ 431800 w 1047750"/>
                      <a:gd name="connsiteY22" fmla="*/ 365125 h 571500"/>
                      <a:gd name="connsiteX23" fmla="*/ 352425 w 1047750"/>
                      <a:gd name="connsiteY23" fmla="*/ 365125 h 571500"/>
                      <a:gd name="connsiteX24" fmla="*/ 266700 w 1047750"/>
                      <a:gd name="connsiteY24" fmla="*/ 352425 h 571500"/>
                      <a:gd name="connsiteX25" fmla="*/ 180975 w 1047750"/>
                      <a:gd name="connsiteY25" fmla="*/ 314325 h 571500"/>
                      <a:gd name="connsiteX26" fmla="*/ 104775 w 1047750"/>
                      <a:gd name="connsiteY26" fmla="*/ 257175 h 571500"/>
                      <a:gd name="connsiteX27" fmla="*/ 60325 w 1047750"/>
                      <a:gd name="connsiteY27" fmla="*/ 206375 h 571500"/>
                      <a:gd name="connsiteX28" fmla="*/ 0 w 1047750"/>
                      <a:gd name="connsiteY28" fmla="*/ 174625 h 571500"/>
                      <a:gd name="connsiteX0" fmla="*/ 0 w 1047750"/>
                      <a:gd name="connsiteY0" fmla="*/ 174625 h 571500"/>
                      <a:gd name="connsiteX1" fmla="*/ 47625 w 1047750"/>
                      <a:gd name="connsiteY1" fmla="*/ 266700 h 571500"/>
                      <a:gd name="connsiteX2" fmla="*/ 76200 w 1047750"/>
                      <a:gd name="connsiteY2" fmla="*/ 346075 h 571500"/>
                      <a:gd name="connsiteX3" fmla="*/ 120650 w 1047750"/>
                      <a:gd name="connsiteY3" fmla="*/ 431800 h 571500"/>
                      <a:gd name="connsiteX4" fmla="*/ 174625 w 1047750"/>
                      <a:gd name="connsiteY4" fmla="*/ 495300 h 571500"/>
                      <a:gd name="connsiteX5" fmla="*/ 282575 w 1047750"/>
                      <a:gd name="connsiteY5" fmla="*/ 546100 h 571500"/>
                      <a:gd name="connsiteX6" fmla="*/ 438150 w 1047750"/>
                      <a:gd name="connsiteY6" fmla="*/ 571500 h 571500"/>
                      <a:gd name="connsiteX7" fmla="*/ 590550 w 1047750"/>
                      <a:gd name="connsiteY7" fmla="*/ 530225 h 571500"/>
                      <a:gd name="connsiteX8" fmla="*/ 730250 w 1047750"/>
                      <a:gd name="connsiteY8" fmla="*/ 450850 h 571500"/>
                      <a:gd name="connsiteX9" fmla="*/ 850900 w 1047750"/>
                      <a:gd name="connsiteY9" fmla="*/ 336550 h 571500"/>
                      <a:gd name="connsiteX10" fmla="*/ 917575 w 1047750"/>
                      <a:gd name="connsiteY10" fmla="*/ 241300 h 571500"/>
                      <a:gd name="connsiteX11" fmla="*/ 993775 w 1047750"/>
                      <a:gd name="connsiteY11" fmla="*/ 155575 h 571500"/>
                      <a:gd name="connsiteX12" fmla="*/ 1025525 w 1047750"/>
                      <a:gd name="connsiteY12" fmla="*/ 92075 h 571500"/>
                      <a:gd name="connsiteX13" fmla="*/ 1047750 w 1047750"/>
                      <a:gd name="connsiteY13" fmla="*/ 41275 h 571500"/>
                      <a:gd name="connsiteX14" fmla="*/ 1047750 w 1047750"/>
                      <a:gd name="connsiteY14" fmla="*/ 0 h 571500"/>
                      <a:gd name="connsiteX15" fmla="*/ 1016000 w 1047750"/>
                      <a:gd name="connsiteY15" fmla="*/ 63500 h 571500"/>
                      <a:gd name="connsiteX16" fmla="*/ 990600 w 1047750"/>
                      <a:gd name="connsiteY16" fmla="*/ 111125 h 571500"/>
                      <a:gd name="connsiteX17" fmla="*/ 955675 w 1047750"/>
                      <a:gd name="connsiteY17" fmla="*/ 149225 h 571500"/>
                      <a:gd name="connsiteX18" fmla="*/ 777875 w 1047750"/>
                      <a:gd name="connsiteY18" fmla="*/ 238125 h 571500"/>
                      <a:gd name="connsiteX19" fmla="*/ 679450 w 1047750"/>
                      <a:gd name="connsiteY19" fmla="*/ 263525 h 571500"/>
                      <a:gd name="connsiteX20" fmla="*/ 555625 w 1047750"/>
                      <a:gd name="connsiteY20" fmla="*/ 320675 h 571500"/>
                      <a:gd name="connsiteX21" fmla="*/ 501650 w 1047750"/>
                      <a:gd name="connsiteY21" fmla="*/ 342900 h 571500"/>
                      <a:gd name="connsiteX22" fmla="*/ 431800 w 1047750"/>
                      <a:gd name="connsiteY22" fmla="*/ 365125 h 571500"/>
                      <a:gd name="connsiteX23" fmla="*/ 352425 w 1047750"/>
                      <a:gd name="connsiteY23" fmla="*/ 365125 h 571500"/>
                      <a:gd name="connsiteX24" fmla="*/ 266700 w 1047750"/>
                      <a:gd name="connsiteY24" fmla="*/ 352425 h 571500"/>
                      <a:gd name="connsiteX25" fmla="*/ 180975 w 1047750"/>
                      <a:gd name="connsiteY25" fmla="*/ 314325 h 571500"/>
                      <a:gd name="connsiteX26" fmla="*/ 104775 w 1047750"/>
                      <a:gd name="connsiteY26" fmla="*/ 257175 h 571500"/>
                      <a:gd name="connsiteX27" fmla="*/ 60325 w 1047750"/>
                      <a:gd name="connsiteY27" fmla="*/ 206375 h 571500"/>
                      <a:gd name="connsiteX28" fmla="*/ 0 w 1047750"/>
                      <a:gd name="connsiteY28" fmla="*/ 174625 h 571500"/>
                      <a:gd name="connsiteX0" fmla="*/ 0 w 1047750"/>
                      <a:gd name="connsiteY0" fmla="*/ 174625 h 571500"/>
                      <a:gd name="connsiteX1" fmla="*/ 47625 w 1047750"/>
                      <a:gd name="connsiteY1" fmla="*/ 266700 h 571500"/>
                      <a:gd name="connsiteX2" fmla="*/ 76200 w 1047750"/>
                      <a:gd name="connsiteY2" fmla="*/ 346075 h 571500"/>
                      <a:gd name="connsiteX3" fmla="*/ 120650 w 1047750"/>
                      <a:gd name="connsiteY3" fmla="*/ 431800 h 571500"/>
                      <a:gd name="connsiteX4" fmla="*/ 174625 w 1047750"/>
                      <a:gd name="connsiteY4" fmla="*/ 495300 h 571500"/>
                      <a:gd name="connsiteX5" fmla="*/ 282575 w 1047750"/>
                      <a:gd name="connsiteY5" fmla="*/ 546100 h 571500"/>
                      <a:gd name="connsiteX6" fmla="*/ 438150 w 1047750"/>
                      <a:gd name="connsiteY6" fmla="*/ 571500 h 571500"/>
                      <a:gd name="connsiteX7" fmla="*/ 590550 w 1047750"/>
                      <a:gd name="connsiteY7" fmla="*/ 530225 h 571500"/>
                      <a:gd name="connsiteX8" fmla="*/ 730250 w 1047750"/>
                      <a:gd name="connsiteY8" fmla="*/ 450850 h 571500"/>
                      <a:gd name="connsiteX9" fmla="*/ 850900 w 1047750"/>
                      <a:gd name="connsiteY9" fmla="*/ 336550 h 571500"/>
                      <a:gd name="connsiteX10" fmla="*/ 917575 w 1047750"/>
                      <a:gd name="connsiteY10" fmla="*/ 241300 h 571500"/>
                      <a:gd name="connsiteX11" fmla="*/ 993775 w 1047750"/>
                      <a:gd name="connsiteY11" fmla="*/ 155575 h 571500"/>
                      <a:gd name="connsiteX12" fmla="*/ 1025525 w 1047750"/>
                      <a:gd name="connsiteY12" fmla="*/ 92075 h 571500"/>
                      <a:gd name="connsiteX13" fmla="*/ 1047750 w 1047750"/>
                      <a:gd name="connsiteY13" fmla="*/ 41275 h 571500"/>
                      <a:gd name="connsiteX14" fmla="*/ 1047750 w 1047750"/>
                      <a:gd name="connsiteY14" fmla="*/ 0 h 571500"/>
                      <a:gd name="connsiteX15" fmla="*/ 1003300 w 1047750"/>
                      <a:gd name="connsiteY15" fmla="*/ 69850 h 571500"/>
                      <a:gd name="connsiteX16" fmla="*/ 990600 w 1047750"/>
                      <a:gd name="connsiteY16" fmla="*/ 111125 h 571500"/>
                      <a:gd name="connsiteX17" fmla="*/ 955675 w 1047750"/>
                      <a:gd name="connsiteY17" fmla="*/ 149225 h 571500"/>
                      <a:gd name="connsiteX18" fmla="*/ 777875 w 1047750"/>
                      <a:gd name="connsiteY18" fmla="*/ 238125 h 571500"/>
                      <a:gd name="connsiteX19" fmla="*/ 679450 w 1047750"/>
                      <a:gd name="connsiteY19" fmla="*/ 263525 h 571500"/>
                      <a:gd name="connsiteX20" fmla="*/ 555625 w 1047750"/>
                      <a:gd name="connsiteY20" fmla="*/ 320675 h 571500"/>
                      <a:gd name="connsiteX21" fmla="*/ 501650 w 1047750"/>
                      <a:gd name="connsiteY21" fmla="*/ 342900 h 571500"/>
                      <a:gd name="connsiteX22" fmla="*/ 431800 w 1047750"/>
                      <a:gd name="connsiteY22" fmla="*/ 365125 h 571500"/>
                      <a:gd name="connsiteX23" fmla="*/ 352425 w 1047750"/>
                      <a:gd name="connsiteY23" fmla="*/ 365125 h 571500"/>
                      <a:gd name="connsiteX24" fmla="*/ 266700 w 1047750"/>
                      <a:gd name="connsiteY24" fmla="*/ 352425 h 571500"/>
                      <a:gd name="connsiteX25" fmla="*/ 180975 w 1047750"/>
                      <a:gd name="connsiteY25" fmla="*/ 314325 h 571500"/>
                      <a:gd name="connsiteX26" fmla="*/ 104775 w 1047750"/>
                      <a:gd name="connsiteY26" fmla="*/ 257175 h 571500"/>
                      <a:gd name="connsiteX27" fmla="*/ 60325 w 1047750"/>
                      <a:gd name="connsiteY27" fmla="*/ 206375 h 571500"/>
                      <a:gd name="connsiteX28" fmla="*/ 0 w 1047750"/>
                      <a:gd name="connsiteY28" fmla="*/ 174625 h 571500"/>
                      <a:gd name="connsiteX0" fmla="*/ 0 w 1047750"/>
                      <a:gd name="connsiteY0" fmla="*/ 174625 h 571500"/>
                      <a:gd name="connsiteX1" fmla="*/ 47625 w 1047750"/>
                      <a:gd name="connsiteY1" fmla="*/ 266700 h 571500"/>
                      <a:gd name="connsiteX2" fmla="*/ 76200 w 1047750"/>
                      <a:gd name="connsiteY2" fmla="*/ 346075 h 571500"/>
                      <a:gd name="connsiteX3" fmla="*/ 120650 w 1047750"/>
                      <a:gd name="connsiteY3" fmla="*/ 431800 h 571500"/>
                      <a:gd name="connsiteX4" fmla="*/ 174625 w 1047750"/>
                      <a:gd name="connsiteY4" fmla="*/ 495300 h 571500"/>
                      <a:gd name="connsiteX5" fmla="*/ 282575 w 1047750"/>
                      <a:gd name="connsiteY5" fmla="*/ 546100 h 571500"/>
                      <a:gd name="connsiteX6" fmla="*/ 438150 w 1047750"/>
                      <a:gd name="connsiteY6" fmla="*/ 571500 h 571500"/>
                      <a:gd name="connsiteX7" fmla="*/ 590550 w 1047750"/>
                      <a:gd name="connsiteY7" fmla="*/ 530225 h 571500"/>
                      <a:gd name="connsiteX8" fmla="*/ 730250 w 1047750"/>
                      <a:gd name="connsiteY8" fmla="*/ 450850 h 571500"/>
                      <a:gd name="connsiteX9" fmla="*/ 850900 w 1047750"/>
                      <a:gd name="connsiteY9" fmla="*/ 336550 h 571500"/>
                      <a:gd name="connsiteX10" fmla="*/ 917575 w 1047750"/>
                      <a:gd name="connsiteY10" fmla="*/ 241300 h 571500"/>
                      <a:gd name="connsiteX11" fmla="*/ 993775 w 1047750"/>
                      <a:gd name="connsiteY11" fmla="*/ 155575 h 571500"/>
                      <a:gd name="connsiteX12" fmla="*/ 1025525 w 1047750"/>
                      <a:gd name="connsiteY12" fmla="*/ 92075 h 571500"/>
                      <a:gd name="connsiteX13" fmla="*/ 1047750 w 1047750"/>
                      <a:gd name="connsiteY13" fmla="*/ 41275 h 571500"/>
                      <a:gd name="connsiteX14" fmla="*/ 1047750 w 1047750"/>
                      <a:gd name="connsiteY14" fmla="*/ 0 h 571500"/>
                      <a:gd name="connsiteX15" fmla="*/ 1003300 w 1047750"/>
                      <a:gd name="connsiteY15" fmla="*/ 69850 h 571500"/>
                      <a:gd name="connsiteX16" fmla="*/ 990600 w 1047750"/>
                      <a:gd name="connsiteY16" fmla="*/ 111125 h 571500"/>
                      <a:gd name="connsiteX17" fmla="*/ 955675 w 1047750"/>
                      <a:gd name="connsiteY17" fmla="*/ 149225 h 571500"/>
                      <a:gd name="connsiteX18" fmla="*/ 777875 w 1047750"/>
                      <a:gd name="connsiteY18" fmla="*/ 238125 h 571500"/>
                      <a:gd name="connsiteX19" fmla="*/ 679450 w 1047750"/>
                      <a:gd name="connsiteY19" fmla="*/ 263525 h 571500"/>
                      <a:gd name="connsiteX20" fmla="*/ 555625 w 1047750"/>
                      <a:gd name="connsiteY20" fmla="*/ 320675 h 571500"/>
                      <a:gd name="connsiteX21" fmla="*/ 501650 w 1047750"/>
                      <a:gd name="connsiteY21" fmla="*/ 342900 h 571500"/>
                      <a:gd name="connsiteX22" fmla="*/ 431800 w 1047750"/>
                      <a:gd name="connsiteY22" fmla="*/ 365125 h 571500"/>
                      <a:gd name="connsiteX23" fmla="*/ 352425 w 1047750"/>
                      <a:gd name="connsiteY23" fmla="*/ 365125 h 571500"/>
                      <a:gd name="connsiteX24" fmla="*/ 266700 w 1047750"/>
                      <a:gd name="connsiteY24" fmla="*/ 352425 h 571500"/>
                      <a:gd name="connsiteX25" fmla="*/ 180975 w 1047750"/>
                      <a:gd name="connsiteY25" fmla="*/ 314325 h 571500"/>
                      <a:gd name="connsiteX26" fmla="*/ 104775 w 1047750"/>
                      <a:gd name="connsiteY26" fmla="*/ 257175 h 571500"/>
                      <a:gd name="connsiteX27" fmla="*/ 60325 w 1047750"/>
                      <a:gd name="connsiteY27" fmla="*/ 206375 h 571500"/>
                      <a:gd name="connsiteX28" fmla="*/ 0 w 1047750"/>
                      <a:gd name="connsiteY28" fmla="*/ 174625 h 571500"/>
                      <a:gd name="connsiteX0" fmla="*/ 0 w 1047750"/>
                      <a:gd name="connsiteY0" fmla="*/ 174625 h 571500"/>
                      <a:gd name="connsiteX1" fmla="*/ 47625 w 1047750"/>
                      <a:gd name="connsiteY1" fmla="*/ 266700 h 571500"/>
                      <a:gd name="connsiteX2" fmla="*/ 76200 w 1047750"/>
                      <a:gd name="connsiteY2" fmla="*/ 346075 h 571500"/>
                      <a:gd name="connsiteX3" fmla="*/ 120650 w 1047750"/>
                      <a:gd name="connsiteY3" fmla="*/ 431800 h 571500"/>
                      <a:gd name="connsiteX4" fmla="*/ 174625 w 1047750"/>
                      <a:gd name="connsiteY4" fmla="*/ 495300 h 571500"/>
                      <a:gd name="connsiteX5" fmla="*/ 282575 w 1047750"/>
                      <a:gd name="connsiteY5" fmla="*/ 546100 h 571500"/>
                      <a:gd name="connsiteX6" fmla="*/ 438150 w 1047750"/>
                      <a:gd name="connsiteY6" fmla="*/ 571500 h 571500"/>
                      <a:gd name="connsiteX7" fmla="*/ 590550 w 1047750"/>
                      <a:gd name="connsiteY7" fmla="*/ 530225 h 571500"/>
                      <a:gd name="connsiteX8" fmla="*/ 730250 w 1047750"/>
                      <a:gd name="connsiteY8" fmla="*/ 450850 h 571500"/>
                      <a:gd name="connsiteX9" fmla="*/ 850900 w 1047750"/>
                      <a:gd name="connsiteY9" fmla="*/ 336550 h 571500"/>
                      <a:gd name="connsiteX10" fmla="*/ 917575 w 1047750"/>
                      <a:gd name="connsiteY10" fmla="*/ 241300 h 571500"/>
                      <a:gd name="connsiteX11" fmla="*/ 993775 w 1047750"/>
                      <a:gd name="connsiteY11" fmla="*/ 155575 h 571500"/>
                      <a:gd name="connsiteX12" fmla="*/ 1025525 w 1047750"/>
                      <a:gd name="connsiteY12" fmla="*/ 92075 h 571500"/>
                      <a:gd name="connsiteX13" fmla="*/ 1047750 w 1047750"/>
                      <a:gd name="connsiteY13" fmla="*/ 41275 h 571500"/>
                      <a:gd name="connsiteX14" fmla="*/ 1047750 w 1047750"/>
                      <a:gd name="connsiteY14" fmla="*/ 0 h 571500"/>
                      <a:gd name="connsiteX15" fmla="*/ 1003300 w 1047750"/>
                      <a:gd name="connsiteY15" fmla="*/ 69850 h 571500"/>
                      <a:gd name="connsiteX16" fmla="*/ 990600 w 1047750"/>
                      <a:gd name="connsiteY16" fmla="*/ 111125 h 571500"/>
                      <a:gd name="connsiteX17" fmla="*/ 904875 w 1047750"/>
                      <a:gd name="connsiteY17" fmla="*/ 180975 h 571500"/>
                      <a:gd name="connsiteX18" fmla="*/ 777875 w 1047750"/>
                      <a:gd name="connsiteY18" fmla="*/ 238125 h 571500"/>
                      <a:gd name="connsiteX19" fmla="*/ 679450 w 1047750"/>
                      <a:gd name="connsiteY19" fmla="*/ 263525 h 571500"/>
                      <a:gd name="connsiteX20" fmla="*/ 555625 w 1047750"/>
                      <a:gd name="connsiteY20" fmla="*/ 320675 h 571500"/>
                      <a:gd name="connsiteX21" fmla="*/ 501650 w 1047750"/>
                      <a:gd name="connsiteY21" fmla="*/ 342900 h 571500"/>
                      <a:gd name="connsiteX22" fmla="*/ 431800 w 1047750"/>
                      <a:gd name="connsiteY22" fmla="*/ 365125 h 571500"/>
                      <a:gd name="connsiteX23" fmla="*/ 352425 w 1047750"/>
                      <a:gd name="connsiteY23" fmla="*/ 365125 h 571500"/>
                      <a:gd name="connsiteX24" fmla="*/ 266700 w 1047750"/>
                      <a:gd name="connsiteY24" fmla="*/ 352425 h 571500"/>
                      <a:gd name="connsiteX25" fmla="*/ 180975 w 1047750"/>
                      <a:gd name="connsiteY25" fmla="*/ 314325 h 571500"/>
                      <a:gd name="connsiteX26" fmla="*/ 104775 w 1047750"/>
                      <a:gd name="connsiteY26" fmla="*/ 257175 h 571500"/>
                      <a:gd name="connsiteX27" fmla="*/ 60325 w 1047750"/>
                      <a:gd name="connsiteY27" fmla="*/ 206375 h 571500"/>
                      <a:gd name="connsiteX28" fmla="*/ 0 w 1047750"/>
                      <a:gd name="connsiteY28" fmla="*/ 174625 h 571500"/>
                      <a:gd name="connsiteX0" fmla="*/ 0 w 1047750"/>
                      <a:gd name="connsiteY0" fmla="*/ 174625 h 571500"/>
                      <a:gd name="connsiteX1" fmla="*/ 47625 w 1047750"/>
                      <a:gd name="connsiteY1" fmla="*/ 266700 h 571500"/>
                      <a:gd name="connsiteX2" fmla="*/ 76200 w 1047750"/>
                      <a:gd name="connsiteY2" fmla="*/ 346075 h 571500"/>
                      <a:gd name="connsiteX3" fmla="*/ 120650 w 1047750"/>
                      <a:gd name="connsiteY3" fmla="*/ 431800 h 571500"/>
                      <a:gd name="connsiteX4" fmla="*/ 174625 w 1047750"/>
                      <a:gd name="connsiteY4" fmla="*/ 495300 h 571500"/>
                      <a:gd name="connsiteX5" fmla="*/ 282575 w 1047750"/>
                      <a:gd name="connsiteY5" fmla="*/ 546100 h 571500"/>
                      <a:gd name="connsiteX6" fmla="*/ 438150 w 1047750"/>
                      <a:gd name="connsiteY6" fmla="*/ 571500 h 571500"/>
                      <a:gd name="connsiteX7" fmla="*/ 590550 w 1047750"/>
                      <a:gd name="connsiteY7" fmla="*/ 530225 h 571500"/>
                      <a:gd name="connsiteX8" fmla="*/ 730250 w 1047750"/>
                      <a:gd name="connsiteY8" fmla="*/ 450850 h 571500"/>
                      <a:gd name="connsiteX9" fmla="*/ 850900 w 1047750"/>
                      <a:gd name="connsiteY9" fmla="*/ 336550 h 571500"/>
                      <a:gd name="connsiteX10" fmla="*/ 917575 w 1047750"/>
                      <a:gd name="connsiteY10" fmla="*/ 241300 h 571500"/>
                      <a:gd name="connsiteX11" fmla="*/ 993775 w 1047750"/>
                      <a:gd name="connsiteY11" fmla="*/ 155575 h 571500"/>
                      <a:gd name="connsiteX12" fmla="*/ 1025525 w 1047750"/>
                      <a:gd name="connsiteY12" fmla="*/ 92075 h 571500"/>
                      <a:gd name="connsiteX13" fmla="*/ 1047750 w 1047750"/>
                      <a:gd name="connsiteY13" fmla="*/ 41275 h 571500"/>
                      <a:gd name="connsiteX14" fmla="*/ 1047750 w 1047750"/>
                      <a:gd name="connsiteY14" fmla="*/ 0 h 571500"/>
                      <a:gd name="connsiteX15" fmla="*/ 1003300 w 1047750"/>
                      <a:gd name="connsiteY15" fmla="*/ 69850 h 571500"/>
                      <a:gd name="connsiteX16" fmla="*/ 996950 w 1047750"/>
                      <a:gd name="connsiteY16" fmla="*/ 79375 h 571500"/>
                      <a:gd name="connsiteX17" fmla="*/ 904875 w 1047750"/>
                      <a:gd name="connsiteY17" fmla="*/ 180975 h 571500"/>
                      <a:gd name="connsiteX18" fmla="*/ 777875 w 1047750"/>
                      <a:gd name="connsiteY18" fmla="*/ 238125 h 571500"/>
                      <a:gd name="connsiteX19" fmla="*/ 679450 w 1047750"/>
                      <a:gd name="connsiteY19" fmla="*/ 263525 h 571500"/>
                      <a:gd name="connsiteX20" fmla="*/ 555625 w 1047750"/>
                      <a:gd name="connsiteY20" fmla="*/ 320675 h 571500"/>
                      <a:gd name="connsiteX21" fmla="*/ 501650 w 1047750"/>
                      <a:gd name="connsiteY21" fmla="*/ 342900 h 571500"/>
                      <a:gd name="connsiteX22" fmla="*/ 431800 w 1047750"/>
                      <a:gd name="connsiteY22" fmla="*/ 365125 h 571500"/>
                      <a:gd name="connsiteX23" fmla="*/ 352425 w 1047750"/>
                      <a:gd name="connsiteY23" fmla="*/ 365125 h 571500"/>
                      <a:gd name="connsiteX24" fmla="*/ 266700 w 1047750"/>
                      <a:gd name="connsiteY24" fmla="*/ 352425 h 571500"/>
                      <a:gd name="connsiteX25" fmla="*/ 180975 w 1047750"/>
                      <a:gd name="connsiteY25" fmla="*/ 314325 h 571500"/>
                      <a:gd name="connsiteX26" fmla="*/ 104775 w 1047750"/>
                      <a:gd name="connsiteY26" fmla="*/ 257175 h 571500"/>
                      <a:gd name="connsiteX27" fmla="*/ 60325 w 1047750"/>
                      <a:gd name="connsiteY27" fmla="*/ 206375 h 571500"/>
                      <a:gd name="connsiteX28" fmla="*/ 0 w 1047750"/>
                      <a:gd name="connsiteY28" fmla="*/ 174625 h 571500"/>
                      <a:gd name="connsiteX0" fmla="*/ 1852 w 1049602"/>
                      <a:gd name="connsiteY0" fmla="*/ 174625 h 571500"/>
                      <a:gd name="connsiteX1" fmla="*/ 49477 w 1049602"/>
                      <a:gd name="connsiteY1" fmla="*/ 266700 h 571500"/>
                      <a:gd name="connsiteX2" fmla="*/ 78052 w 1049602"/>
                      <a:gd name="connsiteY2" fmla="*/ 346075 h 571500"/>
                      <a:gd name="connsiteX3" fmla="*/ 122502 w 1049602"/>
                      <a:gd name="connsiteY3" fmla="*/ 431800 h 571500"/>
                      <a:gd name="connsiteX4" fmla="*/ 176477 w 1049602"/>
                      <a:gd name="connsiteY4" fmla="*/ 495300 h 571500"/>
                      <a:gd name="connsiteX5" fmla="*/ 284427 w 1049602"/>
                      <a:gd name="connsiteY5" fmla="*/ 546100 h 571500"/>
                      <a:gd name="connsiteX6" fmla="*/ 440002 w 1049602"/>
                      <a:gd name="connsiteY6" fmla="*/ 571500 h 571500"/>
                      <a:gd name="connsiteX7" fmla="*/ 592402 w 1049602"/>
                      <a:gd name="connsiteY7" fmla="*/ 530225 h 571500"/>
                      <a:gd name="connsiteX8" fmla="*/ 732102 w 1049602"/>
                      <a:gd name="connsiteY8" fmla="*/ 450850 h 571500"/>
                      <a:gd name="connsiteX9" fmla="*/ 852752 w 1049602"/>
                      <a:gd name="connsiteY9" fmla="*/ 336550 h 571500"/>
                      <a:gd name="connsiteX10" fmla="*/ 919427 w 1049602"/>
                      <a:gd name="connsiteY10" fmla="*/ 241300 h 571500"/>
                      <a:gd name="connsiteX11" fmla="*/ 995627 w 1049602"/>
                      <a:gd name="connsiteY11" fmla="*/ 155575 h 571500"/>
                      <a:gd name="connsiteX12" fmla="*/ 1027377 w 1049602"/>
                      <a:gd name="connsiteY12" fmla="*/ 92075 h 571500"/>
                      <a:gd name="connsiteX13" fmla="*/ 1049602 w 1049602"/>
                      <a:gd name="connsiteY13" fmla="*/ 41275 h 571500"/>
                      <a:gd name="connsiteX14" fmla="*/ 1049602 w 1049602"/>
                      <a:gd name="connsiteY14" fmla="*/ 0 h 571500"/>
                      <a:gd name="connsiteX15" fmla="*/ 1005152 w 1049602"/>
                      <a:gd name="connsiteY15" fmla="*/ 69850 h 571500"/>
                      <a:gd name="connsiteX16" fmla="*/ 998802 w 1049602"/>
                      <a:gd name="connsiteY16" fmla="*/ 79375 h 571500"/>
                      <a:gd name="connsiteX17" fmla="*/ 906727 w 1049602"/>
                      <a:gd name="connsiteY17" fmla="*/ 180975 h 571500"/>
                      <a:gd name="connsiteX18" fmla="*/ 779727 w 1049602"/>
                      <a:gd name="connsiteY18" fmla="*/ 238125 h 571500"/>
                      <a:gd name="connsiteX19" fmla="*/ 681302 w 1049602"/>
                      <a:gd name="connsiteY19" fmla="*/ 263525 h 571500"/>
                      <a:gd name="connsiteX20" fmla="*/ 557477 w 1049602"/>
                      <a:gd name="connsiteY20" fmla="*/ 320675 h 571500"/>
                      <a:gd name="connsiteX21" fmla="*/ 503502 w 1049602"/>
                      <a:gd name="connsiteY21" fmla="*/ 342900 h 571500"/>
                      <a:gd name="connsiteX22" fmla="*/ 433652 w 1049602"/>
                      <a:gd name="connsiteY22" fmla="*/ 365125 h 571500"/>
                      <a:gd name="connsiteX23" fmla="*/ 354277 w 1049602"/>
                      <a:gd name="connsiteY23" fmla="*/ 365125 h 571500"/>
                      <a:gd name="connsiteX24" fmla="*/ 268552 w 1049602"/>
                      <a:gd name="connsiteY24" fmla="*/ 352425 h 571500"/>
                      <a:gd name="connsiteX25" fmla="*/ 182827 w 1049602"/>
                      <a:gd name="connsiteY25" fmla="*/ 314325 h 571500"/>
                      <a:gd name="connsiteX26" fmla="*/ 106627 w 1049602"/>
                      <a:gd name="connsiteY26" fmla="*/ 257175 h 571500"/>
                      <a:gd name="connsiteX27" fmla="*/ 62177 w 1049602"/>
                      <a:gd name="connsiteY27" fmla="*/ 206375 h 571500"/>
                      <a:gd name="connsiteX28" fmla="*/ 43128 w 1049602"/>
                      <a:gd name="connsiteY28" fmla="*/ 166688 h 571500"/>
                      <a:gd name="connsiteX29" fmla="*/ 1852 w 1049602"/>
                      <a:gd name="connsiteY29" fmla="*/ 174625 h 571500"/>
                      <a:gd name="connsiteX0" fmla="*/ 1852 w 1018646"/>
                      <a:gd name="connsiteY0" fmla="*/ 198438 h 571500"/>
                      <a:gd name="connsiteX1" fmla="*/ 18521 w 1018646"/>
                      <a:gd name="connsiteY1" fmla="*/ 266700 h 571500"/>
                      <a:gd name="connsiteX2" fmla="*/ 47096 w 1018646"/>
                      <a:gd name="connsiteY2" fmla="*/ 346075 h 571500"/>
                      <a:gd name="connsiteX3" fmla="*/ 91546 w 1018646"/>
                      <a:gd name="connsiteY3" fmla="*/ 431800 h 571500"/>
                      <a:gd name="connsiteX4" fmla="*/ 145521 w 1018646"/>
                      <a:gd name="connsiteY4" fmla="*/ 495300 h 571500"/>
                      <a:gd name="connsiteX5" fmla="*/ 253471 w 1018646"/>
                      <a:gd name="connsiteY5" fmla="*/ 546100 h 571500"/>
                      <a:gd name="connsiteX6" fmla="*/ 409046 w 1018646"/>
                      <a:gd name="connsiteY6" fmla="*/ 571500 h 571500"/>
                      <a:gd name="connsiteX7" fmla="*/ 561446 w 1018646"/>
                      <a:gd name="connsiteY7" fmla="*/ 530225 h 571500"/>
                      <a:gd name="connsiteX8" fmla="*/ 701146 w 1018646"/>
                      <a:gd name="connsiteY8" fmla="*/ 450850 h 571500"/>
                      <a:gd name="connsiteX9" fmla="*/ 821796 w 1018646"/>
                      <a:gd name="connsiteY9" fmla="*/ 336550 h 571500"/>
                      <a:gd name="connsiteX10" fmla="*/ 888471 w 1018646"/>
                      <a:gd name="connsiteY10" fmla="*/ 241300 h 571500"/>
                      <a:gd name="connsiteX11" fmla="*/ 964671 w 1018646"/>
                      <a:gd name="connsiteY11" fmla="*/ 155575 h 571500"/>
                      <a:gd name="connsiteX12" fmla="*/ 996421 w 1018646"/>
                      <a:gd name="connsiteY12" fmla="*/ 92075 h 571500"/>
                      <a:gd name="connsiteX13" fmla="*/ 1018646 w 1018646"/>
                      <a:gd name="connsiteY13" fmla="*/ 41275 h 571500"/>
                      <a:gd name="connsiteX14" fmla="*/ 1018646 w 1018646"/>
                      <a:gd name="connsiteY14" fmla="*/ 0 h 571500"/>
                      <a:gd name="connsiteX15" fmla="*/ 974196 w 1018646"/>
                      <a:gd name="connsiteY15" fmla="*/ 69850 h 571500"/>
                      <a:gd name="connsiteX16" fmla="*/ 967846 w 1018646"/>
                      <a:gd name="connsiteY16" fmla="*/ 79375 h 571500"/>
                      <a:gd name="connsiteX17" fmla="*/ 875771 w 1018646"/>
                      <a:gd name="connsiteY17" fmla="*/ 180975 h 571500"/>
                      <a:gd name="connsiteX18" fmla="*/ 748771 w 1018646"/>
                      <a:gd name="connsiteY18" fmla="*/ 238125 h 571500"/>
                      <a:gd name="connsiteX19" fmla="*/ 650346 w 1018646"/>
                      <a:gd name="connsiteY19" fmla="*/ 263525 h 571500"/>
                      <a:gd name="connsiteX20" fmla="*/ 526521 w 1018646"/>
                      <a:gd name="connsiteY20" fmla="*/ 320675 h 571500"/>
                      <a:gd name="connsiteX21" fmla="*/ 472546 w 1018646"/>
                      <a:gd name="connsiteY21" fmla="*/ 342900 h 571500"/>
                      <a:gd name="connsiteX22" fmla="*/ 402696 w 1018646"/>
                      <a:gd name="connsiteY22" fmla="*/ 365125 h 571500"/>
                      <a:gd name="connsiteX23" fmla="*/ 323321 w 1018646"/>
                      <a:gd name="connsiteY23" fmla="*/ 365125 h 571500"/>
                      <a:gd name="connsiteX24" fmla="*/ 237596 w 1018646"/>
                      <a:gd name="connsiteY24" fmla="*/ 352425 h 571500"/>
                      <a:gd name="connsiteX25" fmla="*/ 151871 w 1018646"/>
                      <a:gd name="connsiteY25" fmla="*/ 314325 h 571500"/>
                      <a:gd name="connsiteX26" fmla="*/ 75671 w 1018646"/>
                      <a:gd name="connsiteY26" fmla="*/ 257175 h 571500"/>
                      <a:gd name="connsiteX27" fmla="*/ 31221 w 1018646"/>
                      <a:gd name="connsiteY27" fmla="*/ 206375 h 571500"/>
                      <a:gd name="connsiteX28" fmla="*/ 12172 w 1018646"/>
                      <a:gd name="connsiteY28" fmla="*/ 166688 h 571500"/>
                      <a:gd name="connsiteX29" fmla="*/ 1852 w 1018646"/>
                      <a:gd name="connsiteY29" fmla="*/ 198438 h 571500"/>
                      <a:gd name="connsiteX0" fmla="*/ 30427 w 1047221"/>
                      <a:gd name="connsiteY0" fmla="*/ 198438 h 571500"/>
                      <a:gd name="connsiteX1" fmla="*/ 47096 w 1047221"/>
                      <a:gd name="connsiteY1" fmla="*/ 266700 h 571500"/>
                      <a:gd name="connsiteX2" fmla="*/ 75671 w 1047221"/>
                      <a:gd name="connsiteY2" fmla="*/ 346075 h 571500"/>
                      <a:gd name="connsiteX3" fmla="*/ 120121 w 1047221"/>
                      <a:gd name="connsiteY3" fmla="*/ 431800 h 571500"/>
                      <a:gd name="connsiteX4" fmla="*/ 174096 w 1047221"/>
                      <a:gd name="connsiteY4" fmla="*/ 495300 h 571500"/>
                      <a:gd name="connsiteX5" fmla="*/ 282046 w 1047221"/>
                      <a:gd name="connsiteY5" fmla="*/ 546100 h 571500"/>
                      <a:gd name="connsiteX6" fmla="*/ 437621 w 1047221"/>
                      <a:gd name="connsiteY6" fmla="*/ 571500 h 571500"/>
                      <a:gd name="connsiteX7" fmla="*/ 590021 w 1047221"/>
                      <a:gd name="connsiteY7" fmla="*/ 530225 h 571500"/>
                      <a:gd name="connsiteX8" fmla="*/ 729721 w 1047221"/>
                      <a:gd name="connsiteY8" fmla="*/ 450850 h 571500"/>
                      <a:gd name="connsiteX9" fmla="*/ 850371 w 1047221"/>
                      <a:gd name="connsiteY9" fmla="*/ 336550 h 571500"/>
                      <a:gd name="connsiteX10" fmla="*/ 917046 w 1047221"/>
                      <a:gd name="connsiteY10" fmla="*/ 241300 h 571500"/>
                      <a:gd name="connsiteX11" fmla="*/ 993246 w 1047221"/>
                      <a:gd name="connsiteY11" fmla="*/ 155575 h 571500"/>
                      <a:gd name="connsiteX12" fmla="*/ 1024996 w 1047221"/>
                      <a:gd name="connsiteY12" fmla="*/ 92075 h 571500"/>
                      <a:gd name="connsiteX13" fmla="*/ 1047221 w 1047221"/>
                      <a:gd name="connsiteY13" fmla="*/ 41275 h 571500"/>
                      <a:gd name="connsiteX14" fmla="*/ 1047221 w 1047221"/>
                      <a:gd name="connsiteY14" fmla="*/ 0 h 571500"/>
                      <a:gd name="connsiteX15" fmla="*/ 1002771 w 1047221"/>
                      <a:gd name="connsiteY15" fmla="*/ 69850 h 571500"/>
                      <a:gd name="connsiteX16" fmla="*/ 996421 w 1047221"/>
                      <a:gd name="connsiteY16" fmla="*/ 79375 h 571500"/>
                      <a:gd name="connsiteX17" fmla="*/ 904346 w 1047221"/>
                      <a:gd name="connsiteY17" fmla="*/ 180975 h 571500"/>
                      <a:gd name="connsiteX18" fmla="*/ 777346 w 1047221"/>
                      <a:gd name="connsiteY18" fmla="*/ 238125 h 571500"/>
                      <a:gd name="connsiteX19" fmla="*/ 678921 w 1047221"/>
                      <a:gd name="connsiteY19" fmla="*/ 263525 h 571500"/>
                      <a:gd name="connsiteX20" fmla="*/ 555096 w 1047221"/>
                      <a:gd name="connsiteY20" fmla="*/ 320675 h 571500"/>
                      <a:gd name="connsiteX21" fmla="*/ 501121 w 1047221"/>
                      <a:gd name="connsiteY21" fmla="*/ 342900 h 571500"/>
                      <a:gd name="connsiteX22" fmla="*/ 431271 w 1047221"/>
                      <a:gd name="connsiteY22" fmla="*/ 365125 h 571500"/>
                      <a:gd name="connsiteX23" fmla="*/ 351896 w 1047221"/>
                      <a:gd name="connsiteY23" fmla="*/ 365125 h 571500"/>
                      <a:gd name="connsiteX24" fmla="*/ 266171 w 1047221"/>
                      <a:gd name="connsiteY24" fmla="*/ 352425 h 571500"/>
                      <a:gd name="connsiteX25" fmla="*/ 180446 w 1047221"/>
                      <a:gd name="connsiteY25" fmla="*/ 314325 h 571500"/>
                      <a:gd name="connsiteX26" fmla="*/ 104246 w 1047221"/>
                      <a:gd name="connsiteY26" fmla="*/ 257175 h 571500"/>
                      <a:gd name="connsiteX27" fmla="*/ 59796 w 1047221"/>
                      <a:gd name="connsiteY27" fmla="*/ 206375 h 571500"/>
                      <a:gd name="connsiteX28" fmla="*/ 40747 w 1047221"/>
                      <a:gd name="connsiteY28" fmla="*/ 166688 h 571500"/>
                      <a:gd name="connsiteX29" fmla="*/ 30427 w 1047221"/>
                      <a:gd name="connsiteY29" fmla="*/ 198438 h 571500"/>
                      <a:gd name="connsiteX0" fmla="*/ 30427 w 1047221"/>
                      <a:gd name="connsiteY0" fmla="*/ 198438 h 571500"/>
                      <a:gd name="connsiteX1" fmla="*/ 47096 w 1047221"/>
                      <a:gd name="connsiteY1" fmla="*/ 266700 h 571500"/>
                      <a:gd name="connsiteX2" fmla="*/ 75671 w 1047221"/>
                      <a:gd name="connsiteY2" fmla="*/ 346075 h 571500"/>
                      <a:gd name="connsiteX3" fmla="*/ 120121 w 1047221"/>
                      <a:gd name="connsiteY3" fmla="*/ 431800 h 571500"/>
                      <a:gd name="connsiteX4" fmla="*/ 174096 w 1047221"/>
                      <a:gd name="connsiteY4" fmla="*/ 495300 h 571500"/>
                      <a:gd name="connsiteX5" fmla="*/ 282046 w 1047221"/>
                      <a:gd name="connsiteY5" fmla="*/ 546100 h 571500"/>
                      <a:gd name="connsiteX6" fmla="*/ 437621 w 1047221"/>
                      <a:gd name="connsiteY6" fmla="*/ 571500 h 571500"/>
                      <a:gd name="connsiteX7" fmla="*/ 590021 w 1047221"/>
                      <a:gd name="connsiteY7" fmla="*/ 530225 h 571500"/>
                      <a:gd name="connsiteX8" fmla="*/ 729721 w 1047221"/>
                      <a:gd name="connsiteY8" fmla="*/ 450850 h 571500"/>
                      <a:gd name="connsiteX9" fmla="*/ 850371 w 1047221"/>
                      <a:gd name="connsiteY9" fmla="*/ 336550 h 571500"/>
                      <a:gd name="connsiteX10" fmla="*/ 917046 w 1047221"/>
                      <a:gd name="connsiteY10" fmla="*/ 241300 h 571500"/>
                      <a:gd name="connsiteX11" fmla="*/ 993246 w 1047221"/>
                      <a:gd name="connsiteY11" fmla="*/ 155575 h 571500"/>
                      <a:gd name="connsiteX12" fmla="*/ 1024996 w 1047221"/>
                      <a:gd name="connsiteY12" fmla="*/ 92075 h 571500"/>
                      <a:gd name="connsiteX13" fmla="*/ 1047221 w 1047221"/>
                      <a:gd name="connsiteY13" fmla="*/ 41275 h 571500"/>
                      <a:gd name="connsiteX14" fmla="*/ 1047221 w 1047221"/>
                      <a:gd name="connsiteY14" fmla="*/ 0 h 571500"/>
                      <a:gd name="connsiteX15" fmla="*/ 1002771 w 1047221"/>
                      <a:gd name="connsiteY15" fmla="*/ 69850 h 571500"/>
                      <a:gd name="connsiteX16" fmla="*/ 996421 w 1047221"/>
                      <a:gd name="connsiteY16" fmla="*/ 79375 h 571500"/>
                      <a:gd name="connsiteX17" fmla="*/ 904346 w 1047221"/>
                      <a:gd name="connsiteY17" fmla="*/ 180975 h 571500"/>
                      <a:gd name="connsiteX18" fmla="*/ 777346 w 1047221"/>
                      <a:gd name="connsiteY18" fmla="*/ 238125 h 571500"/>
                      <a:gd name="connsiteX19" fmla="*/ 678921 w 1047221"/>
                      <a:gd name="connsiteY19" fmla="*/ 263525 h 571500"/>
                      <a:gd name="connsiteX20" fmla="*/ 555096 w 1047221"/>
                      <a:gd name="connsiteY20" fmla="*/ 320675 h 571500"/>
                      <a:gd name="connsiteX21" fmla="*/ 501121 w 1047221"/>
                      <a:gd name="connsiteY21" fmla="*/ 342900 h 571500"/>
                      <a:gd name="connsiteX22" fmla="*/ 431271 w 1047221"/>
                      <a:gd name="connsiteY22" fmla="*/ 365125 h 571500"/>
                      <a:gd name="connsiteX23" fmla="*/ 351896 w 1047221"/>
                      <a:gd name="connsiteY23" fmla="*/ 365125 h 571500"/>
                      <a:gd name="connsiteX24" fmla="*/ 266171 w 1047221"/>
                      <a:gd name="connsiteY24" fmla="*/ 352425 h 571500"/>
                      <a:gd name="connsiteX25" fmla="*/ 180446 w 1047221"/>
                      <a:gd name="connsiteY25" fmla="*/ 314325 h 571500"/>
                      <a:gd name="connsiteX26" fmla="*/ 104246 w 1047221"/>
                      <a:gd name="connsiteY26" fmla="*/ 257175 h 571500"/>
                      <a:gd name="connsiteX27" fmla="*/ 59796 w 1047221"/>
                      <a:gd name="connsiteY27" fmla="*/ 206375 h 571500"/>
                      <a:gd name="connsiteX28" fmla="*/ 40747 w 1047221"/>
                      <a:gd name="connsiteY28" fmla="*/ 166688 h 571500"/>
                      <a:gd name="connsiteX29" fmla="*/ 30427 w 1047221"/>
                      <a:gd name="connsiteY29" fmla="*/ 198438 h 571500"/>
                      <a:gd name="connsiteX0" fmla="*/ 30427 w 1047221"/>
                      <a:gd name="connsiteY0" fmla="*/ 198438 h 571500"/>
                      <a:gd name="connsiteX1" fmla="*/ 47096 w 1047221"/>
                      <a:gd name="connsiteY1" fmla="*/ 266700 h 571500"/>
                      <a:gd name="connsiteX2" fmla="*/ 75671 w 1047221"/>
                      <a:gd name="connsiteY2" fmla="*/ 346075 h 571500"/>
                      <a:gd name="connsiteX3" fmla="*/ 120121 w 1047221"/>
                      <a:gd name="connsiteY3" fmla="*/ 431800 h 571500"/>
                      <a:gd name="connsiteX4" fmla="*/ 174096 w 1047221"/>
                      <a:gd name="connsiteY4" fmla="*/ 495300 h 571500"/>
                      <a:gd name="connsiteX5" fmla="*/ 282046 w 1047221"/>
                      <a:gd name="connsiteY5" fmla="*/ 546100 h 571500"/>
                      <a:gd name="connsiteX6" fmla="*/ 437621 w 1047221"/>
                      <a:gd name="connsiteY6" fmla="*/ 571500 h 571500"/>
                      <a:gd name="connsiteX7" fmla="*/ 590021 w 1047221"/>
                      <a:gd name="connsiteY7" fmla="*/ 530225 h 571500"/>
                      <a:gd name="connsiteX8" fmla="*/ 729721 w 1047221"/>
                      <a:gd name="connsiteY8" fmla="*/ 450850 h 571500"/>
                      <a:gd name="connsiteX9" fmla="*/ 850371 w 1047221"/>
                      <a:gd name="connsiteY9" fmla="*/ 336550 h 571500"/>
                      <a:gd name="connsiteX10" fmla="*/ 917046 w 1047221"/>
                      <a:gd name="connsiteY10" fmla="*/ 241300 h 571500"/>
                      <a:gd name="connsiteX11" fmla="*/ 993246 w 1047221"/>
                      <a:gd name="connsiteY11" fmla="*/ 155575 h 571500"/>
                      <a:gd name="connsiteX12" fmla="*/ 1024996 w 1047221"/>
                      <a:gd name="connsiteY12" fmla="*/ 92075 h 571500"/>
                      <a:gd name="connsiteX13" fmla="*/ 1047221 w 1047221"/>
                      <a:gd name="connsiteY13" fmla="*/ 41275 h 571500"/>
                      <a:gd name="connsiteX14" fmla="*/ 1047221 w 1047221"/>
                      <a:gd name="connsiteY14" fmla="*/ 0 h 571500"/>
                      <a:gd name="connsiteX15" fmla="*/ 1002771 w 1047221"/>
                      <a:gd name="connsiteY15" fmla="*/ 69850 h 571500"/>
                      <a:gd name="connsiteX16" fmla="*/ 996421 w 1047221"/>
                      <a:gd name="connsiteY16" fmla="*/ 79375 h 571500"/>
                      <a:gd name="connsiteX17" fmla="*/ 904346 w 1047221"/>
                      <a:gd name="connsiteY17" fmla="*/ 180975 h 571500"/>
                      <a:gd name="connsiteX18" fmla="*/ 777346 w 1047221"/>
                      <a:gd name="connsiteY18" fmla="*/ 238125 h 571500"/>
                      <a:gd name="connsiteX19" fmla="*/ 678921 w 1047221"/>
                      <a:gd name="connsiteY19" fmla="*/ 263525 h 571500"/>
                      <a:gd name="connsiteX20" fmla="*/ 555096 w 1047221"/>
                      <a:gd name="connsiteY20" fmla="*/ 320675 h 571500"/>
                      <a:gd name="connsiteX21" fmla="*/ 501121 w 1047221"/>
                      <a:gd name="connsiteY21" fmla="*/ 342900 h 571500"/>
                      <a:gd name="connsiteX22" fmla="*/ 431271 w 1047221"/>
                      <a:gd name="connsiteY22" fmla="*/ 365125 h 571500"/>
                      <a:gd name="connsiteX23" fmla="*/ 342371 w 1047221"/>
                      <a:gd name="connsiteY23" fmla="*/ 355600 h 571500"/>
                      <a:gd name="connsiteX24" fmla="*/ 266171 w 1047221"/>
                      <a:gd name="connsiteY24" fmla="*/ 352425 h 571500"/>
                      <a:gd name="connsiteX25" fmla="*/ 180446 w 1047221"/>
                      <a:gd name="connsiteY25" fmla="*/ 314325 h 571500"/>
                      <a:gd name="connsiteX26" fmla="*/ 104246 w 1047221"/>
                      <a:gd name="connsiteY26" fmla="*/ 257175 h 571500"/>
                      <a:gd name="connsiteX27" fmla="*/ 59796 w 1047221"/>
                      <a:gd name="connsiteY27" fmla="*/ 206375 h 571500"/>
                      <a:gd name="connsiteX28" fmla="*/ 40747 w 1047221"/>
                      <a:gd name="connsiteY28" fmla="*/ 166688 h 571500"/>
                      <a:gd name="connsiteX29" fmla="*/ 30427 w 1047221"/>
                      <a:gd name="connsiteY29" fmla="*/ 198438 h 571500"/>
                      <a:gd name="connsiteX0" fmla="*/ 30427 w 1047221"/>
                      <a:gd name="connsiteY0" fmla="*/ 198438 h 571500"/>
                      <a:gd name="connsiteX1" fmla="*/ 47096 w 1047221"/>
                      <a:gd name="connsiteY1" fmla="*/ 266700 h 571500"/>
                      <a:gd name="connsiteX2" fmla="*/ 75671 w 1047221"/>
                      <a:gd name="connsiteY2" fmla="*/ 346075 h 571500"/>
                      <a:gd name="connsiteX3" fmla="*/ 120121 w 1047221"/>
                      <a:gd name="connsiteY3" fmla="*/ 431800 h 571500"/>
                      <a:gd name="connsiteX4" fmla="*/ 174096 w 1047221"/>
                      <a:gd name="connsiteY4" fmla="*/ 495300 h 571500"/>
                      <a:gd name="connsiteX5" fmla="*/ 282046 w 1047221"/>
                      <a:gd name="connsiteY5" fmla="*/ 546100 h 571500"/>
                      <a:gd name="connsiteX6" fmla="*/ 437621 w 1047221"/>
                      <a:gd name="connsiteY6" fmla="*/ 571500 h 571500"/>
                      <a:gd name="connsiteX7" fmla="*/ 590021 w 1047221"/>
                      <a:gd name="connsiteY7" fmla="*/ 530225 h 571500"/>
                      <a:gd name="connsiteX8" fmla="*/ 729721 w 1047221"/>
                      <a:gd name="connsiteY8" fmla="*/ 450850 h 571500"/>
                      <a:gd name="connsiteX9" fmla="*/ 850371 w 1047221"/>
                      <a:gd name="connsiteY9" fmla="*/ 336550 h 571500"/>
                      <a:gd name="connsiteX10" fmla="*/ 917046 w 1047221"/>
                      <a:gd name="connsiteY10" fmla="*/ 241300 h 571500"/>
                      <a:gd name="connsiteX11" fmla="*/ 993246 w 1047221"/>
                      <a:gd name="connsiteY11" fmla="*/ 155575 h 571500"/>
                      <a:gd name="connsiteX12" fmla="*/ 1024996 w 1047221"/>
                      <a:gd name="connsiteY12" fmla="*/ 92075 h 571500"/>
                      <a:gd name="connsiteX13" fmla="*/ 1047221 w 1047221"/>
                      <a:gd name="connsiteY13" fmla="*/ 41275 h 571500"/>
                      <a:gd name="connsiteX14" fmla="*/ 1047221 w 1047221"/>
                      <a:gd name="connsiteY14" fmla="*/ 0 h 571500"/>
                      <a:gd name="connsiteX15" fmla="*/ 1002771 w 1047221"/>
                      <a:gd name="connsiteY15" fmla="*/ 69850 h 571500"/>
                      <a:gd name="connsiteX16" fmla="*/ 996421 w 1047221"/>
                      <a:gd name="connsiteY16" fmla="*/ 79375 h 571500"/>
                      <a:gd name="connsiteX17" fmla="*/ 904346 w 1047221"/>
                      <a:gd name="connsiteY17" fmla="*/ 180975 h 571500"/>
                      <a:gd name="connsiteX18" fmla="*/ 777346 w 1047221"/>
                      <a:gd name="connsiteY18" fmla="*/ 238125 h 571500"/>
                      <a:gd name="connsiteX19" fmla="*/ 678921 w 1047221"/>
                      <a:gd name="connsiteY19" fmla="*/ 263525 h 571500"/>
                      <a:gd name="connsiteX20" fmla="*/ 555096 w 1047221"/>
                      <a:gd name="connsiteY20" fmla="*/ 320675 h 571500"/>
                      <a:gd name="connsiteX21" fmla="*/ 501121 w 1047221"/>
                      <a:gd name="connsiteY21" fmla="*/ 342900 h 571500"/>
                      <a:gd name="connsiteX22" fmla="*/ 431271 w 1047221"/>
                      <a:gd name="connsiteY22" fmla="*/ 365125 h 571500"/>
                      <a:gd name="connsiteX23" fmla="*/ 342371 w 1047221"/>
                      <a:gd name="connsiteY23" fmla="*/ 355600 h 571500"/>
                      <a:gd name="connsiteX24" fmla="*/ 244740 w 1047221"/>
                      <a:gd name="connsiteY24" fmla="*/ 335756 h 571500"/>
                      <a:gd name="connsiteX25" fmla="*/ 180446 w 1047221"/>
                      <a:gd name="connsiteY25" fmla="*/ 314325 h 571500"/>
                      <a:gd name="connsiteX26" fmla="*/ 104246 w 1047221"/>
                      <a:gd name="connsiteY26" fmla="*/ 257175 h 571500"/>
                      <a:gd name="connsiteX27" fmla="*/ 59796 w 1047221"/>
                      <a:gd name="connsiteY27" fmla="*/ 206375 h 571500"/>
                      <a:gd name="connsiteX28" fmla="*/ 40747 w 1047221"/>
                      <a:gd name="connsiteY28" fmla="*/ 166688 h 571500"/>
                      <a:gd name="connsiteX29" fmla="*/ 30427 w 1047221"/>
                      <a:gd name="connsiteY29" fmla="*/ 198438 h 571500"/>
                      <a:gd name="connsiteX0" fmla="*/ 30427 w 1047221"/>
                      <a:gd name="connsiteY0" fmla="*/ 198438 h 571500"/>
                      <a:gd name="connsiteX1" fmla="*/ 47096 w 1047221"/>
                      <a:gd name="connsiteY1" fmla="*/ 266700 h 571500"/>
                      <a:gd name="connsiteX2" fmla="*/ 75671 w 1047221"/>
                      <a:gd name="connsiteY2" fmla="*/ 346075 h 571500"/>
                      <a:gd name="connsiteX3" fmla="*/ 120121 w 1047221"/>
                      <a:gd name="connsiteY3" fmla="*/ 431800 h 571500"/>
                      <a:gd name="connsiteX4" fmla="*/ 174096 w 1047221"/>
                      <a:gd name="connsiteY4" fmla="*/ 495300 h 571500"/>
                      <a:gd name="connsiteX5" fmla="*/ 282046 w 1047221"/>
                      <a:gd name="connsiteY5" fmla="*/ 546100 h 571500"/>
                      <a:gd name="connsiteX6" fmla="*/ 437621 w 1047221"/>
                      <a:gd name="connsiteY6" fmla="*/ 571500 h 571500"/>
                      <a:gd name="connsiteX7" fmla="*/ 590021 w 1047221"/>
                      <a:gd name="connsiteY7" fmla="*/ 530225 h 571500"/>
                      <a:gd name="connsiteX8" fmla="*/ 729721 w 1047221"/>
                      <a:gd name="connsiteY8" fmla="*/ 450850 h 571500"/>
                      <a:gd name="connsiteX9" fmla="*/ 850371 w 1047221"/>
                      <a:gd name="connsiteY9" fmla="*/ 336550 h 571500"/>
                      <a:gd name="connsiteX10" fmla="*/ 917046 w 1047221"/>
                      <a:gd name="connsiteY10" fmla="*/ 241300 h 571500"/>
                      <a:gd name="connsiteX11" fmla="*/ 993246 w 1047221"/>
                      <a:gd name="connsiteY11" fmla="*/ 155575 h 571500"/>
                      <a:gd name="connsiteX12" fmla="*/ 1024996 w 1047221"/>
                      <a:gd name="connsiteY12" fmla="*/ 92075 h 571500"/>
                      <a:gd name="connsiteX13" fmla="*/ 1047221 w 1047221"/>
                      <a:gd name="connsiteY13" fmla="*/ 41275 h 571500"/>
                      <a:gd name="connsiteX14" fmla="*/ 1047221 w 1047221"/>
                      <a:gd name="connsiteY14" fmla="*/ 0 h 571500"/>
                      <a:gd name="connsiteX15" fmla="*/ 1002771 w 1047221"/>
                      <a:gd name="connsiteY15" fmla="*/ 69850 h 571500"/>
                      <a:gd name="connsiteX16" fmla="*/ 996421 w 1047221"/>
                      <a:gd name="connsiteY16" fmla="*/ 79375 h 571500"/>
                      <a:gd name="connsiteX17" fmla="*/ 904346 w 1047221"/>
                      <a:gd name="connsiteY17" fmla="*/ 180975 h 571500"/>
                      <a:gd name="connsiteX18" fmla="*/ 777346 w 1047221"/>
                      <a:gd name="connsiteY18" fmla="*/ 238125 h 571500"/>
                      <a:gd name="connsiteX19" fmla="*/ 678921 w 1047221"/>
                      <a:gd name="connsiteY19" fmla="*/ 263525 h 571500"/>
                      <a:gd name="connsiteX20" fmla="*/ 555096 w 1047221"/>
                      <a:gd name="connsiteY20" fmla="*/ 320675 h 571500"/>
                      <a:gd name="connsiteX21" fmla="*/ 501121 w 1047221"/>
                      <a:gd name="connsiteY21" fmla="*/ 342900 h 571500"/>
                      <a:gd name="connsiteX22" fmla="*/ 431271 w 1047221"/>
                      <a:gd name="connsiteY22" fmla="*/ 365125 h 571500"/>
                      <a:gd name="connsiteX23" fmla="*/ 342371 w 1047221"/>
                      <a:gd name="connsiteY23" fmla="*/ 355600 h 571500"/>
                      <a:gd name="connsiteX24" fmla="*/ 244740 w 1047221"/>
                      <a:gd name="connsiteY24" fmla="*/ 335756 h 571500"/>
                      <a:gd name="connsiteX25" fmla="*/ 180446 w 1047221"/>
                      <a:gd name="connsiteY25" fmla="*/ 314325 h 571500"/>
                      <a:gd name="connsiteX26" fmla="*/ 104246 w 1047221"/>
                      <a:gd name="connsiteY26" fmla="*/ 257175 h 571500"/>
                      <a:gd name="connsiteX27" fmla="*/ 59796 w 1047221"/>
                      <a:gd name="connsiteY27" fmla="*/ 206375 h 571500"/>
                      <a:gd name="connsiteX28" fmla="*/ 40747 w 1047221"/>
                      <a:gd name="connsiteY28" fmla="*/ 166688 h 571500"/>
                      <a:gd name="connsiteX29" fmla="*/ 30427 w 1047221"/>
                      <a:gd name="connsiteY29" fmla="*/ 198438 h 571500"/>
                      <a:gd name="connsiteX0" fmla="*/ 30427 w 1047221"/>
                      <a:gd name="connsiteY0" fmla="*/ 198438 h 571500"/>
                      <a:gd name="connsiteX1" fmla="*/ 47096 w 1047221"/>
                      <a:gd name="connsiteY1" fmla="*/ 266700 h 571500"/>
                      <a:gd name="connsiteX2" fmla="*/ 75671 w 1047221"/>
                      <a:gd name="connsiteY2" fmla="*/ 346075 h 571500"/>
                      <a:gd name="connsiteX3" fmla="*/ 120121 w 1047221"/>
                      <a:gd name="connsiteY3" fmla="*/ 431800 h 571500"/>
                      <a:gd name="connsiteX4" fmla="*/ 174096 w 1047221"/>
                      <a:gd name="connsiteY4" fmla="*/ 495300 h 571500"/>
                      <a:gd name="connsiteX5" fmla="*/ 282046 w 1047221"/>
                      <a:gd name="connsiteY5" fmla="*/ 546100 h 571500"/>
                      <a:gd name="connsiteX6" fmla="*/ 437621 w 1047221"/>
                      <a:gd name="connsiteY6" fmla="*/ 571500 h 571500"/>
                      <a:gd name="connsiteX7" fmla="*/ 590021 w 1047221"/>
                      <a:gd name="connsiteY7" fmla="*/ 530225 h 571500"/>
                      <a:gd name="connsiteX8" fmla="*/ 729721 w 1047221"/>
                      <a:gd name="connsiteY8" fmla="*/ 450850 h 571500"/>
                      <a:gd name="connsiteX9" fmla="*/ 850371 w 1047221"/>
                      <a:gd name="connsiteY9" fmla="*/ 336550 h 571500"/>
                      <a:gd name="connsiteX10" fmla="*/ 917046 w 1047221"/>
                      <a:gd name="connsiteY10" fmla="*/ 241300 h 571500"/>
                      <a:gd name="connsiteX11" fmla="*/ 993246 w 1047221"/>
                      <a:gd name="connsiteY11" fmla="*/ 155575 h 571500"/>
                      <a:gd name="connsiteX12" fmla="*/ 1024996 w 1047221"/>
                      <a:gd name="connsiteY12" fmla="*/ 92075 h 571500"/>
                      <a:gd name="connsiteX13" fmla="*/ 1047221 w 1047221"/>
                      <a:gd name="connsiteY13" fmla="*/ 41275 h 571500"/>
                      <a:gd name="connsiteX14" fmla="*/ 1047221 w 1047221"/>
                      <a:gd name="connsiteY14" fmla="*/ 0 h 571500"/>
                      <a:gd name="connsiteX15" fmla="*/ 1002771 w 1047221"/>
                      <a:gd name="connsiteY15" fmla="*/ 69850 h 571500"/>
                      <a:gd name="connsiteX16" fmla="*/ 996421 w 1047221"/>
                      <a:gd name="connsiteY16" fmla="*/ 79375 h 571500"/>
                      <a:gd name="connsiteX17" fmla="*/ 904346 w 1047221"/>
                      <a:gd name="connsiteY17" fmla="*/ 180975 h 571500"/>
                      <a:gd name="connsiteX18" fmla="*/ 777346 w 1047221"/>
                      <a:gd name="connsiteY18" fmla="*/ 238125 h 571500"/>
                      <a:gd name="connsiteX19" fmla="*/ 678921 w 1047221"/>
                      <a:gd name="connsiteY19" fmla="*/ 263525 h 571500"/>
                      <a:gd name="connsiteX20" fmla="*/ 555096 w 1047221"/>
                      <a:gd name="connsiteY20" fmla="*/ 320675 h 571500"/>
                      <a:gd name="connsiteX21" fmla="*/ 501121 w 1047221"/>
                      <a:gd name="connsiteY21" fmla="*/ 342900 h 571500"/>
                      <a:gd name="connsiteX22" fmla="*/ 431271 w 1047221"/>
                      <a:gd name="connsiteY22" fmla="*/ 365125 h 571500"/>
                      <a:gd name="connsiteX23" fmla="*/ 342371 w 1047221"/>
                      <a:gd name="connsiteY23" fmla="*/ 355600 h 571500"/>
                      <a:gd name="connsiteX24" fmla="*/ 244740 w 1047221"/>
                      <a:gd name="connsiteY24" fmla="*/ 335756 h 571500"/>
                      <a:gd name="connsiteX25" fmla="*/ 180446 w 1047221"/>
                      <a:gd name="connsiteY25" fmla="*/ 314325 h 571500"/>
                      <a:gd name="connsiteX26" fmla="*/ 104246 w 1047221"/>
                      <a:gd name="connsiteY26" fmla="*/ 257175 h 571500"/>
                      <a:gd name="connsiteX27" fmla="*/ 59796 w 1047221"/>
                      <a:gd name="connsiteY27" fmla="*/ 206375 h 571500"/>
                      <a:gd name="connsiteX28" fmla="*/ 40747 w 1047221"/>
                      <a:gd name="connsiteY28" fmla="*/ 166688 h 571500"/>
                      <a:gd name="connsiteX29" fmla="*/ 30427 w 1047221"/>
                      <a:gd name="connsiteY29" fmla="*/ 198438 h 5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47221" h="571500">
                        <a:moveTo>
                          <a:pt x="30427" y="198438"/>
                        </a:moveTo>
                        <a:lnTo>
                          <a:pt x="47096" y="266700"/>
                        </a:lnTo>
                        <a:lnTo>
                          <a:pt x="75671" y="346075"/>
                        </a:lnTo>
                        <a:lnTo>
                          <a:pt x="120121" y="431800"/>
                        </a:lnTo>
                        <a:cubicBezTo>
                          <a:pt x="174762" y="499298"/>
                          <a:pt x="132801" y="434975"/>
                          <a:pt x="174096" y="495300"/>
                        </a:cubicBezTo>
                        <a:cubicBezTo>
                          <a:pt x="276654" y="543374"/>
                          <a:pt x="241468" y="546100"/>
                          <a:pt x="282046" y="546100"/>
                        </a:cubicBezTo>
                        <a:lnTo>
                          <a:pt x="437621" y="571500"/>
                        </a:lnTo>
                        <a:lnTo>
                          <a:pt x="590021" y="530225"/>
                        </a:lnTo>
                        <a:lnTo>
                          <a:pt x="729721" y="450850"/>
                        </a:lnTo>
                        <a:lnTo>
                          <a:pt x="850371" y="336550"/>
                        </a:lnTo>
                        <a:lnTo>
                          <a:pt x="917046" y="241300"/>
                        </a:lnTo>
                        <a:lnTo>
                          <a:pt x="993246" y="155575"/>
                        </a:lnTo>
                        <a:lnTo>
                          <a:pt x="1024996" y="92075"/>
                        </a:lnTo>
                        <a:lnTo>
                          <a:pt x="1047221" y="41275"/>
                        </a:lnTo>
                        <a:lnTo>
                          <a:pt x="1047221" y="0"/>
                        </a:lnTo>
                        <a:cubicBezTo>
                          <a:pt x="1018212" y="64465"/>
                          <a:pt x="1025982" y="38100"/>
                          <a:pt x="1002771" y="69850"/>
                        </a:cubicBezTo>
                        <a:cubicBezTo>
                          <a:pt x="991129" y="94192"/>
                          <a:pt x="1012825" y="60854"/>
                          <a:pt x="996421" y="79375"/>
                        </a:cubicBezTo>
                        <a:cubicBezTo>
                          <a:pt x="980017" y="97896"/>
                          <a:pt x="937684" y="165629"/>
                          <a:pt x="904346" y="180975"/>
                        </a:cubicBezTo>
                        <a:lnTo>
                          <a:pt x="777346" y="238125"/>
                        </a:lnTo>
                        <a:lnTo>
                          <a:pt x="678921" y="263525"/>
                        </a:lnTo>
                        <a:cubicBezTo>
                          <a:pt x="578522" y="302389"/>
                          <a:pt x="625202" y="285750"/>
                          <a:pt x="555096" y="320675"/>
                        </a:cubicBezTo>
                        <a:cubicBezTo>
                          <a:pt x="483932" y="359492"/>
                          <a:pt x="556388" y="328115"/>
                          <a:pt x="501121" y="342900"/>
                        </a:cubicBezTo>
                        <a:cubicBezTo>
                          <a:pt x="435623" y="365824"/>
                          <a:pt x="460047" y="365125"/>
                          <a:pt x="431271" y="365125"/>
                        </a:cubicBezTo>
                        <a:lnTo>
                          <a:pt x="342371" y="355600"/>
                        </a:lnTo>
                        <a:lnTo>
                          <a:pt x="244740" y="335756"/>
                        </a:lnTo>
                        <a:cubicBezTo>
                          <a:pt x="163199" y="299878"/>
                          <a:pt x="191220" y="318521"/>
                          <a:pt x="180446" y="314325"/>
                        </a:cubicBezTo>
                        <a:cubicBezTo>
                          <a:pt x="106217" y="259460"/>
                          <a:pt x="128824" y="281753"/>
                          <a:pt x="104246" y="257175"/>
                        </a:cubicBezTo>
                        <a:lnTo>
                          <a:pt x="59796" y="206375"/>
                        </a:lnTo>
                        <a:cubicBezTo>
                          <a:pt x="48419" y="192881"/>
                          <a:pt x="45642" y="168011"/>
                          <a:pt x="40747" y="166688"/>
                        </a:cubicBezTo>
                        <a:cubicBezTo>
                          <a:pt x="35852" y="165365"/>
                          <a:pt x="0" y="123826"/>
                          <a:pt x="30427" y="19843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nvGrpSpPr>
                  <p:cNvPr id="641" name="Group 25">
                    <a:extLst>
                      <a:ext uri="{FF2B5EF4-FFF2-40B4-BE49-F238E27FC236}">
                        <a16:creationId xmlns:a16="http://schemas.microsoft.com/office/drawing/2014/main" id="{D40C4758-F224-4426-B84E-719DFE5BE671}"/>
                      </a:ext>
                    </a:extLst>
                  </p:cNvPr>
                  <p:cNvGrpSpPr/>
                  <p:nvPr/>
                </p:nvGrpSpPr>
                <p:grpSpPr>
                  <a:xfrm rot="21265943">
                    <a:off x="4513526" y="781824"/>
                    <a:ext cx="121769" cy="51843"/>
                    <a:chOff x="3959225" y="3527425"/>
                    <a:chExt cx="641350" cy="273050"/>
                  </a:xfrm>
                  <a:grpFill/>
                </p:grpSpPr>
                <p:sp>
                  <p:nvSpPr>
                    <p:cNvPr id="650" name="Freeform 261">
                      <a:extLst>
                        <a:ext uri="{FF2B5EF4-FFF2-40B4-BE49-F238E27FC236}">
                          <a16:creationId xmlns:a16="http://schemas.microsoft.com/office/drawing/2014/main" id="{185EC287-E41C-400A-A16C-5AAD57E10FF1}"/>
                        </a:ext>
                      </a:extLst>
                    </p:cNvPr>
                    <p:cNvSpPr/>
                    <p:nvPr/>
                  </p:nvSpPr>
                  <p:spPr>
                    <a:xfrm>
                      <a:off x="4006850" y="3565525"/>
                      <a:ext cx="504825" cy="222353"/>
                    </a:xfrm>
                    <a:custGeom>
                      <a:avLst/>
                      <a:gdLst>
                        <a:gd name="connsiteX0" fmla="*/ 57150 w 504825"/>
                        <a:gd name="connsiteY0" fmla="*/ 203200 h 222353"/>
                        <a:gd name="connsiteX1" fmla="*/ 0 w 504825"/>
                        <a:gd name="connsiteY1" fmla="*/ 187325 h 222353"/>
                        <a:gd name="connsiteX2" fmla="*/ 47625 w 504825"/>
                        <a:gd name="connsiteY2" fmla="*/ 82550 h 222353"/>
                        <a:gd name="connsiteX3" fmla="*/ 155575 w 504825"/>
                        <a:gd name="connsiteY3" fmla="*/ 9525 h 222353"/>
                        <a:gd name="connsiteX4" fmla="*/ 320675 w 504825"/>
                        <a:gd name="connsiteY4" fmla="*/ 0 h 222353"/>
                        <a:gd name="connsiteX5" fmla="*/ 482600 w 504825"/>
                        <a:gd name="connsiteY5" fmla="*/ 66675 h 222353"/>
                        <a:gd name="connsiteX6" fmla="*/ 504825 w 504825"/>
                        <a:gd name="connsiteY6" fmla="*/ 123825 h 222353"/>
                        <a:gd name="connsiteX7" fmla="*/ 438150 w 504825"/>
                        <a:gd name="connsiteY7" fmla="*/ 187325 h 222353"/>
                        <a:gd name="connsiteX8" fmla="*/ 317500 w 504825"/>
                        <a:gd name="connsiteY8" fmla="*/ 219075 h 222353"/>
                        <a:gd name="connsiteX9" fmla="*/ 174625 w 504825"/>
                        <a:gd name="connsiteY9" fmla="*/ 222250 h 222353"/>
                        <a:gd name="connsiteX10" fmla="*/ 57150 w 504825"/>
                        <a:gd name="connsiteY10" fmla="*/ 203200 h 222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4825" h="222353">
                          <a:moveTo>
                            <a:pt x="57150" y="203200"/>
                          </a:moveTo>
                          <a:lnTo>
                            <a:pt x="0" y="187325"/>
                          </a:lnTo>
                          <a:cubicBezTo>
                            <a:pt x="48074" y="84767"/>
                            <a:pt x="47625" y="123128"/>
                            <a:pt x="47625" y="82550"/>
                          </a:cubicBezTo>
                          <a:lnTo>
                            <a:pt x="155575" y="9525"/>
                          </a:lnTo>
                          <a:cubicBezTo>
                            <a:pt x="210605" y="6288"/>
                            <a:pt x="265550" y="0"/>
                            <a:pt x="320675" y="0"/>
                          </a:cubicBezTo>
                          <a:lnTo>
                            <a:pt x="482600" y="66675"/>
                          </a:lnTo>
                          <a:lnTo>
                            <a:pt x="504825" y="123825"/>
                          </a:lnTo>
                          <a:lnTo>
                            <a:pt x="438150" y="187325"/>
                          </a:lnTo>
                          <a:cubicBezTo>
                            <a:pt x="319653" y="219351"/>
                            <a:pt x="361238" y="219075"/>
                            <a:pt x="317500" y="219075"/>
                          </a:cubicBezTo>
                          <a:cubicBezTo>
                            <a:pt x="183093" y="222353"/>
                            <a:pt x="230730" y="222250"/>
                            <a:pt x="174625" y="222250"/>
                          </a:cubicBezTo>
                          <a:lnTo>
                            <a:pt x="57150" y="2032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nvGrpSpPr>
                    <p:cNvPr id="651" name="Group 135">
                      <a:extLst>
                        <a:ext uri="{FF2B5EF4-FFF2-40B4-BE49-F238E27FC236}">
                          <a16:creationId xmlns:a16="http://schemas.microsoft.com/office/drawing/2014/main" id="{E63A5EB8-31B4-4575-A118-B64B00010087}"/>
                        </a:ext>
                      </a:extLst>
                    </p:cNvPr>
                    <p:cNvGrpSpPr/>
                    <p:nvPr/>
                  </p:nvGrpSpPr>
                  <p:grpSpPr>
                    <a:xfrm>
                      <a:off x="4181475" y="3562351"/>
                      <a:ext cx="225425" cy="215900"/>
                      <a:chOff x="4114800" y="3581400"/>
                      <a:chExt cx="228600" cy="228600"/>
                    </a:xfrm>
                    <a:grpFill/>
                  </p:grpSpPr>
                  <p:sp>
                    <p:nvSpPr>
                      <p:cNvPr id="654" name="Oval 653">
                        <a:extLst>
                          <a:ext uri="{FF2B5EF4-FFF2-40B4-BE49-F238E27FC236}">
                            <a16:creationId xmlns:a16="http://schemas.microsoft.com/office/drawing/2014/main" id="{8EDB9224-BF6B-456D-9FF2-C04E2FF57FA1}"/>
                          </a:ext>
                        </a:extLst>
                      </p:cNvPr>
                      <p:cNvSpPr/>
                      <p:nvPr/>
                    </p:nvSpPr>
                    <p:spPr>
                      <a:xfrm>
                        <a:off x="4114800" y="3581400"/>
                        <a:ext cx="228600" cy="2286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55" name="Oval 654">
                        <a:extLst>
                          <a:ext uri="{FF2B5EF4-FFF2-40B4-BE49-F238E27FC236}">
                            <a16:creationId xmlns:a16="http://schemas.microsoft.com/office/drawing/2014/main" id="{C615F65E-AEE8-4F20-B007-0CA6A7881467}"/>
                          </a:ext>
                        </a:extLst>
                      </p:cNvPr>
                      <p:cNvSpPr/>
                      <p:nvPr/>
                    </p:nvSpPr>
                    <p:spPr>
                      <a:xfrm>
                        <a:off x="4165599" y="3632195"/>
                        <a:ext cx="123825" cy="12382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56" name="Oval 655">
                        <a:extLst>
                          <a:ext uri="{FF2B5EF4-FFF2-40B4-BE49-F238E27FC236}">
                            <a16:creationId xmlns:a16="http://schemas.microsoft.com/office/drawing/2014/main" id="{EBF93E27-B330-4E51-863C-344AC9BC64ED}"/>
                          </a:ext>
                        </a:extLst>
                      </p:cNvPr>
                      <p:cNvSpPr/>
                      <p:nvPr/>
                    </p:nvSpPr>
                    <p:spPr>
                      <a:xfrm>
                        <a:off x="4241800" y="3641725"/>
                        <a:ext cx="45719" cy="457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sp>
                  <p:nvSpPr>
                    <p:cNvPr id="652" name="Freeform 263">
                      <a:extLst>
                        <a:ext uri="{FF2B5EF4-FFF2-40B4-BE49-F238E27FC236}">
                          <a16:creationId xmlns:a16="http://schemas.microsoft.com/office/drawing/2014/main" id="{10EAD00A-1A96-4FA7-A4AC-BF239C6AF6E7}"/>
                        </a:ext>
                      </a:extLst>
                    </p:cNvPr>
                    <p:cNvSpPr/>
                    <p:nvPr/>
                  </p:nvSpPr>
                  <p:spPr>
                    <a:xfrm>
                      <a:off x="4032250" y="3663950"/>
                      <a:ext cx="492125" cy="136525"/>
                    </a:xfrm>
                    <a:custGeom>
                      <a:avLst/>
                      <a:gdLst>
                        <a:gd name="connsiteX0" fmla="*/ 0 w 492125"/>
                        <a:gd name="connsiteY0" fmla="*/ 98425 h 136525"/>
                        <a:gd name="connsiteX1" fmla="*/ 73025 w 492125"/>
                        <a:gd name="connsiteY1" fmla="*/ 98425 h 136525"/>
                        <a:gd name="connsiteX2" fmla="*/ 165100 w 492125"/>
                        <a:gd name="connsiteY2" fmla="*/ 111125 h 136525"/>
                        <a:gd name="connsiteX3" fmla="*/ 295275 w 492125"/>
                        <a:gd name="connsiteY3" fmla="*/ 98425 h 136525"/>
                        <a:gd name="connsiteX4" fmla="*/ 396875 w 492125"/>
                        <a:gd name="connsiteY4" fmla="*/ 69850 h 136525"/>
                        <a:gd name="connsiteX5" fmla="*/ 473075 w 492125"/>
                        <a:gd name="connsiteY5" fmla="*/ 0 h 136525"/>
                        <a:gd name="connsiteX6" fmla="*/ 492125 w 492125"/>
                        <a:gd name="connsiteY6" fmla="*/ 25400 h 136525"/>
                        <a:gd name="connsiteX7" fmla="*/ 482600 w 492125"/>
                        <a:gd name="connsiteY7" fmla="*/ 60325 h 136525"/>
                        <a:gd name="connsiteX8" fmla="*/ 419100 w 492125"/>
                        <a:gd name="connsiteY8" fmla="*/ 111125 h 136525"/>
                        <a:gd name="connsiteX9" fmla="*/ 311150 w 492125"/>
                        <a:gd name="connsiteY9" fmla="*/ 133350 h 136525"/>
                        <a:gd name="connsiteX10" fmla="*/ 149225 w 492125"/>
                        <a:gd name="connsiteY10" fmla="*/ 136525 h 136525"/>
                        <a:gd name="connsiteX11" fmla="*/ 53975 w 492125"/>
                        <a:gd name="connsiteY11" fmla="*/ 120650 h 136525"/>
                        <a:gd name="connsiteX12" fmla="*/ 0 w 492125"/>
                        <a:gd name="connsiteY12" fmla="*/ 98425 h 13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2125" h="136525">
                          <a:moveTo>
                            <a:pt x="0" y="98425"/>
                          </a:moveTo>
                          <a:lnTo>
                            <a:pt x="73025" y="98425"/>
                          </a:lnTo>
                          <a:lnTo>
                            <a:pt x="165100" y="111125"/>
                          </a:lnTo>
                          <a:lnTo>
                            <a:pt x="295275" y="98425"/>
                          </a:lnTo>
                          <a:lnTo>
                            <a:pt x="396875" y="69850"/>
                          </a:lnTo>
                          <a:cubicBezTo>
                            <a:pt x="473871" y="2478"/>
                            <a:pt x="473075" y="36926"/>
                            <a:pt x="473075" y="0"/>
                          </a:cubicBezTo>
                          <a:lnTo>
                            <a:pt x="492125" y="25400"/>
                          </a:lnTo>
                          <a:lnTo>
                            <a:pt x="482600" y="60325"/>
                          </a:lnTo>
                          <a:cubicBezTo>
                            <a:pt x="421465" y="111807"/>
                            <a:pt x="448563" y="111125"/>
                            <a:pt x="419100" y="111125"/>
                          </a:cubicBezTo>
                          <a:lnTo>
                            <a:pt x="311150" y="133350"/>
                          </a:lnTo>
                          <a:lnTo>
                            <a:pt x="149225" y="136525"/>
                          </a:lnTo>
                          <a:cubicBezTo>
                            <a:pt x="56107" y="120470"/>
                            <a:pt x="88295" y="120650"/>
                            <a:pt x="53975" y="120650"/>
                          </a:cubicBezTo>
                          <a:lnTo>
                            <a:pt x="0" y="9842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53" name="Freeform 264">
                      <a:extLst>
                        <a:ext uri="{FF2B5EF4-FFF2-40B4-BE49-F238E27FC236}">
                          <a16:creationId xmlns:a16="http://schemas.microsoft.com/office/drawing/2014/main" id="{868AEAC6-F43E-4D2E-A925-E046072EBEB3}"/>
                        </a:ext>
                      </a:extLst>
                    </p:cNvPr>
                    <p:cNvSpPr/>
                    <p:nvPr/>
                  </p:nvSpPr>
                  <p:spPr>
                    <a:xfrm>
                      <a:off x="3959225" y="3527425"/>
                      <a:ext cx="641350" cy="263525"/>
                    </a:xfrm>
                    <a:custGeom>
                      <a:avLst/>
                      <a:gdLst>
                        <a:gd name="connsiteX0" fmla="*/ 0 w 641350"/>
                        <a:gd name="connsiteY0" fmla="*/ 263525 h 263525"/>
                        <a:gd name="connsiteX1" fmla="*/ 73025 w 641350"/>
                        <a:gd name="connsiteY1" fmla="*/ 228600 h 263525"/>
                        <a:gd name="connsiteX2" fmla="*/ 101600 w 641350"/>
                        <a:gd name="connsiteY2" fmla="*/ 165100 h 263525"/>
                        <a:gd name="connsiteX3" fmla="*/ 155575 w 641350"/>
                        <a:gd name="connsiteY3" fmla="*/ 88900 h 263525"/>
                        <a:gd name="connsiteX4" fmla="*/ 257175 w 641350"/>
                        <a:gd name="connsiteY4" fmla="*/ 73025 h 263525"/>
                        <a:gd name="connsiteX5" fmla="*/ 384175 w 641350"/>
                        <a:gd name="connsiteY5" fmla="*/ 88900 h 263525"/>
                        <a:gd name="connsiteX6" fmla="*/ 508000 w 641350"/>
                        <a:gd name="connsiteY6" fmla="*/ 127000 h 263525"/>
                        <a:gd name="connsiteX7" fmla="*/ 619125 w 641350"/>
                        <a:gd name="connsiteY7" fmla="*/ 190500 h 263525"/>
                        <a:gd name="connsiteX8" fmla="*/ 641350 w 641350"/>
                        <a:gd name="connsiteY8" fmla="*/ 200025 h 263525"/>
                        <a:gd name="connsiteX9" fmla="*/ 606425 w 641350"/>
                        <a:gd name="connsiteY9" fmla="*/ 161925 h 263525"/>
                        <a:gd name="connsiteX10" fmla="*/ 530225 w 641350"/>
                        <a:gd name="connsiteY10" fmla="*/ 76200 h 263525"/>
                        <a:gd name="connsiteX11" fmla="*/ 438150 w 641350"/>
                        <a:gd name="connsiteY11" fmla="*/ 19050 h 263525"/>
                        <a:gd name="connsiteX12" fmla="*/ 247650 w 641350"/>
                        <a:gd name="connsiteY12" fmla="*/ 0 h 263525"/>
                        <a:gd name="connsiteX13" fmla="*/ 133350 w 641350"/>
                        <a:gd name="connsiteY13" fmla="*/ 22225 h 263525"/>
                        <a:gd name="connsiteX14" fmla="*/ 79375 w 641350"/>
                        <a:gd name="connsiteY14" fmla="*/ 82550 h 263525"/>
                        <a:gd name="connsiteX15" fmla="*/ 41275 w 641350"/>
                        <a:gd name="connsiteY15" fmla="*/ 200025 h 263525"/>
                        <a:gd name="connsiteX16" fmla="*/ 0 w 641350"/>
                        <a:gd name="connsiteY16" fmla="*/ 263525 h 263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41350" h="263525">
                          <a:moveTo>
                            <a:pt x="0" y="263525"/>
                          </a:moveTo>
                          <a:lnTo>
                            <a:pt x="73025" y="228600"/>
                          </a:lnTo>
                          <a:lnTo>
                            <a:pt x="101600" y="165100"/>
                          </a:lnTo>
                          <a:lnTo>
                            <a:pt x="155575" y="88900"/>
                          </a:lnTo>
                          <a:lnTo>
                            <a:pt x="257175" y="73025"/>
                          </a:lnTo>
                          <a:lnTo>
                            <a:pt x="384175" y="88900"/>
                          </a:lnTo>
                          <a:lnTo>
                            <a:pt x="508000" y="127000"/>
                          </a:lnTo>
                          <a:lnTo>
                            <a:pt x="619125" y="190500"/>
                          </a:lnTo>
                          <a:lnTo>
                            <a:pt x="641350" y="200025"/>
                          </a:lnTo>
                          <a:lnTo>
                            <a:pt x="606425" y="161925"/>
                          </a:lnTo>
                          <a:lnTo>
                            <a:pt x="530225" y="76200"/>
                          </a:lnTo>
                          <a:lnTo>
                            <a:pt x="438150" y="19050"/>
                          </a:lnTo>
                          <a:lnTo>
                            <a:pt x="247650" y="0"/>
                          </a:lnTo>
                          <a:lnTo>
                            <a:pt x="133350" y="22225"/>
                          </a:lnTo>
                          <a:lnTo>
                            <a:pt x="79375" y="82550"/>
                          </a:lnTo>
                          <a:lnTo>
                            <a:pt x="41275" y="200025"/>
                          </a:lnTo>
                          <a:lnTo>
                            <a:pt x="0" y="26352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sp>
                <p:nvSpPr>
                  <p:cNvPr id="642" name="Freeform 253">
                    <a:extLst>
                      <a:ext uri="{FF2B5EF4-FFF2-40B4-BE49-F238E27FC236}">
                        <a16:creationId xmlns:a16="http://schemas.microsoft.com/office/drawing/2014/main" id="{FB797D1C-4ABC-4F30-BC77-D0468A02A55E}"/>
                      </a:ext>
                    </a:extLst>
                  </p:cNvPr>
                  <p:cNvSpPr/>
                  <p:nvPr/>
                </p:nvSpPr>
                <p:spPr>
                  <a:xfrm>
                    <a:off x="5007230" y="721530"/>
                    <a:ext cx="44307" cy="100369"/>
                  </a:xfrm>
                  <a:custGeom>
                    <a:avLst/>
                    <a:gdLst>
                      <a:gd name="connsiteX0" fmla="*/ 0 w 233362"/>
                      <a:gd name="connsiteY0" fmla="*/ 66675 h 468290"/>
                      <a:gd name="connsiteX1" fmla="*/ 47625 w 233362"/>
                      <a:gd name="connsiteY1" fmla="*/ 0 h 468290"/>
                      <a:gd name="connsiteX2" fmla="*/ 142875 w 233362"/>
                      <a:gd name="connsiteY2" fmla="*/ 9525 h 468290"/>
                      <a:gd name="connsiteX3" fmla="*/ 200025 w 233362"/>
                      <a:gd name="connsiteY3" fmla="*/ 57150 h 468290"/>
                      <a:gd name="connsiteX4" fmla="*/ 219075 w 233362"/>
                      <a:gd name="connsiteY4" fmla="*/ 166687 h 468290"/>
                      <a:gd name="connsiteX5" fmla="*/ 233362 w 233362"/>
                      <a:gd name="connsiteY5" fmla="*/ 300037 h 468290"/>
                      <a:gd name="connsiteX6" fmla="*/ 209550 w 233362"/>
                      <a:gd name="connsiteY6" fmla="*/ 466725 h 468290"/>
                      <a:gd name="connsiteX7" fmla="*/ 200025 w 233362"/>
                      <a:gd name="connsiteY7" fmla="*/ 309562 h 468290"/>
                      <a:gd name="connsiteX8" fmla="*/ 157162 w 233362"/>
                      <a:gd name="connsiteY8" fmla="*/ 171450 h 468290"/>
                      <a:gd name="connsiteX9" fmla="*/ 128587 w 233362"/>
                      <a:gd name="connsiteY9" fmla="*/ 95250 h 468290"/>
                      <a:gd name="connsiteX10" fmla="*/ 90487 w 233362"/>
                      <a:gd name="connsiteY10" fmla="*/ 71437 h 468290"/>
                      <a:gd name="connsiteX11" fmla="*/ 0 w 233362"/>
                      <a:gd name="connsiteY11" fmla="*/ 66675 h 468290"/>
                      <a:gd name="connsiteX0" fmla="*/ 0 w 233362"/>
                      <a:gd name="connsiteY0" fmla="*/ 66675 h 528638"/>
                      <a:gd name="connsiteX1" fmla="*/ 47625 w 233362"/>
                      <a:gd name="connsiteY1" fmla="*/ 0 h 528638"/>
                      <a:gd name="connsiteX2" fmla="*/ 142875 w 233362"/>
                      <a:gd name="connsiteY2" fmla="*/ 9525 h 528638"/>
                      <a:gd name="connsiteX3" fmla="*/ 200025 w 233362"/>
                      <a:gd name="connsiteY3" fmla="*/ 57150 h 528638"/>
                      <a:gd name="connsiteX4" fmla="*/ 219075 w 233362"/>
                      <a:gd name="connsiteY4" fmla="*/ 166687 h 528638"/>
                      <a:gd name="connsiteX5" fmla="*/ 233362 w 233362"/>
                      <a:gd name="connsiteY5" fmla="*/ 300037 h 528638"/>
                      <a:gd name="connsiteX6" fmla="*/ 176213 w 233362"/>
                      <a:gd name="connsiteY6" fmla="*/ 528638 h 528638"/>
                      <a:gd name="connsiteX7" fmla="*/ 200025 w 233362"/>
                      <a:gd name="connsiteY7" fmla="*/ 309562 h 528638"/>
                      <a:gd name="connsiteX8" fmla="*/ 157162 w 233362"/>
                      <a:gd name="connsiteY8" fmla="*/ 171450 h 528638"/>
                      <a:gd name="connsiteX9" fmla="*/ 128587 w 233362"/>
                      <a:gd name="connsiteY9" fmla="*/ 95250 h 528638"/>
                      <a:gd name="connsiteX10" fmla="*/ 90487 w 233362"/>
                      <a:gd name="connsiteY10" fmla="*/ 71437 h 528638"/>
                      <a:gd name="connsiteX11" fmla="*/ 0 w 233362"/>
                      <a:gd name="connsiteY11" fmla="*/ 66675 h 528638"/>
                      <a:gd name="connsiteX0" fmla="*/ 0 w 233362"/>
                      <a:gd name="connsiteY0" fmla="*/ 66675 h 528638"/>
                      <a:gd name="connsiteX1" fmla="*/ 47625 w 233362"/>
                      <a:gd name="connsiteY1" fmla="*/ 0 h 528638"/>
                      <a:gd name="connsiteX2" fmla="*/ 142875 w 233362"/>
                      <a:gd name="connsiteY2" fmla="*/ 9525 h 528638"/>
                      <a:gd name="connsiteX3" fmla="*/ 200025 w 233362"/>
                      <a:gd name="connsiteY3" fmla="*/ 57150 h 528638"/>
                      <a:gd name="connsiteX4" fmla="*/ 219075 w 233362"/>
                      <a:gd name="connsiteY4" fmla="*/ 166687 h 528638"/>
                      <a:gd name="connsiteX5" fmla="*/ 233362 w 233362"/>
                      <a:gd name="connsiteY5" fmla="*/ 300037 h 528638"/>
                      <a:gd name="connsiteX6" fmla="*/ 176213 w 233362"/>
                      <a:gd name="connsiteY6" fmla="*/ 528638 h 528638"/>
                      <a:gd name="connsiteX7" fmla="*/ 200025 w 233362"/>
                      <a:gd name="connsiteY7" fmla="*/ 309562 h 528638"/>
                      <a:gd name="connsiteX8" fmla="*/ 157162 w 233362"/>
                      <a:gd name="connsiteY8" fmla="*/ 171450 h 528638"/>
                      <a:gd name="connsiteX9" fmla="*/ 128587 w 233362"/>
                      <a:gd name="connsiteY9" fmla="*/ 95250 h 528638"/>
                      <a:gd name="connsiteX10" fmla="*/ 90487 w 233362"/>
                      <a:gd name="connsiteY10" fmla="*/ 71437 h 528638"/>
                      <a:gd name="connsiteX11" fmla="*/ 0 w 233362"/>
                      <a:gd name="connsiteY11" fmla="*/ 66675 h 528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3362" h="528638">
                        <a:moveTo>
                          <a:pt x="0" y="66675"/>
                        </a:moveTo>
                        <a:lnTo>
                          <a:pt x="47625" y="0"/>
                        </a:lnTo>
                        <a:lnTo>
                          <a:pt x="142875" y="9525"/>
                        </a:lnTo>
                        <a:lnTo>
                          <a:pt x="200025" y="57150"/>
                        </a:lnTo>
                        <a:lnTo>
                          <a:pt x="219075" y="166687"/>
                        </a:lnTo>
                        <a:lnTo>
                          <a:pt x="233362" y="300037"/>
                        </a:lnTo>
                        <a:cubicBezTo>
                          <a:pt x="204519" y="468290"/>
                          <a:pt x="219852" y="395288"/>
                          <a:pt x="176213" y="528638"/>
                        </a:cubicBezTo>
                        <a:lnTo>
                          <a:pt x="200025" y="309562"/>
                        </a:lnTo>
                        <a:lnTo>
                          <a:pt x="157162" y="171450"/>
                        </a:lnTo>
                        <a:lnTo>
                          <a:pt x="128587" y="95250"/>
                        </a:lnTo>
                        <a:lnTo>
                          <a:pt x="90487" y="71437"/>
                        </a:lnTo>
                        <a:lnTo>
                          <a:pt x="0" y="6667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43" name="Freeform 254">
                    <a:extLst>
                      <a:ext uri="{FF2B5EF4-FFF2-40B4-BE49-F238E27FC236}">
                        <a16:creationId xmlns:a16="http://schemas.microsoft.com/office/drawing/2014/main" id="{76539DF8-A5C2-4A5D-8949-9FD5CD24FF76}"/>
                      </a:ext>
                    </a:extLst>
                  </p:cNvPr>
                  <p:cNvSpPr/>
                  <p:nvPr/>
                </p:nvSpPr>
                <p:spPr>
                  <a:xfrm>
                    <a:off x="4977209" y="750465"/>
                    <a:ext cx="53530" cy="99464"/>
                  </a:xfrm>
                  <a:custGeom>
                    <a:avLst/>
                    <a:gdLst>
                      <a:gd name="connsiteX0" fmla="*/ 72391 w 281941"/>
                      <a:gd name="connsiteY0" fmla="*/ 0 h 523875"/>
                      <a:gd name="connsiteX1" fmla="*/ 72391 w 281941"/>
                      <a:gd name="connsiteY1" fmla="*/ 57150 h 523875"/>
                      <a:gd name="connsiteX2" fmla="*/ 100966 w 281941"/>
                      <a:gd name="connsiteY2" fmla="*/ 76200 h 523875"/>
                      <a:gd name="connsiteX3" fmla="*/ 158116 w 281941"/>
                      <a:gd name="connsiteY3" fmla="*/ 85725 h 523875"/>
                      <a:gd name="connsiteX4" fmla="*/ 191453 w 281941"/>
                      <a:gd name="connsiteY4" fmla="*/ 104775 h 523875"/>
                      <a:gd name="connsiteX5" fmla="*/ 229553 w 281941"/>
                      <a:gd name="connsiteY5" fmla="*/ 147637 h 523875"/>
                      <a:gd name="connsiteX6" fmla="*/ 272416 w 281941"/>
                      <a:gd name="connsiteY6" fmla="*/ 223837 h 523875"/>
                      <a:gd name="connsiteX7" fmla="*/ 281941 w 281941"/>
                      <a:gd name="connsiteY7" fmla="*/ 300037 h 523875"/>
                      <a:gd name="connsiteX8" fmla="*/ 253366 w 281941"/>
                      <a:gd name="connsiteY8" fmla="*/ 366712 h 523875"/>
                      <a:gd name="connsiteX9" fmla="*/ 200978 w 281941"/>
                      <a:gd name="connsiteY9" fmla="*/ 390525 h 523875"/>
                      <a:gd name="connsiteX10" fmla="*/ 129541 w 281941"/>
                      <a:gd name="connsiteY10" fmla="*/ 438150 h 523875"/>
                      <a:gd name="connsiteX11" fmla="*/ 91441 w 281941"/>
                      <a:gd name="connsiteY11" fmla="*/ 514350 h 523875"/>
                      <a:gd name="connsiteX12" fmla="*/ 58103 w 281941"/>
                      <a:gd name="connsiteY12" fmla="*/ 523875 h 523875"/>
                      <a:gd name="connsiteX13" fmla="*/ 34291 w 281941"/>
                      <a:gd name="connsiteY13" fmla="*/ 485775 h 523875"/>
                      <a:gd name="connsiteX14" fmla="*/ 77153 w 281941"/>
                      <a:gd name="connsiteY14" fmla="*/ 423862 h 523875"/>
                      <a:gd name="connsiteX15" fmla="*/ 96203 w 281941"/>
                      <a:gd name="connsiteY15" fmla="*/ 285750 h 523875"/>
                      <a:gd name="connsiteX16" fmla="*/ 43816 w 281941"/>
                      <a:gd name="connsiteY16" fmla="*/ 238125 h 523875"/>
                      <a:gd name="connsiteX17" fmla="*/ 953 w 281941"/>
                      <a:gd name="connsiteY17" fmla="*/ 176212 h 523875"/>
                      <a:gd name="connsiteX18" fmla="*/ 20003 w 281941"/>
                      <a:gd name="connsiteY18" fmla="*/ 90487 h 523875"/>
                      <a:gd name="connsiteX19" fmla="*/ 72391 w 281941"/>
                      <a:gd name="connsiteY19" fmla="*/ 0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1941" h="523875">
                        <a:moveTo>
                          <a:pt x="72391" y="0"/>
                        </a:moveTo>
                        <a:lnTo>
                          <a:pt x="72391" y="57150"/>
                        </a:lnTo>
                        <a:cubicBezTo>
                          <a:pt x="97443" y="77192"/>
                          <a:pt x="86038" y="76200"/>
                          <a:pt x="100966" y="76200"/>
                        </a:cubicBezTo>
                        <a:lnTo>
                          <a:pt x="158116" y="85725"/>
                        </a:lnTo>
                        <a:lnTo>
                          <a:pt x="191453" y="104775"/>
                        </a:lnTo>
                        <a:lnTo>
                          <a:pt x="229553" y="147637"/>
                        </a:lnTo>
                        <a:lnTo>
                          <a:pt x="272416" y="223837"/>
                        </a:lnTo>
                        <a:lnTo>
                          <a:pt x="281941" y="300037"/>
                        </a:lnTo>
                        <a:lnTo>
                          <a:pt x="253366" y="366712"/>
                        </a:lnTo>
                        <a:lnTo>
                          <a:pt x="200978" y="390525"/>
                        </a:lnTo>
                        <a:lnTo>
                          <a:pt x="129541" y="438150"/>
                        </a:lnTo>
                        <a:lnTo>
                          <a:pt x="91441" y="514350"/>
                        </a:lnTo>
                        <a:lnTo>
                          <a:pt x="58103" y="523875"/>
                        </a:lnTo>
                        <a:lnTo>
                          <a:pt x="34291" y="485775"/>
                        </a:lnTo>
                        <a:lnTo>
                          <a:pt x="77153" y="423862"/>
                        </a:lnTo>
                        <a:lnTo>
                          <a:pt x="96203" y="285750"/>
                        </a:lnTo>
                        <a:lnTo>
                          <a:pt x="43816" y="238125"/>
                        </a:lnTo>
                        <a:cubicBezTo>
                          <a:pt x="0" y="179705"/>
                          <a:pt x="953" y="204788"/>
                          <a:pt x="953" y="176212"/>
                        </a:cubicBezTo>
                        <a:lnTo>
                          <a:pt x="20003" y="90487"/>
                        </a:lnTo>
                        <a:lnTo>
                          <a:pt x="72391"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44" name="Freeform 255">
                    <a:extLst>
                      <a:ext uri="{FF2B5EF4-FFF2-40B4-BE49-F238E27FC236}">
                        <a16:creationId xmlns:a16="http://schemas.microsoft.com/office/drawing/2014/main" id="{ABE87963-C0F8-4B80-BD53-1773AA016D5C}"/>
                      </a:ext>
                    </a:extLst>
                  </p:cNvPr>
                  <p:cNvSpPr/>
                  <p:nvPr/>
                </p:nvSpPr>
                <p:spPr>
                  <a:xfrm>
                    <a:off x="4736868" y="905087"/>
                    <a:ext cx="117549" cy="66008"/>
                  </a:xfrm>
                  <a:custGeom>
                    <a:avLst/>
                    <a:gdLst>
                      <a:gd name="connsiteX0" fmla="*/ 0 w 604837"/>
                      <a:gd name="connsiteY0" fmla="*/ 4763 h 367239"/>
                      <a:gd name="connsiteX1" fmla="*/ 57150 w 604837"/>
                      <a:gd name="connsiteY1" fmla="*/ 0 h 367239"/>
                      <a:gd name="connsiteX2" fmla="*/ 119062 w 604837"/>
                      <a:gd name="connsiteY2" fmla="*/ 14288 h 367239"/>
                      <a:gd name="connsiteX3" fmla="*/ 233362 w 604837"/>
                      <a:gd name="connsiteY3" fmla="*/ 100013 h 367239"/>
                      <a:gd name="connsiteX4" fmla="*/ 347662 w 604837"/>
                      <a:gd name="connsiteY4" fmla="*/ 200025 h 367239"/>
                      <a:gd name="connsiteX5" fmla="*/ 452437 w 604837"/>
                      <a:gd name="connsiteY5" fmla="*/ 290513 h 367239"/>
                      <a:gd name="connsiteX6" fmla="*/ 561975 w 604837"/>
                      <a:gd name="connsiteY6" fmla="*/ 323850 h 367239"/>
                      <a:gd name="connsiteX7" fmla="*/ 604837 w 604837"/>
                      <a:gd name="connsiteY7" fmla="*/ 314325 h 367239"/>
                      <a:gd name="connsiteX8" fmla="*/ 528637 w 604837"/>
                      <a:gd name="connsiteY8" fmla="*/ 347663 h 367239"/>
                      <a:gd name="connsiteX9" fmla="*/ 414337 w 604837"/>
                      <a:gd name="connsiteY9" fmla="*/ 323850 h 367239"/>
                      <a:gd name="connsiteX10" fmla="*/ 319087 w 604837"/>
                      <a:gd name="connsiteY10" fmla="*/ 233363 h 367239"/>
                      <a:gd name="connsiteX11" fmla="*/ 204787 w 604837"/>
                      <a:gd name="connsiteY11" fmla="*/ 133350 h 367239"/>
                      <a:gd name="connsiteX12" fmla="*/ 109537 w 604837"/>
                      <a:gd name="connsiteY12" fmla="*/ 61913 h 367239"/>
                      <a:gd name="connsiteX13" fmla="*/ 0 w 604837"/>
                      <a:gd name="connsiteY13" fmla="*/ 4763 h 367239"/>
                      <a:gd name="connsiteX0" fmla="*/ 0 w 604837"/>
                      <a:gd name="connsiteY0" fmla="*/ 4763 h 367239"/>
                      <a:gd name="connsiteX1" fmla="*/ 57150 w 604837"/>
                      <a:gd name="connsiteY1" fmla="*/ 0 h 367239"/>
                      <a:gd name="connsiteX2" fmla="*/ 119062 w 604837"/>
                      <a:gd name="connsiteY2" fmla="*/ 14288 h 367239"/>
                      <a:gd name="connsiteX3" fmla="*/ 233362 w 604837"/>
                      <a:gd name="connsiteY3" fmla="*/ 100013 h 367239"/>
                      <a:gd name="connsiteX4" fmla="*/ 347662 w 604837"/>
                      <a:gd name="connsiteY4" fmla="*/ 200025 h 367239"/>
                      <a:gd name="connsiteX5" fmla="*/ 452437 w 604837"/>
                      <a:gd name="connsiteY5" fmla="*/ 290513 h 367239"/>
                      <a:gd name="connsiteX6" fmla="*/ 561975 w 604837"/>
                      <a:gd name="connsiteY6" fmla="*/ 323850 h 367239"/>
                      <a:gd name="connsiteX7" fmla="*/ 604837 w 604837"/>
                      <a:gd name="connsiteY7" fmla="*/ 314325 h 367239"/>
                      <a:gd name="connsiteX8" fmla="*/ 528637 w 604837"/>
                      <a:gd name="connsiteY8" fmla="*/ 347663 h 367239"/>
                      <a:gd name="connsiteX9" fmla="*/ 414337 w 604837"/>
                      <a:gd name="connsiteY9" fmla="*/ 323850 h 367239"/>
                      <a:gd name="connsiteX10" fmla="*/ 319087 w 604837"/>
                      <a:gd name="connsiteY10" fmla="*/ 233363 h 367239"/>
                      <a:gd name="connsiteX11" fmla="*/ 204787 w 604837"/>
                      <a:gd name="connsiteY11" fmla="*/ 133350 h 367239"/>
                      <a:gd name="connsiteX12" fmla="*/ 109537 w 604837"/>
                      <a:gd name="connsiteY12" fmla="*/ 61913 h 367239"/>
                      <a:gd name="connsiteX13" fmla="*/ 0 w 604837"/>
                      <a:gd name="connsiteY13" fmla="*/ 4763 h 367239"/>
                      <a:gd name="connsiteX0" fmla="*/ 0 w 604837"/>
                      <a:gd name="connsiteY0" fmla="*/ 4763 h 369620"/>
                      <a:gd name="connsiteX1" fmla="*/ 57150 w 604837"/>
                      <a:gd name="connsiteY1" fmla="*/ 0 h 369620"/>
                      <a:gd name="connsiteX2" fmla="*/ 119062 w 604837"/>
                      <a:gd name="connsiteY2" fmla="*/ 14288 h 369620"/>
                      <a:gd name="connsiteX3" fmla="*/ 233362 w 604837"/>
                      <a:gd name="connsiteY3" fmla="*/ 100013 h 369620"/>
                      <a:gd name="connsiteX4" fmla="*/ 347662 w 604837"/>
                      <a:gd name="connsiteY4" fmla="*/ 200025 h 369620"/>
                      <a:gd name="connsiteX5" fmla="*/ 452437 w 604837"/>
                      <a:gd name="connsiteY5" fmla="*/ 290513 h 369620"/>
                      <a:gd name="connsiteX6" fmla="*/ 561975 w 604837"/>
                      <a:gd name="connsiteY6" fmla="*/ 323850 h 369620"/>
                      <a:gd name="connsiteX7" fmla="*/ 604837 w 604837"/>
                      <a:gd name="connsiteY7" fmla="*/ 314325 h 369620"/>
                      <a:gd name="connsiteX8" fmla="*/ 528637 w 604837"/>
                      <a:gd name="connsiteY8" fmla="*/ 347663 h 369620"/>
                      <a:gd name="connsiteX9" fmla="*/ 414337 w 604837"/>
                      <a:gd name="connsiteY9" fmla="*/ 323850 h 369620"/>
                      <a:gd name="connsiteX10" fmla="*/ 319087 w 604837"/>
                      <a:gd name="connsiteY10" fmla="*/ 233363 h 369620"/>
                      <a:gd name="connsiteX11" fmla="*/ 204787 w 604837"/>
                      <a:gd name="connsiteY11" fmla="*/ 133350 h 369620"/>
                      <a:gd name="connsiteX12" fmla="*/ 109537 w 604837"/>
                      <a:gd name="connsiteY12" fmla="*/ 61913 h 369620"/>
                      <a:gd name="connsiteX13" fmla="*/ 0 w 604837"/>
                      <a:gd name="connsiteY13" fmla="*/ 4763 h 369620"/>
                      <a:gd name="connsiteX0" fmla="*/ 0 w 604837"/>
                      <a:gd name="connsiteY0" fmla="*/ 4763 h 347663"/>
                      <a:gd name="connsiteX1" fmla="*/ 57150 w 604837"/>
                      <a:gd name="connsiteY1" fmla="*/ 0 h 347663"/>
                      <a:gd name="connsiteX2" fmla="*/ 119062 w 604837"/>
                      <a:gd name="connsiteY2" fmla="*/ 14288 h 347663"/>
                      <a:gd name="connsiteX3" fmla="*/ 233362 w 604837"/>
                      <a:gd name="connsiteY3" fmla="*/ 100013 h 347663"/>
                      <a:gd name="connsiteX4" fmla="*/ 347662 w 604837"/>
                      <a:gd name="connsiteY4" fmla="*/ 200025 h 347663"/>
                      <a:gd name="connsiteX5" fmla="*/ 452437 w 604837"/>
                      <a:gd name="connsiteY5" fmla="*/ 290513 h 347663"/>
                      <a:gd name="connsiteX6" fmla="*/ 561975 w 604837"/>
                      <a:gd name="connsiteY6" fmla="*/ 323850 h 347663"/>
                      <a:gd name="connsiteX7" fmla="*/ 604837 w 604837"/>
                      <a:gd name="connsiteY7" fmla="*/ 314325 h 347663"/>
                      <a:gd name="connsiteX8" fmla="*/ 528637 w 604837"/>
                      <a:gd name="connsiteY8" fmla="*/ 347663 h 347663"/>
                      <a:gd name="connsiteX9" fmla="*/ 414337 w 604837"/>
                      <a:gd name="connsiteY9" fmla="*/ 323850 h 347663"/>
                      <a:gd name="connsiteX10" fmla="*/ 319087 w 604837"/>
                      <a:gd name="connsiteY10" fmla="*/ 233363 h 347663"/>
                      <a:gd name="connsiteX11" fmla="*/ 204787 w 604837"/>
                      <a:gd name="connsiteY11" fmla="*/ 133350 h 347663"/>
                      <a:gd name="connsiteX12" fmla="*/ 109537 w 604837"/>
                      <a:gd name="connsiteY12" fmla="*/ 61913 h 347663"/>
                      <a:gd name="connsiteX13" fmla="*/ 0 w 604837"/>
                      <a:gd name="connsiteY13" fmla="*/ 4763 h 347663"/>
                      <a:gd name="connsiteX0" fmla="*/ 0 w 604837"/>
                      <a:gd name="connsiteY0" fmla="*/ 4763 h 347663"/>
                      <a:gd name="connsiteX1" fmla="*/ 57150 w 604837"/>
                      <a:gd name="connsiteY1" fmla="*/ 0 h 347663"/>
                      <a:gd name="connsiteX2" fmla="*/ 119062 w 604837"/>
                      <a:gd name="connsiteY2" fmla="*/ 14288 h 347663"/>
                      <a:gd name="connsiteX3" fmla="*/ 233362 w 604837"/>
                      <a:gd name="connsiteY3" fmla="*/ 100013 h 347663"/>
                      <a:gd name="connsiteX4" fmla="*/ 347662 w 604837"/>
                      <a:gd name="connsiteY4" fmla="*/ 200025 h 347663"/>
                      <a:gd name="connsiteX5" fmla="*/ 452437 w 604837"/>
                      <a:gd name="connsiteY5" fmla="*/ 290513 h 347663"/>
                      <a:gd name="connsiteX6" fmla="*/ 561975 w 604837"/>
                      <a:gd name="connsiteY6" fmla="*/ 323850 h 347663"/>
                      <a:gd name="connsiteX7" fmla="*/ 604837 w 604837"/>
                      <a:gd name="connsiteY7" fmla="*/ 314325 h 347663"/>
                      <a:gd name="connsiteX8" fmla="*/ 528637 w 604837"/>
                      <a:gd name="connsiteY8" fmla="*/ 347663 h 347663"/>
                      <a:gd name="connsiteX9" fmla="*/ 414337 w 604837"/>
                      <a:gd name="connsiteY9" fmla="*/ 323850 h 347663"/>
                      <a:gd name="connsiteX10" fmla="*/ 319087 w 604837"/>
                      <a:gd name="connsiteY10" fmla="*/ 233363 h 347663"/>
                      <a:gd name="connsiteX11" fmla="*/ 204787 w 604837"/>
                      <a:gd name="connsiteY11" fmla="*/ 133350 h 347663"/>
                      <a:gd name="connsiteX12" fmla="*/ 109537 w 604837"/>
                      <a:gd name="connsiteY12" fmla="*/ 61913 h 347663"/>
                      <a:gd name="connsiteX13" fmla="*/ 0 w 604837"/>
                      <a:gd name="connsiteY13" fmla="*/ 4763 h 347663"/>
                      <a:gd name="connsiteX0" fmla="*/ 0 w 619124"/>
                      <a:gd name="connsiteY0" fmla="*/ 11907 h 347663"/>
                      <a:gd name="connsiteX1" fmla="*/ 71437 w 619124"/>
                      <a:gd name="connsiteY1" fmla="*/ 0 h 347663"/>
                      <a:gd name="connsiteX2" fmla="*/ 133349 w 619124"/>
                      <a:gd name="connsiteY2" fmla="*/ 14288 h 347663"/>
                      <a:gd name="connsiteX3" fmla="*/ 247649 w 619124"/>
                      <a:gd name="connsiteY3" fmla="*/ 100013 h 347663"/>
                      <a:gd name="connsiteX4" fmla="*/ 361949 w 619124"/>
                      <a:gd name="connsiteY4" fmla="*/ 200025 h 347663"/>
                      <a:gd name="connsiteX5" fmla="*/ 466724 w 619124"/>
                      <a:gd name="connsiteY5" fmla="*/ 290513 h 347663"/>
                      <a:gd name="connsiteX6" fmla="*/ 576262 w 619124"/>
                      <a:gd name="connsiteY6" fmla="*/ 323850 h 347663"/>
                      <a:gd name="connsiteX7" fmla="*/ 619124 w 619124"/>
                      <a:gd name="connsiteY7" fmla="*/ 314325 h 347663"/>
                      <a:gd name="connsiteX8" fmla="*/ 542924 w 619124"/>
                      <a:gd name="connsiteY8" fmla="*/ 347663 h 347663"/>
                      <a:gd name="connsiteX9" fmla="*/ 428624 w 619124"/>
                      <a:gd name="connsiteY9" fmla="*/ 323850 h 347663"/>
                      <a:gd name="connsiteX10" fmla="*/ 333374 w 619124"/>
                      <a:gd name="connsiteY10" fmla="*/ 233363 h 347663"/>
                      <a:gd name="connsiteX11" fmla="*/ 219074 w 619124"/>
                      <a:gd name="connsiteY11" fmla="*/ 133350 h 347663"/>
                      <a:gd name="connsiteX12" fmla="*/ 123824 w 619124"/>
                      <a:gd name="connsiteY12" fmla="*/ 61913 h 347663"/>
                      <a:gd name="connsiteX13" fmla="*/ 0 w 619124"/>
                      <a:gd name="connsiteY13" fmla="*/ 11907 h 347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19124" h="347663">
                        <a:moveTo>
                          <a:pt x="0" y="11907"/>
                        </a:moveTo>
                        <a:lnTo>
                          <a:pt x="71437" y="0"/>
                        </a:lnTo>
                        <a:lnTo>
                          <a:pt x="133349" y="14288"/>
                        </a:lnTo>
                        <a:cubicBezTo>
                          <a:pt x="244137" y="100991"/>
                          <a:pt x="201285" y="64294"/>
                          <a:pt x="247649" y="100013"/>
                        </a:cubicBezTo>
                        <a:lnTo>
                          <a:pt x="361949" y="200025"/>
                        </a:lnTo>
                        <a:lnTo>
                          <a:pt x="466724" y="290513"/>
                        </a:lnTo>
                        <a:lnTo>
                          <a:pt x="576262" y="323850"/>
                        </a:lnTo>
                        <a:lnTo>
                          <a:pt x="619124" y="314325"/>
                        </a:lnTo>
                        <a:lnTo>
                          <a:pt x="542924" y="347663"/>
                        </a:lnTo>
                        <a:cubicBezTo>
                          <a:pt x="427058" y="328352"/>
                          <a:pt x="485775" y="336283"/>
                          <a:pt x="428624" y="323850"/>
                        </a:cubicBezTo>
                        <a:cubicBezTo>
                          <a:pt x="332194" y="237063"/>
                          <a:pt x="388143" y="302271"/>
                          <a:pt x="333374" y="233363"/>
                        </a:cubicBezTo>
                        <a:lnTo>
                          <a:pt x="219074" y="133350"/>
                        </a:lnTo>
                        <a:lnTo>
                          <a:pt x="123824" y="61913"/>
                        </a:lnTo>
                        <a:lnTo>
                          <a:pt x="0" y="1190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45" name="Freeform 256">
                    <a:extLst>
                      <a:ext uri="{FF2B5EF4-FFF2-40B4-BE49-F238E27FC236}">
                        <a16:creationId xmlns:a16="http://schemas.microsoft.com/office/drawing/2014/main" id="{FE79D65F-5AD6-4A81-8314-0A067633D860}"/>
                      </a:ext>
                    </a:extLst>
                  </p:cNvPr>
                  <p:cNvSpPr/>
                  <p:nvPr/>
                </p:nvSpPr>
                <p:spPr>
                  <a:xfrm>
                    <a:off x="4468856" y="381000"/>
                    <a:ext cx="568575" cy="405091"/>
                  </a:xfrm>
                  <a:custGeom>
                    <a:avLst/>
                    <a:gdLst>
                      <a:gd name="connsiteX0" fmla="*/ 152400 w 2994660"/>
                      <a:gd name="connsiteY0" fmla="*/ 1965960 h 2133600"/>
                      <a:gd name="connsiteX1" fmla="*/ 53340 w 2994660"/>
                      <a:gd name="connsiteY1" fmla="*/ 1889760 h 2133600"/>
                      <a:gd name="connsiteX2" fmla="*/ 0 w 2994660"/>
                      <a:gd name="connsiteY2" fmla="*/ 1699260 h 2133600"/>
                      <a:gd name="connsiteX3" fmla="*/ 38100 w 2994660"/>
                      <a:gd name="connsiteY3" fmla="*/ 1287780 h 2133600"/>
                      <a:gd name="connsiteX4" fmla="*/ 312420 w 2994660"/>
                      <a:gd name="connsiteY4" fmla="*/ 701040 h 2133600"/>
                      <a:gd name="connsiteX5" fmla="*/ 579120 w 2994660"/>
                      <a:gd name="connsiteY5" fmla="*/ 388620 h 2133600"/>
                      <a:gd name="connsiteX6" fmla="*/ 982980 w 2994660"/>
                      <a:gd name="connsiteY6" fmla="*/ 53340 h 2133600"/>
                      <a:gd name="connsiteX7" fmla="*/ 1341120 w 2994660"/>
                      <a:gd name="connsiteY7" fmla="*/ 0 h 2133600"/>
                      <a:gd name="connsiteX8" fmla="*/ 1531620 w 2994660"/>
                      <a:gd name="connsiteY8" fmla="*/ 53340 h 2133600"/>
                      <a:gd name="connsiteX9" fmla="*/ 1729740 w 2994660"/>
                      <a:gd name="connsiteY9" fmla="*/ 7620 h 2133600"/>
                      <a:gd name="connsiteX10" fmla="*/ 2072640 w 2994660"/>
                      <a:gd name="connsiteY10" fmla="*/ 76200 h 2133600"/>
                      <a:gd name="connsiteX11" fmla="*/ 2484120 w 2994660"/>
                      <a:gd name="connsiteY11" fmla="*/ 335280 h 2133600"/>
                      <a:gd name="connsiteX12" fmla="*/ 2697480 w 2994660"/>
                      <a:gd name="connsiteY12" fmla="*/ 594360 h 2133600"/>
                      <a:gd name="connsiteX13" fmla="*/ 2834640 w 2994660"/>
                      <a:gd name="connsiteY13" fmla="*/ 1005840 h 2133600"/>
                      <a:gd name="connsiteX14" fmla="*/ 2903220 w 2994660"/>
                      <a:gd name="connsiteY14" fmla="*/ 1341120 h 2133600"/>
                      <a:gd name="connsiteX15" fmla="*/ 2941320 w 2994660"/>
                      <a:gd name="connsiteY15" fmla="*/ 1600200 h 2133600"/>
                      <a:gd name="connsiteX16" fmla="*/ 2994660 w 2994660"/>
                      <a:gd name="connsiteY16" fmla="*/ 1676400 h 2133600"/>
                      <a:gd name="connsiteX17" fmla="*/ 2895600 w 2994660"/>
                      <a:gd name="connsiteY17" fmla="*/ 1653540 h 2133600"/>
                      <a:gd name="connsiteX18" fmla="*/ 2781300 w 2994660"/>
                      <a:gd name="connsiteY18" fmla="*/ 1744980 h 2133600"/>
                      <a:gd name="connsiteX19" fmla="*/ 2735580 w 2994660"/>
                      <a:gd name="connsiteY19" fmla="*/ 1912620 h 2133600"/>
                      <a:gd name="connsiteX20" fmla="*/ 2575560 w 2994660"/>
                      <a:gd name="connsiteY20" fmla="*/ 2133600 h 2133600"/>
                      <a:gd name="connsiteX21" fmla="*/ 2461260 w 2994660"/>
                      <a:gd name="connsiteY21" fmla="*/ 2065020 h 2133600"/>
                      <a:gd name="connsiteX22" fmla="*/ 2423160 w 2994660"/>
                      <a:gd name="connsiteY22" fmla="*/ 1897380 h 2133600"/>
                      <a:gd name="connsiteX23" fmla="*/ 2369820 w 2994660"/>
                      <a:gd name="connsiteY23" fmla="*/ 1790700 h 2133600"/>
                      <a:gd name="connsiteX24" fmla="*/ 2331720 w 2994660"/>
                      <a:gd name="connsiteY24" fmla="*/ 1722120 h 2133600"/>
                      <a:gd name="connsiteX25" fmla="*/ 2217420 w 2994660"/>
                      <a:gd name="connsiteY25" fmla="*/ 1653540 h 2133600"/>
                      <a:gd name="connsiteX26" fmla="*/ 2156460 w 2994660"/>
                      <a:gd name="connsiteY26" fmla="*/ 1485900 h 2133600"/>
                      <a:gd name="connsiteX27" fmla="*/ 2156460 w 2994660"/>
                      <a:gd name="connsiteY27" fmla="*/ 1318260 h 2133600"/>
                      <a:gd name="connsiteX28" fmla="*/ 1958340 w 2994660"/>
                      <a:gd name="connsiteY28" fmla="*/ 1196340 h 2133600"/>
                      <a:gd name="connsiteX29" fmla="*/ 1828800 w 2994660"/>
                      <a:gd name="connsiteY29" fmla="*/ 1066800 h 2133600"/>
                      <a:gd name="connsiteX30" fmla="*/ 1706880 w 2994660"/>
                      <a:gd name="connsiteY30" fmla="*/ 929640 h 2133600"/>
                      <a:gd name="connsiteX31" fmla="*/ 1554480 w 2994660"/>
                      <a:gd name="connsiteY31" fmla="*/ 883920 h 2133600"/>
                      <a:gd name="connsiteX32" fmla="*/ 1371600 w 2994660"/>
                      <a:gd name="connsiteY32" fmla="*/ 845820 h 2133600"/>
                      <a:gd name="connsiteX33" fmla="*/ 1150620 w 2994660"/>
                      <a:gd name="connsiteY33" fmla="*/ 883920 h 2133600"/>
                      <a:gd name="connsiteX34" fmla="*/ 1028700 w 2994660"/>
                      <a:gd name="connsiteY34" fmla="*/ 861060 h 2133600"/>
                      <a:gd name="connsiteX35" fmla="*/ 853440 w 2994660"/>
                      <a:gd name="connsiteY35" fmla="*/ 830580 h 2133600"/>
                      <a:gd name="connsiteX36" fmla="*/ 640080 w 2994660"/>
                      <a:gd name="connsiteY36" fmla="*/ 891540 h 2133600"/>
                      <a:gd name="connsiteX37" fmla="*/ 464820 w 2994660"/>
                      <a:gd name="connsiteY37" fmla="*/ 960120 h 2133600"/>
                      <a:gd name="connsiteX38" fmla="*/ 342900 w 2994660"/>
                      <a:gd name="connsiteY38" fmla="*/ 1066800 h 2133600"/>
                      <a:gd name="connsiteX39" fmla="*/ 259080 w 2994660"/>
                      <a:gd name="connsiteY39" fmla="*/ 1272540 h 2133600"/>
                      <a:gd name="connsiteX40" fmla="*/ 152400 w 2994660"/>
                      <a:gd name="connsiteY40" fmla="*/ 1600200 h 2133600"/>
                      <a:gd name="connsiteX41" fmla="*/ 129540 w 2994660"/>
                      <a:gd name="connsiteY41" fmla="*/ 1821180 h 2133600"/>
                      <a:gd name="connsiteX42" fmla="*/ 152400 w 2994660"/>
                      <a:gd name="connsiteY42" fmla="*/ 1965960 h 2133600"/>
                      <a:gd name="connsiteX0" fmla="*/ 152400 w 2994660"/>
                      <a:gd name="connsiteY0" fmla="*/ 1965960 h 2133600"/>
                      <a:gd name="connsiteX1" fmla="*/ 53340 w 2994660"/>
                      <a:gd name="connsiteY1" fmla="*/ 1889760 h 2133600"/>
                      <a:gd name="connsiteX2" fmla="*/ 0 w 2994660"/>
                      <a:gd name="connsiteY2" fmla="*/ 1699260 h 2133600"/>
                      <a:gd name="connsiteX3" fmla="*/ 38100 w 2994660"/>
                      <a:gd name="connsiteY3" fmla="*/ 1287780 h 2133600"/>
                      <a:gd name="connsiteX4" fmla="*/ 312420 w 2994660"/>
                      <a:gd name="connsiteY4" fmla="*/ 701040 h 2133600"/>
                      <a:gd name="connsiteX5" fmla="*/ 579120 w 2994660"/>
                      <a:gd name="connsiteY5" fmla="*/ 388620 h 2133600"/>
                      <a:gd name="connsiteX6" fmla="*/ 982980 w 2994660"/>
                      <a:gd name="connsiteY6" fmla="*/ 53340 h 2133600"/>
                      <a:gd name="connsiteX7" fmla="*/ 1341120 w 2994660"/>
                      <a:gd name="connsiteY7" fmla="*/ 0 h 2133600"/>
                      <a:gd name="connsiteX8" fmla="*/ 1531620 w 2994660"/>
                      <a:gd name="connsiteY8" fmla="*/ 53340 h 2133600"/>
                      <a:gd name="connsiteX9" fmla="*/ 1729740 w 2994660"/>
                      <a:gd name="connsiteY9" fmla="*/ 7620 h 2133600"/>
                      <a:gd name="connsiteX10" fmla="*/ 2072640 w 2994660"/>
                      <a:gd name="connsiteY10" fmla="*/ 76200 h 2133600"/>
                      <a:gd name="connsiteX11" fmla="*/ 2484120 w 2994660"/>
                      <a:gd name="connsiteY11" fmla="*/ 335280 h 2133600"/>
                      <a:gd name="connsiteX12" fmla="*/ 2697480 w 2994660"/>
                      <a:gd name="connsiteY12" fmla="*/ 594360 h 2133600"/>
                      <a:gd name="connsiteX13" fmla="*/ 2834640 w 2994660"/>
                      <a:gd name="connsiteY13" fmla="*/ 1005840 h 2133600"/>
                      <a:gd name="connsiteX14" fmla="*/ 2903220 w 2994660"/>
                      <a:gd name="connsiteY14" fmla="*/ 1341120 h 2133600"/>
                      <a:gd name="connsiteX15" fmla="*/ 2941320 w 2994660"/>
                      <a:gd name="connsiteY15" fmla="*/ 1600200 h 2133600"/>
                      <a:gd name="connsiteX16" fmla="*/ 2994660 w 2994660"/>
                      <a:gd name="connsiteY16" fmla="*/ 1676400 h 2133600"/>
                      <a:gd name="connsiteX17" fmla="*/ 2895600 w 2994660"/>
                      <a:gd name="connsiteY17" fmla="*/ 1653540 h 2133600"/>
                      <a:gd name="connsiteX18" fmla="*/ 2781300 w 2994660"/>
                      <a:gd name="connsiteY18" fmla="*/ 1744980 h 2133600"/>
                      <a:gd name="connsiteX19" fmla="*/ 2735580 w 2994660"/>
                      <a:gd name="connsiteY19" fmla="*/ 1912620 h 2133600"/>
                      <a:gd name="connsiteX20" fmla="*/ 2575560 w 2994660"/>
                      <a:gd name="connsiteY20" fmla="*/ 2133600 h 2133600"/>
                      <a:gd name="connsiteX21" fmla="*/ 2461260 w 2994660"/>
                      <a:gd name="connsiteY21" fmla="*/ 2065020 h 2133600"/>
                      <a:gd name="connsiteX22" fmla="*/ 2423160 w 2994660"/>
                      <a:gd name="connsiteY22" fmla="*/ 1897380 h 2133600"/>
                      <a:gd name="connsiteX23" fmla="*/ 2369820 w 2994660"/>
                      <a:gd name="connsiteY23" fmla="*/ 1790700 h 2133600"/>
                      <a:gd name="connsiteX24" fmla="*/ 2331720 w 2994660"/>
                      <a:gd name="connsiteY24" fmla="*/ 1722120 h 2133600"/>
                      <a:gd name="connsiteX25" fmla="*/ 2217420 w 2994660"/>
                      <a:gd name="connsiteY25" fmla="*/ 1653540 h 2133600"/>
                      <a:gd name="connsiteX26" fmla="*/ 2156460 w 2994660"/>
                      <a:gd name="connsiteY26" fmla="*/ 1485900 h 2133600"/>
                      <a:gd name="connsiteX27" fmla="*/ 2156460 w 2994660"/>
                      <a:gd name="connsiteY27" fmla="*/ 1318260 h 2133600"/>
                      <a:gd name="connsiteX28" fmla="*/ 1958340 w 2994660"/>
                      <a:gd name="connsiteY28" fmla="*/ 1196340 h 2133600"/>
                      <a:gd name="connsiteX29" fmla="*/ 1828800 w 2994660"/>
                      <a:gd name="connsiteY29" fmla="*/ 1066800 h 2133600"/>
                      <a:gd name="connsiteX30" fmla="*/ 1706880 w 2994660"/>
                      <a:gd name="connsiteY30" fmla="*/ 929640 h 2133600"/>
                      <a:gd name="connsiteX31" fmla="*/ 1554480 w 2994660"/>
                      <a:gd name="connsiteY31" fmla="*/ 883920 h 2133600"/>
                      <a:gd name="connsiteX32" fmla="*/ 1371600 w 2994660"/>
                      <a:gd name="connsiteY32" fmla="*/ 845820 h 2133600"/>
                      <a:gd name="connsiteX33" fmla="*/ 1150620 w 2994660"/>
                      <a:gd name="connsiteY33" fmla="*/ 883920 h 2133600"/>
                      <a:gd name="connsiteX34" fmla="*/ 1028700 w 2994660"/>
                      <a:gd name="connsiteY34" fmla="*/ 861060 h 2133600"/>
                      <a:gd name="connsiteX35" fmla="*/ 853440 w 2994660"/>
                      <a:gd name="connsiteY35" fmla="*/ 830580 h 2133600"/>
                      <a:gd name="connsiteX36" fmla="*/ 640080 w 2994660"/>
                      <a:gd name="connsiteY36" fmla="*/ 891540 h 2133600"/>
                      <a:gd name="connsiteX37" fmla="*/ 464820 w 2994660"/>
                      <a:gd name="connsiteY37" fmla="*/ 960120 h 2133600"/>
                      <a:gd name="connsiteX38" fmla="*/ 342900 w 2994660"/>
                      <a:gd name="connsiteY38" fmla="*/ 1066800 h 2133600"/>
                      <a:gd name="connsiteX39" fmla="*/ 198120 w 2994660"/>
                      <a:gd name="connsiteY39" fmla="*/ 1356360 h 2133600"/>
                      <a:gd name="connsiteX40" fmla="*/ 152400 w 2994660"/>
                      <a:gd name="connsiteY40" fmla="*/ 1600200 h 2133600"/>
                      <a:gd name="connsiteX41" fmla="*/ 129540 w 2994660"/>
                      <a:gd name="connsiteY41" fmla="*/ 1821180 h 2133600"/>
                      <a:gd name="connsiteX42" fmla="*/ 152400 w 2994660"/>
                      <a:gd name="connsiteY42" fmla="*/ 1965960 h 2133600"/>
                      <a:gd name="connsiteX0" fmla="*/ 152400 w 2994660"/>
                      <a:gd name="connsiteY0" fmla="*/ 1965960 h 2133600"/>
                      <a:gd name="connsiteX1" fmla="*/ 53340 w 2994660"/>
                      <a:gd name="connsiteY1" fmla="*/ 1889760 h 2133600"/>
                      <a:gd name="connsiteX2" fmla="*/ 0 w 2994660"/>
                      <a:gd name="connsiteY2" fmla="*/ 1699260 h 2133600"/>
                      <a:gd name="connsiteX3" fmla="*/ 38100 w 2994660"/>
                      <a:gd name="connsiteY3" fmla="*/ 1287780 h 2133600"/>
                      <a:gd name="connsiteX4" fmla="*/ 312420 w 2994660"/>
                      <a:gd name="connsiteY4" fmla="*/ 701040 h 2133600"/>
                      <a:gd name="connsiteX5" fmla="*/ 579120 w 2994660"/>
                      <a:gd name="connsiteY5" fmla="*/ 388620 h 2133600"/>
                      <a:gd name="connsiteX6" fmla="*/ 982980 w 2994660"/>
                      <a:gd name="connsiteY6" fmla="*/ 53340 h 2133600"/>
                      <a:gd name="connsiteX7" fmla="*/ 1341120 w 2994660"/>
                      <a:gd name="connsiteY7" fmla="*/ 0 h 2133600"/>
                      <a:gd name="connsiteX8" fmla="*/ 1531620 w 2994660"/>
                      <a:gd name="connsiteY8" fmla="*/ 53340 h 2133600"/>
                      <a:gd name="connsiteX9" fmla="*/ 1729740 w 2994660"/>
                      <a:gd name="connsiteY9" fmla="*/ 7620 h 2133600"/>
                      <a:gd name="connsiteX10" fmla="*/ 2072640 w 2994660"/>
                      <a:gd name="connsiteY10" fmla="*/ 76200 h 2133600"/>
                      <a:gd name="connsiteX11" fmla="*/ 2484120 w 2994660"/>
                      <a:gd name="connsiteY11" fmla="*/ 335280 h 2133600"/>
                      <a:gd name="connsiteX12" fmla="*/ 2697480 w 2994660"/>
                      <a:gd name="connsiteY12" fmla="*/ 594360 h 2133600"/>
                      <a:gd name="connsiteX13" fmla="*/ 2834640 w 2994660"/>
                      <a:gd name="connsiteY13" fmla="*/ 1005840 h 2133600"/>
                      <a:gd name="connsiteX14" fmla="*/ 2903220 w 2994660"/>
                      <a:gd name="connsiteY14" fmla="*/ 1341120 h 2133600"/>
                      <a:gd name="connsiteX15" fmla="*/ 2941320 w 2994660"/>
                      <a:gd name="connsiteY15" fmla="*/ 1600200 h 2133600"/>
                      <a:gd name="connsiteX16" fmla="*/ 2994660 w 2994660"/>
                      <a:gd name="connsiteY16" fmla="*/ 1676400 h 2133600"/>
                      <a:gd name="connsiteX17" fmla="*/ 2895600 w 2994660"/>
                      <a:gd name="connsiteY17" fmla="*/ 1653540 h 2133600"/>
                      <a:gd name="connsiteX18" fmla="*/ 2781300 w 2994660"/>
                      <a:gd name="connsiteY18" fmla="*/ 1744980 h 2133600"/>
                      <a:gd name="connsiteX19" fmla="*/ 2735580 w 2994660"/>
                      <a:gd name="connsiteY19" fmla="*/ 1912620 h 2133600"/>
                      <a:gd name="connsiteX20" fmla="*/ 2575560 w 2994660"/>
                      <a:gd name="connsiteY20" fmla="*/ 2133600 h 2133600"/>
                      <a:gd name="connsiteX21" fmla="*/ 2461260 w 2994660"/>
                      <a:gd name="connsiteY21" fmla="*/ 2065020 h 2133600"/>
                      <a:gd name="connsiteX22" fmla="*/ 2423160 w 2994660"/>
                      <a:gd name="connsiteY22" fmla="*/ 1897380 h 2133600"/>
                      <a:gd name="connsiteX23" fmla="*/ 2369820 w 2994660"/>
                      <a:gd name="connsiteY23" fmla="*/ 1790700 h 2133600"/>
                      <a:gd name="connsiteX24" fmla="*/ 2331720 w 2994660"/>
                      <a:gd name="connsiteY24" fmla="*/ 1722120 h 2133600"/>
                      <a:gd name="connsiteX25" fmla="*/ 2217420 w 2994660"/>
                      <a:gd name="connsiteY25" fmla="*/ 1653540 h 2133600"/>
                      <a:gd name="connsiteX26" fmla="*/ 2156460 w 2994660"/>
                      <a:gd name="connsiteY26" fmla="*/ 1485900 h 2133600"/>
                      <a:gd name="connsiteX27" fmla="*/ 2156460 w 2994660"/>
                      <a:gd name="connsiteY27" fmla="*/ 1318260 h 2133600"/>
                      <a:gd name="connsiteX28" fmla="*/ 1958340 w 2994660"/>
                      <a:gd name="connsiteY28" fmla="*/ 1196340 h 2133600"/>
                      <a:gd name="connsiteX29" fmla="*/ 1828800 w 2994660"/>
                      <a:gd name="connsiteY29" fmla="*/ 1066800 h 2133600"/>
                      <a:gd name="connsiteX30" fmla="*/ 1706880 w 2994660"/>
                      <a:gd name="connsiteY30" fmla="*/ 929640 h 2133600"/>
                      <a:gd name="connsiteX31" fmla="*/ 1554480 w 2994660"/>
                      <a:gd name="connsiteY31" fmla="*/ 883920 h 2133600"/>
                      <a:gd name="connsiteX32" fmla="*/ 1371600 w 2994660"/>
                      <a:gd name="connsiteY32" fmla="*/ 845820 h 2133600"/>
                      <a:gd name="connsiteX33" fmla="*/ 1150620 w 2994660"/>
                      <a:gd name="connsiteY33" fmla="*/ 883920 h 2133600"/>
                      <a:gd name="connsiteX34" fmla="*/ 1028700 w 2994660"/>
                      <a:gd name="connsiteY34" fmla="*/ 861060 h 2133600"/>
                      <a:gd name="connsiteX35" fmla="*/ 853440 w 2994660"/>
                      <a:gd name="connsiteY35" fmla="*/ 830580 h 2133600"/>
                      <a:gd name="connsiteX36" fmla="*/ 640080 w 2994660"/>
                      <a:gd name="connsiteY36" fmla="*/ 891540 h 2133600"/>
                      <a:gd name="connsiteX37" fmla="*/ 464820 w 2994660"/>
                      <a:gd name="connsiteY37" fmla="*/ 960120 h 2133600"/>
                      <a:gd name="connsiteX38" fmla="*/ 342900 w 2994660"/>
                      <a:gd name="connsiteY38" fmla="*/ 1066800 h 2133600"/>
                      <a:gd name="connsiteX39" fmla="*/ 259080 w 2994660"/>
                      <a:gd name="connsiteY39" fmla="*/ 1341120 h 2133600"/>
                      <a:gd name="connsiteX40" fmla="*/ 152400 w 2994660"/>
                      <a:gd name="connsiteY40" fmla="*/ 1600200 h 2133600"/>
                      <a:gd name="connsiteX41" fmla="*/ 129540 w 2994660"/>
                      <a:gd name="connsiteY41" fmla="*/ 1821180 h 2133600"/>
                      <a:gd name="connsiteX42" fmla="*/ 152400 w 2994660"/>
                      <a:gd name="connsiteY42" fmla="*/ 1965960 h 2133600"/>
                      <a:gd name="connsiteX0" fmla="*/ 152400 w 2994660"/>
                      <a:gd name="connsiteY0" fmla="*/ 1965960 h 2133600"/>
                      <a:gd name="connsiteX1" fmla="*/ 53340 w 2994660"/>
                      <a:gd name="connsiteY1" fmla="*/ 1889760 h 2133600"/>
                      <a:gd name="connsiteX2" fmla="*/ 0 w 2994660"/>
                      <a:gd name="connsiteY2" fmla="*/ 1699260 h 2133600"/>
                      <a:gd name="connsiteX3" fmla="*/ 38100 w 2994660"/>
                      <a:gd name="connsiteY3" fmla="*/ 1287780 h 2133600"/>
                      <a:gd name="connsiteX4" fmla="*/ 312420 w 2994660"/>
                      <a:gd name="connsiteY4" fmla="*/ 701040 h 2133600"/>
                      <a:gd name="connsiteX5" fmla="*/ 579120 w 2994660"/>
                      <a:gd name="connsiteY5" fmla="*/ 388620 h 2133600"/>
                      <a:gd name="connsiteX6" fmla="*/ 982980 w 2994660"/>
                      <a:gd name="connsiteY6" fmla="*/ 53340 h 2133600"/>
                      <a:gd name="connsiteX7" fmla="*/ 1341120 w 2994660"/>
                      <a:gd name="connsiteY7" fmla="*/ 0 h 2133600"/>
                      <a:gd name="connsiteX8" fmla="*/ 1531620 w 2994660"/>
                      <a:gd name="connsiteY8" fmla="*/ 53340 h 2133600"/>
                      <a:gd name="connsiteX9" fmla="*/ 1729740 w 2994660"/>
                      <a:gd name="connsiteY9" fmla="*/ 7620 h 2133600"/>
                      <a:gd name="connsiteX10" fmla="*/ 2072640 w 2994660"/>
                      <a:gd name="connsiteY10" fmla="*/ 76200 h 2133600"/>
                      <a:gd name="connsiteX11" fmla="*/ 2484120 w 2994660"/>
                      <a:gd name="connsiteY11" fmla="*/ 335280 h 2133600"/>
                      <a:gd name="connsiteX12" fmla="*/ 2697480 w 2994660"/>
                      <a:gd name="connsiteY12" fmla="*/ 594360 h 2133600"/>
                      <a:gd name="connsiteX13" fmla="*/ 2834640 w 2994660"/>
                      <a:gd name="connsiteY13" fmla="*/ 1005840 h 2133600"/>
                      <a:gd name="connsiteX14" fmla="*/ 2903220 w 2994660"/>
                      <a:gd name="connsiteY14" fmla="*/ 1341120 h 2133600"/>
                      <a:gd name="connsiteX15" fmla="*/ 2941320 w 2994660"/>
                      <a:gd name="connsiteY15" fmla="*/ 1600200 h 2133600"/>
                      <a:gd name="connsiteX16" fmla="*/ 2994660 w 2994660"/>
                      <a:gd name="connsiteY16" fmla="*/ 1676400 h 2133600"/>
                      <a:gd name="connsiteX17" fmla="*/ 2895600 w 2994660"/>
                      <a:gd name="connsiteY17" fmla="*/ 1653540 h 2133600"/>
                      <a:gd name="connsiteX18" fmla="*/ 2781300 w 2994660"/>
                      <a:gd name="connsiteY18" fmla="*/ 1744980 h 2133600"/>
                      <a:gd name="connsiteX19" fmla="*/ 2735580 w 2994660"/>
                      <a:gd name="connsiteY19" fmla="*/ 1912620 h 2133600"/>
                      <a:gd name="connsiteX20" fmla="*/ 2575560 w 2994660"/>
                      <a:gd name="connsiteY20" fmla="*/ 2133600 h 2133600"/>
                      <a:gd name="connsiteX21" fmla="*/ 2461260 w 2994660"/>
                      <a:gd name="connsiteY21" fmla="*/ 2065020 h 2133600"/>
                      <a:gd name="connsiteX22" fmla="*/ 2423160 w 2994660"/>
                      <a:gd name="connsiteY22" fmla="*/ 1897380 h 2133600"/>
                      <a:gd name="connsiteX23" fmla="*/ 2369820 w 2994660"/>
                      <a:gd name="connsiteY23" fmla="*/ 1790700 h 2133600"/>
                      <a:gd name="connsiteX24" fmla="*/ 2331720 w 2994660"/>
                      <a:gd name="connsiteY24" fmla="*/ 1722120 h 2133600"/>
                      <a:gd name="connsiteX25" fmla="*/ 2217420 w 2994660"/>
                      <a:gd name="connsiteY25" fmla="*/ 1653540 h 2133600"/>
                      <a:gd name="connsiteX26" fmla="*/ 2156460 w 2994660"/>
                      <a:gd name="connsiteY26" fmla="*/ 1485900 h 2133600"/>
                      <a:gd name="connsiteX27" fmla="*/ 2156460 w 2994660"/>
                      <a:gd name="connsiteY27" fmla="*/ 1318260 h 2133600"/>
                      <a:gd name="connsiteX28" fmla="*/ 1958340 w 2994660"/>
                      <a:gd name="connsiteY28" fmla="*/ 1196340 h 2133600"/>
                      <a:gd name="connsiteX29" fmla="*/ 1828800 w 2994660"/>
                      <a:gd name="connsiteY29" fmla="*/ 1066800 h 2133600"/>
                      <a:gd name="connsiteX30" fmla="*/ 1706880 w 2994660"/>
                      <a:gd name="connsiteY30" fmla="*/ 929640 h 2133600"/>
                      <a:gd name="connsiteX31" fmla="*/ 1554480 w 2994660"/>
                      <a:gd name="connsiteY31" fmla="*/ 883920 h 2133600"/>
                      <a:gd name="connsiteX32" fmla="*/ 1371600 w 2994660"/>
                      <a:gd name="connsiteY32" fmla="*/ 845820 h 2133600"/>
                      <a:gd name="connsiteX33" fmla="*/ 1150620 w 2994660"/>
                      <a:gd name="connsiteY33" fmla="*/ 883920 h 2133600"/>
                      <a:gd name="connsiteX34" fmla="*/ 1028700 w 2994660"/>
                      <a:gd name="connsiteY34" fmla="*/ 861060 h 2133600"/>
                      <a:gd name="connsiteX35" fmla="*/ 853440 w 2994660"/>
                      <a:gd name="connsiteY35" fmla="*/ 830580 h 2133600"/>
                      <a:gd name="connsiteX36" fmla="*/ 640080 w 2994660"/>
                      <a:gd name="connsiteY36" fmla="*/ 891540 h 2133600"/>
                      <a:gd name="connsiteX37" fmla="*/ 464820 w 2994660"/>
                      <a:gd name="connsiteY37" fmla="*/ 960120 h 2133600"/>
                      <a:gd name="connsiteX38" fmla="*/ 342900 w 2994660"/>
                      <a:gd name="connsiteY38" fmla="*/ 1066800 h 2133600"/>
                      <a:gd name="connsiteX39" fmla="*/ 259080 w 2994660"/>
                      <a:gd name="connsiteY39" fmla="*/ 1341120 h 2133600"/>
                      <a:gd name="connsiteX40" fmla="*/ 152400 w 2994660"/>
                      <a:gd name="connsiteY40" fmla="*/ 1600200 h 2133600"/>
                      <a:gd name="connsiteX41" fmla="*/ 129540 w 2994660"/>
                      <a:gd name="connsiteY41" fmla="*/ 1821180 h 2133600"/>
                      <a:gd name="connsiteX42" fmla="*/ 152400 w 2994660"/>
                      <a:gd name="connsiteY42" fmla="*/ 1965960 h 2133600"/>
                      <a:gd name="connsiteX0" fmla="*/ 152400 w 2994660"/>
                      <a:gd name="connsiteY0" fmla="*/ 1965960 h 2133600"/>
                      <a:gd name="connsiteX1" fmla="*/ 53340 w 2994660"/>
                      <a:gd name="connsiteY1" fmla="*/ 1889760 h 2133600"/>
                      <a:gd name="connsiteX2" fmla="*/ 0 w 2994660"/>
                      <a:gd name="connsiteY2" fmla="*/ 1699260 h 2133600"/>
                      <a:gd name="connsiteX3" fmla="*/ 38100 w 2994660"/>
                      <a:gd name="connsiteY3" fmla="*/ 1287780 h 2133600"/>
                      <a:gd name="connsiteX4" fmla="*/ 312420 w 2994660"/>
                      <a:gd name="connsiteY4" fmla="*/ 701040 h 2133600"/>
                      <a:gd name="connsiteX5" fmla="*/ 579120 w 2994660"/>
                      <a:gd name="connsiteY5" fmla="*/ 388620 h 2133600"/>
                      <a:gd name="connsiteX6" fmla="*/ 982980 w 2994660"/>
                      <a:gd name="connsiteY6" fmla="*/ 53340 h 2133600"/>
                      <a:gd name="connsiteX7" fmla="*/ 1341120 w 2994660"/>
                      <a:gd name="connsiteY7" fmla="*/ 0 h 2133600"/>
                      <a:gd name="connsiteX8" fmla="*/ 1531620 w 2994660"/>
                      <a:gd name="connsiteY8" fmla="*/ 53340 h 2133600"/>
                      <a:gd name="connsiteX9" fmla="*/ 1729740 w 2994660"/>
                      <a:gd name="connsiteY9" fmla="*/ 7620 h 2133600"/>
                      <a:gd name="connsiteX10" fmla="*/ 2217420 w 2994660"/>
                      <a:gd name="connsiteY10" fmla="*/ 175260 h 2133600"/>
                      <a:gd name="connsiteX11" fmla="*/ 2484120 w 2994660"/>
                      <a:gd name="connsiteY11" fmla="*/ 335280 h 2133600"/>
                      <a:gd name="connsiteX12" fmla="*/ 2697480 w 2994660"/>
                      <a:gd name="connsiteY12" fmla="*/ 594360 h 2133600"/>
                      <a:gd name="connsiteX13" fmla="*/ 2834640 w 2994660"/>
                      <a:gd name="connsiteY13" fmla="*/ 1005840 h 2133600"/>
                      <a:gd name="connsiteX14" fmla="*/ 2903220 w 2994660"/>
                      <a:gd name="connsiteY14" fmla="*/ 1341120 h 2133600"/>
                      <a:gd name="connsiteX15" fmla="*/ 2941320 w 2994660"/>
                      <a:gd name="connsiteY15" fmla="*/ 1600200 h 2133600"/>
                      <a:gd name="connsiteX16" fmla="*/ 2994660 w 2994660"/>
                      <a:gd name="connsiteY16" fmla="*/ 1676400 h 2133600"/>
                      <a:gd name="connsiteX17" fmla="*/ 2895600 w 2994660"/>
                      <a:gd name="connsiteY17" fmla="*/ 1653540 h 2133600"/>
                      <a:gd name="connsiteX18" fmla="*/ 2781300 w 2994660"/>
                      <a:gd name="connsiteY18" fmla="*/ 1744980 h 2133600"/>
                      <a:gd name="connsiteX19" fmla="*/ 2735580 w 2994660"/>
                      <a:gd name="connsiteY19" fmla="*/ 1912620 h 2133600"/>
                      <a:gd name="connsiteX20" fmla="*/ 2575560 w 2994660"/>
                      <a:gd name="connsiteY20" fmla="*/ 2133600 h 2133600"/>
                      <a:gd name="connsiteX21" fmla="*/ 2461260 w 2994660"/>
                      <a:gd name="connsiteY21" fmla="*/ 2065020 h 2133600"/>
                      <a:gd name="connsiteX22" fmla="*/ 2423160 w 2994660"/>
                      <a:gd name="connsiteY22" fmla="*/ 1897380 h 2133600"/>
                      <a:gd name="connsiteX23" fmla="*/ 2369820 w 2994660"/>
                      <a:gd name="connsiteY23" fmla="*/ 1790700 h 2133600"/>
                      <a:gd name="connsiteX24" fmla="*/ 2331720 w 2994660"/>
                      <a:gd name="connsiteY24" fmla="*/ 1722120 h 2133600"/>
                      <a:gd name="connsiteX25" fmla="*/ 2217420 w 2994660"/>
                      <a:gd name="connsiteY25" fmla="*/ 1653540 h 2133600"/>
                      <a:gd name="connsiteX26" fmla="*/ 2156460 w 2994660"/>
                      <a:gd name="connsiteY26" fmla="*/ 1485900 h 2133600"/>
                      <a:gd name="connsiteX27" fmla="*/ 2156460 w 2994660"/>
                      <a:gd name="connsiteY27" fmla="*/ 1318260 h 2133600"/>
                      <a:gd name="connsiteX28" fmla="*/ 1958340 w 2994660"/>
                      <a:gd name="connsiteY28" fmla="*/ 1196340 h 2133600"/>
                      <a:gd name="connsiteX29" fmla="*/ 1828800 w 2994660"/>
                      <a:gd name="connsiteY29" fmla="*/ 1066800 h 2133600"/>
                      <a:gd name="connsiteX30" fmla="*/ 1706880 w 2994660"/>
                      <a:gd name="connsiteY30" fmla="*/ 929640 h 2133600"/>
                      <a:gd name="connsiteX31" fmla="*/ 1554480 w 2994660"/>
                      <a:gd name="connsiteY31" fmla="*/ 883920 h 2133600"/>
                      <a:gd name="connsiteX32" fmla="*/ 1371600 w 2994660"/>
                      <a:gd name="connsiteY32" fmla="*/ 845820 h 2133600"/>
                      <a:gd name="connsiteX33" fmla="*/ 1150620 w 2994660"/>
                      <a:gd name="connsiteY33" fmla="*/ 883920 h 2133600"/>
                      <a:gd name="connsiteX34" fmla="*/ 1028700 w 2994660"/>
                      <a:gd name="connsiteY34" fmla="*/ 861060 h 2133600"/>
                      <a:gd name="connsiteX35" fmla="*/ 853440 w 2994660"/>
                      <a:gd name="connsiteY35" fmla="*/ 830580 h 2133600"/>
                      <a:gd name="connsiteX36" fmla="*/ 640080 w 2994660"/>
                      <a:gd name="connsiteY36" fmla="*/ 891540 h 2133600"/>
                      <a:gd name="connsiteX37" fmla="*/ 464820 w 2994660"/>
                      <a:gd name="connsiteY37" fmla="*/ 960120 h 2133600"/>
                      <a:gd name="connsiteX38" fmla="*/ 342900 w 2994660"/>
                      <a:gd name="connsiteY38" fmla="*/ 1066800 h 2133600"/>
                      <a:gd name="connsiteX39" fmla="*/ 259080 w 2994660"/>
                      <a:gd name="connsiteY39" fmla="*/ 1341120 h 2133600"/>
                      <a:gd name="connsiteX40" fmla="*/ 152400 w 2994660"/>
                      <a:gd name="connsiteY40" fmla="*/ 1600200 h 2133600"/>
                      <a:gd name="connsiteX41" fmla="*/ 129540 w 2994660"/>
                      <a:gd name="connsiteY41" fmla="*/ 1821180 h 2133600"/>
                      <a:gd name="connsiteX42" fmla="*/ 152400 w 2994660"/>
                      <a:gd name="connsiteY42" fmla="*/ 1965960 h 2133600"/>
                      <a:gd name="connsiteX0" fmla="*/ 152400 w 2994660"/>
                      <a:gd name="connsiteY0" fmla="*/ 1965960 h 2133600"/>
                      <a:gd name="connsiteX1" fmla="*/ 53340 w 2994660"/>
                      <a:gd name="connsiteY1" fmla="*/ 1889760 h 2133600"/>
                      <a:gd name="connsiteX2" fmla="*/ 0 w 2994660"/>
                      <a:gd name="connsiteY2" fmla="*/ 1699260 h 2133600"/>
                      <a:gd name="connsiteX3" fmla="*/ 38100 w 2994660"/>
                      <a:gd name="connsiteY3" fmla="*/ 1287780 h 2133600"/>
                      <a:gd name="connsiteX4" fmla="*/ 312420 w 2994660"/>
                      <a:gd name="connsiteY4" fmla="*/ 701040 h 2133600"/>
                      <a:gd name="connsiteX5" fmla="*/ 579120 w 2994660"/>
                      <a:gd name="connsiteY5" fmla="*/ 388620 h 2133600"/>
                      <a:gd name="connsiteX6" fmla="*/ 982980 w 2994660"/>
                      <a:gd name="connsiteY6" fmla="*/ 53340 h 2133600"/>
                      <a:gd name="connsiteX7" fmla="*/ 1341120 w 2994660"/>
                      <a:gd name="connsiteY7" fmla="*/ 0 h 2133600"/>
                      <a:gd name="connsiteX8" fmla="*/ 1531620 w 2994660"/>
                      <a:gd name="connsiteY8" fmla="*/ 53340 h 2133600"/>
                      <a:gd name="connsiteX9" fmla="*/ 1729740 w 2994660"/>
                      <a:gd name="connsiteY9" fmla="*/ 7620 h 2133600"/>
                      <a:gd name="connsiteX10" fmla="*/ 2217420 w 2994660"/>
                      <a:gd name="connsiteY10" fmla="*/ 175260 h 2133600"/>
                      <a:gd name="connsiteX11" fmla="*/ 2484120 w 2994660"/>
                      <a:gd name="connsiteY11" fmla="*/ 335280 h 2133600"/>
                      <a:gd name="connsiteX12" fmla="*/ 2697480 w 2994660"/>
                      <a:gd name="connsiteY12" fmla="*/ 594360 h 2133600"/>
                      <a:gd name="connsiteX13" fmla="*/ 2834640 w 2994660"/>
                      <a:gd name="connsiteY13" fmla="*/ 1005840 h 2133600"/>
                      <a:gd name="connsiteX14" fmla="*/ 2903220 w 2994660"/>
                      <a:gd name="connsiteY14" fmla="*/ 1341120 h 2133600"/>
                      <a:gd name="connsiteX15" fmla="*/ 2941320 w 2994660"/>
                      <a:gd name="connsiteY15" fmla="*/ 1600200 h 2133600"/>
                      <a:gd name="connsiteX16" fmla="*/ 2994660 w 2994660"/>
                      <a:gd name="connsiteY16" fmla="*/ 1676400 h 2133600"/>
                      <a:gd name="connsiteX17" fmla="*/ 2895600 w 2994660"/>
                      <a:gd name="connsiteY17" fmla="*/ 1653540 h 2133600"/>
                      <a:gd name="connsiteX18" fmla="*/ 2781300 w 2994660"/>
                      <a:gd name="connsiteY18" fmla="*/ 1744980 h 2133600"/>
                      <a:gd name="connsiteX19" fmla="*/ 2735580 w 2994660"/>
                      <a:gd name="connsiteY19" fmla="*/ 1912620 h 2133600"/>
                      <a:gd name="connsiteX20" fmla="*/ 2575560 w 2994660"/>
                      <a:gd name="connsiteY20" fmla="*/ 2133600 h 2133600"/>
                      <a:gd name="connsiteX21" fmla="*/ 2461260 w 2994660"/>
                      <a:gd name="connsiteY21" fmla="*/ 2065020 h 2133600"/>
                      <a:gd name="connsiteX22" fmla="*/ 2423160 w 2994660"/>
                      <a:gd name="connsiteY22" fmla="*/ 1897380 h 2133600"/>
                      <a:gd name="connsiteX23" fmla="*/ 2369820 w 2994660"/>
                      <a:gd name="connsiteY23" fmla="*/ 1790700 h 2133600"/>
                      <a:gd name="connsiteX24" fmla="*/ 2331720 w 2994660"/>
                      <a:gd name="connsiteY24" fmla="*/ 1722120 h 2133600"/>
                      <a:gd name="connsiteX25" fmla="*/ 2217420 w 2994660"/>
                      <a:gd name="connsiteY25" fmla="*/ 1653540 h 2133600"/>
                      <a:gd name="connsiteX26" fmla="*/ 2156460 w 2994660"/>
                      <a:gd name="connsiteY26" fmla="*/ 1485900 h 2133600"/>
                      <a:gd name="connsiteX27" fmla="*/ 2156460 w 2994660"/>
                      <a:gd name="connsiteY27" fmla="*/ 1318260 h 2133600"/>
                      <a:gd name="connsiteX28" fmla="*/ 1958340 w 2994660"/>
                      <a:gd name="connsiteY28" fmla="*/ 1196340 h 2133600"/>
                      <a:gd name="connsiteX29" fmla="*/ 1828800 w 2994660"/>
                      <a:gd name="connsiteY29" fmla="*/ 1066800 h 2133600"/>
                      <a:gd name="connsiteX30" fmla="*/ 1706880 w 2994660"/>
                      <a:gd name="connsiteY30" fmla="*/ 929640 h 2133600"/>
                      <a:gd name="connsiteX31" fmla="*/ 1554480 w 2994660"/>
                      <a:gd name="connsiteY31" fmla="*/ 883920 h 2133600"/>
                      <a:gd name="connsiteX32" fmla="*/ 1371600 w 2994660"/>
                      <a:gd name="connsiteY32" fmla="*/ 845820 h 2133600"/>
                      <a:gd name="connsiteX33" fmla="*/ 1150620 w 2994660"/>
                      <a:gd name="connsiteY33" fmla="*/ 883920 h 2133600"/>
                      <a:gd name="connsiteX34" fmla="*/ 1028700 w 2994660"/>
                      <a:gd name="connsiteY34" fmla="*/ 861060 h 2133600"/>
                      <a:gd name="connsiteX35" fmla="*/ 853440 w 2994660"/>
                      <a:gd name="connsiteY35" fmla="*/ 830580 h 2133600"/>
                      <a:gd name="connsiteX36" fmla="*/ 640080 w 2994660"/>
                      <a:gd name="connsiteY36" fmla="*/ 891540 h 2133600"/>
                      <a:gd name="connsiteX37" fmla="*/ 464820 w 2994660"/>
                      <a:gd name="connsiteY37" fmla="*/ 960120 h 2133600"/>
                      <a:gd name="connsiteX38" fmla="*/ 342900 w 2994660"/>
                      <a:gd name="connsiteY38" fmla="*/ 1066800 h 2133600"/>
                      <a:gd name="connsiteX39" fmla="*/ 259080 w 2994660"/>
                      <a:gd name="connsiteY39" fmla="*/ 1341120 h 2133600"/>
                      <a:gd name="connsiteX40" fmla="*/ 152400 w 2994660"/>
                      <a:gd name="connsiteY40" fmla="*/ 1600200 h 2133600"/>
                      <a:gd name="connsiteX41" fmla="*/ 129540 w 2994660"/>
                      <a:gd name="connsiteY41" fmla="*/ 1821180 h 2133600"/>
                      <a:gd name="connsiteX42" fmla="*/ 152400 w 2994660"/>
                      <a:gd name="connsiteY42" fmla="*/ 1965960 h 2133600"/>
                      <a:gd name="connsiteX0" fmla="*/ 152400 w 2994660"/>
                      <a:gd name="connsiteY0" fmla="*/ 1965960 h 2133600"/>
                      <a:gd name="connsiteX1" fmla="*/ 53340 w 2994660"/>
                      <a:gd name="connsiteY1" fmla="*/ 1889760 h 2133600"/>
                      <a:gd name="connsiteX2" fmla="*/ 0 w 2994660"/>
                      <a:gd name="connsiteY2" fmla="*/ 1699260 h 2133600"/>
                      <a:gd name="connsiteX3" fmla="*/ 38100 w 2994660"/>
                      <a:gd name="connsiteY3" fmla="*/ 1287780 h 2133600"/>
                      <a:gd name="connsiteX4" fmla="*/ 312420 w 2994660"/>
                      <a:gd name="connsiteY4" fmla="*/ 701040 h 2133600"/>
                      <a:gd name="connsiteX5" fmla="*/ 579120 w 2994660"/>
                      <a:gd name="connsiteY5" fmla="*/ 388620 h 2133600"/>
                      <a:gd name="connsiteX6" fmla="*/ 982980 w 2994660"/>
                      <a:gd name="connsiteY6" fmla="*/ 53340 h 2133600"/>
                      <a:gd name="connsiteX7" fmla="*/ 1341120 w 2994660"/>
                      <a:gd name="connsiteY7" fmla="*/ 0 h 2133600"/>
                      <a:gd name="connsiteX8" fmla="*/ 1531620 w 2994660"/>
                      <a:gd name="connsiteY8" fmla="*/ 53340 h 2133600"/>
                      <a:gd name="connsiteX9" fmla="*/ 1729740 w 2994660"/>
                      <a:gd name="connsiteY9" fmla="*/ 7620 h 2133600"/>
                      <a:gd name="connsiteX10" fmla="*/ 2217420 w 2994660"/>
                      <a:gd name="connsiteY10" fmla="*/ 175260 h 2133600"/>
                      <a:gd name="connsiteX11" fmla="*/ 2484120 w 2994660"/>
                      <a:gd name="connsiteY11" fmla="*/ 335280 h 2133600"/>
                      <a:gd name="connsiteX12" fmla="*/ 2697480 w 2994660"/>
                      <a:gd name="connsiteY12" fmla="*/ 594360 h 2133600"/>
                      <a:gd name="connsiteX13" fmla="*/ 2834640 w 2994660"/>
                      <a:gd name="connsiteY13" fmla="*/ 1005840 h 2133600"/>
                      <a:gd name="connsiteX14" fmla="*/ 2903220 w 2994660"/>
                      <a:gd name="connsiteY14" fmla="*/ 1341120 h 2133600"/>
                      <a:gd name="connsiteX15" fmla="*/ 2941320 w 2994660"/>
                      <a:gd name="connsiteY15" fmla="*/ 1600200 h 2133600"/>
                      <a:gd name="connsiteX16" fmla="*/ 2994660 w 2994660"/>
                      <a:gd name="connsiteY16" fmla="*/ 1676400 h 2133600"/>
                      <a:gd name="connsiteX17" fmla="*/ 2895600 w 2994660"/>
                      <a:gd name="connsiteY17" fmla="*/ 1653540 h 2133600"/>
                      <a:gd name="connsiteX18" fmla="*/ 2781300 w 2994660"/>
                      <a:gd name="connsiteY18" fmla="*/ 1744980 h 2133600"/>
                      <a:gd name="connsiteX19" fmla="*/ 2735580 w 2994660"/>
                      <a:gd name="connsiteY19" fmla="*/ 1912620 h 2133600"/>
                      <a:gd name="connsiteX20" fmla="*/ 2575560 w 2994660"/>
                      <a:gd name="connsiteY20" fmla="*/ 2133600 h 2133600"/>
                      <a:gd name="connsiteX21" fmla="*/ 2461260 w 2994660"/>
                      <a:gd name="connsiteY21" fmla="*/ 2065020 h 2133600"/>
                      <a:gd name="connsiteX22" fmla="*/ 2423160 w 2994660"/>
                      <a:gd name="connsiteY22" fmla="*/ 1897380 h 2133600"/>
                      <a:gd name="connsiteX23" fmla="*/ 2369820 w 2994660"/>
                      <a:gd name="connsiteY23" fmla="*/ 1790700 h 2133600"/>
                      <a:gd name="connsiteX24" fmla="*/ 2331720 w 2994660"/>
                      <a:gd name="connsiteY24" fmla="*/ 1722120 h 2133600"/>
                      <a:gd name="connsiteX25" fmla="*/ 2217420 w 2994660"/>
                      <a:gd name="connsiteY25" fmla="*/ 1653540 h 2133600"/>
                      <a:gd name="connsiteX26" fmla="*/ 2156460 w 2994660"/>
                      <a:gd name="connsiteY26" fmla="*/ 1485900 h 2133600"/>
                      <a:gd name="connsiteX27" fmla="*/ 2156460 w 2994660"/>
                      <a:gd name="connsiteY27" fmla="*/ 1318260 h 2133600"/>
                      <a:gd name="connsiteX28" fmla="*/ 1958340 w 2994660"/>
                      <a:gd name="connsiteY28" fmla="*/ 1196340 h 2133600"/>
                      <a:gd name="connsiteX29" fmla="*/ 1828800 w 2994660"/>
                      <a:gd name="connsiteY29" fmla="*/ 1066800 h 2133600"/>
                      <a:gd name="connsiteX30" fmla="*/ 1706880 w 2994660"/>
                      <a:gd name="connsiteY30" fmla="*/ 929640 h 2133600"/>
                      <a:gd name="connsiteX31" fmla="*/ 1554480 w 2994660"/>
                      <a:gd name="connsiteY31" fmla="*/ 883920 h 2133600"/>
                      <a:gd name="connsiteX32" fmla="*/ 1371600 w 2994660"/>
                      <a:gd name="connsiteY32" fmla="*/ 845820 h 2133600"/>
                      <a:gd name="connsiteX33" fmla="*/ 1150620 w 2994660"/>
                      <a:gd name="connsiteY33" fmla="*/ 883920 h 2133600"/>
                      <a:gd name="connsiteX34" fmla="*/ 1028700 w 2994660"/>
                      <a:gd name="connsiteY34" fmla="*/ 861060 h 2133600"/>
                      <a:gd name="connsiteX35" fmla="*/ 853440 w 2994660"/>
                      <a:gd name="connsiteY35" fmla="*/ 830580 h 2133600"/>
                      <a:gd name="connsiteX36" fmla="*/ 640080 w 2994660"/>
                      <a:gd name="connsiteY36" fmla="*/ 891540 h 2133600"/>
                      <a:gd name="connsiteX37" fmla="*/ 464820 w 2994660"/>
                      <a:gd name="connsiteY37" fmla="*/ 960120 h 2133600"/>
                      <a:gd name="connsiteX38" fmla="*/ 342900 w 2994660"/>
                      <a:gd name="connsiteY38" fmla="*/ 1066800 h 2133600"/>
                      <a:gd name="connsiteX39" fmla="*/ 259080 w 2994660"/>
                      <a:gd name="connsiteY39" fmla="*/ 1341120 h 2133600"/>
                      <a:gd name="connsiteX40" fmla="*/ 152400 w 2994660"/>
                      <a:gd name="connsiteY40" fmla="*/ 1600200 h 2133600"/>
                      <a:gd name="connsiteX41" fmla="*/ 129540 w 2994660"/>
                      <a:gd name="connsiteY41" fmla="*/ 1821180 h 2133600"/>
                      <a:gd name="connsiteX42" fmla="*/ 152400 w 2994660"/>
                      <a:gd name="connsiteY42" fmla="*/ 1965960 h 213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94660" h="2133600">
                        <a:moveTo>
                          <a:pt x="152400" y="1965960"/>
                        </a:moveTo>
                        <a:lnTo>
                          <a:pt x="53340" y="1889760"/>
                        </a:lnTo>
                        <a:lnTo>
                          <a:pt x="0" y="1699260"/>
                        </a:lnTo>
                        <a:lnTo>
                          <a:pt x="38100" y="1287780"/>
                        </a:lnTo>
                        <a:lnTo>
                          <a:pt x="312420" y="701040"/>
                        </a:lnTo>
                        <a:lnTo>
                          <a:pt x="579120" y="388620"/>
                        </a:lnTo>
                        <a:lnTo>
                          <a:pt x="982980" y="53340"/>
                        </a:lnTo>
                        <a:cubicBezTo>
                          <a:pt x="1343640" y="7298"/>
                          <a:pt x="1066800" y="44149"/>
                          <a:pt x="1341120" y="0"/>
                        </a:cubicBezTo>
                        <a:lnTo>
                          <a:pt x="1531620" y="53340"/>
                        </a:lnTo>
                        <a:lnTo>
                          <a:pt x="1729740" y="7620"/>
                        </a:lnTo>
                        <a:cubicBezTo>
                          <a:pt x="2075120" y="84371"/>
                          <a:pt x="2087880" y="101848"/>
                          <a:pt x="2217420" y="175260"/>
                        </a:cubicBezTo>
                        <a:lnTo>
                          <a:pt x="2484120" y="335280"/>
                        </a:lnTo>
                        <a:lnTo>
                          <a:pt x="2697480" y="594360"/>
                        </a:lnTo>
                        <a:lnTo>
                          <a:pt x="2834640" y="1005840"/>
                        </a:lnTo>
                        <a:lnTo>
                          <a:pt x="2903220" y="1341120"/>
                        </a:lnTo>
                        <a:lnTo>
                          <a:pt x="2941320" y="1600200"/>
                        </a:lnTo>
                        <a:lnTo>
                          <a:pt x="2994660" y="1676400"/>
                        </a:lnTo>
                        <a:cubicBezTo>
                          <a:pt x="2885496" y="1653008"/>
                          <a:pt x="2851613" y="1653540"/>
                          <a:pt x="2895600" y="1653540"/>
                        </a:cubicBezTo>
                        <a:lnTo>
                          <a:pt x="2781300" y="1744980"/>
                        </a:lnTo>
                        <a:lnTo>
                          <a:pt x="2735580" y="1912620"/>
                        </a:lnTo>
                        <a:lnTo>
                          <a:pt x="2575560" y="2133600"/>
                        </a:lnTo>
                        <a:lnTo>
                          <a:pt x="2461260" y="2065020"/>
                        </a:lnTo>
                        <a:lnTo>
                          <a:pt x="2423160" y="1897380"/>
                        </a:lnTo>
                        <a:cubicBezTo>
                          <a:pt x="2375935" y="1795059"/>
                          <a:pt x="2403156" y="1824036"/>
                          <a:pt x="2369820" y="1790700"/>
                        </a:cubicBezTo>
                        <a:lnTo>
                          <a:pt x="2331720" y="1722120"/>
                        </a:lnTo>
                        <a:cubicBezTo>
                          <a:pt x="2212817" y="1666632"/>
                          <a:pt x="2217420" y="1710824"/>
                          <a:pt x="2217420" y="1653540"/>
                        </a:cubicBezTo>
                        <a:lnTo>
                          <a:pt x="2156460" y="1485900"/>
                        </a:lnTo>
                        <a:cubicBezTo>
                          <a:pt x="2164251" y="1322292"/>
                          <a:pt x="2201840" y="1363640"/>
                          <a:pt x="2156460" y="1318260"/>
                        </a:cubicBezTo>
                        <a:lnTo>
                          <a:pt x="1958340" y="1196340"/>
                        </a:lnTo>
                        <a:lnTo>
                          <a:pt x="1828800" y="1066800"/>
                        </a:lnTo>
                        <a:cubicBezTo>
                          <a:pt x="1712123" y="934567"/>
                          <a:pt x="1755219" y="977979"/>
                          <a:pt x="1706880" y="929640"/>
                        </a:cubicBezTo>
                        <a:lnTo>
                          <a:pt x="1554480" y="883920"/>
                        </a:lnTo>
                        <a:lnTo>
                          <a:pt x="1371600" y="845820"/>
                        </a:lnTo>
                        <a:lnTo>
                          <a:pt x="1150620" y="883920"/>
                        </a:lnTo>
                        <a:lnTo>
                          <a:pt x="1028700" y="861060"/>
                        </a:lnTo>
                        <a:cubicBezTo>
                          <a:pt x="863690" y="829629"/>
                          <a:pt x="922979" y="830580"/>
                          <a:pt x="853440" y="830580"/>
                        </a:cubicBezTo>
                        <a:lnTo>
                          <a:pt x="640080" y="891540"/>
                        </a:lnTo>
                        <a:lnTo>
                          <a:pt x="464820" y="960120"/>
                        </a:lnTo>
                        <a:lnTo>
                          <a:pt x="342900" y="1066800"/>
                        </a:lnTo>
                        <a:cubicBezTo>
                          <a:pt x="250428" y="1274861"/>
                          <a:pt x="267852" y="1196340"/>
                          <a:pt x="259080" y="1341120"/>
                        </a:cubicBezTo>
                        <a:lnTo>
                          <a:pt x="152400" y="1600200"/>
                        </a:lnTo>
                        <a:lnTo>
                          <a:pt x="129540" y="1821180"/>
                        </a:lnTo>
                        <a:lnTo>
                          <a:pt x="152400" y="196596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46" name="Freeform 257">
                    <a:extLst>
                      <a:ext uri="{FF2B5EF4-FFF2-40B4-BE49-F238E27FC236}">
                        <a16:creationId xmlns:a16="http://schemas.microsoft.com/office/drawing/2014/main" id="{0E713196-FD35-4AD3-9ADB-5D9746C04B7A}"/>
                      </a:ext>
                    </a:extLst>
                  </p:cNvPr>
                  <p:cNvSpPr/>
                  <p:nvPr/>
                </p:nvSpPr>
                <p:spPr>
                  <a:xfrm>
                    <a:off x="4963646" y="900385"/>
                    <a:ext cx="89429" cy="247395"/>
                  </a:xfrm>
                  <a:custGeom>
                    <a:avLst/>
                    <a:gdLst>
                      <a:gd name="connsiteX0" fmla="*/ 45720 w 471018"/>
                      <a:gd name="connsiteY0" fmla="*/ 38100 h 1303020"/>
                      <a:gd name="connsiteX1" fmla="*/ 38100 w 471018"/>
                      <a:gd name="connsiteY1" fmla="*/ 281940 h 1303020"/>
                      <a:gd name="connsiteX2" fmla="*/ 0 w 471018"/>
                      <a:gd name="connsiteY2" fmla="*/ 434340 h 1303020"/>
                      <a:gd name="connsiteX3" fmla="*/ 7620 w 471018"/>
                      <a:gd name="connsiteY3" fmla="*/ 525780 h 1303020"/>
                      <a:gd name="connsiteX4" fmla="*/ 15240 w 471018"/>
                      <a:gd name="connsiteY4" fmla="*/ 838200 h 1303020"/>
                      <a:gd name="connsiteX5" fmla="*/ 99060 w 471018"/>
                      <a:gd name="connsiteY5" fmla="*/ 853440 h 1303020"/>
                      <a:gd name="connsiteX6" fmla="*/ 175260 w 471018"/>
                      <a:gd name="connsiteY6" fmla="*/ 922020 h 1303020"/>
                      <a:gd name="connsiteX7" fmla="*/ 289560 w 471018"/>
                      <a:gd name="connsiteY7" fmla="*/ 1074420 h 1303020"/>
                      <a:gd name="connsiteX8" fmla="*/ 426720 w 471018"/>
                      <a:gd name="connsiteY8" fmla="*/ 1303020 h 1303020"/>
                      <a:gd name="connsiteX9" fmla="*/ 457200 w 471018"/>
                      <a:gd name="connsiteY9" fmla="*/ 1181100 h 1303020"/>
                      <a:gd name="connsiteX10" fmla="*/ 373380 w 471018"/>
                      <a:gd name="connsiteY10" fmla="*/ 922020 h 1303020"/>
                      <a:gd name="connsiteX11" fmla="*/ 373380 w 471018"/>
                      <a:gd name="connsiteY11" fmla="*/ 731520 h 1303020"/>
                      <a:gd name="connsiteX12" fmla="*/ 388620 w 471018"/>
                      <a:gd name="connsiteY12" fmla="*/ 457200 h 1303020"/>
                      <a:gd name="connsiteX13" fmla="*/ 289560 w 471018"/>
                      <a:gd name="connsiteY13" fmla="*/ 236220 h 1303020"/>
                      <a:gd name="connsiteX14" fmla="*/ 205740 w 471018"/>
                      <a:gd name="connsiteY14" fmla="*/ 0 h 1303020"/>
                      <a:gd name="connsiteX15" fmla="*/ 114300 w 471018"/>
                      <a:gd name="connsiteY15" fmla="*/ 30480 h 1303020"/>
                      <a:gd name="connsiteX16" fmla="*/ 45720 w 471018"/>
                      <a:gd name="connsiteY16" fmla="*/ 38100 h 1303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1018" h="1303020">
                        <a:moveTo>
                          <a:pt x="45720" y="38100"/>
                        </a:moveTo>
                        <a:lnTo>
                          <a:pt x="38100" y="281940"/>
                        </a:lnTo>
                        <a:lnTo>
                          <a:pt x="0" y="434340"/>
                        </a:lnTo>
                        <a:lnTo>
                          <a:pt x="7620" y="525780"/>
                        </a:lnTo>
                        <a:lnTo>
                          <a:pt x="15240" y="838200"/>
                        </a:lnTo>
                        <a:lnTo>
                          <a:pt x="99060" y="853440"/>
                        </a:lnTo>
                        <a:lnTo>
                          <a:pt x="175260" y="922020"/>
                        </a:lnTo>
                        <a:lnTo>
                          <a:pt x="289560" y="1074420"/>
                        </a:lnTo>
                        <a:lnTo>
                          <a:pt x="426720" y="1303020"/>
                        </a:lnTo>
                        <a:lnTo>
                          <a:pt x="457200" y="1181100"/>
                        </a:lnTo>
                        <a:cubicBezTo>
                          <a:pt x="380283" y="919583"/>
                          <a:pt x="471018" y="922020"/>
                          <a:pt x="373380" y="922020"/>
                        </a:cubicBezTo>
                        <a:cubicBezTo>
                          <a:pt x="381102" y="728982"/>
                          <a:pt x="444551" y="731520"/>
                          <a:pt x="373380" y="731520"/>
                        </a:cubicBezTo>
                        <a:lnTo>
                          <a:pt x="388620" y="457200"/>
                        </a:lnTo>
                        <a:lnTo>
                          <a:pt x="289560" y="236220"/>
                        </a:lnTo>
                        <a:lnTo>
                          <a:pt x="205740" y="0"/>
                        </a:lnTo>
                        <a:lnTo>
                          <a:pt x="114300" y="30480"/>
                        </a:lnTo>
                        <a:lnTo>
                          <a:pt x="45720" y="381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47" name="Freeform 258">
                    <a:extLst>
                      <a:ext uri="{FF2B5EF4-FFF2-40B4-BE49-F238E27FC236}">
                        <a16:creationId xmlns:a16="http://schemas.microsoft.com/office/drawing/2014/main" id="{5C59F91D-6EAF-4C48-9AB3-CA79C9B4DBAE}"/>
                      </a:ext>
                    </a:extLst>
                  </p:cNvPr>
                  <p:cNvSpPr/>
                  <p:nvPr/>
                </p:nvSpPr>
                <p:spPr>
                  <a:xfrm>
                    <a:off x="4614094" y="982247"/>
                    <a:ext cx="202345" cy="36772"/>
                  </a:xfrm>
                  <a:custGeom>
                    <a:avLst/>
                    <a:gdLst>
                      <a:gd name="connsiteX0" fmla="*/ 0 w 1047750"/>
                      <a:gd name="connsiteY0" fmla="*/ 133350 h 204369"/>
                      <a:gd name="connsiteX1" fmla="*/ 66675 w 1047750"/>
                      <a:gd name="connsiteY1" fmla="*/ 130175 h 204369"/>
                      <a:gd name="connsiteX2" fmla="*/ 158750 w 1047750"/>
                      <a:gd name="connsiteY2" fmla="*/ 85725 h 204369"/>
                      <a:gd name="connsiteX3" fmla="*/ 215900 w 1047750"/>
                      <a:gd name="connsiteY3" fmla="*/ 57150 h 204369"/>
                      <a:gd name="connsiteX4" fmla="*/ 298450 w 1047750"/>
                      <a:gd name="connsiteY4" fmla="*/ 60325 h 204369"/>
                      <a:gd name="connsiteX5" fmla="*/ 349250 w 1047750"/>
                      <a:gd name="connsiteY5" fmla="*/ 76200 h 204369"/>
                      <a:gd name="connsiteX6" fmla="*/ 422275 w 1047750"/>
                      <a:gd name="connsiteY6" fmla="*/ 66675 h 204369"/>
                      <a:gd name="connsiteX7" fmla="*/ 473075 w 1047750"/>
                      <a:gd name="connsiteY7" fmla="*/ 34925 h 204369"/>
                      <a:gd name="connsiteX8" fmla="*/ 533400 w 1047750"/>
                      <a:gd name="connsiteY8" fmla="*/ 25400 h 204369"/>
                      <a:gd name="connsiteX9" fmla="*/ 619125 w 1047750"/>
                      <a:gd name="connsiteY9" fmla="*/ 38100 h 204369"/>
                      <a:gd name="connsiteX10" fmla="*/ 793750 w 1047750"/>
                      <a:gd name="connsiteY10" fmla="*/ 31750 h 204369"/>
                      <a:gd name="connsiteX11" fmla="*/ 939800 w 1047750"/>
                      <a:gd name="connsiteY11" fmla="*/ 9525 h 204369"/>
                      <a:gd name="connsiteX12" fmla="*/ 1022350 w 1047750"/>
                      <a:gd name="connsiteY12" fmla="*/ 0 h 204369"/>
                      <a:gd name="connsiteX13" fmla="*/ 1047750 w 1047750"/>
                      <a:gd name="connsiteY13" fmla="*/ 22225 h 204369"/>
                      <a:gd name="connsiteX14" fmla="*/ 1019175 w 1047750"/>
                      <a:gd name="connsiteY14" fmla="*/ 19050 h 204369"/>
                      <a:gd name="connsiteX15" fmla="*/ 949325 w 1047750"/>
                      <a:gd name="connsiteY15" fmla="*/ 34925 h 204369"/>
                      <a:gd name="connsiteX16" fmla="*/ 863600 w 1047750"/>
                      <a:gd name="connsiteY16" fmla="*/ 76200 h 204369"/>
                      <a:gd name="connsiteX17" fmla="*/ 701675 w 1047750"/>
                      <a:gd name="connsiteY17" fmla="*/ 95250 h 204369"/>
                      <a:gd name="connsiteX18" fmla="*/ 619125 w 1047750"/>
                      <a:gd name="connsiteY18" fmla="*/ 127000 h 204369"/>
                      <a:gd name="connsiteX19" fmla="*/ 485775 w 1047750"/>
                      <a:gd name="connsiteY19" fmla="*/ 149225 h 204369"/>
                      <a:gd name="connsiteX20" fmla="*/ 317500 w 1047750"/>
                      <a:gd name="connsiteY20" fmla="*/ 174625 h 204369"/>
                      <a:gd name="connsiteX21" fmla="*/ 146050 w 1047750"/>
                      <a:gd name="connsiteY21" fmla="*/ 187325 h 204369"/>
                      <a:gd name="connsiteX22" fmla="*/ 57150 w 1047750"/>
                      <a:gd name="connsiteY22" fmla="*/ 180975 h 204369"/>
                      <a:gd name="connsiteX23" fmla="*/ 0 w 1047750"/>
                      <a:gd name="connsiteY23" fmla="*/ 133350 h 204369"/>
                      <a:gd name="connsiteX0" fmla="*/ 0 w 1047750"/>
                      <a:gd name="connsiteY0" fmla="*/ 133350 h 187325"/>
                      <a:gd name="connsiteX1" fmla="*/ 66675 w 1047750"/>
                      <a:gd name="connsiteY1" fmla="*/ 130175 h 187325"/>
                      <a:gd name="connsiteX2" fmla="*/ 158750 w 1047750"/>
                      <a:gd name="connsiteY2" fmla="*/ 85725 h 187325"/>
                      <a:gd name="connsiteX3" fmla="*/ 215900 w 1047750"/>
                      <a:gd name="connsiteY3" fmla="*/ 57150 h 187325"/>
                      <a:gd name="connsiteX4" fmla="*/ 298450 w 1047750"/>
                      <a:gd name="connsiteY4" fmla="*/ 60325 h 187325"/>
                      <a:gd name="connsiteX5" fmla="*/ 349250 w 1047750"/>
                      <a:gd name="connsiteY5" fmla="*/ 76200 h 187325"/>
                      <a:gd name="connsiteX6" fmla="*/ 422275 w 1047750"/>
                      <a:gd name="connsiteY6" fmla="*/ 66675 h 187325"/>
                      <a:gd name="connsiteX7" fmla="*/ 473075 w 1047750"/>
                      <a:gd name="connsiteY7" fmla="*/ 34925 h 187325"/>
                      <a:gd name="connsiteX8" fmla="*/ 533400 w 1047750"/>
                      <a:gd name="connsiteY8" fmla="*/ 25400 h 187325"/>
                      <a:gd name="connsiteX9" fmla="*/ 619125 w 1047750"/>
                      <a:gd name="connsiteY9" fmla="*/ 38100 h 187325"/>
                      <a:gd name="connsiteX10" fmla="*/ 793750 w 1047750"/>
                      <a:gd name="connsiteY10" fmla="*/ 31750 h 187325"/>
                      <a:gd name="connsiteX11" fmla="*/ 939800 w 1047750"/>
                      <a:gd name="connsiteY11" fmla="*/ 9525 h 187325"/>
                      <a:gd name="connsiteX12" fmla="*/ 1022350 w 1047750"/>
                      <a:gd name="connsiteY12" fmla="*/ 0 h 187325"/>
                      <a:gd name="connsiteX13" fmla="*/ 1047750 w 1047750"/>
                      <a:gd name="connsiteY13" fmla="*/ 22225 h 187325"/>
                      <a:gd name="connsiteX14" fmla="*/ 1019175 w 1047750"/>
                      <a:gd name="connsiteY14" fmla="*/ 19050 h 187325"/>
                      <a:gd name="connsiteX15" fmla="*/ 949325 w 1047750"/>
                      <a:gd name="connsiteY15" fmla="*/ 34925 h 187325"/>
                      <a:gd name="connsiteX16" fmla="*/ 863600 w 1047750"/>
                      <a:gd name="connsiteY16" fmla="*/ 76200 h 187325"/>
                      <a:gd name="connsiteX17" fmla="*/ 701675 w 1047750"/>
                      <a:gd name="connsiteY17" fmla="*/ 95250 h 187325"/>
                      <a:gd name="connsiteX18" fmla="*/ 619125 w 1047750"/>
                      <a:gd name="connsiteY18" fmla="*/ 127000 h 187325"/>
                      <a:gd name="connsiteX19" fmla="*/ 485775 w 1047750"/>
                      <a:gd name="connsiteY19" fmla="*/ 149225 h 187325"/>
                      <a:gd name="connsiteX20" fmla="*/ 317500 w 1047750"/>
                      <a:gd name="connsiteY20" fmla="*/ 174625 h 187325"/>
                      <a:gd name="connsiteX21" fmla="*/ 146050 w 1047750"/>
                      <a:gd name="connsiteY21" fmla="*/ 187325 h 187325"/>
                      <a:gd name="connsiteX22" fmla="*/ 57150 w 1047750"/>
                      <a:gd name="connsiteY22" fmla="*/ 180975 h 187325"/>
                      <a:gd name="connsiteX23" fmla="*/ 0 w 1047750"/>
                      <a:gd name="connsiteY23" fmla="*/ 133350 h 187325"/>
                      <a:gd name="connsiteX0" fmla="*/ 0 w 1047750"/>
                      <a:gd name="connsiteY0" fmla="*/ 133350 h 190500"/>
                      <a:gd name="connsiteX1" fmla="*/ 66675 w 1047750"/>
                      <a:gd name="connsiteY1" fmla="*/ 130175 h 190500"/>
                      <a:gd name="connsiteX2" fmla="*/ 158750 w 1047750"/>
                      <a:gd name="connsiteY2" fmla="*/ 85725 h 190500"/>
                      <a:gd name="connsiteX3" fmla="*/ 215900 w 1047750"/>
                      <a:gd name="connsiteY3" fmla="*/ 57150 h 190500"/>
                      <a:gd name="connsiteX4" fmla="*/ 298450 w 1047750"/>
                      <a:gd name="connsiteY4" fmla="*/ 60325 h 190500"/>
                      <a:gd name="connsiteX5" fmla="*/ 349250 w 1047750"/>
                      <a:gd name="connsiteY5" fmla="*/ 76200 h 190500"/>
                      <a:gd name="connsiteX6" fmla="*/ 422275 w 1047750"/>
                      <a:gd name="connsiteY6" fmla="*/ 66675 h 190500"/>
                      <a:gd name="connsiteX7" fmla="*/ 473075 w 1047750"/>
                      <a:gd name="connsiteY7" fmla="*/ 34925 h 190500"/>
                      <a:gd name="connsiteX8" fmla="*/ 533400 w 1047750"/>
                      <a:gd name="connsiteY8" fmla="*/ 25400 h 190500"/>
                      <a:gd name="connsiteX9" fmla="*/ 619125 w 1047750"/>
                      <a:gd name="connsiteY9" fmla="*/ 38100 h 190500"/>
                      <a:gd name="connsiteX10" fmla="*/ 793750 w 1047750"/>
                      <a:gd name="connsiteY10" fmla="*/ 31750 h 190500"/>
                      <a:gd name="connsiteX11" fmla="*/ 939800 w 1047750"/>
                      <a:gd name="connsiteY11" fmla="*/ 9525 h 190500"/>
                      <a:gd name="connsiteX12" fmla="*/ 1022350 w 1047750"/>
                      <a:gd name="connsiteY12" fmla="*/ 0 h 190500"/>
                      <a:gd name="connsiteX13" fmla="*/ 1047750 w 1047750"/>
                      <a:gd name="connsiteY13" fmla="*/ 22225 h 190500"/>
                      <a:gd name="connsiteX14" fmla="*/ 1019175 w 1047750"/>
                      <a:gd name="connsiteY14" fmla="*/ 19050 h 190500"/>
                      <a:gd name="connsiteX15" fmla="*/ 949325 w 1047750"/>
                      <a:gd name="connsiteY15" fmla="*/ 34925 h 190500"/>
                      <a:gd name="connsiteX16" fmla="*/ 863600 w 1047750"/>
                      <a:gd name="connsiteY16" fmla="*/ 76200 h 190500"/>
                      <a:gd name="connsiteX17" fmla="*/ 701675 w 1047750"/>
                      <a:gd name="connsiteY17" fmla="*/ 95250 h 190500"/>
                      <a:gd name="connsiteX18" fmla="*/ 619125 w 1047750"/>
                      <a:gd name="connsiteY18" fmla="*/ 127000 h 190500"/>
                      <a:gd name="connsiteX19" fmla="*/ 485775 w 1047750"/>
                      <a:gd name="connsiteY19" fmla="*/ 149225 h 190500"/>
                      <a:gd name="connsiteX20" fmla="*/ 352425 w 1047750"/>
                      <a:gd name="connsiteY20" fmla="*/ 190500 h 190500"/>
                      <a:gd name="connsiteX21" fmla="*/ 317500 w 1047750"/>
                      <a:gd name="connsiteY21" fmla="*/ 174625 h 190500"/>
                      <a:gd name="connsiteX22" fmla="*/ 146050 w 1047750"/>
                      <a:gd name="connsiteY22" fmla="*/ 187325 h 190500"/>
                      <a:gd name="connsiteX23" fmla="*/ 57150 w 1047750"/>
                      <a:gd name="connsiteY23" fmla="*/ 180975 h 190500"/>
                      <a:gd name="connsiteX24" fmla="*/ 0 w 1047750"/>
                      <a:gd name="connsiteY24" fmla="*/ 133350 h 190500"/>
                      <a:gd name="connsiteX0" fmla="*/ 0 w 1047750"/>
                      <a:gd name="connsiteY0" fmla="*/ 133350 h 193675"/>
                      <a:gd name="connsiteX1" fmla="*/ 66675 w 1047750"/>
                      <a:gd name="connsiteY1" fmla="*/ 130175 h 193675"/>
                      <a:gd name="connsiteX2" fmla="*/ 158750 w 1047750"/>
                      <a:gd name="connsiteY2" fmla="*/ 85725 h 193675"/>
                      <a:gd name="connsiteX3" fmla="*/ 215900 w 1047750"/>
                      <a:gd name="connsiteY3" fmla="*/ 57150 h 193675"/>
                      <a:gd name="connsiteX4" fmla="*/ 298450 w 1047750"/>
                      <a:gd name="connsiteY4" fmla="*/ 60325 h 193675"/>
                      <a:gd name="connsiteX5" fmla="*/ 349250 w 1047750"/>
                      <a:gd name="connsiteY5" fmla="*/ 76200 h 193675"/>
                      <a:gd name="connsiteX6" fmla="*/ 422275 w 1047750"/>
                      <a:gd name="connsiteY6" fmla="*/ 66675 h 193675"/>
                      <a:gd name="connsiteX7" fmla="*/ 473075 w 1047750"/>
                      <a:gd name="connsiteY7" fmla="*/ 34925 h 193675"/>
                      <a:gd name="connsiteX8" fmla="*/ 533400 w 1047750"/>
                      <a:gd name="connsiteY8" fmla="*/ 25400 h 193675"/>
                      <a:gd name="connsiteX9" fmla="*/ 619125 w 1047750"/>
                      <a:gd name="connsiteY9" fmla="*/ 38100 h 193675"/>
                      <a:gd name="connsiteX10" fmla="*/ 793750 w 1047750"/>
                      <a:gd name="connsiteY10" fmla="*/ 31750 h 193675"/>
                      <a:gd name="connsiteX11" fmla="*/ 939800 w 1047750"/>
                      <a:gd name="connsiteY11" fmla="*/ 9525 h 193675"/>
                      <a:gd name="connsiteX12" fmla="*/ 1022350 w 1047750"/>
                      <a:gd name="connsiteY12" fmla="*/ 0 h 193675"/>
                      <a:gd name="connsiteX13" fmla="*/ 1047750 w 1047750"/>
                      <a:gd name="connsiteY13" fmla="*/ 22225 h 193675"/>
                      <a:gd name="connsiteX14" fmla="*/ 1019175 w 1047750"/>
                      <a:gd name="connsiteY14" fmla="*/ 19050 h 193675"/>
                      <a:gd name="connsiteX15" fmla="*/ 949325 w 1047750"/>
                      <a:gd name="connsiteY15" fmla="*/ 34925 h 193675"/>
                      <a:gd name="connsiteX16" fmla="*/ 863600 w 1047750"/>
                      <a:gd name="connsiteY16" fmla="*/ 76200 h 193675"/>
                      <a:gd name="connsiteX17" fmla="*/ 701675 w 1047750"/>
                      <a:gd name="connsiteY17" fmla="*/ 95250 h 193675"/>
                      <a:gd name="connsiteX18" fmla="*/ 619125 w 1047750"/>
                      <a:gd name="connsiteY18" fmla="*/ 127000 h 193675"/>
                      <a:gd name="connsiteX19" fmla="*/ 485775 w 1047750"/>
                      <a:gd name="connsiteY19" fmla="*/ 149225 h 193675"/>
                      <a:gd name="connsiteX20" fmla="*/ 352425 w 1047750"/>
                      <a:gd name="connsiteY20" fmla="*/ 190500 h 193675"/>
                      <a:gd name="connsiteX21" fmla="*/ 285750 w 1047750"/>
                      <a:gd name="connsiteY21" fmla="*/ 193675 h 193675"/>
                      <a:gd name="connsiteX22" fmla="*/ 146050 w 1047750"/>
                      <a:gd name="connsiteY22" fmla="*/ 187325 h 193675"/>
                      <a:gd name="connsiteX23" fmla="*/ 57150 w 1047750"/>
                      <a:gd name="connsiteY23" fmla="*/ 180975 h 193675"/>
                      <a:gd name="connsiteX24" fmla="*/ 0 w 1047750"/>
                      <a:gd name="connsiteY24" fmla="*/ 133350 h 193675"/>
                      <a:gd name="connsiteX0" fmla="*/ 0 w 1047750"/>
                      <a:gd name="connsiteY0" fmla="*/ 133350 h 193675"/>
                      <a:gd name="connsiteX1" fmla="*/ 66675 w 1047750"/>
                      <a:gd name="connsiteY1" fmla="*/ 130175 h 193675"/>
                      <a:gd name="connsiteX2" fmla="*/ 158750 w 1047750"/>
                      <a:gd name="connsiteY2" fmla="*/ 85725 h 193675"/>
                      <a:gd name="connsiteX3" fmla="*/ 215900 w 1047750"/>
                      <a:gd name="connsiteY3" fmla="*/ 57150 h 193675"/>
                      <a:gd name="connsiteX4" fmla="*/ 298450 w 1047750"/>
                      <a:gd name="connsiteY4" fmla="*/ 60325 h 193675"/>
                      <a:gd name="connsiteX5" fmla="*/ 349250 w 1047750"/>
                      <a:gd name="connsiteY5" fmla="*/ 76200 h 193675"/>
                      <a:gd name="connsiteX6" fmla="*/ 422275 w 1047750"/>
                      <a:gd name="connsiteY6" fmla="*/ 66675 h 193675"/>
                      <a:gd name="connsiteX7" fmla="*/ 473075 w 1047750"/>
                      <a:gd name="connsiteY7" fmla="*/ 34925 h 193675"/>
                      <a:gd name="connsiteX8" fmla="*/ 533400 w 1047750"/>
                      <a:gd name="connsiteY8" fmla="*/ 25400 h 193675"/>
                      <a:gd name="connsiteX9" fmla="*/ 619125 w 1047750"/>
                      <a:gd name="connsiteY9" fmla="*/ 38100 h 193675"/>
                      <a:gd name="connsiteX10" fmla="*/ 793750 w 1047750"/>
                      <a:gd name="connsiteY10" fmla="*/ 31750 h 193675"/>
                      <a:gd name="connsiteX11" fmla="*/ 939800 w 1047750"/>
                      <a:gd name="connsiteY11" fmla="*/ 9525 h 193675"/>
                      <a:gd name="connsiteX12" fmla="*/ 1022350 w 1047750"/>
                      <a:gd name="connsiteY12" fmla="*/ 0 h 193675"/>
                      <a:gd name="connsiteX13" fmla="*/ 1047750 w 1047750"/>
                      <a:gd name="connsiteY13" fmla="*/ 22225 h 193675"/>
                      <a:gd name="connsiteX14" fmla="*/ 1019175 w 1047750"/>
                      <a:gd name="connsiteY14" fmla="*/ 19050 h 193675"/>
                      <a:gd name="connsiteX15" fmla="*/ 949325 w 1047750"/>
                      <a:gd name="connsiteY15" fmla="*/ 34925 h 193675"/>
                      <a:gd name="connsiteX16" fmla="*/ 787400 w 1047750"/>
                      <a:gd name="connsiteY16" fmla="*/ 76200 h 193675"/>
                      <a:gd name="connsiteX17" fmla="*/ 701675 w 1047750"/>
                      <a:gd name="connsiteY17" fmla="*/ 95250 h 193675"/>
                      <a:gd name="connsiteX18" fmla="*/ 619125 w 1047750"/>
                      <a:gd name="connsiteY18" fmla="*/ 127000 h 193675"/>
                      <a:gd name="connsiteX19" fmla="*/ 485775 w 1047750"/>
                      <a:gd name="connsiteY19" fmla="*/ 149225 h 193675"/>
                      <a:gd name="connsiteX20" fmla="*/ 352425 w 1047750"/>
                      <a:gd name="connsiteY20" fmla="*/ 190500 h 193675"/>
                      <a:gd name="connsiteX21" fmla="*/ 285750 w 1047750"/>
                      <a:gd name="connsiteY21" fmla="*/ 193675 h 193675"/>
                      <a:gd name="connsiteX22" fmla="*/ 146050 w 1047750"/>
                      <a:gd name="connsiteY22" fmla="*/ 187325 h 193675"/>
                      <a:gd name="connsiteX23" fmla="*/ 57150 w 1047750"/>
                      <a:gd name="connsiteY23" fmla="*/ 180975 h 193675"/>
                      <a:gd name="connsiteX24" fmla="*/ 0 w 1047750"/>
                      <a:gd name="connsiteY24" fmla="*/ 133350 h 193675"/>
                      <a:gd name="connsiteX0" fmla="*/ 0 w 1047750"/>
                      <a:gd name="connsiteY0" fmla="*/ 133350 h 193675"/>
                      <a:gd name="connsiteX1" fmla="*/ 66675 w 1047750"/>
                      <a:gd name="connsiteY1" fmla="*/ 130175 h 193675"/>
                      <a:gd name="connsiteX2" fmla="*/ 158750 w 1047750"/>
                      <a:gd name="connsiteY2" fmla="*/ 85725 h 193675"/>
                      <a:gd name="connsiteX3" fmla="*/ 215900 w 1047750"/>
                      <a:gd name="connsiteY3" fmla="*/ 57150 h 193675"/>
                      <a:gd name="connsiteX4" fmla="*/ 298450 w 1047750"/>
                      <a:gd name="connsiteY4" fmla="*/ 60325 h 193675"/>
                      <a:gd name="connsiteX5" fmla="*/ 349250 w 1047750"/>
                      <a:gd name="connsiteY5" fmla="*/ 76200 h 193675"/>
                      <a:gd name="connsiteX6" fmla="*/ 422275 w 1047750"/>
                      <a:gd name="connsiteY6" fmla="*/ 66675 h 193675"/>
                      <a:gd name="connsiteX7" fmla="*/ 473075 w 1047750"/>
                      <a:gd name="connsiteY7" fmla="*/ 34925 h 193675"/>
                      <a:gd name="connsiteX8" fmla="*/ 533400 w 1047750"/>
                      <a:gd name="connsiteY8" fmla="*/ 25400 h 193675"/>
                      <a:gd name="connsiteX9" fmla="*/ 619125 w 1047750"/>
                      <a:gd name="connsiteY9" fmla="*/ 38100 h 193675"/>
                      <a:gd name="connsiteX10" fmla="*/ 793750 w 1047750"/>
                      <a:gd name="connsiteY10" fmla="*/ 31750 h 193675"/>
                      <a:gd name="connsiteX11" fmla="*/ 939800 w 1047750"/>
                      <a:gd name="connsiteY11" fmla="*/ 9525 h 193675"/>
                      <a:gd name="connsiteX12" fmla="*/ 1022350 w 1047750"/>
                      <a:gd name="connsiteY12" fmla="*/ 0 h 193675"/>
                      <a:gd name="connsiteX13" fmla="*/ 1047750 w 1047750"/>
                      <a:gd name="connsiteY13" fmla="*/ 22225 h 193675"/>
                      <a:gd name="connsiteX14" fmla="*/ 1019175 w 1047750"/>
                      <a:gd name="connsiteY14" fmla="*/ 19050 h 193675"/>
                      <a:gd name="connsiteX15" fmla="*/ 949325 w 1047750"/>
                      <a:gd name="connsiteY15" fmla="*/ 34925 h 193675"/>
                      <a:gd name="connsiteX16" fmla="*/ 787400 w 1047750"/>
                      <a:gd name="connsiteY16" fmla="*/ 76200 h 193675"/>
                      <a:gd name="connsiteX17" fmla="*/ 701675 w 1047750"/>
                      <a:gd name="connsiteY17" fmla="*/ 95250 h 193675"/>
                      <a:gd name="connsiteX18" fmla="*/ 619125 w 1047750"/>
                      <a:gd name="connsiteY18" fmla="*/ 127000 h 193675"/>
                      <a:gd name="connsiteX19" fmla="*/ 485775 w 1047750"/>
                      <a:gd name="connsiteY19" fmla="*/ 149225 h 193675"/>
                      <a:gd name="connsiteX20" fmla="*/ 352425 w 1047750"/>
                      <a:gd name="connsiteY20" fmla="*/ 190500 h 193675"/>
                      <a:gd name="connsiteX21" fmla="*/ 285750 w 1047750"/>
                      <a:gd name="connsiteY21" fmla="*/ 193675 h 193675"/>
                      <a:gd name="connsiteX22" fmla="*/ 146050 w 1047750"/>
                      <a:gd name="connsiteY22" fmla="*/ 187325 h 193675"/>
                      <a:gd name="connsiteX23" fmla="*/ 57150 w 1047750"/>
                      <a:gd name="connsiteY23" fmla="*/ 180975 h 193675"/>
                      <a:gd name="connsiteX24" fmla="*/ 0 w 1047750"/>
                      <a:gd name="connsiteY24" fmla="*/ 133350 h 193675"/>
                      <a:gd name="connsiteX0" fmla="*/ 0 w 1047750"/>
                      <a:gd name="connsiteY0" fmla="*/ 133350 h 193675"/>
                      <a:gd name="connsiteX1" fmla="*/ 66675 w 1047750"/>
                      <a:gd name="connsiteY1" fmla="*/ 130175 h 193675"/>
                      <a:gd name="connsiteX2" fmla="*/ 158750 w 1047750"/>
                      <a:gd name="connsiteY2" fmla="*/ 85725 h 193675"/>
                      <a:gd name="connsiteX3" fmla="*/ 215900 w 1047750"/>
                      <a:gd name="connsiteY3" fmla="*/ 57150 h 193675"/>
                      <a:gd name="connsiteX4" fmla="*/ 298450 w 1047750"/>
                      <a:gd name="connsiteY4" fmla="*/ 60325 h 193675"/>
                      <a:gd name="connsiteX5" fmla="*/ 349250 w 1047750"/>
                      <a:gd name="connsiteY5" fmla="*/ 76200 h 193675"/>
                      <a:gd name="connsiteX6" fmla="*/ 422275 w 1047750"/>
                      <a:gd name="connsiteY6" fmla="*/ 66675 h 193675"/>
                      <a:gd name="connsiteX7" fmla="*/ 473075 w 1047750"/>
                      <a:gd name="connsiteY7" fmla="*/ 34925 h 193675"/>
                      <a:gd name="connsiteX8" fmla="*/ 533400 w 1047750"/>
                      <a:gd name="connsiteY8" fmla="*/ 25400 h 193675"/>
                      <a:gd name="connsiteX9" fmla="*/ 619125 w 1047750"/>
                      <a:gd name="connsiteY9" fmla="*/ 38100 h 193675"/>
                      <a:gd name="connsiteX10" fmla="*/ 793750 w 1047750"/>
                      <a:gd name="connsiteY10" fmla="*/ 31750 h 193675"/>
                      <a:gd name="connsiteX11" fmla="*/ 939800 w 1047750"/>
                      <a:gd name="connsiteY11" fmla="*/ 9525 h 193675"/>
                      <a:gd name="connsiteX12" fmla="*/ 1022350 w 1047750"/>
                      <a:gd name="connsiteY12" fmla="*/ 0 h 193675"/>
                      <a:gd name="connsiteX13" fmla="*/ 1047750 w 1047750"/>
                      <a:gd name="connsiteY13" fmla="*/ 22225 h 193675"/>
                      <a:gd name="connsiteX14" fmla="*/ 1019175 w 1047750"/>
                      <a:gd name="connsiteY14" fmla="*/ 19050 h 193675"/>
                      <a:gd name="connsiteX15" fmla="*/ 949325 w 1047750"/>
                      <a:gd name="connsiteY15" fmla="*/ 34925 h 193675"/>
                      <a:gd name="connsiteX16" fmla="*/ 787400 w 1047750"/>
                      <a:gd name="connsiteY16" fmla="*/ 76200 h 193675"/>
                      <a:gd name="connsiteX17" fmla="*/ 701675 w 1047750"/>
                      <a:gd name="connsiteY17" fmla="*/ 95250 h 193675"/>
                      <a:gd name="connsiteX18" fmla="*/ 619125 w 1047750"/>
                      <a:gd name="connsiteY18" fmla="*/ 127000 h 193675"/>
                      <a:gd name="connsiteX19" fmla="*/ 485775 w 1047750"/>
                      <a:gd name="connsiteY19" fmla="*/ 149225 h 193675"/>
                      <a:gd name="connsiteX20" fmla="*/ 352425 w 1047750"/>
                      <a:gd name="connsiteY20" fmla="*/ 190500 h 193675"/>
                      <a:gd name="connsiteX21" fmla="*/ 285750 w 1047750"/>
                      <a:gd name="connsiteY21" fmla="*/ 193675 h 193675"/>
                      <a:gd name="connsiteX22" fmla="*/ 146050 w 1047750"/>
                      <a:gd name="connsiteY22" fmla="*/ 187325 h 193675"/>
                      <a:gd name="connsiteX23" fmla="*/ 57150 w 1047750"/>
                      <a:gd name="connsiteY23" fmla="*/ 180975 h 193675"/>
                      <a:gd name="connsiteX24" fmla="*/ 0 w 1047750"/>
                      <a:gd name="connsiteY24" fmla="*/ 133350 h 193675"/>
                      <a:gd name="connsiteX0" fmla="*/ 0 w 1057275"/>
                      <a:gd name="connsiteY0" fmla="*/ 155575 h 200025"/>
                      <a:gd name="connsiteX1" fmla="*/ 76200 w 1057275"/>
                      <a:gd name="connsiteY1" fmla="*/ 130175 h 200025"/>
                      <a:gd name="connsiteX2" fmla="*/ 168275 w 1057275"/>
                      <a:gd name="connsiteY2" fmla="*/ 85725 h 200025"/>
                      <a:gd name="connsiteX3" fmla="*/ 225425 w 1057275"/>
                      <a:gd name="connsiteY3" fmla="*/ 57150 h 200025"/>
                      <a:gd name="connsiteX4" fmla="*/ 307975 w 1057275"/>
                      <a:gd name="connsiteY4" fmla="*/ 60325 h 200025"/>
                      <a:gd name="connsiteX5" fmla="*/ 358775 w 1057275"/>
                      <a:gd name="connsiteY5" fmla="*/ 76200 h 200025"/>
                      <a:gd name="connsiteX6" fmla="*/ 431800 w 1057275"/>
                      <a:gd name="connsiteY6" fmla="*/ 66675 h 200025"/>
                      <a:gd name="connsiteX7" fmla="*/ 482600 w 1057275"/>
                      <a:gd name="connsiteY7" fmla="*/ 34925 h 200025"/>
                      <a:gd name="connsiteX8" fmla="*/ 542925 w 1057275"/>
                      <a:gd name="connsiteY8" fmla="*/ 25400 h 200025"/>
                      <a:gd name="connsiteX9" fmla="*/ 628650 w 1057275"/>
                      <a:gd name="connsiteY9" fmla="*/ 38100 h 200025"/>
                      <a:gd name="connsiteX10" fmla="*/ 803275 w 1057275"/>
                      <a:gd name="connsiteY10" fmla="*/ 31750 h 200025"/>
                      <a:gd name="connsiteX11" fmla="*/ 949325 w 1057275"/>
                      <a:gd name="connsiteY11" fmla="*/ 9525 h 200025"/>
                      <a:gd name="connsiteX12" fmla="*/ 1031875 w 1057275"/>
                      <a:gd name="connsiteY12" fmla="*/ 0 h 200025"/>
                      <a:gd name="connsiteX13" fmla="*/ 1057275 w 1057275"/>
                      <a:gd name="connsiteY13" fmla="*/ 22225 h 200025"/>
                      <a:gd name="connsiteX14" fmla="*/ 1028700 w 1057275"/>
                      <a:gd name="connsiteY14" fmla="*/ 19050 h 200025"/>
                      <a:gd name="connsiteX15" fmla="*/ 958850 w 1057275"/>
                      <a:gd name="connsiteY15" fmla="*/ 34925 h 200025"/>
                      <a:gd name="connsiteX16" fmla="*/ 796925 w 1057275"/>
                      <a:gd name="connsiteY16" fmla="*/ 76200 h 200025"/>
                      <a:gd name="connsiteX17" fmla="*/ 711200 w 1057275"/>
                      <a:gd name="connsiteY17" fmla="*/ 95250 h 200025"/>
                      <a:gd name="connsiteX18" fmla="*/ 628650 w 1057275"/>
                      <a:gd name="connsiteY18" fmla="*/ 127000 h 200025"/>
                      <a:gd name="connsiteX19" fmla="*/ 495300 w 1057275"/>
                      <a:gd name="connsiteY19" fmla="*/ 149225 h 200025"/>
                      <a:gd name="connsiteX20" fmla="*/ 361950 w 1057275"/>
                      <a:gd name="connsiteY20" fmla="*/ 190500 h 200025"/>
                      <a:gd name="connsiteX21" fmla="*/ 295275 w 1057275"/>
                      <a:gd name="connsiteY21" fmla="*/ 193675 h 200025"/>
                      <a:gd name="connsiteX22" fmla="*/ 155575 w 1057275"/>
                      <a:gd name="connsiteY22" fmla="*/ 187325 h 200025"/>
                      <a:gd name="connsiteX23" fmla="*/ 66675 w 1057275"/>
                      <a:gd name="connsiteY23" fmla="*/ 180975 h 200025"/>
                      <a:gd name="connsiteX24" fmla="*/ 0 w 1057275"/>
                      <a:gd name="connsiteY24" fmla="*/ 155575 h 200025"/>
                      <a:gd name="connsiteX0" fmla="*/ 8466 w 1065741"/>
                      <a:gd name="connsiteY0" fmla="*/ 155575 h 193675"/>
                      <a:gd name="connsiteX1" fmla="*/ 84666 w 1065741"/>
                      <a:gd name="connsiteY1" fmla="*/ 130175 h 193675"/>
                      <a:gd name="connsiteX2" fmla="*/ 176741 w 1065741"/>
                      <a:gd name="connsiteY2" fmla="*/ 85725 h 193675"/>
                      <a:gd name="connsiteX3" fmla="*/ 233891 w 1065741"/>
                      <a:gd name="connsiteY3" fmla="*/ 57150 h 193675"/>
                      <a:gd name="connsiteX4" fmla="*/ 316441 w 1065741"/>
                      <a:gd name="connsiteY4" fmla="*/ 60325 h 193675"/>
                      <a:gd name="connsiteX5" fmla="*/ 367241 w 1065741"/>
                      <a:gd name="connsiteY5" fmla="*/ 76200 h 193675"/>
                      <a:gd name="connsiteX6" fmla="*/ 440266 w 1065741"/>
                      <a:gd name="connsiteY6" fmla="*/ 66675 h 193675"/>
                      <a:gd name="connsiteX7" fmla="*/ 491066 w 1065741"/>
                      <a:gd name="connsiteY7" fmla="*/ 34925 h 193675"/>
                      <a:gd name="connsiteX8" fmla="*/ 551391 w 1065741"/>
                      <a:gd name="connsiteY8" fmla="*/ 25400 h 193675"/>
                      <a:gd name="connsiteX9" fmla="*/ 637116 w 1065741"/>
                      <a:gd name="connsiteY9" fmla="*/ 38100 h 193675"/>
                      <a:gd name="connsiteX10" fmla="*/ 811741 w 1065741"/>
                      <a:gd name="connsiteY10" fmla="*/ 31750 h 193675"/>
                      <a:gd name="connsiteX11" fmla="*/ 957791 w 1065741"/>
                      <a:gd name="connsiteY11" fmla="*/ 9525 h 193675"/>
                      <a:gd name="connsiteX12" fmla="*/ 1040341 w 1065741"/>
                      <a:gd name="connsiteY12" fmla="*/ 0 h 193675"/>
                      <a:gd name="connsiteX13" fmla="*/ 1065741 w 1065741"/>
                      <a:gd name="connsiteY13" fmla="*/ 22225 h 193675"/>
                      <a:gd name="connsiteX14" fmla="*/ 1037166 w 1065741"/>
                      <a:gd name="connsiteY14" fmla="*/ 19050 h 193675"/>
                      <a:gd name="connsiteX15" fmla="*/ 967316 w 1065741"/>
                      <a:gd name="connsiteY15" fmla="*/ 34925 h 193675"/>
                      <a:gd name="connsiteX16" fmla="*/ 805391 w 1065741"/>
                      <a:gd name="connsiteY16" fmla="*/ 76200 h 193675"/>
                      <a:gd name="connsiteX17" fmla="*/ 719666 w 1065741"/>
                      <a:gd name="connsiteY17" fmla="*/ 95250 h 193675"/>
                      <a:gd name="connsiteX18" fmla="*/ 637116 w 1065741"/>
                      <a:gd name="connsiteY18" fmla="*/ 127000 h 193675"/>
                      <a:gd name="connsiteX19" fmla="*/ 503766 w 1065741"/>
                      <a:gd name="connsiteY19" fmla="*/ 149225 h 193675"/>
                      <a:gd name="connsiteX20" fmla="*/ 370416 w 1065741"/>
                      <a:gd name="connsiteY20" fmla="*/ 190500 h 193675"/>
                      <a:gd name="connsiteX21" fmla="*/ 303741 w 1065741"/>
                      <a:gd name="connsiteY21" fmla="*/ 193675 h 193675"/>
                      <a:gd name="connsiteX22" fmla="*/ 164041 w 1065741"/>
                      <a:gd name="connsiteY22" fmla="*/ 187325 h 193675"/>
                      <a:gd name="connsiteX23" fmla="*/ 75141 w 1065741"/>
                      <a:gd name="connsiteY23" fmla="*/ 180975 h 193675"/>
                      <a:gd name="connsiteX24" fmla="*/ 33867 w 1065741"/>
                      <a:gd name="connsiteY24" fmla="*/ 174624 h 193675"/>
                      <a:gd name="connsiteX25" fmla="*/ 8466 w 1065741"/>
                      <a:gd name="connsiteY25" fmla="*/ 155575 h 193675"/>
                      <a:gd name="connsiteX0" fmla="*/ 8466 w 1065741"/>
                      <a:gd name="connsiteY0" fmla="*/ 155575 h 193675"/>
                      <a:gd name="connsiteX1" fmla="*/ 84666 w 1065741"/>
                      <a:gd name="connsiteY1" fmla="*/ 130175 h 193675"/>
                      <a:gd name="connsiteX2" fmla="*/ 176741 w 1065741"/>
                      <a:gd name="connsiteY2" fmla="*/ 85725 h 193675"/>
                      <a:gd name="connsiteX3" fmla="*/ 233891 w 1065741"/>
                      <a:gd name="connsiteY3" fmla="*/ 57150 h 193675"/>
                      <a:gd name="connsiteX4" fmla="*/ 316441 w 1065741"/>
                      <a:gd name="connsiteY4" fmla="*/ 60325 h 193675"/>
                      <a:gd name="connsiteX5" fmla="*/ 367241 w 1065741"/>
                      <a:gd name="connsiteY5" fmla="*/ 76200 h 193675"/>
                      <a:gd name="connsiteX6" fmla="*/ 440266 w 1065741"/>
                      <a:gd name="connsiteY6" fmla="*/ 66675 h 193675"/>
                      <a:gd name="connsiteX7" fmla="*/ 491066 w 1065741"/>
                      <a:gd name="connsiteY7" fmla="*/ 34925 h 193675"/>
                      <a:gd name="connsiteX8" fmla="*/ 551391 w 1065741"/>
                      <a:gd name="connsiteY8" fmla="*/ 25400 h 193675"/>
                      <a:gd name="connsiteX9" fmla="*/ 637116 w 1065741"/>
                      <a:gd name="connsiteY9" fmla="*/ 38100 h 193675"/>
                      <a:gd name="connsiteX10" fmla="*/ 811741 w 1065741"/>
                      <a:gd name="connsiteY10" fmla="*/ 31750 h 193675"/>
                      <a:gd name="connsiteX11" fmla="*/ 957791 w 1065741"/>
                      <a:gd name="connsiteY11" fmla="*/ 9525 h 193675"/>
                      <a:gd name="connsiteX12" fmla="*/ 1040341 w 1065741"/>
                      <a:gd name="connsiteY12" fmla="*/ 0 h 193675"/>
                      <a:gd name="connsiteX13" fmla="*/ 1065741 w 1065741"/>
                      <a:gd name="connsiteY13" fmla="*/ 22225 h 193675"/>
                      <a:gd name="connsiteX14" fmla="*/ 1037166 w 1065741"/>
                      <a:gd name="connsiteY14" fmla="*/ 19050 h 193675"/>
                      <a:gd name="connsiteX15" fmla="*/ 967316 w 1065741"/>
                      <a:gd name="connsiteY15" fmla="*/ 34925 h 193675"/>
                      <a:gd name="connsiteX16" fmla="*/ 805391 w 1065741"/>
                      <a:gd name="connsiteY16" fmla="*/ 76200 h 193675"/>
                      <a:gd name="connsiteX17" fmla="*/ 719666 w 1065741"/>
                      <a:gd name="connsiteY17" fmla="*/ 95250 h 193675"/>
                      <a:gd name="connsiteX18" fmla="*/ 637116 w 1065741"/>
                      <a:gd name="connsiteY18" fmla="*/ 127000 h 193675"/>
                      <a:gd name="connsiteX19" fmla="*/ 510910 w 1065741"/>
                      <a:gd name="connsiteY19" fmla="*/ 158750 h 193675"/>
                      <a:gd name="connsiteX20" fmla="*/ 370416 w 1065741"/>
                      <a:gd name="connsiteY20" fmla="*/ 190500 h 193675"/>
                      <a:gd name="connsiteX21" fmla="*/ 303741 w 1065741"/>
                      <a:gd name="connsiteY21" fmla="*/ 193675 h 193675"/>
                      <a:gd name="connsiteX22" fmla="*/ 164041 w 1065741"/>
                      <a:gd name="connsiteY22" fmla="*/ 187325 h 193675"/>
                      <a:gd name="connsiteX23" fmla="*/ 75141 w 1065741"/>
                      <a:gd name="connsiteY23" fmla="*/ 180975 h 193675"/>
                      <a:gd name="connsiteX24" fmla="*/ 33867 w 1065741"/>
                      <a:gd name="connsiteY24" fmla="*/ 174624 h 193675"/>
                      <a:gd name="connsiteX25" fmla="*/ 8466 w 1065741"/>
                      <a:gd name="connsiteY25" fmla="*/ 155575 h 193675"/>
                      <a:gd name="connsiteX0" fmla="*/ 8466 w 1065741"/>
                      <a:gd name="connsiteY0" fmla="*/ 155575 h 193675"/>
                      <a:gd name="connsiteX1" fmla="*/ 84666 w 1065741"/>
                      <a:gd name="connsiteY1" fmla="*/ 130175 h 193675"/>
                      <a:gd name="connsiteX2" fmla="*/ 176741 w 1065741"/>
                      <a:gd name="connsiteY2" fmla="*/ 85725 h 193675"/>
                      <a:gd name="connsiteX3" fmla="*/ 233891 w 1065741"/>
                      <a:gd name="connsiteY3" fmla="*/ 57150 h 193675"/>
                      <a:gd name="connsiteX4" fmla="*/ 316441 w 1065741"/>
                      <a:gd name="connsiteY4" fmla="*/ 60325 h 193675"/>
                      <a:gd name="connsiteX5" fmla="*/ 367241 w 1065741"/>
                      <a:gd name="connsiteY5" fmla="*/ 76200 h 193675"/>
                      <a:gd name="connsiteX6" fmla="*/ 440266 w 1065741"/>
                      <a:gd name="connsiteY6" fmla="*/ 66675 h 193675"/>
                      <a:gd name="connsiteX7" fmla="*/ 491066 w 1065741"/>
                      <a:gd name="connsiteY7" fmla="*/ 34925 h 193675"/>
                      <a:gd name="connsiteX8" fmla="*/ 551391 w 1065741"/>
                      <a:gd name="connsiteY8" fmla="*/ 25400 h 193675"/>
                      <a:gd name="connsiteX9" fmla="*/ 637116 w 1065741"/>
                      <a:gd name="connsiteY9" fmla="*/ 38100 h 193675"/>
                      <a:gd name="connsiteX10" fmla="*/ 811741 w 1065741"/>
                      <a:gd name="connsiteY10" fmla="*/ 31750 h 193675"/>
                      <a:gd name="connsiteX11" fmla="*/ 957791 w 1065741"/>
                      <a:gd name="connsiteY11" fmla="*/ 9525 h 193675"/>
                      <a:gd name="connsiteX12" fmla="*/ 1040341 w 1065741"/>
                      <a:gd name="connsiteY12" fmla="*/ 0 h 193675"/>
                      <a:gd name="connsiteX13" fmla="*/ 1065741 w 1065741"/>
                      <a:gd name="connsiteY13" fmla="*/ 22225 h 193675"/>
                      <a:gd name="connsiteX14" fmla="*/ 1037166 w 1065741"/>
                      <a:gd name="connsiteY14" fmla="*/ 19050 h 193675"/>
                      <a:gd name="connsiteX15" fmla="*/ 967316 w 1065741"/>
                      <a:gd name="connsiteY15" fmla="*/ 34925 h 193675"/>
                      <a:gd name="connsiteX16" fmla="*/ 805391 w 1065741"/>
                      <a:gd name="connsiteY16" fmla="*/ 76200 h 193675"/>
                      <a:gd name="connsiteX17" fmla="*/ 719666 w 1065741"/>
                      <a:gd name="connsiteY17" fmla="*/ 95250 h 193675"/>
                      <a:gd name="connsiteX18" fmla="*/ 637116 w 1065741"/>
                      <a:gd name="connsiteY18" fmla="*/ 127000 h 193675"/>
                      <a:gd name="connsiteX19" fmla="*/ 510910 w 1065741"/>
                      <a:gd name="connsiteY19" fmla="*/ 158750 h 193675"/>
                      <a:gd name="connsiteX20" fmla="*/ 370416 w 1065741"/>
                      <a:gd name="connsiteY20" fmla="*/ 190500 h 193675"/>
                      <a:gd name="connsiteX21" fmla="*/ 303741 w 1065741"/>
                      <a:gd name="connsiteY21" fmla="*/ 193675 h 193675"/>
                      <a:gd name="connsiteX22" fmla="*/ 275167 w 1065741"/>
                      <a:gd name="connsiteY22" fmla="*/ 186530 h 193675"/>
                      <a:gd name="connsiteX23" fmla="*/ 164041 w 1065741"/>
                      <a:gd name="connsiteY23" fmla="*/ 187325 h 193675"/>
                      <a:gd name="connsiteX24" fmla="*/ 75141 w 1065741"/>
                      <a:gd name="connsiteY24" fmla="*/ 180975 h 193675"/>
                      <a:gd name="connsiteX25" fmla="*/ 33867 w 1065741"/>
                      <a:gd name="connsiteY25" fmla="*/ 174624 h 193675"/>
                      <a:gd name="connsiteX26" fmla="*/ 8466 w 1065741"/>
                      <a:gd name="connsiteY26" fmla="*/ 155575 h 193675"/>
                      <a:gd name="connsiteX0" fmla="*/ 8466 w 1065741"/>
                      <a:gd name="connsiteY0" fmla="*/ 155575 h 193675"/>
                      <a:gd name="connsiteX1" fmla="*/ 84666 w 1065741"/>
                      <a:gd name="connsiteY1" fmla="*/ 130175 h 193675"/>
                      <a:gd name="connsiteX2" fmla="*/ 176741 w 1065741"/>
                      <a:gd name="connsiteY2" fmla="*/ 85725 h 193675"/>
                      <a:gd name="connsiteX3" fmla="*/ 233891 w 1065741"/>
                      <a:gd name="connsiteY3" fmla="*/ 57150 h 193675"/>
                      <a:gd name="connsiteX4" fmla="*/ 316441 w 1065741"/>
                      <a:gd name="connsiteY4" fmla="*/ 60325 h 193675"/>
                      <a:gd name="connsiteX5" fmla="*/ 367241 w 1065741"/>
                      <a:gd name="connsiteY5" fmla="*/ 76200 h 193675"/>
                      <a:gd name="connsiteX6" fmla="*/ 440266 w 1065741"/>
                      <a:gd name="connsiteY6" fmla="*/ 66675 h 193675"/>
                      <a:gd name="connsiteX7" fmla="*/ 491066 w 1065741"/>
                      <a:gd name="connsiteY7" fmla="*/ 34925 h 193675"/>
                      <a:gd name="connsiteX8" fmla="*/ 551391 w 1065741"/>
                      <a:gd name="connsiteY8" fmla="*/ 25400 h 193675"/>
                      <a:gd name="connsiteX9" fmla="*/ 637116 w 1065741"/>
                      <a:gd name="connsiteY9" fmla="*/ 38100 h 193675"/>
                      <a:gd name="connsiteX10" fmla="*/ 811741 w 1065741"/>
                      <a:gd name="connsiteY10" fmla="*/ 31750 h 193675"/>
                      <a:gd name="connsiteX11" fmla="*/ 957791 w 1065741"/>
                      <a:gd name="connsiteY11" fmla="*/ 9525 h 193675"/>
                      <a:gd name="connsiteX12" fmla="*/ 1040341 w 1065741"/>
                      <a:gd name="connsiteY12" fmla="*/ 0 h 193675"/>
                      <a:gd name="connsiteX13" fmla="*/ 1060980 w 1065741"/>
                      <a:gd name="connsiteY13" fmla="*/ 3175 h 193675"/>
                      <a:gd name="connsiteX14" fmla="*/ 1065741 w 1065741"/>
                      <a:gd name="connsiteY14" fmla="*/ 22225 h 193675"/>
                      <a:gd name="connsiteX15" fmla="*/ 1037166 w 1065741"/>
                      <a:gd name="connsiteY15" fmla="*/ 19050 h 193675"/>
                      <a:gd name="connsiteX16" fmla="*/ 967316 w 1065741"/>
                      <a:gd name="connsiteY16" fmla="*/ 34925 h 193675"/>
                      <a:gd name="connsiteX17" fmla="*/ 805391 w 1065741"/>
                      <a:gd name="connsiteY17" fmla="*/ 76200 h 193675"/>
                      <a:gd name="connsiteX18" fmla="*/ 719666 w 1065741"/>
                      <a:gd name="connsiteY18" fmla="*/ 95250 h 193675"/>
                      <a:gd name="connsiteX19" fmla="*/ 637116 w 1065741"/>
                      <a:gd name="connsiteY19" fmla="*/ 127000 h 193675"/>
                      <a:gd name="connsiteX20" fmla="*/ 510910 w 1065741"/>
                      <a:gd name="connsiteY20" fmla="*/ 158750 h 193675"/>
                      <a:gd name="connsiteX21" fmla="*/ 370416 w 1065741"/>
                      <a:gd name="connsiteY21" fmla="*/ 190500 h 193675"/>
                      <a:gd name="connsiteX22" fmla="*/ 303741 w 1065741"/>
                      <a:gd name="connsiteY22" fmla="*/ 193675 h 193675"/>
                      <a:gd name="connsiteX23" fmla="*/ 275167 w 1065741"/>
                      <a:gd name="connsiteY23" fmla="*/ 186530 h 193675"/>
                      <a:gd name="connsiteX24" fmla="*/ 164041 w 1065741"/>
                      <a:gd name="connsiteY24" fmla="*/ 187325 h 193675"/>
                      <a:gd name="connsiteX25" fmla="*/ 75141 w 1065741"/>
                      <a:gd name="connsiteY25" fmla="*/ 180975 h 193675"/>
                      <a:gd name="connsiteX26" fmla="*/ 33867 w 1065741"/>
                      <a:gd name="connsiteY26" fmla="*/ 174624 h 193675"/>
                      <a:gd name="connsiteX27" fmla="*/ 8466 w 1065741"/>
                      <a:gd name="connsiteY27" fmla="*/ 155575 h 193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65741" h="193675">
                        <a:moveTo>
                          <a:pt x="8466" y="155575"/>
                        </a:moveTo>
                        <a:lnTo>
                          <a:pt x="84666" y="130175"/>
                        </a:lnTo>
                        <a:lnTo>
                          <a:pt x="176741" y="85725"/>
                        </a:lnTo>
                        <a:lnTo>
                          <a:pt x="233891" y="57150"/>
                        </a:lnTo>
                        <a:lnTo>
                          <a:pt x="316441" y="60325"/>
                        </a:lnTo>
                        <a:lnTo>
                          <a:pt x="367241" y="76200"/>
                        </a:lnTo>
                        <a:lnTo>
                          <a:pt x="440266" y="66675"/>
                        </a:lnTo>
                        <a:lnTo>
                          <a:pt x="491066" y="34925"/>
                        </a:lnTo>
                        <a:cubicBezTo>
                          <a:pt x="549260" y="25226"/>
                          <a:pt x="528903" y="25400"/>
                          <a:pt x="551391" y="25400"/>
                        </a:cubicBezTo>
                        <a:cubicBezTo>
                          <a:pt x="634987" y="38261"/>
                          <a:pt x="606101" y="38100"/>
                          <a:pt x="637116" y="38100"/>
                        </a:cubicBezTo>
                        <a:cubicBezTo>
                          <a:pt x="695323" y="35944"/>
                          <a:pt x="753494" y="31750"/>
                          <a:pt x="811741" y="31750"/>
                        </a:cubicBezTo>
                        <a:lnTo>
                          <a:pt x="957791" y="9525"/>
                        </a:lnTo>
                        <a:lnTo>
                          <a:pt x="1040341" y="0"/>
                        </a:lnTo>
                        <a:lnTo>
                          <a:pt x="1060980" y="3175"/>
                        </a:lnTo>
                        <a:lnTo>
                          <a:pt x="1065741" y="22225"/>
                        </a:lnTo>
                        <a:lnTo>
                          <a:pt x="1037166" y="19050"/>
                        </a:lnTo>
                        <a:lnTo>
                          <a:pt x="967316" y="34925"/>
                        </a:lnTo>
                        <a:cubicBezTo>
                          <a:pt x="880651" y="79862"/>
                          <a:pt x="878416" y="76638"/>
                          <a:pt x="805391" y="76200"/>
                        </a:cubicBezTo>
                        <a:lnTo>
                          <a:pt x="719666" y="95250"/>
                        </a:lnTo>
                        <a:lnTo>
                          <a:pt x="637116" y="127000"/>
                        </a:lnTo>
                        <a:lnTo>
                          <a:pt x="510910" y="158750"/>
                        </a:lnTo>
                        <a:lnTo>
                          <a:pt x="370416" y="190500"/>
                        </a:lnTo>
                        <a:lnTo>
                          <a:pt x="303741" y="193675"/>
                        </a:lnTo>
                        <a:lnTo>
                          <a:pt x="275167" y="186530"/>
                        </a:lnTo>
                        <a:lnTo>
                          <a:pt x="164041" y="187325"/>
                        </a:lnTo>
                        <a:cubicBezTo>
                          <a:pt x="76820" y="184095"/>
                          <a:pt x="92185" y="182144"/>
                          <a:pt x="75141" y="180975"/>
                        </a:cubicBezTo>
                        <a:cubicBezTo>
                          <a:pt x="53446" y="179917"/>
                          <a:pt x="44980" y="178857"/>
                          <a:pt x="33867" y="174624"/>
                        </a:cubicBezTo>
                        <a:cubicBezTo>
                          <a:pt x="22755" y="170391"/>
                          <a:pt x="0" y="164041"/>
                          <a:pt x="8466" y="15557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48" name="Freeform 259">
                    <a:extLst>
                      <a:ext uri="{FF2B5EF4-FFF2-40B4-BE49-F238E27FC236}">
                        <a16:creationId xmlns:a16="http://schemas.microsoft.com/office/drawing/2014/main" id="{99D70853-0420-42B9-9385-ACE56669F77B}"/>
                      </a:ext>
                    </a:extLst>
                  </p:cNvPr>
                  <p:cNvSpPr/>
                  <p:nvPr/>
                </p:nvSpPr>
                <p:spPr>
                  <a:xfrm>
                    <a:off x="4625196" y="986015"/>
                    <a:ext cx="188530" cy="56514"/>
                  </a:xfrm>
                  <a:custGeom>
                    <a:avLst/>
                    <a:gdLst>
                      <a:gd name="connsiteX0" fmla="*/ 0 w 738188"/>
                      <a:gd name="connsiteY0" fmla="*/ 254794 h 297656"/>
                      <a:gd name="connsiteX1" fmla="*/ 52388 w 738188"/>
                      <a:gd name="connsiteY1" fmla="*/ 259556 h 297656"/>
                      <a:gd name="connsiteX2" fmla="*/ 116681 w 738188"/>
                      <a:gd name="connsiteY2" fmla="*/ 254794 h 297656"/>
                      <a:gd name="connsiteX3" fmla="*/ 126206 w 738188"/>
                      <a:gd name="connsiteY3" fmla="*/ 230981 h 297656"/>
                      <a:gd name="connsiteX4" fmla="*/ 133350 w 738188"/>
                      <a:gd name="connsiteY4" fmla="*/ 254794 h 297656"/>
                      <a:gd name="connsiteX5" fmla="*/ 183356 w 738188"/>
                      <a:gd name="connsiteY5" fmla="*/ 250031 h 297656"/>
                      <a:gd name="connsiteX6" fmla="*/ 250031 w 738188"/>
                      <a:gd name="connsiteY6" fmla="*/ 235744 h 297656"/>
                      <a:gd name="connsiteX7" fmla="*/ 273844 w 738188"/>
                      <a:gd name="connsiteY7" fmla="*/ 226219 h 297656"/>
                      <a:gd name="connsiteX8" fmla="*/ 273844 w 738188"/>
                      <a:gd name="connsiteY8" fmla="*/ 207169 h 297656"/>
                      <a:gd name="connsiteX9" fmla="*/ 269081 w 738188"/>
                      <a:gd name="connsiteY9" fmla="*/ 197644 h 297656"/>
                      <a:gd name="connsiteX10" fmla="*/ 276225 w 738188"/>
                      <a:gd name="connsiteY10" fmla="*/ 211931 h 297656"/>
                      <a:gd name="connsiteX11" fmla="*/ 283369 w 738188"/>
                      <a:gd name="connsiteY11" fmla="*/ 223837 h 297656"/>
                      <a:gd name="connsiteX12" fmla="*/ 347663 w 738188"/>
                      <a:gd name="connsiteY12" fmla="*/ 211931 h 297656"/>
                      <a:gd name="connsiteX13" fmla="*/ 419100 w 738188"/>
                      <a:gd name="connsiteY13" fmla="*/ 188119 h 297656"/>
                      <a:gd name="connsiteX14" fmla="*/ 421481 w 738188"/>
                      <a:gd name="connsiteY14" fmla="*/ 166687 h 297656"/>
                      <a:gd name="connsiteX15" fmla="*/ 435769 w 738188"/>
                      <a:gd name="connsiteY15" fmla="*/ 180975 h 297656"/>
                      <a:gd name="connsiteX16" fmla="*/ 485775 w 738188"/>
                      <a:gd name="connsiteY16" fmla="*/ 169069 h 297656"/>
                      <a:gd name="connsiteX17" fmla="*/ 566738 w 738188"/>
                      <a:gd name="connsiteY17" fmla="*/ 142875 h 297656"/>
                      <a:gd name="connsiteX18" fmla="*/ 561975 w 738188"/>
                      <a:gd name="connsiteY18" fmla="*/ 114300 h 297656"/>
                      <a:gd name="connsiteX19" fmla="*/ 573881 w 738188"/>
                      <a:gd name="connsiteY19" fmla="*/ 145256 h 297656"/>
                      <a:gd name="connsiteX20" fmla="*/ 604838 w 738188"/>
                      <a:gd name="connsiteY20" fmla="*/ 126206 h 297656"/>
                      <a:gd name="connsiteX21" fmla="*/ 669131 w 738188"/>
                      <a:gd name="connsiteY21" fmla="*/ 57150 h 297656"/>
                      <a:gd name="connsiteX22" fmla="*/ 738188 w 738188"/>
                      <a:gd name="connsiteY22" fmla="*/ 0 h 297656"/>
                      <a:gd name="connsiteX23" fmla="*/ 673894 w 738188"/>
                      <a:gd name="connsiteY23" fmla="*/ 64294 h 297656"/>
                      <a:gd name="connsiteX24" fmla="*/ 616744 w 738188"/>
                      <a:gd name="connsiteY24" fmla="*/ 121444 h 297656"/>
                      <a:gd name="connsiteX25" fmla="*/ 576263 w 738188"/>
                      <a:gd name="connsiteY25" fmla="*/ 150019 h 297656"/>
                      <a:gd name="connsiteX26" fmla="*/ 581025 w 738188"/>
                      <a:gd name="connsiteY26" fmla="*/ 176212 h 297656"/>
                      <a:gd name="connsiteX27" fmla="*/ 571500 w 738188"/>
                      <a:gd name="connsiteY27" fmla="*/ 152400 h 297656"/>
                      <a:gd name="connsiteX28" fmla="*/ 552450 w 738188"/>
                      <a:gd name="connsiteY28" fmla="*/ 152400 h 297656"/>
                      <a:gd name="connsiteX29" fmla="*/ 442913 w 738188"/>
                      <a:gd name="connsiteY29" fmla="*/ 185737 h 297656"/>
                      <a:gd name="connsiteX30" fmla="*/ 431006 w 738188"/>
                      <a:gd name="connsiteY30" fmla="*/ 195262 h 297656"/>
                      <a:gd name="connsiteX31" fmla="*/ 440531 w 738188"/>
                      <a:gd name="connsiteY31" fmla="*/ 223837 h 297656"/>
                      <a:gd name="connsiteX32" fmla="*/ 428625 w 738188"/>
                      <a:gd name="connsiteY32" fmla="*/ 197644 h 297656"/>
                      <a:gd name="connsiteX33" fmla="*/ 409575 w 738188"/>
                      <a:gd name="connsiteY33" fmla="*/ 197644 h 297656"/>
                      <a:gd name="connsiteX34" fmla="*/ 345281 w 738188"/>
                      <a:gd name="connsiteY34" fmla="*/ 214312 h 297656"/>
                      <a:gd name="connsiteX35" fmla="*/ 276225 w 738188"/>
                      <a:gd name="connsiteY35" fmla="*/ 233362 h 297656"/>
                      <a:gd name="connsiteX36" fmla="*/ 280988 w 738188"/>
                      <a:gd name="connsiteY36" fmla="*/ 261937 h 297656"/>
                      <a:gd name="connsiteX37" fmla="*/ 266700 w 738188"/>
                      <a:gd name="connsiteY37" fmla="*/ 235744 h 297656"/>
                      <a:gd name="connsiteX38" fmla="*/ 185738 w 738188"/>
                      <a:gd name="connsiteY38" fmla="*/ 252412 h 297656"/>
                      <a:gd name="connsiteX39" fmla="*/ 126206 w 738188"/>
                      <a:gd name="connsiteY39" fmla="*/ 261937 h 297656"/>
                      <a:gd name="connsiteX40" fmla="*/ 128588 w 738188"/>
                      <a:gd name="connsiteY40" fmla="*/ 297656 h 297656"/>
                      <a:gd name="connsiteX41" fmla="*/ 121444 w 738188"/>
                      <a:gd name="connsiteY41" fmla="*/ 257175 h 297656"/>
                      <a:gd name="connsiteX42" fmla="*/ 0 w 738188"/>
                      <a:gd name="connsiteY42" fmla="*/ 254794 h 297656"/>
                      <a:gd name="connsiteX0" fmla="*/ 0 w 992982"/>
                      <a:gd name="connsiteY0" fmla="*/ 166688 h 297656"/>
                      <a:gd name="connsiteX1" fmla="*/ 307182 w 992982"/>
                      <a:gd name="connsiteY1" fmla="*/ 259556 h 297656"/>
                      <a:gd name="connsiteX2" fmla="*/ 371475 w 992982"/>
                      <a:gd name="connsiteY2" fmla="*/ 254794 h 297656"/>
                      <a:gd name="connsiteX3" fmla="*/ 381000 w 992982"/>
                      <a:gd name="connsiteY3" fmla="*/ 230981 h 297656"/>
                      <a:gd name="connsiteX4" fmla="*/ 388144 w 992982"/>
                      <a:gd name="connsiteY4" fmla="*/ 254794 h 297656"/>
                      <a:gd name="connsiteX5" fmla="*/ 438150 w 992982"/>
                      <a:gd name="connsiteY5" fmla="*/ 250031 h 297656"/>
                      <a:gd name="connsiteX6" fmla="*/ 504825 w 992982"/>
                      <a:gd name="connsiteY6" fmla="*/ 235744 h 297656"/>
                      <a:gd name="connsiteX7" fmla="*/ 528638 w 992982"/>
                      <a:gd name="connsiteY7" fmla="*/ 226219 h 297656"/>
                      <a:gd name="connsiteX8" fmla="*/ 528638 w 992982"/>
                      <a:gd name="connsiteY8" fmla="*/ 207169 h 297656"/>
                      <a:gd name="connsiteX9" fmla="*/ 523875 w 992982"/>
                      <a:gd name="connsiteY9" fmla="*/ 197644 h 297656"/>
                      <a:gd name="connsiteX10" fmla="*/ 531019 w 992982"/>
                      <a:gd name="connsiteY10" fmla="*/ 211931 h 297656"/>
                      <a:gd name="connsiteX11" fmla="*/ 538163 w 992982"/>
                      <a:gd name="connsiteY11" fmla="*/ 223837 h 297656"/>
                      <a:gd name="connsiteX12" fmla="*/ 602457 w 992982"/>
                      <a:gd name="connsiteY12" fmla="*/ 211931 h 297656"/>
                      <a:gd name="connsiteX13" fmla="*/ 673894 w 992982"/>
                      <a:gd name="connsiteY13" fmla="*/ 188119 h 297656"/>
                      <a:gd name="connsiteX14" fmla="*/ 676275 w 992982"/>
                      <a:gd name="connsiteY14" fmla="*/ 166687 h 297656"/>
                      <a:gd name="connsiteX15" fmla="*/ 690563 w 992982"/>
                      <a:gd name="connsiteY15" fmla="*/ 180975 h 297656"/>
                      <a:gd name="connsiteX16" fmla="*/ 740569 w 992982"/>
                      <a:gd name="connsiteY16" fmla="*/ 169069 h 297656"/>
                      <a:gd name="connsiteX17" fmla="*/ 821532 w 992982"/>
                      <a:gd name="connsiteY17" fmla="*/ 142875 h 297656"/>
                      <a:gd name="connsiteX18" fmla="*/ 816769 w 992982"/>
                      <a:gd name="connsiteY18" fmla="*/ 114300 h 297656"/>
                      <a:gd name="connsiteX19" fmla="*/ 828675 w 992982"/>
                      <a:gd name="connsiteY19" fmla="*/ 145256 h 297656"/>
                      <a:gd name="connsiteX20" fmla="*/ 859632 w 992982"/>
                      <a:gd name="connsiteY20" fmla="*/ 126206 h 297656"/>
                      <a:gd name="connsiteX21" fmla="*/ 923925 w 992982"/>
                      <a:gd name="connsiteY21" fmla="*/ 57150 h 297656"/>
                      <a:gd name="connsiteX22" fmla="*/ 992982 w 992982"/>
                      <a:gd name="connsiteY22" fmla="*/ 0 h 297656"/>
                      <a:gd name="connsiteX23" fmla="*/ 928688 w 992982"/>
                      <a:gd name="connsiteY23" fmla="*/ 64294 h 297656"/>
                      <a:gd name="connsiteX24" fmla="*/ 871538 w 992982"/>
                      <a:gd name="connsiteY24" fmla="*/ 121444 h 297656"/>
                      <a:gd name="connsiteX25" fmla="*/ 831057 w 992982"/>
                      <a:gd name="connsiteY25" fmla="*/ 150019 h 297656"/>
                      <a:gd name="connsiteX26" fmla="*/ 835819 w 992982"/>
                      <a:gd name="connsiteY26" fmla="*/ 176212 h 297656"/>
                      <a:gd name="connsiteX27" fmla="*/ 826294 w 992982"/>
                      <a:gd name="connsiteY27" fmla="*/ 152400 h 297656"/>
                      <a:gd name="connsiteX28" fmla="*/ 807244 w 992982"/>
                      <a:gd name="connsiteY28" fmla="*/ 152400 h 297656"/>
                      <a:gd name="connsiteX29" fmla="*/ 697707 w 992982"/>
                      <a:gd name="connsiteY29" fmla="*/ 185737 h 297656"/>
                      <a:gd name="connsiteX30" fmla="*/ 685800 w 992982"/>
                      <a:gd name="connsiteY30" fmla="*/ 195262 h 297656"/>
                      <a:gd name="connsiteX31" fmla="*/ 695325 w 992982"/>
                      <a:gd name="connsiteY31" fmla="*/ 223837 h 297656"/>
                      <a:gd name="connsiteX32" fmla="*/ 683419 w 992982"/>
                      <a:gd name="connsiteY32" fmla="*/ 197644 h 297656"/>
                      <a:gd name="connsiteX33" fmla="*/ 664369 w 992982"/>
                      <a:gd name="connsiteY33" fmla="*/ 197644 h 297656"/>
                      <a:gd name="connsiteX34" fmla="*/ 600075 w 992982"/>
                      <a:gd name="connsiteY34" fmla="*/ 214312 h 297656"/>
                      <a:gd name="connsiteX35" fmla="*/ 531019 w 992982"/>
                      <a:gd name="connsiteY35" fmla="*/ 233362 h 297656"/>
                      <a:gd name="connsiteX36" fmla="*/ 535782 w 992982"/>
                      <a:gd name="connsiteY36" fmla="*/ 261937 h 297656"/>
                      <a:gd name="connsiteX37" fmla="*/ 521494 w 992982"/>
                      <a:gd name="connsiteY37" fmla="*/ 235744 h 297656"/>
                      <a:gd name="connsiteX38" fmla="*/ 440532 w 992982"/>
                      <a:gd name="connsiteY38" fmla="*/ 252412 h 297656"/>
                      <a:gd name="connsiteX39" fmla="*/ 381000 w 992982"/>
                      <a:gd name="connsiteY39" fmla="*/ 261937 h 297656"/>
                      <a:gd name="connsiteX40" fmla="*/ 383382 w 992982"/>
                      <a:gd name="connsiteY40" fmla="*/ 297656 h 297656"/>
                      <a:gd name="connsiteX41" fmla="*/ 376238 w 992982"/>
                      <a:gd name="connsiteY41" fmla="*/ 257175 h 297656"/>
                      <a:gd name="connsiteX42" fmla="*/ 0 w 992982"/>
                      <a:gd name="connsiteY42" fmla="*/ 166688 h 297656"/>
                      <a:gd name="connsiteX0" fmla="*/ 0 w 992982"/>
                      <a:gd name="connsiteY0" fmla="*/ 166688 h 297656"/>
                      <a:gd name="connsiteX1" fmla="*/ 247651 w 992982"/>
                      <a:gd name="connsiteY1" fmla="*/ 257175 h 297656"/>
                      <a:gd name="connsiteX2" fmla="*/ 307182 w 992982"/>
                      <a:gd name="connsiteY2" fmla="*/ 259556 h 297656"/>
                      <a:gd name="connsiteX3" fmla="*/ 371475 w 992982"/>
                      <a:gd name="connsiteY3" fmla="*/ 254794 h 297656"/>
                      <a:gd name="connsiteX4" fmla="*/ 381000 w 992982"/>
                      <a:gd name="connsiteY4" fmla="*/ 230981 h 297656"/>
                      <a:gd name="connsiteX5" fmla="*/ 388144 w 992982"/>
                      <a:gd name="connsiteY5" fmla="*/ 254794 h 297656"/>
                      <a:gd name="connsiteX6" fmla="*/ 438150 w 992982"/>
                      <a:gd name="connsiteY6" fmla="*/ 250031 h 297656"/>
                      <a:gd name="connsiteX7" fmla="*/ 504825 w 992982"/>
                      <a:gd name="connsiteY7" fmla="*/ 235744 h 297656"/>
                      <a:gd name="connsiteX8" fmla="*/ 528638 w 992982"/>
                      <a:gd name="connsiteY8" fmla="*/ 226219 h 297656"/>
                      <a:gd name="connsiteX9" fmla="*/ 528638 w 992982"/>
                      <a:gd name="connsiteY9" fmla="*/ 207169 h 297656"/>
                      <a:gd name="connsiteX10" fmla="*/ 523875 w 992982"/>
                      <a:gd name="connsiteY10" fmla="*/ 197644 h 297656"/>
                      <a:gd name="connsiteX11" fmla="*/ 531019 w 992982"/>
                      <a:gd name="connsiteY11" fmla="*/ 211931 h 297656"/>
                      <a:gd name="connsiteX12" fmla="*/ 538163 w 992982"/>
                      <a:gd name="connsiteY12" fmla="*/ 223837 h 297656"/>
                      <a:gd name="connsiteX13" fmla="*/ 602457 w 992982"/>
                      <a:gd name="connsiteY13" fmla="*/ 211931 h 297656"/>
                      <a:gd name="connsiteX14" fmla="*/ 673894 w 992982"/>
                      <a:gd name="connsiteY14" fmla="*/ 188119 h 297656"/>
                      <a:gd name="connsiteX15" fmla="*/ 676275 w 992982"/>
                      <a:gd name="connsiteY15" fmla="*/ 166687 h 297656"/>
                      <a:gd name="connsiteX16" fmla="*/ 690563 w 992982"/>
                      <a:gd name="connsiteY16" fmla="*/ 180975 h 297656"/>
                      <a:gd name="connsiteX17" fmla="*/ 740569 w 992982"/>
                      <a:gd name="connsiteY17" fmla="*/ 169069 h 297656"/>
                      <a:gd name="connsiteX18" fmla="*/ 821532 w 992982"/>
                      <a:gd name="connsiteY18" fmla="*/ 142875 h 297656"/>
                      <a:gd name="connsiteX19" fmla="*/ 816769 w 992982"/>
                      <a:gd name="connsiteY19" fmla="*/ 114300 h 297656"/>
                      <a:gd name="connsiteX20" fmla="*/ 828675 w 992982"/>
                      <a:gd name="connsiteY20" fmla="*/ 145256 h 297656"/>
                      <a:gd name="connsiteX21" fmla="*/ 859632 w 992982"/>
                      <a:gd name="connsiteY21" fmla="*/ 126206 h 297656"/>
                      <a:gd name="connsiteX22" fmla="*/ 923925 w 992982"/>
                      <a:gd name="connsiteY22" fmla="*/ 57150 h 297656"/>
                      <a:gd name="connsiteX23" fmla="*/ 992982 w 992982"/>
                      <a:gd name="connsiteY23" fmla="*/ 0 h 297656"/>
                      <a:gd name="connsiteX24" fmla="*/ 928688 w 992982"/>
                      <a:gd name="connsiteY24" fmla="*/ 64294 h 297656"/>
                      <a:gd name="connsiteX25" fmla="*/ 871538 w 992982"/>
                      <a:gd name="connsiteY25" fmla="*/ 121444 h 297656"/>
                      <a:gd name="connsiteX26" fmla="*/ 831057 w 992982"/>
                      <a:gd name="connsiteY26" fmla="*/ 150019 h 297656"/>
                      <a:gd name="connsiteX27" fmla="*/ 835819 w 992982"/>
                      <a:gd name="connsiteY27" fmla="*/ 176212 h 297656"/>
                      <a:gd name="connsiteX28" fmla="*/ 826294 w 992982"/>
                      <a:gd name="connsiteY28" fmla="*/ 152400 h 297656"/>
                      <a:gd name="connsiteX29" fmla="*/ 807244 w 992982"/>
                      <a:gd name="connsiteY29" fmla="*/ 152400 h 297656"/>
                      <a:gd name="connsiteX30" fmla="*/ 697707 w 992982"/>
                      <a:gd name="connsiteY30" fmla="*/ 185737 h 297656"/>
                      <a:gd name="connsiteX31" fmla="*/ 685800 w 992982"/>
                      <a:gd name="connsiteY31" fmla="*/ 195262 h 297656"/>
                      <a:gd name="connsiteX32" fmla="*/ 695325 w 992982"/>
                      <a:gd name="connsiteY32" fmla="*/ 223837 h 297656"/>
                      <a:gd name="connsiteX33" fmla="*/ 683419 w 992982"/>
                      <a:gd name="connsiteY33" fmla="*/ 197644 h 297656"/>
                      <a:gd name="connsiteX34" fmla="*/ 664369 w 992982"/>
                      <a:gd name="connsiteY34" fmla="*/ 197644 h 297656"/>
                      <a:gd name="connsiteX35" fmla="*/ 600075 w 992982"/>
                      <a:gd name="connsiteY35" fmla="*/ 214312 h 297656"/>
                      <a:gd name="connsiteX36" fmla="*/ 531019 w 992982"/>
                      <a:gd name="connsiteY36" fmla="*/ 233362 h 297656"/>
                      <a:gd name="connsiteX37" fmla="*/ 535782 w 992982"/>
                      <a:gd name="connsiteY37" fmla="*/ 261937 h 297656"/>
                      <a:gd name="connsiteX38" fmla="*/ 521494 w 992982"/>
                      <a:gd name="connsiteY38" fmla="*/ 235744 h 297656"/>
                      <a:gd name="connsiteX39" fmla="*/ 440532 w 992982"/>
                      <a:gd name="connsiteY39" fmla="*/ 252412 h 297656"/>
                      <a:gd name="connsiteX40" fmla="*/ 381000 w 992982"/>
                      <a:gd name="connsiteY40" fmla="*/ 261937 h 297656"/>
                      <a:gd name="connsiteX41" fmla="*/ 383382 w 992982"/>
                      <a:gd name="connsiteY41" fmla="*/ 297656 h 297656"/>
                      <a:gd name="connsiteX42" fmla="*/ 376238 w 992982"/>
                      <a:gd name="connsiteY42" fmla="*/ 257175 h 297656"/>
                      <a:gd name="connsiteX43" fmla="*/ 0 w 992982"/>
                      <a:gd name="connsiteY43" fmla="*/ 166688 h 297656"/>
                      <a:gd name="connsiteX0" fmla="*/ 0 w 992982"/>
                      <a:gd name="connsiteY0" fmla="*/ 166688 h 297656"/>
                      <a:gd name="connsiteX1" fmla="*/ 233363 w 992982"/>
                      <a:gd name="connsiteY1" fmla="*/ 283369 h 297656"/>
                      <a:gd name="connsiteX2" fmla="*/ 247651 w 992982"/>
                      <a:gd name="connsiteY2" fmla="*/ 257175 h 297656"/>
                      <a:gd name="connsiteX3" fmla="*/ 307182 w 992982"/>
                      <a:gd name="connsiteY3" fmla="*/ 259556 h 297656"/>
                      <a:gd name="connsiteX4" fmla="*/ 371475 w 992982"/>
                      <a:gd name="connsiteY4" fmla="*/ 254794 h 297656"/>
                      <a:gd name="connsiteX5" fmla="*/ 381000 w 992982"/>
                      <a:gd name="connsiteY5" fmla="*/ 230981 h 297656"/>
                      <a:gd name="connsiteX6" fmla="*/ 388144 w 992982"/>
                      <a:gd name="connsiteY6" fmla="*/ 254794 h 297656"/>
                      <a:gd name="connsiteX7" fmla="*/ 438150 w 992982"/>
                      <a:gd name="connsiteY7" fmla="*/ 250031 h 297656"/>
                      <a:gd name="connsiteX8" fmla="*/ 504825 w 992982"/>
                      <a:gd name="connsiteY8" fmla="*/ 235744 h 297656"/>
                      <a:gd name="connsiteX9" fmla="*/ 528638 w 992982"/>
                      <a:gd name="connsiteY9" fmla="*/ 226219 h 297656"/>
                      <a:gd name="connsiteX10" fmla="*/ 528638 w 992982"/>
                      <a:gd name="connsiteY10" fmla="*/ 207169 h 297656"/>
                      <a:gd name="connsiteX11" fmla="*/ 523875 w 992982"/>
                      <a:gd name="connsiteY11" fmla="*/ 197644 h 297656"/>
                      <a:gd name="connsiteX12" fmla="*/ 531019 w 992982"/>
                      <a:gd name="connsiteY12" fmla="*/ 211931 h 297656"/>
                      <a:gd name="connsiteX13" fmla="*/ 538163 w 992982"/>
                      <a:gd name="connsiteY13" fmla="*/ 223837 h 297656"/>
                      <a:gd name="connsiteX14" fmla="*/ 602457 w 992982"/>
                      <a:gd name="connsiteY14" fmla="*/ 211931 h 297656"/>
                      <a:gd name="connsiteX15" fmla="*/ 673894 w 992982"/>
                      <a:gd name="connsiteY15" fmla="*/ 188119 h 297656"/>
                      <a:gd name="connsiteX16" fmla="*/ 676275 w 992982"/>
                      <a:gd name="connsiteY16" fmla="*/ 166687 h 297656"/>
                      <a:gd name="connsiteX17" fmla="*/ 690563 w 992982"/>
                      <a:gd name="connsiteY17" fmla="*/ 180975 h 297656"/>
                      <a:gd name="connsiteX18" fmla="*/ 740569 w 992982"/>
                      <a:gd name="connsiteY18" fmla="*/ 169069 h 297656"/>
                      <a:gd name="connsiteX19" fmla="*/ 821532 w 992982"/>
                      <a:gd name="connsiteY19" fmla="*/ 142875 h 297656"/>
                      <a:gd name="connsiteX20" fmla="*/ 816769 w 992982"/>
                      <a:gd name="connsiteY20" fmla="*/ 114300 h 297656"/>
                      <a:gd name="connsiteX21" fmla="*/ 828675 w 992982"/>
                      <a:gd name="connsiteY21" fmla="*/ 145256 h 297656"/>
                      <a:gd name="connsiteX22" fmla="*/ 859632 w 992982"/>
                      <a:gd name="connsiteY22" fmla="*/ 126206 h 297656"/>
                      <a:gd name="connsiteX23" fmla="*/ 923925 w 992982"/>
                      <a:gd name="connsiteY23" fmla="*/ 57150 h 297656"/>
                      <a:gd name="connsiteX24" fmla="*/ 992982 w 992982"/>
                      <a:gd name="connsiteY24" fmla="*/ 0 h 297656"/>
                      <a:gd name="connsiteX25" fmla="*/ 928688 w 992982"/>
                      <a:gd name="connsiteY25" fmla="*/ 64294 h 297656"/>
                      <a:gd name="connsiteX26" fmla="*/ 871538 w 992982"/>
                      <a:gd name="connsiteY26" fmla="*/ 121444 h 297656"/>
                      <a:gd name="connsiteX27" fmla="*/ 831057 w 992982"/>
                      <a:gd name="connsiteY27" fmla="*/ 150019 h 297656"/>
                      <a:gd name="connsiteX28" fmla="*/ 835819 w 992982"/>
                      <a:gd name="connsiteY28" fmla="*/ 176212 h 297656"/>
                      <a:gd name="connsiteX29" fmla="*/ 826294 w 992982"/>
                      <a:gd name="connsiteY29" fmla="*/ 152400 h 297656"/>
                      <a:gd name="connsiteX30" fmla="*/ 807244 w 992982"/>
                      <a:gd name="connsiteY30" fmla="*/ 152400 h 297656"/>
                      <a:gd name="connsiteX31" fmla="*/ 697707 w 992982"/>
                      <a:gd name="connsiteY31" fmla="*/ 185737 h 297656"/>
                      <a:gd name="connsiteX32" fmla="*/ 685800 w 992982"/>
                      <a:gd name="connsiteY32" fmla="*/ 195262 h 297656"/>
                      <a:gd name="connsiteX33" fmla="*/ 695325 w 992982"/>
                      <a:gd name="connsiteY33" fmla="*/ 223837 h 297656"/>
                      <a:gd name="connsiteX34" fmla="*/ 683419 w 992982"/>
                      <a:gd name="connsiteY34" fmla="*/ 197644 h 297656"/>
                      <a:gd name="connsiteX35" fmla="*/ 664369 w 992982"/>
                      <a:gd name="connsiteY35" fmla="*/ 197644 h 297656"/>
                      <a:gd name="connsiteX36" fmla="*/ 600075 w 992982"/>
                      <a:gd name="connsiteY36" fmla="*/ 214312 h 297656"/>
                      <a:gd name="connsiteX37" fmla="*/ 531019 w 992982"/>
                      <a:gd name="connsiteY37" fmla="*/ 233362 h 297656"/>
                      <a:gd name="connsiteX38" fmla="*/ 535782 w 992982"/>
                      <a:gd name="connsiteY38" fmla="*/ 261937 h 297656"/>
                      <a:gd name="connsiteX39" fmla="*/ 521494 w 992982"/>
                      <a:gd name="connsiteY39" fmla="*/ 235744 h 297656"/>
                      <a:gd name="connsiteX40" fmla="*/ 440532 w 992982"/>
                      <a:gd name="connsiteY40" fmla="*/ 252412 h 297656"/>
                      <a:gd name="connsiteX41" fmla="*/ 381000 w 992982"/>
                      <a:gd name="connsiteY41" fmla="*/ 261937 h 297656"/>
                      <a:gd name="connsiteX42" fmla="*/ 383382 w 992982"/>
                      <a:gd name="connsiteY42" fmla="*/ 297656 h 297656"/>
                      <a:gd name="connsiteX43" fmla="*/ 376238 w 992982"/>
                      <a:gd name="connsiteY43" fmla="*/ 257175 h 297656"/>
                      <a:gd name="connsiteX44" fmla="*/ 0 w 992982"/>
                      <a:gd name="connsiteY44" fmla="*/ 166688 h 297656"/>
                      <a:gd name="connsiteX0" fmla="*/ 0 w 992982"/>
                      <a:gd name="connsiteY0" fmla="*/ 166688 h 297656"/>
                      <a:gd name="connsiteX1" fmla="*/ 216694 w 992982"/>
                      <a:gd name="connsiteY1" fmla="*/ 242887 h 297656"/>
                      <a:gd name="connsiteX2" fmla="*/ 233363 w 992982"/>
                      <a:gd name="connsiteY2" fmla="*/ 283369 h 297656"/>
                      <a:gd name="connsiteX3" fmla="*/ 247651 w 992982"/>
                      <a:gd name="connsiteY3" fmla="*/ 257175 h 297656"/>
                      <a:gd name="connsiteX4" fmla="*/ 307182 w 992982"/>
                      <a:gd name="connsiteY4" fmla="*/ 259556 h 297656"/>
                      <a:gd name="connsiteX5" fmla="*/ 371475 w 992982"/>
                      <a:gd name="connsiteY5" fmla="*/ 254794 h 297656"/>
                      <a:gd name="connsiteX6" fmla="*/ 381000 w 992982"/>
                      <a:gd name="connsiteY6" fmla="*/ 230981 h 297656"/>
                      <a:gd name="connsiteX7" fmla="*/ 388144 w 992982"/>
                      <a:gd name="connsiteY7" fmla="*/ 254794 h 297656"/>
                      <a:gd name="connsiteX8" fmla="*/ 438150 w 992982"/>
                      <a:gd name="connsiteY8" fmla="*/ 250031 h 297656"/>
                      <a:gd name="connsiteX9" fmla="*/ 504825 w 992982"/>
                      <a:gd name="connsiteY9" fmla="*/ 235744 h 297656"/>
                      <a:gd name="connsiteX10" fmla="*/ 528638 w 992982"/>
                      <a:gd name="connsiteY10" fmla="*/ 226219 h 297656"/>
                      <a:gd name="connsiteX11" fmla="*/ 528638 w 992982"/>
                      <a:gd name="connsiteY11" fmla="*/ 207169 h 297656"/>
                      <a:gd name="connsiteX12" fmla="*/ 523875 w 992982"/>
                      <a:gd name="connsiteY12" fmla="*/ 197644 h 297656"/>
                      <a:gd name="connsiteX13" fmla="*/ 531019 w 992982"/>
                      <a:gd name="connsiteY13" fmla="*/ 211931 h 297656"/>
                      <a:gd name="connsiteX14" fmla="*/ 538163 w 992982"/>
                      <a:gd name="connsiteY14" fmla="*/ 223837 h 297656"/>
                      <a:gd name="connsiteX15" fmla="*/ 602457 w 992982"/>
                      <a:gd name="connsiteY15" fmla="*/ 211931 h 297656"/>
                      <a:gd name="connsiteX16" fmla="*/ 673894 w 992982"/>
                      <a:gd name="connsiteY16" fmla="*/ 188119 h 297656"/>
                      <a:gd name="connsiteX17" fmla="*/ 676275 w 992982"/>
                      <a:gd name="connsiteY17" fmla="*/ 166687 h 297656"/>
                      <a:gd name="connsiteX18" fmla="*/ 690563 w 992982"/>
                      <a:gd name="connsiteY18" fmla="*/ 180975 h 297656"/>
                      <a:gd name="connsiteX19" fmla="*/ 740569 w 992982"/>
                      <a:gd name="connsiteY19" fmla="*/ 169069 h 297656"/>
                      <a:gd name="connsiteX20" fmla="*/ 821532 w 992982"/>
                      <a:gd name="connsiteY20" fmla="*/ 142875 h 297656"/>
                      <a:gd name="connsiteX21" fmla="*/ 816769 w 992982"/>
                      <a:gd name="connsiteY21" fmla="*/ 114300 h 297656"/>
                      <a:gd name="connsiteX22" fmla="*/ 828675 w 992982"/>
                      <a:gd name="connsiteY22" fmla="*/ 145256 h 297656"/>
                      <a:gd name="connsiteX23" fmla="*/ 859632 w 992982"/>
                      <a:gd name="connsiteY23" fmla="*/ 126206 h 297656"/>
                      <a:gd name="connsiteX24" fmla="*/ 923925 w 992982"/>
                      <a:gd name="connsiteY24" fmla="*/ 57150 h 297656"/>
                      <a:gd name="connsiteX25" fmla="*/ 992982 w 992982"/>
                      <a:gd name="connsiteY25" fmla="*/ 0 h 297656"/>
                      <a:gd name="connsiteX26" fmla="*/ 928688 w 992982"/>
                      <a:gd name="connsiteY26" fmla="*/ 64294 h 297656"/>
                      <a:gd name="connsiteX27" fmla="*/ 871538 w 992982"/>
                      <a:gd name="connsiteY27" fmla="*/ 121444 h 297656"/>
                      <a:gd name="connsiteX28" fmla="*/ 831057 w 992982"/>
                      <a:gd name="connsiteY28" fmla="*/ 150019 h 297656"/>
                      <a:gd name="connsiteX29" fmla="*/ 835819 w 992982"/>
                      <a:gd name="connsiteY29" fmla="*/ 176212 h 297656"/>
                      <a:gd name="connsiteX30" fmla="*/ 826294 w 992982"/>
                      <a:gd name="connsiteY30" fmla="*/ 152400 h 297656"/>
                      <a:gd name="connsiteX31" fmla="*/ 807244 w 992982"/>
                      <a:gd name="connsiteY31" fmla="*/ 152400 h 297656"/>
                      <a:gd name="connsiteX32" fmla="*/ 697707 w 992982"/>
                      <a:gd name="connsiteY32" fmla="*/ 185737 h 297656"/>
                      <a:gd name="connsiteX33" fmla="*/ 685800 w 992982"/>
                      <a:gd name="connsiteY33" fmla="*/ 195262 h 297656"/>
                      <a:gd name="connsiteX34" fmla="*/ 695325 w 992982"/>
                      <a:gd name="connsiteY34" fmla="*/ 223837 h 297656"/>
                      <a:gd name="connsiteX35" fmla="*/ 683419 w 992982"/>
                      <a:gd name="connsiteY35" fmla="*/ 197644 h 297656"/>
                      <a:gd name="connsiteX36" fmla="*/ 664369 w 992982"/>
                      <a:gd name="connsiteY36" fmla="*/ 197644 h 297656"/>
                      <a:gd name="connsiteX37" fmla="*/ 600075 w 992982"/>
                      <a:gd name="connsiteY37" fmla="*/ 214312 h 297656"/>
                      <a:gd name="connsiteX38" fmla="*/ 531019 w 992982"/>
                      <a:gd name="connsiteY38" fmla="*/ 233362 h 297656"/>
                      <a:gd name="connsiteX39" fmla="*/ 535782 w 992982"/>
                      <a:gd name="connsiteY39" fmla="*/ 261937 h 297656"/>
                      <a:gd name="connsiteX40" fmla="*/ 521494 w 992982"/>
                      <a:gd name="connsiteY40" fmla="*/ 235744 h 297656"/>
                      <a:gd name="connsiteX41" fmla="*/ 440532 w 992982"/>
                      <a:gd name="connsiteY41" fmla="*/ 252412 h 297656"/>
                      <a:gd name="connsiteX42" fmla="*/ 381000 w 992982"/>
                      <a:gd name="connsiteY42" fmla="*/ 261937 h 297656"/>
                      <a:gd name="connsiteX43" fmla="*/ 383382 w 992982"/>
                      <a:gd name="connsiteY43" fmla="*/ 297656 h 297656"/>
                      <a:gd name="connsiteX44" fmla="*/ 376238 w 992982"/>
                      <a:gd name="connsiteY44" fmla="*/ 257175 h 297656"/>
                      <a:gd name="connsiteX45" fmla="*/ 0 w 992982"/>
                      <a:gd name="connsiteY45" fmla="*/ 166688 h 297656"/>
                      <a:gd name="connsiteX0" fmla="*/ 0 w 992982"/>
                      <a:gd name="connsiteY0" fmla="*/ 166688 h 297656"/>
                      <a:gd name="connsiteX1" fmla="*/ 216694 w 992982"/>
                      <a:gd name="connsiteY1" fmla="*/ 242887 h 297656"/>
                      <a:gd name="connsiteX2" fmla="*/ 233363 w 992982"/>
                      <a:gd name="connsiteY2" fmla="*/ 283369 h 297656"/>
                      <a:gd name="connsiteX3" fmla="*/ 247651 w 992982"/>
                      <a:gd name="connsiteY3" fmla="*/ 257175 h 297656"/>
                      <a:gd name="connsiteX4" fmla="*/ 307182 w 992982"/>
                      <a:gd name="connsiteY4" fmla="*/ 259556 h 297656"/>
                      <a:gd name="connsiteX5" fmla="*/ 371475 w 992982"/>
                      <a:gd name="connsiteY5" fmla="*/ 254794 h 297656"/>
                      <a:gd name="connsiteX6" fmla="*/ 381000 w 992982"/>
                      <a:gd name="connsiteY6" fmla="*/ 230981 h 297656"/>
                      <a:gd name="connsiteX7" fmla="*/ 388144 w 992982"/>
                      <a:gd name="connsiteY7" fmla="*/ 254794 h 297656"/>
                      <a:gd name="connsiteX8" fmla="*/ 438150 w 992982"/>
                      <a:gd name="connsiteY8" fmla="*/ 250031 h 297656"/>
                      <a:gd name="connsiteX9" fmla="*/ 504825 w 992982"/>
                      <a:gd name="connsiteY9" fmla="*/ 235744 h 297656"/>
                      <a:gd name="connsiteX10" fmla="*/ 528638 w 992982"/>
                      <a:gd name="connsiteY10" fmla="*/ 226219 h 297656"/>
                      <a:gd name="connsiteX11" fmla="*/ 528638 w 992982"/>
                      <a:gd name="connsiteY11" fmla="*/ 207169 h 297656"/>
                      <a:gd name="connsiteX12" fmla="*/ 523875 w 992982"/>
                      <a:gd name="connsiteY12" fmla="*/ 197644 h 297656"/>
                      <a:gd name="connsiteX13" fmla="*/ 531019 w 992982"/>
                      <a:gd name="connsiteY13" fmla="*/ 211931 h 297656"/>
                      <a:gd name="connsiteX14" fmla="*/ 538163 w 992982"/>
                      <a:gd name="connsiteY14" fmla="*/ 223837 h 297656"/>
                      <a:gd name="connsiteX15" fmla="*/ 602457 w 992982"/>
                      <a:gd name="connsiteY15" fmla="*/ 211931 h 297656"/>
                      <a:gd name="connsiteX16" fmla="*/ 673894 w 992982"/>
                      <a:gd name="connsiteY16" fmla="*/ 188119 h 297656"/>
                      <a:gd name="connsiteX17" fmla="*/ 676275 w 992982"/>
                      <a:gd name="connsiteY17" fmla="*/ 166687 h 297656"/>
                      <a:gd name="connsiteX18" fmla="*/ 690563 w 992982"/>
                      <a:gd name="connsiteY18" fmla="*/ 180975 h 297656"/>
                      <a:gd name="connsiteX19" fmla="*/ 740569 w 992982"/>
                      <a:gd name="connsiteY19" fmla="*/ 169069 h 297656"/>
                      <a:gd name="connsiteX20" fmla="*/ 821532 w 992982"/>
                      <a:gd name="connsiteY20" fmla="*/ 142875 h 297656"/>
                      <a:gd name="connsiteX21" fmla="*/ 816769 w 992982"/>
                      <a:gd name="connsiteY21" fmla="*/ 114300 h 297656"/>
                      <a:gd name="connsiteX22" fmla="*/ 828675 w 992982"/>
                      <a:gd name="connsiteY22" fmla="*/ 145256 h 297656"/>
                      <a:gd name="connsiteX23" fmla="*/ 859632 w 992982"/>
                      <a:gd name="connsiteY23" fmla="*/ 126206 h 297656"/>
                      <a:gd name="connsiteX24" fmla="*/ 923925 w 992982"/>
                      <a:gd name="connsiteY24" fmla="*/ 57150 h 297656"/>
                      <a:gd name="connsiteX25" fmla="*/ 992982 w 992982"/>
                      <a:gd name="connsiteY25" fmla="*/ 0 h 297656"/>
                      <a:gd name="connsiteX26" fmla="*/ 928688 w 992982"/>
                      <a:gd name="connsiteY26" fmla="*/ 64294 h 297656"/>
                      <a:gd name="connsiteX27" fmla="*/ 871538 w 992982"/>
                      <a:gd name="connsiteY27" fmla="*/ 121444 h 297656"/>
                      <a:gd name="connsiteX28" fmla="*/ 831057 w 992982"/>
                      <a:gd name="connsiteY28" fmla="*/ 150019 h 297656"/>
                      <a:gd name="connsiteX29" fmla="*/ 835819 w 992982"/>
                      <a:gd name="connsiteY29" fmla="*/ 176212 h 297656"/>
                      <a:gd name="connsiteX30" fmla="*/ 826294 w 992982"/>
                      <a:gd name="connsiteY30" fmla="*/ 152400 h 297656"/>
                      <a:gd name="connsiteX31" fmla="*/ 807244 w 992982"/>
                      <a:gd name="connsiteY31" fmla="*/ 152400 h 297656"/>
                      <a:gd name="connsiteX32" fmla="*/ 697707 w 992982"/>
                      <a:gd name="connsiteY32" fmla="*/ 185737 h 297656"/>
                      <a:gd name="connsiteX33" fmla="*/ 685800 w 992982"/>
                      <a:gd name="connsiteY33" fmla="*/ 195262 h 297656"/>
                      <a:gd name="connsiteX34" fmla="*/ 695325 w 992982"/>
                      <a:gd name="connsiteY34" fmla="*/ 223837 h 297656"/>
                      <a:gd name="connsiteX35" fmla="*/ 683419 w 992982"/>
                      <a:gd name="connsiteY35" fmla="*/ 197644 h 297656"/>
                      <a:gd name="connsiteX36" fmla="*/ 664369 w 992982"/>
                      <a:gd name="connsiteY36" fmla="*/ 197644 h 297656"/>
                      <a:gd name="connsiteX37" fmla="*/ 600075 w 992982"/>
                      <a:gd name="connsiteY37" fmla="*/ 214312 h 297656"/>
                      <a:gd name="connsiteX38" fmla="*/ 531019 w 992982"/>
                      <a:gd name="connsiteY38" fmla="*/ 233362 h 297656"/>
                      <a:gd name="connsiteX39" fmla="*/ 535782 w 992982"/>
                      <a:gd name="connsiteY39" fmla="*/ 261937 h 297656"/>
                      <a:gd name="connsiteX40" fmla="*/ 521494 w 992982"/>
                      <a:gd name="connsiteY40" fmla="*/ 235744 h 297656"/>
                      <a:gd name="connsiteX41" fmla="*/ 440532 w 992982"/>
                      <a:gd name="connsiteY41" fmla="*/ 252412 h 297656"/>
                      <a:gd name="connsiteX42" fmla="*/ 381000 w 992982"/>
                      <a:gd name="connsiteY42" fmla="*/ 261937 h 297656"/>
                      <a:gd name="connsiteX43" fmla="*/ 383382 w 992982"/>
                      <a:gd name="connsiteY43" fmla="*/ 297656 h 297656"/>
                      <a:gd name="connsiteX44" fmla="*/ 376238 w 992982"/>
                      <a:gd name="connsiteY44" fmla="*/ 257175 h 297656"/>
                      <a:gd name="connsiteX45" fmla="*/ 0 w 992982"/>
                      <a:gd name="connsiteY45" fmla="*/ 166688 h 297656"/>
                      <a:gd name="connsiteX0" fmla="*/ 0 w 992982"/>
                      <a:gd name="connsiteY0" fmla="*/ 166688 h 297656"/>
                      <a:gd name="connsiteX1" fmla="*/ 216694 w 992982"/>
                      <a:gd name="connsiteY1" fmla="*/ 242887 h 297656"/>
                      <a:gd name="connsiteX2" fmla="*/ 233363 w 992982"/>
                      <a:gd name="connsiteY2" fmla="*/ 283369 h 297656"/>
                      <a:gd name="connsiteX3" fmla="*/ 247651 w 992982"/>
                      <a:gd name="connsiteY3" fmla="*/ 257175 h 297656"/>
                      <a:gd name="connsiteX4" fmla="*/ 307182 w 992982"/>
                      <a:gd name="connsiteY4" fmla="*/ 259556 h 297656"/>
                      <a:gd name="connsiteX5" fmla="*/ 371475 w 992982"/>
                      <a:gd name="connsiteY5" fmla="*/ 254794 h 297656"/>
                      <a:gd name="connsiteX6" fmla="*/ 381000 w 992982"/>
                      <a:gd name="connsiteY6" fmla="*/ 230981 h 297656"/>
                      <a:gd name="connsiteX7" fmla="*/ 388144 w 992982"/>
                      <a:gd name="connsiteY7" fmla="*/ 254794 h 297656"/>
                      <a:gd name="connsiteX8" fmla="*/ 438150 w 992982"/>
                      <a:gd name="connsiteY8" fmla="*/ 250031 h 297656"/>
                      <a:gd name="connsiteX9" fmla="*/ 504825 w 992982"/>
                      <a:gd name="connsiteY9" fmla="*/ 235744 h 297656"/>
                      <a:gd name="connsiteX10" fmla="*/ 528638 w 992982"/>
                      <a:gd name="connsiteY10" fmla="*/ 226219 h 297656"/>
                      <a:gd name="connsiteX11" fmla="*/ 528638 w 992982"/>
                      <a:gd name="connsiteY11" fmla="*/ 207169 h 297656"/>
                      <a:gd name="connsiteX12" fmla="*/ 523875 w 992982"/>
                      <a:gd name="connsiteY12" fmla="*/ 197644 h 297656"/>
                      <a:gd name="connsiteX13" fmla="*/ 531019 w 992982"/>
                      <a:gd name="connsiteY13" fmla="*/ 211931 h 297656"/>
                      <a:gd name="connsiteX14" fmla="*/ 538163 w 992982"/>
                      <a:gd name="connsiteY14" fmla="*/ 223837 h 297656"/>
                      <a:gd name="connsiteX15" fmla="*/ 602457 w 992982"/>
                      <a:gd name="connsiteY15" fmla="*/ 211931 h 297656"/>
                      <a:gd name="connsiteX16" fmla="*/ 673894 w 992982"/>
                      <a:gd name="connsiteY16" fmla="*/ 188119 h 297656"/>
                      <a:gd name="connsiteX17" fmla="*/ 676275 w 992982"/>
                      <a:gd name="connsiteY17" fmla="*/ 166687 h 297656"/>
                      <a:gd name="connsiteX18" fmla="*/ 690563 w 992982"/>
                      <a:gd name="connsiteY18" fmla="*/ 180975 h 297656"/>
                      <a:gd name="connsiteX19" fmla="*/ 740569 w 992982"/>
                      <a:gd name="connsiteY19" fmla="*/ 169069 h 297656"/>
                      <a:gd name="connsiteX20" fmla="*/ 821532 w 992982"/>
                      <a:gd name="connsiteY20" fmla="*/ 142875 h 297656"/>
                      <a:gd name="connsiteX21" fmla="*/ 816769 w 992982"/>
                      <a:gd name="connsiteY21" fmla="*/ 114300 h 297656"/>
                      <a:gd name="connsiteX22" fmla="*/ 828675 w 992982"/>
                      <a:gd name="connsiteY22" fmla="*/ 145256 h 297656"/>
                      <a:gd name="connsiteX23" fmla="*/ 859632 w 992982"/>
                      <a:gd name="connsiteY23" fmla="*/ 126206 h 297656"/>
                      <a:gd name="connsiteX24" fmla="*/ 923925 w 992982"/>
                      <a:gd name="connsiteY24" fmla="*/ 57150 h 297656"/>
                      <a:gd name="connsiteX25" fmla="*/ 992982 w 992982"/>
                      <a:gd name="connsiteY25" fmla="*/ 0 h 297656"/>
                      <a:gd name="connsiteX26" fmla="*/ 928688 w 992982"/>
                      <a:gd name="connsiteY26" fmla="*/ 64294 h 297656"/>
                      <a:gd name="connsiteX27" fmla="*/ 871538 w 992982"/>
                      <a:gd name="connsiteY27" fmla="*/ 121444 h 297656"/>
                      <a:gd name="connsiteX28" fmla="*/ 831057 w 992982"/>
                      <a:gd name="connsiteY28" fmla="*/ 150019 h 297656"/>
                      <a:gd name="connsiteX29" fmla="*/ 835819 w 992982"/>
                      <a:gd name="connsiteY29" fmla="*/ 176212 h 297656"/>
                      <a:gd name="connsiteX30" fmla="*/ 826294 w 992982"/>
                      <a:gd name="connsiteY30" fmla="*/ 152400 h 297656"/>
                      <a:gd name="connsiteX31" fmla="*/ 807244 w 992982"/>
                      <a:gd name="connsiteY31" fmla="*/ 152400 h 297656"/>
                      <a:gd name="connsiteX32" fmla="*/ 697707 w 992982"/>
                      <a:gd name="connsiteY32" fmla="*/ 185737 h 297656"/>
                      <a:gd name="connsiteX33" fmla="*/ 685800 w 992982"/>
                      <a:gd name="connsiteY33" fmla="*/ 195262 h 297656"/>
                      <a:gd name="connsiteX34" fmla="*/ 695325 w 992982"/>
                      <a:gd name="connsiteY34" fmla="*/ 223837 h 297656"/>
                      <a:gd name="connsiteX35" fmla="*/ 683419 w 992982"/>
                      <a:gd name="connsiteY35" fmla="*/ 197644 h 297656"/>
                      <a:gd name="connsiteX36" fmla="*/ 664369 w 992982"/>
                      <a:gd name="connsiteY36" fmla="*/ 197644 h 297656"/>
                      <a:gd name="connsiteX37" fmla="*/ 600075 w 992982"/>
                      <a:gd name="connsiteY37" fmla="*/ 214312 h 297656"/>
                      <a:gd name="connsiteX38" fmla="*/ 531019 w 992982"/>
                      <a:gd name="connsiteY38" fmla="*/ 233362 h 297656"/>
                      <a:gd name="connsiteX39" fmla="*/ 535782 w 992982"/>
                      <a:gd name="connsiteY39" fmla="*/ 261937 h 297656"/>
                      <a:gd name="connsiteX40" fmla="*/ 521494 w 992982"/>
                      <a:gd name="connsiteY40" fmla="*/ 235744 h 297656"/>
                      <a:gd name="connsiteX41" fmla="*/ 440532 w 992982"/>
                      <a:gd name="connsiteY41" fmla="*/ 252412 h 297656"/>
                      <a:gd name="connsiteX42" fmla="*/ 381000 w 992982"/>
                      <a:gd name="connsiteY42" fmla="*/ 261937 h 297656"/>
                      <a:gd name="connsiteX43" fmla="*/ 383382 w 992982"/>
                      <a:gd name="connsiteY43" fmla="*/ 297656 h 297656"/>
                      <a:gd name="connsiteX44" fmla="*/ 376238 w 992982"/>
                      <a:gd name="connsiteY44" fmla="*/ 257175 h 297656"/>
                      <a:gd name="connsiteX45" fmla="*/ 247650 w 992982"/>
                      <a:gd name="connsiteY45" fmla="*/ 247650 h 297656"/>
                      <a:gd name="connsiteX46" fmla="*/ 0 w 992982"/>
                      <a:gd name="connsiteY46" fmla="*/ 166688 h 297656"/>
                      <a:gd name="connsiteX0" fmla="*/ 0 w 992982"/>
                      <a:gd name="connsiteY0" fmla="*/ 166688 h 297656"/>
                      <a:gd name="connsiteX1" fmla="*/ 216694 w 992982"/>
                      <a:gd name="connsiteY1" fmla="*/ 242887 h 297656"/>
                      <a:gd name="connsiteX2" fmla="*/ 233363 w 992982"/>
                      <a:gd name="connsiteY2" fmla="*/ 283369 h 297656"/>
                      <a:gd name="connsiteX3" fmla="*/ 247651 w 992982"/>
                      <a:gd name="connsiteY3" fmla="*/ 257175 h 297656"/>
                      <a:gd name="connsiteX4" fmla="*/ 307182 w 992982"/>
                      <a:gd name="connsiteY4" fmla="*/ 259556 h 297656"/>
                      <a:gd name="connsiteX5" fmla="*/ 371475 w 992982"/>
                      <a:gd name="connsiteY5" fmla="*/ 254794 h 297656"/>
                      <a:gd name="connsiteX6" fmla="*/ 381000 w 992982"/>
                      <a:gd name="connsiteY6" fmla="*/ 230981 h 297656"/>
                      <a:gd name="connsiteX7" fmla="*/ 388144 w 992982"/>
                      <a:gd name="connsiteY7" fmla="*/ 254794 h 297656"/>
                      <a:gd name="connsiteX8" fmla="*/ 438150 w 992982"/>
                      <a:gd name="connsiteY8" fmla="*/ 250031 h 297656"/>
                      <a:gd name="connsiteX9" fmla="*/ 504825 w 992982"/>
                      <a:gd name="connsiteY9" fmla="*/ 235744 h 297656"/>
                      <a:gd name="connsiteX10" fmla="*/ 528638 w 992982"/>
                      <a:gd name="connsiteY10" fmla="*/ 226219 h 297656"/>
                      <a:gd name="connsiteX11" fmla="*/ 528638 w 992982"/>
                      <a:gd name="connsiteY11" fmla="*/ 207169 h 297656"/>
                      <a:gd name="connsiteX12" fmla="*/ 523875 w 992982"/>
                      <a:gd name="connsiteY12" fmla="*/ 197644 h 297656"/>
                      <a:gd name="connsiteX13" fmla="*/ 531019 w 992982"/>
                      <a:gd name="connsiteY13" fmla="*/ 211931 h 297656"/>
                      <a:gd name="connsiteX14" fmla="*/ 538163 w 992982"/>
                      <a:gd name="connsiteY14" fmla="*/ 223837 h 297656"/>
                      <a:gd name="connsiteX15" fmla="*/ 602457 w 992982"/>
                      <a:gd name="connsiteY15" fmla="*/ 211931 h 297656"/>
                      <a:gd name="connsiteX16" fmla="*/ 673894 w 992982"/>
                      <a:gd name="connsiteY16" fmla="*/ 188119 h 297656"/>
                      <a:gd name="connsiteX17" fmla="*/ 676275 w 992982"/>
                      <a:gd name="connsiteY17" fmla="*/ 166687 h 297656"/>
                      <a:gd name="connsiteX18" fmla="*/ 690563 w 992982"/>
                      <a:gd name="connsiteY18" fmla="*/ 180975 h 297656"/>
                      <a:gd name="connsiteX19" fmla="*/ 740569 w 992982"/>
                      <a:gd name="connsiteY19" fmla="*/ 169069 h 297656"/>
                      <a:gd name="connsiteX20" fmla="*/ 821532 w 992982"/>
                      <a:gd name="connsiteY20" fmla="*/ 142875 h 297656"/>
                      <a:gd name="connsiteX21" fmla="*/ 816769 w 992982"/>
                      <a:gd name="connsiteY21" fmla="*/ 114300 h 297656"/>
                      <a:gd name="connsiteX22" fmla="*/ 828675 w 992982"/>
                      <a:gd name="connsiteY22" fmla="*/ 145256 h 297656"/>
                      <a:gd name="connsiteX23" fmla="*/ 859632 w 992982"/>
                      <a:gd name="connsiteY23" fmla="*/ 126206 h 297656"/>
                      <a:gd name="connsiteX24" fmla="*/ 923925 w 992982"/>
                      <a:gd name="connsiteY24" fmla="*/ 57150 h 297656"/>
                      <a:gd name="connsiteX25" fmla="*/ 992982 w 992982"/>
                      <a:gd name="connsiteY25" fmla="*/ 0 h 297656"/>
                      <a:gd name="connsiteX26" fmla="*/ 928688 w 992982"/>
                      <a:gd name="connsiteY26" fmla="*/ 64294 h 297656"/>
                      <a:gd name="connsiteX27" fmla="*/ 871538 w 992982"/>
                      <a:gd name="connsiteY27" fmla="*/ 121444 h 297656"/>
                      <a:gd name="connsiteX28" fmla="*/ 831057 w 992982"/>
                      <a:gd name="connsiteY28" fmla="*/ 150019 h 297656"/>
                      <a:gd name="connsiteX29" fmla="*/ 835819 w 992982"/>
                      <a:gd name="connsiteY29" fmla="*/ 176212 h 297656"/>
                      <a:gd name="connsiteX30" fmla="*/ 826294 w 992982"/>
                      <a:gd name="connsiteY30" fmla="*/ 152400 h 297656"/>
                      <a:gd name="connsiteX31" fmla="*/ 807244 w 992982"/>
                      <a:gd name="connsiteY31" fmla="*/ 152400 h 297656"/>
                      <a:gd name="connsiteX32" fmla="*/ 697707 w 992982"/>
                      <a:gd name="connsiteY32" fmla="*/ 185737 h 297656"/>
                      <a:gd name="connsiteX33" fmla="*/ 685800 w 992982"/>
                      <a:gd name="connsiteY33" fmla="*/ 195262 h 297656"/>
                      <a:gd name="connsiteX34" fmla="*/ 695325 w 992982"/>
                      <a:gd name="connsiteY34" fmla="*/ 223837 h 297656"/>
                      <a:gd name="connsiteX35" fmla="*/ 683419 w 992982"/>
                      <a:gd name="connsiteY35" fmla="*/ 197644 h 297656"/>
                      <a:gd name="connsiteX36" fmla="*/ 664369 w 992982"/>
                      <a:gd name="connsiteY36" fmla="*/ 197644 h 297656"/>
                      <a:gd name="connsiteX37" fmla="*/ 600075 w 992982"/>
                      <a:gd name="connsiteY37" fmla="*/ 214312 h 297656"/>
                      <a:gd name="connsiteX38" fmla="*/ 531019 w 992982"/>
                      <a:gd name="connsiteY38" fmla="*/ 233362 h 297656"/>
                      <a:gd name="connsiteX39" fmla="*/ 535782 w 992982"/>
                      <a:gd name="connsiteY39" fmla="*/ 261937 h 297656"/>
                      <a:gd name="connsiteX40" fmla="*/ 521494 w 992982"/>
                      <a:gd name="connsiteY40" fmla="*/ 235744 h 297656"/>
                      <a:gd name="connsiteX41" fmla="*/ 440532 w 992982"/>
                      <a:gd name="connsiteY41" fmla="*/ 252412 h 297656"/>
                      <a:gd name="connsiteX42" fmla="*/ 381000 w 992982"/>
                      <a:gd name="connsiteY42" fmla="*/ 261937 h 297656"/>
                      <a:gd name="connsiteX43" fmla="*/ 383382 w 992982"/>
                      <a:gd name="connsiteY43" fmla="*/ 297656 h 297656"/>
                      <a:gd name="connsiteX44" fmla="*/ 376238 w 992982"/>
                      <a:gd name="connsiteY44" fmla="*/ 257175 h 297656"/>
                      <a:gd name="connsiteX45" fmla="*/ 247650 w 992982"/>
                      <a:gd name="connsiteY45" fmla="*/ 247650 h 297656"/>
                      <a:gd name="connsiteX46" fmla="*/ 171451 w 992982"/>
                      <a:gd name="connsiteY46" fmla="*/ 207169 h 297656"/>
                      <a:gd name="connsiteX47" fmla="*/ 0 w 992982"/>
                      <a:gd name="connsiteY47" fmla="*/ 166688 h 297656"/>
                      <a:gd name="connsiteX0" fmla="*/ 0 w 992982"/>
                      <a:gd name="connsiteY0" fmla="*/ 166688 h 297656"/>
                      <a:gd name="connsiteX1" fmla="*/ 216694 w 992982"/>
                      <a:gd name="connsiteY1" fmla="*/ 242887 h 297656"/>
                      <a:gd name="connsiteX2" fmla="*/ 233363 w 992982"/>
                      <a:gd name="connsiteY2" fmla="*/ 283369 h 297656"/>
                      <a:gd name="connsiteX3" fmla="*/ 247651 w 992982"/>
                      <a:gd name="connsiteY3" fmla="*/ 257175 h 297656"/>
                      <a:gd name="connsiteX4" fmla="*/ 307182 w 992982"/>
                      <a:gd name="connsiteY4" fmla="*/ 259556 h 297656"/>
                      <a:gd name="connsiteX5" fmla="*/ 371475 w 992982"/>
                      <a:gd name="connsiteY5" fmla="*/ 254794 h 297656"/>
                      <a:gd name="connsiteX6" fmla="*/ 381000 w 992982"/>
                      <a:gd name="connsiteY6" fmla="*/ 230981 h 297656"/>
                      <a:gd name="connsiteX7" fmla="*/ 388144 w 992982"/>
                      <a:gd name="connsiteY7" fmla="*/ 254794 h 297656"/>
                      <a:gd name="connsiteX8" fmla="*/ 438150 w 992982"/>
                      <a:gd name="connsiteY8" fmla="*/ 250031 h 297656"/>
                      <a:gd name="connsiteX9" fmla="*/ 504825 w 992982"/>
                      <a:gd name="connsiteY9" fmla="*/ 235744 h 297656"/>
                      <a:gd name="connsiteX10" fmla="*/ 528638 w 992982"/>
                      <a:gd name="connsiteY10" fmla="*/ 226219 h 297656"/>
                      <a:gd name="connsiteX11" fmla="*/ 528638 w 992982"/>
                      <a:gd name="connsiteY11" fmla="*/ 207169 h 297656"/>
                      <a:gd name="connsiteX12" fmla="*/ 523875 w 992982"/>
                      <a:gd name="connsiteY12" fmla="*/ 197644 h 297656"/>
                      <a:gd name="connsiteX13" fmla="*/ 531019 w 992982"/>
                      <a:gd name="connsiteY13" fmla="*/ 211931 h 297656"/>
                      <a:gd name="connsiteX14" fmla="*/ 538163 w 992982"/>
                      <a:gd name="connsiteY14" fmla="*/ 223837 h 297656"/>
                      <a:gd name="connsiteX15" fmla="*/ 602457 w 992982"/>
                      <a:gd name="connsiteY15" fmla="*/ 211931 h 297656"/>
                      <a:gd name="connsiteX16" fmla="*/ 673894 w 992982"/>
                      <a:gd name="connsiteY16" fmla="*/ 188119 h 297656"/>
                      <a:gd name="connsiteX17" fmla="*/ 676275 w 992982"/>
                      <a:gd name="connsiteY17" fmla="*/ 166687 h 297656"/>
                      <a:gd name="connsiteX18" fmla="*/ 690563 w 992982"/>
                      <a:gd name="connsiteY18" fmla="*/ 180975 h 297656"/>
                      <a:gd name="connsiteX19" fmla="*/ 740569 w 992982"/>
                      <a:gd name="connsiteY19" fmla="*/ 169069 h 297656"/>
                      <a:gd name="connsiteX20" fmla="*/ 821532 w 992982"/>
                      <a:gd name="connsiteY20" fmla="*/ 142875 h 297656"/>
                      <a:gd name="connsiteX21" fmla="*/ 816769 w 992982"/>
                      <a:gd name="connsiteY21" fmla="*/ 114300 h 297656"/>
                      <a:gd name="connsiteX22" fmla="*/ 828675 w 992982"/>
                      <a:gd name="connsiteY22" fmla="*/ 145256 h 297656"/>
                      <a:gd name="connsiteX23" fmla="*/ 859632 w 992982"/>
                      <a:gd name="connsiteY23" fmla="*/ 126206 h 297656"/>
                      <a:gd name="connsiteX24" fmla="*/ 923925 w 992982"/>
                      <a:gd name="connsiteY24" fmla="*/ 57150 h 297656"/>
                      <a:gd name="connsiteX25" fmla="*/ 992982 w 992982"/>
                      <a:gd name="connsiteY25" fmla="*/ 0 h 297656"/>
                      <a:gd name="connsiteX26" fmla="*/ 928688 w 992982"/>
                      <a:gd name="connsiteY26" fmla="*/ 64294 h 297656"/>
                      <a:gd name="connsiteX27" fmla="*/ 871538 w 992982"/>
                      <a:gd name="connsiteY27" fmla="*/ 121444 h 297656"/>
                      <a:gd name="connsiteX28" fmla="*/ 831057 w 992982"/>
                      <a:gd name="connsiteY28" fmla="*/ 150019 h 297656"/>
                      <a:gd name="connsiteX29" fmla="*/ 835819 w 992982"/>
                      <a:gd name="connsiteY29" fmla="*/ 176212 h 297656"/>
                      <a:gd name="connsiteX30" fmla="*/ 826294 w 992982"/>
                      <a:gd name="connsiteY30" fmla="*/ 152400 h 297656"/>
                      <a:gd name="connsiteX31" fmla="*/ 807244 w 992982"/>
                      <a:gd name="connsiteY31" fmla="*/ 152400 h 297656"/>
                      <a:gd name="connsiteX32" fmla="*/ 697707 w 992982"/>
                      <a:gd name="connsiteY32" fmla="*/ 185737 h 297656"/>
                      <a:gd name="connsiteX33" fmla="*/ 685800 w 992982"/>
                      <a:gd name="connsiteY33" fmla="*/ 195262 h 297656"/>
                      <a:gd name="connsiteX34" fmla="*/ 695325 w 992982"/>
                      <a:gd name="connsiteY34" fmla="*/ 223837 h 297656"/>
                      <a:gd name="connsiteX35" fmla="*/ 683419 w 992982"/>
                      <a:gd name="connsiteY35" fmla="*/ 197644 h 297656"/>
                      <a:gd name="connsiteX36" fmla="*/ 664369 w 992982"/>
                      <a:gd name="connsiteY36" fmla="*/ 197644 h 297656"/>
                      <a:gd name="connsiteX37" fmla="*/ 600075 w 992982"/>
                      <a:gd name="connsiteY37" fmla="*/ 214312 h 297656"/>
                      <a:gd name="connsiteX38" fmla="*/ 531019 w 992982"/>
                      <a:gd name="connsiteY38" fmla="*/ 233362 h 297656"/>
                      <a:gd name="connsiteX39" fmla="*/ 535782 w 992982"/>
                      <a:gd name="connsiteY39" fmla="*/ 261937 h 297656"/>
                      <a:gd name="connsiteX40" fmla="*/ 521494 w 992982"/>
                      <a:gd name="connsiteY40" fmla="*/ 235744 h 297656"/>
                      <a:gd name="connsiteX41" fmla="*/ 440532 w 992982"/>
                      <a:gd name="connsiteY41" fmla="*/ 252412 h 297656"/>
                      <a:gd name="connsiteX42" fmla="*/ 381000 w 992982"/>
                      <a:gd name="connsiteY42" fmla="*/ 261937 h 297656"/>
                      <a:gd name="connsiteX43" fmla="*/ 383382 w 992982"/>
                      <a:gd name="connsiteY43" fmla="*/ 297656 h 297656"/>
                      <a:gd name="connsiteX44" fmla="*/ 376238 w 992982"/>
                      <a:gd name="connsiteY44" fmla="*/ 257175 h 297656"/>
                      <a:gd name="connsiteX45" fmla="*/ 247650 w 992982"/>
                      <a:gd name="connsiteY45" fmla="*/ 247650 h 297656"/>
                      <a:gd name="connsiteX46" fmla="*/ 171451 w 992982"/>
                      <a:gd name="connsiteY46" fmla="*/ 207169 h 297656"/>
                      <a:gd name="connsiteX47" fmla="*/ 0 w 992982"/>
                      <a:gd name="connsiteY47" fmla="*/ 166688 h 297656"/>
                      <a:gd name="connsiteX0" fmla="*/ 0 w 992982"/>
                      <a:gd name="connsiteY0" fmla="*/ 166688 h 297656"/>
                      <a:gd name="connsiteX1" fmla="*/ 216694 w 992982"/>
                      <a:gd name="connsiteY1" fmla="*/ 242887 h 297656"/>
                      <a:gd name="connsiteX2" fmla="*/ 233363 w 992982"/>
                      <a:gd name="connsiteY2" fmla="*/ 283369 h 297656"/>
                      <a:gd name="connsiteX3" fmla="*/ 247651 w 992982"/>
                      <a:gd name="connsiteY3" fmla="*/ 257175 h 297656"/>
                      <a:gd name="connsiteX4" fmla="*/ 307182 w 992982"/>
                      <a:gd name="connsiteY4" fmla="*/ 259556 h 297656"/>
                      <a:gd name="connsiteX5" fmla="*/ 371475 w 992982"/>
                      <a:gd name="connsiteY5" fmla="*/ 254794 h 297656"/>
                      <a:gd name="connsiteX6" fmla="*/ 381000 w 992982"/>
                      <a:gd name="connsiteY6" fmla="*/ 230981 h 297656"/>
                      <a:gd name="connsiteX7" fmla="*/ 388144 w 992982"/>
                      <a:gd name="connsiteY7" fmla="*/ 254794 h 297656"/>
                      <a:gd name="connsiteX8" fmla="*/ 438150 w 992982"/>
                      <a:gd name="connsiteY8" fmla="*/ 250031 h 297656"/>
                      <a:gd name="connsiteX9" fmla="*/ 504825 w 992982"/>
                      <a:gd name="connsiteY9" fmla="*/ 235744 h 297656"/>
                      <a:gd name="connsiteX10" fmla="*/ 528638 w 992982"/>
                      <a:gd name="connsiteY10" fmla="*/ 226219 h 297656"/>
                      <a:gd name="connsiteX11" fmla="*/ 528638 w 992982"/>
                      <a:gd name="connsiteY11" fmla="*/ 207169 h 297656"/>
                      <a:gd name="connsiteX12" fmla="*/ 523875 w 992982"/>
                      <a:gd name="connsiteY12" fmla="*/ 197644 h 297656"/>
                      <a:gd name="connsiteX13" fmla="*/ 531019 w 992982"/>
                      <a:gd name="connsiteY13" fmla="*/ 211931 h 297656"/>
                      <a:gd name="connsiteX14" fmla="*/ 538163 w 992982"/>
                      <a:gd name="connsiteY14" fmla="*/ 223837 h 297656"/>
                      <a:gd name="connsiteX15" fmla="*/ 602457 w 992982"/>
                      <a:gd name="connsiteY15" fmla="*/ 211931 h 297656"/>
                      <a:gd name="connsiteX16" fmla="*/ 673894 w 992982"/>
                      <a:gd name="connsiteY16" fmla="*/ 188119 h 297656"/>
                      <a:gd name="connsiteX17" fmla="*/ 676275 w 992982"/>
                      <a:gd name="connsiteY17" fmla="*/ 166687 h 297656"/>
                      <a:gd name="connsiteX18" fmla="*/ 690563 w 992982"/>
                      <a:gd name="connsiteY18" fmla="*/ 180975 h 297656"/>
                      <a:gd name="connsiteX19" fmla="*/ 740569 w 992982"/>
                      <a:gd name="connsiteY19" fmla="*/ 169069 h 297656"/>
                      <a:gd name="connsiteX20" fmla="*/ 821532 w 992982"/>
                      <a:gd name="connsiteY20" fmla="*/ 142875 h 297656"/>
                      <a:gd name="connsiteX21" fmla="*/ 816769 w 992982"/>
                      <a:gd name="connsiteY21" fmla="*/ 114300 h 297656"/>
                      <a:gd name="connsiteX22" fmla="*/ 828675 w 992982"/>
                      <a:gd name="connsiteY22" fmla="*/ 145256 h 297656"/>
                      <a:gd name="connsiteX23" fmla="*/ 859632 w 992982"/>
                      <a:gd name="connsiteY23" fmla="*/ 126206 h 297656"/>
                      <a:gd name="connsiteX24" fmla="*/ 923925 w 992982"/>
                      <a:gd name="connsiteY24" fmla="*/ 57150 h 297656"/>
                      <a:gd name="connsiteX25" fmla="*/ 992982 w 992982"/>
                      <a:gd name="connsiteY25" fmla="*/ 0 h 297656"/>
                      <a:gd name="connsiteX26" fmla="*/ 928688 w 992982"/>
                      <a:gd name="connsiteY26" fmla="*/ 64294 h 297656"/>
                      <a:gd name="connsiteX27" fmla="*/ 871538 w 992982"/>
                      <a:gd name="connsiteY27" fmla="*/ 121444 h 297656"/>
                      <a:gd name="connsiteX28" fmla="*/ 831057 w 992982"/>
                      <a:gd name="connsiteY28" fmla="*/ 150019 h 297656"/>
                      <a:gd name="connsiteX29" fmla="*/ 835819 w 992982"/>
                      <a:gd name="connsiteY29" fmla="*/ 176212 h 297656"/>
                      <a:gd name="connsiteX30" fmla="*/ 826294 w 992982"/>
                      <a:gd name="connsiteY30" fmla="*/ 152400 h 297656"/>
                      <a:gd name="connsiteX31" fmla="*/ 807244 w 992982"/>
                      <a:gd name="connsiteY31" fmla="*/ 152400 h 297656"/>
                      <a:gd name="connsiteX32" fmla="*/ 697707 w 992982"/>
                      <a:gd name="connsiteY32" fmla="*/ 185737 h 297656"/>
                      <a:gd name="connsiteX33" fmla="*/ 685800 w 992982"/>
                      <a:gd name="connsiteY33" fmla="*/ 195262 h 297656"/>
                      <a:gd name="connsiteX34" fmla="*/ 695325 w 992982"/>
                      <a:gd name="connsiteY34" fmla="*/ 223837 h 297656"/>
                      <a:gd name="connsiteX35" fmla="*/ 683419 w 992982"/>
                      <a:gd name="connsiteY35" fmla="*/ 197644 h 297656"/>
                      <a:gd name="connsiteX36" fmla="*/ 664369 w 992982"/>
                      <a:gd name="connsiteY36" fmla="*/ 197644 h 297656"/>
                      <a:gd name="connsiteX37" fmla="*/ 600075 w 992982"/>
                      <a:gd name="connsiteY37" fmla="*/ 214312 h 297656"/>
                      <a:gd name="connsiteX38" fmla="*/ 531019 w 992982"/>
                      <a:gd name="connsiteY38" fmla="*/ 233362 h 297656"/>
                      <a:gd name="connsiteX39" fmla="*/ 535782 w 992982"/>
                      <a:gd name="connsiteY39" fmla="*/ 261937 h 297656"/>
                      <a:gd name="connsiteX40" fmla="*/ 521494 w 992982"/>
                      <a:gd name="connsiteY40" fmla="*/ 235744 h 297656"/>
                      <a:gd name="connsiteX41" fmla="*/ 440532 w 992982"/>
                      <a:gd name="connsiteY41" fmla="*/ 252412 h 297656"/>
                      <a:gd name="connsiteX42" fmla="*/ 381000 w 992982"/>
                      <a:gd name="connsiteY42" fmla="*/ 261937 h 297656"/>
                      <a:gd name="connsiteX43" fmla="*/ 383382 w 992982"/>
                      <a:gd name="connsiteY43" fmla="*/ 297656 h 297656"/>
                      <a:gd name="connsiteX44" fmla="*/ 376238 w 992982"/>
                      <a:gd name="connsiteY44" fmla="*/ 257175 h 297656"/>
                      <a:gd name="connsiteX45" fmla="*/ 247650 w 992982"/>
                      <a:gd name="connsiteY45" fmla="*/ 247650 h 297656"/>
                      <a:gd name="connsiteX46" fmla="*/ 171451 w 992982"/>
                      <a:gd name="connsiteY46" fmla="*/ 207169 h 297656"/>
                      <a:gd name="connsiteX47" fmla="*/ 107157 w 992982"/>
                      <a:gd name="connsiteY47" fmla="*/ 197644 h 297656"/>
                      <a:gd name="connsiteX48" fmla="*/ 0 w 992982"/>
                      <a:gd name="connsiteY48" fmla="*/ 166688 h 297656"/>
                      <a:gd name="connsiteX0" fmla="*/ 0 w 992982"/>
                      <a:gd name="connsiteY0" fmla="*/ 166688 h 297656"/>
                      <a:gd name="connsiteX1" fmla="*/ 114301 w 992982"/>
                      <a:gd name="connsiteY1" fmla="*/ 252413 h 297656"/>
                      <a:gd name="connsiteX2" fmla="*/ 216694 w 992982"/>
                      <a:gd name="connsiteY2" fmla="*/ 242887 h 297656"/>
                      <a:gd name="connsiteX3" fmla="*/ 233363 w 992982"/>
                      <a:gd name="connsiteY3" fmla="*/ 283369 h 297656"/>
                      <a:gd name="connsiteX4" fmla="*/ 247651 w 992982"/>
                      <a:gd name="connsiteY4" fmla="*/ 257175 h 297656"/>
                      <a:gd name="connsiteX5" fmla="*/ 307182 w 992982"/>
                      <a:gd name="connsiteY5" fmla="*/ 259556 h 297656"/>
                      <a:gd name="connsiteX6" fmla="*/ 371475 w 992982"/>
                      <a:gd name="connsiteY6" fmla="*/ 254794 h 297656"/>
                      <a:gd name="connsiteX7" fmla="*/ 381000 w 992982"/>
                      <a:gd name="connsiteY7" fmla="*/ 230981 h 297656"/>
                      <a:gd name="connsiteX8" fmla="*/ 388144 w 992982"/>
                      <a:gd name="connsiteY8" fmla="*/ 254794 h 297656"/>
                      <a:gd name="connsiteX9" fmla="*/ 438150 w 992982"/>
                      <a:gd name="connsiteY9" fmla="*/ 250031 h 297656"/>
                      <a:gd name="connsiteX10" fmla="*/ 504825 w 992982"/>
                      <a:gd name="connsiteY10" fmla="*/ 235744 h 297656"/>
                      <a:gd name="connsiteX11" fmla="*/ 528638 w 992982"/>
                      <a:gd name="connsiteY11" fmla="*/ 226219 h 297656"/>
                      <a:gd name="connsiteX12" fmla="*/ 528638 w 992982"/>
                      <a:gd name="connsiteY12" fmla="*/ 207169 h 297656"/>
                      <a:gd name="connsiteX13" fmla="*/ 523875 w 992982"/>
                      <a:gd name="connsiteY13" fmla="*/ 197644 h 297656"/>
                      <a:gd name="connsiteX14" fmla="*/ 531019 w 992982"/>
                      <a:gd name="connsiteY14" fmla="*/ 211931 h 297656"/>
                      <a:gd name="connsiteX15" fmla="*/ 538163 w 992982"/>
                      <a:gd name="connsiteY15" fmla="*/ 223837 h 297656"/>
                      <a:gd name="connsiteX16" fmla="*/ 602457 w 992982"/>
                      <a:gd name="connsiteY16" fmla="*/ 211931 h 297656"/>
                      <a:gd name="connsiteX17" fmla="*/ 673894 w 992982"/>
                      <a:gd name="connsiteY17" fmla="*/ 188119 h 297656"/>
                      <a:gd name="connsiteX18" fmla="*/ 676275 w 992982"/>
                      <a:gd name="connsiteY18" fmla="*/ 166687 h 297656"/>
                      <a:gd name="connsiteX19" fmla="*/ 690563 w 992982"/>
                      <a:gd name="connsiteY19" fmla="*/ 180975 h 297656"/>
                      <a:gd name="connsiteX20" fmla="*/ 740569 w 992982"/>
                      <a:gd name="connsiteY20" fmla="*/ 169069 h 297656"/>
                      <a:gd name="connsiteX21" fmla="*/ 821532 w 992982"/>
                      <a:gd name="connsiteY21" fmla="*/ 142875 h 297656"/>
                      <a:gd name="connsiteX22" fmla="*/ 816769 w 992982"/>
                      <a:gd name="connsiteY22" fmla="*/ 114300 h 297656"/>
                      <a:gd name="connsiteX23" fmla="*/ 828675 w 992982"/>
                      <a:gd name="connsiteY23" fmla="*/ 145256 h 297656"/>
                      <a:gd name="connsiteX24" fmla="*/ 859632 w 992982"/>
                      <a:gd name="connsiteY24" fmla="*/ 126206 h 297656"/>
                      <a:gd name="connsiteX25" fmla="*/ 923925 w 992982"/>
                      <a:gd name="connsiteY25" fmla="*/ 57150 h 297656"/>
                      <a:gd name="connsiteX26" fmla="*/ 992982 w 992982"/>
                      <a:gd name="connsiteY26" fmla="*/ 0 h 297656"/>
                      <a:gd name="connsiteX27" fmla="*/ 928688 w 992982"/>
                      <a:gd name="connsiteY27" fmla="*/ 64294 h 297656"/>
                      <a:gd name="connsiteX28" fmla="*/ 871538 w 992982"/>
                      <a:gd name="connsiteY28" fmla="*/ 121444 h 297656"/>
                      <a:gd name="connsiteX29" fmla="*/ 831057 w 992982"/>
                      <a:gd name="connsiteY29" fmla="*/ 150019 h 297656"/>
                      <a:gd name="connsiteX30" fmla="*/ 835819 w 992982"/>
                      <a:gd name="connsiteY30" fmla="*/ 176212 h 297656"/>
                      <a:gd name="connsiteX31" fmla="*/ 826294 w 992982"/>
                      <a:gd name="connsiteY31" fmla="*/ 152400 h 297656"/>
                      <a:gd name="connsiteX32" fmla="*/ 807244 w 992982"/>
                      <a:gd name="connsiteY32" fmla="*/ 152400 h 297656"/>
                      <a:gd name="connsiteX33" fmla="*/ 697707 w 992982"/>
                      <a:gd name="connsiteY33" fmla="*/ 185737 h 297656"/>
                      <a:gd name="connsiteX34" fmla="*/ 685800 w 992982"/>
                      <a:gd name="connsiteY34" fmla="*/ 195262 h 297656"/>
                      <a:gd name="connsiteX35" fmla="*/ 695325 w 992982"/>
                      <a:gd name="connsiteY35" fmla="*/ 223837 h 297656"/>
                      <a:gd name="connsiteX36" fmla="*/ 683419 w 992982"/>
                      <a:gd name="connsiteY36" fmla="*/ 197644 h 297656"/>
                      <a:gd name="connsiteX37" fmla="*/ 664369 w 992982"/>
                      <a:gd name="connsiteY37" fmla="*/ 197644 h 297656"/>
                      <a:gd name="connsiteX38" fmla="*/ 600075 w 992982"/>
                      <a:gd name="connsiteY38" fmla="*/ 214312 h 297656"/>
                      <a:gd name="connsiteX39" fmla="*/ 531019 w 992982"/>
                      <a:gd name="connsiteY39" fmla="*/ 233362 h 297656"/>
                      <a:gd name="connsiteX40" fmla="*/ 535782 w 992982"/>
                      <a:gd name="connsiteY40" fmla="*/ 261937 h 297656"/>
                      <a:gd name="connsiteX41" fmla="*/ 521494 w 992982"/>
                      <a:gd name="connsiteY41" fmla="*/ 235744 h 297656"/>
                      <a:gd name="connsiteX42" fmla="*/ 440532 w 992982"/>
                      <a:gd name="connsiteY42" fmla="*/ 252412 h 297656"/>
                      <a:gd name="connsiteX43" fmla="*/ 381000 w 992982"/>
                      <a:gd name="connsiteY43" fmla="*/ 261937 h 297656"/>
                      <a:gd name="connsiteX44" fmla="*/ 383382 w 992982"/>
                      <a:gd name="connsiteY44" fmla="*/ 297656 h 297656"/>
                      <a:gd name="connsiteX45" fmla="*/ 376238 w 992982"/>
                      <a:gd name="connsiteY45" fmla="*/ 257175 h 297656"/>
                      <a:gd name="connsiteX46" fmla="*/ 247650 w 992982"/>
                      <a:gd name="connsiteY46" fmla="*/ 247650 h 297656"/>
                      <a:gd name="connsiteX47" fmla="*/ 171451 w 992982"/>
                      <a:gd name="connsiteY47" fmla="*/ 207169 h 297656"/>
                      <a:gd name="connsiteX48" fmla="*/ 107157 w 992982"/>
                      <a:gd name="connsiteY48" fmla="*/ 197644 h 297656"/>
                      <a:gd name="connsiteX49" fmla="*/ 0 w 992982"/>
                      <a:gd name="connsiteY49" fmla="*/ 166688 h 297656"/>
                      <a:gd name="connsiteX0" fmla="*/ 0 w 992982"/>
                      <a:gd name="connsiteY0" fmla="*/ 166688 h 297656"/>
                      <a:gd name="connsiteX1" fmla="*/ 114301 w 992982"/>
                      <a:gd name="connsiteY1" fmla="*/ 252413 h 297656"/>
                      <a:gd name="connsiteX2" fmla="*/ 142875 w 992982"/>
                      <a:gd name="connsiteY2" fmla="*/ 221456 h 297656"/>
                      <a:gd name="connsiteX3" fmla="*/ 216694 w 992982"/>
                      <a:gd name="connsiteY3" fmla="*/ 242887 h 297656"/>
                      <a:gd name="connsiteX4" fmla="*/ 233363 w 992982"/>
                      <a:gd name="connsiteY4" fmla="*/ 283369 h 297656"/>
                      <a:gd name="connsiteX5" fmla="*/ 247651 w 992982"/>
                      <a:gd name="connsiteY5" fmla="*/ 257175 h 297656"/>
                      <a:gd name="connsiteX6" fmla="*/ 307182 w 992982"/>
                      <a:gd name="connsiteY6" fmla="*/ 259556 h 297656"/>
                      <a:gd name="connsiteX7" fmla="*/ 371475 w 992982"/>
                      <a:gd name="connsiteY7" fmla="*/ 254794 h 297656"/>
                      <a:gd name="connsiteX8" fmla="*/ 381000 w 992982"/>
                      <a:gd name="connsiteY8" fmla="*/ 230981 h 297656"/>
                      <a:gd name="connsiteX9" fmla="*/ 388144 w 992982"/>
                      <a:gd name="connsiteY9" fmla="*/ 254794 h 297656"/>
                      <a:gd name="connsiteX10" fmla="*/ 438150 w 992982"/>
                      <a:gd name="connsiteY10" fmla="*/ 250031 h 297656"/>
                      <a:gd name="connsiteX11" fmla="*/ 504825 w 992982"/>
                      <a:gd name="connsiteY11" fmla="*/ 235744 h 297656"/>
                      <a:gd name="connsiteX12" fmla="*/ 528638 w 992982"/>
                      <a:gd name="connsiteY12" fmla="*/ 226219 h 297656"/>
                      <a:gd name="connsiteX13" fmla="*/ 528638 w 992982"/>
                      <a:gd name="connsiteY13" fmla="*/ 207169 h 297656"/>
                      <a:gd name="connsiteX14" fmla="*/ 523875 w 992982"/>
                      <a:gd name="connsiteY14" fmla="*/ 197644 h 297656"/>
                      <a:gd name="connsiteX15" fmla="*/ 531019 w 992982"/>
                      <a:gd name="connsiteY15" fmla="*/ 211931 h 297656"/>
                      <a:gd name="connsiteX16" fmla="*/ 538163 w 992982"/>
                      <a:gd name="connsiteY16" fmla="*/ 223837 h 297656"/>
                      <a:gd name="connsiteX17" fmla="*/ 602457 w 992982"/>
                      <a:gd name="connsiteY17" fmla="*/ 211931 h 297656"/>
                      <a:gd name="connsiteX18" fmla="*/ 673894 w 992982"/>
                      <a:gd name="connsiteY18" fmla="*/ 188119 h 297656"/>
                      <a:gd name="connsiteX19" fmla="*/ 676275 w 992982"/>
                      <a:gd name="connsiteY19" fmla="*/ 166687 h 297656"/>
                      <a:gd name="connsiteX20" fmla="*/ 690563 w 992982"/>
                      <a:gd name="connsiteY20" fmla="*/ 180975 h 297656"/>
                      <a:gd name="connsiteX21" fmla="*/ 740569 w 992982"/>
                      <a:gd name="connsiteY21" fmla="*/ 169069 h 297656"/>
                      <a:gd name="connsiteX22" fmla="*/ 821532 w 992982"/>
                      <a:gd name="connsiteY22" fmla="*/ 142875 h 297656"/>
                      <a:gd name="connsiteX23" fmla="*/ 816769 w 992982"/>
                      <a:gd name="connsiteY23" fmla="*/ 114300 h 297656"/>
                      <a:gd name="connsiteX24" fmla="*/ 828675 w 992982"/>
                      <a:gd name="connsiteY24" fmla="*/ 145256 h 297656"/>
                      <a:gd name="connsiteX25" fmla="*/ 859632 w 992982"/>
                      <a:gd name="connsiteY25" fmla="*/ 126206 h 297656"/>
                      <a:gd name="connsiteX26" fmla="*/ 923925 w 992982"/>
                      <a:gd name="connsiteY26" fmla="*/ 57150 h 297656"/>
                      <a:gd name="connsiteX27" fmla="*/ 992982 w 992982"/>
                      <a:gd name="connsiteY27" fmla="*/ 0 h 297656"/>
                      <a:gd name="connsiteX28" fmla="*/ 928688 w 992982"/>
                      <a:gd name="connsiteY28" fmla="*/ 64294 h 297656"/>
                      <a:gd name="connsiteX29" fmla="*/ 871538 w 992982"/>
                      <a:gd name="connsiteY29" fmla="*/ 121444 h 297656"/>
                      <a:gd name="connsiteX30" fmla="*/ 831057 w 992982"/>
                      <a:gd name="connsiteY30" fmla="*/ 150019 h 297656"/>
                      <a:gd name="connsiteX31" fmla="*/ 835819 w 992982"/>
                      <a:gd name="connsiteY31" fmla="*/ 176212 h 297656"/>
                      <a:gd name="connsiteX32" fmla="*/ 826294 w 992982"/>
                      <a:gd name="connsiteY32" fmla="*/ 152400 h 297656"/>
                      <a:gd name="connsiteX33" fmla="*/ 807244 w 992982"/>
                      <a:gd name="connsiteY33" fmla="*/ 152400 h 297656"/>
                      <a:gd name="connsiteX34" fmla="*/ 697707 w 992982"/>
                      <a:gd name="connsiteY34" fmla="*/ 185737 h 297656"/>
                      <a:gd name="connsiteX35" fmla="*/ 685800 w 992982"/>
                      <a:gd name="connsiteY35" fmla="*/ 195262 h 297656"/>
                      <a:gd name="connsiteX36" fmla="*/ 695325 w 992982"/>
                      <a:gd name="connsiteY36" fmla="*/ 223837 h 297656"/>
                      <a:gd name="connsiteX37" fmla="*/ 683419 w 992982"/>
                      <a:gd name="connsiteY37" fmla="*/ 197644 h 297656"/>
                      <a:gd name="connsiteX38" fmla="*/ 664369 w 992982"/>
                      <a:gd name="connsiteY38" fmla="*/ 197644 h 297656"/>
                      <a:gd name="connsiteX39" fmla="*/ 600075 w 992982"/>
                      <a:gd name="connsiteY39" fmla="*/ 214312 h 297656"/>
                      <a:gd name="connsiteX40" fmla="*/ 531019 w 992982"/>
                      <a:gd name="connsiteY40" fmla="*/ 233362 h 297656"/>
                      <a:gd name="connsiteX41" fmla="*/ 535782 w 992982"/>
                      <a:gd name="connsiteY41" fmla="*/ 261937 h 297656"/>
                      <a:gd name="connsiteX42" fmla="*/ 521494 w 992982"/>
                      <a:gd name="connsiteY42" fmla="*/ 235744 h 297656"/>
                      <a:gd name="connsiteX43" fmla="*/ 440532 w 992982"/>
                      <a:gd name="connsiteY43" fmla="*/ 252412 h 297656"/>
                      <a:gd name="connsiteX44" fmla="*/ 381000 w 992982"/>
                      <a:gd name="connsiteY44" fmla="*/ 261937 h 297656"/>
                      <a:gd name="connsiteX45" fmla="*/ 383382 w 992982"/>
                      <a:gd name="connsiteY45" fmla="*/ 297656 h 297656"/>
                      <a:gd name="connsiteX46" fmla="*/ 376238 w 992982"/>
                      <a:gd name="connsiteY46" fmla="*/ 257175 h 297656"/>
                      <a:gd name="connsiteX47" fmla="*/ 247650 w 992982"/>
                      <a:gd name="connsiteY47" fmla="*/ 247650 h 297656"/>
                      <a:gd name="connsiteX48" fmla="*/ 171451 w 992982"/>
                      <a:gd name="connsiteY48" fmla="*/ 207169 h 297656"/>
                      <a:gd name="connsiteX49" fmla="*/ 107157 w 992982"/>
                      <a:gd name="connsiteY49" fmla="*/ 197644 h 297656"/>
                      <a:gd name="connsiteX50" fmla="*/ 0 w 992982"/>
                      <a:gd name="connsiteY50" fmla="*/ 166688 h 297656"/>
                      <a:gd name="connsiteX0" fmla="*/ 0 w 992982"/>
                      <a:gd name="connsiteY0" fmla="*/ 166688 h 297656"/>
                      <a:gd name="connsiteX1" fmla="*/ 119063 w 992982"/>
                      <a:gd name="connsiteY1" fmla="*/ 223837 h 297656"/>
                      <a:gd name="connsiteX2" fmla="*/ 114301 w 992982"/>
                      <a:gd name="connsiteY2" fmla="*/ 252413 h 297656"/>
                      <a:gd name="connsiteX3" fmla="*/ 142875 w 992982"/>
                      <a:gd name="connsiteY3" fmla="*/ 221456 h 297656"/>
                      <a:gd name="connsiteX4" fmla="*/ 216694 w 992982"/>
                      <a:gd name="connsiteY4" fmla="*/ 242887 h 297656"/>
                      <a:gd name="connsiteX5" fmla="*/ 233363 w 992982"/>
                      <a:gd name="connsiteY5" fmla="*/ 283369 h 297656"/>
                      <a:gd name="connsiteX6" fmla="*/ 247651 w 992982"/>
                      <a:gd name="connsiteY6" fmla="*/ 257175 h 297656"/>
                      <a:gd name="connsiteX7" fmla="*/ 307182 w 992982"/>
                      <a:gd name="connsiteY7" fmla="*/ 259556 h 297656"/>
                      <a:gd name="connsiteX8" fmla="*/ 371475 w 992982"/>
                      <a:gd name="connsiteY8" fmla="*/ 254794 h 297656"/>
                      <a:gd name="connsiteX9" fmla="*/ 381000 w 992982"/>
                      <a:gd name="connsiteY9" fmla="*/ 230981 h 297656"/>
                      <a:gd name="connsiteX10" fmla="*/ 388144 w 992982"/>
                      <a:gd name="connsiteY10" fmla="*/ 254794 h 297656"/>
                      <a:gd name="connsiteX11" fmla="*/ 438150 w 992982"/>
                      <a:gd name="connsiteY11" fmla="*/ 250031 h 297656"/>
                      <a:gd name="connsiteX12" fmla="*/ 504825 w 992982"/>
                      <a:gd name="connsiteY12" fmla="*/ 235744 h 297656"/>
                      <a:gd name="connsiteX13" fmla="*/ 528638 w 992982"/>
                      <a:gd name="connsiteY13" fmla="*/ 226219 h 297656"/>
                      <a:gd name="connsiteX14" fmla="*/ 528638 w 992982"/>
                      <a:gd name="connsiteY14" fmla="*/ 207169 h 297656"/>
                      <a:gd name="connsiteX15" fmla="*/ 523875 w 992982"/>
                      <a:gd name="connsiteY15" fmla="*/ 197644 h 297656"/>
                      <a:gd name="connsiteX16" fmla="*/ 531019 w 992982"/>
                      <a:gd name="connsiteY16" fmla="*/ 211931 h 297656"/>
                      <a:gd name="connsiteX17" fmla="*/ 538163 w 992982"/>
                      <a:gd name="connsiteY17" fmla="*/ 223837 h 297656"/>
                      <a:gd name="connsiteX18" fmla="*/ 602457 w 992982"/>
                      <a:gd name="connsiteY18" fmla="*/ 211931 h 297656"/>
                      <a:gd name="connsiteX19" fmla="*/ 673894 w 992982"/>
                      <a:gd name="connsiteY19" fmla="*/ 188119 h 297656"/>
                      <a:gd name="connsiteX20" fmla="*/ 676275 w 992982"/>
                      <a:gd name="connsiteY20" fmla="*/ 166687 h 297656"/>
                      <a:gd name="connsiteX21" fmla="*/ 690563 w 992982"/>
                      <a:gd name="connsiteY21" fmla="*/ 180975 h 297656"/>
                      <a:gd name="connsiteX22" fmla="*/ 740569 w 992982"/>
                      <a:gd name="connsiteY22" fmla="*/ 169069 h 297656"/>
                      <a:gd name="connsiteX23" fmla="*/ 821532 w 992982"/>
                      <a:gd name="connsiteY23" fmla="*/ 142875 h 297656"/>
                      <a:gd name="connsiteX24" fmla="*/ 816769 w 992982"/>
                      <a:gd name="connsiteY24" fmla="*/ 114300 h 297656"/>
                      <a:gd name="connsiteX25" fmla="*/ 828675 w 992982"/>
                      <a:gd name="connsiteY25" fmla="*/ 145256 h 297656"/>
                      <a:gd name="connsiteX26" fmla="*/ 859632 w 992982"/>
                      <a:gd name="connsiteY26" fmla="*/ 126206 h 297656"/>
                      <a:gd name="connsiteX27" fmla="*/ 923925 w 992982"/>
                      <a:gd name="connsiteY27" fmla="*/ 57150 h 297656"/>
                      <a:gd name="connsiteX28" fmla="*/ 992982 w 992982"/>
                      <a:gd name="connsiteY28" fmla="*/ 0 h 297656"/>
                      <a:gd name="connsiteX29" fmla="*/ 928688 w 992982"/>
                      <a:gd name="connsiteY29" fmla="*/ 64294 h 297656"/>
                      <a:gd name="connsiteX30" fmla="*/ 871538 w 992982"/>
                      <a:gd name="connsiteY30" fmla="*/ 121444 h 297656"/>
                      <a:gd name="connsiteX31" fmla="*/ 831057 w 992982"/>
                      <a:gd name="connsiteY31" fmla="*/ 150019 h 297656"/>
                      <a:gd name="connsiteX32" fmla="*/ 835819 w 992982"/>
                      <a:gd name="connsiteY32" fmla="*/ 176212 h 297656"/>
                      <a:gd name="connsiteX33" fmla="*/ 826294 w 992982"/>
                      <a:gd name="connsiteY33" fmla="*/ 152400 h 297656"/>
                      <a:gd name="connsiteX34" fmla="*/ 807244 w 992982"/>
                      <a:gd name="connsiteY34" fmla="*/ 152400 h 297656"/>
                      <a:gd name="connsiteX35" fmla="*/ 697707 w 992982"/>
                      <a:gd name="connsiteY35" fmla="*/ 185737 h 297656"/>
                      <a:gd name="connsiteX36" fmla="*/ 685800 w 992982"/>
                      <a:gd name="connsiteY36" fmla="*/ 195262 h 297656"/>
                      <a:gd name="connsiteX37" fmla="*/ 695325 w 992982"/>
                      <a:gd name="connsiteY37" fmla="*/ 223837 h 297656"/>
                      <a:gd name="connsiteX38" fmla="*/ 683419 w 992982"/>
                      <a:gd name="connsiteY38" fmla="*/ 197644 h 297656"/>
                      <a:gd name="connsiteX39" fmla="*/ 664369 w 992982"/>
                      <a:gd name="connsiteY39" fmla="*/ 197644 h 297656"/>
                      <a:gd name="connsiteX40" fmla="*/ 600075 w 992982"/>
                      <a:gd name="connsiteY40" fmla="*/ 214312 h 297656"/>
                      <a:gd name="connsiteX41" fmla="*/ 531019 w 992982"/>
                      <a:gd name="connsiteY41" fmla="*/ 233362 h 297656"/>
                      <a:gd name="connsiteX42" fmla="*/ 535782 w 992982"/>
                      <a:gd name="connsiteY42" fmla="*/ 261937 h 297656"/>
                      <a:gd name="connsiteX43" fmla="*/ 521494 w 992982"/>
                      <a:gd name="connsiteY43" fmla="*/ 235744 h 297656"/>
                      <a:gd name="connsiteX44" fmla="*/ 440532 w 992982"/>
                      <a:gd name="connsiteY44" fmla="*/ 252412 h 297656"/>
                      <a:gd name="connsiteX45" fmla="*/ 381000 w 992982"/>
                      <a:gd name="connsiteY45" fmla="*/ 261937 h 297656"/>
                      <a:gd name="connsiteX46" fmla="*/ 383382 w 992982"/>
                      <a:gd name="connsiteY46" fmla="*/ 297656 h 297656"/>
                      <a:gd name="connsiteX47" fmla="*/ 376238 w 992982"/>
                      <a:gd name="connsiteY47" fmla="*/ 257175 h 297656"/>
                      <a:gd name="connsiteX48" fmla="*/ 247650 w 992982"/>
                      <a:gd name="connsiteY48" fmla="*/ 247650 h 297656"/>
                      <a:gd name="connsiteX49" fmla="*/ 171451 w 992982"/>
                      <a:gd name="connsiteY49" fmla="*/ 207169 h 297656"/>
                      <a:gd name="connsiteX50" fmla="*/ 107157 w 992982"/>
                      <a:gd name="connsiteY50" fmla="*/ 197644 h 297656"/>
                      <a:gd name="connsiteX51" fmla="*/ 0 w 992982"/>
                      <a:gd name="connsiteY51" fmla="*/ 166688 h 297656"/>
                      <a:gd name="connsiteX0" fmla="*/ 0 w 992982"/>
                      <a:gd name="connsiteY0" fmla="*/ 166688 h 297656"/>
                      <a:gd name="connsiteX1" fmla="*/ 119063 w 992982"/>
                      <a:gd name="connsiteY1" fmla="*/ 223837 h 297656"/>
                      <a:gd name="connsiteX2" fmla="*/ 114301 w 992982"/>
                      <a:gd name="connsiteY2" fmla="*/ 252413 h 297656"/>
                      <a:gd name="connsiteX3" fmla="*/ 142875 w 992982"/>
                      <a:gd name="connsiteY3" fmla="*/ 221456 h 297656"/>
                      <a:gd name="connsiteX4" fmla="*/ 216694 w 992982"/>
                      <a:gd name="connsiteY4" fmla="*/ 242887 h 297656"/>
                      <a:gd name="connsiteX5" fmla="*/ 233363 w 992982"/>
                      <a:gd name="connsiteY5" fmla="*/ 283369 h 297656"/>
                      <a:gd name="connsiteX6" fmla="*/ 247651 w 992982"/>
                      <a:gd name="connsiteY6" fmla="*/ 257175 h 297656"/>
                      <a:gd name="connsiteX7" fmla="*/ 307182 w 992982"/>
                      <a:gd name="connsiteY7" fmla="*/ 259556 h 297656"/>
                      <a:gd name="connsiteX8" fmla="*/ 371475 w 992982"/>
                      <a:gd name="connsiteY8" fmla="*/ 254794 h 297656"/>
                      <a:gd name="connsiteX9" fmla="*/ 381000 w 992982"/>
                      <a:gd name="connsiteY9" fmla="*/ 230981 h 297656"/>
                      <a:gd name="connsiteX10" fmla="*/ 388144 w 992982"/>
                      <a:gd name="connsiteY10" fmla="*/ 254794 h 297656"/>
                      <a:gd name="connsiteX11" fmla="*/ 438150 w 992982"/>
                      <a:gd name="connsiteY11" fmla="*/ 250031 h 297656"/>
                      <a:gd name="connsiteX12" fmla="*/ 504825 w 992982"/>
                      <a:gd name="connsiteY12" fmla="*/ 235744 h 297656"/>
                      <a:gd name="connsiteX13" fmla="*/ 528638 w 992982"/>
                      <a:gd name="connsiteY13" fmla="*/ 226219 h 297656"/>
                      <a:gd name="connsiteX14" fmla="*/ 528638 w 992982"/>
                      <a:gd name="connsiteY14" fmla="*/ 207169 h 297656"/>
                      <a:gd name="connsiteX15" fmla="*/ 523875 w 992982"/>
                      <a:gd name="connsiteY15" fmla="*/ 197644 h 297656"/>
                      <a:gd name="connsiteX16" fmla="*/ 531019 w 992982"/>
                      <a:gd name="connsiteY16" fmla="*/ 211931 h 297656"/>
                      <a:gd name="connsiteX17" fmla="*/ 538163 w 992982"/>
                      <a:gd name="connsiteY17" fmla="*/ 223837 h 297656"/>
                      <a:gd name="connsiteX18" fmla="*/ 602457 w 992982"/>
                      <a:gd name="connsiteY18" fmla="*/ 211931 h 297656"/>
                      <a:gd name="connsiteX19" fmla="*/ 673894 w 992982"/>
                      <a:gd name="connsiteY19" fmla="*/ 188119 h 297656"/>
                      <a:gd name="connsiteX20" fmla="*/ 676275 w 992982"/>
                      <a:gd name="connsiteY20" fmla="*/ 166687 h 297656"/>
                      <a:gd name="connsiteX21" fmla="*/ 690563 w 992982"/>
                      <a:gd name="connsiteY21" fmla="*/ 180975 h 297656"/>
                      <a:gd name="connsiteX22" fmla="*/ 740569 w 992982"/>
                      <a:gd name="connsiteY22" fmla="*/ 169069 h 297656"/>
                      <a:gd name="connsiteX23" fmla="*/ 821532 w 992982"/>
                      <a:gd name="connsiteY23" fmla="*/ 142875 h 297656"/>
                      <a:gd name="connsiteX24" fmla="*/ 816769 w 992982"/>
                      <a:gd name="connsiteY24" fmla="*/ 114300 h 297656"/>
                      <a:gd name="connsiteX25" fmla="*/ 828675 w 992982"/>
                      <a:gd name="connsiteY25" fmla="*/ 145256 h 297656"/>
                      <a:gd name="connsiteX26" fmla="*/ 859632 w 992982"/>
                      <a:gd name="connsiteY26" fmla="*/ 126206 h 297656"/>
                      <a:gd name="connsiteX27" fmla="*/ 923925 w 992982"/>
                      <a:gd name="connsiteY27" fmla="*/ 57150 h 297656"/>
                      <a:gd name="connsiteX28" fmla="*/ 992982 w 992982"/>
                      <a:gd name="connsiteY28" fmla="*/ 0 h 297656"/>
                      <a:gd name="connsiteX29" fmla="*/ 928688 w 992982"/>
                      <a:gd name="connsiteY29" fmla="*/ 64294 h 297656"/>
                      <a:gd name="connsiteX30" fmla="*/ 871538 w 992982"/>
                      <a:gd name="connsiteY30" fmla="*/ 121444 h 297656"/>
                      <a:gd name="connsiteX31" fmla="*/ 831057 w 992982"/>
                      <a:gd name="connsiteY31" fmla="*/ 150019 h 297656"/>
                      <a:gd name="connsiteX32" fmla="*/ 835819 w 992982"/>
                      <a:gd name="connsiteY32" fmla="*/ 176212 h 297656"/>
                      <a:gd name="connsiteX33" fmla="*/ 826294 w 992982"/>
                      <a:gd name="connsiteY33" fmla="*/ 152400 h 297656"/>
                      <a:gd name="connsiteX34" fmla="*/ 807244 w 992982"/>
                      <a:gd name="connsiteY34" fmla="*/ 152400 h 297656"/>
                      <a:gd name="connsiteX35" fmla="*/ 697707 w 992982"/>
                      <a:gd name="connsiteY35" fmla="*/ 185737 h 297656"/>
                      <a:gd name="connsiteX36" fmla="*/ 685800 w 992982"/>
                      <a:gd name="connsiteY36" fmla="*/ 195262 h 297656"/>
                      <a:gd name="connsiteX37" fmla="*/ 695325 w 992982"/>
                      <a:gd name="connsiteY37" fmla="*/ 223837 h 297656"/>
                      <a:gd name="connsiteX38" fmla="*/ 683419 w 992982"/>
                      <a:gd name="connsiteY38" fmla="*/ 197644 h 297656"/>
                      <a:gd name="connsiteX39" fmla="*/ 664369 w 992982"/>
                      <a:gd name="connsiteY39" fmla="*/ 197644 h 297656"/>
                      <a:gd name="connsiteX40" fmla="*/ 600075 w 992982"/>
                      <a:gd name="connsiteY40" fmla="*/ 214312 h 297656"/>
                      <a:gd name="connsiteX41" fmla="*/ 531019 w 992982"/>
                      <a:gd name="connsiteY41" fmla="*/ 233362 h 297656"/>
                      <a:gd name="connsiteX42" fmla="*/ 535782 w 992982"/>
                      <a:gd name="connsiteY42" fmla="*/ 261937 h 297656"/>
                      <a:gd name="connsiteX43" fmla="*/ 521494 w 992982"/>
                      <a:gd name="connsiteY43" fmla="*/ 235744 h 297656"/>
                      <a:gd name="connsiteX44" fmla="*/ 440532 w 992982"/>
                      <a:gd name="connsiteY44" fmla="*/ 252412 h 297656"/>
                      <a:gd name="connsiteX45" fmla="*/ 381000 w 992982"/>
                      <a:gd name="connsiteY45" fmla="*/ 261937 h 297656"/>
                      <a:gd name="connsiteX46" fmla="*/ 383382 w 992982"/>
                      <a:gd name="connsiteY46" fmla="*/ 297656 h 297656"/>
                      <a:gd name="connsiteX47" fmla="*/ 376238 w 992982"/>
                      <a:gd name="connsiteY47" fmla="*/ 257175 h 297656"/>
                      <a:gd name="connsiteX48" fmla="*/ 247650 w 992982"/>
                      <a:gd name="connsiteY48" fmla="*/ 247650 h 297656"/>
                      <a:gd name="connsiteX49" fmla="*/ 161926 w 992982"/>
                      <a:gd name="connsiteY49" fmla="*/ 183357 h 297656"/>
                      <a:gd name="connsiteX50" fmla="*/ 107157 w 992982"/>
                      <a:gd name="connsiteY50" fmla="*/ 197644 h 297656"/>
                      <a:gd name="connsiteX51" fmla="*/ 0 w 992982"/>
                      <a:gd name="connsiteY51" fmla="*/ 166688 h 297656"/>
                      <a:gd name="connsiteX0" fmla="*/ 0 w 992982"/>
                      <a:gd name="connsiteY0" fmla="*/ 166688 h 297656"/>
                      <a:gd name="connsiteX1" fmla="*/ 119063 w 992982"/>
                      <a:gd name="connsiteY1" fmla="*/ 223837 h 297656"/>
                      <a:gd name="connsiteX2" fmla="*/ 114301 w 992982"/>
                      <a:gd name="connsiteY2" fmla="*/ 252413 h 297656"/>
                      <a:gd name="connsiteX3" fmla="*/ 142875 w 992982"/>
                      <a:gd name="connsiteY3" fmla="*/ 221456 h 297656"/>
                      <a:gd name="connsiteX4" fmla="*/ 216694 w 992982"/>
                      <a:gd name="connsiteY4" fmla="*/ 242887 h 297656"/>
                      <a:gd name="connsiteX5" fmla="*/ 233363 w 992982"/>
                      <a:gd name="connsiteY5" fmla="*/ 283369 h 297656"/>
                      <a:gd name="connsiteX6" fmla="*/ 247651 w 992982"/>
                      <a:gd name="connsiteY6" fmla="*/ 257175 h 297656"/>
                      <a:gd name="connsiteX7" fmla="*/ 307182 w 992982"/>
                      <a:gd name="connsiteY7" fmla="*/ 259556 h 297656"/>
                      <a:gd name="connsiteX8" fmla="*/ 371475 w 992982"/>
                      <a:gd name="connsiteY8" fmla="*/ 254794 h 297656"/>
                      <a:gd name="connsiteX9" fmla="*/ 381000 w 992982"/>
                      <a:gd name="connsiteY9" fmla="*/ 230981 h 297656"/>
                      <a:gd name="connsiteX10" fmla="*/ 388144 w 992982"/>
                      <a:gd name="connsiteY10" fmla="*/ 254794 h 297656"/>
                      <a:gd name="connsiteX11" fmla="*/ 438150 w 992982"/>
                      <a:gd name="connsiteY11" fmla="*/ 250031 h 297656"/>
                      <a:gd name="connsiteX12" fmla="*/ 504825 w 992982"/>
                      <a:gd name="connsiteY12" fmla="*/ 235744 h 297656"/>
                      <a:gd name="connsiteX13" fmla="*/ 528638 w 992982"/>
                      <a:gd name="connsiteY13" fmla="*/ 226219 h 297656"/>
                      <a:gd name="connsiteX14" fmla="*/ 528638 w 992982"/>
                      <a:gd name="connsiteY14" fmla="*/ 207169 h 297656"/>
                      <a:gd name="connsiteX15" fmla="*/ 523875 w 992982"/>
                      <a:gd name="connsiteY15" fmla="*/ 197644 h 297656"/>
                      <a:gd name="connsiteX16" fmla="*/ 531019 w 992982"/>
                      <a:gd name="connsiteY16" fmla="*/ 211931 h 297656"/>
                      <a:gd name="connsiteX17" fmla="*/ 538163 w 992982"/>
                      <a:gd name="connsiteY17" fmla="*/ 223837 h 297656"/>
                      <a:gd name="connsiteX18" fmla="*/ 602457 w 992982"/>
                      <a:gd name="connsiteY18" fmla="*/ 211931 h 297656"/>
                      <a:gd name="connsiteX19" fmla="*/ 673894 w 992982"/>
                      <a:gd name="connsiteY19" fmla="*/ 188119 h 297656"/>
                      <a:gd name="connsiteX20" fmla="*/ 676275 w 992982"/>
                      <a:gd name="connsiteY20" fmla="*/ 166687 h 297656"/>
                      <a:gd name="connsiteX21" fmla="*/ 690563 w 992982"/>
                      <a:gd name="connsiteY21" fmla="*/ 180975 h 297656"/>
                      <a:gd name="connsiteX22" fmla="*/ 740569 w 992982"/>
                      <a:gd name="connsiteY22" fmla="*/ 169069 h 297656"/>
                      <a:gd name="connsiteX23" fmla="*/ 821532 w 992982"/>
                      <a:gd name="connsiteY23" fmla="*/ 142875 h 297656"/>
                      <a:gd name="connsiteX24" fmla="*/ 816769 w 992982"/>
                      <a:gd name="connsiteY24" fmla="*/ 114300 h 297656"/>
                      <a:gd name="connsiteX25" fmla="*/ 828675 w 992982"/>
                      <a:gd name="connsiteY25" fmla="*/ 145256 h 297656"/>
                      <a:gd name="connsiteX26" fmla="*/ 859632 w 992982"/>
                      <a:gd name="connsiteY26" fmla="*/ 126206 h 297656"/>
                      <a:gd name="connsiteX27" fmla="*/ 923925 w 992982"/>
                      <a:gd name="connsiteY27" fmla="*/ 57150 h 297656"/>
                      <a:gd name="connsiteX28" fmla="*/ 992982 w 992982"/>
                      <a:gd name="connsiteY28" fmla="*/ 0 h 297656"/>
                      <a:gd name="connsiteX29" fmla="*/ 928688 w 992982"/>
                      <a:gd name="connsiteY29" fmla="*/ 64294 h 297656"/>
                      <a:gd name="connsiteX30" fmla="*/ 871538 w 992982"/>
                      <a:gd name="connsiteY30" fmla="*/ 121444 h 297656"/>
                      <a:gd name="connsiteX31" fmla="*/ 831057 w 992982"/>
                      <a:gd name="connsiteY31" fmla="*/ 150019 h 297656"/>
                      <a:gd name="connsiteX32" fmla="*/ 835819 w 992982"/>
                      <a:gd name="connsiteY32" fmla="*/ 176212 h 297656"/>
                      <a:gd name="connsiteX33" fmla="*/ 826294 w 992982"/>
                      <a:gd name="connsiteY33" fmla="*/ 152400 h 297656"/>
                      <a:gd name="connsiteX34" fmla="*/ 807244 w 992982"/>
                      <a:gd name="connsiteY34" fmla="*/ 152400 h 297656"/>
                      <a:gd name="connsiteX35" fmla="*/ 697707 w 992982"/>
                      <a:gd name="connsiteY35" fmla="*/ 185737 h 297656"/>
                      <a:gd name="connsiteX36" fmla="*/ 685800 w 992982"/>
                      <a:gd name="connsiteY36" fmla="*/ 195262 h 297656"/>
                      <a:gd name="connsiteX37" fmla="*/ 695325 w 992982"/>
                      <a:gd name="connsiteY37" fmla="*/ 223837 h 297656"/>
                      <a:gd name="connsiteX38" fmla="*/ 683419 w 992982"/>
                      <a:gd name="connsiteY38" fmla="*/ 197644 h 297656"/>
                      <a:gd name="connsiteX39" fmla="*/ 664369 w 992982"/>
                      <a:gd name="connsiteY39" fmla="*/ 197644 h 297656"/>
                      <a:gd name="connsiteX40" fmla="*/ 600075 w 992982"/>
                      <a:gd name="connsiteY40" fmla="*/ 214312 h 297656"/>
                      <a:gd name="connsiteX41" fmla="*/ 531019 w 992982"/>
                      <a:gd name="connsiteY41" fmla="*/ 233362 h 297656"/>
                      <a:gd name="connsiteX42" fmla="*/ 535782 w 992982"/>
                      <a:gd name="connsiteY42" fmla="*/ 261937 h 297656"/>
                      <a:gd name="connsiteX43" fmla="*/ 521494 w 992982"/>
                      <a:gd name="connsiteY43" fmla="*/ 235744 h 297656"/>
                      <a:gd name="connsiteX44" fmla="*/ 440532 w 992982"/>
                      <a:gd name="connsiteY44" fmla="*/ 252412 h 297656"/>
                      <a:gd name="connsiteX45" fmla="*/ 381000 w 992982"/>
                      <a:gd name="connsiteY45" fmla="*/ 261937 h 297656"/>
                      <a:gd name="connsiteX46" fmla="*/ 383382 w 992982"/>
                      <a:gd name="connsiteY46" fmla="*/ 297656 h 297656"/>
                      <a:gd name="connsiteX47" fmla="*/ 376238 w 992982"/>
                      <a:gd name="connsiteY47" fmla="*/ 257175 h 297656"/>
                      <a:gd name="connsiteX48" fmla="*/ 247650 w 992982"/>
                      <a:gd name="connsiteY48" fmla="*/ 247650 h 297656"/>
                      <a:gd name="connsiteX49" fmla="*/ 152401 w 992982"/>
                      <a:gd name="connsiteY49" fmla="*/ 209550 h 297656"/>
                      <a:gd name="connsiteX50" fmla="*/ 161926 w 992982"/>
                      <a:gd name="connsiteY50" fmla="*/ 183357 h 297656"/>
                      <a:gd name="connsiteX51" fmla="*/ 107157 w 992982"/>
                      <a:gd name="connsiteY51" fmla="*/ 197644 h 297656"/>
                      <a:gd name="connsiteX52" fmla="*/ 0 w 992982"/>
                      <a:gd name="connsiteY52" fmla="*/ 166688 h 297656"/>
                      <a:gd name="connsiteX0" fmla="*/ 0 w 992982"/>
                      <a:gd name="connsiteY0" fmla="*/ 166688 h 297656"/>
                      <a:gd name="connsiteX1" fmla="*/ 119063 w 992982"/>
                      <a:gd name="connsiteY1" fmla="*/ 223837 h 297656"/>
                      <a:gd name="connsiteX2" fmla="*/ 114301 w 992982"/>
                      <a:gd name="connsiteY2" fmla="*/ 252413 h 297656"/>
                      <a:gd name="connsiteX3" fmla="*/ 142875 w 992982"/>
                      <a:gd name="connsiteY3" fmla="*/ 221456 h 297656"/>
                      <a:gd name="connsiteX4" fmla="*/ 216694 w 992982"/>
                      <a:gd name="connsiteY4" fmla="*/ 242887 h 297656"/>
                      <a:gd name="connsiteX5" fmla="*/ 233363 w 992982"/>
                      <a:gd name="connsiteY5" fmla="*/ 283369 h 297656"/>
                      <a:gd name="connsiteX6" fmla="*/ 247651 w 992982"/>
                      <a:gd name="connsiteY6" fmla="*/ 257175 h 297656"/>
                      <a:gd name="connsiteX7" fmla="*/ 307182 w 992982"/>
                      <a:gd name="connsiteY7" fmla="*/ 259556 h 297656"/>
                      <a:gd name="connsiteX8" fmla="*/ 371475 w 992982"/>
                      <a:gd name="connsiteY8" fmla="*/ 254794 h 297656"/>
                      <a:gd name="connsiteX9" fmla="*/ 381000 w 992982"/>
                      <a:gd name="connsiteY9" fmla="*/ 230981 h 297656"/>
                      <a:gd name="connsiteX10" fmla="*/ 388144 w 992982"/>
                      <a:gd name="connsiteY10" fmla="*/ 254794 h 297656"/>
                      <a:gd name="connsiteX11" fmla="*/ 438150 w 992982"/>
                      <a:gd name="connsiteY11" fmla="*/ 250031 h 297656"/>
                      <a:gd name="connsiteX12" fmla="*/ 504825 w 992982"/>
                      <a:gd name="connsiteY12" fmla="*/ 235744 h 297656"/>
                      <a:gd name="connsiteX13" fmla="*/ 528638 w 992982"/>
                      <a:gd name="connsiteY13" fmla="*/ 226219 h 297656"/>
                      <a:gd name="connsiteX14" fmla="*/ 528638 w 992982"/>
                      <a:gd name="connsiteY14" fmla="*/ 207169 h 297656"/>
                      <a:gd name="connsiteX15" fmla="*/ 523875 w 992982"/>
                      <a:gd name="connsiteY15" fmla="*/ 197644 h 297656"/>
                      <a:gd name="connsiteX16" fmla="*/ 531019 w 992982"/>
                      <a:gd name="connsiteY16" fmla="*/ 211931 h 297656"/>
                      <a:gd name="connsiteX17" fmla="*/ 538163 w 992982"/>
                      <a:gd name="connsiteY17" fmla="*/ 223837 h 297656"/>
                      <a:gd name="connsiteX18" fmla="*/ 602457 w 992982"/>
                      <a:gd name="connsiteY18" fmla="*/ 211931 h 297656"/>
                      <a:gd name="connsiteX19" fmla="*/ 673894 w 992982"/>
                      <a:gd name="connsiteY19" fmla="*/ 188119 h 297656"/>
                      <a:gd name="connsiteX20" fmla="*/ 676275 w 992982"/>
                      <a:gd name="connsiteY20" fmla="*/ 166687 h 297656"/>
                      <a:gd name="connsiteX21" fmla="*/ 690563 w 992982"/>
                      <a:gd name="connsiteY21" fmla="*/ 180975 h 297656"/>
                      <a:gd name="connsiteX22" fmla="*/ 740569 w 992982"/>
                      <a:gd name="connsiteY22" fmla="*/ 169069 h 297656"/>
                      <a:gd name="connsiteX23" fmla="*/ 821532 w 992982"/>
                      <a:gd name="connsiteY23" fmla="*/ 142875 h 297656"/>
                      <a:gd name="connsiteX24" fmla="*/ 816769 w 992982"/>
                      <a:gd name="connsiteY24" fmla="*/ 114300 h 297656"/>
                      <a:gd name="connsiteX25" fmla="*/ 828675 w 992982"/>
                      <a:gd name="connsiteY25" fmla="*/ 145256 h 297656"/>
                      <a:gd name="connsiteX26" fmla="*/ 859632 w 992982"/>
                      <a:gd name="connsiteY26" fmla="*/ 126206 h 297656"/>
                      <a:gd name="connsiteX27" fmla="*/ 923925 w 992982"/>
                      <a:gd name="connsiteY27" fmla="*/ 57150 h 297656"/>
                      <a:gd name="connsiteX28" fmla="*/ 992982 w 992982"/>
                      <a:gd name="connsiteY28" fmla="*/ 0 h 297656"/>
                      <a:gd name="connsiteX29" fmla="*/ 928688 w 992982"/>
                      <a:gd name="connsiteY29" fmla="*/ 64294 h 297656"/>
                      <a:gd name="connsiteX30" fmla="*/ 871538 w 992982"/>
                      <a:gd name="connsiteY30" fmla="*/ 121444 h 297656"/>
                      <a:gd name="connsiteX31" fmla="*/ 831057 w 992982"/>
                      <a:gd name="connsiteY31" fmla="*/ 150019 h 297656"/>
                      <a:gd name="connsiteX32" fmla="*/ 835819 w 992982"/>
                      <a:gd name="connsiteY32" fmla="*/ 176212 h 297656"/>
                      <a:gd name="connsiteX33" fmla="*/ 826294 w 992982"/>
                      <a:gd name="connsiteY33" fmla="*/ 152400 h 297656"/>
                      <a:gd name="connsiteX34" fmla="*/ 807244 w 992982"/>
                      <a:gd name="connsiteY34" fmla="*/ 152400 h 297656"/>
                      <a:gd name="connsiteX35" fmla="*/ 697707 w 992982"/>
                      <a:gd name="connsiteY35" fmla="*/ 185737 h 297656"/>
                      <a:gd name="connsiteX36" fmla="*/ 685800 w 992982"/>
                      <a:gd name="connsiteY36" fmla="*/ 195262 h 297656"/>
                      <a:gd name="connsiteX37" fmla="*/ 695325 w 992982"/>
                      <a:gd name="connsiteY37" fmla="*/ 223837 h 297656"/>
                      <a:gd name="connsiteX38" fmla="*/ 683419 w 992982"/>
                      <a:gd name="connsiteY38" fmla="*/ 197644 h 297656"/>
                      <a:gd name="connsiteX39" fmla="*/ 664369 w 992982"/>
                      <a:gd name="connsiteY39" fmla="*/ 197644 h 297656"/>
                      <a:gd name="connsiteX40" fmla="*/ 600075 w 992982"/>
                      <a:gd name="connsiteY40" fmla="*/ 214312 h 297656"/>
                      <a:gd name="connsiteX41" fmla="*/ 531019 w 992982"/>
                      <a:gd name="connsiteY41" fmla="*/ 233362 h 297656"/>
                      <a:gd name="connsiteX42" fmla="*/ 535782 w 992982"/>
                      <a:gd name="connsiteY42" fmla="*/ 261937 h 297656"/>
                      <a:gd name="connsiteX43" fmla="*/ 521494 w 992982"/>
                      <a:gd name="connsiteY43" fmla="*/ 235744 h 297656"/>
                      <a:gd name="connsiteX44" fmla="*/ 440532 w 992982"/>
                      <a:gd name="connsiteY44" fmla="*/ 252412 h 297656"/>
                      <a:gd name="connsiteX45" fmla="*/ 381000 w 992982"/>
                      <a:gd name="connsiteY45" fmla="*/ 261937 h 297656"/>
                      <a:gd name="connsiteX46" fmla="*/ 383382 w 992982"/>
                      <a:gd name="connsiteY46" fmla="*/ 297656 h 297656"/>
                      <a:gd name="connsiteX47" fmla="*/ 376238 w 992982"/>
                      <a:gd name="connsiteY47" fmla="*/ 257175 h 297656"/>
                      <a:gd name="connsiteX48" fmla="*/ 247650 w 992982"/>
                      <a:gd name="connsiteY48" fmla="*/ 247650 h 297656"/>
                      <a:gd name="connsiteX49" fmla="*/ 152401 w 992982"/>
                      <a:gd name="connsiteY49" fmla="*/ 209550 h 297656"/>
                      <a:gd name="connsiteX50" fmla="*/ 130970 w 992982"/>
                      <a:gd name="connsiteY50" fmla="*/ 195263 h 297656"/>
                      <a:gd name="connsiteX51" fmla="*/ 107157 w 992982"/>
                      <a:gd name="connsiteY51" fmla="*/ 197644 h 297656"/>
                      <a:gd name="connsiteX52" fmla="*/ 0 w 992982"/>
                      <a:gd name="connsiteY52" fmla="*/ 166688 h 297656"/>
                      <a:gd name="connsiteX0" fmla="*/ 0 w 992982"/>
                      <a:gd name="connsiteY0" fmla="*/ 166688 h 297656"/>
                      <a:gd name="connsiteX1" fmla="*/ 119063 w 992982"/>
                      <a:gd name="connsiteY1" fmla="*/ 223837 h 297656"/>
                      <a:gd name="connsiteX2" fmla="*/ 114301 w 992982"/>
                      <a:gd name="connsiteY2" fmla="*/ 252413 h 297656"/>
                      <a:gd name="connsiteX3" fmla="*/ 142875 w 992982"/>
                      <a:gd name="connsiteY3" fmla="*/ 221456 h 297656"/>
                      <a:gd name="connsiteX4" fmla="*/ 216694 w 992982"/>
                      <a:gd name="connsiteY4" fmla="*/ 242887 h 297656"/>
                      <a:gd name="connsiteX5" fmla="*/ 233363 w 992982"/>
                      <a:gd name="connsiteY5" fmla="*/ 283369 h 297656"/>
                      <a:gd name="connsiteX6" fmla="*/ 247651 w 992982"/>
                      <a:gd name="connsiteY6" fmla="*/ 257175 h 297656"/>
                      <a:gd name="connsiteX7" fmla="*/ 307182 w 992982"/>
                      <a:gd name="connsiteY7" fmla="*/ 259556 h 297656"/>
                      <a:gd name="connsiteX8" fmla="*/ 371475 w 992982"/>
                      <a:gd name="connsiteY8" fmla="*/ 254794 h 297656"/>
                      <a:gd name="connsiteX9" fmla="*/ 381000 w 992982"/>
                      <a:gd name="connsiteY9" fmla="*/ 230981 h 297656"/>
                      <a:gd name="connsiteX10" fmla="*/ 388144 w 992982"/>
                      <a:gd name="connsiteY10" fmla="*/ 254794 h 297656"/>
                      <a:gd name="connsiteX11" fmla="*/ 438150 w 992982"/>
                      <a:gd name="connsiteY11" fmla="*/ 250031 h 297656"/>
                      <a:gd name="connsiteX12" fmla="*/ 504825 w 992982"/>
                      <a:gd name="connsiteY12" fmla="*/ 235744 h 297656"/>
                      <a:gd name="connsiteX13" fmla="*/ 528638 w 992982"/>
                      <a:gd name="connsiteY13" fmla="*/ 226219 h 297656"/>
                      <a:gd name="connsiteX14" fmla="*/ 528638 w 992982"/>
                      <a:gd name="connsiteY14" fmla="*/ 207169 h 297656"/>
                      <a:gd name="connsiteX15" fmla="*/ 523875 w 992982"/>
                      <a:gd name="connsiteY15" fmla="*/ 197644 h 297656"/>
                      <a:gd name="connsiteX16" fmla="*/ 531019 w 992982"/>
                      <a:gd name="connsiteY16" fmla="*/ 211931 h 297656"/>
                      <a:gd name="connsiteX17" fmla="*/ 538163 w 992982"/>
                      <a:gd name="connsiteY17" fmla="*/ 223837 h 297656"/>
                      <a:gd name="connsiteX18" fmla="*/ 602457 w 992982"/>
                      <a:gd name="connsiteY18" fmla="*/ 211931 h 297656"/>
                      <a:gd name="connsiteX19" fmla="*/ 673894 w 992982"/>
                      <a:gd name="connsiteY19" fmla="*/ 188119 h 297656"/>
                      <a:gd name="connsiteX20" fmla="*/ 676275 w 992982"/>
                      <a:gd name="connsiteY20" fmla="*/ 166687 h 297656"/>
                      <a:gd name="connsiteX21" fmla="*/ 690563 w 992982"/>
                      <a:gd name="connsiteY21" fmla="*/ 180975 h 297656"/>
                      <a:gd name="connsiteX22" fmla="*/ 740569 w 992982"/>
                      <a:gd name="connsiteY22" fmla="*/ 169069 h 297656"/>
                      <a:gd name="connsiteX23" fmla="*/ 821532 w 992982"/>
                      <a:gd name="connsiteY23" fmla="*/ 142875 h 297656"/>
                      <a:gd name="connsiteX24" fmla="*/ 816769 w 992982"/>
                      <a:gd name="connsiteY24" fmla="*/ 114300 h 297656"/>
                      <a:gd name="connsiteX25" fmla="*/ 828675 w 992982"/>
                      <a:gd name="connsiteY25" fmla="*/ 145256 h 297656"/>
                      <a:gd name="connsiteX26" fmla="*/ 859632 w 992982"/>
                      <a:gd name="connsiteY26" fmla="*/ 126206 h 297656"/>
                      <a:gd name="connsiteX27" fmla="*/ 923925 w 992982"/>
                      <a:gd name="connsiteY27" fmla="*/ 57150 h 297656"/>
                      <a:gd name="connsiteX28" fmla="*/ 992982 w 992982"/>
                      <a:gd name="connsiteY28" fmla="*/ 0 h 297656"/>
                      <a:gd name="connsiteX29" fmla="*/ 928688 w 992982"/>
                      <a:gd name="connsiteY29" fmla="*/ 64294 h 297656"/>
                      <a:gd name="connsiteX30" fmla="*/ 871538 w 992982"/>
                      <a:gd name="connsiteY30" fmla="*/ 121444 h 297656"/>
                      <a:gd name="connsiteX31" fmla="*/ 831057 w 992982"/>
                      <a:gd name="connsiteY31" fmla="*/ 150019 h 297656"/>
                      <a:gd name="connsiteX32" fmla="*/ 835819 w 992982"/>
                      <a:gd name="connsiteY32" fmla="*/ 176212 h 297656"/>
                      <a:gd name="connsiteX33" fmla="*/ 826294 w 992982"/>
                      <a:gd name="connsiteY33" fmla="*/ 152400 h 297656"/>
                      <a:gd name="connsiteX34" fmla="*/ 807244 w 992982"/>
                      <a:gd name="connsiteY34" fmla="*/ 152400 h 297656"/>
                      <a:gd name="connsiteX35" fmla="*/ 697707 w 992982"/>
                      <a:gd name="connsiteY35" fmla="*/ 185737 h 297656"/>
                      <a:gd name="connsiteX36" fmla="*/ 685800 w 992982"/>
                      <a:gd name="connsiteY36" fmla="*/ 195262 h 297656"/>
                      <a:gd name="connsiteX37" fmla="*/ 695325 w 992982"/>
                      <a:gd name="connsiteY37" fmla="*/ 223837 h 297656"/>
                      <a:gd name="connsiteX38" fmla="*/ 683419 w 992982"/>
                      <a:gd name="connsiteY38" fmla="*/ 197644 h 297656"/>
                      <a:gd name="connsiteX39" fmla="*/ 664369 w 992982"/>
                      <a:gd name="connsiteY39" fmla="*/ 197644 h 297656"/>
                      <a:gd name="connsiteX40" fmla="*/ 600075 w 992982"/>
                      <a:gd name="connsiteY40" fmla="*/ 214312 h 297656"/>
                      <a:gd name="connsiteX41" fmla="*/ 531019 w 992982"/>
                      <a:gd name="connsiteY41" fmla="*/ 233362 h 297656"/>
                      <a:gd name="connsiteX42" fmla="*/ 535782 w 992982"/>
                      <a:gd name="connsiteY42" fmla="*/ 261937 h 297656"/>
                      <a:gd name="connsiteX43" fmla="*/ 521494 w 992982"/>
                      <a:gd name="connsiteY43" fmla="*/ 235744 h 297656"/>
                      <a:gd name="connsiteX44" fmla="*/ 440532 w 992982"/>
                      <a:gd name="connsiteY44" fmla="*/ 252412 h 297656"/>
                      <a:gd name="connsiteX45" fmla="*/ 381000 w 992982"/>
                      <a:gd name="connsiteY45" fmla="*/ 261937 h 297656"/>
                      <a:gd name="connsiteX46" fmla="*/ 383382 w 992982"/>
                      <a:gd name="connsiteY46" fmla="*/ 297656 h 297656"/>
                      <a:gd name="connsiteX47" fmla="*/ 376238 w 992982"/>
                      <a:gd name="connsiteY47" fmla="*/ 257175 h 297656"/>
                      <a:gd name="connsiteX48" fmla="*/ 247650 w 992982"/>
                      <a:gd name="connsiteY48" fmla="*/ 247650 h 297656"/>
                      <a:gd name="connsiteX49" fmla="*/ 152401 w 992982"/>
                      <a:gd name="connsiteY49" fmla="*/ 209550 h 297656"/>
                      <a:gd name="connsiteX50" fmla="*/ 130970 w 992982"/>
                      <a:gd name="connsiteY50" fmla="*/ 195263 h 297656"/>
                      <a:gd name="connsiteX51" fmla="*/ 107157 w 992982"/>
                      <a:gd name="connsiteY51" fmla="*/ 197644 h 297656"/>
                      <a:gd name="connsiteX52" fmla="*/ 126207 w 992982"/>
                      <a:gd name="connsiteY52" fmla="*/ 209550 h 297656"/>
                      <a:gd name="connsiteX53" fmla="*/ 0 w 992982"/>
                      <a:gd name="connsiteY53" fmla="*/ 166688 h 297656"/>
                      <a:gd name="connsiteX0" fmla="*/ 0 w 992982"/>
                      <a:gd name="connsiteY0" fmla="*/ 166688 h 297656"/>
                      <a:gd name="connsiteX1" fmla="*/ 119063 w 992982"/>
                      <a:gd name="connsiteY1" fmla="*/ 223837 h 297656"/>
                      <a:gd name="connsiteX2" fmla="*/ 114301 w 992982"/>
                      <a:gd name="connsiteY2" fmla="*/ 252413 h 297656"/>
                      <a:gd name="connsiteX3" fmla="*/ 142875 w 992982"/>
                      <a:gd name="connsiteY3" fmla="*/ 221456 h 297656"/>
                      <a:gd name="connsiteX4" fmla="*/ 216694 w 992982"/>
                      <a:gd name="connsiteY4" fmla="*/ 242887 h 297656"/>
                      <a:gd name="connsiteX5" fmla="*/ 233363 w 992982"/>
                      <a:gd name="connsiteY5" fmla="*/ 283369 h 297656"/>
                      <a:gd name="connsiteX6" fmla="*/ 247651 w 992982"/>
                      <a:gd name="connsiteY6" fmla="*/ 257175 h 297656"/>
                      <a:gd name="connsiteX7" fmla="*/ 307182 w 992982"/>
                      <a:gd name="connsiteY7" fmla="*/ 259556 h 297656"/>
                      <a:gd name="connsiteX8" fmla="*/ 371475 w 992982"/>
                      <a:gd name="connsiteY8" fmla="*/ 254794 h 297656"/>
                      <a:gd name="connsiteX9" fmla="*/ 381000 w 992982"/>
                      <a:gd name="connsiteY9" fmla="*/ 230981 h 297656"/>
                      <a:gd name="connsiteX10" fmla="*/ 388144 w 992982"/>
                      <a:gd name="connsiteY10" fmla="*/ 254794 h 297656"/>
                      <a:gd name="connsiteX11" fmla="*/ 438150 w 992982"/>
                      <a:gd name="connsiteY11" fmla="*/ 250031 h 297656"/>
                      <a:gd name="connsiteX12" fmla="*/ 504825 w 992982"/>
                      <a:gd name="connsiteY12" fmla="*/ 235744 h 297656"/>
                      <a:gd name="connsiteX13" fmla="*/ 528638 w 992982"/>
                      <a:gd name="connsiteY13" fmla="*/ 226219 h 297656"/>
                      <a:gd name="connsiteX14" fmla="*/ 528638 w 992982"/>
                      <a:gd name="connsiteY14" fmla="*/ 207169 h 297656"/>
                      <a:gd name="connsiteX15" fmla="*/ 523875 w 992982"/>
                      <a:gd name="connsiteY15" fmla="*/ 197644 h 297656"/>
                      <a:gd name="connsiteX16" fmla="*/ 531019 w 992982"/>
                      <a:gd name="connsiteY16" fmla="*/ 211931 h 297656"/>
                      <a:gd name="connsiteX17" fmla="*/ 538163 w 992982"/>
                      <a:gd name="connsiteY17" fmla="*/ 223837 h 297656"/>
                      <a:gd name="connsiteX18" fmla="*/ 602457 w 992982"/>
                      <a:gd name="connsiteY18" fmla="*/ 211931 h 297656"/>
                      <a:gd name="connsiteX19" fmla="*/ 673894 w 992982"/>
                      <a:gd name="connsiteY19" fmla="*/ 188119 h 297656"/>
                      <a:gd name="connsiteX20" fmla="*/ 676275 w 992982"/>
                      <a:gd name="connsiteY20" fmla="*/ 166687 h 297656"/>
                      <a:gd name="connsiteX21" fmla="*/ 690563 w 992982"/>
                      <a:gd name="connsiteY21" fmla="*/ 180975 h 297656"/>
                      <a:gd name="connsiteX22" fmla="*/ 740569 w 992982"/>
                      <a:gd name="connsiteY22" fmla="*/ 169069 h 297656"/>
                      <a:gd name="connsiteX23" fmla="*/ 821532 w 992982"/>
                      <a:gd name="connsiteY23" fmla="*/ 142875 h 297656"/>
                      <a:gd name="connsiteX24" fmla="*/ 816769 w 992982"/>
                      <a:gd name="connsiteY24" fmla="*/ 114300 h 297656"/>
                      <a:gd name="connsiteX25" fmla="*/ 828675 w 992982"/>
                      <a:gd name="connsiteY25" fmla="*/ 145256 h 297656"/>
                      <a:gd name="connsiteX26" fmla="*/ 859632 w 992982"/>
                      <a:gd name="connsiteY26" fmla="*/ 126206 h 297656"/>
                      <a:gd name="connsiteX27" fmla="*/ 923925 w 992982"/>
                      <a:gd name="connsiteY27" fmla="*/ 57150 h 297656"/>
                      <a:gd name="connsiteX28" fmla="*/ 992982 w 992982"/>
                      <a:gd name="connsiteY28" fmla="*/ 0 h 297656"/>
                      <a:gd name="connsiteX29" fmla="*/ 928688 w 992982"/>
                      <a:gd name="connsiteY29" fmla="*/ 64294 h 297656"/>
                      <a:gd name="connsiteX30" fmla="*/ 871538 w 992982"/>
                      <a:gd name="connsiteY30" fmla="*/ 121444 h 297656"/>
                      <a:gd name="connsiteX31" fmla="*/ 831057 w 992982"/>
                      <a:gd name="connsiteY31" fmla="*/ 150019 h 297656"/>
                      <a:gd name="connsiteX32" fmla="*/ 835819 w 992982"/>
                      <a:gd name="connsiteY32" fmla="*/ 176212 h 297656"/>
                      <a:gd name="connsiteX33" fmla="*/ 826294 w 992982"/>
                      <a:gd name="connsiteY33" fmla="*/ 152400 h 297656"/>
                      <a:gd name="connsiteX34" fmla="*/ 807244 w 992982"/>
                      <a:gd name="connsiteY34" fmla="*/ 152400 h 297656"/>
                      <a:gd name="connsiteX35" fmla="*/ 697707 w 992982"/>
                      <a:gd name="connsiteY35" fmla="*/ 185737 h 297656"/>
                      <a:gd name="connsiteX36" fmla="*/ 685800 w 992982"/>
                      <a:gd name="connsiteY36" fmla="*/ 195262 h 297656"/>
                      <a:gd name="connsiteX37" fmla="*/ 695325 w 992982"/>
                      <a:gd name="connsiteY37" fmla="*/ 223837 h 297656"/>
                      <a:gd name="connsiteX38" fmla="*/ 683419 w 992982"/>
                      <a:gd name="connsiteY38" fmla="*/ 197644 h 297656"/>
                      <a:gd name="connsiteX39" fmla="*/ 664369 w 992982"/>
                      <a:gd name="connsiteY39" fmla="*/ 197644 h 297656"/>
                      <a:gd name="connsiteX40" fmla="*/ 600075 w 992982"/>
                      <a:gd name="connsiteY40" fmla="*/ 214312 h 297656"/>
                      <a:gd name="connsiteX41" fmla="*/ 531019 w 992982"/>
                      <a:gd name="connsiteY41" fmla="*/ 233362 h 297656"/>
                      <a:gd name="connsiteX42" fmla="*/ 535782 w 992982"/>
                      <a:gd name="connsiteY42" fmla="*/ 261937 h 297656"/>
                      <a:gd name="connsiteX43" fmla="*/ 521494 w 992982"/>
                      <a:gd name="connsiteY43" fmla="*/ 235744 h 297656"/>
                      <a:gd name="connsiteX44" fmla="*/ 440532 w 992982"/>
                      <a:gd name="connsiteY44" fmla="*/ 252412 h 297656"/>
                      <a:gd name="connsiteX45" fmla="*/ 381000 w 992982"/>
                      <a:gd name="connsiteY45" fmla="*/ 261937 h 297656"/>
                      <a:gd name="connsiteX46" fmla="*/ 383382 w 992982"/>
                      <a:gd name="connsiteY46" fmla="*/ 297656 h 297656"/>
                      <a:gd name="connsiteX47" fmla="*/ 376238 w 992982"/>
                      <a:gd name="connsiteY47" fmla="*/ 257175 h 297656"/>
                      <a:gd name="connsiteX48" fmla="*/ 247650 w 992982"/>
                      <a:gd name="connsiteY48" fmla="*/ 247650 h 297656"/>
                      <a:gd name="connsiteX49" fmla="*/ 152401 w 992982"/>
                      <a:gd name="connsiteY49" fmla="*/ 233362 h 297656"/>
                      <a:gd name="connsiteX50" fmla="*/ 130970 w 992982"/>
                      <a:gd name="connsiteY50" fmla="*/ 195263 h 297656"/>
                      <a:gd name="connsiteX51" fmla="*/ 107157 w 992982"/>
                      <a:gd name="connsiteY51" fmla="*/ 197644 h 297656"/>
                      <a:gd name="connsiteX52" fmla="*/ 126207 w 992982"/>
                      <a:gd name="connsiteY52" fmla="*/ 209550 h 297656"/>
                      <a:gd name="connsiteX53" fmla="*/ 0 w 992982"/>
                      <a:gd name="connsiteY53" fmla="*/ 166688 h 297656"/>
                      <a:gd name="connsiteX0" fmla="*/ 0 w 992982"/>
                      <a:gd name="connsiteY0" fmla="*/ 166688 h 297656"/>
                      <a:gd name="connsiteX1" fmla="*/ 109538 w 992982"/>
                      <a:gd name="connsiteY1" fmla="*/ 230981 h 297656"/>
                      <a:gd name="connsiteX2" fmla="*/ 114301 w 992982"/>
                      <a:gd name="connsiteY2" fmla="*/ 252413 h 297656"/>
                      <a:gd name="connsiteX3" fmla="*/ 142875 w 992982"/>
                      <a:gd name="connsiteY3" fmla="*/ 221456 h 297656"/>
                      <a:gd name="connsiteX4" fmla="*/ 216694 w 992982"/>
                      <a:gd name="connsiteY4" fmla="*/ 242887 h 297656"/>
                      <a:gd name="connsiteX5" fmla="*/ 233363 w 992982"/>
                      <a:gd name="connsiteY5" fmla="*/ 283369 h 297656"/>
                      <a:gd name="connsiteX6" fmla="*/ 247651 w 992982"/>
                      <a:gd name="connsiteY6" fmla="*/ 257175 h 297656"/>
                      <a:gd name="connsiteX7" fmla="*/ 307182 w 992982"/>
                      <a:gd name="connsiteY7" fmla="*/ 259556 h 297656"/>
                      <a:gd name="connsiteX8" fmla="*/ 371475 w 992982"/>
                      <a:gd name="connsiteY8" fmla="*/ 254794 h 297656"/>
                      <a:gd name="connsiteX9" fmla="*/ 381000 w 992982"/>
                      <a:gd name="connsiteY9" fmla="*/ 230981 h 297656"/>
                      <a:gd name="connsiteX10" fmla="*/ 388144 w 992982"/>
                      <a:gd name="connsiteY10" fmla="*/ 254794 h 297656"/>
                      <a:gd name="connsiteX11" fmla="*/ 438150 w 992982"/>
                      <a:gd name="connsiteY11" fmla="*/ 250031 h 297656"/>
                      <a:gd name="connsiteX12" fmla="*/ 504825 w 992982"/>
                      <a:gd name="connsiteY12" fmla="*/ 235744 h 297656"/>
                      <a:gd name="connsiteX13" fmla="*/ 528638 w 992982"/>
                      <a:gd name="connsiteY13" fmla="*/ 226219 h 297656"/>
                      <a:gd name="connsiteX14" fmla="*/ 528638 w 992982"/>
                      <a:gd name="connsiteY14" fmla="*/ 207169 h 297656"/>
                      <a:gd name="connsiteX15" fmla="*/ 523875 w 992982"/>
                      <a:gd name="connsiteY15" fmla="*/ 197644 h 297656"/>
                      <a:gd name="connsiteX16" fmla="*/ 531019 w 992982"/>
                      <a:gd name="connsiteY16" fmla="*/ 211931 h 297656"/>
                      <a:gd name="connsiteX17" fmla="*/ 538163 w 992982"/>
                      <a:gd name="connsiteY17" fmla="*/ 223837 h 297656"/>
                      <a:gd name="connsiteX18" fmla="*/ 602457 w 992982"/>
                      <a:gd name="connsiteY18" fmla="*/ 211931 h 297656"/>
                      <a:gd name="connsiteX19" fmla="*/ 673894 w 992982"/>
                      <a:gd name="connsiteY19" fmla="*/ 188119 h 297656"/>
                      <a:gd name="connsiteX20" fmla="*/ 676275 w 992982"/>
                      <a:gd name="connsiteY20" fmla="*/ 166687 h 297656"/>
                      <a:gd name="connsiteX21" fmla="*/ 690563 w 992982"/>
                      <a:gd name="connsiteY21" fmla="*/ 180975 h 297656"/>
                      <a:gd name="connsiteX22" fmla="*/ 740569 w 992982"/>
                      <a:gd name="connsiteY22" fmla="*/ 169069 h 297656"/>
                      <a:gd name="connsiteX23" fmla="*/ 821532 w 992982"/>
                      <a:gd name="connsiteY23" fmla="*/ 142875 h 297656"/>
                      <a:gd name="connsiteX24" fmla="*/ 816769 w 992982"/>
                      <a:gd name="connsiteY24" fmla="*/ 114300 h 297656"/>
                      <a:gd name="connsiteX25" fmla="*/ 828675 w 992982"/>
                      <a:gd name="connsiteY25" fmla="*/ 145256 h 297656"/>
                      <a:gd name="connsiteX26" fmla="*/ 859632 w 992982"/>
                      <a:gd name="connsiteY26" fmla="*/ 126206 h 297656"/>
                      <a:gd name="connsiteX27" fmla="*/ 923925 w 992982"/>
                      <a:gd name="connsiteY27" fmla="*/ 57150 h 297656"/>
                      <a:gd name="connsiteX28" fmla="*/ 992982 w 992982"/>
                      <a:gd name="connsiteY28" fmla="*/ 0 h 297656"/>
                      <a:gd name="connsiteX29" fmla="*/ 928688 w 992982"/>
                      <a:gd name="connsiteY29" fmla="*/ 64294 h 297656"/>
                      <a:gd name="connsiteX30" fmla="*/ 871538 w 992982"/>
                      <a:gd name="connsiteY30" fmla="*/ 121444 h 297656"/>
                      <a:gd name="connsiteX31" fmla="*/ 831057 w 992982"/>
                      <a:gd name="connsiteY31" fmla="*/ 150019 h 297656"/>
                      <a:gd name="connsiteX32" fmla="*/ 835819 w 992982"/>
                      <a:gd name="connsiteY32" fmla="*/ 176212 h 297656"/>
                      <a:gd name="connsiteX33" fmla="*/ 826294 w 992982"/>
                      <a:gd name="connsiteY33" fmla="*/ 152400 h 297656"/>
                      <a:gd name="connsiteX34" fmla="*/ 807244 w 992982"/>
                      <a:gd name="connsiteY34" fmla="*/ 152400 h 297656"/>
                      <a:gd name="connsiteX35" fmla="*/ 697707 w 992982"/>
                      <a:gd name="connsiteY35" fmla="*/ 185737 h 297656"/>
                      <a:gd name="connsiteX36" fmla="*/ 685800 w 992982"/>
                      <a:gd name="connsiteY36" fmla="*/ 195262 h 297656"/>
                      <a:gd name="connsiteX37" fmla="*/ 695325 w 992982"/>
                      <a:gd name="connsiteY37" fmla="*/ 223837 h 297656"/>
                      <a:gd name="connsiteX38" fmla="*/ 683419 w 992982"/>
                      <a:gd name="connsiteY38" fmla="*/ 197644 h 297656"/>
                      <a:gd name="connsiteX39" fmla="*/ 664369 w 992982"/>
                      <a:gd name="connsiteY39" fmla="*/ 197644 h 297656"/>
                      <a:gd name="connsiteX40" fmla="*/ 600075 w 992982"/>
                      <a:gd name="connsiteY40" fmla="*/ 214312 h 297656"/>
                      <a:gd name="connsiteX41" fmla="*/ 531019 w 992982"/>
                      <a:gd name="connsiteY41" fmla="*/ 233362 h 297656"/>
                      <a:gd name="connsiteX42" fmla="*/ 535782 w 992982"/>
                      <a:gd name="connsiteY42" fmla="*/ 261937 h 297656"/>
                      <a:gd name="connsiteX43" fmla="*/ 521494 w 992982"/>
                      <a:gd name="connsiteY43" fmla="*/ 235744 h 297656"/>
                      <a:gd name="connsiteX44" fmla="*/ 440532 w 992982"/>
                      <a:gd name="connsiteY44" fmla="*/ 252412 h 297656"/>
                      <a:gd name="connsiteX45" fmla="*/ 381000 w 992982"/>
                      <a:gd name="connsiteY45" fmla="*/ 261937 h 297656"/>
                      <a:gd name="connsiteX46" fmla="*/ 383382 w 992982"/>
                      <a:gd name="connsiteY46" fmla="*/ 297656 h 297656"/>
                      <a:gd name="connsiteX47" fmla="*/ 376238 w 992982"/>
                      <a:gd name="connsiteY47" fmla="*/ 257175 h 297656"/>
                      <a:gd name="connsiteX48" fmla="*/ 247650 w 992982"/>
                      <a:gd name="connsiteY48" fmla="*/ 247650 h 297656"/>
                      <a:gd name="connsiteX49" fmla="*/ 152401 w 992982"/>
                      <a:gd name="connsiteY49" fmla="*/ 233362 h 297656"/>
                      <a:gd name="connsiteX50" fmla="*/ 130970 w 992982"/>
                      <a:gd name="connsiteY50" fmla="*/ 195263 h 297656"/>
                      <a:gd name="connsiteX51" fmla="*/ 107157 w 992982"/>
                      <a:gd name="connsiteY51" fmla="*/ 197644 h 297656"/>
                      <a:gd name="connsiteX52" fmla="*/ 126207 w 992982"/>
                      <a:gd name="connsiteY52" fmla="*/ 209550 h 297656"/>
                      <a:gd name="connsiteX53" fmla="*/ 0 w 992982"/>
                      <a:gd name="connsiteY53" fmla="*/ 166688 h 297656"/>
                      <a:gd name="connsiteX0" fmla="*/ 0 w 992982"/>
                      <a:gd name="connsiteY0" fmla="*/ 166688 h 297656"/>
                      <a:gd name="connsiteX1" fmla="*/ 109538 w 992982"/>
                      <a:gd name="connsiteY1" fmla="*/ 230981 h 297656"/>
                      <a:gd name="connsiteX2" fmla="*/ 114301 w 992982"/>
                      <a:gd name="connsiteY2" fmla="*/ 252413 h 297656"/>
                      <a:gd name="connsiteX3" fmla="*/ 142875 w 992982"/>
                      <a:gd name="connsiteY3" fmla="*/ 221456 h 297656"/>
                      <a:gd name="connsiteX4" fmla="*/ 216694 w 992982"/>
                      <a:gd name="connsiteY4" fmla="*/ 242887 h 297656"/>
                      <a:gd name="connsiteX5" fmla="*/ 233363 w 992982"/>
                      <a:gd name="connsiteY5" fmla="*/ 283369 h 297656"/>
                      <a:gd name="connsiteX6" fmla="*/ 247651 w 992982"/>
                      <a:gd name="connsiteY6" fmla="*/ 257175 h 297656"/>
                      <a:gd name="connsiteX7" fmla="*/ 307182 w 992982"/>
                      <a:gd name="connsiteY7" fmla="*/ 259556 h 297656"/>
                      <a:gd name="connsiteX8" fmla="*/ 371475 w 992982"/>
                      <a:gd name="connsiteY8" fmla="*/ 254794 h 297656"/>
                      <a:gd name="connsiteX9" fmla="*/ 381000 w 992982"/>
                      <a:gd name="connsiteY9" fmla="*/ 230981 h 297656"/>
                      <a:gd name="connsiteX10" fmla="*/ 388144 w 992982"/>
                      <a:gd name="connsiteY10" fmla="*/ 254794 h 297656"/>
                      <a:gd name="connsiteX11" fmla="*/ 438150 w 992982"/>
                      <a:gd name="connsiteY11" fmla="*/ 250031 h 297656"/>
                      <a:gd name="connsiteX12" fmla="*/ 504825 w 992982"/>
                      <a:gd name="connsiteY12" fmla="*/ 235744 h 297656"/>
                      <a:gd name="connsiteX13" fmla="*/ 528638 w 992982"/>
                      <a:gd name="connsiteY13" fmla="*/ 226219 h 297656"/>
                      <a:gd name="connsiteX14" fmla="*/ 528638 w 992982"/>
                      <a:gd name="connsiteY14" fmla="*/ 207169 h 297656"/>
                      <a:gd name="connsiteX15" fmla="*/ 523875 w 992982"/>
                      <a:gd name="connsiteY15" fmla="*/ 197644 h 297656"/>
                      <a:gd name="connsiteX16" fmla="*/ 531019 w 992982"/>
                      <a:gd name="connsiteY16" fmla="*/ 211931 h 297656"/>
                      <a:gd name="connsiteX17" fmla="*/ 538163 w 992982"/>
                      <a:gd name="connsiteY17" fmla="*/ 223837 h 297656"/>
                      <a:gd name="connsiteX18" fmla="*/ 602457 w 992982"/>
                      <a:gd name="connsiteY18" fmla="*/ 211931 h 297656"/>
                      <a:gd name="connsiteX19" fmla="*/ 673894 w 992982"/>
                      <a:gd name="connsiteY19" fmla="*/ 188119 h 297656"/>
                      <a:gd name="connsiteX20" fmla="*/ 676275 w 992982"/>
                      <a:gd name="connsiteY20" fmla="*/ 166687 h 297656"/>
                      <a:gd name="connsiteX21" fmla="*/ 690563 w 992982"/>
                      <a:gd name="connsiteY21" fmla="*/ 180975 h 297656"/>
                      <a:gd name="connsiteX22" fmla="*/ 740569 w 992982"/>
                      <a:gd name="connsiteY22" fmla="*/ 169069 h 297656"/>
                      <a:gd name="connsiteX23" fmla="*/ 821532 w 992982"/>
                      <a:gd name="connsiteY23" fmla="*/ 142875 h 297656"/>
                      <a:gd name="connsiteX24" fmla="*/ 816769 w 992982"/>
                      <a:gd name="connsiteY24" fmla="*/ 114300 h 297656"/>
                      <a:gd name="connsiteX25" fmla="*/ 828675 w 992982"/>
                      <a:gd name="connsiteY25" fmla="*/ 145256 h 297656"/>
                      <a:gd name="connsiteX26" fmla="*/ 859632 w 992982"/>
                      <a:gd name="connsiteY26" fmla="*/ 126206 h 297656"/>
                      <a:gd name="connsiteX27" fmla="*/ 923925 w 992982"/>
                      <a:gd name="connsiteY27" fmla="*/ 57150 h 297656"/>
                      <a:gd name="connsiteX28" fmla="*/ 992982 w 992982"/>
                      <a:gd name="connsiteY28" fmla="*/ 0 h 297656"/>
                      <a:gd name="connsiteX29" fmla="*/ 928688 w 992982"/>
                      <a:gd name="connsiteY29" fmla="*/ 64294 h 297656"/>
                      <a:gd name="connsiteX30" fmla="*/ 871538 w 992982"/>
                      <a:gd name="connsiteY30" fmla="*/ 121444 h 297656"/>
                      <a:gd name="connsiteX31" fmla="*/ 831057 w 992982"/>
                      <a:gd name="connsiteY31" fmla="*/ 150019 h 297656"/>
                      <a:gd name="connsiteX32" fmla="*/ 835819 w 992982"/>
                      <a:gd name="connsiteY32" fmla="*/ 176212 h 297656"/>
                      <a:gd name="connsiteX33" fmla="*/ 826294 w 992982"/>
                      <a:gd name="connsiteY33" fmla="*/ 152400 h 297656"/>
                      <a:gd name="connsiteX34" fmla="*/ 807244 w 992982"/>
                      <a:gd name="connsiteY34" fmla="*/ 152400 h 297656"/>
                      <a:gd name="connsiteX35" fmla="*/ 697707 w 992982"/>
                      <a:gd name="connsiteY35" fmla="*/ 185737 h 297656"/>
                      <a:gd name="connsiteX36" fmla="*/ 685800 w 992982"/>
                      <a:gd name="connsiteY36" fmla="*/ 195262 h 297656"/>
                      <a:gd name="connsiteX37" fmla="*/ 695325 w 992982"/>
                      <a:gd name="connsiteY37" fmla="*/ 223837 h 297656"/>
                      <a:gd name="connsiteX38" fmla="*/ 683419 w 992982"/>
                      <a:gd name="connsiteY38" fmla="*/ 197644 h 297656"/>
                      <a:gd name="connsiteX39" fmla="*/ 664369 w 992982"/>
                      <a:gd name="connsiteY39" fmla="*/ 197644 h 297656"/>
                      <a:gd name="connsiteX40" fmla="*/ 600075 w 992982"/>
                      <a:gd name="connsiteY40" fmla="*/ 214312 h 297656"/>
                      <a:gd name="connsiteX41" fmla="*/ 531019 w 992982"/>
                      <a:gd name="connsiteY41" fmla="*/ 233362 h 297656"/>
                      <a:gd name="connsiteX42" fmla="*/ 535782 w 992982"/>
                      <a:gd name="connsiteY42" fmla="*/ 261937 h 297656"/>
                      <a:gd name="connsiteX43" fmla="*/ 521494 w 992982"/>
                      <a:gd name="connsiteY43" fmla="*/ 235744 h 297656"/>
                      <a:gd name="connsiteX44" fmla="*/ 440532 w 992982"/>
                      <a:gd name="connsiteY44" fmla="*/ 252412 h 297656"/>
                      <a:gd name="connsiteX45" fmla="*/ 381000 w 992982"/>
                      <a:gd name="connsiteY45" fmla="*/ 261937 h 297656"/>
                      <a:gd name="connsiteX46" fmla="*/ 383382 w 992982"/>
                      <a:gd name="connsiteY46" fmla="*/ 297656 h 297656"/>
                      <a:gd name="connsiteX47" fmla="*/ 376238 w 992982"/>
                      <a:gd name="connsiteY47" fmla="*/ 257175 h 297656"/>
                      <a:gd name="connsiteX48" fmla="*/ 247650 w 992982"/>
                      <a:gd name="connsiteY48" fmla="*/ 247650 h 297656"/>
                      <a:gd name="connsiteX49" fmla="*/ 152401 w 992982"/>
                      <a:gd name="connsiteY49" fmla="*/ 233362 h 297656"/>
                      <a:gd name="connsiteX50" fmla="*/ 130970 w 992982"/>
                      <a:gd name="connsiteY50" fmla="*/ 195263 h 297656"/>
                      <a:gd name="connsiteX51" fmla="*/ 183357 w 992982"/>
                      <a:gd name="connsiteY51" fmla="*/ 121444 h 297656"/>
                      <a:gd name="connsiteX52" fmla="*/ 126207 w 992982"/>
                      <a:gd name="connsiteY52" fmla="*/ 209550 h 297656"/>
                      <a:gd name="connsiteX53" fmla="*/ 0 w 992982"/>
                      <a:gd name="connsiteY53" fmla="*/ 166688 h 297656"/>
                      <a:gd name="connsiteX0" fmla="*/ 0 w 992982"/>
                      <a:gd name="connsiteY0" fmla="*/ 166688 h 297656"/>
                      <a:gd name="connsiteX1" fmla="*/ 109538 w 992982"/>
                      <a:gd name="connsiteY1" fmla="*/ 230981 h 297656"/>
                      <a:gd name="connsiteX2" fmla="*/ 114301 w 992982"/>
                      <a:gd name="connsiteY2" fmla="*/ 252413 h 297656"/>
                      <a:gd name="connsiteX3" fmla="*/ 142875 w 992982"/>
                      <a:gd name="connsiteY3" fmla="*/ 221456 h 297656"/>
                      <a:gd name="connsiteX4" fmla="*/ 216694 w 992982"/>
                      <a:gd name="connsiteY4" fmla="*/ 242887 h 297656"/>
                      <a:gd name="connsiteX5" fmla="*/ 233363 w 992982"/>
                      <a:gd name="connsiteY5" fmla="*/ 283369 h 297656"/>
                      <a:gd name="connsiteX6" fmla="*/ 247651 w 992982"/>
                      <a:gd name="connsiteY6" fmla="*/ 257175 h 297656"/>
                      <a:gd name="connsiteX7" fmla="*/ 307182 w 992982"/>
                      <a:gd name="connsiteY7" fmla="*/ 259556 h 297656"/>
                      <a:gd name="connsiteX8" fmla="*/ 371475 w 992982"/>
                      <a:gd name="connsiteY8" fmla="*/ 254794 h 297656"/>
                      <a:gd name="connsiteX9" fmla="*/ 381000 w 992982"/>
                      <a:gd name="connsiteY9" fmla="*/ 230981 h 297656"/>
                      <a:gd name="connsiteX10" fmla="*/ 388144 w 992982"/>
                      <a:gd name="connsiteY10" fmla="*/ 254794 h 297656"/>
                      <a:gd name="connsiteX11" fmla="*/ 438150 w 992982"/>
                      <a:gd name="connsiteY11" fmla="*/ 250031 h 297656"/>
                      <a:gd name="connsiteX12" fmla="*/ 504825 w 992982"/>
                      <a:gd name="connsiteY12" fmla="*/ 235744 h 297656"/>
                      <a:gd name="connsiteX13" fmla="*/ 528638 w 992982"/>
                      <a:gd name="connsiteY13" fmla="*/ 226219 h 297656"/>
                      <a:gd name="connsiteX14" fmla="*/ 528638 w 992982"/>
                      <a:gd name="connsiteY14" fmla="*/ 207169 h 297656"/>
                      <a:gd name="connsiteX15" fmla="*/ 523875 w 992982"/>
                      <a:gd name="connsiteY15" fmla="*/ 197644 h 297656"/>
                      <a:gd name="connsiteX16" fmla="*/ 531019 w 992982"/>
                      <a:gd name="connsiteY16" fmla="*/ 211931 h 297656"/>
                      <a:gd name="connsiteX17" fmla="*/ 538163 w 992982"/>
                      <a:gd name="connsiteY17" fmla="*/ 223837 h 297656"/>
                      <a:gd name="connsiteX18" fmla="*/ 602457 w 992982"/>
                      <a:gd name="connsiteY18" fmla="*/ 211931 h 297656"/>
                      <a:gd name="connsiteX19" fmla="*/ 673894 w 992982"/>
                      <a:gd name="connsiteY19" fmla="*/ 188119 h 297656"/>
                      <a:gd name="connsiteX20" fmla="*/ 676275 w 992982"/>
                      <a:gd name="connsiteY20" fmla="*/ 166687 h 297656"/>
                      <a:gd name="connsiteX21" fmla="*/ 690563 w 992982"/>
                      <a:gd name="connsiteY21" fmla="*/ 180975 h 297656"/>
                      <a:gd name="connsiteX22" fmla="*/ 740569 w 992982"/>
                      <a:gd name="connsiteY22" fmla="*/ 169069 h 297656"/>
                      <a:gd name="connsiteX23" fmla="*/ 821532 w 992982"/>
                      <a:gd name="connsiteY23" fmla="*/ 142875 h 297656"/>
                      <a:gd name="connsiteX24" fmla="*/ 816769 w 992982"/>
                      <a:gd name="connsiteY24" fmla="*/ 114300 h 297656"/>
                      <a:gd name="connsiteX25" fmla="*/ 828675 w 992982"/>
                      <a:gd name="connsiteY25" fmla="*/ 145256 h 297656"/>
                      <a:gd name="connsiteX26" fmla="*/ 859632 w 992982"/>
                      <a:gd name="connsiteY26" fmla="*/ 126206 h 297656"/>
                      <a:gd name="connsiteX27" fmla="*/ 923925 w 992982"/>
                      <a:gd name="connsiteY27" fmla="*/ 57150 h 297656"/>
                      <a:gd name="connsiteX28" fmla="*/ 992982 w 992982"/>
                      <a:gd name="connsiteY28" fmla="*/ 0 h 297656"/>
                      <a:gd name="connsiteX29" fmla="*/ 928688 w 992982"/>
                      <a:gd name="connsiteY29" fmla="*/ 64294 h 297656"/>
                      <a:gd name="connsiteX30" fmla="*/ 871538 w 992982"/>
                      <a:gd name="connsiteY30" fmla="*/ 121444 h 297656"/>
                      <a:gd name="connsiteX31" fmla="*/ 831057 w 992982"/>
                      <a:gd name="connsiteY31" fmla="*/ 150019 h 297656"/>
                      <a:gd name="connsiteX32" fmla="*/ 835819 w 992982"/>
                      <a:gd name="connsiteY32" fmla="*/ 176212 h 297656"/>
                      <a:gd name="connsiteX33" fmla="*/ 826294 w 992982"/>
                      <a:gd name="connsiteY33" fmla="*/ 152400 h 297656"/>
                      <a:gd name="connsiteX34" fmla="*/ 807244 w 992982"/>
                      <a:gd name="connsiteY34" fmla="*/ 152400 h 297656"/>
                      <a:gd name="connsiteX35" fmla="*/ 697707 w 992982"/>
                      <a:gd name="connsiteY35" fmla="*/ 185737 h 297656"/>
                      <a:gd name="connsiteX36" fmla="*/ 685800 w 992982"/>
                      <a:gd name="connsiteY36" fmla="*/ 195262 h 297656"/>
                      <a:gd name="connsiteX37" fmla="*/ 695325 w 992982"/>
                      <a:gd name="connsiteY37" fmla="*/ 223837 h 297656"/>
                      <a:gd name="connsiteX38" fmla="*/ 683419 w 992982"/>
                      <a:gd name="connsiteY38" fmla="*/ 197644 h 297656"/>
                      <a:gd name="connsiteX39" fmla="*/ 664369 w 992982"/>
                      <a:gd name="connsiteY39" fmla="*/ 197644 h 297656"/>
                      <a:gd name="connsiteX40" fmla="*/ 600075 w 992982"/>
                      <a:gd name="connsiteY40" fmla="*/ 214312 h 297656"/>
                      <a:gd name="connsiteX41" fmla="*/ 531019 w 992982"/>
                      <a:gd name="connsiteY41" fmla="*/ 233362 h 297656"/>
                      <a:gd name="connsiteX42" fmla="*/ 535782 w 992982"/>
                      <a:gd name="connsiteY42" fmla="*/ 261937 h 297656"/>
                      <a:gd name="connsiteX43" fmla="*/ 521494 w 992982"/>
                      <a:gd name="connsiteY43" fmla="*/ 235744 h 297656"/>
                      <a:gd name="connsiteX44" fmla="*/ 440532 w 992982"/>
                      <a:gd name="connsiteY44" fmla="*/ 252412 h 297656"/>
                      <a:gd name="connsiteX45" fmla="*/ 381000 w 992982"/>
                      <a:gd name="connsiteY45" fmla="*/ 261937 h 297656"/>
                      <a:gd name="connsiteX46" fmla="*/ 383382 w 992982"/>
                      <a:gd name="connsiteY46" fmla="*/ 297656 h 297656"/>
                      <a:gd name="connsiteX47" fmla="*/ 376238 w 992982"/>
                      <a:gd name="connsiteY47" fmla="*/ 257175 h 297656"/>
                      <a:gd name="connsiteX48" fmla="*/ 247650 w 992982"/>
                      <a:gd name="connsiteY48" fmla="*/ 247650 h 297656"/>
                      <a:gd name="connsiteX49" fmla="*/ 152401 w 992982"/>
                      <a:gd name="connsiteY49" fmla="*/ 233362 h 297656"/>
                      <a:gd name="connsiteX50" fmla="*/ 130970 w 992982"/>
                      <a:gd name="connsiteY50" fmla="*/ 195263 h 297656"/>
                      <a:gd name="connsiteX51" fmla="*/ 183357 w 992982"/>
                      <a:gd name="connsiteY51" fmla="*/ 121444 h 297656"/>
                      <a:gd name="connsiteX52" fmla="*/ 116682 w 992982"/>
                      <a:gd name="connsiteY52" fmla="*/ 221456 h 297656"/>
                      <a:gd name="connsiteX53" fmla="*/ 0 w 992982"/>
                      <a:gd name="connsiteY53" fmla="*/ 166688 h 297656"/>
                      <a:gd name="connsiteX0" fmla="*/ 0 w 992982"/>
                      <a:gd name="connsiteY0" fmla="*/ 166688 h 297656"/>
                      <a:gd name="connsiteX1" fmla="*/ 109538 w 992982"/>
                      <a:gd name="connsiteY1" fmla="*/ 230981 h 297656"/>
                      <a:gd name="connsiteX2" fmla="*/ 114301 w 992982"/>
                      <a:gd name="connsiteY2" fmla="*/ 252413 h 297656"/>
                      <a:gd name="connsiteX3" fmla="*/ 142875 w 992982"/>
                      <a:gd name="connsiteY3" fmla="*/ 221456 h 297656"/>
                      <a:gd name="connsiteX4" fmla="*/ 216694 w 992982"/>
                      <a:gd name="connsiteY4" fmla="*/ 242887 h 297656"/>
                      <a:gd name="connsiteX5" fmla="*/ 233363 w 992982"/>
                      <a:gd name="connsiteY5" fmla="*/ 283369 h 297656"/>
                      <a:gd name="connsiteX6" fmla="*/ 247651 w 992982"/>
                      <a:gd name="connsiteY6" fmla="*/ 257175 h 297656"/>
                      <a:gd name="connsiteX7" fmla="*/ 307182 w 992982"/>
                      <a:gd name="connsiteY7" fmla="*/ 259556 h 297656"/>
                      <a:gd name="connsiteX8" fmla="*/ 371475 w 992982"/>
                      <a:gd name="connsiteY8" fmla="*/ 254794 h 297656"/>
                      <a:gd name="connsiteX9" fmla="*/ 381000 w 992982"/>
                      <a:gd name="connsiteY9" fmla="*/ 230981 h 297656"/>
                      <a:gd name="connsiteX10" fmla="*/ 388144 w 992982"/>
                      <a:gd name="connsiteY10" fmla="*/ 254794 h 297656"/>
                      <a:gd name="connsiteX11" fmla="*/ 438150 w 992982"/>
                      <a:gd name="connsiteY11" fmla="*/ 250031 h 297656"/>
                      <a:gd name="connsiteX12" fmla="*/ 504825 w 992982"/>
                      <a:gd name="connsiteY12" fmla="*/ 235744 h 297656"/>
                      <a:gd name="connsiteX13" fmla="*/ 528638 w 992982"/>
                      <a:gd name="connsiteY13" fmla="*/ 226219 h 297656"/>
                      <a:gd name="connsiteX14" fmla="*/ 528638 w 992982"/>
                      <a:gd name="connsiteY14" fmla="*/ 207169 h 297656"/>
                      <a:gd name="connsiteX15" fmla="*/ 523875 w 992982"/>
                      <a:gd name="connsiteY15" fmla="*/ 197644 h 297656"/>
                      <a:gd name="connsiteX16" fmla="*/ 531019 w 992982"/>
                      <a:gd name="connsiteY16" fmla="*/ 211931 h 297656"/>
                      <a:gd name="connsiteX17" fmla="*/ 538163 w 992982"/>
                      <a:gd name="connsiteY17" fmla="*/ 223837 h 297656"/>
                      <a:gd name="connsiteX18" fmla="*/ 602457 w 992982"/>
                      <a:gd name="connsiteY18" fmla="*/ 211931 h 297656"/>
                      <a:gd name="connsiteX19" fmla="*/ 673894 w 992982"/>
                      <a:gd name="connsiteY19" fmla="*/ 188119 h 297656"/>
                      <a:gd name="connsiteX20" fmla="*/ 676275 w 992982"/>
                      <a:gd name="connsiteY20" fmla="*/ 166687 h 297656"/>
                      <a:gd name="connsiteX21" fmla="*/ 690563 w 992982"/>
                      <a:gd name="connsiteY21" fmla="*/ 180975 h 297656"/>
                      <a:gd name="connsiteX22" fmla="*/ 740569 w 992982"/>
                      <a:gd name="connsiteY22" fmla="*/ 169069 h 297656"/>
                      <a:gd name="connsiteX23" fmla="*/ 821532 w 992982"/>
                      <a:gd name="connsiteY23" fmla="*/ 142875 h 297656"/>
                      <a:gd name="connsiteX24" fmla="*/ 816769 w 992982"/>
                      <a:gd name="connsiteY24" fmla="*/ 114300 h 297656"/>
                      <a:gd name="connsiteX25" fmla="*/ 828675 w 992982"/>
                      <a:gd name="connsiteY25" fmla="*/ 145256 h 297656"/>
                      <a:gd name="connsiteX26" fmla="*/ 859632 w 992982"/>
                      <a:gd name="connsiteY26" fmla="*/ 126206 h 297656"/>
                      <a:gd name="connsiteX27" fmla="*/ 923925 w 992982"/>
                      <a:gd name="connsiteY27" fmla="*/ 57150 h 297656"/>
                      <a:gd name="connsiteX28" fmla="*/ 992982 w 992982"/>
                      <a:gd name="connsiteY28" fmla="*/ 0 h 297656"/>
                      <a:gd name="connsiteX29" fmla="*/ 928688 w 992982"/>
                      <a:gd name="connsiteY29" fmla="*/ 64294 h 297656"/>
                      <a:gd name="connsiteX30" fmla="*/ 871538 w 992982"/>
                      <a:gd name="connsiteY30" fmla="*/ 121444 h 297656"/>
                      <a:gd name="connsiteX31" fmla="*/ 831057 w 992982"/>
                      <a:gd name="connsiteY31" fmla="*/ 150019 h 297656"/>
                      <a:gd name="connsiteX32" fmla="*/ 835819 w 992982"/>
                      <a:gd name="connsiteY32" fmla="*/ 176212 h 297656"/>
                      <a:gd name="connsiteX33" fmla="*/ 826294 w 992982"/>
                      <a:gd name="connsiteY33" fmla="*/ 152400 h 297656"/>
                      <a:gd name="connsiteX34" fmla="*/ 807244 w 992982"/>
                      <a:gd name="connsiteY34" fmla="*/ 152400 h 297656"/>
                      <a:gd name="connsiteX35" fmla="*/ 697707 w 992982"/>
                      <a:gd name="connsiteY35" fmla="*/ 185737 h 297656"/>
                      <a:gd name="connsiteX36" fmla="*/ 685800 w 992982"/>
                      <a:gd name="connsiteY36" fmla="*/ 195262 h 297656"/>
                      <a:gd name="connsiteX37" fmla="*/ 695325 w 992982"/>
                      <a:gd name="connsiteY37" fmla="*/ 223837 h 297656"/>
                      <a:gd name="connsiteX38" fmla="*/ 683419 w 992982"/>
                      <a:gd name="connsiteY38" fmla="*/ 197644 h 297656"/>
                      <a:gd name="connsiteX39" fmla="*/ 664369 w 992982"/>
                      <a:gd name="connsiteY39" fmla="*/ 197644 h 297656"/>
                      <a:gd name="connsiteX40" fmla="*/ 600075 w 992982"/>
                      <a:gd name="connsiteY40" fmla="*/ 214312 h 297656"/>
                      <a:gd name="connsiteX41" fmla="*/ 531019 w 992982"/>
                      <a:gd name="connsiteY41" fmla="*/ 233362 h 297656"/>
                      <a:gd name="connsiteX42" fmla="*/ 535782 w 992982"/>
                      <a:gd name="connsiteY42" fmla="*/ 261937 h 297656"/>
                      <a:gd name="connsiteX43" fmla="*/ 521494 w 992982"/>
                      <a:gd name="connsiteY43" fmla="*/ 235744 h 297656"/>
                      <a:gd name="connsiteX44" fmla="*/ 440532 w 992982"/>
                      <a:gd name="connsiteY44" fmla="*/ 252412 h 297656"/>
                      <a:gd name="connsiteX45" fmla="*/ 381000 w 992982"/>
                      <a:gd name="connsiteY45" fmla="*/ 261937 h 297656"/>
                      <a:gd name="connsiteX46" fmla="*/ 383382 w 992982"/>
                      <a:gd name="connsiteY46" fmla="*/ 297656 h 297656"/>
                      <a:gd name="connsiteX47" fmla="*/ 376238 w 992982"/>
                      <a:gd name="connsiteY47" fmla="*/ 257175 h 297656"/>
                      <a:gd name="connsiteX48" fmla="*/ 247650 w 992982"/>
                      <a:gd name="connsiteY48" fmla="*/ 247650 h 297656"/>
                      <a:gd name="connsiteX49" fmla="*/ 152401 w 992982"/>
                      <a:gd name="connsiteY49" fmla="*/ 233362 h 297656"/>
                      <a:gd name="connsiteX50" fmla="*/ 130970 w 992982"/>
                      <a:gd name="connsiteY50" fmla="*/ 195263 h 297656"/>
                      <a:gd name="connsiteX51" fmla="*/ 140495 w 992982"/>
                      <a:gd name="connsiteY51" fmla="*/ 200025 h 297656"/>
                      <a:gd name="connsiteX52" fmla="*/ 116682 w 992982"/>
                      <a:gd name="connsiteY52" fmla="*/ 221456 h 297656"/>
                      <a:gd name="connsiteX53" fmla="*/ 0 w 992982"/>
                      <a:gd name="connsiteY53" fmla="*/ 166688 h 297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92982" h="297656">
                        <a:moveTo>
                          <a:pt x="0" y="166688"/>
                        </a:moveTo>
                        <a:lnTo>
                          <a:pt x="109538" y="230981"/>
                        </a:lnTo>
                        <a:lnTo>
                          <a:pt x="114301" y="252413"/>
                        </a:lnTo>
                        <a:lnTo>
                          <a:pt x="142875" y="221456"/>
                        </a:lnTo>
                        <a:lnTo>
                          <a:pt x="216694" y="242887"/>
                        </a:lnTo>
                        <a:cubicBezTo>
                          <a:pt x="246063" y="256381"/>
                          <a:pt x="227807" y="269875"/>
                          <a:pt x="233363" y="283369"/>
                        </a:cubicBezTo>
                        <a:lnTo>
                          <a:pt x="247651" y="257175"/>
                        </a:lnTo>
                        <a:lnTo>
                          <a:pt x="307182" y="259556"/>
                        </a:lnTo>
                        <a:lnTo>
                          <a:pt x="371475" y="254794"/>
                        </a:lnTo>
                        <a:lnTo>
                          <a:pt x="381000" y="230981"/>
                        </a:lnTo>
                        <a:lnTo>
                          <a:pt x="388144" y="254794"/>
                        </a:lnTo>
                        <a:lnTo>
                          <a:pt x="438150" y="250031"/>
                        </a:lnTo>
                        <a:lnTo>
                          <a:pt x="504825" y="235744"/>
                        </a:lnTo>
                        <a:lnTo>
                          <a:pt x="528638" y="226219"/>
                        </a:lnTo>
                        <a:lnTo>
                          <a:pt x="528638" y="207169"/>
                        </a:lnTo>
                        <a:lnTo>
                          <a:pt x="523875" y="197644"/>
                        </a:lnTo>
                        <a:lnTo>
                          <a:pt x="531019" y="211931"/>
                        </a:lnTo>
                        <a:lnTo>
                          <a:pt x="538163" y="223837"/>
                        </a:lnTo>
                        <a:lnTo>
                          <a:pt x="602457" y="211931"/>
                        </a:lnTo>
                        <a:lnTo>
                          <a:pt x="673894" y="188119"/>
                        </a:lnTo>
                        <a:lnTo>
                          <a:pt x="676275" y="166687"/>
                        </a:lnTo>
                        <a:lnTo>
                          <a:pt x="690563" y="180975"/>
                        </a:lnTo>
                        <a:lnTo>
                          <a:pt x="740569" y="169069"/>
                        </a:lnTo>
                        <a:lnTo>
                          <a:pt x="821532" y="142875"/>
                        </a:lnTo>
                        <a:lnTo>
                          <a:pt x="816769" y="114300"/>
                        </a:lnTo>
                        <a:lnTo>
                          <a:pt x="828675" y="145256"/>
                        </a:lnTo>
                        <a:lnTo>
                          <a:pt x="859632" y="126206"/>
                        </a:lnTo>
                        <a:lnTo>
                          <a:pt x="923925" y="57150"/>
                        </a:lnTo>
                        <a:lnTo>
                          <a:pt x="992982" y="0"/>
                        </a:lnTo>
                        <a:lnTo>
                          <a:pt x="928688" y="64294"/>
                        </a:lnTo>
                        <a:lnTo>
                          <a:pt x="871538" y="121444"/>
                        </a:lnTo>
                        <a:lnTo>
                          <a:pt x="831057" y="150019"/>
                        </a:lnTo>
                        <a:lnTo>
                          <a:pt x="835819" y="176212"/>
                        </a:lnTo>
                        <a:lnTo>
                          <a:pt x="826294" y="152400"/>
                        </a:lnTo>
                        <a:lnTo>
                          <a:pt x="807244" y="152400"/>
                        </a:lnTo>
                        <a:lnTo>
                          <a:pt x="697707" y="185737"/>
                        </a:lnTo>
                        <a:lnTo>
                          <a:pt x="685800" y="195262"/>
                        </a:lnTo>
                        <a:lnTo>
                          <a:pt x="695325" y="223837"/>
                        </a:lnTo>
                        <a:lnTo>
                          <a:pt x="683419" y="197644"/>
                        </a:lnTo>
                        <a:lnTo>
                          <a:pt x="664369" y="197644"/>
                        </a:lnTo>
                        <a:lnTo>
                          <a:pt x="600075" y="214312"/>
                        </a:lnTo>
                        <a:lnTo>
                          <a:pt x="531019" y="233362"/>
                        </a:lnTo>
                        <a:lnTo>
                          <a:pt x="535782" y="261937"/>
                        </a:lnTo>
                        <a:lnTo>
                          <a:pt x="521494" y="235744"/>
                        </a:lnTo>
                        <a:lnTo>
                          <a:pt x="440532" y="252412"/>
                        </a:lnTo>
                        <a:lnTo>
                          <a:pt x="381000" y="261937"/>
                        </a:lnTo>
                        <a:lnTo>
                          <a:pt x="383382" y="297656"/>
                        </a:lnTo>
                        <a:lnTo>
                          <a:pt x="376238" y="257175"/>
                        </a:lnTo>
                        <a:lnTo>
                          <a:pt x="247650" y="247650"/>
                        </a:lnTo>
                        <a:cubicBezTo>
                          <a:pt x="212725" y="238919"/>
                          <a:pt x="171848" y="242093"/>
                          <a:pt x="152401" y="233362"/>
                        </a:cubicBezTo>
                        <a:cubicBezTo>
                          <a:pt x="132954" y="224631"/>
                          <a:pt x="140892" y="196453"/>
                          <a:pt x="130970" y="195263"/>
                        </a:cubicBezTo>
                        <a:lnTo>
                          <a:pt x="140495" y="200025"/>
                        </a:lnTo>
                        <a:lnTo>
                          <a:pt x="116682" y="221456"/>
                        </a:lnTo>
                        <a:lnTo>
                          <a:pt x="0" y="16668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49" name="Freeform 260">
                    <a:extLst>
                      <a:ext uri="{FF2B5EF4-FFF2-40B4-BE49-F238E27FC236}">
                        <a16:creationId xmlns:a16="http://schemas.microsoft.com/office/drawing/2014/main" id="{CD0E363B-3472-4354-8264-C914B8DF5326}"/>
                      </a:ext>
                    </a:extLst>
                  </p:cNvPr>
                  <p:cNvSpPr/>
                  <p:nvPr/>
                </p:nvSpPr>
                <p:spPr>
                  <a:xfrm>
                    <a:off x="4644034" y="953915"/>
                    <a:ext cx="331548" cy="353249"/>
                  </a:xfrm>
                  <a:custGeom>
                    <a:avLst/>
                    <a:gdLst>
                      <a:gd name="connsiteX0" fmla="*/ 0 w 1746250"/>
                      <a:gd name="connsiteY0" fmla="*/ 1047750 h 1860550"/>
                      <a:gd name="connsiteX1" fmla="*/ 155575 w 1746250"/>
                      <a:gd name="connsiteY1" fmla="*/ 1270000 h 1860550"/>
                      <a:gd name="connsiteX2" fmla="*/ 330200 w 1746250"/>
                      <a:gd name="connsiteY2" fmla="*/ 1476375 h 1860550"/>
                      <a:gd name="connsiteX3" fmla="*/ 488950 w 1746250"/>
                      <a:gd name="connsiteY3" fmla="*/ 1625600 h 1860550"/>
                      <a:gd name="connsiteX4" fmla="*/ 673100 w 1746250"/>
                      <a:gd name="connsiteY4" fmla="*/ 1752600 h 1860550"/>
                      <a:gd name="connsiteX5" fmla="*/ 898525 w 1746250"/>
                      <a:gd name="connsiteY5" fmla="*/ 1844675 h 1860550"/>
                      <a:gd name="connsiteX6" fmla="*/ 1047750 w 1746250"/>
                      <a:gd name="connsiteY6" fmla="*/ 1860550 h 1860550"/>
                      <a:gd name="connsiteX7" fmla="*/ 1266825 w 1746250"/>
                      <a:gd name="connsiteY7" fmla="*/ 1793875 h 1860550"/>
                      <a:gd name="connsiteX8" fmla="*/ 1492250 w 1746250"/>
                      <a:gd name="connsiteY8" fmla="*/ 1609725 h 1860550"/>
                      <a:gd name="connsiteX9" fmla="*/ 1730375 w 1746250"/>
                      <a:gd name="connsiteY9" fmla="*/ 1263650 h 1860550"/>
                      <a:gd name="connsiteX10" fmla="*/ 1746250 w 1746250"/>
                      <a:gd name="connsiteY10" fmla="*/ 1066800 h 1860550"/>
                      <a:gd name="connsiteX11" fmla="*/ 1714500 w 1746250"/>
                      <a:gd name="connsiteY11" fmla="*/ 952500 h 1860550"/>
                      <a:gd name="connsiteX12" fmla="*/ 1679575 w 1746250"/>
                      <a:gd name="connsiteY12" fmla="*/ 536575 h 1860550"/>
                      <a:gd name="connsiteX13" fmla="*/ 1692275 w 1746250"/>
                      <a:gd name="connsiteY13" fmla="*/ 203200 h 1860550"/>
                      <a:gd name="connsiteX14" fmla="*/ 1720850 w 1746250"/>
                      <a:gd name="connsiteY14" fmla="*/ 0 h 1860550"/>
                      <a:gd name="connsiteX15" fmla="*/ 1622425 w 1746250"/>
                      <a:gd name="connsiteY15" fmla="*/ 276225 h 1860550"/>
                      <a:gd name="connsiteX16" fmla="*/ 1536700 w 1746250"/>
                      <a:gd name="connsiteY16" fmla="*/ 434975 h 1860550"/>
                      <a:gd name="connsiteX17" fmla="*/ 1282700 w 1746250"/>
                      <a:gd name="connsiteY17" fmla="*/ 749300 h 1860550"/>
                      <a:gd name="connsiteX18" fmla="*/ 1111250 w 1746250"/>
                      <a:gd name="connsiteY18" fmla="*/ 895350 h 1860550"/>
                      <a:gd name="connsiteX19" fmla="*/ 984250 w 1746250"/>
                      <a:gd name="connsiteY19" fmla="*/ 987425 h 1860550"/>
                      <a:gd name="connsiteX20" fmla="*/ 765175 w 1746250"/>
                      <a:gd name="connsiteY20" fmla="*/ 1098550 h 1860550"/>
                      <a:gd name="connsiteX21" fmla="*/ 574675 w 1746250"/>
                      <a:gd name="connsiteY21" fmla="*/ 1177925 h 1860550"/>
                      <a:gd name="connsiteX22" fmla="*/ 412750 w 1746250"/>
                      <a:gd name="connsiteY22" fmla="*/ 1193800 h 1860550"/>
                      <a:gd name="connsiteX23" fmla="*/ 241300 w 1746250"/>
                      <a:gd name="connsiteY23" fmla="*/ 1193800 h 1860550"/>
                      <a:gd name="connsiteX24" fmla="*/ 101600 w 1746250"/>
                      <a:gd name="connsiteY24" fmla="*/ 1123950 h 1860550"/>
                      <a:gd name="connsiteX25" fmla="*/ 50800 w 1746250"/>
                      <a:gd name="connsiteY25" fmla="*/ 1085850 h 1860550"/>
                      <a:gd name="connsiteX26" fmla="*/ 0 w 1746250"/>
                      <a:gd name="connsiteY26" fmla="*/ 1047750 h 186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46250" h="1860550">
                        <a:moveTo>
                          <a:pt x="0" y="1047750"/>
                        </a:moveTo>
                        <a:lnTo>
                          <a:pt x="155575" y="1270000"/>
                        </a:lnTo>
                        <a:lnTo>
                          <a:pt x="330200" y="1476375"/>
                        </a:lnTo>
                        <a:lnTo>
                          <a:pt x="488950" y="1625600"/>
                        </a:lnTo>
                        <a:lnTo>
                          <a:pt x="673100" y="1752600"/>
                        </a:lnTo>
                        <a:lnTo>
                          <a:pt x="898525" y="1844675"/>
                        </a:lnTo>
                        <a:lnTo>
                          <a:pt x="1047750" y="1860550"/>
                        </a:lnTo>
                        <a:lnTo>
                          <a:pt x="1266825" y="1793875"/>
                        </a:lnTo>
                        <a:lnTo>
                          <a:pt x="1492250" y="1609725"/>
                        </a:lnTo>
                        <a:lnTo>
                          <a:pt x="1730375" y="1263650"/>
                        </a:lnTo>
                        <a:lnTo>
                          <a:pt x="1746250" y="1066800"/>
                        </a:lnTo>
                        <a:lnTo>
                          <a:pt x="1714500" y="952500"/>
                        </a:lnTo>
                        <a:cubicBezTo>
                          <a:pt x="1702769" y="813866"/>
                          <a:pt x="1679575" y="675705"/>
                          <a:pt x="1679575" y="536575"/>
                        </a:cubicBezTo>
                        <a:lnTo>
                          <a:pt x="1692275" y="203200"/>
                        </a:lnTo>
                        <a:lnTo>
                          <a:pt x="1720850" y="0"/>
                        </a:lnTo>
                        <a:lnTo>
                          <a:pt x="1622425" y="276225"/>
                        </a:lnTo>
                        <a:lnTo>
                          <a:pt x="1536700" y="434975"/>
                        </a:lnTo>
                        <a:lnTo>
                          <a:pt x="1282700" y="749300"/>
                        </a:lnTo>
                        <a:lnTo>
                          <a:pt x="1111250" y="895350"/>
                        </a:lnTo>
                        <a:lnTo>
                          <a:pt x="984250" y="987425"/>
                        </a:lnTo>
                        <a:lnTo>
                          <a:pt x="765175" y="1098550"/>
                        </a:lnTo>
                        <a:lnTo>
                          <a:pt x="574675" y="1177925"/>
                        </a:lnTo>
                        <a:lnTo>
                          <a:pt x="412750" y="1193800"/>
                        </a:lnTo>
                        <a:lnTo>
                          <a:pt x="241300" y="1193800"/>
                        </a:lnTo>
                        <a:lnTo>
                          <a:pt x="101600" y="1123950"/>
                        </a:lnTo>
                        <a:lnTo>
                          <a:pt x="50800" y="1085850"/>
                        </a:lnTo>
                        <a:lnTo>
                          <a:pt x="0" y="104775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grpSp>
          <p:sp>
            <p:nvSpPr>
              <p:cNvPr id="574" name="Freeform 187">
                <a:extLst>
                  <a:ext uri="{FF2B5EF4-FFF2-40B4-BE49-F238E27FC236}">
                    <a16:creationId xmlns:a16="http://schemas.microsoft.com/office/drawing/2014/main" id="{0C15BD86-1377-4400-A3B0-CBFD68391312}"/>
                  </a:ext>
                </a:extLst>
              </p:cNvPr>
              <p:cNvSpPr/>
              <p:nvPr/>
            </p:nvSpPr>
            <p:spPr>
              <a:xfrm>
                <a:off x="4819452" y="6147766"/>
                <a:ext cx="402831" cy="634034"/>
              </a:xfrm>
              <a:custGeom>
                <a:avLst/>
                <a:gdLst>
                  <a:gd name="connsiteX0" fmla="*/ 76200 w 2286000"/>
                  <a:gd name="connsiteY0" fmla="*/ 0 h 3238500"/>
                  <a:gd name="connsiteX1" fmla="*/ 0 w 2286000"/>
                  <a:gd name="connsiteY1" fmla="*/ 571500 h 3238500"/>
                  <a:gd name="connsiteX2" fmla="*/ 76200 w 2286000"/>
                  <a:gd name="connsiteY2" fmla="*/ 1219200 h 3238500"/>
                  <a:gd name="connsiteX3" fmla="*/ 76200 w 2286000"/>
                  <a:gd name="connsiteY3" fmla="*/ 1790700 h 3238500"/>
                  <a:gd name="connsiteX4" fmla="*/ 304800 w 2286000"/>
                  <a:gd name="connsiteY4" fmla="*/ 1714500 h 3238500"/>
                  <a:gd name="connsiteX5" fmla="*/ 304800 w 2286000"/>
                  <a:gd name="connsiteY5" fmla="*/ 1371600 h 3238500"/>
                  <a:gd name="connsiteX6" fmla="*/ 609600 w 2286000"/>
                  <a:gd name="connsiteY6" fmla="*/ 1524000 h 3238500"/>
                  <a:gd name="connsiteX7" fmla="*/ 457200 w 2286000"/>
                  <a:gd name="connsiteY7" fmla="*/ 2133600 h 3238500"/>
                  <a:gd name="connsiteX8" fmla="*/ 952500 w 2286000"/>
                  <a:gd name="connsiteY8" fmla="*/ 2743200 h 3238500"/>
                  <a:gd name="connsiteX9" fmla="*/ 1524000 w 2286000"/>
                  <a:gd name="connsiteY9" fmla="*/ 3238500 h 3238500"/>
                  <a:gd name="connsiteX10" fmla="*/ 1905000 w 2286000"/>
                  <a:gd name="connsiteY10" fmla="*/ 2971800 h 3238500"/>
                  <a:gd name="connsiteX11" fmla="*/ 2286000 w 2286000"/>
                  <a:gd name="connsiteY11" fmla="*/ 1828800 h 3238500"/>
                  <a:gd name="connsiteX12" fmla="*/ 1943100 w 2286000"/>
                  <a:gd name="connsiteY12" fmla="*/ 914400 h 3238500"/>
                  <a:gd name="connsiteX13" fmla="*/ 1790700 w 2286000"/>
                  <a:gd name="connsiteY13" fmla="*/ 76200 h 3238500"/>
                  <a:gd name="connsiteX14" fmla="*/ 1257300 w 2286000"/>
                  <a:gd name="connsiteY14" fmla="*/ 228600 h 3238500"/>
                  <a:gd name="connsiteX15" fmla="*/ 76200 w 2286000"/>
                  <a:gd name="connsiteY15" fmla="*/ 0 h 3238500"/>
                  <a:gd name="connsiteX0" fmla="*/ 76200 w 2286000"/>
                  <a:gd name="connsiteY0" fmla="*/ 0 h 3238500"/>
                  <a:gd name="connsiteX1" fmla="*/ 0 w 2286000"/>
                  <a:gd name="connsiteY1" fmla="*/ 571500 h 3238500"/>
                  <a:gd name="connsiteX2" fmla="*/ 76200 w 2286000"/>
                  <a:gd name="connsiteY2" fmla="*/ 1219200 h 3238500"/>
                  <a:gd name="connsiteX3" fmla="*/ 76200 w 2286000"/>
                  <a:gd name="connsiteY3" fmla="*/ 1790700 h 3238500"/>
                  <a:gd name="connsiteX4" fmla="*/ 457200 w 2286000"/>
                  <a:gd name="connsiteY4" fmla="*/ 1714500 h 3238500"/>
                  <a:gd name="connsiteX5" fmla="*/ 304800 w 2286000"/>
                  <a:gd name="connsiteY5" fmla="*/ 1371600 h 3238500"/>
                  <a:gd name="connsiteX6" fmla="*/ 609600 w 2286000"/>
                  <a:gd name="connsiteY6" fmla="*/ 1524000 h 3238500"/>
                  <a:gd name="connsiteX7" fmla="*/ 457200 w 2286000"/>
                  <a:gd name="connsiteY7" fmla="*/ 2133600 h 3238500"/>
                  <a:gd name="connsiteX8" fmla="*/ 952500 w 2286000"/>
                  <a:gd name="connsiteY8" fmla="*/ 2743200 h 3238500"/>
                  <a:gd name="connsiteX9" fmla="*/ 1524000 w 2286000"/>
                  <a:gd name="connsiteY9" fmla="*/ 3238500 h 3238500"/>
                  <a:gd name="connsiteX10" fmla="*/ 1905000 w 2286000"/>
                  <a:gd name="connsiteY10" fmla="*/ 2971800 h 3238500"/>
                  <a:gd name="connsiteX11" fmla="*/ 2286000 w 2286000"/>
                  <a:gd name="connsiteY11" fmla="*/ 1828800 h 3238500"/>
                  <a:gd name="connsiteX12" fmla="*/ 1943100 w 2286000"/>
                  <a:gd name="connsiteY12" fmla="*/ 914400 h 3238500"/>
                  <a:gd name="connsiteX13" fmla="*/ 1790700 w 2286000"/>
                  <a:gd name="connsiteY13" fmla="*/ 76200 h 3238500"/>
                  <a:gd name="connsiteX14" fmla="*/ 1257300 w 2286000"/>
                  <a:gd name="connsiteY14" fmla="*/ 228600 h 3238500"/>
                  <a:gd name="connsiteX15" fmla="*/ 76200 w 2286000"/>
                  <a:gd name="connsiteY15" fmla="*/ 0 h 3238500"/>
                  <a:gd name="connsiteX0" fmla="*/ 76200 w 2286000"/>
                  <a:gd name="connsiteY0" fmla="*/ 0 h 3238500"/>
                  <a:gd name="connsiteX1" fmla="*/ 0 w 2286000"/>
                  <a:gd name="connsiteY1" fmla="*/ 571500 h 3238500"/>
                  <a:gd name="connsiteX2" fmla="*/ 76200 w 2286000"/>
                  <a:gd name="connsiteY2" fmla="*/ 1219200 h 3238500"/>
                  <a:gd name="connsiteX3" fmla="*/ 76200 w 2286000"/>
                  <a:gd name="connsiteY3" fmla="*/ 1790700 h 3238500"/>
                  <a:gd name="connsiteX4" fmla="*/ 457200 w 2286000"/>
                  <a:gd name="connsiteY4" fmla="*/ 1714500 h 3238500"/>
                  <a:gd name="connsiteX5" fmla="*/ 304800 w 2286000"/>
                  <a:gd name="connsiteY5" fmla="*/ 1371600 h 3238500"/>
                  <a:gd name="connsiteX6" fmla="*/ 609600 w 2286000"/>
                  <a:gd name="connsiteY6" fmla="*/ 1524000 h 3238500"/>
                  <a:gd name="connsiteX7" fmla="*/ 457200 w 2286000"/>
                  <a:gd name="connsiteY7" fmla="*/ 2133600 h 3238500"/>
                  <a:gd name="connsiteX8" fmla="*/ 952500 w 2286000"/>
                  <a:gd name="connsiteY8" fmla="*/ 2743200 h 3238500"/>
                  <a:gd name="connsiteX9" fmla="*/ 1524000 w 2286000"/>
                  <a:gd name="connsiteY9" fmla="*/ 3238500 h 3238500"/>
                  <a:gd name="connsiteX10" fmla="*/ 1905000 w 2286000"/>
                  <a:gd name="connsiteY10" fmla="*/ 2971800 h 3238500"/>
                  <a:gd name="connsiteX11" fmla="*/ 2286000 w 2286000"/>
                  <a:gd name="connsiteY11" fmla="*/ 1828800 h 3238500"/>
                  <a:gd name="connsiteX12" fmla="*/ 1943100 w 2286000"/>
                  <a:gd name="connsiteY12" fmla="*/ 914400 h 3238500"/>
                  <a:gd name="connsiteX13" fmla="*/ 1790700 w 2286000"/>
                  <a:gd name="connsiteY13" fmla="*/ 76200 h 3238500"/>
                  <a:gd name="connsiteX14" fmla="*/ 1257300 w 2286000"/>
                  <a:gd name="connsiteY14" fmla="*/ 228600 h 3238500"/>
                  <a:gd name="connsiteX15" fmla="*/ 76200 w 2286000"/>
                  <a:gd name="connsiteY15" fmla="*/ 0 h 3238500"/>
                  <a:gd name="connsiteX0" fmla="*/ 76200 w 2286000"/>
                  <a:gd name="connsiteY0" fmla="*/ 0 h 3238500"/>
                  <a:gd name="connsiteX1" fmla="*/ 0 w 2286000"/>
                  <a:gd name="connsiteY1" fmla="*/ 571500 h 3238500"/>
                  <a:gd name="connsiteX2" fmla="*/ 76200 w 2286000"/>
                  <a:gd name="connsiteY2" fmla="*/ 1219200 h 3238500"/>
                  <a:gd name="connsiteX3" fmla="*/ 228600 w 2286000"/>
                  <a:gd name="connsiteY3" fmla="*/ 1790700 h 3238500"/>
                  <a:gd name="connsiteX4" fmla="*/ 457200 w 2286000"/>
                  <a:gd name="connsiteY4" fmla="*/ 1714500 h 3238500"/>
                  <a:gd name="connsiteX5" fmla="*/ 304800 w 2286000"/>
                  <a:gd name="connsiteY5" fmla="*/ 1371600 h 3238500"/>
                  <a:gd name="connsiteX6" fmla="*/ 609600 w 2286000"/>
                  <a:gd name="connsiteY6" fmla="*/ 1524000 h 3238500"/>
                  <a:gd name="connsiteX7" fmla="*/ 457200 w 2286000"/>
                  <a:gd name="connsiteY7" fmla="*/ 2133600 h 3238500"/>
                  <a:gd name="connsiteX8" fmla="*/ 952500 w 2286000"/>
                  <a:gd name="connsiteY8" fmla="*/ 2743200 h 3238500"/>
                  <a:gd name="connsiteX9" fmla="*/ 1524000 w 2286000"/>
                  <a:gd name="connsiteY9" fmla="*/ 3238500 h 3238500"/>
                  <a:gd name="connsiteX10" fmla="*/ 1905000 w 2286000"/>
                  <a:gd name="connsiteY10" fmla="*/ 2971800 h 3238500"/>
                  <a:gd name="connsiteX11" fmla="*/ 2286000 w 2286000"/>
                  <a:gd name="connsiteY11" fmla="*/ 1828800 h 3238500"/>
                  <a:gd name="connsiteX12" fmla="*/ 1943100 w 2286000"/>
                  <a:gd name="connsiteY12" fmla="*/ 914400 h 3238500"/>
                  <a:gd name="connsiteX13" fmla="*/ 1790700 w 2286000"/>
                  <a:gd name="connsiteY13" fmla="*/ 76200 h 3238500"/>
                  <a:gd name="connsiteX14" fmla="*/ 1257300 w 2286000"/>
                  <a:gd name="connsiteY14" fmla="*/ 228600 h 3238500"/>
                  <a:gd name="connsiteX15" fmla="*/ 76200 w 2286000"/>
                  <a:gd name="connsiteY15" fmla="*/ 0 h 3238500"/>
                  <a:gd name="connsiteX0" fmla="*/ 76200 w 2286000"/>
                  <a:gd name="connsiteY0" fmla="*/ 0 h 3238500"/>
                  <a:gd name="connsiteX1" fmla="*/ 0 w 2286000"/>
                  <a:gd name="connsiteY1" fmla="*/ 571500 h 3238500"/>
                  <a:gd name="connsiteX2" fmla="*/ 76200 w 2286000"/>
                  <a:gd name="connsiteY2" fmla="*/ 1219200 h 3238500"/>
                  <a:gd name="connsiteX3" fmla="*/ 228600 w 2286000"/>
                  <a:gd name="connsiteY3" fmla="*/ 1790700 h 3238500"/>
                  <a:gd name="connsiteX4" fmla="*/ 457200 w 2286000"/>
                  <a:gd name="connsiteY4" fmla="*/ 1714500 h 3238500"/>
                  <a:gd name="connsiteX5" fmla="*/ 609600 w 2286000"/>
                  <a:gd name="connsiteY5" fmla="*/ 1371600 h 3238500"/>
                  <a:gd name="connsiteX6" fmla="*/ 609600 w 2286000"/>
                  <a:gd name="connsiteY6" fmla="*/ 1524000 h 3238500"/>
                  <a:gd name="connsiteX7" fmla="*/ 457200 w 2286000"/>
                  <a:gd name="connsiteY7" fmla="*/ 2133600 h 3238500"/>
                  <a:gd name="connsiteX8" fmla="*/ 952500 w 2286000"/>
                  <a:gd name="connsiteY8" fmla="*/ 2743200 h 3238500"/>
                  <a:gd name="connsiteX9" fmla="*/ 1524000 w 2286000"/>
                  <a:gd name="connsiteY9" fmla="*/ 3238500 h 3238500"/>
                  <a:gd name="connsiteX10" fmla="*/ 1905000 w 2286000"/>
                  <a:gd name="connsiteY10" fmla="*/ 2971800 h 3238500"/>
                  <a:gd name="connsiteX11" fmla="*/ 2286000 w 2286000"/>
                  <a:gd name="connsiteY11" fmla="*/ 1828800 h 3238500"/>
                  <a:gd name="connsiteX12" fmla="*/ 1943100 w 2286000"/>
                  <a:gd name="connsiteY12" fmla="*/ 914400 h 3238500"/>
                  <a:gd name="connsiteX13" fmla="*/ 1790700 w 2286000"/>
                  <a:gd name="connsiteY13" fmla="*/ 76200 h 3238500"/>
                  <a:gd name="connsiteX14" fmla="*/ 1257300 w 2286000"/>
                  <a:gd name="connsiteY14" fmla="*/ 228600 h 3238500"/>
                  <a:gd name="connsiteX15" fmla="*/ 76200 w 2286000"/>
                  <a:gd name="connsiteY15" fmla="*/ 0 h 3238500"/>
                  <a:gd name="connsiteX0" fmla="*/ 76200 w 2286000"/>
                  <a:gd name="connsiteY0" fmla="*/ 1814 h 3240314"/>
                  <a:gd name="connsiteX1" fmla="*/ 0 w 2286000"/>
                  <a:gd name="connsiteY1" fmla="*/ 573314 h 3240314"/>
                  <a:gd name="connsiteX2" fmla="*/ 76200 w 2286000"/>
                  <a:gd name="connsiteY2" fmla="*/ 1221014 h 3240314"/>
                  <a:gd name="connsiteX3" fmla="*/ 228600 w 2286000"/>
                  <a:gd name="connsiteY3" fmla="*/ 1792514 h 3240314"/>
                  <a:gd name="connsiteX4" fmla="*/ 457200 w 2286000"/>
                  <a:gd name="connsiteY4" fmla="*/ 1716314 h 3240314"/>
                  <a:gd name="connsiteX5" fmla="*/ 609600 w 2286000"/>
                  <a:gd name="connsiteY5" fmla="*/ 1373414 h 3240314"/>
                  <a:gd name="connsiteX6" fmla="*/ 609600 w 2286000"/>
                  <a:gd name="connsiteY6" fmla="*/ 1525814 h 3240314"/>
                  <a:gd name="connsiteX7" fmla="*/ 457200 w 2286000"/>
                  <a:gd name="connsiteY7" fmla="*/ 2135414 h 3240314"/>
                  <a:gd name="connsiteX8" fmla="*/ 952500 w 2286000"/>
                  <a:gd name="connsiteY8" fmla="*/ 2745014 h 3240314"/>
                  <a:gd name="connsiteX9" fmla="*/ 1524000 w 2286000"/>
                  <a:gd name="connsiteY9" fmla="*/ 3240314 h 3240314"/>
                  <a:gd name="connsiteX10" fmla="*/ 1905000 w 2286000"/>
                  <a:gd name="connsiteY10" fmla="*/ 2973614 h 3240314"/>
                  <a:gd name="connsiteX11" fmla="*/ 2286000 w 2286000"/>
                  <a:gd name="connsiteY11" fmla="*/ 1830614 h 3240314"/>
                  <a:gd name="connsiteX12" fmla="*/ 1943100 w 2286000"/>
                  <a:gd name="connsiteY12" fmla="*/ 916214 h 3240314"/>
                  <a:gd name="connsiteX13" fmla="*/ 1790700 w 2286000"/>
                  <a:gd name="connsiteY13" fmla="*/ 78014 h 3240314"/>
                  <a:gd name="connsiteX14" fmla="*/ 1257300 w 2286000"/>
                  <a:gd name="connsiteY14" fmla="*/ 230414 h 3240314"/>
                  <a:gd name="connsiteX15" fmla="*/ 1248229 w 2286000"/>
                  <a:gd name="connsiteY15" fmla="*/ 0 h 3240314"/>
                  <a:gd name="connsiteX16" fmla="*/ 76200 w 2286000"/>
                  <a:gd name="connsiteY16" fmla="*/ 1814 h 3240314"/>
                  <a:gd name="connsiteX0" fmla="*/ 381000 w 2286000"/>
                  <a:gd name="connsiteY0" fmla="*/ 1814 h 3240314"/>
                  <a:gd name="connsiteX1" fmla="*/ 0 w 2286000"/>
                  <a:gd name="connsiteY1" fmla="*/ 573314 h 3240314"/>
                  <a:gd name="connsiteX2" fmla="*/ 76200 w 2286000"/>
                  <a:gd name="connsiteY2" fmla="*/ 1221014 h 3240314"/>
                  <a:gd name="connsiteX3" fmla="*/ 228600 w 2286000"/>
                  <a:gd name="connsiteY3" fmla="*/ 1792514 h 3240314"/>
                  <a:gd name="connsiteX4" fmla="*/ 457200 w 2286000"/>
                  <a:gd name="connsiteY4" fmla="*/ 1716314 h 3240314"/>
                  <a:gd name="connsiteX5" fmla="*/ 609600 w 2286000"/>
                  <a:gd name="connsiteY5" fmla="*/ 1373414 h 3240314"/>
                  <a:gd name="connsiteX6" fmla="*/ 609600 w 2286000"/>
                  <a:gd name="connsiteY6" fmla="*/ 1525814 h 3240314"/>
                  <a:gd name="connsiteX7" fmla="*/ 457200 w 2286000"/>
                  <a:gd name="connsiteY7" fmla="*/ 2135414 h 3240314"/>
                  <a:gd name="connsiteX8" fmla="*/ 952500 w 2286000"/>
                  <a:gd name="connsiteY8" fmla="*/ 2745014 h 3240314"/>
                  <a:gd name="connsiteX9" fmla="*/ 1524000 w 2286000"/>
                  <a:gd name="connsiteY9" fmla="*/ 3240314 h 3240314"/>
                  <a:gd name="connsiteX10" fmla="*/ 1905000 w 2286000"/>
                  <a:gd name="connsiteY10" fmla="*/ 2973614 h 3240314"/>
                  <a:gd name="connsiteX11" fmla="*/ 2286000 w 2286000"/>
                  <a:gd name="connsiteY11" fmla="*/ 1830614 h 3240314"/>
                  <a:gd name="connsiteX12" fmla="*/ 1943100 w 2286000"/>
                  <a:gd name="connsiteY12" fmla="*/ 916214 h 3240314"/>
                  <a:gd name="connsiteX13" fmla="*/ 1790700 w 2286000"/>
                  <a:gd name="connsiteY13" fmla="*/ 78014 h 3240314"/>
                  <a:gd name="connsiteX14" fmla="*/ 1257300 w 2286000"/>
                  <a:gd name="connsiteY14" fmla="*/ 230414 h 3240314"/>
                  <a:gd name="connsiteX15" fmla="*/ 1248229 w 2286000"/>
                  <a:gd name="connsiteY15" fmla="*/ 0 h 3240314"/>
                  <a:gd name="connsiteX16" fmla="*/ 381000 w 2286000"/>
                  <a:gd name="connsiteY16" fmla="*/ 1814 h 3240314"/>
                  <a:gd name="connsiteX0" fmla="*/ 152400 w 2286000"/>
                  <a:gd name="connsiteY0" fmla="*/ 1814 h 3240314"/>
                  <a:gd name="connsiteX1" fmla="*/ 0 w 2286000"/>
                  <a:gd name="connsiteY1" fmla="*/ 573314 h 3240314"/>
                  <a:gd name="connsiteX2" fmla="*/ 76200 w 2286000"/>
                  <a:gd name="connsiteY2" fmla="*/ 1221014 h 3240314"/>
                  <a:gd name="connsiteX3" fmla="*/ 228600 w 2286000"/>
                  <a:gd name="connsiteY3" fmla="*/ 1792514 h 3240314"/>
                  <a:gd name="connsiteX4" fmla="*/ 457200 w 2286000"/>
                  <a:gd name="connsiteY4" fmla="*/ 1716314 h 3240314"/>
                  <a:gd name="connsiteX5" fmla="*/ 609600 w 2286000"/>
                  <a:gd name="connsiteY5" fmla="*/ 1373414 h 3240314"/>
                  <a:gd name="connsiteX6" fmla="*/ 609600 w 2286000"/>
                  <a:gd name="connsiteY6" fmla="*/ 1525814 h 3240314"/>
                  <a:gd name="connsiteX7" fmla="*/ 457200 w 2286000"/>
                  <a:gd name="connsiteY7" fmla="*/ 2135414 h 3240314"/>
                  <a:gd name="connsiteX8" fmla="*/ 952500 w 2286000"/>
                  <a:gd name="connsiteY8" fmla="*/ 2745014 h 3240314"/>
                  <a:gd name="connsiteX9" fmla="*/ 1524000 w 2286000"/>
                  <a:gd name="connsiteY9" fmla="*/ 3240314 h 3240314"/>
                  <a:gd name="connsiteX10" fmla="*/ 1905000 w 2286000"/>
                  <a:gd name="connsiteY10" fmla="*/ 2973614 h 3240314"/>
                  <a:gd name="connsiteX11" fmla="*/ 2286000 w 2286000"/>
                  <a:gd name="connsiteY11" fmla="*/ 1830614 h 3240314"/>
                  <a:gd name="connsiteX12" fmla="*/ 1943100 w 2286000"/>
                  <a:gd name="connsiteY12" fmla="*/ 916214 h 3240314"/>
                  <a:gd name="connsiteX13" fmla="*/ 1790700 w 2286000"/>
                  <a:gd name="connsiteY13" fmla="*/ 78014 h 3240314"/>
                  <a:gd name="connsiteX14" fmla="*/ 1257300 w 2286000"/>
                  <a:gd name="connsiteY14" fmla="*/ 230414 h 3240314"/>
                  <a:gd name="connsiteX15" fmla="*/ 1248229 w 2286000"/>
                  <a:gd name="connsiteY15" fmla="*/ 0 h 3240314"/>
                  <a:gd name="connsiteX16" fmla="*/ 152400 w 2286000"/>
                  <a:gd name="connsiteY16" fmla="*/ 1814 h 3240314"/>
                  <a:gd name="connsiteX0" fmla="*/ 152400 w 2286000"/>
                  <a:gd name="connsiteY0" fmla="*/ 1814 h 3240314"/>
                  <a:gd name="connsiteX1" fmla="*/ 0 w 2286000"/>
                  <a:gd name="connsiteY1" fmla="*/ 573314 h 3240314"/>
                  <a:gd name="connsiteX2" fmla="*/ 76200 w 2286000"/>
                  <a:gd name="connsiteY2" fmla="*/ 1221014 h 3240314"/>
                  <a:gd name="connsiteX3" fmla="*/ 228600 w 2286000"/>
                  <a:gd name="connsiteY3" fmla="*/ 1792514 h 3240314"/>
                  <a:gd name="connsiteX4" fmla="*/ 457200 w 2286000"/>
                  <a:gd name="connsiteY4" fmla="*/ 1716314 h 3240314"/>
                  <a:gd name="connsiteX5" fmla="*/ 609600 w 2286000"/>
                  <a:gd name="connsiteY5" fmla="*/ 1373414 h 3240314"/>
                  <a:gd name="connsiteX6" fmla="*/ 609600 w 2286000"/>
                  <a:gd name="connsiteY6" fmla="*/ 1525814 h 3240314"/>
                  <a:gd name="connsiteX7" fmla="*/ 457200 w 2286000"/>
                  <a:gd name="connsiteY7" fmla="*/ 2135414 h 3240314"/>
                  <a:gd name="connsiteX8" fmla="*/ 952500 w 2286000"/>
                  <a:gd name="connsiteY8" fmla="*/ 2745014 h 3240314"/>
                  <a:gd name="connsiteX9" fmla="*/ 1524000 w 2286000"/>
                  <a:gd name="connsiteY9" fmla="*/ 3240314 h 3240314"/>
                  <a:gd name="connsiteX10" fmla="*/ 1905000 w 2286000"/>
                  <a:gd name="connsiteY10" fmla="*/ 2973614 h 3240314"/>
                  <a:gd name="connsiteX11" fmla="*/ 2286000 w 2286000"/>
                  <a:gd name="connsiteY11" fmla="*/ 1830614 h 3240314"/>
                  <a:gd name="connsiteX12" fmla="*/ 1943100 w 2286000"/>
                  <a:gd name="connsiteY12" fmla="*/ 916214 h 3240314"/>
                  <a:gd name="connsiteX13" fmla="*/ 1790700 w 2286000"/>
                  <a:gd name="connsiteY13" fmla="*/ 78014 h 3240314"/>
                  <a:gd name="connsiteX14" fmla="*/ 1257300 w 2286000"/>
                  <a:gd name="connsiteY14" fmla="*/ 230414 h 3240314"/>
                  <a:gd name="connsiteX15" fmla="*/ 1248229 w 2286000"/>
                  <a:gd name="connsiteY15" fmla="*/ 0 h 3240314"/>
                  <a:gd name="connsiteX16" fmla="*/ 152400 w 2286000"/>
                  <a:gd name="connsiteY16" fmla="*/ 1814 h 3240314"/>
                  <a:gd name="connsiteX0" fmla="*/ 76200 w 2209800"/>
                  <a:gd name="connsiteY0" fmla="*/ 1814 h 3240314"/>
                  <a:gd name="connsiteX1" fmla="*/ 25400 w 2209800"/>
                  <a:gd name="connsiteY1" fmla="*/ 558800 h 3240314"/>
                  <a:gd name="connsiteX2" fmla="*/ 0 w 2209800"/>
                  <a:gd name="connsiteY2" fmla="*/ 1221014 h 3240314"/>
                  <a:gd name="connsiteX3" fmla="*/ 152400 w 2209800"/>
                  <a:gd name="connsiteY3" fmla="*/ 1792514 h 3240314"/>
                  <a:gd name="connsiteX4" fmla="*/ 381000 w 2209800"/>
                  <a:gd name="connsiteY4" fmla="*/ 1716314 h 3240314"/>
                  <a:gd name="connsiteX5" fmla="*/ 533400 w 2209800"/>
                  <a:gd name="connsiteY5" fmla="*/ 1373414 h 3240314"/>
                  <a:gd name="connsiteX6" fmla="*/ 533400 w 2209800"/>
                  <a:gd name="connsiteY6" fmla="*/ 1525814 h 3240314"/>
                  <a:gd name="connsiteX7" fmla="*/ 381000 w 2209800"/>
                  <a:gd name="connsiteY7" fmla="*/ 2135414 h 3240314"/>
                  <a:gd name="connsiteX8" fmla="*/ 876300 w 2209800"/>
                  <a:gd name="connsiteY8" fmla="*/ 2745014 h 3240314"/>
                  <a:gd name="connsiteX9" fmla="*/ 1447800 w 2209800"/>
                  <a:gd name="connsiteY9" fmla="*/ 3240314 h 3240314"/>
                  <a:gd name="connsiteX10" fmla="*/ 1828800 w 2209800"/>
                  <a:gd name="connsiteY10" fmla="*/ 2973614 h 3240314"/>
                  <a:gd name="connsiteX11" fmla="*/ 2209800 w 2209800"/>
                  <a:gd name="connsiteY11" fmla="*/ 1830614 h 3240314"/>
                  <a:gd name="connsiteX12" fmla="*/ 1866900 w 2209800"/>
                  <a:gd name="connsiteY12" fmla="*/ 916214 h 3240314"/>
                  <a:gd name="connsiteX13" fmla="*/ 1714500 w 2209800"/>
                  <a:gd name="connsiteY13" fmla="*/ 78014 h 3240314"/>
                  <a:gd name="connsiteX14" fmla="*/ 1181100 w 2209800"/>
                  <a:gd name="connsiteY14" fmla="*/ 230414 h 3240314"/>
                  <a:gd name="connsiteX15" fmla="*/ 1172029 w 2209800"/>
                  <a:gd name="connsiteY15" fmla="*/ 0 h 3240314"/>
                  <a:gd name="connsiteX16" fmla="*/ 76200 w 2209800"/>
                  <a:gd name="connsiteY16" fmla="*/ 1814 h 3240314"/>
                  <a:gd name="connsiteX0" fmla="*/ 199571 w 2209800"/>
                  <a:gd name="connsiteY0" fmla="*/ 0 h 3267529"/>
                  <a:gd name="connsiteX1" fmla="*/ 25400 w 2209800"/>
                  <a:gd name="connsiteY1" fmla="*/ 586015 h 3267529"/>
                  <a:gd name="connsiteX2" fmla="*/ 0 w 2209800"/>
                  <a:gd name="connsiteY2" fmla="*/ 1248229 h 3267529"/>
                  <a:gd name="connsiteX3" fmla="*/ 152400 w 2209800"/>
                  <a:gd name="connsiteY3" fmla="*/ 1819729 h 3267529"/>
                  <a:gd name="connsiteX4" fmla="*/ 381000 w 2209800"/>
                  <a:gd name="connsiteY4" fmla="*/ 1743529 h 3267529"/>
                  <a:gd name="connsiteX5" fmla="*/ 533400 w 2209800"/>
                  <a:gd name="connsiteY5" fmla="*/ 1400629 h 3267529"/>
                  <a:gd name="connsiteX6" fmla="*/ 533400 w 2209800"/>
                  <a:gd name="connsiteY6" fmla="*/ 1553029 h 3267529"/>
                  <a:gd name="connsiteX7" fmla="*/ 381000 w 2209800"/>
                  <a:gd name="connsiteY7" fmla="*/ 2162629 h 3267529"/>
                  <a:gd name="connsiteX8" fmla="*/ 876300 w 2209800"/>
                  <a:gd name="connsiteY8" fmla="*/ 2772229 h 3267529"/>
                  <a:gd name="connsiteX9" fmla="*/ 1447800 w 2209800"/>
                  <a:gd name="connsiteY9" fmla="*/ 3267529 h 3267529"/>
                  <a:gd name="connsiteX10" fmla="*/ 1828800 w 2209800"/>
                  <a:gd name="connsiteY10" fmla="*/ 3000829 h 3267529"/>
                  <a:gd name="connsiteX11" fmla="*/ 2209800 w 2209800"/>
                  <a:gd name="connsiteY11" fmla="*/ 1857829 h 3267529"/>
                  <a:gd name="connsiteX12" fmla="*/ 1866900 w 2209800"/>
                  <a:gd name="connsiteY12" fmla="*/ 943429 h 3267529"/>
                  <a:gd name="connsiteX13" fmla="*/ 1714500 w 2209800"/>
                  <a:gd name="connsiteY13" fmla="*/ 105229 h 3267529"/>
                  <a:gd name="connsiteX14" fmla="*/ 1181100 w 2209800"/>
                  <a:gd name="connsiteY14" fmla="*/ 257629 h 3267529"/>
                  <a:gd name="connsiteX15" fmla="*/ 1172029 w 2209800"/>
                  <a:gd name="connsiteY15" fmla="*/ 27215 h 3267529"/>
                  <a:gd name="connsiteX16" fmla="*/ 199571 w 2209800"/>
                  <a:gd name="connsiteY16" fmla="*/ 0 h 3267529"/>
                  <a:gd name="connsiteX0" fmla="*/ 199571 w 2209800"/>
                  <a:gd name="connsiteY0" fmla="*/ 0 h 3267529"/>
                  <a:gd name="connsiteX1" fmla="*/ 25400 w 2209800"/>
                  <a:gd name="connsiteY1" fmla="*/ 586015 h 3267529"/>
                  <a:gd name="connsiteX2" fmla="*/ 0 w 2209800"/>
                  <a:gd name="connsiteY2" fmla="*/ 1248229 h 3267529"/>
                  <a:gd name="connsiteX3" fmla="*/ 152400 w 2209800"/>
                  <a:gd name="connsiteY3" fmla="*/ 1819729 h 3267529"/>
                  <a:gd name="connsiteX4" fmla="*/ 381000 w 2209800"/>
                  <a:gd name="connsiteY4" fmla="*/ 1743529 h 3267529"/>
                  <a:gd name="connsiteX5" fmla="*/ 533400 w 2209800"/>
                  <a:gd name="connsiteY5" fmla="*/ 1400629 h 3267529"/>
                  <a:gd name="connsiteX6" fmla="*/ 533400 w 2209800"/>
                  <a:gd name="connsiteY6" fmla="*/ 1553029 h 3267529"/>
                  <a:gd name="connsiteX7" fmla="*/ 381000 w 2209800"/>
                  <a:gd name="connsiteY7" fmla="*/ 2162629 h 3267529"/>
                  <a:gd name="connsiteX8" fmla="*/ 876300 w 2209800"/>
                  <a:gd name="connsiteY8" fmla="*/ 2772229 h 3267529"/>
                  <a:gd name="connsiteX9" fmla="*/ 1447800 w 2209800"/>
                  <a:gd name="connsiteY9" fmla="*/ 3267529 h 3267529"/>
                  <a:gd name="connsiteX10" fmla="*/ 1828800 w 2209800"/>
                  <a:gd name="connsiteY10" fmla="*/ 3000829 h 3267529"/>
                  <a:gd name="connsiteX11" fmla="*/ 2209800 w 2209800"/>
                  <a:gd name="connsiteY11" fmla="*/ 1857829 h 3267529"/>
                  <a:gd name="connsiteX12" fmla="*/ 1866900 w 2209800"/>
                  <a:gd name="connsiteY12" fmla="*/ 943429 h 3267529"/>
                  <a:gd name="connsiteX13" fmla="*/ 1714500 w 2209800"/>
                  <a:gd name="connsiteY13" fmla="*/ 105229 h 3267529"/>
                  <a:gd name="connsiteX14" fmla="*/ 1409700 w 2209800"/>
                  <a:gd name="connsiteY14" fmla="*/ 29030 h 3267529"/>
                  <a:gd name="connsiteX15" fmla="*/ 1172029 w 2209800"/>
                  <a:gd name="connsiteY15" fmla="*/ 27215 h 3267529"/>
                  <a:gd name="connsiteX16" fmla="*/ 199571 w 2209800"/>
                  <a:gd name="connsiteY16" fmla="*/ 0 h 3267529"/>
                  <a:gd name="connsiteX0" fmla="*/ 199571 w 2209800"/>
                  <a:gd name="connsiteY0" fmla="*/ 0 h 3267529"/>
                  <a:gd name="connsiteX1" fmla="*/ 25400 w 2209800"/>
                  <a:gd name="connsiteY1" fmla="*/ 586015 h 3267529"/>
                  <a:gd name="connsiteX2" fmla="*/ 0 w 2209800"/>
                  <a:gd name="connsiteY2" fmla="*/ 1248229 h 3267529"/>
                  <a:gd name="connsiteX3" fmla="*/ 152400 w 2209800"/>
                  <a:gd name="connsiteY3" fmla="*/ 1819729 h 3267529"/>
                  <a:gd name="connsiteX4" fmla="*/ 381000 w 2209800"/>
                  <a:gd name="connsiteY4" fmla="*/ 1743529 h 3267529"/>
                  <a:gd name="connsiteX5" fmla="*/ 533400 w 2209800"/>
                  <a:gd name="connsiteY5" fmla="*/ 1400629 h 3267529"/>
                  <a:gd name="connsiteX6" fmla="*/ 533400 w 2209800"/>
                  <a:gd name="connsiteY6" fmla="*/ 1553029 h 3267529"/>
                  <a:gd name="connsiteX7" fmla="*/ 381000 w 2209800"/>
                  <a:gd name="connsiteY7" fmla="*/ 2162629 h 3267529"/>
                  <a:gd name="connsiteX8" fmla="*/ 876300 w 2209800"/>
                  <a:gd name="connsiteY8" fmla="*/ 2772229 h 3267529"/>
                  <a:gd name="connsiteX9" fmla="*/ 1447800 w 2209800"/>
                  <a:gd name="connsiteY9" fmla="*/ 3267529 h 3267529"/>
                  <a:gd name="connsiteX10" fmla="*/ 1828800 w 2209800"/>
                  <a:gd name="connsiteY10" fmla="*/ 3000829 h 3267529"/>
                  <a:gd name="connsiteX11" fmla="*/ 2209800 w 2209800"/>
                  <a:gd name="connsiteY11" fmla="*/ 1857829 h 3267529"/>
                  <a:gd name="connsiteX12" fmla="*/ 1866900 w 2209800"/>
                  <a:gd name="connsiteY12" fmla="*/ 943429 h 3267529"/>
                  <a:gd name="connsiteX13" fmla="*/ 1676400 w 2209800"/>
                  <a:gd name="connsiteY13" fmla="*/ 673102 h 3267529"/>
                  <a:gd name="connsiteX14" fmla="*/ 1714500 w 2209800"/>
                  <a:gd name="connsiteY14" fmla="*/ 105229 h 3267529"/>
                  <a:gd name="connsiteX15" fmla="*/ 1409700 w 2209800"/>
                  <a:gd name="connsiteY15" fmla="*/ 29030 h 3267529"/>
                  <a:gd name="connsiteX16" fmla="*/ 1172029 w 2209800"/>
                  <a:gd name="connsiteY16" fmla="*/ 27215 h 3267529"/>
                  <a:gd name="connsiteX17" fmla="*/ 199571 w 2209800"/>
                  <a:gd name="connsiteY17" fmla="*/ 0 h 3267529"/>
                  <a:gd name="connsiteX0" fmla="*/ 199571 w 2209800"/>
                  <a:gd name="connsiteY0" fmla="*/ 0 h 3267529"/>
                  <a:gd name="connsiteX1" fmla="*/ 25400 w 2209800"/>
                  <a:gd name="connsiteY1" fmla="*/ 586015 h 3267529"/>
                  <a:gd name="connsiteX2" fmla="*/ 0 w 2209800"/>
                  <a:gd name="connsiteY2" fmla="*/ 1248229 h 3267529"/>
                  <a:gd name="connsiteX3" fmla="*/ 137886 w 2209800"/>
                  <a:gd name="connsiteY3" fmla="*/ 1456873 h 3267529"/>
                  <a:gd name="connsiteX4" fmla="*/ 152400 w 2209800"/>
                  <a:gd name="connsiteY4" fmla="*/ 1819729 h 3267529"/>
                  <a:gd name="connsiteX5" fmla="*/ 381000 w 2209800"/>
                  <a:gd name="connsiteY5" fmla="*/ 1743529 h 3267529"/>
                  <a:gd name="connsiteX6" fmla="*/ 533400 w 2209800"/>
                  <a:gd name="connsiteY6" fmla="*/ 1400629 h 3267529"/>
                  <a:gd name="connsiteX7" fmla="*/ 533400 w 2209800"/>
                  <a:gd name="connsiteY7" fmla="*/ 1553029 h 3267529"/>
                  <a:gd name="connsiteX8" fmla="*/ 381000 w 2209800"/>
                  <a:gd name="connsiteY8" fmla="*/ 2162629 h 3267529"/>
                  <a:gd name="connsiteX9" fmla="*/ 876300 w 2209800"/>
                  <a:gd name="connsiteY9" fmla="*/ 2772229 h 3267529"/>
                  <a:gd name="connsiteX10" fmla="*/ 1447800 w 2209800"/>
                  <a:gd name="connsiteY10" fmla="*/ 3267529 h 3267529"/>
                  <a:gd name="connsiteX11" fmla="*/ 1828800 w 2209800"/>
                  <a:gd name="connsiteY11" fmla="*/ 3000829 h 3267529"/>
                  <a:gd name="connsiteX12" fmla="*/ 2209800 w 2209800"/>
                  <a:gd name="connsiteY12" fmla="*/ 1857829 h 3267529"/>
                  <a:gd name="connsiteX13" fmla="*/ 1866900 w 2209800"/>
                  <a:gd name="connsiteY13" fmla="*/ 943429 h 3267529"/>
                  <a:gd name="connsiteX14" fmla="*/ 1676400 w 2209800"/>
                  <a:gd name="connsiteY14" fmla="*/ 673102 h 3267529"/>
                  <a:gd name="connsiteX15" fmla="*/ 1714500 w 2209800"/>
                  <a:gd name="connsiteY15" fmla="*/ 105229 h 3267529"/>
                  <a:gd name="connsiteX16" fmla="*/ 1409700 w 2209800"/>
                  <a:gd name="connsiteY16" fmla="*/ 29030 h 3267529"/>
                  <a:gd name="connsiteX17" fmla="*/ 1172029 w 2209800"/>
                  <a:gd name="connsiteY17" fmla="*/ 27215 h 3267529"/>
                  <a:gd name="connsiteX18" fmla="*/ 199571 w 2209800"/>
                  <a:gd name="connsiteY18" fmla="*/ 0 h 3267529"/>
                  <a:gd name="connsiteX0" fmla="*/ 199571 w 2209800"/>
                  <a:gd name="connsiteY0" fmla="*/ 0 h 3267529"/>
                  <a:gd name="connsiteX1" fmla="*/ 25400 w 2209800"/>
                  <a:gd name="connsiteY1" fmla="*/ 586015 h 3267529"/>
                  <a:gd name="connsiteX2" fmla="*/ 0 w 2209800"/>
                  <a:gd name="connsiteY2" fmla="*/ 1248229 h 3267529"/>
                  <a:gd name="connsiteX3" fmla="*/ 137886 w 2209800"/>
                  <a:gd name="connsiteY3" fmla="*/ 1456873 h 3267529"/>
                  <a:gd name="connsiteX4" fmla="*/ 152400 w 2209800"/>
                  <a:gd name="connsiteY4" fmla="*/ 1819729 h 3267529"/>
                  <a:gd name="connsiteX5" fmla="*/ 381000 w 2209800"/>
                  <a:gd name="connsiteY5" fmla="*/ 1743529 h 3267529"/>
                  <a:gd name="connsiteX6" fmla="*/ 533400 w 2209800"/>
                  <a:gd name="connsiteY6" fmla="*/ 1400629 h 3267529"/>
                  <a:gd name="connsiteX7" fmla="*/ 533400 w 2209800"/>
                  <a:gd name="connsiteY7" fmla="*/ 1553029 h 3267529"/>
                  <a:gd name="connsiteX8" fmla="*/ 381000 w 2209800"/>
                  <a:gd name="connsiteY8" fmla="*/ 2162629 h 3267529"/>
                  <a:gd name="connsiteX9" fmla="*/ 876300 w 2209800"/>
                  <a:gd name="connsiteY9" fmla="*/ 2772229 h 3267529"/>
                  <a:gd name="connsiteX10" fmla="*/ 1447800 w 2209800"/>
                  <a:gd name="connsiteY10" fmla="*/ 3267529 h 3267529"/>
                  <a:gd name="connsiteX11" fmla="*/ 1828800 w 2209800"/>
                  <a:gd name="connsiteY11" fmla="*/ 3000829 h 3267529"/>
                  <a:gd name="connsiteX12" fmla="*/ 2209800 w 2209800"/>
                  <a:gd name="connsiteY12" fmla="*/ 1857829 h 3267529"/>
                  <a:gd name="connsiteX13" fmla="*/ 1752600 w 2209800"/>
                  <a:gd name="connsiteY13" fmla="*/ 994228 h 3267529"/>
                  <a:gd name="connsiteX14" fmla="*/ 1676400 w 2209800"/>
                  <a:gd name="connsiteY14" fmla="*/ 673102 h 3267529"/>
                  <a:gd name="connsiteX15" fmla="*/ 1714500 w 2209800"/>
                  <a:gd name="connsiteY15" fmla="*/ 105229 h 3267529"/>
                  <a:gd name="connsiteX16" fmla="*/ 1409700 w 2209800"/>
                  <a:gd name="connsiteY16" fmla="*/ 29030 h 3267529"/>
                  <a:gd name="connsiteX17" fmla="*/ 1172029 w 2209800"/>
                  <a:gd name="connsiteY17" fmla="*/ 27215 h 3267529"/>
                  <a:gd name="connsiteX18" fmla="*/ 199571 w 2209800"/>
                  <a:gd name="connsiteY18" fmla="*/ 0 h 3267529"/>
                  <a:gd name="connsiteX0" fmla="*/ 199571 w 2209800"/>
                  <a:gd name="connsiteY0" fmla="*/ 0 h 3267529"/>
                  <a:gd name="connsiteX1" fmla="*/ 25400 w 2209800"/>
                  <a:gd name="connsiteY1" fmla="*/ 586015 h 3267529"/>
                  <a:gd name="connsiteX2" fmla="*/ 0 w 2209800"/>
                  <a:gd name="connsiteY2" fmla="*/ 1248229 h 3267529"/>
                  <a:gd name="connsiteX3" fmla="*/ 137886 w 2209800"/>
                  <a:gd name="connsiteY3" fmla="*/ 1456873 h 3267529"/>
                  <a:gd name="connsiteX4" fmla="*/ 152400 w 2209800"/>
                  <a:gd name="connsiteY4" fmla="*/ 1819729 h 3267529"/>
                  <a:gd name="connsiteX5" fmla="*/ 381000 w 2209800"/>
                  <a:gd name="connsiteY5" fmla="*/ 1743529 h 3267529"/>
                  <a:gd name="connsiteX6" fmla="*/ 533400 w 2209800"/>
                  <a:gd name="connsiteY6" fmla="*/ 1400629 h 3267529"/>
                  <a:gd name="connsiteX7" fmla="*/ 533400 w 2209800"/>
                  <a:gd name="connsiteY7" fmla="*/ 1553029 h 3267529"/>
                  <a:gd name="connsiteX8" fmla="*/ 381000 w 2209800"/>
                  <a:gd name="connsiteY8" fmla="*/ 2162629 h 3267529"/>
                  <a:gd name="connsiteX9" fmla="*/ 431800 w 2209800"/>
                  <a:gd name="connsiteY9" fmla="*/ 2324100 h 3267529"/>
                  <a:gd name="connsiteX10" fmla="*/ 876300 w 2209800"/>
                  <a:gd name="connsiteY10" fmla="*/ 2772229 h 3267529"/>
                  <a:gd name="connsiteX11" fmla="*/ 1447800 w 2209800"/>
                  <a:gd name="connsiteY11" fmla="*/ 3267529 h 3267529"/>
                  <a:gd name="connsiteX12" fmla="*/ 1828800 w 2209800"/>
                  <a:gd name="connsiteY12" fmla="*/ 3000829 h 3267529"/>
                  <a:gd name="connsiteX13" fmla="*/ 2209800 w 2209800"/>
                  <a:gd name="connsiteY13" fmla="*/ 1857829 h 3267529"/>
                  <a:gd name="connsiteX14" fmla="*/ 1752600 w 2209800"/>
                  <a:gd name="connsiteY14" fmla="*/ 994228 h 3267529"/>
                  <a:gd name="connsiteX15" fmla="*/ 1676400 w 2209800"/>
                  <a:gd name="connsiteY15" fmla="*/ 673102 h 3267529"/>
                  <a:gd name="connsiteX16" fmla="*/ 1714500 w 2209800"/>
                  <a:gd name="connsiteY16" fmla="*/ 105229 h 3267529"/>
                  <a:gd name="connsiteX17" fmla="*/ 1409700 w 2209800"/>
                  <a:gd name="connsiteY17" fmla="*/ 29030 h 3267529"/>
                  <a:gd name="connsiteX18" fmla="*/ 1172029 w 2209800"/>
                  <a:gd name="connsiteY18" fmla="*/ 27215 h 3267529"/>
                  <a:gd name="connsiteX19" fmla="*/ 199571 w 2209800"/>
                  <a:gd name="connsiteY19" fmla="*/ 0 h 3267529"/>
                  <a:gd name="connsiteX0" fmla="*/ 199571 w 2209800"/>
                  <a:gd name="connsiteY0" fmla="*/ 0 h 3339434"/>
                  <a:gd name="connsiteX1" fmla="*/ 25400 w 2209800"/>
                  <a:gd name="connsiteY1" fmla="*/ 586015 h 3339434"/>
                  <a:gd name="connsiteX2" fmla="*/ 0 w 2209800"/>
                  <a:gd name="connsiteY2" fmla="*/ 1248229 h 3339434"/>
                  <a:gd name="connsiteX3" fmla="*/ 137886 w 2209800"/>
                  <a:gd name="connsiteY3" fmla="*/ 1456873 h 3339434"/>
                  <a:gd name="connsiteX4" fmla="*/ 152400 w 2209800"/>
                  <a:gd name="connsiteY4" fmla="*/ 1819729 h 3339434"/>
                  <a:gd name="connsiteX5" fmla="*/ 381000 w 2209800"/>
                  <a:gd name="connsiteY5" fmla="*/ 1743529 h 3339434"/>
                  <a:gd name="connsiteX6" fmla="*/ 533400 w 2209800"/>
                  <a:gd name="connsiteY6" fmla="*/ 1400629 h 3339434"/>
                  <a:gd name="connsiteX7" fmla="*/ 533400 w 2209800"/>
                  <a:gd name="connsiteY7" fmla="*/ 1553029 h 3339434"/>
                  <a:gd name="connsiteX8" fmla="*/ 381000 w 2209800"/>
                  <a:gd name="connsiteY8" fmla="*/ 2162629 h 3339434"/>
                  <a:gd name="connsiteX9" fmla="*/ 431800 w 2209800"/>
                  <a:gd name="connsiteY9" fmla="*/ 2324100 h 3339434"/>
                  <a:gd name="connsiteX10" fmla="*/ 876300 w 2209800"/>
                  <a:gd name="connsiteY10" fmla="*/ 2772229 h 3339434"/>
                  <a:gd name="connsiteX11" fmla="*/ 1447800 w 2209800"/>
                  <a:gd name="connsiteY11" fmla="*/ 3267529 h 3339434"/>
                  <a:gd name="connsiteX12" fmla="*/ 1841500 w 2209800"/>
                  <a:gd name="connsiteY12" fmla="*/ 3153228 h 3339434"/>
                  <a:gd name="connsiteX13" fmla="*/ 2209800 w 2209800"/>
                  <a:gd name="connsiteY13" fmla="*/ 1857829 h 3339434"/>
                  <a:gd name="connsiteX14" fmla="*/ 1752600 w 2209800"/>
                  <a:gd name="connsiteY14" fmla="*/ 994228 h 3339434"/>
                  <a:gd name="connsiteX15" fmla="*/ 1676400 w 2209800"/>
                  <a:gd name="connsiteY15" fmla="*/ 673102 h 3339434"/>
                  <a:gd name="connsiteX16" fmla="*/ 1714500 w 2209800"/>
                  <a:gd name="connsiteY16" fmla="*/ 105229 h 3339434"/>
                  <a:gd name="connsiteX17" fmla="*/ 1409700 w 2209800"/>
                  <a:gd name="connsiteY17" fmla="*/ 29030 h 3339434"/>
                  <a:gd name="connsiteX18" fmla="*/ 1172029 w 2209800"/>
                  <a:gd name="connsiteY18" fmla="*/ 27215 h 3339434"/>
                  <a:gd name="connsiteX19" fmla="*/ 199571 w 2209800"/>
                  <a:gd name="connsiteY19" fmla="*/ 0 h 3339434"/>
                  <a:gd name="connsiteX0" fmla="*/ 199571 w 2209800"/>
                  <a:gd name="connsiteY0" fmla="*/ 0 h 3339434"/>
                  <a:gd name="connsiteX1" fmla="*/ 25400 w 2209800"/>
                  <a:gd name="connsiteY1" fmla="*/ 586015 h 3339434"/>
                  <a:gd name="connsiteX2" fmla="*/ 0 w 2209800"/>
                  <a:gd name="connsiteY2" fmla="*/ 1248229 h 3339434"/>
                  <a:gd name="connsiteX3" fmla="*/ 137886 w 2209800"/>
                  <a:gd name="connsiteY3" fmla="*/ 1456873 h 3339434"/>
                  <a:gd name="connsiteX4" fmla="*/ 152400 w 2209800"/>
                  <a:gd name="connsiteY4" fmla="*/ 1819729 h 3339434"/>
                  <a:gd name="connsiteX5" fmla="*/ 381000 w 2209800"/>
                  <a:gd name="connsiteY5" fmla="*/ 1743529 h 3339434"/>
                  <a:gd name="connsiteX6" fmla="*/ 533400 w 2209800"/>
                  <a:gd name="connsiteY6" fmla="*/ 1400629 h 3339434"/>
                  <a:gd name="connsiteX7" fmla="*/ 533400 w 2209800"/>
                  <a:gd name="connsiteY7" fmla="*/ 1553029 h 3339434"/>
                  <a:gd name="connsiteX8" fmla="*/ 381000 w 2209800"/>
                  <a:gd name="connsiteY8" fmla="*/ 2162629 h 3339434"/>
                  <a:gd name="connsiteX9" fmla="*/ 431800 w 2209800"/>
                  <a:gd name="connsiteY9" fmla="*/ 2324100 h 3339434"/>
                  <a:gd name="connsiteX10" fmla="*/ 876300 w 2209800"/>
                  <a:gd name="connsiteY10" fmla="*/ 2772229 h 3339434"/>
                  <a:gd name="connsiteX11" fmla="*/ 1447800 w 2209800"/>
                  <a:gd name="connsiteY11" fmla="*/ 3267529 h 3339434"/>
                  <a:gd name="connsiteX12" fmla="*/ 1841500 w 2209800"/>
                  <a:gd name="connsiteY12" fmla="*/ 3153228 h 3339434"/>
                  <a:gd name="connsiteX13" fmla="*/ 2209800 w 2209800"/>
                  <a:gd name="connsiteY13" fmla="*/ 1857829 h 3339434"/>
                  <a:gd name="connsiteX14" fmla="*/ 1752600 w 2209800"/>
                  <a:gd name="connsiteY14" fmla="*/ 994228 h 3339434"/>
                  <a:gd name="connsiteX15" fmla="*/ 1676400 w 2209800"/>
                  <a:gd name="connsiteY15" fmla="*/ 673102 h 3339434"/>
                  <a:gd name="connsiteX16" fmla="*/ 1714500 w 2209800"/>
                  <a:gd name="connsiteY16" fmla="*/ 105229 h 3339434"/>
                  <a:gd name="connsiteX17" fmla="*/ 1409700 w 2209800"/>
                  <a:gd name="connsiteY17" fmla="*/ 29030 h 3339434"/>
                  <a:gd name="connsiteX18" fmla="*/ 1172029 w 2209800"/>
                  <a:gd name="connsiteY18" fmla="*/ 27215 h 3339434"/>
                  <a:gd name="connsiteX19" fmla="*/ 199571 w 2209800"/>
                  <a:gd name="connsiteY19" fmla="*/ 0 h 3339434"/>
                  <a:gd name="connsiteX0" fmla="*/ 199571 w 2209800"/>
                  <a:gd name="connsiteY0" fmla="*/ 0 h 3339434"/>
                  <a:gd name="connsiteX1" fmla="*/ 25400 w 2209800"/>
                  <a:gd name="connsiteY1" fmla="*/ 586015 h 3339434"/>
                  <a:gd name="connsiteX2" fmla="*/ 0 w 2209800"/>
                  <a:gd name="connsiteY2" fmla="*/ 1248229 h 3339434"/>
                  <a:gd name="connsiteX3" fmla="*/ 137886 w 2209800"/>
                  <a:gd name="connsiteY3" fmla="*/ 1456873 h 3339434"/>
                  <a:gd name="connsiteX4" fmla="*/ 152400 w 2209800"/>
                  <a:gd name="connsiteY4" fmla="*/ 1819729 h 3339434"/>
                  <a:gd name="connsiteX5" fmla="*/ 419100 w 2209800"/>
                  <a:gd name="connsiteY5" fmla="*/ 1832427 h 3339434"/>
                  <a:gd name="connsiteX6" fmla="*/ 533400 w 2209800"/>
                  <a:gd name="connsiteY6" fmla="*/ 1400629 h 3339434"/>
                  <a:gd name="connsiteX7" fmla="*/ 533400 w 2209800"/>
                  <a:gd name="connsiteY7" fmla="*/ 1553029 h 3339434"/>
                  <a:gd name="connsiteX8" fmla="*/ 381000 w 2209800"/>
                  <a:gd name="connsiteY8" fmla="*/ 2162629 h 3339434"/>
                  <a:gd name="connsiteX9" fmla="*/ 431800 w 2209800"/>
                  <a:gd name="connsiteY9" fmla="*/ 2324100 h 3339434"/>
                  <a:gd name="connsiteX10" fmla="*/ 876300 w 2209800"/>
                  <a:gd name="connsiteY10" fmla="*/ 2772229 h 3339434"/>
                  <a:gd name="connsiteX11" fmla="*/ 1447800 w 2209800"/>
                  <a:gd name="connsiteY11" fmla="*/ 3267529 h 3339434"/>
                  <a:gd name="connsiteX12" fmla="*/ 1841500 w 2209800"/>
                  <a:gd name="connsiteY12" fmla="*/ 3153228 h 3339434"/>
                  <a:gd name="connsiteX13" fmla="*/ 2209800 w 2209800"/>
                  <a:gd name="connsiteY13" fmla="*/ 1857829 h 3339434"/>
                  <a:gd name="connsiteX14" fmla="*/ 1752600 w 2209800"/>
                  <a:gd name="connsiteY14" fmla="*/ 994228 h 3339434"/>
                  <a:gd name="connsiteX15" fmla="*/ 1676400 w 2209800"/>
                  <a:gd name="connsiteY15" fmla="*/ 673102 h 3339434"/>
                  <a:gd name="connsiteX16" fmla="*/ 1714500 w 2209800"/>
                  <a:gd name="connsiteY16" fmla="*/ 105229 h 3339434"/>
                  <a:gd name="connsiteX17" fmla="*/ 1409700 w 2209800"/>
                  <a:gd name="connsiteY17" fmla="*/ 29030 h 3339434"/>
                  <a:gd name="connsiteX18" fmla="*/ 1172029 w 2209800"/>
                  <a:gd name="connsiteY18" fmla="*/ 27215 h 3339434"/>
                  <a:gd name="connsiteX19" fmla="*/ 199571 w 2209800"/>
                  <a:gd name="connsiteY19" fmla="*/ 0 h 3339434"/>
                  <a:gd name="connsiteX0" fmla="*/ 174168 w 2184397"/>
                  <a:gd name="connsiteY0" fmla="*/ 0 h 3339434"/>
                  <a:gd name="connsiteX1" fmla="*/ -3 w 2184397"/>
                  <a:gd name="connsiteY1" fmla="*/ 586015 h 3339434"/>
                  <a:gd name="connsiteX2" fmla="*/ 8026 w 2184397"/>
                  <a:gd name="connsiteY2" fmla="*/ 1210390 h 3339434"/>
                  <a:gd name="connsiteX3" fmla="*/ 112483 w 2184397"/>
                  <a:gd name="connsiteY3" fmla="*/ 1456873 h 3339434"/>
                  <a:gd name="connsiteX4" fmla="*/ 126997 w 2184397"/>
                  <a:gd name="connsiteY4" fmla="*/ 1819729 h 3339434"/>
                  <a:gd name="connsiteX5" fmla="*/ 393697 w 2184397"/>
                  <a:gd name="connsiteY5" fmla="*/ 1832427 h 3339434"/>
                  <a:gd name="connsiteX6" fmla="*/ 507997 w 2184397"/>
                  <a:gd name="connsiteY6" fmla="*/ 1400629 h 3339434"/>
                  <a:gd name="connsiteX7" fmla="*/ 507997 w 2184397"/>
                  <a:gd name="connsiteY7" fmla="*/ 1553029 h 3339434"/>
                  <a:gd name="connsiteX8" fmla="*/ 355597 w 2184397"/>
                  <a:gd name="connsiteY8" fmla="*/ 2162629 h 3339434"/>
                  <a:gd name="connsiteX9" fmla="*/ 406397 w 2184397"/>
                  <a:gd name="connsiteY9" fmla="*/ 2324100 h 3339434"/>
                  <a:gd name="connsiteX10" fmla="*/ 850897 w 2184397"/>
                  <a:gd name="connsiteY10" fmla="*/ 2772229 h 3339434"/>
                  <a:gd name="connsiteX11" fmla="*/ 1422397 w 2184397"/>
                  <a:gd name="connsiteY11" fmla="*/ 3267529 h 3339434"/>
                  <a:gd name="connsiteX12" fmla="*/ 1816097 w 2184397"/>
                  <a:gd name="connsiteY12" fmla="*/ 3153228 h 3339434"/>
                  <a:gd name="connsiteX13" fmla="*/ 2184397 w 2184397"/>
                  <a:gd name="connsiteY13" fmla="*/ 1857829 h 3339434"/>
                  <a:gd name="connsiteX14" fmla="*/ 1727197 w 2184397"/>
                  <a:gd name="connsiteY14" fmla="*/ 994228 h 3339434"/>
                  <a:gd name="connsiteX15" fmla="*/ 1650997 w 2184397"/>
                  <a:gd name="connsiteY15" fmla="*/ 673102 h 3339434"/>
                  <a:gd name="connsiteX16" fmla="*/ 1689097 w 2184397"/>
                  <a:gd name="connsiteY16" fmla="*/ 105229 h 3339434"/>
                  <a:gd name="connsiteX17" fmla="*/ 1384297 w 2184397"/>
                  <a:gd name="connsiteY17" fmla="*/ 29030 h 3339434"/>
                  <a:gd name="connsiteX18" fmla="*/ 1146626 w 2184397"/>
                  <a:gd name="connsiteY18" fmla="*/ 27215 h 3339434"/>
                  <a:gd name="connsiteX19" fmla="*/ 174168 w 2184397"/>
                  <a:gd name="connsiteY19" fmla="*/ 0 h 3339434"/>
                  <a:gd name="connsiteX0" fmla="*/ 174173 w 2184402"/>
                  <a:gd name="connsiteY0" fmla="*/ 0 h 3339434"/>
                  <a:gd name="connsiteX1" fmla="*/ 2 w 2184402"/>
                  <a:gd name="connsiteY1" fmla="*/ 586015 h 3339434"/>
                  <a:gd name="connsiteX2" fmla="*/ 8031 w 2184402"/>
                  <a:gd name="connsiteY2" fmla="*/ 1210390 h 3339434"/>
                  <a:gd name="connsiteX3" fmla="*/ 112488 w 2184402"/>
                  <a:gd name="connsiteY3" fmla="*/ 1456873 h 3339434"/>
                  <a:gd name="connsiteX4" fmla="*/ 127002 w 2184402"/>
                  <a:gd name="connsiteY4" fmla="*/ 1819729 h 3339434"/>
                  <a:gd name="connsiteX5" fmla="*/ 393702 w 2184402"/>
                  <a:gd name="connsiteY5" fmla="*/ 1832427 h 3339434"/>
                  <a:gd name="connsiteX6" fmla="*/ 508002 w 2184402"/>
                  <a:gd name="connsiteY6" fmla="*/ 1400629 h 3339434"/>
                  <a:gd name="connsiteX7" fmla="*/ 355602 w 2184402"/>
                  <a:gd name="connsiteY7" fmla="*/ 2162629 h 3339434"/>
                  <a:gd name="connsiteX8" fmla="*/ 406402 w 2184402"/>
                  <a:gd name="connsiteY8" fmla="*/ 2324100 h 3339434"/>
                  <a:gd name="connsiteX9" fmla="*/ 850902 w 2184402"/>
                  <a:gd name="connsiteY9" fmla="*/ 2772229 h 3339434"/>
                  <a:gd name="connsiteX10" fmla="*/ 1422402 w 2184402"/>
                  <a:gd name="connsiteY10" fmla="*/ 3267529 h 3339434"/>
                  <a:gd name="connsiteX11" fmla="*/ 1816102 w 2184402"/>
                  <a:gd name="connsiteY11" fmla="*/ 3153228 h 3339434"/>
                  <a:gd name="connsiteX12" fmla="*/ 2184402 w 2184402"/>
                  <a:gd name="connsiteY12" fmla="*/ 1857829 h 3339434"/>
                  <a:gd name="connsiteX13" fmla="*/ 1727202 w 2184402"/>
                  <a:gd name="connsiteY13" fmla="*/ 994228 h 3339434"/>
                  <a:gd name="connsiteX14" fmla="*/ 1651002 w 2184402"/>
                  <a:gd name="connsiteY14" fmla="*/ 673102 h 3339434"/>
                  <a:gd name="connsiteX15" fmla="*/ 1689102 w 2184402"/>
                  <a:gd name="connsiteY15" fmla="*/ 105229 h 3339434"/>
                  <a:gd name="connsiteX16" fmla="*/ 1384302 w 2184402"/>
                  <a:gd name="connsiteY16" fmla="*/ 29030 h 3339434"/>
                  <a:gd name="connsiteX17" fmla="*/ 1146631 w 2184402"/>
                  <a:gd name="connsiteY17" fmla="*/ 27215 h 3339434"/>
                  <a:gd name="connsiteX18" fmla="*/ 174173 w 2184402"/>
                  <a:gd name="connsiteY18" fmla="*/ 0 h 3339434"/>
                  <a:gd name="connsiteX0" fmla="*/ 174173 w 2184402"/>
                  <a:gd name="connsiteY0" fmla="*/ 0 h 3339434"/>
                  <a:gd name="connsiteX1" fmla="*/ 2 w 2184402"/>
                  <a:gd name="connsiteY1" fmla="*/ 586015 h 3339434"/>
                  <a:gd name="connsiteX2" fmla="*/ 8031 w 2184402"/>
                  <a:gd name="connsiteY2" fmla="*/ 1210390 h 3339434"/>
                  <a:gd name="connsiteX3" fmla="*/ 112488 w 2184402"/>
                  <a:gd name="connsiteY3" fmla="*/ 1456873 h 3339434"/>
                  <a:gd name="connsiteX4" fmla="*/ 127002 w 2184402"/>
                  <a:gd name="connsiteY4" fmla="*/ 1819729 h 3339434"/>
                  <a:gd name="connsiteX5" fmla="*/ 393702 w 2184402"/>
                  <a:gd name="connsiteY5" fmla="*/ 1832427 h 3339434"/>
                  <a:gd name="connsiteX6" fmla="*/ 355602 w 2184402"/>
                  <a:gd name="connsiteY6" fmla="*/ 2162629 h 3339434"/>
                  <a:gd name="connsiteX7" fmla="*/ 406402 w 2184402"/>
                  <a:gd name="connsiteY7" fmla="*/ 2324100 h 3339434"/>
                  <a:gd name="connsiteX8" fmla="*/ 850902 w 2184402"/>
                  <a:gd name="connsiteY8" fmla="*/ 2772229 h 3339434"/>
                  <a:gd name="connsiteX9" fmla="*/ 1422402 w 2184402"/>
                  <a:gd name="connsiteY9" fmla="*/ 3267529 h 3339434"/>
                  <a:gd name="connsiteX10" fmla="*/ 1816102 w 2184402"/>
                  <a:gd name="connsiteY10" fmla="*/ 3153228 h 3339434"/>
                  <a:gd name="connsiteX11" fmla="*/ 2184402 w 2184402"/>
                  <a:gd name="connsiteY11" fmla="*/ 1857829 h 3339434"/>
                  <a:gd name="connsiteX12" fmla="*/ 1727202 w 2184402"/>
                  <a:gd name="connsiteY12" fmla="*/ 994228 h 3339434"/>
                  <a:gd name="connsiteX13" fmla="*/ 1651002 w 2184402"/>
                  <a:gd name="connsiteY13" fmla="*/ 673102 h 3339434"/>
                  <a:gd name="connsiteX14" fmla="*/ 1689102 w 2184402"/>
                  <a:gd name="connsiteY14" fmla="*/ 105229 h 3339434"/>
                  <a:gd name="connsiteX15" fmla="*/ 1384302 w 2184402"/>
                  <a:gd name="connsiteY15" fmla="*/ 29030 h 3339434"/>
                  <a:gd name="connsiteX16" fmla="*/ 1146631 w 2184402"/>
                  <a:gd name="connsiteY16" fmla="*/ 27215 h 3339434"/>
                  <a:gd name="connsiteX17" fmla="*/ 174173 w 2184402"/>
                  <a:gd name="connsiteY17" fmla="*/ 0 h 3339434"/>
                  <a:gd name="connsiteX0" fmla="*/ 174173 w 2184402"/>
                  <a:gd name="connsiteY0" fmla="*/ 0 h 3339434"/>
                  <a:gd name="connsiteX1" fmla="*/ 2 w 2184402"/>
                  <a:gd name="connsiteY1" fmla="*/ 586015 h 3339434"/>
                  <a:gd name="connsiteX2" fmla="*/ 8031 w 2184402"/>
                  <a:gd name="connsiteY2" fmla="*/ 1210390 h 3339434"/>
                  <a:gd name="connsiteX3" fmla="*/ 112488 w 2184402"/>
                  <a:gd name="connsiteY3" fmla="*/ 1456873 h 3339434"/>
                  <a:gd name="connsiteX4" fmla="*/ 189716 w 2184402"/>
                  <a:gd name="connsiteY4" fmla="*/ 1844812 h 3339434"/>
                  <a:gd name="connsiteX5" fmla="*/ 393702 w 2184402"/>
                  <a:gd name="connsiteY5" fmla="*/ 1832427 h 3339434"/>
                  <a:gd name="connsiteX6" fmla="*/ 355602 w 2184402"/>
                  <a:gd name="connsiteY6" fmla="*/ 2162629 h 3339434"/>
                  <a:gd name="connsiteX7" fmla="*/ 406402 w 2184402"/>
                  <a:gd name="connsiteY7" fmla="*/ 2324100 h 3339434"/>
                  <a:gd name="connsiteX8" fmla="*/ 850902 w 2184402"/>
                  <a:gd name="connsiteY8" fmla="*/ 2772229 h 3339434"/>
                  <a:gd name="connsiteX9" fmla="*/ 1422402 w 2184402"/>
                  <a:gd name="connsiteY9" fmla="*/ 3267529 h 3339434"/>
                  <a:gd name="connsiteX10" fmla="*/ 1816102 w 2184402"/>
                  <a:gd name="connsiteY10" fmla="*/ 3153228 h 3339434"/>
                  <a:gd name="connsiteX11" fmla="*/ 2184402 w 2184402"/>
                  <a:gd name="connsiteY11" fmla="*/ 1857829 h 3339434"/>
                  <a:gd name="connsiteX12" fmla="*/ 1727202 w 2184402"/>
                  <a:gd name="connsiteY12" fmla="*/ 994228 h 3339434"/>
                  <a:gd name="connsiteX13" fmla="*/ 1651002 w 2184402"/>
                  <a:gd name="connsiteY13" fmla="*/ 673102 h 3339434"/>
                  <a:gd name="connsiteX14" fmla="*/ 1689102 w 2184402"/>
                  <a:gd name="connsiteY14" fmla="*/ 105229 h 3339434"/>
                  <a:gd name="connsiteX15" fmla="*/ 1384302 w 2184402"/>
                  <a:gd name="connsiteY15" fmla="*/ 29030 h 3339434"/>
                  <a:gd name="connsiteX16" fmla="*/ 1146631 w 2184402"/>
                  <a:gd name="connsiteY16" fmla="*/ 27215 h 3339434"/>
                  <a:gd name="connsiteX17" fmla="*/ 174173 w 2184402"/>
                  <a:gd name="connsiteY17" fmla="*/ 0 h 3339434"/>
                  <a:gd name="connsiteX0" fmla="*/ 174173 w 2184402"/>
                  <a:gd name="connsiteY0" fmla="*/ 0 h 3339434"/>
                  <a:gd name="connsiteX1" fmla="*/ 2 w 2184402"/>
                  <a:gd name="connsiteY1" fmla="*/ 586015 h 3339434"/>
                  <a:gd name="connsiteX2" fmla="*/ 8031 w 2184402"/>
                  <a:gd name="connsiteY2" fmla="*/ 1210390 h 3339434"/>
                  <a:gd name="connsiteX3" fmla="*/ 112488 w 2184402"/>
                  <a:gd name="connsiteY3" fmla="*/ 1456873 h 3339434"/>
                  <a:gd name="connsiteX4" fmla="*/ 189716 w 2184402"/>
                  <a:gd name="connsiteY4" fmla="*/ 1844812 h 3339434"/>
                  <a:gd name="connsiteX5" fmla="*/ 393702 w 2184402"/>
                  <a:gd name="connsiteY5" fmla="*/ 1832427 h 3339434"/>
                  <a:gd name="connsiteX6" fmla="*/ 355602 w 2184402"/>
                  <a:gd name="connsiteY6" fmla="*/ 2162629 h 3339434"/>
                  <a:gd name="connsiteX7" fmla="*/ 406402 w 2184402"/>
                  <a:gd name="connsiteY7" fmla="*/ 2324100 h 3339434"/>
                  <a:gd name="connsiteX8" fmla="*/ 850902 w 2184402"/>
                  <a:gd name="connsiteY8" fmla="*/ 2772229 h 3339434"/>
                  <a:gd name="connsiteX9" fmla="*/ 1422402 w 2184402"/>
                  <a:gd name="connsiteY9" fmla="*/ 3267529 h 3339434"/>
                  <a:gd name="connsiteX10" fmla="*/ 1816102 w 2184402"/>
                  <a:gd name="connsiteY10" fmla="*/ 3153228 h 3339434"/>
                  <a:gd name="connsiteX11" fmla="*/ 2120582 w 2184402"/>
                  <a:gd name="connsiteY11" fmla="*/ 2164443 h 3339434"/>
                  <a:gd name="connsiteX12" fmla="*/ 2184402 w 2184402"/>
                  <a:gd name="connsiteY12" fmla="*/ 1857829 h 3339434"/>
                  <a:gd name="connsiteX13" fmla="*/ 1727202 w 2184402"/>
                  <a:gd name="connsiteY13" fmla="*/ 994228 h 3339434"/>
                  <a:gd name="connsiteX14" fmla="*/ 1651002 w 2184402"/>
                  <a:gd name="connsiteY14" fmla="*/ 673102 h 3339434"/>
                  <a:gd name="connsiteX15" fmla="*/ 1689102 w 2184402"/>
                  <a:gd name="connsiteY15" fmla="*/ 105229 h 3339434"/>
                  <a:gd name="connsiteX16" fmla="*/ 1384302 w 2184402"/>
                  <a:gd name="connsiteY16" fmla="*/ 29030 h 3339434"/>
                  <a:gd name="connsiteX17" fmla="*/ 1146631 w 2184402"/>
                  <a:gd name="connsiteY17" fmla="*/ 27215 h 3339434"/>
                  <a:gd name="connsiteX18" fmla="*/ 174173 w 2184402"/>
                  <a:gd name="connsiteY18" fmla="*/ 0 h 3339434"/>
                  <a:gd name="connsiteX0" fmla="*/ 174173 w 2121694"/>
                  <a:gd name="connsiteY0" fmla="*/ 0 h 3339434"/>
                  <a:gd name="connsiteX1" fmla="*/ 2 w 2121694"/>
                  <a:gd name="connsiteY1" fmla="*/ 586015 h 3339434"/>
                  <a:gd name="connsiteX2" fmla="*/ 8031 w 2121694"/>
                  <a:gd name="connsiteY2" fmla="*/ 1210390 h 3339434"/>
                  <a:gd name="connsiteX3" fmla="*/ 112488 w 2121694"/>
                  <a:gd name="connsiteY3" fmla="*/ 1456873 h 3339434"/>
                  <a:gd name="connsiteX4" fmla="*/ 189716 w 2121694"/>
                  <a:gd name="connsiteY4" fmla="*/ 1844812 h 3339434"/>
                  <a:gd name="connsiteX5" fmla="*/ 393702 w 2121694"/>
                  <a:gd name="connsiteY5" fmla="*/ 1832427 h 3339434"/>
                  <a:gd name="connsiteX6" fmla="*/ 355602 w 2121694"/>
                  <a:gd name="connsiteY6" fmla="*/ 2162629 h 3339434"/>
                  <a:gd name="connsiteX7" fmla="*/ 406402 w 2121694"/>
                  <a:gd name="connsiteY7" fmla="*/ 2324100 h 3339434"/>
                  <a:gd name="connsiteX8" fmla="*/ 850902 w 2121694"/>
                  <a:gd name="connsiteY8" fmla="*/ 2772229 h 3339434"/>
                  <a:gd name="connsiteX9" fmla="*/ 1422402 w 2121694"/>
                  <a:gd name="connsiteY9" fmla="*/ 3267529 h 3339434"/>
                  <a:gd name="connsiteX10" fmla="*/ 1816102 w 2121694"/>
                  <a:gd name="connsiteY10" fmla="*/ 3153228 h 3339434"/>
                  <a:gd name="connsiteX11" fmla="*/ 2120582 w 2121694"/>
                  <a:gd name="connsiteY11" fmla="*/ 2164443 h 3339434"/>
                  <a:gd name="connsiteX12" fmla="*/ 2121694 w 2121694"/>
                  <a:gd name="connsiteY12" fmla="*/ 1857832 h 3339434"/>
                  <a:gd name="connsiteX13" fmla="*/ 1727202 w 2121694"/>
                  <a:gd name="connsiteY13" fmla="*/ 994228 h 3339434"/>
                  <a:gd name="connsiteX14" fmla="*/ 1651002 w 2121694"/>
                  <a:gd name="connsiteY14" fmla="*/ 673102 h 3339434"/>
                  <a:gd name="connsiteX15" fmla="*/ 1689102 w 2121694"/>
                  <a:gd name="connsiteY15" fmla="*/ 105229 h 3339434"/>
                  <a:gd name="connsiteX16" fmla="*/ 1384302 w 2121694"/>
                  <a:gd name="connsiteY16" fmla="*/ 29030 h 3339434"/>
                  <a:gd name="connsiteX17" fmla="*/ 1146631 w 2121694"/>
                  <a:gd name="connsiteY17" fmla="*/ 27215 h 3339434"/>
                  <a:gd name="connsiteX18" fmla="*/ 174173 w 2121694"/>
                  <a:gd name="connsiteY18" fmla="*/ 0 h 3339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1694" h="3339434">
                    <a:moveTo>
                      <a:pt x="174173" y="0"/>
                    </a:moveTo>
                    <a:lnTo>
                      <a:pt x="2" y="586015"/>
                    </a:lnTo>
                    <a:lnTo>
                      <a:pt x="8031" y="1210390"/>
                    </a:lnTo>
                    <a:lnTo>
                      <a:pt x="112488" y="1456873"/>
                    </a:lnTo>
                    <a:lnTo>
                      <a:pt x="189716" y="1844812"/>
                    </a:lnTo>
                    <a:lnTo>
                      <a:pt x="393702" y="1832427"/>
                    </a:lnTo>
                    <a:lnTo>
                      <a:pt x="355602" y="2162629"/>
                    </a:lnTo>
                    <a:lnTo>
                      <a:pt x="406402" y="2324100"/>
                    </a:lnTo>
                    <a:lnTo>
                      <a:pt x="850902" y="2772229"/>
                    </a:lnTo>
                    <a:lnTo>
                      <a:pt x="1422402" y="3267529"/>
                    </a:lnTo>
                    <a:cubicBezTo>
                      <a:pt x="1649192" y="3299095"/>
                      <a:pt x="1816102" y="3339434"/>
                      <a:pt x="1816102" y="3153228"/>
                    </a:cubicBezTo>
                    <a:lnTo>
                      <a:pt x="2120582" y="2164443"/>
                    </a:lnTo>
                    <a:cubicBezTo>
                      <a:pt x="2120953" y="2062239"/>
                      <a:pt x="2121323" y="1960036"/>
                      <a:pt x="2121694" y="1857832"/>
                    </a:cubicBezTo>
                    <a:lnTo>
                      <a:pt x="1727202" y="994228"/>
                    </a:lnTo>
                    <a:lnTo>
                      <a:pt x="1651002" y="673102"/>
                    </a:lnTo>
                    <a:lnTo>
                      <a:pt x="1689102" y="105229"/>
                    </a:lnTo>
                    <a:lnTo>
                      <a:pt x="1384302" y="29030"/>
                    </a:lnTo>
                    <a:lnTo>
                      <a:pt x="1146631" y="27215"/>
                    </a:lnTo>
                    <a:lnTo>
                      <a:pt x="174173"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577" name="Freeform 188">
                <a:extLst>
                  <a:ext uri="{FF2B5EF4-FFF2-40B4-BE49-F238E27FC236}">
                    <a16:creationId xmlns:a16="http://schemas.microsoft.com/office/drawing/2014/main" id="{2B40CFFA-1A6C-46CC-9823-2ADEEDF70779}"/>
                  </a:ext>
                </a:extLst>
              </p:cNvPr>
              <p:cNvSpPr/>
              <p:nvPr/>
            </p:nvSpPr>
            <p:spPr>
              <a:xfrm rot="20726677">
                <a:off x="3505201" y="5966906"/>
                <a:ext cx="930141" cy="520832"/>
              </a:xfrm>
              <a:custGeom>
                <a:avLst/>
                <a:gdLst>
                  <a:gd name="connsiteX0" fmla="*/ 3390900 w 5295900"/>
                  <a:gd name="connsiteY0" fmla="*/ 0 h 2743200"/>
                  <a:gd name="connsiteX1" fmla="*/ 2857500 w 5295900"/>
                  <a:gd name="connsiteY1" fmla="*/ 914400 h 2743200"/>
                  <a:gd name="connsiteX2" fmla="*/ 2438400 w 5295900"/>
                  <a:gd name="connsiteY2" fmla="*/ 1333500 h 2743200"/>
                  <a:gd name="connsiteX3" fmla="*/ 1828800 w 5295900"/>
                  <a:gd name="connsiteY3" fmla="*/ 1638300 h 2743200"/>
                  <a:gd name="connsiteX4" fmla="*/ 228600 w 5295900"/>
                  <a:gd name="connsiteY4" fmla="*/ 1828800 h 2743200"/>
                  <a:gd name="connsiteX5" fmla="*/ 0 w 5295900"/>
                  <a:gd name="connsiteY5" fmla="*/ 2362200 h 2743200"/>
                  <a:gd name="connsiteX6" fmla="*/ 914400 w 5295900"/>
                  <a:gd name="connsiteY6" fmla="*/ 2667000 h 2743200"/>
                  <a:gd name="connsiteX7" fmla="*/ 2286000 w 5295900"/>
                  <a:gd name="connsiteY7" fmla="*/ 2743200 h 2743200"/>
                  <a:gd name="connsiteX8" fmla="*/ 3162300 w 5295900"/>
                  <a:gd name="connsiteY8" fmla="*/ 2247900 h 2743200"/>
                  <a:gd name="connsiteX9" fmla="*/ 3924300 w 5295900"/>
                  <a:gd name="connsiteY9" fmla="*/ 2095500 h 2743200"/>
                  <a:gd name="connsiteX10" fmla="*/ 4305300 w 5295900"/>
                  <a:gd name="connsiteY10" fmla="*/ 2552700 h 2743200"/>
                  <a:gd name="connsiteX11" fmla="*/ 4419600 w 5295900"/>
                  <a:gd name="connsiteY11" fmla="*/ 2743200 h 2743200"/>
                  <a:gd name="connsiteX12" fmla="*/ 4838700 w 5295900"/>
                  <a:gd name="connsiteY12" fmla="*/ 2743200 h 2743200"/>
                  <a:gd name="connsiteX13" fmla="*/ 4914900 w 5295900"/>
                  <a:gd name="connsiteY13" fmla="*/ 2019300 h 2743200"/>
                  <a:gd name="connsiteX14" fmla="*/ 5181600 w 5295900"/>
                  <a:gd name="connsiteY14" fmla="*/ 1638300 h 2743200"/>
                  <a:gd name="connsiteX15" fmla="*/ 5295900 w 5295900"/>
                  <a:gd name="connsiteY15" fmla="*/ 914400 h 2743200"/>
                  <a:gd name="connsiteX16" fmla="*/ 5181600 w 5295900"/>
                  <a:gd name="connsiteY16" fmla="*/ 723900 h 2743200"/>
                  <a:gd name="connsiteX17" fmla="*/ 4648200 w 5295900"/>
                  <a:gd name="connsiteY17" fmla="*/ 838200 h 2743200"/>
                  <a:gd name="connsiteX18" fmla="*/ 3733800 w 5295900"/>
                  <a:gd name="connsiteY18" fmla="*/ 723900 h 2743200"/>
                  <a:gd name="connsiteX19" fmla="*/ 3314700 w 5295900"/>
                  <a:gd name="connsiteY19" fmla="*/ 190500 h 2743200"/>
                  <a:gd name="connsiteX0" fmla="*/ 3390900 w 5295900"/>
                  <a:gd name="connsiteY0" fmla="*/ 0 h 2743200"/>
                  <a:gd name="connsiteX1" fmla="*/ 2857500 w 5295900"/>
                  <a:gd name="connsiteY1" fmla="*/ 914400 h 2743200"/>
                  <a:gd name="connsiteX2" fmla="*/ 2438400 w 5295900"/>
                  <a:gd name="connsiteY2" fmla="*/ 1333500 h 2743200"/>
                  <a:gd name="connsiteX3" fmla="*/ 1828800 w 5295900"/>
                  <a:gd name="connsiteY3" fmla="*/ 1638300 h 2743200"/>
                  <a:gd name="connsiteX4" fmla="*/ 228600 w 5295900"/>
                  <a:gd name="connsiteY4" fmla="*/ 1828800 h 2743200"/>
                  <a:gd name="connsiteX5" fmla="*/ 36992 w 5295900"/>
                  <a:gd name="connsiteY5" fmla="*/ 2025150 h 2743200"/>
                  <a:gd name="connsiteX6" fmla="*/ 0 w 5295900"/>
                  <a:gd name="connsiteY6" fmla="*/ 2362200 h 2743200"/>
                  <a:gd name="connsiteX7" fmla="*/ 914400 w 5295900"/>
                  <a:gd name="connsiteY7" fmla="*/ 2667000 h 2743200"/>
                  <a:gd name="connsiteX8" fmla="*/ 2286000 w 5295900"/>
                  <a:gd name="connsiteY8" fmla="*/ 2743200 h 2743200"/>
                  <a:gd name="connsiteX9" fmla="*/ 3162300 w 5295900"/>
                  <a:gd name="connsiteY9" fmla="*/ 2247900 h 2743200"/>
                  <a:gd name="connsiteX10" fmla="*/ 3924300 w 5295900"/>
                  <a:gd name="connsiteY10" fmla="*/ 2095500 h 2743200"/>
                  <a:gd name="connsiteX11" fmla="*/ 4305300 w 5295900"/>
                  <a:gd name="connsiteY11" fmla="*/ 2552700 h 2743200"/>
                  <a:gd name="connsiteX12" fmla="*/ 4419600 w 5295900"/>
                  <a:gd name="connsiteY12" fmla="*/ 2743200 h 2743200"/>
                  <a:gd name="connsiteX13" fmla="*/ 4838700 w 5295900"/>
                  <a:gd name="connsiteY13" fmla="*/ 2743200 h 2743200"/>
                  <a:gd name="connsiteX14" fmla="*/ 4914900 w 5295900"/>
                  <a:gd name="connsiteY14" fmla="*/ 2019300 h 2743200"/>
                  <a:gd name="connsiteX15" fmla="*/ 5181600 w 5295900"/>
                  <a:gd name="connsiteY15" fmla="*/ 1638300 h 2743200"/>
                  <a:gd name="connsiteX16" fmla="*/ 5295900 w 5295900"/>
                  <a:gd name="connsiteY16" fmla="*/ 914400 h 2743200"/>
                  <a:gd name="connsiteX17" fmla="*/ 5181600 w 5295900"/>
                  <a:gd name="connsiteY17" fmla="*/ 723900 h 2743200"/>
                  <a:gd name="connsiteX18" fmla="*/ 4648200 w 5295900"/>
                  <a:gd name="connsiteY18" fmla="*/ 838200 h 2743200"/>
                  <a:gd name="connsiteX19" fmla="*/ 3733800 w 5295900"/>
                  <a:gd name="connsiteY19" fmla="*/ 723900 h 2743200"/>
                  <a:gd name="connsiteX20" fmla="*/ 3314700 w 5295900"/>
                  <a:gd name="connsiteY20" fmla="*/ 190500 h 2743200"/>
                  <a:gd name="connsiteX0" fmla="*/ 3390900 w 5295900"/>
                  <a:gd name="connsiteY0" fmla="*/ 0 h 2743200"/>
                  <a:gd name="connsiteX1" fmla="*/ 2857500 w 5295900"/>
                  <a:gd name="connsiteY1" fmla="*/ 914400 h 2743200"/>
                  <a:gd name="connsiteX2" fmla="*/ 2438400 w 5295900"/>
                  <a:gd name="connsiteY2" fmla="*/ 1333500 h 2743200"/>
                  <a:gd name="connsiteX3" fmla="*/ 1828800 w 5295900"/>
                  <a:gd name="connsiteY3" fmla="*/ 1638300 h 2743200"/>
                  <a:gd name="connsiteX4" fmla="*/ 228600 w 5295900"/>
                  <a:gd name="connsiteY4" fmla="*/ 1828800 h 2743200"/>
                  <a:gd name="connsiteX5" fmla="*/ 36992 w 5295900"/>
                  <a:gd name="connsiteY5" fmla="*/ 2025150 h 2743200"/>
                  <a:gd name="connsiteX6" fmla="*/ 0 w 5295900"/>
                  <a:gd name="connsiteY6" fmla="*/ 2362200 h 2743200"/>
                  <a:gd name="connsiteX7" fmla="*/ 914400 w 5295900"/>
                  <a:gd name="connsiteY7" fmla="*/ 2667000 h 2743200"/>
                  <a:gd name="connsiteX8" fmla="*/ 2286000 w 5295900"/>
                  <a:gd name="connsiteY8" fmla="*/ 2743200 h 2743200"/>
                  <a:gd name="connsiteX9" fmla="*/ 3162300 w 5295900"/>
                  <a:gd name="connsiteY9" fmla="*/ 2247900 h 2743200"/>
                  <a:gd name="connsiteX10" fmla="*/ 3924300 w 5295900"/>
                  <a:gd name="connsiteY10" fmla="*/ 2095500 h 2743200"/>
                  <a:gd name="connsiteX11" fmla="*/ 4305300 w 5295900"/>
                  <a:gd name="connsiteY11" fmla="*/ 2552700 h 2743200"/>
                  <a:gd name="connsiteX12" fmla="*/ 4419600 w 5295900"/>
                  <a:gd name="connsiteY12" fmla="*/ 2743200 h 2743200"/>
                  <a:gd name="connsiteX13" fmla="*/ 4838700 w 5295900"/>
                  <a:gd name="connsiteY13" fmla="*/ 2743200 h 2743200"/>
                  <a:gd name="connsiteX14" fmla="*/ 4914900 w 5295900"/>
                  <a:gd name="connsiteY14" fmla="*/ 2019300 h 2743200"/>
                  <a:gd name="connsiteX15" fmla="*/ 5181600 w 5295900"/>
                  <a:gd name="connsiteY15" fmla="*/ 1638300 h 2743200"/>
                  <a:gd name="connsiteX16" fmla="*/ 5295900 w 5295900"/>
                  <a:gd name="connsiteY16" fmla="*/ 914400 h 2743200"/>
                  <a:gd name="connsiteX17" fmla="*/ 5181600 w 5295900"/>
                  <a:gd name="connsiteY17" fmla="*/ 723900 h 2743200"/>
                  <a:gd name="connsiteX18" fmla="*/ 4648200 w 5295900"/>
                  <a:gd name="connsiteY18" fmla="*/ 838200 h 2743200"/>
                  <a:gd name="connsiteX19" fmla="*/ 3733800 w 5295900"/>
                  <a:gd name="connsiteY19" fmla="*/ 723900 h 2743200"/>
                  <a:gd name="connsiteX20" fmla="*/ 3314700 w 5295900"/>
                  <a:gd name="connsiteY20" fmla="*/ 190500 h 2743200"/>
                  <a:gd name="connsiteX0" fmla="*/ 3390900 w 5295900"/>
                  <a:gd name="connsiteY0" fmla="*/ 0 h 2743200"/>
                  <a:gd name="connsiteX1" fmla="*/ 2857500 w 5295900"/>
                  <a:gd name="connsiteY1" fmla="*/ 914400 h 2743200"/>
                  <a:gd name="connsiteX2" fmla="*/ 2438400 w 5295900"/>
                  <a:gd name="connsiteY2" fmla="*/ 1333500 h 2743200"/>
                  <a:gd name="connsiteX3" fmla="*/ 1828800 w 5295900"/>
                  <a:gd name="connsiteY3" fmla="*/ 1638300 h 2743200"/>
                  <a:gd name="connsiteX4" fmla="*/ 228600 w 5295900"/>
                  <a:gd name="connsiteY4" fmla="*/ 1828800 h 2743200"/>
                  <a:gd name="connsiteX5" fmla="*/ 36992 w 5295900"/>
                  <a:gd name="connsiteY5" fmla="*/ 2025150 h 2743200"/>
                  <a:gd name="connsiteX6" fmla="*/ 0 w 5295900"/>
                  <a:gd name="connsiteY6" fmla="*/ 2362200 h 2743200"/>
                  <a:gd name="connsiteX7" fmla="*/ 914400 w 5295900"/>
                  <a:gd name="connsiteY7" fmla="*/ 2667000 h 2743200"/>
                  <a:gd name="connsiteX8" fmla="*/ 2286000 w 5295900"/>
                  <a:gd name="connsiteY8" fmla="*/ 2743200 h 2743200"/>
                  <a:gd name="connsiteX9" fmla="*/ 3162300 w 5295900"/>
                  <a:gd name="connsiteY9" fmla="*/ 2247900 h 2743200"/>
                  <a:gd name="connsiteX10" fmla="*/ 3924300 w 5295900"/>
                  <a:gd name="connsiteY10" fmla="*/ 2095500 h 2743200"/>
                  <a:gd name="connsiteX11" fmla="*/ 4305300 w 5295900"/>
                  <a:gd name="connsiteY11" fmla="*/ 2552700 h 2743200"/>
                  <a:gd name="connsiteX12" fmla="*/ 4419600 w 5295900"/>
                  <a:gd name="connsiteY12" fmla="*/ 2743200 h 2743200"/>
                  <a:gd name="connsiteX13" fmla="*/ 4656013 w 5295900"/>
                  <a:gd name="connsiteY13" fmla="*/ 2712062 h 2743200"/>
                  <a:gd name="connsiteX14" fmla="*/ 4914900 w 5295900"/>
                  <a:gd name="connsiteY14" fmla="*/ 2019300 h 2743200"/>
                  <a:gd name="connsiteX15" fmla="*/ 5181600 w 5295900"/>
                  <a:gd name="connsiteY15" fmla="*/ 1638300 h 2743200"/>
                  <a:gd name="connsiteX16" fmla="*/ 5295900 w 5295900"/>
                  <a:gd name="connsiteY16" fmla="*/ 914400 h 2743200"/>
                  <a:gd name="connsiteX17" fmla="*/ 5181600 w 5295900"/>
                  <a:gd name="connsiteY17" fmla="*/ 723900 h 2743200"/>
                  <a:gd name="connsiteX18" fmla="*/ 4648200 w 5295900"/>
                  <a:gd name="connsiteY18" fmla="*/ 838200 h 2743200"/>
                  <a:gd name="connsiteX19" fmla="*/ 3733800 w 5295900"/>
                  <a:gd name="connsiteY19" fmla="*/ 723900 h 2743200"/>
                  <a:gd name="connsiteX20" fmla="*/ 3314700 w 5295900"/>
                  <a:gd name="connsiteY20" fmla="*/ 190500 h 2743200"/>
                  <a:gd name="connsiteX0" fmla="*/ 3390900 w 5295900"/>
                  <a:gd name="connsiteY0" fmla="*/ 0 h 2743200"/>
                  <a:gd name="connsiteX1" fmla="*/ 2857500 w 5295900"/>
                  <a:gd name="connsiteY1" fmla="*/ 914400 h 2743200"/>
                  <a:gd name="connsiteX2" fmla="*/ 2438400 w 5295900"/>
                  <a:gd name="connsiteY2" fmla="*/ 1333500 h 2743200"/>
                  <a:gd name="connsiteX3" fmla="*/ 1828800 w 5295900"/>
                  <a:gd name="connsiteY3" fmla="*/ 1638300 h 2743200"/>
                  <a:gd name="connsiteX4" fmla="*/ 228600 w 5295900"/>
                  <a:gd name="connsiteY4" fmla="*/ 1828800 h 2743200"/>
                  <a:gd name="connsiteX5" fmla="*/ 36992 w 5295900"/>
                  <a:gd name="connsiteY5" fmla="*/ 2025150 h 2743200"/>
                  <a:gd name="connsiteX6" fmla="*/ 0 w 5295900"/>
                  <a:gd name="connsiteY6" fmla="*/ 2362200 h 2743200"/>
                  <a:gd name="connsiteX7" fmla="*/ 914400 w 5295900"/>
                  <a:gd name="connsiteY7" fmla="*/ 2667000 h 2743200"/>
                  <a:gd name="connsiteX8" fmla="*/ 2286000 w 5295900"/>
                  <a:gd name="connsiteY8" fmla="*/ 2743200 h 2743200"/>
                  <a:gd name="connsiteX9" fmla="*/ 3162300 w 5295900"/>
                  <a:gd name="connsiteY9" fmla="*/ 2247900 h 2743200"/>
                  <a:gd name="connsiteX10" fmla="*/ 3924300 w 5295900"/>
                  <a:gd name="connsiteY10" fmla="*/ 2095500 h 2743200"/>
                  <a:gd name="connsiteX11" fmla="*/ 4305300 w 5295900"/>
                  <a:gd name="connsiteY11" fmla="*/ 2552700 h 2743200"/>
                  <a:gd name="connsiteX12" fmla="*/ 4419600 w 5295900"/>
                  <a:gd name="connsiteY12" fmla="*/ 2743200 h 2743200"/>
                  <a:gd name="connsiteX13" fmla="*/ 4656013 w 5295900"/>
                  <a:gd name="connsiteY13" fmla="*/ 2712062 h 2743200"/>
                  <a:gd name="connsiteX14" fmla="*/ 4914900 w 5295900"/>
                  <a:gd name="connsiteY14" fmla="*/ 2019300 h 2743200"/>
                  <a:gd name="connsiteX15" fmla="*/ 5181600 w 5295900"/>
                  <a:gd name="connsiteY15" fmla="*/ 1638300 h 2743200"/>
                  <a:gd name="connsiteX16" fmla="*/ 5295900 w 5295900"/>
                  <a:gd name="connsiteY16" fmla="*/ 914400 h 2743200"/>
                  <a:gd name="connsiteX17" fmla="*/ 5181600 w 5295900"/>
                  <a:gd name="connsiteY17" fmla="*/ 723900 h 2743200"/>
                  <a:gd name="connsiteX18" fmla="*/ 4648200 w 5295900"/>
                  <a:gd name="connsiteY18" fmla="*/ 838200 h 2743200"/>
                  <a:gd name="connsiteX19" fmla="*/ 3733800 w 5295900"/>
                  <a:gd name="connsiteY19" fmla="*/ 723900 h 2743200"/>
                  <a:gd name="connsiteX20" fmla="*/ 3314700 w 5295900"/>
                  <a:gd name="connsiteY20" fmla="*/ 190500 h 2743200"/>
                  <a:gd name="connsiteX0" fmla="*/ 3390900 w 5295900"/>
                  <a:gd name="connsiteY0" fmla="*/ 0 h 2743200"/>
                  <a:gd name="connsiteX1" fmla="*/ 2857500 w 5295900"/>
                  <a:gd name="connsiteY1" fmla="*/ 914400 h 2743200"/>
                  <a:gd name="connsiteX2" fmla="*/ 2438400 w 5295900"/>
                  <a:gd name="connsiteY2" fmla="*/ 1333500 h 2743200"/>
                  <a:gd name="connsiteX3" fmla="*/ 1828800 w 5295900"/>
                  <a:gd name="connsiteY3" fmla="*/ 1638300 h 2743200"/>
                  <a:gd name="connsiteX4" fmla="*/ 228600 w 5295900"/>
                  <a:gd name="connsiteY4" fmla="*/ 1828800 h 2743200"/>
                  <a:gd name="connsiteX5" fmla="*/ 36992 w 5295900"/>
                  <a:gd name="connsiteY5" fmla="*/ 2025150 h 2743200"/>
                  <a:gd name="connsiteX6" fmla="*/ 0 w 5295900"/>
                  <a:gd name="connsiteY6" fmla="*/ 2362200 h 2743200"/>
                  <a:gd name="connsiteX7" fmla="*/ 914400 w 5295900"/>
                  <a:gd name="connsiteY7" fmla="*/ 2667000 h 2743200"/>
                  <a:gd name="connsiteX8" fmla="*/ 2286000 w 5295900"/>
                  <a:gd name="connsiteY8" fmla="*/ 2743200 h 2743200"/>
                  <a:gd name="connsiteX9" fmla="*/ 3162300 w 5295900"/>
                  <a:gd name="connsiteY9" fmla="*/ 2247900 h 2743200"/>
                  <a:gd name="connsiteX10" fmla="*/ 3924300 w 5295900"/>
                  <a:gd name="connsiteY10" fmla="*/ 2095500 h 2743200"/>
                  <a:gd name="connsiteX11" fmla="*/ 4305300 w 5295900"/>
                  <a:gd name="connsiteY11" fmla="*/ 2552700 h 2743200"/>
                  <a:gd name="connsiteX12" fmla="*/ 4419600 w 5295900"/>
                  <a:gd name="connsiteY12" fmla="*/ 2743200 h 2743200"/>
                  <a:gd name="connsiteX13" fmla="*/ 4656013 w 5295900"/>
                  <a:gd name="connsiteY13" fmla="*/ 2712062 h 2743200"/>
                  <a:gd name="connsiteX14" fmla="*/ 4914900 w 5295900"/>
                  <a:gd name="connsiteY14" fmla="*/ 2019300 h 2743200"/>
                  <a:gd name="connsiteX15" fmla="*/ 5181600 w 5295900"/>
                  <a:gd name="connsiteY15" fmla="*/ 1638300 h 2743200"/>
                  <a:gd name="connsiteX16" fmla="*/ 5295900 w 5295900"/>
                  <a:gd name="connsiteY16" fmla="*/ 914400 h 2743200"/>
                  <a:gd name="connsiteX17" fmla="*/ 5181600 w 5295900"/>
                  <a:gd name="connsiteY17" fmla="*/ 723900 h 2743200"/>
                  <a:gd name="connsiteX18" fmla="*/ 4648200 w 5295900"/>
                  <a:gd name="connsiteY18" fmla="*/ 838200 h 2743200"/>
                  <a:gd name="connsiteX19" fmla="*/ 3733800 w 5295900"/>
                  <a:gd name="connsiteY19" fmla="*/ 723900 h 2743200"/>
                  <a:gd name="connsiteX20" fmla="*/ 3314700 w 5295900"/>
                  <a:gd name="connsiteY20" fmla="*/ 190500 h 274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295900" h="2743200">
                    <a:moveTo>
                      <a:pt x="3390900" y="0"/>
                    </a:moveTo>
                    <a:lnTo>
                      <a:pt x="2857500" y="914400"/>
                    </a:lnTo>
                    <a:lnTo>
                      <a:pt x="2438400" y="1333500"/>
                    </a:lnTo>
                    <a:cubicBezTo>
                      <a:pt x="1855694" y="1644276"/>
                      <a:pt x="2237697" y="1502515"/>
                      <a:pt x="1828800" y="1638300"/>
                    </a:cubicBezTo>
                    <a:lnTo>
                      <a:pt x="228600" y="1828800"/>
                    </a:lnTo>
                    <a:lnTo>
                      <a:pt x="36992" y="2025150"/>
                    </a:lnTo>
                    <a:lnTo>
                      <a:pt x="0" y="2362200"/>
                    </a:lnTo>
                    <a:cubicBezTo>
                      <a:pt x="196488" y="2474543"/>
                      <a:pt x="567035" y="2667000"/>
                      <a:pt x="914400" y="2667000"/>
                    </a:cubicBezTo>
                    <a:lnTo>
                      <a:pt x="2286000" y="2743200"/>
                    </a:lnTo>
                    <a:lnTo>
                      <a:pt x="3162300" y="2247900"/>
                    </a:lnTo>
                    <a:cubicBezTo>
                      <a:pt x="3620434" y="2068819"/>
                      <a:pt x="3670300" y="2146300"/>
                      <a:pt x="3924300" y="2095500"/>
                    </a:cubicBezTo>
                    <a:lnTo>
                      <a:pt x="4305300" y="2552700"/>
                    </a:lnTo>
                    <a:lnTo>
                      <a:pt x="4419600" y="2743200"/>
                    </a:lnTo>
                    <a:lnTo>
                      <a:pt x="4656013" y="2712062"/>
                    </a:lnTo>
                    <a:lnTo>
                      <a:pt x="4914900" y="2019300"/>
                    </a:lnTo>
                    <a:lnTo>
                      <a:pt x="5181600" y="1638300"/>
                    </a:lnTo>
                    <a:lnTo>
                      <a:pt x="5295900" y="914400"/>
                    </a:lnTo>
                    <a:lnTo>
                      <a:pt x="5181600" y="723900"/>
                    </a:lnTo>
                    <a:lnTo>
                      <a:pt x="4648200" y="838200"/>
                    </a:lnTo>
                    <a:lnTo>
                      <a:pt x="3733800" y="723900"/>
                    </a:lnTo>
                    <a:lnTo>
                      <a:pt x="3314700" y="190500"/>
                    </a:lnTo>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578" name="Freeform 189">
                <a:extLst>
                  <a:ext uri="{FF2B5EF4-FFF2-40B4-BE49-F238E27FC236}">
                    <a16:creationId xmlns:a16="http://schemas.microsoft.com/office/drawing/2014/main" id="{7ED45DC1-F8C8-41F1-A0B5-796CEE91B84F}"/>
                  </a:ext>
                </a:extLst>
              </p:cNvPr>
              <p:cNvSpPr/>
              <p:nvPr/>
            </p:nvSpPr>
            <p:spPr>
              <a:xfrm>
                <a:off x="3932799" y="2784060"/>
                <a:ext cx="1366494" cy="3392640"/>
              </a:xfrm>
              <a:custGeom>
                <a:avLst/>
                <a:gdLst>
                  <a:gd name="connsiteX0" fmla="*/ 457200 w 7200900"/>
                  <a:gd name="connsiteY0" fmla="*/ 1752600 h 13792200"/>
                  <a:gd name="connsiteX1" fmla="*/ 190500 w 7200900"/>
                  <a:gd name="connsiteY1" fmla="*/ 2133600 h 13792200"/>
                  <a:gd name="connsiteX2" fmla="*/ 266700 w 7200900"/>
                  <a:gd name="connsiteY2" fmla="*/ 2514600 h 13792200"/>
                  <a:gd name="connsiteX3" fmla="*/ 495300 w 7200900"/>
                  <a:gd name="connsiteY3" fmla="*/ 2705100 h 13792200"/>
                  <a:gd name="connsiteX4" fmla="*/ 457200 w 7200900"/>
                  <a:gd name="connsiteY4" fmla="*/ 3962400 h 13792200"/>
                  <a:gd name="connsiteX5" fmla="*/ 190500 w 7200900"/>
                  <a:gd name="connsiteY5" fmla="*/ 6819900 h 13792200"/>
                  <a:gd name="connsiteX6" fmla="*/ 0 w 7200900"/>
                  <a:gd name="connsiteY6" fmla="*/ 9144000 h 13792200"/>
                  <a:gd name="connsiteX7" fmla="*/ 76200 w 7200900"/>
                  <a:gd name="connsiteY7" fmla="*/ 10058400 h 13792200"/>
                  <a:gd name="connsiteX8" fmla="*/ 228600 w 7200900"/>
                  <a:gd name="connsiteY8" fmla="*/ 10629900 h 13792200"/>
                  <a:gd name="connsiteX9" fmla="*/ 838200 w 7200900"/>
                  <a:gd name="connsiteY9" fmla="*/ 13258800 h 13792200"/>
                  <a:gd name="connsiteX10" fmla="*/ 3810000 w 7200900"/>
                  <a:gd name="connsiteY10" fmla="*/ 13220700 h 13792200"/>
                  <a:gd name="connsiteX11" fmla="*/ 3009900 w 7200900"/>
                  <a:gd name="connsiteY11" fmla="*/ 10325100 h 13792200"/>
                  <a:gd name="connsiteX12" fmla="*/ 2971800 w 7200900"/>
                  <a:gd name="connsiteY12" fmla="*/ 9372600 h 13792200"/>
                  <a:gd name="connsiteX13" fmla="*/ 2819400 w 7200900"/>
                  <a:gd name="connsiteY13" fmla="*/ 9220200 h 13792200"/>
                  <a:gd name="connsiteX14" fmla="*/ 3009900 w 7200900"/>
                  <a:gd name="connsiteY14" fmla="*/ 9029700 h 13792200"/>
                  <a:gd name="connsiteX15" fmla="*/ 2857500 w 7200900"/>
                  <a:gd name="connsiteY15" fmla="*/ 7772400 h 13792200"/>
                  <a:gd name="connsiteX16" fmla="*/ 3619500 w 7200900"/>
                  <a:gd name="connsiteY16" fmla="*/ 4114800 h 13792200"/>
                  <a:gd name="connsiteX17" fmla="*/ 3848100 w 7200900"/>
                  <a:gd name="connsiteY17" fmla="*/ 5219700 h 13792200"/>
                  <a:gd name="connsiteX18" fmla="*/ 3924300 w 7200900"/>
                  <a:gd name="connsiteY18" fmla="*/ 7048500 h 13792200"/>
                  <a:gd name="connsiteX19" fmla="*/ 3924300 w 7200900"/>
                  <a:gd name="connsiteY19" fmla="*/ 9029700 h 13792200"/>
                  <a:gd name="connsiteX20" fmla="*/ 3810000 w 7200900"/>
                  <a:gd name="connsiteY20" fmla="*/ 10401300 h 13792200"/>
                  <a:gd name="connsiteX21" fmla="*/ 3962400 w 7200900"/>
                  <a:gd name="connsiteY21" fmla="*/ 11125200 h 13792200"/>
                  <a:gd name="connsiteX22" fmla="*/ 4152900 w 7200900"/>
                  <a:gd name="connsiteY22" fmla="*/ 12877800 h 13792200"/>
                  <a:gd name="connsiteX23" fmla="*/ 4229100 w 7200900"/>
                  <a:gd name="connsiteY23" fmla="*/ 13792200 h 13792200"/>
                  <a:gd name="connsiteX24" fmla="*/ 6858000 w 7200900"/>
                  <a:gd name="connsiteY24" fmla="*/ 13563600 h 13792200"/>
                  <a:gd name="connsiteX25" fmla="*/ 6858000 w 7200900"/>
                  <a:gd name="connsiteY25" fmla="*/ 11315700 h 13792200"/>
                  <a:gd name="connsiteX26" fmla="*/ 6705600 w 7200900"/>
                  <a:gd name="connsiteY26" fmla="*/ 8877300 h 13792200"/>
                  <a:gd name="connsiteX27" fmla="*/ 6934200 w 7200900"/>
                  <a:gd name="connsiteY27" fmla="*/ 5143500 h 13792200"/>
                  <a:gd name="connsiteX28" fmla="*/ 7124700 w 7200900"/>
                  <a:gd name="connsiteY28" fmla="*/ 4114800 h 13792200"/>
                  <a:gd name="connsiteX29" fmla="*/ 7200900 w 7200900"/>
                  <a:gd name="connsiteY29" fmla="*/ 2781300 h 13792200"/>
                  <a:gd name="connsiteX30" fmla="*/ 7162800 w 7200900"/>
                  <a:gd name="connsiteY30" fmla="*/ 2095500 h 13792200"/>
                  <a:gd name="connsiteX31" fmla="*/ 6096000 w 7200900"/>
                  <a:gd name="connsiteY31" fmla="*/ 2171700 h 13792200"/>
                  <a:gd name="connsiteX32" fmla="*/ 4495800 w 7200900"/>
                  <a:gd name="connsiteY32" fmla="*/ 2247900 h 13792200"/>
                  <a:gd name="connsiteX33" fmla="*/ 3962400 w 7200900"/>
                  <a:gd name="connsiteY33" fmla="*/ 2209800 h 13792200"/>
                  <a:gd name="connsiteX34" fmla="*/ 3429000 w 7200900"/>
                  <a:gd name="connsiteY34" fmla="*/ 1828800 h 13792200"/>
                  <a:gd name="connsiteX35" fmla="*/ 3276600 w 7200900"/>
                  <a:gd name="connsiteY35" fmla="*/ 1295400 h 13792200"/>
                  <a:gd name="connsiteX36" fmla="*/ 3162300 w 7200900"/>
                  <a:gd name="connsiteY36" fmla="*/ 0 h 13792200"/>
                  <a:gd name="connsiteX37" fmla="*/ 2819400 w 7200900"/>
                  <a:gd name="connsiteY37" fmla="*/ 76200 h 13792200"/>
                  <a:gd name="connsiteX38" fmla="*/ 2324100 w 7200900"/>
                  <a:gd name="connsiteY38" fmla="*/ 1562100 h 13792200"/>
                  <a:gd name="connsiteX39" fmla="*/ 2095500 w 7200900"/>
                  <a:gd name="connsiteY39" fmla="*/ 1790700 h 13792200"/>
                  <a:gd name="connsiteX40" fmla="*/ 1714500 w 7200900"/>
                  <a:gd name="connsiteY40" fmla="*/ 2095500 h 13792200"/>
                  <a:gd name="connsiteX41" fmla="*/ 1104900 w 7200900"/>
                  <a:gd name="connsiteY41" fmla="*/ 1981200 h 13792200"/>
                  <a:gd name="connsiteX42" fmla="*/ 419100 w 7200900"/>
                  <a:gd name="connsiteY42" fmla="*/ 1790700 h 13792200"/>
                  <a:gd name="connsiteX43" fmla="*/ 419100 w 7200900"/>
                  <a:gd name="connsiteY43" fmla="*/ 1790700 h 13792200"/>
                  <a:gd name="connsiteX0" fmla="*/ 457200 w 7200900"/>
                  <a:gd name="connsiteY0" fmla="*/ 1752600 h 17030700"/>
                  <a:gd name="connsiteX1" fmla="*/ 190500 w 7200900"/>
                  <a:gd name="connsiteY1" fmla="*/ 2133600 h 17030700"/>
                  <a:gd name="connsiteX2" fmla="*/ 266700 w 7200900"/>
                  <a:gd name="connsiteY2" fmla="*/ 2514600 h 17030700"/>
                  <a:gd name="connsiteX3" fmla="*/ 495300 w 7200900"/>
                  <a:gd name="connsiteY3" fmla="*/ 2705100 h 17030700"/>
                  <a:gd name="connsiteX4" fmla="*/ 457200 w 7200900"/>
                  <a:gd name="connsiteY4" fmla="*/ 3962400 h 17030700"/>
                  <a:gd name="connsiteX5" fmla="*/ 190500 w 7200900"/>
                  <a:gd name="connsiteY5" fmla="*/ 6819900 h 17030700"/>
                  <a:gd name="connsiteX6" fmla="*/ 0 w 7200900"/>
                  <a:gd name="connsiteY6" fmla="*/ 9144000 h 17030700"/>
                  <a:gd name="connsiteX7" fmla="*/ 76200 w 7200900"/>
                  <a:gd name="connsiteY7" fmla="*/ 10058400 h 17030700"/>
                  <a:gd name="connsiteX8" fmla="*/ 228600 w 7200900"/>
                  <a:gd name="connsiteY8" fmla="*/ 10629900 h 17030700"/>
                  <a:gd name="connsiteX9" fmla="*/ 838200 w 7200900"/>
                  <a:gd name="connsiteY9" fmla="*/ 13258800 h 17030700"/>
                  <a:gd name="connsiteX10" fmla="*/ 3810000 w 7200900"/>
                  <a:gd name="connsiteY10" fmla="*/ 13220700 h 17030700"/>
                  <a:gd name="connsiteX11" fmla="*/ 3009900 w 7200900"/>
                  <a:gd name="connsiteY11" fmla="*/ 10325100 h 17030700"/>
                  <a:gd name="connsiteX12" fmla="*/ 2971800 w 7200900"/>
                  <a:gd name="connsiteY12" fmla="*/ 9372600 h 17030700"/>
                  <a:gd name="connsiteX13" fmla="*/ 2819400 w 7200900"/>
                  <a:gd name="connsiteY13" fmla="*/ 9220200 h 17030700"/>
                  <a:gd name="connsiteX14" fmla="*/ 3009900 w 7200900"/>
                  <a:gd name="connsiteY14" fmla="*/ 9029700 h 17030700"/>
                  <a:gd name="connsiteX15" fmla="*/ 2857500 w 7200900"/>
                  <a:gd name="connsiteY15" fmla="*/ 7772400 h 17030700"/>
                  <a:gd name="connsiteX16" fmla="*/ 3619500 w 7200900"/>
                  <a:gd name="connsiteY16" fmla="*/ 4114800 h 17030700"/>
                  <a:gd name="connsiteX17" fmla="*/ 3848100 w 7200900"/>
                  <a:gd name="connsiteY17" fmla="*/ 5219700 h 17030700"/>
                  <a:gd name="connsiteX18" fmla="*/ 3924300 w 7200900"/>
                  <a:gd name="connsiteY18" fmla="*/ 7048500 h 17030700"/>
                  <a:gd name="connsiteX19" fmla="*/ 3924300 w 7200900"/>
                  <a:gd name="connsiteY19" fmla="*/ 9029700 h 17030700"/>
                  <a:gd name="connsiteX20" fmla="*/ 3810000 w 7200900"/>
                  <a:gd name="connsiteY20" fmla="*/ 10401300 h 17030700"/>
                  <a:gd name="connsiteX21" fmla="*/ 3962400 w 7200900"/>
                  <a:gd name="connsiteY21" fmla="*/ 11125200 h 17030700"/>
                  <a:gd name="connsiteX22" fmla="*/ 4152900 w 7200900"/>
                  <a:gd name="connsiteY22" fmla="*/ 12877800 h 17030700"/>
                  <a:gd name="connsiteX23" fmla="*/ 4229100 w 7200900"/>
                  <a:gd name="connsiteY23" fmla="*/ 13792200 h 17030700"/>
                  <a:gd name="connsiteX24" fmla="*/ 5715000 w 7200900"/>
                  <a:gd name="connsiteY24" fmla="*/ 17030700 h 17030700"/>
                  <a:gd name="connsiteX25" fmla="*/ 6858000 w 7200900"/>
                  <a:gd name="connsiteY25" fmla="*/ 13563600 h 17030700"/>
                  <a:gd name="connsiteX26" fmla="*/ 6858000 w 7200900"/>
                  <a:gd name="connsiteY26" fmla="*/ 11315700 h 17030700"/>
                  <a:gd name="connsiteX27" fmla="*/ 6705600 w 7200900"/>
                  <a:gd name="connsiteY27" fmla="*/ 8877300 h 17030700"/>
                  <a:gd name="connsiteX28" fmla="*/ 6934200 w 7200900"/>
                  <a:gd name="connsiteY28" fmla="*/ 5143500 h 17030700"/>
                  <a:gd name="connsiteX29" fmla="*/ 7124700 w 7200900"/>
                  <a:gd name="connsiteY29" fmla="*/ 4114800 h 17030700"/>
                  <a:gd name="connsiteX30" fmla="*/ 7200900 w 7200900"/>
                  <a:gd name="connsiteY30" fmla="*/ 2781300 h 17030700"/>
                  <a:gd name="connsiteX31" fmla="*/ 7162800 w 7200900"/>
                  <a:gd name="connsiteY31" fmla="*/ 2095500 h 17030700"/>
                  <a:gd name="connsiteX32" fmla="*/ 6096000 w 7200900"/>
                  <a:gd name="connsiteY32" fmla="*/ 2171700 h 17030700"/>
                  <a:gd name="connsiteX33" fmla="*/ 4495800 w 7200900"/>
                  <a:gd name="connsiteY33" fmla="*/ 2247900 h 17030700"/>
                  <a:gd name="connsiteX34" fmla="*/ 3962400 w 7200900"/>
                  <a:gd name="connsiteY34" fmla="*/ 2209800 h 17030700"/>
                  <a:gd name="connsiteX35" fmla="*/ 3429000 w 7200900"/>
                  <a:gd name="connsiteY35" fmla="*/ 1828800 h 17030700"/>
                  <a:gd name="connsiteX36" fmla="*/ 3276600 w 7200900"/>
                  <a:gd name="connsiteY36" fmla="*/ 1295400 h 17030700"/>
                  <a:gd name="connsiteX37" fmla="*/ 3162300 w 7200900"/>
                  <a:gd name="connsiteY37" fmla="*/ 0 h 17030700"/>
                  <a:gd name="connsiteX38" fmla="*/ 2819400 w 7200900"/>
                  <a:gd name="connsiteY38" fmla="*/ 76200 h 17030700"/>
                  <a:gd name="connsiteX39" fmla="*/ 2324100 w 7200900"/>
                  <a:gd name="connsiteY39" fmla="*/ 1562100 h 17030700"/>
                  <a:gd name="connsiteX40" fmla="*/ 2095500 w 7200900"/>
                  <a:gd name="connsiteY40" fmla="*/ 1790700 h 17030700"/>
                  <a:gd name="connsiteX41" fmla="*/ 1714500 w 7200900"/>
                  <a:gd name="connsiteY41" fmla="*/ 2095500 h 17030700"/>
                  <a:gd name="connsiteX42" fmla="*/ 1104900 w 7200900"/>
                  <a:gd name="connsiteY42" fmla="*/ 1981200 h 17030700"/>
                  <a:gd name="connsiteX43" fmla="*/ 419100 w 7200900"/>
                  <a:gd name="connsiteY43" fmla="*/ 1790700 h 17030700"/>
                  <a:gd name="connsiteX44" fmla="*/ 419100 w 7200900"/>
                  <a:gd name="connsiteY44" fmla="*/ 1790700 h 17030700"/>
                  <a:gd name="connsiteX0" fmla="*/ 457200 w 8724900"/>
                  <a:gd name="connsiteY0" fmla="*/ 1752600 h 20955000"/>
                  <a:gd name="connsiteX1" fmla="*/ 190500 w 8724900"/>
                  <a:gd name="connsiteY1" fmla="*/ 2133600 h 20955000"/>
                  <a:gd name="connsiteX2" fmla="*/ 266700 w 8724900"/>
                  <a:gd name="connsiteY2" fmla="*/ 2514600 h 20955000"/>
                  <a:gd name="connsiteX3" fmla="*/ 495300 w 8724900"/>
                  <a:gd name="connsiteY3" fmla="*/ 2705100 h 20955000"/>
                  <a:gd name="connsiteX4" fmla="*/ 457200 w 8724900"/>
                  <a:gd name="connsiteY4" fmla="*/ 3962400 h 20955000"/>
                  <a:gd name="connsiteX5" fmla="*/ 190500 w 8724900"/>
                  <a:gd name="connsiteY5" fmla="*/ 6819900 h 20955000"/>
                  <a:gd name="connsiteX6" fmla="*/ 0 w 8724900"/>
                  <a:gd name="connsiteY6" fmla="*/ 9144000 h 20955000"/>
                  <a:gd name="connsiteX7" fmla="*/ 76200 w 8724900"/>
                  <a:gd name="connsiteY7" fmla="*/ 10058400 h 20955000"/>
                  <a:gd name="connsiteX8" fmla="*/ 228600 w 8724900"/>
                  <a:gd name="connsiteY8" fmla="*/ 10629900 h 20955000"/>
                  <a:gd name="connsiteX9" fmla="*/ 838200 w 8724900"/>
                  <a:gd name="connsiteY9" fmla="*/ 13258800 h 20955000"/>
                  <a:gd name="connsiteX10" fmla="*/ 3810000 w 8724900"/>
                  <a:gd name="connsiteY10" fmla="*/ 13220700 h 20955000"/>
                  <a:gd name="connsiteX11" fmla="*/ 3009900 w 8724900"/>
                  <a:gd name="connsiteY11" fmla="*/ 10325100 h 20955000"/>
                  <a:gd name="connsiteX12" fmla="*/ 2971800 w 8724900"/>
                  <a:gd name="connsiteY12" fmla="*/ 9372600 h 20955000"/>
                  <a:gd name="connsiteX13" fmla="*/ 2819400 w 8724900"/>
                  <a:gd name="connsiteY13" fmla="*/ 9220200 h 20955000"/>
                  <a:gd name="connsiteX14" fmla="*/ 3009900 w 8724900"/>
                  <a:gd name="connsiteY14" fmla="*/ 9029700 h 20955000"/>
                  <a:gd name="connsiteX15" fmla="*/ 2857500 w 8724900"/>
                  <a:gd name="connsiteY15" fmla="*/ 7772400 h 20955000"/>
                  <a:gd name="connsiteX16" fmla="*/ 3619500 w 8724900"/>
                  <a:gd name="connsiteY16" fmla="*/ 4114800 h 20955000"/>
                  <a:gd name="connsiteX17" fmla="*/ 3848100 w 8724900"/>
                  <a:gd name="connsiteY17" fmla="*/ 5219700 h 20955000"/>
                  <a:gd name="connsiteX18" fmla="*/ 3924300 w 8724900"/>
                  <a:gd name="connsiteY18" fmla="*/ 7048500 h 20955000"/>
                  <a:gd name="connsiteX19" fmla="*/ 3924300 w 8724900"/>
                  <a:gd name="connsiteY19" fmla="*/ 9029700 h 20955000"/>
                  <a:gd name="connsiteX20" fmla="*/ 3810000 w 8724900"/>
                  <a:gd name="connsiteY20" fmla="*/ 10401300 h 20955000"/>
                  <a:gd name="connsiteX21" fmla="*/ 3962400 w 8724900"/>
                  <a:gd name="connsiteY21" fmla="*/ 11125200 h 20955000"/>
                  <a:gd name="connsiteX22" fmla="*/ 4152900 w 8724900"/>
                  <a:gd name="connsiteY22" fmla="*/ 12877800 h 20955000"/>
                  <a:gd name="connsiteX23" fmla="*/ 4229100 w 8724900"/>
                  <a:gd name="connsiteY23" fmla="*/ 13792200 h 20955000"/>
                  <a:gd name="connsiteX24" fmla="*/ 5715000 w 8724900"/>
                  <a:gd name="connsiteY24" fmla="*/ 17030700 h 20955000"/>
                  <a:gd name="connsiteX25" fmla="*/ 8724900 w 8724900"/>
                  <a:gd name="connsiteY25" fmla="*/ 20955000 h 20955000"/>
                  <a:gd name="connsiteX26" fmla="*/ 6858000 w 8724900"/>
                  <a:gd name="connsiteY26" fmla="*/ 13563600 h 20955000"/>
                  <a:gd name="connsiteX27" fmla="*/ 6858000 w 8724900"/>
                  <a:gd name="connsiteY27" fmla="*/ 11315700 h 20955000"/>
                  <a:gd name="connsiteX28" fmla="*/ 6705600 w 8724900"/>
                  <a:gd name="connsiteY28" fmla="*/ 8877300 h 20955000"/>
                  <a:gd name="connsiteX29" fmla="*/ 6934200 w 8724900"/>
                  <a:gd name="connsiteY29" fmla="*/ 5143500 h 20955000"/>
                  <a:gd name="connsiteX30" fmla="*/ 7124700 w 8724900"/>
                  <a:gd name="connsiteY30" fmla="*/ 4114800 h 20955000"/>
                  <a:gd name="connsiteX31" fmla="*/ 7200900 w 8724900"/>
                  <a:gd name="connsiteY31" fmla="*/ 2781300 h 20955000"/>
                  <a:gd name="connsiteX32" fmla="*/ 7162800 w 8724900"/>
                  <a:gd name="connsiteY32" fmla="*/ 2095500 h 20955000"/>
                  <a:gd name="connsiteX33" fmla="*/ 6096000 w 8724900"/>
                  <a:gd name="connsiteY33" fmla="*/ 2171700 h 20955000"/>
                  <a:gd name="connsiteX34" fmla="*/ 4495800 w 8724900"/>
                  <a:gd name="connsiteY34" fmla="*/ 2247900 h 20955000"/>
                  <a:gd name="connsiteX35" fmla="*/ 3962400 w 8724900"/>
                  <a:gd name="connsiteY35" fmla="*/ 2209800 h 20955000"/>
                  <a:gd name="connsiteX36" fmla="*/ 3429000 w 8724900"/>
                  <a:gd name="connsiteY36" fmla="*/ 1828800 h 20955000"/>
                  <a:gd name="connsiteX37" fmla="*/ 3276600 w 8724900"/>
                  <a:gd name="connsiteY37" fmla="*/ 1295400 h 20955000"/>
                  <a:gd name="connsiteX38" fmla="*/ 3162300 w 8724900"/>
                  <a:gd name="connsiteY38" fmla="*/ 0 h 20955000"/>
                  <a:gd name="connsiteX39" fmla="*/ 2819400 w 8724900"/>
                  <a:gd name="connsiteY39" fmla="*/ 76200 h 20955000"/>
                  <a:gd name="connsiteX40" fmla="*/ 2324100 w 8724900"/>
                  <a:gd name="connsiteY40" fmla="*/ 1562100 h 20955000"/>
                  <a:gd name="connsiteX41" fmla="*/ 2095500 w 8724900"/>
                  <a:gd name="connsiteY41" fmla="*/ 1790700 h 20955000"/>
                  <a:gd name="connsiteX42" fmla="*/ 1714500 w 8724900"/>
                  <a:gd name="connsiteY42" fmla="*/ 2095500 h 20955000"/>
                  <a:gd name="connsiteX43" fmla="*/ 1104900 w 8724900"/>
                  <a:gd name="connsiteY43" fmla="*/ 1981200 h 20955000"/>
                  <a:gd name="connsiteX44" fmla="*/ 419100 w 8724900"/>
                  <a:gd name="connsiteY44" fmla="*/ 1790700 h 20955000"/>
                  <a:gd name="connsiteX45" fmla="*/ 419100 w 8724900"/>
                  <a:gd name="connsiteY45" fmla="*/ 1790700 h 20955000"/>
                  <a:gd name="connsiteX0" fmla="*/ 457200 w 8724900"/>
                  <a:gd name="connsiteY0" fmla="*/ 1752600 h 21297900"/>
                  <a:gd name="connsiteX1" fmla="*/ 190500 w 8724900"/>
                  <a:gd name="connsiteY1" fmla="*/ 2133600 h 21297900"/>
                  <a:gd name="connsiteX2" fmla="*/ 266700 w 8724900"/>
                  <a:gd name="connsiteY2" fmla="*/ 2514600 h 21297900"/>
                  <a:gd name="connsiteX3" fmla="*/ 495300 w 8724900"/>
                  <a:gd name="connsiteY3" fmla="*/ 2705100 h 21297900"/>
                  <a:gd name="connsiteX4" fmla="*/ 457200 w 8724900"/>
                  <a:gd name="connsiteY4" fmla="*/ 3962400 h 21297900"/>
                  <a:gd name="connsiteX5" fmla="*/ 190500 w 8724900"/>
                  <a:gd name="connsiteY5" fmla="*/ 6819900 h 21297900"/>
                  <a:gd name="connsiteX6" fmla="*/ 0 w 8724900"/>
                  <a:gd name="connsiteY6" fmla="*/ 9144000 h 21297900"/>
                  <a:gd name="connsiteX7" fmla="*/ 76200 w 8724900"/>
                  <a:gd name="connsiteY7" fmla="*/ 10058400 h 21297900"/>
                  <a:gd name="connsiteX8" fmla="*/ 228600 w 8724900"/>
                  <a:gd name="connsiteY8" fmla="*/ 10629900 h 21297900"/>
                  <a:gd name="connsiteX9" fmla="*/ 838200 w 8724900"/>
                  <a:gd name="connsiteY9" fmla="*/ 13258800 h 21297900"/>
                  <a:gd name="connsiteX10" fmla="*/ 3810000 w 8724900"/>
                  <a:gd name="connsiteY10" fmla="*/ 13220700 h 21297900"/>
                  <a:gd name="connsiteX11" fmla="*/ 3009900 w 8724900"/>
                  <a:gd name="connsiteY11" fmla="*/ 10325100 h 21297900"/>
                  <a:gd name="connsiteX12" fmla="*/ 2971800 w 8724900"/>
                  <a:gd name="connsiteY12" fmla="*/ 9372600 h 21297900"/>
                  <a:gd name="connsiteX13" fmla="*/ 2819400 w 8724900"/>
                  <a:gd name="connsiteY13" fmla="*/ 9220200 h 21297900"/>
                  <a:gd name="connsiteX14" fmla="*/ 3009900 w 8724900"/>
                  <a:gd name="connsiteY14" fmla="*/ 9029700 h 21297900"/>
                  <a:gd name="connsiteX15" fmla="*/ 2857500 w 8724900"/>
                  <a:gd name="connsiteY15" fmla="*/ 7772400 h 21297900"/>
                  <a:gd name="connsiteX16" fmla="*/ 3619500 w 8724900"/>
                  <a:gd name="connsiteY16" fmla="*/ 4114800 h 21297900"/>
                  <a:gd name="connsiteX17" fmla="*/ 3848100 w 8724900"/>
                  <a:gd name="connsiteY17" fmla="*/ 5219700 h 21297900"/>
                  <a:gd name="connsiteX18" fmla="*/ 3924300 w 8724900"/>
                  <a:gd name="connsiteY18" fmla="*/ 7048500 h 21297900"/>
                  <a:gd name="connsiteX19" fmla="*/ 3924300 w 8724900"/>
                  <a:gd name="connsiteY19" fmla="*/ 9029700 h 21297900"/>
                  <a:gd name="connsiteX20" fmla="*/ 3810000 w 8724900"/>
                  <a:gd name="connsiteY20" fmla="*/ 10401300 h 21297900"/>
                  <a:gd name="connsiteX21" fmla="*/ 3962400 w 8724900"/>
                  <a:gd name="connsiteY21" fmla="*/ 11125200 h 21297900"/>
                  <a:gd name="connsiteX22" fmla="*/ 4152900 w 8724900"/>
                  <a:gd name="connsiteY22" fmla="*/ 12877800 h 21297900"/>
                  <a:gd name="connsiteX23" fmla="*/ 4229100 w 8724900"/>
                  <a:gd name="connsiteY23" fmla="*/ 13792200 h 21297900"/>
                  <a:gd name="connsiteX24" fmla="*/ 5257800 w 8724900"/>
                  <a:gd name="connsiteY24" fmla="*/ 21297900 h 21297900"/>
                  <a:gd name="connsiteX25" fmla="*/ 5715000 w 8724900"/>
                  <a:gd name="connsiteY25" fmla="*/ 17030700 h 21297900"/>
                  <a:gd name="connsiteX26" fmla="*/ 8724900 w 8724900"/>
                  <a:gd name="connsiteY26" fmla="*/ 20955000 h 21297900"/>
                  <a:gd name="connsiteX27" fmla="*/ 6858000 w 8724900"/>
                  <a:gd name="connsiteY27" fmla="*/ 13563600 h 21297900"/>
                  <a:gd name="connsiteX28" fmla="*/ 6858000 w 8724900"/>
                  <a:gd name="connsiteY28" fmla="*/ 11315700 h 21297900"/>
                  <a:gd name="connsiteX29" fmla="*/ 6705600 w 8724900"/>
                  <a:gd name="connsiteY29" fmla="*/ 8877300 h 21297900"/>
                  <a:gd name="connsiteX30" fmla="*/ 6934200 w 8724900"/>
                  <a:gd name="connsiteY30" fmla="*/ 5143500 h 21297900"/>
                  <a:gd name="connsiteX31" fmla="*/ 7124700 w 8724900"/>
                  <a:gd name="connsiteY31" fmla="*/ 4114800 h 21297900"/>
                  <a:gd name="connsiteX32" fmla="*/ 7200900 w 8724900"/>
                  <a:gd name="connsiteY32" fmla="*/ 2781300 h 21297900"/>
                  <a:gd name="connsiteX33" fmla="*/ 7162800 w 8724900"/>
                  <a:gd name="connsiteY33" fmla="*/ 2095500 h 21297900"/>
                  <a:gd name="connsiteX34" fmla="*/ 6096000 w 8724900"/>
                  <a:gd name="connsiteY34" fmla="*/ 2171700 h 21297900"/>
                  <a:gd name="connsiteX35" fmla="*/ 4495800 w 8724900"/>
                  <a:gd name="connsiteY35" fmla="*/ 2247900 h 21297900"/>
                  <a:gd name="connsiteX36" fmla="*/ 3962400 w 8724900"/>
                  <a:gd name="connsiteY36" fmla="*/ 2209800 h 21297900"/>
                  <a:gd name="connsiteX37" fmla="*/ 3429000 w 8724900"/>
                  <a:gd name="connsiteY37" fmla="*/ 1828800 h 21297900"/>
                  <a:gd name="connsiteX38" fmla="*/ 3276600 w 8724900"/>
                  <a:gd name="connsiteY38" fmla="*/ 1295400 h 21297900"/>
                  <a:gd name="connsiteX39" fmla="*/ 3162300 w 8724900"/>
                  <a:gd name="connsiteY39" fmla="*/ 0 h 21297900"/>
                  <a:gd name="connsiteX40" fmla="*/ 2819400 w 8724900"/>
                  <a:gd name="connsiteY40" fmla="*/ 76200 h 21297900"/>
                  <a:gd name="connsiteX41" fmla="*/ 2324100 w 8724900"/>
                  <a:gd name="connsiteY41" fmla="*/ 1562100 h 21297900"/>
                  <a:gd name="connsiteX42" fmla="*/ 2095500 w 8724900"/>
                  <a:gd name="connsiteY42" fmla="*/ 1790700 h 21297900"/>
                  <a:gd name="connsiteX43" fmla="*/ 1714500 w 8724900"/>
                  <a:gd name="connsiteY43" fmla="*/ 2095500 h 21297900"/>
                  <a:gd name="connsiteX44" fmla="*/ 1104900 w 8724900"/>
                  <a:gd name="connsiteY44" fmla="*/ 1981200 h 21297900"/>
                  <a:gd name="connsiteX45" fmla="*/ 419100 w 8724900"/>
                  <a:gd name="connsiteY45" fmla="*/ 1790700 h 21297900"/>
                  <a:gd name="connsiteX46" fmla="*/ 419100 w 8724900"/>
                  <a:gd name="connsiteY46" fmla="*/ 1790700 h 21297900"/>
                  <a:gd name="connsiteX0" fmla="*/ 457200 w 8724900"/>
                  <a:gd name="connsiteY0" fmla="*/ 1752600 h 21907500"/>
                  <a:gd name="connsiteX1" fmla="*/ 190500 w 8724900"/>
                  <a:gd name="connsiteY1" fmla="*/ 2133600 h 21907500"/>
                  <a:gd name="connsiteX2" fmla="*/ 266700 w 8724900"/>
                  <a:gd name="connsiteY2" fmla="*/ 2514600 h 21907500"/>
                  <a:gd name="connsiteX3" fmla="*/ 495300 w 8724900"/>
                  <a:gd name="connsiteY3" fmla="*/ 2705100 h 21907500"/>
                  <a:gd name="connsiteX4" fmla="*/ 457200 w 8724900"/>
                  <a:gd name="connsiteY4" fmla="*/ 3962400 h 21907500"/>
                  <a:gd name="connsiteX5" fmla="*/ 190500 w 8724900"/>
                  <a:gd name="connsiteY5" fmla="*/ 6819900 h 21907500"/>
                  <a:gd name="connsiteX6" fmla="*/ 0 w 8724900"/>
                  <a:gd name="connsiteY6" fmla="*/ 9144000 h 21907500"/>
                  <a:gd name="connsiteX7" fmla="*/ 76200 w 8724900"/>
                  <a:gd name="connsiteY7" fmla="*/ 10058400 h 21907500"/>
                  <a:gd name="connsiteX8" fmla="*/ 228600 w 8724900"/>
                  <a:gd name="connsiteY8" fmla="*/ 10629900 h 21907500"/>
                  <a:gd name="connsiteX9" fmla="*/ 838200 w 8724900"/>
                  <a:gd name="connsiteY9" fmla="*/ 13258800 h 21907500"/>
                  <a:gd name="connsiteX10" fmla="*/ 3810000 w 8724900"/>
                  <a:gd name="connsiteY10" fmla="*/ 13220700 h 21907500"/>
                  <a:gd name="connsiteX11" fmla="*/ 3009900 w 8724900"/>
                  <a:gd name="connsiteY11" fmla="*/ 10325100 h 21907500"/>
                  <a:gd name="connsiteX12" fmla="*/ 2971800 w 8724900"/>
                  <a:gd name="connsiteY12" fmla="*/ 9372600 h 21907500"/>
                  <a:gd name="connsiteX13" fmla="*/ 2819400 w 8724900"/>
                  <a:gd name="connsiteY13" fmla="*/ 9220200 h 21907500"/>
                  <a:gd name="connsiteX14" fmla="*/ 3009900 w 8724900"/>
                  <a:gd name="connsiteY14" fmla="*/ 9029700 h 21907500"/>
                  <a:gd name="connsiteX15" fmla="*/ 2857500 w 8724900"/>
                  <a:gd name="connsiteY15" fmla="*/ 7772400 h 21907500"/>
                  <a:gd name="connsiteX16" fmla="*/ 3619500 w 8724900"/>
                  <a:gd name="connsiteY16" fmla="*/ 4114800 h 21907500"/>
                  <a:gd name="connsiteX17" fmla="*/ 3848100 w 8724900"/>
                  <a:gd name="connsiteY17" fmla="*/ 5219700 h 21907500"/>
                  <a:gd name="connsiteX18" fmla="*/ 3924300 w 8724900"/>
                  <a:gd name="connsiteY18" fmla="*/ 7048500 h 21907500"/>
                  <a:gd name="connsiteX19" fmla="*/ 3924300 w 8724900"/>
                  <a:gd name="connsiteY19" fmla="*/ 9029700 h 21907500"/>
                  <a:gd name="connsiteX20" fmla="*/ 3810000 w 8724900"/>
                  <a:gd name="connsiteY20" fmla="*/ 10401300 h 21907500"/>
                  <a:gd name="connsiteX21" fmla="*/ 3962400 w 8724900"/>
                  <a:gd name="connsiteY21" fmla="*/ 11125200 h 21907500"/>
                  <a:gd name="connsiteX22" fmla="*/ 4152900 w 8724900"/>
                  <a:gd name="connsiteY22" fmla="*/ 12877800 h 21907500"/>
                  <a:gd name="connsiteX23" fmla="*/ 4229100 w 8724900"/>
                  <a:gd name="connsiteY23" fmla="*/ 13792200 h 21907500"/>
                  <a:gd name="connsiteX24" fmla="*/ 5257800 w 8724900"/>
                  <a:gd name="connsiteY24" fmla="*/ 21297900 h 21907500"/>
                  <a:gd name="connsiteX25" fmla="*/ 6248400 w 8724900"/>
                  <a:gd name="connsiteY25" fmla="*/ 21907500 h 21907500"/>
                  <a:gd name="connsiteX26" fmla="*/ 8724900 w 8724900"/>
                  <a:gd name="connsiteY26" fmla="*/ 20955000 h 21907500"/>
                  <a:gd name="connsiteX27" fmla="*/ 6858000 w 8724900"/>
                  <a:gd name="connsiteY27" fmla="*/ 13563600 h 21907500"/>
                  <a:gd name="connsiteX28" fmla="*/ 6858000 w 8724900"/>
                  <a:gd name="connsiteY28" fmla="*/ 11315700 h 21907500"/>
                  <a:gd name="connsiteX29" fmla="*/ 6705600 w 8724900"/>
                  <a:gd name="connsiteY29" fmla="*/ 8877300 h 21907500"/>
                  <a:gd name="connsiteX30" fmla="*/ 6934200 w 8724900"/>
                  <a:gd name="connsiteY30" fmla="*/ 5143500 h 21907500"/>
                  <a:gd name="connsiteX31" fmla="*/ 7124700 w 8724900"/>
                  <a:gd name="connsiteY31" fmla="*/ 4114800 h 21907500"/>
                  <a:gd name="connsiteX32" fmla="*/ 7200900 w 8724900"/>
                  <a:gd name="connsiteY32" fmla="*/ 2781300 h 21907500"/>
                  <a:gd name="connsiteX33" fmla="*/ 7162800 w 8724900"/>
                  <a:gd name="connsiteY33" fmla="*/ 2095500 h 21907500"/>
                  <a:gd name="connsiteX34" fmla="*/ 6096000 w 8724900"/>
                  <a:gd name="connsiteY34" fmla="*/ 2171700 h 21907500"/>
                  <a:gd name="connsiteX35" fmla="*/ 4495800 w 8724900"/>
                  <a:gd name="connsiteY35" fmla="*/ 2247900 h 21907500"/>
                  <a:gd name="connsiteX36" fmla="*/ 3962400 w 8724900"/>
                  <a:gd name="connsiteY36" fmla="*/ 2209800 h 21907500"/>
                  <a:gd name="connsiteX37" fmla="*/ 3429000 w 8724900"/>
                  <a:gd name="connsiteY37" fmla="*/ 1828800 h 21907500"/>
                  <a:gd name="connsiteX38" fmla="*/ 3276600 w 8724900"/>
                  <a:gd name="connsiteY38" fmla="*/ 1295400 h 21907500"/>
                  <a:gd name="connsiteX39" fmla="*/ 3162300 w 8724900"/>
                  <a:gd name="connsiteY39" fmla="*/ 0 h 21907500"/>
                  <a:gd name="connsiteX40" fmla="*/ 2819400 w 8724900"/>
                  <a:gd name="connsiteY40" fmla="*/ 76200 h 21907500"/>
                  <a:gd name="connsiteX41" fmla="*/ 2324100 w 8724900"/>
                  <a:gd name="connsiteY41" fmla="*/ 1562100 h 21907500"/>
                  <a:gd name="connsiteX42" fmla="*/ 2095500 w 8724900"/>
                  <a:gd name="connsiteY42" fmla="*/ 1790700 h 21907500"/>
                  <a:gd name="connsiteX43" fmla="*/ 1714500 w 8724900"/>
                  <a:gd name="connsiteY43" fmla="*/ 2095500 h 21907500"/>
                  <a:gd name="connsiteX44" fmla="*/ 1104900 w 8724900"/>
                  <a:gd name="connsiteY44" fmla="*/ 1981200 h 21907500"/>
                  <a:gd name="connsiteX45" fmla="*/ 419100 w 8724900"/>
                  <a:gd name="connsiteY45" fmla="*/ 1790700 h 21907500"/>
                  <a:gd name="connsiteX46" fmla="*/ 419100 w 8724900"/>
                  <a:gd name="connsiteY46" fmla="*/ 1790700 h 21907500"/>
                  <a:gd name="connsiteX0" fmla="*/ 457200 w 7734300"/>
                  <a:gd name="connsiteY0" fmla="*/ 1752600 h 21907500"/>
                  <a:gd name="connsiteX1" fmla="*/ 190500 w 7734300"/>
                  <a:gd name="connsiteY1" fmla="*/ 2133600 h 21907500"/>
                  <a:gd name="connsiteX2" fmla="*/ 266700 w 7734300"/>
                  <a:gd name="connsiteY2" fmla="*/ 2514600 h 21907500"/>
                  <a:gd name="connsiteX3" fmla="*/ 495300 w 7734300"/>
                  <a:gd name="connsiteY3" fmla="*/ 2705100 h 21907500"/>
                  <a:gd name="connsiteX4" fmla="*/ 457200 w 7734300"/>
                  <a:gd name="connsiteY4" fmla="*/ 3962400 h 21907500"/>
                  <a:gd name="connsiteX5" fmla="*/ 190500 w 7734300"/>
                  <a:gd name="connsiteY5" fmla="*/ 6819900 h 21907500"/>
                  <a:gd name="connsiteX6" fmla="*/ 0 w 7734300"/>
                  <a:gd name="connsiteY6" fmla="*/ 9144000 h 21907500"/>
                  <a:gd name="connsiteX7" fmla="*/ 76200 w 7734300"/>
                  <a:gd name="connsiteY7" fmla="*/ 10058400 h 21907500"/>
                  <a:gd name="connsiteX8" fmla="*/ 228600 w 7734300"/>
                  <a:gd name="connsiteY8" fmla="*/ 10629900 h 21907500"/>
                  <a:gd name="connsiteX9" fmla="*/ 838200 w 7734300"/>
                  <a:gd name="connsiteY9" fmla="*/ 13258800 h 21907500"/>
                  <a:gd name="connsiteX10" fmla="*/ 3810000 w 7734300"/>
                  <a:gd name="connsiteY10" fmla="*/ 13220700 h 21907500"/>
                  <a:gd name="connsiteX11" fmla="*/ 3009900 w 7734300"/>
                  <a:gd name="connsiteY11" fmla="*/ 10325100 h 21907500"/>
                  <a:gd name="connsiteX12" fmla="*/ 2971800 w 7734300"/>
                  <a:gd name="connsiteY12" fmla="*/ 9372600 h 21907500"/>
                  <a:gd name="connsiteX13" fmla="*/ 2819400 w 7734300"/>
                  <a:gd name="connsiteY13" fmla="*/ 9220200 h 21907500"/>
                  <a:gd name="connsiteX14" fmla="*/ 3009900 w 7734300"/>
                  <a:gd name="connsiteY14" fmla="*/ 9029700 h 21907500"/>
                  <a:gd name="connsiteX15" fmla="*/ 2857500 w 7734300"/>
                  <a:gd name="connsiteY15" fmla="*/ 7772400 h 21907500"/>
                  <a:gd name="connsiteX16" fmla="*/ 3619500 w 7734300"/>
                  <a:gd name="connsiteY16" fmla="*/ 4114800 h 21907500"/>
                  <a:gd name="connsiteX17" fmla="*/ 3848100 w 7734300"/>
                  <a:gd name="connsiteY17" fmla="*/ 5219700 h 21907500"/>
                  <a:gd name="connsiteX18" fmla="*/ 3924300 w 7734300"/>
                  <a:gd name="connsiteY18" fmla="*/ 7048500 h 21907500"/>
                  <a:gd name="connsiteX19" fmla="*/ 3924300 w 7734300"/>
                  <a:gd name="connsiteY19" fmla="*/ 9029700 h 21907500"/>
                  <a:gd name="connsiteX20" fmla="*/ 3810000 w 7734300"/>
                  <a:gd name="connsiteY20" fmla="*/ 10401300 h 21907500"/>
                  <a:gd name="connsiteX21" fmla="*/ 3962400 w 7734300"/>
                  <a:gd name="connsiteY21" fmla="*/ 11125200 h 21907500"/>
                  <a:gd name="connsiteX22" fmla="*/ 4152900 w 7734300"/>
                  <a:gd name="connsiteY22" fmla="*/ 12877800 h 21907500"/>
                  <a:gd name="connsiteX23" fmla="*/ 4229100 w 7734300"/>
                  <a:gd name="connsiteY23" fmla="*/ 13792200 h 21907500"/>
                  <a:gd name="connsiteX24" fmla="*/ 5257800 w 7734300"/>
                  <a:gd name="connsiteY24" fmla="*/ 21297900 h 21907500"/>
                  <a:gd name="connsiteX25" fmla="*/ 6248400 w 7734300"/>
                  <a:gd name="connsiteY25" fmla="*/ 21907500 h 21907500"/>
                  <a:gd name="connsiteX26" fmla="*/ 7734300 w 7734300"/>
                  <a:gd name="connsiteY26" fmla="*/ 19583400 h 21907500"/>
                  <a:gd name="connsiteX27" fmla="*/ 6858000 w 7734300"/>
                  <a:gd name="connsiteY27" fmla="*/ 13563600 h 21907500"/>
                  <a:gd name="connsiteX28" fmla="*/ 6858000 w 7734300"/>
                  <a:gd name="connsiteY28" fmla="*/ 11315700 h 21907500"/>
                  <a:gd name="connsiteX29" fmla="*/ 6705600 w 7734300"/>
                  <a:gd name="connsiteY29" fmla="*/ 8877300 h 21907500"/>
                  <a:gd name="connsiteX30" fmla="*/ 6934200 w 7734300"/>
                  <a:gd name="connsiteY30" fmla="*/ 5143500 h 21907500"/>
                  <a:gd name="connsiteX31" fmla="*/ 7124700 w 7734300"/>
                  <a:gd name="connsiteY31" fmla="*/ 4114800 h 21907500"/>
                  <a:gd name="connsiteX32" fmla="*/ 7200900 w 7734300"/>
                  <a:gd name="connsiteY32" fmla="*/ 2781300 h 21907500"/>
                  <a:gd name="connsiteX33" fmla="*/ 7162800 w 7734300"/>
                  <a:gd name="connsiteY33" fmla="*/ 2095500 h 21907500"/>
                  <a:gd name="connsiteX34" fmla="*/ 6096000 w 7734300"/>
                  <a:gd name="connsiteY34" fmla="*/ 2171700 h 21907500"/>
                  <a:gd name="connsiteX35" fmla="*/ 4495800 w 7734300"/>
                  <a:gd name="connsiteY35" fmla="*/ 2247900 h 21907500"/>
                  <a:gd name="connsiteX36" fmla="*/ 3962400 w 7734300"/>
                  <a:gd name="connsiteY36" fmla="*/ 2209800 h 21907500"/>
                  <a:gd name="connsiteX37" fmla="*/ 3429000 w 7734300"/>
                  <a:gd name="connsiteY37" fmla="*/ 1828800 h 21907500"/>
                  <a:gd name="connsiteX38" fmla="*/ 3276600 w 7734300"/>
                  <a:gd name="connsiteY38" fmla="*/ 1295400 h 21907500"/>
                  <a:gd name="connsiteX39" fmla="*/ 3162300 w 7734300"/>
                  <a:gd name="connsiteY39" fmla="*/ 0 h 21907500"/>
                  <a:gd name="connsiteX40" fmla="*/ 2819400 w 7734300"/>
                  <a:gd name="connsiteY40" fmla="*/ 76200 h 21907500"/>
                  <a:gd name="connsiteX41" fmla="*/ 2324100 w 7734300"/>
                  <a:gd name="connsiteY41" fmla="*/ 1562100 h 21907500"/>
                  <a:gd name="connsiteX42" fmla="*/ 2095500 w 7734300"/>
                  <a:gd name="connsiteY42" fmla="*/ 1790700 h 21907500"/>
                  <a:gd name="connsiteX43" fmla="*/ 1714500 w 7734300"/>
                  <a:gd name="connsiteY43" fmla="*/ 2095500 h 21907500"/>
                  <a:gd name="connsiteX44" fmla="*/ 1104900 w 7734300"/>
                  <a:gd name="connsiteY44" fmla="*/ 1981200 h 21907500"/>
                  <a:gd name="connsiteX45" fmla="*/ 419100 w 7734300"/>
                  <a:gd name="connsiteY45" fmla="*/ 1790700 h 21907500"/>
                  <a:gd name="connsiteX46" fmla="*/ 419100 w 7734300"/>
                  <a:gd name="connsiteY46" fmla="*/ 1790700 h 21907500"/>
                  <a:gd name="connsiteX0" fmla="*/ 457200 w 7734300"/>
                  <a:gd name="connsiteY0" fmla="*/ 1752600 h 21907500"/>
                  <a:gd name="connsiteX1" fmla="*/ 190500 w 7734300"/>
                  <a:gd name="connsiteY1" fmla="*/ 2133600 h 21907500"/>
                  <a:gd name="connsiteX2" fmla="*/ 266700 w 7734300"/>
                  <a:gd name="connsiteY2" fmla="*/ 2514600 h 21907500"/>
                  <a:gd name="connsiteX3" fmla="*/ 495300 w 7734300"/>
                  <a:gd name="connsiteY3" fmla="*/ 2705100 h 21907500"/>
                  <a:gd name="connsiteX4" fmla="*/ 457200 w 7734300"/>
                  <a:gd name="connsiteY4" fmla="*/ 3962400 h 21907500"/>
                  <a:gd name="connsiteX5" fmla="*/ 190500 w 7734300"/>
                  <a:gd name="connsiteY5" fmla="*/ 6819900 h 21907500"/>
                  <a:gd name="connsiteX6" fmla="*/ 0 w 7734300"/>
                  <a:gd name="connsiteY6" fmla="*/ 9144000 h 21907500"/>
                  <a:gd name="connsiteX7" fmla="*/ 76200 w 7734300"/>
                  <a:gd name="connsiteY7" fmla="*/ 10058400 h 21907500"/>
                  <a:gd name="connsiteX8" fmla="*/ 228600 w 7734300"/>
                  <a:gd name="connsiteY8" fmla="*/ 10629900 h 21907500"/>
                  <a:gd name="connsiteX9" fmla="*/ 838200 w 7734300"/>
                  <a:gd name="connsiteY9" fmla="*/ 13258800 h 21907500"/>
                  <a:gd name="connsiteX10" fmla="*/ 3810000 w 7734300"/>
                  <a:gd name="connsiteY10" fmla="*/ 13220700 h 21907500"/>
                  <a:gd name="connsiteX11" fmla="*/ 3009900 w 7734300"/>
                  <a:gd name="connsiteY11" fmla="*/ 10325100 h 21907500"/>
                  <a:gd name="connsiteX12" fmla="*/ 2971800 w 7734300"/>
                  <a:gd name="connsiteY12" fmla="*/ 9372600 h 21907500"/>
                  <a:gd name="connsiteX13" fmla="*/ 2819400 w 7734300"/>
                  <a:gd name="connsiteY13" fmla="*/ 9220200 h 21907500"/>
                  <a:gd name="connsiteX14" fmla="*/ 3009900 w 7734300"/>
                  <a:gd name="connsiteY14" fmla="*/ 9029700 h 21907500"/>
                  <a:gd name="connsiteX15" fmla="*/ 2857500 w 7734300"/>
                  <a:gd name="connsiteY15" fmla="*/ 7772400 h 21907500"/>
                  <a:gd name="connsiteX16" fmla="*/ 3619500 w 7734300"/>
                  <a:gd name="connsiteY16" fmla="*/ 4114800 h 21907500"/>
                  <a:gd name="connsiteX17" fmla="*/ 3848100 w 7734300"/>
                  <a:gd name="connsiteY17" fmla="*/ 5219700 h 21907500"/>
                  <a:gd name="connsiteX18" fmla="*/ 3924300 w 7734300"/>
                  <a:gd name="connsiteY18" fmla="*/ 7048500 h 21907500"/>
                  <a:gd name="connsiteX19" fmla="*/ 3924300 w 7734300"/>
                  <a:gd name="connsiteY19" fmla="*/ 9029700 h 21907500"/>
                  <a:gd name="connsiteX20" fmla="*/ 3810000 w 7734300"/>
                  <a:gd name="connsiteY20" fmla="*/ 10401300 h 21907500"/>
                  <a:gd name="connsiteX21" fmla="*/ 3962400 w 7734300"/>
                  <a:gd name="connsiteY21" fmla="*/ 11125200 h 21907500"/>
                  <a:gd name="connsiteX22" fmla="*/ 4152900 w 7734300"/>
                  <a:gd name="connsiteY22" fmla="*/ 12877800 h 21907500"/>
                  <a:gd name="connsiteX23" fmla="*/ 4229100 w 7734300"/>
                  <a:gd name="connsiteY23" fmla="*/ 13792200 h 21907500"/>
                  <a:gd name="connsiteX24" fmla="*/ 5257800 w 7734300"/>
                  <a:gd name="connsiteY24" fmla="*/ 21297900 h 21907500"/>
                  <a:gd name="connsiteX25" fmla="*/ 6248400 w 7734300"/>
                  <a:gd name="connsiteY25" fmla="*/ 21907500 h 21907500"/>
                  <a:gd name="connsiteX26" fmla="*/ 7734300 w 7734300"/>
                  <a:gd name="connsiteY26" fmla="*/ 19583400 h 21907500"/>
                  <a:gd name="connsiteX27" fmla="*/ 6858000 w 7734300"/>
                  <a:gd name="connsiteY27" fmla="*/ 13563600 h 21907500"/>
                  <a:gd name="connsiteX28" fmla="*/ 6858000 w 7734300"/>
                  <a:gd name="connsiteY28" fmla="*/ 11315700 h 21907500"/>
                  <a:gd name="connsiteX29" fmla="*/ 6705600 w 7734300"/>
                  <a:gd name="connsiteY29" fmla="*/ 8877300 h 21907500"/>
                  <a:gd name="connsiteX30" fmla="*/ 6934200 w 7734300"/>
                  <a:gd name="connsiteY30" fmla="*/ 5143500 h 21907500"/>
                  <a:gd name="connsiteX31" fmla="*/ 7124700 w 7734300"/>
                  <a:gd name="connsiteY31" fmla="*/ 4114800 h 21907500"/>
                  <a:gd name="connsiteX32" fmla="*/ 7200900 w 7734300"/>
                  <a:gd name="connsiteY32" fmla="*/ 2781300 h 21907500"/>
                  <a:gd name="connsiteX33" fmla="*/ 7162800 w 7734300"/>
                  <a:gd name="connsiteY33" fmla="*/ 2095500 h 21907500"/>
                  <a:gd name="connsiteX34" fmla="*/ 6096000 w 7734300"/>
                  <a:gd name="connsiteY34" fmla="*/ 2171700 h 21907500"/>
                  <a:gd name="connsiteX35" fmla="*/ 4495800 w 7734300"/>
                  <a:gd name="connsiteY35" fmla="*/ 2247900 h 21907500"/>
                  <a:gd name="connsiteX36" fmla="*/ 3962400 w 7734300"/>
                  <a:gd name="connsiteY36" fmla="*/ 2209800 h 21907500"/>
                  <a:gd name="connsiteX37" fmla="*/ 3429000 w 7734300"/>
                  <a:gd name="connsiteY37" fmla="*/ 1828800 h 21907500"/>
                  <a:gd name="connsiteX38" fmla="*/ 3276600 w 7734300"/>
                  <a:gd name="connsiteY38" fmla="*/ 1295400 h 21907500"/>
                  <a:gd name="connsiteX39" fmla="*/ 3162300 w 7734300"/>
                  <a:gd name="connsiteY39" fmla="*/ 0 h 21907500"/>
                  <a:gd name="connsiteX40" fmla="*/ 2819400 w 7734300"/>
                  <a:gd name="connsiteY40" fmla="*/ 76200 h 21907500"/>
                  <a:gd name="connsiteX41" fmla="*/ 2324100 w 7734300"/>
                  <a:gd name="connsiteY41" fmla="*/ 1562100 h 21907500"/>
                  <a:gd name="connsiteX42" fmla="*/ 2095500 w 7734300"/>
                  <a:gd name="connsiteY42" fmla="*/ 1790700 h 21907500"/>
                  <a:gd name="connsiteX43" fmla="*/ 1714500 w 7734300"/>
                  <a:gd name="connsiteY43" fmla="*/ 2095500 h 21907500"/>
                  <a:gd name="connsiteX44" fmla="*/ 1104900 w 7734300"/>
                  <a:gd name="connsiteY44" fmla="*/ 1981200 h 21907500"/>
                  <a:gd name="connsiteX45" fmla="*/ 419100 w 7734300"/>
                  <a:gd name="connsiteY45" fmla="*/ 1790700 h 21907500"/>
                  <a:gd name="connsiteX46" fmla="*/ 419100 w 7734300"/>
                  <a:gd name="connsiteY46" fmla="*/ 1790700 h 21907500"/>
                  <a:gd name="connsiteX0" fmla="*/ 457200 w 7734300"/>
                  <a:gd name="connsiteY0" fmla="*/ 1752600 h 21907500"/>
                  <a:gd name="connsiteX1" fmla="*/ 190500 w 7734300"/>
                  <a:gd name="connsiteY1" fmla="*/ 2133600 h 21907500"/>
                  <a:gd name="connsiteX2" fmla="*/ 266700 w 7734300"/>
                  <a:gd name="connsiteY2" fmla="*/ 2514600 h 21907500"/>
                  <a:gd name="connsiteX3" fmla="*/ 495300 w 7734300"/>
                  <a:gd name="connsiteY3" fmla="*/ 2705100 h 21907500"/>
                  <a:gd name="connsiteX4" fmla="*/ 457200 w 7734300"/>
                  <a:gd name="connsiteY4" fmla="*/ 3962400 h 21907500"/>
                  <a:gd name="connsiteX5" fmla="*/ 190500 w 7734300"/>
                  <a:gd name="connsiteY5" fmla="*/ 6819900 h 21907500"/>
                  <a:gd name="connsiteX6" fmla="*/ 0 w 7734300"/>
                  <a:gd name="connsiteY6" fmla="*/ 9144000 h 21907500"/>
                  <a:gd name="connsiteX7" fmla="*/ 76200 w 7734300"/>
                  <a:gd name="connsiteY7" fmla="*/ 10058400 h 21907500"/>
                  <a:gd name="connsiteX8" fmla="*/ 228600 w 7734300"/>
                  <a:gd name="connsiteY8" fmla="*/ 10629900 h 21907500"/>
                  <a:gd name="connsiteX9" fmla="*/ 838200 w 7734300"/>
                  <a:gd name="connsiteY9" fmla="*/ 13258800 h 21907500"/>
                  <a:gd name="connsiteX10" fmla="*/ 3810000 w 7734300"/>
                  <a:gd name="connsiteY10" fmla="*/ 13220700 h 21907500"/>
                  <a:gd name="connsiteX11" fmla="*/ 3009900 w 7734300"/>
                  <a:gd name="connsiteY11" fmla="*/ 10325100 h 21907500"/>
                  <a:gd name="connsiteX12" fmla="*/ 2971800 w 7734300"/>
                  <a:gd name="connsiteY12" fmla="*/ 9372600 h 21907500"/>
                  <a:gd name="connsiteX13" fmla="*/ 2819400 w 7734300"/>
                  <a:gd name="connsiteY13" fmla="*/ 9220200 h 21907500"/>
                  <a:gd name="connsiteX14" fmla="*/ 3009900 w 7734300"/>
                  <a:gd name="connsiteY14" fmla="*/ 9029700 h 21907500"/>
                  <a:gd name="connsiteX15" fmla="*/ 2857500 w 7734300"/>
                  <a:gd name="connsiteY15" fmla="*/ 7772400 h 21907500"/>
                  <a:gd name="connsiteX16" fmla="*/ 3619500 w 7734300"/>
                  <a:gd name="connsiteY16" fmla="*/ 4114800 h 21907500"/>
                  <a:gd name="connsiteX17" fmla="*/ 3848100 w 7734300"/>
                  <a:gd name="connsiteY17" fmla="*/ 5219700 h 21907500"/>
                  <a:gd name="connsiteX18" fmla="*/ 3924300 w 7734300"/>
                  <a:gd name="connsiteY18" fmla="*/ 7048500 h 21907500"/>
                  <a:gd name="connsiteX19" fmla="*/ 3924300 w 7734300"/>
                  <a:gd name="connsiteY19" fmla="*/ 9029700 h 21907500"/>
                  <a:gd name="connsiteX20" fmla="*/ 3810000 w 7734300"/>
                  <a:gd name="connsiteY20" fmla="*/ 10401300 h 21907500"/>
                  <a:gd name="connsiteX21" fmla="*/ 3962400 w 7734300"/>
                  <a:gd name="connsiteY21" fmla="*/ 11125200 h 21907500"/>
                  <a:gd name="connsiteX22" fmla="*/ 4152900 w 7734300"/>
                  <a:gd name="connsiteY22" fmla="*/ 12877800 h 21907500"/>
                  <a:gd name="connsiteX23" fmla="*/ 4229100 w 7734300"/>
                  <a:gd name="connsiteY23" fmla="*/ 13792200 h 21907500"/>
                  <a:gd name="connsiteX24" fmla="*/ 5257800 w 7734300"/>
                  <a:gd name="connsiteY24" fmla="*/ 21297900 h 21907500"/>
                  <a:gd name="connsiteX25" fmla="*/ 6248400 w 7734300"/>
                  <a:gd name="connsiteY25" fmla="*/ 21907500 h 21907500"/>
                  <a:gd name="connsiteX26" fmla="*/ 7734300 w 7734300"/>
                  <a:gd name="connsiteY26" fmla="*/ 19583400 h 21907500"/>
                  <a:gd name="connsiteX27" fmla="*/ 6858000 w 7734300"/>
                  <a:gd name="connsiteY27" fmla="*/ 13563600 h 21907500"/>
                  <a:gd name="connsiteX28" fmla="*/ 6858000 w 7734300"/>
                  <a:gd name="connsiteY28" fmla="*/ 11315700 h 21907500"/>
                  <a:gd name="connsiteX29" fmla="*/ 6705600 w 7734300"/>
                  <a:gd name="connsiteY29" fmla="*/ 8877300 h 21907500"/>
                  <a:gd name="connsiteX30" fmla="*/ 6934200 w 7734300"/>
                  <a:gd name="connsiteY30" fmla="*/ 5143500 h 21907500"/>
                  <a:gd name="connsiteX31" fmla="*/ 7124700 w 7734300"/>
                  <a:gd name="connsiteY31" fmla="*/ 4114800 h 21907500"/>
                  <a:gd name="connsiteX32" fmla="*/ 7200900 w 7734300"/>
                  <a:gd name="connsiteY32" fmla="*/ 2781300 h 21907500"/>
                  <a:gd name="connsiteX33" fmla="*/ 7162800 w 7734300"/>
                  <a:gd name="connsiteY33" fmla="*/ 2095500 h 21907500"/>
                  <a:gd name="connsiteX34" fmla="*/ 6096000 w 7734300"/>
                  <a:gd name="connsiteY34" fmla="*/ 2171700 h 21907500"/>
                  <a:gd name="connsiteX35" fmla="*/ 4495800 w 7734300"/>
                  <a:gd name="connsiteY35" fmla="*/ 2247900 h 21907500"/>
                  <a:gd name="connsiteX36" fmla="*/ 3962400 w 7734300"/>
                  <a:gd name="connsiteY36" fmla="*/ 2209800 h 21907500"/>
                  <a:gd name="connsiteX37" fmla="*/ 3429000 w 7734300"/>
                  <a:gd name="connsiteY37" fmla="*/ 1828800 h 21907500"/>
                  <a:gd name="connsiteX38" fmla="*/ 3276600 w 7734300"/>
                  <a:gd name="connsiteY38" fmla="*/ 1295400 h 21907500"/>
                  <a:gd name="connsiteX39" fmla="*/ 3162300 w 7734300"/>
                  <a:gd name="connsiteY39" fmla="*/ 0 h 21907500"/>
                  <a:gd name="connsiteX40" fmla="*/ 2819400 w 7734300"/>
                  <a:gd name="connsiteY40" fmla="*/ 76200 h 21907500"/>
                  <a:gd name="connsiteX41" fmla="*/ 2324100 w 7734300"/>
                  <a:gd name="connsiteY41" fmla="*/ 1562100 h 21907500"/>
                  <a:gd name="connsiteX42" fmla="*/ 2095500 w 7734300"/>
                  <a:gd name="connsiteY42" fmla="*/ 1790700 h 21907500"/>
                  <a:gd name="connsiteX43" fmla="*/ 1714500 w 7734300"/>
                  <a:gd name="connsiteY43" fmla="*/ 2095500 h 21907500"/>
                  <a:gd name="connsiteX44" fmla="*/ 1104900 w 7734300"/>
                  <a:gd name="connsiteY44" fmla="*/ 1981200 h 21907500"/>
                  <a:gd name="connsiteX45" fmla="*/ 419100 w 7734300"/>
                  <a:gd name="connsiteY45" fmla="*/ 1790700 h 21907500"/>
                  <a:gd name="connsiteX46" fmla="*/ 419100 w 7734300"/>
                  <a:gd name="connsiteY46" fmla="*/ 1790700 h 21907500"/>
                  <a:gd name="connsiteX0" fmla="*/ 457200 w 7734300"/>
                  <a:gd name="connsiteY0" fmla="*/ 1752600 h 21907500"/>
                  <a:gd name="connsiteX1" fmla="*/ 190500 w 7734300"/>
                  <a:gd name="connsiteY1" fmla="*/ 2133600 h 21907500"/>
                  <a:gd name="connsiteX2" fmla="*/ 266700 w 7734300"/>
                  <a:gd name="connsiteY2" fmla="*/ 2514600 h 21907500"/>
                  <a:gd name="connsiteX3" fmla="*/ 495300 w 7734300"/>
                  <a:gd name="connsiteY3" fmla="*/ 2705100 h 21907500"/>
                  <a:gd name="connsiteX4" fmla="*/ 457200 w 7734300"/>
                  <a:gd name="connsiteY4" fmla="*/ 3962400 h 21907500"/>
                  <a:gd name="connsiteX5" fmla="*/ 190500 w 7734300"/>
                  <a:gd name="connsiteY5" fmla="*/ 6819900 h 21907500"/>
                  <a:gd name="connsiteX6" fmla="*/ 0 w 7734300"/>
                  <a:gd name="connsiteY6" fmla="*/ 9144000 h 21907500"/>
                  <a:gd name="connsiteX7" fmla="*/ 76200 w 7734300"/>
                  <a:gd name="connsiteY7" fmla="*/ 10058400 h 21907500"/>
                  <a:gd name="connsiteX8" fmla="*/ 228600 w 7734300"/>
                  <a:gd name="connsiteY8" fmla="*/ 10629900 h 21907500"/>
                  <a:gd name="connsiteX9" fmla="*/ 838200 w 7734300"/>
                  <a:gd name="connsiteY9" fmla="*/ 13258800 h 21907500"/>
                  <a:gd name="connsiteX10" fmla="*/ 3810000 w 7734300"/>
                  <a:gd name="connsiteY10" fmla="*/ 13220700 h 21907500"/>
                  <a:gd name="connsiteX11" fmla="*/ 3009900 w 7734300"/>
                  <a:gd name="connsiteY11" fmla="*/ 10325100 h 21907500"/>
                  <a:gd name="connsiteX12" fmla="*/ 2971800 w 7734300"/>
                  <a:gd name="connsiteY12" fmla="*/ 9372600 h 21907500"/>
                  <a:gd name="connsiteX13" fmla="*/ 2819400 w 7734300"/>
                  <a:gd name="connsiteY13" fmla="*/ 9220200 h 21907500"/>
                  <a:gd name="connsiteX14" fmla="*/ 3009900 w 7734300"/>
                  <a:gd name="connsiteY14" fmla="*/ 9029700 h 21907500"/>
                  <a:gd name="connsiteX15" fmla="*/ 2857500 w 7734300"/>
                  <a:gd name="connsiteY15" fmla="*/ 7772400 h 21907500"/>
                  <a:gd name="connsiteX16" fmla="*/ 3619500 w 7734300"/>
                  <a:gd name="connsiteY16" fmla="*/ 4114800 h 21907500"/>
                  <a:gd name="connsiteX17" fmla="*/ 3848100 w 7734300"/>
                  <a:gd name="connsiteY17" fmla="*/ 5219700 h 21907500"/>
                  <a:gd name="connsiteX18" fmla="*/ 3924300 w 7734300"/>
                  <a:gd name="connsiteY18" fmla="*/ 7048500 h 21907500"/>
                  <a:gd name="connsiteX19" fmla="*/ 3924300 w 7734300"/>
                  <a:gd name="connsiteY19" fmla="*/ 9029700 h 21907500"/>
                  <a:gd name="connsiteX20" fmla="*/ 3810000 w 7734300"/>
                  <a:gd name="connsiteY20" fmla="*/ 10401300 h 21907500"/>
                  <a:gd name="connsiteX21" fmla="*/ 3962400 w 7734300"/>
                  <a:gd name="connsiteY21" fmla="*/ 11125200 h 21907500"/>
                  <a:gd name="connsiteX22" fmla="*/ 4152900 w 7734300"/>
                  <a:gd name="connsiteY22" fmla="*/ 12877800 h 21907500"/>
                  <a:gd name="connsiteX23" fmla="*/ 4229100 w 7734300"/>
                  <a:gd name="connsiteY23" fmla="*/ 13792200 h 21907500"/>
                  <a:gd name="connsiteX24" fmla="*/ 5257800 w 7734300"/>
                  <a:gd name="connsiteY24" fmla="*/ 21297900 h 21907500"/>
                  <a:gd name="connsiteX25" fmla="*/ 6248400 w 7734300"/>
                  <a:gd name="connsiteY25" fmla="*/ 21907500 h 21907500"/>
                  <a:gd name="connsiteX26" fmla="*/ 7734300 w 7734300"/>
                  <a:gd name="connsiteY26" fmla="*/ 19583400 h 21907500"/>
                  <a:gd name="connsiteX27" fmla="*/ 6858000 w 7734300"/>
                  <a:gd name="connsiteY27" fmla="*/ 13563600 h 21907500"/>
                  <a:gd name="connsiteX28" fmla="*/ 6858000 w 7734300"/>
                  <a:gd name="connsiteY28" fmla="*/ 11315700 h 21907500"/>
                  <a:gd name="connsiteX29" fmla="*/ 6705600 w 7734300"/>
                  <a:gd name="connsiteY29" fmla="*/ 8877300 h 21907500"/>
                  <a:gd name="connsiteX30" fmla="*/ 6934200 w 7734300"/>
                  <a:gd name="connsiteY30" fmla="*/ 5143500 h 21907500"/>
                  <a:gd name="connsiteX31" fmla="*/ 7124700 w 7734300"/>
                  <a:gd name="connsiteY31" fmla="*/ 4114800 h 21907500"/>
                  <a:gd name="connsiteX32" fmla="*/ 7200900 w 7734300"/>
                  <a:gd name="connsiteY32" fmla="*/ 2781300 h 21907500"/>
                  <a:gd name="connsiteX33" fmla="*/ 7162800 w 7734300"/>
                  <a:gd name="connsiteY33" fmla="*/ 2095500 h 21907500"/>
                  <a:gd name="connsiteX34" fmla="*/ 6096000 w 7734300"/>
                  <a:gd name="connsiteY34" fmla="*/ 2171700 h 21907500"/>
                  <a:gd name="connsiteX35" fmla="*/ 4495800 w 7734300"/>
                  <a:gd name="connsiteY35" fmla="*/ 2247900 h 21907500"/>
                  <a:gd name="connsiteX36" fmla="*/ 3962400 w 7734300"/>
                  <a:gd name="connsiteY36" fmla="*/ 2209800 h 21907500"/>
                  <a:gd name="connsiteX37" fmla="*/ 3429000 w 7734300"/>
                  <a:gd name="connsiteY37" fmla="*/ 1828800 h 21907500"/>
                  <a:gd name="connsiteX38" fmla="*/ 3276600 w 7734300"/>
                  <a:gd name="connsiteY38" fmla="*/ 1295400 h 21907500"/>
                  <a:gd name="connsiteX39" fmla="*/ 3162300 w 7734300"/>
                  <a:gd name="connsiteY39" fmla="*/ 0 h 21907500"/>
                  <a:gd name="connsiteX40" fmla="*/ 2819400 w 7734300"/>
                  <a:gd name="connsiteY40" fmla="*/ 76200 h 21907500"/>
                  <a:gd name="connsiteX41" fmla="*/ 2324100 w 7734300"/>
                  <a:gd name="connsiteY41" fmla="*/ 1562100 h 21907500"/>
                  <a:gd name="connsiteX42" fmla="*/ 2095500 w 7734300"/>
                  <a:gd name="connsiteY42" fmla="*/ 1790700 h 21907500"/>
                  <a:gd name="connsiteX43" fmla="*/ 1714500 w 7734300"/>
                  <a:gd name="connsiteY43" fmla="*/ 2095500 h 21907500"/>
                  <a:gd name="connsiteX44" fmla="*/ 1104900 w 7734300"/>
                  <a:gd name="connsiteY44" fmla="*/ 1981200 h 21907500"/>
                  <a:gd name="connsiteX45" fmla="*/ 419100 w 7734300"/>
                  <a:gd name="connsiteY45" fmla="*/ 1790700 h 21907500"/>
                  <a:gd name="connsiteX46" fmla="*/ 419100 w 7734300"/>
                  <a:gd name="connsiteY46" fmla="*/ 1790700 h 21907500"/>
                  <a:gd name="connsiteX0" fmla="*/ 457200 w 7734300"/>
                  <a:gd name="connsiteY0" fmla="*/ 1752600 h 21907500"/>
                  <a:gd name="connsiteX1" fmla="*/ 190500 w 7734300"/>
                  <a:gd name="connsiteY1" fmla="*/ 2133600 h 21907500"/>
                  <a:gd name="connsiteX2" fmla="*/ 266700 w 7734300"/>
                  <a:gd name="connsiteY2" fmla="*/ 2514600 h 21907500"/>
                  <a:gd name="connsiteX3" fmla="*/ 495300 w 7734300"/>
                  <a:gd name="connsiteY3" fmla="*/ 2705100 h 21907500"/>
                  <a:gd name="connsiteX4" fmla="*/ 457200 w 7734300"/>
                  <a:gd name="connsiteY4" fmla="*/ 3962400 h 21907500"/>
                  <a:gd name="connsiteX5" fmla="*/ 190500 w 7734300"/>
                  <a:gd name="connsiteY5" fmla="*/ 6819900 h 21907500"/>
                  <a:gd name="connsiteX6" fmla="*/ 0 w 7734300"/>
                  <a:gd name="connsiteY6" fmla="*/ 9144000 h 21907500"/>
                  <a:gd name="connsiteX7" fmla="*/ 76200 w 7734300"/>
                  <a:gd name="connsiteY7" fmla="*/ 10058400 h 21907500"/>
                  <a:gd name="connsiteX8" fmla="*/ 228600 w 7734300"/>
                  <a:gd name="connsiteY8" fmla="*/ 10629900 h 21907500"/>
                  <a:gd name="connsiteX9" fmla="*/ 838200 w 7734300"/>
                  <a:gd name="connsiteY9" fmla="*/ 13258800 h 21907500"/>
                  <a:gd name="connsiteX10" fmla="*/ 3810000 w 7734300"/>
                  <a:gd name="connsiteY10" fmla="*/ 13220700 h 21907500"/>
                  <a:gd name="connsiteX11" fmla="*/ 3009900 w 7734300"/>
                  <a:gd name="connsiteY11" fmla="*/ 10325100 h 21907500"/>
                  <a:gd name="connsiteX12" fmla="*/ 2819400 w 7734300"/>
                  <a:gd name="connsiteY12" fmla="*/ 9601200 h 21907500"/>
                  <a:gd name="connsiteX13" fmla="*/ 2819400 w 7734300"/>
                  <a:gd name="connsiteY13" fmla="*/ 9220200 h 21907500"/>
                  <a:gd name="connsiteX14" fmla="*/ 3009900 w 7734300"/>
                  <a:gd name="connsiteY14" fmla="*/ 9029700 h 21907500"/>
                  <a:gd name="connsiteX15" fmla="*/ 2857500 w 7734300"/>
                  <a:gd name="connsiteY15" fmla="*/ 7772400 h 21907500"/>
                  <a:gd name="connsiteX16" fmla="*/ 3619500 w 7734300"/>
                  <a:gd name="connsiteY16" fmla="*/ 4114800 h 21907500"/>
                  <a:gd name="connsiteX17" fmla="*/ 3848100 w 7734300"/>
                  <a:gd name="connsiteY17" fmla="*/ 5219700 h 21907500"/>
                  <a:gd name="connsiteX18" fmla="*/ 3924300 w 7734300"/>
                  <a:gd name="connsiteY18" fmla="*/ 7048500 h 21907500"/>
                  <a:gd name="connsiteX19" fmla="*/ 3924300 w 7734300"/>
                  <a:gd name="connsiteY19" fmla="*/ 9029700 h 21907500"/>
                  <a:gd name="connsiteX20" fmla="*/ 3810000 w 7734300"/>
                  <a:gd name="connsiteY20" fmla="*/ 10401300 h 21907500"/>
                  <a:gd name="connsiteX21" fmla="*/ 3962400 w 7734300"/>
                  <a:gd name="connsiteY21" fmla="*/ 11125200 h 21907500"/>
                  <a:gd name="connsiteX22" fmla="*/ 4152900 w 7734300"/>
                  <a:gd name="connsiteY22" fmla="*/ 12877800 h 21907500"/>
                  <a:gd name="connsiteX23" fmla="*/ 4229100 w 7734300"/>
                  <a:gd name="connsiteY23" fmla="*/ 13792200 h 21907500"/>
                  <a:gd name="connsiteX24" fmla="*/ 5257800 w 7734300"/>
                  <a:gd name="connsiteY24" fmla="*/ 21297900 h 21907500"/>
                  <a:gd name="connsiteX25" fmla="*/ 6248400 w 7734300"/>
                  <a:gd name="connsiteY25" fmla="*/ 21907500 h 21907500"/>
                  <a:gd name="connsiteX26" fmla="*/ 7734300 w 7734300"/>
                  <a:gd name="connsiteY26" fmla="*/ 19583400 h 21907500"/>
                  <a:gd name="connsiteX27" fmla="*/ 6858000 w 7734300"/>
                  <a:gd name="connsiteY27" fmla="*/ 13563600 h 21907500"/>
                  <a:gd name="connsiteX28" fmla="*/ 6858000 w 7734300"/>
                  <a:gd name="connsiteY28" fmla="*/ 11315700 h 21907500"/>
                  <a:gd name="connsiteX29" fmla="*/ 6705600 w 7734300"/>
                  <a:gd name="connsiteY29" fmla="*/ 8877300 h 21907500"/>
                  <a:gd name="connsiteX30" fmla="*/ 6934200 w 7734300"/>
                  <a:gd name="connsiteY30" fmla="*/ 5143500 h 21907500"/>
                  <a:gd name="connsiteX31" fmla="*/ 7124700 w 7734300"/>
                  <a:gd name="connsiteY31" fmla="*/ 4114800 h 21907500"/>
                  <a:gd name="connsiteX32" fmla="*/ 7200900 w 7734300"/>
                  <a:gd name="connsiteY32" fmla="*/ 2781300 h 21907500"/>
                  <a:gd name="connsiteX33" fmla="*/ 7162800 w 7734300"/>
                  <a:gd name="connsiteY33" fmla="*/ 2095500 h 21907500"/>
                  <a:gd name="connsiteX34" fmla="*/ 6096000 w 7734300"/>
                  <a:gd name="connsiteY34" fmla="*/ 2171700 h 21907500"/>
                  <a:gd name="connsiteX35" fmla="*/ 4495800 w 7734300"/>
                  <a:gd name="connsiteY35" fmla="*/ 2247900 h 21907500"/>
                  <a:gd name="connsiteX36" fmla="*/ 3962400 w 7734300"/>
                  <a:gd name="connsiteY36" fmla="*/ 2209800 h 21907500"/>
                  <a:gd name="connsiteX37" fmla="*/ 3429000 w 7734300"/>
                  <a:gd name="connsiteY37" fmla="*/ 1828800 h 21907500"/>
                  <a:gd name="connsiteX38" fmla="*/ 3276600 w 7734300"/>
                  <a:gd name="connsiteY38" fmla="*/ 1295400 h 21907500"/>
                  <a:gd name="connsiteX39" fmla="*/ 3162300 w 7734300"/>
                  <a:gd name="connsiteY39" fmla="*/ 0 h 21907500"/>
                  <a:gd name="connsiteX40" fmla="*/ 2819400 w 7734300"/>
                  <a:gd name="connsiteY40" fmla="*/ 76200 h 21907500"/>
                  <a:gd name="connsiteX41" fmla="*/ 2324100 w 7734300"/>
                  <a:gd name="connsiteY41" fmla="*/ 1562100 h 21907500"/>
                  <a:gd name="connsiteX42" fmla="*/ 2095500 w 7734300"/>
                  <a:gd name="connsiteY42" fmla="*/ 1790700 h 21907500"/>
                  <a:gd name="connsiteX43" fmla="*/ 1714500 w 7734300"/>
                  <a:gd name="connsiteY43" fmla="*/ 2095500 h 21907500"/>
                  <a:gd name="connsiteX44" fmla="*/ 1104900 w 7734300"/>
                  <a:gd name="connsiteY44" fmla="*/ 1981200 h 21907500"/>
                  <a:gd name="connsiteX45" fmla="*/ 419100 w 7734300"/>
                  <a:gd name="connsiteY45" fmla="*/ 1790700 h 21907500"/>
                  <a:gd name="connsiteX46" fmla="*/ 419100 w 7734300"/>
                  <a:gd name="connsiteY46" fmla="*/ 1790700 h 21907500"/>
                  <a:gd name="connsiteX0" fmla="*/ 457200 w 7734300"/>
                  <a:gd name="connsiteY0" fmla="*/ 1752600 h 21907500"/>
                  <a:gd name="connsiteX1" fmla="*/ 190500 w 7734300"/>
                  <a:gd name="connsiteY1" fmla="*/ 2133600 h 21907500"/>
                  <a:gd name="connsiteX2" fmla="*/ 266700 w 7734300"/>
                  <a:gd name="connsiteY2" fmla="*/ 2514600 h 21907500"/>
                  <a:gd name="connsiteX3" fmla="*/ 495300 w 7734300"/>
                  <a:gd name="connsiteY3" fmla="*/ 2705100 h 21907500"/>
                  <a:gd name="connsiteX4" fmla="*/ 457200 w 7734300"/>
                  <a:gd name="connsiteY4" fmla="*/ 3962400 h 21907500"/>
                  <a:gd name="connsiteX5" fmla="*/ 190500 w 7734300"/>
                  <a:gd name="connsiteY5" fmla="*/ 6819900 h 21907500"/>
                  <a:gd name="connsiteX6" fmla="*/ 0 w 7734300"/>
                  <a:gd name="connsiteY6" fmla="*/ 9144000 h 21907500"/>
                  <a:gd name="connsiteX7" fmla="*/ 76200 w 7734300"/>
                  <a:gd name="connsiteY7" fmla="*/ 10058400 h 21907500"/>
                  <a:gd name="connsiteX8" fmla="*/ 228600 w 7734300"/>
                  <a:gd name="connsiteY8" fmla="*/ 10629900 h 21907500"/>
                  <a:gd name="connsiteX9" fmla="*/ 838200 w 7734300"/>
                  <a:gd name="connsiteY9" fmla="*/ 13258800 h 21907500"/>
                  <a:gd name="connsiteX10" fmla="*/ 3810000 w 7734300"/>
                  <a:gd name="connsiteY10" fmla="*/ 13220700 h 21907500"/>
                  <a:gd name="connsiteX11" fmla="*/ 3009900 w 7734300"/>
                  <a:gd name="connsiteY11" fmla="*/ 10325100 h 21907500"/>
                  <a:gd name="connsiteX12" fmla="*/ 2819400 w 7734300"/>
                  <a:gd name="connsiteY12" fmla="*/ 9601200 h 21907500"/>
                  <a:gd name="connsiteX13" fmla="*/ 2819400 w 7734300"/>
                  <a:gd name="connsiteY13" fmla="*/ 9220200 h 21907500"/>
                  <a:gd name="connsiteX14" fmla="*/ 2857500 w 7734300"/>
                  <a:gd name="connsiteY14" fmla="*/ 8801100 h 21907500"/>
                  <a:gd name="connsiteX15" fmla="*/ 2857500 w 7734300"/>
                  <a:gd name="connsiteY15" fmla="*/ 7772400 h 21907500"/>
                  <a:gd name="connsiteX16" fmla="*/ 3619500 w 7734300"/>
                  <a:gd name="connsiteY16" fmla="*/ 4114800 h 21907500"/>
                  <a:gd name="connsiteX17" fmla="*/ 3848100 w 7734300"/>
                  <a:gd name="connsiteY17" fmla="*/ 5219700 h 21907500"/>
                  <a:gd name="connsiteX18" fmla="*/ 3924300 w 7734300"/>
                  <a:gd name="connsiteY18" fmla="*/ 7048500 h 21907500"/>
                  <a:gd name="connsiteX19" fmla="*/ 3924300 w 7734300"/>
                  <a:gd name="connsiteY19" fmla="*/ 9029700 h 21907500"/>
                  <a:gd name="connsiteX20" fmla="*/ 3810000 w 7734300"/>
                  <a:gd name="connsiteY20" fmla="*/ 10401300 h 21907500"/>
                  <a:gd name="connsiteX21" fmla="*/ 3962400 w 7734300"/>
                  <a:gd name="connsiteY21" fmla="*/ 11125200 h 21907500"/>
                  <a:gd name="connsiteX22" fmla="*/ 4152900 w 7734300"/>
                  <a:gd name="connsiteY22" fmla="*/ 12877800 h 21907500"/>
                  <a:gd name="connsiteX23" fmla="*/ 4229100 w 7734300"/>
                  <a:gd name="connsiteY23" fmla="*/ 13792200 h 21907500"/>
                  <a:gd name="connsiteX24" fmla="*/ 5257800 w 7734300"/>
                  <a:gd name="connsiteY24" fmla="*/ 21297900 h 21907500"/>
                  <a:gd name="connsiteX25" fmla="*/ 6248400 w 7734300"/>
                  <a:gd name="connsiteY25" fmla="*/ 21907500 h 21907500"/>
                  <a:gd name="connsiteX26" fmla="*/ 7734300 w 7734300"/>
                  <a:gd name="connsiteY26" fmla="*/ 19583400 h 21907500"/>
                  <a:gd name="connsiteX27" fmla="*/ 6858000 w 7734300"/>
                  <a:gd name="connsiteY27" fmla="*/ 13563600 h 21907500"/>
                  <a:gd name="connsiteX28" fmla="*/ 6858000 w 7734300"/>
                  <a:gd name="connsiteY28" fmla="*/ 11315700 h 21907500"/>
                  <a:gd name="connsiteX29" fmla="*/ 6705600 w 7734300"/>
                  <a:gd name="connsiteY29" fmla="*/ 8877300 h 21907500"/>
                  <a:gd name="connsiteX30" fmla="*/ 6934200 w 7734300"/>
                  <a:gd name="connsiteY30" fmla="*/ 5143500 h 21907500"/>
                  <a:gd name="connsiteX31" fmla="*/ 7124700 w 7734300"/>
                  <a:gd name="connsiteY31" fmla="*/ 4114800 h 21907500"/>
                  <a:gd name="connsiteX32" fmla="*/ 7200900 w 7734300"/>
                  <a:gd name="connsiteY32" fmla="*/ 2781300 h 21907500"/>
                  <a:gd name="connsiteX33" fmla="*/ 7162800 w 7734300"/>
                  <a:gd name="connsiteY33" fmla="*/ 2095500 h 21907500"/>
                  <a:gd name="connsiteX34" fmla="*/ 6096000 w 7734300"/>
                  <a:gd name="connsiteY34" fmla="*/ 2171700 h 21907500"/>
                  <a:gd name="connsiteX35" fmla="*/ 4495800 w 7734300"/>
                  <a:gd name="connsiteY35" fmla="*/ 2247900 h 21907500"/>
                  <a:gd name="connsiteX36" fmla="*/ 3962400 w 7734300"/>
                  <a:gd name="connsiteY36" fmla="*/ 2209800 h 21907500"/>
                  <a:gd name="connsiteX37" fmla="*/ 3429000 w 7734300"/>
                  <a:gd name="connsiteY37" fmla="*/ 1828800 h 21907500"/>
                  <a:gd name="connsiteX38" fmla="*/ 3276600 w 7734300"/>
                  <a:gd name="connsiteY38" fmla="*/ 1295400 h 21907500"/>
                  <a:gd name="connsiteX39" fmla="*/ 3162300 w 7734300"/>
                  <a:gd name="connsiteY39" fmla="*/ 0 h 21907500"/>
                  <a:gd name="connsiteX40" fmla="*/ 2819400 w 7734300"/>
                  <a:gd name="connsiteY40" fmla="*/ 76200 h 21907500"/>
                  <a:gd name="connsiteX41" fmla="*/ 2324100 w 7734300"/>
                  <a:gd name="connsiteY41" fmla="*/ 1562100 h 21907500"/>
                  <a:gd name="connsiteX42" fmla="*/ 2095500 w 7734300"/>
                  <a:gd name="connsiteY42" fmla="*/ 1790700 h 21907500"/>
                  <a:gd name="connsiteX43" fmla="*/ 1714500 w 7734300"/>
                  <a:gd name="connsiteY43" fmla="*/ 2095500 h 21907500"/>
                  <a:gd name="connsiteX44" fmla="*/ 1104900 w 7734300"/>
                  <a:gd name="connsiteY44" fmla="*/ 1981200 h 21907500"/>
                  <a:gd name="connsiteX45" fmla="*/ 419100 w 7734300"/>
                  <a:gd name="connsiteY45" fmla="*/ 1790700 h 21907500"/>
                  <a:gd name="connsiteX46" fmla="*/ 419100 w 7734300"/>
                  <a:gd name="connsiteY46" fmla="*/ 1790700 h 21907500"/>
                  <a:gd name="connsiteX0" fmla="*/ 457200 w 7734300"/>
                  <a:gd name="connsiteY0" fmla="*/ 1752600 h 21907500"/>
                  <a:gd name="connsiteX1" fmla="*/ 190500 w 7734300"/>
                  <a:gd name="connsiteY1" fmla="*/ 2133600 h 21907500"/>
                  <a:gd name="connsiteX2" fmla="*/ 266700 w 7734300"/>
                  <a:gd name="connsiteY2" fmla="*/ 2514600 h 21907500"/>
                  <a:gd name="connsiteX3" fmla="*/ 495300 w 7734300"/>
                  <a:gd name="connsiteY3" fmla="*/ 2705100 h 21907500"/>
                  <a:gd name="connsiteX4" fmla="*/ 457200 w 7734300"/>
                  <a:gd name="connsiteY4" fmla="*/ 3962400 h 21907500"/>
                  <a:gd name="connsiteX5" fmla="*/ 190500 w 7734300"/>
                  <a:gd name="connsiteY5" fmla="*/ 6819900 h 21907500"/>
                  <a:gd name="connsiteX6" fmla="*/ 0 w 7734300"/>
                  <a:gd name="connsiteY6" fmla="*/ 9144000 h 21907500"/>
                  <a:gd name="connsiteX7" fmla="*/ 76200 w 7734300"/>
                  <a:gd name="connsiteY7" fmla="*/ 10058400 h 21907500"/>
                  <a:gd name="connsiteX8" fmla="*/ 228600 w 7734300"/>
                  <a:gd name="connsiteY8" fmla="*/ 10629900 h 21907500"/>
                  <a:gd name="connsiteX9" fmla="*/ 838200 w 7734300"/>
                  <a:gd name="connsiteY9" fmla="*/ 13258800 h 21907500"/>
                  <a:gd name="connsiteX10" fmla="*/ 3810000 w 7734300"/>
                  <a:gd name="connsiteY10" fmla="*/ 13220700 h 21907500"/>
                  <a:gd name="connsiteX11" fmla="*/ 3009900 w 7734300"/>
                  <a:gd name="connsiteY11" fmla="*/ 10325100 h 21907500"/>
                  <a:gd name="connsiteX12" fmla="*/ 2819400 w 7734300"/>
                  <a:gd name="connsiteY12" fmla="*/ 9601200 h 21907500"/>
                  <a:gd name="connsiteX13" fmla="*/ 2819400 w 7734300"/>
                  <a:gd name="connsiteY13" fmla="*/ 9220200 h 21907500"/>
                  <a:gd name="connsiteX14" fmla="*/ 2857500 w 7734300"/>
                  <a:gd name="connsiteY14" fmla="*/ 8801100 h 21907500"/>
                  <a:gd name="connsiteX15" fmla="*/ 2857500 w 7734300"/>
                  <a:gd name="connsiteY15" fmla="*/ 7772400 h 21907500"/>
                  <a:gd name="connsiteX16" fmla="*/ 3619500 w 7734300"/>
                  <a:gd name="connsiteY16" fmla="*/ 4114800 h 21907500"/>
                  <a:gd name="connsiteX17" fmla="*/ 3848100 w 7734300"/>
                  <a:gd name="connsiteY17" fmla="*/ 5219700 h 21907500"/>
                  <a:gd name="connsiteX18" fmla="*/ 3924300 w 7734300"/>
                  <a:gd name="connsiteY18" fmla="*/ 7048500 h 21907500"/>
                  <a:gd name="connsiteX19" fmla="*/ 3924300 w 7734300"/>
                  <a:gd name="connsiteY19" fmla="*/ 9029700 h 21907500"/>
                  <a:gd name="connsiteX20" fmla="*/ 3810000 w 7734300"/>
                  <a:gd name="connsiteY20" fmla="*/ 10401300 h 21907500"/>
                  <a:gd name="connsiteX21" fmla="*/ 3962400 w 7734300"/>
                  <a:gd name="connsiteY21" fmla="*/ 11125200 h 21907500"/>
                  <a:gd name="connsiteX22" fmla="*/ 4152900 w 7734300"/>
                  <a:gd name="connsiteY22" fmla="*/ 12877800 h 21907500"/>
                  <a:gd name="connsiteX23" fmla="*/ 4229100 w 7734300"/>
                  <a:gd name="connsiteY23" fmla="*/ 13792200 h 21907500"/>
                  <a:gd name="connsiteX24" fmla="*/ 5257800 w 7734300"/>
                  <a:gd name="connsiteY24" fmla="*/ 21297900 h 21907500"/>
                  <a:gd name="connsiteX25" fmla="*/ 6248400 w 7734300"/>
                  <a:gd name="connsiteY25" fmla="*/ 21907500 h 21907500"/>
                  <a:gd name="connsiteX26" fmla="*/ 7734300 w 7734300"/>
                  <a:gd name="connsiteY26" fmla="*/ 19583400 h 21907500"/>
                  <a:gd name="connsiteX27" fmla="*/ 6858000 w 7734300"/>
                  <a:gd name="connsiteY27" fmla="*/ 13563600 h 21907500"/>
                  <a:gd name="connsiteX28" fmla="*/ 6858000 w 7734300"/>
                  <a:gd name="connsiteY28" fmla="*/ 11315700 h 21907500"/>
                  <a:gd name="connsiteX29" fmla="*/ 6705600 w 7734300"/>
                  <a:gd name="connsiteY29" fmla="*/ 8877300 h 21907500"/>
                  <a:gd name="connsiteX30" fmla="*/ 6934200 w 7734300"/>
                  <a:gd name="connsiteY30" fmla="*/ 5143500 h 21907500"/>
                  <a:gd name="connsiteX31" fmla="*/ 7124700 w 7734300"/>
                  <a:gd name="connsiteY31" fmla="*/ 4114800 h 21907500"/>
                  <a:gd name="connsiteX32" fmla="*/ 7200900 w 7734300"/>
                  <a:gd name="connsiteY32" fmla="*/ 2781300 h 21907500"/>
                  <a:gd name="connsiteX33" fmla="*/ 7162800 w 7734300"/>
                  <a:gd name="connsiteY33" fmla="*/ 2095500 h 21907500"/>
                  <a:gd name="connsiteX34" fmla="*/ 6096000 w 7734300"/>
                  <a:gd name="connsiteY34" fmla="*/ 2171700 h 21907500"/>
                  <a:gd name="connsiteX35" fmla="*/ 4495800 w 7734300"/>
                  <a:gd name="connsiteY35" fmla="*/ 2247900 h 21907500"/>
                  <a:gd name="connsiteX36" fmla="*/ 3962400 w 7734300"/>
                  <a:gd name="connsiteY36" fmla="*/ 2209800 h 21907500"/>
                  <a:gd name="connsiteX37" fmla="*/ 3429000 w 7734300"/>
                  <a:gd name="connsiteY37" fmla="*/ 1828800 h 21907500"/>
                  <a:gd name="connsiteX38" fmla="*/ 3276600 w 7734300"/>
                  <a:gd name="connsiteY38" fmla="*/ 1295400 h 21907500"/>
                  <a:gd name="connsiteX39" fmla="*/ 3162300 w 7734300"/>
                  <a:gd name="connsiteY39" fmla="*/ 0 h 21907500"/>
                  <a:gd name="connsiteX40" fmla="*/ 2819400 w 7734300"/>
                  <a:gd name="connsiteY40" fmla="*/ 76200 h 21907500"/>
                  <a:gd name="connsiteX41" fmla="*/ 2324100 w 7734300"/>
                  <a:gd name="connsiteY41" fmla="*/ 1562100 h 21907500"/>
                  <a:gd name="connsiteX42" fmla="*/ 2095500 w 7734300"/>
                  <a:gd name="connsiteY42" fmla="*/ 1790700 h 21907500"/>
                  <a:gd name="connsiteX43" fmla="*/ 1714500 w 7734300"/>
                  <a:gd name="connsiteY43" fmla="*/ 2095500 h 21907500"/>
                  <a:gd name="connsiteX44" fmla="*/ 1104900 w 7734300"/>
                  <a:gd name="connsiteY44" fmla="*/ 1981200 h 21907500"/>
                  <a:gd name="connsiteX45" fmla="*/ 419100 w 7734300"/>
                  <a:gd name="connsiteY45" fmla="*/ 1790700 h 21907500"/>
                  <a:gd name="connsiteX46" fmla="*/ 419100 w 7734300"/>
                  <a:gd name="connsiteY46" fmla="*/ 1790700 h 21907500"/>
                  <a:gd name="connsiteX0" fmla="*/ 457200 w 7734300"/>
                  <a:gd name="connsiteY0" fmla="*/ 1752600 h 21907500"/>
                  <a:gd name="connsiteX1" fmla="*/ 190500 w 7734300"/>
                  <a:gd name="connsiteY1" fmla="*/ 2133600 h 21907500"/>
                  <a:gd name="connsiteX2" fmla="*/ 266700 w 7734300"/>
                  <a:gd name="connsiteY2" fmla="*/ 2514600 h 21907500"/>
                  <a:gd name="connsiteX3" fmla="*/ 495300 w 7734300"/>
                  <a:gd name="connsiteY3" fmla="*/ 2705100 h 21907500"/>
                  <a:gd name="connsiteX4" fmla="*/ 457200 w 7734300"/>
                  <a:gd name="connsiteY4" fmla="*/ 3962400 h 21907500"/>
                  <a:gd name="connsiteX5" fmla="*/ 190500 w 7734300"/>
                  <a:gd name="connsiteY5" fmla="*/ 6819900 h 21907500"/>
                  <a:gd name="connsiteX6" fmla="*/ 0 w 7734300"/>
                  <a:gd name="connsiteY6" fmla="*/ 9144000 h 21907500"/>
                  <a:gd name="connsiteX7" fmla="*/ 76200 w 7734300"/>
                  <a:gd name="connsiteY7" fmla="*/ 10058400 h 21907500"/>
                  <a:gd name="connsiteX8" fmla="*/ 228600 w 7734300"/>
                  <a:gd name="connsiteY8" fmla="*/ 10629900 h 21907500"/>
                  <a:gd name="connsiteX9" fmla="*/ 838200 w 7734300"/>
                  <a:gd name="connsiteY9" fmla="*/ 13258800 h 21907500"/>
                  <a:gd name="connsiteX10" fmla="*/ 3468914 w 7734300"/>
                  <a:gd name="connsiteY10" fmla="*/ 15757071 h 21907500"/>
                  <a:gd name="connsiteX11" fmla="*/ 3810000 w 7734300"/>
                  <a:gd name="connsiteY11" fmla="*/ 13220700 h 21907500"/>
                  <a:gd name="connsiteX12" fmla="*/ 3009900 w 7734300"/>
                  <a:gd name="connsiteY12" fmla="*/ 10325100 h 21907500"/>
                  <a:gd name="connsiteX13" fmla="*/ 2819400 w 7734300"/>
                  <a:gd name="connsiteY13" fmla="*/ 9601200 h 21907500"/>
                  <a:gd name="connsiteX14" fmla="*/ 2819400 w 7734300"/>
                  <a:gd name="connsiteY14" fmla="*/ 9220200 h 21907500"/>
                  <a:gd name="connsiteX15" fmla="*/ 2857500 w 7734300"/>
                  <a:gd name="connsiteY15" fmla="*/ 8801100 h 21907500"/>
                  <a:gd name="connsiteX16" fmla="*/ 2857500 w 7734300"/>
                  <a:gd name="connsiteY16" fmla="*/ 7772400 h 21907500"/>
                  <a:gd name="connsiteX17" fmla="*/ 3619500 w 7734300"/>
                  <a:gd name="connsiteY17" fmla="*/ 4114800 h 21907500"/>
                  <a:gd name="connsiteX18" fmla="*/ 3848100 w 7734300"/>
                  <a:gd name="connsiteY18" fmla="*/ 5219700 h 21907500"/>
                  <a:gd name="connsiteX19" fmla="*/ 3924300 w 7734300"/>
                  <a:gd name="connsiteY19" fmla="*/ 7048500 h 21907500"/>
                  <a:gd name="connsiteX20" fmla="*/ 3924300 w 7734300"/>
                  <a:gd name="connsiteY20" fmla="*/ 9029700 h 21907500"/>
                  <a:gd name="connsiteX21" fmla="*/ 3810000 w 7734300"/>
                  <a:gd name="connsiteY21" fmla="*/ 10401300 h 21907500"/>
                  <a:gd name="connsiteX22" fmla="*/ 3962400 w 7734300"/>
                  <a:gd name="connsiteY22" fmla="*/ 11125200 h 21907500"/>
                  <a:gd name="connsiteX23" fmla="*/ 4152900 w 7734300"/>
                  <a:gd name="connsiteY23" fmla="*/ 12877800 h 21907500"/>
                  <a:gd name="connsiteX24" fmla="*/ 4229100 w 7734300"/>
                  <a:gd name="connsiteY24" fmla="*/ 13792200 h 21907500"/>
                  <a:gd name="connsiteX25" fmla="*/ 5257800 w 7734300"/>
                  <a:gd name="connsiteY25" fmla="*/ 21297900 h 21907500"/>
                  <a:gd name="connsiteX26" fmla="*/ 6248400 w 7734300"/>
                  <a:gd name="connsiteY26" fmla="*/ 21907500 h 21907500"/>
                  <a:gd name="connsiteX27" fmla="*/ 7734300 w 7734300"/>
                  <a:gd name="connsiteY27" fmla="*/ 19583400 h 21907500"/>
                  <a:gd name="connsiteX28" fmla="*/ 6858000 w 7734300"/>
                  <a:gd name="connsiteY28" fmla="*/ 13563600 h 21907500"/>
                  <a:gd name="connsiteX29" fmla="*/ 6858000 w 7734300"/>
                  <a:gd name="connsiteY29" fmla="*/ 11315700 h 21907500"/>
                  <a:gd name="connsiteX30" fmla="*/ 6705600 w 7734300"/>
                  <a:gd name="connsiteY30" fmla="*/ 8877300 h 21907500"/>
                  <a:gd name="connsiteX31" fmla="*/ 6934200 w 7734300"/>
                  <a:gd name="connsiteY31" fmla="*/ 5143500 h 21907500"/>
                  <a:gd name="connsiteX32" fmla="*/ 7124700 w 7734300"/>
                  <a:gd name="connsiteY32" fmla="*/ 4114800 h 21907500"/>
                  <a:gd name="connsiteX33" fmla="*/ 7200900 w 7734300"/>
                  <a:gd name="connsiteY33" fmla="*/ 2781300 h 21907500"/>
                  <a:gd name="connsiteX34" fmla="*/ 7162800 w 7734300"/>
                  <a:gd name="connsiteY34" fmla="*/ 2095500 h 21907500"/>
                  <a:gd name="connsiteX35" fmla="*/ 6096000 w 7734300"/>
                  <a:gd name="connsiteY35" fmla="*/ 2171700 h 21907500"/>
                  <a:gd name="connsiteX36" fmla="*/ 4495800 w 7734300"/>
                  <a:gd name="connsiteY36" fmla="*/ 2247900 h 21907500"/>
                  <a:gd name="connsiteX37" fmla="*/ 3962400 w 7734300"/>
                  <a:gd name="connsiteY37" fmla="*/ 2209800 h 21907500"/>
                  <a:gd name="connsiteX38" fmla="*/ 3429000 w 7734300"/>
                  <a:gd name="connsiteY38" fmla="*/ 1828800 h 21907500"/>
                  <a:gd name="connsiteX39" fmla="*/ 3276600 w 7734300"/>
                  <a:gd name="connsiteY39" fmla="*/ 1295400 h 21907500"/>
                  <a:gd name="connsiteX40" fmla="*/ 3162300 w 7734300"/>
                  <a:gd name="connsiteY40" fmla="*/ 0 h 21907500"/>
                  <a:gd name="connsiteX41" fmla="*/ 2819400 w 7734300"/>
                  <a:gd name="connsiteY41" fmla="*/ 76200 h 21907500"/>
                  <a:gd name="connsiteX42" fmla="*/ 2324100 w 7734300"/>
                  <a:gd name="connsiteY42" fmla="*/ 1562100 h 21907500"/>
                  <a:gd name="connsiteX43" fmla="*/ 2095500 w 7734300"/>
                  <a:gd name="connsiteY43" fmla="*/ 1790700 h 21907500"/>
                  <a:gd name="connsiteX44" fmla="*/ 1714500 w 7734300"/>
                  <a:gd name="connsiteY44" fmla="*/ 2095500 h 21907500"/>
                  <a:gd name="connsiteX45" fmla="*/ 1104900 w 7734300"/>
                  <a:gd name="connsiteY45" fmla="*/ 1981200 h 21907500"/>
                  <a:gd name="connsiteX46" fmla="*/ 419100 w 7734300"/>
                  <a:gd name="connsiteY46" fmla="*/ 1790700 h 21907500"/>
                  <a:gd name="connsiteX47" fmla="*/ 419100 w 7734300"/>
                  <a:gd name="connsiteY47" fmla="*/ 1790700 h 21907500"/>
                  <a:gd name="connsiteX0" fmla="*/ 457200 w 7734300"/>
                  <a:gd name="connsiteY0" fmla="*/ 1752600 h 21907500"/>
                  <a:gd name="connsiteX1" fmla="*/ 190500 w 7734300"/>
                  <a:gd name="connsiteY1" fmla="*/ 2133600 h 21907500"/>
                  <a:gd name="connsiteX2" fmla="*/ 266700 w 7734300"/>
                  <a:gd name="connsiteY2" fmla="*/ 2514600 h 21907500"/>
                  <a:gd name="connsiteX3" fmla="*/ 495300 w 7734300"/>
                  <a:gd name="connsiteY3" fmla="*/ 2705100 h 21907500"/>
                  <a:gd name="connsiteX4" fmla="*/ 457200 w 7734300"/>
                  <a:gd name="connsiteY4" fmla="*/ 3962400 h 21907500"/>
                  <a:gd name="connsiteX5" fmla="*/ 190500 w 7734300"/>
                  <a:gd name="connsiteY5" fmla="*/ 6819900 h 21907500"/>
                  <a:gd name="connsiteX6" fmla="*/ 0 w 7734300"/>
                  <a:gd name="connsiteY6" fmla="*/ 9144000 h 21907500"/>
                  <a:gd name="connsiteX7" fmla="*/ 76200 w 7734300"/>
                  <a:gd name="connsiteY7" fmla="*/ 10058400 h 21907500"/>
                  <a:gd name="connsiteX8" fmla="*/ 228600 w 7734300"/>
                  <a:gd name="connsiteY8" fmla="*/ 10629900 h 21907500"/>
                  <a:gd name="connsiteX9" fmla="*/ 838200 w 7734300"/>
                  <a:gd name="connsiteY9" fmla="*/ 13258800 h 21907500"/>
                  <a:gd name="connsiteX10" fmla="*/ 1756229 w 7734300"/>
                  <a:gd name="connsiteY10" fmla="*/ 16109043 h 21907500"/>
                  <a:gd name="connsiteX11" fmla="*/ 3468914 w 7734300"/>
                  <a:gd name="connsiteY11" fmla="*/ 15757071 h 21907500"/>
                  <a:gd name="connsiteX12" fmla="*/ 3810000 w 7734300"/>
                  <a:gd name="connsiteY12" fmla="*/ 13220700 h 21907500"/>
                  <a:gd name="connsiteX13" fmla="*/ 3009900 w 7734300"/>
                  <a:gd name="connsiteY13" fmla="*/ 10325100 h 21907500"/>
                  <a:gd name="connsiteX14" fmla="*/ 2819400 w 7734300"/>
                  <a:gd name="connsiteY14" fmla="*/ 9601200 h 21907500"/>
                  <a:gd name="connsiteX15" fmla="*/ 2819400 w 7734300"/>
                  <a:gd name="connsiteY15" fmla="*/ 9220200 h 21907500"/>
                  <a:gd name="connsiteX16" fmla="*/ 2857500 w 7734300"/>
                  <a:gd name="connsiteY16" fmla="*/ 8801100 h 21907500"/>
                  <a:gd name="connsiteX17" fmla="*/ 2857500 w 7734300"/>
                  <a:gd name="connsiteY17" fmla="*/ 7772400 h 21907500"/>
                  <a:gd name="connsiteX18" fmla="*/ 3619500 w 7734300"/>
                  <a:gd name="connsiteY18" fmla="*/ 4114800 h 21907500"/>
                  <a:gd name="connsiteX19" fmla="*/ 3848100 w 7734300"/>
                  <a:gd name="connsiteY19" fmla="*/ 5219700 h 21907500"/>
                  <a:gd name="connsiteX20" fmla="*/ 3924300 w 7734300"/>
                  <a:gd name="connsiteY20" fmla="*/ 7048500 h 21907500"/>
                  <a:gd name="connsiteX21" fmla="*/ 3924300 w 7734300"/>
                  <a:gd name="connsiteY21" fmla="*/ 9029700 h 21907500"/>
                  <a:gd name="connsiteX22" fmla="*/ 3810000 w 7734300"/>
                  <a:gd name="connsiteY22" fmla="*/ 10401300 h 21907500"/>
                  <a:gd name="connsiteX23" fmla="*/ 3962400 w 7734300"/>
                  <a:gd name="connsiteY23" fmla="*/ 11125200 h 21907500"/>
                  <a:gd name="connsiteX24" fmla="*/ 4152900 w 7734300"/>
                  <a:gd name="connsiteY24" fmla="*/ 12877800 h 21907500"/>
                  <a:gd name="connsiteX25" fmla="*/ 4229100 w 7734300"/>
                  <a:gd name="connsiteY25" fmla="*/ 13792200 h 21907500"/>
                  <a:gd name="connsiteX26" fmla="*/ 5257800 w 7734300"/>
                  <a:gd name="connsiteY26" fmla="*/ 21297900 h 21907500"/>
                  <a:gd name="connsiteX27" fmla="*/ 6248400 w 7734300"/>
                  <a:gd name="connsiteY27" fmla="*/ 21907500 h 21907500"/>
                  <a:gd name="connsiteX28" fmla="*/ 7734300 w 7734300"/>
                  <a:gd name="connsiteY28" fmla="*/ 19583400 h 21907500"/>
                  <a:gd name="connsiteX29" fmla="*/ 6858000 w 7734300"/>
                  <a:gd name="connsiteY29" fmla="*/ 13563600 h 21907500"/>
                  <a:gd name="connsiteX30" fmla="*/ 6858000 w 7734300"/>
                  <a:gd name="connsiteY30" fmla="*/ 11315700 h 21907500"/>
                  <a:gd name="connsiteX31" fmla="*/ 6705600 w 7734300"/>
                  <a:gd name="connsiteY31" fmla="*/ 8877300 h 21907500"/>
                  <a:gd name="connsiteX32" fmla="*/ 6934200 w 7734300"/>
                  <a:gd name="connsiteY32" fmla="*/ 5143500 h 21907500"/>
                  <a:gd name="connsiteX33" fmla="*/ 7124700 w 7734300"/>
                  <a:gd name="connsiteY33" fmla="*/ 4114800 h 21907500"/>
                  <a:gd name="connsiteX34" fmla="*/ 7200900 w 7734300"/>
                  <a:gd name="connsiteY34" fmla="*/ 2781300 h 21907500"/>
                  <a:gd name="connsiteX35" fmla="*/ 7162800 w 7734300"/>
                  <a:gd name="connsiteY35" fmla="*/ 2095500 h 21907500"/>
                  <a:gd name="connsiteX36" fmla="*/ 6096000 w 7734300"/>
                  <a:gd name="connsiteY36" fmla="*/ 2171700 h 21907500"/>
                  <a:gd name="connsiteX37" fmla="*/ 4495800 w 7734300"/>
                  <a:gd name="connsiteY37" fmla="*/ 2247900 h 21907500"/>
                  <a:gd name="connsiteX38" fmla="*/ 3962400 w 7734300"/>
                  <a:gd name="connsiteY38" fmla="*/ 2209800 h 21907500"/>
                  <a:gd name="connsiteX39" fmla="*/ 3429000 w 7734300"/>
                  <a:gd name="connsiteY39" fmla="*/ 1828800 h 21907500"/>
                  <a:gd name="connsiteX40" fmla="*/ 3276600 w 7734300"/>
                  <a:gd name="connsiteY40" fmla="*/ 1295400 h 21907500"/>
                  <a:gd name="connsiteX41" fmla="*/ 3162300 w 7734300"/>
                  <a:gd name="connsiteY41" fmla="*/ 0 h 21907500"/>
                  <a:gd name="connsiteX42" fmla="*/ 2819400 w 7734300"/>
                  <a:gd name="connsiteY42" fmla="*/ 76200 h 21907500"/>
                  <a:gd name="connsiteX43" fmla="*/ 2324100 w 7734300"/>
                  <a:gd name="connsiteY43" fmla="*/ 1562100 h 21907500"/>
                  <a:gd name="connsiteX44" fmla="*/ 2095500 w 7734300"/>
                  <a:gd name="connsiteY44" fmla="*/ 1790700 h 21907500"/>
                  <a:gd name="connsiteX45" fmla="*/ 1714500 w 7734300"/>
                  <a:gd name="connsiteY45" fmla="*/ 2095500 h 21907500"/>
                  <a:gd name="connsiteX46" fmla="*/ 1104900 w 7734300"/>
                  <a:gd name="connsiteY46" fmla="*/ 1981200 h 21907500"/>
                  <a:gd name="connsiteX47" fmla="*/ 419100 w 7734300"/>
                  <a:gd name="connsiteY47" fmla="*/ 1790700 h 21907500"/>
                  <a:gd name="connsiteX48" fmla="*/ 419100 w 7734300"/>
                  <a:gd name="connsiteY48" fmla="*/ 1790700 h 21907500"/>
                  <a:gd name="connsiteX0" fmla="*/ 457200 w 7734300"/>
                  <a:gd name="connsiteY0" fmla="*/ 1752600 h 21297900"/>
                  <a:gd name="connsiteX1" fmla="*/ 190500 w 7734300"/>
                  <a:gd name="connsiteY1" fmla="*/ 2133600 h 21297900"/>
                  <a:gd name="connsiteX2" fmla="*/ 266700 w 7734300"/>
                  <a:gd name="connsiteY2" fmla="*/ 2514600 h 21297900"/>
                  <a:gd name="connsiteX3" fmla="*/ 495300 w 7734300"/>
                  <a:gd name="connsiteY3" fmla="*/ 2705100 h 21297900"/>
                  <a:gd name="connsiteX4" fmla="*/ 457200 w 7734300"/>
                  <a:gd name="connsiteY4" fmla="*/ 3962400 h 21297900"/>
                  <a:gd name="connsiteX5" fmla="*/ 190500 w 7734300"/>
                  <a:gd name="connsiteY5" fmla="*/ 6819900 h 21297900"/>
                  <a:gd name="connsiteX6" fmla="*/ 0 w 7734300"/>
                  <a:gd name="connsiteY6" fmla="*/ 9144000 h 21297900"/>
                  <a:gd name="connsiteX7" fmla="*/ 76200 w 7734300"/>
                  <a:gd name="connsiteY7" fmla="*/ 10058400 h 21297900"/>
                  <a:gd name="connsiteX8" fmla="*/ 228600 w 7734300"/>
                  <a:gd name="connsiteY8" fmla="*/ 10629900 h 21297900"/>
                  <a:gd name="connsiteX9" fmla="*/ 838200 w 7734300"/>
                  <a:gd name="connsiteY9" fmla="*/ 13258800 h 21297900"/>
                  <a:gd name="connsiteX10" fmla="*/ 1756229 w 7734300"/>
                  <a:gd name="connsiteY10" fmla="*/ 16109043 h 21297900"/>
                  <a:gd name="connsiteX11" fmla="*/ 3468914 w 7734300"/>
                  <a:gd name="connsiteY11" fmla="*/ 15757071 h 21297900"/>
                  <a:gd name="connsiteX12" fmla="*/ 3810000 w 7734300"/>
                  <a:gd name="connsiteY12" fmla="*/ 13220700 h 21297900"/>
                  <a:gd name="connsiteX13" fmla="*/ 3009900 w 7734300"/>
                  <a:gd name="connsiteY13" fmla="*/ 10325100 h 21297900"/>
                  <a:gd name="connsiteX14" fmla="*/ 2819400 w 7734300"/>
                  <a:gd name="connsiteY14" fmla="*/ 9601200 h 21297900"/>
                  <a:gd name="connsiteX15" fmla="*/ 2819400 w 7734300"/>
                  <a:gd name="connsiteY15" fmla="*/ 9220200 h 21297900"/>
                  <a:gd name="connsiteX16" fmla="*/ 2857500 w 7734300"/>
                  <a:gd name="connsiteY16" fmla="*/ 8801100 h 21297900"/>
                  <a:gd name="connsiteX17" fmla="*/ 2857500 w 7734300"/>
                  <a:gd name="connsiteY17" fmla="*/ 7772400 h 21297900"/>
                  <a:gd name="connsiteX18" fmla="*/ 3619500 w 7734300"/>
                  <a:gd name="connsiteY18" fmla="*/ 4114800 h 21297900"/>
                  <a:gd name="connsiteX19" fmla="*/ 3848100 w 7734300"/>
                  <a:gd name="connsiteY19" fmla="*/ 5219700 h 21297900"/>
                  <a:gd name="connsiteX20" fmla="*/ 3924300 w 7734300"/>
                  <a:gd name="connsiteY20" fmla="*/ 7048500 h 21297900"/>
                  <a:gd name="connsiteX21" fmla="*/ 3924300 w 7734300"/>
                  <a:gd name="connsiteY21" fmla="*/ 9029700 h 21297900"/>
                  <a:gd name="connsiteX22" fmla="*/ 3810000 w 7734300"/>
                  <a:gd name="connsiteY22" fmla="*/ 10401300 h 21297900"/>
                  <a:gd name="connsiteX23" fmla="*/ 3962400 w 7734300"/>
                  <a:gd name="connsiteY23" fmla="*/ 11125200 h 21297900"/>
                  <a:gd name="connsiteX24" fmla="*/ 4152900 w 7734300"/>
                  <a:gd name="connsiteY24" fmla="*/ 12877800 h 21297900"/>
                  <a:gd name="connsiteX25" fmla="*/ 4229100 w 7734300"/>
                  <a:gd name="connsiteY25" fmla="*/ 13792200 h 21297900"/>
                  <a:gd name="connsiteX26" fmla="*/ 5257800 w 7734300"/>
                  <a:gd name="connsiteY26" fmla="*/ 21297900 h 21297900"/>
                  <a:gd name="connsiteX27" fmla="*/ 6248400 w 7734300"/>
                  <a:gd name="connsiteY27" fmla="*/ 20231100 h 21297900"/>
                  <a:gd name="connsiteX28" fmla="*/ 7734300 w 7734300"/>
                  <a:gd name="connsiteY28" fmla="*/ 19583400 h 21297900"/>
                  <a:gd name="connsiteX29" fmla="*/ 6858000 w 7734300"/>
                  <a:gd name="connsiteY29" fmla="*/ 13563600 h 21297900"/>
                  <a:gd name="connsiteX30" fmla="*/ 6858000 w 7734300"/>
                  <a:gd name="connsiteY30" fmla="*/ 11315700 h 21297900"/>
                  <a:gd name="connsiteX31" fmla="*/ 6705600 w 7734300"/>
                  <a:gd name="connsiteY31" fmla="*/ 8877300 h 21297900"/>
                  <a:gd name="connsiteX32" fmla="*/ 6934200 w 7734300"/>
                  <a:gd name="connsiteY32" fmla="*/ 5143500 h 21297900"/>
                  <a:gd name="connsiteX33" fmla="*/ 7124700 w 7734300"/>
                  <a:gd name="connsiteY33" fmla="*/ 4114800 h 21297900"/>
                  <a:gd name="connsiteX34" fmla="*/ 7200900 w 7734300"/>
                  <a:gd name="connsiteY34" fmla="*/ 2781300 h 21297900"/>
                  <a:gd name="connsiteX35" fmla="*/ 7162800 w 7734300"/>
                  <a:gd name="connsiteY35" fmla="*/ 2095500 h 21297900"/>
                  <a:gd name="connsiteX36" fmla="*/ 6096000 w 7734300"/>
                  <a:gd name="connsiteY36" fmla="*/ 2171700 h 21297900"/>
                  <a:gd name="connsiteX37" fmla="*/ 4495800 w 7734300"/>
                  <a:gd name="connsiteY37" fmla="*/ 2247900 h 21297900"/>
                  <a:gd name="connsiteX38" fmla="*/ 3962400 w 7734300"/>
                  <a:gd name="connsiteY38" fmla="*/ 2209800 h 21297900"/>
                  <a:gd name="connsiteX39" fmla="*/ 3429000 w 7734300"/>
                  <a:gd name="connsiteY39" fmla="*/ 1828800 h 21297900"/>
                  <a:gd name="connsiteX40" fmla="*/ 3276600 w 7734300"/>
                  <a:gd name="connsiteY40" fmla="*/ 1295400 h 21297900"/>
                  <a:gd name="connsiteX41" fmla="*/ 3162300 w 7734300"/>
                  <a:gd name="connsiteY41" fmla="*/ 0 h 21297900"/>
                  <a:gd name="connsiteX42" fmla="*/ 2819400 w 7734300"/>
                  <a:gd name="connsiteY42" fmla="*/ 76200 h 21297900"/>
                  <a:gd name="connsiteX43" fmla="*/ 2324100 w 7734300"/>
                  <a:gd name="connsiteY43" fmla="*/ 1562100 h 21297900"/>
                  <a:gd name="connsiteX44" fmla="*/ 2095500 w 7734300"/>
                  <a:gd name="connsiteY44" fmla="*/ 1790700 h 21297900"/>
                  <a:gd name="connsiteX45" fmla="*/ 1714500 w 7734300"/>
                  <a:gd name="connsiteY45" fmla="*/ 2095500 h 21297900"/>
                  <a:gd name="connsiteX46" fmla="*/ 1104900 w 7734300"/>
                  <a:gd name="connsiteY46" fmla="*/ 1981200 h 21297900"/>
                  <a:gd name="connsiteX47" fmla="*/ 419100 w 7734300"/>
                  <a:gd name="connsiteY47" fmla="*/ 1790700 h 21297900"/>
                  <a:gd name="connsiteX48" fmla="*/ 419100 w 7734300"/>
                  <a:gd name="connsiteY48" fmla="*/ 1790700 h 21297900"/>
                  <a:gd name="connsiteX0" fmla="*/ 457200 w 7734300"/>
                  <a:gd name="connsiteY0" fmla="*/ 1752600 h 20231100"/>
                  <a:gd name="connsiteX1" fmla="*/ 190500 w 7734300"/>
                  <a:gd name="connsiteY1" fmla="*/ 2133600 h 20231100"/>
                  <a:gd name="connsiteX2" fmla="*/ 266700 w 7734300"/>
                  <a:gd name="connsiteY2" fmla="*/ 2514600 h 20231100"/>
                  <a:gd name="connsiteX3" fmla="*/ 495300 w 7734300"/>
                  <a:gd name="connsiteY3" fmla="*/ 2705100 h 20231100"/>
                  <a:gd name="connsiteX4" fmla="*/ 457200 w 7734300"/>
                  <a:gd name="connsiteY4" fmla="*/ 3962400 h 20231100"/>
                  <a:gd name="connsiteX5" fmla="*/ 190500 w 7734300"/>
                  <a:gd name="connsiteY5" fmla="*/ 6819900 h 20231100"/>
                  <a:gd name="connsiteX6" fmla="*/ 0 w 7734300"/>
                  <a:gd name="connsiteY6" fmla="*/ 9144000 h 20231100"/>
                  <a:gd name="connsiteX7" fmla="*/ 76200 w 7734300"/>
                  <a:gd name="connsiteY7" fmla="*/ 10058400 h 20231100"/>
                  <a:gd name="connsiteX8" fmla="*/ 228600 w 7734300"/>
                  <a:gd name="connsiteY8" fmla="*/ 10629900 h 20231100"/>
                  <a:gd name="connsiteX9" fmla="*/ 838200 w 7734300"/>
                  <a:gd name="connsiteY9" fmla="*/ 13258800 h 20231100"/>
                  <a:gd name="connsiteX10" fmla="*/ 1756229 w 7734300"/>
                  <a:gd name="connsiteY10" fmla="*/ 16109043 h 20231100"/>
                  <a:gd name="connsiteX11" fmla="*/ 3468914 w 7734300"/>
                  <a:gd name="connsiteY11" fmla="*/ 15757071 h 20231100"/>
                  <a:gd name="connsiteX12" fmla="*/ 3810000 w 7734300"/>
                  <a:gd name="connsiteY12" fmla="*/ 13220700 h 20231100"/>
                  <a:gd name="connsiteX13" fmla="*/ 3009900 w 7734300"/>
                  <a:gd name="connsiteY13" fmla="*/ 10325100 h 20231100"/>
                  <a:gd name="connsiteX14" fmla="*/ 2819400 w 7734300"/>
                  <a:gd name="connsiteY14" fmla="*/ 9601200 h 20231100"/>
                  <a:gd name="connsiteX15" fmla="*/ 2819400 w 7734300"/>
                  <a:gd name="connsiteY15" fmla="*/ 9220200 h 20231100"/>
                  <a:gd name="connsiteX16" fmla="*/ 2857500 w 7734300"/>
                  <a:gd name="connsiteY16" fmla="*/ 8801100 h 20231100"/>
                  <a:gd name="connsiteX17" fmla="*/ 2857500 w 7734300"/>
                  <a:gd name="connsiteY17" fmla="*/ 7772400 h 20231100"/>
                  <a:gd name="connsiteX18" fmla="*/ 3619500 w 7734300"/>
                  <a:gd name="connsiteY18" fmla="*/ 4114800 h 20231100"/>
                  <a:gd name="connsiteX19" fmla="*/ 3848100 w 7734300"/>
                  <a:gd name="connsiteY19" fmla="*/ 5219700 h 20231100"/>
                  <a:gd name="connsiteX20" fmla="*/ 3924300 w 7734300"/>
                  <a:gd name="connsiteY20" fmla="*/ 7048500 h 20231100"/>
                  <a:gd name="connsiteX21" fmla="*/ 3924300 w 7734300"/>
                  <a:gd name="connsiteY21" fmla="*/ 9029700 h 20231100"/>
                  <a:gd name="connsiteX22" fmla="*/ 3810000 w 7734300"/>
                  <a:gd name="connsiteY22" fmla="*/ 10401300 h 20231100"/>
                  <a:gd name="connsiteX23" fmla="*/ 3962400 w 7734300"/>
                  <a:gd name="connsiteY23" fmla="*/ 11125200 h 20231100"/>
                  <a:gd name="connsiteX24" fmla="*/ 4152900 w 7734300"/>
                  <a:gd name="connsiteY24" fmla="*/ 12877800 h 20231100"/>
                  <a:gd name="connsiteX25" fmla="*/ 4229100 w 7734300"/>
                  <a:gd name="connsiteY25" fmla="*/ 13792200 h 20231100"/>
                  <a:gd name="connsiteX26" fmla="*/ 5257800 w 7734300"/>
                  <a:gd name="connsiteY26" fmla="*/ 19850100 h 20231100"/>
                  <a:gd name="connsiteX27" fmla="*/ 6248400 w 7734300"/>
                  <a:gd name="connsiteY27" fmla="*/ 20231100 h 20231100"/>
                  <a:gd name="connsiteX28" fmla="*/ 7734300 w 7734300"/>
                  <a:gd name="connsiteY28" fmla="*/ 19583400 h 20231100"/>
                  <a:gd name="connsiteX29" fmla="*/ 6858000 w 7734300"/>
                  <a:gd name="connsiteY29" fmla="*/ 13563600 h 20231100"/>
                  <a:gd name="connsiteX30" fmla="*/ 6858000 w 7734300"/>
                  <a:gd name="connsiteY30" fmla="*/ 11315700 h 20231100"/>
                  <a:gd name="connsiteX31" fmla="*/ 6705600 w 7734300"/>
                  <a:gd name="connsiteY31" fmla="*/ 8877300 h 20231100"/>
                  <a:gd name="connsiteX32" fmla="*/ 6934200 w 7734300"/>
                  <a:gd name="connsiteY32" fmla="*/ 5143500 h 20231100"/>
                  <a:gd name="connsiteX33" fmla="*/ 7124700 w 7734300"/>
                  <a:gd name="connsiteY33" fmla="*/ 4114800 h 20231100"/>
                  <a:gd name="connsiteX34" fmla="*/ 7200900 w 7734300"/>
                  <a:gd name="connsiteY34" fmla="*/ 2781300 h 20231100"/>
                  <a:gd name="connsiteX35" fmla="*/ 7162800 w 7734300"/>
                  <a:gd name="connsiteY35" fmla="*/ 2095500 h 20231100"/>
                  <a:gd name="connsiteX36" fmla="*/ 6096000 w 7734300"/>
                  <a:gd name="connsiteY36" fmla="*/ 2171700 h 20231100"/>
                  <a:gd name="connsiteX37" fmla="*/ 4495800 w 7734300"/>
                  <a:gd name="connsiteY37" fmla="*/ 2247900 h 20231100"/>
                  <a:gd name="connsiteX38" fmla="*/ 3962400 w 7734300"/>
                  <a:gd name="connsiteY38" fmla="*/ 2209800 h 20231100"/>
                  <a:gd name="connsiteX39" fmla="*/ 3429000 w 7734300"/>
                  <a:gd name="connsiteY39" fmla="*/ 1828800 h 20231100"/>
                  <a:gd name="connsiteX40" fmla="*/ 3276600 w 7734300"/>
                  <a:gd name="connsiteY40" fmla="*/ 1295400 h 20231100"/>
                  <a:gd name="connsiteX41" fmla="*/ 3162300 w 7734300"/>
                  <a:gd name="connsiteY41" fmla="*/ 0 h 20231100"/>
                  <a:gd name="connsiteX42" fmla="*/ 2819400 w 7734300"/>
                  <a:gd name="connsiteY42" fmla="*/ 76200 h 20231100"/>
                  <a:gd name="connsiteX43" fmla="*/ 2324100 w 7734300"/>
                  <a:gd name="connsiteY43" fmla="*/ 1562100 h 20231100"/>
                  <a:gd name="connsiteX44" fmla="*/ 2095500 w 7734300"/>
                  <a:gd name="connsiteY44" fmla="*/ 1790700 h 20231100"/>
                  <a:gd name="connsiteX45" fmla="*/ 1714500 w 7734300"/>
                  <a:gd name="connsiteY45" fmla="*/ 2095500 h 20231100"/>
                  <a:gd name="connsiteX46" fmla="*/ 1104900 w 7734300"/>
                  <a:gd name="connsiteY46" fmla="*/ 1981200 h 20231100"/>
                  <a:gd name="connsiteX47" fmla="*/ 419100 w 7734300"/>
                  <a:gd name="connsiteY47" fmla="*/ 1790700 h 20231100"/>
                  <a:gd name="connsiteX48" fmla="*/ 419100 w 7734300"/>
                  <a:gd name="connsiteY48" fmla="*/ 1790700 h 20231100"/>
                  <a:gd name="connsiteX0" fmla="*/ 457200 w 7734300"/>
                  <a:gd name="connsiteY0" fmla="*/ 1752600 h 20231100"/>
                  <a:gd name="connsiteX1" fmla="*/ 190500 w 7734300"/>
                  <a:gd name="connsiteY1" fmla="*/ 2133600 h 20231100"/>
                  <a:gd name="connsiteX2" fmla="*/ 266700 w 7734300"/>
                  <a:gd name="connsiteY2" fmla="*/ 2514600 h 20231100"/>
                  <a:gd name="connsiteX3" fmla="*/ 495300 w 7734300"/>
                  <a:gd name="connsiteY3" fmla="*/ 2705100 h 20231100"/>
                  <a:gd name="connsiteX4" fmla="*/ 457200 w 7734300"/>
                  <a:gd name="connsiteY4" fmla="*/ 3962400 h 20231100"/>
                  <a:gd name="connsiteX5" fmla="*/ 190500 w 7734300"/>
                  <a:gd name="connsiteY5" fmla="*/ 6819900 h 20231100"/>
                  <a:gd name="connsiteX6" fmla="*/ 0 w 7734300"/>
                  <a:gd name="connsiteY6" fmla="*/ 9144000 h 20231100"/>
                  <a:gd name="connsiteX7" fmla="*/ 76200 w 7734300"/>
                  <a:gd name="connsiteY7" fmla="*/ 10058400 h 20231100"/>
                  <a:gd name="connsiteX8" fmla="*/ 228600 w 7734300"/>
                  <a:gd name="connsiteY8" fmla="*/ 10629900 h 20231100"/>
                  <a:gd name="connsiteX9" fmla="*/ 838200 w 7734300"/>
                  <a:gd name="connsiteY9" fmla="*/ 13258800 h 20231100"/>
                  <a:gd name="connsiteX10" fmla="*/ 1756229 w 7734300"/>
                  <a:gd name="connsiteY10" fmla="*/ 16109043 h 20231100"/>
                  <a:gd name="connsiteX11" fmla="*/ 3468914 w 7734300"/>
                  <a:gd name="connsiteY11" fmla="*/ 15757071 h 20231100"/>
                  <a:gd name="connsiteX12" fmla="*/ 3810000 w 7734300"/>
                  <a:gd name="connsiteY12" fmla="*/ 13220700 h 20231100"/>
                  <a:gd name="connsiteX13" fmla="*/ 3009900 w 7734300"/>
                  <a:gd name="connsiteY13" fmla="*/ 10325100 h 20231100"/>
                  <a:gd name="connsiteX14" fmla="*/ 2819400 w 7734300"/>
                  <a:gd name="connsiteY14" fmla="*/ 9601200 h 20231100"/>
                  <a:gd name="connsiteX15" fmla="*/ 2819400 w 7734300"/>
                  <a:gd name="connsiteY15" fmla="*/ 9220200 h 20231100"/>
                  <a:gd name="connsiteX16" fmla="*/ 2857500 w 7734300"/>
                  <a:gd name="connsiteY16" fmla="*/ 8801100 h 20231100"/>
                  <a:gd name="connsiteX17" fmla="*/ 2857500 w 7734300"/>
                  <a:gd name="connsiteY17" fmla="*/ 7772400 h 20231100"/>
                  <a:gd name="connsiteX18" fmla="*/ 3619500 w 7734300"/>
                  <a:gd name="connsiteY18" fmla="*/ 4114800 h 20231100"/>
                  <a:gd name="connsiteX19" fmla="*/ 3848100 w 7734300"/>
                  <a:gd name="connsiteY19" fmla="*/ 5219700 h 20231100"/>
                  <a:gd name="connsiteX20" fmla="*/ 3924300 w 7734300"/>
                  <a:gd name="connsiteY20" fmla="*/ 7048500 h 20231100"/>
                  <a:gd name="connsiteX21" fmla="*/ 3924300 w 7734300"/>
                  <a:gd name="connsiteY21" fmla="*/ 9029700 h 20231100"/>
                  <a:gd name="connsiteX22" fmla="*/ 3810000 w 7734300"/>
                  <a:gd name="connsiteY22" fmla="*/ 10401300 h 20231100"/>
                  <a:gd name="connsiteX23" fmla="*/ 3962400 w 7734300"/>
                  <a:gd name="connsiteY23" fmla="*/ 11125200 h 20231100"/>
                  <a:gd name="connsiteX24" fmla="*/ 4152900 w 7734300"/>
                  <a:gd name="connsiteY24" fmla="*/ 12877800 h 20231100"/>
                  <a:gd name="connsiteX25" fmla="*/ 4229100 w 7734300"/>
                  <a:gd name="connsiteY25" fmla="*/ 13792200 h 20231100"/>
                  <a:gd name="connsiteX26" fmla="*/ 5257800 w 7734300"/>
                  <a:gd name="connsiteY26" fmla="*/ 19850100 h 20231100"/>
                  <a:gd name="connsiteX27" fmla="*/ 6248400 w 7734300"/>
                  <a:gd name="connsiteY27" fmla="*/ 20231100 h 20231100"/>
                  <a:gd name="connsiteX28" fmla="*/ 7734300 w 7734300"/>
                  <a:gd name="connsiteY28" fmla="*/ 19583400 h 20231100"/>
                  <a:gd name="connsiteX29" fmla="*/ 6858000 w 7734300"/>
                  <a:gd name="connsiteY29" fmla="*/ 13563600 h 20231100"/>
                  <a:gd name="connsiteX30" fmla="*/ 6858000 w 7734300"/>
                  <a:gd name="connsiteY30" fmla="*/ 11315700 h 20231100"/>
                  <a:gd name="connsiteX31" fmla="*/ 6705600 w 7734300"/>
                  <a:gd name="connsiteY31" fmla="*/ 8877300 h 20231100"/>
                  <a:gd name="connsiteX32" fmla="*/ 6934200 w 7734300"/>
                  <a:gd name="connsiteY32" fmla="*/ 5143500 h 20231100"/>
                  <a:gd name="connsiteX33" fmla="*/ 7124700 w 7734300"/>
                  <a:gd name="connsiteY33" fmla="*/ 4114800 h 20231100"/>
                  <a:gd name="connsiteX34" fmla="*/ 7200900 w 7734300"/>
                  <a:gd name="connsiteY34" fmla="*/ 2781300 h 20231100"/>
                  <a:gd name="connsiteX35" fmla="*/ 7162800 w 7734300"/>
                  <a:gd name="connsiteY35" fmla="*/ 2095500 h 20231100"/>
                  <a:gd name="connsiteX36" fmla="*/ 6096000 w 7734300"/>
                  <a:gd name="connsiteY36" fmla="*/ 2171700 h 20231100"/>
                  <a:gd name="connsiteX37" fmla="*/ 4495800 w 7734300"/>
                  <a:gd name="connsiteY37" fmla="*/ 2247900 h 20231100"/>
                  <a:gd name="connsiteX38" fmla="*/ 3962400 w 7734300"/>
                  <a:gd name="connsiteY38" fmla="*/ 2209800 h 20231100"/>
                  <a:gd name="connsiteX39" fmla="*/ 3429000 w 7734300"/>
                  <a:gd name="connsiteY39" fmla="*/ 1828800 h 20231100"/>
                  <a:gd name="connsiteX40" fmla="*/ 3276600 w 7734300"/>
                  <a:gd name="connsiteY40" fmla="*/ 1295400 h 20231100"/>
                  <a:gd name="connsiteX41" fmla="*/ 3162300 w 7734300"/>
                  <a:gd name="connsiteY41" fmla="*/ 0 h 20231100"/>
                  <a:gd name="connsiteX42" fmla="*/ 2819400 w 7734300"/>
                  <a:gd name="connsiteY42" fmla="*/ 76200 h 20231100"/>
                  <a:gd name="connsiteX43" fmla="*/ 2324100 w 7734300"/>
                  <a:gd name="connsiteY43" fmla="*/ 1562100 h 20231100"/>
                  <a:gd name="connsiteX44" fmla="*/ 2095500 w 7734300"/>
                  <a:gd name="connsiteY44" fmla="*/ 1790700 h 20231100"/>
                  <a:gd name="connsiteX45" fmla="*/ 1714500 w 7734300"/>
                  <a:gd name="connsiteY45" fmla="*/ 2095500 h 20231100"/>
                  <a:gd name="connsiteX46" fmla="*/ 1104900 w 7734300"/>
                  <a:gd name="connsiteY46" fmla="*/ 1981200 h 20231100"/>
                  <a:gd name="connsiteX47" fmla="*/ 419100 w 7734300"/>
                  <a:gd name="connsiteY47" fmla="*/ 1790700 h 20231100"/>
                  <a:gd name="connsiteX48" fmla="*/ 419100 w 7734300"/>
                  <a:gd name="connsiteY48" fmla="*/ 1790700 h 20231100"/>
                  <a:gd name="connsiteX0" fmla="*/ 457200 w 7734300"/>
                  <a:gd name="connsiteY0" fmla="*/ 1752600 h 20231100"/>
                  <a:gd name="connsiteX1" fmla="*/ 190500 w 7734300"/>
                  <a:gd name="connsiteY1" fmla="*/ 2133600 h 20231100"/>
                  <a:gd name="connsiteX2" fmla="*/ 266700 w 7734300"/>
                  <a:gd name="connsiteY2" fmla="*/ 2514600 h 20231100"/>
                  <a:gd name="connsiteX3" fmla="*/ 495300 w 7734300"/>
                  <a:gd name="connsiteY3" fmla="*/ 2705100 h 20231100"/>
                  <a:gd name="connsiteX4" fmla="*/ 457200 w 7734300"/>
                  <a:gd name="connsiteY4" fmla="*/ 3962400 h 20231100"/>
                  <a:gd name="connsiteX5" fmla="*/ 190500 w 7734300"/>
                  <a:gd name="connsiteY5" fmla="*/ 6819900 h 20231100"/>
                  <a:gd name="connsiteX6" fmla="*/ 0 w 7734300"/>
                  <a:gd name="connsiteY6" fmla="*/ 9144000 h 20231100"/>
                  <a:gd name="connsiteX7" fmla="*/ 76200 w 7734300"/>
                  <a:gd name="connsiteY7" fmla="*/ 10058400 h 20231100"/>
                  <a:gd name="connsiteX8" fmla="*/ 228600 w 7734300"/>
                  <a:gd name="connsiteY8" fmla="*/ 10629900 h 20231100"/>
                  <a:gd name="connsiteX9" fmla="*/ 838200 w 7734300"/>
                  <a:gd name="connsiteY9" fmla="*/ 13258800 h 20231100"/>
                  <a:gd name="connsiteX10" fmla="*/ 1756229 w 7734300"/>
                  <a:gd name="connsiteY10" fmla="*/ 16109043 h 20231100"/>
                  <a:gd name="connsiteX11" fmla="*/ 3468914 w 7734300"/>
                  <a:gd name="connsiteY11" fmla="*/ 15757071 h 20231100"/>
                  <a:gd name="connsiteX12" fmla="*/ 4267200 w 7734300"/>
                  <a:gd name="connsiteY12" fmla="*/ 15735300 h 20231100"/>
                  <a:gd name="connsiteX13" fmla="*/ 3009900 w 7734300"/>
                  <a:gd name="connsiteY13" fmla="*/ 10325100 h 20231100"/>
                  <a:gd name="connsiteX14" fmla="*/ 2819400 w 7734300"/>
                  <a:gd name="connsiteY14" fmla="*/ 9601200 h 20231100"/>
                  <a:gd name="connsiteX15" fmla="*/ 2819400 w 7734300"/>
                  <a:gd name="connsiteY15" fmla="*/ 9220200 h 20231100"/>
                  <a:gd name="connsiteX16" fmla="*/ 2857500 w 7734300"/>
                  <a:gd name="connsiteY16" fmla="*/ 8801100 h 20231100"/>
                  <a:gd name="connsiteX17" fmla="*/ 2857500 w 7734300"/>
                  <a:gd name="connsiteY17" fmla="*/ 7772400 h 20231100"/>
                  <a:gd name="connsiteX18" fmla="*/ 3619500 w 7734300"/>
                  <a:gd name="connsiteY18" fmla="*/ 4114800 h 20231100"/>
                  <a:gd name="connsiteX19" fmla="*/ 3848100 w 7734300"/>
                  <a:gd name="connsiteY19" fmla="*/ 5219700 h 20231100"/>
                  <a:gd name="connsiteX20" fmla="*/ 3924300 w 7734300"/>
                  <a:gd name="connsiteY20" fmla="*/ 7048500 h 20231100"/>
                  <a:gd name="connsiteX21" fmla="*/ 3924300 w 7734300"/>
                  <a:gd name="connsiteY21" fmla="*/ 9029700 h 20231100"/>
                  <a:gd name="connsiteX22" fmla="*/ 3810000 w 7734300"/>
                  <a:gd name="connsiteY22" fmla="*/ 10401300 h 20231100"/>
                  <a:gd name="connsiteX23" fmla="*/ 3962400 w 7734300"/>
                  <a:gd name="connsiteY23" fmla="*/ 11125200 h 20231100"/>
                  <a:gd name="connsiteX24" fmla="*/ 4152900 w 7734300"/>
                  <a:gd name="connsiteY24" fmla="*/ 12877800 h 20231100"/>
                  <a:gd name="connsiteX25" fmla="*/ 4229100 w 7734300"/>
                  <a:gd name="connsiteY25" fmla="*/ 13792200 h 20231100"/>
                  <a:gd name="connsiteX26" fmla="*/ 5257800 w 7734300"/>
                  <a:gd name="connsiteY26" fmla="*/ 19850100 h 20231100"/>
                  <a:gd name="connsiteX27" fmla="*/ 6248400 w 7734300"/>
                  <a:gd name="connsiteY27" fmla="*/ 20231100 h 20231100"/>
                  <a:gd name="connsiteX28" fmla="*/ 7734300 w 7734300"/>
                  <a:gd name="connsiteY28" fmla="*/ 19583400 h 20231100"/>
                  <a:gd name="connsiteX29" fmla="*/ 6858000 w 7734300"/>
                  <a:gd name="connsiteY29" fmla="*/ 13563600 h 20231100"/>
                  <a:gd name="connsiteX30" fmla="*/ 6858000 w 7734300"/>
                  <a:gd name="connsiteY30" fmla="*/ 11315700 h 20231100"/>
                  <a:gd name="connsiteX31" fmla="*/ 6705600 w 7734300"/>
                  <a:gd name="connsiteY31" fmla="*/ 8877300 h 20231100"/>
                  <a:gd name="connsiteX32" fmla="*/ 6934200 w 7734300"/>
                  <a:gd name="connsiteY32" fmla="*/ 5143500 h 20231100"/>
                  <a:gd name="connsiteX33" fmla="*/ 7124700 w 7734300"/>
                  <a:gd name="connsiteY33" fmla="*/ 4114800 h 20231100"/>
                  <a:gd name="connsiteX34" fmla="*/ 7200900 w 7734300"/>
                  <a:gd name="connsiteY34" fmla="*/ 2781300 h 20231100"/>
                  <a:gd name="connsiteX35" fmla="*/ 7162800 w 7734300"/>
                  <a:gd name="connsiteY35" fmla="*/ 2095500 h 20231100"/>
                  <a:gd name="connsiteX36" fmla="*/ 6096000 w 7734300"/>
                  <a:gd name="connsiteY36" fmla="*/ 2171700 h 20231100"/>
                  <a:gd name="connsiteX37" fmla="*/ 4495800 w 7734300"/>
                  <a:gd name="connsiteY37" fmla="*/ 2247900 h 20231100"/>
                  <a:gd name="connsiteX38" fmla="*/ 3962400 w 7734300"/>
                  <a:gd name="connsiteY38" fmla="*/ 2209800 h 20231100"/>
                  <a:gd name="connsiteX39" fmla="*/ 3429000 w 7734300"/>
                  <a:gd name="connsiteY39" fmla="*/ 1828800 h 20231100"/>
                  <a:gd name="connsiteX40" fmla="*/ 3276600 w 7734300"/>
                  <a:gd name="connsiteY40" fmla="*/ 1295400 h 20231100"/>
                  <a:gd name="connsiteX41" fmla="*/ 3162300 w 7734300"/>
                  <a:gd name="connsiteY41" fmla="*/ 0 h 20231100"/>
                  <a:gd name="connsiteX42" fmla="*/ 2819400 w 7734300"/>
                  <a:gd name="connsiteY42" fmla="*/ 76200 h 20231100"/>
                  <a:gd name="connsiteX43" fmla="*/ 2324100 w 7734300"/>
                  <a:gd name="connsiteY43" fmla="*/ 1562100 h 20231100"/>
                  <a:gd name="connsiteX44" fmla="*/ 2095500 w 7734300"/>
                  <a:gd name="connsiteY44" fmla="*/ 1790700 h 20231100"/>
                  <a:gd name="connsiteX45" fmla="*/ 1714500 w 7734300"/>
                  <a:gd name="connsiteY45" fmla="*/ 2095500 h 20231100"/>
                  <a:gd name="connsiteX46" fmla="*/ 1104900 w 7734300"/>
                  <a:gd name="connsiteY46" fmla="*/ 1981200 h 20231100"/>
                  <a:gd name="connsiteX47" fmla="*/ 419100 w 7734300"/>
                  <a:gd name="connsiteY47" fmla="*/ 1790700 h 20231100"/>
                  <a:gd name="connsiteX48" fmla="*/ 419100 w 7734300"/>
                  <a:gd name="connsiteY48" fmla="*/ 1790700 h 20231100"/>
                  <a:gd name="connsiteX0" fmla="*/ 457200 w 7734300"/>
                  <a:gd name="connsiteY0" fmla="*/ 1752600 h 20231100"/>
                  <a:gd name="connsiteX1" fmla="*/ 190500 w 7734300"/>
                  <a:gd name="connsiteY1" fmla="*/ 2133600 h 20231100"/>
                  <a:gd name="connsiteX2" fmla="*/ 266700 w 7734300"/>
                  <a:gd name="connsiteY2" fmla="*/ 2514600 h 20231100"/>
                  <a:gd name="connsiteX3" fmla="*/ 495300 w 7734300"/>
                  <a:gd name="connsiteY3" fmla="*/ 2705100 h 20231100"/>
                  <a:gd name="connsiteX4" fmla="*/ 457200 w 7734300"/>
                  <a:gd name="connsiteY4" fmla="*/ 3962400 h 20231100"/>
                  <a:gd name="connsiteX5" fmla="*/ 190500 w 7734300"/>
                  <a:gd name="connsiteY5" fmla="*/ 6819900 h 20231100"/>
                  <a:gd name="connsiteX6" fmla="*/ 0 w 7734300"/>
                  <a:gd name="connsiteY6" fmla="*/ 9144000 h 20231100"/>
                  <a:gd name="connsiteX7" fmla="*/ 76200 w 7734300"/>
                  <a:gd name="connsiteY7" fmla="*/ 10058400 h 20231100"/>
                  <a:gd name="connsiteX8" fmla="*/ 228600 w 7734300"/>
                  <a:gd name="connsiteY8" fmla="*/ 10629900 h 20231100"/>
                  <a:gd name="connsiteX9" fmla="*/ 838200 w 7734300"/>
                  <a:gd name="connsiteY9" fmla="*/ 13258800 h 20231100"/>
                  <a:gd name="connsiteX10" fmla="*/ 1756229 w 7734300"/>
                  <a:gd name="connsiteY10" fmla="*/ 16109043 h 20231100"/>
                  <a:gd name="connsiteX11" fmla="*/ 3278414 w 7734300"/>
                  <a:gd name="connsiteY11" fmla="*/ 16099972 h 20231100"/>
                  <a:gd name="connsiteX12" fmla="*/ 4267200 w 7734300"/>
                  <a:gd name="connsiteY12" fmla="*/ 15735300 h 20231100"/>
                  <a:gd name="connsiteX13" fmla="*/ 3009900 w 7734300"/>
                  <a:gd name="connsiteY13" fmla="*/ 10325100 h 20231100"/>
                  <a:gd name="connsiteX14" fmla="*/ 2819400 w 7734300"/>
                  <a:gd name="connsiteY14" fmla="*/ 9601200 h 20231100"/>
                  <a:gd name="connsiteX15" fmla="*/ 2819400 w 7734300"/>
                  <a:gd name="connsiteY15" fmla="*/ 9220200 h 20231100"/>
                  <a:gd name="connsiteX16" fmla="*/ 2857500 w 7734300"/>
                  <a:gd name="connsiteY16" fmla="*/ 8801100 h 20231100"/>
                  <a:gd name="connsiteX17" fmla="*/ 2857500 w 7734300"/>
                  <a:gd name="connsiteY17" fmla="*/ 7772400 h 20231100"/>
                  <a:gd name="connsiteX18" fmla="*/ 3619500 w 7734300"/>
                  <a:gd name="connsiteY18" fmla="*/ 4114800 h 20231100"/>
                  <a:gd name="connsiteX19" fmla="*/ 3848100 w 7734300"/>
                  <a:gd name="connsiteY19" fmla="*/ 5219700 h 20231100"/>
                  <a:gd name="connsiteX20" fmla="*/ 3924300 w 7734300"/>
                  <a:gd name="connsiteY20" fmla="*/ 7048500 h 20231100"/>
                  <a:gd name="connsiteX21" fmla="*/ 3924300 w 7734300"/>
                  <a:gd name="connsiteY21" fmla="*/ 9029700 h 20231100"/>
                  <a:gd name="connsiteX22" fmla="*/ 3810000 w 7734300"/>
                  <a:gd name="connsiteY22" fmla="*/ 10401300 h 20231100"/>
                  <a:gd name="connsiteX23" fmla="*/ 3962400 w 7734300"/>
                  <a:gd name="connsiteY23" fmla="*/ 11125200 h 20231100"/>
                  <a:gd name="connsiteX24" fmla="*/ 4152900 w 7734300"/>
                  <a:gd name="connsiteY24" fmla="*/ 12877800 h 20231100"/>
                  <a:gd name="connsiteX25" fmla="*/ 4229100 w 7734300"/>
                  <a:gd name="connsiteY25" fmla="*/ 13792200 h 20231100"/>
                  <a:gd name="connsiteX26" fmla="*/ 5257800 w 7734300"/>
                  <a:gd name="connsiteY26" fmla="*/ 19850100 h 20231100"/>
                  <a:gd name="connsiteX27" fmla="*/ 6248400 w 7734300"/>
                  <a:gd name="connsiteY27" fmla="*/ 20231100 h 20231100"/>
                  <a:gd name="connsiteX28" fmla="*/ 7734300 w 7734300"/>
                  <a:gd name="connsiteY28" fmla="*/ 19583400 h 20231100"/>
                  <a:gd name="connsiteX29" fmla="*/ 6858000 w 7734300"/>
                  <a:gd name="connsiteY29" fmla="*/ 13563600 h 20231100"/>
                  <a:gd name="connsiteX30" fmla="*/ 6858000 w 7734300"/>
                  <a:gd name="connsiteY30" fmla="*/ 11315700 h 20231100"/>
                  <a:gd name="connsiteX31" fmla="*/ 6705600 w 7734300"/>
                  <a:gd name="connsiteY31" fmla="*/ 8877300 h 20231100"/>
                  <a:gd name="connsiteX32" fmla="*/ 6934200 w 7734300"/>
                  <a:gd name="connsiteY32" fmla="*/ 5143500 h 20231100"/>
                  <a:gd name="connsiteX33" fmla="*/ 7124700 w 7734300"/>
                  <a:gd name="connsiteY33" fmla="*/ 4114800 h 20231100"/>
                  <a:gd name="connsiteX34" fmla="*/ 7200900 w 7734300"/>
                  <a:gd name="connsiteY34" fmla="*/ 2781300 h 20231100"/>
                  <a:gd name="connsiteX35" fmla="*/ 7162800 w 7734300"/>
                  <a:gd name="connsiteY35" fmla="*/ 2095500 h 20231100"/>
                  <a:gd name="connsiteX36" fmla="*/ 6096000 w 7734300"/>
                  <a:gd name="connsiteY36" fmla="*/ 2171700 h 20231100"/>
                  <a:gd name="connsiteX37" fmla="*/ 4495800 w 7734300"/>
                  <a:gd name="connsiteY37" fmla="*/ 2247900 h 20231100"/>
                  <a:gd name="connsiteX38" fmla="*/ 3962400 w 7734300"/>
                  <a:gd name="connsiteY38" fmla="*/ 2209800 h 20231100"/>
                  <a:gd name="connsiteX39" fmla="*/ 3429000 w 7734300"/>
                  <a:gd name="connsiteY39" fmla="*/ 1828800 h 20231100"/>
                  <a:gd name="connsiteX40" fmla="*/ 3276600 w 7734300"/>
                  <a:gd name="connsiteY40" fmla="*/ 1295400 h 20231100"/>
                  <a:gd name="connsiteX41" fmla="*/ 3162300 w 7734300"/>
                  <a:gd name="connsiteY41" fmla="*/ 0 h 20231100"/>
                  <a:gd name="connsiteX42" fmla="*/ 2819400 w 7734300"/>
                  <a:gd name="connsiteY42" fmla="*/ 76200 h 20231100"/>
                  <a:gd name="connsiteX43" fmla="*/ 2324100 w 7734300"/>
                  <a:gd name="connsiteY43" fmla="*/ 1562100 h 20231100"/>
                  <a:gd name="connsiteX44" fmla="*/ 2095500 w 7734300"/>
                  <a:gd name="connsiteY44" fmla="*/ 1790700 h 20231100"/>
                  <a:gd name="connsiteX45" fmla="*/ 1714500 w 7734300"/>
                  <a:gd name="connsiteY45" fmla="*/ 2095500 h 20231100"/>
                  <a:gd name="connsiteX46" fmla="*/ 1104900 w 7734300"/>
                  <a:gd name="connsiteY46" fmla="*/ 1981200 h 20231100"/>
                  <a:gd name="connsiteX47" fmla="*/ 419100 w 7734300"/>
                  <a:gd name="connsiteY47" fmla="*/ 1790700 h 20231100"/>
                  <a:gd name="connsiteX48" fmla="*/ 419100 w 7734300"/>
                  <a:gd name="connsiteY48" fmla="*/ 1790700 h 20231100"/>
                  <a:gd name="connsiteX0" fmla="*/ 457200 w 7734300"/>
                  <a:gd name="connsiteY0" fmla="*/ 1752600 h 20231100"/>
                  <a:gd name="connsiteX1" fmla="*/ 190500 w 7734300"/>
                  <a:gd name="connsiteY1" fmla="*/ 2133600 h 20231100"/>
                  <a:gd name="connsiteX2" fmla="*/ 266700 w 7734300"/>
                  <a:gd name="connsiteY2" fmla="*/ 2514600 h 20231100"/>
                  <a:gd name="connsiteX3" fmla="*/ 495300 w 7734300"/>
                  <a:gd name="connsiteY3" fmla="*/ 2705100 h 20231100"/>
                  <a:gd name="connsiteX4" fmla="*/ 457200 w 7734300"/>
                  <a:gd name="connsiteY4" fmla="*/ 3962400 h 20231100"/>
                  <a:gd name="connsiteX5" fmla="*/ 190500 w 7734300"/>
                  <a:gd name="connsiteY5" fmla="*/ 6819900 h 20231100"/>
                  <a:gd name="connsiteX6" fmla="*/ 0 w 7734300"/>
                  <a:gd name="connsiteY6" fmla="*/ 9144000 h 20231100"/>
                  <a:gd name="connsiteX7" fmla="*/ 76200 w 7734300"/>
                  <a:gd name="connsiteY7" fmla="*/ 10058400 h 20231100"/>
                  <a:gd name="connsiteX8" fmla="*/ 228600 w 7734300"/>
                  <a:gd name="connsiteY8" fmla="*/ 10629900 h 20231100"/>
                  <a:gd name="connsiteX9" fmla="*/ 838200 w 7734300"/>
                  <a:gd name="connsiteY9" fmla="*/ 13258800 h 20231100"/>
                  <a:gd name="connsiteX10" fmla="*/ 1756229 w 7734300"/>
                  <a:gd name="connsiteY10" fmla="*/ 16109043 h 20231100"/>
                  <a:gd name="connsiteX11" fmla="*/ 3278414 w 7734300"/>
                  <a:gd name="connsiteY11" fmla="*/ 16099972 h 20231100"/>
                  <a:gd name="connsiteX12" fmla="*/ 4267200 w 7734300"/>
                  <a:gd name="connsiteY12" fmla="*/ 15735300 h 20231100"/>
                  <a:gd name="connsiteX13" fmla="*/ 2933700 w 7734300"/>
                  <a:gd name="connsiteY13" fmla="*/ 10363200 h 20231100"/>
                  <a:gd name="connsiteX14" fmla="*/ 2819400 w 7734300"/>
                  <a:gd name="connsiteY14" fmla="*/ 9601200 h 20231100"/>
                  <a:gd name="connsiteX15" fmla="*/ 2819400 w 7734300"/>
                  <a:gd name="connsiteY15" fmla="*/ 9220200 h 20231100"/>
                  <a:gd name="connsiteX16" fmla="*/ 2857500 w 7734300"/>
                  <a:gd name="connsiteY16" fmla="*/ 8801100 h 20231100"/>
                  <a:gd name="connsiteX17" fmla="*/ 2857500 w 7734300"/>
                  <a:gd name="connsiteY17" fmla="*/ 7772400 h 20231100"/>
                  <a:gd name="connsiteX18" fmla="*/ 3619500 w 7734300"/>
                  <a:gd name="connsiteY18" fmla="*/ 4114800 h 20231100"/>
                  <a:gd name="connsiteX19" fmla="*/ 3848100 w 7734300"/>
                  <a:gd name="connsiteY19" fmla="*/ 5219700 h 20231100"/>
                  <a:gd name="connsiteX20" fmla="*/ 3924300 w 7734300"/>
                  <a:gd name="connsiteY20" fmla="*/ 7048500 h 20231100"/>
                  <a:gd name="connsiteX21" fmla="*/ 3924300 w 7734300"/>
                  <a:gd name="connsiteY21" fmla="*/ 9029700 h 20231100"/>
                  <a:gd name="connsiteX22" fmla="*/ 3810000 w 7734300"/>
                  <a:gd name="connsiteY22" fmla="*/ 10401300 h 20231100"/>
                  <a:gd name="connsiteX23" fmla="*/ 3962400 w 7734300"/>
                  <a:gd name="connsiteY23" fmla="*/ 11125200 h 20231100"/>
                  <a:gd name="connsiteX24" fmla="*/ 4152900 w 7734300"/>
                  <a:gd name="connsiteY24" fmla="*/ 12877800 h 20231100"/>
                  <a:gd name="connsiteX25" fmla="*/ 4229100 w 7734300"/>
                  <a:gd name="connsiteY25" fmla="*/ 13792200 h 20231100"/>
                  <a:gd name="connsiteX26" fmla="*/ 5257800 w 7734300"/>
                  <a:gd name="connsiteY26" fmla="*/ 19850100 h 20231100"/>
                  <a:gd name="connsiteX27" fmla="*/ 6248400 w 7734300"/>
                  <a:gd name="connsiteY27" fmla="*/ 20231100 h 20231100"/>
                  <a:gd name="connsiteX28" fmla="*/ 7734300 w 7734300"/>
                  <a:gd name="connsiteY28" fmla="*/ 19583400 h 20231100"/>
                  <a:gd name="connsiteX29" fmla="*/ 6858000 w 7734300"/>
                  <a:gd name="connsiteY29" fmla="*/ 13563600 h 20231100"/>
                  <a:gd name="connsiteX30" fmla="*/ 6858000 w 7734300"/>
                  <a:gd name="connsiteY30" fmla="*/ 11315700 h 20231100"/>
                  <a:gd name="connsiteX31" fmla="*/ 6705600 w 7734300"/>
                  <a:gd name="connsiteY31" fmla="*/ 8877300 h 20231100"/>
                  <a:gd name="connsiteX32" fmla="*/ 6934200 w 7734300"/>
                  <a:gd name="connsiteY32" fmla="*/ 5143500 h 20231100"/>
                  <a:gd name="connsiteX33" fmla="*/ 7124700 w 7734300"/>
                  <a:gd name="connsiteY33" fmla="*/ 4114800 h 20231100"/>
                  <a:gd name="connsiteX34" fmla="*/ 7200900 w 7734300"/>
                  <a:gd name="connsiteY34" fmla="*/ 2781300 h 20231100"/>
                  <a:gd name="connsiteX35" fmla="*/ 7162800 w 7734300"/>
                  <a:gd name="connsiteY35" fmla="*/ 2095500 h 20231100"/>
                  <a:gd name="connsiteX36" fmla="*/ 6096000 w 7734300"/>
                  <a:gd name="connsiteY36" fmla="*/ 2171700 h 20231100"/>
                  <a:gd name="connsiteX37" fmla="*/ 4495800 w 7734300"/>
                  <a:gd name="connsiteY37" fmla="*/ 2247900 h 20231100"/>
                  <a:gd name="connsiteX38" fmla="*/ 3962400 w 7734300"/>
                  <a:gd name="connsiteY38" fmla="*/ 2209800 h 20231100"/>
                  <a:gd name="connsiteX39" fmla="*/ 3429000 w 7734300"/>
                  <a:gd name="connsiteY39" fmla="*/ 1828800 h 20231100"/>
                  <a:gd name="connsiteX40" fmla="*/ 3276600 w 7734300"/>
                  <a:gd name="connsiteY40" fmla="*/ 1295400 h 20231100"/>
                  <a:gd name="connsiteX41" fmla="*/ 3162300 w 7734300"/>
                  <a:gd name="connsiteY41" fmla="*/ 0 h 20231100"/>
                  <a:gd name="connsiteX42" fmla="*/ 2819400 w 7734300"/>
                  <a:gd name="connsiteY42" fmla="*/ 76200 h 20231100"/>
                  <a:gd name="connsiteX43" fmla="*/ 2324100 w 7734300"/>
                  <a:gd name="connsiteY43" fmla="*/ 1562100 h 20231100"/>
                  <a:gd name="connsiteX44" fmla="*/ 2095500 w 7734300"/>
                  <a:gd name="connsiteY44" fmla="*/ 1790700 h 20231100"/>
                  <a:gd name="connsiteX45" fmla="*/ 1714500 w 7734300"/>
                  <a:gd name="connsiteY45" fmla="*/ 2095500 h 20231100"/>
                  <a:gd name="connsiteX46" fmla="*/ 1104900 w 7734300"/>
                  <a:gd name="connsiteY46" fmla="*/ 1981200 h 20231100"/>
                  <a:gd name="connsiteX47" fmla="*/ 419100 w 7734300"/>
                  <a:gd name="connsiteY47" fmla="*/ 1790700 h 20231100"/>
                  <a:gd name="connsiteX48" fmla="*/ 419100 w 7734300"/>
                  <a:gd name="connsiteY48" fmla="*/ 1790700 h 20231100"/>
                  <a:gd name="connsiteX0" fmla="*/ 457200 w 7734300"/>
                  <a:gd name="connsiteY0" fmla="*/ 1752600 h 20231100"/>
                  <a:gd name="connsiteX1" fmla="*/ 190500 w 7734300"/>
                  <a:gd name="connsiteY1" fmla="*/ 2133600 h 20231100"/>
                  <a:gd name="connsiteX2" fmla="*/ 266700 w 7734300"/>
                  <a:gd name="connsiteY2" fmla="*/ 2514600 h 20231100"/>
                  <a:gd name="connsiteX3" fmla="*/ 495300 w 7734300"/>
                  <a:gd name="connsiteY3" fmla="*/ 2705100 h 20231100"/>
                  <a:gd name="connsiteX4" fmla="*/ 457200 w 7734300"/>
                  <a:gd name="connsiteY4" fmla="*/ 3962400 h 20231100"/>
                  <a:gd name="connsiteX5" fmla="*/ 190500 w 7734300"/>
                  <a:gd name="connsiteY5" fmla="*/ 6819900 h 20231100"/>
                  <a:gd name="connsiteX6" fmla="*/ 0 w 7734300"/>
                  <a:gd name="connsiteY6" fmla="*/ 9144000 h 20231100"/>
                  <a:gd name="connsiteX7" fmla="*/ 76200 w 7734300"/>
                  <a:gd name="connsiteY7" fmla="*/ 10058400 h 20231100"/>
                  <a:gd name="connsiteX8" fmla="*/ 228600 w 7734300"/>
                  <a:gd name="connsiteY8" fmla="*/ 10629900 h 20231100"/>
                  <a:gd name="connsiteX9" fmla="*/ 838200 w 7734300"/>
                  <a:gd name="connsiteY9" fmla="*/ 13258800 h 20231100"/>
                  <a:gd name="connsiteX10" fmla="*/ 1756229 w 7734300"/>
                  <a:gd name="connsiteY10" fmla="*/ 16109043 h 20231100"/>
                  <a:gd name="connsiteX11" fmla="*/ 3278414 w 7734300"/>
                  <a:gd name="connsiteY11" fmla="*/ 16099972 h 20231100"/>
                  <a:gd name="connsiteX12" fmla="*/ 4267200 w 7734300"/>
                  <a:gd name="connsiteY12" fmla="*/ 15735300 h 20231100"/>
                  <a:gd name="connsiteX13" fmla="*/ 2933700 w 7734300"/>
                  <a:gd name="connsiteY13" fmla="*/ 10363200 h 20231100"/>
                  <a:gd name="connsiteX14" fmla="*/ 2819400 w 7734300"/>
                  <a:gd name="connsiteY14" fmla="*/ 9601200 h 20231100"/>
                  <a:gd name="connsiteX15" fmla="*/ 2819400 w 7734300"/>
                  <a:gd name="connsiteY15" fmla="*/ 9220200 h 20231100"/>
                  <a:gd name="connsiteX16" fmla="*/ 2857500 w 7734300"/>
                  <a:gd name="connsiteY16" fmla="*/ 8801100 h 20231100"/>
                  <a:gd name="connsiteX17" fmla="*/ 2857500 w 7734300"/>
                  <a:gd name="connsiteY17" fmla="*/ 7772400 h 20231100"/>
                  <a:gd name="connsiteX18" fmla="*/ 3619500 w 7734300"/>
                  <a:gd name="connsiteY18" fmla="*/ 4114800 h 20231100"/>
                  <a:gd name="connsiteX19" fmla="*/ 3848100 w 7734300"/>
                  <a:gd name="connsiteY19" fmla="*/ 5219700 h 20231100"/>
                  <a:gd name="connsiteX20" fmla="*/ 3924300 w 7734300"/>
                  <a:gd name="connsiteY20" fmla="*/ 7048500 h 20231100"/>
                  <a:gd name="connsiteX21" fmla="*/ 3924300 w 7734300"/>
                  <a:gd name="connsiteY21" fmla="*/ 9029700 h 20231100"/>
                  <a:gd name="connsiteX22" fmla="*/ 3810000 w 7734300"/>
                  <a:gd name="connsiteY22" fmla="*/ 10401300 h 20231100"/>
                  <a:gd name="connsiteX23" fmla="*/ 3962400 w 7734300"/>
                  <a:gd name="connsiteY23" fmla="*/ 11125200 h 20231100"/>
                  <a:gd name="connsiteX24" fmla="*/ 4152900 w 7734300"/>
                  <a:gd name="connsiteY24" fmla="*/ 12877800 h 20231100"/>
                  <a:gd name="connsiteX25" fmla="*/ 4229100 w 7734300"/>
                  <a:gd name="connsiteY25" fmla="*/ 13792200 h 20231100"/>
                  <a:gd name="connsiteX26" fmla="*/ 5257800 w 7734300"/>
                  <a:gd name="connsiteY26" fmla="*/ 19850100 h 20231100"/>
                  <a:gd name="connsiteX27" fmla="*/ 6248400 w 7734300"/>
                  <a:gd name="connsiteY27" fmla="*/ 20231100 h 20231100"/>
                  <a:gd name="connsiteX28" fmla="*/ 7734300 w 7734300"/>
                  <a:gd name="connsiteY28" fmla="*/ 19583400 h 20231100"/>
                  <a:gd name="connsiteX29" fmla="*/ 6858000 w 7734300"/>
                  <a:gd name="connsiteY29" fmla="*/ 13563600 h 20231100"/>
                  <a:gd name="connsiteX30" fmla="*/ 6858000 w 7734300"/>
                  <a:gd name="connsiteY30" fmla="*/ 11315700 h 20231100"/>
                  <a:gd name="connsiteX31" fmla="*/ 6705600 w 7734300"/>
                  <a:gd name="connsiteY31" fmla="*/ 8877300 h 20231100"/>
                  <a:gd name="connsiteX32" fmla="*/ 6934200 w 7734300"/>
                  <a:gd name="connsiteY32" fmla="*/ 5143500 h 20231100"/>
                  <a:gd name="connsiteX33" fmla="*/ 7124700 w 7734300"/>
                  <a:gd name="connsiteY33" fmla="*/ 4114800 h 20231100"/>
                  <a:gd name="connsiteX34" fmla="*/ 7200900 w 7734300"/>
                  <a:gd name="connsiteY34" fmla="*/ 2781300 h 20231100"/>
                  <a:gd name="connsiteX35" fmla="*/ 7162800 w 7734300"/>
                  <a:gd name="connsiteY35" fmla="*/ 2095500 h 20231100"/>
                  <a:gd name="connsiteX36" fmla="*/ 6096000 w 7734300"/>
                  <a:gd name="connsiteY36" fmla="*/ 2171700 h 20231100"/>
                  <a:gd name="connsiteX37" fmla="*/ 4495800 w 7734300"/>
                  <a:gd name="connsiteY37" fmla="*/ 2247900 h 20231100"/>
                  <a:gd name="connsiteX38" fmla="*/ 3962400 w 7734300"/>
                  <a:gd name="connsiteY38" fmla="*/ 2209800 h 20231100"/>
                  <a:gd name="connsiteX39" fmla="*/ 3429000 w 7734300"/>
                  <a:gd name="connsiteY39" fmla="*/ 1828800 h 20231100"/>
                  <a:gd name="connsiteX40" fmla="*/ 3276600 w 7734300"/>
                  <a:gd name="connsiteY40" fmla="*/ 1295400 h 20231100"/>
                  <a:gd name="connsiteX41" fmla="*/ 3162300 w 7734300"/>
                  <a:gd name="connsiteY41" fmla="*/ 0 h 20231100"/>
                  <a:gd name="connsiteX42" fmla="*/ 2819400 w 7734300"/>
                  <a:gd name="connsiteY42" fmla="*/ 76200 h 20231100"/>
                  <a:gd name="connsiteX43" fmla="*/ 2324100 w 7734300"/>
                  <a:gd name="connsiteY43" fmla="*/ 1562100 h 20231100"/>
                  <a:gd name="connsiteX44" fmla="*/ 2095500 w 7734300"/>
                  <a:gd name="connsiteY44" fmla="*/ 1790700 h 20231100"/>
                  <a:gd name="connsiteX45" fmla="*/ 1714500 w 7734300"/>
                  <a:gd name="connsiteY45" fmla="*/ 2095500 h 20231100"/>
                  <a:gd name="connsiteX46" fmla="*/ 1104900 w 7734300"/>
                  <a:gd name="connsiteY46" fmla="*/ 1981200 h 20231100"/>
                  <a:gd name="connsiteX47" fmla="*/ 419100 w 7734300"/>
                  <a:gd name="connsiteY47" fmla="*/ 1790700 h 20231100"/>
                  <a:gd name="connsiteX48" fmla="*/ 419100 w 7734300"/>
                  <a:gd name="connsiteY48" fmla="*/ 1790700 h 20231100"/>
                  <a:gd name="connsiteX0" fmla="*/ 457200 w 7734300"/>
                  <a:gd name="connsiteY0" fmla="*/ 1752600 h 19850100"/>
                  <a:gd name="connsiteX1" fmla="*/ 190500 w 7734300"/>
                  <a:gd name="connsiteY1" fmla="*/ 2133600 h 19850100"/>
                  <a:gd name="connsiteX2" fmla="*/ 266700 w 7734300"/>
                  <a:gd name="connsiteY2" fmla="*/ 2514600 h 19850100"/>
                  <a:gd name="connsiteX3" fmla="*/ 495300 w 7734300"/>
                  <a:gd name="connsiteY3" fmla="*/ 2705100 h 19850100"/>
                  <a:gd name="connsiteX4" fmla="*/ 457200 w 7734300"/>
                  <a:gd name="connsiteY4" fmla="*/ 3962400 h 19850100"/>
                  <a:gd name="connsiteX5" fmla="*/ 190500 w 7734300"/>
                  <a:gd name="connsiteY5" fmla="*/ 6819900 h 19850100"/>
                  <a:gd name="connsiteX6" fmla="*/ 0 w 7734300"/>
                  <a:gd name="connsiteY6" fmla="*/ 9144000 h 19850100"/>
                  <a:gd name="connsiteX7" fmla="*/ 76200 w 7734300"/>
                  <a:gd name="connsiteY7" fmla="*/ 10058400 h 19850100"/>
                  <a:gd name="connsiteX8" fmla="*/ 228600 w 7734300"/>
                  <a:gd name="connsiteY8" fmla="*/ 10629900 h 19850100"/>
                  <a:gd name="connsiteX9" fmla="*/ 838200 w 7734300"/>
                  <a:gd name="connsiteY9" fmla="*/ 13258800 h 19850100"/>
                  <a:gd name="connsiteX10" fmla="*/ 1756229 w 7734300"/>
                  <a:gd name="connsiteY10" fmla="*/ 16109043 h 19850100"/>
                  <a:gd name="connsiteX11" fmla="*/ 3278414 w 7734300"/>
                  <a:gd name="connsiteY11" fmla="*/ 16099972 h 19850100"/>
                  <a:gd name="connsiteX12" fmla="*/ 4267200 w 7734300"/>
                  <a:gd name="connsiteY12" fmla="*/ 15735300 h 19850100"/>
                  <a:gd name="connsiteX13" fmla="*/ 2933700 w 7734300"/>
                  <a:gd name="connsiteY13" fmla="*/ 10363200 h 19850100"/>
                  <a:gd name="connsiteX14" fmla="*/ 2819400 w 7734300"/>
                  <a:gd name="connsiteY14" fmla="*/ 9601200 h 19850100"/>
                  <a:gd name="connsiteX15" fmla="*/ 2819400 w 7734300"/>
                  <a:gd name="connsiteY15" fmla="*/ 9220200 h 19850100"/>
                  <a:gd name="connsiteX16" fmla="*/ 2857500 w 7734300"/>
                  <a:gd name="connsiteY16" fmla="*/ 8801100 h 19850100"/>
                  <a:gd name="connsiteX17" fmla="*/ 2857500 w 7734300"/>
                  <a:gd name="connsiteY17" fmla="*/ 7772400 h 19850100"/>
                  <a:gd name="connsiteX18" fmla="*/ 3619500 w 7734300"/>
                  <a:gd name="connsiteY18" fmla="*/ 4114800 h 19850100"/>
                  <a:gd name="connsiteX19" fmla="*/ 3848100 w 7734300"/>
                  <a:gd name="connsiteY19" fmla="*/ 5219700 h 19850100"/>
                  <a:gd name="connsiteX20" fmla="*/ 3924300 w 7734300"/>
                  <a:gd name="connsiteY20" fmla="*/ 7048500 h 19850100"/>
                  <a:gd name="connsiteX21" fmla="*/ 3924300 w 7734300"/>
                  <a:gd name="connsiteY21" fmla="*/ 9029700 h 19850100"/>
                  <a:gd name="connsiteX22" fmla="*/ 3810000 w 7734300"/>
                  <a:gd name="connsiteY22" fmla="*/ 10401300 h 19850100"/>
                  <a:gd name="connsiteX23" fmla="*/ 3962400 w 7734300"/>
                  <a:gd name="connsiteY23" fmla="*/ 11125200 h 19850100"/>
                  <a:gd name="connsiteX24" fmla="*/ 4152900 w 7734300"/>
                  <a:gd name="connsiteY24" fmla="*/ 12877800 h 19850100"/>
                  <a:gd name="connsiteX25" fmla="*/ 4229100 w 7734300"/>
                  <a:gd name="connsiteY25" fmla="*/ 13792200 h 19850100"/>
                  <a:gd name="connsiteX26" fmla="*/ 5257800 w 7734300"/>
                  <a:gd name="connsiteY26" fmla="*/ 19850100 h 19850100"/>
                  <a:gd name="connsiteX27" fmla="*/ 6248400 w 7734300"/>
                  <a:gd name="connsiteY27" fmla="*/ 17945100 h 19850100"/>
                  <a:gd name="connsiteX28" fmla="*/ 7734300 w 7734300"/>
                  <a:gd name="connsiteY28" fmla="*/ 19583400 h 19850100"/>
                  <a:gd name="connsiteX29" fmla="*/ 6858000 w 7734300"/>
                  <a:gd name="connsiteY29" fmla="*/ 13563600 h 19850100"/>
                  <a:gd name="connsiteX30" fmla="*/ 6858000 w 7734300"/>
                  <a:gd name="connsiteY30" fmla="*/ 11315700 h 19850100"/>
                  <a:gd name="connsiteX31" fmla="*/ 6705600 w 7734300"/>
                  <a:gd name="connsiteY31" fmla="*/ 8877300 h 19850100"/>
                  <a:gd name="connsiteX32" fmla="*/ 6934200 w 7734300"/>
                  <a:gd name="connsiteY32" fmla="*/ 5143500 h 19850100"/>
                  <a:gd name="connsiteX33" fmla="*/ 7124700 w 7734300"/>
                  <a:gd name="connsiteY33" fmla="*/ 4114800 h 19850100"/>
                  <a:gd name="connsiteX34" fmla="*/ 7200900 w 7734300"/>
                  <a:gd name="connsiteY34" fmla="*/ 2781300 h 19850100"/>
                  <a:gd name="connsiteX35" fmla="*/ 7162800 w 7734300"/>
                  <a:gd name="connsiteY35" fmla="*/ 2095500 h 19850100"/>
                  <a:gd name="connsiteX36" fmla="*/ 6096000 w 7734300"/>
                  <a:gd name="connsiteY36" fmla="*/ 2171700 h 19850100"/>
                  <a:gd name="connsiteX37" fmla="*/ 4495800 w 7734300"/>
                  <a:gd name="connsiteY37" fmla="*/ 2247900 h 19850100"/>
                  <a:gd name="connsiteX38" fmla="*/ 3962400 w 7734300"/>
                  <a:gd name="connsiteY38" fmla="*/ 2209800 h 19850100"/>
                  <a:gd name="connsiteX39" fmla="*/ 3429000 w 7734300"/>
                  <a:gd name="connsiteY39" fmla="*/ 1828800 h 19850100"/>
                  <a:gd name="connsiteX40" fmla="*/ 3276600 w 7734300"/>
                  <a:gd name="connsiteY40" fmla="*/ 1295400 h 19850100"/>
                  <a:gd name="connsiteX41" fmla="*/ 3162300 w 7734300"/>
                  <a:gd name="connsiteY41" fmla="*/ 0 h 19850100"/>
                  <a:gd name="connsiteX42" fmla="*/ 2819400 w 7734300"/>
                  <a:gd name="connsiteY42" fmla="*/ 76200 h 19850100"/>
                  <a:gd name="connsiteX43" fmla="*/ 2324100 w 7734300"/>
                  <a:gd name="connsiteY43" fmla="*/ 1562100 h 19850100"/>
                  <a:gd name="connsiteX44" fmla="*/ 2095500 w 7734300"/>
                  <a:gd name="connsiteY44" fmla="*/ 1790700 h 19850100"/>
                  <a:gd name="connsiteX45" fmla="*/ 1714500 w 7734300"/>
                  <a:gd name="connsiteY45" fmla="*/ 2095500 h 19850100"/>
                  <a:gd name="connsiteX46" fmla="*/ 1104900 w 7734300"/>
                  <a:gd name="connsiteY46" fmla="*/ 1981200 h 19850100"/>
                  <a:gd name="connsiteX47" fmla="*/ 419100 w 7734300"/>
                  <a:gd name="connsiteY47" fmla="*/ 1790700 h 19850100"/>
                  <a:gd name="connsiteX48" fmla="*/ 419100 w 7734300"/>
                  <a:gd name="connsiteY48" fmla="*/ 1790700 h 19850100"/>
                  <a:gd name="connsiteX0" fmla="*/ 457200 w 7734300"/>
                  <a:gd name="connsiteY0" fmla="*/ 1752600 h 19583400"/>
                  <a:gd name="connsiteX1" fmla="*/ 190500 w 7734300"/>
                  <a:gd name="connsiteY1" fmla="*/ 2133600 h 19583400"/>
                  <a:gd name="connsiteX2" fmla="*/ 266700 w 7734300"/>
                  <a:gd name="connsiteY2" fmla="*/ 2514600 h 19583400"/>
                  <a:gd name="connsiteX3" fmla="*/ 495300 w 7734300"/>
                  <a:gd name="connsiteY3" fmla="*/ 2705100 h 19583400"/>
                  <a:gd name="connsiteX4" fmla="*/ 457200 w 7734300"/>
                  <a:gd name="connsiteY4" fmla="*/ 3962400 h 19583400"/>
                  <a:gd name="connsiteX5" fmla="*/ 190500 w 7734300"/>
                  <a:gd name="connsiteY5" fmla="*/ 6819900 h 19583400"/>
                  <a:gd name="connsiteX6" fmla="*/ 0 w 7734300"/>
                  <a:gd name="connsiteY6" fmla="*/ 9144000 h 19583400"/>
                  <a:gd name="connsiteX7" fmla="*/ 76200 w 7734300"/>
                  <a:gd name="connsiteY7" fmla="*/ 10058400 h 19583400"/>
                  <a:gd name="connsiteX8" fmla="*/ 228600 w 7734300"/>
                  <a:gd name="connsiteY8" fmla="*/ 10629900 h 19583400"/>
                  <a:gd name="connsiteX9" fmla="*/ 838200 w 7734300"/>
                  <a:gd name="connsiteY9" fmla="*/ 13258800 h 19583400"/>
                  <a:gd name="connsiteX10" fmla="*/ 1756229 w 7734300"/>
                  <a:gd name="connsiteY10" fmla="*/ 16109043 h 19583400"/>
                  <a:gd name="connsiteX11" fmla="*/ 3278414 w 7734300"/>
                  <a:gd name="connsiteY11" fmla="*/ 16099972 h 19583400"/>
                  <a:gd name="connsiteX12" fmla="*/ 4267200 w 7734300"/>
                  <a:gd name="connsiteY12" fmla="*/ 15735300 h 19583400"/>
                  <a:gd name="connsiteX13" fmla="*/ 2933700 w 7734300"/>
                  <a:gd name="connsiteY13" fmla="*/ 10363200 h 19583400"/>
                  <a:gd name="connsiteX14" fmla="*/ 2819400 w 7734300"/>
                  <a:gd name="connsiteY14" fmla="*/ 9601200 h 19583400"/>
                  <a:gd name="connsiteX15" fmla="*/ 2819400 w 7734300"/>
                  <a:gd name="connsiteY15" fmla="*/ 9220200 h 19583400"/>
                  <a:gd name="connsiteX16" fmla="*/ 2857500 w 7734300"/>
                  <a:gd name="connsiteY16" fmla="*/ 8801100 h 19583400"/>
                  <a:gd name="connsiteX17" fmla="*/ 2857500 w 7734300"/>
                  <a:gd name="connsiteY17" fmla="*/ 7772400 h 19583400"/>
                  <a:gd name="connsiteX18" fmla="*/ 3619500 w 7734300"/>
                  <a:gd name="connsiteY18" fmla="*/ 4114800 h 19583400"/>
                  <a:gd name="connsiteX19" fmla="*/ 3848100 w 7734300"/>
                  <a:gd name="connsiteY19" fmla="*/ 5219700 h 19583400"/>
                  <a:gd name="connsiteX20" fmla="*/ 3924300 w 7734300"/>
                  <a:gd name="connsiteY20" fmla="*/ 7048500 h 19583400"/>
                  <a:gd name="connsiteX21" fmla="*/ 3924300 w 7734300"/>
                  <a:gd name="connsiteY21" fmla="*/ 9029700 h 19583400"/>
                  <a:gd name="connsiteX22" fmla="*/ 3810000 w 7734300"/>
                  <a:gd name="connsiteY22" fmla="*/ 10401300 h 19583400"/>
                  <a:gd name="connsiteX23" fmla="*/ 3962400 w 7734300"/>
                  <a:gd name="connsiteY23" fmla="*/ 11125200 h 19583400"/>
                  <a:gd name="connsiteX24" fmla="*/ 4152900 w 7734300"/>
                  <a:gd name="connsiteY24" fmla="*/ 12877800 h 19583400"/>
                  <a:gd name="connsiteX25" fmla="*/ 4229100 w 7734300"/>
                  <a:gd name="connsiteY25" fmla="*/ 13792200 h 19583400"/>
                  <a:gd name="connsiteX26" fmla="*/ 5257800 w 7734300"/>
                  <a:gd name="connsiteY26" fmla="*/ 17868900 h 19583400"/>
                  <a:gd name="connsiteX27" fmla="*/ 6248400 w 7734300"/>
                  <a:gd name="connsiteY27" fmla="*/ 17945100 h 19583400"/>
                  <a:gd name="connsiteX28" fmla="*/ 7734300 w 7734300"/>
                  <a:gd name="connsiteY28" fmla="*/ 19583400 h 19583400"/>
                  <a:gd name="connsiteX29" fmla="*/ 6858000 w 7734300"/>
                  <a:gd name="connsiteY29" fmla="*/ 13563600 h 19583400"/>
                  <a:gd name="connsiteX30" fmla="*/ 6858000 w 7734300"/>
                  <a:gd name="connsiteY30" fmla="*/ 11315700 h 19583400"/>
                  <a:gd name="connsiteX31" fmla="*/ 6705600 w 7734300"/>
                  <a:gd name="connsiteY31" fmla="*/ 8877300 h 19583400"/>
                  <a:gd name="connsiteX32" fmla="*/ 6934200 w 7734300"/>
                  <a:gd name="connsiteY32" fmla="*/ 5143500 h 19583400"/>
                  <a:gd name="connsiteX33" fmla="*/ 7124700 w 7734300"/>
                  <a:gd name="connsiteY33" fmla="*/ 4114800 h 19583400"/>
                  <a:gd name="connsiteX34" fmla="*/ 7200900 w 7734300"/>
                  <a:gd name="connsiteY34" fmla="*/ 2781300 h 19583400"/>
                  <a:gd name="connsiteX35" fmla="*/ 7162800 w 7734300"/>
                  <a:gd name="connsiteY35" fmla="*/ 2095500 h 19583400"/>
                  <a:gd name="connsiteX36" fmla="*/ 6096000 w 7734300"/>
                  <a:gd name="connsiteY36" fmla="*/ 2171700 h 19583400"/>
                  <a:gd name="connsiteX37" fmla="*/ 4495800 w 7734300"/>
                  <a:gd name="connsiteY37" fmla="*/ 2247900 h 19583400"/>
                  <a:gd name="connsiteX38" fmla="*/ 3962400 w 7734300"/>
                  <a:gd name="connsiteY38" fmla="*/ 2209800 h 19583400"/>
                  <a:gd name="connsiteX39" fmla="*/ 3429000 w 7734300"/>
                  <a:gd name="connsiteY39" fmla="*/ 1828800 h 19583400"/>
                  <a:gd name="connsiteX40" fmla="*/ 3276600 w 7734300"/>
                  <a:gd name="connsiteY40" fmla="*/ 1295400 h 19583400"/>
                  <a:gd name="connsiteX41" fmla="*/ 3162300 w 7734300"/>
                  <a:gd name="connsiteY41" fmla="*/ 0 h 19583400"/>
                  <a:gd name="connsiteX42" fmla="*/ 2819400 w 7734300"/>
                  <a:gd name="connsiteY42" fmla="*/ 76200 h 19583400"/>
                  <a:gd name="connsiteX43" fmla="*/ 2324100 w 7734300"/>
                  <a:gd name="connsiteY43" fmla="*/ 1562100 h 19583400"/>
                  <a:gd name="connsiteX44" fmla="*/ 2095500 w 7734300"/>
                  <a:gd name="connsiteY44" fmla="*/ 1790700 h 19583400"/>
                  <a:gd name="connsiteX45" fmla="*/ 1714500 w 7734300"/>
                  <a:gd name="connsiteY45" fmla="*/ 2095500 h 19583400"/>
                  <a:gd name="connsiteX46" fmla="*/ 1104900 w 7734300"/>
                  <a:gd name="connsiteY46" fmla="*/ 1981200 h 19583400"/>
                  <a:gd name="connsiteX47" fmla="*/ 419100 w 7734300"/>
                  <a:gd name="connsiteY47" fmla="*/ 1790700 h 19583400"/>
                  <a:gd name="connsiteX48" fmla="*/ 419100 w 7734300"/>
                  <a:gd name="connsiteY48" fmla="*/ 1790700 h 19583400"/>
                  <a:gd name="connsiteX0" fmla="*/ 457200 w 7734300"/>
                  <a:gd name="connsiteY0" fmla="*/ 1752600 h 17945100"/>
                  <a:gd name="connsiteX1" fmla="*/ 190500 w 7734300"/>
                  <a:gd name="connsiteY1" fmla="*/ 2133600 h 17945100"/>
                  <a:gd name="connsiteX2" fmla="*/ 266700 w 7734300"/>
                  <a:gd name="connsiteY2" fmla="*/ 2514600 h 17945100"/>
                  <a:gd name="connsiteX3" fmla="*/ 495300 w 7734300"/>
                  <a:gd name="connsiteY3" fmla="*/ 2705100 h 17945100"/>
                  <a:gd name="connsiteX4" fmla="*/ 457200 w 7734300"/>
                  <a:gd name="connsiteY4" fmla="*/ 3962400 h 17945100"/>
                  <a:gd name="connsiteX5" fmla="*/ 190500 w 7734300"/>
                  <a:gd name="connsiteY5" fmla="*/ 6819900 h 17945100"/>
                  <a:gd name="connsiteX6" fmla="*/ 0 w 7734300"/>
                  <a:gd name="connsiteY6" fmla="*/ 9144000 h 17945100"/>
                  <a:gd name="connsiteX7" fmla="*/ 76200 w 7734300"/>
                  <a:gd name="connsiteY7" fmla="*/ 10058400 h 17945100"/>
                  <a:gd name="connsiteX8" fmla="*/ 228600 w 7734300"/>
                  <a:gd name="connsiteY8" fmla="*/ 10629900 h 17945100"/>
                  <a:gd name="connsiteX9" fmla="*/ 838200 w 7734300"/>
                  <a:gd name="connsiteY9" fmla="*/ 13258800 h 17945100"/>
                  <a:gd name="connsiteX10" fmla="*/ 1756229 w 7734300"/>
                  <a:gd name="connsiteY10" fmla="*/ 16109043 h 17945100"/>
                  <a:gd name="connsiteX11" fmla="*/ 3278414 w 7734300"/>
                  <a:gd name="connsiteY11" fmla="*/ 16099972 h 17945100"/>
                  <a:gd name="connsiteX12" fmla="*/ 4267200 w 7734300"/>
                  <a:gd name="connsiteY12" fmla="*/ 15735300 h 17945100"/>
                  <a:gd name="connsiteX13" fmla="*/ 2933700 w 7734300"/>
                  <a:gd name="connsiteY13" fmla="*/ 10363200 h 17945100"/>
                  <a:gd name="connsiteX14" fmla="*/ 2819400 w 7734300"/>
                  <a:gd name="connsiteY14" fmla="*/ 9601200 h 17945100"/>
                  <a:gd name="connsiteX15" fmla="*/ 2819400 w 7734300"/>
                  <a:gd name="connsiteY15" fmla="*/ 9220200 h 17945100"/>
                  <a:gd name="connsiteX16" fmla="*/ 2857500 w 7734300"/>
                  <a:gd name="connsiteY16" fmla="*/ 8801100 h 17945100"/>
                  <a:gd name="connsiteX17" fmla="*/ 2857500 w 7734300"/>
                  <a:gd name="connsiteY17" fmla="*/ 7772400 h 17945100"/>
                  <a:gd name="connsiteX18" fmla="*/ 3619500 w 7734300"/>
                  <a:gd name="connsiteY18" fmla="*/ 4114800 h 17945100"/>
                  <a:gd name="connsiteX19" fmla="*/ 3848100 w 7734300"/>
                  <a:gd name="connsiteY19" fmla="*/ 5219700 h 17945100"/>
                  <a:gd name="connsiteX20" fmla="*/ 3924300 w 7734300"/>
                  <a:gd name="connsiteY20" fmla="*/ 7048500 h 17945100"/>
                  <a:gd name="connsiteX21" fmla="*/ 3924300 w 7734300"/>
                  <a:gd name="connsiteY21" fmla="*/ 9029700 h 17945100"/>
                  <a:gd name="connsiteX22" fmla="*/ 3810000 w 7734300"/>
                  <a:gd name="connsiteY22" fmla="*/ 10401300 h 17945100"/>
                  <a:gd name="connsiteX23" fmla="*/ 3962400 w 7734300"/>
                  <a:gd name="connsiteY23" fmla="*/ 11125200 h 17945100"/>
                  <a:gd name="connsiteX24" fmla="*/ 4152900 w 7734300"/>
                  <a:gd name="connsiteY24" fmla="*/ 12877800 h 17945100"/>
                  <a:gd name="connsiteX25" fmla="*/ 4229100 w 7734300"/>
                  <a:gd name="connsiteY25" fmla="*/ 13792200 h 17945100"/>
                  <a:gd name="connsiteX26" fmla="*/ 5257800 w 7734300"/>
                  <a:gd name="connsiteY26" fmla="*/ 17868900 h 17945100"/>
                  <a:gd name="connsiteX27" fmla="*/ 6248400 w 7734300"/>
                  <a:gd name="connsiteY27" fmla="*/ 17945100 h 17945100"/>
                  <a:gd name="connsiteX28" fmla="*/ 7734300 w 7734300"/>
                  <a:gd name="connsiteY28" fmla="*/ 17297400 h 17945100"/>
                  <a:gd name="connsiteX29" fmla="*/ 6858000 w 7734300"/>
                  <a:gd name="connsiteY29" fmla="*/ 13563600 h 17945100"/>
                  <a:gd name="connsiteX30" fmla="*/ 6858000 w 7734300"/>
                  <a:gd name="connsiteY30" fmla="*/ 11315700 h 17945100"/>
                  <a:gd name="connsiteX31" fmla="*/ 6705600 w 7734300"/>
                  <a:gd name="connsiteY31" fmla="*/ 8877300 h 17945100"/>
                  <a:gd name="connsiteX32" fmla="*/ 6934200 w 7734300"/>
                  <a:gd name="connsiteY32" fmla="*/ 5143500 h 17945100"/>
                  <a:gd name="connsiteX33" fmla="*/ 7124700 w 7734300"/>
                  <a:gd name="connsiteY33" fmla="*/ 4114800 h 17945100"/>
                  <a:gd name="connsiteX34" fmla="*/ 7200900 w 7734300"/>
                  <a:gd name="connsiteY34" fmla="*/ 2781300 h 17945100"/>
                  <a:gd name="connsiteX35" fmla="*/ 7162800 w 7734300"/>
                  <a:gd name="connsiteY35" fmla="*/ 2095500 h 17945100"/>
                  <a:gd name="connsiteX36" fmla="*/ 6096000 w 7734300"/>
                  <a:gd name="connsiteY36" fmla="*/ 2171700 h 17945100"/>
                  <a:gd name="connsiteX37" fmla="*/ 4495800 w 7734300"/>
                  <a:gd name="connsiteY37" fmla="*/ 2247900 h 17945100"/>
                  <a:gd name="connsiteX38" fmla="*/ 3962400 w 7734300"/>
                  <a:gd name="connsiteY38" fmla="*/ 2209800 h 17945100"/>
                  <a:gd name="connsiteX39" fmla="*/ 3429000 w 7734300"/>
                  <a:gd name="connsiteY39" fmla="*/ 1828800 h 17945100"/>
                  <a:gd name="connsiteX40" fmla="*/ 3276600 w 7734300"/>
                  <a:gd name="connsiteY40" fmla="*/ 1295400 h 17945100"/>
                  <a:gd name="connsiteX41" fmla="*/ 3162300 w 7734300"/>
                  <a:gd name="connsiteY41" fmla="*/ 0 h 17945100"/>
                  <a:gd name="connsiteX42" fmla="*/ 2819400 w 7734300"/>
                  <a:gd name="connsiteY42" fmla="*/ 76200 h 17945100"/>
                  <a:gd name="connsiteX43" fmla="*/ 2324100 w 7734300"/>
                  <a:gd name="connsiteY43" fmla="*/ 1562100 h 17945100"/>
                  <a:gd name="connsiteX44" fmla="*/ 2095500 w 7734300"/>
                  <a:gd name="connsiteY44" fmla="*/ 1790700 h 17945100"/>
                  <a:gd name="connsiteX45" fmla="*/ 1714500 w 7734300"/>
                  <a:gd name="connsiteY45" fmla="*/ 2095500 h 17945100"/>
                  <a:gd name="connsiteX46" fmla="*/ 1104900 w 7734300"/>
                  <a:gd name="connsiteY46" fmla="*/ 1981200 h 17945100"/>
                  <a:gd name="connsiteX47" fmla="*/ 419100 w 7734300"/>
                  <a:gd name="connsiteY47" fmla="*/ 1790700 h 17945100"/>
                  <a:gd name="connsiteX48" fmla="*/ 419100 w 7734300"/>
                  <a:gd name="connsiteY48" fmla="*/ 1790700 h 17945100"/>
                  <a:gd name="connsiteX0" fmla="*/ 457200 w 7734300"/>
                  <a:gd name="connsiteY0" fmla="*/ 1752600 h 17945100"/>
                  <a:gd name="connsiteX1" fmla="*/ 190500 w 7734300"/>
                  <a:gd name="connsiteY1" fmla="*/ 2133600 h 17945100"/>
                  <a:gd name="connsiteX2" fmla="*/ 266700 w 7734300"/>
                  <a:gd name="connsiteY2" fmla="*/ 2514600 h 17945100"/>
                  <a:gd name="connsiteX3" fmla="*/ 495300 w 7734300"/>
                  <a:gd name="connsiteY3" fmla="*/ 2705100 h 17945100"/>
                  <a:gd name="connsiteX4" fmla="*/ 457200 w 7734300"/>
                  <a:gd name="connsiteY4" fmla="*/ 3962400 h 17945100"/>
                  <a:gd name="connsiteX5" fmla="*/ 190500 w 7734300"/>
                  <a:gd name="connsiteY5" fmla="*/ 6819900 h 17945100"/>
                  <a:gd name="connsiteX6" fmla="*/ 0 w 7734300"/>
                  <a:gd name="connsiteY6" fmla="*/ 9144000 h 17945100"/>
                  <a:gd name="connsiteX7" fmla="*/ 76200 w 7734300"/>
                  <a:gd name="connsiteY7" fmla="*/ 10058400 h 17945100"/>
                  <a:gd name="connsiteX8" fmla="*/ 228600 w 7734300"/>
                  <a:gd name="connsiteY8" fmla="*/ 10629900 h 17945100"/>
                  <a:gd name="connsiteX9" fmla="*/ 838200 w 7734300"/>
                  <a:gd name="connsiteY9" fmla="*/ 13258800 h 17945100"/>
                  <a:gd name="connsiteX10" fmla="*/ 1756229 w 7734300"/>
                  <a:gd name="connsiteY10" fmla="*/ 16109043 h 17945100"/>
                  <a:gd name="connsiteX11" fmla="*/ 3278414 w 7734300"/>
                  <a:gd name="connsiteY11" fmla="*/ 16099972 h 17945100"/>
                  <a:gd name="connsiteX12" fmla="*/ 4267200 w 7734300"/>
                  <a:gd name="connsiteY12" fmla="*/ 15735300 h 17945100"/>
                  <a:gd name="connsiteX13" fmla="*/ 2933700 w 7734300"/>
                  <a:gd name="connsiteY13" fmla="*/ 10363200 h 17945100"/>
                  <a:gd name="connsiteX14" fmla="*/ 2819400 w 7734300"/>
                  <a:gd name="connsiteY14" fmla="*/ 9601200 h 17945100"/>
                  <a:gd name="connsiteX15" fmla="*/ 2819400 w 7734300"/>
                  <a:gd name="connsiteY15" fmla="*/ 9220200 h 17945100"/>
                  <a:gd name="connsiteX16" fmla="*/ 2857500 w 7734300"/>
                  <a:gd name="connsiteY16" fmla="*/ 8801100 h 17945100"/>
                  <a:gd name="connsiteX17" fmla="*/ 2857500 w 7734300"/>
                  <a:gd name="connsiteY17" fmla="*/ 7772400 h 17945100"/>
                  <a:gd name="connsiteX18" fmla="*/ 3619500 w 7734300"/>
                  <a:gd name="connsiteY18" fmla="*/ 4114800 h 17945100"/>
                  <a:gd name="connsiteX19" fmla="*/ 3848100 w 7734300"/>
                  <a:gd name="connsiteY19" fmla="*/ 5219700 h 17945100"/>
                  <a:gd name="connsiteX20" fmla="*/ 3924300 w 7734300"/>
                  <a:gd name="connsiteY20" fmla="*/ 7048500 h 17945100"/>
                  <a:gd name="connsiteX21" fmla="*/ 3924300 w 7734300"/>
                  <a:gd name="connsiteY21" fmla="*/ 9029700 h 17945100"/>
                  <a:gd name="connsiteX22" fmla="*/ 3810000 w 7734300"/>
                  <a:gd name="connsiteY22" fmla="*/ 10401300 h 17945100"/>
                  <a:gd name="connsiteX23" fmla="*/ 3962400 w 7734300"/>
                  <a:gd name="connsiteY23" fmla="*/ 11125200 h 17945100"/>
                  <a:gd name="connsiteX24" fmla="*/ 4152900 w 7734300"/>
                  <a:gd name="connsiteY24" fmla="*/ 12877800 h 17945100"/>
                  <a:gd name="connsiteX25" fmla="*/ 4229100 w 7734300"/>
                  <a:gd name="connsiteY25" fmla="*/ 13792200 h 17945100"/>
                  <a:gd name="connsiteX26" fmla="*/ 5257800 w 7734300"/>
                  <a:gd name="connsiteY26" fmla="*/ 17868900 h 17945100"/>
                  <a:gd name="connsiteX27" fmla="*/ 6248400 w 7734300"/>
                  <a:gd name="connsiteY27" fmla="*/ 17945100 h 17945100"/>
                  <a:gd name="connsiteX28" fmla="*/ 7734300 w 7734300"/>
                  <a:gd name="connsiteY28" fmla="*/ 17297400 h 17945100"/>
                  <a:gd name="connsiteX29" fmla="*/ 6858000 w 7734300"/>
                  <a:gd name="connsiteY29" fmla="*/ 13563600 h 17945100"/>
                  <a:gd name="connsiteX30" fmla="*/ 6705600 w 7734300"/>
                  <a:gd name="connsiteY30" fmla="*/ 11277600 h 17945100"/>
                  <a:gd name="connsiteX31" fmla="*/ 6705600 w 7734300"/>
                  <a:gd name="connsiteY31" fmla="*/ 8877300 h 17945100"/>
                  <a:gd name="connsiteX32" fmla="*/ 6934200 w 7734300"/>
                  <a:gd name="connsiteY32" fmla="*/ 5143500 h 17945100"/>
                  <a:gd name="connsiteX33" fmla="*/ 7124700 w 7734300"/>
                  <a:gd name="connsiteY33" fmla="*/ 4114800 h 17945100"/>
                  <a:gd name="connsiteX34" fmla="*/ 7200900 w 7734300"/>
                  <a:gd name="connsiteY34" fmla="*/ 2781300 h 17945100"/>
                  <a:gd name="connsiteX35" fmla="*/ 7162800 w 7734300"/>
                  <a:gd name="connsiteY35" fmla="*/ 2095500 h 17945100"/>
                  <a:gd name="connsiteX36" fmla="*/ 6096000 w 7734300"/>
                  <a:gd name="connsiteY36" fmla="*/ 2171700 h 17945100"/>
                  <a:gd name="connsiteX37" fmla="*/ 4495800 w 7734300"/>
                  <a:gd name="connsiteY37" fmla="*/ 2247900 h 17945100"/>
                  <a:gd name="connsiteX38" fmla="*/ 3962400 w 7734300"/>
                  <a:gd name="connsiteY38" fmla="*/ 2209800 h 17945100"/>
                  <a:gd name="connsiteX39" fmla="*/ 3429000 w 7734300"/>
                  <a:gd name="connsiteY39" fmla="*/ 1828800 h 17945100"/>
                  <a:gd name="connsiteX40" fmla="*/ 3276600 w 7734300"/>
                  <a:gd name="connsiteY40" fmla="*/ 1295400 h 17945100"/>
                  <a:gd name="connsiteX41" fmla="*/ 3162300 w 7734300"/>
                  <a:gd name="connsiteY41" fmla="*/ 0 h 17945100"/>
                  <a:gd name="connsiteX42" fmla="*/ 2819400 w 7734300"/>
                  <a:gd name="connsiteY42" fmla="*/ 76200 h 17945100"/>
                  <a:gd name="connsiteX43" fmla="*/ 2324100 w 7734300"/>
                  <a:gd name="connsiteY43" fmla="*/ 1562100 h 17945100"/>
                  <a:gd name="connsiteX44" fmla="*/ 2095500 w 7734300"/>
                  <a:gd name="connsiteY44" fmla="*/ 1790700 h 17945100"/>
                  <a:gd name="connsiteX45" fmla="*/ 1714500 w 7734300"/>
                  <a:gd name="connsiteY45" fmla="*/ 2095500 h 17945100"/>
                  <a:gd name="connsiteX46" fmla="*/ 1104900 w 7734300"/>
                  <a:gd name="connsiteY46" fmla="*/ 1981200 h 17945100"/>
                  <a:gd name="connsiteX47" fmla="*/ 419100 w 7734300"/>
                  <a:gd name="connsiteY47" fmla="*/ 1790700 h 17945100"/>
                  <a:gd name="connsiteX48" fmla="*/ 419100 w 7734300"/>
                  <a:gd name="connsiteY48" fmla="*/ 1790700 h 17945100"/>
                  <a:gd name="connsiteX0" fmla="*/ 457200 w 7734300"/>
                  <a:gd name="connsiteY0" fmla="*/ 1752600 h 17945100"/>
                  <a:gd name="connsiteX1" fmla="*/ 190500 w 7734300"/>
                  <a:gd name="connsiteY1" fmla="*/ 2133600 h 17945100"/>
                  <a:gd name="connsiteX2" fmla="*/ 266700 w 7734300"/>
                  <a:gd name="connsiteY2" fmla="*/ 2514600 h 17945100"/>
                  <a:gd name="connsiteX3" fmla="*/ 495300 w 7734300"/>
                  <a:gd name="connsiteY3" fmla="*/ 2705100 h 17945100"/>
                  <a:gd name="connsiteX4" fmla="*/ 457200 w 7734300"/>
                  <a:gd name="connsiteY4" fmla="*/ 3962400 h 17945100"/>
                  <a:gd name="connsiteX5" fmla="*/ 190500 w 7734300"/>
                  <a:gd name="connsiteY5" fmla="*/ 6819900 h 17945100"/>
                  <a:gd name="connsiteX6" fmla="*/ 0 w 7734300"/>
                  <a:gd name="connsiteY6" fmla="*/ 9144000 h 17945100"/>
                  <a:gd name="connsiteX7" fmla="*/ 76200 w 7734300"/>
                  <a:gd name="connsiteY7" fmla="*/ 10058400 h 17945100"/>
                  <a:gd name="connsiteX8" fmla="*/ 228600 w 7734300"/>
                  <a:gd name="connsiteY8" fmla="*/ 10629900 h 17945100"/>
                  <a:gd name="connsiteX9" fmla="*/ 838200 w 7734300"/>
                  <a:gd name="connsiteY9" fmla="*/ 13258800 h 17945100"/>
                  <a:gd name="connsiteX10" fmla="*/ 1756229 w 7734300"/>
                  <a:gd name="connsiteY10" fmla="*/ 16109043 h 17945100"/>
                  <a:gd name="connsiteX11" fmla="*/ 3278414 w 7734300"/>
                  <a:gd name="connsiteY11" fmla="*/ 16099972 h 17945100"/>
                  <a:gd name="connsiteX12" fmla="*/ 4267200 w 7734300"/>
                  <a:gd name="connsiteY12" fmla="*/ 15735300 h 17945100"/>
                  <a:gd name="connsiteX13" fmla="*/ 2933700 w 7734300"/>
                  <a:gd name="connsiteY13" fmla="*/ 10363200 h 17945100"/>
                  <a:gd name="connsiteX14" fmla="*/ 2819400 w 7734300"/>
                  <a:gd name="connsiteY14" fmla="*/ 9601200 h 17945100"/>
                  <a:gd name="connsiteX15" fmla="*/ 2819400 w 7734300"/>
                  <a:gd name="connsiteY15" fmla="*/ 9220200 h 17945100"/>
                  <a:gd name="connsiteX16" fmla="*/ 2857500 w 7734300"/>
                  <a:gd name="connsiteY16" fmla="*/ 8801100 h 17945100"/>
                  <a:gd name="connsiteX17" fmla="*/ 2857500 w 7734300"/>
                  <a:gd name="connsiteY17" fmla="*/ 7772400 h 17945100"/>
                  <a:gd name="connsiteX18" fmla="*/ 3619500 w 7734300"/>
                  <a:gd name="connsiteY18" fmla="*/ 4114800 h 17945100"/>
                  <a:gd name="connsiteX19" fmla="*/ 3848100 w 7734300"/>
                  <a:gd name="connsiteY19" fmla="*/ 5219700 h 17945100"/>
                  <a:gd name="connsiteX20" fmla="*/ 3924300 w 7734300"/>
                  <a:gd name="connsiteY20" fmla="*/ 7048500 h 17945100"/>
                  <a:gd name="connsiteX21" fmla="*/ 3924300 w 7734300"/>
                  <a:gd name="connsiteY21" fmla="*/ 9029700 h 17945100"/>
                  <a:gd name="connsiteX22" fmla="*/ 3810000 w 7734300"/>
                  <a:gd name="connsiteY22" fmla="*/ 10401300 h 17945100"/>
                  <a:gd name="connsiteX23" fmla="*/ 3962400 w 7734300"/>
                  <a:gd name="connsiteY23" fmla="*/ 11125200 h 17945100"/>
                  <a:gd name="connsiteX24" fmla="*/ 4152900 w 7734300"/>
                  <a:gd name="connsiteY24" fmla="*/ 12877800 h 17945100"/>
                  <a:gd name="connsiteX25" fmla="*/ 4305300 w 7734300"/>
                  <a:gd name="connsiteY25" fmla="*/ 13906500 h 17945100"/>
                  <a:gd name="connsiteX26" fmla="*/ 5257800 w 7734300"/>
                  <a:gd name="connsiteY26" fmla="*/ 17868900 h 17945100"/>
                  <a:gd name="connsiteX27" fmla="*/ 6248400 w 7734300"/>
                  <a:gd name="connsiteY27" fmla="*/ 17945100 h 17945100"/>
                  <a:gd name="connsiteX28" fmla="*/ 7734300 w 7734300"/>
                  <a:gd name="connsiteY28" fmla="*/ 17297400 h 17945100"/>
                  <a:gd name="connsiteX29" fmla="*/ 6858000 w 7734300"/>
                  <a:gd name="connsiteY29" fmla="*/ 13563600 h 17945100"/>
                  <a:gd name="connsiteX30" fmla="*/ 6705600 w 7734300"/>
                  <a:gd name="connsiteY30" fmla="*/ 11277600 h 17945100"/>
                  <a:gd name="connsiteX31" fmla="*/ 6705600 w 7734300"/>
                  <a:gd name="connsiteY31" fmla="*/ 8877300 h 17945100"/>
                  <a:gd name="connsiteX32" fmla="*/ 6934200 w 7734300"/>
                  <a:gd name="connsiteY32" fmla="*/ 5143500 h 17945100"/>
                  <a:gd name="connsiteX33" fmla="*/ 7124700 w 7734300"/>
                  <a:gd name="connsiteY33" fmla="*/ 4114800 h 17945100"/>
                  <a:gd name="connsiteX34" fmla="*/ 7200900 w 7734300"/>
                  <a:gd name="connsiteY34" fmla="*/ 2781300 h 17945100"/>
                  <a:gd name="connsiteX35" fmla="*/ 7162800 w 7734300"/>
                  <a:gd name="connsiteY35" fmla="*/ 2095500 h 17945100"/>
                  <a:gd name="connsiteX36" fmla="*/ 6096000 w 7734300"/>
                  <a:gd name="connsiteY36" fmla="*/ 2171700 h 17945100"/>
                  <a:gd name="connsiteX37" fmla="*/ 4495800 w 7734300"/>
                  <a:gd name="connsiteY37" fmla="*/ 2247900 h 17945100"/>
                  <a:gd name="connsiteX38" fmla="*/ 3962400 w 7734300"/>
                  <a:gd name="connsiteY38" fmla="*/ 2209800 h 17945100"/>
                  <a:gd name="connsiteX39" fmla="*/ 3429000 w 7734300"/>
                  <a:gd name="connsiteY39" fmla="*/ 1828800 h 17945100"/>
                  <a:gd name="connsiteX40" fmla="*/ 3276600 w 7734300"/>
                  <a:gd name="connsiteY40" fmla="*/ 1295400 h 17945100"/>
                  <a:gd name="connsiteX41" fmla="*/ 3162300 w 7734300"/>
                  <a:gd name="connsiteY41" fmla="*/ 0 h 17945100"/>
                  <a:gd name="connsiteX42" fmla="*/ 2819400 w 7734300"/>
                  <a:gd name="connsiteY42" fmla="*/ 76200 h 17945100"/>
                  <a:gd name="connsiteX43" fmla="*/ 2324100 w 7734300"/>
                  <a:gd name="connsiteY43" fmla="*/ 1562100 h 17945100"/>
                  <a:gd name="connsiteX44" fmla="*/ 2095500 w 7734300"/>
                  <a:gd name="connsiteY44" fmla="*/ 1790700 h 17945100"/>
                  <a:gd name="connsiteX45" fmla="*/ 1714500 w 7734300"/>
                  <a:gd name="connsiteY45" fmla="*/ 2095500 h 17945100"/>
                  <a:gd name="connsiteX46" fmla="*/ 1104900 w 7734300"/>
                  <a:gd name="connsiteY46" fmla="*/ 1981200 h 17945100"/>
                  <a:gd name="connsiteX47" fmla="*/ 419100 w 7734300"/>
                  <a:gd name="connsiteY47" fmla="*/ 1790700 h 17945100"/>
                  <a:gd name="connsiteX48" fmla="*/ 419100 w 7734300"/>
                  <a:gd name="connsiteY48" fmla="*/ 1790700 h 17945100"/>
                  <a:gd name="connsiteX0" fmla="*/ 529771 w 7806871"/>
                  <a:gd name="connsiteY0" fmla="*/ 1752600 h 17945100"/>
                  <a:gd name="connsiteX1" fmla="*/ 263071 w 7806871"/>
                  <a:gd name="connsiteY1" fmla="*/ 2133600 h 17945100"/>
                  <a:gd name="connsiteX2" fmla="*/ 339271 w 7806871"/>
                  <a:gd name="connsiteY2" fmla="*/ 2514600 h 17945100"/>
                  <a:gd name="connsiteX3" fmla="*/ 567871 w 7806871"/>
                  <a:gd name="connsiteY3" fmla="*/ 2705100 h 17945100"/>
                  <a:gd name="connsiteX4" fmla="*/ 529771 w 7806871"/>
                  <a:gd name="connsiteY4" fmla="*/ 3962400 h 17945100"/>
                  <a:gd name="connsiteX5" fmla="*/ 263071 w 7806871"/>
                  <a:gd name="connsiteY5" fmla="*/ 6819900 h 17945100"/>
                  <a:gd name="connsiteX6" fmla="*/ 72571 w 7806871"/>
                  <a:gd name="connsiteY6" fmla="*/ 9144000 h 17945100"/>
                  <a:gd name="connsiteX7" fmla="*/ 148771 w 7806871"/>
                  <a:gd name="connsiteY7" fmla="*/ 10058400 h 17945100"/>
                  <a:gd name="connsiteX8" fmla="*/ 301171 w 7806871"/>
                  <a:gd name="connsiteY8" fmla="*/ 10629900 h 17945100"/>
                  <a:gd name="connsiteX9" fmla="*/ 910771 w 7806871"/>
                  <a:gd name="connsiteY9" fmla="*/ 13258800 h 17945100"/>
                  <a:gd name="connsiteX10" fmla="*/ 0 w 7806871"/>
                  <a:gd name="connsiteY10" fmla="*/ 16718644 h 17945100"/>
                  <a:gd name="connsiteX11" fmla="*/ 3350985 w 7806871"/>
                  <a:gd name="connsiteY11" fmla="*/ 16099972 h 17945100"/>
                  <a:gd name="connsiteX12" fmla="*/ 4339771 w 7806871"/>
                  <a:gd name="connsiteY12" fmla="*/ 15735300 h 17945100"/>
                  <a:gd name="connsiteX13" fmla="*/ 3006271 w 7806871"/>
                  <a:gd name="connsiteY13" fmla="*/ 10363200 h 17945100"/>
                  <a:gd name="connsiteX14" fmla="*/ 2891971 w 7806871"/>
                  <a:gd name="connsiteY14" fmla="*/ 9601200 h 17945100"/>
                  <a:gd name="connsiteX15" fmla="*/ 2891971 w 7806871"/>
                  <a:gd name="connsiteY15" fmla="*/ 9220200 h 17945100"/>
                  <a:gd name="connsiteX16" fmla="*/ 2930071 w 7806871"/>
                  <a:gd name="connsiteY16" fmla="*/ 8801100 h 17945100"/>
                  <a:gd name="connsiteX17" fmla="*/ 2930071 w 7806871"/>
                  <a:gd name="connsiteY17" fmla="*/ 7772400 h 17945100"/>
                  <a:gd name="connsiteX18" fmla="*/ 3692071 w 7806871"/>
                  <a:gd name="connsiteY18" fmla="*/ 4114800 h 17945100"/>
                  <a:gd name="connsiteX19" fmla="*/ 3920671 w 7806871"/>
                  <a:gd name="connsiteY19" fmla="*/ 5219700 h 17945100"/>
                  <a:gd name="connsiteX20" fmla="*/ 3996871 w 7806871"/>
                  <a:gd name="connsiteY20" fmla="*/ 7048500 h 17945100"/>
                  <a:gd name="connsiteX21" fmla="*/ 3996871 w 7806871"/>
                  <a:gd name="connsiteY21" fmla="*/ 9029700 h 17945100"/>
                  <a:gd name="connsiteX22" fmla="*/ 3882571 w 7806871"/>
                  <a:gd name="connsiteY22" fmla="*/ 10401300 h 17945100"/>
                  <a:gd name="connsiteX23" fmla="*/ 4034971 w 7806871"/>
                  <a:gd name="connsiteY23" fmla="*/ 11125200 h 17945100"/>
                  <a:gd name="connsiteX24" fmla="*/ 4225471 w 7806871"/>
                  <a:gd name="connsiteY24" fmla="*/ 12877800 h 17945100"/>
                  <a:gd name="connsiteX25" fmla="*/ 4377871 w 7806871"/>
                  <a:gd name="connsiteY25" fmla="*/ 13906500 h 17945100"/>
                  <a:gd name="connsiteX26" fmla="*/ 5330371 w 7806871"/>
                  <a:gd name="connsiteY26" fmla="*/ 17868900 h 17945100"/>
                  <a:gd name="connsiteX27" fmla="*/ 6320971 w 7806871"/>
                  <a:gd name="connsiteY27" fmla="*/ 17945100 h 17945100"/>
                  <a:gd name="connsiteX28" fmla="*/ 7806871 w 7806871"/>
                  <a:gd name="connsiteY28" fmla="*/ 17297400 h 17945100"/>
                  <a:gd name="connsiteX29" fmla="*/ 6930571 w 7806871"/>
                  <a:gd name="connsiteY29" fmla="*/ 13563600 h 17945100"/>
                  <a:gd name="connsiteX30" fmla="*/ 6778171 w 7806871"/>
                  <a:gd name="connsiteY30" fmla="*/ 11277600 h 17945100"/>
                  <a:gd name="connsiteX31" fmla="*/ 6778171 w 7806871"/>
                  <a:gd name="connsiteY31" fmla="*/ 8877300 h 17945100"/>
                  <a:gd name="connsiteX32" fmla="*/ 7006771 w 7806871"/>
                  <a:gd name="connsiteY32" fmla="*/ 5143500 h 17945100"/>
                  <a:gd name="connsiteX33" fmla="*/ 7197271 w 7806871"/>
                  <a:gd name="connsiteY33" fmla="*/ 4114800 h 17945100"/>
                  <a:gd name="connsiteX34" fmla="*/ 7273471 w 7806871"/>
                  <a:gd name="connsiteY34" fmla="*/ 2781300 h 17945100"/>
                  <a:gd name="connsiteX35" fmla="*/ 7235371 w 7806871"/>
                  <a:gd name="connsiteY35" fmla="*/ 2095500 h 17945100"/>
                  <a:gd name="connsiteX36" fmla="*/ 6168571 w 7806871"/>
                  <a:gd name="connsiteY36" fmla="*/ 2171700 h 17945100"/>
                  <a:gd name="connsiteX37" fmla="*/ 4568371 w 7806871"/>
                  <a:gd name="connsiteY37" fmla="*/ 2247900 h 17945100"/>
                  <a:gd name="connsiteX38" fmla="*/ 4034971 w 7806871"/>
                  <a:gd name="connsiteY38" fmla="*/ 2209800 h 17945100"/>
                  <a:gd name="connsiteX39" fmla="*/ 3501571 w 7806871"/>
                  <a:gd name="connsiteY39" fmla="*/ 1828800 h 17945100"/>
                  <a:gd name="connsiteX40" fmla="*/ 3349171 w 7806871"/>
                  <a:gd name="connsiteY40" fmla="*/ 1295400 h 17945100"/>
                  <a:gd name="connsiteX41" fmla="*/ 3234871 w 7806871"/>
                  <a:gd name="connsiteY41" fmla="*/ 0 h 17945100"/>
                  <a:gd name="connsiteX42" fmla="*/ 2891971 w 7806871"/>
                  <a:gd name="connsiteY42" fmla="*/ 76200 h 17945100"/>
                  <a:gd name="connsiteX43" fmla="*/ 2396671 w 7806871"/>
                  <a:gd name="connsiteY43" fmla="*/ 1562100 h 17945100"/>
                  <a:gd name="connsiteX44" fmla="*/ 2168071 w 7806871"/>
                  <a:gd name="connsiteY44" fmla="*/ 1790700 h 17945100"/>
                  <a:gd name="connsiteX45" fmla="*/ 1787071 w 7806871"/>
                  <a:gd name="connsiteY45" fmla="*/ 2095500 h 17945100"/>
                  <a:gd name="connsiteX46" fmla="*/ 1177471 w 7806871"/>
                  <a:gd name="connsiteY46" fmla="*/ 1981200 h 17945100"/>
                  <a:gd name="connsiteX47" fmla="*/ 491671 w 7806871"/>
                  <a:gd name="connsiteY47" fmla="*/ 1790700 h 17945100"/>
                  <a:gd name="connsiteX48" fmla="*/ 491671 w 7806871"/>
                  <a:gd name="connsiteY48" fmla="*/ 1790700 h 17945100"/>
                  <a:gd name="connsiteX0" fmla="*/ 529771 w 7806871"/>
                  <a:gd name="connsiteY0" fmla="*/ 1752600 h 17945100"/>
                  <a:gd name="connsiteX1" fmla="*/ 263071 w 7806871"/>
                  <a:gd name="connsiteY1" fmla="*/ 2133600 h 17945100"/>
                  <a:gd name="connsiteX2" fmla="*/ 339271 w 7806871"/>
                  <a:gd name="connsiteY2" fmla="*/ 2514600 h 17945100"/>
                  <a:gd name="connsiteX3" fmla="*/ 567871 w 7806871"/>
                  <a:gd name="connsiteY3" fmla="*/ 2705100 h 17945100"/>
                  <a:gd name="connsiteX4" fmla="*/ 529771 w 7806871"/>
                  <a:gd name="connsiteY4" fmla="*/ 3962400 h 17945100"/>
                  <a:gd name="connsiteX5" fmla="*/ 263071 w 7806871"/>
                  <a:gd name="connsiteY5" fmla="*/ 6819900 h 17945100"/>
                  <a:gd name="connsiteX6" fmla="*/ 72571 w 7806871"/>
                  <a:gd name="connsiteY6" fmla="*/ 9144000 h 17945100"/>
                  <a:gd name="connsiteX7" fmla="*/ 148771 w 7806871"/>
                  <a:gd name="connsiteY7" fmla="*/ 10058400 h 17945100"/>
                  <a:gd name="connsiteX8" fmla="*/ 301171 w 7806871"/>
                  <a:gd name="connsiteY8" fmla="*/ 10629900 h 17945100"/>
                  <a:gd name="connsiteX9" fmla="*/ 72571 w 7806871"/>
                  <a:gd name="connsiteY9" fmla="*/ 13258800 h 17945100"/>
                  <a:gd name="connsiteX10" fmla="*/ 0 w 7806871"/>
                  <a:gd name="connsiteY10" fmla="*/ 16718644 h 17945100"/>
                  <a:gd name="connsiteX11" fmla="*/ 3350985 w 7806871"/>
                  <a:gd name="connsiteY11" fmla="*/ 16099972 h 17945100"/>
                  <a:gd name="connsiteX12" fmla="*/ 4339771 w 7806871"/>
                  <a:gd name="connsiteY12" fmla="*/ 15735300 h 17945100"/>
                  <a:gd name="connsiteX13" fmla="*/ 3006271 w 7806871"/>
                  <a:gd name="connsiteY13" fmla="*/ 10363200 h 17945100"/>
                  <a:gd name="connsiteX14" fmla="*/ 2891971 w 7806871"/>
                  <a:gd name="connsiteY14" fmla="*/ 9601200 h 17945100"/>
                  <a:gd name="connsiteX15" fmla="*/ 2891971 w 7806871"/>
                  <a:gd name="connsiteY15" fmla="*/ 9220200 h 17945100"/>
                  <a:gd name="connsiteX16" fmla="*/ 2930071 w 7806871"/>
                  <a:gd name="connsiteY16" fmla="*/ 8801100 h 17945100"/>
                  <a:gd name="connsiteX17" fmla="*/ 2930071 w 7806871"/>
                  <a:gd name="connsiteY17" fmla="*/ 7772400 h 17945100"/>
                  <a:gd name="connsiteX18" fmla="*/ 3692071 w 7806871"/>
                  <a:gd name="connsiteY18" fmla="*/ 4114800 h 17945100"/>
                  <a:gd name="connsiteX19" fmla="*/ 3920671 w 7806871"/>
                  <a:gd name="connsiteY19" fmla="*/ 5219700 h 17945100"/>
                  <a:gd name="connsiteX20" fmla="*/ 3996871 w 7806871"/>
                  <a:gd name="connsiteY20" fmla="*/ 7048500 h 17945100"/>
                  <a:gd name="connsiteX21" fmla="*/ 3996871 w 7806871"/>
                  <a:gd name="connsiteY21" fmla="*/ 9029700 h 17945100"/>
                  <a:gd name="connsiteX22" fmla="*/ 3882571 w 7806871"/>
                  <a:gd name="connsiteY22" fmla="*/ 10401300 h 17945100"/>
                  <a:gd name="connsiteX23" fmla="*/ 4034971 w 7806871"/>
                  <a:gd name="connsiteY23" fmla="*/ 11125200 h 17945100"/>
                  <a:gd name="connsiteX24" fmla="*/ 4225471 w 7806871"/>
                  <a:gd name="connsiteY24" fmla="*/ 12877800 h 17945100"/>
                  <a:gd name="connsiteX25" fmla="*/ 4377871 w 7806871"/>
                  <a:gd name="connsiteY25" fmla="*/ 13906500 h 17945100"/>
                  <a:gd name="connsiteX26" fmla="*/ 5330371 w 7806871"/>
                  <a:gd name="connsiteY26" fmla="*/ 17868900 h 17945100"/>
                  <a:gd name="connsiteX27" fmla="*/ 6320971 w 7806871"/>
                  <a:gd name="connsiteY27" fmla="*/ 17945100 h 17945100"/>
                  <a:gd name="connsiteX28" fmla="*/ 7806871 w 7806871"/>
                  <a:gd name="connsiteY28" fmla="*/ 17297400 h 17945100"/>
                  <a:gd name="connsiteX29" fmla="*/ 6930571 w 7806871"/>
                  <a:gd name="connsiteY29" fmla="*/ 13563600 h 17945100"/>
                  <a:gd name="connsiteX30" fmla="*/ 6778171 w 7806871"/>
                  <a:gd name="connsiteY30" fmla="*/ 11277600 h 17945100"/>
                  <a:gd name="connsiteX31" fmla="*/ 6778171 w 7806871"/>
                  <a:gd name="connsiteY31" fmla="*/ 8877300 h 17945100"/>
                  <a:gd name="connsiteX32" fmla="*/ 7006771 w 7806871"/>
                  <a:gd name="connsiteY32" fmla="*/ 5143500 h 17945100"/>
                  <a:gd name="connsiteX33" fmla="*/ 7197271 w 7806871"/>
                  <a:gd name="connsiteY33" fmla="*/ 4114800 h 17945100"/>
                  <a:gd name="connsiteX34" fmla="*/ 7273471 w 7806871"/>
                  <a:gd name="connsiteY34" fmla="*/ 2781300 h 17945100"/>
                  <a:gd name="connsiteX35" fmla="*/ 7235371 w 7806871"/>
                  <a:gd name="connsiteY35" fmla="*/ 2095500 h 17945100"/>
                  <a:gd name="connsiteX36" fmla="*/ 6168571 w 7806871"/>
                  <a:gd name="connsiteY36" fmla="*/ 2171700 h 17945100"/>
                  <a:gd name="connsiteX37" fmla="*/ 4568371 w 7806871"/>
                  <a:gd name="connsiteY37" fmla="*/ 2247900 h 17945100"/>
                  <a:gd name="connsiteX38" fmla="*/ 4034971 w 7806871"/>
                  <a:gd name="connsiteY38" fmla="*/ 2209800 h 17945100"/>
                  <a:gd name="connsiteX39" fmla="*/ 3501571 w 7806871"/>
                  <a:gd name="connsiteY39" fmla="*/ 1828800 h 17945100"/>
                  <a:gd name="connsiteX40" fmla="*/ 3349171 w 7806871"/>
                  <a:gd name="connsiteY40" fmla="*/ 1295400 h 17945100"/>
                  <a:gd name="connsiteX41" fmla="*/ 3234871 w 7806871"/>
                  <a:gd name="connsiteY41" fmla="*/ 0 h 17945100"/>
                  <a:gd name="connsiteX42" fmla="*/ 2891971 w 7806871"/>
                  <a:gd name="connsiteY42" fmla="*/ 76200 h 17945100"/>
                  <a:gd name="connsiteX43" fmla="*/ 2396671 w 7806871"/>
                  <a:gd name="connsiteY43" fmla="*/ 1562100 h 17945100"/>
                  <a:gd name="connsiteX44" fmla="*/ 2168071 w 7806871"/>
                  <a:gd name="connsiteY44" fmla="*/ 1790700 h 17945100"/>
                  <a:gd name="connsiteX45" fmla="*/ 1787071 w 7806871"/>
                  <a:gd name="connsiteY45" fmla="*/ 2095500 h 17945100"/>
                  <a:gd name="connsiteX46" fmla="*/ 1177471 w 7806871"/>
                  <a:gd name="connsiteY46" fmla="*/ 1981200 h 17945100"/>
                  <a:gd name="connsiteX47" fmla="*/ 491671 w 7806871"/>
                  <a:gd name="connsiteY47" fmla="*/ 1790700 h 17945100"/>
                  <a:gd name="connsiteX48" fmla="*/ 491671 w 7806871"/>
                  <a:gd name="connsiteY48" fmla="*/ 1790700 h 17945100"/>
                  <a:gd name="connsiteX0" fmla="*/ 529771 w 7806871"/>
                  <a:gd name="connsiteY0" fmla="*/ 1752600 h 17945100"/>
                  <a:gd name="connsiteX1" fmla="*/ 263071 w 7806871"/>
                  <a:gd name="connsiteY1" fmla="*/ 2133600 h 17945100"/>
                  <a:gd name="connsiteX2" fmla="*/ 339271 w 7806871"/>
                  <a:gd name="connsiteY2" fmla="*/ 2514600 h 17945100"/>
                  <a:gd name="connsiteX3" fmla="*/ 567871 w 7806871"/>
                  <a:gd name="connsiteY3" fmla="*/ 2705100 h 17945100"/>
                  <a:gd name="connsiteX4" fmla="*/ 529771 w 7806871"/>
                  <a:gd name="connsiteY4" fmla="*/ 3962400 h 17945100"/>
                  <a:gd name="connsiteX5" fmla="*/ 263071 w 7806871"/>
                  <a:gd name="connsiteY5" fmla="*/ 6819900 h 17945100"/>
                  <a:gd name="connsiteX6" fmla="*/ 72571 w 7806871"/>
                  <a:gd name="connsiteY6" fmla="*/ 9144000 h 17945100"/>
                  <a:gd name="connsiteX7" fmla="*/ 148771 w 7806871"/>
                  <a:gd name="connsiteY7" fmla="*/ 10058400 h 17945100"/>
                  <a:gd name="connsiteX8" fmla="*/ 34471 w 7806871"/>
                  <a:gd name="connsiteY8" fmla="*/ 10972800 h 17945100"/>
                  <a:gd name="connsiteX9" fmla="*/ 72571 w 7806871"/>
                  <a:gd name="connsiteY9" fmla="*/ 13258800 h 17945100"/>
                  <a:gd name="connsiteX10" fmla="*/ 0 w 7806871"/>
                  <a:gd name="connsiteY10" fmla="*/ 16718644 h 17945100"/>
                  <a:gd name="connsiteX11" fmla="*/ 3350985 w 7806871"/>
                  <a:gd name="connsiteY11" fmla="*/ 16099972 h 17945100"/>
                  <a:gd name="connsiteX12" fmla="*/ 4339771 w 7806871"/>
                  <a:gd name="connsiteY12" fmla="*/ 15735300 h 17945100"/>
                  <a:gd name="connsiteX13" fmla="*/ 3006271 w 7806871"/>
                  <a:gd name="connsiteY13" fmla="*/ 10363200 h 17945100"/>
                  <a:gd name="connsiteX14" fmla="*/ 2891971 w 7806871"/>
                  <a:gd name="connsiteY14" fmla="*/ 9601200 h 17945100"/>
                  <a:gd name="connsiteX15" fmla="*/ 2891971 w 7806871"/>
                  <a:gd name="connsiteY15" fmla="*/ 9220200 h 17945100"/>
                  <a:gd name="connsiteX16" fmla="*/ 2930071 w 7806871"/>
                  <a:gd name="connsiteY16" fmla="*/ 8801100 h 17945100"/>
                  <a:gd name="connsiteX17" fmla="*/ 2930071 w 7806871"/>
                  <a:gd name="connsiteY17" fmla="*/ 7772400 h 17945100"/>
                  <a:gd name="connsiteX18" fmla="*/ 3692071 w 7806871"/>
                  <a:gd name="connsiteY18" fmla="*/ 4114800 h 17945100"/>
                  <a:gd name="connsiteX19" fmla="*/ 3920671 w 7806871"/>
                  <a:gd name="connsiteY19" fmla="*/ 5219700 h 17945100"/>
                  <a:gd name="connsiteX20" fmla="*/ 3996871 w 7806871"/>
                  <a:gd name="connsiteY20" fmla="*/ 7048500 h 17945100"/>
                  <a:gd name="connsiteX21" fmla="*/ 3996871 w 7806871"/>
                  <a:gd name="connsiteY21" fmla="*/ 9029700 h 17945100"/>
                  <a:gd name="connsiteX22" fmla="*/ 3882571 w 7806871"/>
                  <a:gd name="connsiteY22" fmla="*/ 10401300 h 17945100"/>
                  <a:gd name="connsiteX23" fmla="*/ 4034971 w 7806871"/>
                  <a:gd name="connsiteY23" fmla="*/ 11125200 h 17945100"/>
                  <a:gd name="connsiteX24" fmla="*/ 4225471 w 7806871"/>
                  <a:gd name="connsiteY24" fmla="*/ 12877800 h 17945100"/>
                  <a:gd name="connsiteX25" fmla="*/ 4377871 w 7806871"/>
                  <a:gd name="connsiteY25" fmla="*/ 13906500 h 17945100"/>
                  <a:gd name="connsiteX26" fmla="*/ 5330371 w 7806871"/>
                  <a:gd name="connsiteY26" fmla="*/ 17868900 h 17945100"/>
                  <a:gd name="connsiteX27" fmla="*/ 6320971 w 7806871"/>
                  <a:gd name="connsiteY27" fmla="*/ 17945100 h 17945100"/>
                  <a:gd name="connsiteX28" fmla="*/ 7806871 w 7806871"/>
                  <a:gd name="connsiteY28" fmla="*/ 17297400 h 17945100"/>
                  <a:gd name="connsiteX29" fmla="*/ 6930571 w 7806871"/>
                  <a:gd name="connsiteY29" fmla="*/ 13563600 h 17945100"/>
                  <a:gd name="connsiteX30" fmla="*/ 6778171 w 7806871"/>
                  <a:gd name="connsiteY30" fmla="*/ 11277600 h 17945100"/>
                  <a:gd name="connsiteX31" fmla="*/ 6778171 w 7806871"/>
                  <a:gd name="connsiteY31" fmla="*/ 8877300 h 17945100"/>
                  <a:gd name="connsiteX32" fmla="*/ 7006771 w 7806871"/>
                  <a:gd name="connsiteY32" fmla="*/ 5143500 h 17945100"/>
                  <a:gd name="connsiteX33" fmla="*/ 7197271 w 7806871"/>
                  <a:gd name="connsiteY33" fmla="*/ 4114800 h 17945100"/>
                  <a:gd name="connsiteX34" fmla="*/ 7273471 w 7806871"/>
                  <a:gd name="connsiteY34" fmla="*/ 2781300 h 17945100"/>
                  <a:gd name="connsiteX35" fmla="*/ 7235371 w 7806871"/>
                  <a:gd name="connsiteY35" fmla="*/ 2095500 h 17945100"/>
                  <a:gd name="connsiteX36" fmla="*/ 6168571 w 7806871"/>
                  <a:gd name="connsiteY36" fmla="*/ 2171700 h 17945100"/>
                  <a:gd name="connsiteX37" fmla="*/ 4568371 w 7806871"/>
                  <a:gd name="connsiteY37" fmla="*/ 2247900 h 17945100"/>
                  <a:gd name="connsiteX38" fmla="*/ 4034971 w 7806871"/>
                  <a:gd name="connsiteY38" fmla="*/ 2209800 h 17945100"/>
                  <a:gd name="connsiteX39" fmla="*/ 3501571 w 7806871"/>
                  <a:gd name="connsiteY39" fmla="*/ 1828800 h 17945100"/>
                  <a:gd name="connsiteX40" fmla="*/ 3349171 w 7806871"/>
                  <a:gd name="connsiteY40" fmla="*/ 1295400 h 17945100"/>
                  <a:gd name="connsiteX41" fmla="*/ 3234871 w 7806871"/>
                  <a:gd name="connsiteY41" fmla="*/ 0 h 17945100"/>
                  <a:gd name="connsiteX42" fmla="*/ 2891971 w 7806871"/>
                  <a:gd name="connsiteY42" fmla="*/ 76200 h 17945100"/>
                  <a:gd name="connsiteX43" fmla="*/ 2396671 w 7806871"/>
                  <a:gd name="connsiteY43" fmla="*/ 1562100 h 17945100"/>
                  <a:gd name="connsiteX44" fmla="*/ 2168071 w 7806871"/>
                  <a:gd name="connsiteY44" fmla="*/ 1790700 h 17945100"/>
                  <a:gd name="connsiteX45" fmla="*/ 1787071 w 7806871"/>
                  <a:gd name="connsiteY45" fmla="*/ 2095500 h 17945100"/>
                  <a:gd name="connsiteX46" fmla="*/ 1177471 w 7806871"/>
                  <a:gd name="connsiteY46" fmla="*/ 1981200 h 17945100"/>
                  <a:gd name="connsiteX47" fmla="*/ 491671 w 7806871"/>
                  <a:gd name="connsiteY47" fmla="*/ 1790700 h 17945100"/>
                  <a:gd name="connsiteX48" fmla="*/ 491671 w 7806871"/>
                  <a:gd name="connsiteY48" fmla="*/ 1790700 h 17945100"/>
                  <a:gd name="connsiteX0" fmla="*/ 529771 w 7806871"/>
                  <a:gd name="connsiteY0" fmla="*/ 1752600 h 17945100"/>
                  <a:gd name="connsiteX1" fmla="*/ 263071 w 7806871"/>
                  <a:gd name="connsiteY1" fmla="*/ 2133600 h 17945100"/>
                  <a:gd name="connsiteX2" fmla="*/ 339271 w 7806871"/>
                  <a:gd name="connsiteY2" fmla="*/ 2514600 h 17945100"/>
                  <a:gd name="connsiteX3" fmla="*/ 567871 w 7806871"/>
                  <a:gd name="connsiteY3" fmla="*/ 2705100 h 17945100"/>
                  <a:gd name="connsiteX4" fmla="*/ 529771 w 7806871"/>
                  <a:gd name="connsiteY4" fmla="*/ 3962400 h 17945100"/>
                  <a:gd name="connsiteX5" fmla="*/ 263071 w 7806871"/>
                  <a:gd name="connsiteY5" fmla="*/ 6819900 h 17945100"/>
                  <a:gd name="connsiteX6" fmla="*/ 72571 w 7806871"/>
                  <a:gd name="connsiteY6" fmla="*/ 9144000 h 17945100"/>
                  <a:gd name="connsiteX7" fmla="*/ 148771 w 7806871"/>
                  <a:gd name="connsiteY7" fmla="*/ 10058400 h 17945100"/>
                  <a:gd name="connsiteX8" fmla="*/ 34471 w 7806871"/>
                  <a:gd name="connsiteY8" fmla="*/ 10972800 h 17945100"/>
                  <a:gd name="connsiteX9" fmla="*/ 72571 w 7806871"/>
                  <a:gd name="connsiteY9" fmla="*/ 13258800 h 17945100"/>
                  <a:gd name="connsiteX10" fmla="*/ 0 w 7806871"/>
                  <a:gd name="connsiteY10" fmla="*/ 16718644 h 17945100"/>
                  <a:gd name="connsiteX11" fmla="*/ 1674585 w 7806871"/>
                  <a:gd name="connsiteY11" fmla="*/ 16633372 h 17945100"/>
                  <a:gd name="connsiteX12" fmla="*/ 4339771 w 7806871"/>
                  <a:gd name="connsiteY12" fmla="*/ 15735300 h 17945100"/>
                  <a:gd name="connsiteX13" fmla="*/ 3006271 w 7806871"/>
                  <a:gd name="connsiteY13" fmla="*/ 10363200 h 17945100"/>
                  <a:gd name="connsiteX14" fmla="*/ 2891971 w 7806871"/>
                  <a:gd name="connsiteY14" fmla="*/ 9601200 h 17945100"/>
                  <a:gd name="connsiteX15" fmla="*/ 2891971 w 7806871"/>
                  <a:gd name="connsiteY15" fmla="*/ 9220200 h 17945100"/>
                  <a:gd name="connsiteX16" fmla="*/ 2930071 w 7806871"/>
                  <a:gd name="connsiteY16" fmla="*/ 8801100 h 17945100"/>
                  <a:gd name="connsiteX17" fmla="*/ 2930071 w 7806871"/>
                  <a:gd name="connsiteY17" fmla="*/ 7772400 h 17945100"/>
                  <a:gd name="connsiteX18" fmla="*/ 3692071 w 7806871"/>
                  <a:gd name="connsiteY18" fmla="*/ 4114800 h 17945100"/>
                  <a:gd name="connsiteX19" fmla="*/ 3920671 w 7806871"/>
                  <a:gd name="connsiteY19" fmla="*/ 5219700 h 17945100"/>
                  <a:gd name="connsiteX20" fmla="*/ 3996871 w 7806871"/>
                  <a:gd name="connsiteY20" fmla="*/ 7048500 h 17945100"/>
                  <a:gd name="connsiteX21" fmla="*/ 3996871 w 7806871"/>
                  <a:gd name="connsiteY21" fmla="*/ 9029700 h 17945100"/>
                  <a:gd name="connsiteX22" fmla="*/ 3882571 w 7806871"/>
                  <a:gd name="connsiteY22" fmla="*/ 10401300 h 17945100"/>
                  <a:gd name="connsiteX23" fmla="*/ 4034971 w 7806871"/>
                  <a:gd name="connsiteY23" fmla="*/ 11125200 h 17945100"/>
                  <a:gd name="connsiteX24" fmla="*/ 4225471 w 7806871"/>
                  <a:gd name="connsiteY24" fmla="*/ 12877800 h 17945100"/>
                  <a:gd name="connsiteX25" fmla="*/ 4377871 w 7806871"/>
                  <a:gd name="connsiteY25" fmla="*/ 13906500 h 17945100"/>
                  <a:gd name="connsiteX26" fmla="*/ 5330371 w 7806871"/>
                  <a:gd name="connsiteY26" fmla="*/ 17868900 h 17945100"/>
                  <a:gd name="connsiteX27" fmla="*/ 6320971 w 7806871"/>
                  <a:gd name="connsiteY27" fmla="*/ 17945100 h 17945100"/>
                  <a:gd name="connsiteX28" fmla="*/ 7806871 w 7806871"/>
                  <a:gd name="connsiteY28" fmla="*/ 17297400 h 17945100"/>
                  <a:gd name="connsiteX29" fmla="*/ 6930571 w 7806871"/>
                  <a:gd name="connsiteY29" fmla="*/ 13563600 h 17945100"/>
                  <a:gd name="connsiteX30" fmla="*/ 6778171 w 7806871"/>
                  <a:gd name="connsiteY30" fmla="*/ 11277600 h 17945100"/>
                  <a:gd name="connsiteX31" fmla="*/ 6778171 w 7806871"/>
                  <a:gd name="connsiteY31" fmla="*/ 8877300 h 17945100"/>
                  <a:gd name="connsiteX32" fmla="*/ 7006771 w 7806871"/>
                  <a:gd name="connsiteY32" fmla="*/ 5143500 h 17945100"/>
                  <a:gd name="connsiteX33" fmla="*/ 7197271 w 7806871"/>
                  <a:gd name="connsiteY33" fmla="*/ 4114800 h 17945100"/>
                  <a:gd name="connsiteX34" fmla="*/ 7273471 w 7806871"/>
                  <a:gd name="connsiteY34" fmla="*/ 2781300 h 17945100"/>
                  <a:gd name="connsiteX35" fmla="*/ 7235371 w 7806871"/>
                  <a:gd name="connsiteY35" fmla="*/ 2095500 h 17945100"/>
                  <a:gd name="connsiteX36" fmla="*/ 6168571 w 7806871"/>
                  <a:gd name="connsiteY36" fmla="*/ 2171700 h 17945100"/>
                  <a:gd name="connsiteX37" fmla="*/ 4568371 w 7806871"/>
                  <a:gd name="connsiteY37" fmla="*/ 2247900 h 17945100"/>
                  <a:gd name="connsiteX38" fmla="*/ 4034971 w 7806871"/>
                  <a:gd name="connsiteY38" fmla="*/ 2209800 h 17945100"/>
                  <a:gd name="connsiteX39" fmla="*/ 3501571 w 7806871"/>
                  <a:gd name="connsiteY39" fmla="*/ 1828800 h 17945100"/>
                  <a:gd name="connsiteX40" fmla="*/ 3349171 w 7806871"/>
                  <a:gd name="connsiteY40" fmla="*/ 1295400 h 17945100"/>
                  <a:gd name="connsiteX41" fmla="*/ 3234871 w 7806871"/>
                  <a:gd name="connsiteY41" fmla="*/ 0 h 17945100"/>
                  <a:gd name="connsiteX42" fmla="*/ 2891971 w 7806871"/>
                  <a:gd name="connsiteY42" fmla="*/ 76200 h 17945100"/>
                  <a:gd name="connsiteX43" fmla="*/ 2396671 w 7806871"/>
                  <a:gd name="connsiteY43" fmla="*/ 1562100 h 17945100"/>
                  <a:gd name="connsiteX44" fmla="*/ 2168071 w 7806871"/>
                  <a:gd name="connsiteY44" fmla="*/ 1790700 h 17945100"/>
                  <a:gd name="connsiteX45" fmla="*/ 1787071 w 7806871"/>
                  <a:gd name="connsiteY45" fmla="*/ 2095500 h 17945100"/>
                  <a:gd name="connsiteX46" fmla="*/ 1177471 w 7806871"/>
                  <a:gd name="connsiteY46" fmla="*/ 1981200 h 17945100"/>
                  <a:gd name="connsiteX47" fmla="*/ 491671 w 7806871"/>
                  <a:gd name="connsiteY47" fmla="*/ 1790700 h 17945100"/>
                  <a:gd name="connsiteX48" fmla="*/ 491671 w 7806871"/>
                  <a:gd name="connsiteY48" fmla="*/ 1790700 h 17945100"/>
                  <a:gd name="connsiteX0" fmla="*/ 529771 w 7806871"/>
                  <a:gd name="connsiteY0" fmla="*/ 1752600 h 17945100"/>
                  <a:gd name="connsiteX1" fmla="*/ 263071 w 7806871"/>
                  <a:gd name="connsiteY1" fmla="*/ 2133600 h 17945100"/>
                  <a:gd name="connsiteX2" fmla="*/ 339271 w 7806871"/>
                  <a:gd name="connsiteY2" fmla="*/ 2514600 h 17945100"/>
                  <a:gd name="connsiteX3" fmla="*/ 567871 w 7806871"/>
                  <a:gd name="connsiteY3" fmla="*/ 2705100 h 17945100"/>
                  <a:gd name="connsiteX4" fmla="*/ 529771 w 7806871"/>
                  <a:gd name="connsiteY4" fmla="*/ 3962400 h 17945100"/>
                  <a:gd name="connsiteX5" fmla="*/ 263071 w 7806871"/>
                  <a:gd name="connsiteY5" fmla="*/ 6819900 h 17945100"/>
                  <a:gd name="connsiteX6" fmla="*/ 72571 w 7806871"/>
                  <a:gd name="connsiteY6" fmla="*/ 9144000 h 17945100"/>
                  <a:gd name="connsiteX7" fmla="*/ 148771 w 7806871"/>
                  <a:gd name="connsiteY7" fmla="*/ 10058400 h 17945100"/>
                  <a:gd name="connsiteX8" fmla="*/ 34471 w 7806871"/>
                  <a:gd name="connsiteY8" fmla="*/ 10972800 h 17945100"/>
                  <a:gd name="connsiteX9" fmla="*/ 72571 w 7806871"/>
                  <a:gd name="connsiteY9" fmla="*/ 13258800 h 17945100"/>
                  <a:gd name="connsiteX10" fmla="*/ 0 w 7806871"/>
                  <a:gd name="connsiteY10" fmla="*/ 16718644 h 17945100"/>
                  <a:gd name="connsiteX11" fmla="*/ 1674585 w 7806871"/>
                  <a:gd name="connsiteY11" fmla="*/ 16633372 h 17945100"/>
                  <a:gd name="connsiteX12" fmla="*/ 2739571 w 7806871"/>
                  <a:gd name="connsiteY12" fmla="*/ 16344900 h 17945100"/>
                  <a:gd name="connsiteX13" fmla="*/ 3006271 w 7806871"/>
                  <a:gd name="connsiteY13" fmla="*/ 10363200 h 17945100"/>
                  <a:gd name="connsiteX14" fmla="*/ 2891971 w 7806871"/>
                  <a:gd name="connsiteY14" fmla="*/ 9601200 h 17945100"/>
                  <a:gd name="connsiteX15" fmla="*/ 2891971 w 7806871"/>
                  <a:gd name="connsiteY15" fmla="*/ 9220200 h 17945100"/>
                  <a:gd name="connsiteX16" fmla="*/ 2930071 w 7806871"/>
                  <a:gd name="connsiteY16" fmla="*/ 8801100 h 17945100"/>
                  <a:gd name="connsiteX17" fmla="*/ 2930071 w 7806871"/>
                  <a:gd name="connsiteY17" fmla="*/ 7772400 h 17945100"/>
                  <a:gd name="connsiteX18" fmla="*/ 3692071 w 7806871"/>
                  <a:gd name="connsiteY18" fmla="*/ 4114800 h 17945100"/>
                  <a:gd name="connsiteX19" fmla="*/ 3920671 w 7806871"/>
                  <a:gd name="connsiteY19" fmla="*/ 5219700 h 17945100"/>
                  <a:gd name="connsiteX20" fmla="*/ 3996871 w 7806871"/>
                  <a:gd name="connsiteY20" fmla="*/ 7048500 h 17945100"/>
                  <a:gd name="connsiteX21" fmla="*/ 3996871 w 7806871"/>
                  <a:gd name="connsiteY21" fmla="*/ 9029700 h 17945100"/>
                  <a:gd name="connsiteX22" fmla="*/ 3882571 w 7806871"/>
                  <a:gd name="connsiteY22" fmla="*/ 10401300 h 17945100"/>
                  <a:gd name="connsiteX23" fmla="*/ 4034971 w 7806871"/>
                  <a:gd name="connsiteY23" fmla="*/ 11125200 h 17945100"/>
                  <a:gd name="connsiteX24" fmla="*/ 4225471 w 7806871"/>
                  <a:gd name="connsiteY24" fmla="*/ 12877800 h 17945100"/>
                  <a:gd name="connsiteX25" fmla="*/ 4377871 w 7806871"/>
                  <a:gd name="connsiteY25" fmla="*/ 13906500 h 17945100"/>
                  <a:gd name="connsiteX26" fmla="*/ 5330371 w 7806871"/>
                  <a:gd name="connsiteY26" fmla="*/ 17868900 h 17945100"/>
                  <a:gd name="connsiteX27" fmla="*/ 6320971 w 7806871"/>
                  <a:gd name="connsiteY27" fmla="*/ 17945100 h 17945100"/>
                  <a:gd name="connsiteX28" fmla="*/ 7806871 w 7806871"/>
                  <a:gd name="connsiteY28" fmla="*/ 17297400 h 17945100"/>
                  <a:gd name="connsiteX29" fmla="*/ 6930571 w 7806871"/>
                  <a:gd name="connsiteY29" fmla="*/ 13563600 h 17945100"/>
                  <a:gd name="connsiteX30" fmla="*/ 6778171 w 7806871"/>
                  <a:gd name="connsiteY30" fmla="*/ 11277600 h 17945100"/>
                  <a:gd name="connsiteX31" fmla="*/ 6778171 w 7806871"/>
                  <a:gd name="connsiteY31" fmla="*/ 8877300 h 17945100"/>
                  <a:gd name="connsiteX32" fmla="*/ 7006771 w 7806871"/>
                  <a:gd name="connsiteY32" fmla="*/ 5143500 h 17945100"/>
                  <a:gd name="connsiteX33" fmla="*/ 7197271 w 7806871"/>
                  <a:gd name="connsiteY33" fmla="*/ 4114800 h 17945100"/>
                  <a:gd name="connsiteX34" fmla="*/ 7273471 w 7806871"/>
                  <a:gd name="connsiteY34" fmla="*/ 2781300 h 17945100"/>
                  <a:gd name="connsiteX35" fmla="*/ 7235371 w 7806871"/>
                  <a:gd name="connsiteY35" fmla="*/ 2095500 h 17945100"/>
                  <a:gd name="connsiteX36" fmla="*/ 6168571 w 7806871"/>
                  <a:gd name="connsiteY36" fmla="*/ 2171700 h 17945100"/>
                  <a:gd name="connsiteX37" fmla="*/ 4568371 w 7806871"/>
                  <a:gd name="connsiteY37" fmla="*/ 2247900 h 17945100"/>
                  <a:gd name="connsiteX38" fmla="*/ 4034971 w 7806871"/>
                  <a:gd name="connsiteY38" fmla="*/ 2209800 h 17945100"/>
                  <a:gd name="connsiteX39" fmla="*/ 3501571 w 7806871"/>
                  <a:gd name="connsiteY39" fmla="*/ 1828800 h 17945100"/>
                  <a:gd name="connsiteX40" fmla="*/ 3349171 w 7806871"/>
                  <a:gd name="connsiteY40" fmla="*/ 1295400 h 17945100"/>
                  <a:gd name="connsiteX41" fmla="*/ 3234871 w 7806871"/>
                  <a:gd name="connsiteY41" fmla="*/ 0 h 17945100"/>
                  <a:gd name="connsiteX42" fmla="*/ 2891971 w 7806871"/>
                  <a:gd name="connsiteY42" fmla="*/ 76200 h 17945100"/>
                  <a:gd name="connsiteX43" fmla="*/ 2396671 w 7806871"/>
                  <a:gd name="connsiteY43" fmla="*/ 1562100 h 17945100"/>
                  <a:gd name="connsiteX44" fmla="*/ 2168071 w 7806871"/>
                  <a:gd name="connsiteY44" fmla="*/ 1790700 h 17945100"/>
                  <a:gd name="connsiteX45" fmla="*/ 1787071 w 7806871"/>
                  <a:gd name="connsiteY45" fmla="*/ 2095500 h 17945100"/>
                  <a:gd name="connsiteX46" fmla="*/ 1177471 w 7806871"/>
                  <a:gd name="connsiteY46" fmla="*/ 1981200 h 17945100"/>
                  <a:gd name="connsiteX47" fmla="*/ 491671 w 7806871"/>
                  <a:gd name="connsiteY47" fmla="*/ 1790700 h 17945100"/>
                  <a:gd name="connsiteX48" fmla="*/ 491671 w 7806871"/>
                  <a:gd name="connsiteY48" fmla="*/ 1790700 h 17945100"/>
                  <a:gd name="connsiteX0" fmla="*/ 529771 w 7806871"/>
                  <a:gd name="connsiteY0" fmla="*/ 1752600 h 17945100"/>
                  <a:gd name="connsiteX1" fmla="*/ 263071 w 7806871"/>
                  <a:gd name="connsiteY1" fmla="*/ 2133600 h 17945100"/>
                  <a:gd name="connsiteX2" fmla="*/ 339271 w 7806871"/>
                  <a:gd name="connsiteY2" fmla="*/ 2514600 h 17945100"/>
                  <a:gd name="connsiteX3" fmla="*/ 567871 w 7806871"/>
                  <a:gd name="connsiteY3" fmla="*/ 2705100 h 17945100"/>
                  <a:gd name="connsiteX4" fmla="*/ 529771 w 7806871"/>
                  <a:gd name="connsiteY4" fmla="*/ 3962400 h 17945100"/>
                  <a:gd name="connsiteX5" fmla="*/ 263071 w 7806871"/>
                  <a:gd name="connsiteY5" fmla="*/ 6819900 h 17945100"/>
                  <a:gd name="connsiteX6" fmla="*/ 72571 w 7806871"/>
                  <a:gd name="connsiteY6" fmla="*/ 9144000 h 17945100"/>
                  <a:gd name="connsiteX7" fmla="*/ 148771 w 7806871"/>
                  <a:gd name="connsiteY7" fmla="*/ 10058400 h 17945100"/>
                  <a:gd name="connsiteX8" fmla="*/ 34471 w 7806871"/>
                  <a:gd name="connsiteY8" fmla="*/ 10972800 h 17945100"/>
                  <a:gd name="connsiteX9" fmla="*/ 72571 w 7806871"/>
                  <a:gd name="connsiteY9" fmla="*/ 13258800 h 17945100"/>
                  <a:gd name="connsiteX10" fmla="*/ 0 w 7806871"/>
                  <a:gd name="connsiteY10" fmla="*/ 16718644 h 17945100"/>
                  <a:gd name="connsiteX11" fmla="*/ 1674585 w 7806871"/>
                  <a:gd name="connsiteY11" fmla="*/ 16633372 h 17945100"/>
                  <a:gd name="connsiteX12" fmla="*/ 2739571 w 7806871"/>
                  <a:gd name="connsiteY12" fmla="*/ 16344900 h 17945100"/>
                  <a:gd name="connsiteX13" fmla="*/ 2549071 w 7806871"/>
                  <a:gd name="connsiteY13" fmla="*/ 11125200 h 17945100"/>
                  <a:gd name="connsiteX14" fmla="*/ 2891971 w 7806871"/>
                  <a:gd name="connsiteY14" fmla="*/ 9601200 h 17945100"/>
                  <a:gd name="connsiteX15" fmla="*/ 2891971 w 7806871"/>
                  <a:gd name="connsiteY15" fmla="*/ 9220200 h 17945100"/>
                  <a:gd name="connsiteX16" fmla="*/ 2930071 w 7806871"/>
                  <a:gd name="connsiteY16" fmla="*/ 8801100 h 17945100"/>
                  <a:gd name="connsiteX17" fmla="*/ 2930071 w 7806871"/>
                  <a:gd name="connsiteY17" fmla="*/ 7772400 h 17945100"/>
                  <a:gd name="connsiteX18" fmla="*/ 3692071 w 7806871"/>
                  <a:gd name="connsiteY18" fmla="*/ 4114800 h 17945100"/>
                  <a:gd name="connsiteX19" fmla="*/ 3920671 w 7806871"/>
                  <a:gd name="connsiteY19" fmla="*/ 5219700 h 17945100"/>
                  <a:gd name="connsiteX20" fmla="*/ 3996871 w 7806871"/>
                  <a:gd name="connsiteY20" fmla="*/ 7048500 h 17945100"/>
                  <a:gd name="connsiteX21" fmla="*/ 3996871 w 7806871"/>
                  <a:gd name="connsiteY21" fmla="*/ 9029700 h 17945100"/>
                  <a:gd name="connsiteX22" fmla="*/ 3882571 w 7806871"/>
                  <a:gd name="connsiteY22" fmla="*/ 10401300 h 17945100"/>
                  <a:gd name="connsiteX23" fmla="*/ 4034971 w 7806871"/>
                  <a:gd name="connsiteY23" fmla="*/ 11125200 h 17945100"/>
                  <a:gd name="connsiteX24" fmla="*/ 4225471 w 7806871"/>
                  <a:gd name="connsiteY24" fmla="*/ 12877800 h 17945100"/>
                  <a:gd name="connsiteX25" fmla="*/ 4377871 w 7806871"/>
                  <a:gd name="connsiteY25" fmla="*/ 13906500 h 17945100"/>
                  <a:gd name="connsiteX26" fmla="*/ 5330371 w 7806871"/>
                  <a:gd name="connsiteY26" fmla="*/ 17868900 h 17945100"/>
                  <a:gd name="connsiteX27" fmla="*/ 6320971 w 7806871"/>
                  <a:gd name="connsiteY27" fmla="*/ 17945100 h 17945100"/>
                  <a:gd name="connsiteX28" fmla="*/ 7806871 w 7806871"/>
                  <a:gd name="connsiteY28" fmla="*/ 17297400 h 17945100"/>
                  <a:gd name="connsiteX29" fmla="*/ 6930571 w 7806871"/>
                  <a:gd name="connsiteY29" fmla="*/ 13563600 h 17945100"/>
                  <a:gd name="connsiteX30" fmla="*/ 6778171 w 7806871"/>
                  <a:gd name="connsiteY30" fmla="*/ 11277600 h 17945100"/>
                  <a:gd name="connsiteX31" fmla="*/ 6778171 w 7806871"/>
                  <a:gd name="connsiteY31" fmla="*/ 8877300 h 17945100"/>
                  <a:gd name="connsiteX32" fmla="*/ 7006771 w 7806871"/>
                  <a:gd name="connsiteY32" fmla="*/ 5143500 h 17945100"/>
                  <a:gd name="connsiteX33" fmla="*/ 7197271 w 7806871"/>
                  <a:gd name="connsiteY33" fmla="*/ 4114800 h 17945100"/>
                  <a:gd name="connsiteX34" fmla="*/ 7273471 w 7806871"/>
                  <a:gd name="connsiteY34" fmla="*/ 2781300 h 17945100"/>
                  <a:gd name="connsiteX35" fmla="*/ 7235371 w 7806871"/>
                  <a:gd name="connsiteY35" fmla="*/ 2095500 h 17945100"/>
                  <a:gd name="connsiteX36" fmla="*/ 6168571 w 7806871"/>
                  <a:gd name="connsiteY36" fmla="*/ 2171700 h 17945100"/>
                  <a:gd name="connsiteX37" fmla="*/ 4568371 w 7806871"/>
                  <a:gd name="connsiteY37" fmla="*/ 2247900 h 17945100"/>
                  <a:gd name="connsiteX38" fmla="*/ 4034971 w 7806871"/>
                  <a:gd name="connsiteY38" fmla="*/ 2209800 h 17945100"/>
                  <a:gd name="connsiteX39" fmla="*/ 3501571 w 7806871"/>
                  <a:gd name="connsiteY39" fmla="*/ 1828800 h 17945100"/>
                  <a:gd name="connsiteX40" fmla="*/ 3349171 w 7806871"/>
                  <a:gd name="connsiteY40" fmla="*/ 1295400 h 17945100"/>
                  <a:gd name="connsiteX41" fmla="*/ 3234871 w 7806871"/>
                  <a:gd name="connsiteY41" fmla="*/ 0 h 17945100"/>
                  <a:gd name="connsiteX42" fmla="*/ 2891971 w 7806871"/>
                  <a:gd name="connsiteY42" fmla="*/ 76200 h 17945100"/>
                  <a:gd name="connsiteX43" fmla="*/ 2396671 w 7806871"/>
                  <a:gd name="connsiteY43" fmla="*/ 1562100 h 17945100"/>
                  <a:gd name="connsiteX44" fmla="*/ 2168071 w 7806871"/>
                  <a:gd name="connsiteY44" fmla="*/ 1790700 h 17945100"/>
                  <a:gd name="connsiteX45" fmla="*/ 1787071 w 7806871"/>
                  <a:gd name="connsiteY45" fmla="*/ 2095500 h 17945100"/>
                  <a:gd name="connsiteX46" fmla="*/ 1177471 w 7806871"/>
                  <a:gd name="connsiteY46" fmla="*/ 1981200 h 17945100"/>
                  <a:gd name="connsiteX47" fmla="*/ 491671 w 7806871"/>
                  <a:gd name="connsiteY47" fmla="*/ 1790700 h 17945100"/>
                  <a:gd name="connsiteX48" fmla="*/ 491671 w 7806871"/>
                  <a:gd name="connsiteY48" fmla="*/ 1790700 h 17945100"/>
                  <a:gd name="connsiteX0" fmla="*/ 529771 w 7806871"/>
                  <a:gd name="connsiteY0" fmla="*/ 1752600 h 17945100"/>
                  <a:gd name="connsiteX1" fmla="*/ 263071 w 7806871"/>
                  <a:gd name="connsiteY1" fmla="*/ 2133600 h 17945100"/>
                  <a:gd name="connsiteX2" fmla="*/ 339271 w 7806871"/>
                  <a:gd name="connsiteY2" fmla="*/ 2514600 h 17945100"/>
                  <a:gd name="connsiteX3" fmla="*/ 567871 w 7806871"/>
                  <a:gd name="connsiteY3" fmla="*/ 2705100 h 17945100"/>
                  <a:gd name="connsiteX4" fmla="*/ 529771 w 7806871"/>
                  <a:gd name="connsiteY4" fmla="*/ 3962400 h 17945100"/>
                  <a:gd name="connsiteX5" fmla="*/ 263071 w 7806871"/>
                  <a:gd name="connsiteY5" fmla="*/ 6819900 h 17945100"/>
                  <a:gd name="connsiteX6" fmla="*/ 72571 w 7806871"/>
                  <a:gd name="connsiteY6" fmla="*/ 9144000 h 17945100"/>
                  <a:gd name="connsiteX7" fmla="*/ 148771 w 7806871"/>
                  <a:gd name="connsiteY7" fmla="*/ 10058400 h 17945100"/>
                  <a:gd name="connsiteX8" fmla="*/ 34471 w 7806871"/>
                  <a:gd name="connsiteY8" fmla="*/ 10972800 h 17945100"/>
                  <a:gd name="connsiteX9" fmla="*/ 72571 w 7806871"/>
                  <a:gd name="connsiteY9" fmla="*/ 13258800 h 17945100"/>
                  <a:gd name="connsiteX10" fmla="*/ 0 w 7806871"/>
                  <a:gd name="connsiteY10" fmla="*/ 16718644 h 17945100"/>
                  <a:gd name="connsiteX11" fmla="*/ 1674585 w 7806871"/>
                  <a:gd name="connsiteY11" fmla="*/ 16633372 h 17945100"/>
                  <a:gd name="connsiteX12" fmla="*/ 2739571 w 7806871"/>
                  <a:gd name="connsiteY12" fmla="*/ 16344900 h 17945100"/>
                  <a:gd name="connsiteX13" fmla="*/ 2549071 w 7806871"/>
                  <a:gd name="connsiteY13" fmla="*/ 11125200 h 17945100"/>
                  <a:gd name="connsiteX14" fmla="*/ 2891971 w 7806871"/>
                  <a:gd name="connsiteY14" fmla="*/ 9601200 h 17945100"/>
                  <a:gd name="connsiteX15" fmla="*/ 2891971 w 7806871"/>
                  <a:gd name="connsiteY15" fmla="*/ 9220200 h 17945100"/>
                  <a:gd name="connsiteX16" fmla="*/ 2930071 w 7806871"/>
                  <a:gd name="connsiteY16" fmla="*/ 8801100 h 17945100"/>
                  <a:gd name="connsiteX17" fmla="*/ 2930071 w 7806871"/>
                  <a:gd name="connsiteY17" fmla="*/ 7772400 h 17945100"/>
                  <a:gd name="connsiteX18" fmla="*/ 3692071 w 7806871"/>
                  <a:gd name="connsiteY18" fmla="*/ 4114800 h 17945100"/>
                  <a:gd name="connsiteX19" fmla="*/ 3920671 w 7806871"/>
                  <a:gd name="connsiteY19" fmla="*/ 5219700 h 17945100"/>
                  <a:gd name="connsiteX20" fmla="*/ 3996871 w 7806871"/>
                  <a:gd name="connsiteY20" fmla="*/ 7048500 h 17945100"/>
                  <a:gd name="connsiteX21" fmla="*/ 3996871 w 7806871"/>
                  <a:gd name="connsiteY21" fmla="*/ 9029700 h 17945100"/>
                  <a:gd name="connsiteX22" fmla="*/ 3882571 w 7806871"/>
                  <a:gd name="connsiteY22" fmla="*/ 10401300 h 17945100"/>
                  <a:gd name="connsiteX23" fmla="*/ 4034971 w 7806871"/>
                  <a:gd name="connsiteY23" fmla="*/ 11125200 h 17945100"/>
                  <a:gd name="connsiteX24" fmla="*/ 4225471 w 7806871"/>
                  <a:gd name="connsiteY24" fmla="*/ 12877800 h 17945100"/>
                  <a:gd name="connsiteX25" fmla="*/ 4377871 w 7806871"/>
                  <a:gd name="connsiteY25" fmla="*/ 13906500 h 17945100"/>
                  <a:gd name="connsiteX26" fmla="*/ 5330371 w 7806871"/>
                  <a:gd name="connsiteY26" fmla="*/ 17868900 h 17945100"/>
                  <a:gd name="connsiteX27" fmla="*/ 6320971 w 7806871"/>
                  <a:gd name="connsiteY27" fmla="*/ 17945100 h 17945100"/>
                  <a:gd name="connsiteX28" fmla="*/ 7806871 w 7806871"/>
                  <a:gd name="connsiteY28" fmla="*/ 17297400 h 17945100"/>
                  <a:gd name="connsiteX29" fmla="*/ 6930571 w 7806871"/>
                  <a:gd name="connsiteY29" fmla="*/ 13563600 h 17945100"/>
                  <a:gd name="connsiteX30" fmla="*/ 6778171 w 7806871"/>
                  <a:gd name="connsiteY30" fmla="*/ 11277600 h 17945100"/>
                  <a:gd name="connsiteX31" fmla="*/ 6778171 w 7806871"/>
                  <a:gd name="connsiteY31" fmla="*/ 8877300 h 17945100"/>
                  <a:gd name="connsiteX32" fmla="*/ 7006771 w 7806871"/>
                  <a:gd name="connsiteY32" fmla="*/ 5143500 h 17945100"/>
                  <a:gd name="connsiteX33" fmla="*/ 7197271 w 7806871"/>
                  <a:gd name="connsiteY33" fmla="*/ 4114800 h 17945100"/>
                  <a:gd name="connsiteX34" fmla="*/ 7273471 w 7806871"/>
                  <a:gd name="connsiteY34" fmla="*/ 2781300 h 17945100"/>
                  <a:gd name="connsiteX35" fmla="*/ 7235371 w 7806871"/>
                  <a:gd name="connsiteY35" fmla="*/ 2095500 h 17945100"/>
                  <a:gd name="connsiteX36" fmla="*/ 6168571 w 7806871"/>
                  <a:gd name="connsiteY36" fmla="*/ 2171700 h 17945100"/>
                  <a:gd name="connsiteX37" fmla="*/ 4568371 w 7806871"/>
                  <a:gd name="connsiteY37" fmla="*/ 2247900 h 17945100"/>
                  <a:gd name="connsiteX38" fmla="*/ 4034971 w 7806871"/>
                  <a:gd name="connsiteY38" fmla="*/ 2209800 h 17945100"/>
                  <a:gd name="connsiteX39" fmla="*/ 3501571 w 7806871"/>
                  <a:gd name="connsiteY39" fmla="*/ 1828800 h 17945100"/>
                  <a:gd name="connsiteX40" fmla="*/ 3349171 w 7806871"/>
                  <a:gd name="connsiteY40" fmla="*/ 1295400 h 17945100"/>
                  <a:gd name="connsiteX41" fmla="*/ 3234871 w 7806871"/>
                  <a:gd name="connsiteY41" fmla="*/ 0 h 17945100"/>
                  <a:gd name="connsiteX42" fmla="*/ 2891971 w 7806871"/>
                  <a:gd name="connsiteY42" fmla="*/ 76200 h 17945100"/>
                  <a:gd name="connsiteX43" fmla="*/ 2396671 w 7806871"/>
                  <a:gd name="connsiteY43" fmla="*/ 1562100 h 17945100"/>
                  <a:gd name="connsiteX44" fmla="*/ 2168071 w 7806871"/>
                  <a:gd name="connsiteY44" fmla="*/ 1790700 h 17945100"/>
                  <a:gd name="connsiteX45" fmla="*/ 1787071 w 7806871"/>
                  <a:gd name="connsiteY45" fmla="*/ 2095500 h 17945100"/>
                  <a:gd name="connsiteX46" fmla="*/ 1177471 w 7806871"/>
                  <a:gd name="connsiteY46" fmla="*/ 1981200 h 17945100"/>
                  <a:gd name="connsiteX47" fmla="*/ 491671 w 7806871"/>
                  <a:gd name="connsiteY47" fmla="*/ 1790700 h 17945100"/>
                  <a:gd name="connsiteX48" fmla="*/ 491671 w 7806871"/>
                  <a:gd name="connsiteY48" fmla="*/ 1790700 h 17945100"/>
                  <a:gd name="connsiteX0" fmla="*/ 529771 w 7806871"/>
                  <a:gd name="connsiteY0" fmla="*/ 1752600 h 17945100"/>
                  <a:gd name="connsiteX1" fmla="*/ 263071 w 7806871"/>
                  <a:gd name="connsiteY1" fmla="*/ 2133600 h 17945100"/>
                  <a:gd name="connsiteX2" fmla="*/ 339271 w 7806871"/>
                  <a:gd name="connsiteY2" fmla="*/ 2514600 h 17945100"/>
                  <a:gd name="connsiteX3" fmla="*/ 567871 w 7806871"/>
                  <a:gd name="connsiteY3" fmla="*/ 2705100 h 17945100"/>
                  <a:gd name="connsiteX4" fmla="*/ 529771 w 7806871"/>
                  <a:gd name="connsiteY4" fmla="*/ 3962400 h 17945100"/>
                  <a:gd name="connsiteX5" fmla="*/ 263071 w 7806871"/>
                  <a:gd name="connsiteY5" fmla="*/ 6819900 h 17945100"/>
                  <a:gd name="connsiteX6" fmla="*/ 72571 w 7806871"/>
                  <a:gd name="connsiteY6" fmla="*/ 9144000 h 17945100"/>
                  <a:gd name="connsiteX7" fmla="*/ 148771 w 7806871"/>
                  <a:gd name="connsiteY7" fmla="*/ 10058400 h 17945100"/>
                  <a:gd name="connsiteX8" fmla="*/ 34471 w 7806871"/>
                  <a:gd name="connsiteY8" fmla="*/ 10972800 h 17945100"/>
                  <a:gd name="connsiteX9" fmla="*/ 72571 w 7806871"/>
                  <a:gd name="connsiteY9" fmla="*/ 13258800 h 17945100"/>
                  <a:gd name="connsiteX10" fmla="*/ 0 w 7806871"/>
                  <a:gd name="connsiteY10" fmla="*/ 16718644 h 17945100"/>
                  <a:gd name="connsiteX11" fmla="*/ 1674585 w 7806871"/>
                  <a:gd name="connsiteY11" fmla="*/ 16633372 h 17945100"/>
                  <a:gd name="connsiteX12" fmla="*/ 2739571 w 7806871"/>
                  <a:gd name="connsiteY12" fmla="*/ 16344900 h 17945100"/>
                  <a:gd name="connsiteX13" fmla="*/ 2549071 w 7806871"/>
                  <a:gd name="connsiteY13" fmla="*/ 11125200 h 17945100"/>
                  <a:gd name="connsiteX14" fmla="*/ 2891971 w 7806871"/>
                  <a:gd name="connsiteY14" fmla="*/ 9601200 h 17945100"/>
                  <a:gd name="connsiteX15" fmla="*/ 2891971 w 7806871"/>
                  <a:gd name="connsiteY15" fmla="*/ 9220200 h 17945100"/>
                  <a:gd name="connsiteX16" fmla="*/ 2930071 w 7806871"/>
                  <a:gd name="connsiteY16" fmla="*/ 8801100 h 17945100"/>
                  <a:gd name="connsiteX17" fmla="*/ 2930071 w 7806871"/>
                  <a:gd name="connsiteY17" fmla="*/ 7772400 h 17945100"/>
                  <a:gd name="connsiteX18" fmla="*/ 3692071 w 7806871"/>
                  <a:gd name="connsiteY18" fmla="*/ 4114800 h 17945100"/>
                  <a:gd name="connsiteX19" fmla="*/ 3920671 w 7806871"/>
                  <a:gd name="connsiteY19" fmla="*/ 5219700 h 17945100"/>
                  <a:gd name="connsiteX20" fmla="*/ 3996871 w 7806871"/>
                  <a:gd name="connsiteY20" fmla="*/ 7048500 h 17945100"/>
                  <a:gd name="connsiteX21" fmla="*/ 3996871 w 7806871"/>
                  <a:gd name="connsiteY21" fmla="*/ 9029700 h 17945100"/>
                  <a:gd name="connsiteX22" fmla="*/ 3882571 w 7806871"/>
                  <a:gd name="connsiteY22" fmla="*/ 10401300 h 17945100"/>
                  <a:gd name="connsiteX23" fmla="*/ 4034971 w 7806871"/>
                  <a:gd name="connsiteY23" fmla="*/ 11125200 h 17945100"/>
                  <a:gd name="connsiteX24" fmla="*/ 4225471 w 7806871"/>
                  <a:gd name="connsiteY24" fmla="*/ 12877800 h 17945100"/>
                  <a:gd name="connsiteX25" fmla="*/ 4377871 w 7806871"/>
                  <a:gd name="connsiteY25" fmla="*/ 13906500 h 17945100"/>
                  <a:gd name="connsiteX26" fmla="*/ 5330371 w 7806871"/>
                  <a:gd name="connsiteY26" fmla="*/ 17868900 h 17945100"/>
                  <a:gd name="connsiteX27" fmla="*/ 6320971 w 7806871"/>
                  <a:gd name="connsiteY27" fmla="*/ 17945100 h 17945100"/>
                  <a:gd name="connsiteX28" fmla="*/ 7806871 w 7806871"/>
                  <a:gd name="connsiteY28" fmla="*/ 17297400 h 17945100"/>
                  <a:gd name="connsiteX29" fmla="*/ 6930571 w 7806871"/>
                  <a:gd name="connsiteY29" fmla="*/ 13563600 h 17945100"/>
                  <a:gd name="connsiteX30" fmla="*/ 6778171 w 7806871"/>
                  <a:gd name="connsiteY30" fmla="*/ 11277600 h 17945100"/>
                  <a:gd name="connsiteX31" fmla="*/ 6778171 w 7806871"/>
                  <a:gd name="connsiteY31" fmla="*/ 8877300 h 17945100"/>
                  <a:gd name="connsiteX32" fmla="*/ 7006771 w 7806871"/>
                  <a:gd name="connsiteY32" fmla="*/ 5143500 h 17945100"/>
                  <a:gd name="connsiteX33" fmla="*/ 7197271 w 7806871"/>
                  <a:gd name="connsiteY33" fmla="*/ 4114800 h 17945100"/>
                  <a:gd name="connsiteX34" fmla="*/ 7273471 w 7806871"/>
                  <a:gd name="connsiteY34" fmla="*/ 2781300 h 17945100"/>
                  <a:gd name="connsiteX35" fmla="*/ 7235371 w 7806871"/>
                  <a:gd name="connsiteY35" fmla="*/ 2095500 h 17945100"/>
                  <a:gd name="connsiteX36" fmla="*/ 6168571 w 7806871"/>
                  <a:gd name="connsiteY36" fmla="*/ 2171700 h 17945100"/>
                  <a:gd name="connsiteX37" fmla="*/ 4568371 w 7806871"/>
                  <a:gd name="connsiteY37" fmla="*/ 2247900 h 17945100"/>
                  <a:gd name="connsiteX38" fmla="*/ 4034971 w 7806871"/>
                  <a:gd name="connsiteY38" fmla="*/ 2209800 h 17945100"/>
                  <a:gd name="connsiteX39" fmla="*/ 3501571 w 7806871"/>
                  <a:gd name="connsiteY39" fmla="*/ 1828800 h 17945100"/>
                  <a:gd name="connsiteX40" fmla="*/ 3349171 w 7806871"/>
                  <a:gd name="connsiteY40" fmla="*/ 1295400 h 17945100"/>
                  <a:gd name="connsiteX41" fmla="*/ 3234871 w 7806871"/>
                  <a:gd name="connsiteY41" fmla="*/ 0 h 17945100"/>
                  <a:gd name="connsiteX42" fmla="*/ 2891971 w 7806871"/>
                  <a:gd name="connsiteY42" fmla="*/ 76200 h 17945100"/>
                  <a:gd name="connsiteX43" fmla="*/ 2396671 w 7806871"/>
                  <a:gd name="connsiteY43" fmla="*/ 1562100 h 17945100"/>
                  <a:gd name="connsiteX44" fmla="*/ 2168071 w 7806871"/>
                  <a:gd name="connsiteY44" fmla="*/ 1790700 h 17945100"/>
                  <a:gd name="connsiteX45" fmla="*/ 1787071 w 7806871"/>
                  <a:gd name="connsiteY45" fmla="*/ 2095500 h 17945100"/>
                  <a:gd name="connsiteX46" fmla="*/ 1177471 w 7806871"/>
                  <a:gd name="connsiteY46" fmla="*/ 1981200 h 17945100"/>
                  <a:gd name="connsiteX47" fmla="*/ 491671 w 7806871"/>
                  <a:gd name="connsiteY47" fmla="*/ 1790700 h 17945100"/>
                  <a:gd name="connsiteX48" fmla="*/ 491671 w 7806871"/>
                  <a:gd name="connsiteY48" fmla="*/ 1790700 h 17945100"/>
                  <a:gd name="connsiteX0" fmla="*/ 529771 w 7806871"/>
                  <a:gd name="connsiteY0" fmla="*/ 1752600 h 17945100"/>
                  <a:gd name="connsiteX1" fmla="*/ 263071 w 7806871"/>
                  <a:gd name="connsiteY1" fmla="*/ 2133600 h 17945100"/>
                  <a:gd name="connsiteX2" fmla="*/ 339271 w 7806871"/>
                  <a:gd name="connsiteY2" fmla="*/ 2514600 h 17945100"/>
                  <a:gd name="connsiteX3" fmla="*/ 567871 w 7806871"/>
                  <a:gd name="connsiteY3" fmla="*/ 2705100 h 17945100"/>
                  <a:gd name="connsiteX4" fmla="*/ 529771 w 7806871"/>
                  <a:gd name="connsiteY4" fmla="*/ 3962400 h 17945100"/>
                  <a:gd name="connsiteX5" fmla="*/ 263071 w 7806871"/>
                  <a:gd name="connsiteY5" fmla="*/ 6819900 h 17945100"/>
                  <a:gd name="connsiteX6" fmla="*/ 72571 w 7806871"/>
                  <a:gd name="connsiteY6" fmla="*/ 9144000 h 17945100"/>
                  <a:gd name="connsiteX7" fmla="*/ 148771 w 7806871"/>
                  <a:gd name="connsiteY7" fmla="*/ 10058400 h 17945100"/>
                  <a:gd name="connsiteX8" fmla="*/ 34471 w 7806871"/>
                  <a:gd name="connsiteY8" fmla="*/ 10972800 h 17945100"/>
                  <a:gd name="connsiteX9" fmla="*/ 72571 w 7806871"/>
                  <a:gd name="connsiteY9" fmla="*/ 13258800 h 17945100"/>
                  <a:gd name="connsiteX10" fmla="*/ 0 w 7806871"/>
                  <a:gd name="connsiteY10" fmla="*/ 16718644 h 17945100"/>
                  <a:gd name="connsiteX11" fmla="*/ 1674585 w 7806871"/>
                  <a:gd name="connsiteY11" fmla="*/ 16633372 h 17945100"/>
                  <a:gd name="connsiteX12" fmla="*/ 2739571 w 7806871"/>
                  <a:gd name="connsiteY12" fmla="*/ 16344900 h 17945100"/>
                  <a:gd name="connsiteX13" fmla="*/ 2549071 w 7806871"/>
                  <a:gd name="connsiteY13" fmla="*/ 11125200 h 17945100"/>
                  <a:gd name="connsiteX14" fmla="*/ 2739571 w 7806871"/>
                  <a:gd name="connsiteY14" fmla="*/ 9601200 h 17945100"/>
                  <a:gd name="connsiteX15" fmla="*/ 2891971 w 7806871"/>
                  <a:gd name="connsiteY15" fmla="*/ 9220200 h 17945100"/>
                  <a:gd name="connsiteX16" fmla="*/ 2930071 w 7806871"/>
                  <a:gd name="connsiteY16" fmla="*/ 8801100 h 17945100"/>
                  <a:gd name="connsiteX17" fmla="*/ 2930071 w 7806871"/>
                  <a:gd name="connsiteY17" fmla="*/ 7772400 h 17945100"/>
                  <a:gd name="connsiteX18" fmla="*/ 3692071 w 7806871"/>
                  <a:gd name="connsiteY18" fmla="*/ 4114800 h 17945100"/>
                  <a:gd name="connsiteX19" fmla="*/ 3920671 w 7806871"/>
                  <a:gd name="connsiteY19" fmla="*/ 5219700 h 17945100"/>
                  <a:gd name="connsiteX20" fmla="*/ 3996871 w 7806871"/>
                  <a:gd name="connsiteY20" fmla="*/ 7048500 h 17945100"/>
                  <a:gd name="connsiteX21" fmla="*/ 3996871 w 7806871"/>
                  <a:gd name="connsiteY21" fmla="*/ 9029700 h 17945100"/>
                  <a:gd name="connsiteX22" fmla="*/ 3882571 w 7806871"/>
                  <a:gd name="connsiteY22" fmla="*/ 10401300 h 17945100"/>
                  <a:gd name="connsiteX23" fmla="*/ 4034971 w 7806871"/>
                  <a:gd name="connsiteY23" fmla="*/ 11125200 h 17945100"/>
                  <a:gd name="connsiteX24" fmla="*/ 4225471 w 7806871"/>
                  <a:gd name="connsiteY24" fmla="*/ 12877800 h 17945100"/>
                  <a:gd name="connsiteX25" fmla="*/ 4377871 w 7806871"/>
                  <a:gd name="connsiteY25" fmla="*/ 13906500 h 17945100"/>
                  <a:gd name="connsiteX26" fmla="*/ 5330371 w 7806871"/>
                  <a:gd name="connsiteY26" fmla="*/ 17868900 h 17945100"/>
                  <a:gd name="connsiteX27" fmla="*/ 6320971 w 7806871"/>
                  <a:gd name="connsiteY27" fmla="*/ 17945100 h 17945100"/>
                  <a:gd name="connsiteX28" fmla="*/ 7806871 w 7806871"/>
                  <a:gd name="connsiteY28" fmla="*/ 17297400 h 17945100"/>
                  <a:gd name="connsiteX29" fmla="*/ 6930571 w 7806871"/>
                  <a:gd name="connsiteY29" fmla="*/ 13563600 h 17945100"/>
                  <a:gd name="connsiteX30" fmla="*/ 6778171 w 7806871"/>
                  <a:gd name="connsiteY30" fmla="*/ 11277600 h 17945100"/>
                  <a:gd name="connsiteX31" fmla="*/ 6778171 w 7806871"/>
                  <a:gd name="connsiteY31" fmla="*/ 8877300 h 17945100"/>
                  <a:gd name="connsiteX32" fmla="*/ 7006771 w 7806871"/>
                  <a:gd name="connsiteY32" fmla="*/ 5143500 h 17945100"/>
                  <a:gd name="connsiteX33" fmla="*/ 7197271 w 7806871"/>
                  <a:gd name="connsiteY33" fmla="*/ 4114800 h 17945100"/>
                  <a:gd name="connsiteX34" fmla="*/ 7273471 w 7806871"/>
                  <a:gd name="connsiteY34" fmla="*/ 2781300 h 17945100"/>
                  <a:gd name="connsiteX35" fmla="*/ 7235371 w 7806871"/>
                  <a:gd name="connsiteY35" fmla="*/ 2095500 h 17945100"/>
                  <a:gd name="connsiteX36" fmla="*/ 6168571 w 7806871"/>
                  <a:gd name="connsiteY36" fmla="*/ 2171700 h 17945100"/>
                  <a:gd name="connsiteX37" fmla="*/ 4568371 w 7806871"/>
                  <a:gd name="connsiteY37" fmla="*/ 2247900 h 17945100"/>
                  <a:gd name="connsiteX38" fmla="*/ 4034971 w 7806871"/>
                  <a:gd name="connsiteY38" fmla="*/ 2209800 h 17945100"/>
                  <a:gd name="connsiteX39" fmla="*/ 3501571 w 7806871"/>
                  <a:gd name="connsiteY39" fmla="*/ 1828800 h 17945100"/>
                  <a:gd name="connsiteX40" fmla="*/ 3349171 w 7806871"/>
                  <a:gd name="connsiteY40" fmla="*/ 1295400 h 17945100"/>
                  <a:gd name="connsiteX41" fmla="*/ 3234871 w 7806871"/>
                  <a:gd name="connsiteY41" fmla="*/ 0 h 17945100"/>
                  <a:gd name="connsiteX42" fmla="*/ 2891971 w 7806871"/>
                  <a:gd name="connsiteY42" fmla="*/ 76200 h 17945100"/>
                  <a:gd name="connsiteX43" fmla="*/ 2396671 w 7806871"/>
                  <a:gd name="connsiteY43" fmla="*/ 1562100 h 17945100"/>
                  <a:gd name="connsiteX44" fmla="*/ 2168071 w 7806871"/>
                  <a:gd name="connsiteY44" fmla="*/ 1790700 h 17945100"/>
                  <a:gd name="connsiteX45" fmla="*/ 1787071 w 7806871"/>
                  <a:gd name="connsiteY45" fmla="*/ 2095500 h 17945100"/>
                  <a:gd name="connsiteX46" fmla="*/ 1177471 w 7806871"/>
                  <a:gd name="connsiteY46" fmla="*/ 1981200 h 17945100"/>
                  <a:gd name="connsiteX47" fmla="*/ 491671 w 7806871"/>
                  <a:gd name="connsiteY47" fmla="*/ 1790700 h 17945100"/>
                  <a:gd name="connsiteX48" fmla="*/ 491671 w 7806871"/>
                  <a:gd name="connsiteY48" fmla="*/ 1790700 h 17945100"/>
                  <a:gd name="connsiteX0" fmla="*/ 529771 w 7806871"/>
                  <a:gd name="connsiteY0" fmla="*/ 1752600 h 17945100"/>
                  <a:gd name="connsiteX1" fmla="*/ 263071 w 7806871"/>
                  <a:gd name="connsiteY1" fmla="*/ 2133600 h 17945100"/>
                  <a:gd name="connsiteX2" fmla="*/ 339271 w 7806871"/>
                  <a:gd name="connsiteY2" fmla="*/ 2514600 h 17945100"/>
                  <a:gd name="connsiteX3" fmla="*/ 567871 w 7806871"/>
                  <a:gd name="connsiteY3" fmla="*/ 2705100 h 17945100"/>
                  <a:gd name="connsiteX4" fmla="*/ 529771 w 7806871"/>
                  <a:gd name="connsiteY4" fmla="*/ 3962400 h 17945100"/>
                  <a:gd name="connsiteX5" fmla="*/ 263071 w 7806871"/>
                  <a:gd name="connsiteY5" fmla="*/ 6819900 h 17945100"/>
                  <a:gd name="connsiteX6" fmla="*/ 72571 w 7806871"/>
                  <a:gd name="connsiteY6" fmla="*/ 9144000 h 17945100"/>
                  <a:gd name="connsiteX7" fmla="*/ 148771 w 7806871"/>
                  <a:gd name="connsiteY7" fmla="*/ 10058400 h 17945100"/>
                  <a:gd name="connsiteX8" fmla="*/ 34471 w 7806871"/>
                  <a:gd name="connsiteY8" fmla="*/ 10972800 h 17945100"/>
                  <a:gd name="connsiteX9" fmla="*/ 72571 w 7806871"/>
                  <a:gd name="connsiteY9" fmla="*/ 13258800 h 17945100"/>
                  <a:gd name="connsiteX10" fmla="*/ 0 w 7806871"/>
                  <a:gd name="connsiteY10" fmla="*/ 16718644 h 17945100"/>
                  <a:gd name="connsiteX11" fmla="*/ 1674585 w 7806871"/>
                  <a:gd name="connsiteY11" fmla="*/ 16633372 h 17945100"/>
                  <a:gd name="connsiteX12" fmla="*/ 2739571 w 7806871"/>
                  <a:gd name="connsiteY12" fmla="*/ 16344900 h 17945100"/>
                  <a:gd name="connsiteX13" fmla="*/ 2549071 w 7806871"/>
                  <a:gd name="connsiteY13" fmla="*/ 11125200 h 17945100"/>
                  <a:gd name="connsiteX14" fmla="*/ 2739571 w 7806871"/>
                  <a:gd name="connsiteY14" fmla="*/ 9601200 h 17945100"/>
                  <a:gd name="connsiteX15" fmla="*/ 2891971 w 7806871"/>
                  <a:gd name="connsiteY15" fmla="*/ 9220200 h 17945100"/>
                  <a:gd name="connsiteX16" fmla="*/ 2930071 w 7806871"/>
                  <a:gd name="connsiteY16" fmla="*/ 8801100 h 17945100"/>
                  <a:gd name="connsiteX17" fmla="*/ 2930071 w 7806871"/>
                  <a:gd name="connsiteY17" fmla="*/ 7772400 h 17945100"/>
                  <a:gd name="connsiteX18" fmla="*/ 3692071 w 7806871"/>
                  <a:gd name="connsiteY18" fmla="*/ 4114800 h 17945100"/>
                  <a:gd name="connsiteX19" fmla="*/ 3920671 w 7806871"/>
                  <a:gd name="connsiteY19" fmla="*/ 5219700 h 17945100"/>
                  <a:gd name="connsiteX20" fmla="*/ 3996871 w 7806871"/>
                  <a:gd name="connsiteY20" fmla="*/ 7048500 h 17945100"/>
                  <a:gd name="connsiteX21" fmla="*/ 3996871 w 7806871"/>
                  <a:gd name="connsiteY21" fmla="*/ 9029700 h 17945100"/>
                  <a:gd name="connsiteX22" fmla="*/ 3882571 w 7806871"/>
                  <a:gd name="connsiteY22" fmla="*/ 10401300 h 17945100"/>
                  <a:gd name="connsiteX23" fmla="*/ 4034971 w 7806871"/>
                  <a:gd name="connsiteY23" fmla="*/ 11125200 h 17945100"/>
                  <a:gd name="connsiteX24" fmla="*/ 4225471 w 7806871"/>
                  <a:gd name="connsiteY24" fmla="*/ 12877800 h 17945100"/>
                  <a:gd name="connsiteX25" fmla="*/ 4377871 w 7806871"/>
                  <a:gd name="connsiteY25" fmla="*/ 13906500 h 17945100"/>
                  <a:gd name="connsiteX26" fmla="*/ 4263571 w 7806871"/>
                  <a:gd name="connsiteY26" fmla="*/ 17868900 h 17945100"/>
                  <a:gd name="connsiteX27" fmla="*/ 6320971 w 7806871"/>
                  <a:gd name="connsiteY27" fmla="*/ 17945100 h 17945100"/>
                  <a:gd name="connsiteX28" fmla="*/ 7806871 w 7806871"/>
                  <a:gd name="connsiteY28" fmla="*/ 17297400 h 17945100"/>
                  <a:gd name="connsiteX29" fmla="*/ 6930571 w 7806871"/>
                  <a:gd name="connsiteY29" fmla="*/ 13563600 h 17945100"/>
                  <a:gd name="connsiteX30" fmla="*/ 6778171 w 7806871"/>
                  <a:gd name="connsiteY30" fmla="*/ 11277600 h 17945100"/>
                  <a:gd name="connsiteX31" fmla="*/ 6778171 w 7806871"/>
                  <a:gd name="connsiteY31" fmla="*/ 8877300 h 17945100"/>
                  <a:gd name="connsiteX32" fmla="*/ 7006771 w 7806871"/>
                  <a:gd name="connsiteY32" fmla="*/ 5143500 h 17945100"/>
                  <a:gd name="connsiteX33" fmla="*/ 7197271 w 7806871"/>
                  <a:gd name="connsiteY33" fmla="*/ 4114800 h 17945100"/>
                  <a:gd name="connsiteX34" fmla="*/ 7273471 w 7806871"/>
                  <a:gd name="connsiteY34" fmla="*/ 2781300 h 17945100"/>
                  <a:gd name="connsiteX35" fmla="*/ 7235371 w 7806871"/>
                  <a:gd name="connsiteY35" fmla="*/ 2095500 h 17945100"/>
                  <a:gd name="connsiteX36" fmla="*/ 6168571 w 7806871"/>
                  <a:gd name="connsiteY36" fmla="*/ 2171700 h 17945100"/>
                  <a:gd name="connsiteX37" fmla="*/ 4568371 w 7806871"/>
                  <a:gd name="connsiteY37" fmla="*/ 2247900 h 17945100"/>
                  <a:gd name="connsiteX38" fmla="*/ 4034971 w 7806871"/>
                  <a:gd name="connsiteY38" fmla="*/ 2209800 h 17945100"/>
                  <a:gd name="connsiteX39" fmla="*/ 3501571 w 7806871"/>
                  <a:gd name="connsiteY39" fmla="*/ 1828800 h 17945100"/>
                  <a:gd name="connsiteX40" fmla="*/ 3349171 w 7806871"/>
                  <a:gd name="connsiteY40" fmla="*/ 1295400 h 17945100"/>
                  <a:gd name="connsiteX41" fmla="*/ 3234871 w 7806871"/>
                  <a:gd name="connsiteY41" fmla="*/ 0 h 17945100"/>
                  <a:gd name="connsiteX42" fmla="*/ 2891971 w 7806871"/>
                  <a:gd name="connsiteY42" fmla="*/ 76200 h 17945100"/>
                  <a:gd name="connsiteX43" fmla="*/ 2396671 w 7806871"/>
                  <a:gd name="connsiteY43" fmla="*/ 1562100 h 17945100"/>
                  <a:gd name="connsiteX44" fmla="*/ 2168071 w 7806871"/>
                  <a:gd name="connsiteY44" fmla="*/ 1790700 h 17945100"/>
                  <a:gd name="connsiteX45" fmla="*/ 1787071 w 7806871"/>
                  <a:gd name="connsiteY45" fmla="*/ 2095500 h 17945100"/>
                  <a:gd name="connsiteX46" fmla="*/ 1177471 w 7806871"/>
                  <a:gd name="connsiteY46" fmla="*/ 1981200 h 17945100"/>
                  <a:gd name="connsiteX47" fmla="*/ 491671 w 7806871"/>
                  <a:gd name="connsiteY47" fmla="*/ 1790700 h 17945100"/>
                  <a:gd name="connsiteX48" fmla="*/ 491671 w 7806871"/>
                  <a:gd name="connsiteY48" fmla="*/ 1790700 h 17945100"/>
                  <a:gd name="connsiteX0" fmla="*/ 529771 w 7806871"/>
                  <a:gd name="connsiteY0" fmla="*/ 1752600 h 17945100"/>
                  <a:gd name="connsiteX1" fmla="*/ 263071 w 7806871"/>
                  <a:gd name="connsiteY1" fmla="*/ 2133600 h 17945100"/>
                  <a:gd name="connsiteX2" fmla="*/ 339271 w 7806871"/>
                  <a:gd name="connsiteY2" fmla="*/ 2514600 h 17945100"/>
                  <a:gd name="connsiteX3" fmla="*/ 567871 w 7806871"/>
                  <a:gd name="connsiteY3" fmla="*/ 2705100 h 17945100"/>
                  <a:gd name="connsiteX4" fmla="*/ 529771 w 7806871"/>
                  <a:gd name="connsiteY4" fmla="*/ 3962400 h 17945100"/>
                  <a:gd name="connsiteX5" fmla="*/ 263071 w 7806871"/>
                  <a:gd name="connsiteY5" fmla="*/ 6819900 h 17945100"/>
                  <a:gd name="connsiteX6" fmla="*/ 72571 w 7806871"/>
                  <a:gd name="connsiteY6" fmla="*/ 9144000 h 17945100"/>
                  <a:gd name="connsiteX7" fmla="*/ 148771 w 7806871"/>
                  <a:gd name="connsiteY7" fmla="*/ 10058400 h 17945100"/>
                  <a:gd name="connsiteX8" fmla="*/ 34471 w 7806871"/>
                  <a:gd name="connsiteY8" fmla="*/ 10972800 h 17945100"/>
                  <a:gd name="connsiteX9" fmla="*/ 72571 w 7806871"/>
                  <a:gd name="connsiteY9" fmla="*/ 13258800 h 17945100"/>
                  <a:gd name="connsiteX10" fmla="*/ 0 w 7806871"/>
                  <a:gd name="connsiteY10" fmla="*/ 16718644 h 17945100"/>
                  <a:gd name="connsiteX11" fmla="*/ 1674585 w 7806871"/>
                  <a:gd name="connsiteY11" fmla="*/ 16633372 h 17945100"/>
                  <a:gd name="connsiteX12" fmla="*/ 2739571 w 7806871"/>
                  <a:gd name="connsiteY12" fmla="*/ 16344900 h 17945100"/>
                  <a:gd name="connsiteX13" fmla="*/ 2549071 w 7806871"/>
                  <a:gd name="connsiteY13" fmla="*/ 11125200 h 17945100"/>
                  <a:gd name="connsiteX14" fmla="*/ 2739571 w 7806871"/>
                  <a:gd name="connsiteY14" fmla="*/ 9601200 h 17945100"/>
                  <a:gd name="connsiteX15" fmla="*/ 2891971 w 7806871"/>
                  <a:gd name="connsiteY15" fmla="*/ 9220200 h 17945100"/>
                  <a:gd name="connsiteX16" fmla="*/ 2930071 w 7806871"/>
                  <a:gd name="connsiteY16" fmla="*/ 8801100 h 17945100"/>
                  <a:gd name="connsiteX17" fmla="*/ 2930071 w 7806871"/>
                  <a:gd name="connsiteY17" fmla="*/ 7772400 h 17945100"/>
                  <a:gd name="connsiteX18" fmla="*/ 3692071 w 7806871"/>
                  <a:gd name="connsiteY18" fmla="*/ 4114800 h 17945100"/>
                  <a:gd name="connsiteX19" fmla="*/ 3920671 w 7806871"/>
                  <a:gd name="connsiteY19" fmla="*/ 5219700 h 17945100"/>
                  <a:gd name="connsiteX20" fmla="*/ 3996871 w 7806871"/>
                  <a:gd name="connsiteY20" fmla="*/ 7048500 h 17945100"/>
                  <a:gd name="connsiteX21" fmla="*/ 3996871 w 7806871"/>
                  <a:gd name="connsiteY21" fmla="*/ 9029700 h 17945100"/>
                  <a:gd name="connsiteX22" fmla="*/ 3882571 w 7806871"/>
                  <a:gd name="connsiteY22" fmla="*/ 10401300 h 17945100"/>
                  <a:gd name="connsiteX23" fmla="*/ 4034971 w 7806871"/>
                  <a:gd name="connsiteY23" fmla="*/ 11125200 h 17945100"/>
                  <a:gd name="connsiteX24" fmla="*/ 4225471 w 7806871"/>
                  <a:gd name="connsiteY24" fmla="*/ 12877800 h 17945100"/>
                  <a:gd name="connsiteX25" fmla="*/ 4187371 w 7806871"/>
                  <a:gd name="connsiteY25" fmla="*/ 13868400 h 17945100"/>
                  <a:gd name="connsiteX26" fmla="*/ 4263571 w 7806871"/>
                  <a:gd name="connsiteY26" fmla="*/ 17868900 h 17945100"/>
                  <a:gd name="connsiteX27" fmla="*/ 6320971 w 7806871"/>
                  <a:gd name="connsiteY27" fmla="*/ 17945100 h 17945100"/>
                  <a:gd name="connsiteX28" fmla="*/ 7806871 w 7806871"/>
                  <a:gd name="connsiteY28" fmla="*/ 17297400 h 17945100"/>
                  <a:gd name="connsiteX29" fmla="*/ 6930571 w 7806871"/>
                  <a:gd name="connsiteY29" fmla="*/ 13563600 h 17945100"/>
                  <a:gd name="connsiteX30" fmla="*/ 6778171 w 7806871"/>
                  <a:gd name="connsiteY30" fmla="*/ 11277600 h 17945100"/>
                  <a:gd name="connsiteX31" fmla="*/ 6778171 w 7806871"/>
                  <a:gd name="connsiteY31" fmla="*/ 8877300 h 17945100"/>
                  <a:gd name="connsiteX32" fmla="*/ 7006771 w 7806871"/>
                  <a:gd name="connsiteY32" fmla="*/ 5143500 h 17945100"/>
                  <a:gd name="connsiteX33" fmla="*/ 7197271 w 7806871"/>
                  <a:gd name="connsiteY33" fmla="*/ 4114800 h 17945100"/>
                  <a:gd name="connsiteX34" fmla="*/ 7273471 w 7806871"/>
                  <a:gd name="connsiteY34" fmla="*/ 2781300 h 17945100"/>
                  <a:gd name="connsiteX35" fmla="*/ 7235371 w 7806871"/>
                  <a:gd name="connsiteY35" fmla="*/ 2095500 h 17945100"/>
                  <a:gd name="connsiteX36" fmla="*/ 6168571 w 7806871"/>
                  <a:gd name="connsiteY36" fmla="*/ 2171700 h 17945100"/>
                  <a:gd name="connsiteX37" fmla="*/ 4568371 w 7806871"/>
                  <a:gd name="connsiteY37" fmla="*/ 2247900 h 17945100"/>
                  <a:gd name="connsiteX38" fmla="*/ 4034971 w 7806871"/>
                  <a:gd name="connsiteY38" fmla="*/ 2209800 h 17945100"/>
                  <a:gd name="connsiteX39" fmla="*/ 3501571 w 7806871"/>
                  <a:gd name="connsiteY39" fmla="*/ 1828800 h 17945100"/>
                  <a:gd name="connsiteX40" fmla="*/ 3349171 w 7806871"/>
                  <a:gd name="connsiteY40" fmla="*/ 1295400 h 17945100"/>
                  <a:gd name="connsiteX41" fmla="*/ 3234871 w 7806871"/>
                  <a:gd name="connsiteY41" fmla="*/ 0 h 17945100"/>
                  <a:gd name="connsiteX42" fmla="*/ 2891971 w 7806871"/>
                  <a:gd name="connsiteY42" fmla="*/ 76200 h 17945100"/>
                  <a:gd name="connsiteX43" fmla="*/ 2396671 w 7806871"/>
                  <a:gd name="connsiteY43" fmla="*/ 1562100 h 17945100"/>
                  <a:gd name="connsiteX44" fmla="*/ 2168071 w 7806871"/>
                  <a:gd name="connsiteY44" fmla="*/ 1790700 h 17945100"/>
                  <a:gd name="connsiteX45" fmla="*/ 1787071 w 7806871"/>
                  <a:gd name="connsiteY45" fmla="*/ 2095500 h 17945100"/>
                  <a:gd name="connsiteX46" fmla="*/ 1177471 w 7806871"/>
                  <a:gd name="connsiteY46" fmla="*/ 1981200 h 17945100"/>
                  <a:gd name="connsiteX47" fmla="*/ 491671 w 7806871"/>
                  <a:gd name="connsiteY47" fmla="*/ 1790700 h 17945100"/>
                  <a:gd name="connsiteX48" fmla="*/ 491671 w 7806871"/>
                  <a:gd name="connsiteY48"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72571 w 7273471"/>
                  <a:gd name="connsiteY6" fmla="*/ 9144000 h 17945100"/>
                  <a:gd name="connsiteX7" fmla="*/ 148771 w 7273471"/>
                  <a:gd name="connsiteY7" fmla="*/ 10058400 h 17945100"/>
                  <a:gd name="connsiteX8" fmla="*/ 34471 w 7273471"/>
                  <a:gd name="connsiteY8" fmla="*/ 10972800 h 17945100"/>
                  <a:gd name="connsiteX9" fmla="*/ 72571 w 7273471"/>
                  <a:gd name="connsiteY9" fmla="*/ 13258800 h 17945100"/>
                  <a:gd name="connsiteX10" fmla="*/ 0 w 7273471"/>
                  <a:gd name="connsiteY10" fmla="*/ 16718644 h 17945100"/>
                  <a:gd name="connsiteX11" fmla="*/ 1674585 w 7273471"/>
                  <a:gd name="connsiteY11" fmla="*/ 16633372 h 17945100"/>
                  <a:gd name="connsiteX12" fmla="*/ 2739571 w 7273471"/>
                  <a:gd name="connsiteY12" fmla="*/ 16344900 h 17945100"/>
                  <a:gd name="connsiteX13" fmla="*/ 2549071 w 7273471"/>
                  <a:gd name="connsiteY13" fmla="*/ 11125200 h 17945100"/>
                  <a:gd name="connsiteX14" fmla="*/ 2739571 w 7273471"/>
                  <a:gd name="connsiteY14" fmla="*/ 9601200 h 17945100"/>
                  <a:gd name="connsiteX15" fmla="*/ 2891971 w 7273471"/>
                  <a:gd name="connsiteY15" fmla="*/ 9220200 h 17945100"/>
                  <a:gd name="connsiteX16" fmla="*/ 2930071 w 7273471"/>
                  <a:gd name="connsiteY16" fmla="*/ 88011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3996871 w 7273471"/>
                  <a:gd name="connsiteY21" fmla="*/ 9029700 h 17945100"/>
                  <a:gd name="connsiteX22" fmla="*/ 3882571 w 7273471"/>
                  <a:gd name="connsiteY22" fmla="*/ 10401300 h 17945100"/>
                  <a:gd name="connsiteX23" fmla="*/ 4034971 w 7273471"/>
                  <a:gd name="connsiteY23" fmla="*/ 111252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778171 w 7273471"/>
                  <a:gd name="connsiteY30" fmla="*/ 11277600 h 17945100"/>
                  <a:gd name="connsiteX31" fmla="*/ 6778171 w 7273471"/>
                  <a:gd name="connsiteY31" fmla="*/ 8877300 h 17945100"/>
                  <a:gd name="connsiteX32" fmla="*/ 7006771 w 7273471"/>
                  <a:gd name="connsiteY32" fmla="*/ 5143500 h 17945100"/>
                  <a:gd name="connsiteX33" fmla="*/ 7197271 w 7273471"/>
                  <a:gd name="connsiteY33" fmla="*/ 4114800 h 17945100"/>
                  <a:gd name="connsiteX34" fmla="*/ 7273471 w 7273471"/>
                  <a:gd name="connsiteY34" fmla="*/ 2781300 h 17945100"/>
                  <a:gd name="connsiteX35" fmla="*/ 7235371 w 7273471"/>
                  <a:gd name="connsiteY35" fmla="*/ 2095500 h 17945100"/>
                  <a:gd name="connsiteX36" fmla="*/ 6168571 w 7273471"/>
                  <a:gd name="connsiteY36" fmla="*/ 2171700 h 17945100"/>
                  <a:gd name="connsiteX37" fmla="*/ 4568371 w 7273471"/>
                  <a:gd name="connsiteY37" fmla="*/ 2247900 h 17945100"/>
                  <a:gd name="connsiteX38" fmla="*/ 4034971 w 7273471"/>
                  <a:gd name="connsiteY38" fmla="*/ 2209800 h 17945100"/>
                  <a:gd name="connsiteX39" fmla="*/ 3501571 w 7273471"/>
                  <a:gd name="connsiteY39" fmla="*/ 1828800 h 17945100"/>
                  <a:gd name="connsiteX40" fmla="*/ 3349171 w 7273471"/>
                  <a:gd name="connsiteY40" fmla="*/ 1295400 h 17945100"/>
                  <a:gd name="connsiteX41" fmla="*/ 3234871 w 7273471"/>
                  <a:gd name="connsiteY41" fmla="*/ 0 h 17945100"/>
                  <a:gd name="connsiteX42" fmla="*/ 2891971 w 7273471"/>
                  <a:gd name="connsiteY42" fmla="*/ 76200 h 17945100"/>
                  <a:gd name="connsiteX43" fmla="*/ 2396671 w 7273471"/>
                  <a:gd name="connsiteY43" fmla="*/ 1562100 h 17945100"/>
                  <a:gd name="connsiteX44" fmla="*/ 2168071 w 7273471"/>
                  <a:gd name="connsiteY44" fmla="*/ 1790700 h 17945100"/>
                  <a:gd name="connsiteX45" fmla="*/ 1787071 w 7273471"/>
                  <a:gd name="connsiteY45" fmla="*/ 2095500 h 17945100"/>
                  <a:gd name="connsiteX46" fmla="*/ 1177471 w 7273471"/>
                  <a:gd name="connsiteY46" fmla="*/ 1981200 h 17945100"/>
                  <a:gd name="connsiteX47" fmla="*/ 491671 w 7273471"/>
                  <a:gd name="connsiteY47" fmla="*/ 1790700 h 17945100"/>
                  <a:gd name="connsiteX48" fmla="*/ 491671 w 7273471"/>
                  <a:gd name="connsiteY48"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72571 w 7273471"/>
                  <a:gd name="connsiteY6" fmla="*/ 9144000 h 17945100"/>
                  <a:gd name="connsiteX7" fmla="*/ 148771 w 7273471"/>
                  <a:gd name="connsiteY7" fmla="*/ 10058400 h 17945100"/>
                  <a:gd name="connsiteX8" fmla="*/ 34471 w 7273471"/>
                  <a:gd name="connsiteY8" fmla="*/ 10972800 h 17945100"/>
                  <a:gd name="connsiteX9" fmla="*/ 72571 w 7273471"/>
                  <a:gd name="connsiteY9" fmla="*/ 13258800 h 17945100"/>
                  <a:gd name="connsiteX10" fmla="*/ 0 w 7273471"/>
                  <a:gd name="connsiteY10" fmla="*/ 16718644 h 17945100"/>
                  <a:gd name="connsiteX11" fmla="*/ 1674585 w 7273471"/>
                  <a:gd name="connsiteY11" fmla="*/ 16633372 h 17945100"/>
                  <a:gd name="connsiteX12" fmla="*/ 2739571 w 7273471"/>
                  <a:gd name="connsiteY12" fmla="*/ 16954500 h 17945100"/>
                  <a:gd name="connsiteX13" fmla="*/ 2549071 w 7273471"/>
                  <a:gd name="connsiteY13" fmla="*/ 11125200 h 17945100"/>
                  <a:gd name="connsiteX14" fmla="*/ 2739571 w 7273471"/>
                  <a:gd name="connsiteY14" fmla="*/ 9601200 h 17945100"/>
                  <a:gd name="connsiteX15" fmla="*/ 2891971 w 7273471"/>
                  <a:gd name="connsiteY15" fmla="*/ 9220200 h 17945100"/>
                  <a:gd name="connsiteX16" fmla="*/ 2930071 w 7273471"/>
                  <a:gd name="connsiteY16" fmla="*/ 88011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3996871 w 7273471"/>
                  <a:gd name="connsiteY21" fmla="*/ 9029700 h 17945100"/>
                  <a:gd name="connsiteX22" fmla="*/ 3882571 w 7273471"/>
                  <a:gd name="connsiteY22" fmla="*/ 10401300 h 17945100"/>
                  <a:gd name="connsiteX23" fmla="*/ 4034971 w 7273471"/>
                  <a:gd name="connsiteY23" fmla="*/ 111252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778171 w 7273471"/>
                  <a:gd name="connsiteY30" fmla="*/ 11277600 h 17945100"/>
                  <a:gd name="connsiteX31" fmla="*/ 6778171 w 7273471"/>
                  <a:gd name="connsiteY31" fmla="*/ 8877300 h 17945100"/>
                  <a:gd name="connsiteX32" fmla="*/ 7006771 w 7273471"/>
                  <a:gd name="connsiteY32" fmla="*/ 5143500 h 17945100"/>
                  <a:gd name="connsiteX33" fmla="*/ 7197271 w 7273471"/>
                  <a:gd name="connsiteY33" fmla="*/ 4114800 h 17945100"/>
                  <a:gd name="connsiteX34" fmla="*/ 7273471 w 7273471"/>
                  <a:gd name="connsiteY34" fmla="*/ 2781300 h 17945100"/>
                  <a:gd name="connsiteX35" fmla="*/ 7235371 w 7273471"/>
                  <a:gd name="connsiteY35" fmla="*/ 2095500 h 17945100"/>
                  <a:gd name="connsiteX36" fmla="*/ 6168571 w 7273471"/>
                  <a:gd name="connsiteY36" fmla="*/ 2171700 h 17945100"/>
                  <a:gd name="connsiteX37" fmla="*/ 4568371 w 7273471"/>
                  <a:gd name="connsiteY37" fmla="*/ 2247900 h 17945100"/>
                  <a:gd name="connsiteX38" fmla="*/ 4034971 w 7273471"/>
                  <a:gd name="connsiteY38" fmla="*/ 2209800 h 17945100"/>
                  <a:gd name="connsiteX39" fmla="*/ 3501571 w 7273471"/>
                  <a:gd name="connsiteY39" fmla="*/ 1828800 h 17945100"/>
                  <a:gd name="connsiteX40" fmla="*/ 3349171 w 7273471"/>
                  <a:gd name="connsiteY40" fmla="*/ 1295400 h 17945100"/>
                  <a:gd name="connsiteX41" fmla="*/ 3234871 w 7273471"/>
                  <a:gd name="connsiteY41" fmla="*/ 0 h 17945100"/>
                  <a:gd name="connsiteX42" fmla="*/ 2891971 w 7273471"/>
                  <a:gd name="connsiteY42" fmla="*/ 76200 h 17945100"/>
                  <a:gd name="connsiteX43" fmla="*/ 2396671 w 7273471"/>
                  <a:gd name="connsiteY43" fmla="*/ 1562100 h 17945100"/>
                  <a:gd name="connsiteX44" fmla="*/ 2168071 w 7273471"/>
                  <a:gd name="connsiteY44" fmla="*/ 1790700 h 17945100"/>
                  <a:gd name="connsiteX45" fmla="*/ 1787071 w 7273471"/>
                  <a:gd name="connsiteY45" fmla="*/ 2095500 h 17945100"/>
                  <a:gd name="connsiteX46" fmla="*/ 1177471 w 7273471"/>
                  <a:gd name="connsiteY46" fmla="*/ 1981200 h 17945100"/>
                  <a:gd name="connsiteX47" fmla="*/ 491671 w 7273471"/>
                  <a:gd name="connsiteY47" fmla="*/ 1790700 h 17945100"/>
                  <a:gd name="connsiteX48" fmla="*/ 491671 w 7273471"/>
                  <a:gd name="connsiteY48"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72571 w 7273471"/>
                  <a:gd name="connsiteY6" fmla="*/ 9144000 h 17945100"/>
                  <a:gd name="connsiteX7" fmla="*/ 148771 w 7273471"/>
                  <a:gd name="connsiteY7" fmla="*/ 10058400 h 17945100"/>
                  <a:gd name="connsiteX8" fmla="*/ 34471 w 7273471"/>
                  <a:gd name="connsiteY8" fmla="*/ 109728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739571 w 7273471"/>
                  <a:gd name="connsiteY14" fmla="*/ 9601200 h 17945100"/>
                  <a:gd name="connsiteX15" fmla="*/ 2891971 w 7273471"/>
                  <a:gd name="connsiteY15" fmla="*/ 9220200 h 17945100"/>
                  <a:gd name="connsiteX16" fmla="*/ 2930071 w 7273471"/>
                  <a:gd name="connsiteY16" fmla="*/ 88011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3996871 w 7273471"/>
                  <a:gd name="connsiteY21" fmla="*/ 9029700 h 17945100"/>
                  <a:gd name="connsiteX22" fmla="*/ 3882571 w 7273471"/>
                  <a:gd name="connsiteY22" fmla="*/ 10401300 h 17945100"/>
                  <a:gd name="connsiteX23" fmla="*/ 4034971 w 7273471"/>
                  <a:gd name="connsiteY23" fmla="*/ 111252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778171 w 7273471"/>
                  <a:gd name="connsiteY30" fmla="*/ 11277600 h 17945100"/>
                  <a:gd name="connsiteX31" fmla="*/ 6778171 w 7273471"/>
                  <a:gd name="connsiteY31" fmla="*/ 8877300 h 17945100"/>
                  <a:gd name="connsiteX32" fmla="*/ 7006771 w 7273471"/>
                  <a:gd name="connsiteY32" fmla="*/ 5143500 h 17945100"/>
                  <a:gd name="connsiteX33" fmla="*/ 7197271 w 7273471"/>
                  <a:gd name="connsiteY33" fmla="*/ 4114800 h 17945100"/>
                  <a:gd name="connsiteX34" fmla="*/ 7273471 w 7273471"/>
                  <a:gd name="connsiteY34" fmla="*/ 2781300 h 17945100"/>
                  <a:gd name="connsiteX35" fmla="*/ 7235371 w 7273471"/>
                  <a:gd name="connsiteY35" fmla="*/ 2095500 h 17945100"/>
                  <a:gd name="connsiteX36" fmla="*/ 6168571 w 7273471"/>
                  <a:gd name="connsiteY36" fmla="*/ 2171700 h 17945100"/>
                  <a:gd name="connsiteX37" fmla="*/ 4568371 w 7273471"/>
                  <a:gd name="connsiteY37" fmla="*/ 2247900 h 17945100"/>
                  <a:gd name="connsiteX38" fmla="*/ 4034971 w 7273471"/>
                  <a:gd name="connsiteY38" fmla="*/ 2209800 h 17945100"/>
                  <a:gd name="connsiteX39" fmla="*/ 3501571 w 7273471"/>
                  <a:gd name="connsiteY39" fmla="*/ 1828800 h 17945100"/>
                  <a:gd name="connsiteX40" fmla="*/ 3349171 w 7273471"/>
                  <a:gd name="connsiteY40" fmla="*/ 1295400 h 17945100"/>
                  <a:gd name="connsiteX41" fmla="*/ 3234871 w 7273471"/>
                  <a:gd name="connsiteY41" fmla="*/ 0 h 17945100"/>
                  <a:gd name="connsiteX42" fmla="*/ 2891971 w 7273471"/>
                  <a:gd name="connsiteY42" fmla="*/ 76200 h 17945100"/>
                  <a:gd name="connsiteX43" fmla="*/ 2396671 w 7273471"/>
                  <a:gd name="connsiteY43" fmla="*/ 1562100 h 17945100"/>
                  <a:gd name="connsiteX44" fmla="*/ 2168071 w 7273471"/>
                  <a:gd name="connsiteY44" fmla="*/ 1790700 h 17945100"/>
                  <a:gd name="connsiteX45" fmla="*/ 1787071 w 7273471"/>
                  <a:gd name="connsiteY45" fmla="*/ 2095500 h 17945100"/>
                  <a:gd name="connsiteX46" fmla="*/ 1177471 w 7273471"/>
                  <a:gd name="connsiteY46" fmla="*/ 1981200 h 17945100"/>
                  <a:gd name="connsiteX47" fmla="*/ 491671 w 7273471"/>
                  <a:gd name="connsiteY47" fmla="*/ 1790700 h 17945100"/>
                  <a:gd name="connsiteX48" fmla="*/ 491671 w 7273471"/>
                  <a:gd name="connsiteY48"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72571 w 7273471"/>
                  <a:gd name="connsiteY6" fmla="*/ 9144000 h 17945100"/>
                  <a:gd name="connsiteX7" fmla="*/ 148771 w 7273471"/>
                  <a:gd name="connsiteY7" fmla="*/ 10058400 h 17945100"/>
                  <a:gd name="connsiteX8" fmla="*/ 34471 w 7273471"/>
                  <a:gd name="connsiteY8" fmla="*/ 109728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739571 w 7273471"/>
                  <a:gd name="connsiteY14" fmla="*/ 9601200 h 17945100"/>
                  <a:gd name="connsiteX15" fmla="*/ 2891971 w 7273471"/>
                  <a:gd name="connsiteY15" fmla="*/ 9220200 h 17945100"/>
                  <a:gd name="connsiteX16" fmla="*/ 2930071 w 7273471"/>
                  <a:gd name="connsiteY16" fmla="*/ 88011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3996871 w 7273471"/>
                  <a:gd name="connsiteY21" fmla="*/ 9029700 h 17945100"/>
                  <a:gd name="connsiteX22" fmla="*/ 4111171 w 7273471"/>
                  <a:gd name="connsiteY22" fmla="*/ 10020300 h 17945100"/>
                  <a:gd name="connsiteX23" fmla="*/ 4034971 w 7273471"/>
                  <a:gd name="connsiteY23" fmla="*/ 111252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778171 w 7273471"/>
                  <a:gd name="connsiteY30" fmla="*/ 11277600 h 17945100"/>
                  <a:gd name="connsiteX31" fmla="*/ 6778171 w 7273471"/>
                  <a:gd name="connsiteY31" fmla="*/ 8877300 h 17945100"/>
                  <a:gd name="connsiteX32" fmla="*/ 7006771 w 7273471"/>
                  <a:gd name="connsiteY32" fmla="*/ 5143500 h 17945100"/>
                  <a:gd name="connsiteX33" fmla="*/ 7197271 w 7273471"/>
                  <a:gd name="connsiteY33" fmla="*/ 4114800 h 17945100"/>
                  <a:gd name="connsiteX34" fmla="*/ 7273471 w 7273471"/>
                  <a:gd name="connsiteY34" fmla="*/ 2781300 h 17945100"/>
                  <a:gd name="connsiteX35" fmla="*/ 7235371 w 7273471"/>
                  <a:gd name="connsiteY35" fmla="*/ 2095500 h 17945100"/>
                  <a:gd name="connsiteX36" fmla="*/ 6168571 w 7273471"/>
                  <a:gd name="connsiteY36" fmla="*/ 2171700 h 17945100"/>
                  <a:gd name="connsiteX37" fmla="*/ 4568371 w 7273471"/>
                  <a:gd name="connsiteY37" fmla="*/ 2247900 h 17945100"/>
                  <a:gd name="connsiteX38" fmla="*/ 4034971 w 7273471"/>
                  <a:gd name="connsiteY38" fmla="*/ 2209800 h 17945100"/>
                  <a:gd name="connsiteX39" fmla="*/ 3501571 w 7273471"/>
                  <a:gd name="connsiteY39" fmla="*/ 1828800 h 17945100"/>
                  <a:gd name="connsiteX40" fmla="*/ 3349171 w 7273471"/>
                  <a:gd name="connsiteY40" fmla="*/ 1295400 h 17945100"/>
                  <a:gd name="connsiteX41" fmla="*/ 3234871 w 7273471"/>
                  <a:gd name="connsiteY41" fmla="*/ 0 h 17945100"/>
                  <a:gd name="connsiteX42" fmla="*/ 2891971 w 7273471"/>
                  <a:gd name="connsiteY42" fmla="*/ 76200 h 17945100"/>
                  <a:gd name="connsiteX43" fmla="*/ 2396671 w 7273471"/>
                  <a:gd name="connsiteY43" fmla="*/ 1562100 h 17945100"/>
                  <a:gd name="connsiteX44" fmla="*/ 2168071 w 7273471"/>
                  <a:gd name="connsiteY44" fmla="*/ 1790700 h 17945100"/>
                  <a:gd name="connsiteX45" fmla="*/ 1787071 w 7273471"/>
                  <a:gd name="connsiteY45" fmla="*/ 2095500 h 17945100"/>
                  <a:gd name="connsiteX46" fmla="*/ 1177471 w 7273471"/>
                  <a:gd name="connsiteY46" fmla="*/ 1981200 h 17945100"/>
                  <a:gd name="connsiteX47" fmla="*/ 491671 w 7273471"/>
                  <a:gd name="connsiteY47" fmla="*/ 1790700 h 17945100"/>
                  <a:gd name="connsiteX48" fmla="*/ 491671 w 7273471"/>
                  <a:gd name="connsiteY48"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72571 w 7273471"/>
                  <a:gd name="connsiteY6" fmla="*/ 9144000 h 17945100"/>
                  <a:gd name="connsiteX7" fmla="*/ 148771 w 7273471"/>
                  <a:gd name="connsiteY7" fmla="*/ 10058400 h 17945100"/>
                  <a:gd name="connsiteX8" fmla="*/ 34471 w 7273471"/>
                  <a:gd name="connsiteY8" fmla="*/ 109728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739571 w 7273471"/>
                  <a:gd name="connsiteY14" fmla="*/ 9601200 h 17945100"/>
                  <a:gd name="connsiteX15" fmla="*/ 2891971 w 7273471"/>
                  <a:gd name="connsiteY15" fmla="*/ 9220200 h 17945100"/>
                  <a:gd name="connsiteX16" fmla="*/ 2930071 w 7273471"/>
                  <a:gd name="connsiteY16" fmla="*/ 88011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3996871 w 7273471"/>
                  <a:gd name="connsiteY21" fmla="*/ 9029700 h 17945100"/>
                  <a:gd name="connsiteX22" fmla="*/ 4111171 w 7273471"/>
                  <a:gd name="connsiteY22" fmla="*/ 10020300 h 17945100"/>
                  <a:gd name="connsiteX23" fmla="*/ 4034971 w 7273471"/>
                  <a:gd name="connsiteY23" fmla="*/ 111252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778171 w 7273471"/>
                  <a:gd name="connsiteY30" fmla="*/ 11277600 h 17945100"/>
                  <a:gd name="connsiteX31" fmla="*/ 6587672 w 7273471"/>
                  <a:gd name="connsiteY31" fmla="*/ 10248900 h 17945100"/>
                  <a:gd name="connsiteX32" fmla="*/ 67781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72571 w 7273471"/>
                  <a:gd name="connsiteY6" fmla="*/ 9144000 h 17945100"/>
                  <a:gd name="connsiteX7" fmla="*/ 148771 w 7273471"/>
                  <a:gd name="connsiteY7" fmla="*/ 10058400 h 17945100"/>
                  <a:gd name="connsiteX8" fmla="*/ 34471 w 7273471"/>
                  <a:gd name="connsiteY8" fmla="*/ 109728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739571 w 7273471"/>
                  <a:gd name="connsiteY14" fmla="*/ 9601200 h 17945100"/>
                  <a:gd name="connsiteX15" fmla="*/ 2891971 w 7273471"/>
                  <a:gd name="connsiteY15" fmla="*/ 9220200 h 17945100"/>
                  <a:gd name="connsiteX16" fmla="*/ 2930071 w 7273471"/>
                  <a:gd name="connsiteY16" fmla="*/ 88011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3996871 w 7273471"/>
                  <a:gd name="connsiteY21" fmla="*/ 9029700 h 17945100"/>
                  <a:gd name="connsiteX22" fmla="*/ 4111171 w 7273471"/>
                  <a:gd name="connsiteY22" fmla="*/ 10020300 h 17945100"/>
                  <a:gd name="connsiteX23" fmla="*/ 4034971 w 7273471"/>
                  <a:gd name="connsiteY23" fmla="*/ 111252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778171 w 7273471"/>
                  <a:gd name="connsiteY30" fmla="*/ 11277600 h 17945100"/>
                  <a:gd name="connsiteX31" fmla="*/ 6816272 w 7273471"/>
                  <a:gd name="connsiteY31" fmla="*/ 10172700 h 17945100"/>
                  <a:gd name="connsiteX32" fmla="*/ 67781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72571 w 7273471"/>
                  <a:gd name="connsiteY6" fmla="*/ 9144000 h 17945100"/>
                  <a:gd name="connsiteX7" fmla="*/ 148771 w 7273471"/>
                  <a:gd name="connsiteY7" fmla="*/ 10058400 h 17945100"/>
                  <a:gd name="connsiteX8" fmla="*/ 34471 w 7273471"/>
                  <a:gd name="connsiteY8" fmla="*/ 109728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739571 w 7273471"/>
                  <a:gd name="connsiteY14" fmla="*/ 9601200 h 17945100"/>
                  <a:gd name="connsiteX15" fmla="*/ 2891971 w 7273471"/>
                  <a:gd name="connsiteY15" fmla="*/ 9220200 h 17945100"/>
                  <a:gd name="connsiteX16" fmla="*/ 2930071 w 7273471"/>
                  <a:gd name="connsiteY16" fmla="*/ 88011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4073071 w 7273471"/>
                  <a:gd name="connsiteY21" fmla="*/ 8839200 h 17945100"/>
                  <a:gd name="connsiteX22" fmla="*/ 4111171 w 7273471"/>
                  <a:gd name="connsiteY22" fmla="*/ 10020300 h 17945100"/>
                  <a:gd name="connsiteX23" fmla="*/ 4034971 w 7273471"/>
                  <a:gd name="connsiteY23" fmla="*/ 111252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778171 w 7273471"/>
                  <a:gd name="connsiteY30" fmla="*/ 11277600 h 17945100"/>
                  <a:gd name="connsiteX31" fmla="*/ 6816272 w 7273471"/>
                  <a:gd name="connsiteY31" fmla="*/ 10172700 h 17945100"/>
                  <a:gd name="connsiteX32" fmla="*/ 67781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72571 w 7273471"/>
                  <a:gd name="connsiteY6" fmla="*/ 9144000 h 17945100"/>
                  <a:gd name="connsiteX7" fmla="*/ 148771 w 7273471"/>
                  <a:gd name="connsiteY7" fmla="*/ 10058400 h 17945100"/>
                  <a:gd name="connsiteX8" fmla="*/ 34471 w 7273471"/>
                  <a:gd name="connsiteY8" fmla="*/ 109728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739571 w 7273471"/>
                  <a:gd name="connsiteY14" fmla="*/ 9601200 h 17945100"/>
                  <a:gd name="connsiteX15" fmla="*/ 2891971 w 7273471"/>
                  <a:gd name="connsiteY15" fmla="*/ 9220200 h 17945100"/>
                  <a:gd name="connsiteX16" fmla="*/ 2930071 w 7273471"/>
                  <a:gd name="connsiteY16" fmla="*/ 88011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4073071 w 7273471"/>
                  <a:gd name="connsiteY21" fmla="*/ 8839200 h 17945100"/>
                  <a:gd name="connsiteX22" fmla="*/ 4111171 w 7273471"/>
                  <a:gd name="connsiteY22" fmla="*/ 10020300 h 17945100"/>
                  <a:gd name="connsiteX23" fmla="*/ 4034971 w 7273471"/>
                  <a:gd name="connsiteY23" fmla="*/ 111252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778171 w 7273471"/>
                  <a:gd name="connsiteY30" fmla="*/ 11277600 h 17945100"/>
                  <a:gd name="connsiteX31" fmla="*/ 6587672 w 7273471"/>
                  <a:gd name="connsiteY31" fmla="*/ 10210800 h 17945100"/>
                  <a:gd name="connsiteX32" fmla="*/ 67781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72571 w 7273471"/>
                  <a:gd name="connsiteY6" fmla="*/ 9144000 h 17945100"/>
                  <a:gd name="connsiteX7" fmla="*/ 148771 w 7273471"/>
                  <a:gd name="connsiteY7" fmla="*/ 10058400 h 17945100"/>
                  <a:gd name="connsiteX8" fmla="*/ 34471 w 7273471"/>
                  <a:gd name="connsiteY8" fmla="*/ 109728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739571 w 7273471"/>
                  <a:gd name="connsiteY14" fmla="*/ 9601200 h 17945100"/>
                  <a:gd name="connsiteX15" fmla="*/ 2891971 w 7273471"/>
                  <a:gd name="connsiteY15" fmla="*/ 9220200 h 17945100"/>
                  <a:gd name="connsiteX16" fmla="*/ 2930071 w 7273471"/>
                  <a:gd name="connsiteY16" fmla="*/ 88011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4073071 w 7273471"/>
                  <a:gd name="connsiteY21" fmla="*/ 8839200 h 17945100"/>
                  <a:gd name="connsiteX22" fmla="*/ 4111171 w 7273471"/>
                  <a:gd name="connsiteY22" fmla="*/ 10020300 h 17945100"/>
                  <a:gd name="connsiteX23" fmla="*/ 4034971 w 7273471"/>
                  <a:gd name="connsiteY23" fmla="*/ 111252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778171 w 7273471"/>
                  <a:gd name="connsiteY30" fmla="*/ 11277600 h 17945100"/>
                  <a:gd name="connsiteX31" fmla="*/ 6587672 w 7273471"/>
                  <a:gd name="connsiteY31" fmla="*/ 10210800 h 17945100"/>
                  <a:gd name="connsiteX32" fmla="*/ 67781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72571 w 7273471"/>
                  <a:gd name="connsiteY6" fmla="*/ 9144000 h 17945100"/>
                  <a:gd name="connsiteX7" fmla="*/ 148771 w 7273471"/>
                  <a:gd name="connsiteY7" fmla="*/ 10058400 h 17945100"/>
                  <a:gd name="connsiteX8" fmla="*/ 34471 w 7273471"/>
                  <a:gd name="connsiteY8" fmla="*/ 109728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739571 w 7273471"/>
                  <a:gd name="connsiteY14" fmla="*/ 9601200 h 17945100"/>
                  <a:gd name="connsiteX15" fmla="*/ 2891971 w 7273471"/>
                  <a:gd name="connsiteY15" fmla="*/ 9220200 h 17945100"/>
                  <a:gd name="connsiteX16" fmla="*/ 2930071 w 7273471"/>
                  <a:gd name="connsiteY16" fmla="*/ 88011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4073071 w 7273471"/>
                  <a:gd name="connsiteY21" fmla="*/ 8839200 h 17945100"/>
                  <a:gd name="connsiteX22" fmla="*/ 4111171 w 7273471"/>
                  <a:gd name="connsiteY22" fmla="*/ 10020300 h 17945100"/>
                  <a:gd name="connsiteX23" fmla="*/ 4034971 w 7273471"/>
                  <a:gd name="connsiteY23" fmla="*/ 111252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663871 w 7273471"/>
                  <a:gd name="connsiteY30" fmla="*/ 11430000 h 17945100"/>
                  <a:gd name="connsiteX31" fmla="*/ 6587672 w 7273471"/>
                  <a:gd name="connsiteY31" fmla="*/ 10210800 h 17945100"/>
                  <a:gd name="connsiteX32" fmla="*/ 67781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72571 w 7273471"/>
                  <a:gd name="connsiteY6" fmla="*/ 9144000 h 17945100"/>
                  <a:gd name="connsiteX7" fmla="*/ 148771 w 7273471"/>
                  <a:gd name="connsiteY7" fmla="*/ 10058400 h 17945100"/>
                  <a:gd name="connsiteX8" fmla="*/ 34471 w 7273471"/>
                  <a:gd name="connsiteY8" fmla="*/ 109728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739571 w 7273471"/>
                  <a:gd name="connsiteY14" fmla="*/ 9601200 h 17945100"/>
                  <a:gd name="connsiteX15" fmla="*/ 2891971 w 7273471"/>
                  <a:gd name="connsiteY15" fmla="*/ 9220200 h 17945100"/>
                  <a:gd name="connsiteX16" fmla="*/ 2930071 w 7273471"/>
                  <a:gd name="connsiteY16" fmla="*/ 88011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4073071 w 7273471"/>
                  <a:gd name="connsiteY21" fmla="*/ 8839200 h 17945100"/>
                  <a:gd name="connsiteX22" fmla="*/ 4263571 w 7273471"/>
                  <a:gd name="connsiteY22" fmla="*/ 10058400 h 17945100"/>
                  <a:gd name="connsiteX23" fmla="*/ 4034971 w 7273471"/>
                  <a:gd name="connsiteY23" fmla="*/ 111252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663871 w 7273471"/>
                  <a:gd name="connsiteY30" fmla="*/ 11430000 h 17945100"/>
                  <a:gd name="connsiteX31" fmla="*/ 6587672 w 7273471"/>
                  <a:gd name="connsiteY31" fmla="*/ 10210800 h 17945100"/>
                  <a:gd name="connsiteX32" fmla="*/ 67781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72571 w 7273471"/>
                  <a:gd name="connsiteY6" fmla="*/ 9144000 h 17945100"/>
                  <a:gd name="connsiteX7" fmla="*/ 148771 w 7273471"/>
                  <a:gd name="connsiteY7" fmla="*/ 10058400 h 17945100"/>
                  <a:gd name="connsiteX8" fmla="*/ 34471 w 7273471"/>
                  <a:gd name="connsiteY8" fmla="*/ 109728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739571 w 7273471"/>
                  <a:gd name="connsiteY14" fmla="*/ 9601200 h 17945100"/>
                  <a:gd name="connsiteX15" fmla="*/ 2891971 w 7273471"/>
                  <a:gd name="connsiteY15" fmla="*/ 9220200 h 17945100"/>
                  <a:gd name="connsiteX16" fmla="*/ 2930071 w 7273471"/>
                  <a:gd name="connsiteY16" fmla="*/ 88011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4149271 w 7273471"/>
                  <a:gd name="connsiteY21" fmla="*/ 8801100 h 17945100"/>
                  <a:gd name="connsiteX22" fmla="*/ 4263571 w 7273471"/>
                  <a:gd name="connsiteY22" fmla="*/ 10058400 h 17945100"/>
                  <a:gd name="connsiteX23" fmla="*/ 4034971 w 7273471"/>
                  <a:gd name="connsiteY23" fmla="*/ 111252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663871 w 7273471"/>
                  <a:gd name="connsiteY30" fmla="*/ 11430000 h 17945100"/>
                  <a:gd name="connsiteX31" fmla="*/ 6587672 w 7273471"/>
                  <a:gd name="connsiteY31" fmla="*/ 10210800 h 17945100"/>
                  <a:gd name="connsiteX32" fmla="*/ 67781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72571 w 7273471"/>
                  <a:gd name="connsiteY6" fmla="*/ 9144000 h 17945100"/>
                  <a:gd name="connsiteX7" fmla="*/ 148771 w 7273471"/>
                  <a:gd name="connsiteY7" fmla="*/ 10058400 h 17945100"/>
                  <a:gd name="connsiteX8" fmla="*/ 34471 w 7273471"/>
                  <a:gd name="connsiteY8" fmla="*/ 109728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739571 w 7273471"/>
                  <a:gd name="connsiteY14" fmla="*/ 9601200 h 17945100"/>
                  <a:gd name="connsiteX15" fmla="*/ 2891971 w 7273471"/>
                  <a:gd name="connsiteY15" fmla="*/ 9220200 h 17945100"/>
                  <a:gd name="connsiteX16" fmla="*/ 2930071 w 7273471"/>
                  <a:gd name="connsiteY16" fmla="*/ 88011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41492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663871 w 7273471"/>
                  <a:gd name="connsiteY30" fmla="*/ 11430000 h 17945100"/>
                  <a:gd name="connsiteX31" fmla="*/ 6587672 w 7273471"/>
                  <a:gd name="connsiteY31" fmla="*/ 10210800 h 17945100"/>
                  <a:gd name="connsiteX32" fmla="*/ 67781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72571 w 7273471"/>
                  <a:gd name="connsiteY6" fmla="*/ 9144000 h 17945100"/>
                  <a:gd name="connsiteX7" fmla="*/ 148771 w 7273471"/>
                  <a:gd name="connsiteY7" fmla="*/ 10058400 h 17945100"/>
                  <a:gd name="connsiteX8" fmla="*/ 34471 w 7273471"/>
                  <a:gd name="connsiteY8" fmla="*/ 109728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739571 w 7273471"/>
                  <a:gd name="connsiteY14" fmla="*/ 9601200 h 17945100"/>
                  <a:gd name="connsiteX15" fmla="*/ 2891971 w 7273471"/>
                  <a:gd name="connsiteY15" fmla="*/ 9220200 h 17945100"/>
                  <a:gd name="connsiteX16" fmla="*/ 2930071 w 7273471"/>
                  <a:gd name="connsiteY16" fmla="*/ 88011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41492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663871 w 7273471"/>
                  <a:gd name="connsiteY30" fmla="*/ 11430000 h 17945100"/>
                  <a:gd name="connsiteX31" fmla="*/ 6587672 w 7273471"/>
                  <a:gd name="connsiteY31" fmla="*/ 10210800 h 17945100"/>
                  <a:gd name="connsiteX32" fmla="*/ 67781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72571 w 7273471"/>
                  <a:gd name="connsiteY6" fmla="*/ 9144000 h 17945100"/>
                  <a:gd name="connsiteX7" fmla="*/ 148771 w 7273471"/>
                  <a:gd name="connsiteY7" fmla="*/ 10058400 h 17945100"/>
                  <a:gd name="connsiteX8" fmla="*/ 34471 w 7273471"/>
                  <a:gd name="connsiteY8" fmla="*/ 109728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739571 w 7273471"/>
                  <a:gd name="connsiteY14" fmla="*/ 9601200 h 17945100"/>
                  <a:gd name="connsiteX15" fmla="*/ 2891971 w 7273471"/>
                  <a:gd name="connsiteY15" fmla="*/ 9220200 h 17945100"/>
                  <a:gd name="connsiteX16" fmla="*/ 2777671 w 7273471"/>
                  <a:gd name="connsiteY16" fmla="*/ 86487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41492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663871 w 7273471"/>
                  <a:gd name="connsiteY30" fmla="*/ 11430000 h 17945100"/>
                  <a:gd name="connsiteX31" fmla="*/ 6587672 w 7273471"/>
                  <a:gd name="connsiteY31" fmla="*/ 10210800 h 17945100"/>
                  <a:gd name="connsiteX32" fmla="*/ 67781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72571 w 7273471"/>
                  <a:gd name="connsiteY6" fmla="*/ 9144000 h 17945100"/>
                  <a:gd name="connsiteX7" fmla="*/ 148771 w 7273471"/>
                  <a:gd name="connsiteY7" fmla="*/ 10058400 h 17945100"/>
                  <a:gd name="connsiteX8" fmla="*/ 34471 w 7273471"/>
                  <a:gd name="connsiteY8" fmla="*/ 109728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739571 w 7273471"/>
                  <a:gd name="connsiteY14" fmla="*/ 9601200 h 17945100"/>
                  <a:gd name="connsiteX15" fmla="*/ 2891971 w 7273471"/>
                  <a:gd name="connsiteY15" fmla="*/ 9220200 h 17945100"/>
                  <a:gd name="connsiteX16" fmla="*/ 2777671 w 7273471"/>
                  <a:gd name="connsiteY16" fmla="*/ 86487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41492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663871 w 7273471"/>
                  <a:gd name="connsiteY30" fmla="*/ 11430000 h 17945100"/>
                  <a:gd name="connsiteX31" fmla="*/ 6587672 w 7273471"/>
                  <a:gd name="connsiteY31" fmla="*/ 10210800 h 17945100"/>
                  <a:gd name="connsiteX32" fmla="*/ 67781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72571 w 7273471"/>
                  <a:gd name="connsiteY6" fmla="*/ 9144000 h 17945100"/>
                  <a:gd name="connsiteX7" fmla="*/ 148771 w 7273471"/>
                  <a:gd name="connsiteY7" fmla="*/ 10058400 h 17945100"/>
                  <a:gd name="connsiteX8" fmla="*/ 34471 w 7273471"/>
                  <a:gd name="connsiteY8" fmla="*/ 109728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739571 w 7273471"/>
                  <a:gd name="connsiteY14" fmla="*/ 9601200 h 17945100"/>
                  <a:gd name="connsiteX15" fmla="*/ 2676071 w 7273471"/>
                  <a:gd name="connsiteY15" fmla="*/ 9144000 h 17945100"/>
                  <a:gd name="connsiteX16" fmla="*/ 2777671 w 7273471"/>
                  <a:gd name="connsiteY16" fmla="*/ 86487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41492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663871 w 7273471"/>
                  <a:gd name="connsiteY30" fmla="*/ 11430000 h 17945100"/>
                  <a:gd name="connsiteX31" fmla="*/ 6587672 w 7273471"/>
                  <a:gd name="connsiteY31" fmla="*/ 10210800 h 17945100"/>
                  <a:gd name="connsiteX32" fmla="*/ 67781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72571 w 7273471"/>
                  <a:gd name="connsiteY6" fmla="*/ 9144000 h 17945100"/>
                  <a:gd name="connsiteX7" fmla="*/ 148771 w 7273471"/>
                  <a:gd name="connsiteY7" fmla="*/ 10058400 h 17945100"/>
                  <a:gd name="connsiteX8" fmla="*/ 34471 w 7273471"/>
                  <a:gd name="connsiteY8" fmla="*/ 109728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739571 w 7273471"/>
                  <a:gd name="connsiteY14" fmla="*/ 9601200 h 17945100"/>
                  <a:gd name="connsiteX15" fmla="*/ 2676071 w 7273471"/>
                  <a:gd name="connsiteY15" fmla="*/ 9144000 h 17945100"/>
                  <a:gd name="connsiteX16" fmla="*/ 2777671 w 7273471"/>
                  <a:gd name="connsiteY16" fmla="*/ 86487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41492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663871 w 7273471"/>
                  <a:gd name="connsiteY30" fmla="*/ 11430000 h 17945100"/>
                  <a:gd name="connsiteX31" fmla="*/ 6587672 w 7273471"/>
                  <a:gd name="connsiteY31" fmla="*/ 10210800 h 17945100"/>
                  <a:gd name="connsiteX32" fmla="*/ 67781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72571 w 7273471"/>
                  <a:gd name="connsiteY6" fmla="*/ 9144000 h 17945100"/>
                  <a:gd name="connsiteX7" fmla="*/ 148771 w 7273471"/>
                  <a:gd name="connsiteY7" fmla="*/ 10058400 h 17945100"/>
                  <a:gd name="connsiteX8" fmla="*/ 34471 w 7273471"/>
                  <a:gd name="connsiteY8" fmla="*/ 109728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777671 w 7273471"/>
                  <a:gd name="connsiteY16" fmla="*/ 86487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41492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663871 w 7273471"/>
                  <a:gd name="connsiteY30" fmla="*/ 11430000 h 17945100"/>
                  <a:gd name="connsiteX31" fmla="*/ 6587672 w 7273471"/>
                  <a:gd name="connsiteY31" fmla="*/ 10210800 h 17945100"/>
                  <a:gd name="connsiteX32" fmla="*/ 67781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72571 w 7273471"/>
                  <a:gd name="connsiteY6" fmla="*/ 9144000 h 17945100"/>
                  <a:gd name="connsiteX7" fmla="*/ 148771 w 7273471"/>
                  <a:gd name="connsiteY7" fmla="*/ 10058400 h 17945100"/>
                  <a:gd name="connsiteX8" fmla="*/ 34471 w 7273471"/>
                  <a:gd name="connsiteY8" fmla="*/ 109728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777671 w 7273471"/>
                  <a:gd name="connsiteY16" fmla="*/ 86487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41492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663871 w 7273471"/>
                  <a:gd name="connsiteY30" fmla="*/ 11430000 h 17945100"/>
                  <a:gd name="connsiteX31" fmla="*/ 6587672 w 7273471"/>
                  <a:gd name="connsiteY31" fmla="*/ 10210800 h 17945100"/>
                  <a:gd name="connsiteX32" fmla="*/ 67781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72571 w 7273471"/>
                  <a:gd name="connsiteY6" fmla="*/ 9144000 h 17945100"/>
                  <a:gd name="connsiteX7" fmla="*/ 148771 w 7273471"/>
                  <a:gd name="connsiteY7" fmla="*/ 10058400 h 17945100"/>
                  <a:gd name="connsiteX8" fmla="*/ 34471 w 7273471"/>
                  <a:gd name="connsiteY8" fmla="*/ 109728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777671 w 7273471"/>
                  <a:gd name="connsiteY16" fmla="*/ 86487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41492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663871 w 7273471"/>
                  <a:gd name="connsiteY30" fmla="*/ 11430000 h 17945100"/>
                  <a:gd name="connsiteX31" fmla="*/ 6587672 w 7273471"/>
                  <a:gd name="connsiteY31" fmla="*/ 10210800 h 17945100"/>
                  <a:gd name="connsiteX32" fmla="*/ 67781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72571 w 7273471"/>
                  <a:gd name="connsiteY6" fmla="*/ 9144000 h 17945100"/>
                  <a:gd name="connsiteX7" fmla="*/ 148771 w 7273471"/>
                  <a:gd name="connsiteY7" fmla="*/ 10058400 h 17945100"/>
                  <a:gd name="connsiteX8" fmla="*/ 34471 w 7273471"/>
                  <a:gd name="connsiteY8" fmla="*/ 109728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777671 w 7273471"/>
                  <a:gd name="connsiteY16" fmla="*/ 86487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41492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663871 w 7273471"/>
                  <a:gd name="connsiteY30" fmla="*/ 11430000 h 17945100"/>
                  <a:gd name="connsiteX31" fmla="*/ 6587672 w 7273471"/>
                  <a:gd name="connsiteY31" fmla="*/ 10210800 h 17945100"/>
                  <a:gd name="connsiteX32" fmla="*/ 67781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72571 w 7273471"/>
                  <a:gd name="connsiteY6" fmla="*/ 9144000 h 17945100"/>
                  <a:gd name="connsiteX7" fmla="*/ 148771 w 7273471"/>
                  <a:gd name="connsiteY7" fmla="*/ 10058400 h 17945100"/>
                  <a:gd name="connsiteX8" fmla="*/ 34471 w 7273471"/>
                  <a:gd name="connsiteY8" fmla="*/ 109728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726871 w 7273471"/>
                  <a:gd name="connsiteY16" fmla="*/ 86106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41492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663871 w 7273471"/>
                  <a:gd name="connsiteY30" fmla="*/ 11430000 h 17945100"/>
                  <a:gd name="connsiteX31" fmla="*/ 6587672 w 7273471"/>
                  <a:gd name="connsiteY31" fmla="*/ 10210800 h 17945100"/>
                  <a:gd name="connsiteX32" fmla="*/ 67781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9144000 h 17945100"/>
                  <a:gd name="connsiteX7" fmla="*/ 148771 w 7273471"/>
                  <a:gd name="connsiteY7" fmla="*/ 10058400 h 17945100"/>
                  <a:gd name="connsiteX8" fmla="*/ 34471 w 7273471"/>
                  <a:gd name="connsiteY8" fmla="*/ 109728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726871 w 7273471"/>
                  <a:gd name="connsiteY16" fmla="*/ 86106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41492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663871 w 7273471"/>
                  <a:gd name="connsiteY30" fmla="*/ 11430000 h 17945100"/>
                  <a:gd name="connsiteX31" fmla="*/ 6587672 w 7273471"/>
                  <a:gd name="connsiteY31" fmla="*/ 10210800 h 17945100"/>
                  <a:gd name="connsiteX32" fmla="*/ 67781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9144000 h 17945100"/>
                  <a:gd name="connsiteX7" fmla="*/ 148771 w 7273471"/>
                  <a:gd name="connsiteY7" fmla="*/ 10058400 h 17945100"/>
                  <a:gd name="connsiteX8" fmla="*/ 34471 w 7273471"/>
                  <a:gd name="connsiteY8" fmla="*/ 109728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726871 w 7273471"/>
                  <a:gd name="connsiteY16" fmla="*/ 86106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41492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663871 w 7273471"/>
                  <a:gd name="connsiteY30" fmla="*/ 11430000 h 17945100"/>
                  <a:gd name="connsiteX31" fmla="*/ 6587672 w 7273471"/>
                  <a:gd name="connsiteY31" fmla="*/ 10210800 h 17945100"/>
                  <a:gd name="connsiteX32" fmla="*/ 67781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9144000 h 17945100"/>
                  <a:gd name="connsiteX7" fmla="*/ 148771 w 7273471"/>
                  <a:gd name="connsiteY7" fmla="*/ 10058400 h 17945100"/>
                  <a:gd name="connsiteX8" fmla="*/ 34471 w 7273471"/>
                  <a:gd name="connsiteY8" fmla="*/ 109728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726871 w 7273471"/>
                  <a:gd name="connsiteY16" fmla="*/ 86106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41492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663871 w 7273471"/>
                  <a:gd name="connsiteY30" fmla="*/ 11430000 h 17945100"/>
                  <a:gd name="connsiteX31" fmla="*/ 6587672 w 7273471"/>
                  <a:gd name="connsiteY31" fmla="*/ 10210800 h 17945100"/>
                  <a:gd name="connsiteX32" fmla="*/ 67781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9144000 h 17945100"/>
                  <a:gd name="connsiteX7" fmla="*/ 148771 w 7273471"/>
                  <a:gd name="connsiteY7" fmla="*/ 10058400 h 17945100"/>
                  <a:gd name="connsiteX8" fmla="*/ 148771 w 7273471"/>
                  <a:gd name="connsiteY8" fmla="*/ 110236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726871 w 7273471"/>
                  <a:gd name="connsiteY16" fmla="*/ 86106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41492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663871 w 7273471"/>
                  <a:gd name="connsiteY30" fmla="*/ 11430000 h 17945100"/>
                  <a:gd name="connsiteX31" fmla="*/ 6587672 w 7273471"/>
                  <a:gd name="connsiteY31" fmla="*/ 10210800 h 17945100"/>
                  <a:gd name="connsiteX32" fmla="*/ 67781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9144000 h 17945100"/>
                  <a:gd name="connsiteX7" fmla="*/ 148771 w 7273471"/>
                  <a:gd name="connsiteY7" fmla="*/ 10058400 h 17945100"/>
                  <a:gd name="connsiteX8" fmla="*/ 148771 w 7273471"/>
                  <a:gd name="connsiteY8" fmla="*/ 110236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726871 w 7273471"/>
                  <a:gd name="connsiteY16" fmla="*/ 86106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41492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663871 w 7273471"/>
                  <a:gd name="connsiteY30" fmla="*/ 11430000 h 17945100"/>
                  <a:gd name="connsiteX31" fmla="*/ 6587672 w 7273471"/>
                  <a:gd name="connsiteY31" fmla="*/ 10210800 h 17945100"/>
                  <a:gd name="connsiteX32" fmla="*/ 6689271 w 7273471"/>
                  <a:gd name="connsiteY32" fmla="*/ 89027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9144000 h 17945100"/>
                  <a:gd name="connsiteX7" fmla="*/ 148771 w 7273471"/>
                  <a:gd name="connsiteY7" fmla="*/ 10058400 h 17945100"/>
                  <a:gd name="connsiteX8" fmla="*/ 148771 w 7273471"/>
                  <a:gd name="connsiteY8" fmla="*/ 110236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726871 w 7273471"/>
                  <a:gd name="connsiteY16" fmla="*/ 86106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41492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663871 w 7273471"/>
                  <a:gd name="connsiteY30" fmla="*/ 11430000 h 17945100"/>
                  <a:gd name="connsiteX31" fmla="*/ 6587672 w 7273471"/>
                  <a:gd name="connsiteY31" fmla="*/ 10210800 h 17945100"/>
                  <a:gd name="connsiteX32" fmla="*/ 66257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9144000 h 17945100"/>
                  <a:gd name="connsiteX7" fmla="*/ 148771 w 7273471"/>
                  <a:gd name="connsiteY7" fmla="*/ 10058400 h 17945100"/>
                  <a:gd name="connsiteX8" fmla="*/ 148771 w 7273471"/>
                  <a:gd name="connsiteY8" fmla="*/ 110236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726871 w 7273471"/>
                  <a:gd name="connsiteY16" fmla="*/ 86106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39968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663871 w 7273471"/>
                  <a:gd name="connsiteY30" fmla="*/ 11430000 h 17945100"/>
                  <a:gd name="connsiteX31" fmla="*/ 6587672 w 7273471"/>
                  <a:gd name="connsiteY31" fmla="*/ 10210800 h 17945100"/>
                  <a:gd name="connsiteX32" fmla="*/ 66257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9144000 h 17945100"/>
                  <a:gd name="connsiteX7" fmla="*/ 148771 w 7273471"/>
                  <a:gd name="connsiteY7" fmla="*/ 10058400 h 17945100"/>
                  <a:gd name="connsiteX8" fmla="*/ 148771 w 7273471"/>
                  <a:gd name="connsiteY8" fmla="*/ 110236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726871 w 7273471"/>
                  <a:gd name="connsiteY16" fmla="*/ 86106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663871 w 7273471"/>
                  <a:gd name="connsiteY30" fmla="*/ 11430000 h 17945100"/>
                  <a:gd name="connsiteX31" fmla="*/ 6587672 w 7273471"/>
                  <a:gd name="connsiteY31" fmla="*/ 10210800 h 17945100"/>
                  <a:gd name="connsiteX32" fmla="*/ 66257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9144000 h 17945100"/>
                  <a:gd name="connsiteX7" fmla="*/ 148771 w 7273471"/>
                  <a:gd name="connsiteY7" fmla="*/ 10058400 h 17945100"/>
                  <a:gd name="connsiteX8" fmla="*/ 148771 w 7273471"/>
                  <a:gd name="connsiteY8" fmla="*/ 110236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726871 w 7273471"/>
                  <a:gd name="connsiteY16" fmla="*/ 8610600 h 17945100"/>
                  <a:gd name="connsiteX17" fmla="*/ 2930071 w 7273471"/>
                  <a:gd name="connsiteY17" fmla="*/ 77724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663871 w 7273471"/>
                  <a:gd name="connsiteY30" fmla="*/ 11430000 h 17945100"/>
                  <a:gd name="connsiteX31" fmla="*/ 6587672 w 7273471"/>
                  <a:gd name="connsiteY31" fmla="*/ 10210800 h 17945100"/>
                  <a:gd name="connsiteX32" fmla="*/ 66257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9144000 h 17945100"/>
                  <a:gd name="connsiteX7" fmla="*/ 148771 w 7273471"/>
                  <a:gd name="connsiteY7" fmla="*/ 10058400 h 17945100"/>
                  <a:gd name="connsiteX8" fmla="*/ 148771 w 7273471"/>
                  <a:gd name="connsiteY8" fmla="*/ 110236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726871 w 7273471"/>
                  <a:gd name="connsiteY16" fmla="*/ 8610600 h 17945100"/>
                  <a:gd name="connsiteX17" fmla="*/ 2866571 w 7273471"/>
                  <a:gd name="connsiteY17" fmla="*/ 77978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663871 w 7273471"/>
                  <a:gd name="connsiteY30" fmla="*/ 11430000 h 17945100"/>
                  <a:gd name="connsiteX31" fmla="*/ 6587672 w 7273471"/>
                  <a:gd name="connsiteY31" fmla="*/ 10210800 h 17945100"/>
                  <a:gd name="connsiteX32" fmla="*/ 66257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9144000 h 17945100"/>
                  <a:gd name="connsiteX7" fmla="*/ 148771 w 7273471"/>
                  <a:gd name="connsiteY7" fmla="*/ 10058400 h 17945100"/>
                  <a:gd name="connsiteX8" fmla="*/ 148771 w 7273471"/>
                  <a:gd name="connsiteY8" fmla="*/ 110236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663371 w 7273471"/>
                  <a:gd name="connsiteY16" fmla="*/ 8597900 h 17945100"/>
                  <a:gd name="connsiteX17" fmla="*/ 2866571 w 7273471"/>
                  <a:gd name="connsiteY17" fmla="*/ 77978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930571 w 7273471"/>
                  <a:gd name="connsiteY29" fmla="*/ 13563600 h 17945100"/>
                  <a:gd name="connsiteX30" fmla="*/ 6663871 w 7273471"/>
                  <a:gd name="connsiteY30" fmla="*/ 11430000 h 17945100"/>
                  <a:gd name="connsiteX31" fmla="*/ 6587672 w 7273471"/>
                  <a:gd name="connsiteY31" fmla="*/ 10210800 h 17945100"/>
                  <a:gd name="connsiteX32" fmla="*/ 66257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9144000 h 17945100"/>
                  <a:gd name="connsiteX7" fmla="*/ 148771 w 7273471"/>
                  <a:gd name="connsiteY7" fmla="*/ 10058400 h 17945100"/>
                  <a:gd name="connsiteX8" fmla="*/ 148771 w 7273471"/>
                  <a:gd name="connsiteY8" fmla="*/ 110236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663371 w 7273471"/>
                  <a:gd name="connsiteY16" fmla="*/ 8597900 h 17945100"/>
                  <a:gd name="connsiteX17" fmla="*/ 2866571 w 7273471"/>
                  <a:gd name="connsiteY17" fmla="*/ 77978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759121 w 7273471"/>
                  <a:gd name="connsiteY29" fmla="*/ 13601700 h 17945100"/>
                  <a:gd name="connsiteX30" fmla="*/ 6663871 w 7273471"/>
                  <a:gd name="connsiteY30" fmla="*/ 11430000 h 17945100"/>
                  <a:gd name="connsiteX31" fmla="*/ 6587672 w 7273471"/>
                  <a:gd name="connsiteY31" fmla="*/ 10210800 h 17945100"/>
                  <a:gd name="connsiteX32" fmla="*/ 6625771 w 7273471"/>
                  <a:gd name="connsiteY32" fmla="*/ 887730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9144000 h 17945100"/>
                  <a:gd name="connsiteX7" fmla="*/ 148771 w 7273471"/>
                  <a:gd name="connsiteY7" fmla="*/ 10058400 h 17945100"/>
                  <a:gd name="connsiteX8" fmla="*/ 148771 w 7273471"/>
                  <a:gd name="connsiteY8" fmla="*/ 110236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663371 w 7273471"/>
                  <a:gd name="connsiteY16" fmla="*/ 8597900 h 17945100"/>
                  <a:gd name="connsiteX17" fmla="*/ 2866571 w 7273471"/>
                  <a:gd name="connsiteY17" fmla="*/ 77978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759121 w 7273471"/>
                  <a:gd name="connsiteY29" fmla="*/ 13601700 h 17945100"/>
                  <a:gd name="connsiteX30" fmla="*/ 6663871 w 7273471"/>
                  <a:gd name="connsiteY30" fmla="*/ 11430000 h 17945100"/>
                  <a:gd name="connsiteX31" fmla="*/ 6587672 w 7273471"/>
                  <a:gd name="connsiteY31" fmla="*/ 10210800 h 17945100"/>
                  <a:gd name="connsiteX32" fmla="*/ 6530521 w 7273471"/>
                  <a:gd name="connsiteY32" fmla="*/ 889635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9144000 h 17945100"/>
                  <a:gd name="connsiteX7" fmla="*/ 148771 w 7273471"/>
                  <a:gd name="connsiteY7" fmla="*/ 10058400 h 17945100"/>
                  <a:gd name="connsiteX8" fmla="*/ 148771 w 7273471"/>
                  <a:gd name="connsiteY8" fmla="*/ 110236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663371 w 7273471"/>
                  <a:gd name="connsiteY16" fmla="*/ 8597900 h 17945100"/>
                  <a:gd name="connsiteX17" fmla="*/ 2866571 w 7273471"/>
                  <a:gd name="connsiteY17" fmla="*/ 77978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759121 w 7273471"/>
                  <a:gd name="connsiteY29" fmla="*/ 13601700 h 17945100"/>
                  <a:gd name="connsiteX30" fmla="*/ 6663871 w 7273471"/>
                  <a:gd name="connsiteY30" fmla="*/ 11430000 h 17945100"/>
                  <a:gd name="connsiteX31" fmla="*/ 6454322 w 7273471"/>
                  <a:gd name="connsiteY31" fmla="*/ 10287000 h 17945100"/>
                  <a:gd name="connsiteX32" fmla="*/ 6530521 w 7273471"/>
                  <a:gd name="connsiteY32" fmla="*/ 889635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9144000 h 17945100"/>
                  <a:gd name="connsiteX7" fmla="*/ 148771 w 7273471"/>
                  <a:gd name="connsiteY7" fmla="*/ 10058400 h 17945100"/>
                  <a:gd name="connsiteX8" fmla="*/ 148771 w 7273471"/>
                  <a:gd name="connsiteY8" fmla="*/ 1102360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663371 w 7273471"/>
                  <a:gd name="connsiteY16" fmla="*/ 8597900 h 17945100"/>
                  <a:gd name="connsiteX17" fmla="*/ 2866571 w 7273471"/>
                  <a:gd name="connsiteY17" fmla="*/ 77978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759121 w 7273471"/>
                  <a:gd name="connsiteY29" fmla="*/ 13601700 h 17945100"/>
                  <a:gd name="connsiteX30" fmla="*/ 6549571 w 7273471"/>
                  <a:gd name="connsiteY30" fmla="*/ 11487150 h 17945100"/>
                  <a:gd name="connsiteX31" fmla="*/ 6454322 w 7273471"/>
                  <a:gd name="connsiteY31" fmla="*/ 10287000 h 17945100"/>
                  <a:gd name="connsiteX32" fmla="*/ 6530521 w 7273471"/>
                  <a:gd name="connsiteY32" fmla="*/ 889635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9144000 h 17945100"/>
                  <a:gd name="connsiteX7" fmla="*/ 148771 w 7273471"/>
                  <a:gd name="connsiteY7" fmla="*/ 10058400 h 17945100"/>
                  <a:gd name="connsiteX8" fmla="*/ 263071 w 7273471"/>
                  <a:gd name="connsiteY8" fmla="*/ 11080750 h 17945100"/>
                  <a:gd name="connsiteX9" fmla="*/ 725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663371 w 7273471"/>
                  <a:gd name="connsiteY16" fmla="*/ 8597900 h 17945100"/>
                  <a:gd name="connsiteX17" fmla="*/ 2866571 w 7273471"/>
                  <a:gd name="connsiteY17" fmla="*/ 77978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759121 w 7273471"/>
                  <a:gd name="connsiteY29" fmla="*/ 13601700 h 17945100"/>
                  <a:gd name="connsiteX30" fmla="*/ 6549571 w 7273471"/>
                  <a:gd name="connsiteY30" fmla="*/ 11487150 h 17945100"/>
                  <a:gd name="connsiteX31" fmla="*/ 6454322 w 7273471"/>
                  <a:gd name="connsiteY31" fmla="*/ 10287000 h 17945100"/>
                  <a:gd name="connsiteX32" fmla="*/ 6530521 w 7273471"/>
                  <a:gd name="connsiteY32" fmla="*/ 889635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9144000 h 17945100"/>
                  <a:gd name="connsiteX7" fmla="*/ 148771 w 7273471"/>
                  <a:gd name="connsiteY7" fmla="*/ 10058400 h 17945100"/>
                  <a:gd name="connsiteX8" fmla="*/ 263071 w 7273471"/>
                  <a:gd name="connsiteY8" fmla="*/ 11080750 h 17945100"/>
                  <a:gd name="connsiteX9" fmla="*/ 2630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663371 w 7273471"/>
                  <a:gd name="connsiteY16" fmla="*/ 8597900 h 17945100"/>
                  <a:gd name="connsiteX17" fmla="*/ 2866571 w 7273471"/>
                  <a:gd name="connsiteY17" fmla="*/ 77978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759121 w 7273471"/>
                  <a:gd name="connsiteY29" fmla="*/ 13601700 h 17945100"/>
                  <a:gd name="connsiteX30" fmla="*/ 6549571 w 7273471"/>
                  <a:gd name="connsiteY30" fmla="*/ 11487150 h 17945100"/>
                  <a:gd name="connsiteX31" fmla="*/ 6454322 w 7273471"/>
                  <a:gd name="connsiteY31" fmla="*/ 10287000 h 17945100"/>
                  <a:gd name="connsiteX32" fmla="*/ 6530521 w 7273471"/>
                  <a:gd name="connsiteY32" fmla="*/ 889635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9144000 h 17945100"/>
                  <a:gd name="connsiteX7" fmla="*/ 244021 w 7273471"/>
                  <a:gd name="connsiteY7" fmla="*/ 10096500 h 17945100"/>
                  <a:gd name="connsiteX8" fmla="*/ 263071 w 7273471"/>
                  <a:gd name="connsiteY8" fmla="*/ 11080750 h 17945100"/>
                  <a:gd name="connsiteX9" fmla="*/ 2630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663371 w 7273471"/>
                  <a:gd name="connsiteY16" fmla="*/ 8597900 h 17945100"/>
                  <a:gd name="connsiteX17" fmla="*/ 2866571 w 7273471"/>
                  <a:gd name="connsiteY17" fmla="*/ 77978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759121 w 7273471"/>
                  <a:gd name="connsiteY29" fmla="*/ 13601700 h 17945100"/>
                  <a:gd name="connsiteX30" fmla="*/ 6549571 w 7273471"/>
                  <a:gd name="connsiteY30" fmla="*/ 11487150 h 17945100"/>
                  <a:gd name="connsiteX31" fmla="*/ 6454322 w 7273471"/>
                  <a:gd name="connsiteY31" fmla="*/ 10287000 h 17945100"/>
                  <a:gd name="connsiteX32" fmla="*/ 6530521 w 7273471"/>
                  <a:gd name="connsiteY32" fmla="*/ 889635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36071 w 7273471"/>
                  <a:gd name="connsiteY6" fmla="*/ 9067800 h 17945100"/>
                  <a:gd name="connsiteX7" fmla="*/ 244021 w 7273471"/>
                  <a:gd name="connsiteY7" fmla="*/ 10096500 h 17945100"/>
                  <a:gd name="connsiteX8" fmla="*/ 263071 w 7273471"/>
                  <a:gd name="connsiteY8" fmla="*/ 11080750 h 17945100"/>
                  <a:gd name="connsiteX9" fmla="*/ 2630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663371 w 7273471"/>
                  <a:gd name="connsiteY16" fmla="*/ 8597900 h 17945100"/>
                  <a:gd name="connsiteX17" fmla="*/ 2866571 w 7273471"/>
                  <a:gd name="connsiteY17" fmla="*/ 77978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759121 w 7273471"/>
                  <a:gd name="connsiteY29" fmla="*/ 13601700 h 17945100"/>
                  <a:gd name="connsiteX30" fmla="*/ 6549571 w 7273471"/>
                  <a:gd name="connsiteY30" fmla="*/ 11487150 h 17945100"/>
                  <a:gd name="connsiteX31" fmla="*/ 6454322 w 7273471"/>
                  <a:gd name="connsiteY31" fmla="*/ 10287000 h 17945100"/>
                  <a:gd name="connsiteX32" fmla="*/ 6530521 w 7273471"/>
                  <a:gd name="connsiteY32" fmla="*/ 889635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36071 w 7273471"/>
                  <a:gd name="connsiteY6" fmla="*/ 8305800 h 17945100"/>
                  <a:gd name="connsiteX7" fmla="*/ 244021 w 7273471"/>
                  <a:gd name="connsiteY7" fmla="*/ 10096500 h 17945100"/>
                  <a:gd name="connsiteX8" fmla="*/ 263071 w 7273471"/>
                  <a:gd name="connsiteY8" fmla="*/ 11080750 h 17945100"/>
                  <a:gd name="connsiteX9" fmla="*/ 2630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663371 w 7273471"/>
                  <a:gd name="connsiteY16" fmla="*/ 8597900 h 17945100"/>
                  <a:gd name="connsiteX17" fmla="*/ 2866571 w 7273471"/>
                  <a:gd name="connsiteY17" fmla="*/ 77978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759121 w 7273471"/>
                  <a:gd name="connsiteY29" fmla="*/ 13601700 h 17945100"/>
                  <a:gd name="connsiteX30" fmla="*/ 6549571 w 7273471"/>
                  <a:gd name="connsiteY30" fmla="*/ 11487150 h 17945100"/>
                  <a:gd name="connsiteX31" fmla="*/ 6454322 w 7273471"/>
                  <a:gd name="connsiteY31" fmla="*/ 10287000 h 17945100"/>
                  <a:gd name="connsiteX32" fmla="*/ 6530521 w 7273471"/>
                  <a:gd name="connsiteY32" fmla="*/ 889635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250371 w 7273471"/>
                  <a:gd name="connsiteY6" fmla="*/ 8286750 h 17945100"/>
                  <a:gd name="connsiteX7" fmla="*/ 244021 w 7273471"/>
                  <a:gd name="connsiteY7" fmla="*/ 10096500 h 17945100"/>
                  <a:gd name="connsiteX8" fmla="*/ 263071 w 7273471"/>
                  <a:gd name="connsiteY8" fmla="*/ 11080750 h 17945100"/>
                  <a:gd name="connsiteX9" fmla="*/ 2630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663371 w 7273471"/>
                  <a:gd name="connsiteY16" fmla="*/ 8597900 h 17945100"/>
                  <a:gd name="connsiteX17" fmla="*/ 2866571 w 7273471"/>
                  <a:gd name="connsiteY17" fmla="*/ 77978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759121 w 7273471"/>
                  <a:gd name="connsiteY29" fmla="*/ 13601700 h 17945100"/>
                  <a:gd name="connsiteX30" fmla="*/ 6549571 w 7273471"/>
                  <a:gd name="connsiteY30" fmla="*/ 11487150 h 17945100"/>
                  <a:gd name="connsiteX31" fmla="*/ 6454322 w 7273471"/>
                  <a:gd name="connsiteY31" fmla="*/ 10287000 h 17945100"/>
                  <a:gd name="connsiteX32" fmla="*/ 6530521 w 7273471"/>
                  <a:gd name="connsiteY32" fmla="*/ 889635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8343900 h 17945100"/>
                  <a:gd name="connsiteX7" fmla="*/ 244021 w 7273471"/>
                  <a:gd name="connsiteY7" fmla="*/ 10096500 h 17945100"/>
                  <a:gd name="connsiteX8" fmla="*/ 263071 w 7273471"/>
                  <a:gd name="connsiteY8" fmla="*/ 11080750 h 17945100"/>
                  <a:gd name="connsiteX9" fmla="*/ 2630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663371 w 7273471"/>
                  <a:gd name="connsiteY16" fmla="*/ 8597900 h 17945100"/>
                  <a:gd name="connsiteX17" fmla="*/ 2866571 w 7273471"/>
                  <a:gd name="connsiteY17" fmla="*/ 77978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759121 w 7273471"/>
                  <a:gd name="connsiteY29" fmla="*/ 13601700 h 17945100"/>
                  <a:gd name="connsiteX30" fmla="*/ 6549571 w 7273471"/>
                  <a:gd name="connsiteY30" fmla="*/ 11487150 h 17945100"/>
                  <a:gd name="connsiteX31" fmla="*/ 6454322 w 7273471"/>
                  <a:gd name="connsiteY31" fmla="*/ 10287000 h 17945100"/>
                  <a:gd name="connsiteX32" fmla="*/ 6530521 w 7273471"/>
                  <a:gd name="connsiteY32" fmla="*/ 889635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8343900 h 17945100"/>
                  <a:gd name="connsiteX7" fmla="*/ 244021 w 7273471"/>
                  <a:gd name="connsiteY7" fmla="*/ 10096500 h 17945100"/>
                  <a:gd name="connsiteX8" fmla="*/ 263071 w 7273471"/>
                  <a:gd name="connsiteY8" fmla="*/ 11080750 h 17945100"/>
                  <a:gd name="connsiteX9" fmla="*/ 2630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663371 w 7273471"/>
                  <a:gd name="connsiteY16" fmla="*/ 8597900 h 17945100"/>
                  <a:gd name="connsiteX17" fmla="*/ 2866571 w 7273471"/>
                  <a:gd name="connsiteY17" fmla="*/ 77978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759121 w 7273471"/>
                  <a:gd name="connsiteY29" fmla="*/ 13601700 h 17945100"/>
                  <a:gd name="connsiteX30" fmla="*/ 6549571 w 7273471"/>
                  <a:gd name="connsiteY30" fmla="*/ 11487150 h 17945100"/>
                  <a:gd name="connsiteX31" fmla="*/ 6454322 w 7273471"/>
                  <a:gd name="connsiteY31" fmla="*/ 10287000 h 17945100"/>
                  <a:gd name="connsiteX32" fmla="*/ 6530521 w 7273471"/>
                  <a:gd name="connsiteY32" fmla="*/ 889635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8343900 h 17945100"/>
                  <a:gd name="connsiteX7" fmla="*/ 244021 w 7273471"/>
                  <a:gd name="connsiteY7" fmla="*/ 10096500 h 17945100"/>
                  <a:gd name="connsiteX8" fmla="*/ 263071 w 7273471"/>
                  <a:gd name="connsiteY8" fmla="*/ 11080750 h 17945100"/>
                  <a:gd name="connsiteX9" fmla="*/ 2630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676071 w 7273471"/>
                  <a:gd name="connsiteY15" fmla="*/ 9144000 h 17945100"/>
                  <a:gd name="connsiteX16" fmla="*/ 2663371 w 7273471"/>
                  <a:gd name="connsiteY16" fmla="*/ 8597900 h 17945100"/>
                  <a:gd name="connsiteX17" fmla="*/ 2866571 w 7273471"/>
                  <a:gd name="connsiteY17" fmla="*/ 77978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759121 w 7273471"/>
                  <a:gd name="connsiteY29" fmla="*/ 13601700 h 17945100"/>
                  <a:gd name="connsiteX30" fmla="*/ 6549571 w 7273471"/>
                  <a:gd name="connsiteY30" fmla="*/ 11487150 h 17945100"/>
                  <a:gd name="connsiteX31" fmla="*/ 6454322 w 7273471"/>
                  <a:gd name="connsiteY31" fmla="*/ 10287000 h 17945100"/>
                  <a:gd name="connsiteX32" fmla="*/ 6530521 w 7273471"/>
                  <a:gd name="connsiteY32" fmla="*/ 889635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8343900 h 17945100"/>
                  <a:gd name="connsiteX7" fmla="*/ 244021 w 7273471"/>
                  <a:gd name="connsiteY7" fmla="*/ 10096500 h 17945100"/>
                  <a:gd name="connsiteX8" fmla="*/ 263071 w 7273471"/>
                  <a:gd name="connsiteY8" fmla="*/ 11080750 h 17945100"/>
                  <a:gd name="connsiteX9" fmla="*/ 2630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485571 w 7273471"/>
                  <a:gd name="connsiteY15" fmla="*/ 9144000 h 17945100"/>
                  <a:gd name="connsiteX16" fmla="*/ 2663371 w 7273471"/>
                  <a:gd name="connsiteY16" fmla="*/ 8597900 h 17945100"/>
                  <a:gd name="connsiteX17" fmla="*/ 2866571 w 7273471"/>
                  <a:gd name="connsiteY17" fmla="*/ 77978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759121 w 7273471"/>
                  <a:gd name="connsiteY29" fmla="*/ 13601700 h 17945100"/>
                  <a:gd name="connsiteX30" fmla="*/ 6549571 w 7273471"/>
                  <a:gd name="connsiteY30" fmla="*/ 11487150 h 17945100"/>
                  <a:gd name="connsiteX31" fmla="*/ 6454322 w 7273471"/>
                  <a:gd name="connsiteY31" fmla="*/ 10287000 h 17945100"/>
                  <a:gd name="connsiteX32" fmla="*/ 6530521 w 7273471"/>
                  <a:gd name="connsiteY32" fmla="*/ 889635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8343900 h 17945100"/>
                  <a:gd name="connsiteX7" fmla="*/ 244021 w 7273471"/>
                  <a:gd name="connsiteY7" fmla="*/ 10096500 h 17945100"/>
                  <a:gd name="connsiteX8" fmla="*/ 263071 w 7273471"/>
                  <a:gd name="connsiteY8" fmla="*/ 11080750 h 17945100"/>
                  <a:gd name="connsiteX9" fmla="*/ 2630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625271 w 7273471"/>
                  <a:gd name="connsiteY14" fmla="*/ 9601200 h 17945100"/>
                  <a:gd name="connsiteX15" fmla="*/ 2536371 w 7273471"/>
                  <a:gd name="connsiteY15" fmla="*/ 9169400 h 17945100"/>
                  <a:gd name="connsiteX16" fmla="*/ 2663371 w 7273471"/>
                  <a:gd name="connsiteY16" fmla="*/ 8597900 h 17945100"/>
                  <a:gd name="connsiteX17" fmla="*/ 2866571 w 7273471"/>
                  <a:gd name="connsiteY17" fmla="*/ 77978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759121 w 7273471"/>
                  <a:gd name="connsiteY29" fmla="*/ 13601700 h 17945100"/>
                  <a:gd name="connsiteX30" fmla="*/ 6549571 w 7273471"/>
                  <a:gd name="connsiteY30" fmla="*/ 11487150 h 17945100"/>
                  <a:gd name="connsiteX31" fmla="*/ 6454322 w 7273471"/>
                  <a:gd name="connsiteY31" fmla="*/ 10287000 h 17945100"/>
                  <a:gd name="connsiteX32" fmla="*/ 6530521 w 7273471"/>
                  <a:gd name="connsiteY32" fmla="*/ 889635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8343900 h 17945100"/>
                  <a:gd name="connsiteX7" fmla="*/ 244021 w 7273471"/>
                  <a:gd name="connsiteY7" fmla="*/ 10096500 h 17945100"/>
                  <a:gd name="connsiteX8" fmla="*/ 263071 w 7273471"/>
                  <a:gd name="connsiteY8" fmla="*/ 11080750 h 17945100"/>
                  <a:gd name="connsiteX9" fmla="*/ 2630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498271 w 7273471"/>
                  <a:gd name="connsiteY14" fmla="*/ 9652000 h 17945100"/>
                  <a:gd name="connsiteX15" fmla="*/ 2536371 w 7273471"/>
                  <a:gd name="connsiteY15" fmla="*/ 9169400 h 17945100"/>
                  <a:gd name="connsiteX16" fmla="*/ 2663371 w 7273471"/>
                  <a:gd name="connsiteY16" fmla="*/ 8597900 h 17945100"/>
                  <a:gd name="connsiteX17" fmla="*/ 2866571 w 7273471"/>
                  <a:gd name="connsiteY17" fmla="*/ 77978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759121 w 7273471"/>
                  <a:gd name="connsiteY29" fmla="*/ 13601700 h 17945100"/>
                  <a:gd name="connsiteX30" fmla="*/ 6549571 w 7273471"/>
                  <a:gd name="connsiteY30" fmla="*/ 11487150 h 17945100"/>
                  <a:gd name="connsiteX31" fmla="*/ 6454322 w 7273471"/>
                  <a:gd name="connsiteY31" fmla="*/ 10287000 h 17945100"/>
                  <a:gd name="connsiteX32" fmla="*/ 6530521 w 7273471"/>
                  <a:gd name="connsiteY32" fmla="*/ 889635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8343900 h 17945100"/>
                  <a:gd name="connsiteX7" fmla="*/ 244021 w 7273471"/>
                  <a:gd name="connsiteY7" fmla="*/ 10096500 h 17945100"/>
                  <a:gd name="connsiteX8" fmla="*/ 263071 w 7273471"/>
                  <a:gd name="connsiteY8" fmla="*/ 11080750 h 17945100"/>
                  <a:gd name="connsiteX9" fmla="*/ 2630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498271 w 7273471"/>
                  <a:gd name="connsiteY14" fmla="*/ 9652000 h 17945100"/>
                  <a:gd name="connsiteX15" fmla="*/ 2536371 w 7273471"/>
                  <a:gd name="connsiteY15" fmla="*/ 9169400 h 17945100"/>
                  <a:gd name="connsiteX16" fmla="*/ 2612571 w 7273471"/>
                  <a:gd name="connsiteY16" fmla="*/ 8534400 h 17945100"/>
                  <a:gd name="connsiteX17" fmla="*/ 2866571 w 7273471"/>
                  <a:gd name="connsiteY17" fmla="*/ 77978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759121 w 7273471"/>
                  <a:gd name="connsiteY29" fmla="*/ 13601700 h 17945100"/>
                  <a:gd name="connsiteX30" fmla="*/ 6549571 w 7273471"/>
                  <a:gd name="connsiteY30" fmla="*/ 11487150 h 17945100"/>
                  <a:gd name="connsiteX31" fmla="*/ 6454322 w 7273471"/>
                  <a:gd name="connsiteY31" fmla="*/ 10287000 h 17945100"/>
                  <a:gd name="connsiteX32" fmla="*/ 6530521 w 7273471"/>
                  <a:gd name="connsiteY32" fmla="*/ 889635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8343900 h 17945100"/>
                  <a:gd name="connsiteX7" fmla="*/ 244021 w 7273471"/>
                  <a:gd name="connsiteY7" fmla="*/ 10096500 h 17945100"/>
                  <a:gd name="connsiteX8" fmla="*/ 263071 w 7273471"/>
                  <a:gd name="connsiteY8" fmla="*/ 11080750 h 17945100"/>
                  <a:gd name="connsiteX9" fmla="*/ 2630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498271 w 7273471"/>
                  <a:gd name="connsiteY14" fmla="*/ 9652000 h 17945100"/>
                  <a:gd name="connsiteX15" fmla="*/ 2536371 w 7273471"/>
                  <a:gd name="connsiteY15" fmla="*/ 9169400 h 17945100"/>
                  <a:gd name="connsiteX16" fmla="*/ 2612571 w 7273471"/>
                  <a:gd name="connsiteY16" fmla="*/ 8534400 h 17945100"/>
                  <a:gd name="connsiteX17" fmla="*/ 2777671 w 7273471"/>
                  <a:gd name="connsiteY17" fmla="*/ 77597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759121 w 7273471"/>
                  <a:gd name="connsiteY29" fmla="*/ 13601700 h 17945100"/>
                  <a:gd name="connsiteX30" fmla="*/ 6549571 w 7273471"/>
                  <a:gd name="connsiteY30" fmla="*/ 11487150 h 17945100"/>
                  <a:gd name="connsiteX31" fmla="*/ 6454322 w 7273471"/>
                  <a:gd name="connsiteY31" fmla="*/ 10287000 h 17945100"/>
                  <a:gd name="connsiteX32" fmla="*/ 6530521 w 7273471"/>
                  <a:gd name="connsiteY32" fmla="*/ 889635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8343900 h 17945100"/>
                  <a:gd name="connsiteX7" fmla="*/ 244021 w 7273471"/>
                  <a:gd name="connsiteY7" fmla="*/ 10096500 h 17945100"/>
                  <a:gd name="connsiteX8" fmla="*/ 263071 w 7273471"/>
                  <a:gd name="connsiteY8" fmla="*/ 11080750 h 17945100"/>
                  <a:gd name="connsiteX9" fmla="*/ 2630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498271 w 7273471"/>
                  <a:gd name="connsiteY14" fmla="*/ 9652000 h 17945100"/>
                  <a:gd name="connsiteX15" fmla="*/ 2536371 w 7273471"/>
                  <a:gd name="connsiteY15" fmla="*/ 9169400 h 17945100"/>
                  <a:gd name="connsiteX16" fmla="*/ 2523671 w 7273471"/>
                  <a:gd name="connsiteY16" fmla="*/ 8496300 h 17945100"/>
                  <a:gd name="connsiteX17" fmla="*/ 2777671 w 7273471"/>
                  <a:gd name="connsiteY17" fmla="*/ 77597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759121 w 7273471"/>
                  <a:gd name="connsiteY29" fmla="*/ 13601700 h 17945100"/>
                  <a:gd name="connsiteX30" fmla="*/ 6549571 w 7273471"/>
                  <a:gd name="connsiteY30" fmla="*/ 11487150 h 17945100"/>
                  <a:gd name="connsiteX31" fmla="*/ 6454322 w 7273471"/>
                  <a:gd name="connsiteY31" fmla="*/ 10287000 h 17945100"/>
                  <a:gd name="connsiteX32" fmla="*/ 6530521 w 7273471"/>
                  <a:gd name="connsiteY32" fmla="*/ 889635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8343900 h 17945100"/>
                  <a:gd name="connsiteX7" fmla="*/ 244021 w 7273471"/>
                  <a:gd name="connsiteY7" fmla="*/ 10096500 h 17945100"/>
                  <a:gd name="connsiteX8" fmla="*/ 263071 w 7273471"/>
                  <a:gd name="connsiteY8" fmla="*/ 11080750 h 17945100"/>
                  <a:gd name="connsiteX9" fmla="*/ 2630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498271 w 7273471"/>
                  <a:gd name="connsiteY14" fmla="*/ 9652000 h 17945100"/>
                  <a:gd name="connsiteX15" fmla="*/ 2536371 w 7273471"/>
                  <a:gd name="connsiteY15" fmla="*/ 9169400 h 17945100"/>
                  <a:gd name="connsiteX16" fmla="*/ 2587171 w 7273471"/>
                  <a:gd name="connsiteY16" fmla="*/ 8496300 h 17945100"/>
                  <a:gd name="connsiteX17" fmla="*/ 2777671 w 7273471"/>
                  <a:gd name="connsiteY17" fmla="*/ 77597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759121 w 7273471"/>
                  <a:gd name="connsiteY29" fmla="*/ 13601700 h 17945100"/>
                  <a:gd name="connsiteX30" fmla="*/ 6549571 w 7273471"/>
                  <a:gd name="connsiteY30" fmla="*/ 11487150 h 17945100"/>
                  <a:gd name="connsiteX31" fmla="*/ 6454322 w 7273471"/>
                  <a:gd name="connsiteY31" fmla="*/ 10287000 h 17945100"/>
                  <a:gd name="connsiteX32" fmla="*/ 6530521 w 7273471"/>
                  <a:gd name="connsiteY32" fmla="*/ 889635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8343900 h 17945100"/>
                  <a:gd name="connsiteX7" fmla="*/ 244021 w 7273471"/>
                  <a:gd name="connsiteY7" fmla="*/ 10096500 h 17945100"/>
                  <a:gd name="connsiteX8" fmla="*/ 263071 w 7273471"/>
                  <a:gd name="connsiteY8" fmla="*/ 11080750 h 17945100"/>
                  <a:gd name="connsiteX9" fmla="*/ 2630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498271 w 7273471"/>
                  <a:gd name="connsiteY14" fmla="*/ 9652000 h 17945100"/>
                  <a:gd name="connsiteX15" fmla="*/ 2536371 w 7273471"/>
                  <a:gd name="connsiteY15" fmla="*/ 9169400 h 17945100"/>
                  <a:gd name="connsiteX16" fmla="*/ 2587171 w 7273471"/>
                  <a:gd name="connsiteY16" fmla="*/ 8496300 h 17945100"/>
                  <a:gd name="connsiteX17" fmla="*/ 2777671 w 7273471"/>
                  <a:gd name="connsiteY17" fmla="*/ 77597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759121 w 7273471"/>
                  <a:gd name="connsiteY29" fmla="*/ 13601700 h 17945100"/>
                  <a:gd name="connsiteX30" fmla="*/ 6549571 w 7273471"/>
                  <a:gd name="connsiteY30" fmla="*/ 11487150 h 17945100"/>
                  <a:gd name="connsiteX31" fmla="*/ 6454322 w 7273471"/>
                  <a:gd name="connsiteY31" fmla="*/ 10287000 h 17945100"/>
                  <a:gd name="connsiteX32" fmla="*/ 6530521 w 7273471"/>
                  <a:gd name="connsiteY32" fmla="*/ 889635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8343900 h 17945100"/>
                  <a:gd name="connsiteX7" fmla="*/ 244021 w 7273471"/>
                  <a:gd name="connsiteY7" fmla="*/ 10096500 h 17945100"/>
                  <a:gd name="connsiteX8" fmla="*/ 263071 w 7273471"/>
                  <a:gd name="connsiteY8" fmla="*/ 11080750 h 17945100"/>
                  <a:gd name="connsiteX9" fmla="*/ 263071 w 7273471"/>
                  <a:gd name="connsiteY9" fmla="*/ 13258800 h 17945100"/>
                  <a:gd name="connsiteX10" fmla="*/ 0 w 7273471"/>
                  <a:gd name="connsiteY10" fmla="*/ 167186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447471 w 7273471"/>
                  <a:gd name="connsiteY14" fmla="*/ 9652000 h 17945100"/>
                  <a:gd name="connsiteX15" fmla="*/ 2536371 w 7273471"/>
                  <a:gd name="connsiteY15" fmla="*/ 9169400 h 17945100"/>
                  <a:gd name="connsiteX16" fmla="*/ 2587171 w 7273471"/>
                  <a:gd name="connsiteY16" fmla="*/ 8496300 h 17945100"/>
                  <a:gd name="connsiteX17" fmla="*/ 2777671 w 7273471"/>
                  <a:gd name="connsiteY17" fmla="*/ 77597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759121 w 7273471"/>
                  <a:gd name="connsiteY29" fmla="*/ 13601700 h 17945100"/>
                  <a:gd name="connsiteX30" fmla="*/ 6549571 w 7273471"/>
                  <a:gd name="connsiteY30" fmla="*/ 11487150 h 17945100"/>
                  <a:gd name="connsiteX31" fmla="*/ 6454322 w 7273471"/>
                  <a:gd name="connsiteY31" fmla="*/ 10287000 h 17945100"/>
                  <a:gd name="connsiteX32" fmla="*/ 6530521 w 7273471"/>
                  <a:gd name="connsiteY32" fmla="*/ 889635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8343900 h 17945100"/>
                  <a:gd name="connsiteX7" fmla="*/ 244021 w 7273471"/>
                  <a:gd name="connsiteY7" fmla="*/ 10096500 h 17945100"/>
                  <a:gd name="connsiteX8" fmla="*/ 263071 w 7273471"/>
                  <a:gd name="connsiteY8" fmla="*/ 11080750 h 17945100"/>
                  <a:gd name="connsiteX9" fmla="*/ 263071 w 7273471"/>
                  <a:gd name="connsiteY9" fmla="*/ 13258800 h 17945100"/>
                  <a:gd name="connsiteX10" fmla="*/ 0 w 7273471"/>
                  <a:gd name="connsiteY10" fmla="*/ 17252044 h 17945100"/>
                  <a:gd name="connsiteX11" fmla="*/ 1674585 w 7273471"/>
                  <a:gd name="connsiteY11" fmla="*/ 17090572 h 17945100"/>
                  <a:gd name="connsiteX12" fmla="*/ 2739571 w 7273471"/>
                  <a:gd name="connsiteY12" fmla="*/ 16954500 h 17945100"/>
                  <a:gd name="connsiteX13" fmla="*/ 2549071 w 7273471"/>
                  <a:gd name="connsiteY13" fmla="*/ 11125200 h 17945100"/>
                  <a:gd name="connsiteX14" fmla="*/ 2447471 w 7273471"/>
                  <a:gd name="connsiteY14" fmla="*/ 9652000 h 17945100"/>
                  <a:gd name="connsiteX15" fmla="*/ 2536371 w 7273471"/>
                  <a:gd name="connsiteY15" fmla="*/ 9169400 h 17945100"/>
                  <a:gd name="connsiteX16" fmla="*/ 2587171 w 7273471"/>
                  <a:gd name="connsiteY16" fmla="*/ 8496300 h 17945100"/>
                  <a:gd name="connsiteX17" fmla="*/ 2777671 w 7273471"/>
                  <a:gd name="connsiteY17" fmla="*/ 77597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759121 w 7273471"/>
                  <a:gd name="connsiteY29" fmla="*/ 13601700 h 17945100"/>
                  <a:gd name="connsiteX30" fmla="*/ 6549571 w 7273471"/>
                  <a:gd name="connsiteY30" fmla="*/ 11487150 h 17945100"/>
                  <a:gd name="connsiteX31" fmla="*/ 6454322 w 7273471"/>
                  <a:gd name="connsiteY31" fmla="*/ 10287000 h 17945100"/>
                  <a:gd name="connsiteX32" fmla="*/ 6530521 w 7273471"/>
                  <a:gd name="connsiteY32" fmla="*/ 889635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8343900 h 17945100"/>
                  <a:gd name="connsiteX7" fmla="*/ 244021 w 7273471"/>
                  <a:gd name="connsiteY7" fmla="*/ 10096500 h 17945100"/>
                  <a:gd name="connsiteX8" fmla="*/ 263071 w 7273471"/>
                  <a:gd name="connsiteY8" fmla="*/ 11080750 h 17945100"/>
                  <a:gd name="connsiteX9" fmla="*/ 263071 w 7273471"/>
                  <a:gd name="connsiteY9" fmla="*/ 13258800 h 17945100"/>
                  <a:gd name="connsiteX10" fmla="*/ 0 w 7273471"/>
                  <a:gd name="connsiteY10" fmla="*/ 17252044 h 17945100"/>
                  <a:gd name="connsiteX11" fmla="*/ 1674585 w 7273471"/>
                  <a:gd name="connsiteY11" fmla="*/ 17547772 h 17945100"/>
                  <a:gd name="connsiteX12" fmla="*/ 2739571 w 7273471"/>
                  <a:gd name="connsiteY12" fmla="*/ 16954500 h 17945100"/>
                  <a:gd name="connsiteX13" fmla="*/ 2549071 w 7273471"/>
                  <a:gd name="connsiteY13" fmla="*/ 11125200 h 17945100"/>
                  <a:gd name="connsiteX14" fmla="*/ 2447471 w 7273471"/>
                  <a:gd name="connsiteY14" fmla="*/ 9652000 h 17945100"/>
                  <a:gd name="connsiteX15" fmla="*/ 2536371 w 7273471"/>
                  <a:gd name="connsiteY15" fmla="*/ 9169400 h 17945100"/>
                  <a:gd name="connsiteX16" fmla="*/ 2587171 w 7273471"/>
                  <a:gd name="connsiteY16" fmla="*/ 8496300 h 17945100"/>
                  <a:gd name="connsiteX17" fmla="*/ 2777671 w 7273471"/>
                  <a:gd name="connsiteY17" fmla="*/ 77597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759121 w 7273471"/>
                  <a:gd name="connsiteY29" fmla="*/ 13601700 h 17945100"/>
                  <a:gd name="connsiteX30" fmla="*/ 6549571 w 7273471"/>
                  <a:gd name="connsiteY30" fmla="*/ 11487150 h 17945100"/>
                  <a:gd name="connsiteX31" fmla="*/ 6454322 w 7273471"/>
                  <a:gd name="connsiteY31" fmla="*/ 10287000 h 17945100"/>
                  <a:gd name="connsiteX32" fmla="*/ 6530521 w 7273471"/>
                  <a:gd name="connsiteY32" fmla="*/ 889635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529771 w 7273471"/>
                  <a:gd name="connsiteY0" fmla="*/ 1752600 h 17945100"/>
                  <a:gd name="connsiteX1" fmla="*/ 263071 w 7273471"/>
                  <a:gd name="connsiteY1" fmla="*/ 2133600 h 17945100"/>
                  <a:gd name="connsiteX2" fmla="*/ 339271 w 7273471"/>
                  <a:gd name="connsiteY2" fmla="*/ 2514600 h 17945100"/>
                  <a:gd name="connsiteX3" fmla="*/ 567871 w 7273471"/>
                  <a:gd name="connsiteY3" fmla="*/ 2705100 h 17945100"/>
                  <a:gd name="connsiteX4" fmla="*/ 529771 w 7273471"/>
                  <a:gd name="connsiteY4" fmla="*/ 3962400 h 17945100"/>
                  <a:gd name="connsiteX5" fmla="*/ 263071 w 7273471"/>
                  <a:gd name="connsiteY5" fmla="*/ 6819900 h 17945100"/>
                  <a:gd name="connsiteX6" fmla="*/ 174171 w 7273471"/>
                  <a:gd name="connsiteY6" fmla="*/ 8343900 h 17945100"/>
                  <a:gd name="connsiteX7" fmla="*/ 244021 w 7273471"/>
                  <a:gd name="connsiteY7" fmla="*/ 10096500 h 17945100"/>
                  <a:gd name="connsiteX8" fmla="*/ 263071 w 7273471"/>
                  <a:gd name="connsiteY8" fmla="*/ 11080750 h 17945100"/>
                  <a:gd name="connsiteX9" fmla="*/ 263071 w 7273471"/>
                  <a:gd name="connsiteY9" fmla="*/ 13258800 h 17945100"/>
                  <a:gd name="connsiteX10" fmla="*/ 0 w 7273471"/>
                  <a:gd name="connsiteY10" fmla="*/ 17252044 h 17945100"/>
                  <a:gd name="connsiteX11" fmla="*/ 1674585 w 7273471"/>
                  <a:gd name="connsiteY11" fmla="*/ 17547772 h 17945100"/>
                  <a:gd name="connsiteX12" fmla="*/ 2739571 w 7273471"/>
                  <a:gd name="connsiteY12" fmla="*/ 17487900 h 17945100"/>
                  <a:gd name="connsiteX13" fmla="*/ 2549071 w 7273471"/>
                  <a:gd name="connsiteY13" fmla="*/ 11125200 h 17945100"/>
                  <a:gd name="connsiteX14" fmla="*/ 2447471 w 7273471"/>
                  <a:gd name="connsiteY14" fmla="*/ 9652000 h 17945100"/>
                  <a:gd name="connsiteX15" fmla="*/ 2536371 w 7273471"/>
                  <a:gd name="connsiteY15" fmla="*/ 9169400 h 17945100"/>
                  <a:gd name="connsiteX16" fmla="*/ 2587171 w 7273471"/>
                  <a:gd name="connsiteY16" fmla="*/ 8496300 h 17945100"/>
                  <a:gd name="connsiteX17" fmla="*/ 2777671 w 7273471"/>
                  <a:gd name="connsiteY17" fmla="*/ 7759700 h 17945100"/>
                  <a:gd name="connsiteX18" fmla="*/ 3692071 w 7273471"/>
                  <a:gd name="connsiteY18" fmla="*/ 4114800 h 17945100"/>
                  <a:gd name="connsiteX19" fmla="*/ 3920671 w 7273471"/>
                  <a:gd name="connsiteY19" fmla="*/ 5219700 h 17945100"/>
                  <a:gd name="connsiteX20" fmla="*/ 4073071 w 7273471"/>
                  <a:gd name="connsiteY20" fmla="*/ 7048500 h 17945100"/>
                  <a:gd name="connsiteX21" fmla="*/ 4238171 w 7273471"/>
                  <a:gd name="connsiteY21" fmla="*/ 8801100 h 17945100"/>
                  <a:gd name="connsiteX22" fmla="*/ 4263571 w 7273471"/>
                  <a:gd name="connsiteY22" fmla="*/ 10058400 h 17945100"/>
                  <a:gd name="connsiteX23" fmla="*/ 4225471 w 7273471"/>
                  <a:gd name="connsiteY23" fmla="*/ 11239500 h 17945100"/>
                  <a:gd name="connsiteX24" fmla="*/ 4225471 w 7273471"/>
                  <a:gd name="connsiteY24" fmla="*/ 12877800 h 17945100"/>
                  <a:gd name="connsiteX25" fmla="*/ 4187371 w 7273471"/>
                  <a:gd name="connsiteY25" fmla="*/ 13868400 h 17945100"/>
                  <a:gd name="connsiteX26" fmla="*/ 4263571 w 7273471"/>
                  <a:gd name="connsiteY26" fmla="*/ 17868900 h 17945100"/>
                  <a:gd name="connsiteX27" fmla="*/ 6320971 w 7273471"/>
                  <a:gd name="connsiteY27" fmla="*/ 17945100 h 17945100"/>
                  <a:gd name="connsiteX28" fmla="*/ 6968671 w 7273471"/>
                  <a:gd name="connsiteY28" fmla="*/ 17830800 h 17945100"/>
                  <a:gd name="connsiteX29" fmla="*/ 6759121 w 7273471"/>
                  <a:gd name="connsiteY29" fmla="*/ 13601700 h 17945100"/>
                  <a:gd name="connsiteX30" fmla="*/ 6549571 w 7273471"/>
                  <a:gd name="connsiteY30" fmla="*/ 11487150 h 17945100"/>
                  <a:gd name="connsiteX31" fmla="*/ 6454322 w 7273471"/>
                  <a:gd name="connsiteY31" fmla="*/ 10287000 h 17945100"/>
                  <a:gd name="connsiteX32" fmla="*/ 6530521 w 7273471"/>
                  <a:gd name="connsiteY32" fmla="*/ 8896350 h 17945100"/>
                  <a:gd name="connsiteX33" fmla="*/ 7006771 w 7273471"/>
                  <a:gd name="connsiteY33" fmla="*/ 5143500 h 17945100"/>
                  <a:gd name="connsiteX34" fmla="*/ 7197271 w 7273471"/>
                  <a:gd name="connsiteY34" fmla="*/ 4114800 h 17945100"/>
                  <a:gd name="connsiteX35" fmla="*/ 7273471 w 7273471"/>
                  <a:gd name="connsiteY35" fmla="*/ 2781300 h 17945100"/>
                  <a:gd name="connsiteX36" fmla="*/ 7235371 w 7273471"/>
                  <a:gd name="connsiteY36" fmla="*/ 2095500 h 17945100"/>
                  <a:gd name="connsiteX37" fmla="*/ 6168571 w 7273471"/>
                  <a:gd name="connsiteY37" fmla="*/ 2171700 h 17945100"/>
                  <a:gd name="connsiteX38" fmla="*/ 4568371 w 7273471"/>
                  <a:gd name="connsiteY38" fmla="*/ 2247900 h 17945100"/>
                  <a:gd name="connsiteX39" fmla="*/ 4034971 w 7273471"/>
                  <a:gd name="connsiteY39" fmla="*/ 2209800 h 17945100"/>
                  <a:gd name="connsiteX40" fmla="*/ 3501571 w 7273471"/>
                  <a:gd name="connsiteY40" fmla="*/ 1828800 h 17945100"/>
                  <a:gd name="connsiteX41" fmla="*/ 3349171 w 7273471"/>
                  <a:gd name="connsiteY41" fmla="*/ 1295400 h 17945100"/>
                  <a:gd name="connsiteX42" fmla="*/ 3234871 w 7273471"/>
                  <a:gd name="connsiteY42" fmla="*/ 0 h 17945100"/>
                  <a:gd name="connsiteX43" fmla="*/ 2891971 w 7273471"/>
                  <a:gd name="connsiteY43" fmla="*/ 76200 h 17945100"/>
                  <a:gd name="connsiteX44" fmla="*/ 2396671 w 7273471"/>
                  <a:gd name="connsiteY44" fmla="*/ 1562100 h 17945100"/>
                  <a:gd name="connsiteX45" fmla="*/ 2168071 w 7273471"/>
                  <a:gd name="connsiteY45" fmla="*/ 1790700 h 17945100"/>
                  <a:gd name="connsiteX46" fmla="*/ 1787071 w 7273471"/>
                  <a:gd name="connsiteY46" fmla="*/ 2095500 h 17945100"/>
                  <a:gd name="connsiteX47" fmla="*/ 1177471 w 7273471"/>
                  <a:gd name="connsiteY47" fmla="*/ 1981200 h 17945100"/>
                  <a:gd name="connsiteX48" fmla="*/ 491671 w 7273471"/>
                  <a:gd name="connsiteY48" fmla="*/ 1790700 h 17945100"/>
                  <a:gd name="connsiteX49" fmla="*/ 491671 w 7273471"/>
                  <a:gd name="connsiteY49" fmla="*/ 1790700 h 17945100"/>
                  <a:gd name="connsiteX0" fmla="*/ 453571 w 7197271"/>
                  <a:gd name="connsiteY0" fmla="*/ 1752600 h 17945100"/>
                  <a:gd name="connsiteX1" fmla="*/ 186871 w 7197271"/>
                  <a:gd name="connsiteY1" fmla="*/ 2133600 h 17945100"/>
                  <a:gd name="connsiteX2" fmla="*/ 263071 w 7197271"/>
                  <a:gd name="connsiteY2" fmla="*/ 2514600 h 17945100"/>
                  <a:gd name="connsiteX3" fmla="*/ 491671 w 7197271"/>
                  <a:gd name="connsiteY3" fmla="*/ 2705100 h 17945100"/>
                  <a:gd name="connsiteX4" fmla="*/ 453571 w 7197271"/>
                  <a:gd name="connsiteY4" fmla="*/ 3962400 h 17945100"/>
                  <a:gd name="connsiteX5" fmla="*/ 186871 w 7197271"/>
                  <a:gd name="connsiteY5" fmla="*/ 6819900 h 17945100"/>
                  <a:gd name="connsiteX6" fmla="*/ 97971 w 7197271"/>
                  <a:gd name="connsiteY6" fmla="*/ 8343900 h 17945100"/>
                  <a:gd name="connsiteX7" fmla="*/ 167821 w 7197271"/>
                  <a:gd name="connsiteY7" fmla="*/ 10096500 h 17945100"/>
                  <a:gd name="connsiteX8" fmla="*/ 186871 w 7197271"/>
                  <a:gd name="connsiteY8" fmla="*/ 11080750 h 17945100"/>
                  <a:gd name="connsiteX9" fmla="*/ 186871 w 7197271"/>
                  <a:gd name="connsiteY9" fmla="*/ 13258800 h 17945100"/>
                  <a:gd name="connsiteX10" fmla="*/ 0 w 7197271"/>
                  <a:gd name="connsiteY10" fmla="*/ 17442544 h 17945100"/>
                  <a:gd name="connsiteX11" fmla="*/ 1598385 w 7197271"/>
                  <a:gd name="connsiteY11" fmla="*/ 17547772 h 17945100"/>
                  <a:gd name="connsiteX12" fmla="*/ 2663371 w 7197271"/>
                  <a:gd name="connsiteY12" fmla="*/ 17487900 h 17945100"/>
                  <a:gd name="connsiteX13" fmla="*/ 2472871 w 7197271"/>
                  <a:gd name="connsiteY13" fmla="*/ 11125200 h 17945100"/>
                  <a:gd name="connsiteX14" fmla="*/ 2371271 w 7197271"/>
                  <a:gd name="connsiteY14" fmla="*/ 9652000 h 17945100"/>
                  <a:gd name="connsiteX15" fmla="*/ 2460171 w 7197271"/>
                  <a:gd name="connsiteY15" fmla="*/ 9169400 h 17945100"/>
                  <a:gd name="connsiteX16" fmla="*/ 2510971 w 7197271"/>
                  <a:gd name="connsiteY16" fmla="*/ 8496300 h 17945100"/>
                  <a:gd name="connsiteX17" fmla="*/ 2701471 w 7197271"/>
                  <a:gd name="connsiteY17" fmla="*/ 7759700 h 17945100"/>
                  <a:gd name="connsiteX18" fmla="*/ 3615871 w 7197271"/>
                  <a:gd name="connsiteY18" fmla="*/ 4114800 h 17945100"/>
                  <a:gd name="connsiteX19" fmla="*/ 3844471 w 7197271"/>
                  <a:gd name="connsiteY19" fmla="*/ 5219700 h 17945100"/>
                  <a:gd name="connsiteX20" fmla="*/ 3996871 w 7197271"/>
                  <a:gd name="connsiteY20" fmla="*/ 7048500 h 17945100"/>
                  <a:gd name="connsiteX21" fmla="*/ 4161971 w 7197271"/>
                  <a:gd name="connsiteY21" fmla="*/ 8801100 h 17945100"/>
                  <a:gd name="connsiteX22" fmla="*/ 4187371 w 7197271"/>
                  <a:gd name="connsiteY22" fmla="*/ 10058400 h 17945100"/>
                  <a:gd name="connsiteX23" fmla="*/ 4149271 w 7197271"/>
                  <a:gd name="connsiteY23" fmla="*/ 11239500 h 17945100"/>
                  <a:gd name="connsiteX24" fmla="*/ 4149271 w 7197271"/>
                  <a:gd name="connsiteY24" fmla="*/ 12877800 h 17945100"/>
                  <a:gd name="connsiteX25" fmla="*/ 4111171 w 7197271"/>
                  <a:gd name="connsiteY25" fmla="*/ 13868400 h 17945100"/>
                  <a:gd name="connsiteX26" fmla="*/ 4187371 w 7197271"/>
                  <a:gd name="connsiteY26" fmla="*/ 17868900 h 17945100"/>
                  <a:gd name="connsiteX27" fmla="*/ 6244771 w 7197271"/>
                  <a:gd name="connsiteY27" fmla="*/ 17945100 h 17945100"/>
                  <a:gd name="connsiteX28" fmla="*/ 6892471 w 7197271"/>
                  <a:gd name="connsiteY28" fmla="*/ 17830800 h 17945100"/>
                  <a:gd name="connsiteX29" fmla="*/ 6682921 w 7197271"/>
                  <a:gd name="connsiteY29" fmla="*/ 13601700 h 17945100"/>
                  <a:gd name="connsiteX30" fmla="*/ 6473371 w 7197271"/>
                  <a:gd name="connsiteY30" fmla="*/ 11487150 h 17945100"/>
                  <a:gd name="connsiteX31" fmla="*/ 6378122 w 7197271"/>
                  <a:gd name="connsiteY31" fmla="*/ 10287000 h 17945100"/>
                  <a:gd name="connsiteX32" fmla="*/ 6454321 w 7197271"/>
                  <a:gd name="connsiteY32" fmla="*/ 8896350 h 17945100"/>
                  <a:gd name="connsiteX33" fmla="*/ 6930571 w 7197271"/>
                  <a:gd name="connsiteY33" fmla="*/ 5143500 h 17945100"/>
                  <a:gd name="connsiteX34" fmla="*/ 7121071 w 7197271"/>
                  <a:gd name="connsiteY34" fmla="*/ 4114800 h 17945100"/>
                  <a:gd name="connsiteX35" fmla="*/ 7197271 w 7197271"/>
                  <a:gd name="connsiteY35" fmla="*/ 2781300 h 17945100"/>
                  <a:gd name="connsiteX36" fmla="*/ 7159171 w 7197271"/>
                  <a:gd name="connsiteY36" fmla="*/ 2095500 h 17945100"/>
                  <a:gd name="connsiteX37" fmla="*/ 6092371 w 7197271"/>
                  <a:gd name="connsiteY37" fmla="*/ 2171700 h 17945100"/>
                  <a:gd name="connsiteX38" fmla="*/ 4492171 w 7197271"/>
                  <a:gd name="connsiteY38" fmla="*/ 2247900 h 17945100"/>
                  <a:gd name="connsiteX39" fmla="*/ 3958771 w 7197271"/>
                  <a:gd name="connsiteY39" fmla="*/ 2209800 h 17945100"/>
                  <a:gd name="connsiteX40" fmla="*/ 3425371 w 7197271"/>
                  <a:gd name="connsiteY40" fmla="*/ 1828800 h 17945100"/>
                  <a:gd name="connsiteX41" fmla="*/ 3272971 w 7197271"/>
                  <a:gd name="connsiteY41" fmla="*/ 1295400 h 17945100"/>
                  <a:gd name="connsiteX42" fmla="*/ 3158671 w 7197271"/>
                  <a:gd name="connsiteY42" fmla="*/ 0 h 17945100"/>
                  <a:gd name="connsiteX43" fmla="*/ 2815771 w 7197271"/>
                  <a:gd name="connsiteY43" fmla="*/ 76200 h 17945100"/>
                  <a:gd name="connsiteX44" fmla="*/ 2320471 w 7197271"/>
                  <a:gd name="connsiteY44" fmla="*/ 1562100 h 17945100"/>
                  <a:gd name="connsiteX45" fmla="*/ 2091871 w 7197271"/>
                  <a:gd name="connsiteY45" fmla="*/ 1790700 h 17945100"/>
                  <a:gd name="connsiteX46" fmla="*/ 1710871 w 7197271"/>
                  <a:gd name="connsiteY46" fmla="*/ 2095500 h 17945100"/>
                  <a:gd name="connsiteX47" fmla="*/ 1101271 w 7197271"/>
                  <a:gd name="connsiteY47" fmla="*/ 1981200 h 17945100"/>
                  <a:gd name="connsiteX48" fmla="*/ 415471 w 7197271"/>
                  <a:gd name="connsiteY48" fmla="*/ 1790700 h 17945100"/>
                  <a:gd name="connsiteX49" fmla="*/ 415471 w 7197271"/>
                  <a:gd name="connsiteY49" fmla="*/ 1790700 h 17945100"/>
                  <a:gd name="connsiteX0" fmla="*/ 453571 w 7197271"/>
                  <a:gd name="connsiteY0" fmla="*/ 1752600 h 17945100"/>
                  <a:gd name="connsiteX1" fmla="*/ 186871 w 7197271"/>
                  <a:gd name="connsiteY1" fmla="*/ 2133600 h 17945100"/>
                  <a:gd name="connsiteX2" fmla="*/ 263071 w 7197271"/>
                  <a:gd name="connsiteY2" fmla="*/ 2514600 h 17945100"/>
                  <a:gd name="connsiteX3" fmla="*/ 491671 w 7197271"/>
                  <a:gd name="connsiteY3" fmla="*/ 2705100 h 17945100"/>
                  <a:gd name="connsiteX4" fmla="*/ 453571 w 7197271"/>
                  <a:gd name="connsiteY4" fmla="*/ 3962400 h 17945100"/>
                  <a:gd name="connsiteX5" fmla="*/ 186871 w 7197271"/>
                  <a:gd name="connsiteY5" fmla="*/ 6819900 h 17945100"/>
                  <a:gd name="connsiteX6" fmla="*/ 97971 w 7197271"/>
                  <a:gd name="connsiteY6" fmla="*/ 8343900 h 17945100"/>
                  <a:gd name="connsiteX7" fmla="*/ 167821 w 7197271"/>
                  <a:gd name="connsiteY7" fmla="*/ 10096500 h 17945100"/>
                  <a:gd name="connsiteX8" fmla="*/ 186871 w 7197271"/>
                  <a:gd name="connsiteY8" fmla="*/ 11080750 h 17945100"/>
                  <a:gd name="connsiteX9" fmla="*/ 186871 w 7197271"/>
                  <a:gd name="connsiteY9" fmla="*/ 13258800 h 17945100"/>
                  <a:gd name="connsiteX10" fmla="*/ 0 w 7197271"/>
                  <a:gd name="connsiteY10" fmla="*/ 17442544 h 17945100"/>
                  <a:gd name="connsiteX11" fmla="*/ 1598385 w 7197271"/>
                  <a:gd name="connsiteY11" fmla="*/ 17547772 h 17945100"/>
                  <a:gd name="connsiteX12" fmla="*/ 2663371 w 7197271"/>
                  <a:gd name="connsiteY12" fmla="*/ 17487900 h 17945100"/>
                  <a:gd name="connsiteX13" fmla="*/ 2472871 w 7197271"/>
                  <a:gd name="connsiteY13" fmla="*/ 11125200 h 17945100"/>
                  <a:gd name="connsiteX14" fmla="*/ 2371271 w 7197271"/>
                  <a:gd name="connsiteY14" fmla="*/ 9652000 h 17945100"/>
                  <a:gd name="connsiteX15" fmla="*/ 2460171 w 7197271"/>
                  <a:gd name="connsiteY15" fmla="*/ 9169400 h 17945100"/>
                  <a:gd name="connsiteX16" fmla="*/ 2510971 w 7197271"/>
                  <a:gd name="connsiteY16" fmla="*/ 8496300 h 17945100"/>
                  <a:gd name="connsiteX17" fmla="*/ 2701471 w 7197271"/>
                  <a:gd name="connsiteY17" fmla="*/ 7759700 h 17945100"/>
                  <a:gd name="connsiteX18" fmla="*/ 3615871 w 7197271"/>
                  <a:gd name="connsiteY18" fmla="*/ 4114800 h 17945100"/>
                  <a:gd name="connsiteX19" fmla="*/ 3844471 w 7197271"/>
                  <a:gd name="connsiteY19" fmla="*/ 5219700 h 17945100"/>
                  <a:gd name="connsiteX20" fmla="*/ 3996871 w 7197271"/>
                  <a:gd name="connsiteY20" fmla="*/ 7048500 h 17945100"/>
                  <a:gd name="connsiteX21" fmla="*/ 4161971 w 7197271"/>
                  <a:gd name="connsiteY21" fmla="*/ 8801100 h 17945100"/>
                  <a:gd name="connsiteX22" fmla="*/ 4187371 w 7197271"/>
                  <a:gd name="connsiteY22" fmla="*/ 10058400 h 17945100"/>
                  <a:gd name="connsiteX23" fmla="*/ 4149271 w 7197271"/>
                  <a:gd name="connsiteY23" fmla="*/ 11239500 h 17945100"/>
                  <a:gd name="connsiteX24" fmla="*/ 4149271 w 7197271"/>
                  <a:gd name="connsiteY24" fmla="*/ 12877800 h 17945100"/>
                  <a:gd name="connsiteX25" fmla="*/ 4111171 w 7197271"/>
                  <a:gd name="connsiteY25" fmla="*/ 13868400 h 17945100"/>
                  <a:gd name="connsiteX26" fmla="*/ 4187371 w 7197271"/>
                  <a:gd name="connsiteY26" fmla="*/ 17868900 h 17945100"/>
                  <a:gd name="connsiteX27" fmla="*/ 6244771 w 7197271"/>
                  <a:gd name="connsiteY27" fmla="*/ 17945100 h 17945100"/>
                  <a:gd name="connsiteX28" fmla="*/ 6892471 w 7197271"/>
                  <a:gd name="connsiteY28" fmla="*/ 17830800 h 17945100"/>
                  <a:gd name="connsiteX29" fmla="*/ 6682921 w 7197271"/>
                  <a:gd name="connsiteY29" fmla="*/ 13601700 h 17945100"/>
                  <a:gd name="connsiteX30" fmla="*/ 6473371 w 7197271"/>
                  <a:gd name="connsiteY30" fmla="*/ 11487150 h 17945100"/>
                  <a:gd name="connsiteX31" fmla="*/ 6378122 w 7197271"/>
                  <a:gd name="connsiteY31" fmla="*/ 10287000 h 17945100"/>
                  <a:gd name="connsiteX32" fmla="*/ 6454321 w 7197271"/>
                  <a:gd name="connsiteY32" fmla="*/ 8896350 h 17945100"/>
                  <a:gd name="connsiteX33" fmla="*/ 6930571 w 7197271"/>
                  <a:gd name="connsiteY33" fmla="*/ 5143500 h 17945100"/>
                  <a:gd name="connsiteX34" fmla="*/ 7121071 w 7197271"/>
                  <a:gd name="connsiteY34" fmla="*/ 4114800 h 17945100"/>
                  <a:gd name="connsiteX35" fmla="*/ 7197271 w 7197271"/>
                  <a:gd name="connsiteY35" fmla="*/ 2781300 h 17945100"/>
                  <a:gd name="connsiteX36" fmla="*/ 7159171 w 7197271"/>
                  <a:gd name="connsiteY36" fmla="*/ 2095500 h 17945100"/>
                  <a:gd name="connsiteX37" fmla="*/ 6092371 w 7197271"/>
                  <a:gd name="connsiteY37" fmla="*/ 2171700 h 17945100"/>
                  <a:gd name="connsiteX38" fmla="*/ 4492171 w 7197271"/>
                  <a:gd name="connsiteY38" fmla="*/ 2247900 h 17945100"/>
                  <a:gd name="connsiteX39" fmla="*/ 3958771 w 7197271"/>
                  <a:gd name="connsiteY39" fmla="*/ 2209800 h 17945100"/>
                  <a:gd name="connsiteX40" fmla="*/ 3425371 w 7197271"/>
                  <a:gd name="connsiteY40" fmla="*/ 1828800 h 17945100"/>
                  <a:gd name="connsiteX41" fmla="*/ 3272971 w 7197271"/>
                  <a:gd name="connsiteY41" fmla="*/ 1295400 h 17945100"/>
                  <a:gd name="connsiteX42" fmla="*/ 3158671 w 7197271"/>
                  <a:gd name="connsiteY42" fmla="*/ 0 h 17945100"/>
                  <a:gd name="connsiteX43" fmla="*/ 2815771 w 7197271"/>
                  <a:gd name="connsiteY43" fmla="*/ 76200 h 17945100"/>
                  <a:gd name="connsiteX44" fmla="*/ 2320471 w 7197271"/>
                  <a:gd name="connsiteY44" fmla="*/ 1562100 h 17945100"/>
                  <a:gd name="connsiteX45" fmla="*/ 2091871 w 7197271"/>
                  <a:gd name="connsiteY45" fmla="*/ 1790700 h 17945100"/>
                  <a:gd name="connsiteX46" fmla="*/ 1710871 w 7197271"/>
                  <a:gd name="connsiteY46" fmla="*/ 2095500 h 17945100"/>
                  <a:gd name="connsiteX47" fmla="*/ 1101271 w 7197271"/>
                  <a:gd name="connsiteY47" fmla="*/ 1981200 h 17945100"/>
                  <a:gd name="connsiteX48" fmla="*/ 415471 w 7197271"/>
                  <a:gd name="connsiteY48" fmla="*/ 1790700 h 17945100"/>
                  <a:gd name="connsiteX49" fmla="*/ 415471 w 7197271"/>
                  <a:gd name="connsiteY49" fmla="*/ 1790700 h 17945100"/>
                  <a:gd name="connsiteX0" fmla="*/ 453571 w 7197271"/>
                  <a:gd name="connsiteY0" fmla="*/ 1752600 h 17945100"/>
                  <a:gd name="connsiteX1" fmla="*/ 186871 w 7197271"/>
                  <a:gd name="connsiteY1" fmla="*/ 2133600 h 17945100"/>
                  <a:gd name="connsiteX2" fmla="*/ 263071 w 7197271"/>
                  <a:gd name="connsiteY2" fmla="*/ 2514600 h 17945100"/>
                  <a:gd name="connsiteX3" fmla="*/ 491671 w 7197271"/>
                  <a:gd name="connsiteY3" fmla="*/ 2705100 h 17945100"/>
                  <a:gd name="connsiteX4" fmla="*/ 453571 w 7197271"/>
                  <a:gd name="connsiteY4" fmla="*/ 3962400 h 17945100"/>
                  <a:gd name="connsiteX5" fmla="*/ 186871 w 7197271"/>
                  <a:gd name="connsiteY5" fmla="*/ 6819900 h 17945100"/>
                  <a:gd name="connsiteX6" fmla="*/ 97971 w 7197271"/>
                  <a:gd name="connsiteY6" fmla="*/ 8343900 h 17945100"/>
                  <a:gd name="connsiteX7" fmla="*/ 167821 w 7197271"/>
                  <a:gd name="connsiteY7" fmla="*/ 10096500 h 17945100"/>
                  <a:gd name="connsiteX8" fmla="*/ 186871 w 7197271"/>
                  <a:gd name="connsiteY8" fmla="*/ 11080750 h 17945100"/>
                  <a:gd name="connsiteX9" fmla="*/ 186871 w 7197271"/>
                  <a:gd name="connsiteY9" fmla="*/ 13258800 h 17945100"/>
                  <a:gd name="connsiteX10" fmla="*/ 0 w 7197271"/>
                  <a:gd name="connsiteY10" fmla="*/ 17442544 h 17945100"/>
                  <a:gd name="connsiteX11" fmla="*/ 1598385 w 7197271"/>
                  <a:gd name="connsiteY11" fmla="*/ 17547772 h 17945100"/>
                  <a:gd name="connsiteX12" fmla="*/ 2663371 w 7197271"/>
                  <a:gd name="connsiteY12" fmla="*/ 17487900 h 17945100"/>
                  <a:gd name="connsiteX13" fmla="*/ 2472871 w 7197271"/>
                  <a:gd name="connsiteY13" fmla="*/ 11125200 h 17945100"/>
                  <a:gd name="connsiteX14" fmla="*/ 2371271 w 7197271"/>
                  <a:gd name="connsiteY14" fmla="*/ 9652000 h 17945100"/>
                  <a:gd name="connsiteX15" fmla="*/ 2460171 w 7197271"/>
                  <a:gd name="connsiteY15" fmla="*/ 9169400 h 17945100"/>
                  <a:gd name="connsiteX16" fmla="*/ 2510971 w 7197271"/>
                  <a:gd name="connsiteY16" fmla="*/ 8496300 h 17945100"/>
                  <a:gd name="connsiteX17" fmla="*/ 2701471 w 7197271"/>
                  <a:gd name="connsiteY17" fmla="*/ 7759700 h 17945100"/>
                  <a:gd name="connsiteX18" fmla="*/ 3615871 w 7197271"/>
                  <a:gd name="connsiteY18" fmla="*/ 4114800 h 17945100"/>
                  <a:gd name="connsiteX19" fmla="*/ 3844471 w 7197271"/>
                  <a:gd name="connsiteY19" fmla="*/ 5219700 h 17945100"/>
                  <a:gd name="connsiteX20" fmla="*/ 3996871 w 7197271"/>
                  <a:gd name="connsiteY20" fmla="*/ 7048500 h 17945100"/>
                  <a:gd name="connsiteX21" fmla="*/ 4161971 w 7197271"/>
                  <a:gd name="connsiteY21" fmla="*/ 8801100 h 17945100"/>
                  <a:gd name="connsiteX22" fmla="*/ 4187371 w 7197271"/>
                  <a:gd name="connsiteY22" fmla="*/ 10058400 h 17945100"/>
                  <a:gd name="connsiteX23" fmla="*/ 4149271 w 7197271"/>
                  <a:gd name="connsiteY23" fmla="*/ 11239500 h 17945100"/>
                  <a:gd name="connsiteX24" fmla="*/ 4149271 w 7197271"/>
                  <a:gd name="connsiteY24" fmla="*/ 12877800 h 17945100"/>
                  <a:gd name="connsiteX25" fmla="*/ 4111171 w 7197271"/>
                  <a:gd name="connsiteY25" fmla="*/ 13868400 h 17945100"/>
                  <a:gd name="connsiteX26" fmla="*/ 4187371 w 7197271"/>
                  <a:gd name="connsiteY26" fmla="*/ 17868900 h 17945100"/>
                  <a:gd name="connsiteX27" fmla="*/ 6244771 w 7197271"/>
                  <a:gd name="connsiteY27" fmla="*/ 17945100 h 17945100"/>
                  <a:gd name="connsiteX28" fmla="*/ 6892471 w 7197271"/>
                  <a:gd name="connsiteY28" fmla="*/ 17830800 h 17945100"/>
                  <a:gd name="connsiteX29" fmla="*/ 6682921 w 7197271"/>
                  <a:gd name="connsiteY29" fmla="*/ 13601700 h 17945100"/>
                  <a:gd name="connsiteX30" fmla="*/ 6473371 w 7197271"/>
                  <a:gd name="connsiteY30" fmla="*/ 11487150 h 17945100"/>
                  <a:gd name="connsiteX31" fmla="*/ 6378122 w 7197271"/>
                  <a:gd name="connsiteY31" fmla="*/ 10287000 h 17945100"/>
                  <a:gd name="connsiteX32" fmla="*/ 6454321 w 7197271"/>
                  <a:gd name="connsiteY32" fmla="*/ 8896350 h 17945100"/>
                  <a:gd name="connsiteX33" fmla="*/ 6930571 w 7197271"/>
                  <a:gd name="connsiteY33" fmla="*/ 5143500 h 17945100"/>
                  <a:gd name="connsiteX34" fmla="*/ 7121071 w 7197271"/>
                  <a:gd name="connsiteY34" fmla="*/ 4114800 h 17945100"/>
                  <a:gd name="connsiteX35" fmla="*/ 7197271 w 7197271"/>
                  <a:gd name="connsiteY35" fmla="*/ 2781300 h 17945100"/>
                  <a:gd name="connsiteX36" fmla="*/ 7159171 w 7197271"/>
                  <a:gd name="connsiteY36" fmla="*/ 2095500 h 17945100"/>
                  <a:gd name="connsiteX37" fmla="*/ 6092371 w 7197271"/>
                  <a:gd name="connsiteY37" fmla="*/ 2171700 h 17945100"/>
                  <a:gd name="connsiteX38" fmla="*/ 4492171 w 7197271"/>
                  <a:gd name="connsiteY38" fmla="*/ 2247900 h 17945100"/>
                  <a:gd name="connsiteX39" fmla="*/ 3958771 w 7197271"/>
                  <a:gd name="connsiteY39" fmla="*/ 2209800 h 17945100"/>
                  <a:gd name="connsiteX40" fmla="*/ 3425371 w 7197271"/>
                  <a:gd name="connsiteY40" fmla="*/ 1828800 h 17945100"/>
                  <a:gd name="connsiteX41" fmla="*/ 3272971 w 7197271"/>
                  <a:gd name="connsiteY41" fmla="*/ 1295400 h 17945100"/>
                  <a:gd name="connsiteX42" fmla="*/ 3158671 w 7197271"/>
                  <a:gd name="connsiteY42" fmla="*/ 0 h 17945100"/>
                  <a:gd name="connsiteX43" fmla="*/ 2815771 w 7197271"/>
                  <a:gd name="connsiteY43" fmla="*/ 76200 h 17945100"/>
                  <a:gd name="connsiteX44" fmla="*/ 2320471 w 7197271"/>
                  <a:gd name="connsiteY44" fmla="*/ 1562100 h 17945100"/>
                  <a:gd name="connsiteX45" fmla="*/ 2038531 w 7197271"/>
                  <a:gd name="connsiteY45" fmla="*/ 1752600 h 17945100"/>
                  <a:gd name="connsiteX46" fmla="*/ 1710871 w 7197271"/>
                  <a:gd name="connsiteY46" fmla="*/ 2095500 h 17945100"/>
                  <a:gd name="connsiteX47" fmla="*/ 1101271 w 7197271"/>
                  <a:gd name="connsiteY47" fmla="*/ 1981200 h 17945100"/>
                  <a:gd name="connsiteX48" fmla="*/ 415471 w 7197271"/>
                  <a:gd name="connsiteY48" fmla="*/ 1790700 h 17945100"/>
                  <a:gd name="connsiteX49" fmla="*/ 415471 w 7197271"/>
                  <a:gd name="connsiteY49" fmla="*/ 1790700 h 17945100"/>
                  <a:gd name="connsiteX0" fmla="*/ 453571 w 7197271"/>
                  <a:gd name="connsiteY0" fmla="*/ 1752600 h 17945100"/>
                  <a:gd name="connsiteX1" fmla="*/ 186871 w 7197271"/>
                  <a:gd name="connsiteY1" fmla="*/ 2133600 h 17945100"/>
                  <a:gd name="connsiteX2" fmla="*/ 263071 w 7197271"/>
                  <a:gd name="connsiteY2" fmla="*/ 2514600 h 17945100"/>
                  <a:gd name="connsiteX3" fmla="*/ 491671 w 7197271"/>
                  <a:gd name="connsiteY3" fmla="*/ 2705100 h 17945100"/>
                  <a:gd name="connsiteX4" fmla="*/ 453571 w 7197271"/>
                  <a:gd name="connsiteY4" fmla="*/ 3962400 h 17945100"/>
                  <a:gd name="connsiteX5" fmla="*/ 186871 w 7197271"/>
                  <a:gd name="connsiteY5" fmla="*/ 6819900 h 17945100"/>
                  <a:gd name="connsiteX6" fmla="*/ 97971 w 7197271"/>
                  <a:gd name="connsiteY6" fmla="*/ 8343900 h 17945100"/>
                  <a:gd name="connsiteX7" fmla="*/ 167821 w 7197271"/>
                  <a:gd name="connsiteY7" fmla="*/ 10096500 h 17945100"/>
                  <a:gd name="connsiteX8" fmla="*/ 186871 w 7197271"/>
                  <a:gd name="connsiteY8" fmla="*/ 11080750 h 17945100"/>
                  <a:gd name="connsiteX9" fmla="*/ 186871 w 7197271"/>
                  <a:gd name="connsiteY9" fmla="*/ 13258800 h 17945100"/>
                  <a:gd name="connsiteX10" fmla="*/ 0 w 7197271"/>
                  <a:gd name="connsiteY10" fmla="*/ 17442544 h 17945100"/>
                  <a:gd name="connsiteX11" fmla="*/ 1598385 w 7197271"/>
                  <a:gd name="connsiteY11" fmla="*/ 17547772 h 17945100"/>
                  <a:gd name="connsiteX12" fmla="*/ 2663371 w 7197271"/>
                  <a:gd name="connsiteY12" fmla="*/ 17487900 h 17945100"/>
                  <a:gd name="connsiteX13" fmla="*/ 2472871 w 7197271"/>
                  <a:gd name="connsiteY13" fmla="*/ 11125200 h 17945100"/>
                  <a:gd name="connsiteX14" fmla="*/ 2371271 w 7197271"/>
                  <a:gd name="connsiteY14" fmla="*/ 9652000 h 17945100"/>
                  <a:gd name="connsiteX15" fmla="*/ 2460171 w 7197271"/>
                  <a:gd name="connsiteY15" fmla="*/ 9169400 h 17945100"/>
                  <a:gd name="connsiteX16" fmla="*/ 2510971 w 7197271"/>
                  <a:gd name="connsiteY16" fmla="*/ 8496300 h 17945100"/>
                  <a:gd name="connsiteX17" fmla="*/ 2701471 w 7197271"/>
                  <a:gd name="connsiteY17" fmla="*/ 7759700 h 17945100"/>
                  <a:gd name="connsiteX18" fmla="*/ 3615871 w 7197271"/>
                  <a:gd name="connsiteY18" fmla="*/ 4114800 h 17945100"/>
                  <a:gd name="connsiteX19" fmla="*/ 3844471 w 7197271"/>
                  <a:gd name="connsiteY19" fmla="*/ 5219700 h 17945100"/>
                  <a:gd name="connsiteX20" fmla="*/ 3996871 w 7197271"/>
                  <a:gd name="connsiteY20" fmla="*/ 7048500 h 17945100"/>
                  <a:gd name="connsiteX21" fmla="*/ 4161971 w 7197271"/>
                  <a:gd name="connsiteY21" fmla="*/ 8801100 h 17945100"/>
                  <a:gd name="connsiteX22" fmla="*/ 4187371 w 7197271"/>
                  <a:gd name="connsiteY22" fmla="*/ 10058400 h 17945100"/>
                  <a:gd name="connsiteX23" fmla="*/ 4149271 w 7197271"/>
                  <a:gd name="connsiteY23" fmla="*/ 11239500 h 17945100"/>
                  <a:gd name="connsiteX24" fmla="*/ 4149271 w 7197271"/>
                  <a:gd name="connsiteY24" fmla="*/ 12877800 h 17945100"/>
                  <a:gd name="connsiteX25" fmla="*/ 4111171 w 7197271"/>
                  <a:gd name="connsiteY25" fmla="*/ 13868400 h 17945100"/>
                  <a:gd name="connsiteX26" fmla="*/ 4187371 w 7197271"/>
                  <a:gd name="connsiteY26" fmla="*/ 17868900 h 17945100"/>
                  <a:gd name="connsiteX27" fmla="*/ 6244771 w 7197271"/>
                  <a:gd name="connsiteY27" fmla="*/ 17945100 h 17945100"/>
                  <a:gd name="connsiteX28" fmla="*/ 6892471 w 7197271"/>
                  <a:gd name="connsiteY28" fmla="*/ 17830800 h 17945100"/>
                  <a:gd name="connsiteX29" fmla="*/ 6682921 w 7197271"/>
                  <a:gd name="connsiteY29" fmla="*/ 13601700 h 17945100"/>
                  <a:gd name="connsiteX30" fmla="*/ 6473371 w 7197271"/>
                  <a:gd name="connsiteY30" fmla="*/ 11487150 h 17945100"/>
                  <a:gd name="connsiteX31" fmla="*/ 6378122 w 7197271"/>
                  <a:gd name="connsiteY31" fmla="*/ 10287000 h 17945100"/>
                  <a:gd name="connsiteX32" fmla="*/ 6454321 w 7197271"/>
                  <a:gd name="connsiteY32" fmla="*/ 8896350 h 17945100"/>
                  <a:gd name="connsiteX33" fmla="*/ 6930571 w 7197271"/>
                  <a:gd name="connsiteY33" fmla="*/ 5143500 h 17945100"/>
                  <a:gd name="connsiteX34" fmla="*/ 7121071 w 7197271"/>
                  <a:gd name="connsiteY34" fmla="*/ 4114800 h 17945100"/>
                  <a:gd name="connsiteX35" fmla="*/ 7197271 w 7197271"/>
                  <a:gd name="connsiteY35" fmla="*/ 2781300 h 17945100"/>
                  <a:gd name="connsiteX36" fmla="*/ 7159171 w 7197271"/>
                  <a:gd name="connsiteY36" fmla="*/ 2095500 h 17945100"/>
                  <a:gd name="connsiteX37" fmla="*/ 6092371 w 7197271"/>
                  <a:gd name="connsiteY37" fmla="*/ 2171700 h 17945100"/>
                  <a:gd name="connsiteX38" fmla="*/ 4492171 w 7197271"/>
                  <a:gd name="connsiteY38" fmla="*/ 2247900 h 17945100"/>
                  <a:gd name="connsiteX39" fmla="*/ 3958771 w 7197271"/>
                  <a:gd name="connsiteY39" fmla="*/ 2209800 h 17945100"/>
                  <a:gd name="connsiteX40" fmla="*/ 3425371 w 7197271"/>
                  <a:gd name="connsiteY40" fmla="*/ 1828800 h 17945100"/>
                  <a:gd name="connsiteX41" fmla="*/ 3272971 w 7197271"/>
                  <a:gd name="connsiteY41" fmla="*/ 1295400 h 17945100"/>
                  <a:gd name="connsiteX42" fmla="*/ 3158671 w 7197271"/>
                  <a:gd name="connsiteY42" fmla="*/ 0 h 17945100"/>
                  <a:gd name="connsiteX43" fmla="*/ 2815771 w 7197271"/>
                  <a:gd name="connsiteY43" fmla="*/ 76200 h 17945100"/>
                  <a:gd name="connsiteX44" fmla="*/ 2320471 w 7197271"/>
                  <a:gd name="connsiteY44" fmla="*/ 1562100 h 17945100"/>
                  <a:gd name="connsiteX45" fmla="*/ 2038531 w 7197271"/>
                  <a:gd name="connsiteY45" fmla="*/ 1752600 h 17945100"/>
                  <a:gd name="connsiteX46" fmla="*/ 1710871 w 7197271"/>
                  <a:gd name="connsiteY46" fmla="*/ 2095500 h 17945100"/>
                  <a:gd name="connsiteX47" fmla="*/ 1101271 w 7197271"/>
                  <a:gd name="connsiteY47" fmla="*/ 1981200 h 17945100"/>
                  <a:gd name="connsiteX48" fmla="*/ 415471 w 7197271"/>
                  <a:gd name="connsiteY48" fmla="*/ 1790700 h 17945100"/>
                  <a:gd name="connsiteX49" fmla="*/ 415471 w 7197271"/>
                  <a:gd name="connsiteY49" fmla="*/ 1790700 h 17945100"/>
                  <a:gd name="connsiteX0" fmla="*/ 453571 w 7197271"/>
                  <a:gd name="connsiteY0" fmla="*/ 1752600 h 17945100"/>
                  <a:gd name="connsiteX1" fmla="*/ 186871 w 7197271"/>
                  <a:gd name="connsiteY1" fmla="*/ 2133600 h 17945100"/>
                  <a:gd name="connsiteX2" fmla="*/ 263071 w 7197271"/>
                  <a:gd name="connsiteY2" fmla="*/ 2514600 h 17945100"/>
                  <a:gd name="connsiteX3" fmla="*/ 491671 w 7197271"/>
                  <a:gd name="connsiteY3" fmla="*/ 2705100 h 17945100"/>
                  <a:gd name="connsiteX4" fmla="*/ 453571 w 7197271"/>
                  <a:gd name="connsiteY4" fmla="*/ 3962400 h 17945100"/>
                  <a:gd name="connsiteX5" fmla="*/ 186871 w 7197271"/>
                  <a:gd name="connsiteY5" fmla="*/ 6819900 h 17945100"/>
                  <a:gd name="connsiteX6" fmla="*/ 97971 w 7197271"/>
                  <a:gd name="connsiteY6" fmla="*/ 8343900 h 17945100"/>
                  <a:gd name="connsiteX7" fmla="*/ 167821 w 7197271"/>
                  <a:gd name="connsiteY7" fmla="*/ 10096500 h 17945100"/>
                  <a:gd name="connsiteX8" fmla="*/ 186871 w 7197271"/>
                  <a:gd name="connsiteY8" fmla="*/ 11080750 h 17945100"/>
                  <a:gd name="connsiteX9" fmla="*/ 186871 w 7197271"/>
                  <a:gd name="connsiteY9" fmla="*/ 13258800 h 17945100"/>
                  <a:gd name="connsiteX10" fmla="*/ 0 w 7197271"/>
                  <a:gd name="connsiteY10" fmla="*/ 17442544 h 17945100"/>
                  <a:gd name="connsiteX11" fmla="*/ 1598385 w 7197271"/>
                  <a:gd name="connsiteY11" fmla="*/ 17547772 h 17945100"/>
                  <a:gd name="connsiteX12" fmla="*/ 2663371 w 7197271"/>
                  <a:gd name="connsiteY12" fmla="*/ 17487900 h 17945100"/>
                  <a:gd name="connsiteX13" fmla="*/ 2472871 w 7197271"/>
                  <a:gd name="connsiteY13" fmla="*/ 11125200 h 17945100"/>
                  <a:gd name="connsiteX14" fmla="*/ 2371271 w 7197271"/>
                  <a:gd name="connsiteY14" fmla="*/ 9652000 h 17945100"/>
                  <a:gd name="connsiteX15" fmla="*/ 2460171 w 7197271"/>
                  <a:gd name="connsiteY15" fmla="*/ 9169400 h 17945100"/>
                  <a:gd name="connsiteX16" fmla="*/ 2510971 w 7197271"/>
                  <a:gd name="connsiteY16" fmla="*/ 8496300 h 17945100"/>
                  <a:gd name="connsiteX17" fmla="*/ 2701471 w 7197271"/>
                  <a:gd name="connsiteY17" fmla="*/ 7759700 h 17945100"/>
                  <a:gd name="connsiteX18" fmla="*/ 3615871 w 7197271"/>
                  <a:gd name="connsiteY18" fmla="*/ 4114800 h 17945100"/>
                  <a:gd name="connsiteX19" fmla="*/ 3844471 w 7197271"/>
                  <a:gd name="connsiteY19" fmla="*/ 5219700 h 17945100"/>
                  <a:gd name="connsiteX20" fmla="*/ 3996871 w 7197271"/>
                  <a:gd name="connsiteY20" fmla="*/ 7048500 h 17945100"/>
                  <a:gd name="connsiteX21" fmla="*/ 4161971 w 7197271"/>
                  <a:gd name="connsiteY21" fmla="*/ 8801100 h 17945100"/>
                  <a:gd name="connsiteX22" fmla="*/ 4187371 w 7197271"/>
                  <a:gd name="connsiteY22" fmla="*/ 10058400 h 17945100"/>
                  <a:gd name="connsiteX23" fmla="*/ 4149271 w 7197271"/>
                  <a:gd name="connsiteY23" fmla="*/ 11239500 h 17945100"/>
                  <a:gd name="connsiteX24" fmla="*/ 4149271 w 7197271"/>
                  <a:gd name="connsiteY24" fmla="*/ 12877800 h 17945100"/>
                  <a:gd name="connsiteX25" fmla="*/ 4111171 w 7197271"/>
                  <a:gd name="connsiteY25" fmla="*/ 13868400 h 17945100"/>
                  <a:gd name="connsiteX26" fmla="*/ 4187371 w 7197271"/>
                  <a:gd name="connsiteY26" fmla="*/ 17868900 h 17945100"/>
                  <a:gd name="connsiteX27" fmla="*/ 6244771 w 7197271"/>
                  <a:gd name="connsiteY27" fmla="*/ 17945100 h 17945100"/>
                  <a:gd name="connsiteX28" fmla="*/ 6892471 w 7197271"/>
                  <a:gd name="connsiteY28" fmla="*/ 17830800 h 17945100"/>
                  <a:gd name="connsiteX29" fmla="*/ 6682921 w 7197271"/>
                  <a:gd name="connsiteY29" fmla="*/ 13601700 h 17945100"/>
                  <a:gd name="connsiteX30" fmla="*/ 6473371 w 7197271"/>
                  <a:gd name="connsiteY30" fmla="*/ 11487150 h 17945100"/>
                  <a:gd name="connsiteX31" fmla="*/ 6378122 w 7197271"/>
                  <a:gd name="connsiteY31" fmla="*/ 10287000 h 17945100"/>
                  <a:gd name="connsiteX32" fmla="*/ 6454321 w 7197271"/>
                  <a:gd name="connsiteY32" fmla="*/ 8896350 h 17945100"/>
                  <a:gd name="connsiteX33" fmla="*/ 6930571 w 7197271"/>
                  <a:gd name="connsiteY33" fmla="*/ 5143500 h 17945100"/>
                  <a:gd name="connsiteX34" fmla="*/ 7121071 w 7197271"/>
                  <a:gd name="connsiteY34" fmla="*/ 4114800 h 17945100"/>
                  <a:gd name="connsiteX35" fmla="*/ 7197271 w 7197271"/>
                  <a:gd name="connsiteY35" fmla="*/ 2781300 h 17945100"/>
                  <a:gd name="connsiteX36" fmla="*/ 7159171 w 7197271"/>
                  <a:gd name="connsiteY36" fmla="*/ 2095500 h 17945100"/>
                  <a:gd name="connsiteX37" fmla="*/ 6092371 w 7197271"/>
                  <a:gd name="connsiteY37" fmla="*/ 2171700 h 17945100"/>
                  <a:gd name="connsiteX38" fmla="*/ 4492171 w 7197271"/>
                  <a:gd name="connsiteY38" fmla="*/ 2247900 h 17945100"/>
                  <a:gd name="connsiteX39" fmla="*/ 3958771 w 7197271"/>
                  <a:gd name="connsiteY39" fmla="*/ 2209800 h 17945100"/>
                  <a:gd name="connsiteX40" fmla="*/ 3425371 w 7197271"/>
                  <a:gd name="connsiteY40" fmla="*/ 1737360 h 17945100"/>
                  <a:gd name="connsiteX41" fmla="*/ 3272971 w 7197271"/>
                  <a:gd name="connsiteY41" fmla="*/ 1295400 h 17945100"/>
                  <a:gd name="connsiteX42" fmla="*/ 3158671 w 7197271"/>
                  <a:gd name="connsiteY42" fmla="*/ 0 h 17945100"/>
                  <a:gd name="connsiteX43" fmla="*/ 2815771 w 7197271"/>
                  <a:gd name="connsiteY43" fmla="*/ 76200 h 17945100"/>
                  <a:gd name="connsiteX44" fmla="*/ 2320471 w 7197271"/>
                  <a:gd name="connsiteY44" fmla="*/ 1562100 h 17945100"/>
                  <a:gd name="connsiteX45" fmla="*/ 2038531 w 7197271"/>
                  <a:gd name="connsiteY45" fmla="*/ 1752600 h 17945100"/>
                  <a:gd name="connsiteX46" fmla="*/ 1710871 w 7197271"/>
                  <a:gd name="connsiteY46" fmla="*/ 2095500 h 17945100"/>
                  <a:gd name="connsiteX47" fmla="*/ 1101271 w 7197271"/>
                  <a:gd name="connsiteY47" fmla="*/ 1981200 h 17945100"/>
                  <a:gd name="connsiteX48" fmla="*/ 415471 w 7197271"/>
                  <a:gd name="connsiteY48" fmla="*/ 1790700 h 17945100"/>
                  <a:gd name="connsiteX49" fmla="*/ 415471 w 7197271"/>
                  <a:gd name="connsiteY49" fmla="*/ 1790700 h 17945100"/>
                  <a:gd name="connsiteX0" fmla="*/ 453571 w 7197271"/>
                  <a:gd name="connsiteY0" fmla="*/ 1752600 h 17945100"/>
                  <a:gd name="connsiteX1" fmla="*/ 186871 w 7197271"/>
                  <a:gd name="connsiteY1" fmla="*/ 2133600 h 17945100"/>
                  <a:gd name="connsiteX2" fmla="*/ 263071 w 7197271"/>
                  <a:gd name="connsiteY2" fmla="*/ 2514600 h 17945100"/>
                  <a:gd name="connsiteX3" fmla="*/ 491671 w 7197271"/>
                  <a:gd name="connsiteY3" fmla="*/ 2705100 h 17945100"/>
                  <a:gd name="connsiteX4" fmla="*/ 453571 w 7197271"/>
                  <a:gd name="connsiteY4" fmla="*/ 3962400 h 17945100"/>
                  <a:gd name="connsiteX5" fmla="*/ 186871 w 7197271"/>
                  <a:gd name="connsiteY5" fmla="*/ 6819900 h 17945100"/>
                  <a:gd name="connsiteX6" fmla="*/ 97971 w 7197271"/>
                  <a:gd name="connsiteY6" fmla="*/ 8343900 h 17945100"/>
                  <a:gd name="connsiteX7" fmla="*/ 167821 w 7197271"/>
                  <a:gd name="connsiteY7" fmla="*/ 10096500 h 17945100"/>
                  <a:gd name="connsiteX8" fmla="*/ 186871 w 7197271"/>
                  <a:gd name="connsiteY8" fmla="*/ 11080750 h 17945100"/>
                  <a:gd name="connsiteX9" fmla="*/ 186871 w 7197271"/>
                  <a:gd name="connsiteY9" fmla="*/ 13258800 h 17945100"/>
                  <a:gd name="connsiteX10" fmla="*/ 0 w 7197271"/>
                  <a:gd name="connsiteY10" fmla="*/ 17442544 h 17945100"/>
                  <a:gd name="connsiteX11" fmla="*/ 1598385 w 7197271"/>
                  <a:gd name="connsiteY11" fmla="*/ 17547772 h 17945100"/>
                  <a:gd name="connsiteX12" fmla="*/ 2663371 w 7197271"/>
                  <a:gd name="connsiteY12" fmla="*/ 17487900 h 17945100"/>
                  <a:gd name="connsiteX13" fmla="*/ 2472871 w 7197271"/>
                  <a:gd name="connsiteY13" fmla="*/ 11125200 h 17945100"/>
                  <a:gd name="connsiteX14" fmla="*/ 2371271 w 7197271"/>
                  <a:gd name="connsiteY14" fmla="*/ 9652000 h 17945100"/>
                  <a:gd name="connsiteX15" fmla="*/ 2460171 w 7197271"/>
                  <a:gd name="connsiteY15" fmla="*/ 9169400 h 17945100"/>
                  <a:gd name="connsiteX16" fmla="*/ 2510971 w 7197271"/>
                  <a:gd name="connsiteY16" fmla="*/ 8496300 h 17945100"/>
                  <a:gd name="connsiteX17" fmla="*/ 2701471 w 7197271"/>
                  <a:gd name="connsiteY17" fmla="*/ 7759700 h 17945100"/>
                  <a:gd name="connsiteX18" fmla="*/ 3615871 w 7197271"/>
                  <a:gd name="connsiteY18" fmla="*/ 4114800 h 17945100"/>
                  <a:gd name="connsiteX19" fmla="*/ 3844471 w 7197271"/>
                  <a:gd name="connsiteY19" fmla="*/ 5219700 h 17945100"/>
                  <a:gd name="connsiteX20" fmla="*/ 3996871 w 7197271"/>
                  <a:gd name="connsiteY20" fmla="*/ 7048500 h 17945100"/>
                  <a:gd name="connsiteX21" fmla="*/ 4161971 w 7197271"/>
                  <a:gd name="connsiteY21" fmla="*/ 8801100 h 17945100"/>
                  <a:gd name="connsiteX22" fmla="*/ 4187371 w 7197271"/>
                  <a:gd name="connsiteY22" fmla="*/ 10058400 h 17945100"/>
                  <a:gd name="connsiteX23" fmla="*/ 4149271 w 7197271"/>
                  <a:gd name="connsiteY23" fmla="*/ 11239500 h 17945100"/>
                  <a:gd name="connsiteX24" fmla="*/ 4149271 w 7197271"/>
                  <a:gd name="connsiteY24" fmla="*/ 12877800 h 17945100"/>
                  <a:gd name="connsiteX25" fmla="*/ 4111171 w 7197271"/>
                  <a:gd name="connsiteY25" fmla="*/ 13868400 h 17945100"/>
                  <a:gd name="connsiteX26" fmla="*/ 4187371 w 7197271"/>
                  <a:gd name="connsiteY26" fmla="*/ 17868900 h 17945100"/>
                  <a:gd name="connsiteX27" fmla="*/ 6244771 w 7197271"/>
                  <a:gd name="connsiteY27" fmla="*/ 17945100 h 17945100"/>
                  <a:gd name="connsiteX28" fmla="*/ 6892471 w 7197271"/>
                  <a:gd name="connsiteY28" fmla="*/ 17830800 h 17945100"/>
                  <a:gd name="connsiteX29" fmla="*/ 6682921 w 7197271"/>
                  <a:gd name="connsiteY29" fmla="*/ 13601700 h 17945100"/>
                  <a:gd name="connsiteX30" fmla="*/ 6473371 w 7197271"/>
                  <a:gd name="connsiteY30" fmla="*/ 11487150 h 17945100"/>
                  <a:gd name="connsiteX31" fmla="*/ 6378122 w 7197271"/>
                  <a:gd name="connsiteY31" fmla="*/ 10287000 h 17945100"/>
                  <a:gd name="connsiteX32" fmla="*/ 6454321 w 7197271"/>
                  <a:gd name="connsiteY32" fmla="*/ 8896350 h 17945100"/>
                  <a:gd name="connsiteX33" fmla="*/ 6930571 w 7197271"/>
                  <a:gd name="connsiteY33" fmla="*/ 5143500 h 17945100"/>
                  <a:gd name="connsiteX34" fmla="*/ 7121071 w 7197271"/>
                  <a:gd name="connsiteY34" fmla="*/ 4114800 h 17945100"/>
                  <a:gd name="connsiteX35" fmla="*/ 7197271 w 7197271"/>
                  <a:gd name="connsiteY35" fmla="*/ 2781300 h 17945100"/>
                  <a:gd name="connsiteX36" fmla="*/ 7159171 w 7197271"/>
                  <a:gd name="connsiteY36" fmla="*/ 2095500 h 17945100"/>
                  <a:gd name="connsiteX37" fmla="*/ 6092371 w 7197271"/>
                  <a:gd name="connsiteY37" fmla="*/ 2171700 h 17945100"/>
                  <a:gd name="connsiteX38" fmla="*/ 4492171 w 7197271"/>
                  <a:gd name="connsiteY38" fmla="*/ 2247900 h 17945100"/>
                  <a:gd name="connsiteX39" fmla="*/ 3958771 w 7197271"/>
                  <a:gd name="connsiteY39" fmla="*/ 2209800 h 17945100"/>
                  <a:gd name="connsiteX40" fmla="*/ 3425371 w 7197271"/>
                  <a:gd name="connsiteY40" fmla="*/ 1737360 h 17945100"/>
                  <a:gd name="connsiteX41" fmla="*/ 3295831 w 7197271"/>
                  <a:gd name="connsiteY41" fmla="*/ 1348740 h 17945100"/>
                  <a:gd name="connsiteX42" fmla="*/ 3158671 w 7197271"/>
                  <a:gd name="connsiteY42" fmla="*/ 0 h 17945100"/>
                  <a:gd name="connsiteX43" fmla="*/ 2815771 w 7197271"/>
                  <a:gd name="connsiteY43" fmla="*/ 76200 h 17945100"/>
                  <a:gd name="connsiteX44" fmla="*/ 2320471 w 7197271"/>
                  <a:gd name="connsiteY44" fmla="*/ 1562100 h 17945100"/>
                  <a:gd name="connsiteX45" fmla="*/ 2038531 w 7197271"/>
                  <a:gd name="connsiteY45" fmla="*/ 1752600 h 17945100"/>
                  <a:gd name="connsiteX46" fmla="*/ 1710871 w 7197271"/>
                  <a:gd name="connsiteY46" fmla="*/ 2095500 h 17945100"/>
                  <a:gd name="connsiteX47" fmla="*/ 1101271 w 7197271"/>
                  <a:gd name="connsiteY47" fmla="*/ 1981200 h 17945100"/>
                  <a:gd name="connsiteX48" fmla="*/ 415471 w 7197271"/>
                  <a:gd name="connsiteY48" fmla="*/ 1790700 h 17945100"/>
                  <a:gd name="connsiteX49" fmla="*/ 415471 w 7197271"/>
                  <a:gd name="connsiteY49" fmla="*/ 1790700 h 17945100"/>
                  <a:gd name="connsiteX0" fmla="*/ 453571 w 7197271"/>
                  <a:gd name="connsiteY0" fmla="*/ 1676400 h 17868900"/>
                  <a:gd name="connsiteX1" fmla="*/ 186871 w 7197271"/>
                  <a:gd name="connsiteY1" fmla="*/ 2057400 h 17868900"/>
                  <a:gd name="connsiteX2" fmla="*/ 263071 w 7197271"/>
                  <a:gd name="connsiteY2" fmla="*/ 2438400 h 17868900"/>
                  <a:gd name="connsiteX3" fmla="*/ 491671 w 7197271"/>
                  <a:gd name="connsiteY3" fmla="*/ 2628900 h 17868900"/>
                  <a:gd name="connsiteX4" fmla="*/ 453571 w 7197271"/>
                  <a:gd name="connsiteY4" fmla="*/ 3886200 h 17868900"/>
                  <a:gd name="connsiteX5" fmla="*/ 186871 w 7197271"/>
                  <a:gd name="connsiteY5" fmla="*/ 6743700 h 17868900"/>
                  <a:gd name="connsiteX6" fmla="*/ 97971 w 7197271"/>
                  <a:gd name="connsiteY6" fmla="*/ 8267700 h 17868900"/>
                  <a:gd name="connsiteX7" fmla="*/ 167821 w 7197271"/>
                  <a:gd name="connsiteY7" fmla="*/ 10020300 h 17868900"/>
                  <a:gd name="connsiteX8" fmla="*/ 186871 w 7197271"/>
                  <a:gd name="connsiteY8" fmla="*/ 11004550 h 17868900"/>
                  <a:gd name="connsiteX9" fmla="*/ 186871 w 7197271"/>
                  <a:gd name="connsiteY9" fmla="*/ 13182600 h 17868900"/>
                  <a:gd name="connsiteX10" fmla="*/ 0 w 7197271"/>
                  <a:gd name="connsiteY10" fmla="*/ 17366344 h 17868900"/>
                  <a:gd name="connsiteX11" fmla="*/ 1598385 w 7197271"/>
                  <a:gd name="connsiteY11" fmla="*/ 17471572 h 17868900"/>
                  <a:gd name="connsiteX12" fmla="*/ 2663371 w 7197271"/>
                  <a:gd name="connsiteY12" fmla="*/ 17411700 h 17868900"/>
                  <a:gd name="connsiteX13" fmla="*/ 2472871 w 7197271"/>
                  <a:gd name="connsiteY13" fmla="*/ 11049000 h 17868900"/>
                  <a:gd name="connsiteX14" fmla="*/ 2371271 w 7197271"/>
                  <a:gd name="connsiteY14" fmla="*/ 9575800 h 17868900"/>
                  <a:gd name="connsiteX15" fmla="*/ 2460171 w 7197271"/>
                  <a:gd name="connsiteY15" fmla="*/ 9093200 h 17868900"/>
                  <a:gd name="connsiteX16" fmla="*/ 2510971 w 7197271"/>
                  <a:gd name="connsiteY16" fmla="*/ 8420100 h 17868900"/>
                  <a:gd name="connsiteX17" fmla="*/ 2701471 w 7197271"/>
                  <a:gd name="connsiteY17" fmla="*/ 7683500 h 17868900"/>
                  <a:gd name="connsiteX18" fmla="*/ 3615871 w 7197271"/>
                  <a:gd name="connsiteY18" fmla="*/ 4038600 h 17868900"/>
                  <a:gd name="connsiteX19" fmla="*/ 3844471 w 7197271"/>
                  <a:gd name="connsiteY19" fmla="*/ 5143500 h 17868900"/>
                  <a:gd name="connsiteX20" fmla="*/ 3996871 w 7197271"/>
                  <a:gd name="connsiteY20" fmla="*/ 6972300 h 17868900"/>
                  <a:gd name="connsiteX21" fmla="*/ 4161971 w 7197271"/>
                  <a:gd name="connsiteY21" fmla="*/ 8724900 h 17868900"/>
                  <a:gd name="connsiteX22" fmla="*/ 4187371 w 7197271"/>
                  <a:gd name="connsiteY22" fmla="*/ 9982200 h 17868900"/>
                  <a:gd name="connsiteX23" fmla="*/ 4149271 w 7197271"/>
                  <a:gd name="connsiteY23" fmla="*/ 11163300 h 17868900"/>
                  <a:gd name="connsiteX24" fmla="*/ 4149271 w 7197271"/>
                  <a:gd name="connsiteY24" fmla="*/ 12801600 h 17868900"/>
                  <a:gd name="connsiteX25" fmla="*/ 4111171 w 7197271"/>
                  <a:gd name="connsiteY25" fmla="*/ 13792200 h 17868900"/>
                  <a:gd name="connsiteX26" fmla="*/ 4187371 w 7197271"/>
                  <a:gd name="connsiteY26" fmla="*/ 17792700 h 17868900"/>
                  <a:gd name="connsiteX27" fmla="*/ 6244771 w 7197271"/>
                  <a:gd name="connsiteY27" fmla="*/ 17868900 h 17868900"/>
                  <a:gd name="connsiteX28" fmla="*/ 6892471 w 7197271"/>
                  <a:gd name="connsiteY28" fmla="*/ 17754600 h 17868900"/>
                  <a:gd name="connsiteX29" fmla="*/ 6682921 w 7197271"/>
                  <a:gd name="connsiteY29" fmla="*/ 13525500 h 17868900"/>
                  <a:gd name="connsiteX30" fmla="*/ 6473371 w 7197271"/>
                  <a:gd name="connsiteY30" fmla="*/ 11410950 h 17868900"/>
                  <a:gd name="connsiteX31" fmla="*/ 6378122 w 7197271"/>
                  <a:gd name="connsiteY31" fmla="*/ 10210800 h 17868900"/>
                  <a:gd name="connsiteX32" fmla="*/ 6454321 w 7197271"/>
                  <a:gd name="connsiteY32" fmla="*/ 8820150 h 17868900"/>
                  <a:gd name="connsiteX33" fmla="*/ 6930571 w 7197271"/>
                  <a:gd name="connsiteY33" fmla="*/ 5067300 h 17868900"/>
                  <a:gd name="connsiteX34" fmla="*/ 7121071 w 7197271"/>
                  <a:gd name="connsiteY34" fmla="*/ 4038600 h 17868900"/>
                  <a:gd name="connsiteX35" fmla="*/ 7197271 w 7197271"/>
                  <a:gd name="connsiteY35" fmla="*/ 2705100 h 17868900"/>
                  <a:gd name="connsiteX36" fmla="*/ 7159171 w 7197271"/>
                  <a:gd name="connsiteY36" fmla="*/ 2019300 h 17868900"/>
                  <a:gd name="connsiteX37" fmla="*/ 6092371 w 7197271"/>
                  <a:gd name="connsiteY37" fmla="*/ 2095500 h 17868900"/>
                  <a:gd name="connsiteX38" fmla="*/ 4492171 w 7197271"/>
                  <a:gd name="connsiteY38" fmla="*/ 2171700 h 17868900"/>
                  <a:gd name="connsiteX39" fmla="*/ 3958771 w 7197271"/>
                  <a:gd name="connsiteY39" fmla="*/ 2133600 h 17868900"/>
                  <a:gd name="connsiteX40" fmla="*/ 3425371 w 7197271"/>
                  <a:gd name="connsiteY40" fmla="*/ 1661160 h 17868900"/>
                  <a:gd name="connsiteX41" fmla="*/ 3295831 w 7197271"/>
                  <a:gd name="connsiteY41" fmla="*/ 1272540 h 17868900"/>
                  <a:gd name="connsiteX42" fmla="*/ 3196771 w 7197271"/>
                  <a:gd name="connsiteY42" fmla="*/ 7620 h 17868900"/>
                  <a:gd name="connsiteX43" fmla="*/ 2815771 w 7197271"/>
                  <a:gd name="connsiteY43" fmla="*/ 0 h 17868900"/>
                  <a:gd name="connsiteX44" fmla="*/ 2320471 w 7197271"/>
                  <a:gd name="connsiteY44" fmla="*/ 1485900 h 17868900"/>
                  <a:gd name="connsiteX45" fmla="*/ 2038531 w 7197271"/>
                  <a:gd name="connsiteY45" fmla="*/ 1676400 h 17868900"/>
                  <a:gd name="connsiteX46" fmla="*/ 1710871 w 7197271"/>
                  <a:gd name="connsiteY46" fmla="*/ 2019300 h 17868900"/>
                  <a:gd name="connsiteX47" fmla="*/ 1101271 w 7197271"/>
                  <a:gd name="connsiteY47" fmla="*/ 1905000 h 17868900"/>
                  <a:gd name="connsiteX48" fmla="*/ 415471 w 7197271"/>
                  <a:gd name="connsiteY48" fmla="*/ 1714500 h 17868900"/>
                  <a:gd name="connsiteX49" fmla="*/ 415471 w 7197271"/>
                  <a:gd name="connsiteY49" fmla="*/ 1714500 h 17868900"/>
                  <a:gd name="connsiteX0" fmla="*/ 453571 w 7197271"/>
                  <a:gd name="connsiteY0" fmla="*/ 1676400 h 17868900"/>
                  <a:gd name="connsiteX1" fmla="*/ 186871 w 7197271"/>
                  <a:gd name="connsiteY1" fmla="*/ 2057400 h 17868900"/>
                  <a:gd name="connsiteX2" fmla="*/ 263071 w 7197271"/>
                  <a:gd name="connsiteY2" fmla="*/ 2438400 h 17868900"/>
                  <a:gd name="connsiteX3" fmla="*/ 491671 w 7197271"/>
                  <a:gd name="connsiteY3" fmla="*/ 2628900 h 17868900"/>
                  <a:gd name="connsiteX4" fmla="*/ 453571 w 7197271"/>
                  <a:gd name="connsiteY4" fmla="*/ 3886200 h 17868900"/>
                  <a:gd name="connsiteX5" fmla="*/ 186871 w 7197271"/>
                  <a:gd name="connsiteY5" fmla="*/ 6743700 h 17868900"/>
                  <a:gd name="connsiteX6" fmla="*/ 97971 w 7197271"/>
                  <a:gd name="connsiteY6" fmla="*/ 8267700 h 17868900"/>
                  <a:gd name="connsiteX7" fmla="*/ 167821 w 7197271"/>
                  <a:gd name="connsiteY7" fmla="*/ 10020300 h 17868900"/>
                  <a:gd name="connsiteX8" fmla="*/ 186871 w 7197271"/>
                  <a:gd name="connsiteY8" fmla="*/ 11004550 h 17868900"/>
                  <a:gd name="connsiteX9" fmla="*/ 186871 w 7197271"/>
                  <a:gd name="connsiteY9" fmla="*/ 13182600 h 17868900"/>
                  <a:gd name="connsiteX10" fmla="*/ 0 w 7197271"/>
                  <a:gd name="connsiteY10" fmla="*/ 17366344 h 17868900"/>
                  <a:gd name="connsiteX11" fmla="*/ 1598385 w 7197271"/>
                  <a:gd name="connsiteY11" fmla="*/ 17471572 h 17868900"/>
                  <a:gd name="connsiteX12" fmla="*/ 2663371 w 7197271"/>
                  <a:gd name="connsiteY12" fmla="*/ 17411700 h 17868900"/>
                  <a:gd name="connsiteX13" fmla="*/ 2472871 w 7197271"/>
                  <a:gd name="connsiteY13" fmla="*/ 11049000 h 17868900"/>
                  <a:gd name="connsiteX14" fmla="*/ 2371271 w 7197271"/>
                  <a:gd name="connsiteY14" fmla="*/ 9575800 h 17868900"/>
                  <a:gd name="connsiteX15" fmla="*/ 2460171 w 7197271"/>
                  <a:gd name="connsiteY15" fmla="*/ 9093200 h 17868900"/>
                  <a:gd name="connsiteX16" fmla="*/ 2510971 w 7197271"/>
                  <a:gd name="connsiteY16" fmla="*/ 8420100 h 17868900"/>
                  <a:gd name="connsiteX17" fmla="*/ 2701471 w 7197271"/>
                  <a:gd name="connsiteY17" fmla="*/ 7683500 h 17868900"/>
                  <a:gd name="connsiteX18" fmla="*/ 3615871 w 7197271"/>
                  <a:gd name="connsiteY18" fmla="*/ 4038600 h 17868900"/>
                  <a:gd name="connsiteX19" fmla="*/ 3844471 w 7197271"/>
                  <a:gd name="connsiteY19" fmla="*/ 5143500 h 17868900"/>
                  <a:gd name="connsiteX20" fmla="*/ 3996871 w 7197271"/>
                  <a:gd name="connsiteY20" fmla="*/ 6972300 h 17868900"/>
                  <a:gd name="connsiteX21" fmla="*/ 4161971 w 7197271"/>
                  <a:gd name="connsiteY21" fmla="*/ 8724900 h 17868900"/>
                  <a:gd name="connsiteX22" fmla="*/ 4187371 w 7197271"/>
                  <a:gd name="connsiteY22" fmla="*/ 9982200 h 17868900"/>
                  <a:gd name="connsiteX23" fmla="*/ 4149271 w 7197271"/>
                  <a:gd name="connsiteY23" fmla="*/ 11163300 h 17868900"/>
                  <a:gd name="connsiteX24" fmla="*/ 4149271 w 7197271"/>
                  <a:gd name="connsiteY24" fmla="*/ 12801600 h 17868900"/>
                  <a:gd name="connsiteX25" fmla="*/ 4111171 w 7197271"/>
                  <a:gd name="connsiteY25" fmla="*/ 13792200 h 17868900"/>
                  <a:gd name="connsiteX26" fmla="*/ 4187371 w 7197271"/>
                  <a:gd name="connsiteY26" fmla="*/ 17792700 h 17868900"/>
                  <a:gd name="connsiteX27" fmla="*/ 6244771 w 7197271"/>
                  <a:gd name="connsiteY27" fmla="*/ 17868900 h 17868900"/>
                  <a:gd name="connsiteX28" fmla="*/ 6892471 w 7197271"/>
                  <a:gd name="connsiteY28" fmla="*/ 17754600 h 17868900"/>
                  <a:gd name="connsiteX29" fmla="*/ 6682921 w 7197271"/>
                  <a:gd name="connsiteY29" fmla="*/ 13525500 h 17868900"/>
                  <a:gd name="connsiteX30" fmla="*/ 6473371 w 7197271"/>
                  <a:gd name="connsiteY30" fmla="*/ 11410950 h 17868900"/>
                  <a:gd name="connsiteX31" fmla="*/ 6378122 w 7197271"/>
                  <a:gd name="connsiteY31" fmla="*/ 10210800 h 17868900"/>
                  <a:gd name="connsiteX32" fmla="*/ 6454321 w 7197271"/>
                  <a:gd name="connsiteY32" fmla="*/ 8820150 h 17868900"/>
                  <a:gd name="connsiteX33" fmla="*/ 6930571 w 7197271"/>
                  <a:gd name="connsiteY33" fmla="*/ 5067300 h 17868900"/>
                  <a:gd name="connsiteX34" fmla="*/ 7121071 w 7197271"/>
                  <a:gd name="connsiteY34" fmla="*/ 4038600 h 17868900"/>
                  <a:gd name="connsiteX35" fmla="*/ 7197271 w 7197271"/>
                  <a:gd name="connsiteY35" fmla="*/ 2705100 h 17868900"/>
                  <a:gd name="connsiteX36" fmla="*/ 7159171 w 7197271"/>
                  <a:gd name="connsiteY36" fmla="*/ 2019300 h 17868900"/>
                  <a:gd name="connsiteX37" fmla="*/ 6092371 w 7197271"/>
                  <a:gd name="connsiteY37" fmla="*/ 2095500 h 17868900"/>
                  <a:gd name="connsiteX38" fmla="*/ 4492171 w 7197271"/>
                  <a:gd name="connsiteY38" fmla="*/ 2171700 h 17868900"/>
                  <a:gd name="connsiteX39" fmla="*/ 3958771 w 7197271"/>
                  <a:gd name="connsiteY39" fmla="*/ 2133600 h 17868900"/>
                  <a:gd name="connsiteX40" fmla="*/ 3425371 w 7197271"/>
                  <a:gd name="connsiteY40" fmla="*/ 1661160 h 17868900"/>
                  <a:gd name="connsiteX41" fmla="*/ 3295831 w 7197271"/>
                  <a:gd name="connsiteY41" fmla="*/ 1272540 h 17868900"/>
                  <a:gd name="connsiteX42" fmla="*/ 3196771 w 7197271"/>
                  <a:gd name="connsiteY42" fmla="*/ 7620 h 17868900"/>
                  <a:gd name="connsiteX43" fmla="*/ 2815771 w 7197271"/>
                  <a:gd name="connsiteY43" fmla="*/ 0 h 17868900"/>
                  <a:gd name="connsiteX44" fmla="*/ 2396671 w 7197271"/>
                  <a:gd name="connsiteY44" fmla="*/ 1226820 h 17868900"/>
                  <a:gd name="connsiteX45" fmla="*/ 2038531 w 7197271"/>
                  <a:gd name="connsiteY45" fmla="*/ 1676400 h 17868900"/>
                  <a:gd name="connsiteX46" fmla="*/ 1710871 w 7197271"/>
                  <a:gd name="connsiteY46" fmla="*/ 2019300 h 17868900"/>
                  <a:gd name="connsiteX47" fmla="*/ 1101271 w 7197271"/>
                  <a:gd name="connsiteY47" fmla="*/ 1905000 h 17868900"/>
                  <a:gd name="connsiteX48" fmla="*/ 415471 w 7197271"/>
                  <a:gd name="connsiteY48" fmla="*/ 1714500 h 17868900"/>
                  <a:gd name="connsiteX49" fmla="*/ 415471 w 7197271"/>
                  <a:gd name="connsiteY49" fmla="*/ 1714500 h 17868900"/>
                  <a:gd name="connsiteX0" fmla="*/ 453571 w 7197271"/>
                  <a:gd name="connsiteY0" fmla="*/ 1676400 h 17868900"/>
                  <a:gd name="connsiteX1" fmla="*/ 186871 w 7197271"/>
                  <a:gd name="connsiteY1" fmla="*/ 2057400 h 17868900"/>
                  <a:gd name="connsiteX2" fmla="*/ 263071 w 7197271"/>
                  <a:gd name="connsiteY2" fmla="*/ 2438400 h 17868900"/>
                  <a:gd name="connsiteX3" fmla="*/ 491671 w 7197271"/>
                  <a:gd name="connsiteY3" fmla="*/ 2628900 h 17868900"/>
                  <a:gd name="connsiteX4" fmla="*/ 453571 w 7197271"/>
                  <a:gd name="connsiteY4" fmla="*/ 3886200 h 17868900"/>
                  <a:gd name="connsiteX5" fmla="*/ 186871 w 7197271"/>
                  <a:gd name="connsiteY5" fmla="*/ 6743700 h 17868900"/>
                  <a:gd name="connsiteX6" fmla="*/ 97971 w 7197271"/>
                  <a:gd name="connsiteY6" fmla="*/ 8267700 h 17868900"/>
                  <a:gd name="connsiteX7" fmla="*/ 167821 w 7197271"/>
                  <a:gd name="connsiteY7" fmla="*/ 10020300 h 17868900"/>
                  <a:gd name="connsiteX8" fmla="*/ 186871 w 7197271"/>
                  <a:gd name="connsiteY8" fmla="*/ 11004550 h 17868900"/>
                  <a:gd name="connsiteX9" fmla="*/ 186871 w 7197271"/>
                  <a:gd name="connsiteY9" fmla="*/ 13182600 h 17868900"/>
                  <a:gd name="connsiteX10" fmla="*/ 0 w 7197271"/>
                  <a:gd name="connsiteY10" fmla="*/ 17366344 h 17868900"/>
                  <a:gd name="connsiteX11" fmla="*/ 1598385 w 7197271"/>
                  <a:gd name="connsiteY11" fmla="*/ 17471572 h 17868900"/>
                  <a:gd name="connsiteX12" fmla="*/ 2663371 w 7197271"/>
                  <a:gd name="connsiteY12" fmla="*/ 17411700 h 17868900"/>
                  <a:gd name="connsiteX13" fmla="*/ 2472871 w 7197271"/>
                  <a:gd name="connsiteY13" fmla="*/ 11049000 h 17868900"/>
                  <a:gd name="connsiteX14" fmla="*/ 2371271 w 7197271"/>
                  <a:gd name="connsiteY14" fmla="*/ 9575800 h 17868900"/>
                  <a:gd name="connsiteX15" fmla="*/ 2460171 w 7197271"/>
                  <a:gd name="connsiteY15" fmla="*/ 9093200 h 17868900"/>
                  <a:gd name="connsiteX16" fmla="*/ 2510971 w 7197271"/>
                  <a:gd name="connsiteY16" fmla="*/ 8420100 h 17868900"/>
                  <a:gd name="connsiteX17" fmla="*/ 2701471 w 7197271"/>
                  <a:gd name="connsiteY17" fmla="*/ 7683500 h 17868900"/>
                  <a:gd name="connsiteX18" fmla="*/ 3615871 w 7197271"/>
                  <a:gd name="connsiteY18" fmla="*/ 4038600 h 17868900"/>
                  <a:gd name="connsiteX19" fmla="*/ 3844471 w 7197271"/>
                  <a:gd name="connsiteY19" fmla="*/ 5143500 h 17868900"/>
                  <a:gd name="connsiteX20" fmla="*/ 3996871 w 7197271"/>
                  <a:gd name="connsiteY20" fmla="*/ 6972300 h 17868900"/>
                  <a:gd name="connsiteX21" fmla="*/ 4161971 w 7197271"/>
                  <a:gd name="connsiteY21" fmla="*/ 8724900 h 17868900"/>
                  <a:gd name="connsiteX22" fmla="*/ 4187371 w 7197271"/>
                  <a:gd name="connsiteY22" fmla="*/ 9982200 h 17868900"/>
                  <a:gd name="connsiteX23" fmla="*/ 4149271 w 7197271"/>
                  <a:gd name="connsiteY23" fmla="*/ 11163300 h 17868900"/>
                  <a:gd name="connsiteX24" fmla="*/ 4149271 w 7197271"/>
                  <a:gd name="connsiteY24" fmla="*/ 12801600 h 17868900"/>
                  <a:gd name="connsiteX25" fmla="*/ 4111171 w 7197271"/>
                  <a:gd name="connsiteY25" fmla="*/ 13792200 h 17868900"/>
                  <a:gd name="connsiteX26" fmla="*/ 4187371 w 7197271"/>
                  <a:gd name="connsiteY26" fmla="*/ 17792700 h 17868900"/>
                  <a:gd name="connsiteX27" fmla="*/ 6244771 w 7197271"/>
                  <a:gd name="connsiteY27" fmla="*/ 17868900 h 17868900"/>
                  <a:gd name="connsiteX28" fmla="*/ 6892471 w 7197271"/>
                  <a:gd name="connsiteY28" fmla="*/ 17754600 h 17868900"/>
                  <a:gd name="connsiteX29" fmla="*/ 6682921 w 7197271"/>
                  <a:gd name="connsiteY29" fmla="*/ 13525500 h 17868900"/>
                  <a:gd name="connsiteX30" fmla="*/ 6473371 w 7197271"/>
                  <a:gd name="connsiteY30" fmla="*/ 11410950 h 17868900"/>
                  <a:gd name="connsiteX31" fmla="*/ 6378122 w 7197271"/>
                  <a:gd name="connsiteY31" fmla="*/ 10210800 h 17868900"/>
                  <a:gd name="connsiteX32" fmla="*/ 6454321 w 7197271"/>
                  <a:gd name="connsiteY32" fmla="*/ 8820150 h 17868900"/>
                  <a:gd name="connsiteX33" fmla="*/ 6930571 w 7197271"/>
                  <a:gd name="connsiteY33" fmla="*/ 5067300 h 17868900"/>
                  <a:gd name="connsiteX34" fmla="*/ 7121071 w 7197271"/>
                  <a:gd name="connsiteY34" fmla="*/ 4038600 h 17868900"/>
                  <a:gd name="connsiteX35" fmla="*/ 7197271 w 7197271"/>
                  <a:gd name="connsiteY35" fmla="*/ 2705100 h 17868900"/>
                  <a:gd name="connsiteX36" fmla="*/ 7159171 w 7197271"/>
                  <a:gd name="connsiteY36" fmla="*/ 2019300 h 17868900"/>
                  <a:gd name="connsiteX37" fmla="*/ 6092371 w 7197271"/>
                  <a:gd name="connsiteY37" fmla="*/ 2095500 h 17868900"/>
                  <a:gd name="connsiteX38" fmla="*/ 4492171 w 7197271"/>
                  <a:gd name="connsiteY38" fmla="*/ 2171700 h 17868900"/>
                  <a:gd name="connsiteX39" fmla="*/ 3958771 w 7197271"/>
                  <a:gd name="connsiteY39" fmla="*/ 2133600 h 17868900"/>
                  <a:gd name="connsiteX40" fmla="*/ 3425371 w 7197271"/>
                  <a:gd name="connsiteY40" fmla="*/ 1661160 h 17868900"/>
                  <a:gd name="connsiteX41" fmla="*/ 3295831 w 7197271"/>
                  <a:gd name="connsiteY41" fmla="*/ 1272540 h 17868900"/>
                  <a:gd name="connsiteX42" fmla="*/ 3196771 w 7197271"/>
                  <a:gd name="connsiteY42" fmla="*/ 7620 h 17868900"/>
                  <a:gd name="connsiteX43" fmla="*/ 2815771 w 7197271"/>
                  <a:gd name="connsiteY43" fmla="*/ 0 h 17868900"/>
                  <a:gd name="connsiteX44" fmla="*/ 2366191 w 7197271"/>
                  <a:gd name="connsiteY44" fmla="*/ 1196340 h 17868900"/>
                  <a:gd name="connsiteX45" fmla="*/ 2038531 w 7197271"/>
                  <a:gd name="connsiteY45" fmla="*/ 1676400 h 17868900"/>
                  <a:gd name="connsiteX46" fmla="*/ 1710871 w 7197271"/>
                  <a:gd name="connsiteY46" fmla="*/ 2019300 h 17868900"/>
                  <a:gd name="connsiteX47" fmla="*/ 1101271 w 7197271"/>
                  <a:gd name="connsiteY47" fmla="*/ 1905000 h 17868900"/>
                  <a:gd name="connsiteX48" fmla="*/ 415471 w 7197271"/>
                  <a:gd name="connsiteY48" fmla="*/ 1714500 h 17868900"/>
                  <a:gd name="connsiteX49" fmla="*/ 415471 w 7197271"/>
                  <a:gd name="connsiteY49" fmla="*/ 1714500 h 17868900"/>
                  <a:gd name="connsiteX0" fmla="*/ 453571 w 7197271"/>
                  <a:gd name="connsiteY0" fmla="*/ 1676400 h 17868900"/>
                  <a:gd name="connsiteX1" fmla="*/ 186871 w 7197271"/>
                  <a:gd name="connsiteY1" fmla="*/ 2057400 h 17868900"/>
                  <a:gd name="connsiteX2" fmla="*/ 263071 w 7197271"/>
                  <a:gd name="connsiteY2" fmla="*/ 2438400 h 17868900"/>
                  <a:gd name="connsiteX3" fmla="*/ 491671 w 7197271"/>
                  <a:gd name="connsiteY3" fmla="*/ 2628900 h 17868900"/>
                  <a:gd name="connsiteX4" fmla="*/ 453571 w 7197271"/>
                  <a:gd name="connsiteY4" fmla="*/ 3886200 h 17868900"/>
                  <a:gd name="connsiteX5" fmla="*/ 186871 w 7197271"/>
                  <a:gd name="connsiteY5" fmla="*/ 6743700 h 17868900"/>
                  <a:gd name="connsiteX6" fmla="*/ 97971 w 7197271"/>
                  <a:gd name="connsiteY6" fmla="*/ 8267700 h 17868900"/>
                  <a:gd name="connsiteX7" fmla="*/ 167821 w 7197271"/>
                  <a:gd name="connsiteY7" fmla="*/ 10020300 h 17868900"/>
                  <a:gd name="connsiteX8" fmla="*/ 186871 w 7197271"/>
                  <a:gd name="connsiteY8" fmla="*/ 11004550 h 17868900"/>
                  <a:gd name="connsiteX9" fmla="*/ 186871 w 7197271"/>
                  <a:gd name="connsiteY9" fmla="*/ 13182600 h 17868900"/>
                  <a:gd name="connsiteX10" fmla="*/ 0 w 7197271"/>
                  <a:gd name="connsiteY10" fmla="*/ 17366344 h 17868900"/>
                  <a:gd name="connsiteX11" fmla="*/ 1598385 w 7197271"/>
                  <a:gd name="connsiteY11" fmla="*/ 17471572 h 17868900"/>
                  <a:gd name="connsiteX12" fmla="*/ 2663371 w 7197271"/>
                  <a:gd name="connsiteY12" fmla="*/ 17411700 h 17868900"/>
                  <a:gd name="connsiteX13" fmla="*/ 2472871 w 7197271"/>
                  <a:gd name="connsiteY13" fmla="*/ 11049000 h 17868900"/>
                  <a:gd name="connsiteX14" fmla="*/ 2371271 w 7197271"/>
                  <a:gd name="connsiteY14" fmla="*/ 9575800 h 17868900"/>
                  <a:gd name="connsiteX15" fmla="*/ 2460171 w 7197271"/>
                  <a:gd name="connsiteY15" fmla="*/ 9093200 h 17868900"/>
                  <a:gd name="connsiteX16" fmla="*/ 2510971 w 7197271"/>
                  <a:gd name="connsiteY16" fmla="*/ 8420100 h 17868900"/>
                  <a:gd name="connsiteX17" fmla="*/ 2701471 w 7197271"/>
                  <a:gd name="connsiteY17" fmla="*/ 7683500 h 17868900"/>
                  <a:gd name="connsiteX18" fmla="*/ 3615871 w 7197271"/>
                  <a:gd name="connsiteY18" fmla="*/ 4038600 h 17868900"/>
                  <a:gd name="connsiteX19" fmla="*/ 3844471 w 7197271"/>
                  <a:gd name="connsiteY19" fmla="*/ 5143500 h 17868900"/>
                  <a:gd name="connsiteX20" fmla="*/ 3996871 w 7197271"/>
                  <a:gd name="connsiteY20" fmla="*/ 6972300 h 17868900"/>
                  <a:gd name="connsiteX21" fmla="*/ 4161971 w 7197271"/>
                  <a:gd name="connsiteY21" fmla="*/ 8724900 h 17868900"/>
                  <a:gd name="connsiteX22" fmla="*/ 4187371 w 7197271"/>
                  <a:gd name="connsiteY22" fmla="*/ 9982200 h 17868900"/>
                  <a:gd name="connsiteX23" fmla="*/ 4149271 w 7197271"/>
                  <a:gd name="connsiteY23" fmla="*/ 11163300 h 17868900"/>
                  <a:gd name="connsiteX24" fmla="*/ 4149271 w 7197271"/>
                  <a:gd name="connsiteY24" fmla="*/ 12801600 h 17868900"/>
                  <a:gd name="connsiteX25" fmla="*/ 4111171 w 7197271"/>
                  <a:gd name="connsiteY25" fmla="*/ 13792200 h 17868900"/>
                  <a:gd name="connsiteX26" fmla="*/ 4187371 w 7197271"/>
                  <a:gd name="connsiteY26" fmla="*/ 17792700 h 17868900"/>
                  <a:gd name="connsiteX27" fmla="*/ 6244771 w 7197271"/>
                  <a:gd name="connsiteY27" fmla="*/ 17868900 h 17868900"/>
                  <a:gd name="connsiteX28" fmla="*/ 6892471 w 7197271"/>
                  <a:gd name="connsiteY28" fmla="*/ 17754600 h 17868900"/>
                  <a:gd name="connsiteX29" fmla="*/ 6682921 w 7197271"/>
                  <a:gd name="connsiteY29" fmla="*/ 13525500 h 17868900"/>
                  <a:gd name="connsiteX30" fmla="*/ 6473371 w 7197271"/>
                  <a:gd name="connsiteY30" fmla="*/ 11410950 h 17868900"/>
                  <a:gd name="connsiteX31" fmla="*/ 6378122 w 7197271"/>
                  <a:gd name="connsiteY31" fmla="*/ 10210800 h 17868900"/>
                  <a:gd name="connsiteX32" fmla="*/ 6454321 w 7197271"/>
                  <a:gd name="connsiteY32" fmla="*/ 8820150 h 17868900"/>
                  <a:gd name="connsiteX33" fmla="*/ 6930571 w 7197271"/>
                  <a:gd name="connsiteY33" fmla="*/ 5067300 h 17868900"/>
                  <a:gd name="connsiteX34" fmla="*/ 7121071 w 7197271"/>
                  <a:gd name="connsiteY34" fmla="*/ 4038600 h 17868900"/>
                  <a:gd name="connsiteX35" fmla="*/ 7197271 w 7197271"/>
                  <a:gd name="connsiteY35" fmla="*/ 2705100 h 17868900"/>
                  <a:gd name="connsiteX36" fmla="*/ 7159171 w 7197271"/>
                  <a:gd name="connsiteY36" fmla="*/ 2019300 h 17868900"/>
                  <a:gd name="connsiteX37" fmla="*/ 6092371 w 7197271"/>
                  <a:gd name="connsiteY37" fmla="*/ 2095500 h 17868900"/>
                  <a:gd name="connsiteX38" fmla="*/ 4492171 w 7197271"/>
                  <a:gd name="connsiteY38" fmla="*/ 2171700 h 17868900"/>
                  <a:gd name="connsiteX39" fmla="*/ 3958771 w 7197271"/>
                  <a:gd name="connsiteY39" fmla="*/ 2133600 h 17868900"/>
                  <a:gd name="connsiteX40" fmla="*/ 3425371 w 7197271"/>
                  <a:gd name="connsiteY40" fmla="*/ 1661160 h 17868900"/>
                  <a:gd name="connsiteX41" fmla="*/ 3295831 w 7197271"/>
                  <a:gd name="connsiteY41" fmla="*/ 1272540 h 17868900"/>
                  <a:gd name="connsiteX42" fmla="*/ 3196771 w 7197271"/>
                  <a:gd name="connsiteY42" fmla="*/ 7620 h 17868900"/>
                  <a:gd name="connsiteX43" fmla="*/ 2815771 w 7197271"/>
                  <a:gd name="connsiteY43" fmla="*/ 0 h 17868900"/>
                  <a:gd name="connsiteX44" fmla="*/ 2366191 w 7197271"/>
                  <a:gd name="connsiteY44" fmla="*/ 1196340 h 17868900"/>
                  <a:gd name="connsiteX45" fmla="*/ 2038531 w 7197271"/>
                  <a:gd name="connsiteY45" fmla="*/ 1676400 h 17868900"/>
                  <a:gd name="connsiteX46" fmla="*/ 1710871 w 7197271"/>
                  <a:gd name="connsiteY46" fmla="*/ 2019300 h 17868900"/>
                  <a:gd name="connsiteX47" fmla="*/ 1101271 w 7197271"/>
                  <a:gd name="connsiteY47" fmla="*/ 1905000 h 17868900"/>
                  <a:gd name="connsiteX48" fmla="*/ 415471 w 7197271"/>
                  <a:gd name="connsiteY48" fmla="*/ 1714500 h 17868900"/>
                  <a:gd name="connsiteX49" fmla="*/ 461191 w 7197271"/>
                  <a:gd name="connsiteY49" fmla="*/ 1645920 h 17868900"/>
                  <a:gd name="connsiteX0" fmla="*/ 453571 w 7197271"/>
                  <a:gd name="connsiteY0" fmla="*/ 1676400 h 17868900"/>
                  <a:gd name="connsiteX1" fmla="*/ 186871 w 7197271"/>
                  <a:gd name="connsiteY1" fmla="*/ 2057400 h 17868900"/>
                  <a:gd name="connsiteX2" fmla="*/ 263071 w 7197271"/>
                  <a:gd name="connsiteY2" fmla="*/ 2438400 h 17868900"/>
                  <a:gd name="connsiteX3" fmla="*/ 491671 w 7197271"/>
                  <a:gd name="connsiteY3" fmla="*/ 2628900 h 17868900"/>
                  <a:gd name="connsiteX4" fmla="*/ 453571 w 7197271"/>
                  <a:gd name="connsiteY4" fmla="*/ 3886200 h 17868900"/>
                  <a:gd name="connsiteX5" fmla="*/ 186871 w 7197271"/>
                  <a:gd name="connsiteY5" fmla="*/ 6743700 h 17868900"/>
                  <a:gd name="connsiteX6" fmla="*/ 97971 w 7197271"/>
                  <a:gd name="connsiteY6" fmla="*/ 8267700 h 17868900"/>
                  <a:gd name="connsiteX7" fmla="*/ 167821 w 7197271"/>
                  <a:gd name="connsiteY7" fmla="*/ 10020300 h 17868900"/>
                  <a:gd name="connsiteX8" fmla="*/ 186871 w 7197271"/>
                  <a:gd name="connsiteY8" fmla="*/ 11004550 h 17868900"/>
                  <a:gd name="connsiteX9" fmla="*/ 186871 w 7197271"/>
                  <a:gd name="connsiteY9" fmla="*/ 13182600 h 17868900"/>
                  <a:gd name="connsiteX10" fmla="*/ 0 w 7197271"/>
                  <a:gd name="connsiteY10" fmla="*/ 17366344 h 17868900"/>
                  <a:gd name="connsiteX11" fmla="*/ 1598385 w 7197271"/>
                  <a:gd name="connsiteY11" fmla="*/ 17471572 h 17868900"/>
                  <a:gd name="connsiteX12" fmla="*/ 2663371 w 7197271"/>
                  <a:gd name="connsiteY12" fmla="*/ 17411700 h 17868900"/>
                  <a:gd name="connsiteX13" fmla="*/ 2472871 w 7197271"/>
                  <a:gd name="connsiteY13" fmla="*/ 11049000 h 17868900"/>
                  <a:gd name="connsiteX14" fmla="*/ 2371271 w 7197271"/>
                  <a:gd name="connsiteY14" fmla="*/ 9575800 h 17868900"/>
                  <a:gd name="connsiteX15" fmla="*/ 2460171 w 7197271"/>
                  <a:gd name="connsiteY15" fmla="*/ 9093200 h 17868900"/>
                  <a:gd name="connsiteX16" fmla="*/ 2510971 w 7197271"/>
                  <a:gd name="connsiteY16" fmla="*/ 8420100 h 17868900"/>
                  <a:gd name="connsiteX17" fmla="*/ 2701471 w 7197271"/>
                  <a:gd name="connsiteY17" fmla="*/ 7683500 h 17868900"/>
                  <a:gd name="connsiteX18" fmla="*/ 3615871 w 7197271"/>
                  <a:gd name="connsiteY18" fmla="*/ 4038600 h 17868900"/>
                  <a:gd name="connsiteX19" fmla="*/ 3844471 w 7197271"/>
                  <a:gd name="connsiteY19" fmla="*/ 5143500 h 17868900"/>
                  <a:gd name="connsiteX20" fmla="*/ 3996871 w 7197271"/>
                  <a:gd name="connsiteY20" fmla="*/ 6972300 h 17868900"/>
                  <a:gd name="connsiteX21" fmla="*/ 4161971 w 7197271"/>
                  <a:gd name="connsiteY21" fmla="*/ 8724900 h 17868900"/>
                  <a:gd name="connsiteX22" fmla="*/ 4187371 w 7197271"/>
                  <a:gd name="connsiteY22" fmla="*/ 9982200 h 17868900"/>
                  <a:gd name="connsiteX23" fmla="*/ 4149271 w 7197271"/>
                  <a:gd name="connsiteY23" fmla="*/ 11163300 h 17868900"/>
                  <a:gd name="connsiteX24" fmla="*/ 4149271 w 7197271"/>
                  <a:gd name="connsiteY24" fmla="*/ 12801600 h 17868900"/>
                  <a:gd name="connsiteX25" fmla="*/ 4111171 w 7197271"/>
                  <a:gd name="connsiteY25" fmla="*/ 13792200 h 17868900"/>
                  <a:gd name="connsiteX26" fmla="*/ 4187371 w 7197271"/>
                  <a:gd name="connsiteY26" fmla="*/ 17792700 h 17868900"/>
                  <a:gd name="connsiteX27" fmla="*/ 6244771 w 7197271"/>
                  <a:gd name="connsiteY27" fmla="*/ 17868900 h 17868900"/>
                  <a:gd name="connsiteX28" fmla="*/ 6892471 w 7197271"/>
                  <a:gd name="connsiteY28" fmla="*/ 17754600 h 17868900"/>
                  <a:gd name="connsiteX29" fmla="*/ 6682921 w 7197271"/>
                  <a:gd name="connsiteY29" fmla="*/ 13525500 h 17868900"/>
                  <a:gd name="connsiteX30" fmla="*/ 6473371 w 7197271"/>
                  <a:gd name="connsiteY30" fmla="*/ 11410950 h 17868900"/>
                  <a:gd name="connsiteX31" fmla="*/ 6378122 w 7197271"/>
                  <a:gd name="connsiteY31" fmla="*/ 10210800 h 17868900"/>
                  <a:gd name="connsiteX32" fmla="*/ 6454321 w 7197271"/>
                  <a:gd name="connsiteY32" fmla="*/ 8820150 h 17868900"/>
                  <a:gd name="connsiteX33" fmla="*/ 6930571 w 7197271"/>
                  <a:gd name="connsiteY33" fmla="*/ 5067300 h 17868900"/>
                  <a:gd name="connsiteX34" fmla="*/ 7121071 w 7197271"/>
                  <a:gd name="connsiteY34" fmla="*/ 4038600 h 17868900"/>
                  <a:gd name="connsiteX35" fmla="*/ 7197271 w 7197271"/>
                  <a:gd name="connsiteY35" fmla="*/ 2705100 h 17868900"/>
                  <a:gd name="connsiteX36" fmla="*/ 7159171 w 7197271"/>
                  <a:gd name="connsiteY36" fmla="*/ 2019300 h 17868900"/>
                  <a:gd name="connsiteX37" fmla="*/ 6092371 w 7197271"/>
                  <a:gd name="connsiteY37" fmla="*/ 2095500 h 17868900"/>
                  <a:gd name="connsiteX38" fmla="*/ 4492171 w 7197271"/>
                  <a:gd name="connsiteY38" fmla="*/ 2171700 h 17868900"/>
                  <a:gd name="connsiteX39" fmla="*/ 3958771 w 7197271"/>
                  <a:gd name="connsiteY39" fmla="*/ 2133600 h 17868900"/>
                  <a:gd name="connsiteX40" fmla="*/ 3425371 w 7197271"/>
                  <a:gd name="connsiteY40" fmla="*/ 1661160 h 17868900"/>
                  <a:gd name="connsiteX41" fmla="*/ 3295831 w 7197271"/>
                  <a:gd name="connsiteY41" fmla="*/ 1272540 h 17868900"/>
                  <a:gd name="connsiteX42" fmla="*/ 3196771 w 7197271"/>
                  <a:gd name="connsiteY42" fmla="*/ 7620 h 17868900"/>
                  <a:gd name="connsiteX43" fmla="*/ 2815771 w 7197271"/>
                  <a:gd name="connsiteY43" fmla="*/ 0 h 17868900"/>
                  <a:gd name="connsiteX44" fmla="*/ 2366191 w 7197271"/>
                  <a:gd name="connsiteY44" fmla="*/ 1196340 h 17868900"/>
                  <a:gd name="connsiteX45" fmla="*/ 2038531 w 7197271"/>
                  <a:gd name="connsiteY45" fmla="*/ 1676400 h 17868900"/>
                  <a:gd name="connsiteX46" fmla="*/ 1710871 w 7197271"/>
                  <a:gd name="connsiteY46" fmla="*/ 2019300 h 17868900"/>
                  <a:gd name="connsiteX47" fmla="*/ 1101271 w 7197271"/>
                  <a:gd name="connsiteY47" fmla="*/ 1905000 h 17868900"/>
                  <a:gd name="connsiteX48" fmla="*/ 423091 w 7197271"/>
                  <a:gd name="connsiteY48" fmla="*/ 1623060 h 17868900"/>
                  <a:gd name="connsiteX49" fmla="*/ 461191 w 7197271"/>
                  <a:gd name="connsiteY49" fmla="*/ 1645920 h 17868900"/>
                  <a:gd name="connsiteX0" fmla="*/ 453571 w 7197271"/>
                  <a:gd name="connsiteY0" fmla="*/ 1676400 h 17868900"/>
                  <a:gd name="connsiteX1" fmla="*/ 186871 w 7197271"/>
                  <a:gd name="connsiteY1" fmla="*/ 2057400 h 17868900"/>
                  <a:gd name="connsiteX2" fmla="*/ 263071 w 7197271"/>
                  <a:gd name="connsiteY2" fmla="*/ 2438400 h 17868900"/>
                  <a:gd name="connsiteX3" fmla="*/ 491671 w 7197271"/>
                  <a:gd name="connsiteY3" fmla="*/ 2628900 h 17868900"/>
                  <a:gd name="connsiteX4" fmla="*/ 453571 w 7197271"/>
                  <a:gd name="connsiteY4" fmla="*/ 3886200 h 17868900"/>
                  <a:gd name="connsiteX5" fmla="*/ 186871 w 7197271"/>
                  <a:gd name="connsiteY5" fmla="*/ 6743700 h 17868900"/>
                  <a:gd name="connsiteX6" fmla="*/ 97971 w 7197271"/>
                  <a:gd name="connsiteY6" fmla="*/ 8267700 h 17868900"/>
                  <a:gd name="connsiteX7" fmla="*/ 167821 w 7197271"/>
                  <a:gd name="connsiteY7" fmla="*/ 10020300 h 17868900"/>
                  <a:gd name="connsiteX8" fmla="*/ 186871 w 7197271"/>
                  <a:gd name="connsiteY8" fmla="*/ 11004550 h 17868900"/>
                  <a:gd name="connsiteX9" fmla="*/ 186871 w 7197271"/>
                  <a:gd name="connsiteY9" fmla="*/ 13182600 h 17868900"/>
                  <a:gd name="connsiteX10" fmla="*/ 0 w 7197271"/>
                  <a:gd name="connsiteY10" fmla="*/ 17366344 h 17868900"/>
                  <a:gd name="connsiteX11" fmla="*/ 1598385 w 7197271"/>
                  <a:gd name="connsiteY11" fmla="*/ 17471572 h 17868900"/>
                  <a:gd name="connsiteX12" fmla="*/ 2663371 w 7197271"/>
                  <a:gd name="connsiteY12" fmla="*/ 17411700 h 17868900"/>
                  <a:gd name="connsiteX13" fmla="*/ 2472871 w 7197271"/>
                  <a:gd name="connsiteY13" fmla="*/ 11049000 h 17868900"/>
                  <a:gd name="connsiteX14" fmla="*/ 2371271 w 7197271"/>
                  <a:gd name="connsiteY14" fmla="*/ 9575800 h 17868900"/>
                  <a:gd name="connsiteX15" fmla="*/ 2460171 w 7197271"/>
                  <a:gd name="connsiteY15" fmla="*/ 9093200 h 17868900"/>
                  <a:gd name="connsiteX16" fmla="*/ 2510971 w 7197271"/>
                  <a:gd name="connsiteY16" fmla="*/ 8420100 h 17868900"/>
                  <a:gd name="connsiteX17" fmla="*/ 2701471 w 7197271"/>
                  <a:gd name="connsiteY17" fmla="*/ 7683500 h 17868900"/>
                  <a:gd name="connsiteX18" fmla="*/ 3615871 w 7197271"/>
                  <a:gd name="connsiteY18" fmla="*/ 4038600 h 17868900"/>
                  <a:gd name="connsiteX19" fmla="*/ 3844471 w 7197271"/>
                  <a:gd name="connsiteY19" fmla="*/ 5143500 h 17868900"/>
                  <a:gd name="connsiteX20" fmla="*/ 3996871 w 7197271"/>
                  <a:gd name="connsiteY20" fmla="*/ 6972300 h 17868900"/>
                  <a:gd name="connsiteX21" fmla="*/ 4161971 w 7197271"/>
                  <a:gd name="connsiteY21" fmla="*/ 8724900 h 17868900"/>
                  <a:gd name="connsiteX22" fmla="*/ 4187371 w 7197271"/>
                  <a:gd name="connsiteY22" fmla="*/ 9982200 h 17868900"/>
                  <a:gd name="connsiteX23" fmla="*/ 4149271 w 7197271"/>
                  <a:gd name="connsiteY23" fmla="*/ 11163300 h 17868900"/>
                  <a:gd name="connsiteX24" fmla="*/ 4149271 w 7197271"/>
                  <a:gd name="connsiteY24" fmla="*/ 12801600 h 17868900"/>
                  <a:gd name="connsiteX25" fmla="*/ 4111171 w 7197271"/>
                  <a:gd name="connsiteY25" fmla="*/ 13792200 h 17868900"/>
                  <a:gd name="connsiteX26" fmla="*/ 4187371 w 7197271"/>
                  <a:gd name="connsiteY26" fmla="*/ 17792700 h 17868900"/>
                  <a:gd name="connsiteX27" fmla="*/ 6244771 w 7197271"/>
                  <a:gd name="connsiteY27" fmla="*/ 17868900 h 17868900"/>
                  <a:gd name="connsiteX28" fmla="*/ 6892471 w 7197271"/>
                  <a:gd name="connsiteY28" fmla="*/ 17754600 h 17868900"/>
                  <a:gd name="connsiteX29" fmla="*/ 6682921 w 7197271"/>
                  <a:gd name="connsiteY29" fmla="*/ 13525500 h 17868900"/>
                  <a:gd name="connsiteX30" fmla="*/ 6473371 w 7197271"/>
                  <a:gd name="connsiteY30" fmla="*/ 11410950 h 17868900"/>
                  <a:gd name="connsiteX31" fmla="*/ 6378122 w 7197271"/>
                  <a:gd name="connsiteY31" fmla="*/ 10210800 h 17868900"/>
                  <a:gd name="connsiteX32" fmla="*/ 6454321 w 7197271"/>
                  <a:gd name="connsiteY32" fmla="*/ 8820150 h 17868900"/>
                  <a:gd name="connsiteX33" fmla="*/ 6930571 w 7197271"/>
                  <a:gd name="connsiteY33" fmla="*/ 5067300 h 17868900"/>
                  <a:gd name="connsiteX34" fmla="*/ 7121071 w 7197271"/>
                  <a:gd name="connsiteY34" fmla="*/ 4038600 h 17868900"/>
                  <a:gd name="connsiteX35" fmla="*/ 7197271 w 7197271"/>
                  <a:gd name="connsiteY35" fmla="*/ 2705100 h 17868900"/>
                  <a:gd name="connsiteX36" fmla="*/ 7159171 w 7197271"/>
                  <a:gd name="connsiteY36" fmla="*/ 2019300 h 17868900"/>
                  <a:gd name="connsiteX37" fmla="*/ 6092371 w 7197271"/>
                  <a:gd name="connsiteY37" fmla="*/ 2095500 h 17868900"/>
                  <a:gd name="connsiteX38" fmla="*/ 4492171 w 7197271"/>
                  <a:gd name="connsiteY38" fmla="*/ 2171700 h 17868900"/>
                  <a:gd name="connsiteX39" fmla="*/ 3958771 w 7197271"/>
                  <a:gd name="connsiteY39" fmla="*/ 2133600 h 17868900"/>
                  <a:gd name="connsiteX40" fmla="*/ 3425371 w 7197271"/>
                  <a:gd name="connsiteY40" fmla="*/ 1661160 h 17868900"/>
                  <a:gd name="connsiteX41" fmla="*/ 3295831 w 7197271"/>
                  <a:gd name="connsiteY41" fmla="*/ 1272540 h 17868900"/>
                  <a:gd name="connsiteX42" fmla="*/ 3196771 w 7197271"/>
                  <a:gd name="connsiteY42" fmla="*/ 7620 h 17868900"/>
                  <a:gd name="connsiteX43" fmla="*/ 2815771 w 7197271"/>
                  <a:gd name="connsiteY43" fmla="*/ 0 h 17868900"/>
                  <a:gd name="connsiteX44" fmla="*/ 2366191 w 7197271"/>
                  <a:gd name="connsiteY44" fmla="*/ 1196340 h 17868900"/>
                  <a:gd name="connsiteX45" fmla="*/ 2038531 w 7197271"/>
                  <a:gd name="connsiteY45" fmla="*/ 1676400 h 17868900"/>
                  <a:gd name="connsiteX46" fmla="*/ 1710871 w 7197271"/>
                  <a:gd name="connsiteY46" fmla="*/ 2019300 h 17868900"/>
                  <a:gd name="connsiteX47" fmla="*/ 1108891 w 7197271"/>
                  <a:gd name="connsiteY47" fmla="*/ 1844040 h 17868900"/>
                  <a:gd name="connsiteX48" fmla="*/ 423091 w 7197271"/>
                  <a:gd name="connsiteY48" fmla="*/ 1623060 h 17868900"/>
                  <a:gd name="connsiteX49" fmla="*/ 461191 w 7197271"/>
                  <a:gd name="connsiteY49" fmla="*/ 1645920 h 17868900"/>
                  <a:gd name="connsiteX0" fmla="*/ 453571 w 7197271"/>
                  <a:gd name="connsiteY0" fmla="*/ 1676400 h 17868900"/>
                  <a:gd name="connsiteX1" fmla="*/ 186871 w 7197271"/>
                  <a:gd name="connsiteY1" fmla="*/ 2057400 h 17868900"/>
                  <a:gd name="connsiteX2" fmla="*/ 263071 w 7197271"/>
                  <a:gd name="connsiteY2" fmla="*/ 2438400 h 17868900"/>
                  <a:gd name="connsiteX3" fmla="*/ 491671 w 7197271"/>
                  <a:gd name="connsiteY3" fmla="*/ 2628900 h 17868900"/>
                  <a:gd name="connsiteX4" fmla="*/ 453571 w 7197271"/>
                  <a:gd name="connsiteY4" fmla="*/ 3886200 h 17868900"/>
                  <a:gd name="connsiteX5" fmla="*/ 186871 w 7197271"/>
                  <a:gd name="connsiteY5" fmla="*/ 6743700 h 17868900"/>
                  <a:gd name="connsiteX6" fmla="*/ 97971 w 7197271"/>
                  <a:gd name="connsiteY6" fmla="*/ 8267700 h 17868900"/>
                  <a:gd name="connsiteX7" fmla="*/ 167821 w 7197271"/>
                  <a:gd name="connsiteY7" fmla="*/ 10020300 h 17868900"/>
                  <a:gd name="connsiteX8" fmla="*/ 186871 w 7197271"/>
                  <a:gd name="connsiteY8" fmla="*/ 11004550 h 17868900"/>
                  <a:gd name="connsiteX9" fmla="*/ 186871 w 7197271"/>
                  <a:gd name="connsiteY9" fmla="*/ 13182600 h 17868900"/>
                  <a:gd name="connsiteX10" fmla="*/ 0 w 7197271"/>
                  <a:gd name="connsiteY10" fmla="*/ 17366344 h 17868900"/>
                  <a:gd name="connsiteX11" fmla="*/ 1598385 w 7197271"/>
                  <a:gd name="connsiteY11" fmla="*/ 17471572 h 17868900"/>
                  <a:gd name="connsiteX12" fmla="*/ 2663371 w 7197271"/>
                  <a:gd name="connsiteY12" fmla="*/ 17411700 h 17868900"/>
                  <a:gd name="connsiteX13" fmla="*/ 2472871 w 7197271"/>
                  <a:gd name="connsiteY13" fmla="*/ 11049000 h 17868900"/>
                  <a:gd name="connsiteX14" fmla="*/ 2371271 w 7197271"/>
                  <a:gd name="connsiteY14" fmla="*/ 9575800 h 17868900"/>
                  <a:gd name="connsiteX15" fmla="*/ 2460171 w 7197271"/>
                  <a:gd name="connsiteY15" fmla="*/ 9093200 h 17868900"/>
                  <a:gd name="connsiteX16" fmla="*/ 2510971 w 7197271"/>
                  <a:gd name="connsiteY16" fmla="*/ 8420100 h 17868900"/>
                  <a:gd name="connsiteX17" fmla="*/ 2701471 w 7197271"/>
                  <a:gd name="connsiteY17" fmla="*/ 7683500 h 17868900"/>
                  <a:gd name="connsiteX18" fmla="*/ 3615871 w 7197271"/>
                  <a:gd name="connsiteY18" fmla="*/ 4038600 h 17868900"/>
                  <a:gd name="connsiteX19" fmla="*/ 3844471 w 7197271"/>
                  <a:gd name="connsiteY19" fmla="*/ 5143500 h 17868900"/>
                  <a:gd name="connsiteX20" fmla="*/ 3996871 w 7197271"/>
                  <a:gd name="connsiteY20" fmla="*/ 6972300 h 17868900"/>
                  <a:gd name="connsiteX21" fmla="*/ 4161971 w 7197271"/>
                  <a:gd name="connsiteY21" fmla="*/ 8724900 h 17868900"/>
                  <a:gd name="connsiteX22" fmla="*/ 4187371 w 7197271"/>
                  <a:gd name="connsiteY22" fmla="*/ 9982200 h 17868900"/>
                  <a:gd name="connsiteX23" fmla="*/ 4149271 w 7197271"/>
                  <a:gd name="connsiteY23" fmla="*/ 11163300 h 17868900"/>
                  <a:gd name="connsiteX24" fmla="*/ 4149271 w 7197271"/>
                  <a:gd name="connsiteY24" fmla="*/ 12801600 h 17868900"/>
                  <a:gd name="connsiteX25" fmla="*/ 4111171 w 7197271"/>
                  <a:gd name="connsiteY25" fmla="*/ 13792200 h 17868900"/>
                  <a:gd name="connsiteX26" fmla="*/ 4187371 w 7197271"/>
                  <a:gd name="connsiteY26" fmla="*/ 17792700 h 17868900"/>
                  <a:gd name="connsiteX27" fmla="*/ 6244771 w 7197271"/>
                  <a:gd name="connsiteY27" fmla="*/ 17868900 h 17868900"/>
                  <a:gd name="connsiteX28" fmla="*/ 6892471 w 7197271"/>
                  <a:gd name="connsiteY28" fmla="*/ 17754600 h 17868900"/>
                  <a:gd name="connsiteX29" fmla="*/ 6682921 w 7197271"/>
                  <a:gd name="connsiteY29" fmla="*/ 13525500 h 17868900"/>
                  <a:gd name="connsiteX30" fmla="*/ 6473371 w 7197271"/>
                  <a:gd name="connsiteY30" fmla="*/ 11410950 h 17868900"/>
                  <a:gd name="connsiteX31" fmla="*/ 6378122 w 7197271"/>
                  <a:gd name="connsiteY31" fmla="*/ 10210800 h 17868900"/>
                  <a:gd name="connsiteX32" fmla="*/ 6454321 w 7197271"/>
                  <a:gd name="connsiteY32" fmla="*/ 8820150 h 17868900"/>
                  <a:gd name="connsiteX33" fmla="*/ 6930571 w 7197271"/>
                  <a:gd name="connsiteY33" fmla="*/ 5067300 h 17868900"/>
                  <a:gd name="connsiteX34" fmla="*/ 7121071 w 7197271"/>
                  <a:gd name="connsiteY34" fmla="*/ 4038600 h 17868900"/>
                  <a:gd name="connsiteX35" fmla="*/ 7197271 w 7197271"/>
                  <a:gd name="connsiteY35" fmla="*/ 2705100 h 17868900"/>
                  <a:gd name="connsiteX36" fmla="*/ 7159171 w 7197271"/>
                  <a:gd name="connsiteY36" fmla="*/ 2019300 h 17868900"/>
                  <a:gd name="connsiteX37" fmla="*/ 6092371 w 7197271"/>
                  <a:gd name="connsiteY37" fmla="*/ 2095500 h 17868900"/>
                  <a:gd name="connsiteX38" fmla="*/ 4492171 w 7197271"/>
                  <a:gd name="connsiteY38" fmla="*/ 2171700 h 17868900"/>
                  <a:gd name="connsiteX39" fmla="*/ 3958771 w 7197271"/>
                  <a:gd name="connsiteY39" fmla="*/ 2133600 h 17868900"/>
                  <a:gd name="connsiteX40" fmla="*/ 3425371 w 7197271"/>
                  <a:gd name="connsiteY40" fmla="*/ 1661160 h 17868900"/>
                  <a:gd name="connsiteX41" fmla="*/ 3295831 w 7197271"/>
                  <a:gd name="connsiteY41" fmla="*/ 1272540 h 17868900"/>
                  <a:gd name="connsiteX42" fmla="*/ 3196771 w 7197271"/>
                  <a:gd name="connsiteY42" fmla="*/ 7620 h 17868900"/>
                  <a:gd name="connsiteX43" fmla="*/ 2815771 w 7197271"/>
                  <a:gd name="connsiteY43" fmla="*/ 0 h 17868900"/>
                  <a:gd name="connsiteX44" fmla="*/ 2366191 w 7197271"/>
                  <a:gd name="connsiteY44" fmla="*/ 1196340 h 17868900"/>
                  <a:gd name="connsiteX45" fmla="*/ 2038531 w 7197271"/>
                  <a:gd name="connsiteY45" fmla="*/ 1676400 h 17868900"/>
                  <a:gd name="connsiteX46" fmla="*/ 1710871 w 7197271"/>
                  <a:gd name="connsiteY46" fmla="*/ 2019300 h 17868900"/>
                  <a:gd name="connsiteX47" fmla="*/ 1108891 w 7197271"/>
                  <a:gd name="connsiteY47" fmla="*/ 1844040 h 17868900"/>
                  <a:gd name="connsiteX48" fmla="*/ 423091 w 7197271"/>
                  <a:gd name="connsiteY48" fmla="*/ 1623060 h 17868900"/>
                  <a:gd name="connsiteX49" fmla="*/ 461191 w 7197271"/>
                  <a:gd name="connsiteY49" fmla="*/ 1645920 h 17868900"/>
                  <a:gd name="connsiteX0" fmla="*/ 453571 w 7197271"/>
                  <a:gd name="connsiteY0" fmla="*/ 1676400 h 17868900"/>
                  <a:gd name="connsiteX1" fmla="*/ 186871 w 7197271"/>
                  <a:gd name="connsiteY1" fmla="*/ 2057400 h 17868900"/>
                  <a:gd name="connsiteX2" fmla="*/ 263071 w 7197271"/>
                  <a:gd name="connsiteY2" fmla="*/ 2438400 h 17868900"/>
                  <a:gd name="connsiteX3" fmla="*/ 491671 w 7197271"/>
                  <a:gd name="connsiteY3" fmla="*/ 2628900 h 17868900"/>
                  <a:gd name="connsiteX4" fmla="*/ 453571 w 7197271"/>
                  <a:gd name="connsiteY4" fmla="*/ 3886200 h 17868900"/>
                  <a:gd name="connsiteX5" fmla="*/ 186871 w 7197271"/>
                  <a:gd name="connsiteY5" fmla="*/ 6743700 h 17868900"/>
                  <a:gd name="connsiteX6" fmla="*/ 97971 w 7197271"/>
                  <a:gd name="connsiteY6" fmla="*/ 8267700 h 17868900"/>
                  <a:gd name="connsiteX7" fmla="*/ 167821 w 7197271"/>
                  <a:gd name="connsiteY7" fmla="*/ 10020300 h 17868900"/>
                  <a:gd name="connsiteX8" fmla="*/ 186871 w 7197271"/>
                  <a:gd name="connsiteY8" fmla="*/ 11004550 h 17868900"/>
                  <a:gd name="connsiteX9" fmla="*/ 186871 w 7197271"/>
                  <a:gd name="connsiteY9" fmla="*/ 13182600 h 17868900"/>
                  <a:gd name="connsiteX10" fmla="*/ 0 w 7197271"/>
                  <a:gd name="connsiteY10" fmla="*/ 17366344 h 17868900"/>
                  <a:gd name="connsiteX11" fmla="*/ 1598385 w 7197271"/>
                  <a:gd name="connsiteY11" fmla="*/ 17471572 h 17868900"/>
                  <a:gd name="connsiteX12" fmla="*/ 2663371 w 7197271"/>
                  <a:gd name="connsiteY12" fmla="*/ 17411700 h 17868900"/>
                  <a:gd name="connsiteX13" fmla="*/ 2472871 w 7197271"/>
                  <a:gd name="connsiteY13" fmla="*/ 11049000 h 17868900"/>
                  <a:gd name="connsiteX14" fmla="*/ 2371271 w 7197271"/>
                  <a:gd name="connsiteY14" fmla="*/ 9575800 h 17868900"/>
                  <a:gd name="connsiteX15" fmla="*/ 2460171 w 7197271"/>
                  <a:gd name="connsiteY15" fmla="*/ 9093200 h 17868900"/>
                  <a:gd name="connsiteX16" fmla="*/ 2510971 w 7197271"/>
                  <a:gd name="connsiteY16" fmla="*/ 8420100 h 17868900"/>
                  <a:gd name="connsiteX17" fmla="*/ 2701471 w 7197271"/>
                  <a:gd name="connsiteY17" fmla="*/ 7683500 h 17868900"/>
                  <a:gd name="connsiteX18" fmla="*/ 3615871 w 7197271"/>
                  <a:gd name="connsiteY18" fmla="*/ 4038600 h 17868900"/>
                  <a:gd name="connsiteX19" fmla="*/ 3844471 w 7197271"/>
                  <a:gd name="connsiteY19" fmla="*/ 5143500 h 17868900"/>
                  <a:gd name="connsiteX20" fmla="*/ 3996871 w 7197271"/>
                  <a:gd name="connsiteY20" fmla="*/ 6972300 h 17868900"/>
                  <a:gd name="connsiteX21" fmla="*/ 4161971 w 7197271"/>
                  <a:gd name="connsiteY21" fmla="*/ 8724900 h 17868900"/>
                  <a:gd name="connsiteX22" fmla="*/ 4187371 w 7197271"/>
                  <a:gd name="connsiteY22" fmla="*/ 9982200 h 17868900"/>
                  <a:gd name="connsiteX23" fmla="*/ 4149271 w 7197271"/>
                  <a:gd name="connsiteY23" fmla="*/ 11163300 h 17868900"/>
                  <a:gd name="connsiteX24" fmla="*/ 4149271 w 7197271"/>
                  <a:gd name="connsiteY24" fmla="*/ 12801600 h 17868900"/>
                  <a:gd name="connsiteX25" fmla="*/ 4111171 w 7197271"/>
                  <a:gd name="connsiteY25" fmla="*/ 13792200 h 17868900"/>
                  <a:gd name="connsiteX26" fmla="*/ 4187371 w 7197271"/>
                  <a:gd name="connsiteY26" fmla="*/ 17792700 h 17868900"/>
                  <a:gd name="connsiteX27" fmla="*/ 6244771 w 7197271"/>
                  <a:gd name="connsiteY27" fmla="*/ 17868900 h 17868900"/>
                  <a:gd name="connsiteX28" fmla="*/ 6892471 w 7197271"/>
                  <a:gd name="connsiteY28" fmla="*/ 17754600 h 17868900"/>
                  <a:gd name="connsiteX29" fmla="*/ 6682921 w 7197271"/>
                  <a:gd name="connsiteY29" fmla="*/ 13525500 h 17868900"/>
                  <a:gd name="connsiteX30" fmla="*/ 6473371 w 7197271"/>
                  <a:gd name="connsiteY30" fmla="*/ 11410950 h 17868900"/>
                  <a:gd name="connsiteX31" fmla="*/ 6378122 w 7197271"/>
                  <a:gd name="connsiteY31" fmla="*/ 10210800 h 17868900"/>
                  <a:gd name="connsiteX32" fmla="*/ 6454321 w 7197271"/>
                  <a:gd name="connsiteY32" fmla="*/ 8820150 h 17868900"/>
                  <a:gd name="connsiteX33" fmla="*/ 6930571 w 7197271"/>
                  <a:gd name="connsiteY33" fmla="*/ 5067300 h 17868900"/>
                  <a:gd name="connsiteX34" fmla="*/ 7121071 w 7197271"/>
                  <a:gd name="connsiteY34" fmla="*/ 4038600 h 17868900"/>
                  <a:gd name="connsiteX35" fmla="*/ 7197271 w 7197271"/>
                  <a:gd name="connsiteY35" fmla="*/ 2705100 h 17868900"/>
                  <a:gd name="connsiteX36" fmla="*/ 7159171 w 7197271"/>
                  <a:gd name="connsiteY36" fmla="*/ 2019300 h 17868900"/>
                  <a:gd name="connsiteX37" fmla="*/ 6092371 w 7197271"/>
                  <a:gd name="connsiteY37" fmla="*/ 2095500 h 17868900"/>
                  <a:gd name="connsiteX38" fmla="*/ 4492171 w 7197271"/>
                  <a:gd name="connsiteY38" fmla="*/ 2171700 h 17868900"/>
                  <a:gd name="connsiteX39" fmla="*/ 3958771 w 7197271"/>
                  <a:gd name="connsiteY39" fmla="*/ 2133600 h 17868900"/>
                  <a:gd name="connsiteX40" fmla="*/ 3425371 w 7197271"/>
                  <a:gd name="connsiteY40" fmla="*/ 1661160 h 17868900"/>
                  <a:gd name="connsiteX41" fmla="*/ 3295831 w 7197271"/>
                  <a:gd name="connsiteY41" fmla="*/ 1272540 h 17868900"/>
                  <a:gd name="connsiteX42" fmla="*/ 3196771 w 7197271"/>
                  <a:gd name="connsiteY42" fmla="*/ 7620 h 17868900"/>
                  <a:gd name="connsiteX43" fmla="*/ 2815771 w 7197271"/>
                  <a:gd name="connsiteY43" fmla="*/ 0 h 17868900"/>
                  <a:gd name="connsiteX44" fmla="*/ 2366191 w 7197271"/>
                  <a:gd name="connsiteY44" fmla="*/ 1196340 h 17868900"/>
                  <a:gd name="connsiteX45" fmla="*/ 2038531 w 7197271"/>
                  <a:gd name="connsiteY45" fmla="*/ 1676400 h 17868900"/>
                  <a:gd name="connsiteX46" fmla="*/ 1710871 w 7197271"/>
                  <a:gd name="connsiteY46" fmla="*/ 2019300 h 17868900"/>
                  <a:gd name="connsiteX47" fmla="*/ 1108891 w 7197271"/>
                  <a:gd name="connsiteY47" fmla="*/ 1844040 h 17868900"/>
                  <a:gd name="connsiteX48" fmla="*/ 423091 w 7197271"/>
                  <a:gd name="connsiteY48" fmla="*/ 1623060 h 17868900"/>
                  <a:gd name="connsiteX49" fmla="*/ 461191 w 7197271"/>
                  <a:gd name="connsiteY49" fmla="*/ 1645920 h 17868900"/>
                  <a:gd name="connsiteX0" fmla="*/ 453571 w 7197271"/>
                  <a:gd name="connsiteY0" fmla="*/ 1676400 h 17868900"/>
                  <a:gd name="connsiteX1" fmla="*/ 186871 w 7197271"/>
                  <a:gd name="connsiteY1" fmla="*/ 2057400 h 17868900"/>
                  <a:gd name="connsiteX2" fmla="*/ 263071 w 7197271"/>
                  <a:gd name="connsiteY2" fmla="*/ 2438400 h 17868900"/>
                  <a:gd name="connsiteX3" fmla="*/ 491671 w 7197271"/>
                  <a:gd name="connsiteY3" fmla="*/ 2628900 h 17868900"/>
                  <a:gd name="connsiteX4" fmla="*/ 453571 w 7197271"/>
                  <a:gd name="connsiteY4" fmla="*/ 3886200 h 17868900"/>
                  <a:gd name="connsiteX5" fmla="*/ 186871 w 7197271"/>
                  <a:gd name="connsiteY5" fmla="*/ 6743700 h 17868900"/>
                  <a:gd name="connsiteX6" fmla="*/ 97971 w 7197271"/>
                  <a:gd name="connsiteY6" fmla="*/ 8267700 h 17868900"/>
                  <a:gd name="connsiteX7" fmla="*/ 167821 w 7197271"/>
                  <a:gd name="connsiteY7" fmla="*/ 10020300 h 17868900"/>
                  <a:gd name="connsiteX8" fmla="*/ 186871 w 7197271"/>
                  <a:gd name="connsiteY8" fmla="*/ 11004550 h 17868900"/>
                  <a:gd name="connsiteX9" fmla="*/ 186871 w 7197271"/>
                  <a:gd name="connsiteY9" fmla="*/ 13182600 h 17868900"/>
                  <a:gd name="connsiteX10" fmla="*/ 0 w 7197271"/>
                  <a:gd name="connsiteY10" fmla="*/ 17366344 h 17868900"/>
                  <a:gd name="connsiteX11" fmla="*/ 1598385 w 7197271"/>
                  <a:gd name="connsiteY11" fmla="*/ 17471572 h 17868900"/>
                  <a:gd name="connsiteX12" fmla="*/ 2663371 w 7197271"/>
                  <a:gd name="connsiteY12" fmla="*/ 17411700 h 17868900"/>
                  <a:gd name="connsiteX13" fmla="*/ 2472871 w 7197271"/>
                  <a:gd name="connsiteY13" fmla="*/ 11049000 h 17868900"/>
                  <a:gd name="connsiteX14" fmla="*/ 2371271 w 7197271"/>
                  <a:gd name="connsiteY14" fmla="*/ 9575800 h 17868900"/>
                  <a:gd name="connsiteX15" fmla="*/ 2460171 w 7197271"/>
                  <a:gd name="connsiteY15" fmla="*/ 9093200 h 17868900"/>
                  <a:gd name="connsiteX16" fmla="*/ 2510971 w 7197271"/>
                  <a:gd name="connsiteY16" fmla="*/ 8420100 h 17868900"/>
                  <a:gd name="connsiteX17" fmla="*/ 2701471 w 7197271"/>
                  <a:gd name="connsiteY17" fmla="*/ 7683500 h 17868900"/>
                  <a:gd name="connsiteX18" fmla="*/ 3615871 w 7197271"/>
                  <a:gd name="connsiteY18" fmla="*/ 4038600 h 17868900"/>
                  <a:gd name="connsiteX19" fmla="*/ 3844471 w 7197271"/>
                  <a:gd name="connsiteY19" fmla="*/ 5143500 h 17868900"/>
                  <a:gd name="connsiteX20" fmla="*/ 3996871 w 7197271"/>
                  <a:gd name="connsiteY20" fmla="*/ 6972300 h 17868900"/>
                  <a:gd name="connsiteX21" fmla="*/ 4161971 w 7197271"/>
                  <a:gd name="connsiteY21" fmla="*/ 8724900 h 17868900"/>
                  <a:gd name="connsiteX22" fmla="*/ 4187371 w 7197271"/>
                  <a:gd name="connsiteY22" fmla="*/ 9982200 h 17868900"/>
                  <a:gd name="connsiteX23" fmla="*/ 4149271 w 7197271"/>
                  <a:gd name="connsiteY23" fmla="*/ 11163300 h 17868900"/>
                  <a:gd name="connsiteX24" fmla="*/ 4149271 w 7197271"/>
                  <a:gd name="connsiteY24" fmla="*/ 12801600 h 17868900"/>
                  <a:gd name="connsiteX25" fmla="*/ 4111171 w 7197271"/>
                  <a:gd name="connsiteY25" fmla="*/ 13792200 h 17868900"/>
                  <a:gd name="connsiteX26" fmla="*/ 4187371 w 7197271"/>
                  <a:gd name="connsiteY26" fmla="*/ 17792700 h 17868900"/>
                  <a:gd name="connsiteX27" fmla="*/ 6244771 w 7197271"/>
                  <a:gd name="connsiteY27" fmla="*/ 17868900 h 17868900"/>
                  <a:gd name="connsiteX28" fmla="*/ 6892471 w 7197271"/>
                  <a:gd name="connsiteY28" fmla="*/ 17754600 h 17868900"/>
                  <a:gd name="connsiteX29" fmla="*/ 6682921 w 7197271"/>
                  <a:gd name="connsiteY29" fmla="*/ 13525500 h 17868900"/>
                  <a:gd name="connsiteX30" fmla="*/ 6473371 w 7197271"/>
                  <a:gd name="connsiteY30" fmla="*/ 11410950 h 17868900"/>
                  <a:gd name="connsiteX31" fmla="*/ 6378122 w 7197271"/>
                  <a:gd name="connsiteY31" fmla="*/ 10210800 h 17868900"/>
                  <a:gd name="connsiteX32" fmla="*/ 6454321 w 7197271"/>
                  <a:gd name="connsiteY32" fmla="*/ 8820150 h 17868900"/>
                  <a:gd name="connsiteX33" fmla="*/ 6930571 w 7197271"/>
                  <a:gd name="connsiteY33" fmla="*/ 5067300 h 17868900"/>
                  <a:gd name="connsiteX34" fmla="*/ 7121071 w 7197271"/>
                  <a:gd name="connsiteY34" fmla="*/ 4038600 h 17868900"/>
                  <a:gd name="connsiteX35" fmla="*/ 7197271 w 7197271"/>
                  <a:gd name="connsiteY35" fmla="*/ 2705100 h 17868900"/>
                  <a:gd name="connsiteX36" fmla="*/ 7159171 w 7197271"/>
                  <a:gd name="connsiteY36" fmla="*/ 2019300 h 17868900"/>
                  <a:gd name="connsiteX37" fmla="*/ 6092371 w 7197271"/>
                  <a:gd name="connsiteY37" fmla="*/ 2095500 h 17868900"/>
                  <a:gd name="connsiteX38" fmla="*/ 4492171 w 7197271"/>
                  <a:gd name="connsiteY38" fmla="*/ 2171700 h 17868900"/>
                  <a:gd name="connsiteX39" fmla="*/ 3958771 w 7197271"/>
                  <a:gd name="connsiteY39" fmla="*/ 2133600 h 17868900"/>
                  <a:gd name="connsiteX40" fmla="*/ 3425371 w 7197271"/>
                  <a:gd name="connsiteY40" fmla="*/ 1661160 h 17868900"/>
                  <a:gd name="connsiteX41" fmla="*/ 3295831 w 7197271"/>
                  <a:gd name="connsiteY41" fmla="*/ 1272540 h 17868900"/>
                  <a:gd name="connsiteX42" fmla="*/ 3196771 w 7197271"/>
                  <a:gd name="connsiteY42" fmla="*/ 7620 h 17868900"/>
                  <a:gd name="connsiteX43" fmla="*/ 2815771 w 7197271"/>
                  <a:gd name="connsiteY43" fmla="*/ 0 h 17868900"/>
                  <a:gd name="connsiteX44" fmla="*/ 2366191 w 7197271"/>
                  <a:gd name="connsiteY44" fmla="*/ 1196340 h 17868900"/>
                  <a:gd name="connsiteX45" fmla="*/ 2038531 w 7197271"/>
                  <a:gd name="connsiteY45" fmla="*/ 1676400 h 17868900"/>
                  <a:gd name="connsiteX46" fmla="*/ 1809931 w 7197271"/>
                  <a:gd name="connsiteY46" fmla="*/ 1813560 h 17868900"/>
                  <a:gd name="connsiteX47" fmla="*/ 1108891 w 7197271"/>
                  <a:gd name="connsiteY47" fmla="*/ 1844040 h 17868900"/>
                  <a:gd name="connsiteX48" fmla="*/ 423091 w 7197271"/>
                  <a:gd name="connsiteY48" fmla="*/ 1623060 h 17868900"/>
                  <a:gd name="connsiteX49" fmla="*/ 461191 w 7197271"/>
                  <a:gd name="connsiteY49" fmla="*/ 1645920 h 17868900"/>
                  <a:gd name="connsiteX0" fmla="*/ 453571 w 7197271"/>
                  <a:gd name="connsiteY0" fmla="*/ 1676400 h 17868900"/>
                  <a:gd name="connsiteX1" fmla="*/ 186871 w 7197271"/>
                  <a:gd name="connsiteY1" fmla="*/ 2057400 h 17868900"/>
                  <a:gd name="connsiteX2" fmla="*/ 263071 w 7197271"/>
                  <a:gd name="connsiteY2" fmla="*/ 2438400 h 17868900"/>
                  <a:gd name="connsiteX3" fmla="*/ 491671 w 7197271"/>
                  <a:gd name="connsiteY3" fmla="*/ 2628900 h 17868900"/>
                  <a:gd name="connsiteX4" fmla="*/ 453571 w 7197271"/>
                  <a:gd name="connsiteY4" fmla="*/ 3886200 h 17868900"/>
                  <a:gd name="connsiteX5" fmla="*/ 186871 w 7197271"/>
                  <a:gd name="connsiteY5" fmla="*/ 6743700 h 17868900"/>
                  <a:gd name="connsiteX6" fmla="*/ 97971 w 7197271"/>
                  <a:gd name="connsiteY6" fmla="*/ 8267700 h 17868900"/>
                  <a:gd name="connsiteX7" fmla="*/ 167821 w 7197271"/>
                  <a:gd name="connsiteY7" fmla="*/ 10020300 h 17868900"/>
                  <a:gd name="connsiteX8" fmla="*/ 186871 w 7197271"/>
                  <a:gd name="connsiteY8" fmla="*/ 11004550 h 17868900"/>
                  <a:gd name="connsiteX9" fmla="*/ 186871 w 7197271"/>
                  <a:gd name="connsiteY9" fmla="*/ 13182600 h 17868900"/>
                  <a:gd name="connsiteX10" fmla="*/ 0 w 7197271"/>
                  <a:gd name="connsiteY10" fmla="*/ 17366344 h 17868900"/>
                  <a:gd name="connsiteX11" fmla="*/ 1598385 w 7197271"/>
                  <a:gd name="connsiteY11" fmla="*/ 17471572 h 17868900"/>
                  <a:gd name="connsiteX12" fmla="*/ 2663371 w 7197271"/>
                  <a:gd name="connsiteY12" fmla="*/ 17411700 h 17868900"/>
                  <a:gd name="connsiteX13" fmla="*/ 2472871 w 7197271"/>
                  <a:gd name="connsiteY13" fmla="*/ 11049000 h 17868900"/>
                  <a:gd name="connsiteX14" fmla="*/ 2371271 w 7197271"/>
                  <a:gd name="connsiteY14" fmla="*/ 9575800 h 17868900"/>
                  <a:gd name="connsiteX15" fmla="*/ 2460171 w 7197271"/>
                  <a:gd name="connsiteY15" fmla="*/ 9093200 h 17868900"/>
                  <a:gd name="connsiteX16" fmla="*/ 2510971 w 7197271"/>
                  <a:gd name="connsiteY16" fmla="*/ 8420100 h 17868900"/>
                  <a:gd name="connsiteX17" fmla="*/ 2701471 w 7197271"/>
                  <a:gd name="connsiteY17" fmla="*/ 7683500 h 17868900"/>
                  <a:gd name="connsiteX18" fmla="*/ 3615871 w 7197271"/>
                  <a:gd name="connsiteY18" fmla="*/ 4038600 h 17868900"/>
                  <a:gd name="connsiteX19" fmla="*/ 3844471 w 7197271"/>
                  <a:gd name="connsiteY19" fmla="*/ 5143500 h 17868900"/>
                  <a:gd name="connsiteX20" fmla="*/ 3996871 w 7197271"/>
                  <a:gd name="connsiteY20" fmla="*/ 6972300 h 17868900"/>
                  <a:gd name="connsiteX21" fmla="*/ 4161971 w 7197271"/>
                  <a:gd name="connsiteY21" fmla="*/ 8724900 h 17868900"/>
                  <a:gd name="connsiteX22" fmla="*/ 4187371 w 7197271"/>
                  <a:gd name="connsiteY22" fmla="*/ 9982200 h 17868900"/>
                  <a:gd name="connsiteX23" fmla="*/ 4149271 w 7197271"/>
                  <a:gd name="connsiteY23" fmla="*/ 11163300 h 17868900"/>
                  <a:gd name="connsiteX24" fmla="*/ 4149271 w 7197271"/>
                  <a:gd name="connsiteY24" fmla="*/ 12801600 h 17868900"/>
                  <a:gd name="connsiteX25" fmla="*/ 4111171 w 7197271"/>
                  <a:gd name="connsiteY25" fmla="*/ 13792200 h 17868900"/>
                  <a:gd name="connsiteX26" fmla="*/ 4187371 w 7197271"/>
                  <a:gd name="connsiteY26" fmla="*/ 17792700 h 17868900"/>
                  <a:gd name="connsiteX27" fmla="*/ 6244771 w 7197271"/>
                  <a:gd name="connsiteY27" fmla="*/ 17868900 h 17868900"/>
                  <a:gd name="connsiteX28" fmla="*/ 6892471 w 7197271"/>
                  <a:gd name="connsiteY28" fmla="*/ 17754600 h 17868900"/>
                  <a:gd name="connsiteX29" fmla="*/ 6682921 w 7197271"/>
                  <a:gd name="connsiteY29" fmla="*/ 13525500 h 17868900"/>
                  <a:gd name="connsiteX30" fmla="*/ 6473371 w 7197271"/>
                  <a:gd name="connsiteY30" fmla="*/ 11410950 h 17868900"/>
                  <a:gd name="connsiteX31" fmla="*/ 6378122 w 7197271"/>
                  <a:gd name="connsiteY31" fmla="*/ 10210800 h 17868900"/>
                  <a:gd name="connsiteX32" fmla="*/ 6454321 w 7197271"/>
                  <a:gd name="connsiteY32" fmla="*/ 8820150 h 17868900"/>
                  <a:gd name="connsiteX33" fmla="*/ 6930571 w 7197271"/>
                  <a:gd name="connsiteY33" fmla="*/ 5067300 h 17868900"/>
                  <a:gd name="connsiteX34" fmla="*/ 7121071 w 7197271"/>
                  <a:gd name="connsiteY34" fmla="*/ 4038600 h 17868900"/>
                  <a:gd name="connsiteX35" fmla="*/ 7197271 w 7197271"/>
                  <a:gd name="connsiteY35" fmla="*/ 2705100 h 17868900"/>
                  <a:gd name="connsiteX36" fmla="*/ 7159171 w 7197271"/>
                  <a:gd name="connsiteY36" fmla="*/ 2019300 h 17868900"/>
                  <a:gd name="connsiteX37" fmla="*/ 6092371 w 7197271"/>
                  <a:gd name="connsiteY37" fmla="*/ 2095500 h 17868900"/>
                  <a:gd name="connsiteX38" fmla="*/ 4492171 w 7197271"/>
                  <a:gd name="connsiteY38" fmla="*/ 2171700 h 17868900"/>
                  <a:gd name="connsiteX39" fmla="*/ 3958771 w 7197271"/>
                  <a:gd name="connsiteY39" fmla="*/ 2133600 h 17868900"/>
                  <a:gd name="connsiteX40" fmla="*/ 3455851 w 7197271"/>
                  <a:gd name="connsiteY40" fmla="*/ 1661160 h 17868900"/>
                  <a:gd name="connsiteX41" fmla="*/ 3295831 w 7197271"/>
                  <a:gd name="connsiteY41" fmla="*/ 1272540 h 17868900"/>
                  <a:gd name="connsiteX42" fmla="*/ 3196771 w 7197271"/>
                  <a:gd name="connsiteY42" fmla="*/ 7620 h 17868900"/>
                  <a:gd name="connsiteX43" fmla="*/ 2815771 w 7197271"/>
                  <a:gd name="connsiteY43" fmla="*/ 0 h 17868900"/>
                  <a:gd name="connsiteX44" fmla="*/ 2366191 w 7197271"/>
                  <a:gd name="connsiteY44" fmla="*/ 1196340 h 17868900"/>
                  <a:gd name="connsiteX45" fmla="*/ 2038531 w 7197271"/>
                  <a:gd name="connsiteY45" fmla="*/ 1676400 h 17868900"/>
                  <a:gd name="connsiteX46" fmla="*/ 1809931 w 7197271"/>
                  <a:gd name="connsiteY46" fmla="*/ 1813560 h 17868900"/>
                  <a:gd name="connsiteX47" fmla="*/ 1108891 w 7197271"/>
                  <a:gd name="connsiteY47" fmla="*/ 1844040 h 17868900"/>
                  <a:gd name="connsiteX48" fmla="*/ 423091 w 7197271"/>
                  <a:gd name="connsiteY48" fmla="*/ 1623060 h 17868900"/>
                  <a:gd name="connsiteX49" fmla="*/ 461191 w 7197271"/>
                  <a:gd name="connsiteY49" fmla="*/ 1645920 h 17868900"/>
                  <a:gd name="connsiteX0" fmla="*/ 453571 w 7197271"/>
                  <a:gd name="connsiteY0" fmla="*/ 1676400 h 17868900"/>
                  <a:gd name="connsiteX1" fmla="*/ 186871 w 7197271"/>
                  <a:gd name="connsiteY1" fmla="*/ 2057400 h 17868900"/>
                  <a:gd name="connsiteX2" fmla="*/ 263071 w 7197271"/>
                  <a:gd name="connsiteY2" fmla="*/ 2438400 h 17868900"/>
                  <a:gd name="connsiteX3" fmla="*/ 491671 w 7197271"/>
                  <a:gd name="connsiteY3" fmla="*/ 2628900 h 17868900"/>
                  <a:gd name="connsiteX4" fmla="*/ 453571 w 7197271"/>
                  <a:gd name="connsiteY4" fmla="*/ 3886200 h 17868900"/>
                  <a:gd name="connsiteX5" fmla="*/ 186871 w 7197271"/>
                  <a:gd name="connsiteY5" fmla="*/ 6743700 h 17868900"/>
                  <a:gd name="connsiteX6" fmla="*/ 97971 w 7197271"/>
                  <a:gd name="connsiteY6" fmla="*/ 8267700 h 17868900"/>
                  <a:gd name="connsiteX7" fmla="*/ 167821 w 7197271"/>
                  <a:gd name="connsiteY7" fmla="*/ 10020300 h 17868900"/>
                  <a:gd name="connsiteX8" fmla="*/ 186871 w 7197271"/>
                  <a:gd name="connsiteY8" fmla="*/ 11004550 h 17868900"/>
                  <a:gd name="connsiteX9" fmla="*/ 186871 w 7197271"/>
                  <a:gd name="connsiteY9" fmla="*/ 13182600 h 17868900"/>
                  <a:gd name="connsiteX10" fmla="*/ 0 w 7197271"/>
                  <a:gd name="connsiteY10" fmla="*/ 17366344 h 17868900"/>
                  <a:gd name="connsiteX11" fmla="*/ 1598385 w 7197271"/>
                  <a:gd name="connsiteY11" fmla="*/ 17471572 h 17868900"/>
                  <a:gd name="connsiteX12" fmla="*/ 2663371 w 7197271"/>
                  <a:gd name="connsiteY12" fmla="*/ 17411700 h 17868900"/>
                  <a:gd name="connsiteX13" fmla="*/ 2472871 w 7197271"/>
                  <a:gd name="connsiteY13" fmla="*/ 11049000 h 17868900"/>
                  <a:gd name="connsiteX14" fmla="*/ 2371271 w 7197271"/>
                  <a:gd name="connsiteY14" fmla="*/ 9575800 h 17868900"/>
                  <a:gd name="connsiteX15" fmla="*/ 2460171 w 7197271"/>
                  <a:gd name="connsiteY15" fmla="*/ 9093200 h 17868900"/>
                  <a:gd name="connsiteX16" fmla="*/ 2510971 w 7197271"/>
                  <a:gd name="connsiteY16" fmla="*/ 8420100 h 17868900"/>
                  <a:gd name="connsiteX17" fmla="*/ 2701471 w 7197271"/>
                  <a:gd name="connsiteY17" fmla="*/ 7683500 h 17868900"/>
                  <a:gd name="connsiteX18" fmla="*/ 3615871 w 7197271"/>
                  <a:gd name="connsiteY18" fmla="*/ 4038600 h 17868900"/>
                  <a:gd name="connsiteX19" fmla="*/ 3844471 w 7197271"/>
                  <a:gd name="connsiteY19" fmla="*/ 5143500 h 17868900"/>
                  <a:gd name="connsiteX20" fmla="*/ 3996871 w 7197271"/>
                  <a:gd name="connsiteY20" fmla="*/ 6972300 h 17868900"/>
                  <a:gd name="connsiteX21" fmla="*/ 4161971 w 7197271"/>
                  <a:gd name="connsiteY21" fmla="*/ 8724900 h 17868900"/>
                  <a:gd name="connsiteX22" fmla="*/ 4187371 w 7197271"/>
                  <a:gd name="connsiteY22" fmla="*/ 9982200 h 17868900"/>
                  <a:gd name="connsiteX23" fmla="*/ 4149271 w 7197271"/>
                  <a:gd name="connsiteY23" fmla="*/ 11163300 h 17868900"/>
                  <a:gd name="connsiteX24" fmla="*/ 4149271 w 7197271"/>
                  <a:gd name="connsiteY24" fmla="*/ 12801600 h 17868900"/>
                  <a:gd name="connsiteX25" fmla="*/ 4111171 w 7197271"/>
                  <a:gd name="connsiteY25" fmla="*/ 13792200 h 17868900"/>
                  <a:gd name="connsiteX26" fmla="*/ 4187371 w 7197271"/>
                  <a:gd name="connsiteY26" fmla="*/ 17792700 h 17868900"/>
                  <a:gd name="connsiteX27" fmla="*/ 6244771 w 7197271"/>
                  <a:gd name="connsiteY27" fmla="*/ 17868900 h 17868900"/>
                  <a:gd name="connsiteX28" fmla="*/ 6892471 w 7197271"/>
                  <a:gd name="connsiteY28" fmla="*/ 17754600 h 17868900"/>
                  <a:gd name="connsiteX29" fmla="*/ 6682921 w 7197271"/>
                  <a:gd name="connsiteY29" fmla="*/ 13525500 h 17868900"/>
                  <a:gd name="connsiteX30" fmla="*/ 6473371 w 7197271"/>
                  <a:gd name="connsiteY30" fmla="*/ 11410950 h 17868900"/>
                  <a:gd name="connsiteX31" fmla="*/ 6378122 w 7197271"/>
                  <a:gd name="connsiteY31" fmla="*/ 10210800 h 17868900"/>
                  <a:gd name="connsiteX32" fmla="*/ 6454321 w 7197271"/>
                  <a:gd name="connsiteY32" fmla="*/ 8820150 h 17868900"/>
                  <a:gd name="connsiteX33" fmla="*/ 6930571 w 7197271"/>
                  <a:gd name="connsiteY33" fmla="*/ 5067300 h 17868900"/>
                  <a:gd name="connsiteX34" fmla="*/ 7121071 w 7197271"/>
                  <a:gd name="connsiteY34" fmla="*/ 4038600 h 17868900"/>
                  <a:gd name="connsiteX35" fmla="*/ 7197271 w 7197271"/>
                  <a:gd name="connsiteY35" fmla="*/ 2705100 h 17868900"/>
                  <a:gd name="connsiteX36" fmla="*/ 7159171 w 7197271"/>
                  <a:gd name="connsiteY36" fmla="*/ 2019300 h 17868900"/>
                  <a:gd name="connsiteX37" fmla="*/ 6092371 w 7197271"/>
                  <a:gd name="connsiteY37" fmla="*/ 2095500 h 17868900"/>
                  <a:gd name="connsiteX38" fmla="*/ 4492171 w 7197271"/>
                  <a:gd name="connsiteY38" fmla="*/ 2171700 h 17868900"/>
                  <a:gd name="connsiteX39" fmla="*/ 4080691 w 7197271"/>
                  <a:gd name="connsiteY39" fmla="*/ 2118360 h 17868900"/>
                  <a:gd name="connsiteX40" fmla="*/ 3455851 w 7197271"/>
                  <a:gd name="connsiteY40" fmla="*/ 1661160 h 17868900"/>
                  <a:gd name="connsiteX41" fmla="*/ 3295831 w 7197271"/>
                  <a:gd name="connsiteY41" fmla="*/ 1272540 h 17868900"/>
                  <a:gd name="connsiteX42" fmla="*/ 3196771 w 7197271"/>
                  <a:gd name="connsiteY42" fmla="*/ 7620 h 17868900"/>
                  <a:gd name="connsiteX43" fmla="*/ 2815771 w 7197271"/>
                  <a:gd name="connsiteY43" fmla="*/ 0 h 17868900"/>
                  <a:gd name="connsiteX44" fmla="*/ 2366191 w 7197271"/>
                  <a:gd name="connsiteY44" fmla="*/ 1196340 h 17868900"/>
                  <a:gd name="connsiteX45" fmla="*/ 2038531 w 7197271"/>
                  <a:gd name="connsiteY45" fmla="*/ 1676400 h 17868900"/>
                  <a:gd name="connsiteX46" fmla="*/ 1809931 w 7197271"/>
                  <a:gd name="connsiteY46" fmla="*/ 1813560 h 17868900"/>
                  <a:gd name="connsiteX47" fmla="*/ 1108891 w 7197271"/>
                  <a:gd name="connsiteY47" fmla="*/ 1844040 h 17868900"/>
                  <a:gd name="connsiteX48" fmla="*/ 423091 w 7197271"/>
                  <a:gd name="connsiteY48" fmla="*/ 1623060 h 17868900"/>
                  <a:gd name="connsiteX49" fmla="*/ 461191 w 7197271"/>
                  <a:gd name="connsiteY49" fmla="*/ 1645920 h 17868900"/>
                  <a:gd name="connsiteX0" fmla="*/ 453571 w 7197271"/>
                  <a:gd name="connsiteY0" fmla="*/ 1676400 h 17868900"/>
                  <a:gd name="connsiteX1" fmla="*/ 186871 w 7197271"/>
                  <a:gd name="connsiteY1" fmla="*/ 2057400 h 17868900"/>
                  <a:gd name="connsiteX2" fmla="*/ 263071 w 7197271"/>
                  <a:gd name="connsiteY2" fmla="*/ 2438400 h 17868900"/>
                  <a:gd name="connsiteX3" fmla="*/ 491671 w 7197271"/>
                  <a:gd name="connsiteY3" fmla="*/ 2628900 h 17868900"/>
                  <a:gd name="connsiteX4" fmla="*/ 453571 w 7197271"/>
                  <a:gd name="connsiteY4" fmla="*/ 3886200 h 17868900"/>
                  <a:gd name="connsiteX5" fmla="*/ 186871 w 7197271"/>
                  <a:gd name="connsiteY5" fmla="*/ 6743700 h 17868900"/>
                  <a:gd name="connsiteX6" fmla="*/ 97971 w 7197271"/>
                  <a:gd name="connsiteY6" fmla="*/ 8267700 h 17868900"/>
                  <a:gd name="connsiteX7" fmla="*/ 167821 w 7197271"/>
                  <a:gd name="connsiteY7" fmla="*/ 10020300 h 17868900"/>
                  <a:gd name="connsiteX8" fmla="*/ 186871 w 7197271"/>
                  <a:gd name="connsiteY8" fmla="*/ 11004550 h 17868900"/>
                  <a:gd name="connsiteX9" fmla="*/ 186871 w 7197271"/>
                  <a:gd name="connsiteY9" fmla="*/ 13182600 h 17868900"/>
                  <a:gd name="connsiteX10" fmla="*/ 0 w 7197271"/>
                  <a:gd name="connsiteY10" fmla="*/ 17366344 h 17868900"/>
                  <a:gd name="connsiteX11" fmla="*/ 1598385 w 7197271"/>
                  <a:gd name="connsiteY11" fmla="*/ 17471572 h 17868900"/>
                  <a:gd name="connsiteX12" fmla="*/ 2663371 w 7197271"/>
                  <a:gd name="connsiteY12" fmla="*/ 17411700 h 17868900"/>
                  <a:gd name="connsiteX13" fmla="*/ 2472871 w 7197271"/>
                  <a:gd name="connsiteY13" fmla="*/ 11049000 h 17868900"/>
                  <a:gd name="connsiteX14" fmla="*/ 2371271 w 7197271"/>
                  <a:gd name="connsiteY14" fmla="*/ 9575800 h 17868900"/>
                  <a:gd name="connsiteX15" fmla="*/ 2460171 w 7197271"/>
                  <a:gd name="connsiteY15" fmla="*/ 9093200 h 17868900"/>
                  <a:gd name="connsiteX16" fmla="*/ 2510971 w 7197271"/>
                  <a:gd name="connsiteY16" fmla="*/ 8420100 h 17868900"/>
                  <a:gd name="connsiteX17" fmla="*/ 2701471 w 7197271"/>
                  <a:gd name="connsiteY17" fmla="*/ 7683500 h 17868900"/>
                  <a:gd name="connsiteX18" fmla="*/ 3615871 w 7197271"/>
                  <a:gd name="connsiteY18" fmla="*/ 4038600 h 17868900"/>
                  <a:gd name="connsiteX19" fmla="*/ 3844471 w 7197271"/>
                  <a:gd name="connsiteY19" fmla="*/ 5143500 h 17868900"/>
                  <a:gd name="connsiteX20" fmla="*/ 3996871 w 7197271"/>
                  <a:gd name="connsiteY20" fmla="*/ 6972300 h 17868900"/>
                  <a:gd name="connsiteX21" fmla="*/ 4161971 w 7197271"/>
                  <a:gd name="connsiteY21" fmla="*/ 8724900 h 17868900"/>
                  <a:gd name="connsiteX22" fmla="*/ 4187371 w 7197271"/>
                  <a:gd name="connsiteY22" fmla="*/ 9982200 h 17868900"/>
                  <a:gd name="connsiteX23" fmla="*/ 4149271 w 7197271"/>
                  <a:gd name="connsiteY23" fmla="*/ 11163300 h 17868900"/>
                  <a:gd name="connsiteX24" fmla="*/ 4149271 w 7197271"/>
                  <a:gd name="connsiteY24" fmla="*/ 12801600 h 17868900"/>
                  <a:gd name="connsiteX25" fmla="*/ 4111171 w 7197271"/>
                  <a:gd name="connsiteY25" fmla="*/ 13792200 h 17868900"/>
                  <a:gd name="connsiteX26" fmla="*/ 4187371 w 7197271"/>
                  <a:gd name="connsiteY26" fmla="*/ 17792700 h 17868900"/>
                  <a:gd name="connsiteX27" fmla="*/ 6244771 w 7197271"/>
                  <a:gd name="connsiteY27" fmla="*/ 17868900 h 17868900"/>
                  <a:gd name="connsiteX28" fmla="*/ 6892471 w 7197271"/>
                  <a:gd name="connsiteY28" fmla="*/ 17754600 h 17868900"/>
                  <a:gd name="connsiteX29" fmla="*/ 6682921 w 7197271"/>
                  <a:gd name="connsiteY29" fmla="*/ 13525500 h 17868900"/>
                  <a:gd name="connsiteX30" fmla="*/ 6473371 w 7197271"/>
                  <a:gd name="connsiteY30" fmla="*/ 11410950 h 17868900"/>
                  <a:gd name="connsiteX31" fmla="*/ 6378122 w 7197271"/>
                  <a:gd name="connsiteY31" fmla="*/ 10210800 h 17868900"/>
                  <a:gd name="connsiteX32" fmla="*/ 6454321 w 7197271"/>
                  <a:gd name="connsiteY32" fmla="*/ 8820150 h 17868900"/>
                  <a:gd name="connsiteX33" fmla="*/ 6930571 w 7197271"/>
                  <a:gd name="connsiteY33" fmla="*/ 5067300 h 17868900"/>
                  <a:gd name="connsiteX34" fmla="*/ 7121071 w 7197271"/>
                  <a:gd name="connsiteY34" fmla="*/ 4038600 h 17868900"/>
                  <a:gd name="connsiteX35" fmla="*/ 7197271 w 7197271"/>
                  <a:gd name="connsiteY35" fmla="*/ 2705100 h 17868900"/>
                  <a:gd name="connsiteX36" fmla="*/ 7159171 w 7197271"/>
                  <a:gd name="connsiteY36" fmla="*/ 2019300 h 17868900"/>
                  <a:gd name="connsiteX37" fmla="*/ 6092371 w 7197271"/>
                  <a:gd name="connsiteY37" fmla="*/ 2095500 h 17868900"/>
                  <a:gd name="connsiteX38" fmla="*/ 4736011 w 7197271"/>
                  <a:gd name="connsiteY38" fmla="*/ 2095500 h 17868900"/>
                  <a:gd name="connsiteX39" fmla="*/ 4080691 w 7197271"/>
                  <a:gd name="connsiteY39" fmla="*/ 2118360 h 17868900"/>
                  <a:gd name="connsiteX40" fmla="*/ 3455851 w 7197271"/>
                  <a:gd name="connsiteY40" fmla="*/ 1661160 h 17868900"/>
                  <a:gd name="connsiteX41" fmla="*/ 3295831 w 7197271"/>
                  <a:gd name="connsiteY41" fmla="*/ 1272540 h 17868900"/>
                  <a:gd name="connsiteX42" fmla="*/ 3196771 w 7197271"/>
                  <a:gd name="connsiteY42" fmla="*/ 7620 h 17868900"/>
                  <a:gd name="connsiteX43" fmla="*/ 2815771 w 7197271"/>
                  <a:gd name="connsiteY43" fmla="*/ 0 h 17868900"/>
                  <a:gd name="connsiteX44" fmla="*/ 2366191 w 7197271"/>
                  <a:gd name="connsiteY44" fmla="*/ 1196340 h 17868900"/>
                  <a:gd name="connsiteX45" fmla="*/ 2038531 w 7197271"/>
                  <a:gd name="connsiteY45" fmla="*/ 1676400 h 17868900"/>
                  <a:gd name="connsiteX46" fmla="*/ 1809931 w 7197271"/>
                  <a:gd name="connsiteY46" fmla="*/ 1813560 h 17868900"/>
                  <a:gd name="connsiteX47" fmla="*/ 1108891 w 7197271"/>
                  <a:gd name="connsiteY47" fmla="*/ 1844040 h 17868900"/>
                  <a:gd name="connsiteX48" fmla="*/ 423091 w 7197271"/>
                  <a:gd name="connsiteY48" fmla="*/ 1623060 h 17868900"/>
                  <a:gd name="connsiteX49" fmla="*/ 461191 w 7197271"/>
                  <a:gd name="connsiteY49" fmla="*/ 1645920 h 17868900"/>
                  <a:gd name="connsiteX0" fmla="*/ 453571 w 7197271"/>
                  <a:gd name="connsiteY0" fmla="*/ 1676400 h 17868900"/>
                  <a:gd name="connsiteX1" fmla="*/ 186871 w 7197271"/>
                  <a:gd name="connsiteY1" fmla="*/ 2057400 h 17868900"/>
                  <a:gd name="connsiteX2" fmla="*/ 263071 w 7197271"/>
                  <a:gd name="connsiteY2" fmla="*/ 2438400 h 17868900"/>
                  <a:gd name="connsiteX3" fmla="*/ 491671 w 7197271"/>
                  <a:gd name="connsiteY3" fmla="*/ 2628900 h 17868900"/>
                  <a:gd name="connsiteX4" fmla="*/ 453571 w 7197271"/>
                  <a:gd name="connsiteY4" fmla="*/ 3886200 h 17868900"/>
                  <a:gd name="connsiteX5" fmla="*/ 186871 w 7197271"/>
                  <a:gd name="connsiteY5" fmla="*/ 6743700 h 17868900"/>
                  <a:gd name="connsiteX6" fmla="*/ 97971 w 7197271"/>
                  <a:gd name="connsiteY6" fmla="*/ 8267700 h 17868900"/>
                  <a:gd name="connsiteX7" fmla="*/ 167821 w 7197271"/>
                  <a:gd name="connsiteY7" fmla="*/ 10020300 h 17868900"/>
                  <a:gd name="connsiteX8" fmla="*/ 186871 w 7197271"/>
                  <a:gd name="connsiteY8" fmla="*/ 11004550 h 17868900"/>
                  <a:gd name="connsiteX9" fmla="*/ 186871 w 7197271"/>
                  <a:gd name="connsiteY9" fmla="*/ 13182600 h 17868900"/>
                  <a:gd name="connsiteX10" fmla="*/ 0 w 7197271"/>
                  <a:gd name="connsiteY10" fmla="*/ 17366344 h 17868900"/>
                  <a:gd name="connsiteX11" fmla="*/ 1598385 w 7197271"/>
                  <a:gd name="connsiteY11" fmla="*/ 17471572 h 17868900"/>
                  <a:gd name="connsiteX12" fmla="*/ 2663371 w 7197271"/>
                  <a:gd name="connsiteY12" fmla="*/ 17411700 h 17868900"/>
                  <a:gd name="connsiteX13" fmla="*/ 2472871 w 7197271"/>
                  <a:gd name="connsiteY13" fmla="*/ 11049000 h 17868900"/>
                  <a:gd name="connsiteX14" fmla="*/ 2371271 w 7197271"/>
                  <a:gd name="connsiteY14" fmla="*/ 9575800 h 17868900"/>
                  <a:gd name="connsiteX15" fmla="*/ 2460171 w 7197271"/>
                  <a:gd name="connsiteY15" fmla="*/ 9093200 h 17868900"/>
                  <a:gd name="connsiteX16" fmla="*/ 2510971 w 7197271"/>
                  <a:gd name="connsiteY16" fmla="*/ 8420100 h 17868900"/>
                  <a:gd name="connsiteX17" fmla="*/ 2701471 w 7197271"/>
                  <a:gd name="connsiteY17" fmla="*/ 7683500 h 17868900"/>
                  <a:gd name="connsiteX18" fmla="*/ 3615871 w 7197271"/>
                  <a:gd name="connsiteY18" fmla="*/ 4038600 h 17868900"/>
                  <a:gd name="connsiteX19" fmla="*/ 3844471 w 7197271"/>
                  <a:gd name="connsiteY19" fmla="*/ 5143500 h 17868900"/>
                  <a:gd name="connsiteX20" fmla="*/ 3996871 w 7197271"/>
                  <a:gd name="connsiteY20" fmla="*/ 6972300 h 17868900"/>
                  <a:gd name="connsiteX21" fmla="*/ 4161971 w 7197271"/>
                  <a:gd name="connsiteY21" fmla="*/ 8724900 h 17868900"/>
                  <a:gd name="connsiteX22" fmla="*/ 4187371 w 7197271"/>
                  <a:gd name="connsiteY22" fmla="*/ 9982200 h 17868900"/>
                  <a:gd name="connsiteX23" fmla="*/ 4149271 w 7197271"/>
                  <a:gd name="connsiteY23" fmla="*/ 11163300 h 17868900"/>
                  <a:gd name="connsiteX24" fmla="*/ 4149271 w 7197271"/>
                  <a:gd name="connsiteY24" fmla="*/ 12801600 h 17868900"/>
                  <a:gd name="connsiteX25" fmla="*/ 4111171 w 7197271"/>
                  <a:gd name="connsiteY25" fmla="*/ 13792200 h 17868900"/>
                  <a:gd name="connsiteX26" fmla="*/ 4187371 w 7197271"/>
                  <a:gd name="connsiteY26" fmla="*/ 17792700 h 17868900"/>
                  <a:gd name="connsiteX27" fmla="*/ 6244771 w 7197271"/>
                  <a:gd name="connsiteY27" fmla="*/ 17868900 h 17868900"/>
                  <a:gd name="connsiteX28" fmla="*/ 6892471 w 7197271"/>
                  <a:gd name="connsiteY28" fmla="*/ 17754600 h 17868900"/>
                  <a:gd name="connsiteX29" fmla="*/ 6682921 w 7197271"/>
                  <a:gd name="connsiteY29" fmla="*/ 13525500 h 17868900"/>
                  <a:gd name="connsiteX30" fmla="*/ 6473371 w 7197271"/>
                  <a:gd name="connsiteY30" fmla="*/ 11410950 h 17868900"/>
                  <a:gd name="connsiteX31" fmla="*/ 6378122 w 7197271"/>
                  <a:gd name="connsiteY31" fmla="*/ 10210800 h 17868900"/>
                  <a:gd name="connsiteX32" fmla="*/ 6454321 w 7197271"/>
                  <a:gd name="connsiteY32" fmla="*/ 8820150 h 17868900"/>
                  <a:gd name="connsiteX33" fmla="*/ 6930571 w 7197271"/>
                  <a:gd name="connsiteY33" fmla="*/ 5067300 h 17868900"/>
                  <a:gd name="connsiteX34" fmla="*/ 7121071 w 7197271"/>
                  <a:gd name="connsiteY34" fmla="*/ 4038600 h 17868900"/>
                  <a:gd name="connsiteX35" fmla="*/ 7197271 w 7197271"/>
                  <a:gd name="connsiteY35" fmla="*/ 2705100 h 17868900"/>
                  <a:gd name="connsiteX36" fmla="*/ 7159171 w 7197271"/>
                  <a:gd name="connsiteY36" fmla="*/ 2019300 h 17868900"/>
                  <a:gd name="connsiteX37" fmla="*/ 6130471 w 7197271"/>
                  <a:gd name="connsiteY37" fmla="*/ 2034540 h 17868900"/>
                  <a:gd name="connsiteX38" fmla="*/ 4736011 w 7197271"/>
                  <a:gd name="connsiteY38" fmla="*/ 2095500 h 17868900"/>
                  <a:gd name="connsiteX39" fmla="*/ 4080691 w 7197271"/>
                  <a:gd name="connsiteY39" fmla="*/ 2118360 h 17868900"/>
                  <a:gd name="connsiteX40" fmla="*/ 3455851 w 7197271"/>
                  <a:gd name="connsiteY40" fmla="*/ 1661160 h 17868900"/>
                  <a:gd name="connsiteX41" fmla="*/ 3295831 w 7197271"/>
                  <a:gd name="connsiteY41" fmla="*/ 1272540 h 17868900"/>
                  <a:gd name="connsiteX42" fmla="*/ 3196771 w 7197271"/>
                  <a:gd name="connsiteY42" fmla="*/ 7620 h 17868900"/>
                  <a:gd name="connsiteX43" fmla="*/ 2815771 w 7197271"/>
                  <a:gd name="connsiteY43" fmla="*/ 0 h 17868900"/>
                  <a:gd name="connsiteX44" fmla="*/ 2366191 w 7197271"/>
                  <a:gd name="connsiteY44" fmla="*/ 1196340 h 17868900"/>
                  <a:gd name="connsiteX45" fmla="*/ 2038531 w 7197271"/>
                  <a:gd name="connsiteY45" fmla="*/ 1676400 h 17868900"/>
                  <a:gd name="connsiteX46" fmla="*/ 1809931 w 7197271"/>
                  <a:gd name="connsiteY46" fmla="*/ 1813560 h 17868900"/>
                  <a:gd name="connsiteX47" fmla="*/ 1108891 w 7197271"/>
                  <a:gd name="connsiteY47" fmla="*/ 1844040 h 17868900"/>
                  <a:gd name="connsiteX48" fmla="*/ 423091 w 7197271"/>
                  <a:gd name="connsiteY48" fmla="*/ 1623060 h 17868900"/>
                  <a:gd name="connsiteX49" fmla="*/ 461191 w 7197271"/>
                  <a:gd name="connsiteY49" fmla="*/ 1645920 h 17868900"/>
                  <a:gd name="connsiteX0" fmla="*/ 453571 w 7197271"/>
                  <a:gd name="connsiteY0" fmla="*/ 1676400 h 17868900"/>
                  <a:gd name="connsiteX1" fmla="*/ 186871 w 7197271"/>
                  <a:gd name="connsiteY1" fmla="*/ 2057400 h 17868900"/>
                  <a:gd name="connsiteX2" fmla="*/ 263071 w 7197271"/>
                  <a:gd name="connsiteY2" fmla="*/ 2438400 h 17868900"/>
                  <a:gd name="connsiteX3" fmla="*/ 491671 w 7197271"/>
                  <a:gd name="connsiteY3" fmla="*/ 2628900 h 17868900"/>
                  <a:gd name="connsiteX4" fmla="*/ 453571 w 7197271"/>
                  <a:gd name="connsiteY4" fmla="*/ 3886200 h 17868900"/>
                  <a:gd name="connsiteX5" fmla="*/ 186871 w 7197271"/>
                  <a:gd name="connsiteY5" fmla="*/ 6743700 h 17868900"/>
                  <a:gd name="connsiteX6" fmla="*/ 97971 w 7197271"/>
                  <a:gd name="connsiteY6" fmla="*/ 8267700 h 17868900"/>
                  <a:gd name="connsiteX7" fmla="*/ 167821 w 7197271"/>
                  <a:gd name="connsiteY7" fmla="*/ 10020300 h 17868900"/>
                  <a:gd name="connsiteX8" fmla="*/ 186871 w 7197271"/>
                  <a:gd name="connsiteY8" fmla="*/ 11004550 h 17868900"/>
                  <a:gd name="connsiteX9" fmla="*/ 186871 w 7197271"/>
                  <a:gd name="connsiteY9" fmla="*/ 13182600 h 17868900"/>
                  <a:gd name="connsiteX10" fmla="*/ 0 w 7197271"/>
                  <a:gd name="connsiteY10" fmla="*/ 17366344 h 17868900"/>
                  <a:gd name="connsiteX11" fmla="*/ 1598385 w 7197271"/>
                  <a:gd name="connsiteY11" fmla="*/ 17471572 h 17868900"/>
                  <a:gd name="connsiteX12" fmla="*/ 2663371 w 7197271"/>
                  <a:gd name="connsiteY12" fmla="*/ 17411700 h 17868900"/>
                  <a:gd name="connsiteX13" fmla="*/ 2472871 w 7197271"/>
                  <a:gd name="connsiteY13" fmla="*/ 11049000 h 17868900"/>
                  <a:gd name="connsiteX14" fmla="*/ 2371271 w 7197271"/>
                  <a:gd name="connsiteY14" fmla="*/ 9575800 h 17868900"/>
                  <a:gd name="connsiteX15" fmla="*/ 2460171 w 7197271"/>
                  <a:gd name="connsiteY15" fmla="*/ 9093200 h 17868900"/>
                  <a:gd name="connsiteX16" fmla="*/ 2510971 w 7197271"/>
                  <a:gd name="connsiteY16" fmla="*/ 8420100 h 17868900"/>
                  <a:gd name="connsiteX17" fmla="*/ 2701471 w 7197271"/>
                  <a:gd name="connsiteY17" fmla="*/ 7683500 h 17868900"/>
                  <a:gd name="connsiteX18" fmla="*/ 3615871 w 7197271"/>
                  <a:gd name="connsiteY18" fmla="*/ 4038600 h 17868900"/>
                  <a:gd name="connsiteX19" fmla="*/ 3844471 w 7197271"/>
                  <a:gd name="connsiteY19" fmla="*/ 5143500 h 17868900"/>
                  <a:gd name="connsiteX20" fmla="*/ 3996871 w 7197271"/>
                  <a:gd name="connsiteY20" fmla="*/ 6972300 h 17868900"/>
                  <a:gd name="connsiteX21" fmla="*/ 4161971 w 7197271"/>
                  <a:gd name="connsiteY21" fmla="*/ 8724900 h 17868900"/>
                  <a:gd name="connsiteX22" fmla="*/ 4187371 w 7197271"/>
                  <a:gd name="connsiteY22" fmla="*/ 9982200 h 17868900"/>
                  <a:gd name="connsiteX23" fmla="*/ 4149271 w 7197271"/>
                  <a:gd name="connsiteY23" fmla="*/ 11163300 h 17868900"/>
                  <a:gd name="connsiteX24" fmla="*/ 4149271 w 7197271"/>
                  <a:gd name="connsiteY24" fmla="*/ 12801600 h 17868900"/>
                  <a:gd name="connsiteX25" fmla="*/ 4111171 w 7197271"/>
                  <a:gd name="connsiteY25" fmla="*/ 13792200 h 17868900"/>
                  <a:gd name="connsiteX26" fmla="*/ 4187371 w 7197271"/>
                  <a:gd name="connsiteY26" fmla="*/ 17792700 h 17868900"/>
                  <a:gd name="connsiteX27" fmla="*/ 6244771 w 7197271"/>
                  <a:gd name="connsiteY27" fmla="*/ 17868900 h 17868900"/>
                  <a:gd name="connsiteX28" fmla="*/ 6892471 w 7197271"/>
                  <a:gd name="connsiteY28" fmla="*/ 17754600 h 17868900"/>
                  <a:gd name="connsiteX29" fmla="*/ 6682921 w 7197271"/>
                  <a:gd name="connsiteY29" fmla="*/ 13525500 h 17868900"/>
                  <a:gd name="connsiteX30" fmla="*/ 6473371 w 7197271"/>
                  <a:gd name="connsiteY30" fmla="*/ 11410950 h 17868900"/>
                  <a:gd name="connsiteX31" fmla="*/ 6378122 w 7197271"/>
                  <a:gd name="connsiteY31" fmla="*/ 10210800 h 17868900"/>
                  <a:gd name="connsiteX32" fmla="*/ 6454321 w 7197271"/>
                  <a:gd name="connsiteY32" fmla="*/ 8820150 h 17868900"/>
                  <a:gd name="connsiteX33" fmla="*/ 6930571 w 7197271"/>
                  <a:gd name="connsiteY33" fmla="*/ 5067300 h 17868900"/>
                  <a:gd name="connsiteX34" fmla="*/ 7121071 w 7197271"/>
                  <a:gd name="connsiteY34" fmla="*/ 4038600 h 17868900"/>
                  <a:gd name="connsiteX35" fmla="*/ 7197271 w 7197271"/>
                  <a:gd name="connsiteY35" fmla="*/ 2705100 h 17868900"/>
                  <a:gd name="connsiteX36" fmla="*/ 7159171 w 7197271"/>
                  <a:gd name="connsiteY36" fmla="*/ 2019300 h 17868900"/>
                  <a:gd name="connsiteX37" fmla="*/ 6130471 w 7197271"/>
                  <a:gd name="connsiteY37" fmla="*/ 2034540 h 17868900"/>
                  <a:gd name="connsiteX38" fmla="*/ 4736011 w 7197271"/>
                  <a:gd name="connsiteY38" fmla="*/ 2095500 h 17868900"/>
                  <a:gd name="connsiteX39" fmla="*/ 4080691 w 7197271"/>
                  <a:gd name="connsiteY39" fmla="*/ 2118360 h 17868900"/>
                  <a:gd name="connsiteX40" fmla="*/ 3455851 w 7197271"/>
                  <a:gd name="connsiteY40" fmla="*/ 1661160 h 17868900"/>
                  <a:gd name="connsiteX41" fmla="*/ 3333931 w 7197271"/>
                  <a:gd name="connsiteY41" fmla="*/ 1287780 h 17868900"/>
                  <a:gd name="connsiteX42" fmla="*/ 3196771 w 7197271"/>
                  <a:gd name="connsiteY42" fmla="*/ 7620 h 17868900"/>
                  <a:gd name="connsiteX43" fmla="*/ 2815771 w 7197271"/>
                  <a:gd name="connsiteY43" fmla="*/ 0 h 17868900"/>
                  <a:gd name="connsiteX44" fmla="*/ 2366191 w 7197271"/>
                  <a:gd name="connsiteY44" fmla="*/ 1196340 h 17868900"/>
                  <a:gd name="connsiteX45" fmla="*/ 2038531 w 7197271"/>
                  <a:gd name="connsiteY45" fmla="*/ 1676400 h 17868900"/>
                  <a:gd name="connsiteX46" fmla="*/ 1809931 w 7197271"/>
                  <a:gd name="connsiteY46" fmla="*/ 1813560 h 17868900"/>
                  <a:gd name="connsiteX47" fmla="*/ 1108891 w 7197271"/>
                  <a:gd name="connsiteY47" fmla="*/ 1844040 h 17868900"/>
                  <a:gd name="connsiteX48" fmla="*/ 423091 w 7197271"/>
                  <a:gd name="connsiteY48" fmla="*/ 1623060 h 17868900"/>
                  <a:gd name="connsiteX49" fmla="*/ 461191 w 7197271"/>
                  <a:gd name="connsiteY49" fmla="*/ 1645920 h 17868900"/>
                  <a:gd name="connsiteX0" fmla="*/ 453571 w 7197271"/>
                  <a:gd name="connsiteY0" fmla="*/ 1676400 h 17868900"/>
                  <a:gd name="connsiteX1" fmla="*/ 186871 w 7197271"/>
                  <a:gd name="connsiteY1" fmla="*/ 2057400 h 17868900"/>
                  <a:gd name="connsiteX2" fmla="*/ 263071 w 7197271"/>
                  <a:gd name="connsiteY2" fmla="*/ 2438400 h 17868900"/>
                  <a:gd name="connsiteX3" fmla="*/ 491671 w 7197271"/>
                  <a:gd name="connsiteY3" fmla="*/ 2628900 h 17868900"/>
                  <a:gd name="connsiteX4" fmla="*/ 453571 w 7197271"/>
                  <a:gd name="connsiteY4" fmla="*/ 3886200 h 17868900"/>
                  <a:gd name="connsiteX5" fmla="*/ 186871 w 7197271"/>
                  <a:gd name="connsiteY5" fmla="*/ 6743700 h 17868900"/>
                  <a:gd name="connsiteX6" fmla="*/ 97971 w 7197271"/>
                  <a:gd name="connsiteY6" fmla="*/ 8267700 h 17868900"/>
                  <a:gd name="connsiteX7" fmla="*/ 167821 w 7197271"/>
                  <a:gd name="connsiteY7" fmla="*/ 10020300 h 17868900"/>
                  <a:gd name="connsiteX8" fmla="*/ 186871 w 7197271"/>
                  <a:gd name="connsiteY8" fmla="*/ 11004550 h 17868900"/>
                  <a:gd name="connsiteX9" fmla="*/ 186871 w 7197271"/>
                  <a:gd name="connsiteY9" fmla="*/ 13182600 h 17868900"/>
                  <a:gd name="connsiteX10" fmla="*/ 0 w 7197271"/>
                  <a:gd name="connsiteY10" fmla="*/ 17366344 h 17868900"/>
                  <a:gd name="connsiteX11" fmla="*/ 1598385 w 7197271"/>
                  <a:gd name="connsiteY11" fmla="*/ 17471572 h 17868900"/>
                  <a:gd name="connsiteX12" fmla="*/ 2663371 w 7197271"/>
                  <a:gd name="connsiteY12" fmla="*/ 17411700 h 17868900"/>
                  <a:gd name="connsiteX13" fmla="*/ 2472871 w 7197271"/>
                  <a:gd name="connsiteY13" fmla="*/ 11049000 h 17868900"/>
                  <a:gd name="connsiteX14" fmla="*/ 2371271 w 7197271"/>
                  <a:gd name="connsiteY14" fmla="*/ 9575800 h 17868900"/>
                  <a:gd name="connsiteX15" fmla="*/ 2460171 w 7197271"/>
                  <a:gd name="connsiteY15" fmla="*/ 9093200 h 17868900"/>
                  <a:gd name="connsiteX16" fmla="*/ 2510971 w 7197271"/>
                  <a:gd name="connsiteY16" fmla="*/ 8420100 h 17868900"/>
                  <a:gd name="connsiteX17" fmla="*/ 2701471 w 7197271"/>
                  <a:gd name="connsiteY17" fmla="*/ 7683500 h 17868900"/>
                  <a:gd name="connsiteX18" fmla="*/ 3615871 w 7197271"/>
                  <a:gd name="connsiteY18" fmla="*/ 4038600 h 17868900"/>
                  <a:gd name="connsiteX19" fmla="*/ 3844471 w 7197271"/>
                  <a:gd name="connsiteY19" fmla="*/ 5143500 h 17868900"/>
                  <a:gd name="connsiteX20" fmla="*/ 3996871 w 7197271"/>
                  <a:gd name="connsiteY20" fmla="*/ 6972300 h 17868900"/>
                  <a:gd name="connsiteX21" fmla="*/ 4161971 w 7197271"/>
                  <a:gd name="connsiteY21" fmla="*/ 8724900 h 17868900"/>
                  <a:gd name="connsiteX22" fmla="*/ 4187371 w 7197271"/>
                  <a:gd name="connsiteY22" fmla="*/ 9982200 h 17868900"/>
                  <a:gd name="connsiteX23" fmla="*/ 4149271 w 7197271"/>
                  <a:gd name="connsiteY23" fmla="*/ 11163300 h 17868900"/>
                  <a:gd name="connsiteX24" fmla="*/ 4149271 w 7197271"/>
                  <a:gd name="connsiteY24" fmla="*/ 12801600 h 17868900"/>
                  <a:gd name="connsiteX25" fmla="*/ 4111171 w 7197271"/>
                  <a:gd name="connsiteY25" fmla="*/ 13792200 h 17868900"/>
                  <a:gd name="connsiteX26" fmla="*/ 4187371 w 7197271"/>
                  <a:gd name="connsiteY26" fmla="*/ 17792700 h 17868900"/>
                  <a:gd name="connsiteX27" fmla="*/ 6244771 w 7197271"/>
                  <a:gd name="connsiteY27" fmla="*/ 17868900 h 17868900"/>
                  <a:gd name="connsiteX28" fmla="*/ 6892471 w 7197271"/>
                  <a:gd name="connsiteY28" fmla="*/ 17754600 h 17868900"/>
                  <a:gd name="connsiteX29" fmla="*/ 6682921 w 7197271"/>
                  <a:gd name="connsiteY29" fmla="*/ 13525500 h 17868900"/>
                  <a:gd name="connsiteX30" fmla="*/ 6473371 w 7197271"/>
                  <a:gd name="connsiteY30" fmla="*/ 11410950 h 17868900"/>
                  <a:gd name="connsiteX31" fmla="*/ 6378122 w 7197271"/>
                  <a:gd name="connsiteY31" fmla="*/ 10210800 h 17868900"/>
                  <a:gd name="connsiteX32" fmla="*/ 6454321 w 7197271"/>
                  <a:gd name="connsiteY32" fmla="*/ 8820150 h 17868900"/>
                  <a:gd name="connsiteX33" fmla="*/ 6930571 w 7197271"/>
                  <a:gd name="connsiteY33" fmla="*/ 5067300 h 17868900"/>
                  <a:gd name="connsiteX34" fmla="*/ 7121071 w 7197271"/>
                  <a:gd name="connsiteY34" fmla="*/ 4038600 h 17868900"/>
                  <a:gd name="connsiteX35" fmla="*/ 7197271 w 7197271"/>
                  <a:gd name="connsiteY35" fmla="*/ 2705100 h 17868900"/>
                  <a:gd name="connsiteX36" fmla="*/ 7159171 w 7197271"/>
                  <a:gd name="connsiteY36" fmla="*/ 2019300 h 17868900"/>
                  <a:gd name="connsiteX37" fmla="*/ 6130471 w 7197271"/>
                  <a:gd name="connsiteY37" fmla="*/ 2034540 h 17868900"/>
                  <a:gd name="connsiteX38" fmla="*/ 4736011 w 7197271"/>
                  <a:gd name="connsiteY38" fmla="*/ 2095500 h 17868900"/>
                  <a:gd name="connsiteX39" fmla="*/ 4111171 w 7197271"/>
                  <a:gd name="connsiteY39" fmla="*/ 2110740 h 17868900"/>
                  <a:gd name="connsiteX40" fmla="*/ 3455851 w 7197271"/>
                  <a:gd name="connsiteY40" fmla="*/ 1661160 h 17868900"/>
                  <a:gd name="connsiteX41" fmla="*/ 3333931 w 7197271"/>
                  <a:gd name="connsiteY41" fmla="*/ 1287780 h 17868900"/>
                  <a:gd name="connsiteX42" fmla="*/ 3196771 w 7197271"/>
                  <a:gd name="connsiteY42" fmla="*/ 7620 h 17868900"/>
                  <a:gd name="connsiteX43" fmla="*/ 2815771 w 7197271"/>
                  <a:gd name="connsiteY43" fmla="*/ 0 h 17868900"/>
                  <a:gd name="connsiteX44" fmla="*/ 2366191 w 7197271"/>
                  <a:gd name="connsiteY44" fmla="*/ 1196340 h 17868900"/>
                  <a:gd name="connsiteX45" fmla="*/ 2038531 w 7197271"/>
                  <a:gd name="connsiteY45" fmla="*/ 1676400 h 17868900"/>
                  <a:gd name="connsiteX46" fmla="*/ 1809931 w 7197271"/>
                  <a:gd name="connsiteY46" fmla="*/ 1813560 h 17868900"/>
                  <a:gd name="connsiteX47" fmla="*/ 1108891 w 7197271"/>
                  <a:gd name="connsiteY47" fmla="*/ 1844040 h 17868900"/>
                  <a:gd name="connsiteX48" fmla="*/ 423091 w 7197271"/>
                  <a:gd name="connsiteY48" fmla="*/ 1623060 h 17868900"/>
                  <a:gd name="connsiteX49" fmla="*/ 461191 w 7197271"/>
                  <a:gd name="connsiteY49" fmla="*/ 1645920 h 17868900"/>
                  <a:gd name="connsiteX0" fmla="*/ 453571 w 7197271"/>
                  <a:gd name="connsiteY0" fmla="*/ 1676400 h 17868900"/>
                  <a:gd name="connsiteX1" fmla="*/ 186871 w 7197271"/>
                  <a:gd name="connsiteY1" fmla="*/ 2057400 h 17868900"/>
                  <a:gd name="connsiteX2" fmla="*/ 263071 w 7197271"/>
                  <a:gd name="connsiteY2" fmla="*/ 2438400 h 17868900"/>
                  <a:gd name="connsiteX3" fmla="*/ 491671 w 7197271"/>
                  <a:gd name="connsiteY3" fmla="*/ 2628900 h 17868900"/>
                  <a:gd name="connsiteX4" fmla="*/ 453571 w 7197271"/>
                  <a:gd name="connsiteY4" fmla="*/ 3886200 h 17868900"/>
                  <a:gd name="connsiteX5" fmla="*/ 186871 w 7197271"/>
                  <a:gd name="connsiteY5" fmla="*/ 6743700 h 17868900"/>
                  <a:gd name="connsiteX6" fmla="*/ 97971 w 7197271"/>
                  <a:gd name="connsiteY6" fmla="*/ 8267700 h 17868900"/>
                  <a:gd name="connsiteX7" fmla="*/ 167821 w 7197271"/>
                  <a:gd name="connsiteY7" fmla="*/ 10020300 h 17868900"/>
                  <a:gd name="connsiteX8" fmla="*/ 186871 w 7197271"/>
                  <a:gd name="connsiteY8" fmla="*/ 11004550 h 17868900"/>
                  <a:gd name="connsiteX9" fmla="*/ 186871 w 7197271"/>
                  <a:gd name="connsiteY9" fmla="*/ 13182600 h 17868900"/>
                  <a:gd name="connsiteX10" fmla="*/ 0 w 7197271"/>
                  <a:gd name="connsiteY10" fmla="*/ 17366344 h 17868900"/>
                  <a:gd name="connsiteX11" fmla="*/ 1598385 w 7197271"/>
                  <a:gd name="connsiteY11" fmla="*/ 17471572 h 17868900"/>
                  <a:gd name="connsiteX12" fmla="*/ 2663371 w 7197271"/>
                  <a:gd name="connsiteY12" fmla="*/ 17411700 h 17868900"/>
                  <a:gd name="connsiteX13" fmla="*/ 2472871 w 7197271"/>
                  <a:gd name="connsiteY13" fmla="*/ 11049000 h 17868900"/>
                  <a:gd name="connsiteX14" fmla="*/ 2371271 w 7197271"/>
                  <a:gd name="connsiteY14" fmla="*/ 9575800 h 17868900"/>
                  <a:gd name="connsiteX15" fmla="*/ 2460171 w 7197271"/>
                  <a:gd name="connsiteY15" fmla="*/ 9093200 h 17868900"/>
                  <a:gd name="connsiteX16" fmla="*/ 2510971 w 7197271"/>
                  <a:gd name="connsiteY16" fmla="*/ 8420100 h 17868900"/>
                  <a:gd name="connsiteX17" fmla="*/ 2701471 w 7197271"/>
                  <a:gd name="connsiteY17" fmla="*/ 7683500 h 17868900"/>
                  <a:gd name="connsiteX18" fmla="*/ 3615871 w 7197271"/>
                  <a:gd name="connsiteY18" fmla="*/ 4038600 h 17868900"/>
                  <a:gd name="connsiteX19" fmla="*/ 3844471 w 7197271"/>
                  <a:gd name="connsiteY19" fmla="*/ 5143500 h 17868900"/>
                  <a:gd name="connsiteX20" fmla="*/ 3996871 w 7197271"/>
                  <a:gd name="connsiteY20" fmla="*/ 6972300 h 17868900"/>
                  <a:gd name="connsiteX21" fmla="*/ 4161971 w 7197271"/>
                  <a:gd name="connsiteY21" fmla="*/ 8724900 h 17868900"/>
                  <a:gd name="connsiteX22" fmla="*/ 4187371 w 7197271"/>
                  <a:gd name="connsiteY22" fmla="*/ 9982200 h 17868900"/>
                  <a:gd name="connsiteX23" fmla="*/ 4149271 w 7197271"/>
                  <a:gd name="connsiteY23" fmla="*/ 11163300 h 17868900"/>
                  <a:gd name="connsiteX24" fmla="*/ 4149271 w 7197271"/>
                  <a:gd name="connsiteY24" fmla="*/ 12801600 h 17868900"/>
                  <a:gd name="connsiteX25" fmla="*/ 4111171 w 7197271"/>
                  <a:gd name="connsiteY25" fmla="*/ 13792200 h 17868900"/>
                  <a:gd name="connsiteX26" fmla="*/ 4187371 w 7197271"/>
                  <a:gd name="connsiteY26" fmla="*/ 17792700 h 17868900"/>
                  <a:gd name="connsiteX27" fmla="*/ 6244771 w 7197271"/>
                  <a:gd name="connsiteY27" fmla="*/ 17868900 h 17868900"/>
                  <a:gd name="connsiteX28" fmla="*/ 6892471 w 7197271"/>
                  <a:gd name="connsiteY28" fmla="*/ 17754600 h 17868900"/>
                  <a:gd name="connsiteX29" fmla="*/ 6682921 w 7197271"/>
                  <a:gd name="connsiteY29" fmla="*/ 13525500 h 17868900"/>
                  <a:gd name="connsiteX30" fmla="*/ 6473371 w 7197271"/>
                  <a:gd name="connsiteY30" fmla="*/ 11410950 h 17868900"/>
                  <a:gd name="connsiteX31" fmla="*/ 6378122 w 7197271"/>
                  <a:gd name="connsiteY31" fmla="*/ 10210800 h 17868900"/>
                  <a:gd name="connsiteX32" fmla="*/ 6454321 w 7197271"/>
                  <a:gd name="connsiteY32" fmla="*/ 8820150 h 17868900"/>
                  <a:gd name="connsiteX33" fmla="*/ 6930571 w 7197271"/>
                  <a:gd name="connsiteY33" fmla="*/ 5067300 h 17868900"/>
                  <a:gd name="connsiteX34" fmla="*/ 7121071 w 7197271"/>
                  <a:gd name="connsiteY34" fmla="*/ 4038600 h 17868900"/>
                  <a:gd name="connsiteX35" fmla="*/ 7197271 w 7197271"/>
                  <a:gd name="connsiteY35" fmla="*/ 2705100 h 17868900"/>
                  <a:gd name="connsiteX36" fmla="*/ 7159171 w 7197271"/>
                  <a:gd name="connsiteY36" fmla="*/ 2019300 h 17868900"/>
                  <a:gd name="connsiteX37" fmla="*/ 6176191 w 7197271"/>
                  <a:gd name="connsiteY37" fmla="*/ 2004060 h 17868900"/>
                  <a:gd name="connsiteX38" fmla="*/ 4736011 w 7197271"/>
                  <a:gd name="connsiteY38" fmla="*/ 2095500 h 17868900"/>
                  <a:gd name="connsiteX39" fmla="*/ 4111171 w 7197271"/>
                  <a:gd name="connsiteY39" fmla="*/ 2110740 h 17868900"/>
                  <a:gd name="connsiteX40" fmla="*/ 3455851 w 7197271"/>
                  <a:gd name="connsiteY40" fmla="*/ 1661160 h 17868900"/>
                  <a:gd name="connsiteX41" fmla="*/ 3333931 w 7197271"/>
                  <a:gd name="connsiteY41" fmla="*/ 1287780 h 17868900"/>
                  <a:gd name="connsiteX42" fmla="*/ 3196771 w 7197271"/>
                  <a:gd name="connsiteY42" fmla="*/ 7620 h 17868900"/>
                  <a:gd name="connsiteX43" fmla="*/ 2815771 w 7197271"/>
                  <a:gd name="connsiteY43" fmla="*/ 0 h 17868900"/>
                  <a:gd name="connsiteX44" fmla="*/ 2366191 w 7197271"/>
                  <a:gd name="connsiteY44" fmla="*/ 1196340 h 17868900"/>
                  <a:gd name="connsiteX45" fmla="*/ 2038531 w 7197271"/>
                  <a:gd name="connsiteY45" fmla="*/ 1676400 h 17868900"/>
                  <a:gd name="connsiteX46" fmla="*/ 1809931 w 7197271"/>
                  <a:gd name="connsiteY46" fmla="*/ 1813560 h 17868900"/>
                  <a:gd name="connsiteX47" fmla="*/ 1108891 w 7197271"/>
                  <a:gd name="connsiteY47" fmla="*/ 1844040 h 17868900"/>
                  <a:gd name="connsiteX48" fmla="*/ 423091 w 7197271"/>
                  <a:gd name="connsiteY48" fmla="*/ 1623060 h 17868900"/>
                  <a:gd name="connsiteX49" fmla="*/ 461191 w 7197271"/>
                  <a:gd name="connsiteY49" fmla="*/ 1645920 h 17868900"/>
                  <a:gd name="connsiteX0" fmla="*/ 453571 w 7197271"/>
                  <a:gd name="connsiteY0" fmla="*/ 1676400 h 17868900"/>
                  <a:gd name="connsiteX1" fmla="*/ 186871 w 7197271"/>
                  <a:gd name="connsiteY1" fmla="*/ 2057400 h 17868900"/>
                  <a:gd name="connsiteX2" fmla="*/ 263071 w 7197271"/>
                  <a:gd name="connsiteY2" fmla="*/ 2438400 h 17868900"/>
                  <a:gd name="connsiteX3" fmla="*/ 491671 w 7197271"/>
                  <a:gd name="connsiteY3" fmla="*/ 2628900 h 17868900"/>
                  <a:gd name="connsiteX4" fmla="*/ 453571 w 7197271"/>
                  <a:gd name="connsiteY4" fmla="*/ 3886200 h 17868900"/>
                  <a:gd name="connsiteX5" fmla="*/ 186871 w 7197271"/>
                  <a:gd name="connsiteY5" fmla="*/ 6743700 h 17868900"/>
                  <a:gd name="connsiteX6" fmla="*/ 97971 w 7197271"/>
                  <a:gd name="connsiteY6" fmla="*/ 8267700 h 17868900"/>
                  <a:gd name="connsiteX7" fmla="*/ 167821 w 7197271"/>
                  <a:gd name="connsiteY7" fmla="*/ 10020300 h 17868900"/>
                  <a:gd name="connsiteX8" fmla="*/ 186871 w 7197271"/>
                  <a:gd name="connsiteY8" fmla="*/ 11004550 h 17868900"/>
                  <a:gd name="connsiteX9" fmla="*/ 186871 w 7197271"/>
                  <a:gd name="connsiteY9" fmla="*/ 13182600 h 17868900"/>
                  <a:gd name="connsiteX10" fmla="*/ 0 w 7197271"/>
                  <a:gd name="connsiteY10" fmla="*/ 17366344 h 17868900"/>
                  <a:gd name="connsiteX11" fmla="*/ 1598385 w 7197271"/>
                  <a:gd name="connsiteY11" fmla="*/ 17471572 h 17868900"/>
                  <a:gd name="connsiteX12" fmla="*/ 2663371 w 7197271"/>
                  <a:gd name="connsiteY12" fmla="*/ 17411700 h 17868900"/>
                  <a:gd name="connsiteX13" fmla="*/ 2472871 w 7197271"/>
                  <a:gd name="connsiteY13" fmla="*/ 11049000 h 17868900"/>
                  <a:gd name="connsiteX14" fmla="*/ 2371271 w 7197271"/>
                  <a:gd name="connsiteY14" fmla="*/ 9575800 h 17868900"/>
                  <a:gd name="connsiteX15" fmla="*/ 2460171 w 7197271"/>
                  <a:gd name="connsiteY15" fmla="*/ 9093200 h 17868900"/>
                  <a:gd name="connsiteX16" fmla="*/ 2510971 w 7197271"/>
                  <a:gd name="connsiteY16" fmla="*/ 8420100 h 17868900"/>
                  <a:gd name="connsiteX17" fmla="*/ 2701471 w 7197271"/>
                  <a:gd name="connsiteY17" fmla="*/ 7683500 h 17868900"/>
                  <a:gd name="connsiteX18" fmla="*/ 3615871 w 7197271"/>
                  <a:gd name="connsiteY18" fmla="*/ 4038600 h 17868900"/>
                  <a:gd name="connsiteX19" fmla="*/ 3844471 w 7197271"/>
                  <a:gd name="connsiteY19" fmla="*/ 5143500 h 17868900"/>
                  <a:gd name="connsiteX20" fmla="*/ 3996871 w 7197271"/>
                  <a:gd name="connsiteY20" fmla="*/ 6972300 h 17868900"/>
                  <a:gd name="connsiteX21" fmla="*/ 4161971 w 7197271"/>
                  <a:gd name="connsiteY21" fmla="*/ 8724900 h 17868900"/>
                  <a:gd name="connsiteX22" fmla="*/ 4187371 w 7197271"/>
                  <a:gd name="connsiteY22" fmla="*/ 9982200 h 17868900"/>
                  <a:gd name="connsiteX23" fmla="*/ 4149271 w 7197271"/>
                  <a:gd name="connsiteY23" fmla="*/ 11163300 h 17868900"/>
                  <a:gd name="connsiteX24" fmla="*/ 4149271 w 7197271"/>
                  <a:gd name="connsiteY24" fmla="*/ 12801600 h 17868900"/>
                  <a:gd name="connsiteX25" fmla="*/ 4111171 w 7197271"/>
                  <a:gd name="connsiteY25" fmla="*/ 13792200 h 17868900"/>
                  <a:gd name="connsiteX26" fmla="*/ 4187371 w 7197271"/>
                  <a:gd name="connsiteY26" fmla="*/ 17792700 h 17868900"/>
                  <a:gd name="connsiteX27" fmla="*/ 6244771 w 7197271"/>
                  <a:gd name="connsiteY27" fmla="*/ 17868900 h 17868900"/>
                  <a:gd name="connsiteX28" fmla="*/ 6892471 w 7197271"/>
                  <a:gd name="connsiteY28" fmla="*/ 17754600 h 17868900"/>
                  <a:gd name="connsiteX29" fmla="*/ 6682921 w 7197271"/>
                  <a:gd name="connsiteY29" fmla="*/ 13525500 h 17868900"/>
                  <a:gd name="connsiteX30" fmla="*/ 6473371 w 7197271"/>
                  <a:gd name="connsiteY30" fmla="*/ 11410950 h 17868900"/>
                  <a:gd name="connsiteX31" fmla="*/ 6378122 w 7197271"/>
                  <a:gd name="connsiteY31" fmla="*/ 10210800 h 17868900"/>
                  <a:gd name="connsiteX32" fmla="*/ 6454321 w 7197271"/>
                  <a:gd name="connsiteY32" fmla="*/ 8820150 h 17868900"/>
                  <a:gd name="connsiteX33" fmla="*/ 6930571 w 7197271"/>
                  <a:gd name="connsiteY33" fmla="*/ 5067300 h 17868900"/>
                  <a:gd name="connsiteX34" fmla="*/ 7121071 w 7197271"/>
                  <a:gd name="connsiteY34" fmla="*/ 4038600 h 17868900"/>
                  <a:gd name="connsiteX35" fmla="*/ 7197271 w 7197271"/>
                  <a:gd name="connsiteY35" fmla="*/ 2705100 h 17868900"/>
                  <a:gd name="connsiteX36" fmla="*/ 7159171 w 7197271"/>
                  <a:gd name="connsiteY36" fmla="*/ 2019300 h 17868900"/>
                  <a:gd name="connsiteX37" fmla="*/ 6176191 w 7197271"/>
                  <a:gd name="connsiteY37" fmla="*/ 2004060 h 17868900"/>
                  <a:gd name="connsiteX38" fmla="*/ 4736011 w 7197271"/>
                  <a:gd name="connsiteY38" fmla="*/ 2095500 h 17868900"/>
                  <a:gd name="connsiteX39" fmla="*/ 4111171 w 7197271"/>
                  <a:gd name="connsiteY39" fmla="*/ 2110740 h 17868900"/>
                  <a:gd name="connsiteX40" fmla="*/ 3455851 w 7197271"/>
                  <a:gd name="connsiteY40" fmla="*/ 1661160 h 17868900"/>
                  <a:gd name="connsiteX41" fmla="*/ 3333931 w 7197271"/>
                  <a:gd name="connsiteY41" fmla="*/ 1287780 h 17868900"/>
                  <a:gd name="connsiteX42" fmla="*/ 3196771 w 7197271"/>
                  <a:gd name="connsiteY42" fmla="*/ 7620 h 17868900"/>
                  <a:gd name="connsiteX43" fmla="*/ 2815771 w 7197271"/>
                  <a:gd name="connsiteY43" fmla="*/ 0 h 17868900"/>
                  <a:gd name="connsiteX44" fmla="*/ 2366191 w 7197271"/>
                  <a:gd name="connsiteY44" fmla="*/ 1196340 h 17868900"/>
                  <a:gd name="connsiteX45" fmla="*/ 2038531 w 7197271"/>
                  <a:gd name="connsiteY45" fmla="*/ 1676400 h 17868900"/>
                  <a:gd name="connsiteX46" fmla="*/ 1809931 w 7197271"/>
                  <a:gd name="connsiteY46" fmla="*/ 1813560 h 17868900"/>
                  <a:gd name="connsiteX47" fmla="*/ 1108891 w 7197271"/>
                  <a:gd name="connsiteY47" fmla="*/ 1844040 h 17868900"/>
                  <a:gd name="connsiteX48" fmla="*/ 423091 w 7197271"/>
                  <a:gd name="connsiteY48" fmla="*/ 1623060 h 17868900"/>
                  <a:gd name="connsiteX49" fmla="*/ 461191 w 7197271"/>
                  <a:gd name="connsiteY49" fmla="*/ 1645920 h 17868900"/>
                  <a:gd name="connsiteX0" fmla="*/ 453571 w 7197271"/>
                  <a:gd name="connsiteY0" fmla="*/ 1676400 h 17868900"/>
                  <a:gd name="connsiteX1" fmla="*/ 186871 w 7197271"/>
                  <a:gd name="connsiteY1" fmla="*/ 2057400 h 17868900"/>
                  <a:gd name="connsiteX2" fmla="*/ 263071 w 7197271"/>
                  <a:gd name="connsiteY2" fmla="*/ 2438400 h 17868900"/>
                  <a:gd name="connsiteX3" fmla="*/ 491671 w 7197271"/>
                  <a:gd name="connsiteY3" fmla="*/ 2628900 h 17868900"/>
                  <a:gd name="connsiteX4" fmla="*/ 453571 w 7197271"/>
                  <a:gd name="connsiteY4" fmla="*/ 3886200 h 17868900"/>
                  <a:gd name="connsiteX5" fmla="*/ 186871 w 7197271"/>
                  <a:gd name="connsiteY5" fmla="*/ 6743700 h 17868900"/>
                  <a:gd name="connsiteX6" fmla="*/ 97971 w 7197271"/>
                  <a:gd name="connsiteY6" fmla="*/ 8267700 h 17868900"/>
                  <a:gd name="connsiteX7" fmla="*/ 167821 w 7197271"/>
                  <a:gd name="connsiteY7" fmla="*/ 10020300 h 17868900"/>
                  <a:gd name="connsiteX8" fmla="*/ 186871 w 7197271"/>
                  <a:gd name="connsiteY8" fmla="*/ 11004550 h 17868900"/>
                  <a:gd name="connsiteX9" fmla="*/ 186871 w 7197271"/>
                  <a:gd name="connsiteY9" fmla="*/ 13182600 h 17868900"/>
                  <a:gd name="connsiteX10" fmla="*/ 0 w 7197271"/>
                  <a:gd name="connsiteY10" fmla="*/ 17366344 h 17868900"/>
                  <a:gd name="connsiteX11" fmla="*/ 1598385 w 7197271"/>
                  <a:gd name="connsiteY11" fmla="*/ 17471572 h 17868900"/>
                  <a:gd name="connsiteX12" fmla="*/ 2663371 w 7197271"/>
                  <a:gd name="connsiteY12" fmla="*/ 17411700 h 17868900"/>
                  <a:gd name="connsiteX13" fmla="*/ 2472871 w 7197271"/>
                  <a:gd name="connsiteY13" fmla="*/ 11049000 h 17868900"/>
                  <a:gd name="connsiteX14" fmla="*/ 2371271 w 7197271"/>
                  <a:gd name="connsiteY14" fmla="*/ 9575800 h 17868900"/>
                  <a:gd name="connsiteX15" fmla="*/ 2460171 w 7197271"/>
                  <a:gd name="connsiteY15" fmla="*/ 9093200 h 17868900"/>
                  <a:gd name="connsiteX16" fmla="*/ 2510971 w 7197271"/>
                  <a:gd name="connsiteY16" fmla="*/ 8420100 h 17868900"/>
                  <a:gd name="connsiteX17" fmla="*/ 2701471 w 7197271"/>
                  <a:gd name="connsiteY17" fmla="*/ 7683500 h 17868900"/>
                  <a:gd name="connsiteX18" fmla="*/ 3615871 w 7197271"/>
                  <a:gd name="connsiteY18" fmla="*/ 4038600 h 17868900"/>
                  <a:gd name="connsiteX19" fmla="*/ 3844471 w 7197271"/>
                  <a:gd name="connsiteY19" fmla="*/ 5143500 h 17868900"/>
                  <a:gd name="connsiteX20" fmla="*/ 3996871 w 7197271"/>
                  <a:gd name="connsiteY20" fmla="*/ 6972300 h 17868900"/>
                  <a:gd name="connsiteX21" fmla="*/ 4161971 w 7197271"/>
                  <a:gd name="connsiteY21" fmla="*/ 8724900 h 17868900"/>
                  <a:gd name="connsiteX22" fmla="*/ 4187371 w 7197271"/>
                  <a:gd name="connsiteY22" fmla="*/ 9982200 h 17868900"/>
                  <a:gd name="connsiteX23" fmla="*/ 4149271 w 7197271"/>
                  <a:gd name="connsiteY23" fmla="*/ 11163300 h 17868900"/>
                  <a:gd name="connsiteX24" fmla="*/ 4149271 w 7197271"/>
                  <a:gd name="connsiteY24" fmla="*/ 12801600 h 17868900"/>
                  <a:gd name="connsiteX25" fmla="*/ 4111171 w 7197271"/>
                  <a:gd name="connsiteY25" fmla="*/ 13792200 h 17868900"/>
                  <a:gd name="connsiteX26" fmla="*/ 4187371 w 7197271"/>
                  <a:gd name="connsiteY26" fmla="*/ 17792700 h 17868900"/>
                  <a:gd name="connsiteX27" fmla="*/ 6244771 w 7197271"/>
                  <a:gd name="connsiteY27" fmla="*/ 17868900 h 17868900"/>
                  <a:gd name="connsiteX28" fmla="*/ 6892471 w 7197271"/>
                  <a:gd name="connsiteY28" fmla="*/ 17754600 h 17868900"/>
                  <a:gd name="connsiteX29" fmla="*/ 6682921 w 7197271"/>
                  <a:gd name="connsiteY29" fmla="*/ 13525500 h 17868900"/>
                  <a:gd name="connsiteX30" fmla="*/ 6473371 w 7197271"/>
                  <a:gd name="connsiteY30" fmla="*/ 11410950 h 17868900"/>
                  <a:gd name="connsiteX31" fmla="*/ 6378122 w 7197271"/>
                  <a:gd name="connsiteY31" fmla="*/ 10210800 h 17868900"/>
                  <a:gd name="connsiteX32" fmla="*/ 6454321 w 7197271"/>
                  <a:gd name="connsiteY32" fmla="*/ 8820150 h 17868900"/>
                  <a:gd name="connsiteX33" fmla="*/ 6930571 w 7197271"/>
                  <a:gd name="connsiteY33" fmla="*/ 5067300 h 17868900"/>
                  <a:gd name="connsiteX34" fmla="*/ 7121071 w 7197271"/>
                  <a:gd name="connsiteY34" fmla="*/ 4038600 h 17868900"/>
                  <a:gd name="connsiteX35" fmla="*/ 7197271 w 7197271"/>
                  <a:gd name="connsiteY35" fmla="*/ 2705100 h 17868900"/>
                  <a:gd name="connsiteX36" fmla="*/ 7159171 w 7197271"/>
                  <a:gd name="connsiteY36" fmla="*/ 2019300 h 17868900"/>
                  <a:gd name="connsiteX37" fmla="*/ 6176191 w 7197271"/>
                  <a:gd name="connsiteY37" fmla="*/ 2004060 h 17868900"/>
                  <a:gd name="connsiteX38" fmla="*/ 4736011 w 7197271"/>
                  <a:gd name="connsiteY38" fmla="*/ 2095500 h 17868900"/>
                  <a:gd name="connsiteX39" fmla="*/ 4111171 w 7197271"/>
                  <a:gd name="connsiteY39" fmla="*/ 2110740 h 17868900"/>
                  <a:gd name="connsiteX40" fmla="*/ 3455851 w 7197271"/>
                  <a:gd name="connsiteY40" fmla="*/ 1661160 h 17868900"/>
                  <a:gd name="connsiteX41" fmla="*/ 3333931 w 7197271"/>
                  <a:gd name="connsiteY41" fmla="*/ 1287780 h 17868900"/>
                  <a:gd name="connsiteX42" fmla="*/ 3196771 w 7197271"/>
                  <a:gd name="connsiteY42" fmla="*/ 7620 h 17868900"/>
                  <a:gd name="connsiteX43" fmla="*/ 2815771 w 7197271"/>
                  <a:gd name="connsiteY43" fmla="*/ 0 h 17868900"/>
                  <a:gd name="connsiteX44" fmla="*/ 2328091 w 7197271"/>
                  <a:gd name="connsiteY44" fmla="*/ 1158240 h 17868900"/>
                  <a:gd name="connsiteX45" fmla="*/ 2038531 w 7197271"/>
                  <a:gd name="connsiteY45" fmla="*/ 1676400 h 17868900"/>
                  <a:gd name="connsiteX46" fmla="*/ 1809931 w 7197271"/>
                  <a:gd name="connsiteY46" fmla="*/ 1813560 h 17868900"/>
                  <a:gd name="connsiteX47" fmla="*/ 1108891 w 7197271"/>
                  <a:gd name="connsiteY47" fmla="*/ 1844040 h 17868900"/>
                  <a:gd name="connsiteX48" fmla="*/ 423091 w 7197271"/>
                  <a:gd name="connsiteY48" fmla="*/ 1623060 h 17868900"/>
                  <a:gd name="connsiteX49" fmla="*/ 461191 w 7197271"/>
                  <a:gd name="connsiteY49" fmla="*/ 1645920 h 17868900"/>
                  <a:gd name="connsiteX0" fmla="*/ 453571 w 7197271"/>
                  <a:gd name="connsiteY0" fmla="*/ 1676400 h 17868900"/>
                  <a:gd name="connsiteX1" fmla="*/ 186871 w 7197271"/>
                  <a:gd name="connsiteY1" fmla="*/ 2057400 h 17868900"/>
                  <a:gd name="connsiteX2" fmla="*/ 263071 w 7197271"/>
                  <a:gd name="connsiteY2" fmla="*/ 2438400 h 17868900"/>
                  <a:gd name="connsiteX3" fmla="*/ 491671 w 7197271"/>
                  <a:gd name="connsiteY3" fmla="*/ 2628900 h 17868900"/>
                  <a:gd name="connsiteX4" fmla="*/ 453571 w 7197271"/>
                  <a:gd name="connsiteY4" fmla="*/ 3886200 h 17868900"/>
                  <a:gd name="connsiteX5" fmla="*/ 186871 w 7197271"/>
                  <a:gd name="connsiteY5" fmla="*/ 6743700 h 17868900"/>
                  <a:gd name="connsiteX6" fmla="*/ 97971 w 7197271"/>
                  <a:gd name="connsiteY6" fmla="*/ 8267700 h 17868900"/>
                  <a:gd name="connsiteX7" fmla="*/ 167821 w 7197271"/>
                  <a:gd name="connsiteY7" fmla="*/ 10020300 h 17868900"/>
                  <a:gd name="connsiteX8" fmla="*/ 186871 w 7197271"/>
                  <a:gd name="connsiteY8" fmla="*/ 11004550 h 17868900"/>
                  <a:gd name="connsiteX9" fmla="*/ 186871 w 7197271"/>
                  <a:gd name="connsiteY9" fmla="*/ 13182600 h 17868900"/>
                  <a:gd name="connsiteX10" fmla="*/ 0 w 7197271"/>
                  <a:gd name="connsiteY10" fmla="*/ 17366344 h 17868900"/>
                  <a:gd name="connsiteX11" fmla="*/ 1598385 w 7197271"/>
                  <a:gd name="connsiteY11" fmla="*/ 17471572 h 17868900"/>
                  <a:gd name="connsiteX12" fmla="*/ 2663371 w 7197271"/>
                  <a:gd name="connsiteY12" fmla="*/ 17411700 h 17868900"/>
                  <a:gd name="connsiteX13" fmla="*/ 2472871 w 7197271"/>
                  <a:gd name="connsiteY13" fmla="*/ 11049000 h 17868900"/>
                  <a:gd name="connsiteX14" fmla="*/ 2371271 w 7197271"/>
                  <a:gd name="connsiteY14" fmla="*/ 9575800 h 17868900"/>
                  <a:gd name="connsiteX15" fmla="*/ 2460171 w 7197271"/>
                  <a:gd name="connsiteY15" fmla="*/ 9093200 h 17868900"/>
                  <a:gd name="connsiteX16" fmla="*/ 2510971 w 7197271"/>
                  <a:gd name="connsiteY16" fmla="*/ 8420100 h 17868900"/>
                  <a:gd name="connsiteX17" fmla="*/ 2701471 w 7197271"/>
                  <a:gd name="connsiteY17" fmla="*/ 7683500 h 17868900"/>
                  <a:gd name="connsiteX18" fmla="*/ 3615871 w 7197271"/>
                  <a:gd name="connsiteY18" fmla="*/ 4038600 h 17868900"/>
                  <a:gd name="connsiteX19" fmla="*/ 3844471 w 7197271"/>
                  <a:gd name="connsiteY19" fmla="*/ 5143500 h 17868900"/>
                  <a:gd name="connsiteX20" fmla="*/ 3996871 w 7197271"/>
                  <a:gd name="connsiteY20" fmla="*/ 6972300 h 17868900"/>
                  <a:gd name="connsiteX21" fmla="*/ 4161971 w 7197271"/>
                  <a:gd name="connsiteY21" fmla="*/ 8724900 h 17868900"/>
                  <a:gd name="connsiteX22" fmla="*/ 4187371 w 7197271"/>
                  <a:gd name="connsiteY22" fmla="*/ 9982200 h 17868900"/>
                  <a:gd name="connsiteX23" fmla="*/ 4149271 w 7197271"/>
                  <a:gd name="connsiteY23" fmla="*/ 11163300 h 17868900"/>
                  <a:gd name="connsiteX24" fmla="*/ 4149271 w 7197271"/>
                  <a:gd name="connsiteY24" fmla="*/ 12801600 h 17868900"/>
                  <a:gd name="connsiteX25" fmla="*/ 4111171 w 7197271"/>
                  <a:gd name="connsiteY25" fmla="*/ 13792200 h 17868900"/>
                  <a:gd name="connsiteX26" fmla="*/ 4187371 w 7197271"/>
                  <a:gd name="connsiteY26" fmla="*/ 17792700 h 17868900"/>
                  <a:gd name="connsiteX27" fmla="*/ 6244771 w 7197271"/>
                  <a:gd name="connsiteY27" fmla="*/ 17868900 h 17868900"/>
                  <a:gd name="connsiteX28" fmla="*/ 6892471 w 7197271"/>
                  <a:gd name="connsiteY28" fmla="*/ 17754600 h 17868900"/>
                  <a:gd name="connsiteX29" fmla="*/ 6682921 w 7197271"/>
                  <a:gd name="connsiteY29" fmla="*/ 13525500 h 17868900"/>
                  <a:gd name="connsiteX30" fmla="*/ 6473371 w 7197271"/>
                  <a:gd name="connsiteY30" fmla="*/ 11410950 h 17868900"/>
                  <a:gd name="connsiteX31" fmla="*/ 6378122 w 7197271"/>
                  <a:gd name="connsiteY31" fmla="*/ 10210800 h 17868900"/>
                  <a:gd name="connsiteX32" fmla="*/ 6454321 w 7197271"/>
                  <a:gd name="connsiteY32" fmla="*/ 8820150 h 17868900"/>
                  <a:gd name="connsiteX33" fmla="*/ 6930571 w 7197271"/>
                  <a:gd name="connsiteY33" fmla="*/ 5067300 h 17868900"/>
                  <a:gd name="connsiteX34" fmla="*/ 7121071 w 7197271"/>
                  <a:gd name="connsiteY34" fmla="*/ 4038600 h 17868900"/>
                  <a:gd name="connsiteX35" fmla="*/ 7197271 w 7197271"/>
                  <a:gd name="connsiteY35" fmla="*/ 2705100 h 17868900"/>
                  <a:gd name="connsiteX36" fmla="*/ 7159171 w 7197271"/>
                  <a:gd name="connsiteY36" fmla="*/ 2019300 h 17868900"/>
                  <a:gd name="connsiteX37" fmla="*/ 6176191 w 7197271"/>
                  <a:gd name="connsiteY37" fmla="*/ 2004060 h 17868900"/>
                  <a:gd name="connsiteX38" fmla="*/ 4736011 w 7197271"/>
                  <a:gd name="connsiteY38" fmla="*/ 2095500 h 17868900"/>
                  <a:gd name="connsiteX39" fmla="*/ 4111171 w 7197271"/>
                  <a:gd name="connsiteY39" fmla="*/ 2110740 h 17868900"/>
                  <a:gd name="connsiteX40" fmla="*/ 3455851 w 7197271"/>
                  <a:gd name="connsiteY40" fmla="*/ 1661160 h 17868900"/>
                  <a:gd name="connsiteX41" fmla="*/ 3333931 w 7197271"/>
                  <a:gd name="connsiteY41" fmla="*/ 1287780 h 17868900"/>
                  <a:gd name="connsiteX42" fmla="*/ 3196771 w 7197271"/>
                  <a:gd name="connsiteY42" fmla="*/ 7620 h 17868900"/>
                  <a:gd name="connsiteX43" fmla="*/ 2815771 w 7197271"/>
                  <a:gd name="connsiteY43" fmla="*/ 0 h 17868900"/>
                  <a:gd name="connsiteX44" fmla="*/ 2328091 w 7197271"/>
                  <a:gd name="connsiteY44" fmla="*/ 1158240 h 17868900"/>
                  <a:gd name="connsiteX45" fmla="*/ 2038531 w 7197271"/>
                  <a:gd name="connsiteY45" fmla="*/ 1676400 h 17868900"/>
                  <a:gd name="connsiteX46" fmla="*/ 1809931 w 7197271"/>
                  <a:gd name="connsiteY46" fmla="*/ 1813560 h 17868900"/>
                  <a:gd name="connsiteX47" fmla="*/ 1108891 w 7197271"/>
                  <a:gd name="connsiteY47" fmla="*/ 1844040 h 17868900"/>
                  <a:gd name="connsiteX48" fmla="*/ 423091 w 7197271"/>
                  <a:gd name="connsiteY48" fmla="*/ 1623060 h 17868900"/>
                  <a:gd name="connsiteX49" fmla="*/ 461191 w 7197271"/>
                  <a:gd name="connsiteY49" fmla="*/ 1645920 h 17868900"/>
                  <a:gd name="connsiteX0" fmla="*/ 453571 w 7197271"/>
                  <a:gd name="connsiteY0" fmla="*/ 1676400 h 17868900"/>
                  <a:gd name="connsiteX1" fmla="*/ 186871 w 7197271"/>
                  <a:gd name="connsiteY1" fmla="*/ 2057400 h 17868900"/>
                  <a:gd name="connsiteX2" fmla="*/ 263071 w 7197271"/>
                  <a:gd name="connsiteY2" fmla="*/ 2438400 h 17868900"/>
                  <a:gd name="connsiteX3" fmla="*/ 491671 w 7197271"/>
                  <a:gd name="connsiteY3" fmla="*/ 2628900 h 17868900"/>
                  <a:gd name="connsiteX4" fmla="*/ 453571 w 7197271"/>
                  <a:gd name="connsiteY4" fmla="*/ 3886200 h 17868900"/>
                  <a:gd name="connsiteX5" fmla="*/ 186871 w 7197271"/>
                  <a:gd name="connsiteY5" fmla="*/ 6743700 h 17868900"/>
                  <a:gd name="connsiteX6" fmla="*/ 97971 w 7197271"/>
                  <a:gd name="connsiteY6" fmla="*/ 8267700 h 17868900"/>
                  <a:gd name="connsiteX7" fmla="*/ 167821 w 7197271"/>
                  <a:gd name="connsiteY7" fmla="*/ 10020300 h 17868900"/>
                  <a:gd name="connsiteX8" fmla="*/ 186871 w 7197271"/>
                  <a:gd name="connsiteY8" fmla="*/ 11004550 h 17868900"/>
                  <a:gd name="connsiteX9" fmla="*/ 186871 w 7197271"/>
                  <a:gd name="connsiteY9" fmla="*/ 13182600 h 17868900"/>
                  <a:gd name="connsiteX10" fmla="*/ 0 w 7197271"/>
                  <a:gd name="connsiteY10" fmla="*/ 17366344 h 17868900"/>
                  <a:gd name="connsiteX11" fmla="*/ 1598385 w 7197271"/>
                  <a:gd name="connsiteY11" fmla="*/ 17471572 h 17868900"/>
                  <a:gd name="connsiteX12" fmla="*/ 2663371 w 7197271"/>
                  <a:gd name="connsiteY12" fmla="*/ 17411700 h 17868900"/>
                  <a:gd name="connsiteX13" fmla="*/ 2472871 w 7197271"/>
                  <a:gd name="connsiteY13" fmla="*/ 11049000 h 17868900"/>
                  <a:gd name="connsiteX14" fmla="*/ 2371271 w 7197271"/>
                  <a:gd name="connsiteY14" fmla="*/ 9575800 h 17868900"/>
                  <a:gd name="connsiteX15" fmla="*/ 2460171 w 7197271"/>
                  <a:gd name="connsiteY15" fmla="*/ 9093200 h 17868900"/>
                  <a:gd name="connsiteX16" fmla="*/ 2510971 w 7197271"/>
                  <a:gd name="connsiteY16" fmla="*/ 8420100 h 17868900"/>
                  <a:gd name="connsiteX17" fmla="*/ 2701471 w 7197271"/>
                  <a:gd name="connsiteY17" fmla="*/ 7683500 h 17868900"/>
                  <a:gd name="connsiteX18" fmla="*/ 3615871 w 7197271"/>
                  <a:gd name="connsiteY18" fmla="*/ 4038600 h 17868900"/>
                  <a:gd name="connsiteX19" fmla="*/ 3844471 w 7197271"/>
                  <a:gd name="connsiteY19" fmla="*/ 5143500 h 17868900"/>
                  <a:gd name="connsiteX20" fmla="*/ 3996871 w 7197271"/>
                  <a:gd name="connsiteY20" fmla="*/ 6972300 h 17868900"/>
                  <a:gd name="connsiteX21" fmla="*/ 4161971 w 7197271"/>
                  <a:gd name="connsiteY21" fmla="*/ 8724900 h 17868900"/>
                  <a:gd name="connsiteX22" fmla="*/ 4187371 w 7197271"/>
                  <a:gd name="connsiteY22" fmla="*/ 9982200 h 17868900"/>
                  <a:gd name="connsiteX23" fmla="*/ 4149271 w 7197271"/>
                  <a:gd name="connsiteY23" fmla="*/ 11163300 h 17868900"/>
                  <a:gd name="connsiteX24" fmla="*/ 4149271 w 7197271"/>
                  <a:gd name="connsiteY24" fmla="*/ 12801600 h 17868900"/>
                  <a:gd name="connsiteX25" fmla="*/ 4111171 w 7197271"/>
                  <a:gd name="connsiteY25" fmla="*/ 13792200 h 17868900"/>
                  <a:gd name="connsiteX26" fmla="*/ 4187371 w 7197271"/>
                  <a:gd name="connsiteY26" fmla="*/ 17792700 h 17868900"/>
                  <a:gd name="connsiteX27" fmla="*/ 6244771 w 7197271"/>
                  <a:gd name="connsiteY27" fmla="*/ 17868900 h 17868900"/>
                  <a:gd name="connsiteX28" fmla="*/ 6892471 w 7197271"/>
                  <a:gd name="connsiteY28" fmla="*/ 17754600 h 17868900"/>
                  <a:gd name="connsiteX29" fmla="*/ 6682921 w 7197271"/>
                  <a:gd name="connsiteY29" fmla="*/ 13525500 h 17868900"/>
                  <a:gd name="connsiteX30" fmla="*/ 6473371 w 7197271"/>
                  <a:gd name="connsiteY30" fmla="*/ 11410950 h 17868900"/>
                  <a:gd name="connsiteX31" fmla="*/ 6378122 w 7197271"/>
                  <a:gd name="connsiteY31" fmla="*/ 10210800 h 17868900"/>
                  <a:gd name="connsiteX32" fmla="*/ 6454321 w 7197271"/>
                  <a:gd name="connsiteY32" fmla="*/ 8820150 h 17868900"/>
                  <a:gd name="connsiteX33" fmla="*/ 6930571 w 7197271"/>
                  <a:gd name="connsiteY33" fmla="*/ 5067300 h 17868900"/>
                  <a:gd name="connsiteX34" fmla="*/ 7121071 w 7197271"/>
                  <a:gd name="connsiteY34" fmla="*/ 4038600 h 17868900"/>
                  <a:gd name="connsiteX35" fmla="*/ 7197271 w 7197271"/>
                  <a:gd name="connsiteY35" fmla="*/ 2705100 h 17868900"/>
                  <a:gd name="connsiteX36" fmla="*/ 7159171 w 7197271"/>
                  <a:gd name="connsiteY36" fmla="*/ 2019300 h 17868900"/>
                  <a:gd name="connsiteX37" fmla="*/ 6176191 w 7197271"/>
                  <a:gd name="connsiteY37" fmla="*/ 2004060 h 17868900"/>
                  <a:gd name="connsiteX38" fmla="*/ 4736011 w 7197271"/>
                  <a:gd name="connsiteY38" fmla="*/ 2095500 h 17868900"/>
                  <a:gd name="connsiteX39" fmla="*/ 4111171 w 7197271"/>
                  <a:gd name="connsiteY39" fmla="*/ 2110740 h 17868900"/>
                  <a:gd name="connsiteX40" fmla="*/ 3455851 w 7197271"/>
                  <a:gd name="connsiteY40" fmla="*/ 1661160 h 17868900"/>
                  <a:gd name="connsiteX41" fmla="*/ 3333931 w 7197271"/>
                  <a:gd name="connsiteY41" fmla="*/ 1287780 h 17868900"/>
                  <a:gd name="connsiteX42" fmla="*/ 3196771 w 7197271"/>
                  <a:gd name="connsiteY42" fmla="*/ 7620 h 17868900"/>
                  <a:gd name="connsiteX43" fmla="*/ 2815771 w 7197271"/>
                  <a:gd name="connsiteY43" fmla="*/ 0 h 17868900"/>
                  <a:gd name="connsiteX44" fmla="*/ 2328091 w 7197271"/>
                  <a:gd name="connsiteY44" fmla="*/ 1158240 h 17868900"/>
                  <a:gd name="connsiteX45" fmla="*/ 2038531 w 7197271"/>
                  <a:gd name="connsiteY45" fmla="*/ 1676400 h 17868900"/>
                  <a:gd name="connsiteX46" fmla="*/ 1809931 w 7197271"/>
                  <a:gd name="connsiteY46" fmla="*/ 1813560 h 17868900"/>
                  <a:gd name="connsiteX47" fmla="*/ 1108891 w 7197271"/>
                  <a:gd name="connsiteY47" fmla="*/ 1844040 h 17868900"/>
                  <a:gd name="connsiteX48" fmla="*/ 423091 w 7197271"/>
                  <a:gd name="connsiteY48" fmla="*/ 1623060 h 17868900"/>
                  <a:gd name="connsiteX49" fmla="*/ 461191 w 7197271"/>
                  <a:gd name="connsiteY49" fmla="*/ 1645920 h 17868900"/>
                  <a:gd name="connsiteX0" fmla="*/ 453571 w 7197271"/>
                  <a:gd name="connsiteY0" fmla="*/ 1676400 h 17868900"/>
                  <a:gd name="connsiteX1" fmla="*/ 186871 w 7197271"/>
                  <a:gd name="connsiteY1" fmla="*/ 2057400 h 17868900"/>
                  <a:gd name="connsiteX2" fmla="*/ 263071 w 7197271"/>
                  <a:gd name="connsiteY2" fmla="*/ 2438400 h 17868900"/>
                  <a:gd name="connsiteX3" fmla="*/ 491671 w 7197271"/>
                  <a:gd name="connsiteY3" fmla="*/ 2628900 h 17868900"/>
                  <a:gd name="connsiteX4" fmla="*/ 453571 w 7197271"/>
                  <a:gd name="connsiteY4" fmla="*/ 3886200 h 17868900"/>
                  <a:gd name="connsiteX5" fmla="*/ 186871 w 7197271"/>
                  <a:gd name="connsiteY5" fmla="*/ 6743700 h 17868900"/>
                  <a:gd name="connsiteX6" fmla="*/ 97971 w 7197271"/>
                  <a:gd name="connsiteY6" fmla="*/ 8267700 h 17868900"/>
                  <a:gd name="connsiteX7" fmla="*/ 167821 w 7197271"/>
                  <a:gd name="connsiteY7" fmla="*/ 10020300 h 17868900"/>
                  <a:gd name="connsiteX8" fmla="*/ 186871 w 7197271"/>
                  <a:gd name="connsiteY8" fmla="*/ 11004550 h 17868900"/>
                  <a:gd name="connsiteX9" fmla="*/ 186871 w 7197271"/>
                  <a:gd name="connsiteY9" fmla="*/ 13182600 h 17868900"/>
                  <a:gd name="connsiteX10" fmla="*/ 0 w 7197271"/>
                  <a:gd name="connsiteY10" fmla="*/ 17366344 h 17868900"/>
                  <a:gd name="connsiteX11" fmla="*/ 1598385 w 7197271"/>
                  <a:gd name="connsiteY11" fmla="*/ 17471572 h 17868900"/>
                  <a:gd name="connsiteX12" fmla="*/ 2663371 w 7197271"/>
                  <a:gd name="connsiteY12" fmla="*/ 17411700 h 17868900"/>
                  <a:gd name="connsiteX13" fmla="*/ 2472871 w 7197271"/>
                  <a:gd name="connsiteY13" fmla="*/ 11049000 h 17868900"/>
                  <a:gd name="connsiteX14" fmla="*/ 2371271 w 7197271"/>
                  <a:gd name="connsiteY14" fmla="*/ 9575800 h 17868900"/>
                  <a:gd name="connsiteX15" fmla="*/ 2460171 w 7197271"/>
                  <a:gd name="connsiteY15" fmla="*/ 9093200 h 17868900"/>
                  <a:gd name="connsiteX16" fmla="*/ 2510971 w 7197271"/>
                  <a:gd name="connsiteY16" fmla="*/ 8420100 h 17868900"/>
                  <a:gd name="connsiteX17" fmla="*/ 2701471 w 7197271"/>
                  <a:gd name="connsiteY17" fmla="*/ 7683500 h 17868900"/>
                  <a:gd name="connsiteX18" fmla="*/ 3615871 w 7197271"/>
                  <a:gd name="connsiteY18" fmla="*/ 4038600 h 17868900"/>
                  <a:gd name="connsiteX19" fmla="*/ 3844471 w 7197271"/>
                  <a:gd name="connsiteY19" fmla="*/ 5143500 h 17868900"/>
                  <a:gd name="connsiteX20" fmla="*/ 3996871 w 7197271"/>
                  <a:gd name="connsiteY20" fmla="*/ 6972300 h 17868900"/>
                  <a:gd name="connsiteX21" fmla="*/ 4161971 w 7197271"/>
                  <a:gd name="connsiteY21" fmla="*/ 8724900 h 17868900"/>
                  <a:gd name="connsiteX22" fmla="*/ 4187371 w 7197271"/>
                  <a:gd name="connsiteY22" fmla="*/ 9982200 h 17868900"/>
                  <a:gd name="connsiteX23" fmla="*/ 4149271 w 7197271"/>
                  <a:gd name="connsiteY23" fmla="*/ 11163300 h 17868900"/>
                  <a:gd name="connsiteX24" fmla="*/ 4149271 w 7197271"/>
                  <a:gd name="connsiteY24" fmla="*/ 12801600 h 17868900"/>
                  <a:gd name="connsiteX25" fmla="*/ 4111171 w 7197271"/>
                  <a:gd name="connsiteY25" fmla="*/ 13792200 h 17868900"/>
                  <a:gd name="connsiteX26" fmla="*/ 4187371 w 7197271"/>
                  <a:gd name="connsiteY26" fmla="*/ 17792700 h 17868900"/>
                  <a:gd name="connsiteX27" fmla="*/ 6244771 w 7197271"/>
                  <a:gd name="connsiteY27" fmla="*/ 17868900 h 17868900"/>
                  <a:gd name="connsiteX28" fmla="*/ 6892471 w 7197271"/>
                  <a:gd name="connsiteY28" fmla="*/ 17754600 h 17868900"/>
                  <a:gd name="connsiteX29" fmla="*/ 6682921 w 7197271"/>
                  <a:gd name="connsiteY29" fmla="*/ 13525500 h 17868900"/>
                  <a:gd name="connsiteX30" fmla="*/ 6473371 w 7197271"/>
                  <a:gd name="connsiteY30" fmla="*/ 11410950 h 17868900"/>
                  <a:gd name="connsiteX31" fmla="*/ 6378122 w 7197271"/>
                  <a:gd name="connsiteY31" fmla="*/ 10210800 h 17868900"/>
                  <a:gd name="connsiteX32" fmla="*/ 6454321 w 7197271"/>
                  <a:gd name="connsiteY32" fmla="*/ 8820150 h 17868900"/>
                  <a:gd name="connsiteX33" fmla="*/ 6930571 w 7197271"/>
                  <a:gd name="connsiteY33" fmla="*/ 5067300 h 17868900"/>
                  <a:gd name="connsiteX34" fmla="*/ 7121071 w 7197271"/>
                  <a:gd name="connsiteY34" fmla="*/ 4038600 h 17868900"/>
                  <a:gd name="connsiteX35" fmla="*/ 7197271 w 7197271"/>
                  <a:gd name="connsiteY35" fmla="*/ 2705100 h 17868900"/>
                  <a:gd name="connsiteX36" fmla="*/ 7159171 w 7197271"/>
                  <a:gd name="connsiteY36" fmla="*/ 2019300 h 17868900"/>
                  <a:gd name="connsiteX37" fmla="*/ 6176191 w 7197271"/>
                  <a:gd name="connsiteY37" fmla="*/ 2004060 h 17868900"/>
                  <a:gd name="connsiteX38" fmla="*/ 4736011 w 7197271"/>
                  <a:gd name="connsiteY38" fmla="*/ 2095500 h 17868900"/>
                  <a:gd name="connsiteX39" fmla="*/ 4136261 w 7197271"/>
                  <a:gd name="connsiteY39" fmla="*/ 2048031 h 17868900"/>
                  <a:gd name="connsiteX40" fmla="*/ 3455851 w 7197271"/>
                  <a:gd name="connsiteY40" fmla="*/ 1661160 h 17868900"/>
                  <a:gd name="connsiteX41" fmla="*/ 3333931 w 7197271"/>
                  <a:gd name="connsiteY41" fmla="*/ 1287780 h 17868900"/>
                  <a:gd name="connsiteX42" fmla="*/ 3196771 w 7197271"/>
                  <a:gd name="connsiteY42" fmla="*/ 7620 h 17868900"/>
                  <a:gd name="connsiteX43" fmla="*/ 2815771 w 7197271"/>
                  <a:gd name="connsiteY43" fmla="*/ 0 h 17868900"/>
                  <a:gd name="connsiteX44" fmla="*/ 2328091 w 7197271"/>
                  <a:gd name="connsiteY44" fmla="*/ 1158240 h 17868900"/>
                  <a:gd name="connsiteX45" fmla="*/ 2038531 w 7197271"/>
                  <a:gd name="connsiteY45" fmla="*/ 1676400 h 17868900"/>
                  <a:gd name="connsiteX46" fmla="*/ 1809931 w 7197271"/>
                  <a:gd name="connsiteY46" fmla="*/ 1813560 h 17868900"/>
                  <a:gd name="connsiteX47" fmla="*/ 1108891 w 7197271"/>
                  <a:gd name="connsiteY47" fmla="*/ 1844040 h 17868900"/>
                  <a:gd name="connsiteX48" fmla="*/ 423091 w 7197271"/>
                  <a:gd name="connsiteY48" fmla="*/ 1623060 h 17868900"/>
                  <a:gd name="connsiteX49" fmla="*/ 461191 w 7197271"/>
                  <a:gd name="connsiteY49" fmla="*/ 1645920 h 17868900"/>
                  <a:gd name="connsiteX0" fmla="*/ 453571 w 7197271"/>
                  <a:gd name="connsiteY0" fmla="*/ 1676400 h 17868900"/>
                  <a:gd name="connsiteX1" fmla="*/ 186871 w 7197271"/>
                  <a:gd name="connsiteY1" fmla="*/ 2057400 h 17868900"/>
                  <a:gd name="connsiteX2" fmla="*/ 263071 w 7197271"/>
                  <a:gd name="connsiteY2" fmla="*/ 2438400 h 17868900"/>
                  <a:gd name="connsiteX3" fmla="*/ 491671 w 7197271"/>
                  <a:gd name="connsiteY3" fmla="*/ 2628900 h 17868900"/>
                  <a:gd name="connsiteX4" fmla="*/ 453571 w 7197271"/>
                  <a:gd name="connsiteY4" fmla="*/ 3886200 h 17868900"/>
                  <a:gd name="connsiteX5" fmla="*/ 186871 w 7197271"/>
                  <a:gd name="connsiteY5" fmla="*/ 6743700 h 17868900"/>
                  <a:gd name="connsiteX6" fmla="*/ 97971 w 7197271"/>
                  <a:gd name="connsiteY6" fmla="*/ 8267700 h 17868900"/>
                  <a:gd name="connsiteX7" fmla="*/ 167821 w 7197271"/>
                  <a:gd name="connsiteY7" fmla="*/ 10020300 h 17868900"/>
                  <a:gd name="connsiteX8" fmla="*/ 186871 w 7197271"/>
                  <a:gd name="connsiteY8" fmla="*/ 11004550 h 17868900"/>
                  <a:gd name="connsiteX9" fmla="*/ 186871 w 7197271"/>
                  <a:gd name="connsiteY9" fmla="*/ 13182600 h 17868900"/>
                  <a:gd name="connsiteX10" fmla="*/ 0 w 7197271"/>
                  <a:gd name="connsiteY10" fmla="*/ 17366344 h 17868900"/>
                  <a:gd name="connsiteX11" fmla="*/ 1598385 w 7197271"/>
                  <a:gd name="connsiteY11" fmla="*/ 17471572 h 17868900"/>
                  <a:gd name="connsiteX12" fmla="*/ 2663371 w 7197271"/>
                  <a:gd name="connsiteY12" fmla="*/ 17411700 h 17868900"/>
                  <a:gd name="connsiteX13" fmla="*/ 2472871 w 7197271"/>
                  <a:gd name="connsiteY13" fmla="*/ 11049000 h 17868900"/>
                  <a:gd name="connsiteX14" fmla="*/ 2371271 w 7197271"/>
                  <a:gd name="connsiteY14" fmla="*/ 9575800 h 17868900"/>
                  <a:gd name="connsiteX15" fmla="*/ 2460171 w 7197271"/>
                  <a:gd name="connsiteY15" fmla="*/ 9093200 h 17868900"/>
                  <a:gd name="connsiteX16" fmla="*/ 2510971 w 7197271"/>
                  <a:gd name="connsiteY16" fmla="*/ 8420100 h 17868900"/>
                  <a:gd name="connsiteX17" fmla="*/ 2701471 w 7197271"/>
                  <a:gd name="connsiteY17" fmla="*/ 7683500 h 17868900"/>
                  <a:gd name="connsiteX18" fmla="*/ 3615871 w 7197271"/>
                  <a:gd name="connsiteY18" fmla="*/ 4038600 h 17868900"/>
                  <a:gd name="connsiteX19" fmla="*/ 3844471 w 7197271"/>
                  <a:gd name="connsiteY19" fmla="*/ 5143500 h 17868900"/>
                  <a:gd name="connsiteX20" fmla="*/ 3996871 w 7197271"/>
                  <a:gd name="connsiteY20" fmla="*/ 6972300 h 17868900"/>
                  <a:gd name="connsiteX21" fmla="*/ 4161971 w 7197271"/>
                  <a:gd name="connsiteY21" fmla="*/ 8724900 h 17868900"/>
                  <a:gd name="connsiteX22" fmla="*/ 4187371 w 7197271"/>
                  <a:gd name="connsiteY22" fmla="*/ 9982200 h 17868900"/>
                  <a:gd name="connsiteX23" fmla="*/ 4149271 w 7197271"/>
                  <a:gd name="connsiteY23" fmla="*/ 11163300 h 17868900"/>
                  <a:gd name="connsiteX24" fmla="*/ 4149271 w 7197271"/>
                  <a:gd name="connsiteY24" fmla="*/ 12801600 h 17868900"/>
                  <a:gd name="connsiteX25" fmla="*/ 4111171 w 7197271"/>
                  <a:gd name="connsiteY25" fmla="*/ 13792200 h 17868900"/>
                  <a:gd name="connsiteX26" fmla="*/ 4187371 w 7197271"/>
                  <a:gd name="connsiteY26" fmla="*/ 17792700 h 17868900"/>
                  <a:gd name="connsiteX27" fmla="*/ 6244771 w 7197271"/>
                  <a:gd name="connsiteY27" fmla="*/ 17868900 h 17868900"/>
                  <a:gd name="connsiteX28" fmla="*/ 6892471 w 7197271"/>
                  <a:gd name="connsiteY28" fmla="*/ 17754600 h 17868900"/>
                  <a:gd name="connsiteX29" fmla="*/ 6682921 w 7197271"/>
                  <a:gd name="connsiteY29" fmla="*/ 13525500 h 17868900"/>
                  <a:gd name="connsiteX30" fmla="*/ 6473371 w 7197271"/>
                  <a:gd name="connsiteY30" fmla="*/ 11410950 h 17868900"/>
                  <a:gd name="connsiteX31" fmla="*/ 6378122 w 7197271"/>
                  <a:gd name="connsiteY31" fmla="*/ 10210800 h 17868900"/>
                  <a:gd name="connsiteX32" fmla="*/ 6454321 w 7197271"/>
                  <a:gd name="connsiteY32" fmla="*/ 8820150 h 17868900"/>
                  <a:gd name="connsiteX33" fmla="*/ 6930571 w 7197271"/>
                  <a:gd name="connsiteY33" fmla="*/ 5067300 h 17868900"/>
                  <a:gd name="connsiteX34" fmla="*/ 7121071 w 7197271"/>
                  <a:gd name="connsiteY34" fmla="*/ 4038600 h 17868900"/>
                  <a:gd name="connsiteX35" fmla="*/ 7197271 w 7197271"/>
                  <a:gd name="connsiteY35" fmla="*/ 2705100 h 17868900"/>
                  <a:gd name="connsiteX36" fmla="*/ 7159171 w 7197271"/>
                  <a:gd name="connsiteY36" fmla="*/ 2019300 h 17868900"/>
                  <a:gd name="connsiteX37" fmla="*/ 6176191 w 7197271"/>
                  <a:gd name="connsiteY37" fmla="*/ 2004060 h 17868900"/>
                  <a:gd name="connsiteX38" fmla="*/ 4869780 w 7197271"/>
                  <a:gd name="connsiteY38" fmla="*/ 2011910 h 17868900"/>
                  <a:gd name="connsiteX39" fmla="*/ 4136261 w 7197271"/>
                  <a:gd name="connsiteY39" fmla="*/ 2048031 h 17868900"/>
                  <a:gd name="connsiteX40" fmla="*/ 3455851 w 7197271"/>
                  <a:gd name="connsiteY40" fmla="*/ 1661160 h 17868900"/>
                  <a:gd name="connsiteX41" fmla="*/ 3333931 w 7197271"/>
                  <a:gd name="connsiteY41" fmla="*/ 1287780 h 17868900"/>
                  <a:gd name="connsiteX42" fmla="*/ 3196771 w 7197271"/>
                  <a:gd name="connsiteY42" fmla="*/ 7620 h 17868900"/>
                  <a:gd name="connsiteX43" fmla="*/ 2815771 w 7197271"/>
                  <a:gd name="connsiteY43" fmla="*/ 0 h 17868900"/>
                  <a:gd name="connsiteX44" fmla="*/ 2328091 w 7197271"/>
                  <a:gd name="connsiteY44" fmla="*/ 1158240 h 17868900"/>
                  <a:gd name="connsiteX45" fmla="*/ 2038531 w 7197271"/>
                  <a:gd name="connsiteY45" fmla="*/ 1676400 h 17868900"/>
                  <a:gd name="connsiteX46" fmla="*/ 1809931 w 7197271"/>
                  <a:gd name="connsiteY46" fmla="*/ 1813560 h 17868900"/>
                  <a:gd name="connsiteX47" fmla="*/ 1108891 w 7197271"/>
                  <a:gd name="connsiteY47" fmla="*/ 1844040 h 17868900"/>
                  <a:gd name="connsiteX48" fmla="*/ 423091 w 7197271"/>
                  <a:gd name="connsiteY48" fmla="*/ 1623060 h 17868900"/>
                  <a:gd name="connsiteX49" fmla="*/ 461191 w 7197271"/>
                  <a:gd name="connsiteY49" fmla="*/ 1645920 h 17868900"/>
                  <a:gd name="connsiteX0" fmla="*/ 453571 w 7197271"/>
                  <a:gd name="connsiteY0" fmla="*/ 1676400 h 17868900"/>
                  <a:gd name="connsiteX1" fmla="*/ 186871 w 7197271"/>
                  <a:gd name="connsiteY1" fmla="*/ 2057400 h 17868900"/>
                  <a:gd name="connsiteX2" fmla="*/ 263071 w 7197271"/>
                  <a:gd name="connsiteY2" fmla="*/ 2438400 h 17868900"/>
                  <a:gd name="connsiteX3" fmla="*/ 491671 w 7197271"/>
                  <a:gd name="connsiteY3" fmla="*/ 2628900 h 17868900"/>
                  <a:gd name="connsiteX4" fmla="*/ 453571 w 7197271"/>
                  <a:gd name="connsiteY4" fmla="*/ 3886200 h 17868900"/>
                  <a:gd name="connsiteX5" fmla="*/ 186871 w 7197271"/>
                  <a:gd name="connsiteY5" fmla="*/ 6743700 h 17868900"/>
                  <a:gd name="connsiteX6" fmla="*/ 97971 w 7197271"/>
                  <a:gd name="connsiteY6" fmla="*/ 8267700 h 17868900"/>
                  <a:gd name="connsiteX7" fmla="*/ 167821 w 7197271"/>
                  <a:gd name="connsiteY7" fmla="*/ 10020300 h 17868900"/>
                  <a:gd name="connsiteX8" fmla="*/ 186871 w 7197271"/>
                  <a:gd name="connsiteY8" fmla="*/ 11004550 h 17868900"/>
                  <a:gd name="connsiteX9" fmla="*/ 186871 w 7197271"/>
                  <a:gd name="connsiteY9" fmla="*/ 13182600 h 17868900"/>
                  <a:gd name="connsiteX10" fmla="*/ 0 w 7197271"/>
                  <a:gd name="connsiteY10" fmla="*/ 17366344 h 17868900"/>
                  <a:gd name="connsiteX11" fmla="*/ 1598385 w 7197271"/>
                  <a:gd name="connsiteY11" fmla="*/ 17471572 h 17868900"/>
                  <a:gd name="connsiteX12" fmla="*/ 2663371 w 7197271"/>
                  <a:gd name="connsiteY12" fmla="*/ 17411700 h 17868900"/>
                  <a:gd name="connsiteX13" fmla="*/ 2472871 w 7197271"/>
                  <a:gd name="connsiteY13" fmla="*/ 11049000 h 17868900"/>
                  <a:gd name="connsiteX14" fmla="*/ 2371271 w 7197271"/>
                  <a:gd name="connsiteY14" fmla="*/ 9575800 h 17868900"/>
                  <a:gd name="connsiteX15" fmla="*/ 2460171 w 7197271"/>
                  <a:gd name="connsiteY15" fmla="*/ 9093200 h 17868900"/>
                  <a:gd name="connsiteX16" fmla="*/ 2510971 w 7197271"/>
                  <a:gd name="connsiteY16" fmla="*/ 8420100 h 17868900"/>
                  <a:gd name="connsiteX17" fmla="*/ 2701471 w 7197271"/>
                  <a:gd name="connsiteY17" fmla="*/ 7683500 h 17868900"/>
                  <a:gd name="connsiteX18" fmla="*/ 3615871 w 7197271"/>
                  <a:gd name="connsiteY18" fmla="*/ 4038600 h 17868900"/>
                  <a:gd name="connsiteX19" fmla="*/ 3844471 w 7197271"/>
                  <a:gd name="connsiteY19" fmla="*/ 5143500 h 17868900"/>
                  <a:gd name="connsiteX20" fmla="*/ 3996871 w 7197271"/>
                  <a:gd name="connsiteY20" fmla="*/ 6972300 h 17868900"/>
                  <a:gd name="connsiteX21" fmla="*/ 4161971 w 7197271"/>
                  <a:gd name="connsiteY21" fmla="*/ 8724900 h 17868900"/>
                  <a:gd name="connsiteX22" fmla="*/ 4187371 w 7197271"/>
                  <a:gd name="connsiteY22" fmla="*/ 9982200 h 17868900"/>
                  <a:gd name="connsiteX23" fmla="*/ 4149271 w 7197271"/>
                  <a:gd name="connsiteY23" fmla="*/ 11163300 h 17868900"/>
                  <a:gd name="connsiteX24" fmla="*/ 4149271 w 7197271"/>
                  <a:gd name="connsiteY24" fmla="*/ 12801600 h 17868900"/>
                  <a:gd name="connsiteX25" fmla="*/ 4111171 w 7197271"/>
                  <a:gd name="connsiteY25" fmla="*/ 13792200 h 17868900"/>
                  <a:gd name="connsiteX26" fmla="*/ 4187371 w 7197271"/>
                  <a:gd name="connsiteY26" fmla="*/ 17792700 h 17868900"/>
                  <a:gd name="connsiteX27" fmla="*/ 6244771 w 7197271"/>
                  <a:gd name="connsiteY27" fmla="*/ 17868900 h 17868900"/>
                  <a:gd name="connsiteX28" fmla="*/ 6892471 w 7197271"/>
                  <a:gd name="connsiteY28" fmla="*/ 17754600 h 17868900"/>
                  <a:gd name="connsiteX29" fmla="*/ 6682921 w 7197271"/>
                  <a:gd name="connsiteY29" fmla="*/ 13525500 h 17868900"/>
                  <a:gd name="connsiteX30" fmla="*/ 6473371 w 7197271"/>
                  <a:gd name="connsiteY30" fmla="*/ 11410950 h 17868900"/>
                  <a:gd name="connsiteX31" fmla="*/ 6378122 w 7197271"/>
                  <a:gd name="connsiteY31" fmla="*/ 10210800 h 17868900"/>
                  <a:gd name="connsiteX32" fmla="*/ 6454321 w 7197271"/>
                  <a:gd name="connsiteY32" fmla="*/ 8820150 h 17868900"/>
                  <a:gd name="connsiteX33" fmla="*/ 6930571 w 7197271"/>
                  <a:gd name="connsiteY33" fmla="*/ 5067300 h 17868900"/>
                  <a:gd name="connsiteX34" fmla="*/ 7121071 w 7197271"/>
                  <a:gd name="connsiteY34" fmla="*/ 4038600 h 17868900"/>
                  <a:gd name="connsiteX35" fmla="*/ 7197271 w 7197271"/>
                  <a:gd name="connsiteY35" fmla="*/ 2705100 h 17868900"/>
                  <a:gd name="connsiteX36" fmla="*/ 7159171 w 7197271"/>
                  <a:gd name="connsiteY36" fmla="*/ 2019300 h 17868900"/>
                  <a:gd name="connsiteX37" fmla="*/ 6125987 w 7197271"/>
                  <a:gd name="connsiteY37" fmla="*/ 1882843 h 17868900"/>
                  <a:gd name="connsiteX38" fmla="*/ 4869780 w 7197271"/>
                  <a:gd name="connsiteY38" fmla="*/ 2011910 h 17868900"/>
                  <a:gd name="connsiteX39" fmla="*/ 4136261 w 7197271"/>
                  <a:gd name="connsiteY39" fmla="*/ 2048031 h 17868900"/>
                  <a:gd name="connsiteX40" fmla="*/ 3455851 w 7197271"/>
                  <a:gd name="connsiteY40" fmla="*/ 1661160 h 17868900"/>
                  <a:gd name="connsiteX41" fmla="*/ 3333931 w 7197271"/>
                  <a:gd name="connsiteY41" fmla="*/ 1287780 h 17868900"/>
                  <a:gd name="connsiteX42" fmla="*/ 3196771 w 7197271"/>
                  <a:gd name="connsiteY42" fmla="*/ 7620 h 17868900"/>
                  <a:gd name="connsiteX43" fmla="*/ 2815771 w 7197271"/>
                  <a:gd name="connsiteY43" fmla="*/ 0 h 17868900"/>
                  <a:gd name="connsiteX44" fmla="*/ 2328091 w 7197271"/>
                  <a:gd name="connsiteY44" fmla="*/ 1158240 h 17868900"/>
                  <a:gd name="connsiteX45" fmla="*/ 2038531 w 7197271"/>
                  <a:gd name="connsiteY45" fmla="*/ 1676400 h 17868900"/>
                  <a:gd name="connsiteX46" fmla="*/ 1809931 w 7197271"/>
                  <a:gd name="connsiteY46" fmla="*/ 1813560 h 17868900"/>
                  <a:gd name="connsiteX47" fmla="*/ 1108891 w 7197271"/>
                  <a:gd name="connsiteY47" fmla="*/ 1844040 h 17868900"/>
                  <a:gd name="connsiteX48" fmla="*/ 423091 w 7197271"/>
                  <a:gd name="connsiteY48" fmla="*/ 1623060 h 17868900"/>
                  <a:gd name="connsiteX49" fmla="*/ 461191 w 7197271"/>
                  <a:gd name="connsiteY49" fmla="*/ 1645920 h 17868900"/>
                  <a:gd name="connsiteX0" fmla="*/ 453571 w 7197271"/>
                  <a:gd name="connsiteY0" fmla="*/ 1676400 h 17868900"/>
                  <a:gd name="connsiteX1" fmla="*/ 186871 w 7197271"/>
                  <a:gd name="connsiteY1" fmla="*/ 2057400 h 17868900"/>
                  <a:gd name="connsiteX2" fmla="*/ 263071 w 7197271"/>
                  <a:gd name="connsiteY2" fmla="*/ 2438400 h 17868900"/>
                  <a:gd name="connsiteX3" fmla="*/ 491671 w 7197271"/>
                  <a:gd name="connsiteY3" fmla="*/ 2628900 h 17868900"/>
                  <a:gd name="connsiteX4" fmla="*/ 453571 w 7197271"/>
                  <a:gd name="connsiteY4" fmla="*/ 3886200 h 17868900"/>
                  <a:gd name="connsiteX5" fmla="*/ 186871 w 7197271"/>
                  <a:gd name="connsiteY5" fmla="*/ 6743700 h 17868900"/>
                  <a:gd name="connsiteX6" fmla="*/ 97971 w 7197271"/>
                  <a:gd name="connsiteY6" fmla="*/ 8267700 h 17868900"/>
                  <a:gd name="connsiteX7" fmla="*/ 167821 w 7197271"/>
                  <a:gd name="connsiteY7" fmla="*/ 10020300 h 17868900"/>
                  <a:gd name="connsiteX8" fmla="*/ 186871 w 7197271"/>
                  <a:gd name="connsiteY8" fmla="*/ 11004550 h 17868900"/>
                  <a:gd name="connsiteX9" fmla="*/ 186871 w 7197271"/>
                  <a:gd name="connsiteY9" fmla="*/ 13182600 h 17868900"/>
                  <a:gd name="connsiteX10" fmla="*/ 0 w 7197271"/>
                  <a:gd name="connsiteY10" fmla="*/ 17366344 h 17868900"/>
                  <a:gd name="connsiteX11" fmla="*/ 1598385 w 7197271"/>
                  <a:gd name="connsiteY11" fmla="*/ 17471572 h 17868900"/>
                  <a:gd name="connsiteX12" fmla="*/ 2663371 w 7197271"/>
                  <a:gd name="connsiteY12" fmla="*/ 17411700 h 17868900"/>
                  <a:gd name="connsiteX13" fmla="*/ 2472871 w 7197271"/>
                  <a:gd name="connsiteY13" fmla="*/ 11049000 h 17868900"/>
                  <a:gd name="connsiteX14" fmla="*/ 2371271 w 7197271"/>
                  <a:gd name="connsiteY14" fmla="*/ 9575800 h 17868900"/>
                  <a:gd name="connsiteX15" fmla="*/ 2460171 w 7197271"/>
                  <a:gd name="connsiteY15" fmla="*/ 9093200 h 17868900"/>
                  <a:gd name="connsiteX16" fmla="*/ 2510971 w 7197271"/>
                  <a:gd name="connsiteY16" fmla="*/ 8420100 h 17868900"/>
                  <a:gd name="connsiteX17" fmla="*/ 2701471 w 7197271"/>
                  <a:gd name="connsiteY17" fmla="*/ 7683500 h 17868900"/>
                  <a:gd name="connsiteX18" fmla="*/ 3615871 w 7197271"/>
                  <a:gd name="connsiteY18" fmla="*/ 4038600 h 17868900"/>
                  <a:gd name="connsiteX19" fmla="*/ 3844471 w 7197271"/>
                  <a:gd name="connsiteY19" fmla="*/ 5143500 h 17868900"/>
                  <a:gd name="connsiteX20" fmla="*/ 3996871 w 7197271"/>
                  <a:gd name="connsiteY20" fmla="*/ 6972300 h 17868900"/>
                  <a:gd name="connsiteX21" fmla="*/ 4161971 w 7197271"/>
                  <a:gd name="connsiteY21" fmla="*/ 8724900 h 17868900"/>
                  <a:gd name="connsiteX22" fmla="*/ 4187371 w 7197271"/>
                  <a:gd name="connsiteY22" fmla="*/ 9982200 h 17868900"/>
                  <a:gd name="connsiteX23" fmla="*/ 4149271 w 7197271"/>
                  <a:gd name="connsiteY23" fmla="*/ 11163300 h 17868900"/>
                  <a:gd name="connsiteX24" fmla="*/ 4149271 w 7197271"/>
                  <a:gd name="connsiteY24" fmla="*/ 12801600 h 17868900"/>
                  <a:gd name="connsiteX25" fmla="*/ 4111171 w 7197271"/>
                  <a:gd name="connsiteY25" fmla="*/ 13792200 h 17868900"/>
                  <a:gd name="connsiteX26" fmla="*/ 4187371 w 7197271"/>
                  <a:gd name="connsiteY26" fmla="*/ 17792700 h 17868900"/>
                  <a:gd name="connsiteX27" fmla="*/ 6244771 w 7197271"/>
                  <a:gd name="connsiteY27" fmla="*/ 17868900 h 17868900"/>
                  <a:gd name="connsiteX28" fmla="*/ 6892471 w 7197271"/>
                  <a:gd name="connsiteY28" fmla="*/ 17754600 h 17868900"/>
                  <a:gd name="connsiteX29" fmla="*/ 6682921 w 7197271"/>
                  <a:gd name="connsiteY29" fmla="*/ 13525500 h 17868900"/>
                  <a:gd name="connsiteX30" fmla="*/ 6473371 w 7197271"/>
                  <a:gd name="connsiteY30" fmla="*/ 11410950 h 17868900"/>
                  <a:gd name="connsiteX31" fmla="*/ 6378122 w 7197271"/>
                  <a:gd name="connsiteY31" fmla="*/ 10210800 h 17868900"/>
                  <a:gd name="connsiteX32" fmla="*/ 6454321 w 7197271"/>
                  <a:gd name="connsiteY32" fmla="*/ 8820150 h 17868900"/>
                  <a:gd name="connsiteX33" fmla="*/ 6930571 w 7197271"/>
                  <a:gd name="connsiteY33" fmla="*/ 5067300 h 17868900"/>
                  <a:gd name="connsiteX34" fmla="*/ 7121071 w 7197271"/>
                  <a:gd name="connsiteY34" fmla="*/ 4038600 h 17868900"/>
                  <a:gd name="connsiteX35" fmla="*/ 7197271 w 7197271"/>
                  <a:gd name="connsiteY35" fmla="*/ 2705100 h 17868900"/>
                  <a:gd name="connsiteX36" fmla="*/ 7159171 w 7197271"/>
                  <a:gd name="connsiteY36" fmla="*/ 2019300 h 17868900"/>
                  <a:gd name="connsiteX37" fmla="*/ 6125987 w 7197271"/>
                  <a:gd name="connsiteY37" fmla="*/ 1882843 h 17868900"/>
                  <a:gd name="connsiteX38" fmla="*/ 4869780 w 7197271"/>
                  <a:gd name="connsiteY38" fmla="*/ 2011910 h 17868900"/>
                  <a:gd name="connsiteX39" fmla="*/ 4136261 w 7197271"/>
                  <a:gd name="connsiteY39" fmla="*/ 2048031 h 17868900"/>
                  <a:gd name="connsiteX40" fmla="*/ 3455851 w 7197271"/>
                  <a:gd name="connsiteY40" fmla="*/ 1661160 h 17868900"/>
                  <a:gd name="connsiteX41" fmla="*/ 3333931 w 7197271"/>
                  <a:gd name="connsiteY41" fmla="*/ 1287780 h 17868900"/>
                  <a:gd name="connsiteX42" fmla="*/ 3196771 w 7197271"/>
                  <a:gd name="connsiteY42" fmla="*/ 7620 h 17868900"/>
                  <a:gd name="connsiteX43" fmla="*/ 2815771 w 7197271"/>
                  <a:gd name="connsiteY43" fmla="*/ 0 h 17868900"/>
                  <a:gd name="connsiteX44" fmla="*/ 2328091 w 7197271"/>
                  <a:gd name="connsiteY44" fmla="*/ 1158240 h 17868900"/>
                  <a:gd name="connsiteX45" fmla="*/ 2038531 w 7197271"/>
                  <a:gd name="connsiteY45" fmla="*/ 1676400 h 17868900"/>
                  <a:gd name="connsiteX46" fmla="*/ 1809931 w 7197271"/>
                  <a:gd name="connsiteY46" fmla="*/ 1813560 h 17868900"/>
                  <a:gd name="connsiteX47" fmla="*/ 1184176 w 7197271"/>
                  <a:gd name="connsiteY47" fmla="*/ 1789713 h 17868900"/>
                  <a:gd name="connsiteX48" fmla="*/ 423091 w 7197271"/>
                  <a:gd name="connsiteY48" fmla="*/ 1623060 h 17868900"/>
                  <a:gd name="connsiteX49" fmla="*/ 461191 w 7197271"/>
                  <a:gd name="connsiteY49" fmla="*/ 1645920 h 17868900"/>
                  <a:gd name="connsiteX0" fmla="*/ 453571 w 7197271"/>
                  <a:gd name="connsiteY0" fmla="*/ 1676400 h 17868900"/>
                  <a:gd name="connsiteX1" fmla="*/ 186871 w 7197271"/>
                  <a:gd name="connsiteY1" fmla="*/ 2057400 h 17868900"/>
                  <a:gd name="connsiteX2" fmla="*/ 263071 w 7197271"/>
                  <a:gd name="connsiteY2" fmla="*/ 2438400 h 17868900"/>
                  <a:gd name="connsiteX3" fmla="*/ 491671 w 7197271"/>
                  <a:gd name="connsiteY3" fmla="*/ 2628900 h 17868900"/>
                  <a:gd name="connsiteX4" fmla="*/ 453571 w 7197271"/>
                  <a:gd name="connsiteY4" fmla="*/ 3886200 h 17868900"/>
                  <a:gd name="connsiteX5" fmla="*/ 186871 w 7197271"/>
                  <a:gd name="connsiteY5" fmla="*/ 6743700 h 17868900"/>
                  <a:gd name="connsiteX6" fmla="*/ 97971 w 7197271"/>
                  <a:gd name="connsiteY6" fmla="*/ 8267700 h 17868900"/>
                  <a:gd name="connsiteX7" fmla="*/ 167821 w 7197271"/>
                  <a:gd name="connsiteY7" fmla="*/ 10020300 h 17868900"/>
                  <a:gd name="connsiteX8" fmla="*/ 186871 w 7197271"/>
                  <a:gd name="connsiteY8" fmla="*/ 11004550 h 17868900"/>
                  <a:gd name="connsiteX9" fmla="*/ 186871 w 7197271"/>
                  <a:gd name="connsiteY9" fmla="*/ 13182600 h 17868900"/>
                  <a:gd name="connsiteX10" fmla="*/ 0 w 7197271"/>
                  <a:gd name="connsiteY10" fmla="*/ 17366344 h 17868900"/>
                  <a:gd name="connsiteX11" fmla="*/ 1598385 w 7197271"/>
                  <a:gd name="connsiteY11" fmla="*/ 17471572 h 17868900"/>
                  <a:gd name="connsiteX12" fmla="*/ 2663371 w 7197271"/>
                  <a:gd name="connsiteY12" fmla="*/ 17411700 h 17868900"/>
                  <a:gd name="connsiteX13" fmla="*/ 2472871 w 7197271"/>
                  <a:gd name="connsiteY13" fmla="*/ 11049000 h 17868900"/>
                  <a:gd name="connsiteX14" fmla="*/ 2371271 w 7197271"/>
                  <a:gd name="connsiteY14" fmla="*/ 9575800 h 17868900"/>
                  <a:gd name="connsiteX15" fmla="*/ 2460171 w 7197271"/>
                  <a:gd name="connsiteY15" fmla="*/ 9093200 h 17868900"/>
                  <a:gd name="connsiteX16" fmla="*/ 2510971 w 7197271"/>
                  <a:gd name="connsiteY16" fmla="*/ 8420100 h 17868900"/>
                  <a:gd name="connsiteX17" fmla="*/ 2701471 w 7197271"/>
                  <a:gd name="connsiteY17" fmla="*/ 7683500 h 17868900"/>
                  <a:gd name="connsiteX18" fmla="*/ 3615871 w 7197271"/>
                  <a:gd name="connsiteY18" fmla="*/ 4038600 h 17868900"/>
                  <a:gd name="connsiteX19" fmla="*/ 3844471 w 7197271"/>
                  <a:gd name="connsiteY19" fmla="*/ 5143500 h 17868900"/>
                  <a:gd name="connsiteX20" fmla="*/ 3996871 w 7197271"/>
                  <a:gd name="connsiteY20" fmla="*/ 6972300 h 17868900"/>
                  <a:gd name="connsiteX21" fmla="*/ 4161971 w 7197271"/>
                  <a:gd name="connsiteY21" fmla="*/ 8724900 h 17868900"/>
                  <a:gd name="connsiteX22" fmla="*/ 4187371 w 7197271"/>
                  <a:gd name="connsiteY22" fmla="*/ 9982200 h 17868900"/>
                  <a:gd name="connsiteX23" fmla="*/ 4149271 w 7197271"/>
                  <a:gd name="connsiteY23" fmla="*/ 11163300 h 17868900"/>
                  <a:gd name="connsiteX24" fmla="*/ 4149271 w 7197271"/>
                  <a:gd name="connsiteY24" fmla="*/ 12801600 h 17868900"/>
                  <a:gd name="connsiteX25" fmla="*/ 4111171 w 7197271"/>
                  <a:gd name="connsiteY25" fmla="*/ 13792200 h 17868900"/>
                  <a:gd name="connsiteX26" fmla="*/ 4187371 w 7197271"/>
                  <a:gd name="connsiteY26" fmla="*/ 17792700 h 17868900"/>
                  <a:gd name="connsiteX27" fmla="*/ 6244771 w 7197271"/>
                  <a:gd name="connsiteY27" fmla="*/ 17868900 h 17868900"/>
                  <a:gd name="connsiteX28" fmla="*/ 6892471 w 7197271"/>
                  <a:gd name="connsiteY28" fmla="*/ 17754600 h 17868900"/>
                  <a:gd name="connsiteX29" fmla="*/ 6682921 w 7197271"/>
                  <a:gd name="connsiteY29" fmla="*/ 13525500 h 17868900"/>
                  <a:gd name="connsiteX30" fmla="*/ 6473371 w 7197271"/>
                  <a:gd name="connsiteY30" fmla="*/ 11410950 h 17868900"/>
                  <a:gd name="connsiteX31" fmla="*/ 6378122 w 7197271"/>
                  <a:gd name="connsiteY31" fmla="*/ 10210800 h 17868900"/>
                  <a:gd name="connsiteX32" fmla="*/ 6454321 w 7197271"/>
                  <a:gd name="connsiteY32" fmla="*/ 8820150 h 17868900"/>
                  <a:gd name="connsiteX33" fmla="*/ 6930571 w 7197271"/>
                  <a:gd name="connsiteY33" fmla="*/ 5067300 h 17868900"/>
                  <a:gd name="connsiteX34" fmla="*/ 7121071 w 7197271"/>
                  <a:gd name="connsiteY34" fmla="*/ 4038600 h 17868900"/>
                  <a:gd name="connsiteX35" fmla="*/ 7197271 w 7197271"/>
                  <a:gd name="connsiteY35" fmla="*/ 2705100 h 17868900"/>
                  <a:gd name="connsiteX36" fmla="*/ 7159171 w 7197271"/>
                  <a:gd name="connsiteY36" fmla="*/ 2019300 h 17868900"/>
                  <a:gd name="connsiteX37" fmla="*/ 6125987 w 7197271"/>
                  <a:gd name="connsiteY37" fmla="*/ 1882843 h 17868900"/>
                  <a:gd name="connsiteX38" fmla="*/ 4869780 w 7197271"/>
                  <a:gd name="connsiteY38" fmla="*/ 2011910 h 17868900"/>
                  <a:gd name="connsiteX39" fmla="*/ 4136261 w 7197271"/>
                  <a:gd name="connsiteY39" fmla="*/ 2048031 h 17868900"/>
                  <a:gd name="connsiteX40" fmla="*/ 3455851 w 7197271"/>
                  <a:gd name="connsiteY40" fmla="*/ 1661160 h 17868900"/>
                  <a:gd name="connsiteX41" fmla="*/ 3333931 w 7197271"/>
                  <a:gd name="connsiteY41" fmla="*/ 1287780 h 17868900"/>
                  <a:gd name="connsiteX42" fmla="*/ 3196771 w 7197271"/>
                  <a:gd name="connsiteY42" fmla="*/ 7620 h 17868900"/>
                  <a:gd name="connsiteX43" fmla="*/ 2815771 w 7197271"/>
                  <a:gd name="connsiteY43" fmla="*/ 0 h 17868900"/>
                  <a:gd name="connsiteX44" fmla="*/ 2328091 w 7197271"/>
                  <a:gd name="connsiteY44" fmla="*/ 1158240 h 17868900"/>
                  <a:gd name="connsiteX45" fmla="*/ 2092896 w 7197271"/>
                  <a:gd name="connsiteY45" fmla="*/ 1551004 h 17868900"/>
                  <a:gd name="connsiteX46" fmla="*/ 1809931 w 7197271"/>
                  <a:gd name="connsiteY46" fmla="*/ 1813560 h 17868900"/>
                  <a:gd name="connsiteX47" fmla="*/ 1184176 w 7197271"/>
                  <a:gd name="connsiteY47" fmla="*/ 1789713 h 17868900"/>
                  <a:gd name="connsiteX48" fmla="*/ 423091 w 7197271"/>
                  <a:gd name="connsiteY48" fmla="*/ 1623060 h 17868900"/>
                  <a:gd name="connsiteX49" fmla="*/ 461191 w 7197271"/>
                  <a:gd name="connsiteY49" fmla="*/ 1645920 h 17868900"/>
                  <a:gd name="connsiteX0" fmla="*/ 453571 w 7197271"/>
                  <a:gd name="connsiteY0" fmla="*/ 1676400 h 17868900"/>
                  <a:gd name="connsiteX1" fmla="*/ 186871 w 7197271"/>
                  <a:gd name="connsiteY1" fmla="*/ 2057400 h 17868900"/>
                  <a:gd name="connsiteX2" fmla="*/ 491671 w 7197271"/>
                  <a:gd name="connsiteY2" fmla="*/ 2628900 h 17868900"/>
                  <a:gd name="connsiteX3" fmla="*/ 453571 w 7197271"/>
                  <a:gd name="connsiteY3" fmla="*/ 3886200 h 17868900"/>
                  <a:gd name="connsiteX4" fmla="*/ 186871 w 7197271"/>
                  <a:gd name="connsiteY4" fmla="*/ 6743700 h 17868900"/>
                  <a:gd name="connsiteX5" fmla="*/ 97971 w 7197271"/>
                  <a:gd name="connsiteY5" fmla="*/ 8267700 h 17868900"/>
                  <a:gd name="connsiteX6" fmla="*/ 167821 w 7197271"/>
                  <a:gd name="connsiteY6" fmla="*/ 10020300 h 17868900"/>
                  <a:gd name="connsiteX7" fmla="*/ 186871 w 7197271"/>
                  <a:gd name="connsiteY7" fmla="*/ 11004550 h 17868900"/>
                  <a:gd name="connsiteX8" fmla="*/ 186871 w 7197271"/>
                  <a:gd name="connsiteY8" fmla="*/ 13182600 h 17868900"/>
                  <a:gd name="connsiteX9" fmla="*/ 0 w 7197271"/>
                  <a:gd name="connsiteY9" fmla="*/ 17366344 h 17868900"/>
                  <a:gd name="connsiteX10" fmla="*/ 1598385 w 7197271"/>
                  <a:gd name="connsiteY10" fmla="*/ 17471572 h 17868900"/>
                  <a:gd name="connsiteX11" fmla="*/ 2663371 w 7197271"/>
                  <a:gd name="connsiteY11" fmla="*/ 17411700 h 17868900"/>
                  <a:gd name="connsiteX12" fmla="*/ 2472871 w 7197271"/>
                  <a:gd name="connsiteY12" fmla="*/ 11049000 h 17868900"/>
                  <a:gd name="connsiteX13" fmla="*/ 2371271 w 7197271"/>
                  <a:gd name="connsiteY13" fmla="*/ 9575800 h 17868900"/>
                  <a:gd name="connsiteX14" fmla="*/ 2460171 w 7197271"/>
                  <a:gd name="connsiteY14" fmla="*/ 9093200 h 17868900"/>
                  <a:gd name="connsiteX15" fmla="*/ 2510971 w 7197271"/>
                  <a:gd name="connsiteY15" fmla="*/ 8420100 h 17868900"/>
                  <a:gd name="connsiteX16" fmla="*/ 2701471 w 7197271"/>
                  <a:gd name="connsiteY16" fmla="*/ 7683500 h 17868900"/>
                  <a:gd name="connsiteX17" fmla="*/ 3615871 w 7197271"/>
                  <a:gd name="connsiteY17" fmla="*/ 4038600 h 17868900"/>
                  <a:gd name="connsiteX18" fmla="*/ 3844471 w 7197271"/>
                  <a:gd name="connsiteY18" fmla="*/ 5143500 h 17868900"/>
                  <a:gd name="connsiteX19" fmla="*/ 3996871 w 7197271"/>
                  <a:gd name="connsiteY19" fmla="*/ 6972300 h 17868900"/>
                  <a:gd name="connsiteX20" fmla="*/ 4161971 w 7197271"/>
                  <a:gd name="connsiteY20" fmla="*/ 8724900 h 17868900"/>
                  <a:gd name="connsiteX21" fmla="*/ 4187371 w 7197271"/>
                  <a:gd name="connsiteY21" fmla="*/ 9982200 h 17868900"/>
                  <a:gd name="connsiteX22" fmla="*/ 4149271 w 7197271"/>
                  <a:gd name="connsiteY22" fmla="*/ 11163300 h 17868900"/>
                  <a:gd name="connsiteX23" fmla="*/ 4149271 w 7197271"/>
                  <a:gd name="connsiteY23" fmla="*/ 12801600 h 17868900"/>
                  <a:gd name="connsiteX24" fmla="*/ 4111171 w 7197271"/>
                  <a:gd name="connsiteY24" fmla="*/ 13792200 h 17868900"/>
                  <a:gd name="connsiteX25" fmla="*/ 4187371 w 7197271"/>
                  <a:gd name="connsiteY25" fmla="*/ 17792700 h 17868900"/>
                  <a:gd name="connsiteX26" fmla="*/ 6244771 w 7197271"/>
                  <a:gd name="connsiteY26" fmla="*/ 17868900 h 17868900"/>
                  <a:gd name="connsiteX27" fmla="*/ 6892471 w 7197271"/>
                  <a:gd name="connsiteY27" fmla="*/ 17754600 h 17868900"/>
                  <a:gd name="connsiteX28" fmla="*/ 6682921 w 7197271"/>
                  <a:gd name="connsiteY28" fmla="*/ 13525500 h 17868900"/>
                  <a:gd name="connsiteX29" fmla="*/ 6473371 w 7197271"/>
                  <a:gd name="connsiteY29" fmla="*/ 11410950 h 17868900"/>
                  <a:gd name="connsiteX30" fmla="*/ 6378122 w 7197271"/>
                  <a:gd name="connsiteY30" fmla="*/ 10210800 h 17868900"/>
                  <a:gd name="connsiteX31" fmla="*/ 6454321 w 7197271"/>
                  <a:gd name="connsiteY31" fmla="*/ 8820150 h 17868900"/>
                  <a:gd name="connsiteX32" fmla="*/ 6930571 w 7197271"/>
                  <a:gd name="connsiteY32" fmla="*/ 5067300 h 17868900"/>
                  <a:gd name="connsiteX33" fmla="*/ 7121071 w 7197271"/>
                  <a:gd name="connsiteY33" fmla="*/ 4038600 h 17868900"/>
                  <a:gd name="connsiteX34" fmla="*/ 7197271 w 7197271"/>
                  <a:gd name="connsiteY34" fmla="*/ 2705100 h 17868900"/>
                  <a:gd name="connsiteX35" fmla="*/ 7159171 w 7197271"/>
                  <a:gd name="connsiteY35" fmla="*/ 2019300 h 17868900"/>
                  <a:gd name="connsiteX36" fmla="*/ 6125987 w 7197271"/>
                  <a:gd name="connsiteY36" fmla="*/ 1882843 h 17868900"/>
                  <a:gd name="connsiteX37" fmla="*/ 4869780 w 7197271"/>
                  <a:gd name="connsiteY37" fmla="*/ 2011910 h 17868900"/>
                  <a:gd name="connsiteX38" fmla="*/ 4136261 w 7197271"/>
                  <a:gd name="connsiteY38" fmla="*/ 2048031 h 17868900"/>
                  <a:gd name="connsiteX39" fmla="*/ 3455851 w 7197271"/>
                  <a:gd name="connsiteY39" fmla="*/ 1661160 h 17868900"/>
                  <a:gd name="connsiteX40" fmla="*/ 3333931 w 7197271"/>
                  <a:gd name="connsiteY40" fmla="*/ 1287780 h 17868900"/>
                  <a:gd name="connsiteX41" fmla="*/ 3196771 w 7197271"/>
                  <a:gd name="connsiteY41" fmla="*/ 7620 h 17868900"/>
                  <a:gd name="connsiteX42" fmla="*/ 2815771 w 7197271"/>
                  <a:gd name="connsiteY42" fmla="*/ 0 h 17868900"/>
                  <a:gd name="connsiteX43" fmla="*/ 2328091 w 7197271"/>
                  <a:gd name="connsiteY43" fmla="*/ 1158240 h 17868900"/>
                  <a:gd name="connsiteX44" fmla="*/ 2092896 w 7197271"/>
                  <a:gd name="connsiteY44" fmla="*/ 1551004 h 17868900"/>
                  <a:gd name="connsiteX45" fmla="*/ 1809931 w 7197271"/>
                  <a:gd name="connsiteY45" fmla="*/ 1813560 h 17868900"/>
                  <a:gd name="connsiteX46" fmla="*/ 1184176 w 7197271"/>
                  <a:gd name="connsiteY46" fmla="*/ 1789713 h 17868900"/>
                  <a:gd name="connsiteX47" fmla="*/ 423091 w 7197271"/>
                  <a:gd name="connsiteY47" fmla="*/ 1623060 h 17868900"/>
                  <a:gd name="connsiteX48" fmla="*/ 461191 w 7197271"/>
                  <a:gd name="connsiteY48" fmla="*/ 1645920 h 17868900"/>
                  <a:gd name="connsiteX0" fmla="*/ 453571 w 7197271"/>
                  <a:gd name="connsiteY0" fmla="*/ 1676400 h 17868900"/>
                  <a:gd name="connsiteX1" fmla="*/ 491671 w 7197271"/>
                  <a:gd name="connsiteY1" fmla="*/ 2628900 h 17868900"/>
                  <a:gd name="connsiteX2" fmla="*/ 453571 w 7197271"/>
                  <a:gd name="connsiteY2" fmla="*/ 3886200 h 17868900"/>
                  <a:gd name="connsiteX3" fmla="*/ 186871 w 7197271"/>
                  <a:gd name="connsiteY3" fmla="*/ 6743700 h 17868900"/>
                  <a:gd name="connsiteX4" fmla="*/ 97971 w 7197271"/>
                  <a:gd name="connsiteY4" fmla="*/ 8267700 h 17868900"/>
                  <a:gd name="connsiteX5" fmla="*/ 167821 w 7197271"/>
                  <a:gd name="connsiteY5" fmla="*/ 10020300 h 17868900"/>
                  <a:gd name="connsiteX6" fmla="*/ 186871 w 7197271"/>
                  <a:gd name="connsiteY6" fmla="*/ 11004550 h 17868900"/>
                  <a:gd name="connsiteX7" fmla="*/ 186871 w 7197271"/>
                  <a:gd name="connsiteY7" fmla="*/ 13182600 h 17868900"/>
                  <a:gd name="connsiteX8" fmla="*/ 0 w 7197271"/>
                  <a:gd name="connsiteY8" fmla="*/ 17366344 h 17868900"/>
                  <a:gd name="connsiteX9" fmla="*/ 1598385 w 7197271"/>
                  <a:gd name="connsiteY9" fmla="*/ 17471572 h 17868900"/>
                  <a:gd name="connsiteX10" fmla="*/ 2663371 w 7197271"/>
                  <a:gd name="connsiteY10" fmla="*/ 17411700 h 17868900"/>
                  <a:gd name="connsiteX11" fmla="*/ 2472871 w 7197271"/>
                  <a:gd name="connsiteY11" fmla="*/ 11049000 h 17868900"/>
                  <a:gd name="connsiteX12" fmla="*/ 2371271 w 7197271"/>
                  <a:gd name="connsiteY12" fmla="*/ 9575800 h 17868900"/>
                  <a:gd name="connsiteX13" fmla="*/ 2460171 w 7197271"/>
                  <a:gd name="connsiteY13" fmla="*/ 9093200 h 17868900"/>
                  <a:gd name="connsiteX14" fmla="*/ 2510971 w 7197271"/>
                  <a:gd name="connsiteY14" fmla="*/ 8420100 h 17868900"/>
                  <a:gd name="connsiteX15" fmla="*/ 2701471 w 7197271"/>
                  <a:gd name="connsiteY15" fmla="*/ 7683500 h 17868900"/>
                  <a:gd name="connsiteX16" fmla="*/ 3615871 w 7197271"/>
                  <a:gd name="connsiteY16" fmla="*/ 4038600 h 17868900"/>
                  <a:gd name="connsiteX17" fmla="*/ 3844471 w 7197271"/>
                  <a:gd name="connsiteY17" fmla="*/ 5143500 h 17868900"/>
                  <a:gd name="connsiteX18" fmla="*/ 3996871 w 7197271"/>
                  <a:gd name="connsiteY18" fmla="*/ 6972300 h 17868900"/>
                  <a:gd name="connsiteX19" fmla="*/ 4161971 w 7197271"/>
                  <a:gd name="connsiteY19" fmla="*/ 8724900 h 17868900"/>
                  <a:gd name="connsiteX20" fmla="*/ 4187371 w 7197271"/>
                  <a:gd name="connsiteY20" fmla="*/ 9982200 h 17868900"/>
                  <a:gd name="connsiteX21" fmla="*/ 4149271 w 7197271"/>
                  <a:gd name="connsiteY21" fmla="*/ 11163300 h 17868900"/>
                  <a:gd name="connsiteX22" fmla="*/ 4149271 w 7197271"/>
                  <a:gd name="connsiteY22" fmla="*/ 12801600 h 17868900"/>
                  <a:gd name="connsiteX23" fmla="*/ 4111171 w 7197271"/>
                  <a:gd name="connsiteY23" fmla="*/ 13792200 h 17868900"/>
                  <a:gd name="connsiteX24" fmla="*/ 4187371 w 7197271"/>
                  <a:gd name="connsiteY24" fmla="*/ 17792700 h 17868900"/>
                  <a:gd name="connsiteX25" fmla="*/ 6244771 w 7197271"/>
                  <a:gd name="connsiteY25" fmla="*/ 17868900 h 17868900"/>
                  <a:gd name="connsiteX26" fmla="*/ 6892471 w 7197271"/>
                  <a:gd name="connsiteY26" fmla="*/ 17754600 h 17868900"/>
                  <a:gd name="connsiteX27" fmla="*/ 6682921 w 7197271"/>
                  <a:gd name="connsiteY27" fmla="*/ 13525500 h 17868900"/>
                  <a:gd name="connsiteX28" fmla="*/ 6473371 w 7197271"/>
                  <a:gd name="connsiteY28" fmla="*/ 11410950 h 17868900"/>
                  <a:gd name="connsiteX29" fmla="*/ 6378122 w 7197271"/>
                  <a:gd name="connsiteY29" fmla="*/ 10210800 h 17868900"/>
                  <a:gd name="connsiteX30" fmla="*/ 6454321 w 7197271"/>
                  <a:gd name="connsiteY30" fmla="*/ 8820150 h 17868900"/>
                  <a:gd name="connsiteX31" fmla="*/ 6930571 w 7197271"/>
                  <a:gd name="connsiteY31" fmla="*/ 5067300 h 17868900"/>
                  <a:gd name="connsiteX32" fmla="*/ 7121071 w 7197271"/>
                  <a:gd name="connsiteY32" fmla="*/ 4038600 h 17868900"/>
                  <a:gd name="connsiteX33" fmla="*/ 7197271 w 7197271"/>
                  <a:gd name="connsiteY33" fmla="*/ 2705100 h 17868900"/>
                  <a:gd name="connsiteX34" fmla="*/ 7159171 w 7197271"/>
                  <a:gd name="connsiteY34" fmla="*/ 2019300 h 17868900"/>
                  <a:gd name="connsiteX35" fmla="*/ 6125987 w 7197271"/>
                  <a:gd name="connsiteY35" fmla="*/ 1882843 h 17868900"/>
                  <a:gd name="connsiteX36" fmla="*/ 4869780 w 7197271"/>
                  <a:gd name="connsiteY36" fmla="*/ 2011910 h 17868900"/>
                  <a:gd name="connsiteX37" fmla="*/ 4136261 w 7197271"/>
                  <a:gd name="connsiteY37" fmla="*/ 2048031 h 17868900"/>
                  <a:gd name="connsiteX38" fmla="*/ 3455851 w 7197271"/>
                  <a:gd name="connsiteY38" fmla="*/ 1661160 h 17868900"/>
                  <a:gd name="connsiteX39" fmla="*/ 3333931 w 7197271"/>
                  <a:gd name="connsiteY39" fmla="*/ 1287780 h 17868900"/>
                  <a:gd name="connsiteX40" fmla="*/ 3196771 w 7197271"/>
                  <a:gd name="connsiteY40" fmla="*/ 7620 h 17868900"/>
                  <a:gd name="connsiteX41" fmla="*/ 2815771 w 7197271"/>
                  <a:gd name="connsiteY41" fmla="*/ 0 h 17868900"/>
                  <a:gd name="connsiteX42" fmla="*/ 2328091 w 7197271"/>
                  <a:gd name="connsiteY42" fmla="*/ 1158240 h 17868900"/>
                  <a:gd name="connsiteX43" fmla="*/ 2092896 w 7197271"/>
                  <a:gd name="connsiteY43" fmla="*/ 1551004 h 17868900"/>
                  <a:gd name="connsiteX44" fmla="*/ 1809931 w 7197271"/>
                  <a:gd name="connsiteY44" fmla="*/ 1813560 h 17868900"/>
                  <a:gd name="connsiteX45" fmla="*/ 1184176 w 7197271"/>
                  <a:gd name="connsiteY45" fmla="*/ 1789713 h 17868900"/>
                  <a:gd name="connsiteX46" fmla="*/ 423091 w 7197271"/>
                  <a:gd name="connsiteY46" fmla="*/ 1623060 h 17868900"/>
                  <a:gd name="connsiteX47" fmla="*/ 461191 w 7197271"/>
                  <a:gd name="connsiteY47" fmla="*/ 1645920 h 17868900"/>
                  <a:gd name="connsiteX0" fmla="*/ 453571 w 7197271"/>
                  <a:gd name="connsiteY0" fmla="*/ 1676400 h 17868900"/>
                  <a:gd name="connsiteX1" fmla="*/ 416459 w 7197271"/>
                  <a:gd name="connsiteY1" fmla="*/ 2595468 h 17868900"/>
                  <a:gd name="connsiteX2" fmla="*/ 453571 w 7197271"/>
                  <a:gd name="connsiteY2" fmla="*/ 3886200 h 17868900"/>
                  <a:gd name="connsiteX3" fmla="*/ 186871 w 7197271"/>
                  <a:gd name="connsiteY3" fmla="*/ 6743700 h 17868900"/>
                  <a:gd name="connsiteX4" fmla="*/ 97971 w 7197271"/>
                  <a:gd name="connsiteY4" fmla="*/ 8267700 h 17868900"/>
                  <a:gd name="connsiteX5" fmla="*/ 167821 w 7197271"/>
                  <a:gd name="connsiteY5" fmla="*/ 10020300 h 17868900"/>
                  <a:gd name="connsiteX6" fmla="*/ 186871 w 7197271"/>
                  <a:gd name="connsiteY6" fmla="*/ 11004550 h 17868900"/>
                  <a:gd name="connsiteX7" fmla="*/ 186871 w 7197271"/>
                  <a:gd name="connsiteY7" fmla="*/ 13182600 h 17868900"/>
                  <a:gd name="connsiteX8" fmla="*/ 0 w 7197271"/>
                  <a:gd name="connsiteY8" fmla="*/ 17366344 h 17868900"/>
                  <a:gd name="connsiteX9" fmla="*/ 1598385 w 7197271"/>
                  <a:gd name="connsiteY9" fmla="*/ 17471572 h 17868900"/>
                  <a:gd name="connsiteX10" fmla="*/ 2663371 w 7197271"/>
                  <a:gd name="connsiteY10" fmla="*/ 17411700 h 17868900"/>
                  <a:gd name="connsiteX11" fmla="*/ 2472871 w 7197271"/>
                  <a:gd name="connsiteY11" fmla="*/ 11049000 h 17868900"/>
                  <a:gd name="connsiteX12" fmla="*/ 2371271 w 7197271"/>
                  <a:gd name="connsiteY12" fmla="*/ 9575800 h 17868900"/>
                  <a:gd name="connsiteX13" fmla="*/ 2460171 w 7197271"/>
                  <a:gd name="connsiteY13" fmla="*/ 9093200 h 17868900"/>
                  <a:gd name="connsiteX14" fmla="*/ 2510971 w 7197271"/>
                  <a:gd name="connsiteY14" fmla="*/ 8420100 h 17868900"/>
                  <a:gd name="connsiteX15" fmla="*/ 2701471 w 7197271"/>
                  <a:gd name="connsiteY15" fmla="*/ 7683500 h 17868900"/>
                  <a:gd name="connsiteX16" fmla="*/ 3615871 w 7197271"/>
                  <a:gd name="connsiteY16" fmla="*/ 4038600 h 17868900"/>
                  <a:gd name="connsiteX17" fmla="*/ 3844471 w 7197271"/>
                  <a:gd name="connsiteY17" fmla="*/ 5143500 h 17868900"/>
                  <a:gd name="connsiteX18" fmla="*/ 3996871 w 7197271"/>
                  <a:gd name="connsiteY18" fmla="*/ 6972300 h 17868900"/>
                  <a:gd name="connsiteX19" fmla="*/ 4161971 w 7197271"/>
                  <a:gd name="connsiteY19" fmla="*/ 8724900 h 17868900"/>
                  <a:gd name="connsiteX20" fmla="*/ 4187371 w 7197271"/>
                  <a:gd name="connsiteY20" fmla="*/ 9982200 h 17868900"/>
                  <a:gd name="connsiteX21" fmla="*/ 4149271 w 7197271"/>
                  <a:gd name="connsiteY21" fmla="*/ 11163300 h 17868900"/>
                  <a:gd name="connsiteX22" fmla="*/ 4149271 w 7197271"/>
                  <a:gd name="connsiteY22" fmla="*/ 12801600 h 17868900"/>
                  <a:gd name="connsiteX23" fmla="*/ 4111171 w 7197271"/>
                  <a:gd name="connsiteY23" fmla="*/ 13792200 h 17868900"/>
                  <a:gd name="connsiteX24" fmla="*/ 4187371 w 7197271"/>
                  <a:gd name="connsiteY24" fmla="*/ 17792700 h 17868900"/>
                  <a:gd name="connsiteX25" fmla="*/ 6244771 w 7197271"/>
                  <a:gd name="connsiteY25" fmla="*/ 17868900 h 17868900"/>
                  <a:gd name="connsiteX26" fmla="*/ 6892471 w 7197271"/>
                  <a:gd name="connsiteY26" fmla="*/ 17754600 h 17868900"/>
                  <a:gd name="connsiteX27" fmla="*/ 6682921 w 7197271"/>
                  <a:gd name="connsiteY27" fmla="*/ 13525500 h 17868900"/>
                  <a:gd name="connsiteX28" fmla="*/ 6473371 w 7197271"/>
                  <a:gd name="connsiteY28" fmla="*/ 11410950 h 17868900"/>
                  <a:gd name="connsiteX29" fmla="*/ 6378122 w 7197271"/>
                  <a:gd name="connsiteY29" fmla="*/ 10210800 h 17868900"/>
                  <a:gd name="connsiteX30" fmla="*/ 6454321 w 7197271"/>
                  <a:gd name="connsiteY30" fmla="*/ 8820150 h 17868900"/>
                  <a:gd name="connsiteX31" fmla="*/ 6930571 w 7197271"/>
                  <a:gd name="connsiteY31" fmla="*/ 5067300 h 17868900"/>
                  <a:gd name="connsiteX32" fmla="*/ 7121071 w 7197271"/>
                  <a:gd name="connsiteY32" fmla="*/ 4038600 h 17868900"/>
                  <a:gd name="connsiteX33" fmla="*/ 7197271 w 7197271"/>
                  <a:gd name="connsiteY33" fmla="*/ 2705100 h 17868900"/>
                  <a:gd name="connsiteX34" fmla="*/ 7159171 w 7197271"/>
                  <a:gd name="connsiteY34" fmla="*/ 2019300 h 17868900"/>
                  <a:gd name="connsiteX35" fmla="*/ 6125987 w 7197271"/>
                  <a:gd name="connsiteY35" fmla="*/ 1882843 h 17868900"/>
                  <a:gd name="connsiteX36" fmla="*/ 4869780 w 7197271"/>
                  <a:gd name="connsiteY36" fmla="*/ 2011910 h 17868900"/>
                  <a:gd name="connsiteX37" fmla="*/ 4136261 w 7197271"/>
                  <a:gd name="connsiteY37" fmla="*/ 2048031 h 17868900"/>
                  <a:gd name="connsiteX38" fmla="*/ 3455851 w 7197271"/>
                  <a:gd name="connsiteY38" fmla="*/ 1661160 h 17868900"/>
                  <a:gd name="connsiteX39" fmla="*/ 3333931 w 7197271"/>
                  <a:gd name="connsiteY39" fmla="*/ 1287780 h 17868900"/>
                  <a:gd name="connsiteX40" fmla="*/ 3196771 w 7197271"/>
                  <a:gd name="connsiteY40" fmla="*/ 7620 h 17868900"/>
                  <a:gd name="connsiteX41" fmla="*/ 2815771 w 7197271"/>
                  <a:gd name="connsiteY41" fmla="*/ 0 h 17868900"/>
                  <a:gd name="connsiteX42" fmla="*/ 2328091 w 7197271"/>
                  <a:gd name="connsiteY42" fmla="*/ 1158240 h 17868900"/>
                  <a:gd name="connsiteX43" fmla="*/ 2092896 w 7197271"/>
                  <a:gd name="connsiteY43" fmla="*/ 1551004 h 17868900"/>
                  <a:gd name="connsiteX44" fmla="*/ 1809931 w 7197271"/>
                  <a:gd name="connsiteY44" fmla="*/ 1813560 h 17868900"/>
                  <a:gd name="connsiteX45" fmla="*/ 1184176 w 7197271"/>
                  <a:gd name="connsiteY45" fmla="*/ 1789713 h 17868900"/>
                  <a:gd name="connsiteX46" fmla="*/ 423091 w 7197271"/>
                  <a:gd name="connsiteY46" fmla="*/ 1623060 h 17868900"/>
                  <a:gd name="connsiteX47" fmla="*/ 461191 w 7197271"/>
                  <a:gd name="connsiteY47" fmla="*/ 1645920 h 17868900"/>
                  <a:gd name="connsiteX0" fmla="*/ 453571 w 7197271"/>
                  <a:gd name="connsiteY0" fmla="*/ 1676400 h 17868900"/>
                  <a:gd name="connsiteX1" fmla="*/ 416459 w 7197271"/>
                  <a:gd name="connsiteY1" fmla="*/ 2595468 h 17868900"/>
                  <a:gd name="connsiteX2" fmla="*/ 378357 w 7197271"/>
                  <a:gd name="connsiteY2" fmla="*/ 3810941 h 17868900"/>
                  <a:gd name="connsiteX3" fmla="*/ 186871 w 7197271"/>
                  <a:gd name="connsiteY3" fmla="*/ 6743700 h 17868900"/>
                  <a:gd name="connsiteX4" fmla="*/ 97971 w 7197271"/>
                  <a:gd name="connsiteY4" fmla="*/ 8267700 h 17868900"/>
                  <a:gd name="connsiteX5" fmla="*/ 167821 w 7197271"/>
                  <a:gd name="connsiteY5" fmla="*/ 10020300 h 17868900"/>
                  <a:gd name="connsiteX6" fmla="*/ 186871 w 7197271"/>
                  <a:gd name="connsiteY6" fmla="*/ 11004550 h 17868900"/>
                  <a:gd name="connsiteX7" fmla="*/ 186871 w 7197271"/>
                  <a:gd name="connsiteY7" fmla="*/ 13182600 h 17868900"/>
                  <a:gd name="connsiteX8" fmla="*/ 0 w 7197271"/>
                  <a:gd name="connsiteY8" fmla="*/ 17366344 h 17868900"/>
                  <a:gd name="connsiteX9" fmla="*/ 1598385 w 7197271"/>
                  <a:gd name="connsiteY9" fmla="*/ 17471572 h 17868900"/>
                  <a:gd name="connsiteX10" fmla="*/ 2663371 w 7197271"/>
                  <a:gd name="connsiteY10" fmla="*/ 17411700 h 17868900"/>
                  <a:gd name="connsiteX11" fmla="*/ 2472871 w 7197271"/>
                  <a:gd name="connsiteY11" fmla="*/ 11049000 h 17868900"/>
                  <a:gd name="connsiteX12" fmla="*/ 2371271 w 7197271"/>
                  <a:gd name="connsiteY12" fmla="*/ 9575800 h 17868900"/>
                  <a:gd name="connsiteX13" fmla="*/ 2460171 w 7197271"/>
                  <a:gd name="connsiteY13" fmla="*/ 9093200 h 17868900"/>
                  <a:gd name="connsiteX14" fmla="*/ 2510971 w 7197271"/>
                  <a:gd name="connsiteY14" fmla="*/ 8420100 h 17868900"/>
                  <a:gd name="connsiteX15" fmla="*/ 2701471 w 7197271"/>
                  <a:gd name="connsiteY15" fmla="*/ 7683500 h 17868900"/>
                  <a:gd name="connsiteX16" fmla="*/ 3615871 w 7197271"/>
                  <a:gd name="connsiteY16" fmla="*/ 4038600 h 17868900"/>
                  <a:gd name="connsiteX17" fmla="*/ 3844471 w 7197271"/>
                  <a:gd name="connsiteY17" fmla="*/ 5143500 h 17868900"/>
                  <a:gd name="connsiteX18" fmla="*/ 3996871 w 7197271"/>
                  <a:gd name="connsiteY18" fmla="*/ 6972300 h 17868900"/>
                  <a:gd name="connsiteX19" fmla="*/ 4161971 w 7197271"/>
                  <a:gd name="connsiteY19" fmla="*/ 8724900 h 17868900"/>
                  <a:gd name="connsiteX20" fmla="*/ 4187371 w 7197271"/>
                  <a:gd name="connsiteY20" fmla="*/ 9982200 h 17868900"/>
                  <a:gd name="connsiteX21" fmla="*/ 4149271 w 7197271"/>
                  <a:gd name="connsiteY21" fmla="*/ 11163300 h 17868900"/>
                  <a:gd name="connsiteX22" fmla="*/ 4149271 w 7197271"/>
                  <a:gd name="connsiteY22" fmla="*/ 12801600 h 17868900"/>
                  <a:gd name="connsiteX23" fmla="*/ 4111171 w 7197271"/>
                  <a:gd name="connsiteY23" fmla="*/ 13792200 h 17868900"/>
                  <a:gd name="connsiteX24" fmla="*/ 4187371 w 7197271"/>
                  <a:gd name="connsiteY24" fmla="*/ 17792700 h 17868900"/>
                  <a:gd name="connsiteX25" fmla="*/ 6244771 w 7197271"/>
                  <a:gd name="connsiteY25" fmla="*/ 17868900 h 17868900"/>
                  <a:gd name="connsiteX26" fmla="*/ 6892471 w 7197271"/>
                  <a:gd name="connsiteY26" fmla="*/ 17754600 h 17868900"/>
                  <a:gd name="connsiteX27" fmla="*/ 6682921 w 7197271"/>
                  <a:gd name="connsiteY27" fmla="*/ 13525500 h 17868900"/>
                  <a:gd name="connsiteX28" fmla="*/ 6473371 w 7197271"/>
                  <a:gd name="connsiteY28" fmla="*/ 11410950 h 17868900"/>
                  <a:gd name="connsiteX29" fmla="*/ 6378122 w 7197271"/>
                  <a:gd name="connsiteY29" fmla="*/ 10210800 h 17868900"/>
                  <a:gd name="connsiteX30" fmla="*/ 6454321 w 7197271"/>
                  <a:gd name="connsiteY30" fmla="*/ 8820150 h 17868900"/>
                  <a:gd name="connsiteX31" fmla="*/ 6930571 w 7197271"/>
                  <a:gd name="connsiteY31" fmla="*/ 5067300 h 17868900"/>
                  <a:gd name="connsiteX32" fmla="*/ 7121071 w 7197271"/>
                  <a:gd name="connsiteY32" fmla="*/ 4038600 h 17868900"/>
                  <a:gd name="connsiteX33" fmla="*/ 7197271 w 7197271"/>
                  <a:gd name="connsiteY33" fmla="*/ 2705100 h 17868900"/>
                  <a:gd name="connsiteX34" fmla="*/ 7159171 w 7197271"/>
                  <a:gd name="connsiteY34" fmla="*/ 2019300 h 17868900"/>
                  <a:gd name="connsiteX35" fmla="*/ 6125987 w 7197271"/>
                  <a:gd name="connsiteY35" fmla="*/ 1882843 h 17868900"/>
                  <a:gd name="connsiteX36" fmla="*/ 4869780 w 7197271"/>
                  <a:gd name="connsiteY36" fmla="*/ 2011910 h 17868900"/>
                  <a:gd name="connsiteX37" fmla="*/ 4136261 w 7197271"/>
                  <a:gd name="connsiteY37" fmla="*/ 2048031 h 17868900"/>
                  <a:gd name="connsiteX38" fmla="*/ 3455851 w 7197271"/>
                  <a:gd name="connsiteY38" fmla="*/ 1661160 h 17868900"/>
                  <a:gd name="connsiteX39" fmla="*/ 3333931 w 7197271"/>
                  <a:gd name="connsiteY39" fmla="*/ 1287780 h 17868900"/>
                  <a:gd name="connsiteX40" fmla="*/ 3196771 w 7197271"/>
                  <a:gd name="connsiteY40" fmla="*/ 7620 h 17868900"/>
                  <a:gd name="connsiteX41" fmla="*/ 2815771 w 7197271"/>
                  <a:gd name="connsiteY41" fmla="*/ 0 h 17868900"/>
                  <a:gd name="connsiteX42" fmla="*/ 2328091 w 7197271"/>
                  <a:gd name="connsiteY42" fmla="*/ 1158240 h 17868900"/>
                  <a:gd name="connsiteX43" fmla="*/ 2092896 w 7197271"/>
                  <a:gd name="connsiteY43" fmla="*/ 1551004 h 17868900"/>
                  <a:gd name="connsiteX44" fmla="*/ 1809931 w 7197271"/>
                  <a:gd name="connsiteY44" fmla="*/ 1813560 h 17868900"/>
                  <a:gd name="connsiteX45" fmla="*/ 1184176 w 7197271"/>
                  <a:gd name="connsiteY45" fmla="*/ 1789713 h 17868900"/>
                  <a:gd name="connsiteX46" fmla="*/ 423091 w 7197271"/>
                  <a:gd name="connsiteY46" fmla="*/ 1623060 h 17868900"/>
                  <a:gd name="connsiteX47" fmla="*/ 461191 w 7197271"/>
                  <a:gd name="connsiteY47" fmla="*/ 1645920 h 1786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7197271" h="17868900">
                    <a:moveTo>
                      <a:pt x="453571" y="1676400"/>
                    </a:moveTo>
                    <a:lnTo>
                      <a:pt x="416459" y="2595468"/>
                    </a:lnTo>
                    <a:lnTo>
                      <a:pt x="378357" y="3810941"/>
                    </a:lnTo>
                    <a:lnTo>
                      <a:pt x="186871" y="6743700"/>
                    </a:lnTo>
                    <a:lnTo>
                      <a:pt x="97971" y="8267700"/>
                    </a:lnTo>
                    <a:cubicBezTo>
                      <a:pt x="41921" y="9105852"/>
                      <a:pt x="155121" y="9485798"/>
                      <a:pt x="167821" y="10020300"/>
                    </a:cubicBezTo>
                    <a:lnTo>
                      <a:pt x="186871" y="11004550"/>
                    </a:lnTo>
                    <a:lnTo>
                      <a:pt x="186871" y="13182600"/>
                    </a:lnTo>
                    <a:lnTo>
                      <a:pt x="0" y="17366344"/>
                    </a:lnTo>
                    <a:lnTo>
                      <a:pt x="1598385" y="17471572"/>
                    </a:lnTo>
                    <a:lnTo>
                      <a:pt x="2663371" y="17411700"/>
                    </a:lnTo>
                    <a:cubicBezTo>
                      <a:pt x="2542137" y="13805865"/>
                      <a:pt x="2739571" y="14921510"/>
                      <a:pt x="2472871" y="11049000"/>
                    </a:cubicBezTo>
                    <a:lnTo>
                      <a:pt x="2371271" y="9575800"/>
                    </a:lnTo>
                    <a:lnTo>
                      <a:pt x="2460171" y="9093200"/>
                    </a:lnTo>
                    <a:cubicBezTo>
                      <a:pt x="2472871" y="8763000"/>
                      <a:pt x="2460172" y="8804728"/>
                      <a:pt x="2510971" y="8420100"/>
                    </a:cubicBezTo>
                    <a:lnTo>
                      <a:pt x="2701471" y="7683500"/>
                    </a:lnTo>
                    <a:lnTo>
                      <a:pt x="3615871" y="4038600"/>
                    </a:lnTo>
                    <a:cubicBezTo>
                      <a:pt x="3886927" y="5122824"/>
                      <a:pt x="3684557" y="4350914"/>
                      <a:pt x="3844471" y="5143500"/>
                    </a:cubicBezTo>
                    <a:lnTo>
                      <a:pt x="3996871" y="6972300"/>
                    </a:lnTo>
                    <a:lnTo>
                      <a:pt x="4161971" y="8724900"/>
                    </a:lnTo>
                    <a:lnTo>
                      <a:pt x="4187371" y="9982200"/>
                    </a:lnTo>
                    <a:lnTo>
                      <a:pt x="4149271" y="11163300"/>
                    </a:lnTo>
                    <a:lnTo>
                      <a:pt x="4149271" y="12801600"/>
                    </a:lnTo>
                    <a:lnTo>
                      <a:pt x="4111171" y="13792200"/>
                    </a:lnTo>
                    <a:lnTo>
                      <a:pt x="4187371" y="17792700"/>
                    </a:lnTo>
                    <a:lnTo>
                      <a:pt x="6244771" y="17868900"/>
                    </a:lnTo>
                    <a:lnTo>
                      <a:pt x="6892471" y="17754600"/>
                    </a:lnTo>
                    <a:lnTo>
                      <a:pt x="6682921" y="13525500"/>
                    </a:lnTo>
                    <a:lnTo>
                      <a:pt x="6473371" y="11410950"/>
                    </a:lnTo>
                    <a:cubicBezTo>
                      <a:pt x="6441621" y="10864850"/>
                      <a:pt x="6381297" y="10642600"/>
                      <a:pt x="6378122" y="10210800"/>
                    </a:cubicBezTo>
                    <a:cubicBezTo>
                      <a:pt x="6374947" y="9779000"/>
                      <a:pt x="6333671" y="9601200"/>
                      <a:pt x="6454321" y="8820150"/>
                    </a:cubicBezTo>
                    <a:lnTo>
                      <a:pt x="6930571" y="5067300"/>
                    </a:lnTo>
                    <a:lnTo>
                      <a:pt x="7121071" y="4038600"/>
                    </a:lnTo>
                    <a:lnTo>
                      <a:pt x="7197271" y="2705100"/>
                    </a:lnTo>
                    <a:lnTo>
                      <a:pt x="7159171" y="2019300"/>
                    </a:lnTo>
                    <a:lnTo>
                      <a:pt x="6125987" y="1882843"/>
                    </a:lnTo>
                    <a:lnTo>
                      <a:pt x="4869780" y="2011910"/>
                    </a:lnTo>
                    <a:lnTo>
                      <a:pt x="4136261" y="2048031"/>
                    </a:lnTo>
                    <a:lnTo>
                      <a:pt x="3455851" y="1661160"/>
                    </a:lnTo>
                    <a:lnTo>
                      <a:pt x="3333931" y="1287780"/>
                    </a:lnTo>
                    <a:lnTo>
                      <a:pt x="3196771" y="7620"/>
                    </a:lnTo>
                    <a:lnTo>
                      <a:pt x="2815771" y="0"/>
                    </a:lnTo>
                    <a:lnTo>
                      <a:pt x="2328091" y="1158240"/>
                    </a:lnTo>
                    <a:cubicBezTo>
                      <a:pt x="2129461" y="1267056"/>
                      <a:pt x="2230186" y="1551004"/>
                      <a:pt x="2092896" y="1551004"/>
                    </a:cubicBezTo>
                    <a:cubicBezTo>
                      <a:pt x="2235025" y="1497514"/>
                      <a:pt x="1599092" y="1813560"/>
                      <a:pt x="1809931" y="1813560"/>
                    </a:cubicBezTo>
                    <a:cubicBezTo>
                      <a:pt x="1400991" y="1945640"/>
                      <a:pt x="1410236" y="1733833"/>
                      <a:pt x="1184176" y="1789713"/>
                    </a:cubicBezTo>
                    <a:lnTo>
                      <a:pt x="423091" y="1623060"/>
                    </a:lnTo>
                    <a:lnTo>
                      <a:pt x="461191" y="1645920"/>
                    </a:lnTo>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579" name="Freeform 190">
                <a:extLst>
                  <a:ext uri="{FF2B5EF4-FFF2-40B4-BE49-F238E27FC236}">
                    <a16:creationId xmlns:a16="http://schemas.microsoft.com/office/drawing/2014/main" id="{01DA3E5C-C8BF-4A8D-8D94-1501FB6ED22D}"/>
                  </a:ext>
                </a:extLst>
              </p:cNvPr>
              <p:cNvSpPr/>
              <p:nvPr/>
            </p:nvSpPr>
            <p:spPr>
              <a:xfrm>
                <a:off x="4463964" y="2613550"/>
                <a:ext cx="85427" cy="176366"/>
              </a:xfrm>
              <a:custGeom>
                <a:avLst/>
                <a:gdLst>
                  <a:gd name="connsiteX0" fmla="*/ 348343 w 449943"/>
                  <a:gd name="connsiteY0" fmla="*/ 0 h 928914"/>
                  <a:gd name="connsiteX1" fmla="*/ 0 w 449943"/>
                  <a:gd name="connsiteY1" fmla="*/ 928914 h 928914"/>
                  <a:gd name="connsiteX2" fmla="*/ 246743 w 449943"/>
                  <a:gd name="connsiteY2" fmla="*/ 914400 h 928914"/>
                  <a:gd name="connsiteX3" fmla="*/ 449943 w 449943"/>
                  <a:gd name="connsiteY3" fmla="*/ 928914 h 928914"/>
                  <a:gd name="connsiteX4" fmla="*/ 406400 w 449943"/>
                  <a:gd name="connsiteY4" fmla="*/ 275771 h 928914"/>
                  <a:gd name="connsiteX5" fmla="*/ 348343 w 449943"/>
                  <a:gd name="connsiteY5" fmla="*/ 0 h 92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9943" h="928914">
                    <a:moveTo>
                      <a:pt x="348343" y="0"/>
                    </a:moveTo>
                    <a:lnTo>
                      <a:pt x="0" y="928914"/>
                    </a:lnTo>
                    <a:lnTo>
                      <a:pt x="246743" y="914400"/>
                    </a:lnTo>
                    <a:lnTo>
                      <a:pt x="449943" y="928914"/>
                    </a:lnTo>
                    <a:lnTo>
                      <a:pt x="406400" y="275771"/>
                    </a:lnTo>
                    <a:lnTo>
                      <a:pt x="348343"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580" name="Freeform 191">
                <a:extLst>
                  <a:ext uri="{FF2B5EF4-FFF2-40B4-BE49-F238E27FC236}">
                    <a16:creationId xmlns:a16="http://schemas.microsoft.com/office/drawing/2014/main" id="{ED0DD2E3-4EE9-46BD-9D9A-323A61C7C65F}"/>
                  </a:ext>
                </a:extLst>
              </p:cNvPr>
              <p:cNvSpPr/>
              <p:nvPr/>
            </p:nvSpPr>
            <p:spPr>
              <a:xfrm>
                <a:off x="4153945" y="1438578"/>
                <a:ext cx="89217" cy="431615"/>
              </a:xfrm>
              <a:custGeom>
                <a:avLst/>
                <a:gdLst>
                  <a:gd name="connsiteX0" fmla="*/ 25400 w 469900"/>
                  <a:gd name="connsiteY0" fmla="*/ 0 h 2273300"/>
                  <a:gd name="connsiteX1" fmla="*/ 50800 w 469900"/>
                  <a:gd name="connsiteY1" fmla="*/ 342900 h 2273300"/>
                  <a:gd name="connsiteX2" fmla="*/ 215900 w 469900"/>
                  <a:gd name="connsiteY2" fmla="*/ 812800 h 2273300"/>
                  <a:gd name="connsiteX3" fmla="*/ 190500 w 469900"/>
                  <a:gd name="connsiteY3" fmla="*/ 1270000 h 2273300"/>
                  <a:gd name="connsiteX4" fmla="*/ 228600 w 469900"/>
                  <a:gd name="connsiteY4" fmla="*/ 1498600 h 2273300"/>
                  <a:gd name="connsiteX5" fmla="*/ 381000 w 469900"/>
                  <a:gd name="connsiteY5" fmla="*/ 1727200 h 2273300"/>
                  <a:gd name="connsiteX6" fmla="*/ 419100 w 469900"/>
                  <a:gd name="connsiteY6" fmla="*/ 2019300 h 2273300"/>
                  <a:gd name="connsiteX7" fmla="*/ 469900 w 469900"/>
                  <a:gd name="connsiteY7" fmla="*/ 2273300 h 2273300"/>
                  <a:gd name="connsiteX8" fmla="*/ 254000 w 469900"/>
                  <a:gd name="connsiteY8" fmla="*/ 2273300 h 2273300"/>
                  <a:gd name="connsiteX9" fmla="*/ 254000 w 469900"/>
                  <a:gd name="connsiteY9" fmla="*/ 2159000 h 2273300"/>
                  <a:gd name="connsiteX10" fmla="*/ 88900 w 469900"/>
                  <a:gd name="connsiteY10" fmla="*/ 1879600 h 2273300"/>
                  <a:gd name="connsiteX11" fmla="*/ 0 w 469900"/>
                  <a:gd name="connsiteY11" fmla="*/ 1714500 h 2273300"/>
                  <a:gd name="connsiteX12" fmla="*/ 88900 w 469900"/>
                  <a:gd name="connsiteY12" fmla="*/ 1790700 h 2273300"/>
                  <a:gd name="connsiteX13" fmla="*/ 152400 w 469900"/>
                  <a:gd name="connsiteY13" fmla="*/ 1854200 h 2273300"/>
                  <a:gd name="connsiteX14" fmla="*/ 114300 w 469900"/>
                  <a:gd name="connsiteY14" fmla="*/ 1612900 h 2273300"/>
                  <a:gd name="connsiteX15" fmla="*/ 127000 w 469900"/>
                  <a:gd name="connsiteY15" fmla="*/ 1346200 h 2273300"/>
                  <a:gd name="connsiteX16" fmla="*/ 114300 w 469900"/>
                  <a:gd name="connsiteY16" fmla="*/ 1092200 h 2273300"/>
                  <a:gd name="connsiteX17" fmla="*/ 190500 w 469900"/>
                  <a:gd name="connsiteY17" fmla="*/ 825500 h 2273300"/>
                  <a:gd name="connsiteX18" fmla="*/ 88900 w 469900"/>
                  <a:gd name="connsiteY18" fmla="*/ 495300 h 2273300"/>
                  <a:gd name="connsiteX19" fmla="*/ 12700 w 469900"/>
                  <a:gd name="connsiteY19" fmla="*/ 254000 h 2273300"/>
                  <a:gd name="connsiteX20" fmla="*/ 25400 w 469900"/>
                  <a:gd name="connsiteY20" fmla="*/ 0 h 2273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69900" h="2273300">
                    <a:moveTo>
                      <a:pt x="25400" y="0"/>
                    </a:moveTo>
                    <a:lnTo>
                      <a:pt x="50800" y="342900"/>
                    </a:lnTo>
                    <a:lnTo>
                      <a:pt x="215900" y="812800"/>
                    </a:lnTo>
                    <a:cubicBezTo>
                      <a:pt x="189732" y="1244577"/>
                      <a:pt x="190500" y="1091944"/>
                      <a:pt x="190500" y="1270000"/>
                    </a:cubicBezTo>
                    <a:lnTo>
                      <a:pt x="228600" y="1498600"/>
                    </a:lnTo>
                    <a:cubicBezTo>
                      <a:pt x="386080" y="1708573"/>
                      <a:pt x="381000" y="1617133"/>
                      <a:pt x="381000" y="1727200"/>
                    </a:cubicBezTo>
                    <a:cubicBezTo>
                      <a:pt x="420297" y="2002282"/>
                      <a:pt x="419100" y="1904097"/>
                      <a:pt x="419100" y="2019300"/>
                    </a:cubicBezTo>
                    <a:lnTo>
                      <a:pt x="469900" y="2273300"/>
                    </a:lnTo>
                    <a:lnTo>
                      <a:pt x="254000" y="2273300"/>
                    </a:lnTo>
                    <a:lnTo>
                      <a:pt x="254000" y="2159000"/>
                    </a:lnTo>
                    <a:lnTo>
                      <a:pt x="88900" y="1879600"/>
                    </a:lnTo>
                    <a:lnTo>
                      <a:pt x="0" y="1714500"/>
                    </a:lnTo>
                    <a:cubicBezTo>
                      <a:pt x="92345" y="1780461"/>
                      <a:pt x="88900" y="1741583"/>
                      <a:pt x="88900" y="1790700"/>
                    </a:cubicBezTo>
                    <a:lnTo>
                      <a:pt x="152400" y="1854200"/>
                    </a:lnTo>
                    <a:lnTo>
                      <a:pt x="114300" y="1612900"/>
                    </a:lnTo>
                    <a:lnTo>
                      <a:pt x="127000" y="1346200"/>
                    </a:lnTo>
                    <a:lnTo>
                      <a:pt x="114300" y="1092200"/>
                    </a:lnTo>
                    <a:lnTo>
                      <a:pt x="190500" y="825500"/>
                    </a:lnTo>
                    <a:lnTo>
                      <a:pt x="88900" y="495300"/>
                    </a:lnTo>
                    <a:lnTo>
                      <a:pt x="12700" y="254000"/>
                    </a:lnTo>
                    <a:lnTo>
                      <a:pt x="254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581" name="Freeform 192">
                <a:extLst>
                  <a:ext uri="{FF2B5EF4-FFF2-40B4-BE49-F238E27FC236}">
                    <a16:creationId xmlns:a16="http://schemas.microsoft.com/office/drawing/2014/main" id="{7333E04D-AC73-4A53-8FCE-C680155FD6BF}"/>
                  </a:ext>
                </a:extLst>
              </p:cNvPr>
              <p:cNvSpPr/>
              <p:nvPr/>
            </p:nvSpPr>
            <p:spPr>
              <a:xfrm>
                <a:off x="5123271" y="1983173"/>
                <a:ext cx="130313" cy="470544"/>
              </a:xfrm>
              <a:custGeom>
                <a:avLst/>
                <a:gdLst>
                  <a:gd name="connsiteX0" fmla="*/ 0 w 686352"/>
                  <a:gd name="connsiteY0" fmla="*/ 2364037 h 2478337"/>
                  <a:gd name="connsiteX1" fmla="*/ 25400 w 686352"/>
                  <a:gd name="connsiteY1" fmla="*/ 2008437 h 2478337"/>
                  <a:gd name="connsiteX2" fmla="*/ 0 w 686352"/>
                  <a:gd name="connsiteY2" fmla="*/ 1665537 h 2478337"/>
                  <a:gd name="connsiteX3" fmla="*/ 38100 w 686352"/>
                  <a:gd name="connsiteY3" fmla="*/ 1322637 h 2478337"/>
                  <a:gd name="connsiteX4" fmla="*/ 228600 w 686352"/>
                  <a:gd name="connsiteY4" fmla="*/ 865437 h 2478337"/>
                  <a:gd name="connsiteX5" fmla="*/ 355600 w 686352"/>
                  <a:gd name="connsiteY5" fmla="*/ 497137 h 2478337"/>
                  <a:gd name="connsiteX6" fmla="*/ 508000 w 686352"/>
                  <a:gd name="connsiteY6" fmla="*/ 141537 h 2478337"/>
                  <a:gd name="connsiteX7" fmla="*/ 571500 w 686352"/>
                  <a:gd name="connsiteY7" fmla="*/ 52637 h 2478337"/>
                  <a:gd name="connsiteX8" fmla="*/ 533400 w 686352"/>
                  <a:gd name="connsiteY8" fmla="*/ 217737 h 2478337"/>
                  <a:gd name="connsiteX9" fmla="*/ 546100 w 686352"/>
                  <a:gd name="connsiteY9" fmla="*/ 801937 h 2478337"/>
                  <a:gd name="connsiteX10" fmla="*/ 673100 w 686352"/>
                  <a:gd name="connsiteY10" fmla="*/ 1195637 h 2478337"/>
                  <a:gd name="connsiteX11" fmla="*/ 685800 w 686352"/>
                  <a:gd name="connsiteY11" fmla="*/ 1525837 h 2478337"/>
                  <a:gd name="connsiteX12" fmla="*/ 685800 w 686352"/>
                  <a:gd name="connsiteY12" fmla="*/ 1754437 h 2478337"/>
                  <a:gd name="connsiteX13" fmla="*/ 647700 w 686352"/>
                  <a:gd name="connsiteY13" fmla="*/ 2211637 h 2478337"/>
                  <a:gd name="connsiteX14" fmla="*/ 635000 w 686352"/>
                  <a:gd name="connsiteY14" fmla="*/ 2364037 h 2478337"/>
                  <a:gd name="connsiteX15" fmla="*/ 546100 w 686352"/>
                  <a:gd name="connsiteY15" fmla="*/ 2402137 h 2478337"/>
                  <a:gd name="connsiteX16" fmla="*/ 482600 w 686352"/>
                  <a:gd name="connsiteY16" fmla="*/ 2478337 h 2478337"/>
                  <a:gd name="connsiteX17" fmla="*/ 342900 w 686352"/>
                  <a:gd name="connsiteY17" fmla="*/ 2414837 h 2478337"/>
                  <a:gd name="connsiteX18" fmla="*/ 114300 w 686352"/>
                  <a:gd name="connsiteY18" fmla="*/ 2376737 h 2478337"/>
                  <a:gd name="connsiteX19" fmla="*/ 0 w 686352"/>
                  <a:gd name="connsiteY19" fmla="*/ 2364037 h 247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86352" h="2478337">
                    <a:moveTo>
                      <a:pt x="0" y="2364037"/>
                    </a:moveTo>
                    <a:lnTo>
                      <a:pt x="25400" y="2008437"/>
                    </a:lnTo>
                    <a:lnTo>
                      <a:pt x="0" y="1665537"/>
                    </a:lnTo>
                    <a:lnTo>
                      <a:pt x="38100" y="1322637"/>
                    </a:lnTo>
                    <a:lnTo>
                      <a:pt x="228600" y="865437"/>
                    </a:lnTo>
                    <a:lnTo>
                      <a:pt x="355600" y="497137"/>
                    </a:lnTo>
                    <a:lnTo>
                      <a:pt x="508000" y="141537"/>
                    </a:lnTo>
                    <a:cubicBezTo>
                      <a:pt x="573744" y="36347"/>
                      <a:pt x="571500" y="0"/>
                      <a:pt x="571500" y="52637"/>
                    </a:cubicBezTo>
                    <a:cubicBezTo>
                      <a:pt x="532373" y="209144"/>
                      <a:pt x="533400" y="152674"/>
                      <a:pt x="533400" y="217737"/>
                    </a:cubicBezTo>
                    <a:lnTo>
                      <a:pt x="546100" y="801937"/>
                    </a:lnTo>
                    <a:lnTo>
                      <a:pt x="673100" y="1195637"/>
                    </a:lnTo>
                    <a:cubicBezTo>
                      <a:pt x="686352" y="1500425"/>
                      <a:pt x="685800" y="1390278"/>
                      <a:pt x="685800" y="1525837"/>
                    </a:cubicBezTo>
                    <a:lnTo>
                      <a:pt x="685800" y="1754437"/>
                    </a:lnTo>
                    <a:lnTo>
                      <a:pt x="647700" y="2211637"/>
                    </a:lnTo>
                    <a:lnTo>
                      <a:pt x="635000" y="2364037"/>
                    </a:lnTo>
                    <a:lnTo>
                      <a:pt x="546100" y="2402137"/>
                    </a:lnTo>
                    <a:lnTo>
                      <a:pt x="482600" y="2478337"/>
                    </a:lnTo>
                    <a:cubicBezTo>
                      <a:pt x="351814" y="2412944"/>
                      <a:pt x="402930" y="2414837"/>
                      <a:pt x="342900" y="2414837"/>
                    </a:cubicBezTo>
                    <a:lnTo>
                      <a:pt x="114300" y="2376737"/>
                    </a:lnTo>
                    <a:lnTo>
                      <a:pt x="0" y="236403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582" name="Freeform 193">
                <a:extLst>
                  <a:ext uri="{FF2B5EF4-FFF2-40B4-BE49-F238E27FC236}">
                    <a16:creationId xmlns:a16="http://schemas.microsoft.com/office/drawing/2014/main" id="{1079D80A-2F03-44FA-AFC7-44F22D4935F3}"/>
                  </a:ext>
                </a:extLst>
              </p:cNvPr>
              <p:cNvSpPr/>
              <p:nvPr/>
            </p:nvSpPr>
            <p:spPr>
              <a:xfrm>
                <a:off x="4339268" y="1323790"/>
                <a:ext cx="190528" cy="825559"/>
              </a:xfrm>
              <a:custGeom>
                <a:avLst/>
                <a:gdLst>
                  <a:gd name="connsiteX0" fmla="*/ 116114 w 1003501"/>
                  <a:gd name="connsiteY0" fmla="*/ 194517 h 4226588"/>
                  <a:gd name="connsiteX1" fmla="*/ 0 w 1003501"/>
                  <a:gd name="connsiteY1" fmla="*/ 470288 h 4226588"/>
                  <a:gd name="connsiteX2" fmla="*/ 14514 w 1003501"/>
                  <a:gd name="connsiteY2" fmla="*/ 1254059 h 4226588"/>
                  <a:gd name="connsiteX3" fmla="*/ 159657 w 1003501"/>
                  <a:gd name="connsiteY3" fmla="*/ 2255545 h 4226588"/>
                  <a:gd name="connsiteX4" fmla="*/ 493485 w 1003501"/>
                  <a:gd name="connsiteY4" fmla="*/ 3097374 h 4226588"/>
                  <a:gd name="connsiteX5" fmla="*/ 841828 w 1003501"/>
                  <a:gd name="connsiteY5" fmla="*/ 3750517 h 4226588"/>
                  <a:gd name="connsiteX6" fmla="*/ 1001485 w 1003501"/>
                  <a:gd name="connsiteY6" fmla="*/ 4084345 h 4226588"/>
                  <a:gd name="connsiteX7" fmla="*/ 870857 w 1003501"/>
                  <a:gd name="connsiteY7" fmla="*/ 3445717 h 4226588"/>
                  <a:gd name="connsiteX8" fmla="*/ 667657 w 1003501"/>
                  <a:gd name="connsiteY8" fmla="*/ 2502288 h 4226588"/>
                  <a:gd name="connsiteX9" fmla="*/ 362857 w 1003501"/>
                  <a:gd name="connsiteY9" fmla="*/ 1965259 h 4226588"/>
                  <a:gd name="connsiteX10" fmla="*/ 696685 w 1003501"/>
                  <a:gd name="connsiteY10" fmla="*/ 2371659 h 4226588"/>
                  <a:gd name="connsiteX11" fmla="*/ 740228 w 1003501"/>
                  <a:gd name="connsiteY11" fmla="*/ 2487774 h 4226588"/>
                  <a:gd name="connsiteX12" fmla="*/ 711200 w 1003501"/>
                  <a:gd name="connsiteY12" fmla="*/ 2124917 h 4226588"/>
                  <a:gd name="connsiteX13" fmla="*/ 740228 w 1003501"/>
                  <a:gd name="connsiteY13" fmla="*/ 1718517 h 4226588"/>
                  <a:gd name="connsiteX14" fmla="*/ 537028 w 1003501"/>
                  <a:gd name="connsiteY14" fmla="*/ 1239545 h 4226588"/>
                  <a:gd name="connsiteX15" fmla="*/ 551543 w 1003501"/>
                  <a:gd name="connsiteY15" fmla="*/ 1094402 h 4226588"/>
                  <a:gd name="connsiteX16" fmla="*/ 624114 w 1003501"/>
                  <a:gd name="connsiteY16" fmla="*/ 1210517 h 4226588"/>
                  <a:gd name="connsiteX17" fmla="*/ 769257 w 1003501"/>
                  <a:gd name="connsiteY17" fmla="*/ 1500802 h 4226588"/>
                  <a:gd name="connsiteX18" fmla="*/ 914400 w 1003501"/>
                  <a:gd name="connsiteY18" fmla="*/ 1689488 h 4226588"/>
                  <a:gd name="connsiteX19" fmla="*/ 841828 w 1003501"/>
                  <a:gd name="connsiteY19" fmla="*/ 934745 h 4226588"/>
                  <a:gd name="connsiteX20" fmla="*/ 508000 w 1003501"/>
                  <a:gd name="connsiteY20" fmla="*/ 470288 h 4226588"/>
                  <a:gd name="connsiteX21" fmla="*/ 116114 w 1003501"/>
                  <a:gd name="connsiteY21" fmla="*/ 194517 h 4226588"/>
                  <a:gd name="connsiteX0" fmla="*/ 116114 w 1003501"/>
                  <a:gd name="connsiteY0" fmla="*/ 194517 h 4226588"/>
                  <a:gd name="connsiteX1" fmla="*/ 0 w 1003501"/>
                  <a:gd name="connsiteY1" fmla="*/ 470288 h 4226588"/>
                  <a:gd name="connsiteX2" fmla="*/ 14514 w 1003501"/>
                  <a:gd name="connsiteY2" fmla="*/ 1254059 h 4226588"/>
                  <a:gd name="connsiteX3" fmla="*/ 159657 w 1003501"/>
                  <a:gd name="connsiteY3" fmla="*/ 2255545 h 4226588"/>
                  <a:gd name="connsiteX4" fmla="*/ 493485 w 1003501"/>
                  <a:gd name="connsiteY4" fmla="*/ 3097374 h 4226588"/>
                  <a:gd name="connsiteX5" fmla="*/ 841828 w 1003501"/>
                  <a:gd name="connsiteY5" fmla="*/ 3750517 h 4226588"/>
                  <a:gd name="connsiteX6" fmla="*/ 1001485 w 1003501"/>
                  <a:gd name="connsiteY6" fmla="*/ 4084345 h 4226588"/>
                  <a:gd name="connsiteX7" fmla="*/ 870857 w 1003501"/>
                  <a:gd name="connsiteY7" fmla="*/ 3445717 h 4226588"/>
                  <a:gd name="connsiteX8" fmla="*/ 667657 w 1003501"/>
                  <a:gd name="connsiteY8" fmla="*/ 2502288 h 4226588"/>
                  <a:gd name="connsiteX9" fmla="*/ 362857 w 1003501"/>
                  <a:gd name="connsiteY9" fmla="*/ 1965259 h 4226588"/>
                  <a:gd name="connsiteX10" fmla="*/ 696685 w 1003501"/>
                  <a:gd name="connsiteY10" fmla="*/ 2371659 h 4226588"/>
                  <a:gd name="connsiteX11" fmla="*/ 740228 w 1003501"/>
                  <a:gd name="connsiteY11" fmla="*/ 2259174 h 4226588"/>
                  <a:gd name="connsiteX12" fmla="*/ 711200 w 1003501"/>
                  <a:gd name="connsiteY12" fmla="*/ 2124917 h 4226588"/>
                  <a:gd name="connsiteX13" fmla="*/ 740228 w 1003501"/>
                  <a:gd name="connsiteY13" fmla="*/ 1718517 h 4226588"/>
                  <a:gd name="connsiteX14" fmla="*/ 537028 w 1003501"/>
                  <a:gd name="connsiteY14" fmla="*/ 1239545 h 4226588"/>
                  <a:gd name="connsiteX15" fmla="*/ 551543 w 1003501"/>
                  <a:gd name="connsiteY15" fmla="*/ 1094402 h 4226588"/>
                  <a:gd name="connsiteX16" fmla="*/ 624114 w 1003501"/>
                  <a:gd name="connsiteY16" fmla="*/ 1210517 h 4226588"/>
                  <a:gd name="connsiteX17" fmla="*/ 769257 w 1003501"/>
                  <a:gd name="connsiteY17" fmla="*/ 1500802 h 4226588"/>
                  <a:gd name="connsiteX18" fmla="*/ 914400 w 1003501"/>
                  <a:gd name="connsiteY18" fmla="*/ 1689488 h 4226588"/>
                  <a:gd name="connsiteX19" fmla="*/ 841828 w 1003501"/>
                  <a:gd name="connsiteY19" fmla="*/ 934745 h 4226588"/>
                  <a:gd name="connsiteX20" fmla="*/ 508000 w 1003501"/>
                  <a:gd name="connsiteY20" fmla="*/ 470288 h 4226588"/>
                  <a:gd name="connsiteX21" fmla="*/ 116114 w 1003501"/>
                  <a:gd name="connsiteY21" fmla="*/ 194517 h 4226588"/>
                  <a:gd name="connsiteX0" fmla="*/ 116114 w 1003501"/>
                  <a:gd name="connsiteY0" fmla="*/ 194517 h 4226588"/>
                  <a:gd name="connsiteX1" fmla="*/ 0 w 1003501"/>
                  <a:gd name="connsiteY1" fmla="*/ 470288 h 4226588"/>
                  <a:gd name="connsiteX2" fmla="*/ 14514 w 1003501"/>
                  <a:gd name="connsiteY2" fmla="*/ 1254059 h 4226588"/>
                  <a:gd name="connsiteX3" fmla="*/ 159657 w 1003501"/>
                  <a:gd name="connsiteY3" fmla="*/ 2255545 h 4226588"/>
                  <a:gd name="connsiteX4" fmla="*/ 493485 w 1003501"/>
                  <a:gd name="connsiteY4" fmla="*/ 3097374 h 4226588"/>
                  <a:gd name="connsiteX5" fmla="*/ 841828 w 1003501"/>
                  <a:gd name="connsiteY5" fmla="*/ 3750517 h 4226588"/>
                  <a:gd name="connsiteX6" fmla="*/ 1001485 w 1003501"/>
                  <a:gd name="connsiteY6" fmla="*/ 4084345 h 4226588"/>
                  <a:gd name="connsiteX7" fmla="*/ 870857 w 1003501"/>
                  <a:gd name="connsiteY7" fmla="*/ 3445717 h 4226588"/>
                  <a:gd name="connsiteX8" fmla="*/ 667657 w 1003501"/>
                  <a:gd name="connsiteY8" fmla="*/ 2502288 h 4226588"/>
                  <a:gd name="connsiteX9" fmla="*/ 667657 w 1003501"/>
                  <a:gd name="connsiteY9" fmla="*/ 2422459 h 4226588"/>
                  <a:gd name="connsiteX10" fmla="*/ 696685 w 1003501"/>
                  <a:gd name="connsiteY10" fmla="*/ 2371659 h 4226588"/>
                  <a:gd name="connsiteX11" fmla="*/ 740228 w 1003501"/>
                  <a:gd name="connsiteY11" fmla="*/ 2259174 h 4226588"/>
                  <a:gd name="connsiteX12" fmla="*/ 711200 w 1003501"/>
                  <a:gd name="connsiteY12" fmla="*/ 2124917 h 4226588"/>
                  <a:gd name="connsiteX13" fmla="*/ 740228 w 1003501"/>
                  <a:gd name="connsiteY13" fmla="*/ 1718517 h 4226588"/>
                  <a:gd name="connsiteX14" fmla="*/ 537028 w 1003501"/>
                  <a:gd name="connsiteY14" fmla="*/ 1239545 h 4226588"/>
                  <a:gd name="connsiteX15" fmla="*/ 551543 w 1003501"/>
                  <a:gd name="connsiteY15" fmla="*/ 1094402 h 4226588"/>
                  <a:gd name="connsiteX16" fmla="*/ 624114 w 1003501"/>
                  <a:gd name="connsiteY16" fmla="*/ 1210517 h 4226588"/>
                  <a:gd name="connsiteX17" fmla="*/ 769257 w 1003501"/>
                  <a:gd name="connsiteY17" fmla="*/ 1500802 h 4226588"/>
                  <a:gd name="connsiteX18" fmla="*/ 914400 w 1003501"/>
                  <a:gd name="connsiteY18" fmla="*/ 1689488 h 4226588"/>
                  <a:gd name="connsiteX19" fmla="*/ 841828 w 1003501"/>
                  <a:gd name="connsiteY19" fmla="*/ 934745 h 4226588"/>
                  <a:gd name="connsiteX20" fmla="*/ 508000 w 1003501"/>
                  <a:gd name="connsiteY20" fmla="*/ 470288 h 4226588"/>
                  <a:gd name="connsiteX21" fmla="*/ 116114 w 1003501"/>
                  <a:gd name="connsiteY21" fmla="*/ 194517 h 4226588"/>
                  <a:gd name="connsiteX0" fmla="*/ 116114 w 1003501"/>
                  <a:gd name="connsiteY0" fmla="*/ 194517 h 4226588"/>
                  <a:gd name="connsiteX1" fmla="*/ 0 w 1003501"/>
                  <a:gd name="connsiteY1" fmla="*/ 470288 h 4226588"/>
                  <a:gd name="connsiteX2" fmla="*/ 14514 w 1003501"/>
                  <a:gd name="connsiteY2" fmla="*/ 1254059 h 4226588"/>
                  <a:gd name="connsiteX3" fmla="*/ 159657 w 1003501"/>
                  <a:gd name="connsiteY3" fmla="*/ 2255545 h 4226588"/>
                  <a:gd name="connsiteX4" fmla="*/ 493485 w 1003501"/>
                  <a:gd name="connsiteY4" fmla="*/ 3097374 h 4226588"/>
                  <a:gd name="connsiteX5" fmla="*/ 841828 w 1003501"/>
                  <a:gd name="connsiteY5" fmla="*/ 3750517 h 4226588"/>
                  <a:gd name="connsiteX6" fmla="*/ 1001485 w 1003501"/>
                  <a:gd name="connsiteY6" fmla="*/ 4084345 h 4226588"/>
                  <a:gd name="connsiteX7" fmla="*/ 870857 w 1003501"/>
                  <a:gd name="connsiteY7" fmla="*/ 3445717 h 4226588"/>
                  <a:gd name="connsiteX8" fmla="*/ 667657 w 1003501"/>
                  <a:gd name="connsiteY8" fmla="*/ 2502288 h 4226588"/>
                  <a:gd name="connsiteX9" fmla="*/ 667657 w 1003501"/>
                  <a:gd name="connsiteY9" fmla="*/ 2422459 h 4226588"/>
                  <a:gd name="connsiteX10" fmla="*/ 696685 w 1003501"/>
                  <a:gd name="connsiteY10" fmla="*/ 2371659 h 4226588"/>
                  <a:gd name="connsiteX11" fmla="*/ 740228 w 1003501"/>
                  <a:gd name="connsiteY11" fmla="*/ 2259174 h 4226588"/>
                  <a:gd name="connsiteX12" fmla="*/ 711200 w 1003501"/>
                  <a:gd name="connsiteY12" fmla="*/ 2124917 h 4226588"/>
                  <a:gd name="connsiteX13" fmla="*/ 740228 w 1003501"/>
                  <a:gd name="connsiteY13" fmla="*/ 1718517 h 4226588"/>
                  <a:gd name="connsiteX14" fmla="*/ 537028 w 1003501"/>
                  <a:gd name="connsiteY14" fmla="*/ 1239545 h 4226588"/>
                  <a:gd name="connsiteX15" fmla="*/ 551543 w 1003501"/>
                  <a:gd name="connsiteY15" fmla="*/ 1094402 h 4226588"/>
                  <a:gd name="connsiteX16" fmla="*/ 624114 w 1003501"/>
                  <a:gd name="connsiteY16" fmla="*/ 1210517 h 4226588"/>
                  <a:gd name="connsiteX17" fmla="*/ 769257 w 1003501"/>
                  <a:gd name="connsiteY17" fmla="*/ 1500802 h 4226588"/>
                  <a:gd name="connsiteX18" fmla="*/ 914400 w 1003501"/>
                  <a:gd name="connsiteY18" fmla="*/ 1689488 h 4226588"/>
                  <a:gd name="connsiteX19" fmla="*/ 841828 w 1003501"/>
                  <a:gd name="connsiteY19" fmla="*/ 553745 h 4226588"/>
                  <a:gd name="connsiteX20" fmla="*/ 508000 w 1003501"/>
                  <a:gd name="connsiteY20" fmla="*/ 470288 h 4226588"/>
                  <a:gd name="connsiteX21" fmla="*/ 116114 w 1003501"/>
                  <a:gd name="connsiteY21" fmla="*/ 194517 h 4226588"/>
                  <a:gd name="connsiteX0" fmla="*/ 116114 w 1003501"/>
                  <a:gd name="connsiteY0" fmla="*/ 194517 h 4226588"/>
                  <a:gd name="connsiteX1" fmla="*/ 0 w 1003501"/>
                  <a:gd name="connsiteY1" fmla="*/ 470288 h 4226588"/>
                  <a:gd name="connsiteX2" fmla="*/ 14514 w 1003501"/>
                  <a:gd name="connsiteY2" fmla="*/ 1254059 h 4226588"/>
                  <a:gd name="connsiteX3" fmla="*/ 159657 w 1003501"/>
                  <a:gd name="connsiteY3" fmla="*/ 2255545 h 4226588"/>
                  <a:gd name="connsiteX4" fmla="*/ 493485 w 1003501"/>
                  <a:gd name="connsiteY4" fmla="*/ 3097374 h 4226588"/>
                  <a:gd name="connsiteX5" fmla="*/ 841828 w 1003501"/>
                  <a:gd name="connsiteY5" fmla="*/ 3750517 h 4226588"/>
                  <a:gd name="connsiteX6" fmla="*/ 1001485 w 1003501"/>
                  <a:gd name="connsiteY6" fmla="*/ 4084345 h 4226588"/>
                  <a:gd name="connsiteX7" fmla="*/ 870857 w 1003501"/>
                  <a:gd name="connsiteY7" fmla="*/ 3445717 h 4226588"/>
                  <a:gd name="connsiteX8" fmla="*/ 667657 w 1003501"/>
                  <a:gd name="connsiteY8" fmla="*/ 2502288 h 4226588"/>
                  <a:gd name="connsiteX9" fmla="*/ 667657 w 1003501"/>
                  <a:gd name="connsiteY9" fmla="*/ 2422459 h 4226588"/>
                  <a:gd name="connsiteX10" fmla="*/ 696685 w 1003501"/>
                  <a:gd name="connsiteY10" fmla="*/ 2371659 h 4226588"/>
                  <a:gd name="connsiteX11" fmla="*/ 740228 w 1003501"/>
                  <a:gd name="connsiteY11" fmla="*/ 2259174 h 4226588"/>
                  <a:gd name="connsiteX12" fmla="*/ 711200 w 1003501"/>
                  <a:gd name="connsiteY12" fmla="*/ 2124917 h 4226588"/>
                  <a:gd name="connsiteX13" fmla="*/ 740228 w 1003501"/>
                  <a:gd name="connsiteY13" fmla="*/ 1718517 h 4226588"/>
                  <a:gd name="connsiteX14" fmla="*/ 537028 w 1003501"/>
                  <a:gd name="connsiteY14" fmla="*/ 1239545 h 4226588"/>
                  <a:gd name="connsiteX15" fmla="*/ 551543 w 1003501"/>
                  <a:gd name="connsiteY15" fmla="*/ 1094402 h 4226588"/>
                  <a:gd name="connsiteX16" fmla="*/ 624114 w 1003501"/>
                  <a:gd name="connsiteY16" fmla="*/ 1210517 h 4226588"/>
                  <a:gd name="connsiteX17" fmla="*/ 769257 w 1003501"/>
                  <a:gd name="connsiteY17" fmla="*/ 1500802 h 4226588"/>
                  <a:gd name="connsiteX18" fmla="*/ 914400 w 1003501"/>
                  <a:gd name="connsiteY18" fmla="*/ 1689488 h 4226588"/>
                  <a:gd name="connsiteX19" fmla="*/ 841828 w 1003501"/>
                  <a:gd name="connsiteY19" fmla="*/ 553745 h 4226588"/>
                  <a:gd name="connsiteX20" fmla="*/ 508000 w 1003501"/>
                  <a:gd name="connsiteY20" fmla="*/ 317888 h 4226588"/>
                  <a:gd name="connsiteX21" fmla="*/ 116114 w 1003501"/>
                  <a:gd name="connsiteY21" fmla="*/ 194517 h 4226588"/>
                  <a:gd name="connsiteX0" fmla="*/ 116114 w 1003501"/>
                  <a:gd name="connsiteY0" fmla="*/ 316113 h 4348184"/>
                  <a:gd name="connsiteX1" fmla="*/ 0 w 1003501"/>
                  <a:gd name="connsiteY1" fmla="*/ 591884 h 4348184"/>
                  <a:gd name="connsiteX2" fmla="*/ 14514 w 1003501"/>
                  <a:gd name="connsiteY2" fmla="*/ 1375655 h 4348184"/>
                  <a:gd name="connsiteX3" fmla="*/ 159657 w 1003501"/>
                  <a:gd name="connsiteY3" fmla="*/ 2377141 h 4348184"/>
                  <a:gd name="connsiteX4" fmla="*/ 493485 w 1003501"/>
                  <a:gd name="connsiteY4" fmla="*/ 3218970 h 4348184"/>
                  <a:gd name="connsiteX5" fmla="*/ 841828 w 1003501"/>
                  <a:gd name="connsiteY5" fmla="*/ 3872113 h 4348184"/>
                  <a:gd name="connsiteX6" fmla="*/ 1001485 w 1003501"/>
                  <a:gd name="connsiteY6" fmla="*/ 4205941 h 4348184"/>
                  <a:gd name="connsiteX7" fmla="*/ 870857 w 1003501"/>
                  <a:gd name="connsiteY7" fmla="*/ 3567313 h 4348184"/>
                  <a:gd name="connsiteX8" fmla="*/ 667657 w 1003501"/>
                  <a:gd name="connsiteY8" fmla="*/ 2623884 h 4348184"/>
                  <a:gd name="connsiteX9" fmla="*/ 667657 w 1003501"/>
                  <a:gd name="connsiteY9" fmla="*/ 2544055 h 4348184"/>
                  <a:gd name="connsiteX10" fmla="*/ 696685 w 1003501"/>
                  <a:gd name="connsiteY10" fmla="*/ 2493255 h 4348184"/>
                  <a:gd name="connsiteX11" fmla="*/ 740228 w 1003501"/>
                  <a:gd name="connsiteY11" fmla="*/ 2380770 h 4348184"/>
                  <a:gd name="connsiteX12" fmla="*/ 711200 w 1003501"/>
                  <a:gd name="connsiteY12" fmla="*/ 2246513 h 4348184"/>
                  <a:gd name="connsiteX13" fmla="*/ 740228 w 1003501"/>
                  <a:gd name="connsiteY13" fmla="*/ 1840113 h 4348184"/>
                  <a:gd name="connsiteX14" fmla="*/ 537028 w 1003501"/>
                  <a:gd name="connsiteY14" fmla="*/ 1361141 h 4348184"/>
                  <a:gd name="connsiteX15" fmla="*/ 551543 w 1003501"/>
                  <a:gd name="connsiteY15" fmla="*/ 1215998 h 4348184"/>
                  <a:gd name="connsiteX16" fmla="*/ 624114 w 1003501"/>
                  <a:gd name="connsiteY16" fmla="*/ 1332113 h 4348184"/>
                  <a:gd name="connsiteX17" fmla="*/ 769257 w 1003501"/>
                  <a:gd name="connsiteY17" fmla="*/ 1622398 h 4348184"/>
                  <a:gd name="connsiteX18" fmla="*/ 914400 w 1003501"/>
                  <a:gd name="connsiteY18" fmla="*/ 1811084 h 4348184"/>
                  <a:gd name="connsiteX19" fmla="*/ 841828 w 1003501"/>
                  <a:gd name="connsiteY19" fmla="*/ 675341 h 4348184"/>
                  <a:gd name="connsiteX20" fmla="*/ 508000 w 1003501"/>
                  <a:gd name="connsiteY20" fmla="*/ 439484 h 4348184"/>
                  <a:gd name="connsiteX21" fmla="*/ 116114 w 1003501"/>
                  <a:gd name="connsiteY21" fmla="*/ 316113 h 4348184"/>
                  <a:gd name="connsiteX0" fmla="*/ 116114 w 1003501"/>
                  <a:gd name="connsiteY0" fmla="*/ 412999 h 4445070"/>
                  <a:gd name="connsiteX1" fmla="*/ 0 w 1003501"/>
                  <a:gd name="connsiteY1" fmla="*/ 688770 h 4445070"/>
                  <a:gd name="connsiteX2" fmla="*/ 14514 w 1003501"/>
                  <a:gd name="connsiteY2" fmla="*/ 1472541 h 4445070"/>
                  <a:gd name="connsiteX3" fmla="*/ 159657 w 1003501"/>
                  <a:gd name="connsiteY3" fmla="*/ 2474027 h 4445070"/>
                  <a:gd name="connsiteX4" fmla="*/ 493485 w 1003501"/>
                  <a:gd name="connsiteY4" fmla="*/ 3315856 h 4445070"/>
                  <a:gd name="connsiteX5" fmla="*/ 841828 w 1003501"/>
                  <a:gd name="connsiteY5" fmla="*/ 3968999 h 4445070"/>
                  <a:gd name="connsiteX6" fmla="*/ 1001485 w 1003501"/>
                  <a:gd name="connsiteY6" fmla="*/ 4302827 h 4445070"/>
                  <a:gd name="connsiteX7" fmla="*/ 870857 w 1003501"/>
                  <a:gd name="connsiteY7" fmla="*/ 3664199 h 4445070"/>
                  <a:gd name="connsiteX8" fmla="*/ 667657 w 1003501"/>
                  <a:gd name="connsiteY8" fmla="*/ 2720770 h 4445070"/>
                  <a:gd name="connsiteX9" fmla="*/ 667657 w 1003501"/>
                  <a:gd name="connsiteY9" fmla="*/ 2640941 h 4445070"/>
                  <a:gd name="connsiteX10" fmla="*/ 696685 w 1003501"/>
                  <a:gd name="connsiteY10" fmla="*/ 2590141 h 4445070"/>
                  <a:gd name="connsiteX11" fmla="*/ 740228 w 1003501"/>
                  <a:gd name="connsiteY11" fmla="*/ 2477656 h 4445070"/>
                  <a:gd name="connsiteX12" fmla="*/ 711200 w 1003501"/>
                  <a:gd name="connsiteY12" fmla="*/ 2343399 h 4445070"/>
                  <a:gd name="connsiteX13" fmla="*/ 740228 w 1003501"/>
                  <a:gd name="connsiteY13" fmla="*/ 1936999 h 4445070"/>
                  <a:gd name="connsiteX14" fmla="*/ 537028 w 1003501"/>
                  <a:gd name="connsiteY14" fmla="*/ 1458027 h 4445070"/>
                  <a:gd name="connsiteX15" fmla="*/ 551543 w 1003501"/>
                  <a:gd name="connsiteY15" fmla="*/ 1312884 h 4445070"/>
                  <a:gd name="connsiteX16" fmla="*/ 624114 w 1003501"/>
                  <a:gd name="connsiteY16" fmla="*/ 1428999 h 4445070"/>
                  <a:gd name="connsiteX17" fmla="*/ 769257 w 1003501"/>
                  <a:gd name="connsiteY17" fmla="*/ 1719284 h 4445070"/>
                  <a:gd name="connsiteX18" fmla="*/ 914400 w 1003501"/>
                  <a:gd name="connsiteY18" fmla="*/ 1907970 h 4445070"/>
                  <a:gd name="connsiteX19" fmla="*/ 841828 w 1003501"/>
                  <a:gd name="connsiteY19" fmla="*/ 772227 h 4445070"/>
                  <a:gd name="connsiteX20" fmla="*/ 508000 w 1003501"/>
                  <a:gd name="connsiteY20" fmla="*/ 307770 h 4445070"/>
                  <a:gd name="connsiteX21" fmla="*/ 116114 w 1003501"/>
                  <a:gd name="connsiteY21" fmla="*/ 412999 h 4445070"/>
                  <a:gd name="connsiteX0" fmla="*/ 116114 w 1003501"/>
                  <a:gd name="connsiteY0" fmla="*/ 316113 h 4348184"/>
                  <a:gd name="connsiteX1" fmla="*/ 0 w 1003501"/>
                  <a:gd name="connsiteY1" fmla="*/ 591884 h 4348184"/>
                  <a:gd name="connsiteX2" fmla="*/ 14514 w 1003501"/>
                  <a:gd name="connsiteY2" fmla="*/ 1375655 h 4348184"/>
                  <a:gd name="connsiteX3" fmla="*/ 159657 w 1003501"/>
                  <a:gd name="connsiteY3" fmla="*/ 2377141 h 4348184"/>
                  <a:gd name="connsiteX4" fmla="*/ 493485 w 1003501"/>
                  <a:gd name="connsiteY4" fmla="*/ 3218970 h 4348184"/>
                  <a:gd name="connsiteX5" fmla="*/ 841828 w 1003501"/>
                  <a:gd name="connsiteY5" fmla="*/ 3872113 h 4348184"/>
                  <a:gd name="connsiteX6" fmla="*/ 1001485 w 1003501"/>
                  <a:gd name="connsiteY6" fmla="*/ 4205941 h 4348184"/>
                  <a:gd name="connsiteX7" fmla="*/ 870857 w 1003501"/>
                  <a:gd name="connsiteY7" fmla="*/ 3567313 h 4348184"/>
                  <a:gd name="connsiteX8" fmla="*/ 667657 w 1003501"/>
                  <a:gd name="connsiteY8" fmla="*/ 2623884 h 4348184"/>
                  <a:gd name="connsiteX9" fmla="*/ 667657 w 1003501"/>
                  <a:gd name="connsiteY9" fmla="*/ 2544055 h 4348184"/>
                  <a:gd name="connsiteX10" fmla="*/ 696685 w 1003501"/>
                  <a:gd name="connsiteY10" fmla="*/ 2493255 h 4348184"/>
                  <a:gd name="connsiteX11" fmla="*/ 740228 w 1003501"/>
                  <a:gd name="connsiteY11" fmla="*/ 2380770 h 4348184"/>
                  <a:gd name="connsiteX12" fmla="*/ 711200 w 1003501"/>
                  <a:gd name="connsiteY12" fmla="*/ 2246513 h 4348184"/>
                  <a:gd name="connsiteX13" fmla="*/ 740228 w 1003501"/>
                  <a:gd name="connsiteY13" fmla="*/ 1840113 h 4348184"/>
                  <a:gd name="connsiteX14" fmla="*/ 537028 w 1003501"/>
                  <a:gd name="connsiteY14" fmla="*/ 1361141 h 4348184"/>
                  <a:gd name="connsiteX15" fmla="*/ 551543 w 1003501"/>
                  <a:gd name="connsiteY15" fmla="*/ 1215998 h 4348184"/>
                  <a:gd name="connsiteX16" fmla="*/ 624114 w 1003501"/>
                  <a:gd name="connsiteY16" fmla="*/ 1332113 h 4348184"/>
                  <a:gd name="connsiteX17" fmla="*/ 769257 w 1003501"/>
                  <a:gd name="connsiteY17" fmla="*/ 1622398 h 4348184"/>
                  <a:gd name="connsiteX18" fmla="*/ 914400 w 1003501"/>
                  <a:gd name="connsiteY18" fmla="*/ 1811084 h 4348184"/>
                  <a:gd name="connsiteX19" fmla="*/ 841828 w 1003501"/>
                  <a:gd name="connsiteY19" fmla="*/ 675341 h 4348184"/>
                  <a:gd name="connsiteX20" fmla="*/ 508000 w 1003501"/>
                  <a:gd name="connsiteY20" fmla="*/ 210884 h 4348184"/>
                  <a:gd name="connsiteX21" fmla="*/ 116114 w 1003501"/>
                  <a:gd name="connsiteY21" fmla="*/ 316113 h 4348184"/>
                  <a:gd name="connsiteX0" fmla="*/ 116114 w 1003501"/>
                  <a:gd name="connsiteY0" fmla="*/ 316113 h 4348184"/>
                  <a:gd name="connsiteX1" fmla="*/ 0 w 1003501"/>
                  <a:gd name="connsiteY1" fmla="*/ 591884 h 4348184"/>
                  <a:gd name="connsiteX2" fmla="*/ 14514 w 1003501"/>
                  <a:gd name="connsiteY2" fmla="*/ 1375655 h 4348184"/>
                  <a:gd name="connsiteX3" fmla="*/ 159657 w 1003501"/>
                  <a:gd name="connsiteY3" fmla="*/ 2377141 h 4348184"/>
                  <a:gd name="connsiteX4" fmla="*/ 493485 w 1003501"/>
                  <a:gd name="connsiteY4" fmla="*/ 3218970 h 4348184"/>
                  <a:gd name="connsiteX5" fmla="*/ 841828 w 1003501"/>
                  <a:gd name="connsiteY5" fmla="*/ 3872113 h 4348184"/>
                  <a:gd name="connsiteX6" fmla="*/ 1001485 w 1003501"/>
                  <a:gd name="connsiteY6" fmla="*/ 4205941 h 4348184"/>
                  <a:gd name="connsiteX7" fmla="*/ 870857 w 1003501"/>
                  <a:gd name="connsiteY7" fmla="*/ 3567313 h 4348184"/>
                  <a:gd name="connsiteX8" fmla="*/ 667657 w 1003501"/>
                  <a:gd name="connsiteY8" fmla="*/ 2623884 h 4348184"/>
                  <a:gd name="connsiteX9" fmla="*/ 667657 w 1003501"/>
                  <a:gd name="connsiteY9" fmla="*/ 2544055 h 4348184"/>
                  <a:gd name="connsiteX10" fmla="*/ 696685 w 1003501"/>
                  <a:gd name="connsiteY10" fmla="*/ 2493255 h 4348184"/>
                  <a:gd name="connsiteX11" fmla="*/ 740228 w 1003501"/>
                  <a:gd name="connsiteY11" fmla="*/ 2380770 h 4348184"/>
                  <a:gd name="connsiteX12" fmla="*/ 711200 w 1003501"/>
                  <a:gd name="connsiteY12" fmla="*/ 2246513 h 4348184"/>
                  <a:gd name="connsiteX13" fmla="*/ 740228 w 1003501"/>
                  <a:gd name="connsiteY13" fmla="*/ 1840113 h 4348184"/>
                  <a:gd name="connsiteX14" fmla="*/ 537028 w 1003501"/>
                  <a:gd name="connsiteY14" fmla="*/ 1361141 h 4348184"/>
                  <a:gd name="connsiteX15" fmla="*/ 551543 w 1003501"/>
                  <a:gd name="connsiteY15" fmla="*/ 1215998 h 4348184"/>
                  <a:gd name="connsiteX16" fmla="*/ 624114 w 1003501"/>
                  <a:gd name="connsiteY16" fmla="*/ 1332113 h 4348184"/>
                  <a:gd name="connsiteX17" fmla="*/ 769257 w 1003501"/>
                  <a:gd name="connsiteY17" fmla="*/ 1622398 h 4348184"/>
                  <a:gd name="connsiteX18" fmla="*/ 914400 w 1003501"/>
                  <a:gd name="connsiteY18" fmla="*/ 1811084 h 4348184"/>
                  <a:gd name="connsiteX19" fmla="*/ 841828 w 1003501"/>
                  <a:gd name="connsiteY19" fmla="*/ 675341 h 4348184"/>
                  <a:gd name="connsiteX20" fmla="*/ 508000 w 1003501"/>
                  <a:gd name="connsiteY20" fmla="*/ 210884 h 4348184"/>
                  <a:gd name="connsiteX21" fmla="*/ 116114 w 1003501"/>
                  <a:gd name="connsiteY21" fmla="*/ 316113 h 4348184"/>
                  <a:gd name="connsiteX0" fmla="*/ 116114 w 1003501"/>
                  <a:gd name="connsiteY0" fmla="*/ 316113 h 4348184"/>
                  <a:gd name="connsiteX1" fmla="*/ 0 w 1003501"/>
                  <a:gd name="connsiteY1" fmla="*/ 591884 h 4348184"/>
                  <a:gd name="connsiteX2" fmla="*/ 14514 w 1003501"/>
                  <a:gd name="connsiteY2" fmla="*/ 1375655 h 4348184"/>
                  <a:gd name="connsiteX3" fmla="*/ 159657 w 1003501"/>
                  <a:gd name="connsiteY3" fmla="*/ 2377141 h 4348184"/>
                  <a:gd name="connsiteX4" fmla="*/ 493485 w 1003501"/>
                  <a:gd name="connsiteY4" fmla="*/ 3218970 h 4348184"/>
                  <a:gd name="connsiteX5" fmla="*/ 841828 w 1003501"/>
                  <a:gd name="connsiteY5" fmla="*/ 3872113 h 4348184"/>
                  <a:gd name="connsiteX6" fmla="*/ 1001485 w 1003501"/>
                  <a:gd name="connsiteY6" fmla="*/ 4205941 h 4348184"/>
                  <a:gd name="connsiteX7" fmla="*/ 870857 w 1003501"/>
                  <a:gd name="connsiteY7" fmla="*/ 3567313 h 4348184"/>
                  <a:gd name="connsiteX8" fmla="*/ 667657 w 1003501"/>
                  <a:gd name="connsiteY8" fmla="*/ 2623884 h 4348184"/>
                  <a:gd name="connsiteX9" fmla="*/ 667657 w 1003501"/>
                  <a:gd name="connsiteY9" fmla="*/ 2544055 h 4348184"/>
                  <a:gd name="connsiteX10" fmla="*/ 696685 w 1003501"/>
                  <a:gd name="connsiteY10" fmla="*/ 2493255 h 4348184"/>
                  <a:gd name="connsiteX11" fmla="*/ 740228 w 1003501"/>
                  <a:gd name="connsiteY11" fmla="*/ 2380770 h 4348184"/>
                  <a:gd name="connsiteX12" fmla="*/ 711200 w 1003501"/>
                  <a:gd name="connsiteY12" fmla="*/ 2246513 h 4348184"/>
                  <a:gd name="connsiteX13" fmla="*/ 740228 w 1003501"/>
                  <a:gd name="connsiteY13" fmla="*/ 1840113 h 4348184"/>
                  <a:gd name="connsiteX14" fmla="*/ 537028 w 1003501"/>
                  <a:gd name="connsiteY14" fmla="*/ 1361141 h 4348184"/>
                  <a:gd name="connsiteX15" fmla="*/ 551543 w 1003501"/>
                  <a:gd name="connsiteY15" fmla="*/ 1215998 h 4348184"/>
                  <a:gd name="connsiteX16" fmla="*/ 624114 w 1003501"/>
                  <a:gd name="connsiteY16" fmla="*/ 1332113 h 4348184"/>
                  <a:gd name="connsiteX17" fmla="*/ 769257 w 1003501"/>
                  <a:gd name="connsiteY17" fmla="*/ 1622398 h 4348184"/>
                  <a:gd name="connsiteX18" fmla="*/ 914400 w 1003501"/>
                  <a:gd name="connsiteY18" fmla="*/ 1811084 h 4348184"/>
                  <a:gd name="connsiteX19" fmla="*/ 841828 w 1003501"/>
                  <a:gd name="connsiteY19" fmla="*/ 675341 h 4348184"/>
                  <a:gd name="connsiteX20" fmla="*/ 890544 w 1003501"/>
                  <a:gd name="connsiteY20" fmla="*/ 196833 h 4348184"/>
                  <a:gd name="connsiteX21" fmla="*/ 508000 w 1003501"/>
                  <a:gd name="connsiteY21" fmla="*/ 210884 h 4348184"/>
                  <a:gd name="connsiteX22" fmla="*/ 116114 w 1003501"/>
                  <a:gd name="connsiteY22" fmla="*/ 316113 h 4348184"/>
                  <a:gd name="connsiteX0" fmla="*/ 116114 w 1003501"/>
                  <a:gd name="connsiteY0" fmla="*/ 316113 h 4348184"/>
                  <a:gd name="connsiteX1" fmla="*/ 0 w 1003501"/>
                  <a:gd name="connsiteY1" fmla="*/ 591884 h 4348184"/>
                  <a:gd name="connsiteX2" fmla="*/ 14514 w 1003501"/>
                  <a:gd name="connsiteY2" fmla="*/ 1375655 h 4348184"/>
                  <a:gd name="connsiteX3" fmla="*/ 159657 w 1003501"/>
                  <a:gd name="connsiteY3" fmla="*/ 2377141 h 4348184"/>
                  <a:gd name="connsiteX4" fmla="*/ 493485 w 1003501"/>
                  <a:gd name="connsiteY4" fmla="*/ 3218970 h 4348184"/>
                  <a:gd name="connsiteX5" fmla="*/ 841828 w 1003501"/>
                  <a:gd name="connsiteY5" fmla="*/ 3872113 h 4348184"/>
                  <a:gd name="connsiteX6" fmla="*/ 1001485 w 1003501"/>
                  <a:gd name="connsiteY6" fmla="*/ 4205941 h 4348184"/>
                  <a:gd name="connsiteX7" fmla="*/ 870857 w 1003501"/>
                  <a:gd name="connsiteY7" fmla="*/ 3567313 h 4348184"/>
                  <a:gd name="connsiteX8" fmla="*/ 667657 w 1003501"/>
                  <a:gd name="connsiteY8" fmla="*/ 2623884 h 4348184"/>
                  <a:gd name="connsiteX9" fmla="*/ 667657 w 1003501"/>
                  <a:gd name="connsiteY9" fmla="*/ 2544055 h 4348184"/>
                  <a:gd name="connsiteX10" fmla="*/ 696685 w 1003501"/>
                  <a:gd name="connsiteY10" fmla="*/ 2493255 h 4348184"/>
                  <a:gd name="connsiteX11" fmla="*/ 740228 w 1003501"/>
                  <a:gd name="connsiteY11" fmla="*/ 2380770 h 4348184"/>
                  <a:gd name="connsiteX12" fmla="*/ 711200 w 1003501"/>
                  <a:gd name="connsiteY12" fmla="*/ 2246513 h 4348184"/>
                  <a:gd name="connsiteX13" fmla="*/ 740228 w 1003501"/>
                  <a:gd name="connsiteY13" fmla="*/ 1840113 h 4348184"/>
                  <a:gd name="connsiteX14" fmla="*/ 537028 w 1003501"/>
                  <a:gd name="connsiteY14" fmla="*/ 1361141 h 4348184"/>
                  <a:gd name="connsiteX15" fmla="*/ 551543 w 1003501"/>
                  <a:gd name="connsiteY15" fmla="*/ 1215998 h 4348184"/>
                  <a:gd name="connsiteX16" fmla="*/ 624114 w 1003501"/>
                  <a:gd name="connsiteY16" fmla="*/ 1332113 h 4348184"/>
                  <a:gd name="connsiteX17" fmla="*/ 769257 w 1003501"/>
                  <a:gd name="connsiteY17" fmla="*/ 1622398 h 4348184"/>
                  <a:gd name="connsiteX18" fmla="*/ 914400 w 1003501"/>
                  <a:gd name="connsiteY18" fmla="*/ 1811084 h 4348184"/>
                  <a:gd name="connsiteX19" fmla="*/ 841828 w 1003501"/>
                  <a:gd name="connsiteY19" fmla="*/ 675341 h 4348184"/>
                  <a:gd name="connsiteX20" fmla="*/ 890544 w 1003501"/>
                  <a:gd name="connsiteY20" fmla="*/ 196833 h 4348184"/>
                  <a:gd name="connsiteX21" fmla="*/ 508000 w 1003501"/>
                  <a:gd name="connsiteY21" fmla="*/ 363284 h 4348184"/>
                  <a:gd name="connsiteX22" fmla="*/ 116114 w 1003501"/>
                  <a:gd name="connsiteY22" fmla="*/ 316113 h 4348184"/>
                  <a:gd name="connsiteX0" fmla="*/ 116114 w 1003501"/>
                  <a:gd name="connsiteY0" fmla="*/ 316113 h 4348184"/>
                  <a:gd name="connsiteX1" fmla="*/ 0 w 1003501"/>
                  <a:gd name="connsiteY1" fmla="*/ 591884 h 4348184"/>
                  <a:gd name="connsiteX2" fmla="*/ 14514 w 1003501"/>
                  <a:gd name="connsiteY2" fmla="*/ 1375655 h 4348184"/>
                  <a:gd name="connsiteX3" fmla="*/ 159657 w 1003501"/>
                  <a:gd name="connsiteY3" fmla="*/ 2377141 h 4348184"/>
                  <a:gd name="connsiteX4" fmla="*/ 493485 w 1003501"/>
                  <a:gd name="connsiteY4" fmla="*/ 3218970 h 4348184"/>
                  <a:gd name="connsiteX5" fmla="*/ 841828 w 1003501"/>
                  <a:gd name="connsiteY5" fmla="*/ 3872113 h 4348184"/>
                  <a:gd name="connsiteX6" fmla="*/ 1001485 w 1003501"/>
                  <a:gd name="connsiteY6" fmla="*/ 4205941 h 4348184"/>
                  <a:gd name="connsiteX7" fmla="*/ 870857 w 1003501"/>
                  <a:gd name="connsiteY7" fmla="*/ 3567313 h 4348184"/>
                  <a:gd name="connsiteX8" fmla="*/ 667657 w 1003501"/>
                  <a:gd name="connsiteY8" fmla="*/ 2623884 h 4348184"/>
                  <a:gd name="connsiteX9" fmla="*/ 667657 w 1003501"/>
                  <a:gd name="connsiteY9" fmla="*/ 2544055 h 4348184"/>
                  <a:gd name="connsiteX10" fmla="*/ 696685 w 1003501"/>
                  <a:gd name="connsiteY10" fmla="*/ 2493255 h 4348184"/>
                  <a:gd name="connsiteX11" fmla="*/ 740228 w 1003501"/>
                  <a:gd name="connsiteY11" fmla="*/ 2380770 h 4348184"/>
                  <a:gd name="connsiteX12" fmla="*/ 711200 w 1003501"/>
                  <a:gd name="connsiteY12" fmla="*/ 2246513 h 4348184"/>
                  <a:gd name="connsiteX13" fmla="*/ 740228 w 1003501"/>
                  <a:gd name="connsiteY13" fmla="*/ 1840113 h 4348184"/>
                  <a:gd name="connsiteX14" fmla="*/ 537028 w 1003501"/>
                  <a:gd name="connsiteY14" fmla="*/ 1361141 h 4348184"/>
                  <a:gd name="connsiteX15" fmla="*/ 551543 w 1003501"/>
                  <a:gd name="connsiteY15" fmla="*/ 1215998 h 4348184"/>
                  <a:gd name="connsiteX16" fmla="*/ 624114 w 1003501"/>
                  <a:gd name="connsiteY16" fmla="*/ 1332113 h 4348184"/>
                  <a:gd name="connsiteX17" fmla="*/ 769257 w 1003501"/>
                  <a:gd name="connsiteY17" fmla="*/ 1622398 h 4348184"/>
                  <a:gd name="connsiteX18" fmla="*/ 914400 w 1003501"/>
                  <a:gd name="connsiteY18" fmla="*/ 1811084 h 4348184"/>
                  <a:gd name="connsiteX19" fmla="*/ 841828 w 1003501"/>
                  <a:gd name="connsiteY19" fmla="*/ 675341 h 4348184"/>
                  <a:gd name="connsiteX20" fmla="*/ 890544 w 1003501"/>
                  <a:gd name="connsiteY20" fmla="*/ 196833 h 4348184"/>
                  <a:gd name="connsiteX21" fmla="*/ 705394 w 1003501"/>
                  <a:gd name="connsiteY21" fmla="*/ 116904 h 4348184"/>
                  <a:gd name="connsiteX22" fmla="*/ 508000 w 1003501"/>
                  <a:gd name="connsiteY22" fmla="*/ 363284 h 4348184"/>
                  <a:gd name="connsiteX23" fmla="*/ 116114 w 1003501"/>
                  <a:gd name="connsiteY23" fmla="*/ 316113 h 4348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03501" h="4348184">
                    <a:moveTo>
                      <a:pt x="116114" y="316113"/>
                    </a:moveTo>
                    <a:lnTo>
                      <a:pt x="0" y="591884"/>
                    </a:lnTo>
                    <a:lnTo>
                      <a:pt x="14514" y="1375655"/>
                    </a:lnTo>
                    <a:lnTo>
                      <a:pt x="159657" y="2377141"/>
                    </a:lnTo>
                    <a:lnTo>
                      <a:pt x="493485" y="3218970"/>
                    </a:lnTo>
                    <a:lnTo>
                      <a:pt x="841828" y="3872113"/>
                    </a:lnTo>
                    <a:cubicBezTo>
                      <a:pt x="1003501" y="4224853"/>
                      <a:pt x="1001485" y="4348184"/>
                      <a:pt x="1001485" y="4205941"/>
                    </a:cubicBezTo>
                    <a:lnTo>
                      <a:pt x="870857" y="3567313"/>
                    </a:lnTo>
                    <a:lnTo>
                      <a:pt x="667657" y="2623884"/>
                    </a:lnTo>
                    <a:lnTo>
                      <a:pt x="667657" y="2544055"/>
                    </a:lnTo>
                    <a:lnTo>
                      <a:pt x="696685" y="2493255"/>
                    </a:lnTo>
                    <a:lnTo>
                      <a:pt x="740228" y="2380770"/>
                    </a:lnTo>
                    <a:lnTo>
                      <a:pt x="711200" y="2246513"/>
                    </a:lnTo>
                    <a:lnTo>
                      <a:pt x="740228" y="1840113"/>
                    </a:lnTo>
                    <a:lnTo>
                      <a:pt x="537028" y="1361141"/>
                    </a:lnTo>
                    <a:lnTo>
                      <a:pt x="551543" y="1215998"/>
                    </a:lnTo>
                    <a:lnTo>
                      <a:pt x="624114" y="1332113"/>
                    </a:lnTo>
                    <a:cubicBezTo>
                      <a:pt x="771510" y="1612165"/>
                      <a:pt x="769257" y="1504006"/>
                      <a:pt x="769257" y="1622398"/>
                    </a:cubicBezTo>
                    <a:cubicBezTo>
                      <a:pt x="917212" y="1829535"/>
                      <a:pt x="914400" y="1908836"/>
                      <a:pt x="914400" y="1811084"/>
                    </a:cubicBezTo>
                    <a:lnTo>
                      <a:pt x="841828" y="675341"/>
                    </a:lnTo>
                    <a:lnTo>
                      <a:pt x="890544" y="196833"/>
                    </a:lnTo>
                    <a:lnTo>
                      <a:pt x="705394" y="116904"/>
                    </a:lnTo>
                    <a:lnTo>
                      <a:pt x="508000" y="363284"/>
                    </a:lnTo>
                    <a:cubicBezTo>
                      <a:pt x="191738" y="363556"/>
                      <a:pt x="52884" y="0"/>
                      <a:pt x="116114" y="31611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583" name="Freeform 194">
                <a:extLst>
                  <a:ext uri="{FF2B5EF4-FFF2-40B4-BE49-F238E27FC236}">
                    <a16:creationId xmlns:a16="http://schemas.microsoft.com/office/drawing/2014/main" id="{282B992D-027C-4773-BBB6-5A04A2D6833B}"/>
                  </a:ext>
                </a:extLst>
              </p:cNvPr>
              <p:cNvSpPr/>
              <p:nvPr/>
            </p:nvSpPr>
            <p:spPr>
              <a:xfrm>
                <a:off x="4472834" y="2959479"/>
                <a:ext cx="292968" cy="593170"/>
              </a:xfrm>
              <a:custGeom>
                <a:avLst/>
                <a:gdLst>
                  <a:gd name="connsiteX0" fmla="*/ 742950 w 1543050"/>
                  <a:gd name="connsiteY0" fmla="*/ 3114675 h 3314700"/>
                  <a:gd name="connsiteX1" fmla="*/ 400050 w 1543050"/>
                  <a:gd name="connsiteY1" fmla="*/ 2257425 h 3314700"/>
                  <a:gd name="connsiteX2" fmla="*/ 314325 w 1543050"/>
                  <a:gd name="connsiteY2" fmla="*/ 914400 h 3314700"/>
                  <a:gd name="connsiteX3" fmla="*/ 314325 w 1543050"/>
                  <a:gd name="connsiteY3" fmla="*/ 0 h 3314700"/>
                  <a:gd name="connsiteX4" fmla="*/ 371475 w 1543050"/>
                  <a:gd name="connsiteY4" fmla="*/ 1143000 h 3314700"/>
                  <a:gd name="connsiteX5" fmla="*/ 485775 w 1543050"/>
                  <a:gd name="connsiteY5" fmla="*/ 2257425 h 3314700"/>
                  <a:gd name="connsiteX6" fmla="*/ 800100 w 1543050"/>
                  <a:gd name="connsiteY6" fmla="*/ 3200400 h 3314700"/>
                  <a:gd name="connsiteX7" fmla="*/ 1028700 w 1543050"/>
                  <a:gd name="connsiteY7" fmla="*/ 2800350 h 3314700"/>
                  <a:gd name="connsiteX8" fmla="*/ 1543050 w 1543050"/>
                  <a:gd name="connsiteY8" fmla="*/ 2343150 h 3314700"/>
                  <a:gd name="connsiteX9" fmla="*/ 1143000 w 1543050"/>
                  <a:gd name="connsiteY9" fmla="*/ 2800350 h 3314700"/>
                  <a:gd name="connsiteX10" fmla="*/ 771525 w 1543050"/>
                  <a:gd name="connsiteY10" fmla="*/ 3228975 h 3314700"/>
                  <a:gd name="connsiteX11" fmla="*/ 1143000 w 1543050"/>
                  <a:gd name="connsiteY11" fmla="*/ 3114675 h 3314700"/>
                  <a:gd name="connsiteX12" fmla="*/ 742950 w 1543050"/>
                  <a:gd name="connsiteY12" fmla="*/ 3314700 h 3314700"/>
                  <a:gd name="connsiteX13" fmla="*/ 228600 w 1543050"/>
                  <a:gd name="connsiteY13" fmla="*/ 2971800 h 3314700"/>
                  <a:gd name="connsiteX14" fmla="*/ 0 w 1543050"/>
                  <a:gd name="connsiteY14" fmla="*/ 2628900 h 3314700"/>
                  <a:gd name="connsiteX15" fmla="*/ 342900 w 1543050"/>
                  <a:gd name="connsiteY15" fmla="*/ 3000375 h 3314700"/>
                  <a:gd name="connsiteX16" fmla="*/ 800100 w 1543050"/>
                  <a:gd name="connsiteY16" fmla="*/ 3286125 h 3314700"/>
                  <a:gd name="connsiteX0" fmla="*/ 742950 w 1543050"/>
                  <a:gd name="connsiteY0" fmla="*/ 3114675 h 3314700"/>
                  <a:gd name="connsiteX1" fmla="*/ 400050 w 1543050"/>
                  <a:gd name="connsiteY1" fmla="*/ 2257425 h 3314700"/>
                  <a:gd name="connsiteX2" fmla="*/ 314325 w 1543050"/>
                  <a:gd name="connsiteY2" fmla="*/ 914400 h 3314700"/>
                  <a:gd name="connsiteX3" fmla="*/ 314325 w 1543050"/>
                  <a:gd name="connsiteY3" fmla="*/ 0 h 3314700"/>
                  <a:gd name="connsiteX4" fmla="*/ 371475 w 1543050"/>
                  <a:gd name="connsiteY4" fmla="*/ 1143000 h 3314700"/>
                  <a:gd name="connsiteX5" fmla="*/ 485775 w 1543050"/>
                  <a:gd name="connsiteY5" fmla="*/ 2257425 h 3314700"/>
                  <a:gd name="connsiteX6" fmla="*/ 800100 w 1543050"/>
                  <a:gd name="connsiteY6" fmla="*/ 3200400 h 3314700"/>
                  <a:gd name="connsiteX7" fmla="*/ 1028700 w 1543050"/>
                  <a:gd name="connsiteY7" fmla="*/ 2800350 h 3314700"/>
                  <a:gd name="connsiteX8" fmla="*/ 1543050 w 1543050"/>
                  <a:gd name="connsiteY8" fmla="*/ 2343150 h 3314700"/>
                  <a:gd name="connsiteX9" fmla="*/ 1143000 w 1543050"/>
                  <a:gd name="connsiteY9" fmla="*/ 2800350 h 3314700"/>
                  <a:gd name="connsiteX10" fmla="*/ 771525 w 1543050"/>
                  <a:gd name="connsiteY10" fmla="*/ 3152775 h 3314700"/>
                  <a:gd name="connsiteX11" fmla="*/ 1143000 w 1543050"/>
                  <a:gd name="connsiteY11" fmla="*/ 3114675 h 3314700"/>
                  <a:gd name="connsiteX12" fmla="*/ 742950 w 1543050"/>
                  <a:gd name="connsiteY12" fmla="*/ 3314700 h 3314700"/>
                  <a:gd name="connsiteX13" fmla="*/ 228600 w 1543050"/>
                  <a:gd name="connsiteY13" fmla="*/ 2971800 h 3314700"/>
                  <a:gd name="connsiteX14" fmla="*/ 0 w 1543050"/>
                  <a:gd name="connsiteY14" fmla="*/ 2628900 h 3314700"/>
                  <a:gd name="connsiteX15" fmla="*/ 342900 w 1543050"/>
                  <a:gd name="connsiteY15" fmla="*/ 3000375 h 3314700"/>
                  <a:gd name="connsiteX16" fmla="*/ 800100 w 1543050"/>
                  <a:gd name="connsiteY16" fmla="*/ 3286125 h 3314700"/>
                  <a:gd name="connsiteX0" fmla="*/ 742950 w 1543050"/>
                  <a:gd name="connsiteY0" fmla="*/ 3114675 h 3314700"/>
                  <a:gd name="connsiteX1" fmla="*/ 400050 w 1543050"/>
                  <a:gd name="connsiteY1" fmla="*/ 2257425 h 3314700"/>
                  <a:gd name="connsiteX2" fmla="*/ 314325 w 1543050"/>
                  <a:gd name="connsiteY2" fmla="*/ 914400 h 3314700"/>
                  <a:gd name="connsiteX3" fmla="*/ 314325 w 1543050"/>
                  <a:gd name="connsiteY3" fmla="*/ 0 h 3314700"/>
                  <a:gd name="connsiteX4" fmla="*/ 371475 w 1543050"/>
                  <a:gd name="connsiteY4" fmla="*/ 1143000 h 3314700"/>
                  <a:gd name="connsiteX5" fmla="*/ 485775 w 1543050"/>
                  <a:gd name="connsiteY5" fmla="*/ 2257425 h 3314700"/>
                  <a:gd name="connsiteX6" fmla="*/ 800100 w 1543050"/>
                  <a:gd name="connsiteY6" fmla="*/ 3200400 h 3314700"/>
                  <a:gd name="connsiteX7" fmla="*/ 1028700 w 1543050"/>
                  <a:gd name="connsiteY7" fmla="*/ 2800350 h 3314700"/>
                  <a:gd name="connsiteX8" fmla="*/ 1543050 w 1543050"/>
                  <a:gd name="connsiteY8" fmla="*/ 2343150 h 3314700"/>
                  <a:gd name="connsiteX9" fmla="*/ 1143000 w 1543050"/>
                  <a:gd name="connsiteY9" fmla="*/ 2800350 h 3314700"/>
                  <a:gd name="connsiteX10" fmla="*/ 771525 w 1543050"/>
                  <a:gd name="connsiteY10" fmla="*/ 3152775 h 3314700"/>
                  <a:gd name="connsiteX11" fmla="*/ 1143000 w 1543050"/>
                  <a:gd name="connsiteY11" fmla="*/ 3114675 h 3314700"/>
                  <a:gd name="connsiteX12" fmla="*/ 742950 w 1543050"/>
                  <a:gd name="connsiteY12" fmla="*/ 3314700 h 3314700"/>
                  <a:gd name="connsiteX13" fmla="*/ 228600 w 1543050"/>
                  <a:gd name="connsiteY13" fmla="*/ 2971800 h 3314700"/>
                  <a:gd name="connsiteX14" fmla="*/ 0 w 1543050"/>
                  <a:gd name="connsiteY14" fmla="*/ 2628900 h 3314700"/>
                  <a:gd name="connsiteX15" fmla="*/ 342900 w 1543050"/>
                  <a:gd name="connsiteY15" fmla="*/ 3000375 h 3314700"/>
                  <a:gd name="connsiteX16" fmla="*/ 723900 w 1543050"/>
                  <a:gd name="connsiteY16" fmla="*/ 3133725 h 3314700"/>
                  <a:gd name="connsiteX0" fmla="*/ 742950 w 1543050"/>
                  <a:gd name="connsiteY0" fmla="*/ 3114675 h 3200400"/>
                  <a:gd name="connsiteX1" fmla="*/ 400050 w 1543050"/>
                  <a:gd name="connsiteY1" fmla="*/ 2257425 h 3200400"/>
                  <a:gd name="connsiteX2" fmla="*/ 314325 w 1543050"/>
                  <a:gd name="connsiteY2" fmla="*/ 914400 h 3200400"/>
                  <a:gd name="connsiteX3" fmla="*/ 314325 w 1543050"/>
                  <a:gd name="connsiteY3" fmla="*/ 0 h 3200400"/>
                  <a:gd name="connsiteX4" fmla="*/ 371475 w 1543050"/>
                  <a:gd name="connsiteY4" fmla="*/ 1143000 h 3200400"/>
                  <a:gd name="connsiteX5" fmla="*/ 485775 w 1543050"/>
                  <a:gd name="connsiteY5" fmla="*/ 2257425 h 3200400"/>
                  <a:gd name="connsiteX6" fmla="*/ 800100 w 1543050"/>
                  <a:gd name="connsiteY6" fmla="*/ 3200400 h 3200400"/>
                  <a:gd name="connsiteX7" fmla="*/ 1028700 w 1543050"/>
                  <a:gd name="connsiteY7" fmla="*/ 2800350 h 3200400"/>
                  <a:gd name="connsiteX8" fmla="*/ 1543050 w 1543050"/>
                  <a:gd name="connsiteY8" fmla="*/ 2343150 h 3200400"/>
                  <a:gd name="connsiteX9" fmla="*/ 1143000 w 1543050"/>
                  <a:gd name="connsiteY9" fmla="*/ 2800350 h 3200400"/>
                  <a:gd name="connsiteX10" fmla="*/ 771525 w 1543050"/>
                  <a:gd name="connsiteY10" fmla="*/ 3152775 h 3200400"/>
                  <a:gd name="connsiteX11" fmla="*/ 1143000 w 1543050"/>
                  <a:gd name="connsiteY11" fmla="*/ 3114675 h 3200400"/>
                  <a:gd name="connsiteX12" fmla="*/ 742950 w 1543050"/>
                  <a:gd name="connsiteY12" fmla="*/ 3162300 h 3200400"/>
                  <a:gd name="connsiteX13" fmla="*/ 228600 w 1543050"/>
                  <a:gd name="connsiteY13" fmla="*/ 2971800 h 3200400"/>
                  <a:gd name="connsiteX14" fmla="*/ 0 w 1543050"/>
                  <a:gd name="connsiteY14" fmla="*/ 2628900 h 3200400"/>
                  <a:gd name="connsiteX15" fmla="*/ 342900 w 1543050"/>
                  <a:gd name="connsiteY15" fmla="*/ 3000375 h 3200400"/>
                  <a:gd name="connsiteX16" fmla="*/ 723900 w 1543050"/>
                  <a:gd name="connsiteY16" fmla="*/ 3133725 h 3200400"/>
                  <a:gd name="connsiteX0" fmla="*/ 742950 w 1543050"/>
                  <a:gd name="connsiteY0" fmla="*/ 3114675 h 3162300"/>
                  <a:gd name="connsiteX1" fmla="*/ 400050 w 1543050"/>
                  <a:gd name="connsiteY1" fmla="*/ 2257425 h 3162300"/>
                  <a:gd name="connsiteX2" fmla="*/ 314325 w 1543050"/>
                  <a:gd name="connsiteY2" fmla="*/ 914400 h 3162300"/>
                  <a:gd name="connsiteX3" fmla="*/ 314325 w 1543050"/>
                  <a:gd name="connsiteY3" fmla="*/ 0 h 3162300"/>
                  <a:gd name="connsiteX4" fmla="*/ 371475 w 1543050"/>
                  <a:gd name="connsiteY4" fmla="*/ 1143000 h 3162300"/>
                  <a:gd name="connsiteX5" fmla="*/ 485775 w 1543050"/>
                  <a:gd name="connsiteY5" fmla="*/ 2257425 h 3162300"/>
                  <a:gd name="connsiteX6" fmla="*/ 800100 w 1543050"/>
                  <a:gd name="connsiteY6" fmla="*/ 3124200 h 3162300"/>
                  <a:gd name="connsiteX7" fmla="*/ 1028700 w 1543050"/>
                  <a:gd name="connsiteY7" fmla="*/ 2800350 h 3162300"/>
                  <a:gd name="connsiteX8" fmla="*/ 1543050 w 1543050"/>
                  <a:gd name="connsiteY8" fmla="*/ 2343150 h 3162300"/>
                  <a:gd name="connsiteX9" fmla="*/ 1143000 w 1543050"/>
                  <a:gd name="connsiteY9" fmla="*/ 2800350 h 3162300"/>
                  <a:gd name="connsiteX10" fmla="*/ 771525 w 1543050"/>
                  <a:gd name="connsiteY10" fmla="*/ 3152775 h 3162300"/>
                  <a:gd name="connsiteX11" fmla="*/ 1143000 w 1543050"/>
                  <a:gd name="connsiteY11" fmla="*/ 3114675 h 3162300"/>
                  <a:gd name="connsiteX12" fmla="*/ 742950 w 1543050"/>
                  <a:gd name="connsiteY12" fmla="*/ 3162300 h 3162300"/>
                  <a:gd name="connsiteX13" fmla="*/ 228600 w 1543050"/>
                  <a:gd name="connsiteY13" fmla="*/ 2971800 h 3162300"/>
                  <a:gd name="connsiteX14" fmla="*/ 0 w 1543050"/>
                  <a:gd name="connsiteY14" fmla="*/ 2628900 h 3162300"/>
                  <a:gd name="connsiteX15" fmla="*/ 342900 w 1543050"/>
                  <a:gd name="connsiteY15" fmla="*/ 3000375 h 3162300"/>
                  <a:gd name="connsiteX16" fmla="*/ 723900 w 1543050"/>
                  <a:gd name="connsiteY16" fmla="*/ 3133725 h 3162300"/>
                  <a:gd name="connsiteX0" fmla="*/ 742950 w 1543050"/>
                  <a:gd name="connsiteY0" fmla="*/ 3114675 h 3152775"/>
                  <a:gd name="connsiteX1" fmla="*/ 400050 w 1543050"/>
                  <a:gd name="connsiteY1" fmla="*/ 2257425 h 3152775"/>
                  <a:gd name="connsiteX2" fmla="*/ 314325 w 1543050"/>
                  <a:gd name="connsiteY2" fmla="*/ 914400 h 3152775"/>
                  <a:gd name="connsiteX3" fmla="*/ 314325 w 1543050"/>
                  <a:gd name="connsiteY3" fmla="*/ 0 h 3152775"/>
                  <a:gd name="connsiteX4" fmla="*/ 371475 w 1543050"/>
                  <a:gd name="connsiteY4" fmla="*/ 1143000 h 3152775"/>
                  <a:gd name="connsiteX5" fmla="*/ 485775 w 1543050"/>
                  <a:gd name="connsiteY5" fmla="*/ 2257425 h 3152775"/>
                  <a:gd name="connsiteX6" fmla="*/ 800100 w 1543050"/>
                  <a:gd name="connsiteY6" fmla="*/ 3124200 h 3152775"/>
                  <a:gd name="connsiteX7" fmla="*/ 1028700 w 1543050"/>
                  <a:gd name="connsiteY7" fmla="*/ 2800350 h 3152775"/>
                  <a:gd name="connsiteX8" fmla="*/ 1543050 w 1543050"/>
                  <a:gd name="connsiteY8" fmla="*/ 2343150 h 3152775"/>
                  <a:gd name="connsiteX9" fmla="*/ 1143000 w 1543050"/>
                  <a:gd name="connsiteY9" fmla="*/ 2800350 h 3152775"/>
                  <a:gd name="connsiteX10" fmla="*/ 771525 w 1543050"/>
                  <a:gd name="connsiteY10" fmla="*/ 3152775 h 3152775"/>
                  <a:gd name="connsiteX11" fmla="*/ 1143000 w 1543050"/>
                  <a:gd name="connsiteY11" fmla="*/ 3114675 h 3152775"/>
                  <a:gd name="connsiteX12" fmla="*/ 833438 w 1543050"/>
                  <a:gd name="connsiteY12" fmla="*/ 3128963 h 3152775"/>
                  <a:gd name="connsiteX13" fmla="*/ 228600 w 1543050"/>
                  <a:gd name="connsiteY13" fmla="*/ 2971800 h 3152775"/>
                  <a:gd name="connsiteX14" fmla="*/ 0 w 1543050"/>
                  <a:gd name="connsiteY14" fmla="*/ 2628900 h 3152775"/>
                  <a:gd name="connsiteX15" fmla="*/ 342900 w 1543050"/>
                  <a:gd name="connsiteY15" fmla="*/ 3000375 h 3152775"/>
                  <a:gd name="connsiteX16" fmla="*/ 723900 w 1543050"/>
                  <a:gd name="connsiteY16" fmla="*/ 3133725 h 3152775"/>
                  <a:gd name="connsiteX0" fmla="*/ 742950 w 1543050"/>
                  <a:gd name="connsiteY0" fmla="*/ 3114675 h 3152775"/>
                  <a:gd name="connsiteX1" fmla="*/ 400050 w 1543050"/>
                  <a:gd name="connsiteY1" fmla="*/ 2257425 h 3152775"/>
                  <a:gd name="connsiteX2" fmla="*/ 314325 w 1543050"/>
                  <a:gd name="connsiteY2" fmla="*/ 914400 h 3152775"/>
                  <a:gd name="connsiteX3" fmla="*/ 314325 w 1543050"/>
                  <a:gd name="connsiteY3" fmla="*/ 0 h 3152775"/>
                  <a:gd name="connsiteX4" fmla="*/ 371475 w 1543050"/>
                  <a:gd name="connsiteY4" fmla="*/ 1143000 h 3152775"/>
                  <a:gd name="connsiteX5" fmla="*/ 485775 w 1543050"/>
                  <a:gd name="connsiteY5" fmla="*/ 2257425 h 3152775"/>
                  <a:gd name="connsiteX6" fmla="*/ 800100 w 1543050"/>
                  <a:gd name="connsiteY6" fmla="*/ 3124200 h 3152775"/>
                  <a:gd name="connsiteX7" fmla="*/ 1028700 w 1543050"/>
                  <a:gd name="connsiteY7" fmla="*/ 2800350 h 3152775"/>
                  <a:gd name="connsiteX8" fmla="*/ 1543050 w 1543050"/>
                  <a:gd name="connsiteY8" fmla="*/ 2343150 h 3152775"/>
                  <a:gd name="connsiteX9" fmla="*/ 1143000 w 1543050"/>
                  <a:gd name="connsiteY9" fmla="*/ 2800350 h 3152775"/>
                  <a:gd name="connsiteX10" fmla="*/ 771525 w 1543050"/>
                  <a:gd name="connsiteY10" fmla="*/ 3152775 h 3152775"/>
                  <a:gd name="connsiteX11" fmla="*/ 1143000 w 1543050"/>
                  <a:gd name="connsiteY11" fmla="*/ 3114675 h 3152775"/>
                  <a:gd name="connsiteX12" fmla="*/ 833438 w 1543050"/>
                  <a:gd name="connsiteY12" fmla="*/ 3128963 h 3152775"/>
                  <a:gd name="connsiteX13" fmla="*/ 228600 w 1543050"/>
                  <a:gd name="connsiteY13" fmla="*/ 2971800 h 3152775"/>
                  <a:gd name="connsiteX14" fmla="*/ 0 w 1543050"/>
                  <a:gd name="connsiteY14" fmla="*/ 2628900 h 3152775"/>
                  <a:gd name="connsiteX15" fmla="*/ 342900 w 1543050"/>
                  <a:gd name="connsiteY15" fmla="*/ 2924175 h 3152775"/>
                  <a:gd name="connsiteX16" fmla="*/ 723900 w 1543050"/>
                  <a:gd name="connsiteY16" fmla="*/ 3133725 h 3152775"/>
                  <a:gd name="connsiteX0" fmla="*/ 742950 w 1543050"/>
                  <a:gd name="connsiteY0" fmla="*/ 3114675 h 3152775"/>
                  <a:gd name="connsiteX1" fmla="*/ 400050 w 1543050"/>
                  <a:gd name="connsiteY1" fmla="*/ 2257425 h 3152775"/>
                  <a:gd name="connsiteX2" fmla="*/ 314325 w 1543050"/>
                  <a:gd name="connsiteY2" fmla="*/ 914400 h 3152775"/>
                  <a:gd name="connsiteX3" fmla="*/ 314325 w 1543050"/>
                  <a:gd name="connsiteY3" fmla="*/ 0 h 3152775"/>
                  <a:gd name="connsiteX4" fmla="*/ 371475 w 1543050"/>
                  <a:gd name="connsiteY4" fmla="*/ 1143000 h 3152775"/>
                  <a:gd name="connsiteX5" fmla="*/ 485775 w 1543050"/>
                  <a:gd name="connsiteY5" fmla="*/ 2257425 h 3152775"/>
                  <a:gd name="connsiteX6" fmla="*/ 800100 w 1543050"/>
                  <a:gd name="connsiteY6" fmla="*/ 3124200 h 3152775"/>
                  <a:gd name="connsiteX7" fmla="*/ 1028700 w 1543050"/>
                  <a:gd name="connsiteY7" fmla="*/ 2800350 h 3152775"/>
                  <a:gd name="connsiteX8" fmla="*/ 1543050 w 1543050"/>
                  <a:gd name="connsiteY8" fmla="*/ 2343150 h 3152775"/>
                  <a:gd name="connsiteX9" fmla="*/ 1143000 w 1543050"/>
                  <a:gd name="connsiteY9" fmla="*/ 2800350 h 3152775"/>
                  <a:gd name="connsiteX10" fmla="*/ 771525 w 1543050"/>
                  <a:gd name="connsiteY10" fmla="*/ 3152775 h 3152775"/>
                  <a:gd name="connsiteX11" fmla="*/ 1143000 w 1543050"/>
                  <a:gd name="connsiteY11" fmla="*/ 3114675 h 3152775"/>
                  <a:gd name="connsiteX12" fmla="*/ 833438 w 1543050"/>
                  <a:gd name="connsiteY12" fmla="*/ 3128963 h 3152775"/>
                  <a:gd name="connsiteX13" fmla="*/ 228600 w 1543050"/>
                  <a:gd name="connsiteY13" fmla="*/ 2971800 h 3152775"/>
                  <a:gd name="connsiteX14" fmla="*/ 0 w 1543050"/>
                  <a:gd name="connsiteY14" fmla="*/ 2628900 h 3152775"/>
                  <a:gd name="connsiteX15" fmla="*/ 342900 w 1543050"/>
                  <a:gd name="connsiteY15" fmla="*/ 2924175 h 3152775"/>
                  <a:gd name="connsiteX16" fmla="*/ 723900 w 1543050"/>
                  <a:gd name="connsiteY16" fmla="*/ 3057525 h 3152775"/>
                  <a:gd name="connsiteX0" fmla="*/ 742950 w 1543050"/>
                  <a:gd name="connsiteY0" fmla="*/ 3114675 h 3152775"/>
                  <a:gd name="connsiteX1" fmla="*/ 400050 w 1543050"/>
                  <a:gd name="connsiteY1" fmla="*/ 2257425 h 3152775"/>
                  <a:gd name="connsiteX2" fmla="*/ 314325 w 1543050"/>
                  <a:gd name="connsiteY2" fmla="*/ 914400 h 3152775"/>
                  <a:gd name="connsiteX3" fmla="*/ 314325 w 1543050"/>
                  <a:gd name="connsiteY3" fmla="*/ 0 h 3152775"/>
                  <a:gd name="connsiteX4" fmla="*/ 371475 w 1543050"/>
                  <a:gd name="connsiteY4" fmla="*/ 1143000 h 3152775"/>
                  <a:gd name="connsiteX5" fmla="*/ 485775 w 1543050"/>
                  <a:gd name="connsiteY5" fmla="*/ 2257425 h 3152775"/>
                  <a:gd name="connsiteX6" fmla="*/ 800100 w 1543050"/>
                  <a:gd name="connsiteY6" fmla="*/ 3124200 h 3152775"/>
                  <a:gd name="connsiteX7" fmla="*/ 1028700 w 1543050"/>
                  <a:gd name="connsiteY7" fmla="*/ 2800350 h 3152775"/>
                  <a:gd name="connsiteX8" fmla="*/ 1543050 w 1543050"/>
                  <a:gd name="connsiteY8" fmla="*/ 2343150 h 3152775"/>
                  <a:gd name="connsiteX9" fmla="*/ 1143000 w 1543050"/>
                  <a:gd name="connsiteY9" fmla="*/ 2800350 h 3152775"/>
                  <a:gd name="connsiteX10" fmla="*/ 771525 w 1543050"/>
                  <a:gd name="connsiteY10" fmla="*/ 3152775 h 3152775"/>
                  <a:gd name="connsiteX11" fmla="*/ 1143000 w 1543050"/>
                  <a:gd name="connsiteY11" fmla="*/ 3114675 h 3152775"/>
                  <a:gd name="connsiteX12" fmla="*/ 833438 w 1543050"/>
                  <a:gd name="connsiteY12" fmla="*/ 3128963 h 3152775"/>
                  <a:gd name="connsiteX13" fmla="*/ 228600 w 1543050"/>
                  <a:gd name="connsiteY13" fmla="*/ 2971800 h 3152775"/>
                  <a:gd name="connsiteX14" fmla="*/ 0 w 1543050"/>
                  <a:gd name="connsiteY14" fmla="*/ 2628900 h 3152775"/>
                  <a:gd name="connsiteX15" fmla="*/ 342900 w 1543050"/>
                  <a:gd name="connsiteY15" fmla="*/ 2924175 h 3152775"/>
                  <a:gd name="connsiteX16" fmla="*/ 723900 w 1543050"/>
                  <a:gd name="connsiteY16" fmla="*/ 3057525 h 3152775"/>
                  <a:gd name="connsiteX0" fmla="*/ 742950 w 1543050"/>
                  <a:gd name="connsiteY0" fmla="*/ 3114675 h 3152775"/>
                  <a:gd name="connsiteX1" fmla="*/ 400050 w 1543050"/>
                  <a:gd name="connsiteY1" fmla="*/ 2257425 h 3152775"/>
                  <a:gd name="connsiteX2" fmla="*/ 314325 w 1543050"/>
                  <a:gd name="connsiteY2" fmla="*/ 914400 h 3152775"/>
                  <a:gd name="connsiteX3" fmla="*/ 314325 w 1543050"/>
                  <a:gd name="connsiteY3" fmla="*/ 0 h 3152775"/>
                  <a:gd name="connsiteX4" fmla="*/ 371475 w 1543050"/>
                  <a:gd name="connsiteY4" fmla="*/ 1143000 h 3152775"/>
                  <a:gd name="connsiteX5" fmla="*/ 485775 w 1543050"/>
                  <a:gd name="connsiteY5" fmla="*/ 2257425 h 3152775"/>
                  <a:gd name="connsiteX6" fmla="*/ 800100 w 1543050"/>
                  <a:gd name="connsiteY6" fmla="*/ 3124200 h 3152775"/>
                  <a:gd name="connsiteX7" fmla="*/ 1028700 w 1543050"/>
                  <a:gd name="connsiteY7" fmla="*/ 2800350 h 3152775"/>
                  <a:gd name="connsiteX8" fmla="*/ 1543050 w 1543050"/>
                  <a:gd name="connsiteY8" fmla="*/ 2343150 h 3152775"/>
                  <a:gd name="connsiteX9" fmla="*/ 1143000 w 1543050"/>
                  <a:gd name="connsiteY9" fmla="*/ 2800350 h 3152775"/>
                  <a:gd name="connsiteX10" fmla="*/ 771525 w 1543050"/>
                  <a:gd name="connsiteY10" fmla="*/ 3152775 h 3152775"/>
                  <a:gd name="connsiteX11" fmla="*/ 1143000 w 1543050"/>
                  <a:gd name="connsiteY11" fmla="*/ 3114675 h 3152775"/>
                  <a:gd name="connsiteX12" fmla="*/ 847726 w 1543050"/>
                  <a:gd name="connsiteY12" fmla="*/ 3086101 h 3152775"/>
                  <a:gd name="connsiteX13" fmla="*/ 228600 w 1543050"/>
                  <a:gd name="connsiteY13" fmla="*/ 2971800 h 3152775"/>
                  <a:gd name="connsiteX14" fmla="*/ 0 w 1543050"/>
                  <a:gd name="connsiteY14" fmla="*/ 2628900 h 3152775"/>
                  <a:gd name="connsiteX15" fmla="*/ 342900 w 1543050"/>
                  <a:gd name="connsiteY15" fmla="*/ 2924175 h 3152775"/>
                  <a:gd name="connsiteX16" fmla="*/ 723900 w 1543050"/>
                  <a:gd name="connsiteY16" fmla="*/ 3057525 h 3152775"/>
                  <a:gd name="connsiteX0" fmla="*/ 742950 w 1543050"/>
                  <a:gd name="connsiteY0" fmla="*/ 3114675 h 3124200"/>
                  <a:gd name="connsiteX1" fmla="*/ 400050 w 1543050"/>
                  <a:gd name="connsiteY1" fmla="*/ 2257425 h 3124200"/>
                  <a:gd name="connsiteX2" fmla="*/ 314325 w 1543050"/>
                  <a:gd name="connsiteY2" fmla="*/ 914400 h 3124200"/>
                  <a:gd name="connsiteX3" fmla="*/ 314325 w 1543050"/>
                  <a:gd name="connsiteY3" fmla="*/ 0 h 3124200"/>
                  <a:gd name="connsiteX4" fmla="*/ 371475 w 1543050"/>
                  <a:gd name="connsiteY4" fmla="*/ 1143000 h 3124200"/>
                  <a:gd name="connsiteX5" fmla="*/ 485775 w 1543050"/>
                  <a:gd name="connsiteY5" fmla="*/ 2257425 h 3124200"/>
                  <a:gd name="connsiteX6" fmla="*/ 800100 w 1543050"/>
                  <a:gd name="connsiteY6" fmla="*/ 3124200 h 3124200"/>
                  <a:gd name="connsiteX7" fmla="*/ 1028700 w 1543050"/>
                  <a:gd name="connsiteY7" fmla="*/ 2800350 h 3124200"/>
                  <a:gd name="connsiteX8" fmla="*/ 1543050 w 1543050"/>
                  <a:gd name="connsiteY8" fmla="*/ 2343150 h 3124200"/>
                  <a:gd name="connsiteX9" fmla="*/ 1143000 w 1543050"/>
                  <a:gd name="connsiteY9" fmla="*/ 2800350 h 3124200"/>
                  <a:gd name="connsiteX10" fmla="*/ 804863 w 1543050"/>
                  <a:gd name="connsiteY10" fmla="*/ 3124200 h 3124200"/>
                  <a:gd name="connsiteX11" fmla="*/ 1143000 w 1543050"/>
                  <a:gd name="connsiteY11" fmla="*/ 3114675 h 3124200"/>
                  <a:gd name="connsiteX12" fmla="*/ 847726 w 1543050"/>
                  <a:gd name="connsiteY12" fmla="*/ 3086101 h 3124200"/>
                  <a:gd name="connsiteX13" fmla="*/ 228600 w 1543050"/>
                  <a:gd name="connsiteY13" fmla="*/ 2971800 h 3124200"/>
                  <a:gd name="connsiteX14" fmla="*/ 0 w 1543050"/>
                  <a:gd name="connsiteY14" fmla="*/ 2628900 h 3124200"/>
                  <a:gd name="connsiteX15" fmla="*/ 342900 w 1543050"/>
                  <a:gd name="connsiteY15" fmla="*/ 2924175 h 3124200"/>
                  <a:gd name="connsiteX16" fmla="*/ 723900 w 1543050"/>
                  <a:gd name="connsiteY16" fmla="*/ 3057525 h 3124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3050" h="3124200">
                    <a:moveTo>
                      <a:pt x="742950" y="3114675"/>
                    </a:moveTo>
                    <a:lnTo>
                      <a:pt x="400050" y="2257425"/>
                    </a:lnTo>
                    <a:lnTo>
                      <a:pt x="314325" y="914400"/>
                    </a:lnTo>
                    <a:lnTo>
                      <a:pt x="314325" y="0"/>
                    </a:lnTo>
                    <a:lnTo>
                      <a:pt x="371475" y="1143000"/>
                    </a:lnTo>
                    <a:lnTo>
                      <a:pt x="485775" y="2257425"/>
                    </a:lnTo>
                    <a:lnTo>
                      <a:pt x="800100" y="3124200"/>
                    </a:lnTo>
                    <a:lnTo>
                      <a:pt x="1028700" y="2800350"/>
                    </a:lnTo>
                    <a:lnTo>
                      <a:pt x="1543050" y="2343150"/>
                    </a:lnTo>
                    <a:lnTo>
                      <a:pt x="1143000" y="2800350"/>
                    </a:lnTo>
                    <a:lnTo>
                      <a:pt x="804863" y="3124200"/>
                    </a:lnTo>
                    <a:lnTo>
                      <a:pt x="1143000" y="3114675"/>
                    </a:lnTo>
                    <a:lnTo>
                      <a:pt x="847726" y="3086101"/>
                    </a:lnTo>
                    <a:lnTo>
                      <a:pt x="228600" y="2971800"/>
                    </a:lnTo>
                    <a:lnTo>
                      <a:pt x="0" y="2628900"/>
                    </a:lnTo>
                    <a:lnTo>
                      <a:pt x="342900" y="2924175"/>
                    </a:lnTo>
                    <a:lnTo>
                      <a:pt x="723900" y="3057525"/>
                    </a:lnTo>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nvGrpSpPr>
              <p:cNvPr id="584" name="Group 111">
                <a:extLst>
                  <a:ext uri="{FF2B5EF4-FFF2-40B4-BE49-F238E27FC236}">
                    <a16:creationId xmlns:a16="http://schemas.microsoft.com/office/drawing/2014/main" id="{4CDCB571-83AB-4B7F-BE9C-97078BFE9797}"/>
                  </a:ext>
                </a:extLst>
              </p:cNvPr>
              <p:cNvGrpSpPr/>
              <p:nvPr/>
            </p:nvGrpSpPr>
            <p:grpSpPr>
              <a:xfrm>
                <a:off x="4358902" y="1058805"/>
                <a:ext cx="757738" cy="1298463"/>
                <a:chOff x="1943100" y="-6838950"/>
                <a:chExt cx="3990975" cy="6838950"/>
              </a:xfrm>
              <a:grpFill/>
            </p:grpSpPr>
            <p:sp>
              <p:nvSpPr>
                <p:cNvPr id="619" name="Freeform 230">
                  <a:extLst>
                    <a:ext uri="{FF2B5EF4-FFF2-40B4-BE49-F238E27FC236}">
                      <a16:creationId xmlns:a16="http://schemas.microsoft.com/office/drawing/2014/main" id="{AC83D7A7-02D1-4366-AC99-D0EEE14CA6C0}"/>
                    </a:ext>
                  </a:extLst>
                </p:cNvPr>
                <p:cNvSpPr/>
                <p:nvPr/>
              </p:nvSpPr>
              <p:spPr>
                <a:xfrm>
                  <a:off x="1943100" y="-6838950"/>
                  <a:ext cx="3990975" cy="6781800"/>
                </a:xfrm>
                <a:custGeom>
                  <a:avLst/>
                  <a:gdLst>
                    <a:gd name="connsiteX0" fmla="*/ 3181350 w 3990975"/>
                    <a:gd name="connsiteY0" fmla="*/ 0 h 6781800"/>
                    <a:gd name="connsiteX1" fmla="*/ 3305175 w 3990975"/>
                    <a:gd name="connsiteY1" fmla="*/ 28575 h 6781800"/>
                    <a:gd name="connsiteX2" fmla="*/ 3448050 w 3990975"/>
                    <a:gd name="connsiteY2" fmla="*/ 180975 h 6781800"/>
                    <a:gd name="connsiteX3" fmla="*/ 3600450 w 3990975"/>
                    <a:gd name="connsiteY3" fmla="*/ 447675 h 6781800"/>
                    <a:gd name="connsiteX4" fmla="*/ 3771900 w 3990975"/>
                    <a:gd name="connsiteY4" fmla="*/ 733425 h 6781800"/>
                    <a:gd name="connsiteX5" fmla="*/ 3829050 w 3990975"/>
                    <a:gd name="connsiteY5" fmla="*/ 990600 h 6781800"/>
                    <a:gd name="connsiteX6" fmla="*/ 3924300 w 3990975"/>
                    <a:gd name="connsiteY6" fmla="*/ 1466850 h 6781800"/>
                    <a:gd name="connsiteX7" fmla="*/ 3990975 w 3990975"/>
                    <a:gd name="connsiteY7" fmla="*/ 1876425 h 6781800"/>
                    <a:gd name="connsiteX8" fmla="*/ 3943350 w 3990975"/>
                    <a:gd name="connsiteY8" fmla="*/ 2190750 h 6781800"/>
                    <a:gd name="connsiteX9" fmla="*/ 3876675 w 3990975"/>
                    <a:gd name="connsiteY9" fmla="*/ 2371725 h 6781800"/>
                    <a:gd name="connsiteX10" fmla="*/ 3800475 w 3990975"/>
                    <a:gd name="connsiteY10" fmla="*/ 2276475 h 6781800"/>
                    <a:gd name="connsiteX11" fmla="*/ 3790950 w 3990975"/>
                    <a:gd name="connsiteY11" fmla="*/ 2076450 h 6781800"/>
                    <a:gd name="connsiteX12" fmla="*/ 3590925 w 3990975"/>
                    <a:gd name="connsiteY12" fmla="*/ 1895475 h 6781800"/>
                    <a:gd name="connsiteX13" fmla="*/ 3324225 w 3990975"/>
                    <a:gd name="connsiteY13" fmla="*/ 1733550 h 6781800"/>
                    <a:gd name="connsiteX14" fmla="*/ 3181350 w 3990975"/>
                    <a:gd name="connsiteY14" fmla="*/ 2247900 h 6781800"/>
                    <a:gd name="connsiteX15" fmla="*/ 2628900 w 3990975"/>
                    <a:gd name="connsiteY15" fmla="*/ 3848100 h 6781800"/>
                    <a:gd name="connsiteX16" fmla="*/ 2000250 w 3990975"/>
                    <a:gd name="connsiteY16" fmla="*/ 5172075 h 6781800"/>
                    <a:gd name="connsiteX17" fmla="*/ 1857375 w 3990975"/>
                    <a:gd name="connsiteY17" fmla="*/ 5429250 h 6781800"/>
                    <a:gd name="connsiteX18" fmla="*/ 1666875 w 3990975"/>
                    <a:gd name="connsiteY18" fmla="*/ 5734050 h 6781800"/>
                    <a:gd name="connsiteX19" fmla="*/ 1571625 w 3990975"/>
                    <a:gd name="connsiteY19" fmla="*/ 6096000 h 6781800"/>
                    <a:gd name="connsiteX20" fmla="*/ 1257300 w 3990975"/>
                    <a:gd name="connsiteY20" fmla="*/ 6629400 h 6781800"/>
                    <a:gd name="connsiteX21" fmla="*/ 1143000 w 3990975"/>
                    <a:gd name="connsiteY21" fmla="*/ 6781800 h 6781800"/>
                    <a:gd name="connsiteX22" fmla="*/ 1085850 w 3990975"/>
                    <a:gd name="connsiteY22" fmla="*/ 6257925 h 6781800"/>
                    <a:gd name="connsiteX23" fmla="*/ 933450 w 3990975"/>
                    <a:gd name="connsiteY23" fmla="*/ 5562600 h 6781800"/>
                    <a:gd name="connsiteX24" fmla="*/ 857250 w 3990975"/>
                    <a:gd name="connsiteY24" fmla="*/ 5172075 h 6781800"/>
                    <a:gd name="connsiteX25" fmla="*/ 781050 w 3990975"/>
                    <a:gd name="connsiteY25" fmla="*/ 4705350 h 6781800"/>
                    <a:gd name="connsiteX26" fmla="*/ 742950 w 3990975"/>
                    <a:gd name="connsiteY26" fmla="*/ 4086225 h 6781800"/>
                    <a:gd name="connsiteX27" fmla="*/ 809625 w 3990975"/>
                    <a:gd name="connsiteY27" fmla="*/ 3343275 h 6781800"/>
                    <a:gd name="connsiteX28" fmla="*/ 952500 w 3990975"/>
                    <a:gd name="connsiteY28" fmla="*/ 2552700 h 6781800"/>
                    <a:gd name="connsiteX29" fmla="*/ 1028700 w 3990975"/>
                    <a:gd name="connsiteY29" fmla="*/ 1924050 h 6781800"/>
                    <a:gd name="connsiteX30" fmla="*/ 942975 w 3990975"/>
                    <a:gd name="connsiteY30" fmla="*/ 1762125 h 6781800"/>
                    <a:gd name="connsiteX31" fmla="*/ 866775 w 3990975"/>
                    <a:gd name="connsiteY31" fmla="*/ 1600200 h 6781800"/>
                    <a:gd name="connsiteX32" fmla="*/ 876300 w 3990975"/>
                    <a:gd name="connsiteY32" fmla="*/ 1314450 h 6781800"/>
                    <a:gd name="connsiteX33" fmla="*/ 819150 w 3990975"/>
                    <a:gd name="connsiteY33" fmla="*/ 1276350 h 6781800"/>
                    <a:gd name="connsiteX34" fmla="*/ 685800 w 3990975"/>
                    <a:gd name="connsiteY34" fmla="*/ 1390650 h 6781800"/>
                    <a:gd name="connsiteX35" fmla="*/ 523875 w 3990975"/>
                    <a:gd name="connsiteY35" fmla="*/ 1457325 h 6781800"/>
                    <a:gd name="connsiteX36" fmla="*/ 352425 w 3990975"/>
                    <a:gd name="connsiteY36" fmla="*/ 1495425 h 6781800"/>
                    <a:gd name="connsiteX37" fmla="*/ 133350 w 3990975"/>
                    <a:gd name="connsiteY37" fmla="*/ 1552575 h 6781800"/>
                    <a:gd name="connsiteX38" fmla="*/ 0 w 3990975"/>
                    <a:gd name="connsiteY38" fmla="*/ 1562100 h 6781800"/>
                    <a:gd name="connsiteX39" fmla="*/ 9525 w 3990975"/>
                    <a:gd name="connsiteY39" fmla="*/ 1495425 h 6781800"/>
                    <a:gd name="connsiteX40" fmla="*/ 228600 w 3990975"/>
                    <a:gd name="connsiteY40" fmla="*/ 1371600 h 6781800"/>
                    <a:gd name="connsiteX41" fmla="*/ 542925 w 3990975"/>
                    <a:gd name="connsiteY41" fmla="*/ 1171575 h 6781800"/>
                    <a:gd name="connsiteX42" fmla="*/ 914400 w 3990975"/>
                    <a:gd name="connsiteY42" fmla="*/ 942975 h 6781800"/>
                    <a:gd name="connsiteX43" fmla="*/ 1047750 w 3990975"/>
                    <a:gd name="connsiteY43" fmla="*/ 771525 h 6781800"/>
                    <a:gd name="connsiteX44" fmla="*/ 1238250 w 3990975"/>
                    <a:gd name="connsiteY44" fmla="*/ 552450 h 6781800"/>
                    <a:gd name="connsiteX45" fmla="*/ 1419225 w 3990975"/>
                    <a:gd name="connsiteY45" fmla="*/ 390525 h 6781800"/>
                    <a:gd name="connsiteX46" fmla="*/ 1485900 w 3990975"/>
                    <a:gd name="connsiteY46" fmla="*/ 476250 h 6781800"/>
                    <a:gd name="connsiteX47" fmla="*/ 1476375 w 3990975"/>
                    <a:gd name="connsiteY47" fmla="*/ 885825 h 6781800"/>
                    <a:gd name="connsiteX48" fmla="*/ 1400175 w 3990975"/>
                    <a:gd name="connsiteY48" fmla="*/ 1190625 h 6781800"/>
                    <a:gd name="connsiteX49" fmla="*/ 1323975 w 3990975"/>
                    <a:gd name="connsiteY49" fmla="*/ 1524000 h 6781800"/>
                    <a:gd name="connsiteX50" fmla="*/ 1447800 w 3990975"/>
                    <a:gd name="connsiteY50" fmla="*/ 1885950 h 6781800"/>
                    <a:gd name="connsiteX51" fmla="*/ 1514475 w 3990975"/>
                    <a:gd name="connsiteY51" fmla="*/ 2066925 h 6781800"/>
                    <a:gd name="connsiteX52" fmla="*/ 1600200 w 3990975"/>
                    <a:gd name="connsiteY52" fmla="*/ 2438400 h 6781800"/>
                    <a:gd name="connsiteX53" fmla="*/ 1657350 w 3990975"/>
                    <a:gd name="connsiteY53" fmla="*/ 2686050 h 6781800"/>
                    <a:gd name="connsiteX54" fmla="*/ 1781175 w 3990975"/>
                    <a:gd name="connsiteY54" fmla="*/ 2933700 h 6781800"/>
                    <a:gd name="connsiteX55" fmla="*/ 1981200 w 3990975"/>
                    <a:gd name="connsiteY55" fmla="*/ 2581275 h 6781800"/>
                    <a:gd name="connsiteX56" fmla="*/ 2105025 w 3990975"/>
                    <a:gd name="connsiteY56" fmla="*/ 2209800 h 6781800"/>
                    <a:gd name="connsiteX57" fmla="*/ 2314575 w 3990975"/>
                    <a:gd name="connsiteY57" fmla="*/ 2000250 h 6781800"/>
                    <a:gd name="connsiteX58" fmla="*/ 2543175 w 3990975"/>
                    <a:gd name="connsiteY58" fmla="*/ 1962150 h 6781800"/>
                    <a:gd name="connsiteX59" fmla="*/ 2724150 w 3990975"/>
                    <a:gd name="connsiteY59" fmla="*/ 1895475 h 6781800"/>
                    <a:gd name="connsiteX60" fmla="*/ 2876550 w 3990975"/>
                    <a:gd name="connsiteY60" fmla="*/ 1828800 h 6781800"/>
                    <a:gd name="connsiteX61" fmla="*/ 2952750 w 3990975"/>
                    <a:gd name="connsiteY61" fmla="*/ 1685925 h 6781800"/>
                    <a:gd name="connsiteX62" fmla="*/ 3019425 w 3990975"/>
                    <a:gd name="connsiteY62" fmla="*/ 1552575 h 6781800"/>
                    <a:gd name="connsiteX63" fmla="*/ 3028950 w 3990975"/>
                    <a:gd name="connsiteY63" fmla="*/ 1524000 h 6781800"/>
                    <a:gd name="connsiteX64" fmla="*/ 3162300 w 3990975"/>
                    <a:gd name="connsiteY64" fmla="*/ 1257300 h 6781800"/>
                    <a:gd name="connsiteX65" fmla="*/ 3219450 w 3990975"/>
                    <a:gd name="connsiteY65" fmla="*/ 942975 h 6781800"/>
                    <a:gd name="connsiteX66" fmla="*/ 3381375 w 3990975"/>
                    <a:gd name="connsiteY66" fmla="*/ 657225 h 6781800"/>
                    <a:gd name="connsiteX67" fmla="*/ 3295650 w 3990975"/>
                    <a:gd name="connsiteY67" fmla="*/ 590550 h 6781800"/>
                    <a:gd name="connsiteX68" fmla="*/ 3219450 w 3990975"/>
                    <a:gd name="connsiteY68" fmla="*/ 390525 h 6781800"/>
                    <a:gd name="connsiteX69" fmla="*/ 3181350 w 3990975"/>
                    <a:gd name="connsiteY69" fmla="*/ 0 h 6781800"/>
                    <a:gd name="connsiteX0" fmla="*/ 3181350 w 3990975"/>
                    <a:gd name="connsiteY0" fmla="*/ 0 h 6781800"/>
                    <a:gd name="connsiteX1" fmla="*/ 3305175 w 3990975"/>
                    <a:gd name="connsiteY1" fmla="*/ 28575 h 6781800"/>
                    <a:gd name="connsiteX2" fmla="*/ 3448050 w 3990975"/>
                    <a:gd name="connsiteY2" fmla="*/ 180975 h 6781800"/>
                    <a:gd name="connsiteX3" fmla="*/ 3600450 w 3990975"/>
                    <a:gd name="connsiteY3" fmla="*/ 447675 h 6781800"/>
                    <a:gd name="connsiteX4" fmla="*/ 3771900 w 3990975"/>
                    <a:gd name="connsiteY4" fmla="*/ 733425 h 6781800"/>
                    <a:gd name="connsiteX5" fmla="*/ 3829050 w 3990975"/>
                    <a:gd name="connsiteY5" fmla="*/ 990600 h 6781800"/>
                    <a:gd name="connsiteX6" fmla="*/ 3924300 w 3990975"/>
                    <a:gd name="connsiteY6" fmla="*/ 1466850 h 6781800"/>
                    <a:gd name="connsiteX7" fmla="*/ 3990975 w 3990975"/>
                    <a:gd name="connsiteY7" fmla="*/ 1876425 h 6781800"/>
                    <a:gd name="connsiteX8" fmla="*/ 3943350 w 3990975"/>
                    <a:gd name="connsiteY8" fmla="*/ 2190750 h 6781800"/>
                    <a:gd name="connsiteX9" fmla="*/ 3876675 w 3990975"/>
                    <a:gd name="connsiteY9" fmla="*/ 2371725 h 6781800"/>
                    <a:gd name="connsiteX10" fmla="*/ 3800475 w 3990975"/>
                    <a:gd name="connsiteY10" fmla="*/ 2276475 h 6781800"/>
                    <a:gd name="connsiteX11" fmla="*/ 3790950 w 3990975"/>
                    <a:gd name="connsiteY11" fmla="*/ 2076450 h 6781800"/>
                    <a:gd name="connsiteX12" fmla="*/ 3590925 w 3990975"/>
                    <a:gd name="connsiteY12" fmla="*/ 1895475 h 6781800"/>
                    <a:gd name="connsiteX13" fmla="*/ 3324225 w 3990975"/>
                    <a:gd name="connsiteY13" fmla="*/ 1733550 h 6781800"/>
                    <a:gd name="connsiteX14" fmla="*/ 3181350 w 3990975"/>
                    <a:gd name="connsiteY14" fmla="*/ 2247900 h 6781800"/>
                    <a:gd name="connsiteX15" fmla="*/ 2628900 w 3990975"/>
                    <a:gd name="connsiteY15" fmla="*/ 3848100 h 6781800"/>
                    <a:gd name="connsiteX16" fmla="*/ 2000250 w 3990975"/>
                    <a:gd name="connsiteY16" fmla="*/ 5172075 h 6781800"/>
                    <a:gd name="connsiteX17" fmla="*/ 1857375 w 3990975"/>
                    <a:gd name="connsiteY17" fmla="*/ 5429250 h 6781800"/>
                    <a:gd name="connsiteX18" fmla="*/ 1666875 w 3990975"/>
                    <a:gd name="connsiteY18" fmla="*/ 5734050 h 6781800"/>
                    <a:gd name="connsiteX19" fmla="*/ 1571625 w 3990975"/>
                    <a:gd name="connsiteY19" fmla="*/ 6096000 h 6781800"/>
                    <a:gd name="connsiteX20" fmla="*/ 1257300 w 3990975"/>
                    <a:gd name="connsiteY20" fmla="*/ 6629400 h 6781800"/>
                    <a:gd name="connsiteX21" fmla="*/ 1143000 w 3990975"/>
                    <a:gd name="connsiteY21" fmla="*/ 6781800 h 6781800"/>
                    <a:gd name="connsiteX22" fmla="*/ 1085850 w 3990975"/>
                    <a:gd name="connsiteY22" fmla="*/ 6257925 h 6781800"/>
                    <a:gd name="connsiteX23" fmla="*/ 933450 w 3990975"/>
                    <a:gd name="connsiteY23" fmla="*/ 5562600 h 6781800"/>
                    <a:gd name="connsiteX24" fmla="*/ 857250 w 3990975"/>
                    <a:gd name="connsiteY24" fmla="*/ 5172075 h 6781800"/>
                    <a:gd name="connsiteX25" fmla="*/ 781050 w 3990975"/>
                    <a:gd name="connsiteY25" fmla="*/ 4705350 h 6781800"/>
                    <a:gd name="connsiteX26" fmla="*/ 742950 w 3990975"/>
                    <a:gd name="connsiteY26" fmla="*/ 4086225 h 6781800"/>
                    <a:gd name="connsiteX27" fmla="*/ 809625 w 3990975"/>
                    <a:gd name="connsiteY27" fmla="*/ 3343275 h 6781800"/>
                    <a:gd name="connsiteX28" fmla="*/ 952500 w 3990975"/>
                    <a:gd name="connsiteY28" fmla="*/ 2552700 h 6781800"/>
                    <a:gd name="connsiteX29" fmla="*/ 1028700 w 3990975"/>
                    <a:gd name="connsiteY29" fmla="*/ 1924050 h 6781800"/>
                    <a:gd name="connsiteX30" fmla="*/ 942975 w 3990975"/>
                    <a:gd name="connsiteY30" fmla="*/ 1762125 h 6781800"/>
                    <a:gd name="connsiteX31" fmla="*/ 866775 w 3990975"/>
                    <a:gd name="connsiteY31" fmla="*/ 1600200 h 6781800"/>
                    <a:gd name="connsiteX32" fmla="*/ 876300 w 3990975"/>
                    <a:gd name="connsiteY32" fmla="*/ 1314450 h 6781800"/>
                    <a:gd name="connsiteX33" fmla="*/ 819150 w 3990975"/>
                    <a:gd name="connsiteY33" fmla="*/ 1276350 h 6781800"/>
                    <a:gd name="connsiteX34" fmla="*/ 685800 w 3990975"/>
                    <a:gd name="connsiteY34" fmla="*/ 1390650 h 6781800"/>
                    <a:gd name="connsiteX35" fmla="*/ 523875 w 3990975"/>
                    <a:gd name="connsiteY35" fmla="*/ 1457325 h 6781800"/>
                    <a:gd name="connsiteX36" fmla="*/ 352425 w 3990975"/>
                    <a:gd name="connsiteY36" fmla="*/ 1495425 h 6781800"/>
                    <a:gd name="connsiteX37" fmla="*/ 133350 w 3990975"/>
                    <a:gd name="connsiteY37" fmla="*/ 1552575 h 6781800"/>
                    <a:gd name="connsiteX38" fmla="*/ 0 w 3990975"/>
                    <a:gd name="connsiteY38" fmla="*/ 1562100 h 6781800"/>
                    <a:gd name="connsiteX39" fmla="*/ 9525 w 3990975"/>
                    <a:gd name="connsiteY39" fmla="*/ 1495425 h 6781800"/>
                    <a:gd name="connsiteX40" fmla="*/ 228600 w 3990975"/>
                    <a:gd name="connsiteY40" fmla="*/ 1371600 h 6781800"/>
                    <a:gd name="connsiteX41" fmla="*/ 542925 w 3990975"/>
                    <a:gd name="connsiteY41" fmla="*/ 1171575 h 6781800"/>
                    <a:gd name="connsiteX42" fmla="*/ 914400 w 3990975"/>
                    <a:gd name="connsiteY42" fmla="*/ 942975 h 6781800"/>
                    <a:gd name="connsiteX43" fmla="*/ 1047750 w 3990975"/>
                    <a:gd name="connsiteY43" fmla="*/ 771525 h 6781800"/>
                    <a:gd name="connsiteX44" fmla="*/ 1238250 w 3990975"/>
                    <a:gd name="connsiteY44" fmla="*/ 552450 h 6781800"/>
                    <a:gd name="connsiteX45" fmla="*/ 1419225 w 3990975"/>
                    <a:gd name="connsiteY45" fmla="*/ 390525 h 6781800"/>
                    <a:gd name="connsiteX46" fmla="*/ 1485900 w 3990975"/>
                    <a:gd name="connsiteY46" fmla="*/ 476250 h 6781800"/>
                    <a:gd name="connsiteX47" fmla="*/ 1476375 w 3990975"/>
                    <a:gd name="connsiteY47" fmla="*/ 885825 h 6781800"/>
                    <a:gd name="connsiteX48" fmla="*/ 1400175 w 3990975"/>
                    <a:gd name="connsiteY48" fmla="*/ 1190625 h 6781800"/>
                    <a:gd name="connsiteX49" fmla="*/ 1323975 w 3990975"/>
                    <a:gd name="connsiteY49" fmla="*/ 1524000 h 6781800"/>
                    <a:gd name="connsiteX50" fmla="*/ 1447800 w 3990975"/>
                    <a:gd name="connsiteY50" fmla="*/ 1885950 h 6781800"/>
                    <a:gd name="connsiteX51" fmla="*/ 1514475 w 3990975"/>
                    <a:gd name="connsiteY51" fmla="*/ 2066925 h 6781800"/>
                    <a:gd name="connsiteX52" fmla="*/ 1600200 w 3990975"/>
                    <a:gd name="connsiteY52" fmla="*/ 2438400 h 6781800"/>
                    <a:gd name="connsiteX53" fmla="*/ 1657350 w 3990975"/>
                    <a:gd name="connsiteY53" fmla="*/ 2686050 h 6781800"/>
                    <a:gd name="connsiteX54" fmla="*/ 1781175 w 3990975"/>
                    <a:gd name="connsiteY54" fmla="*/ 2933700 h 6781800"/>
                    <a:gd name="connsiteX55" fmla="*/ 1981200 w 3990975"/>
                    <a:gd name="connsiteY55" fmla="*/ 2581275 h 6781800"/>
                    <a:gd name="connsiteX56" fmla="*/ 2101850 w 3990975"/>
                    <a:gd name="connsiteY56" fmla="*/ 2181225 h 6781800"/>
                    <a:gd name="connsiteX57" fmla="*/ 2314575 w 3990975"/>
                    <a:gd name="connsiteY57" fmla="*/ 2000250 h 6781800"/>
                    <a:gd name="connsiteX58" fmla="*/ 2543175 w 3990975"/>
                    <a:gd name="connsiteY58" fmla="*/ 1962150 h 6781800"/>
                    <a:gd name="connsiteX59" fmla="*/ 2724150 w 3990975"/>
                    <a:gd name="connsiteY59" fmla="*/ 1895475 h 6781800"/>
                    <a:gd name="connsiteX60" fmla="*/ 2876550 w 3990975"/>
                    <a:gd name="connsiteY60" fmla="*/ 1828800 h 6781800"/>
                    <a:gd name="connsiteX61" fmla="*/ 2952750 w 3990975"/>
                    <a:gd name="connsiteY61" fmla="*/ 1685925 h 6781800"/>
                    <a:gd name="connsiteX62" fmla="*/ 3019425 w 3990975"/>
                    <a:gd name="connsiteY62" fmla="*/ 1552575 h 6781800"/>
                    <a:gd name="connsiteX63" fmla="*/ 3028950 w 3990975"/>
                    <a:gd name="connsiteY63" fmla="*/ 1524000 h 6781800"/>
                    <a:gd name="connsiteX64" fmla="*/ 3162300 w 3990975"/>
                    <a:gd name="connsiteY64" fmla="*/ 1257300 h 6781800"/>
                    <a:gd name="connsiteX65" fmla="*/ 3219450 w 3990975"/>
                    <a:gd name="connsiteY65" fmla="*/ 942975 h 6781800"/>
                    <a:gd name="connsiteX66" fmla="*/ 3381375 w 3990975"/>
                    <a:gd name="connsiteY66" fmla="*/ 657225 h 6781800"/>
                    <a:gd name="connsiteX67" fmla="*/ 3295650 w 3990975"/>
                    <a:gd name="connsiteY67" fmla="*/ 590550 h 6781800"/>
                    <a:gd name="connsiteX68" fmla="*/ 3219450 w 3990975"/>
                    <a:gd name="connsiteY68" fmla="*/ 390525 h 6781800"/>
                    <a:gd name="connsiteX69" fmla="*/ 3181350 w 3990975"/>
                    <a:gd name="connsiteY69" fmla="*/ 0 h 6781800"/>
                    <a:gd name="connsiteX0" fmla="*/ 3181350 w 3990975"/>
                    <a:gd name="connsiteY0" fmla="*/ 0 h 6781800"/>
                    <a:gd name="connsiteX1" fmla="*/ 3305175 w 3990975"/>
                    <a:gd name="connsiteY1" fmla="*/ 28575 h 6781800"/>
                    <a:gd name="connsiteX2" fmla="*/ 3448050 w 3990975"/>
                    <a:gd name="connsiteY2" fmla="*/ 180975 h 6781800"/>
                    <a:gd name="connsiteX3" fmla="*/ 3600450 w 3990975"/>
                    <a:gd name="connsiteY3" fmla="*/ 447675 h 6781800"/>
                    <a:gd name="connsiteX4" fmla="*/ 3771900 w 3990975"/>
                    <a:gd name="connsiteY4" fmla="*/ 733425 h 6781800"/>
                    <a:gd name="connsiteX5" fmla="*/ 3829050 w 3990975"/>
                    <a:gd name="connsiteY5" fmla="*/ 990600 h 6781800"/>
                    <a:gd name="connsiteX6" fmla="*/ 3924300 w 3990975"/>
                    <a:gd name="connsiteY6" fmla="*/ 1466850 h 6781800"/>
                    <a:gd name="connsiteX7" fmla="*/ 3990975 w 3990975"/>
                    <a:gd name="connsiteY7" fmla="*/ 1876425 h 6781800"/>
                    <a:gd name="connsiteX8" fmla="*/ 3943350 w 3990975"/>
                    <a:gd name="connsiteY8" fmla="*/ 2190750 h 6781800"/>
                    <a:gd name="connsiteX9" fmla="*/ 3876675 w 3990975"/>
                    <a:gd name="connsiteY9" fmla="*/ 2371725 h 6781800"/>
                    <a:gd name="connsiteX10" fmla="*/ 3800475 w 3990975"/>
                    <a:gd name="connsiteY10" fmla="*/ 2276475 h 6781800"/>
                    <a:gd name="connsiteX11" fmla="*/ 3790950 w 3990975"/>
                    <a:gd name="connsiteY11" fmla="*/ 2076450 h 6781800"/>
                    <a:gd name="connsiteX12" fmla="*/ 3590925 w 3990975"/>
                    <a:gd name="connsiteY12" fmla="*/ 1895475 h 6781800"/>
                    <a:gd name="connsiteX13" fmla="*/ 3324225 w 3990975"/>
                    <a:gd name="connsiteY13" fmla="*/ 1733550 h 6781800"/>
                    <a:gd name="connsiteX14" fmla="*/ 3181350 w 3990975"/>
                    <a:gd name="connsiteY14" fmla="*/ 2247900 h 6781800"/>
                    <a:gd name="connsiteX15" fmla="*/ 2628900 w 3990975"/>
                    <a:gd name="connsiteY15" fmla="*/ 3848100 h 6781800"/>
                    <a:gd name="connsiteX16" fmla="*/ 2000250 w 3990975"/>
                    <a:gd name="connsiteY16" fmla="*/ 5172075 h 6781800"/>
                    <a:gd name="connsiteX17" fmla="*/ 1857375 w 3990975"/>
                    <a:gd name="connsiteY17" fmla="*/ 5429250 h 6781800"/>
                    <a:gd name="connsiteX18" fmla="*/ 1666875 w 3990975"/>
                    <a:gd name="connsiteY18" fmla="*/ 5734050 h 6781800"/>
                    <a:gd name="connsiteX19" fmla="*/ 1571625 w 3990975"/>
                    <a:gd name="connsiteY19" fmla="*/ 6096000 h 6781800"/>
                    <a:gd name="connsiteX20" fmla="*/ 1257300 w 3990975"/>
                    <a:gd name="connsiteY20" fmla="*/ 6629400 h 6781800"/>
                    <a:gd name="connsiteX21" fmla="*/ 1143000 w 3990975"/>
                    <a:gd name="connsiteY21" fmla="*/ 6781800 h 6781800"/>
                    <a:gd name="connsiteX22" fmla="*/ 1085850 w 3990975"/>
                    <a:gd name="connsiteY22" fmla="*/ 6257925 h 6781800"/>
                    <a:gd name="connsiteX23" fmla="*/ 933450 w 3990975"/>
                    <a:gd name="connsiteY23" fmla="*/ 5562600 h 6781800"/>
                    <a:gd name="connsiteX24" fmla="*/ 857250 w 3990975"/>
                    <a:gd name="connsiteY24" fmla="*/ 5172075 h 6781800"/>
                    <a:gd name="connsiteX25" fmla="*/ 781050 w 3990975"/>
                    <a:gd name="connsiteY25" fmla="*/ 4705350 h 6781800"/>
                    <a:gd name="connsiteX26" fmla="*/ 742950 w 3990975"/>
                    <a:gd name="connsiteY26" fmla="*/ 4086225 h 6781800"/>
                    <a:gd name="connsiteX27" fmla="*/ 809625 w 3990975"/>
                    <a:gd name="connsiteY27" fmla="*/ 3343275 h 6781800"/>
                    <a:gd name="connsiteX28" fmla="*/ 952500 w 3990975"/>
                    <a:gd name="connsiteY28" fmla="*/ 2552700 h 6781800"/>
                    <a:gd name="connsiteX29" fmla="*/ 1028700 w 3990975"/>
                    <a:gd name="connsiteY29" fmla="*/ 1924050 h 6781800"/>
                    <a:gd name="connsiteX30" fmla="*/ 942975 w 3990975"/>
                    <a:gd name="connsiteY30" fmla="*/ 1762125 h 6781800"/>
                    <a:gd name="connsiteX31" fmla="*/ 866775 w 3990975"/>
                    <a:gd name="connsiteY31" fmla="*/ 1600200 h 6781800"/>
                    <a:gd name="connsiteX32" fmla="*/ 876300 w 3990975"/>
                    <a:gd name="connsiteY32" fmla="*/ 1314450 h 6781800"/>
                    <a:gd name="connsiteX33" fmla="*/ 819150 w 3990975"/>
                    <a:gd name="connsiteY33" fmla="*/ 1276350 h 6781800"/>
                    <a:gd name="connsiteX34" fmla="*/ 685800 w 3990975"/>
                    <a:gd name="connsiteY34" fmla="*/ 1390650 h 6781800"/>
                    <a:gd name="connsiteX35" fmla="*/ 523875 w 3990975"/>
                    <a:gd name="connsiteY35" fmla="*/ 1457325 h 6781800"/>
                    <a:gd name="connsiteX36" fmla="*/ 352425 w 3990975"/>
                    <a:gd name="connsiteY36" fmla="*/ 1495425 h 6781800"/>
                    <a:gd name="connsiteX37" fmla="*/ 133350 w 3990975"/>
                    <a:gd name="connsiteY37" fmla="*/ 1552575 h 6781800"/>
                    <a:gd name="connsiteX38" fmla="*/ 0 w 3990975"/>
                    <a:gd name="connsiteY38" fmla="*/ 1562100 h 6781800"/>
                    <a:gd name="connsiteX39" fmla="*/ 9525 w 3990975"/>
                    <a:gd name="connsiteY39" fmla="*/ 1495425 h 6781800"/>
                    <a:gd name="connsiteX40" fmla="*/ 228600 w 3990975"/>
                    <a:gd name="connsiteY40" fmla="*/ 1371600 h 6781800"/>
                    <a:gd name="connsiteX41" fmla="*/ 542925 w 3990975"/>
                    <a:gd name="connsiteY41" fmla="*/ 1171575 h 6781800"/>
                    <a:gd name="connsiteX42" fmla="*/ 914400 w 3990975"/>
                    <a:gd name="connsiteY42" fmla="*/ 942975 h 6781800"/>
                    <a:gd name="connsiteX43" fmla="*/ 1047750 w 3990975"/>
                    <a:gd name="connsiteY43" fmla="*/ 771525 h 6781800"/>
                    <a:gd name="connsiteX44" fmla="*/ 1238250 w 3990975"/>
                    <a:gd name="connsiteY44" fmla="*/ 552450 h 6781800"/>
                    <a:gd name="connsiteX45" fmla="*/ 1419225 w 3990975"/>
                    <a:gd name="connsiteY45" fmla="*/ 390525 h 6781800"/>
                    <a:gd name="connsiteX46" fmla="*/ 1485900 w 3990975"/>
                    <a:gd name="connsiteY46" fmla="*/ 476250 h 6781800"/>
                    <a:gd name="connsiteX47" fmla="*/ 1476375 w 3990975"/>
                    <a:gd name="connsiteY47" fmla="*/ 885825 h 6781800"/>
                    <a:gd name="connsiteX48" fmla="*/ 1400175 w 3990975"/>
                    <a:gd name="connsiteY48" fmla="*/ 1190625 h 6781800"/>
                    <a:gd name="connsiteX49" fmla="*/ 1323975 w 3990975"/>
                    <a:gd name="connsiteY49" fmla="*/ 1524000 h 6781800"/>
                    <a:gd name="connsiteX50" fmla="*/ 1447800 w 3990975"/>
                    <a:gd name="connsiteY50" fmla="*/ 1885950 h 6781800"/>
                    <a:gd name="connsiteX51" fmla="*/ 1514475 w 3990975"/>
                    <a:gd name="connsiteY51" fmla="*/ 2066925 h 6781800"/>
                    <a:gd name="connsiteX52" fmla="*/ 1600200 w 3990975"/>
                    <a:gd name="connsiteY52" fmla="*/ 2438400 h 6781800"/>
                    <a:gd name="connsiteX53" fmla="*/ 1657350 w 3990975"/>
                    <a:gd name="connsiteY53" fmla="*/ 2686050 h 6781800"/>
                    <a:gd name="connsiteX54" fmla="*/ 1781175 w 3990975"/>
                    <a:gd name="connsiteY54" fmla="*/ 2933700 h 6781800"/>
                    <a:gd name="connsiteX55" fmla="*/ 1981200 w 3990975"/>
                    <a:gd name="connsiteY55" fmla="*/ 2581275 h 6781800"/>
                    <a:gd name="connsiteX56" fmla="*/ 2101850 w 3990975"/>
                    <a:gd name="connsiteY56" fmla="*/ 2181225 h 6781800"/>
                    <a:gd name="connsiteX57" fmla="*/ 2314575 w 3990975"/>
                    <a:gd name="connsiteY57" fmla="*/ 2000250 h 6781800"/>
                    <a:gd name="connsiteX58" fmla="*/ 2543175 w 3990975"/>
                    <a:gd name="connsiteY58" fmla="*/ 1962150 h 6781800"/>
                    <a:gd name="connsiteX59" fmla="*/ 2724150 w 3990975"/>
                    <a:gd name="connsiteY59" fmla="*/ 1895475 h 6781800"/>
                    <a:gd name="connsiteX60" fmla="*/ 2876550 w 3990975"/>
                    <a:gd name="connsiteY60" fmla="*/ 1828800 h 6781800"/>
                    <a:gd name="connsiteX61" fmla="*/ 2952750 w 3990975"/>
                    <a:gd name="connsiteY61" fmla="*/ 1685925 h 6781800"/>
                    <a:gd name="connsiteX62" fmla="*/ 3019425 w 3990975"/>
                    <a:gd name="connsiteY62" fmla="*/ 1552575 h 6781800"/>
                    <a:gd name="connsiteX63" fmla="*/ 3028950 w 3990975"/>
                    <a:gd name="connsiteY63" fmla="*/ 1524000 h 6781800"/>
                    <a:gd name="connsiteX64" fmla="*/ 3162300 w 3990975"/>
                    <a:gd name="connsiteY64" fmla="*/ 1257300 h 6781800"/>
                    <a:gd name="connsiteX65" fmla="*/ 3219450 w 3990975"/>
                    <a:gd name="connsiteY65" fmla="*/ 942975 h 6781800"/>
                    <a:gd name="connsiteX66" fmla="*/ 3381375 w 3990975"/>
                    <a:gd name="connsiteY66" fmla="*/ 657225 h 6781800"/>
                    <a:gd name="connsiteX67" fmla="*/ 3295650 w 3990975"/>
                    <a:gd name="connsiteY67" fmla="*/ 590550 h 6781800"/>
                    <a:gd name="connsiteX68" fmla="*/ 3219450 w 3990975"/>
                    <a:gd name="connsiteY68" fmla="*/ 390525 h 6781800"/>
                    <a:gd name="connsiteX69" fmla="*/ 3181350 w 3990975"/>
                    <a:gd name="connsiteY69" fmla="*/ 0 h 6781800"/>
                    <a:gd name="connsiteX0" fmla="*/ 3181350 w 3990975"/>
                    <a:gd name="connsiteY0" fmla="*/ 0 h 6781800"/>
                    <a:gd name="connsiteX1" fmla="*/ 3305175 w 3990975"/>
                    <a:gd name="connsiteY1" fmla="*/ 28575 h 6781800"/>
                    <a:gd name="connsiteX2" fmla="*/ 3448050 w 3990975"/>
                    <a:gd name="connsiteY2" fmla="*/ 180975 h 6781800"/>
                    <a:gd name="connsiteX3" fmla="*/ 3600450 w 3990975"/>
                    <a:gd name="connsiteY3" fmla="*/ 447675 h 6781800"/>
                    <a:gd name="connsiteX4" fmla="*/ 3771900 w 3990975"/>
                    <a:gd name="connsiteY4" fmla="*/ 733425 h 6781800"/>
                    <a:gd name="connsiteX5" fmla="*/ 3829050 w 3990975"/>
                    <a:gd name="connsiteY5" fmla="*/ 990600 h 6781800"/>
                    <a:gd name="connsiteX6" fmla="*/ 3924300 w 3990975"/>
                    <a:gd name="connsiteY6" fmla="*/ 1466850 h 6781800"/>
                    <a:gd name="connsiteX7" fmla="*/ 3990975 w 3990975"/>
                    <a:gd name="connsiteY7" fmla="*/ 1876425 h 6781800"/>
                    <a:gd name="connsiteX8" fmla="*/ 3943350 w 3990975"/>
                    <a:gd name="connsiteY8" fmla="*/ 2190750 h 6781800"/>
                    <a:gd name="connsiteX9" fmla="*/ 3876675 w 3990975"/>
                    <a:gd name="connsiteY9" fmla="*/ 2371725 h 6781800"/>
                    <a:gd name="connsiteX10" fmla="*/ 3800475 w 3990975"/>
                    <a:gd name="connsiteY10" fmla="*/ 2276475 h 6781800"/>
                    <a:gd name="connsiteX11" fmla="*/ 3790950 w 3990975"/>
                    <a:gd name="connsiteY11" fmla="*/ 2076450 h 6781800"/>
                    <a:gd name="connsiteX12" fmla="*/ 3590925 w 3990975"/>
                    <a:gd name="connsiteY12" fmla="*/ 1895475 h 6781800"/>
                    <a:gd name="connsiteX13" fmla="*/ 3324225 w 3990975"/>
                    <a:gd name="connsiteY13" fmla="*/ 1733550 h 6781800"/>
                    <a:gd name="connsiteX14" fmla="*/ 3181350 w 3990975"/>
                    <a:gd name="connsiteY14" fmla="*/ 2247900 h 6781800"/>
                    <a:gd name="connsiteX15" fmla="*/ 2628900 w 3990975"/>
                    <a:gd name="connsiteY15" fmla="*/ 3848100 h 6781800"/>
                    <a:gd name="connsiteX16" fmla="*/ 2000250 w 3990975"/>
                    <a:gd name="connsiteY16" fmla="*/ 5172075 h 6781800"/>
                    <a:gd name="connsiteX17" fmla="*/ 1857375 w 3990975"/>
                    <a:gd name="connsiteY17" fmla="*/ 5429250 h 6781800"/>
                    <a:gd name="connsiteX18" fmla="*/ 1666875 w 3990975"/>
                    <a:gd name="connsiteY18" fmla="*/ 5734050 h 6781800"/>
                    <a:gd name="connsiteX19" fmla="*/ 1571625 w 3990975"/>
                    <a:gd name="connsiteY19" fmla="*/ 6096000 h 6781800"/>
                    <a:gd name="connsiteX20" fmla="*/ 1257300 w 3990975"/>
                    <a:gd name="connsiteY20" fmla="*/ 6629400 h 6781800"/>
                    <a:gd name="connsiteX21" fmla="*/ 1143000 w 3990975"/>
                    <a:gd name="connsiteY21" fmla="*/ 6781800 h 6781800"/>
                    <a:gd name="connsiteX22" fmla="*/ 1085850 w 3990975"/>
                    <a:gd name="connsiteY22" fmla="*/ 6257925 h 6781800"/>
                    <a:gd name="connsiteX23" fmla="*/ 933450 w 3990975"/>
                    <a:gd name="connsiteY23" fmla="*/ 5562600 h 6781800"/>
                    <a:gd name="connsiteX24" fmla="*/ 857250 w 3990975"/>
                    <a:gd name="connsiteY24" fmla="*/ 5172075 h 6781800"/>
                    <a:gd name="connsiteX25" fmla="*/ 781050 w 3990975"/>
                    <a:gd name="connsiteY25" fmla="*/ 4705350 h 6781800"/>
                    <a:gd name="connsiteX26" fmla="*/ 742950 w 3990975"/>
                    <a:gd name="connsiteY26" fmla="*/ 4086225 h 6781800"/>
                    <a:gd name="connsiteX27" fmla="*/ 809625 w 3990975"/>
                    <a:gd name="connsiteY27" fmla="*/ 3343275 h 6781800"/>
                    <a:gd name="connsiteX28" fmla="*/ 952500 w 3990975"/>
                    <a:gd name="connsiteY28" fmla="*/ 2552700 h 6781800"/>
                    <a:gd name="connsiteX29" fmla="*/ 1028700 w 3990975"/>
                    <a:gd name="connsiteY29" fmla="*/ 1924050 h 6781800"/>
                    <a:gd name="connsiteX30" fmla="*/ 942975 w 3990975"/>
                    <a:gd name="connsiteY30" fmla="*/ 1762125 h 6781800"/>
                    <a:gd name="connsiteX31" fmla="*/ 866775 w 3990975"/>
                    <a:gd name="connsiteY31" fmla="*/ 1600200 h 6781800"/>
                    <a:gd name="connsiteX32" fmla="*/ 876300 w 3990975"/>
                    <a:gd name="connsiteY32" fmla="*/ 1314450 h 6781800"/>
                    <a:gd name="connsiteX33" fmla="*/ 819150 w 3990975"/>
                    <a:gd name="connsiteY33" fmla="*/ 1276350 h 6781800"/>
                    <a:gd name="connsiteX34" fmla="*/ 685800 w 3990975"/>
                    <a:gd name="connsiteY34" fmla="*/ 1390650 h 6781800"/>
                    <a:gd name="connsiteX35" fmla="*/ 523875 w 3990975"/>
                    <a:gd name="connsiteY35" fmla="*/ 1457325 h 6781800"/>
                    <a:gd name="connsiteX36" fmla="*/ 352425 w 3990975"/>
                    <a:gd name="connsiteY36" fmla="*/ 1495425 h 6781800"/>
                    <a:gd name="connsiteX37" fmla="*/ 133350 w 3990975"/>
                    <a:gd name="connsiteY37" fmla="*/ 1552575 h 6781800"/>
                    <a:gd name="connsiteX38" fmla="*/ 0 w 3990975"/>
                    <a:gd name="connsiteY38" fmla="*/ 1562100 h 6781800"/>
                    <a:gd name="connsiteX39" fmla="*/ 9525 w 3990975"/>
                    <a:gd name="connsiteY39" fmla="*/ 1495425 h 6781800"/>
                    <a:gd name="connsiteX40" fmla="*/ 228600 w 3990975"/>
                    <a:gd name="connsiteY40" fmla="*/ 1371600 h 6781800"/>
                    <a:gd name="connsiteX41" fmla="*/ 542925 w 3990975"/>
                    <a:gd name="connsiteY41" fmla="*/ 1171575 h 6781800"/>
                    <a:gd name="connsiteX42" fmla="*/ 914400 w 3990975"/>
                    <a:gd name="connsiteY42" fmla="*/ 942975 h 6781800"/>
                    <a:gd name="connsiteX43" fmla="*/ 1047750 w 3990975"/>
                    <a:gd name="connsiteY43" fmla="*/ 771525 h 6781800"/>
                    <a:gd name="connsiteX44" fmla="*/ 1238250 w 3990975"/>
                    <a:gd name="connsiteY44" fmla="*/ 552450 h 6781800"/>
                    <a:gd name="connsiteX45" fmla="*/ 1419225 w 3990975"/>
                    <a:gd name="connsiteY45" fmla="*/ 390525 h 6781800"/>
                    <a:gd name="connsiteX46" fmla="*/ 1485900 w 3990975"/>
                    <a:gd name="connsiteY46" fmla="*/ 476250 h 6781800"/>
                    <a:gd name="connsiteX47" fmla="*/ 1476375 w 3990975"/>
                    <a:gd name="connsiteY47" fmla="*/ 885825 h 6781800"/>
                    <a:gd name="connsiteX48" fmla="*/ 1400175 w 3990975"/>
                    <a:gd name="connsiteY48" fmla="*/ 1190625 h 6781800"/>
                    <a:gd name="connsiteX49" fmla="*/ 1323975 w 3990975"/>
                    <a:gd name="connsiteY49" fmla="*/ 1524000 h 6781800"/>
                    <a:gd name="connsiteX50" fmla="*/ 1447800 w 3990975"/>
                    <a:gd name="connsiteY50" fmla="*/ 1885950 h 6781800"/>
                    <a:gd name="connsiteX51" fmla="*/ 1514475 w 3990975"/>
                    <a:gd name="connsiteY51" fmla="*/ 2066925 h 6781800"/>
                    <a:gd name="connsiteX52" fmla="*/ 1600200 w 3990975"/>
                    <a:gd name="connsiteY52" fmla="*/ 2438400 h 6781800"/>
                    <a:gd name="connsiteX53" fmla="*/ 1657350 w 3990975"/>
                    <a:gd name="connsiteY53" fmla="*/ 2686050 h 6781800"/>
                    <a:gd name="connsiteX54" fmla="*/ 1781175 w 3990975"/>
                    <a:gd name="connsiteY54" fmla="*/ 2933700 h 6781800"/>
                    <a:gd name="connsiteX55" fmla="*/ 1981200 w 3990975"/>
                    <a:gd name="connsiteY55" fmla="*/ 2581275 h 6781800"/>
                    <a:gd name="connsiteX56" fmla="*/ 2101850 w 3990975"/>
                    <a:gd name="connsiteY56" fmla="*/ 2181225 h 6781800"/>
                    <a:gd name="connsiteX57" fmla="*/ 2314575 w 3990975"/>
                    <a:gd name="connsiteY57" fmla="*/ 2000250 h 6781800"/>
                    <a:gd name="connsiteX58" fmla="*/ 2543175 w 3990975"/>
                    <a:gd name="connsiteY58" fmla="*/ 1962150 h 6781800"/>
                    <a:gd name="connsiteX59" fmla="*/ 2724150 w 3990975"/>
                    <a:gd name="connsiteY59" fmla="*/ 1895475 h 6781800"/>
                    <a:gd name="connsiteX60" fmla="*/ 2876550 w 3990975"/>
                    <a:gd name="connsiteY60" fmla="*/ 1828800 h 6781800"/>
                    <a:gd name="connsiteX61" fmla="*/ 2952750 w 3990975"/>
                    <a:gd name="connsiteY61" fmla="*/ 1685925 h 6781800"/>
                    <a:gd name="connsiteX62" fmla="*/ 3019425 w 3990975"/>
                    <a:gd name="connsiteY62" fmla="*/ 1552575 h 6781800"/>
                    <a:gd name="connsiteX63" fmla="*/ 3028950 w 3990975"/>
                    <a:gd name="connsiteY63" fmla="*/ 1524000 h 6781800"/>
                    <a:gd name="connsiteX64" fmla="*/ 3162300 w 3990975"/>
                    <a:gd name="connsiteY64" fmla="*/ 1257300 h 6781800"/>
                    <a:gd name="connsiteX65" fmla="*/ 3219450 w 3990975"/>
                    <a:gd name="connsiteY65" fmla="*/ 942975 h 6781800"/>
                    <a:gd name="connsiteX66" fmla="*/ 3381375 w 3990975"/>
                    <a:gd name="connsiteY66" fmla="*/ 657225 h 6781800"/>
                    <a:gd name="connsiteX67" fmla="*/ 3295650 w 3990975"/>
                    <a:gd name="connsiteY67" fmla="*/ 590550 h 6781800"/>
                    <a:gd name="connsiteX68" fmla="*/ 3219450 w 3990975"/>
                    <a:gd name="connsiteY68" fmla="*/ 390525 h 6781800"/>
                    <a:gd name="connsiteX69" fmla="*/ 3181350 w 3990975"/>
                    <a:gd name="connsiteY69" fmla="*/ 0 h 6781800"/>
                    <a:gd name="connsiteX0" fmla="*/ 3181350 w 3990975"/>
                    <a:gd name="connsiteY0" fmla="*/ 0 h 6781800"/>
                    <a:gd name="connsiteX1" fmla="*/ 3305175 w 3990975"/>
                    <a:gd name="connsiteY1" fmla="*/ 28575 h 6781800"/>
                    <a:gd name="connsiteX2" fmla="*/ 3448050 w 3990975"/>
                    <a:gd name="connsiteY2" fmla="*/ 180975 h 6781800"/>
                    <a:gd name="connsiteX3" fmla="*/ 3600450 w 3990975"/>
                    <a:gd name="connsiteY3" fmla="*/ 447675 h 6781800"/>
                    <a:gd name="connsiteX4" fmla="*/ 3771900 w 3990975"/>
                    <a:gd name="connsiteY4" fmla="*/ 733425 h 6781800"/>
                    <a:gd name="connsiteX5" fmla="*/ 3829050 w 3990975"/>
                    <a:gd name="connsiteY5" fmla="*/ 990600 h 6781800"/>
                    <a:gd name="connsiteX6" fmla="*/ 3924300 w 3990975"/>
                    <a:gd name="connsiteY6" fmla="*/ 1466850 h 6781800"/>
                    <a:gd name="connsiteX7" fmla="*/ 3990975 w 3990975"/>
                    <a:gd name="connsiteY7" fmla="*/ 1876425 h 6781800"/>
                    <a:gd name="connsiteX8" fmla="*/ 3943350 w 3990975"/>
                    <a:gd name="connsiteY8" fmla="*/ 2190750 h 6781800"/>
                    <a:gd name="connsiteX9" fmla="*/ 3876675 w 3990975"/>
                    <a:gd name="connsiteY9" fmla="*/ 2371725 h 6781800"/>
                    <a:gd name="connsiteX10" fmla="*/ 3800475 w 3990975"/>
                    <a:gd name="connsiteY10" fmla="*/ 2276475 h 6781800"/>
                    <a:gd name="connsiteX11" fmla="*/ 3790950 w 3990975"/>
                    <a:gd name="connsiteY11" fmla="*/ 2076450 h 6781800"/>
                    <a:gd name="connsiteX12" fmla="*/ 3590925 w 3990975"/>
                    <a:gd name="connsiteY12" fmla="*/ 1895475 h 6781800"/>
                    <a:gd name="connsiteX13" fmla="*/ 3324225 w 3990975"/>
                    <a:gd name="connsiteY13" fmla="*/ 1733550 h 6781800"/>
                    <a:gd name="connsiteX14" fmla="*/ 3181350 w 3990975"/>
                    <a:gd name="connsiteY14" fmla="*/ 2247900 h 6781800"/>
                    <a:gd name="connsiteX15" fmla="*/ 2628900 w 3990975"/>
                    <a:gd name="connsiteY15" fmla="*/ 3848100 h 6781800"/>
                    <a:gd name="connsiteX16" fmla="*/ 2000250 w 3990975"/>
                    <a:gd name="connsiteY16" fmla="*/ 5172075 h 6781800"/>
                    <a:gd name="connsiteX17" fmla="*/ 1857375 w 3990975"/>
                    <a:gd name="connsiteY17" fmla="*/ 5429250 h 6781800"/>
                    <a:gd name="connsiteX18" fmla="*/ 1666875 w 3990975"/>
                    <a:gd name="connsiteY18" fmla="*/ 5734050 h 6781800"/>
                    <a:gd name="connsiteX19" fmla="*/ 1571625 w 3990975"/>
                    <a:gd name="connsiteY19" fmla="*/ 6096000 h 6781800"/>
                    <a:gd name="connsiteX20" fmla="*/ 1257300 w 3990975"/>
                    <a:gd name="connsiteY20" fmla="*/ 6629400 h 6781800"/>
                    <a:gd name="connsiteX21" fmla="*/ 1143000 w 3990975"/>
                    <a:gd name="connsiteY21" fmla="*/ 6781800 h 6781800"/>
                    <a:gd name="connsiteX22" fmla="*/ 1085850 w 3990975"/>
                    <a:gd name="connsiteY22" fmla="*/ 6257925 h 6781800"/>
                    <a:gd name="connsiteX23" fmla="*/ 933450 w 3990975"/>
                    <a:gd name="connsiteY23" fmla="*/ 5562600 h 6781800"/>
                    <a:gd name="connsiteX24" fmla="*/ 857250 w 3990975"/>
                    <a:gd name="connsiteY24" fmla="*/ 5172075 h 6781800"/>
                    <a:gd name="connsiteX25" fmla="*/ 781050 w 3990975"/>
                    <a:gd name="connsiteY25" fmla="*/ 4705350 h 6781800"/>
                    <a:gd name="connsiteX26" fmla="*/ 742950 w 3990975"/>
                    <a:gd name="connsiteY26" fmla="*/ 4086225 h 6781800"/>
                    <a:gd name="connsiteX27" fmla="*/ 809625 w 3990975"/>
                    <a:gd name="connsiteY27" fmla="*/ 3343275 h 6781800"/>
                    <a:gd name="connsiteX28" fmla="*/ 952500 w 3990975"/>
                    <a:gd name="connsiteY28" fmla="*/ 2552700 h 6781800"/>
                    <a:gd name="connsiteX29" fmla="*/ 1028700 w 3990975"/>
                    <a:gd name="connsiteY29" fmla="*/ 1924050 h 6781800"/>
                    <a:gd name="connsiteX30" fmla="*/ 942975 w 3990975"/>
                    <a:gd name="connsiteY30" fmla="*/ 1762125 h 6781800"/>
                    <a:gd name="connsiteX31" fmla="*/ 866775 w 3990975"/>
                    <a:gd name="connsiteY31" fmla="*/ 1600200 h 6781800"/>
                    <a:gd name="connsiteX32" fmla="*/ 876300 w 3990975"/>
                    <a:gd name="connsiteY32" fmla="*/ 1314450 h 6781800"/>
                    <a:gd name="connsiteX33" fmla="*/ 819150 w 3990975"/>
                    <a:gd name="connsiteY33" fmla="*/ 1276350 h 6781800"/>
                    <a:gd name="connsiteX34" fmla="*/ 685800 w 3990975"/>
                    <a:gd name="connsiteY34" fmla="*/ 1390650 h 6781800"/>
                    <a:gd name="connsiteX35" fmla="*/ 523875 w 3990975"/>
                    <a:gd name="connsiteY35" fmla="*/ 1457325 h 6781800"/>
                    <a:gd name="connsiteX36" fmla="*/ 352425 w 3990975"/>
                    <a:gd name="connsiteY36" fmla="*/ 1495425 h 6781800"/>
                    <a:gd name="connsiteX37" fmla="*/ 133350 w 3990975"/>
                    <a:gd name="connsiteY37" fmla="*/ 1552575 h 6781800"/>
                    <a:gd name="connsiteX38" fmla="*/ 0 w 3990975"/>
                    <a:gd name="connsiteY38" fmla="*/ 1562100 h 6781800"/>
                    <a:gd name="connsiteX39" fmla="*/ 9525 w 3990975"/>
                    <a:gd name="connsiteY39" fmla="*/ 1495425 h 6781800"/>
                    <a:gd name="connsiteX40" fmla="*/ 228600 w 3990975"/>
                    <a:gd name="connsiteY40" fmla="*/ 1371600 h 6781800"/>
                    <a:gd name="connsiteX41" fmla="*/ 542925 w 3990975"/>
                    <a:gd name="connsiteY41" fmla="*/ 1171575 h 6781800"/>
                    <a:gd name="connsiteX42" fmla="*/ 914400 w 3990975"/>
                    <a:gd name="connsiteY42" fmla="*/ 942975 h 6781800"/>
                    <a:gd name="connsiteX43" fmla="*/ 1047750 w 3990975"/>
                    <a:gd name="connsiteY43" fmla="*/ 771525 h 6781800"/>
                    <a:gd name="connsiteX44" fmla="*/ 1238250 w 3990975"/>
                    <a:gd name="connsiteY44" fmla="*/ 552450 h 6781800"/>
                    <a:gd name="connsiteX45" fmla="*/ 1419225 w 3990975"/>
                    <a:gd name="connsiteY45" fmla="*/ 390525 h 6781800"/>
                    <a:gd name="connsiteX46" fmla="*/ 1485900 w 3990975"/>
                    <a:gd name="connsiteY46" fmla="*/ 476250 h 6781800"/>
                    <a:gd name="connsiteX47" fmla="*/ 1476375 w 3990975"/>
                    <a:gd name="connsiteY47" fmla="*/ 885825 h 6781800"/>
                    <a:gd name="connsiteX48" fmla="*/ 1400175 w 3990975"/>
                    <a:gd name="connsiteY48" fmla="*/ 1190625 h 6781800"/>
                    <a:gd name="connsiteX49" fmla="*/ 1323975 w 3990975"/>
                    <a:gd name="connsiteY49" fmla="*/ 1524000 h 6781800"/>
                    <a:gd name="connsiteX50" fmla="*/ 1447800 w 3990975"/>
                    <a:gd name="connsiteY50" fmla="*/ 1885950 h 6781800"/>
                    <a:gd name="connsiteX51" fmla="*/ 1514475 w 3990975"/>
                    <a:gd name="connsiteY51" fmla="*/ 2066925 h 6781800"/>
                    <a:gd name="connsiteX52" fmla="*/ 1600200 w 3990975"/>
                    <a:gd name="connsiteY52" fmla="*/ 2438400 h 6781800"/>
                    <a:gd name="connsiteX53" fmla="*/ 1657350 w 3990975"/>
                    <a:gd name="connsiteY53" fmla="*/ 2686050 h 6781800"/>
                    <a:gd name="connsiteX54" fmla="*/ 1781175 w 3990975"/>
                    <a:gd name="connsiteY54" fmla="*/ 2933700 h 6781800"/>
                    <a:gd name="connsiteX55" fmla="*/ 1981200 w 3990975"/>
                    <a:gd name="connsiteY55" fmla="*/ 2581275 h 6781800"/>
                    <a:gd name="connsiteX56" fmla="*/ 2101850 w 3990975"/>
                    <a:gd name="connsiteY56" fmla="*/ 2181225 h 6781800"/>
                    <a:gd name="connsiteX57" fmla="*/ 2314575 w 3990975"/>
                    <a:gd name="connsiteY57" fmla="*/ 2000250 h 6781800"/>
                    <a:gd name="connsiteX58" fmla="*/ 2543175 w 3990975"/>
                    <a:gd name="connsiteY58" fmla="*/ 1962150 h 6781800"/>
                    <a:gd name="connsiteX59" fmla="*/ 2724150 w 3990975"/>
                    <a:gd name="connsiteY59" fmla="*/ 1895475 h 6781800"/>
                    <a:gd name="connsiteX60" fmla="*/ 2876550 w 3990975"/>
                    <a:gd name="connsiteY60" fmla="*/ 1828800 h 6781800"/>
                    <a:gd name="connsiteX61" fmla="*/ 2952750 w 3990975"/>
                    <a:gd name="connsiteY61" fmla="*/ 1685925 h 6781800"/>
                    <a:gd name="connsiteX62" fmla="*/ 3019425 w 3990975"/>
                    <a:gd name="connsiteY62" fmla="*/ 1552575 h 6781800"/>
                    <a:gd name="connsiteX63" fmla="*/ 3028950 w 3990975"/>
                    <a:gd name="connsiteY63" fmla="*/ 1524000 h 6781800"/>
                    <a:gd name="connsiteX64" fmla="*/ 3124200 w 3990975"/>
                    <a:gd name="connsiteY64" fmla="*/ 1235075 h 6781800"/>
                    <a:gd name="connsiteX65" fmla="*/ 3219450 w 3990975"/>
                    <a:gd name="connsiteY65" fmla="*/ 942975 h 6781800"/>
                    <a:gd name="connsiteX66" fmla="*/ 3381375 w 3990975"/>
                    <a:gd name="connsiteY66" fmla="*/ 657225 h 6781800"/>
                    <a:gd name="connsiteX67" fmla="*/ 3295650 w 3990975"/>
                    <a:gd name="connsiteY67" fmla="*/ 590550 h 6781800"/>
                    <a:gd name="connsiteX68" fmla="*/ 3219450 w 3990975"/>
                    <a:gd name="connsiteY68" fmla="*/ 390525 h 6781800"/>
                    <a:gd name="connsiteX69" fmla="*/ 3181350 w 3990975"/>
                    <a:gd name="connsiteY69" fmla="*/ 0 h 6781800"/>
                    <a:gd name="connsiteX0" fmla="*/ 3181350 w 3990975"/>
                    <a:gd name="connsiteY0" fmla="*/ 0 h 6781800"/>
                    <a:gd name="connsiteX1" fmla="*/ 3305175 w 3990975"/>
                    <a:gd name="connsiteY1" fmla="*/ 28575 h 6781800"/>
                    <a:gd name="connsiteX2" fmla="*/ 3448050 w 3990975"/>
                    <a:gd name="connsiteY2" fmla="*/ 180975 h 6781800"/>
                    <a:gd name="connsiteX3" fmla="*/ 3600450 w 3990975"/>
                    <a:gd name="connsiteY3" fmla="*/ 447675 h 6781800"/>
                    <a:gd name="connsiteX4" fmla="*/ 3771900 w 3990975"/>
                    <a:gd name="connsiteY4" fmla="*/ 733425 h 6781800"/>
                    <a:gd name="connsiteX5" fmla="*/ 3829050 w 3990975"/>
                    <a:gd name="connsiteY5" fmla="*/ 990600 h 6781800"/>
                    <a:gd name="connsiteX6" fmla="*/ 3924300 w 3990975"/>
                    <a:gd name="connsiteY6" fmla="*/ 1466850 h 6781800"/>
                    <a:gd name="connsiteX7" fmla="*/ 3990975 w 3990975"/>
                    <a:gd name="connsiteY7" fmla="*/ 1876425 h 6781800"/>
                    <a:gd name="connsiteX8" fmla="*/ 3943350 w 3990975"/>
                    <a:gd name="connsiteY8" fmla="*/ 2190750 h 6781800"/>
                    <a:gd name="connsiteX9" fmla="*/ 3876675 w 3990975"/>
                    <a:gd name="connsiteY9" fmla="*/ 2371725 h 6781800"/>
                    <a:gd name="connsiteX10" fmla="*/ 3800475 w 3990975"/>
                    <a:gd name="connsiteY10" fmla="*/ 2276475 h 6781800"/>
                    <a:gd name="connsiteX11" fmla="*/ 3790950 w 3990975"/>
                    <a:gd name="connsiteY11" fmla="*/ 2076450 h 6781800"/>
                    <a:gd name="connsiteX12" fmla="*/ 3590925 w 3990975"/>
                    <a:gd name="connsiteY12" fmla="*/ 1895475 h 6781800"/>
                    <a:gd name="connsiteX13" fmla="*/ 3324225 w 3990975"/>
                    <a:gd name="connsiteY13" fmla="*/ 1733550 h 6781800"/>
                    <a:gd name="connsiteX14" fmla="*/ 3181350 w 3990975"/>
                    <a:gd name="connsiteY14" fmla="*/ 2247900 h 6781800"/>
                    <a:gd name="connsiteX15" fmla="*/ 2628900 w 3990975"/>
                    <a:gd name="connsiteY15" fmla="*/ 3848100 h 6781800"/>
                    <a:gd name="connsiteX16" fmla="*/ 2000250 w 3990975"/>
                    <a:gd name="connsiteY16" fmla="*/ 5172075 h 6781800"/>
                    <a:gd name="connsiteX17" fmla="*/ 1857375 w 3990975"/>
                    <a:gd name="connsiteY17" fmla="*/ 5429250 h 6781800"/>
                    <a:gd name="connsiteX18" fmla="*/ 1666875 w 3990975"/>
                    <a:gd name="connsiteY18" fmla="*/ 5734050 h 6781800"/>
                    <a:gd name="connsiteX19" fmla="*/ 1571625 w 3990975"/>
                    <a:gd name="connsiteY19" fmla="*/ 6096000 h 6781800"/>
                    <a:gd name="connsiteX20" fmla="*/ 1257300 w 3990975"/>
                    <a:gd name="connsiteY20" fmla="*/ 6629400 h 6781800"/>
                    <a:gd name="connsiteX21" fmla="*/ 1143000 w 3990975"/>
                    <a:gd name="connsiteY21" fmla="*/ 6781800 h 6781800"/>
                    <a:gd name="connsiteX22" fmla="*/ 1085850 w 3990975"/>
                    <a:gd name="connsiteY22" fmla="*/ 6257925 h 6781800"/>
                    <a:gd name="connsiteX23" fmla="*/ 933450 w 3990975"/>
                    <a:gd name="connsiteY23" fmla="*/ 5562600 h 6781800"/>
                    <a:gd name="connsiteX24" fmla="*/ 857250 w 3990975"/>
                    <a:gd name="connsiteY24" fmla="*/ 5172075 h 6781800"/>
                    <a:gd name="connsiteX25" fmla="*/ 781050 w 3990975"/>
                    <a:gd name="connsiteY25" fmla="*/ 4705350 h 6781800"/>
                    <a:gd name="connsiteX26" fmla="*/ 742950 w 3990975"/>
                    <a:gd name="connsiteY26" fmla="*/ 4086225 h 6781800"/>
                    <a:gd name="connsiteX27" fmla="*/ 809625 w 3990975"/>
                    <a:gd name="connsiteY27" fmla="*/ 3343275 h 6781800"/>
                    <a:gd name="connsiteX28" fmla="*/ 952500 w 3990975"/>
                    <a:gd name="connsiteY28" fmla="*/ 2552700 h 6781800"/>
                    <a:gd name="connsiteX29" fmla="*/ 1028700 w 3990975"/>
                    <a:gd name="connsiteY29" fmla="*/ 1924050 h 6781800"/>
                    <a:gd name="connsiteX30" fmla="*/ 942975 w 3990975"/>
                    <a:gd name="connsiteY30" fmla="*/ 1762125 h 6781800"/>
                    <a:gd name="connsiteX31" fmla="*/ 866775 w 3990975"/>
                    <a:gd name="connsiteY31" fmla="*/ 1600200 h 6781800"/>
                    <a:gd name="connsiteX32" fmla="*/ 876300 w 3990975"/>
                    <a:gd name="connsiteY32" fmla="*/ 1314450 h 6781800"/>
                    <a:gd name="connsiteX33" fmla="*/ 819150 w 3990975"/>
                    <a:gd name="connsiteY33" fmla="*/ 1276350 h 6781800"/>
                    <a:gd name="connsiteX34" fmla="*/ 685800 w 3990975"/>
                    <a:gd name="connsiteY34" fmla="*/ 1390650 h 6781800"/>
                    <a:gd name="connsiteX35" fmla="*/ 523875 w 3990975"/>
                    <a:gd name="connsiteY35" fmla="*/ 1457325 h 6781800"/>
                    <a:gd name="connsiteX36" fmla="*/ 352425 w 3990975"/>
                    <a:gd name="connsiteY36" fmla="*/ 1495425 h 6781800"/>
                    <a:gd name="connsiteX37" fmla="*/ 133350 w 3990975"/>
                    <a:gd name="connsiteY37" fmla="*/ 1552575 h 6781800"/>
                    <a:gd name="connsiteX38" fmla="*/ 0 w 3990975"/>
                    <a:gd name="connsiteY38" fmla="*/ 1562100 h 6781800"/>
                    <a:gd name="connsiteX39" fmla="*/ 9525 w 3990975"/>
                    <a:gd name="connsiteY39" fmla="*/ 1495425 h 6781800"/>
                    <a:gd name="connsiteX40" fmla="*/ 228600 w 3990975"/>
                    <a:gd name="connsiteY40" fmla="*/ 1371600 h 6781800"/>
                    <a:gd name="connsiteX41" fmla="*/ 542925 w 3990975"/>
                    <a:gd name="connsiteY41" fmla="*/ 1171575 h 6781800"/>
                    <a:gd name="connsiteX42" fmla="*/ 914400 w 3990975"/>
                    <a:gd name="connsiteY42" fmla="*/ 942975 h 6781800"/>
                    <a:gd name="connsiteX43" fmla="*/ 1047750 w 3990975"/>
                    <a:gd name="connsiteY43" fmla="*/ 771525 h 6781800"/>
                    <a:gd name="connsiteX44" fmla="*/ 1238250 w 3990975"/>
                    <a:gd name="connsiteY44" fmla="*/ 552450 h 6781800"/>
                    <a:gd name="connsiteX45" fmla="*/ 1419225 w 3990975"/>
                    <a:gd name="connsiteY45" fmla="*/ 390525 h 6781800"/>
                    <a:gd name="connsiteX46" fmla="*/ 1485900 w 3990975"/>
                    <a:gd name="connsiteY46" fmla="*/ 476250 h 6781800"/>
                    <a:gd name="connsiteX47" fmla="*/ 1476375 w 3990975"/>
                    <a:gd name="connsiteY47" fmla="*/ 885825 h 6781800"/>
                    <a:gd name="connsiteX48" fmla="*/ 1400175 w 3990975"/>
                    <a:gd name="connsiteY48" fmla="*/ 1190625 h 6781800"/>
                    <a:gd name="connsiteX49" fmla="*/ 1323975 w 3990975"/>
                    <a:gd name="connsiteY49" fmla="*/ 1524000 h 6781800"/>
                    <a:gd name="connsiteX50" fmla="*/ 1447800 w 3990975"/>
                    <a:gd name="connsiteY50" fmla="*/ 1885950 h 6781800"/>
                    <a:gd name="connsiteX51" fmla="*/ 1514475 w 3990975"/>
                    <a:gd name="connsiteY51" fmla="*/ 2066925 h 6781800"/>
                    <a:gd name="connsiteX52" fmla="*/ 1600200 w 3990975"/>
                    <a:gd name="connsiteY52" fmla="*/ 2438400 h 6781800"/>
                    <a:gd name="connsiteX53" fmla="*/ 1657350 w 3990975"/>
                    <a:gd name="connsiteY53" fmla="*/ 2686050 h 6781800"/>
                    <a:gd name="connsiteX54" fmla="*/ 1781175 w 3990975"/>
                    <a:gd name="connsiteY54" fmla="*/ 2933700 h 6781800"/>
                    <a:gd name="connsiteX55" fmla="*/ 1981200 w 3990975"/>
                    <a:gd name="connsiteY55" fmla="*/ 2581275 h 6781800"/>
                    <a:gd name="connsiteX56" fmla="*/ 2101850 w 3990975"/>
                    <a:gd name="connsiteY56" fmla="*/ 2181225 h 6781800"/>
                    <a:gd name="connsiteX57" fmla="*/ 2314575 w 3990975"/>
                    <a:gd name="connsiteY57" fmla="*/ 2000250 h 6781800"/>
                    <a:gd name="connsiteX58" fmla="*/ 2543175 w 3990975"/>
                    <a:gd name="connsiteY58" fmla="*/ 1962150 h 6781800"/>
                    <a:gd name="connsiteX59" fmla="*/ 2724150 w 3990975"/>
                    <a:gd name="connsiteY59" fmla="*/ 1895475 h 6781800"/>
                    <a:gd name="connsiteX60" fmla="*/ 2857500 w 3990975"/>
                    <a:gd name="connsiteY60" fmla="*/ 1787525 h 6781800"/>
                    <a:gd name="connsiteX61" fmla="*/ 2952750 w 3990975"/>
                    <a:gd name="connsiteY61" fmla="*/ 1685925 h 6781800"/>
                    <a:gd name="connsiteX62" fmla="*/ 3019425 w 3990975"/>
                    <a:gd name="connsiteY62" fmla="*/ 1552575 h 6781800"/>
                    <a:gd name="connsiteX63" fmla="*/ 3028950 w 3990975"/>
                    <a:gd name="connsiteY63" fmla="*/ 1524000 h 6781800"/>
                    <a:gd name="connsiteX64" fmla="*/ 3124200 w 3990975"/>
                    <a:gd name="connsiteY64" fmla="*/ 1235075 h 6781800"/>
                    <a:gd name="connsiteX65" fmla="*/ 3219450 w 3990975"/>
                    <a:gd name="connsiteY65" fmla="*/ 942975 h 6781800"/>
                    <a:gd name="connsiteX66" fmla="*/ 3381375 w 3990975"/>
                    <a:gd name="connsiteY66" fmla="*/ 657225 h 6781800"/>
                    <a:gd name="connsiteX67" fmla="*/ 3295650 w 3990975"/>
                    <a:gd name="connsiteY67" fmla="*/ 590550 h 6781800"/>
                    <a:gd name="connsiteX68" fmla="*/ 3219450 w 3990975"/>
                    <a:gd name="connsiteY68" fmla="*/ 390525 h 6781800"/>
                    <a:gd name="connsiteX69" fmla="*/ 3181350 w 3990975"/>
                    <a:gd name="connsiteY69" fmla="*/ 0 h 6781800"/>
                    <a:gd name="connsiteX0" fmla="*/ 3181350 w 3990975"/>
                    <a:gd name="connsiteY0" fmla="*/ 0 h 6781800"/>
                    <a:gd name="connsiteX1" fmla="*/ 3305175 w 3990975"/>
                    <a:gd name="connsiteY1" fmla="*/ 28575 h 6781800"/>
                    <a:gd name="connsiteX2" fmla="*/ 3448050 w 3990975"/>
                    <a:gd name="connsiteY2" fmla="*/ 180975 h 6781800"/>
                    <a:gd name="connsiteX3" fmla="*/ 3600450 w 3990975"/>
                    <a:gd name="connsiteY3" fmla="*/ 447675 h 6781800"/>
                    <a:gd name="connsiteX4" fmla="*/ 3771900 w 3990975"/>
                    <a:gd name="connsiteY4" fmla="*/ 733425 h 6781800"/>
                    <a:gd name="connsiteX5" fmla="*/ 3829050 w 3990975"/>
                    <a:gd name="connsiteY5" fmla="*/ 990600 h 6781800"/>
                    <a:gd name="connsiteX6" fmla="*/ 3924300 w 3990975"/>
                    <a:gd name="connsiteY6" fmla="*/ 1466850 h 6781800"/>
                    <a:gd name="connsiteX7" fmla="*/ 3990975 w 3990975"/>
                    <a:gd name="connsiteY7" fmla="*/ 1876425 h 6781800"/>
                    <a:gd name="connsiteX8" fmla="*/ 3943350 w 3990975"/>
                    <a:gd name="connsiteY8" fmla="*/ 2190750 h 6781800"/>
                    <a:gd name="connsiteX9" fmla="*/ 3876675 w 3990975"/>
                    <a:gd name="connsiteY9" fmla="*/ 2371725 h 6781800"/>
                    <a:gd name="connsiteX10" fmla="*/ 3800475 w 3990975"/>
                    <a:gd name="connsiteY10" fmla="*/ 2276475 h 6781800"/>
                    <a:gd name="connsiteX11" fmla="*/ 3790950 w 3990975"/>
                    <a:gd name="connsiteY11" fmla="*/ 2076450 h 6781800"/>
                    <a:gd name="connsiteX12" fmla="*/ 3590925 w 3990975"/>
                    <a:gd name="connsiteY12" fmla="*/ 1895475 h 6781800"/>
                    <a:gd name="connsiteX13" fmla="*/ 3324225 w 3990975"/>
                    <a:gd name="connsiteY13" fmla="*/ 1733550 h 6781800"/>
                    <a:gd name="connsiteX14" fmla="*/ 3181350 w 3990975"/>
                    <a:gd name="connsiteY14" fmla="*/ 2247900 h 6781800"/>
                    <a:gd name="connsiteX15" fmla="*/ 2628900 w 3990975"/>
                    <a:gd name="connsiteY15" fmla="*/ 3848100 h 6781800"/>
                    <a:gd name="connsiteX16" fmla="*/ 2000250 w 3990975"/>
                    <a:gd name="connsiteY16" fmla="*/ 5172075 h 6781800"/>
                    <a:gd name="connsiteX17" fmla="*/ 1857375 w 3990975"/>
                    <a:gd name="connsiteY17" fmla="*/ 5429250 h 6781800"/>
                    <a:gd name="connsiteX18" fmla="*/ 1666875 w 3990975"/>
                    <a:gd name="connsiteY18" fmla="*/ 5734050 h 6781800"/>
                    <a:gd name="connsiteX19" fmla="*/ 1571625 w 3990975"/>
                    <a:gd name="connsiteY19" fmla="*/ 6096000 h 6781800"/>
                    <a:gd name="connsiteX20" fmla="*/ 1257300 w 3990975"/>
                    <a:gd name="connsiteY20" fmla="*/ 6629400 h 6781800"/>
                    <a:gd name="connsiteX21" fmla="*/ 1143000 w 3990975"/>
                    <a:gd name="connsiteY21" fmla="*/ 6781800 h 6781800"/>
                    <a:gd name="connsiteX22" fmla="*/ 1085850 w 3990975"/>
                    <a:gd name="connsiteY22" fmla="*/ 6257925 h 6781800"/>
                    <a:gd name="connsiteX23" fmla="*/ 933450 w 3990975"/>
                    <a:gd name="connsiteY23" fmla="*/ 5562600 h 6781800"/>
                    <a:gd name="connsiteX24" fmla="*/ 857250 w 3990975"/>
                    <a:gd name="connsiteY24" fmla="*/ 5172075 h 6781800"/>
                    <a:gd name="connsiteX25" fmla="*/ 781050 w 3990975"/>
                    <a:gd name="connsiteY25" fmla="*/ 4705350 h 6781800"/>
                    <a:gd name="connsiteX26" fmla="*/ 742950 w 3990975"/>
                    <a:gd name="connsiteY26" fmla="*/ 4086225 h 6781800"/>
                    <a:gd name="connsiteX27" fmla="*/ 809625 w 3990975"/>
                    <a:gd name="connsiteY27" fmla="*/ 3343275 h 6781800"/>
                    <a:gd name="connsiteX28" fmla="*/ 952500 w 3990975"/>
                    <a:gd name="connsiteY28" fmla="*/ 2552700 h 6781800"/>
                    <a:gd name="connsiteX29" fmla="*/ 1028700 w 3990975"/>
                    <a:gd name="connsiteY29" fmla="*/ 1924050 h 6781800"/>
                    <a:gd name="connsiteX30" fmla="*/ 942975 w 3990975"/>
                    <a:gd name="connsiteY30" fmla="*/ 1762125 h 6781800"/>
                    <a:gd name="connsiteX31" fmla="*/ 866775 w 3990975"/>
                    <a:gd name="connsiteY31" fmla="*/ 1600200 h 6781800"/>
                    <a:gd name="connsiteX32" fmla="*/ 876300 w 3990975"/>
                    <a:gd name="connsiteY32" fmla="*/ 1314450 h 6781800"/>
                    <a:gd name="connsiteX33" fmla="*/ 819150 w 3990975"/>
                    <a:gd name="connsiteY33" fmla="*/ 1276350 h 6781800"/>
                    <a:gd name="connsiteX34" fmla="*/ 685800 w 3990975"/>
                    <a:gd name="connsiteY34" fmla="*/ 1390650 h 6781800"/>
                    <a:gd name="connsiteX35" fmla="*/ 523875 w 3990975"/>
                    <a:gd name="connsiteY35" fmla="*/ 1457325 h 6781800"/>
                    <a:gd name="connsiteX36" fmla="*/ 352425 w 3990975"/>
                    <a:gd name="connsiteY36" fmla="*/ 1495425 h 6781800"/>
                    <a:gd name="connsiteX37" fmla="*/ 133350 w 3990975"/>
                    <a:gd name="connsiteY37" fmla="*/ 1552575 h 6781800"/>
                    <a:gd name="connsiteX38" fmla="*/ 0 w 3990975"/>
                    <a:gd name="connsiteY38" fmla="*/ 1562100 h 6781800"/>
                    <a:gd name="connsiteX39" fmla="*/ 9525 w 3990975"/>
                    <a:gd name="connsiteY39" fmla="*/ 1495425 h 6781800"/>
                    <a:gd name="connsiteX40" fmla="*/ 228600 w 3990975"/>
                    <a:gd name="connsiteY40" fmla="*/ 1371600 h 6781800"/>
                    <a:gd name="connsiteX41" fmla="*/ 542925 w 3990975"/>
                    <a:gd name="connsiteY41" fmla="*/ 1171575 h 6781800"/>
                    <a:gd name="connsiteX42" fmla="*/ 914400 w 3990975"/>
                    <a:gd name="connsiteY42" fmla="*/ 942975 h 6781800"/>
                    <a:gd name="connsiteX43" fmla="*/ 1047750 w 3990975"/>
                    <a:gd name="connsiteY43" fmla="*/ 771525 h 6781800"/>
                    <a:gd name="connsiteX44" fmla="*/ 1238250 w 3990975"/>
                    <a:gd name="connsiteY44" fmla="*/ 552450 h 6781800"/>
                    <a:gd name="connsiteX45" fmla="*/ 1419225 w 3990975"/>
                    <a:gd name="connsiteY45" fmla="*/ 390525 h 6781800"/>
                    <a:gd name="connsiteX46" fmla="*/ 1485900 w 3990975"/>
                    <a:gd name="connsiteY46" fmla="*/ 476250 h 6781800"/>
                    <a:gd name="connsiteX47" fmla="*/ 1476375 w 3990975"/>
                    <a:gd name="connsiteY47" fmla="*/ 885825 h 6781800"/>
                    <a:gd name="connsiteX48" fmla="*/ 1400175 w 3990975"/>
                    <a:gd name="connsiteY48" fmla="*/ 1190625 h 6781800"/>
                    <a:gd name="connsiteX49" fmla="*/ 1323975 w 3990975"/>
                    <a:gd name="connsiteY49" fmla="*/ 1524000 h 6781800"/>
                    <a:gd name="connsiteX50" fmla="*/ 1447800 w 3990975"/>
                    <a:gd name="connsiteY50" fmla="*/ 1885950 h 6781800"/>
                    <a:gd name="connsiteX51" fmla="*/ 1514475 w 3990975"/>
                    <a:gd name="connsiteY51" fmla="*/ 2066925 h 6781800"/>
                    <a:gd name="connsiteX52" fmla="*/ 1600200 w 3990975"/>
                    <a:gd name="connsiteY52" fmla="*/ 2438400 h 6781800"/>
                    <a:gd name="connsiteX53" fmla="*/ 1657350 w 3990975"/>
                    <a:gd name="connsiteY53" fmla="*/ 2686050 h 6781800"/>
                    <a:gd name="connsiteX54" fmla="*/ 1781175 w 3990975"/>
                    <a:gd name="connsiteY54" fmla="*/ 2933700 h 6781800"/>
                    <a:gd name="connsiteX55" fmla="*/ 1981200 w 3990975"/>
                    <a:gd name="connsiteY55" fmla="*/ 2581275 h 6781800"/>
                    <a:gd name="connsiteX56" fmla="*/ 2101850 w 3990975"/>
                    <a:gd name="connsiteY56" fmla="*/ 2181225 h 6781800"/>
                    <a:gd name="connsiteX57" fmla="*/ 2314575 w 3990975"/>
                    <a:gd name="connsiteY57" fmla="*/ 2000250 h 6781800"/>
                    <a:gd name="connsiteX58" fmla="*/ 2543175 w 3990975"/>
                    <a:gd name="connsiteY58" fmla="*/ 1962150 h 6781800"/>
                    <a:gd name="connsiteX59" fmla="*/ 2724150 w 3990975"/>
                    <a:gd name="connsiteY59" fmla="*/ 1895475 h 6781800"/>
                    <a:gd name="connsiteX60" fmla="*/ 2857500 w 3990975"/>
                    <a:gd name="connsiteY60" fmla="*/ 1787525 h 6781800"/>
                    <a:gd name="connsiteX61" fmla="*/ 2952750 w 3990975"/>
                    <a:gd name="connsiteY61" fmla="*/ 1685925 h 6781800"/>
                    <a:gd name="connsiteX62" fmla="*/ 3019425 w 3990975"/>
                    <a:gd name="connsiteY62" fmla="*/ 1552575 h 6781800"/>
                    <a:gd name="connsiteX63" fmla="*/ 2990850 w 3990975"/>
                    <a:gd name="connsiteY63" fmla="*/ 1466850 h 6781800"/>
                    <a:gd name="connsiteX64" fmla="*/ 3124200 w 3990975"/>
                    <a:gd name="connsiteY64" fmla="*/ 1235075 h 6781800"/>
                    <a:gd name="connsiteX65" fmla="*/ 3219450 w 3990975"/>
                    <a:gd name="connsiteY65" fmla="*/ 942975 h 6781800"/>
                    <a:gd name="connsiteX66" fmla="*/ 3381375 w 3990975"/>
                    <a:gd name="connsiteY66" fmla="*/ 657225 h 6781800"/>
                    <a:gd name="connsiteX67" fmla="*/ 3295650 w 3990975"/>
                    <a:gd name="connsiteY67" fmla="*/ 590550 h 6781800"/>
                    <a:gd name="connsiteX68" fmla="*/ 3219450 w 3990975"/>
                    <a:gd name="connsiteY68" fmla="*/ 390525 h 6781800"/>
                    <a:gd name="connsiteX69" fmla="*/ 3181350 w 3990975"/>
                    <a:gd name="connsiteY69" fmla="*/ 0 h 6781800"/>
                    <a:gd name="connsiteX0" fmla="*/ 3181350 w 3990975"/>
                    <a:gd name="connsiteY0" fmla="*/ 0 h 6781800"/>
                    <a:gd name="connsiteX1" fmla="*/ 3305175 w 3990975"/>
                    <a:gd name="connsiteY1" fmla="*/ 28575 h 6781800"/>
                    <a:gd name="connsiteX2" fmla="*/ 3448050 w 3990975"/>
                    <a:gd name="connsiteY2" fmla="*/ 180975 h 6781800"/>
                    <a:gd name="connsiteX3" fmla="*/ 3600450 w 3990975"/>
                    <a:gd name="connsiteY3" fmla="*/ 447675 h 6781800"/>
                    <a:gd name="connsiteX4" fmla="*/ 3771900 w 3990975"/>
                    <a:gd name="connsiteY4" fmla="*/ 733425 h 6781800"/>
                    <a:gd name="connsiteX5" fmla="*/ 3829050 w 3990975"/>
                    <a:gd name="connsiteY5" fmla="*/ 990600 h 6781800"/>
                    <a:gd name="connsiteX6" fmla="*/ 3924300 w 3990975"/>
                    <a:gd name="connsiteY6" fmla="*/ 1466850 h 6781800"/>
                    <a:gd name="connsiteX7" fmla="*/ 3990975 w 3990975"/>
                    <a:gd name="connsiteY7" fmla="*/ 1876425 h 6781800"/>
                    <a:gd name="connsiteX8" fmla="*/ 3943350 w 3990975"/>
                    <a:gd name="connsiteY8" fmla="*/ 2190750 h 6781800"/>
                    <a:gd name="connsiteX9" fmla="*/ 3876675 w 3990975"/>
                    <a:gd name="connsiteY9" fmla="*/ 2371725 h 6781800"/>
                    <a:gd name="connsiteX10" fmla="*/ 3800475 w 3990975"/>
                    <a:gd name="connsiteY10" fmla="*/ 2276475 h 6781800"/>
                    <a:gd name="connsiteX11" fmla="*/ 3790950 w 3990975"/>
                    <a:gd name="connsiteY11" fmla="*/ 2076450 h 6781800"/>
                    <a:gd name="connsiteX12" fmla="*/ 3590925 w 3990975"/>
                    <a:gd name="connsiteY12" fmla="*/ 1895475 h 6781800"/>
                    <a:gd name="connsiteX13" fmla="*/ 3324225 w 3990975"/>
                    <a:gd name="connsiteY13" fmla="*/ 1733550 h 6781800"/>
                    <a:gd name="connsiteX14" fmla="*/ 3181350 w 3990975"/>
                    <a:gd name="connsiteY14" fmla="*/ 2247900 h 6781800"/>
                    <a:gd name="connsiteX15" fmla="*/ 2628900 w 3990975"/>
                    <a:gd name="connsiteY15" fmla="*/ 3848100 h 6781800"/>
                    <a:gd name="connsiteX16" fmla="*/ 2000250 w 3990975"/>
                    <a:gd name="connsiteY16" fmla="*/ 5172075 h 6781800"/>
                    <a:gd name="connsiteX17" fmla="*/ 1857375 w 3990975"/>
                    <a:gd name="connsiteY17" fmla="*/ 5429250 h 6781800"/>
                    <a:gd name="connsiteX18" fmla="*/ 1666875 w 3990975"/>
                    <a:gd name="connsiteY18" fmla="*/ 5734050 h 6781800"/>
                    <a:gd name="connsiteX19" fmla="*/ 1571625 w 3990975"/>
                    <a:gd name="connsiteY19" fmla="*/ 6096000 h 6781800"/>
                    <a:gd name="connsiteX20" fmla="*/ 1257300 w 3990975"/>
                    <a:gd name="connsiteY20" fmla="*/ 6629400 h 6781800"/>
                    <a:gd name="connsiteX21" fmla="*/ 1143000 w 3990975"/>
                    <a:gd name="connsiteY21" fmla="*/ 6781800 h 6781800"/>
                    <a:gd name="connsiteX22" fmla="*/ 1085850 w 3990975"/>
                    <a:gd name="connsiteY22" fmla="*/ 6257925 h 6781800"/>
                    <a:gd name="connsiteX23" fmla="*/ 933450 w 3990975"/>
                    <a:gd name="connsiteY23" fmla="*/ 5562600 h 6781800"/>
                    <a:gd name="connsiteX24" fmla="*/ 857250 w 3990975"/>
                    <a:gd name="connsiteY24" fmla="*/ 5172075 h 6781800"/>
                    <a:gd name="connsiteX25" fmla="*/ 781050 w 3990975"/>
                    <a:gd name="connsiteY25" fmla="*/ 4705350 h 6781800"/>
                    <a:gd name="connsiteX26" fmla="*/ 742950 w 3990975"/>
                    <a:gd name="connsiteY26" fmla="*/ 4086225 h 6781800"/>
                    <a:gd name="connsiteX27" fmla="*/ 809625 w 3990975"/>
                    <a:gd name="connsiteY27" fmla="*/ 3343275 h 6781800"/>
                    <a:gd name="connsiteX28" fmla="*/ 952500 w 3990975"/>
                    <a:gd name="connsiteY28" fmla="*/ 2552700 h 6781800"/>
                    <a:gd name="connsiteX29" fmla="*/ 1028700 w 3990975"/>
                    <a:gd name="connsiteY29" fmla="*/ 1924050 h 6781800"/>
                    <a:gd name="connsiteX30" fmla="*/ 942975 w 3990975"/>
                    <a:gd name="connsiteY30" fmla="*/ 1762125 h 6781800"/>
                    <a:gd name="connsiteX31" fmla="*/ 866775 w 3990975"/>
                    <a:gd name="connsiteY31" fmla="*/ 1600200 h 6781800"/>
                    <a:gd name="connsiteX32" fmla="*/ 876300 w 3990975"/>
                    <a:gd name="connsiteY32" fmla="*/ 1314450 h 6781800"/>
                    <a:gd name="connsiteX33" fmla="*/ 819150 w 3990975"/>
                    <a:gd name="connsiteY33" fmla="*/ 1276350 h 6781800"/>
                    <a:gd name="connsiteX34" fmla="*/ 685800 w 3990975"/>
                    <a:gd name="connsiteY34" fmla="*/ 1390650 h 6781800"/>
                    <a:gd name="connsiteX35" fmla="*/ 523875 w 3990975"/>
                    <a:gd name="connsiteY35" fmla="*/ 1457325 h 6781800"/>
                    <a:gd name="connsiteX36" fmla="*/ 352425 w 3990975"/>
                    <a:gd name="connsiteY36" fmla="*/ 1495425 h 6781800"/>
                    <a:gd name="connsiteX37" fmla="*/ 133350 w 3990975"/>
                    <a:gd name="connsiteY37" fmla="*/ 1552575 h 6781800"/>
                    <a:gd name="connsiteX38" fmla="*/ 0 w 3990975"/>
                    <a:gd name="connsiteY38" fmla="*/ 1562100 h 6781800"/>
                    <a:gd name="connsiteX39" fmla="*/ 9525 w 3990975"/>
                    <a:gd name="connsiteY39" fmla="*/ 1495425 h 6781800"/>
                    <a:gd name="connsiteX40" fmla="*/ 228600 w 3990975"/>
                    <a:gd name="connsiteY40" fmla="*/ 1371600 h 6781800"/>
                    <a:gd name="connsiteX41" fmla="*/ 542925 w 3990975"/>
                    <a:gd name="connsiteY41" fmla="*/ 1171575 h 6781800"/>
                    <a:gd name="connsiteX42" fmla="*/ 914400 w 3990975"/>
                    <a:gd name="connsiteY42" fmla="*/ 942975 h 6781800"/>
                    <a:gd name="connsiteX43" fmla="*/ 1047750 w 3990975"/>
                    <a:gd name="connsiteY43" fmla="*/ 771525 h 6781800"/>
                    <a:gd name="connsiteX44" fmla="*/ 1238250 w 3990975"/>
                    <a:gd name="connsiteY44" fmla="*/ 552450 h 6781800"/>
                    <a:gd name="connsiteX45" fmla="*/ 1419225 w 3990975"/>
                    <a:gd name="connsiteY45" fmla="*/ 390525 h 6781800"/>
                    <a:gd name="connsiteX46" fmla="*/ 1485900 w 3990975"/>
                    <a:gd name="connsiteY46" fmla="*/ 476250 h 6781800"/>
                    <a:gd name="connsiteX47" fmla="*/ 1476375 w 3990975"/>
                    <a:gd name="connsiteY47" fmla="*/ 885825 h 6781800"/>
                    <a:gd name="connsiteX48" fmla="*/ 1400175 w 3990975"/>
                    <a:gd name="connsiteY48" fmla="*/ 1190625 h 6781800"/>
                    <a:gd name="connsiteX49" fmla="*/ 1323975 w 3990975"/>
                    <a:gd name="connsiteY49" fmla="*/ 1524000 h 6781800"/>
                    <a:gd name="connsiteX50" fmla="*/ 1447800 w 3990975"/>
                    <a:gd name="connsiteY50" fmla="*/ 1885950 h 6781800"/>
                    <a:gd name="connsiteX51" fmla="*/ 1514475 w 3990975"/>
                    <a:gd name="connsiteY51" fmla="*/ 2066925 h 6781800"/>
                    <a:gd name="connsiteX52" fmla="*/ 1600200 w 3990975"/>
                    <a:gd name="connsiteY52" fmla="*/ 2438400 h 6781800"/>
                    <a:gd name="connsiteX53" fmla="*/ 1657350 w 3990975"/>
                    <a:gd name="connsiteY53" fmla="*/ 2686050 h 6781800"/>
                    <a:gd name="connsiteX54" fmla="*/ 1781175 w 3990975"/>
                    <a:gd name="connsiteY54" fmla="*/ 2933700 h 6781800"/>
                    <a:gd name="connsiteX55" fmla="*/ 1981200 w 3990975"/>
                    <a:gd name="connsiteY55" fmla="*/ 2581275 h 6781800"/>
                    <a:gd name="connsiteX56" fmla="*/ 2101850 w 3990975"/>
                    <a:gd name="connsiteY56" fmla="*/ 2181225 h 6781800"/>
                    <a:gd name="connsiteX57" fmla="*/ 2314575 w 3990975"/>
                    <a:gd name="connsiteY57" fmla="*/ 2000250 h 6781800"/>
                    <a:gd name="connsiteX58" fmla="*/ 2543175 w 3990975"/>
                    <a:gd name="connsiteY58" fmla="*/ 1962150 h 6781800"/>
                    <a:gd name="connsiteX59" fmla="*/ 2724150 w 3990975"/>
                    <a:gd name="connsiteY59" fmla="*/ 1895475 h 6781800"/>
                    <a:gd name="connsiteX60" fmla="*/ 2857500 w 3990975"/>
                    <a:gd name="connsiteY60" fmla="*/ 1787525 h 6781800"/>
                    <a:gd name="connsiteX61" fmla="*/ 2952750 w 3990975"/>
                    <a:gd name="connsiteY61" fmla="*/ 1685925 h 6781800"/>
                    <a:gd name="connsiteX62" fmla="*/ 3019425 w 3990975"/>
                    <a:gd name="connsiteY62" fmla="*/ 1552575 h 6781800"/>
                    <a:gd name="connsiteX63" fmla="*/ 2990850 w 3990975"/>
                    <a:gd name="connsiteY63" fmla="*/ 1466850 h 6781800"/>
                    <a:gd name="connsiteX64" fmla="*/ 3124200 w 3990975"/>
                    <a:gd name="connsiteY64" fmla="*/ 1235075 h 6781800"/>
                    <a:gd name="connsiteX65" fmla="*/ 3219450 w 3990975"/>
                    <a:gd name="connsiteY65" fmla="*/ 942975 h 6781800"/>
                    <a:gd name="connsiteX66" fmla="*/ 3381375 w 3990975"/>
                    <a:gd name="connsiteY66" fmla="*/ 657225 h 6781800"/>
                    <a:gd name="connsiteX67" fmla="*/ 3295650 w 3990975"/>
                    <a:gd name="connsiteY67" fmla="*/ 590550 h 6781800"/>
                    <a:gd name="connsiteX68" fmla="*/ 3219450 w 3990975"/>
                    <a:gd name="connsiteY68" fmla="*/ 390525 h 6781800"/>
                    <a:gd name="connsiteX69" fmla="*/ 3181350 w 3990975"/>
                    <a:gd name="connsiteY69" fmla="*/ 0 h 6781800"/>
                    <a:gd name="connsiteX0" fmla="*/ 3181350 w 3990975"/>
                    <a:gd name="connsiteY0" fmla="*/ 0 h 6781800"/>
                    <a:gd name="connsiteX1" fmla="*/ 3305175 w 3990975"/>
                    <a:gd name="connsiteY1" fmla="*/ 28575 h 6781800"/>
                    <a:gd name="connsiteX2" fmla="*/ 3448050 w 3990975"/>
                    <a:gd name="connsiteY2" fmla="*/ 180975 h 6781800"/>
                    <a:gd name="connsiteX3" fmla="*/ 3600450 w 3990975"/>
                    <a:gd name="connsiteY3" fmla="*/ 447675 h 6781800"/>
                    <a:gd name="connsiteX4" fmla="*/ 3771900 w 3990975"/>
                    <a:gd name="connsiteY4" fmla="*/ 733425 h 6781800"/>
                    <a:gd name="connsiteX5" fmla="*/ 3829050 w 3990975"/>
                    <a:gd name="connsiteY5" fmla="*/ 990600 h 6781800"/>
                    <a:gd name="connsiteX6" fmla="*/ 3924300 w 3990975"/>
                    <a:gd name="connsiteY6" fmla="*/ 1466850 h 6781800"/>
                    <a:gd name="connsiteX7" fmla="*/ 3990975 w 3990975"/>
                    <a:gd name="connsiteY7" fmla="*/ 1876425 h 6781800"/>
                    <a:gd name="connsiteX8" fmla="*/ 3943350 w 3990975"/>
                    <a:gd name="connsiteY8" fmla="*/ 2190750 h 6781800"/>
                    <a:gd name="connsiteX9" fmla="*/ 3876675 w 3990975"/>
                    <a:gd name="connsiteY9" fmla="*/ 2371725 h 6781800"/>
                    <a:gd name="connsiteX10" fmla="*/ 3800475 w 3990975"/>
                    <a:gd name="connsiteY10" fmla="*/ 2276475 h 6781800"/>
                    <a:gd name="connsiteX11" fmla="*/ 3790950 w 3990975"/>
                    <a:gd name="connsiteY11" fmla="*/ 2076450 h 6781800"/>
                    <a:gd name="connsiteX12" fmla="*/ 3590925 w 3990975"/>
                    <a:gd name="connsiteY12" fmla="*/ 1895475 h 6781800"/>
                    <a:gd name="connsiteX13" fmla="*/ 3324225 w 3990975"/>
                    <a:gd name="connsiteY13" fmla="*/ 1733550 h 6781800"/>
                    <a:gd name="connsiteX14" fmla="*/ 3181350 w 3990975"/>
                    <a:gd name="connsiteY14" fmla="*/ 2247900 h 6781800"/>
                    <a:gd name="connsiteX15" fmla="*/ 2628900 w 3990975"/>
                    <a:gd name="connsiteY15" fmla="*/ 3848100 h 6781800"/>
                    <a:gd name="connsiteX16" fmla="*/ 2000250 w 3990975"/>
                    <a:gd name="connsiteY16" fmla="*/ 5172075 h 6781800"/>
                    <a:gd name="connsiteX17" fmla="*/ 1857375 w 3990975"/>
                    <a:gd name="connsiteY17" fmla="*/ 5429250 h 6781800"/>
                    <a:gd name="connsiteX18" fmla="*/ 1666875 w 3990975"/>
                    <a:gd name="connsiteY18" fmla="*/ 5734050 h 6781800"/>
                    <a:gd name="connsiteX19" fmla="*/ 1571625 w 3990975"/>
                    <a:gd name="connsiteY19" fmla="*/ 6096000 h 6781800"/>
                    <a:gd name="connsiteX20" fmla="*/ 1257300 w 3990975"/>
                    <a:gd name="connsiteY20" fmla="*/ 6629400 h 6781800"/>
                    <a:gd name="connsiteX21" fmla="*/ 1143000 w 3990975"/>
                    <a:gd name="connsiteY21" fmla="*/ 6781800 h 6781800"/>
                    <a:gd name="connsiteX22" fmla="*/ 1085850 w 3990975"/>
                    <a:gd name="connsiteY22" fmla="*/ 6257925 h 6781800"/>
                    <a:gd name="connsiteX23" fmla="*/ 933450 w 3990975"/>
                    <a:gd name="connsiteY23" fmla="*/ 5562600 h 6781800"/>
                    <a:gd name="connsiteX24" fmla="*/ 857250 w 3990975"/>
                    <a:gd name="connsiteY24" fmla="*/ 5172075 h 6781800"/>
                    <a:gd name="connsiteX25" fmla="*/ 781050 w 3990975"/>
                    <a:gd name="connsiteY25" fmla="*/ 4705350 h 6781800"/>
                    <a:gd name="connsiteX26" fmla="*/ 742950 w 3990975"/>
                    <a:gd name="connsiteY26" fmla="*/ 4086225 h 6781800"/>
                    <a:gd name="connsiteX27" fmla="*/ 809625 w 3990975"/>
                    <a:gd name="connsiteY27" fmla="*/ 3343275 h 6781800"/>
                    <a:gd name="connsiteX28" fmla="*/ 952500 w 3990975"/>
                    <a:gd name="connsiteY28" fmla="*/ 2552700 h 6781800"/>
                    <a:gd name="connsiteX29" fmla="*/ 1028700 w 3990975"/>
                    <a:gd name="connsiteY29" fmla="*/ 1924050 h 6781800"/>
                    <a:gd name="connsiteX30" fmla="*/ 942975 w 3990975"/>
                    <a:gd name="connsiteY30" fmla="*/ 1762125 h 6781800"/>
                    <a:gd name="connsiteX31" fmla="*/ 866775 w 3990975"/>
                    <a:gd name="connsiteY31" fmla="*/ 1600200 h 6781800"/>
                    <a:gd name="connsiteX32" fmla="*/ 876300 w 3990975"/>
                    <a:gd name="connsiteY32" fmla="*/ 1314450 h 6781800"/>
                    <a:gd name="connsiteX33" fmla="*/ 819150 w 3990975"/>
                    <a:gd name="connsiteY33" fmla="*/ 1276350 h 6781800"/>
                    <a:gd name="connsiteX34" fmla="*/ 685800 w 3990975"/>
                    <a:gd name="connsiteY34" fmla="*/ 1390650 h 6781800"/>
                    <a:gd name="connsiteX35" fmla="*/ 523875 w 3990975"/>
                    <a:gd name="connsiteY35" fmla="*/ 1457325 h 6781800"/>
                    <a:gd name="connsiteX36" fmla="*/ 352425 w 3990975"/>
                    <a:gd name="connsiteY36" fmla="*/ 1495425 h 6781800"/>
                    <a:gd name="connsiteX37" fmla="*/ 133350 w 3990975"/>
                    <a:gd name="connsiteY37" fmla="*/ 1552575 h 6781800"/>
                    <a:gd name="connsiteX38" fmla="*/ 0 w 3990975"/>
                    <a:gd name="connsiteY38" fmla="*/ 1562100 h 6781800"/>
                    <a:gd name="connsiteX39" fmla="*/ 9525 w 3990975"/>
                    <a:gd name="connsiteY39" fmla="*/ 1495425 h 6781800"/>
                    <a:gd name="connsiteX40" fmla="*/ 228600 w 3990975"/>
                    <a:gd name="connsiteY40" fmla="*/ 1371600 h 6781800"/>
                    <a:gd name="connsiteX41" fmla="*/ 542925 w 3990975"/>
                    <a:gd name="connsiteY41" fmla="*/ 1171575 h 6781800"/>
                    <a:gd name="connsiteX42" fmla="*/ 914400 w 3990975"/>
                    <a:gd name="connsiteY42" fmla="*/ 942975 h 6781800"/>
                    <a:gd name="connsiteX43" fmla="*/ 1047750 w 3990975"/>
                    <a:gd name="connsiteY43" fmla="*/ 771525 h 6781800"/>
                    <a:gd name="connsiteX44" fmla="*/ 1238250 w 3990975"/>
                    <a:gd name="connsiteY44" fmla="*/ 552450 h 6781800"/>
                    <a:gd name="connsiteX45" fmla="*/ 1419225 w 3990975"/>
                    <a:gd name="connsiteY45" fmla="*/ 390525 h 6781800"/>
                    <a:gd name="connsiteX46" fmla="*/ 1485900 w 3990975"/>
                    <a:gd name="connsiteY46" fmla="*/ 476250 h 6781800"/>
                    <a:gd name="connsiteX47" fmla="*/ 1476375 w 3990975"/>
                    <a:gd name="connsiteY47" fmla="*/ 885825 h 6781800"/>
                    <a:gd name="connsiteX48" fmla="*/ 1400175 w 3990975"/>
                    <a:gd name="connsiteY48" fmla="*/ 1190625 h 6781800"/>
                    <a:gd name="connsiteX49" fmla="*/ 1323975 w 3990975"/>
                    <a:gd name="connsiteY49" fmla="*/ 1524000 h 6781800"/>
                    <a:gd name="connsiteX50" fmla="*/ 1447800 w 3990975"/>
                    <a:gd name="connsiteY50" fmla="*/ 1885950 h 6781800"/>
                    <a:gd name="connsiteX51" fmla="*/ 1514475 w 3990975"/>
                    <a:gd name="connsiteY51" fmla="*/ 2066925 h 6781800"/>
                    <a:gd name="connsiteX52" fmla="*/ 1600200 w 3990975"/>
                    <a:gd name="connsiteY52" fmla="*/ 2438400 h 6781800"/>
                    <a:gd name="connsiteX53" fmla="*/ 1657350 w 3990975"/>
                    <a:gd name="connsiteY53" fmla="*/ 2686050 h 6781800"/>
                    <a:gd name="connsiteX54" fmla="*/ 1781175 w 3990975"/>
                    <a:gd name="connsiteY54" fmla="*/ 2933700 h 6781800"/>
                    <a:gd name="connsiteX55" fmla="*/ 1981200 w 3990975"/>
                    <a:gd name="connsiteY55" fmla="*/ 2581275 h 6781800"/>
                    <a:gd name="connsiteX56" fmla="*/ 2101850 w 3990975"/>
                    <a:gd name="connsiteY56" fmla="*/ 2181225 h 6781800"/>
                    <a:gd name="connsiteX57" fmla="*/ 2314575 w 3990975"/>
                    <a:gd name="connsiteY57" fmla="*/ 2000250 h 6781800"/>
                    <a:gd name="connsiteX58" fmla="*/ 2543175 w 3990975"/>
                    <a:gd name="connsiteY58" fmla="*/ 1962150 h 6781800"/>
                    <a:gd name="connsiteX59" fmla="*/ 2724150 w 3990975"/>
                    <a:gd name="connsiteY59" fmla="*/ 1895475 h 6781800"/>
                    <a:gd name="connsiteX60" fmla="*/ 2857500 w 3990975"/>
                    <a:gd name="connsiteY60" fmla="*/ 1787525 h 6781800"/>
                    <a:gd name="connsiteX61" fmla="*/ 2952750 w 3990975"/>
                    <a:gd name="connsiteY61" fmla="*/ 1685925 h 6781800"/>
                    <a:gd name="connsiteX62" fmla="*/ 2962275 w 3990975"/>
                    <a:gd name="connsiteY62" fmla="*/ 1552575 h 6781800"/>
                    <a:gd name="connsiteX63" fmla="*/ 2990850 w 3990975"/>
                    <a:gd name="connsiteY63" fmla="*/ 1466850 h 6781800"/>
                    <a:gd name="connsiteX64" fmla="*/ 3124200 w 3990975"/>
                    <a:gd name="connsiteY64" fmla="*/ 1235075 h 6781800"/>
                    <a:gd name="connsiteX65" fmla="*/ 3219450 w 3990975"/>
                    <a:gd name="connsiteY65" fmla="*/ 942975 h 6781800"/>
                    <a:gd name="connsiteX66" fmla="*/ 3381375 w 3990975"/>
                    <a:gd name="connsiteY66" fmla="*/ 657225 h 6781800"/>
                    <a:gd name="connsiteX67" fmla="*/ 3295650 w 3990975"/>
                    <a:gd name="connsiteY67" fmla="*/ 590550 h 6781800"/>
                    <a:gd name="connsiteX68" fmla="*/ 3219450 w 3990975"/>
                    <a:gd name="connsiteY68" fmla="*/ 390525 h 6781800"/>
                    <a:gd name="connsiteX69" fmla="*/ 3181350 w 3990975"/>
                    <a:gd name="connsiteY69" fmla="*/ 0 h 6781800"/>
                    <a:gd name="connsiteX0" fmla="*/ 3181350 w 3990975"/>
                    <a:gd name="connsiteY0" fmla="*/ 0 h 6781800"/>
                    <a:gd name="connsiteX1" fmla="*/ 3305175 w 3990975"/>
                    <a:gd name="connsiteY1" fmla="*/ 28575 h 6781800"/>
                    <a:gd name="connsiteX2" fmla="*/ 3448050 w 3990975"/>
                    <a:gd name="connsiteY2" fmla="*/ 180975 h 6781800"/>
                    <a:gd name="connsiteX3" fmla="*/ 3600450 w 3990975"/>
                    <a:gd name="connsiteY3" fmla="*/ 447675 h 6781800"/>
                    <a:gd name="connsiteX4" fmla="*/ 3771900 w 3990975"/>
                    <a:gd name="connsiteY4" fmla="*/ 733425 h 6781800"/>
                    <a:gd name="connsiteX5" fmla="*/ 3829050 w 3990975"/>
                    <a:gd name="connsiteY5" fmla="*/ 990600 h 6781800"/>
                    <a:gd name="connsiteX6" fmla="*/ 3924300 w 3990975"/>
                    <a:gd name="connsiteY6" fmla="*/ 1466850 h 6781800"/>
                    <a:gd name="connsiteX7" fmla="*/ 3990975 w 3990975"/>
                    <a:gd name="connsiteY7" fmla="*/ 1876425 h 6781800"/>
                    <a:gd name="connsiteX8" fmla="*/ 3943350 w 3990975"/>
                    <a:gd name="connsiteY8" fmla="*/ 2190750 h 6781800"/>
                    <a:gd name="connsiteX9" fmla="*/ 3876675 w 3990975"/>
                    <a:gd name="connsiteY9" fmla="*/ 2371725 h 6781800"/>
                    <a:gd name="connsiteX10" fmla="*/ 3800475 w 3990975"/>
                    <a:gd name="connsiteY10" fmla="*/ 2276475 h 6781800"/>
                    <a:gd name="connsiteX11" fmla="*/ 3790950 w 3990975"/>
                    <a:gd name="connsiteY11" fmla="*/ 2076450 h 6781800"/>
                    <a:gd name="connsiteX12" fmla="*/ 3590925 w 3990975"/>
                    <a:gd name="connsiteY12" fmla="*/ 1895475 h 6781800"/>
                    <a:gd name="connsiteX13" fmla="*/ 3324225 w 3990975"/>
                    <a:gd name="connsiteY13" fmla="*/ 1733550 h 6781800"/>
                    <a:gd name="connsiteX14" fmla="*/ 3181350 w 3990975"/>
                    <a:gd name="connsiteY14" fmla="*/ 2247900 h 6781800"/>
                    <a:gd name="connsiteX15" fmla="*/ 2628900 w 3990975"/>
                    <a:gd name="connsiteY15" fmla="*/ 3848100 h 6781800"/>
                    <a:gd name="connsiteX16" fmla="*/ 2000250 w 3990975"/>
                    <a:gd name="connsiteY16" fmla="*/ 5172075 h 6781800"/>
                    <a:gd name="connsiteX17" fmla="*/ 1857375 w 3990975"/>
                    <a:gd name="connsiteY17" fmla="*/ 5429250 h 6781800"/>
                    <a:gd name="connsiteX18" fmla="*/ 1666875 w 3990975"/>
                    <a:gd name="connsiteY18" fmla="*/ 5734050 h 6781800"/>
                    <a:gd name="connsiteX19" fmla="*/ 1571625 w 3990975"/>
                    <a:gd name="connsiteY19" fmla="*/ 6096000 h 6781800"/>
                    <a:gd name="connsiteX20" fmla="*/ 1257300 w 3990975"/>
                    <a:gd name="connsiteY20" fmla="*/ 6629400 h 6781800"/>
                    <a:gd name="connsiteX21" fmla="*/ 1143000 w 3990975"/>
                    <a:gd name="connsiteY21" fmla="*/ 6781800 h 6781800"/>
                    <a:gd name="connsiteX22" fmla="*/ 1085850 w 3990975"/>
                    <a:gd name="connsiteY22" fmla="*/ 6257925 h 6781800"/>
                    <a:gd name="connsiteX23" fmla="*/ 933450 w 3990975"/>
                    <a:gd name="connsiteY23" fmla="*/ 5562600 h 6781800"/>
                    <a:gd name="connsiteX24" fmla="*/ 857250 w 3990975"/>
                    <a:gd name="connsiteY24" fmla="*/ 5172075 h 6781800"/>
                    <a:gd name="connsiteX25" fmla="*/ 781050 w 3990975"/>
                    <a:gd name="connsiteY25" fmla="*/ 4705350 h 6781800"/>
                    <a:gd name="connsiteX26" fmla="*/ 742950 w 3990975"/>
                    <a:gd name="connsiteY26" fmla="*/ 4086225 h 6781800"/>
                    <a:gd name="connsiteX27" fmla="*/ 809625 w 3990975"/>
                    <a:gd name="connsiteY27" fmla="*/ 3343275 h 6781800"/>
                    <a:gd name="connsiteX28" fmla="*/ 952500 w 3990975"/>
                    <a:gd name="connsiteY28" fmla="*/ 2552700 h 6781800"/>
                    <a:gd name="connsiteX29" fmla="*/ 1028700 w 3990975"/>
                    <a:gd name="connsiteY29" fmla="*/ 1924050 h 6781800"/>
                    <a:gd name="connsiteX30" fmla="*/ 942975 w 3990975"/>
                    <a:gd name="connsiteY30" fmla="*/ 1762125 h 6781800"/>
                    <a:gd name="connsiteX31" fmla="*/ 866775 w 3990975"/>
                    <a:gd name="connsiteY31" fmla="*/ 1600200 h 6781800"/>
                    <a:gd name="connsiteX32" fmla="*/ 876300 w 3990975"/>
                    <a:gd name="connsiteY32" fmla="*/ 1314450 h 6781800"/>
                    <a:gd name="connsiteX33" fmla="*/ 819150 w 3990975"/>
                    <a:gd name="connsiteY33" fmla="*/ 1276350 h 6781800"/>
                    <a:gd name="connsiteX34" fmla="*/ 685800 w 3990975"/>
                    <a:gd name="connsiteY34" fmla="*/ 1390650 h 6781800"/>
                    <a:gd name="connsiteX35" fmla="*/ 523875 w 3990975"/>
                    <a:gd name="connsiteY35" fmla="*/ 1457325 h 6781800"/>
                    <a:gd name="connsiteX36" fmla="*/ 352425 w 3990975"/>
                    <a:gd name="connsiteY36" fmla="*/ 1495425 h 6781800"/>
                    <a:gd name="connsiteX37" fmla="*/ 133350 w 3990975"/>
                    <a:gd name="connsiteY37" fmla="*/ 1552575 h 6781800"/>
                    <a:gd name="connsiteX38" fmla="*/ 0 w 3990975"/>
                    <a:gd name="connsiteY38" fmla="*/ 1562100 h 6781800"/>
                    <a:gd name="connsiteX39" fmla="*/ 9525 w 3990975"/>
                    <a:gd name="connsiteY39" fmla="*/ 1495425 h 6781800"/>
                    <a:gd name="connsiteX40" fmla="*/ 228600 w 3990975"/>
                    <a:gd name="connsiteY40" fmla="*/ 1371600 h 6781800"/>
                    <a:gd name="connsiteX41" fmla="*/ 542925 w 3990975"/>
                    <a:gd name="connsiteY41" fmla="*/ 1171575 h 6781800"/>
                    <a:gd name="connsiteX42" fmla="*/ 914400 w 3990975"/>
                    <a:gd name="connsiteY42" fmla="*/ 942975 h 6781800"/>
                    <a:gd name="connsiteX43" fmla="*/ 1047750 w 3990975"/>
                    <a:gd name="connsiteY43" fmla="*/ 771525 h 6781800"/>
                    <a:gd name="connsiteX44" fmla="*/ 1238250 w 3990975"/>
                    <a:gd name="connsiteY44" fmla="*/ 552450 h 6781800"/>
                    <a:gd name="connsiteX45" fmla="*/ 1419225 w 3990975"/>
                    <a:gd name="connsiteY45" fmla="*/ 390525 h 6781800"/>
                    <a:gd name="connsiteX46" fmla="*/ 1485900 w 3990975"/>
                    <a:gd name="connsiteY46" fmla="*/ 476250 h 6781800"/>
                    <a:gd name="connsiteX47" fmla="*/ 1476375 w 3990975"/>
                    <a:gd name="connsiteY47" fmla="*/ 885825 h 6781800"/>
                    <a:gd name="connsiteX48" fmla="*/ 1400175 w 3990975"/>
                    <a:gd name="connsiteY48" fmla="*/ 1190625 h 6781800"/>
                    <a:gd name="connsiteX49" fmla="*/ 1323975 w 3990975"/>
                    <a:gd name="connsiteY49" fmla="*/ 1524000 h 6781800"/>
                    <a:gd name="connsiteX50" fmla="*/ 1447800 w 3990975"/>
                    <a:gd name="connsiteY50" fmla="*/ 1885950 h 6781800"/>
                    <a:gd name="connsiteX51" fmla="*/ 1514475 w 3990975"/>
                    <a:gd name="connsiteY51" fmla="*/ 2066925 h 6781800"/>
                    <a:gd name="connsiteX52" fmla="*/ 1600200 w 3990975"/>
                    <a:gd name="connsiteY52" fmla="*/ 2438400 h 6781800"/>
                    <a:gd name="connsiteX53" fmla="*/ 1657350 w 3990975"/>
                    <a:gd name="connsiteY53" fmla="*/ 2686050 h 6781800"/>
                    <a:gd name="connsiteX54" fmla="*/ 1781175 w 3990975"/>
                    <a:gd name="connsiteY54" fmla="*/ 2933700 h 6781800"/>
                    <a:gd name="connsiteX55" fmla="*/ 1981200 w 3990975"/>
                    <a:gd name="connsiteY55" fmla="*/ 2581275 h 6781800"/>
                    <a:gd name="connsiteX56" fmla="*/ 2101850 w 3990975"/>
                    <a:gd name="connsiteY56" fmla="*/ 2181225 h 6781800"/>
                    <a:gd name="connsiteX57" fmla="*/ 2314575 w 3990975"/>
                    <a:gd name="connsiteY57" fmla="*/ 2000250 h 6781800"/>
                    <a:gd name="connsiteX58" fmla="*/ 2543175 w 3990975"/>
                    <a:gd name="connsiteY58" fmla="*/ 1962150 h 6781800"/>
                    <a:gd name="connsiteX59" fmla="*/ 2724150 w 3990975"/>
                    <a:gd name="connsiteY59" fmla="*/ 1895475 h 6781800"/>
                    <a:gd name="connsiteX60" fmla="*/ 2857500 w 3990975"/>
                    <a:gd name="connsiteY60" fmla="*/ 1787525 h 6781800"/>
                    <a:gd name="connsiteX61" fmla="*/ 2895600 w 3990975"/>
                    <a:gd name="connsiteY61" fmla="*/ 1695450 h 6781800"/>
                    <a:gd name="connsiteX62" fmla="*/ 2962275 w 3990975"/>
                    <a:gd name="connsiteY62" fmla="*/ 1552575 h 6781800"/>
                    <a:gd name="connsiteX63" fmla="*/ 2990850 w 3990975"/>
                    <a:gd name="connsiteY63" fmla="*/ 1466850 h 6781800"/>
                    <a:gd name="connsiteX64" fmla="*/ 3124200 w 3990975"/>
                    <a:gd name="connsiteY64" fmla="*/ 1235075 h 6781800"/>
                    <a:gd name="connsiteX65" fmla="*/ 3219450 w 3990975"/>
                    <a:gd name="connsiteY65" fmla="*/ 942975 h 6781800"/>
                    <a:gd name="connsiteX66" fmla="*/ 3381375 w 3990975"/>
                    <a:gd name="connsiteY66" fmla="*/ 657225 h 6781800"/>
                    <a:gd name="connsiteX67" fmla="*/ 3295650 w 3990975"/>
                    <a:gd name="connsiteY67" fmla="*/ 590550 h 6781800"/>
                    <a:gd name="connsiteX68" fmla="*/ 3219450 w 3990975"/>
                    <a:gd name="connsiteY68" fmla="*/ 390525 h 6781800"/>
                    <a:gd name="connsiteX69" fmla="*/ 3181350 w 3990975"/>
                    <a:gd name="connsiteY69" fmla="*/ 0 h 6781800"/>
                    <a:gd name="connsiteX0" fmla="*/ 3181350 w 3990975"/>
                    <a:gd name="connsiteY0" fmla="*/ 0 h 6781800"/>
                    <a:gd name="connsiteX1" fmla="*/ 3305175 w 3990975"/>
                    <a:gd name="connsiteY1" fmla="*/ 28575 h 6781800"/>
                    <a:gd name="connsiteX2" fmla="*/ 3448050 w 3990975"/>
                    <a:gd name="connsiteY2" fmla="*/ 180975 h 6781800"/>
                    <a:gd name="connsiteX3" fmla="*/ 3600450 w 3990975"/>
                    <a:gd name="connsiteY3" fmla="*/ 447675 h 6781800"/>
                    <a:gd name="connsiteX4" fmla="*/ 3771900 w 3990975"/>
                    <a:gd name="connsiteY4" fmla="*/ 733425 h 6781800"/>
                    <a:gd name="connsiteX5" fmla="*/ 3829050 w 3990975"/>
                    <a:gd name="connsiteY5" fmla="*/ 990600 h 6781800"/>
                    <a:gd name="connsiteX6" fmla="*/ 3924300 w 3990975"/>
                    <a:gd name="connsiteY6" fmla="*/ 1466850 h 6781800"/>
                    <a:gd name="connsiteX7" fmla="*/ 3990975 w 3990975"/>
                    <a:gd name="connsiteY7" fmla="*/ 1876425 h 6781800"/>
                    <a:gd name="connsiteX8" fmla="*/ 3943350 w 3990975"/>
                    <a:gd name="connsiteY8" fmla="*/ 2190750 h 6781800"/>
                    <a:gd name="connsiteX9" fmla="*/ 3876675 w 3990975"/>
                    <a:gd name="connsiteY9" fmla="*/ 2371725 h 6781800"/>
                    <a:gd name="connsiteX10" fmla="*/ 3800475 w 3990975"/>
                    <a:gd name="connsiteY10" fmla="*/ 2276475 h 6781800"/>
                    <a:gd name="connsiteX11" fmla="*/ 3790950 w 3990975"/>
                    <a:gd name="connsiteY11" fmla="*/ 2076450 h 6781800"/>
                    <a:gd name="connsiteX12" fmla="*/ 3590925 w 3990975"/>
                    <a:gd name="connsiteY12" fmla="*/ 1895475 h 6781800"/>
                    <a:gd name="connsiteX13" fmla="*/ 3324225 w 3990975"/>
                    <a:gd name="connsiteY13" fmla="*/ 1733550 h 6781800"/>
                    <a:gd name="connsiteX14" fmla="*/ 3181350 w 3990975"/>
                    <a:gd name="connsiteY14" fmla="*/ 2247900 h 6781800"/>
                    <a:gd name="connsiteX15" fmla="*/ 2628900 w 3990975"/>
                    <a:gd name="connsiteY15" fmla="*/ 3848100 h 6781800"/>
                    <a:gd name="connsiteX16" fmla="*/ 2000250 w 3990975"/>
                    <a:gd name="connsiteY16" fmla="*/ 5172075 h 6781800"/>
                    <a:gd name="connsiteX17" fmla="*/ 1857375 w 3990975"/>
                    <a:gd name="connsiteY17" fmla="*/ 5429250 h 6781800"/>
                    <a:gd name="connsiteX18" fmla="*/ 1666875 w 3990975"/>
                    <a:gd name="connsiteY18" fmla="*/ 5734050 h 6781800"/>
                    <a:gd name="connsiteX19" fmla="*/ 1571625 w 3990975"/>
                    <a:gd name="connsiteY19" fmla="*/ 6096000 h 6781800"/>
                    <a:gd name="connsiteX20" fmla="*/ 1257300 w 3990975"/>
                    <a:gd name="connsiteY20" fmla="*/ 6629400 h 6781800"/>
                    <a:gd name="connsiteX21" fmla="*/ 1143000 w 3990975"/>
                    <a:gd name="connsiteY21" fmla="*/ 6781800 h 6781800"/>
                    <a:gd name="connsiteX22" fmla="*/ 1085850 w 3990975"/>
                    <a:gd name="connsiteY22" fmla="*/ 6257925 h 6781800"/>
                    <a:gd name="connsiteX23" fmla="*/ 933450 w 3990975"/>
                    <a:gd name="connsiteY23" fmla="*/ 5562600 h 6781800"/>
                    <a:gd name="connsiteX24" fmla="*/ 857250 w 3990975"/>
                    <a:gd name="connsiteY24" fmla="*/ 5172075 h 6781800"/>
                    <a:gd name="connsiteX25" fmla="*/ 781050 w 3990975"/>
                    <a:gd name="connsiteY25" fmla="*/ 4705350 h 6781800"/>
                    <a:gd name="connsiteX26" fmla="*/ 742950 w 3990975"/>
                    <a:gd name="connsiteY26" fmla="*/ 4086225 h 6781800"/>
                    <a:gd name="connsiteX27" fmla="*/ 809625 w 3990975"/>
                    <a:gd name="connsiteY27" fmla="*/ 3343275 h 6781800"/>
                    <a:gd name="connsiteX28" fmla="*/ 952500 w 3990975"/>
                    <a:gd name="connsiteY28" fmla="*/ 2552700 h 6781800"/>
                    <a:gd name="connsiteX29" fmla="*/ 1028700 w 3990975"/>
                    <a:gd name="connsiteY29" fmla="*/ 1924050 h 6781800"/>
                    <a:gd name="connsiteX30" fmla="*/ 942975 w 3990975"/>
                    <a:gd name="connsiteY30" fmla="*/ 1762125 h 6781800"/>
                    <a:gd name="connsiteX31" fmla="*/ 866775 w 3990975"/>
                    <a:gd name="connsiteY31" fmla="*/ 1600200 h 6781800"/>
                    <a:gd name="connsiteX32" fmla="*/ 876300 w 3990975"/>
                    <a:gd name="connsiteY32" fmla="*/ 1314450 h 6781800"/>
                    <a:gd name="connsiteX33" fmla="*/ 819150 w 3990975"/>
                    <a:gd name="connsiteY33" fmla="*/ 1276350 h 6781800"/>
                    <a:gd name="connsiteX34" fmla="*/ 685800 w 3990975"/>
                    <a:gd name="connsiteY34" fmla="*/ 1390650 h 6781800"/>
                    <a:gd name="connsiteX35" fmla="*/ 523875 w 3990975"/>
                    <a:gd name="connsiteY35" fmla="*/ 1457325 h 6781800"/>
                    <a:gd name="connsiteX36" fmla="*/ 352425 w 3990975"/>
                    <a:gd name="connsiteY36" fmla="*/ 1495425 h 6781800"/>
                    <a:gd name="connsiteX37" fmla="*/ 133350 w 3990975"/>
                    <a:gd name="connsiteY37" fmla="*/ 1552575 h 6781800"/>
                    <a:gd name="connsiteX38" fmla="*/ 0 w 3990975"/>
                    <a:gd name="connsiteY38" fmla="*/ 1562100 h 6781800"/>
                    <a:gd name="connsiteX39" fmla="*/ 9525 w 3990975"/>
                    <a:gd name="connsiteY39" fmla="*/ 1495425 h 6781800"/>
                    <a:gd name="connsiteX40" fmla="*/ 228600 w 3990975"/>
                    <a:gd name="connsiteY40" fmla="*/ 1371600 h 6781800"/>
                    <a:gd name="connsiteX41" fmla="*/ 542925 w 3990975"/>
                    <a:gd name="connsiteY41" fmla="*/ 1171575 h 6781800"/>
                    <a:gd name="connsiteX42" fmla="*/ 914400 w 3990975"/>
                    <a:gd name="connsiteY42" fmla="*/ 942975 h 6781800"/>
                    <a:gd name="connsiteX43" fmla="*/ 1047750 w 3990975"/>
                    <a:gd name="connsiteY43" fmla="*/ 771525 h 6781800"/>
                    <a:gd name="connsiteX44" fmla="*/ 1238250 w 3990975"/>
                    <a:gd name="connsiteY44" fmla="*/ 552450 h 6781800"/>
                    <a:gd name="connsiteX45" fmla="*/ 1419225 w 3990975"/>
                    <a:gd name="connsiteY45" fmla="*/ 390525 h 6781800"/>
                    <a:gd name="connsiteX46" fmla="*/ 1485900 w 3990975"/>
                    <a:gd name="connsiteY46" fmla="*/ 476250 h 6781800"/>
                    <a:gd name="connsiteX47" fmla="*/ 1476375 w 3990975"/>
                    <a:gd name="connsiteY47" fmla="*/ 885825 h 6781800"/>
                    <a:gd name="connsiteX48" fmla="*/ 1400175 w 3990975"/>
                    <a:gd name="connsiteY48" fmla="*/ 1190625 h 6781800"/>
                    <a:gd name="connsiteX49" fmla="*/ 1323975 w 3990975"/>
                    <a:gd name="connsiteY49" fmla="*/ 1524000 h 6781800"/>
                    <a:gd name="connsiteX50" fmla="*/ 1447800 w 3990975"/>
                    <a:gd name="connsiteY50" fmla="*/ 1885950 h 6781800"/>
                    <a:gd name="connsiteX51" fmla="*/ 1514475 w 3990975"/>
                    <a:gd name="connsiteY51" fmla="*/ 2066925 h 6781800"/>
                    <a:gd name="connsiteX52" fmla="*/ 1600200 w 3990975"/>
                    <a:gd name="connsiteY52" fmla="*/ 2438400 h 6781800"/>
                    <a:gd name="connsiteX53" fmla="*/ 1657350 w 3990975"/>
                    <a:gd name="connsiteY53" fmla="*/ 2686050 h 6781800"/>
                    <a:gd name="connsiteX54" fmla="*/ 1781175 w 3990975"/>
                    <a:gd name="connsiteY54" fmla="*/ 2933700 h 6781800"/>
                    <a:gd name="connsiteX55" fmla="*/ 1981200 w 3990975"/>
                    <a:gd name="connsiteY55" fmla="*/ 2581275 h 6781800"/>
                    <a:gd name="connsiteX56" fmla="*/ 2101850 w 3990975"/>
                    <a:gd name="connsiteY56" fmla="*/ 2181225 h 6781800"/>
                    <a:gd name="connsiteX57" fmla="*/ 2314575 w 3990975"/>
                    <a:gd name="connsiteY57" fmla="*/ 2000250 h 6781800"/>
                    <a:gd name="connsiteX58" fmla="*/ 2543175 w 3990975"/>
                    <a:gd name="connsiteY58" fmla="*/ 1962150 h 6781800"/>
                    <a:gd name="connsiteX59" fmla="*/ 2724150 w 3990975"/>
                    <a:gd name="connsiteY59" fmla="*/ 1895475 h 6781800"/>
                    <a:gd name="connsiteX60" fmla="*/ 2857500 w 3990975"/>
                    <a:gd name="connsiteY60" fmla="*/ 1787525 h 6781800"/>
                    <a:gd name="connsiteX61" fmla="*/ 2895600 w 3990975"/>
                    <a:gd name="connsiteY61" fmla="*/ 1695450 h 6781800"/>
                    <a:gd name="connsiteX62" fmla="*/ 2962275 w 3990975"/>
                    <a:gd name="connsiteY62" fmla="*/ 1552575 h 6781800"/>
                    <a:gd name="connsiteX63" fmla="*/ 2990850 w 3990975"/>
                    <a:gd name="connsiteY63" fmla="*/ 1466850 h 6781800"/>
                    <a:gd name="connsiteX64" fmla="*/ 3124200 w 3990975"/>
                    <a:gd name="connsiteY64" fmla="*/ 1235075 h 6781800"/>
                    <a:gd name="connsiteX65" fmla="*/ 3219450 w 3990975"/>
                    <a:gd name="connsiteY65" fmla="*/ 942975 h 6781800"/>
                    <a:gd name="connsiteX66" fmla="*/ 3381375 w 3990975"/>
                    <a:gd name="connsiteY66" fmla="*/ 657225 h 6781800"/>
                    <a:gd name="connsiteX67" fmla="*/ 3295650 w 3990975"/>
                    <a:gd name="connsiteY67" fmla="*/ 590550 h 6781800"/>
                    <a:gd name="connsiteX68" fmla="*/ 3219450 w 3990975"/>
                    <a:gd name="connsiteY68" fmla="*/ 390525 h 6781800"/>
                    <a:gd name="connsiteX69" fmla="*/ 3181350 w 3990975"/>
                    <a:gd name="connsiteY69" fmla="*/ 0 h 6781800"/>
                    <a:gd name="connsiteX0" fmla="*/ 3181350 w 3990975"/>
                    <a:gd name="connsiteY0" fmla="*/ 0 h 6781800"/>
                    <a:gd name="connsiteX1" fmla="*/ 3305175 w 3990975"/>
                    <a:gd name="connsiteY1" fmla="*/ 28575 h 6781800"/>
                    <a:gd name="connsiteX2" fmla="*/ 3448050 w 3990975"/>
                    <a:gd name="connsiteY2" fmla="*/ 180975 h 6781800"/>
                    <a:gd name="connsiteX3" fmla="*/ 3600450 w 3990975"/>
                    <a:gd name="connsiteY3" fmla="*/ 447675 h 6781800"/>
                    <a:gd name="connsiteX4" fmla="*/ 3771900 w 3990975"/>
                    <a:gd name="connsiteY4" fmla="*/ 733425 h 6781800"/>
                    <a:gd name="connsiteX5" fmla="*/ 3829050 w 3990975"/>
                    <a:gd name="connsiteY5" fmla="*/ 990600 h 6781800"/>
                    <a:gd name="connsiteX6" fmla="*/ 3924300 w 3990975"/>
                    <a:gd name="connsiteY6" fmla="*/ 1466850 h 6781800"/>
                    <a:gd name="connsiteX7" fmla="*/ 3990975 w 3990975"/>
                    <a:gd name="connsiteY7" fmla="*/ 1876425 h 6781800"/>
                    <a:gd name="connsiteX8" fmla="*/ 3943350 w 3990975"/>
                    <a:gd name="connsiteY8" fmla="*/ 2190750 h 6781800"/>
                    <a:gd name="connsiteX9" fmla="*/ 3876675 w 3990975"/>
                    <a:gd name="connsiteY9" fmla="*/ 2371725 h 6781800"/>
                    <a:gd name="connsiteX10" fmla="*/ 3800475 w 3990975"/>
                    <a:gd name="connsiteY10" fmla="*/ 2276475 h 6781800"/>
                    <a:gd name="connsiteX11" fmla="*/ 3790950 w 3990975"/>
                    <a:gd name="connsiteY11" fmla="*/ 2076450 h 6781800"/>
                    <a:gd name="connsiteX12" fmla="*/ 3590925 w 3990975"/>
                    <a:gd name="connsiteY12" fmla="*/ 1895475 h 6781800"/>
                    <a:gd name="connsiteX13" fmla="*/ 3324225 w 3990975"/>
                    <a:gd name="connsiteY13" fmla="*/ 1733550 h 6781800"/>
                    <a:gd name="connsiteX14" fmla="*/ 3181350 w 3990975"/>
                    <a:gd name="connsiteY14" fmla="*/ 2247900 h 6781800"/>
                    <a:gd name="connsiteX15" fmla="*/ 2628900 w 3990975"/>
                    <a:gd name="connsiteY15" fmla="*/ 3848100 h 6781800"/>
                    <a:gd name="connsiteX16" fmla="*/ 2000250 w 3990975"/>
                    <a:gd name="connsiteY16" fmla="*/ 5172075 h 6781800"/>
                    <a:gd name="connsiteX17" fmla="*/ 1857375 w 3990975"/>
                    <a:gd name="connsiteY17" fmla="*/ 5429250 h 6781800"/>
                    <a:gd name="connsiteX18" fmla="*/ 1666875 w 3990975"/>
                    <a:gd name="connsiteY18" fmla="*/ 5734050 h 6781800"/>
                    <a:gd name="connsiteX19" fmla="*/ 1571625 w 3990975"/>
                    <a:gd name="connsiteY19" fmla="*/ 6096000 h 6781800"/>
                    <a:gd name="connsiteX20" fmla="*/ 1257300 w 3990975"/>
                    <a:gd name="connsiteY20" fmla="*/ 6629400 h 6781800"/>
                    <a:gd name="connsiteX21" fmla="*/ 1143000 w 3990975"/>
                    <a:gd name="connsiteY21" fmla="*/ 6781800 h 6781800"/>
                    <a:gd name="connsiteX22" fmla="*/ 1085850 w 3990975"/>
                    <a:gd name="connsiteY22" fmla="*/ 6257925 h 6781800"/>
                    <a:gd name="connsiteX23" fmla="*/ 933450 w 3990975"/>
                    <a:gd name="connsiteY23" fmla="*/ 5562600 h 6781800"/>
                    <a:gd name="connsiteX24" fmla="*/ 857250 w 3990975"/>
                    <a:gd name="connsiteY24" fmla="*/ 5172075 h 6781800"/>
                    <a:gd name="connsiteX25" fmla="*/ 781050 w 3990975"/>
                    <a:gd name="connsiteY25" fmla="*/ 4705350 h 6781800"/>
                    <a:gd name="connsiteX26" fmla="*/ 742950 w 3990975"/>
                    <a:gd name="connsiteY26" fmla="*/ 4086225 h 6781800"/>
                    <a:gd name="connsiteX27" fmla="*/ 809625 w 3990975"/>
                    <a:gd name="connsiteY27" fmla="*/ 3343275 h 6781800"/>
                    <a:gd name="connsiteX28" fmla="*/ 952500 w 3990975"/>
                    <a:gd name="connsiteY28" fmla="*/ 2552700 h 6781800"/>
                    <a:gd name="connsiteX29" fmla="*/ 1028700 w 3990975"/>
                    <a:gd name="connsiteY29" fmla="*/ 1924050 h 6781800"/>
                    <a:gd name="connsiteX30" fmla="*/ 942975 w 3990975"/>
                    <a:gd name="connsiteY30" fmla="*/ 1762125 h 6781800"/>
                    <a:gd name="connsiteX31" fmla="*/ 866775 w 3990975"/>
                    <a:gd name="connsiteY31" fmla="*/ 1600200 h 6781800"/>
                    <a:gd name="connsiteX32" fmla="*/ 876300 w 3990975"/>
                    <a:gd name="connsiteY32" fmla="*/ 1314450 h 6781800"/>
                    <a:gd name="connsiteX33" fmla="*/ 819150 w 3990975"/>
                    <a:gd name="connsiteY33" fmla="*/ 1276350 h 6781800"/>
                    <a:gd name="connsiteX34" fmla="*/ 685800 w 3990975"/>
                    <a:gd name="connsiteY34" fmla="*/ 1390650 h 6781800"/>
                    <a:gd name="connsiteX35" fmla="*/ 523875 w 3990975"/>
                    <a:gd name="connsiteY35" fmla="*/ 1457325 h 6781800"/>
                    <a:gd name="connsiteX36" fmla="*/ 352425 w 3990975"/>
                    <a:gd name="connsiteY36" fmla="*/ 1495425 h 6781800"/>
                    <a:gd name="connsiteX37" fmla="*/ 133350 w 3990975"/>
                    <a:gd name="connsiteY37" fmla="*/ 1552575 h 6781800"/>
                    <a:gd name="connsiteX38" fmla="*/ 0 w 3990975"/>
                    <a:gd name="connsiteY38" fmla="*/ 1562100 h 6781800"/>
                    <a:gd name="connsiteX39" fmla="*/ 9525 w 3990975"/>
                    <a:gd name="connsiteY39" fmla="*/ 1495425 h 6781800"/>
                    <a:gd name="connsiteX40" fmla="*/ 228600 w 3990975"/>
                    <a:gd name="connsiteY40" fmla="*/ 1371600 h 6781800"/>
                    <a:gd name="connsiteX41" fmla="*/ 542925 w 3990975"/>
                    <a:gd name="connsiteY41" fmla="*/ 1171575 h 6781800"/>
                    <a:gd name="connsiteX42" fmla="*/ 914400 w 3990975"/>
                    <a:gd name="connsiteY42" fmla="*/ 942975 h 6781800"/>
                    <a:gd name="connsiteX43" fmla="*/ 1047750 w 3990975"/>
                    <a:gd name="connsiteY43" fmla="*/ 771525 h 6781800"/>
                    <a:gd name="connsiteX44" fmla="*/ 1238250 w 3990975"/>
                    <a:gd name="connsiteY44" fmla="*/ 552450 h 6781800"/>
                    <a:gd name="connsiteX45" fmla="*/ 1419225 w 3990975"/>
                    <a:gd name="connsiteY45" fmla="*/ 390525 h 6781800"/>
                    <a:gd name="connsiteX46" fmla="*/ 1485900 w 3990975"/>
                    <a:gd name="connsiteY46" fmla="*/ 476250 h 6781800"/>
                    <a:gd name="connsiteX47" fmla="*/ 1476375 w 3990975"/>
                    <a:gd name="connsiteY47" fmla="*/ 885825 h 6781800"/>
                    <a:gd name="connsiteX48" fmla="*/ 1400175 w 3990975"/>
                    <a:gd name="connsiteY48" fmla="*/ 1190625 h 6781800"/>
                    <a:gd name="connsiteX49" fmla="*/ 1323975 w 3990975"/>
                    <a:gd name="connsiteY49" fmla="*/ 1524000 h 6781800"/>
                    <a:gd name="connsiteX50" fmla="*/ 1447800 w 3990975"/>
                    <a:gd name="connsiteY50" fmla="*/ 1885950 h 6781800"/>
                    <a:gd name="connsiteX51" fmla="*/ 1514475 w 3990975"/>
                    <a:gd name="connsiteY51" fmla="*/ 2066925 h 6781800"/>
                    <a:gd name="connsiteX52" fmla="*/ 1600200 w 3990975"/>
                    <a:gd name="connsiteY52" fmla="*/ 2438400 h 6781800"/>
                    <a:gd name="connsiteX53" fmla="*/ 1657350 w 3990975"/>
                    <a:gd name="connsiteY53" fmla="*/ 2686050 h 6781800"/>
                    <a:gd name="connsiteX54" fmla="*/ 1781175 w 3990975"/>
                    <a:gd name="connsiteY54" fmla="*/ 2933700 h 6781800"/>
                    <a:gd name="connsiteX55" fmla="*/ 1981200 w 3990975"/>
                    <a:gd name="connsiteY55" fmla="*/ 2581275 h 6781800"/>
                    <a:gd name="connsiteX56" fmla="*/ 2101850 w 3990975"/>
                    <a:gd name="connsiteY56" fmla="*/ 2181225 h 6781800"/>
                    <a:gd name="connsiteX57" fmla="*/ 2314575 w 3990975"/>
                    <a:gd name="connsiteY57" fmla="*/ 2000250 h 6781800"/>
                    <a:gd name="connsiteX58" fmla="*/ 2543175 w 3990975"/>
                    <a:gd name="connsiteY58" fmla="*/ 1962150 h 6781800"/>
                    <a:gd name="connsiteX59" fmla="*/ 2724150 w 3990975"/>
                    <a:gd name="connsiteY59" fmla="*/ 1895475 h 6781800"/>
                    <a:gd name="connsiteX60" fmla="*/ 2857500 w 3990975"/>
                    <a:gd name="connsiteY60" fmla="*/ 1787525 h 6781800"/>
                    <a:gd name="connsiteX61" fmla="*/ 2895600 w 3990975"/>
                    <a:gd name="connsiteY61" fmla="*/ 1695450 h 6781800"/>
                    <a:gd name="connsiteX62" fmla="*/ 2962275 w 3990975"/>
                    <a:gd name="connsiteY62" fmla="*/ 1552575 h 6781800"/>
                    <a:gd name="connsiteX63" fmla="*/ 2990850 w 3990975"/>
                    <a:gd name="connsiteY63" fmla="*/ 1466850 h 6781800"/>
                    <a:gd name="connsiteX64" fmla="*/ 3124200 w 3990975"/>
                    <a:gd name="connsiteY64" fmla="*/ 1235075 h 6781800"/>
                    <a:gd name="connsiteX65" fmla="*/ 3219450 w 3990975"/>
                    <a:gd name="connsiteY65" fmla="*/ 942975 h 6781800"/>
                    <a:gd name="connsiteX66" fmla="*/ 3381375 w 3990975"/>
                    <a:gd name="connsiteY66" fmla="*/ 657225 h 6781800"/>
                    <a:gd name="connsiteX67" fmla="*/ 3295650 w 3990975"/>
                    <a:gd name="connsiteY67" fmla="*/ 590550 h 6781800"/>
                    <a:gd name="connsiteX68" fmla="*/ 3219450 w 3990975"/>
                    <a:gd name="connsiteY68" fmla="*/ 390525 h 6781800"/>
                    <a:gd name="connsiteX69" fmla="*/ 3181350 w 3990975"/>
                    <a:gd name="connsiteY69" fmla="*/ 0 h 678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3990975" h="6781800">
                      <a:moveTo>
                        <a:pt x="3181350" y="0"/>
                      </a:moveTo>
                      <a:lnTo>
                        <a:pt x="3305175" y="28575"/>
                      </a:lnTo>
                      <a:lnTo>
                        <a:pt x="3448050" y="180975"/>
                      </a:lnTo>
                      <a:lnTo>
                        <a:pt x="3600450" y="447675"/>
                      </a:lnTo>
                      <a:lnTo>
                        <a:pt x="3771900" y="733425"/>
                      </a:lnTo>
                      <a:lnTo>
                        <a:pt x="3829050" y="990600"/>
                      </a:lnTo>
                      <a:lnTo>
                        <a:pt x="3924300" y="1466850"/>
                      </a:lnTo>
                      <a:cubicBezTo>
                        <a:pt x="3981889" y="1879570"/>
                        <a:pt x="3938852" y="1597025"/>
                        <a:pt x="3990975" y="1876425"/>
                      </a:cubicBezTo>
                      <a:lnTo>
                        <a:pt x="3943350" y="2190750"/>
                      </a:lnTo>
                      <a:lnTo>
                        <a:pt x="3876675" y="2371725"/>
                      </a:lnTo>
                      <a:cubicBezTo>
                        <a:pt x="3798366" y="2283627"/>
                        <a:pt x="3800475" y="2324232"/>
                        <a:pt x="3800475" y="2276475"/>
                      </a:cubicBezTo>
                      <a:lnTo>
                        <a:pt x="3790950" y="2076450"/>
                      </a:lnTo>
                      <a:lnTo>
                        <a:pt x="3590925" y="1895475"/>
                      </a:lnTo>
                      <a:lnTo>
                        <a:pt x="3324225" y="1733550"/>
                      </a:lnTo>
                      <a:lnTo>
                        <a:pt x="3181350" y="2247900"/>
                      </a:lnTo>
                      <a:lnTo>
                        <a:pt x="2628900" y="3848100"/>
                      </a:lnTo>
                      <a:lnTo>
                        <a:pt x="2000250" y="5172075"/>
                      </a:lnTo>
                      <a:lnTo>
                        <a:pt x="1857375" y="5429250"/>
                      </a:lnTo>
                      <a:lnTo>
                        <a:pt x="1666875" y="5734050"/>
                      </a:lnTo>
                      <a:lnTo>
                        <a:pt x="1571625" y="6096000"/>
                      </a:lnTo>
                      <a:lnTo>
                        <a:pt x="1257300" y="6629400"/>
                      </a:lnTo>
                      <a:lnTo>
                        <a:pt x="1143000" y="6781800"/>
                      </a:lnTo>
                      <a:lnTo>
                        <a:pt x="1085850" y="6257925"/>
                      </a:lnTo>
                      <a:lnTo>
                        <a:pt x="933450" y="5562600"/>
                      </a:lnTo>
                      <a:lnTo>
                        <a:pt x="857250" y="5172075"/>
                      </a:lnTo>
                      <a:lnTo>
                        <a:pt x="781050" y="4705350"/>
                      </a:lnTo>
                      <a:lnTo>
                        <a:pt x="742950" y="4086225"/>
                      </a:lnTo>
                      <a:lnTo>
                        <a:pt x="809625" y="3343275"/>
                      </a:lnTo>
                      <a:lnTo>
                        <a:pt x="952500" y="2552700"/>
                      </a:lnTo>
                      <a:lnTo>
                        <a:pt x="1028700" y="1924050"/>
                      </a:lnTo>
                      <a:lnTo>
                        <a:pt x="942975" y="1762125"/>
                      </a:lnTo>
                      <a:lnTo>
                        <a:pt x="866775" y="1600200"/>
                      </a:lnTo>
                      <a:lnTo>
                        <a:pt x="876300" y="1314450"/>
                      </a:lnTo>
                      <a:lnTo>
                        <a:pt x="819150" y="1276350"/>
                      </a:lnTo>
                      <a:lnTo>
                        <a:pt x="685800" y="1390650"/>
                      </a:lnTo>
                      <a:lnTo>
                        <a:pt x="523875" y="1457325"/>
                      </a:lnTo>
                      <a:lnTo>
                        <a:pt x="352425" y="1495425"/>
                      </a:lnTo>
                      <a:lnTo>
                        <a:pt x="133350" y="1552575"/>
                      </a:lnTo>
                      <a:lnTo>
                        <a:pt x="0" y="1562100"/>
                      </a:lnTo>
                      <a:cubicBezTo>
                        <a:pt x="10047" y="1501818"/>
                        <a:pt x="9525" y="1524263"/>
                        <a:pt x="9525" y="1495425"/>
                      </a:cubicBezTo>
                      <a:lnTo>
                        <a:pt x="228600" y="1371600"/>
                      </a:lnTo>
                      <a:lnTo>
                        <a:pt x="542925" y="1171575"/>
                      </a:lnTo>
                      <a:cubicBezTo>
                        <a:pt x="907559" y="941280"/>
                        <a:pt x="762176" y="942975"/>
                        <a:pt x="914400" y="942975"/>
                      </a:cubicBezTo>
                      <a:lnTo>
                        <a:pt x="1047750" y="771525"/>
                      </a:lnTo>
                      <a:lnTo>
                        <a:pt x="1238250" y="552450"/>
                      </a:lnTo>
                      <a:lnTo>
                        <a:pt x="1419225" y="390525"/>
                      </a:lnTo>
                      <a:lnTo>
                        <a:pt x="1485900" y="476250"/>
                      </a:lnTo>
                      <a:lnTo>
                        <a:pt x="1476375" y="885825"/>
                      </a:lnTo>
                      <a:lnTo>
                        <a:pt x="1400175" y="1190625"/>
                      </a:lnTo>
                      <a:lnTo>
                        <a:pt x="1323975" y="1524000"/>
                      </a:lnTo>
                      <a:lnTo>
                        <a:pt x="1447800" y="1885950"/>
                      </a:lnTo>
                      <a:lnTo>
                        <a:pt x="1514475" y="2066925"/>
                      </a:lnTo>
                      <a:lnTo>
                        <a:pt x="1600200" y="2438400"/>
                      </a:lnTo>
                      <a:lnTo>
                        <a:pt x="1657350" y="2686050"/>
                      </a:lnTo>
                      <a:lnTo>
                        <a:pt x="1781175" y="2933700"/>
                      </a:lnTo>
                      <a:lnTo>
                        <a:pt x="1981200" y="2581275"/>
                      </a:lnTo>
                      <a:cubicBezTo>
                        <a:pt x="2107130" y="2222859"/>
                        <a:pt x="2038350" y="2315265"/>
                        <a:pt x="2101850" y="2181225"/>
                      </a:cubicBezTo>
                      <a:lnTo>
                        <a:pt x="2314575" y="2000250"/>
                      </a:lnTo>
                      <a:lnTo>
                        <a:pt x="2543175" y="1962150"/>
                      </a:lnTo>
                      <a:lnTo>
                        <a:pt x="2724150" y="1895475"/>
                      </a:lnTo>
                      <a:cubicBezTo>
                        <a:pt x="2879523" y="1837210"/>
                        <a:pt x="2784475" y="1876704"/>
                        <a:pt x="2857500" y="1787525"/>
                      </a:cubicBezTo>
                      <a:lnTo>
                        <a:pt x="2895600" y="1695450"/>
                      </a:lnTo>
                      <a:cubicBezTo>
                        <a:pt x="2917825" y="1651000"/>
                        <a:pt x="2941114" y="1597541"/>
                        <a:pt x="2962275" y="1552575"/>
                      </a:cubicBezTo>
                      <a:cubicBezTo>
                        <a:pt x="2966550" y="1543490"/>
                        <a:pt x="2990850" y="1466850"/>
                        <a:pt x="2990850" y="1466850"/>
                      </a:cubicBezTo>
                      <a:cubicBezTo>
                        <a:pt x="3125662" y="1206856"/>
                        <a:pt x="3079750" y="1306239"/>
                        <a:pt x="3124200" y="1235075"/>
                      </a:cubicBezTo>
                      <a:cubicBezTo>
                        <a:pt x="3181935" y="927154"/>
                        <a:pt x="3219450" y="1055871"/>
                        <a:pt x="3219450" y="942975"/>
                      </a:cubicBezTo>
                      <a:lnTo>
                        <a:pt x="3381375" y="657225"/>
                      </a:lnTo>
                      <a:lnTo>
                        <a:pt x="3295650" y="590550"/>
                      </a:lnTo>
                      <a:lnTo>
                        <a:pt x="3219450" y="390525"/>
                      </a:lnTo>
                      <a:lnTo>
                        <a:pt x="318135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20" name="Oval 619">
                  <a:extLst>
                    <a:ext uri="{FF2B5EF4-FFF2-40B4-BE49-F238E27FC236}">
                      <a16:creationId xmlns:a16="http://schemas.microsoft.com/office/drawing/2014/main" id="{6B0AB502-CC87-46C9-B04B-91B83829C63C}"/>
                    </a:ext>
                  </a:extLst>
                </p:cNvPr>
                <p:cNvSpPr/>
                <p:nvPr/>
              </p:nvSpPr>
              <p:spPr>
                <a:xfrm>
                  <a:off x="3581400" y="-3581400"/>
                  <a:ext cx="381000" cy="381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21" name="Oval 620">
                  <a:extLst>
                    <a:ext uri="{FF2B5EF4-FFF2-40B4-BE49-F238E27FC236}">
                      <a16:creationId xmlns:a16="http://schemas.microsoft.com/office/drawing/2014/main" id="{0725F96B-B21E-47D5-A3CF-014AD8570DD7}"/>
                    </a:ext>
                  </a:extLst>
                </p:cNvPr>
                <p:cNvSpPr/>
                <p:nvPr/>
              </p:nvSpPr>
              <p:spPr>
                <a:xfrm>
                  <a:off x="3429000" y="-1981200"/>
                  <a:ext cx="381000" cy="381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22" name="Oval 621">
                  <a:extLst>
                    <a:ext uri="{FF2B5EF4-FFF2-40B4-BE49-F238E27FC236}">
                      <a16:creationId xmlns:a16="http://schemas.microsoft.com/office/drawing/2014/main" id="{4B5E864E-6265-48B8-A155-06498402FB55}"/>
                    </a:ext>
                  </a:extLst>
                </p:cNvPr>
                <p:cNvSpPr/>
                <p:nvPr/>
              </p:nvSpPr>
              <p:spPr>
                <a:xfrm>
                  <a:off x="3124200" y="-381000"/>
                  <a:ext cx="381000" cy="381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23" name="Freeform 234">
                  <a:extLst>
                    <a:ext uri="{FF2B5EF4-FFF2-40B4-BE49-F238E27FC236}">
                      <a16:creationId xmlns:a16="http://schemas.microsoft.com/office/drawing/2014/main" id="{F8C9E0E7-EA3C-4729-9F96-03576924F94C}"/>
                    </a:ext>
                  </a:extLst>
                </p:cNvPr>
                <p:cNvSpPr/>
                <p:nvPr/>
              </p:nvSpPr>
              <p:spPr>
                <a:xfrm>
                  <a:off x="3067050" y="-3905250"/>
                  <a:ext cx="657225" cy="3743325"/>
                </a:xfrm>
                <a:custGeom>
                  <a:avLst/>
                  <a:gdLst>
                    <a:gd name="connsiteX0" fmla="*/ 657225 w 657225"/>
                    <a:gd name="connsiteY0" fmla="*/ 0 h 3743325"/>
                    <a:gd name="connsiteX1" fmla="*/ 447675 w 657225"/>
                    <a:gd name="connsiteY1" fmla="*/ 276225 h 3743325"/>
                    <a:gd name="connsiteX2" fmla="*/ 352425 w 657225"/>
                    <a:gd name="connsiteY2" fmla="*/ 752475 h 3743325"/>
                    <a:gd name="connsiteX3" fmla="*/ 314325 w 657225"/>
                    <a:gd name="connsiteY3" fmla="*/ 1609725 h 3743325"/>
                    <a:gd name="connsiteX4" fmla="*/ 219075 w 657225"/>
                    <a:gd name="connsiteY4" fmla="*/ 2581275 h 3743325"/>
                    <a:gd name="connsiteX5" fmla="*/ 0 w 657225"/>
                    <a:gd name="connsiteY5" fmla="*/ 3743325 h 3743325"/>
                    <a:gd name="connsiteX6" fmla="*/ 9525 w 657225"/>
                    <a:gd name="connsiteY6" fmla="*/ 3467100 h 3743325"/>
                    <a:gd name="connsiteX7" fmla="*/ 200025 w 657225"/>
                    <a:gd name="connsiteY7" fmla="*/ 2371725 h 3743325"/>
                    <a:gd name="connsiteX8" fmla="*/ 295275 w 657225"/>
                    <a:gd name="connsiteY8" fmla="*/ 895350 h 3743325"/>
                    <a:gd name="connsiteX9" fmla="*/ 390525 w 657225"/>
                    <a:gd name="connsiteY9" fmla="*/ 314325 h 3743325"/>
                    <a:gd name="connsiteX10" fmla="*/ 657225 w 657225"/>
                    <a:gd name="connsiteY10" fmla="*/ 0 h 374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57225" h="3743325">
                      <a:moveTo>
                        <a:pt x="657225" y="0"/>
                      </a:moveTo>
                      <a:lnTo>
                        <a:pt x="447675" y="276225"/>
                      </a:lnTo>
                      <a:lnTo>
                        <a:pt x="352425" y="752475"/>
                      </a:lnTo>
                      <a:cubicBezTo>
                        <a:pt x="339437" y="1038212"/>
                        <a:pt x="314325" y="1323693"/>
                        <a:pt x="314325" y="1609725"/>
                      </a:cubicBezTo>
                      <a:lnTo>
                        <a:pt x="219075" y="2581275"/>
                      </a:lnTo>
                      <a:lnTo>
                        <a:pt x="0" y="3743325"/>
                      </a:lnTo>
                      <a:lnTo>
                        <a:pt x="9525" y="3467100"/>
                      </a:lnTo>
                      <a:cubicBezTo>
                        <a:pt x="202865" y="2403731"/>
                        <a:pt x="200025" y="2774326"/>
                        <a:pt x="200025" y="2371725"/>
                      </a:cubicBezTo>
                      <a:cubicBezTo>
                        <a:pt x="231980" y="1879613"/>
                        <a:pt x="295275" y="1388498"/>
                        <a:pt x="295275" y="895350"/>
                      </a:cubicBezTo>
                      <a:lnTo>
                        <a:pt x="390525" y="314325"/>
                      </a:lnTo>
                      <a:lnTo>
                        <a:pt x="657225"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24" name="Freeform 235">
                  <a:extLst>
                    <a:ext uri="{FF2B5EF4-FFF2-40B4-BE49-F238E27FC236}">
                      <a16:creationId xmlns:a16="http://schemas.microsoft.com/office/drawing/2014/main" id="{2CFB0FB7-29F3-48C1-A72C-F8BB69704009}"/>
                    </a:ext>
                  </a:extLst>
                </p:cNvPr>
                <p:cNvSpPr/>
                <p:nvPr/>
              </p:nvSpPr>
              <p:spPr>
                <a:xfrm>
                  <a:off x="4200525" y="-5173980"/>
                  <a:ext cx="1064894" cy="1188720"/>
                </a:xfrm>
                <a:custGeom>
                  <a:avLst/>
                  <a:gdLst>
                    <a:gd name="connsiteX0" fmla="*/ 777240 w 777240"/>
                    <a:gd name="connsiteY0" fmla="*/ 76200 h 1188720"/>
                    <a:gd name="connsiteX1" fmla="*/ 632460 w 777240"/>
                    <a:gd name="connsiteY1" fmla="*/ 15240 h 1188720"/>
                    <a:gd name="connsiteX2" fmla="*/ 495300 w 777240"/>
                    <a:gd name="connsiteY2" fmla="*/ 0 h 1188720"/>
                    <a:gd name="connsiteX3" fmla="*/ 472440 w 777240"/>
                    <a:gd name="connsiteY3" fmla="*/ 137160 h 1188720"/>
                    <a:gd name="connsiteX4" fmla="*/ 365760 w 777240"/>
                    <a:gd name="connsiteY4" fmla="*/ 167640 h 1188720"/>
                    <a:gd name="connsiteX5" fmla="*/ 236220 w 777240"/>
                    <a:gd name="connsiteY5" fmla="*/ 266700 h 1188720"/>
                    <a:gd name="connsiteX6" fmla="*/ 0 w 777240"/>
                    <a:gd name="connsiteY6" fmla="*/ 365760 h 1188720"/>
                    <a:gd name="connsiteX7" fmla="*/ 167640 w 777240"/>
                    <a:gd name="connsiteY7" fmla="*/ 525780 h 1188720"/>
                    <a:gd name="connsiteX8" fmla="*/ 335280 w 777240"/>
                    <a:gd name="connsiteY8" fmla="*/ 693420 h 1188720"/>
                    <a:gd name="connsiteX9" fmla="*/ 426720 w 777240"/>
                    <a:gd name="connsiteY9" fmla="*/ 990600 h 1188720"/>
                    <a:gd name="connsiteX10" fmla="*/ 434340 w 777240"/>
                    <a:gd name="connsiteY10" fmla="*/ 1188720 h 1188720"/>
                    <a:gd name="connsiteX11" fmla="*/ 624840 w 777240"/>
                    <a:gd name="connsiteY11" fmla="*/ 647700 h 1188720"/>
                    <a:gd name="connsiteX12" fmla="*/ 716280 w 777240"/>
                    <a:gd name="connsiteY12" fmla="*/ 312420 h 1188720"/>
                    <a:gd name="connsiteX13" fmla="*/ 777240 w 777240"/>
                    <a:gd name="connsiteY13" fmla="*/ 76200 h 1188720"/>
                    <a:gd name="connsiteX0" fmla="*/ 979169 w 979169"/>
                    <a:gd name="connsiteY0" fmla="*/ 76200 h 1188720"/>
                    <a:gd name="connsiteX1" fmla="*/ 834389 w 979169"/>
                    <a:gd name="connsiteY1" fmla="*/ 15240 h 1188720"/>
                    <a:gd name="connsiteX2" fmla="*/ 697229 w 979169"/>
                    <a:gd name="connsiteY2" fmla="*/ 0 h 1188720"/>
                    <a:gd name="connsiteX3" fmla="*/ 674369 w 979169"/>
                    <a:gd name="connsiteY3" fmla="*/ 137160 h 1188720"/>
                    <a:gd name="connsiteX4" fmla="*/ 567689 w 979169"/>
                    <a:gd name="connsiteY4" fmla="*/ 167640 h 1188720"/>
                    <a:gd name="connsiteX5" fmla="*/ 438149 w 979169"/>
                    <a:gd name="connsiteY5" fmla="*/ 266700 h 1188720"/>
                    <a:gd name="connsiteX6" fmla="*/ 201929 w 979169"/>
                    <a:gd name="connsiteY6" fmla="*/ 365760 h 1188720"/>
                    <a:gd name="connsiteX7" fmla="*/ 0 w 979169"/>
                    <a:gd name="connsiteY7" fmla="*/ 421006 h 1188720"/>
                    <a:gd name="connsiteX8" fmla="*/ 369569 w 979169"/>
                    <a:gd name="connsiteY8" fmla="*/ 525780 h 1188720"/>
                    <a:gd name="connsiteX9" fmla="*/ 537209 w 979169"/>
                    <a:gd name="connsiteY9" fmla="*/ 693420 h 1188720"/>
                    <a:gd name="connsiteX10" fmla="*/ 628649 w 979169"/>
                    <a:gd name="connsiteY10" fmla="*/ 990600 h 1188720"/>
                    <a:gd name="connsiteX11" fmla="*/ 636269 w 979169"/>
                    <a:gd name="connsiteY11" fmla="*/ 1188720 h 1188720"/>
                    <a:gd name="connsiteX12" fmla="*/ 826769 w 979169"/>
                    <a:gd name="connsiteY12" fmla="*/ 647700 h 1188720"/>
                    <a:gd name="connsiteX13" fmla="*/ 918209 w 979169"/>
                    <a:gd name="connsiteY13" fmla="*/ 312420 h 1188720"/>
                    <a:gd name="connsiteX14" fmla="*/ 979169 w 979169"/>
                    <a:gd name="connsiteY14" fmla="*/ 76200 h 1188720"/>
                    <a:gd name="connsiteX0" fmla="*/ 1064894 w 1064894"/>
                    <a:gd name="connsiteY0" fmla="*/ 76200 h 1188720"/>
                    <a:gd name="connsiteX1" fmla="*/ 920114 w 1064894"/>
                    <a:gd name="connsiteY1" fmla="*/ 15240 h 1188720"/>
                    <a:gd name="connsiteX2" fmla="*/ 782954 w 1064894"/>
                    <a:gd name="connsiteY2" fmla="*/ 0 h 1188720"/>
                    <a:gd name="connsiteX3" fmla="*/ 760094 w 1064894"/>
                    <a:gd name="connsiteY3" fmla="*/ 137160 h 1188720"/>
                    <a:gd name="connsiteX4" fmla="*/ 653414 w 1064894"/>
                    <a:gd name="connsiteY4" fmla="*/ 167640 h 1188720"/>
                    <a:gd name="connsiteX5" fmla="*/ 523874 w 1064894"/>
                    <a:gd name="connsiteY5" fmla="*/ 266700 h 1188720"/>
                    <a:gd name="connsiteX6" fmla="*/ 287654 w 1064894"/>
                    <a:gd name="connsiteY6" fmla="*/ 365760 h 1188720"/>
                    <a:gd name="connsiteX7" fmla="*/ 85725 w 1064894"/>
                    <a:gd name="connsiteY7" fmla="*/ 421006 h 1188720"/>
                    <a:gd name="connsiteX8" fmla="*/ 0 w 1064894"/>
                    <a:gd name="connsiteY8" fmla="*/ 516255 h 1188720"/>
                    <a:gd name="connsiteX9" fmla="*/ 455294 w 1064894"/>
                    <a:gd name="connsiteY9" fmla="*/ 525780 h 1188720"/>
                    <a:gd name="connsiteX10" fmla="*/ 622934 w 1064894"/>
                    <a:gd name="connsiteY10" fmla="*/ 693420 h 1188720"/>
                    <a:gd name="connsiteX11" fmla="*/ 714374 w 1064894"/>
                    <a:gd name="connsiteY11" fmla="*/ 990600 h 1188720"/>
                    <a:gd name="connsiteX12" fmla="*/ 721994 w 1064894"/>
                    <a:gd name="connsiteY12" fmla="*/ 1188720 h 1188720"/>
                    <a:gd name="connsiteX13" fmla="*/ 912494 w 1064894"/>
                    <a:gd name="connsiteY13" fmla="*/ 647700 h 1188720"/>
                    <a:gd name="connsiteX14" fmla="*/ 1003934 w 1064894"/>
                    <a:gd name="connsiteY14" fmla="*/ 312420 h 1188720"/>
                    <a:gd name="connsiteX15" fmla="*/ 1064894 w 1064894"/>
                    <a:gd name="connsiteY15" fmla="*/ 76200 h 1188720"/>
                    <a:gd name="connsiteX0" fmla="*/ 1064894 w 1064894"/>
                    <a:gd name="connsiteY0" fmla="*/ 76200 h 1188720"/>
                    <a:gd name="connsiteX1" fmla="*/ 920114 w 1064894"/>
                    <a:gd name="connsiteY1" fmla="*/ 15240 h 1188720"/>
                    <a:gd name="connsiteX2" fmla="*/ 782954 w 1064894"/>
                    <a:gd name="connsiteY2" fmla="*/ 0 h 1188720"/>
                    <a:gd name="connsiteX3" fmla="*/ 760094 w 1064894"/>
                    <a:gd name="connsiteY3" fmla="*/ 137160 h 1188720"/>
                    <a:gd name="connsiteX4" fmla="*/ 653414 w 1064894"/>
                    <a:gd name="connsiteY4" fmla="*/ 167640 h 1188720"/>
                    <a:gd name="connsiteX5" fmla="*/ 523874 w 1064894"/>
                    <a:gd name="connsiteY5" fmla="*/ 266700 h 1188720"/>
                    <a:gd name="connsiteX6" fmla="*/ 287654 w 1064894"/>
                    <a:gd name="connsiteY6" fmla="*/ 365760 h 1188720"/>
                    <a:gd name="connsiteX7" fmla="*/ 85725 w 1064894"/>
                    <a:gd name="connsiteY7" fmla="*/ 421006 h 1188720"/>
                    <a:gd name="connsiteX8" fmla="*/ 0 w 1064894"/>
                    <a:gd name="connsiteY8" fmla="*/ 516255 h 1188720"/>
                    <a:gd name="connsiteX9" fmla="*/ 455294 w 1064894"/>
                    <a:gd name="connsiteY9" fmla="*/ 525780 h 1188720"/>
                    <a:gd name="connsiteX10" fmla="*/ 622934 w 1064894"/>
                    <a:gd name="connsiteY10" fmla="*/ 693420 h 1188720"/>
                    <a:gd name="connsiteX11" fmla="*/ 714374 w 1064894"/>
                    <a:gd name="connsiteY11" fmla="*/ 990600 h 1188720"/>
                    <a:gd name="connsiteX12" fmla="*/ 721994 w 1064894"/>
                    <a:gd name="connsiteY12" fmla="*/ 1188720 h 1188720"/>
                    <a:gd name="connsiteX13" fmla="*/ 912494 w 1064894"/>
                    <a:gd name="connsiteY13" fmla="*/ 647700 h 1188720"/>
                    <a:gd name="connsiteX14" fmla="*/ 1003934 w 1064894"/>
                    <a:gd name="connsiteY14" fmla="*/ 312420 h 1188720"/>
                    <a:gd name="connsiteX15" fmla="*/ 1064894 w 1064894"/>
                    <a:gd name="connsiteY15" fmla="*/ 76200 h 1188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64894" h="1188720">
                      <a:moveTo>
                        <a:pt x="1064894" y="76200"/>
                      </a:moveTo>
                      <a:lnTo>
                        <a:pt x="920114" y="15240"/>
                      </a:lnTo>
                      <a:lnTo>
                        <a:pt x="782954" y="0"/>
                      </a:lnTo>
                      <a:lnTo>
                        <a:pt x="760094" y="137160"/>
                      </a:lnTo>
                      <a:lnTo>
                        <a:pt x="653414" y="167640"/>
                      </a:lnTo>
                      <a:lnTo>
                        <a:pt x="523874" y="266700"/>
                      </a:lnTo>
                      <a:lnTo>
                        <a:pt x="287654" y="365760"/>
                      </a:lnTo>
                      <a:lnTo>
                        <a:pt x="85725" y="421006"/>
                      </a:lnTo>
                      <a:lnTo>
                        <a:pt x="0" y="516255"/>
                      </a:lnTo>
                      <a:cubicBezTo>
                        <a:pt x="185103" y="452755"/>
                        <a:pt x="303529" y="522605"/>
                        <a:pt x="455294" y="525780"/>
                      </a:cubicBezTo>
                      <a:lnTo>
                        <a:pt x="622934" y="693420"/>
                      </a:lnTo>
                      <a:lnTo>
                        <a:pt x="714374" y="990600"/>
                      </a:lnTo>
                      <a:lnTo>
                        <a:pt x="721994" y="1188720"/>
                      </a:lnTo>
                      <a:lnTo>
                        <a:pt x="912494" y="647700"/>
                      </a:lnTo>
                      <a:lnTo>
                        <a:pt x="1003934" y="312420"/>
                      </a:lnTo>
                      <a:lnTo>
                        <a:pt x="1064894" y="762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25" name="Freeform 236">
                  <a:extLst>
                    <a:ext uri="{FF2B5EF4-FFF2-40B4-BE49-F238E27FC236}">
                      <a16:creationId xmlns:a16="http://schemas.microsoft.com/office/drawing/2014/main" id="{6753A59A-AC42-4925-8D2A-44776117ED4F}"/>
                    </a:ext>
                  </a:extLst>
                </p:cNvPr>
                <p:cNvSpPr/>
                <p:nvPr/>
              </p:nvSpPr>
              <p:spPr>
                <a:xfrm>
                  <a:off x="3124200" y="-6377940"/>
                  <a:ext cx="373380" cy="1866900"/>
                </a:xfrm>
                <a:custGeom>
                  <a:avLst/>
                  <a:gdLst>
                    <a:gd name="connsiteX0" fmla="*/ 266700 w 373380"/>
                    <a:gd name="connsiteY0" fmla="*/ 7620 h 1866900"/>
                    <a:gd name="connsiteX1" fmla="*/ 137160 w 373380"/>
                    <a:gd name="connsiteY1" fmla="*/ 281940 h 1866900"/>
                    <a:gd name="connsiteX2" fmla="*/ 15240 w 373380"/>
                    <a:gd name="connsiteY2" fmla="*/ 640080 h 1866900"/>
                    <a:gd name="connsiteX3" fmla="*/ 0 w 373380"/>
                    <a:gd name="connsiteY3" fmla="*/ 1066800 h 1866900"/>
                    <a:gd name="connsiteX4" fmla="*/ 129540 w 373380"/>
                    <a:gd name="connsiteY4" fmla="*/ 1371600 h 1866900"/>
                    <a:gd name="connsiteX5" fmla="*/ 289560 w 373380"/>
                    <a:gd name="connsiteY5" fmla="*/ 1638300 h 1866900"/>
                    <a:gd name="connsiteX6" fmla="*/ 373380 w 373380"/>
                    <a:gd name="connsiteY6" fmla="*/ 1866900 h 1866900"/>
                    <a:gd name="connsiteX7" fmla="*/ 304800 w 373380"/>
                    <a:gd name="connsiteY7" fmla="*/ 1584960 h 1866900"/>
                    <a:gd name="connsiteX8" fmla="*/ 205740 w 373380"/>
                    <a:gd name="connsiteY8" fmla="*/ 1295400 h 1866900"/>
                    <a:gd name="connsiteX9" fmla="*/ 137160 w 373380"/>
                    <a:gd name="connsiteY9" fmla="*/ 1066800 h 1866900"/>
                    <a:gd name="connsiteX10" fmla="*/ 259080 w 373380"/>
                    <a:gd name="connsiteY10" fmla="*/ 586740 h 1866900"/>
                    <a:gd name="connsiteX11" fmla="*/ 304800 w 373380"/>
                    <a:gd name="connsiteY11" fmla="*/ 426720 h 1866900"/>
                    <a:gd name="connsiteX12" fmla="*/ 320040 w 373380"/>
                    <a:gd name="connsiteY12" fmla="*/ 53340 h 1866900"/>
                    <a:gd name="connsiteX13" fmla="*/ 320040 w 373380"/>
                    <a:gd name="connsiteY13" fmla="*/ 0 h 1866900"/>
                    <a:gd name="connsiteX14" fmla="*/ 266700 w 373380"/>
                    <a:gd name="connsiteY14" fmla="*/ 7620 h 186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3380" h="1866900">
                      <a:moveTo>
                        <a:pt x="266700" y="7620"/>
                      </a:moveTo>
                      <a:lnTo>
                        <a:pt x="137160" y="281940"/>
                      </a:lnTo>
                      <a:lnTo>
                        <a:pt x="15240" y="640080"/>
                      </a:lnTo>
                      <a:lnTo>
                        <a:pt x="0" y="1066800"/>
                      </a:lnTo>
                      <a:cubicBezTo>
                        <a:pt x="123283" y="1367303"/>
                        <a:pt x="46208" y="1288268"/>
                        <a:pt x="129540" y="1371600"/>
                      </a:cubicBezTo>
                      <a:lnTo>
                        <a:pt x="289560" y="1638300"/>
                      </a:lnTo>
                      <a:lnTo>
                        <a:pt x="373380" y="1866900"/>
                      </a:lnTo>
                      <a:lnTo>
                        <a:pt x="304800" y="1584960"/>
                      </a:lnTo>
                      <a:lnTo>
                        <a:pt x="205740" y="1295400"/>
                      </a:lnTo>
                      <a:lnTo>
                        <a:pt x="137160" y="1066800"/>
                      </a:lnTo>
                      <a:lnTo>
                        <a:pt x="259080" y="586740"/>
                      </a:lnTo>
                      <a:lnTo>
                        <a:pt x="304800" y="426720"/>
                      </a:lnTo>
                      <a:lnTo>
                        <a:pt x="320040" y="53340"/>
                      </a:lnTo>
                      <a:lnTo>
                        <a:pt x="320040" y="0"/>
                      </a:lnTo>
                      <a:lnTo>
                        <a:pt x="266700" y="762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26" name="Freeform 237">
                  <a:extLst>
                    <a:ext uri="{FF2B5EF4-FFF2-40B4-BE49-F238E27FC236}">
                      <a16:creationId xmlns:a16="http://schemas.microsoft.com/office/drawing/2014/main" id="{4F8D5846-F47F-4E98-9F6E-784399642F79}"/>
                    </a:ext>
                  </a:extLst>
                </p:cNvPr>
                <p:cNvSpPr/>
                <p:nvPr/>
              </p:nvSpPr>
              <p:spPr>
                <a:xfrm>
                  <a:off x="4899660" y="-5562600"/>
                  <a:ext cx="944880" cy="1082040"/>
                </a:xfrm>
                <a:custGeom>
                  <a:avLst/>
                  <a:gdLst>
                    <a:gd name="connsiteX0" fmla="*/ 0 w 944880"/>
                    <a:gd name="connsiteY0" fmla="*/ 350520 h 1082040"/>
                    <a:gd name="connsiteX1" fmla="*/ 30480 w 944880"/>
                    <a:gd name="connsiteY1" fmla="*/ 236220 h 1082040"/>
                    <a:gd name="connsiteX2" fmla="*/ 106680 w 944880"/>
                    <a:gd name="connsiteY2" fmla="*/ 76200 h 1082040"/>
                    <a:gd name="connsiteX3" fmla="*/ 152400 w 944880"/>
                    <a:gd name="connsiteY3" fmla="*/ 0 h 1082040"/>
                    <a:gd name="connsiteX4" fmla="*/ 175260 w 944880"/>
                    <a:gd name="connsiteY4" fmla="*/ 53340 h 1082040"/>
                    <a:gd name="connsiteX5" fmla="*/ 144780 w 944880"/>
                    <a:gd name="connsiteY5" fmla="*/ 137160 h 1082040"/>
                    <a:gd name="connsiteX6" fmla="*/ 129540 w 944880"/>
                    <a:gd name="connsiteY6" fmla="*/ 236220 h 1082040"/>
                    <a:gd name="connsiteX7" fmla="*/ 236220 w 944880"/>
                    <a:gd name="connsiteY7" fmla="*/ 266700 h 1082040"/>
                    <a:gd name="connsiteX8" fmla="*/ 495300 w 944880"/>
                    <a:gd name="connsiteY8" fmla="*/ 388620 h 1082040"/>
                    <a:gd name="connsiteX9" fmla="*/ 739140 w 944880"/>
                    <a:gd name="connsiteY9" fmla="*/ 579120 h 1082040"/>
                    <a:gd name="connsiteX10" fmla="*/ 891540 w 944880"/>
                    <a:gd name="connsiteY10" fmla="*/ 708660 h 1082040"/>
                    <a:gd name="connsiteX11" fmla="*/ 944880 w 944880"/>
                    <a:gd name="connsiteY11" fmla="*/ 1028700 h 1082040"/>
                    <a:gd name="connsiteX12" fmla="*/ 906780 w 944880"/>
                    <a:gd name="connsiteY12" fmla="*/ 1082040 h 1082040"/>
                    <a:gd name="connsiteX13" fmla="*/ 861060 w 944880"/>
                    <a:gd name="connsiteY13" fmla="*/ 1013460 h 1082040"/>
                    <a:gd name="connsiteX14" fmla="*/ 845820 w 944880"/>
                    <a:gd name="connsiteY14" fmla="*/ 800100 h 1082040"/>
                    <a:gd name="connsiteX15" fmla="*/ 655320 w 944880"/>
                    <a:gd name="connsiteY15" fmla="*/ 647700 h 1082040"/>
                    <a:gd name="connsiteX16" fmla="*/ 487680 w 944880"/>
                    <a:gd name="connsiteY16" fmla="*/ 502920 h 1082040"/>
                    <a:gd name="connsiteX17" fmla="*/ 274320 w 944880"/>
                    <a:gd name="connsiteY17" fmla="*/ 388620 h 1082040"/>
                    <a:gd name="connsiteX18" fmla="*/ 53340 w 944880"/>
                    <a:gd name="connsiteY18" fmla="*/ 350520 h 1082040"/>
                    <a:gd name="connsiteX19" fmla="*/ 0 w 944880"/>
                    <a:gd name="connsiteY19" fmla="*/ 350520 h 1082040"/>
                    <a:gd name="connsiteX0" fmla="*/ 0 w 944880"/>
                    <a:gd name="connsiteY0" fmla="*/ 350520 h 1082040"/>
                    <a:gd name="connsiteX1" fmla="*/ 30480 w 944880"/>
                    <a:gd name="connsiteY1" fmla="*/ 236220 h 1082040"/>
                    <a:gd name="connsiteX2" fmla="*/ 106680 w 944880"/>
                    <a:gd name="connsiteY2" fmla="*/ 76200 h 1082040"/>
                    <a:gd name="connsiteX3" fmla="*/ 152400 w 944880"/>
                    <a:gd name="connsiteY3" fmla="*/ 0 h 1082040"/>
                    <a:gd name="connsiteX4" fmla="*/ 175260 w 944880"/>
                    <a:gd name="connsiteY4" fmla="*/ 53340 h 1082040"/>
                    <a:gd name="connsiteX5" fmla="*/ 144780 w 944880"/>
                    <a:gd name="connsiteY5" fmla="*/ 137160 h 1082040"/>
                    <a:gd name="connsiteX6" fmla="*/ 129540 w 944880"/>
                    <a:gd name="connsiteY6" fmla="*/ 236220 h 1082040"/>
                    <a:gd name="connsiteX7" fmla="*/ 236220 w 944880"/>
                    <a:gd name="connsiteY7" fmla="*/ 266700 h 1082040"/>
                    <a:gd name="connsiteX8" fmla="*/ 495300 w 944880"/>
                    <a:gd name="connsiteY8" fmla="*/ 388620 h 1082040"/>
                    <a:gd name="connsiteX9" fmla="*/ 739140 w 944880"/>
                    <a:gd name="connsiteY9" fmla="*/ 579120 h 1082040"/>
                    <a:gd name="connsiteX10" fmla="*/ 891540 w 944880"/>
                    <a:gd name="connsiteY10" fmla="*/ 708660 h 1082040"/>
                    <a:gd name="connsiteX11" fmla="*/ 944880 w 944880"/>
                    <a:gd name="connsiteY11" fmla="*/ 1028700 h 1082040"/>
                    <a:gd name="connsiteX12" fmla="*/ 906780 w 944880"/>
                    <a:gd name="connsiteY12" fmla="*/ 1082040 h 1082040"/>
                    <a:gd name="connsiteX13" fmla="*/ 861060 w 944880"/>
                    <a:gd name="connsiteY13" fmla="*/ 1013460 h 1082040"/>
                    <a:gd name="connsiteX14" fmla="*/ 845820 w 944880"/>
                    <a:gd name="connsiteY14" fmla="*/ 800100 h 1082040"/>
                    <a:gd name="connsiteX15" fmla="*/ 655320 w 944880"/>
                    <a:gd name="connsiteY15" fmla="*/ 647700 h 1082040"/>
                    <a:gd name="connsiteX16" fmla="*/ 487680 w 944880"/>
                    <a:gd name="connsiteY16" fmla="*/ 502920 h 1082040"/>
                    <a:gd name="connsiteX17" fmla="*/ 274320 w 944880"/>
                    <a:gd name="connsiteY17" fmla="*/ 388620 h 1082040"/>
                    <a:gd name="connsiteX18" fmla="*/ 53340 w 944880"/>
                    <a:gd name="connsiteY18" fmla="*/ 350520 h 1082040"/>
                    <a:gd name="connsiteX19" fmla="*/ 0 w 944880"/>
                    <a:gd name="connsiteY19" fmla="*/ 350520 h 1082040"/>
                    <a:gd name="connsiteX0" fmla="*/ 0 w 944880"/>
                    <a:gd name="connsiteY0" fmla="*/ 350520 h 1082040"/>
                    <a:gd name="connsiteX1" fmla="*/ 30480 w 944880"/>
                    <a:gd name="connsiteY1" fmla="*/ 236220 h 1082040"/>
                    <a:gd name="connsiteX2" fmla="*/ 106680 w 944880"/>
                    <a:gd name="connsiteY2" fmla="*/ 76200 h 1082040"/>
                    <a:gd name="connsiteX3" fmla="*/ 152400 w 944880"/>
                    <a:gd name="connsiteY3" fmla="*/ 0 h 1082040"/>
                    <a:gd name="connsiteX4" fmla="*/ 175260 w 944880"/>
                    <a:gd name="connsiteY4" fmla="*/ 53340 h 1082040"/>
                    <a:gd name="connsiteX5" fmla="*/ 144780 w 944880"/>
                    <a:gd name="connsiteY5" fmla="*/ 137160 h 1082040"/>
                    <a:gd name="connsiteX6" fmla="*/ 129540 w 944880"/>
                    <a:gd name="connsiteY6" fmla="*/ 236220 h 1082040"/>
                    <a:gd name="connsiteX7" fmla="*/ 236220 w 944880"/>
                    <a:gd name="connsiteY7" fmla="*/ 266700 h 1082040"/>
                    <a:gd name="connsiteX8" fmla="*/ 495300 w 944880"/>
                    <a:gd name="connsiteY8" fmla="*/ 388620 h 1082040"/>
                    <a:gd name="connsiteX9" fmla="*/ 739140 w 944880"/>
                    <a:gd name="connsiteY9" fmla="*/ 579120 h 1082040"/>
                    <a:gd name="connsiteX10" fmla="*/ 891540 w 944880"/>
                    <a:gd name="connsiteY10" fmla="*/ 708660 h 1082040"/>
                    <a:gd name="connsiteX11" fmla="*/ 944880 w 944880"/>
                    <a:gd name="connsiteY11" fmla="*/ 1028700 h 1082040"/>
                    <a:gd name="connsiteX12" fmla="*/ 906780 w 944880"/>
                    <a:gd name="connsiteY12" fmla="*/ 1082040 h 1082040"/>
                    <a:gd name="connsiteX13" fmla="*/ 861060 w 944880"/>
                    <a:gd name="connsiteY13" fmla="*/ 1013460 h 1082040"/>
                    <a:gd name="connsiteX14" fmla="*/ 845820 w 944880"/>
                    <a:gd name="connsiteY14" fmla="*/ 800100 h 1082040"/>
                    <a:gd name="connsiteX15" fmla="*/ 655320 w 944880"/>
                    <a:gd name="connsiteY15" fmla="*/ 647700 h 1082040"/>
                    <a:gd name="connsiteX16" fmla="*/ 487680 w 944880"/>
                    <a:gd name="connsiteY16" fmla="*/ 502920 h 1082040"/>
                    <a:gd name="connsiteX17" fmla="*/ 274320 w 944880"/>
                    <a:gd name="connsiteY17" fmla="*/ 388620 h 1082040"/>
                    <a:gd name="connsiteX18" fmla="*/ 53340 w 944880"/>
                    <a:gd name="connsiteY18" fmla="*/ 350520 h 1082040"/>
                    <a:gd name="connsiteX19" fmla="*/ 0 w 944880"/>
                    <a:gd name="connsiteY19" fmla="*/ 350520 h 1082040"/>
                    <a:gd name="connsiteX0" fmla="*/ 0 w 944880"/>
                    <a:gd name="connsiteY0" fmla="*/ 350520 h 1082040"/>
                    <a:gd name="connsiteX1" fmla="*/ 30480 w 944880"/>
                    <a:gd name="connsiteY1" fmla="*/ 236220 h 1082040"/>
                    <a:gd name="connsiteX2" fmla="*/ 106680 w 944880"/>
                    <a:gd name="connsiteY2" fmla="*/ 76200 h 1082040"/>
                    <a:gd name="connsiteX3" fmla="*/ 152400 w 944880"/>
                    <a:gd name="connsiteY3" fmla="*/ 0 h 1082040"/>
                    <a:gd name="connsiteX4" fmla="*/ 193040 w 944880"/>
                    <a:gd name="connsiteY4" fmla="*/ 12700 h 1082040"/>
                    <a:gd name="connsiteX5" fmla="*/ 175260 w 944880"/>
                    <a:gd name="connsiteY5" fmla="*/ 53340 h 1082040"/>
                    <a:gd name="connsiteX6" fmla="*/ 144780 w 944880"/>
                    <a:gd name="connsiteY6" fmla="*/ 137160 h 1082040"/>
                    <a:gd name="connsiteX7" fmla="*/ 129540 w 944880"/>
                    <a:gd name="connsiteY7" fmla="*/ 236220 h 1082040"/>
                    <a:gd name="connsiteX8" fmla="*/ 236220 w 944880"/>
                    <a:gd name="connsiteY8" fmla="*/ 266700 h 1082040"/>
                    <a:gd name="connsiteX9" fmla="*/ 495300 w 944880"/>
                    <a:gd name="connsiteY9" fmla="*/ 388620 h 1082040"/>
                    <a:gd name="connsiteX10" fmla="*/ 739140 w 944880"/>
                    <a:gd name="connsiteY10" fmla="*/ 579120 h 1082040"/>
                    <a:gd name="connsiteX11" fmla="*/ 891540 w 944880"/>
                    <a:gd name="connsiteY11" fmla="*/ 708660 h 1082040"/>
                    <a:gd name="connsiteX12" fmla="*/ 944880 w 944880"/>
                    <a:gd name="connsiteY12" fmla="*/ 1028700 h 1082040"/>
                    <a:gd name="connsiteX13" fmla="*/ 906780 w 944880"/>
                    <a:gd name="connsiteY13" fmla="*/ 1082040 h 1082040"/>
                    <a:gd name="connsiteX14" fmla="*/ 861060 w 944880"/>
                    <a:gd name="connsiteY14" fmla="*/ 1013460 h 1082040"/>
                    <a:gd name="connsiteX15" fmla="*/ 845820 w 944880"/>
                    <a:gd name="connsiteY15" fmla="*/ 800100 h 1082040"/>
                    <a:gd name="connsiteX16" fmla="*/ 655320 w 944880"/>
                    <a:gd name="connsiteY16" fmla="*/ 647700 h 1082040"/>
                    <a:gd name="connsiteX17" fmla="*/ 487680 w 944880"/>
                    <a:gd name="connsiteY17" fmla="*/ 502920 h 1082040"/>
                    <a:gd name="connsiteX18" fmla="*/ 274320 w 944880"/>
                    <a:gd name="connsiteY18" fmla="*/ 388620 h 1082040"/>
                    <a:gd name="connsiteX19" fmla="*/ 53340 w 944880"/>
                    <a:gd name="connsiteY19" fmla="*/ 350520 h 1082040"/>
                    <a:gd name="connsiteX20" fmla="*/ 0 w 944880"/>
                    <a:gd name="connsiteY20" fmla="*/ 350520 h 1082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44880" h="1082040">
                      <a:moveTo>
                        <a:pt x="0" y="350520"/>
                      </a:moveTo>
                      <a:lnTo>
                        <a:pt x="30480" y="236220"/>
                      </a:lnTo>
                      <a:lnTo>
                        <a:pt x="106680" y="76200"/>
                      </a:lnTo>
                      <a:lnTo>
                        <a:pt x="152400" y="0"/>
                      </a:lnTo>
                      <a:lnTo>
                        <a:pt x="193040" y="12700"/>
                      </a:lnTo>
                      <a:lnTo>
                        <a:pt x="175260" y="53340"/>
                      </a:lnTo>
                      <a:cubicBezTo>
                        <a:pt x="151368" y="132981"/>
                        <a:pt x="158451" y="88564"/>
                        <a:pt x="144780" y="137160"/>
                      </a:cubicBezTo>
                      <a:lnTo>
                        <a:pt x="129540" y="236220"/>
                      </a:lnTo>
                      <a:lnTo>
                        <a:pt x="236220" y="266700"/>
                      </a:lnTo>
                      <a:cubicBezTo>
                        <a:pt x="489966" y="389728"/>
                        <a:pt x="340552" y="331470"/>
                        <a:pt x="495300" y="388620"/>
                      </a:cubicBezTo>
                      <a:lnTo>
                        <a:pt x="739140" y="579120"/>
                      </a:lnTo>
                      <a:lnTo>
                        <a:pt x="891540" y="708660"/>
                      </a:lnTo>
                      <a:cubicBezTo>
                        <a:pt x="909742" y="815269"/>
                        <a:pt x="944880" y="920548"/>
                        <a:pt x="944880" y="1028700"/>
                      </a:cubicBezTo>
                      <a:lnTo>
                        <a:pt x="906780" y="1082040"/>
                      </a:lnTo>
                      <a:cubicBezTo>
                        <a:pt x="859536" y="1019048"/>
                        <a:pt x="861060" y="1046480"/>
                        <a:pt x="861060" y="1013460"/>
                      </a:cubicBezTo>
                      <a:cubicBezTo>
                        <a:pt x="855793" y="942354"/>
                        <a:pt x="845820" y="871401"/>
                        <a:pt x="845820" y="800100"/>
                      </a:cubicBezTo>
                      <a:lnTo>
                        <a:pt x="655320" y="647700"/>
                      </a:lnTo>
                      <a:lnTo>
                        <a:pt x="487680" y="502920"/>
                      </a:lnTo>
                      <a:lnTo>
                        <a:pt x="274320" y="388620"/>
                      </a:lnTo>
                      <a:lnTo>
                        <a:pt x="53340" y="350520"/>
                      </a:lnTo>
                      <a:lnTo>
                        <a:pt x="0" y="35052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27" name="Freeform 238">
                  <a:extLst>
                    <a:ext uri="{FF2B5EF4-FFF2-40B4-BE49-F238E27FC236}">
                      <a16:creationId xmlns:a16="http://schemas.microsoft.com/office/drawing/2014/main" id="{F5998278-7F38-473E-ACBA-1CE895D742C7}"/>
                    </a:ext>
                  </a:extLst>
                </p:cNvPr>
                <p:cNvSpPr/>
                <p:nvPr/>
              </p:nvSpPr>
              <p:spPr>
                <a:xfrm>
                  <a:off x="2766060" y="-5610861"/>
                  <a:ext cx="922020" cy="1762760"/>
                </a:xfrm>
                <a:custGeom>
                  <a:avLst/>
                  <a:gdLst>
                    <a:gd name="connsiteX0" fmla="*/ 22860 w 883920"/>
                    <a:gd name="connsiteY0" fmla="*/ 0 h 1645920"/>
                    <a:gd name="connsiteX1" fmla="*/ 167640 w 883920"/>
                    <a:gd name="connsiteY1" fmla="*/ 175260 h 1645920"/>
                    <a:gd name="connsiteX2" fmla="*/ 251460 w 883920"/>
                    <a:gd name="connsiteY2" fmla="*/ 396240 h 1645920"/>
                    <a:gd name="connsiteX3" fmla="*/ 449580 w 883920"/>
                    <a:gd name="connsiteY3" fmla="*/ 632460 h 1645920"/>
                    <a:gd name="connsiteX4" fmla="*/ 624840 w 883920"/>
                    <a:gd name="connsiteY4" fmla="*/ 952500 h 1645920"/>
                    <a:gd name="connsiteX5" fmla="*/ 708660 w 883920"/>
                    <a:gd name="connsiteY5" fmla="*/ 1211580 h 1645920"/>
                    <a:gd name="connsiteX6" fmla="*/ 792480 w 883920"/>
                    <a:gd name="connsiteY6" fmla="*/ 1493520 h 1645920"/>
                    <a:gd name="connsiteX7" fmla="*/ 883920 w 883920"/>
                    <a:gd name="connsiteY7" fmla="*/ 1645920 h 1645920"/>
                    <a:gd name="connsiteX8" fmla="*/ 792480 w 883920"/>
                    <a:gd name="connsiteY8" fmla="*/ 1539240 h 1645920"/>
                    <a:gd name="connsiteX9" fmla="*/ 701040 w 883920"/>
                    <a:gd name="connsiteY9" fmla="*/ 1356360 h 1645920"/>
                    <a:gd name="connsiteX10" fmla="*/ 617220 w 883920"/>
                    <a:gd name="connsiteY10" fmla="*/ 1051560 h 1645920"/>
                    <a:gd name="connsiteX11" fmla="*/ 457200 w 883920"/>
                    <a:gd name="connsiteY11" fmla="*/ 861060 h 1645920"/>
                    <a:gd name="connsiteX12" fmla="*/ 266700 w 883920"/>
                    <a:gd name="connsiteY12" fmla="*/ 792480 h 1645920"/>
                    <a:gd name="connsiteX13" fmla="*/ 137160 w 883920"/>
                    <a:gd name="connsiteY13" fmla="*/ 777240 h 1645920"/>
                    <a:gd name="connsiteX14" fmla="*/ 160020 w 883920"/>
                    <a:gd name="connsiteY14" fmla="*/ 571500 h 1645920"/>
                    <a:gd name="connsiteX15" fmla="*/ 0 w 883920"/>
                    <a:gd name="connsiteY15" fmla="*/ 259080 h 1645920"/>
                    <a:gd name="connsiteX16" fmla="*/ 22860 w 883920"/>
                    <a:gd name="connsiteY16" fmla="*/ 0 h 1645920"/>
                    <a:gd name="connsiteX0" fmla="*/ 22860 w 883920"/>
                    <a:gd name="connsiteY0" fmla="*/ 58595 h 1704515"/>
                    <a:gd name="connsiteX1" fmla="*/ 320040 w 883920"/>
                    <a:gd name="connsiteY1" fmla="*/ 81455 h 1704515"/>
                    <a:gd name="connsiteX2" fmla="*/ 251460 w 883920"/>
                    <a:gd name="connsiteY2" fmla="*/ 454835 h 1704515"/>
                    <a:gd name="connsiteX3" fmla="*/ 449580 w 883920"/>
                    <a:gd name="connsiteY3" fmla="*/ 691055 h 1704515"/>
                    <a:gd name="connsiteX4" fmla="*/ 624840 w 883920"/>
                    <a:gd name="connsiteY4" fmla="*/ 1011095 h 1704515"/>
                    <a:gd name="connsiteX5" fmla="*/ 708660 w 883920"/>
                    <a:gd name="connsiteY5" fmla="*/ 1270175 h 1704515"/>
                    <a:gd name="connsiteX6" fmla="*/ 792480 w 883920"/>
                    <a:gd name="connsiteY6" fmla="*/ 1552115 h 1704515"/>
                    <a:gd name="connsiteX7" fmla="*/ 883920 w 883920"/>
                    <a:gd name="connsiteY7" fmla="*/ 1704515 h 1704515"/>
                    <a:gd name="connsiteX8" fmla="*/ 792480 w 883920"/>
                    <a:gd name="connsiteY8" fmla="*/ 1597835 h 1704515"/>
                    <a:gd name="connsiteX9" fmla="*/ 701040 w 883920"/>
                    <a:gd name="connsiteY9" fmla="*/ 1414955 h 1704515"/>
                    <a:gd name="connsiteX10" fmla="*/ 617220 w 883920"/>
                    <a:gd name="connsiteY10" fmla="*/ 1110155 h 1704515"/>
                    <a:gd name="connsiteX11" fmla="*/ 457200 w 883920"/>
                    <a:gd name="connsiteY11" fmla="*/ 919655 h 1704515"/>
                    <a:gd name="connsiteX12" fmla="*/ 266700 w 883920"/>
                    <a:gd name="connsiteY12" fmla="*/ 851075 h 1704515"/>
                    <a:gd name="connsiteX13" fmla="*/ 137160 w 883920"/>
                    <a:gd name="connsiteY13" fmla="*/ 835835 h 1704515"/>
                    <a:gd name="connsiteX14" fmla="*/ 160020 w 883920"/>
                    <a:gd name="connsiteY14" fmla="*/ 630095 h 1704515"/>
                    <a:gd name="connsiteX15" fmla="*/ 0 w 883920"/>
                    <a:gd name="connsiteY15" fmla="*/ 317675 h 1704515"/>
                    <a:gd name="connsiteX16" fmla="*/ 22860 w 883920"/>
                    <a:gd name="connsiteY16" fmla="*/ 58595 h 1704515"/>
                    <a:gd name="connsiteX0" fmla="*/ 22860 w 883920"/>
                    <a:gd name="connsiteY0" fmla="*/ 95249 h 1741169"/>
                    <a:gd name="connsiteX1" fmla="*/ 160020 w 883920"/>
                    <a:gd name="connsiteY1" fmla="*/ 3810 h 1741169"/>
                    <a:gd name="connsiteX2" fmla="*/ 320040 w 883920"/>
                    <a:gd name="connsiteY2" fmla="*/ 118109 h 1741169"/>
                    <a:gd name="connsiteX3" fmla="*/ 251460 w 883920"/>
                    <a:gd name="connsiteY3" fmla="*/ 491489 h 1741169"/>
                    <a:gd name="connsiteX4" fmla="*/ 449580 w 883920"/>
                    <a:gd name="connsiteY4" fmla="*/ 727709 h 1741169"/>
                    <a:gd name="connsiteX5" fmla="*/ 624840 w 883920"/>
                    <a:gd name="connsiteY5" fmla="*/ 1047749 h 1741169"/>
                    <a:gd name="connsiteX6" fmla="*/ 708660 w 883920"/>
                    <a:gd name="connsiteY6" fmla="*/ 1306829 h 1741169"/>
                    <a:gd name="connsiteX7" fmla="*/ 792480 w 883920"/>
                    <a:gd name="connsiteY7" fmla="*/ 1588769 h 1741169"/>
                    <a:gd name="connsiteX8" fmla="*/ 883920 w 883920"/>
                    <a:gd name="connsiteY8" fmla="*/ 1741169 h 1741169"/>
                    <a:gd name="connsiteX9" fmla="*/ 792480 w 883920"/>
                    <a:gd name="connsiteY9" fmla="*/ 1634489 h 1741169"/>
                    <a:gd name="connsiteX10" fmla="*/ 701040 w 883920"/>
                    <a:gd name="connsiteY10" fmla="*/ 1451609 h 1741169"/>
                    <a:gd name="connsiteX11" fmla="*/ 617220 w 883920"/>
                    <a:gd name="connsiteY11" fmla="*/ 1146809 h 1741169"/>
                    <a:gd name="connsiteX12" fmla="*/ 457200 w 883920"/>
                    <a:gd name="connsiteY12" fmla="*/ 956309 h 1741169"/>
                    <a:gd name="connsiteX13" fmla="*/ 266700 w 883920"/>
                    <a:gd name="connsiteY13" fmla="*/ 887729 h 1741169"/>
                    <a:gd name="connsiteX14" fmla="*/ 137160 w 883920"/>
                    <a:gd name="connsiteY14" fmla="*/ 872489 h 1741169"/>
                    <a:gd name="connsiteX15" fmla="*/ 160020 w 883920"/>
                    <a:gd name="connsiteY15" fmla="*/ 666749 h 1741169"/>
                    <a:gd name="connsiteX16" fmla="*/ 0 w 883920"/>
                    <a:gd name="connsiteY16" fmla="*/ 354329 h 1741169"/>
                    <a:gd name="connsiteX17" fmla="*/ 22860 w 883920"/>
                    <a:gd name="connsiteY17" fmla="*/ 95249 h 1741169"/>
                    <a:gd name="connsiteX0" fmla="*/ 26670 w 887730"/>
                    <a:gd name="connsiteY0" fmla="*/ 101600 h 1747520"/>
                    <a:gd name="connsiteX1" fmla="*/ 163830 w 887730"/>
                    <a:gd name="connsiteY1" fmla="*/ 10161 h 1747520"/>
                    <a:gd name="connsiteX2" fmla="*/ 323850 w 887730"/>
                    <a:gd name="connsiteY2" fmla="*/ 124460 h 1747520"/>
                    <a:gd name="connsiteX3" fmla="*/ 255270 w 887730"/>
                    <a:gd name="connsiteY3" fmla="*/ 497840 h 1747520"/>
                    <a:gd name="connsiteX4" fmla="*/ 453390 w 887730"/>
                    <a:gd name="connsiteY4" fmla="*/ 734060 h 1747520"/>
                    <a:gd name="connsiteX5" fmla="*/ 628650 w 887730"/>
                    <a:gd name="connsiteY5" fmla="*/ 1054100 h 1747520"/>
                    <a:gd name="connsiteX6" fmla="*/ 712470 w 887730"/>
                    <a:gd name="connsiteY6" fmla="*/ 1313180 h 1747520"/>
                    <a:gd name="connsiteX7" fmla="*/ 796290 w 887730"/>
                    <a:gd name="connsiteY7" fmla="*/ 1595120 h 1747520"/>
                    <a:gd name="connsiteX8" fmla="*/ 887730 w 887730"/>
                    <a:gd name="connsiteY8" fmla="*/ 1747520 h 1747520"/>
                    <a:gd name="connsiteX9" fmla="*/ 796290 w 887730"/>
                    <a:gd name="connsiteY9" fmla="*/ 1640840 h 1747520"/>
                    <a:gd name="connsiteX10" fmla="*/ 704850 w 887730"/>
                    <a:gd name="connsiteY10" fmla="*/ 1457960 h 1747520"/>
                    <a:gd name="connsiteX11" fmla="*/ 621030 w 887730"/>
                    <a:gd name="connsiteY11" fmla="*/ 1153160 h 1747520"/>
                    <a:gd name="connsiteX12" fmla="*/ 461010 w 887730"/>
                    <a:gd name="connsiteY12" fmla="*/ 962660 h 1747520"/>
                    <a:gd name="connsiteX13" fmla="*/ 270510 w 887730"/>
                    <a:gd name="connsiteY13" fmla="*/ 894080 h 1747520"/>
                    <a:gd name="connsiteX14" fmla="*/ 140970 w 887730"/>
                    <a:gd name="connsiteY14" fmla="*/ 878840 h 1747520"/>
                    <a:gd name="connsiteX15" fmla="*/ 163830 w 887730"/>
                    <a:gd name="connsiteY15" fmla="*/ 673100 h 1747520"/>
                    <a:gd name="connsiteX16" fmla="*/ 3810 w 887730"/>
                    <a:gd name="connsiteY16" fmla="*/ 360680 h 1747520"/>
                    <a:gd name="connsiteX17" fmla="*/ 26670 w 887730"/>
                    <a:gd name="connsiteY17" fmla="*/ 101600 h 1747520"/>
                    <a:gd name="connsiteX0" fmla="*/ 26670 w 948690"/>
                    <a:gd name="connsiteY0" fmla="*/ 101600 h 1816100"/>
                    <a:gd name="connsiteX1" fmla="*/ 224790 w 948690"/>
                    <a:gd name="connsiteY1" fmla="*/ 78741 h 1816100"/>
                    <a:gd name="connsiteX2" fmla="*/ 384810 w 948690"/>
                    <a:gd name="connsiteY2" fmla="*/ 193040 h 1816100"/>
                    <a:gd name="connsiteX3" fmla="*/ 316230 w 948690"/>
                    <a:gd name="connsiteY3" fmla="*/ 566420 h 1816100"/>
                    <a:gd name="connsiteX4" fmla="*/ 514350 w 948690"/>
                    <a:gd name="connsiteY4" fmla="*/ 802640 h 1816100"/>
                    <a:gd name="connsiteX5" fmla="*/ 689610 w 948690"/>
                    <a:gd name="connsiteY5" fmla="*/ 1122680 h 1816100"/>
                    <a:gd name="connsiteX6" fmla="*/ 773430 w 948690"/>
                    <a:gd name="connsiteY6" fmla="*/ 1381760 h 1816100"/>
                    <a:gd name="connsiteX7" fmla="*/ 857250 w 948690"/>
                    <a:gd name="connsiteY7" fmla="*/ 1663700 h 1816100"/>
                    <a:gd name="connsiteX8" fmla="*/ 948690 w 948690"/>
                    <a:gd name="connsiteY8" fmla="*/ 1816100 h 1816100"/>
                    <a:gd name="connsiteX9" fmla="*/ 857250 w 948690"/>
                    <a:gd name="connsiteY9" fmla="*/ 1709420 h 1816100"/>
                    <a:gd name="connsiteX10" fmla="*/ 765810 w 948690"/>
                    <a:gd name="connsiteY10" fmla="*/ 1526540 h 1816100"/>
                    <a:gd name="connsiteX11" fmla="*/ 681990 w 948690"/>
                    <a:gd name="connsiteY11" fmla="*/ 1221740 h 1816100"/>
                    <a:gd name="connsiteX12" fmla="*/ 521970 w 948690"/>
                    <a:gd name="connsiteY12" fmla="*/ 1031240 h 1816100"/>
                    <a:gd name="connsiteX13" fmla="*/ 331470 w 948690"/>
                    <a:gd name="connsiteY13" fmla="*/ 962660 h 1816100"/>
                    <a:gd name="connsiteX14" fmla="*/ 201930 w 948690"/>
                    <a:gd name="connsiteY14" fmla="*/ 947420 h 1816100"/>
                    <a:gd name="connsiteX15" fmla="*/ 224790 w 948690"/>
                    <a:gd name="connsiteY15" fmla="*/ 741680 h 1816100"/>
                    <a:gd name="connsiteX16" fmla="*/ 64770 w 948690"/>
                    <a:gd name="connsiteY16" fmla="*/ 429260 h 1816100"/>
                    <a:gd name="connsiteX17" fmla="*/ 26670 w 948690"/>
                    <a:gd name="connsiteY17" fmla="*/ 101600 h 1816100"/>
                    <a:gd name="connsiteX0" fmla="*/ 0 w 922020"/>
                    <a:gd name="connsiteY0" fmla="*/ 48260 h 1762760"/>
                    <a:gd name="connsiteX1" fmla="*/ 198120 w 922020"/>
                    <a:gd name="connsiteY1" fmla="*/ 25401 h 1762760"/>
                    <a:gd name="connsiteX2" fmla="*/ 358140 w 922020"/>
                    <a:gd name="connsiteY2" fmla="*/ 139700 h 1762760"/>
                    <a:gd name="connsiteX3" fmla="*/ 289560 w 922020"/>
                    <a:gd name="connsiteY3" fmla="*/ 513080 h 1762760"/>
                    <a:gd name="connsiteX4" fmla="*/ 487680 w 922020"/>
                    <a:gd name="connsiteY4" fmla="*/ 749300 h 1762760"/>
                    <a:gd name="connsiteX5" fmla="*/ 662940 w 922020"/>
                    <a:gd name="connsiteY5" fmla="*/ 1069340 h 1762760"/>
                    <a:gd name="connsiteX6" fmla="*/ 746760 w 922020"/>
                    <a:gd name="connsiteY6" fmla="*/ 1328420 h 1762760"/>
                    <a:gd name="connsiteX7" fmla="*/ 830580 w 922020"/>
                    <a:gd name="connsiteY7" fmla="*/ 1610360 h 1762760"/>
                    <a:gd name="connsiteX8" fmla="*/ 922020 w 922020"/>
                    <a:gd name="connsiteY8" fmla="*/ 1762760 h 1762760"/>
                    <a:gd name="connsiteX9" fmla="*/ 830580 w 922020"/>
                    <a:gd name="connsiteY9" fmla="*/ 1656080 h 1762760"/>
                    <a:gd name="connsiteX10" fmla="*/ 739140 w 922020"/>
                    <a:gd name="connsiteY10" fmla="*/ 1473200 h 1762760"/>
                    <a:gd name="connsiteX11" fmla="*/ 655320 w 922020"/>
                    <a:gd name="connsiteY11" fmla="*/ 1168400 h 1762760"/>
                    <a:gd name="connsiteX12" fmla="*/ 495300 w 922020"/>
                    <a:gd name="connsiteY12" fmla="*/ 977900 h 1762760"/>
                    <a:gd name="connsiteX13" fmla="*/ 304800 w 922020"/>
                    <a:gd name="connsiteY13" fmla="*/ 909320 h 1762760"/>
                    <a:gd name="connsiteX14" fmla="*/ 175260 w 922020"/>
                    <a:gd name="connsiteY14" fmla="*/ 894080 h 1762760"/>
                    <a:gd name="connsiteX15" fmla="*/ 198120 w 922020"/>
                    <a:gd name="connsiteY15" fmla="*/ 688340 h 1762760"/>
                    <a:gd name="connsiteX16" fmla="*/ 38100 w 922020"/>
                    <a:gd name="connsiteY16" fmla="*/ 375920 h 1762760"/>
                    <a:gd name="connsiteX17" fmla="*/ 0 w 922020"/>
                    <a:gd name="connsiteY17" fmla="*/ 48260 h 1762760"/>
                    <a:gd name="connsiteX0" fmla="*/ 0 w 922020"/>
                    <a:gd name="connsiteY0" fmla="*/ 48260 h 1762760"/>
                    <a:gd name="connsiteX1" fmla="*/ 198120 w 922020"/>
                    <a:gd name="connsiteY1" fmla="*/ 25401 h 1762760"/>
                    <a:gd name="connsiteX2" fmla="*/ 335280 w 922020"/>
                    <a:gd name="connsiteY2" fmla="*/ 63500 h 1762760"/>
                    <a:gd name="connsiteX3" fmla="*/ 289560 w 922020"/>
                    <a:gd name="connsiteY3" fmla="*/ 513080 h 1762760"/>
                    <a:gd name="connsiteX4" fmla="*/ 487680 w 922020"/>
                    <a:gd name="connsiteY4" fmla="*/ 749300 h 1762760"/>
                    <a:gd name="connsiteX5" fmla="*/ 662940 w 922020"/>
                    <a:gd name="connsiteY5" fmla="*/ 1069340 h 1762760"/>
                    <a:gd name="connsiteX6" fmla="*/ 746760 w 922020"/>
                    <a:gd name="connsiteY6" fmla="*/ 1328420 h 1762760"/>
                    <a:gd name="connsiteX7" fmla="*/ 830580 w 922020"/>
                    <a:gd name="connsiteY7" fmla="*/ 1610360 h 1762760"/>
                    <a:gd name="connsiteX8" fmla="*/ 922020 w 922020"/>
                    <a:gd name="connsiteY8" fmla="*/ 1762760 h 1762760"/>
                    <a:gd name="connsiteX9" fmla="*/ 830580 w 922020"/>
                    <a:gd name="connsiteY9" fmla="*/ 1656080 h 1762760"/>
                    <a:gd name="connsiteX10" fmla="*/ 739140 w 922020"/>
                    <a:gd name="connsiteY10" fmla="*/ 1473200 h 1762760"/>
                    <a:gd name="connsiteX11" fmla="*/ 655320 w 922020"/>
                    <a:gd name="connsiteY11" fmla="*/ 1168400 h 1762760"/>
                    <a:gd name="connsiteX12" fmla="*/ 495300 w 922020"/>
                    <a:gd name="connsiteY12" fmla="*/ 977900 h 1762760"/>
                    <a:gd name="connsiteX13" fmla="*/ 304800 w 922020"/>
                    <a:gd name="connsiteY13" fmla="*/ 909320 h 1762760"/>
                    <a:gd name="connsiteX14" fmla="*/ 175260 w 922020"/>
                    <a:gd name="connsiteY14" fmla="*/ 894080 h 1762760"/>
                    <a:gd name="connsiteX15" fmla="*/ 198120 w 922020"/>
                    <a:gd name="connsiteY15" fmla="*/ 688340 h 1762760"/>
                    <a:gd name="connsiteX16" fmla="*/ 38100 w 922020"/>
                    <a:gd name="connsiteY16" fmla="*/ 375920 h 1762760"/>
                    <a:gd name="connsiteX17" fmla="*/ 0 w 922020"/>
                    <a:gd name="connsiteY17" fmla="*/ 48260 h 1762760"/>
                    <a:gd name="connsiteX0" fmla="*/ 0 w 922020"/>
                    <a:gd name="connsiteY0" fmla="*/ 48260 h 1762760"/>
                    <a:gd name="connsiteX1" fmla="*/ 198120 w 922020"/>
                    <a:gd name="connsiteY1" fmla="*/ 25401 h 1762760"/>
                    <a:gd name="connsiteX2" fmla="*/ 335280 w 922020"/>
                    <a:gd name="connsiteY2" fmla="*/ 63500 h 1762760"/>
                    <a:gd name="connsiteX3" fmla="*/ 289560 w 922020"/>
                    <a:gd name="connsiteY3" fmla="*/ 513080 h 1762760"/>
                    <a:gd name="connsiteX4" fmla="*/ 487680 w 922020"/>
                    <a:gd name="connsiteY4" fmla="*/ 749300 h 1762760"/>
                    <a:gd name="connsiteX5" fmla="*/ 662940 w 922020"/>
                    <a:gd name="connsiteY5" fmla="*/ 1069340 h 1762760"/>
                    <a:gd name="connsiteX6" fmla="*/ 746760 w 922020"/>
                    <a:gd name="connsiteY6" fmla="*/ 1328420 h 1762760"/>
                    <a:gd name="connsiteX7" fmla="*/ 830580 w 922020"/>
                    <a:gd name="connsiteY7" fmla="*/ 1610360 h 1762760"/>
                    <a:gd name="connsiteX8" fmla="*/ 922020 w 922020"/>
                    <a:gd name="connsiteY8" fmla="*/ 1762760 h 1762760"/>
                    <a:gd name="connsiteX9" fmla="*/ 830580 w 922020"/>
                    <a:gd name="connsiteY9" fmla="*/ 1656080 h 1762760"/>
                    <a:gd name="connsiteX10" fmla="*/ 739140 w 922020"/>
                    <a:gd name="connsiteY10" fmla="*/ 1473200 h 1762760"/>
                    <a:gd name="connsiteX11" fmla="*/ 655320 w 922020"/>
                    <a:gd name="connsiteY11" fmla="*/ 1168400 h 1762760"/>
                    <a:gd name="connsiteX12" fmla="*/ 495300 w 922020"/>
                    <a:gd name="connsiteY12" fmla="*/ 977900 h 1762760"/>
                    <a:gd name="connsiteX13" fmla="*/ 304800 w 922020"/>
                    <a:gd name="connsiteY13" fmla="*/ 909320 h 1762760"/>
                    <a:gd name="connsiteX14" fmla="*/ 175260 w 922020"/>
                    <a:gd name="connsiteY14" fmla="*/ 894080 h 1762760"/>
                    <a:gd name="connsiteX15" fmla="*/ 198120 w 922020"/>
                    <a:gd name="connsiteY15" fmla="*/ 688340 h 1762760"/>
                    <a:gd name="connsiteX16" fmla="*/ 38100 w 922020"/>
                    <a:gd name="connsiteY16" fmla="*/ 375920 h 1762760"/>
                    <a:gd name="connsiteX17" fmla="*/ 0 w 922020"/>
                    <a:gd name="connsiteY17" fmla="*/ 48260 h 1762760"/>
                    <a:gd name="connsiteX0" fmla="*/ 0 w 922020"/>
                    <a:gd name="connsiteY0" fmla="*/ 48260 h 1762760"/>
                    <a:gd name="connsiteX1" fmla="*/ 198120 w 922020"/>
                    <a:gd name="connsiteY1" fmla="*/ 25401 h 1762760"/>
                    <a:gd name="connsiteX2" fmla="*/ 335280 w 922020"/>
                    <a:gd name="connsiteY2" fmla="*/ 63500 h 1762760"/>
                    <a:gd name="connsiteX3" fmla="*/ 289560 w 922020"/>
                    <a:gd name="connsiteY3" fmla="*/ 513080 h 1762760"/>
                    <a:gd name="connsiteX4" fmla="*/ 487680 w 922020"/>
                    <a:gd name="connsiteY4" fmla="*/ 749300 h 1762760"/>
                    <a:gd name="connsiteX5" fmla="*/ 662940 w 922020"/>
                    <a:gd name="connsiteY5" fmla="*/ 1069340 h 1762760"/>
                    <a:gd name="connsiteX6" fmla="*/ 746760 w 922020"/>
                    <a:gd name="connsiteY6" fmla="*/ 1328420 h 1762760"/>
                    <a:gd name="connsiteX7" fmla="*/ 830580 w 922020"/>
                    <a:gd name="connsiteY7" fmla="*/ 1610360 h 1762760"/>
                    <a:gd name="connsiteX8" fmla="*/ 922020 w 922020"/>
                    <a:gd name="connsiteY8" fmla="*/ 1762760 h 1762760"/>
                    <a:gd name="connsiteX9" fmla="*/ 830580 w 922020"/>
                    <a:gd name="connsiteY9" fmla="*/ 1656080 h 1762760"/>
                    <a:gd name="connsiteX10" fmla="*/ 739140 w 922020"/>
                    <a:gd name="connsiteY10" fmla="*/ 1473200 h 1762760"/>
                    <a:gd name="connsiteX11" fmla="*/ 655320 w 922020"/>
                    <a:gd name="connsiteY11" fmla="*/ 1168400 h 1762760"/>
                    <a:gd name="connsiteX12" fmla="*/ 495300 w 922020"/>
                    <a:gd name="connsiteY12" fmla="*/ 977900 h 1762760"/>
                    <a:gd name="connsiteX13" fmla="*/ 304800 w 922020"/>
                    <a:gd name="connsiteY13" fmla="*/ 909320 h 1762760"/>
                    <a:gd name="connsiteX14" fmla="*/ 175260 w 922020"/>
                    <a:gd name="connsiteY14" fmla="*/ 894080 h 1762760"/>
                    <a:gd name="connsiteX15" fmla="*/ 198120 w 922020"/>
                    <a:gd name="connsiteY15" fmla="*/ 688340 h 1762760"/>
                    <a:gd name="connsiteX16" fmla="*/ 38100 w 922020"/>
                    <a:gd name="connsiteY16" fmla="*/ 375920 h 1762760"/>
                    <a:gd name="connsiteX17" fmla="*/ 76200 w 922020"/>
                    <a:gd name="connsiteY17" fmla="*/ 124461 h 1762760"/>
                    <a:gd name="connsiteX18" fmla="*/ 0 w 922020"/>
                    <a:gd name="connsiteY18" fmla="*/ 48260 h 1762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2020" h="1762760">
                      <a:moveTo>
                        <a:pt x="0" y="48260"/>
                      </a:moveTo>
                      <a:cubicBezTo>
                        <a:pt x="72390" y="0"/>
                        <a:pt x="142240" y="22861"/>
                        <a:pt x="198120" y="25401"/>
                      </a:cubicBezTo>
                      <a:cubicBezTo>
                        <a:pt x="254000" y="27941"/>
                        <a:pt x="320040" y="7620"/>
                        <a:pt x="335280" y="63500"/>
                      </a:cubicBezTo>
                      <a:cubicBezTo>
                        <a:pt x="220980" y="198120"/>
                        <a:pt x="304800" y="363220"/>
                        <a:pt x="289560" y="513080"/>
                      </a:cubicBezTo>
                      <a:cubicBezTo>
                        <a:pt x="489344" y="743599"/>
                        <a:pt x="487680" y="640845"/>
                        <a:pt x="487680" y="749300"/>
                      </a:cubicBezTo>
                      <a:lnTo>
                        <a:pt x="662940" y="1069340"/>
                      </a:lnTo>
                      <a:cubicBezTo>
                        <a:pt x="747563" y="1323210"/>
                        <a:pt x="746760" y="1232446"/>
                        <a:pt x="746760" y="1328420"/>
                      </a:cubicBezTo>
                      <a:lnTo>
                        <a:pt x="830580" y="1610360"/>
                      </a:lnTo>
                      <a:lnTo>
                        <a:pt x="922020" y="1762760"/>
                      </a:lnTo>
                      <a:cubicBezTo>
                        <a:pt x="828857" y="1661834"/>
                        <a:pt x="830580" y="1708637"/>
                        <a:pt x="830580" y="1656080"/>
                      </a:cubicBezTo>
                      <a:lnTo>
                        <a:pt x="739140" y="1473200"/>
                      </a:lnTo>
                      <a:cubicBezTo>
                        <a:pt x="662048" y="1172540"/>
                        <a:pt x="735252" y="1248332"/>
                        <a:pt x="655320" y="1168400"/>
                      </a:cubicBezTo>
                      <a:cubicBezTo>
                        <a:pt x="500620" y="982760"/>
                        <a:pt x="559030" y="1041630"/>
                        <a:pt x="495300" y="977900"/>
                      </a:cubicBezTo>
                      <a:lnTo>
                        <a:pt x="304800" y="909320"/>
                      </a:lnTo>
                      <a:lnTo>
                        <a:pt x="175260" y="894080"/>
                      </a:lnTo>
                      <a:lnTo>
                        <a:pt x="198120" y="688340"/>
                      </a:lnTo>
                      <a:lnTo>
                        <a:pt x="38100" y="375920"/>
                      </a:lnTo>
                      <a:lnTo>
                        <a:pt x="76200" y="124461"/>
                      </a:lnTo>
                      <a:lnTo>
                        <a:pt x="0" y="4826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585" name="Group 110">
                <a:extLst>
                  <a:ext uri="{FF2B5EF4-FFF2-40B4-BE49-F238E27FC236}">
                    <a16:creationId xmlns:a16="http://schemas.microsoft.com/office/drawing/2014/main" id="{54E93B4E-23DA-4A6C-BF0C-24E57B67E5F0}"/>
                  </a:ext>
                </a:extLst>
              </p:cNvPr>
              <p:cNvGrpSpPr/>
              <p:nvPr/>
            </p:nvGrpSpPr>
            <p:grpSpPr>
              <a:xfrm>
                <a:off x="3921952" y="1195748"/>
                <a:ext cx="1637757" cy="1989786"/>
                <a:chOff x="-358302" y="-6117673"/>
                <a:chExt cx="8626002" cy="10480123"/>
              </a:xfrm>
              <a:grpFill/>
            </p:grpSpPr>
            <p:sp>
              <p:nvSpPr>
                <p:cNvPr id="604" name="Freeform 215">
                  <a:extLst>
                    <a:ext uri="{FF2B5EF4-FFF2-40B4-BE49-F238E27FC236}">
                      <a16:creationId xmlns:a16="http://schemas.microsoft.com/office/drawing/2014/main" id="{96A6A1C4-424E-4C43-B278-4BDEBCEB5134}"/>
                    </a:ext>
                  </a:extLst>
                </p:cNvPr>
                <p:cNvSpPr/>
                <p:nvPr/>
              </p:nvSpPr>
              <p:spPr>
                <a:xfrm>
                  <a:off x="-342900" y="-6117673"/>
                  <a:ext cx="8610600" cy="10480123"/>
                </a:xfrm>
                <a:custGeom>
                  <a:avLst/>
                  <a:gdLst>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66750 w 8610600"/>
                    <a:gd name="connsiteY68" fmla="*/ 6784423 h 10480123"/>
                    <a:gd name="connsiteX69" fmla="*/ 952500 w 8610600"/>
                    <a:gd name="connsiteY69" fmla="*/ 678442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048000 w 8610600"/>
                    <a:gd name="connsiteY73" fmla="*/ 7203523 h 10480123"/>
                    <a:gd name="connsiteX74" fmla="*/ 3009900 w 8610600"/>
                    <a:gd name="connsiteY74" fmla="*/ 7394023 h 10480123"/>
                    <a:gd name="connsiteX75" fmla="*/ 3143250 w 8610600"/>
                    <a:gd name="connsiteY75" fmla="*/ 7432123 h 10480123"/>
                    <a:gd name="connsiteX76" fmla="*/ 3276600 w 8610600"/>
                    <a:gd name="connsiteY76" fmla="*/ 7432123 h 10480123"/>
                    <a:gd name="connsiteX77" fmla="*/ 3295650 w 8610600"/>
                    <a:gd name="connsiteY77" fmla="*/ 7546423 h 10480123"/>
                    <a:gd name="connsiteX78" fmla="*/ 3371850 w 8610600"/>
                    <a:gd name="connsiteY78" fmla="*/ 7603573 h 10480123"/>
                    <a:gd name="connsiteX79" fmla="*/ 3657600 w 8610600"/>
                    <a:gd name="connsiteY79" fmla="*/ 7641673 h 10480123"/>
                    <a:gd name="connsiteX80" fmla="*/ 3657600 w 8610600"/>
                    <a:gd name="connsiteY80" fmla="*/ 7641673 h 10480123"/>
                    <a:gd name="connsiteX81" fmla="*/ 3676650 w 8610600"/>
                    <a:gd name="connsiteY81" fmla="*/ 7813123 h 10480123"/>
                    <a:gd name="connsiteX82" fmla="*/ 3924300 w 8610600"/>
                    <a:gd name="connsiteY82" fmla="*/ 7851223 h 10480123"/>
                    <a:gd name="connsiteX83" fmla="*/ 4324350 w 8610600"/>
                    <a:gd name="connsiteY83" fmla="*/ 7832173 h 10480123"/>
                    <a:gd name="connsiteX84" fmla="*/ 4724400 w 8610600"/>
                    <a:gd name="connsiteY84" fmla="*/ 7717873 h 10480123"/>
                    <a:gd name="connsiteX85" fmla="*/ 5029200 w 8610600"/>
                    <a:gd name="connsiteY85" fmla="*/ 7698823 h 10480123"/>
                    <a:gd name="connsiteX86" fmla="*/ 5181600 w 8610600"/>
                    <a:gd name="connsiteY86" fmla="*/ 7660723 h 10480123"/>
                    <a:gd name="connsiteX87" fmla="*/ 5391150 w 8610600"/>
                    <a:gd name="connsiteY87" fmla="*/ 7584523 h 10480123"/>
                    <a:gd name="connsiteX88" fmla="*/ 5657850 w 8610600"/>
                    <a:gd name="connsiteY88" fmla="*/ 7584523 h 10480123"/>
                    <a:gd name="connsiteX89" fmla="*/ 5867400 w 8610600"/>
                    <a:gd name="connsiteY89" fmla="*/ 7698823 h 10480123"/>
                    <a:gd name="connsiteX90" fmla="*/ 5753100 w 8610600"/>
                    <a:gd name="connsiteY90" fmla="*/ 7279723 h 10480123"/>
                    <a:gd name="connsiteX91" fmla="*/ 5581650 w 8610600"/>
                    <a:gd name="connsiteY91" fmla="*/ 6955873 h 10480123"/>
                    <a:gd name="connsiteX92" fmla="*/ 5391150 w 8610600"/>
                    <a:gd name="connsiteY92" fmla="*/ 6670123 h 10480123"/>
                    <a:gd name="connsiteX93" fmla="*/ 5257800 w 8610600"/>
                    <a:gd name="connsiteY93" fmla="*/ 6574873 h 10480123"/>
                    <a:gd name="connsiteX94" fmla="*/ 4876800 w 8610600"/>
                    <a:gd name="connsiteY94" fmla="*/ 6498673 h 10480123"/>
                    <a:gd name="connsiteX95" fmla="*/ 4629150 w 8610600"/>
                    <a:gd name="connsiteY95" fmla="*/ 6346273 h 10480123"/>
                    <a:gd name="connsiteX96" fmla="*/ 4286250 w 8610600"/>
                    <a:gd name="connsiteY96" fmla="*/ 6384373 h 10480123"/>
                    <a:gd name="connsiteX97" fmla="*/ 3886200 w 8610600"/>
                    <a:gd name="connsiteY97" fmla="*/ 6536773 h 10480123"/>
                    <a:gd name="connsiteX98" fmla="*/ 3600450 w 8610600"/>
                    <a:gd name="connsiteY98" fmla="*/ 6670123 h 10480123"/>
                    <a:gd name="connsiteX99" fmla="*/ 3181350 w 8610600"/>
                    <a:gd name="connsiteY99" fmla="*/ 5774773 h 10480123"/>
                    <a:gd name="connsiteX100" fmla="*/ 2724150 w 8610600"/>
                    <a:gd name="connsiteY100" fmla="*/ 4860373 h 10480123"/>
                    <a:gd name="connsiteX101" fmla="*/ 2381250 w 8610600"/>
                    <a:gd name="connsiteY101" fmla="*/ 4288873 h 10480123"/>
                    <a:gd name="connsiteX102" fmla="*/ 1962150 w 8610600"/>
                    <a:gd name="connsiteY102" fmla="*/ 3869773 h 10480123"/>
                    <a:gd name="connsiteX103" fmla="*/ 1619250 w 8610600"/>
                    <a:gd name="connsiteY103" fmla="*/ 3545923 h 10480123"/>
                    <a:gd name="connsiteX104" fmla="*/ 1009650 w 8610600"/>
                    <a:gd name="connsiteY104" fmla="*/ 3507823 h 10480123"/>
                    <a:gd name="connsiteX105" fmla="*/ 762000 w 8610600"/>
                    <a:gd name="connsiteY105" fmla="*/ 3545923 h 10480123"/>
                    <a:gd name="connsiteX106" fmla="*/ 838200 w 8610600"/>
                    <a:gd name="connsiteY106" fmla="*/ 2917273 h 10480123"/>
                    <a:gd name="connsiteX107" fmla="*/ 838200 w 8610600"/>
                    <a:gd name="connsiteY107" fmla="*/ 2479123 h 10480123"/>
                    <a:gd name="connsiteX108" fmla="*/ 971550 w 8610600"/>
                    <a:gd name="connsiteY108" fmla="*/ 1964773 h 10480123"/>
                    <a:gd name="connsiteX109" fmla="*/ 1028700 w 8610600"/>
                    <a:gd name="connsiteY109" fmla="*/ 1412323 h 10480123"/>
                    <a:gd name="connsiteX110" fmla="*/ 1295400 w 8610600"/>
                    <a:gd name="connsiteY110" fmla="*/ 859873 h 10480123"/>
                    <a:gd name="connsiteX111" fmla="*/ 1562100 w 8610600"/>
                    <a:gd name="connsiteY111" fmla="*/ 745573 h 10480123"/>
                    <a:gd name="connsiteX112" fmla="*/ 1809750 w 8610600"/>
                    <a:gd name="connsiteY112" fmla="*/ 726523 h 10480123"/>
                    <a:gd name="connsiteX113" fmla="*/ 2190750 w 8610600"/>
                    <a:gd name="connsiteY113" fmla="*/ 574123 h 10480123"/>
                    <a:gd name="connsiteX114" fmla="*/ 2457450 w 8610600"/>
                    <a:gd name="connsiteY114" fmla="*/ 478873 h 10480123"/>
                    <a:gd name="connsiteX115" fmla="*/ 2838450 w 8610600"/>
                    <a:gd name="connsiteY115" fmla="*/ 421723 h 10480123"/>
                    <a:gd name="connsiteX116" fmla="*/ 3219450 w 8610600"/>
                    <a:gd name="connsiteY116" fmla="*/ 174073 h 10480123"/>
                    <a:gd name="connsiteX117" fmla="*/ 2857500 w 8610600"/>
                    <a:gd name="connsiteY117" fmla="*/ 440773 h 10480123"/>
                    <a:gd name="connsiteX118" fmla="*/ 2381250 w 8610600"/>
                    <a:gd name="connsiteY118" fmla="*/ 707473 h 10480123"/>
                    <a:gd name="connsiteX119" fmla="*/ 2286000 w 8610600"/>
                    <a:gd name="connsiteY119" fmla="*/ 821773 h 10480123"/>
                    <a:gd name="connsiteX120" fmla="*/ 2400300 w 8610600"/>
                    <a:gd name="connsiteY120" fmla="*/ 840823 h 10480123"/>
                    <a:gd name="connsiteX121" fmla="*/ 2686050 w 8610600"/>
                    <a:gd name="connsiteY121" fmla="*/ 764623 h 10480123"/>
                    <a:gd name="connsiteX122" fmla="*/ 2895600 w 8610600"/>
                    <a:gd name="connsiteY122" fmla="*/ 707473 h 10480123"/>
                    <a:gd name="connsiteX123" fmla="*/ 3143250 w 8610600"/>
                    <a:gd name="connsiteY123" fmla="*/ 555073 h 10480123"/>
                    <a:gd name="connsiteX124" fmla="*/ 3143250 w 8610600"/>
                    <a:gd name="connsiteY124" fmla="*/ 669373 h 10480123"/>
                    <a:gd name="connsiteX125" fmla="*/ 3143250 w 8610600"/>
                    <a:gd name="connsiteY125" fmla="*/ 955123 h 10480123"/>
                    <a:gd name="connsiteX126" fmla="*/ 3314700 w 8610600"/>
                    <a:gd name="connsiteY126" fmla="*/ 1202773 h 10480123"/>
                    <a:gd name="connsiteX127" fmla="*/ 3067050 w 8610600"/>
                    <a:gd name="connsiteY127" fmla="*/ 2802973 h 10480123"/>
                    <a:gd name="connsiteX128" fmla="*/ 3009900 w 8610600"/>
                    <a:gd name="connsiteY128" fmla="*/ 3488773 h 10480123"/>
                    <a:gd name="connsiteX129" fmla="*/ 3162300 w 8610600"/>
                    <a:gd name="connsiteY129" fmla="*/ 4574623 h 10480123"/>
                    <a:gd name="connsiteX130" fmla="*/ 3314700 w 8610600"/>
                    <a:gd name="connsiteY130" fmla="*/ 5355673 h 10480123"/>
                    <a:gd name="connsiteX131" fmla="*/ 3429000 w 8610600"/>
                    <a:gd name="connsiteY131" fmla="*/ 6079573 h 10480123"/>
                    <a:gd name="connsiteX132" fmla="*/ 3714750 w 8610600"/>
                    <a:gd name="connsiteY132" fmla="*/ 5679523 h 10480123"/>
                    <a:gd name="connsiteX133" fmla="*/ 3886200 w 8610600"/>
                    <a:gd name="connsiteY133" fmla="*/ 5355673 h 10480123"/>
                    <a:gd name="connsiteX134" fmla="*/ 3981450 w 8610600"/>
                    <a:gd name="connsiteY134" fmla="*/ 4974673 h 10480123"/>
                    <a:gd name="connsiteX135" fmla="*/ 4248150 w 8610600"/>
                    <a:gd name="connsiteY135" fmla="*/ 4555573 h 10480123"/>
                    <a:gd name="connsiteX136" fmla="*/ 4476750 w 8610600"/>
                    <a:gd name="connsiteY136" fmla="*/ 4041223 h 10480123"/>
                    <a:gd name="connsiteX137" fmla="*/ 4876800 w 8610600"/>
                    <a:gd name="connsiteY137" fmla="*/ 3203023 h 10480123"/>
                    <a:gd name="connsiteX138" fmla="*/ 5181600 w 8610600"/>
                    <a:gd name="connsiteY138" fmla="*/ 2402923 h 10480123"/>
                    <a:gd name="connsiteX139" fmla="*/ 5410200 w 8610600"/>
                    <a:gd name="connsiteY139" fmla="*/ 1679023 h 10480123"/>
                    <a:gd name="connsiteX140" fmla="*/ 5638800 w 8610600"/>
                    <a:gd name="connsiteY140" fmla="*/ 993223 h 10480123"/>
                    <a:gd name="connsiteX141" fmla="*/ 6057900 w 8610600"/>
                    <a:gd name="connsiteY141" fmla="*/ 1336123 h 10480123"/>
                    <a:gd name="connsiteX142" fmla="*/ 6076950 w 8610600"/>
                    <a:gd name="connsiteY142" fmla="*/ 1583773 h 10480123"/>
                    <a:gd name="connsiteX143" fmla="*/ 6153150 w 8610600"/>
                    <a:gd name="connsiteY143" fmla="*/ 1659973 h 10480123"/>
                    <a:gd name="connsiteX144" fmla="*/ 6229350 w 8610600"/>
                    <a:gd name="connsiteY144" fmla="*/ 1488523 h 10480123"/>
                    <a:gd name="connsiteX145" fmla="*/ 6286500 w 8610600"/>
                    <a:gd name="connsiteY145" fmla="*/ 1164673 h 10480123"/>
                    <a:gd name="connsiteX146" fmla="*/ 6229350 w 8610600"/>
                    <a:gd name="connsiteY146" fmla="*/ 707473 h 10480123"/>
                    <a:gd name="connsiteX147" fmla="*/ 6096000 w 8610600"/>
                    <a:gd name="connsiteY147" fmla="*/ 193123 h 10480123"/>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66750 w 8610600"/>
                    <a:gd name="connsiteY68" fmla="*/ 6784423 h 10480123"/>
                    <a:gd name="connsiteX69" fmla="*/ 952500 w 8610600"/>
                    <a:gd name="connsiteY69" fmla="*/ 678442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048000 w 8610600"/>
                    <a:gd name="connsiteY73" fmla="*/ 7203523 h 10480123"/>
                    <a:gd name="connsiteX74" fmla="*/ 3009900 w 8610600"/>
                    <a:gd name="connsiteY74" fmla="*/ 7394023 h 10480123"/>
                    <a:gd name="connsiteX75" fmla="*/ 3143250 w 8610600"/>
                    <a:gd name="connsiteY75" fmla="*/ 7432123 h 10480123"/>
                    <a:gd name="connsiteX76" fmla="*/ 3276600 w 8610600"/>
                    <a:gd name="connsiteY76" fmla="*/ 7432123 h 10480123"/>
                    <a:gd name="connsiteX77" fmla="*/ 3295650 w 8610600"/>
                    <a:gd name="connsiteY77" fmla="*/ 7546423 h 10480123"/>
                    <a:gd name="connsiteX78" fmla="*/ 3371850 w 8610600"/>
                    <a:gd name="connsiteY78" fmla="*/ 7603573 h 10480123"/>
                    <a:gd name="connsiteX79" fmla="*/ 3657600 w 8610600"/>
                    <a:gd name="connsiteY79" fmla="*/ 7641673 h 10480123"/>
                    <a:gd name="connsiteX80" fmla="*/ 3657600 w 8610600"/>
                    <a:gd name="connsiteY80" fmla="*/ 7641673 h 10480123"/>
                    <a:gd name="connsiteX81" fmla="*/ 3676650 w 8610600"/>
                    <a:gd name="connsiteY81" fmla="*/ 7813123 h 10480123"/>
                    <a:gd name="connsiteX82" fmla="*/ 3924300 w 8610600"/>
                    <a:gd name="connsiteY82" fmla="*/ 7851223 h 10480123"/>
                    <a:gd name="connsiteX83" fmla="*/ 4324350 w 8610600"/>
                    <a:gd name="connsiteY83" fmla="*/ 7832173 h 10480123"/>
                    <a:gd name="connsiteX84" fmla="*/ 4724400 w 8610600"/>
                    <a:gd name="connsiteY84" fmla="*/ 7717873 h 10480123"/>
                    <a:gd name="connsiteX85" fmla="*/ 5029200 w 8610600"/>
                    <a:gd name="connsiteY85" fmla="*/ 7698823 h 10480123"/>
                    <a:gd name="connsiteX86" fmla="*/ 5181600 w 8610600"/>
                    <a:gd name="connsiteY86" fmla="*/ 7660723 h 10480123"/>
                    <a:gd name="connsiteX87" fmla="*/ 5391150 w 8610600"/>
                    <a:gd name="connsiteY87" fmla="*/ 7584523 h 10480123"/>
                    <a:gd name="connsiteX88" fmla="*/ 5657850 w 8610600"/>
                    <a:gd name="connsiteY88" fmla="*/ 7584523 h 10480123"/>
                    <a:gd name="connsiteX89" fmla="*/ 5867400 w 8610600"/>
                    <a:gd name="connsiteY89" fmla="*/ 7698823 h 10480123"/>
                    <a:gd name="connsiteX90" fmla="*/ 5753100 w 8610600"/>
                    <a:gd name="connsiteY90" fmla="*/ 7279723 h 10480123"/>
                    <a:gd name="connsiteX91" fmla="*/ 5581650 w 8610600"/>
                    <a:gd name="connsiteY91" fmla="*/ 6955873 h 10480123"/>
                    <a:gd name="connsiteX92" fmla="*/ 5391150 w 8610600"/>
                    <a:gd name="connsiteY92" fmla="*/ 6670123 h 10480123"/>
                    <a:gd name="connsiteX93" fmla="*/ 5257800 w 8610600"/>
                    <a:gd name="connsiteY93" fmla="*/ 6574873 h 10480123"/>
                    <a:gd name="connsiteX94" fmla="*/ 4876800 w 8610600"/>
                    <a:gd name="connsiteY94" fmla="*/ 6498673 h 10480123"/>
                    <a:gd name="connsiteX95" fmla="*/ 4629150 w 8610600"/>
                    <a:gd name="connsiteY95" fmla="*/ 6346273 h 10480123"/>
                    <a:gd name="connsiteX96" fmla="*/ 4286250 w 8610600"/>
                    <a:gd name="connsiteY96" fmla="*/ 6384373 h 10480123"/>
                    <a:gd name="connsiteX97" fmla="*/ 3886200 w 8610600"/>
                    <a:gd name="connsiteY97" fmla="*/ 6536773 h 10480123"/>
                    <a:gd name="connsiteX98" fmla="*/ 3600450 w 8610600"/>
                    <a:gd name="connsiteY98" fmla="*/ 6670123 h 10480123"/>
                    <a:gd name="connsiteX99" fmla="*/ 3181350 w 8610600"/>
                    <a:gd name="connsiteY99" fmla="*/ 5774773 h 10480123"/>
                    <a:gd name="connsiteX100" fmla="*/ 2724150 w 8610600"/>
                    <a:gd name="connsiteY100" fmla="*/ 4860373 h 10480123"/>
                    <a:gd name="connsiteX101" fmla="*/ 2381250 w 8610600"/>
                    <a:gd name="connsiteY101" fmla="*/ 4288873 h 10480123"/>
                    <a:gd name="connsiteX102" fmla="*/ 1962150 w 8610600"/>
                    <a:gd name="connsiteY102" fmla="*/ 3869773 h 10480123"/>
                    <a:gd name="connsiteX103" fmla="*/ 1619250 w 8610600"/>
                    <a:gd name="connsiteY103" fmla="*/ 3545923 h 10480123"/>
                    <a:gd name="connsiteX104" fmla="*/ 1009650 w 8610600"/>
                    <a:gd name="connsiteY104" fmla="*/ 3507823 h 10480123"/>
                    <a:gd name="connsiteX105" fmla="*/ 762000 w 8610600"/>
                    <a:gd name="connsiteY105" fmla="*/ 3545923 h 10480123"/>
                    <a:gd name="connsiteX106" fmla="*/ 838200 w 8610600"/>
                    <a:gd name="connsiteY106" fmla="*/ 2917273 h 10480123"/>
                    <a:gd name="connsiteX107" fmla="*/ 838200 w 8610600"/>
                    <a:gd name="connsiteY107" fmla="*/ 2479123 h 10480123"/>
                    <a:gd name="connsiteX108" fmla="*/ 971550 w 8610600"/>
                    <a:gd name="connsiteY108" fmla="*/ 1964773 h 10480123"/>
                    <a:gd name="connsiteX109" fmla="*/ 1028700 w 8610600"/>
                    <a:gd name="connsiteY109" fmla="*/ 1412323 h 10480123"/>
                    <a:gd name="connsiteX110" fmla="*/ 1295400 w 8610600"/>
                    <a:gd name="connsiteY110" fmla="*/ 859873 h 10480123"/>
                    <a:gd name="connsiteX111" fmla="*/ 1562100 w 8610600"/>
                    <a:gd name="connsiteY111" fmla="*/ 745573 h 10480123"/>
                    <a:gd name="connsiteX112" fmla="*/ 1809750 w 8610600"/>
                    <a:gd name="connsiteY112" fmla="*/ 726523 h 10480123"/>
                    <a:gd name="connsiteX113" fmla="*/ 2190750 w 8610600"/>
                    <a:gd name="connsiteY113" fmla="*/ 574123 h 10480123"/>
                    <a:gd name="connsiteX114" fmla="*/ 2457450 w 8610600"/>
                    <a:gd name="connsiteY114" fmla="*/ 478873 h 10480123"/>
                    <a:gd name="connsiteX115" fmla="*/ 2838450 w 8610600"/>
                    <a:gd name="connsiteY115" fmla="*/ 421723 h 10480123"/>
                    <a:gd name="connsiteX116" fmla="*/ 3219450 w 8610600"/>
                    <a:gd name="connsiteY116" fmla="*/ 174073 h 10480123"/>
                    <a:gd name="connsiteX117" fmla="*/ 2857500 w 8610600"/>
                    <a:gd name="connsiteY117" fmla="*/ 440773 h 10480123"/>
                    <a:gd name="connsiteX118" fmla="*/ 2381250 w 8610600"/>
                    <a:gd name="connsiteY118" fmla="*/ 707473 h 10480123"/>
                    <a:gd name="connsiteX119" fmla="*/ 2286000 w 8610600"/>
                    <a:gd name="connsiteY119" fmla="*/ 821773 h 10480123"/>
                    <a:gd name="connsiteX120" fmla="*/ 2400300 w 8610600"/>
                    <a:gd name="connsiteY120" fmla="*/ 840823 h 10480123"/>
                    <a:gd name="connsiteX121" fmla="*/ 2686050 w 8610600"/>
                    <a:gd name="connsiteY121" fmla="*/ 764623 h 10480123"/>
                    <a:gd name="connsiteX122" fmla="*/ 2895600 w 8610600"/>
                    <a:gd name="connsiteY122" fmla="*/ 707473 h 10480123"/>
                    <a:gd name="connsiteX123" fmla="*/ 3143250 w 8610600"/>
                    <a:gd name="connsiteY123" fmla="*/ 555073 h 10480123"/>
                    <a:gd name="connsiteX124" fmla="*/ 3143250 w 8610600"/>
                    <a:gd name="connsiteY124" fmla="*/ 669373 h 10480123"/>
                    <a:gd name="connsiteX125" fmla="*/ 3143250 w 8610600"/>
                    <a:gd name="connsiteY125" fmla="*/ 955123 h 10480123"/>
                    <a:gd name="connsiteX126" fmla="*/ 3314700 w 8610600"/>
                    <a:gd name="connsiteY126" fmla="*/ 1202773 h 10480123"/>
                    <a:gd name="connsiteX127" fmla="*/ 3067050 w 8610600"/>
                    <a:gd name="connsiteY127" fmla="*/ 2802973 h 10480123"/>
                    <a:gd name="connsiteX128" fmla="*/ 3009900 w 8610600"/>
                    <a:gd name="connsiteY128" fmla="*/ 3488773 h 10480123"/>
                    <a:gd name="connsiteX129" fmla="*/ 3162300 w 8610600"/>
                    <a:gd name="connsiteY129" fmla="*/ 4574623 h 10480123"/>
                    <a:gd name="connsiteX130" fmla="*/ 3314700 w 8610600"/>
                    <a:gd name="connsiteY130" fmla="*/ 5355673 h 10480123"/>
                    <a:gd name="connsiteX131" fmla="*/ 3429000 w 8610600"/>
                    <a:gd name="connsiteY131" fmla="*/ 6079573 h 10480123"/>
                    <a:gd name="connsiteX132" fmla="*/ 3714750 w 8610600"/>
                    <a:gd name="connsiteY132" fmla="*/ 5679523 h 10480123"/>
                    <a:gd name="connsiteX133" fmla="*/ 3886200 w 8610600"/>
                    <a:gd name="connsiteY133" fmla="*/ 5355673 h 10480123"/>
                    <a:gd name="connsiteX134" fmla="*/ 3981450 w 8610600"/>
                    <a:gd name="connsiteY134" fmla="*/ 4974673 h 10480123"/>
                    <a:gd name="connsiteX135" fmla="*/ 4248150 w 8610600"/>
                    <a:gd name="connsiteY135" fmla="*/ 4555573 h 10480123"/>
                    <a:gd name="connsiteX136" fmla="*/ 4476750 w 8610600"/>
                    <a:gd name="connsiteY136" fmla="*/ 4041223 h 10480123"/>
                    <a:gd name="connsiteX137" fmla="*/ 4876800 w 8610600"/>
                    <a:gd name="connsiteY137" fmla="*/ 3203023 h 10480123"/>
                    <a:gd name="connsiteX138" fmla="*/ 5181600 w 8610600"/>
                    <a:gd name="connsiteY138" fmla="*/ 2402923 h 10480123"/>
                    <a:gd name="connsiteX139" fmla="*/ 5410200 w 8610600"/>
                    <a:gd name="connsiteY139" fmla="*/ 1679023 h 10480123"/>
                    <a:gd name="connsiteX140" fmla="*/ 5638800 w 8610600"/>
                    <a:gd name="connsiteY140" fmla="*/ 993223 h 10480123"/>
                    <a:gd name="connsiteX141" fmla="*/ 6057900 w 8610600"/>
                    <a:gd name="connsiteY141" fmla="*/ 1336123 h 10480123"/>
                    <a:gd name="connsiteX142" fmla="*/ 6076950 w 8610600"/>
                    <a:gd name="connsiteY142" fmla="*/ 1583773 h 10480123"/>
                    <a:gd name="connsiteX143" fmla="*/ 6153150 w 8610600"/>
                    <a:gd name="connsiteY143" fmla="*/ 1659973 h 10480123"/>
                    <a:gd name="connsiteX144" fmla="*/ 6229350 w 8610600"/>
                    <a:gd name="connsiteY144" fmla="*/ 1488523 h 10480123"/>
                    <a:gd name="connsiteX145" fmla="*/ 6286500 w 8610600"/>
                    <a:gd name="connsiteY145" fmla="*/ 1164673 h 10480123"/>
                    <a:gd name="connsiteX146" fmla="*/ 6229350 w 8610600"/>
                    <a:gd name="connsiteY146" fmla="*/ 707473 h 10480123"/>
                    <a:gd name="connsiteX147" fmla="*/ 6096000 w 8610600"/>
                    <a:gd name="connsiteY147" fmla="*/ 193123 h 10480123"/>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66750 w 8610600"/>
                    <a:gd name="connsiteY68" fmla="*/ 6784423 h 10480123"/>
                    <a:gd name="connsiteX69" fmla="*/ 952500 w 8610600"/>
                    <a:gd name="connsiteY69" fmla="*/ 678442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048000 w 8610600"/>
                    <a:gd name="connsiteY73" fmla="*/ 7203523 h 10480123"/>
                    <a:gd name="connsiteX74" fmla="*/ 3009900 w 8610600"/>
                    <a:gd name="connsiteY74" fmla="*/ 7394023 h 10480123"/>
                    <a:gd name="connsiteX75" fmla="*/ 3143250 w 8610600"/>
                    <a:gd name="connsiteY75" fmla="*/ 7432123 h 10480123"/>
                    <a:gd name="connsiteX76" fmla="*/ 3276600 w 8610600"/>
                    <a:gd name="connsiteY76" fmla="*/ 7432123 h 10480123"/>
                    <a:gd name="connsiteX77" fmla="*/ 3295650 w 8610600"/>
                    <a:gd name="connsiteY77" fmla="*/ 7546423 h 10480123"/>
                    <a:gd name="connsiteX78" fmla="*/ 3371850 w 8610600"/>
                    <a:gd name="connsiteY78" fmla="*/ 7603573 h 10480123"/>
                    <a:gd name="connsiteX79" fmla="*/ 3657600 w 8610600"/>
                    <a:gd name="connsiteY79" fmla="*/ 7641673 h 10480123"/>
                    <a:gd name="connsiteX80" fmla="*/ 3657600 w 8610600"/>
                    <a:gd name="connsiteY80" fmla="*/ 7641673 h 10480123"/>
                    <a:gd name="connsiteX81" fmla="*/ 3676650 w 8610600"/>
                    <a:gd name="connsiteY81" fmla="*/ 7813123 h 10480123"/>
                    <a:gd name="connsiteX82" fmla="*/ 3924300 w 8610600"/>
                    <a:gd name="connsiteY82" fmla="*/ 7851223 h 10480123"/>
                    <a:gd name="connsiteX83" fmla="*/ 4324350 w 8610600"/>
                    <a:gd name="connsiteY83" fmla="*/ 7832173 h 10480123"/>
                    <a:gd name="connsiteX84" fmla="*/ 4724400 w 8610600"/>
                    <a:gd name="connsiteY84" fmla="*/ 7717873 h 10480123"/>
                    <a:gd name="connsiteX85" fmla="*/ 5029200 w 8610600"/>
                    <a:gd name="connsiteY85" fmla="*/ 7698823 h 10480123"/>
                    <a:gd name="connsiteX86" fmla="*/ 5181600 w 8610600"/>
                    <a:gd name="connsiteY86" fmla="*/ 7660723 h 10480123"/>
                    <a:gd name="connsiteX87" fmla="*/ 5391150 w 8610600"/>
                    <a:gd name="connsiteY87" fmla="*/ 7584523 h 10480123"/>
                    <a:gd name="connsiteX88" fmla="*/ 5657850 w 8610600"/>
                    <a:gd name="connsiteY88" fmla="*/ 7584523 h 10480123"/>
                    <a:gd name="connsiteX89" fmla="*/ 5867400 w 8610600"/>
                    <a:gd name="connsiteY89" fmla="*/ 7698823 h 10480123"/>
                    <a:gd name="connsiteX90" fmla="*/ 5753100 w 8610600"/>
                    <a:gd name="connsiteY90" fmla="*/ 7279723 h 10480123"/>
                    <a:gd name="connsiteX91" fmla="*/ 5581650 w 8610600"/>
                    <a:gd name="connsiteY91" fmla="*/ 6955873 h 10480123"/>
                    <a:gd name="connsiteX92" fmla="*/ 5391150 w 8610600"/>
                    <a:gd name="connsiteY92" fmla="*/ 6670123 h 10480123"/>
                    <a:gd name="connsiteX93" fmla="*/ 5257800 w 8610600"/>
                    <a:gd name="connsiteY93" fmla="*/ 6574873 h 10480123"/>
                    <a:gd name="connsiteX94" fmla="*/ 4910138 w 8610600"/>
                    <a:gd name="connsiteY94" fmla="*/ 6546298 h 10480123"/>
                    <a:gd name="connsiteX95" fmla="*/ 4629150 w 8610600"/>
                    <a:gd name="connsiteY95" fmla="*/ 6346273 h 10480123"/>
                    <a:gd name="connsiteX96" fmla="*/ 4286250 w 8610600"/>
                    <a:gd name="connsiteY96" fmla="*/ 6384373 h 10480123"/>
                    <a:gd name="connsiteX97" fmla="*/ 3886200 w 8610600"/>
                    <a:gd name="connsiteY97" fmla="*/ 6536773 h 10480123"/>
                    <a:gd name="connsiteX98" fmla="*/ 3600450 w 8610600"/>
                    <a:gd name="connsiteY98" fmla="*/ 6670123 h 10480123"/>
                    <a:gd name="connsiteX99" fmla="*/ 3181350 w 8610600"/>
                    <a:gd name="connsiteY99" fmla="*/ 5774773 h 10480123"/>
                    <a:gd name="connsiteX100" fmla="*/ 2724150 w 8610600"/>
                    <a:gd name="connsiteY100" fmla="*/ 4860373 h 10480123"/>
                    <a:gd name="connsiteX101" fmla="*/ 2381250 w 8610600"/>
                    <a:gd name="connsiteY101" fmla="*/ 4288873 h 10480123"/>
                    <a:gd name="connsiteX102" fmla="*/ 1962150 w 8610600"/>
                    <a:gd name="connsiteY102" fmla="*/ 3869773 h 10480123"/>
                    <a:gd name="connsiteX103" fmla="*/ 1619250 w 8610600"/>
                    <a:gd name="connsiteY103" fmla="*/ 3545923 h 10480123"/>
                    <a:gd name="connsiteX104" fmla="*/ 1009650 w 8610600"/>
                    <a:gd name="connsiteY104" fmla="*/ 3507823 h 10480123"/>
                    <a:gd name="connsiteX105" fmla="*/ 762000 w 8610600"/>
                    <a:gd name="connsiteY105" fmla="*/ 3545923 h 10480123"/>
                    <a:gd name="connsiteX106" fmla="*/ 838200 w 8610600"/>
                    <a:gd name="connsiteY106" fmla="*/ 2917273 h 10480123"/>
                    <a:gd name="connsiteX107" fmla="*/ 838200 w 8610600"/>
                    <a:gd name="connsiteY107" fmla="*/ 2479123 h 10480123"/>
                    <a:gd name="connsiteX108" fmla="*/ 971550 w 8610600"/>
                    <a:gd name="connsiteY108" fmla="*/ 1964773 h 10480123"/>
                    <a:gd name="connsiteX109" fmla="*/ 1028700 w 8610600"/>
                    <a:gd name="connsiteY109" fmla="*/ 1412323 h 10480123"/>
                    <a:gd name="connsiteX110" fmla="*/ 1295400 w 8610600"/>
                    <a:gd name="connsiteY110" fmla="*/ 859873 h 10480123"/>
                    <a:gd name="connsiteX111" fmla="*/ 1562100 w 8610600"/>
                    <a:gd name="connsiteY111" fmla="*/ 745573 h 10480123"/>
                    <a:gd name="connsiteX112" fmla="*/ 1809750 w 8610600"/>
                    <a:gd name="connsiteY112" fmla="*/ 726523 h 10480123"/>
                    <a:gd name="connsiteX113" fmla="*/ 2190750 w 8610600"/>
                    <a:gd name="connsiteY113" fmla="*/ 574123 h 10480123"/>
                    <a:gd name="connsiteX114" fmla="*/ 2457450 w 8610600"/>
                    <a:gd name="connsiteY114" fmla="*/ 478873 h 10480123"/>
                    <a:gd name="connsiteX115" fmla="*/ 2838450 w 8610600"/>
                    <a:gd name="connsiteY115" fmla="*/ 421723 h 10480123"/>
                    <a:gd name="connsiteX116" fmla="*/ 3219450 w 8610600"/>
                    <a:gd name="connsiteY116" fmla="*/ 174073 h 10480123"/>
                    <a:gd name="connsiteX117" fmla="*/ 2857500 w 8610600"/>
                    <a:gd name="connsiteY117" fmla="*/ 440773 h 10480123"/>
                    <a:gd name="connsiteX118" fmla="*/ 2381250 w 8610600"/>
                    <a:gd name="connsiteY118" fmla="*/ 707473 h 10480123"/>
                    <a:gd name="connsiteX119" fmla="*/ 2286000 w 8610600"/>
                    <a:gd name="connsiteY119" fmla="*/ 821773 h 10480123"/>
                    <a:gd name="connsiteX120" fmla="*/ 2400300 w 8610600"/>
                    <a:gd name="connsiteY120" fmla="*/ 840823 h 10480123"/>
                    <a:gd name="connsiteX121" fmla="*/ 2686050 w 8610600"/>
                    <a:gd name="connsiteY121" fmla="*/ 764623 h 10480123"/>
                    <a:gd name="connsiteX122" fmla="*/ 2895600 w 8610600"/>
                    <a:gd name="connsiteY122" fmla="*/ 707473 h 10480123"/>
                    <a:gd name="connsiteX123" fmla="*/ 3143250 w 8610600"/>
                    <a:gd name="connsiteY123" fmla="*/ 555073 h 10480123"/>
                    <a:gd name="connsiteX124" fmla="*/ 3143250 w 8610600"/>
                    <a:gd name="connsiteY124" fmla="*/ 669373 h 10480123"/>
                    <a:gd name="connsiteX125" fmla="*/ 3143250 w 8610600"/>
                    <a:gd name="connsiteY125" fmla="*/ 955123 h 10480123"/>
                    <a:gd name="connsiteX126" fmla="*/ 3314700 w 8610600"/>
                    <a:gd name="connsiteY126" fmla="*/ 1202773 h 10480123"/>
                    <a:gd name="connsiteX127" fmla="*/ 3067050 w 8610600"/>
                    <a:gd name="connsiteY127" fmla="*/ 2802973 h 10480123"/>
                    <a:gd name="connsiteX128" fmla="*/ 3009900 w 8610600"/>
                    <a:gd name="connsiteY128" fmla="*/ 3488773 h 10480123"/>
                    <a:gd name="connsiteX129" fmla="*/ 3162300 w 8610600"/>
                    <a:gd name="connsiteY129" fmla="*/ 4574623 h 10480123"/>
                    <a:gd name="connsiteX130" fmla="*/ 3314700 w 8610600"/>
                    <a:gd name="connsiteY130" fmla="*/ 5355673 h 10480123"/>
                    <a:gd name="connsiteX131" fmla="*/ 3429000 w 8610600"/>
                    <a:gd name="connsiteY131" fmla="*/ 6079573 h 10480123"/>
                    <a:gd name="connsiteX132" fmla="*/ 3714750 w 8610600"/>
                    <a:gd name="connsiteY132" fmla="*/ 5679523 h 10480123"/>
                    <a:gd name="connsiteX133" fmla="*/ 3886200 w 8610600"/>
                    <a:gd name="connsiteY133" fmla="*/ 5355673 h 10480123"/>
                    <a:gd name="connsiteX134" fmla="*/ 3981450 w 8610600"/>
                    <a:gd name="connsiteY134" fmla="*/ 4974673 h 10480123"/>
                    <a:gd name="connsiteX135" fmla="*/ 4248150 w 8610600"/>
                    <a:gd name="connsiteY135" fmla="*/ 4555573 h 10480123"/>
                    <a:gd name="connsiteX136" fmla="*/ 4476750 w 8610600"/>
                    <a:gd name="connsiteY136" fmla="*/ 4041223 h 10480123"/>
                    <a:gd name="connsiteX137" fmla="*/ 4876800 w 8610600"/>
                    <a:gd name="connsiteY137" fmla="*/ 3203023 h 10480123"/>
                    <a:gd name="connsiteX138" fmla="*/ 5181600 w 8610600"/>
                    <a:gd name="connsiteY138" fmla="*/ 2402923 h 10480123"/>
                    <a:gd name="connsiteX139" fmla="*/ 5410200 w 8610600"/>
                    <a:gd name="connsiteY139" fmla="*/ 1679023 h 10480123"/>
                    <a:gd name="connsiteX140" fmla="*/ 5638800 w 8610600"/>
                    <a:gd name="connsiteY140" fmla="*/ 993223 h 10480123"/>
                    <a:gd name="connsiteX141" fmla="*/ 6057900 w 8610600"/>
                    <a:gd name="connsiteY141" fmla="*/ 1336123 h 10480123"/>
                    <a:gd name="connsiteX142" fmla="*/ 6076950 w 8610600"/>
                    <a:gd name="connsiteY142" fmla="*/ 1583773 h 10480123"/>
                    <a:gd name="connsiteX143" fmla="*/ 6153150 w 8610600"/>
                    <a:gd name="connsiteY143" fmla="*/ 1659973 h 10480123"/>
                    <a:gd name="connsiteX144" fmla="*/ 6229350 w 8610600"/>
                    <a:gd name="connsiteY144" fmla="*/ 1488523 h 10480123"/>
                    <a:gd name="connsiteX145" fmla="*/ 6286500 w 8610600"/>
                    <a:gd name="connsiteY145" fmla="*/ 1164673 h 10480123"/>
                    <a:gd name="connsiteX146" fmla="*/ 6229350 w 8610600"/>
                    <a:gd name="connsiteY146" fmla="*/ 707473 h 10480123"/>
                    <a:gd name="connsiteX147" fmla="*/ 6096000 w 8610600"/>
                    <a:gd name="connsiteY147" fmla="*/ 193123 h 10480123"/>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66750 w 8610600"/>
                    <a:gd name="connsiteY68" fmla="*/ 6784423 h 10480123"/>
                    <a:gd name="connsiteX69" fmla="*/ 952500 w 8610600"/>
                    <a:gd name="connsiteY69" fmla="*/ 678442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048000 w 8610600"/>
                    <a:gd name="connsiteY73" fmla="*/ 7203523 h 10480123"/>
                    <a:gd name="connsiteX74" fmla="*/ 3009900 w 8610600"/>
                    <a:gd name="connsiteY74" fmla="*/ 7394023 h 10480123"/>
                    <a:gd name="connsiteX75" fmla="*/ 3143250 w 8610600"/>
                    <a:gd name="connsiteY75" fmla="*/ 7432123 h 10480123"/>
                    <a:gd name="connsiteX76" fmla="*/ 3276600 w 8610600"/>
                    <a:gd name="connsiteY76" fmla="*/ 7432123 h 10480123"/>
                    <a:gd name="connsiteX77" fmla="*/ 3295650 w 8610600"/>
                    <a:gd name="connsiteY77" fmla="*/ 7546423 h 10480123"/>
                    <a:gd name="connsiteX78" fmla="*/ 3371850 w 8610600"/>
                    <a:gd name="connsiteY78" fmla="*/ 7603573 h 10480123"/>
                    <a:gd name="connsiteX79" fmla="*/ 3657600 w 8610600"/>
                    <a:gd name="connsiteY79" fmla="*/ 7641673 h 10480123"/>
                    <a:gd name="connsiteX80" fmla="*/ 3657600 w 8610600"/>
                    <a:gd name="connsiteY80" fmla="*/ 7641673 h 10480123"/>
                    <a:gd name="connsiteX81" fmla="*/ 3676650 w 8610600"/>
                    <a:gd name="connsiteY81" fmla="*/ 7813123 h 10480123"/>
                    <a:gd name="connsiteX82" fmla="*/ 3924300 w 8610600"/>
                    <a:gd name="connsiteY82" fmla="*/ 7851223 h 10480123"/>
                    <a:gd name="connsiteX83" fmla="*/ 4324350 w 8610600"/>
                    <a:gd name="connsiteY83" fmla="*/ 7832173 h 10480123"/>
                    <a:gd name="connsiteX84" fmla="*/ 4724400 w 8610600"/>
                    <a:gd name="connsiteY84" fmla="*/ 7717873 h 10480123"/>
                    <a:gd name="connsiteX85" fmla="*/ 5029200 w 8610600"/>
                    <a:gd name="connsiteY85" fmla="*/ 7698823 h 10480123"/>
                    <a:gd name="connsiteX86" fmla="*/ 5181600 w 8610600"/>
                    <a:gd name="connsiteY86" fmla="*/ 7660723 h 10480123"/>
                    <a:gd name="connsiteX87" fmla="*/ 5391150 w 8610600"/>
                    <a:gd name="connsiteY87" fmla="*/ 7584523 h 10480123"/>
                    <a:gd name="connsiteX88" fmla="*/ 5657850 w 8610600"/>
                    <a:gd name="connsiteY88" fmla="*/ 7584523 h 10480123"/>
                    <a:gd name="connsiteX89" fmla="*/ 5867400 w 8610600"/>
                    <a:gd name="connsiteY89" fmla="*/ 7698823 h 10480123"/>
                    <a:gd name="connsiteX90" fmla="*/ 5753100 w 8610600"/>
                    <a:gd name="connsiteY90" fmla="*/ 7279723 h 10480123"/>
                    <a:gd name="connsiteX91" fmla="*/ 5581650 w 8610600"/>
                    <a:gd name="connsiteY91" fmla="*/ 6955873 h 10480123"/>
                    <a:gd name="connsiteX92" fmla="*/ 5391150 w 8610600"/>
                    <a:gd name="connsiteY92" fmla="*/ 6670123 h 10480123"/>
                    <a:gd name="connsiteX93" fmla="*/ 5281613 w 8610600"/>
                    <a:gd name="connsiteY93" fmla="*/ 6617736 h 10480123"/>
                    <a:gd name="connsiteX94" fmla="*/ 4910138 w 8610600"/>
                    <a:gd name="connsiteY94" fmla="*/ 6546298 h 10480123"/>
                    <a:gd name="connsiteX95" fmla="*/ 4629150 w 8610600"/>
                    <a:gd name="connsiteY95" fmla="*/ 6346273 h 10480123"/>
                    <a:gd name="connsiteX96" fmla="*/ 4286250 w 8610600"/>
                    <a:gd name="connsiteY96" fmla="*/ 6384373 h 10480123"/>
                    <a:gd name="connsiteX97" fmla="*/ 3886200 w 8610600"/>
                    <a:gd name="connsiteY97" fmla="*/ 6536773 h 10480123"/>
                    <a:gd name="connsiteX98" fmla="*/ 3600450 w 8610600"/>
                    <a:gd name="connsiteY98" fmla="*/ 6670123 h 10480123"/>
                    <a:gd name="connsiteX99" fmla="*/ 3181350 w 8610600"/>
                    <a:gd name="connsiteY99" fmla="*/ 5774773 h 10480123"/>
                    <a:gd name="connsiteX100" fmla="*/ 2724150 w 8610600"/>
                    <a:gd name="connsiteY100" fmla="*/ 4860373 h 10480123"/>
                    <a:gd name="connsiteX101" fmla="*/ 2381250 w 8610600"/>
                    <a:gd name="connsiteY101" fmla="*/ 4288873 h 10480123"/>
                    <a:gd name="connsiteX102" fmla="*/ 1962150 w 8610600"/>
                    <a:gd name="connsiteY102" fmla="*/ 3869773 h 10480123"/>
                    <a:gd name="connsiteX103" fmla="*/ 1619250 w 8610600"/>
                    <a:gd name="connsiteY103" fmla="*/ 3545923 h 10480123"/>
                    <a:gd name="connsiteX104" fmla="*/ 1009650 w 8610600"/>
                    <a:gd name="connsiteY104" fmla="*/ 3507823 h 10480123"/>
                    <a:gd name="connsiteX105" fmla="*/ 762000 w 8610600"/>
                    <a:gd name="connsiteY105" fmla="*/ 3545923 h 10480123"/>
                    <a:gd name="connsiteX106" fmla="*/ 838200 w 8610600"/>
                    <a:gd name="connsiteY106" fmla="*/ 2917273 h 10480123"/>
                    <a:gd name="connsiteX107" fmla="*/ 838200 w 8610600"/>
                    <a:gd name="connsiteY107" fmla="*/ 2479123 h 10480123"/>
                    <a:gd name="connsiteX108" fmla="*/ 971550 w 8610600"/>
                    <a:gd name="connsiteY108" fmla="*/ 1964773 h 10480123"/>
                    <a:gd name="connsiteX109" fmla="*/ 1028700 w 8610600"/>
                    <a:gd name="connsiteY109" fmla="*/ 1412323 h 10480123"/>
                    <a:gd name="connsiteX110" fmla="*/ 1295400 w 8610600"/>
                    <a:gd name="connsiteY110" fmla="*/ 859873 h 10480123"/>
                    <a:gd name="connsiteX111" fmla="*/ 1562100 w 8610600"/>
                    <a:gd name="connsiteY111" fmla="*/ 745573 h 10480123"/>
                    <a:gd name="connsiteX112" fmla="*/ 1809750 w 8610600"/>
                    <a:gd name="connsiteY112" fmla="*/ 726523 h 10480123"/>
                    <a:gd name="connsiteX113" fmla="*/ 2190750 w 8610600"/>
                    <a:gd name="connsiteY113" fmla="*/ 574123 h 10480123"/>
                    <a:gd name="connsiteX114" fmla="*/ 2457450 w 8610600"/>
                    <a:gd name="connsiteY114" fmla="*/ 478873 h 10480123"/>
                    <a:gd name="connsiteX115" fmla="*/ 2838450 w 8610600"/>
                    <a:gd name="connsiteY115" fmla="*/ 421723 h 10480123"/>
                    <a:gd name="connsiteX116" fmla="*/ 3219450 w 8610600"/>
                    <a:gd name="connsiteY116" fmla="*/ 174073 h 10480123"/>
                    <a:gd name="connsiteX117" fmla="*/ 2857500 w 8610600"/>
                    <a:gd name="connsiteY117" fmla="*/ 440773 h 10480123"/>
                    <a:gd name="connsiteX118" fmla="*/ 2381250 w 8610600"/>
                    <a:gd name="connsiteY118" fmla="*/ 707473 h 10480123"/>
                    <a:gd name="connsiteX119" fmla="*/ 2286000 w 8610600"/>
                    <a:gd name="connsiteY119" fmla="*/ 821773 h 10480123"/>
                    <a:gd name="connsiteX120" fmla="*/ 2400300 w 8610600"/>
                    <a:gd name="connsiteY120" fmla="*/ 840823 h 10480123"/>
                    <a:gd name="connsiteX121" fmla="*/ 2686050 w 8610600"/>
                    <a:gd name="connsiteY121" fmla="*/ 764623 h 10480123"/>
                    <a:gd name="connsiteX122" fmla="*/ 2895600 w 8610600"/>
                    <a:gd name="connsiteY122" fmla="*/ 707473 h 10480123"/>
                    <a:gd name="connsiteX123" fmla="*/ 3143250 w 8610600"/>
                    <a:gd name="connsiteY123" fmla="*/ 555073 h 10480123"/>
                    <a:gd name="connsiteX124" fmla="*/ 3143250 w 8610600"/>
                    <a:gd name="connsiteY124" fmla="*/ 669373 h 10480123"/>
                    <a:gd name="connsiteX125" fmla="*/ 3143250 w 8610600"/>
                    <a:gd name="connsiteY125" fmla="*/ 955123 h 10480123"/>
                    <a:gd name="connsiteX126" fmla="*/ 3314700 w 8610600"/>
                    <a:gd name="connsiteY126" fmla="*/ 1202773 h 10480123"/>
                    <a:gd name="connsiteX127" fmla="*/ 3067050 w 8610600"/>
                    <a:gd name="connsiteY127" fmla="*/ 2802973 h 10480123"/>
                    <a:gd name="connsiteX128" fmla="*/ 3009900 w 8610600"/>
                    <a:gd name="connsiteY128" fmla="*/ 3488773 h 10480123"/>
                    <a:gd name="connsiteX129" fmla="*/ 3162300 w 8610600"/>
                    <a:gd name="connsiteY129" fmla="*/ 4574623 h 10480123"/>
                    <a:gd name="connsiteX130" fmla="*/ 3314700 w 8610600"/>
                    <a:gd name="connsiteY130" fmla="*/ 5355673 h 10480123"/>
                    <a:gd name="connsiteX131" fmla="*/ 3429000 w 8610600"/>
                    <a:gd name="connsiteY131" fmla="*/ 6079573 h 10480123"/>
                    <a:gd name="connsiteX132" fmla="*/ 3714750 w 8610600"/>
                    <a:gd name="connsiteY132" fmla="*/ 5679523 h 10480123"/>
                    <a:gd name="connsiteX133" fmla="*/ 3886200 w 8610600"/>
                    <a:gd name="connsiteY133" fmla="*/ 5355673 h 10480123"/>
                    <a:gd name="connsiteX134" fmla="*/ 3981450 w 8610600"/>
                    <a:gd name="connsiteY134" fmla="*/ 4974673 h 10480123"/>
                    <a:gd name="connsiteX135" fmla="*/ 4248150 w 8610600"/>
                    <a:gd name="connsiteY135" fmla="*/ 4555573 h 10480123"/>
                    <a:gd name="connsiteX136" fmla="*/ 4476750 w 8610600"/>
                    <a:gd name="connsiteY136" fmla="*/ 4041223 h 10480123"/>
                    <a:gd name="connsiteX137" fmla="*/ 4876800 w 8610600"/>
                    <a:gd name="connsiteY137" fmla="*/ 3203023 h 10480123"/>
                    <a:gd name="connsiteX138" fmla="*/ 5181600 w 8610600"/>
                    <a:gd name="connsiteY138" fmla="*/ 2402923 h 10480123"/>
                    <a:gd name="connsiteX139" fmla="*/ 5410200 w 8610600"/>
                    <a:gd name="connsiteY139" fmla="*/ 1679023 h 10480123"/>
                    <a:gd name="connsiteX140" fmla="*/ 5638800 w 8610600"/>
                    <a:gd name="connsiteY140" fmla="*/ 993223 h 10480123"/>
                    <a:gd name="connsiteX141" fmla="*/ 6057900 w 8610600"/>
                    <a:gd name="connsiteY141" fmla="*/ 1336123 h 10480123"/>
                    <a:gd name="connsiteX142" fmla="*/ 6076950 w 8610600"/>
                    <a:gd name="connsiteY142" fmla="*/ 1583773 h 10480123"/>
                    <a:gd name="connsiteX143" fmla="*/ 6153150 w 8610600"/>
                    <a:gd name="connsiteY143" fmla="*/ 1659973 h 10480123"/>
                    <a:gd name="connsiteX144" fmla="*/ 6229350 w 8610600"/>
                    <a:gd name="connsiteY144" fmla="*/ 1488523 h 10480123"/>
                    <a:gd name="connsiteX145" fmla="*/ 6286500 w 8610600"/>
                    <a:gd name="connsiteY145" fmla="*/ 1164673 h 10480123"/>
                    <a:gd name="connsiteX146" fmla="*/ 6229350 w 8610600"/>
                    <a:gd name="connsiteY146" fmla="*/ 707473 h 10480123"/>
                    <a:gd name="connsiteX147" fmla="*/ 6096000 w 8610600"/>
                    <a:gd name="connsiteY147" fmla="*/ 193123 h 10480123"/>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66750 w 8610600"/>
                    <a:gd name="connsiteY68" fmla="*/ 6784423 h 10480123"/>
                    <a:gd name="connsiteX69" fmla="*/ 952500 w 8610600"/>
                    <a:gd name="connsiteY69" fmla="*/ 678442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048000 w 8610600"/>
                    <a:gd name="connsiteY73" fmla="*/ 7203523 h 10480123"/>
                    <a:gd name="connsiteX74" fmla="*/ 3009900 w 8610600"/>
                    <a:gd name="connsiteY74" fmla="*/ 7394023 h 10480123"/>
                    <a:gd name="connsiteX75" fmla="*/ 3143250 w 8610600"/>
                    <a:gd name="connsiteY75" fmla="*/ 7432123 h 10480123"/>
                    <a:gd name="connsiteX76" fmla="*/ 3276600 w 8610600"/>
                    <a:gd name="connsiteY76" fmla="*/ 7432123 h 10480123"/>
                    <a:gd name="connsiteX77" fmla="*/ 3295650 w 8610600"/>
                    <a:gd name="connsiteY77" fmla="*/ 7546423 h 10480123"/>
                    <a:gd name="connsiteX78" fmla="*/ 3371850 w 8610600"/>
                    <a:gd name="connsiteY78" fmla="*/ 7603573 h 10480123"/>
                    <a:gd name="connsiteX79" fmla="*/ 3657600 w 8610600"/>
                    <a:gd name="connsiteY79" fmla="*/ 7641673 h 10480123"/>
                    <a:gd name="connsiteX80" fmla="*/ 3657600 w 8610600"/>
                    <a:gd name="connsiteY80" fmla="*/ 7641673 h 10480123"/>
                    <a:gd name="connsiteX81" fmla="*/ 3676650 w 8610600"/>
                    <a:gd name="connsiteY81" fmla="*/ 7813123 h 10480123"/>
                    <a:gd name="connsiteX82" fmla="*/ 3924300 w 8610600"/>
                    <a:gd name="connsiteY82" fmla="*/ 7851223 h 10480123"/>
                    <a:gd name="connsiteX83" fmla="*/ 4324350 w 8610600"/>
                    <a:gd name="connsiteY83" fmla="*/ 7832173 h 10480123"/>
                    <a:gd name="connsiteX84" fmla="*/ 4724400 w 8610600"/>
                    <a:gd name="connsiteY84" fmla="*/ 7717873 h 10480123"/>
                    <a:gd name="connsiteX85" fmla="*/ 5029200 w 8610600"/>
                    <a:gd name="connsiteY85" fmla="*/ 7698823 h 10480123"/>
                    <a:gd name="connsiteX86" fmla="*/ 5181600 w 8610600"/>
                    <a:gd name="connsiteY86" fmla="*/ 7660723 h 10480123"/>
                    <a:gd name="connsiteX87" fmla="*/ 5391150 w 8610600"/>
                    <a:gd name="connsiteY87" fmla="*/ 7584523 h 10480123"/>
                    <a:gd name="connsiteX88" fmla="*/ 5657850 w 8610600"/>
                    <a:gd name="connsiteY88" fmla="*/ 7584523 h 10480123"/>
                    <a:gd name="connsiteX89" fmla="*/ 5867400 w 8610600"/>
                    <a:gd name="connsiteY89" fmla="*/ 7698823 h 10480123"/>
                    <a:gd name="connsiteX90" fmla="*/ 5753100 w 8610600"/>
                    <a:gd name="connsiteY90" fmla="*/ 7279723 h 10480123"/>
                    <a:gd name="connsiteX91" fmla="*/ 5581650 w 8610600"/>
                    <a:gd name="connsiteY91" fmla="*/ 6955873 h 10480123"/>
                    <a:gd name="connsiteX92" fmla="*/ 5391150 w 8610600"/>
                    <a:gd name="connsiteY92" fmla="*/ 6670123 h 10480123"/>
                    <a:gd name="connsiteX93" fmla="*/ 5281613 w 8610600"/>
                    <a:gd name="connsiteY93" fmla="*/ 6617736 h 10480123"/>
                    <a:gd name="connsiteX94" fmla="*/ 4910138 w 8610600"/>
                    <a:gd name="connsiteY94" fmla="*/ 6546298 h 10480123"/>
                    <a:gd name="connsiteX95" fmla="*/ 4629150 w 8610600"/>
                    <a:gd name="connsiteY95" fmla="*/ 6346273 h 10480123"/>
                    <a:gd name="connsiteX96" fmla="*/ 4286250 w 8610600"/>
                    <a:gd name="connsiteY96" fmla="*/ 6384373 h 10480123"/>
                    <a:gd name="connsiteX97" fmla="*/ 3886200 w 8610600"/>
                    <a:gd name="connsiteY97" fmla="*/ 6536773 h 10480123"/>
                    <a:gd name="connsiteX98" fmla="*/ 3600450 w 8610600"/>
                    <a:gd name="connsiteY98" fmla="*/ 6670123 h 10480123"/>
                    <a:gd name="connsiteX99" fmla="*/ 3181350 w 8610600"/>
                    <a:gd name="connsiteY99" fmla="*/ 5774773 h 10480123"/>
                    <a:gd name="connsiteX100" fmla="*/ 2724150 w 8610600"/>
                    <a:gd name="connsiteY100" fmla="*/ 4860373 h 10480123"/>
                    <a:gd name="connsiteX101" fmla="*/ 2381250 w 8610600"/>
                    <a:gd name="connsiteY101" fmla="*/ 4288873 h 10480123"/>
                    <a:gd name="connsiteX102" fmla="*/ 1962150 w 8610600"/>
                    <a:gd name="connsiteY102" fmla="*/ 3869773 h 10480123"/>
                    <a:gd name="connsiteX103" fmla="*/ 1619250 w 8610600"/>
                    <a:gd name="connsiteY103" fmla="*/ 3545923 h 10480123"/>
                    <a:gd name="connsiteX104" fmla="*/ 1009650 w 8610600"/>
                    <a:gd name="connsiteY104" fmla="*/ 3507823 h 10480123"/>
                    <a:gd name="connsiteX105" fmla="*/ 762000 w 8610600"/>
                    <a:gd name="connsiteY105" fmla="*/ 3545923 h 10480123"/>
                    <a:gd name="connsiteX106" fmla="*/ 838200 w 8610600"/>
                    <a:gd name="connsiteY106" fmla="*/ 2917273 h 10480123"/>
                    <a:gd name="connsiteX107" fmla="*/ 838200 w 8610600"/>
                    <a:gd name="connsiteY107" fmla="*/ 2479123 h 10480123"/>
                    <a:gd name="connsiteX108" fmla="*/ 971550 w 8610600"/>
                    <a:gd name="connsiteY108" fmla="*/ 1964773 h 10480123"/>
                    <a:gd name="connsiteX109" fmla="*/ 1028700 w 8610600"/>
                    <a:gd name="connsiteY109" fmla="*/ 1412323 h 10480123"/>
                    <a:gd name="connsiteX110" fmla="*/ 1295400 w 8610600"/>
                    <a:gd name="connsiteY110" fmla="*/ 859873 h 10480123"/>
                    <a:gd name="connsiteX111" fmla="*/ 1562100 w 8610600"/>
                    <a:gd name="connsiteY111" fmla="*/ 745573 h 10480123"/>
                    <a:gd name="connsiteX112" fmla="*/ 1809750 w 8610600"/>
                    <a:gd name="connsiteY112" fmla="*/ 726523 h 10480123"/>
                    <a:gd name="connsiteX113" fmla="*/ 2190750 w 8610600"/>
                    <a:gd name="connsiteY113" fmla="*/ 574123 h 10480123"/>
                    <a:gd name="connsiteX114" fmla="*/ 2457450 w 8610600"/>
                    <a:gd name="connsiteY114" fmla="*/ 478873 h 10480123"/>
                    <a:gd name="connsiteX115" fmla="*/ 2838450 w 8610600"/>
                    <a:gd name="connsiteY115" fmla="*/ 421723 h 10480123"/>
                    <a:gd name="connsiteX116" fmla="*/ 3219450 w 8610600"/>
                    <a:gd name="connsiteY116" fmla="*/ 174073 h 10480123"/>
                    <a:gd name="connsiteX117" fmla="*/ 2857500 w 8610600"/>
                    <a:gd name="connsiteY117" fmla="*/ 440773 h 10480123"/>
                    <a:gd name="connsiteX118" fmla="*/ 2381250 w 8610600"/>
                    <a:gd name="connsiteY118" fmla="*/ 707473 h 10480123"/>
                    <a:gd name="connsiteX119" fmla="*/ 2286000 w 8610600"/>
                    <a:gd name="connsiteY119" fmla="*/ 821773 h 10480123"/>
                    <a:gd name="connsiteX120" fmla="*/ 2400300 w 8610600"/>
                    <a:gd name="connsiteY120" fmla="*/ 840823 h 10480123"/>
                    <a:gd name="connsiteX121" fmla="*/ 2686050 w 8610600"/>
                    <a:gd name="connsiteY121" fmla="*/ 764623 h 10480123"/>
                    <a:gd name="connsiteX122" fmla="*/ 2895600 w 8610600"/>
                    <a:gd name="connsiteY122" fmla="*/ 707473 h 10480123"/>
                    <a:gd name="connsiteX123" fmla="*/ 3143250 w 8610600"/>
                    <a:gd name="connsiteY123" fmla="*/ 555073 h 10480123"/>
                    <a:gd name="connsiteX124" fmla="*/ 3143250 w 8610600"/>
                    <a:gd name="connsiteY124" fmla="*/ 669373 h 10480123"/>
                    <a:gd name="connsiteX125" fmla="*/ 3143250 w 8610600"/>
                    <a:gd name="connsiteY125" fmla="*/ 955123 h 10480123"/>
                    <a:gd name="connsiteX126" fmla="*/ 3314700 w 8610600"/>
                    <a:gd name="connsiteY126" fmla="*/ 1202773 h 10480123"/>
                    <a:gd name="connsiteX127" fmla="*/ 3067050 w 8610600"/>
                    <a:gd name="connsiteY127" fmla="*/ 2802973 h 10480123"/>
                    <a:gd name="connsiteX128" fmla="*/ 3009900 w 8610600"/>
                    <a:gd name="connsiteY128" fmla="*/ 3488773 h 10480123"/>
                    <a:gd name="connsiteX129" fmla="*/ 3162300 w 8610600"/>
                    <a:gd name="connsiteY129" fmla="*/ 4574623 h 10480123"/>
                    <a:gd name="connsiteX130" fmla="*/ 3314700 w 8610600"/>
                    <a:gd name="connsiteY130" fmla="*/ 5355673 h 10480123"/>
                    <a:gd name="connsiteX131" fmla="*/ 3429000 w 8610600"/>
                    <a:gd name="connsiteY131" fmla="*/ 6079573 h 10480123"/>
                    <a:gd name="connsiteX132" fmla="*/ 3714750 w 8610600"/>
                    <a:gd name="connsiteY132" fmla="*/ 5679523 h 10480123"/>
                    <a:gd name="connsiteX133" fmla="*/ 3886200 w 8610600"/>
                    <a:gd name="connsiteY133" fmla="*/ 5355673 h 10480123"/>
                    <a:gd name="connsiteX134" fmla="*/ 3981450 w 8610600"/>
                    <a:gd name="connsiteY134" fmla="*/ 4974673 h 10480123"/>
                    <a:gd name="connsiteX135" fmla="*/ 4248150 w 8610600"/>
                    <a:gd name="connsiteY135" fmla="*/ 4555573 h 10480123"/>
                    <a:gd name="connsiteX136" fmla="*/ 4476750 w 8610600"/>
                    <a:gd name="connsiteY136" fmla="*/ 4041223 h 10480123"/>
                    <a:gd name="connsiteX137" fmla="*/ 4876800 w 8610600"/>
                    <a:gd name="connsiteY137" fmla="*/ 3203023 h 10480123"/>
                    <a:gd name="connsiteX138" fmla="*/ 5181600 w 8610600"/>
                    <a:gd name="connsiteY138" fmla="*/ 2402923 h 10480123"/>
                    <a:gd name="connsiteX139" fmla="*/ 5410200 w 8610600"/>
                    <a:gd name="connsiteY139" fmla="*/ 1679023 h 10480123"/>
                    <a:gd name="connsiteX140" fmla="*/ 5638800 w 8610600"/>
                    <a:gd name="connsiteY140" fmla="*/ 993223 h 10480123"/>
                    <a:gd name="connsiteX141" fmla="*/ 6057900 w 8610600"/>
                    <a:gd name="connsiteY141" fmla="*/ 1336123 h 10480123"/>
                    <a:gd name="connsiteX142" fmla="*/ 6076950 w 8610600"/>
                    <a:gd name="connsiteY142" fmla="*/ 1583773 h 10480123"/>
                    <a:gd name="connsiteX143" fmla="*/ 6153150 w 8610600"/>
                    <a:gd name="connsiteY143" fmla="*/ 1659973 h 10480123"/>
                    <a:gd name="connsiteX144" fmla="*/ 6229350 w 8610600"/>
                    <a:gd name="connsiteY144" fmla="*/ 1488523 h 10480123"/>
                    <a:gd name="connsiteX145" fmla="*/ 6286500 w 8610600"/>
                    <a:gd name="connsiteY145" fmla="*/ 1164673 h 10480123"/>
                    <a:gd name="connsiteX146" fmla="*/ 6229350 w 8610600"/>
                    <a:gd name="connsiteY146" fmla="*/ 707473 h 10480123"/>
                    <a:gd name="connsiteX147" fmla="*/ 6096000 w 8610600"/>
                    <a:gd name="connsiteY147" fmla="*/ 193123 h 10480123"/>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66750 w 8610600"/>
                    <a:gd name="connsiteY68" fmla="*/ 6784423 h 10480123"/>
                    <a:gd name="connsiteX69" fmla="*/ 952500 w 8610600"/>
                    <a:gd name="connsiteY69" fmla="*/ 678442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048000 w 8610600"/>
                    <a:gd name="connsiteY73" fmla="*/ 7203523 h 10480123"/>
                    <a:gd name="connsiteX74" fmla="*/ 3009900 w 8610600"/>
                    <a:gd name="connsiteY74" fmla="*/ 7394023 h 10480123"/>
                    <a:gd name="connsiteX75" fmla="*/ 3143250 w 8610600"/>
                    <a:gd name="connsiteY75" fmla="*/ 7432123 h 10480123"/>
                    <a:gd name="connsiteX76" fmla="*/ 3276600 w 8610600"/>
                    <a:gd name="connsiteY76" fmla="*/ 7432123 h 10480123"/>
                    <a:gd name="connsiteX77" fmla="*/ 3295650 w 8610600"/>
                    <a:gd name="connsiteY77" fmla="*/ 7546423 h 10480123"/>
                    <a:gd name="connsiteX78" fmla="*/ 3371850 w 8610600"/>
                    <a:gd name="connsiteY78" fmla="*/ 7603573 h 10480123"/>
                    <a:gd name="connsiteX79" fmla="*/ 3657600 w 8610600"/>
                    <a:gd name="connsiteY79" fmla="*/ 7641673 h 10480123"/>
                    <a:gd name="connsiteX80" fmla="*/ 3657600 w 8610600"/>
                    <a:gd name="connsiteY80" fmla="*/ 7641673 h 10480123"/>
                    <a:gd name="connsiteX81" fmla="*/ 3676650 w 8610600"/>
                    <a:gd name="connsiteY81" fmla="*/ 7813123 h 10480123"/>
                    <a:gd name="connsiteX82" fmla="*/ 3924300 w 8610600"/>
                    <a:gd name="connsiteY82" fmla="*/ 7851223 h 10480123"/>
                    <a:gd name="connsiteX83" fmla="*/ 4324350 w 8610600"/>
                    <a:gd name="connsiteY83" fmla="*/ 7832173 h 10480123"/>
                    <a:gd name="connsiteX84" fmla="*/ 4724400 w 8610600"/>
                    <a:gd name="connsiteY84" fmla="*/ 7717873 h 10480123"/>
                    <a:gd name="connsiteX85" fmla="*/ 5029200 w 8610600"/>
                    <a:gd name="connsiteY85" fmla="*/ 7698823 h 10480123"/>
                    <a:gd name="connsiteX86" fmla="*/ 5181600 w 8610600"/>
                    <a:gd name="connsiteY86" fmla="*/ 7660723 h 10480123"/>
                    <a:gd name="connsiteX87" fmla="*/ 5391150 w 8610600"/>
                    <a:gd name="connsiteY87" fmla="*/ 7584523 h 10480123"/>
                    <a:gd name="connsiteX88" fmla="*/ 5657850 w 8610600"/>
                    <a:gd name="connsiteY88" fmla="*/ 7584523 h 10480123"/>
                    <a:gd name="connsiteX89" fmla="*/ 5867400 w 8610600"/>
                    <a:gd name="connsiteY89" fmla="*/ 7698823 h 10480123"/>
                    <a:gd name="connsiteX90" fmla="*/ 5753100 w 8610600"/>
                    <a:gd name="connsiteY90" fmla="*/ 7279723 h 10480123"/>
                    <a:gd name="connsiteX91" fmla="*/ 5581650 w 8610600"/>
                    <a:gd name="connsiteY91" fmla="*/ 6955873 h 10480123"/>
                    <a:gd name="connsiteX92" fmla="*/ 5391150 w 8610600"/>
                    <a:gd name="connsiteY92" fmla="*/ 6670123 h 10480123"/>
                    <a:gd name="connsiteX93" fmla="*/ 5281613 w 8610600"/>
                    <a:gd name="connsiteY93" fmla="*/ 6617736 h 10480123"/>
                    <a:gd name="connsiteX94" fmla="*/ 4910138 w 8610600"/>
                    <a:gd name="connsiteY94" fmla="*/ 6546298 h 10480123"/>
                    <a:gd name="connsiteX95" fmla="*/ 4629150 w 8610600"/>
                    <a:gd name="connsiteY95" fmla="*/ 6346273 h 10480123"/>
                    <a:gd name="connsiteX96" fmla="*/ 4286250 w 8610600"/>
                    <a:gd name="connsiteY96" fmla="*/ 6384373 h 10480123"/>
                    <a:gd name="connsiteX97" fmla="*/ 3874294 w 8610600"/>
                    <a:gd name="connsiteY97" fmla="*/ 6558204 h 10480123"/>
                    <a:gd name="connsiteX98" fmla="*/ 3600450 w 8610600"/>
                    <a:gd name="connsiteY98" fmla="*/ 6670123 h 10480123"/>
                    <a:gd name="connsiteX99" fmla="*/ 3181350 w 8610600"/>
                    <a:gd name="connsiteY99" fmla="*/ 5774773 h 10480123"/>
                    <a:gd name="connsiteX100" fmla="*/ 2724150 w 8610600"/>
                    <a:gd name="connsiteY100" fmla="*/ 4860373 h 10480123"/>
                    <a:gd name="connsiteX101" fmla="*/ 2381250 w 8610600"/>
                    <a:gd name="connsiteY101" fmla="*/ 4288873 h 10480123"/>
                    <a:gd name="connsiteX102" fmla="*/ 1962150 w 8610600"/>
                    <a:gd name="connsiteY102" fmla="*/ 3869773 h 10480123"/>
                    <a:gd name="connsiteX103" fmla="*/ 1619250 w 8610600"/>
                    <a:gd name="connsiteY103" fmla="*/ 3545923 h 10480123"/>
                    <a:gd name="connsiteX104" fmla="*/ 1009650 w 8610600"/>
                    <a:gd name="connsiteY104" fmla="*/ 3507823 h 10480123"/>
                    <a:gd name="connsiteX105" fmla="*/ 762000 w 8610600"/>
                    <a:gd name="connsiteY105" fmla="*/ 3545923 h 10480123"/>
                    <a:gd name="connsiteX106" fmla="*/ 838200 w 8610600"/>
                    <a:gd name="connsiteY106" fmla="*/ 2917273 h 10480123"/>
                    <a:gd name="connsiteX107" fmla="*/ 838200 w 8610600"/>
                    <a:gd name="connsiteY107" fmla="*/ 2479123 h 10480123"/>
                    <a:gd name="connsiteX108" fmla="*/ 971550 w 8610600"/>
                    <a:gd name="connsiteY108" fmla="*/ 1964773 h 10480123"/>
                    <a:gd name="connsiteX109" fmla="*/ 1028700 w 8610600"/>
                    <a:gd name="connsiteY109" fmla="*/ 1412323 h 10480123"/>
                    <a:gd name="connsiteX110" fmla="*/ 1295400 w 8610600"/>
                    <a:gd name="connsiteY110" fmla="*/ 859873 h 10480123"/>
                    <a:gd name="connsiteX111" fmla="*/ 1562100 w 8610600"/>
                    <a:gd name="connsiteY111" fmla="*/ 745573 h 10480123"/>
                    <a:gd name="connsiteX112" fmla="*/ 1809750 w 8610600"/>
                    <a:gd name="connsiteY112" fmla="*/ 726523 h 10480123"/>
                    <a:gd name="connsiteX113" fmla="*/ 2190750 w 8610600"/>
                    <a:gd name="connsiteY113" fmla="*/ 574123 h 10480123"/>
                    <a:gd name="connsiteX114" fmla="*/ 2457450 w 8610600"/>
                    <a:gd name="connsiteY114" fmla="*/ 478873 h 10480123"/>
                    <a:gd name="connsiteX115" fmla="*/ 2838450 w 8610600"/>
                    <a:gd name="connsiteY115" fmla="*/ 421723 h 10480123"/>
                    <a:gd name="connsiteX116" fmla="*/ 3219450 w 8610600"/>
                    <a:gd name="connsiteY116" fmla="*/ 174073 h 10480123"/>
                    <a:gd name="connsiteX117" fmla="*/ 2857500 w 8610600"/>
                    <a:gd name="connsiteY117" fmla="*/ 440773 h 10480123"/>
                    <a:gd name="connsiteX118" fmla="*/ 2381250 w 8610600"/>
                    <a:gd name="connsiteY118" fmla="*/ 707473 h 10480123"/>
                    <a:gd name="connsiteX119" fmla="*/ 2286000 w 8610600"/>
                    <a:gd name="connsiteY119" fmla="*/ 821773 h 10480123"/>
                    <a:gd name="connsiteX120" fmla="*/ 2400300 w 8610600"/>
                    <a:gd name="connsiteY120" fmla="*/ 840823 h 10480123"/>
                    <a:gd name="connsiteX121" fmla="*/ 2686050 w 8610600"/>
                    <a:gd name="connsiteY121" fmla="*/ 764623 h 10480123"/>
                    <a:gd name="connsiteX122" fmla="*/ 2895600 w 8610600"/>
                    <a:gd name="connsiteY122" fmla="*/ 707473 h 10480123"/>
                    <a:gd name="connsiteX123" fmla="*/ 3143250 w 8610600"/>
                    <a:gd name="connsiteY123" fmla="*/ 555073 h 10480123"/>
                    <a:gd name="connsiteX124" fmla="*/ 3143250 w 8610600"/>
                    <a:gd name="connsiteY124" fmla="*/ 669373 h 10480123"/>
                    <a:gd name="connsiteX125" fmla="*/ 3143250 w 8610600"/>
                    <a:gd name="connsiteY125" fmla="*/ 955123 h 10480123"/>
                    <a:gd name="connsiteX126" fmla="*/ 3314700 w 8610600"/>
                    <a:gd name="connsiteY126" fmla="*/ 1202773 h 10480123"/>
                    <a:gd name="connsiteX127" fmla="*/ 3067050 w 8610600"/>
                    <a:gd name="connsiteY127" fmla="*/ 2802973 h 10480123"/>
                    <a:gd name="connsiteX128" fmla="*/ 3009900 w 8610600"/>
                    <a:gd name="connsiteY128" fmla="*/ 3488773 h 10480123"/>
                    <a:gd name="connsiteX129" fmla="*/ 3162300 w 8610600"/>
                    <a:gd name="connsiteY129" fmla="*/ 4574623 h 10480123"/>
                    <a:gd name="connsiteX130" fmla="*/ 3314700 w 8610600"/>
                    <a:gd name="connsiteY130" fmla="*/ 5355673 h 10480123"/>
                    <a:gd name="connsiteX131" fmla="*/ 3429000 w 8610600"/>
                    <a:gd name="connsiteY131" fmla="*/ 6079573 h 10480123"/>
                    <a:gd name="connsiteX132" fmla="*/ 3714750 w 8610600"/>
                    <a:gd name="connsiteY132" fmla="*/ 5679523 h 10480123"/>
                    <a:gd name="connsiteX133" fmla="*/ 3886200 w 8610600"/>
                    <a:gd name="connsiteY133" fmla="*/ 5355673 h 10480123"/>
                    <a:gd name="connsiteX134" fmla="*/ 3981450 w 8610600"/>
                    <a:gd name="connsiteY134" fmla="*/ 4974673 h 10480123"/>
                    <a:gd name="connsiteX135" fmla="*/ 4248150 w 8610600"/>
                    <a:gd name="connsiteY135" fmla="*/ 4555573 h 10480123"/>
                    <a:gd name="connsiteX136" fmla="*/ 4476750 w 8610600"/>
                    <a:gd name="connsiteY136" fmla="*/ 4041223 h 10480123"/>
                    <a:gd name="connsiteX137" fmla="*/ 4876800 w 8610600"/>
                    <a:gd name="connsiteY137" fmla="*/ 3203023 h 10480123"/>
                    <a:gd name="connsiteX138" fmla="*/ 5181600 w 8610600"/>
                    <a:gd name="connsiteY138" fmla="*/ 2402923 h 10480123"/>
                    <a:gd name="connsiteX139" fmla="*/ 5410200 w 8610600"/>
                    <a:gd name="connsiteY139" fmla="*/ 1679023 h 10480123"/>
                    <a:gd name="connsiteX140" fmla="*/ 5638800 w 8610600"/>
                    <a:gd name="connsiteY140" fmla="*/ 993223 h 10480123"/>
                    <a:gd name="connsiteX141" fmla="*/ 6057900 w 8610600"/>
                    <a:gd name="connsiteY141" fmla="*/ 1336123 h 10480123"/>
                    <a:gd name="connsiteX142" fmla="*/ 6076950 w 8610600"/>
                    <a:gd name="connsiteY142" fmla="*/ 1583773 h 10480123"/>
                    <a:gd name="connsiteX143" fmla="*/ 6153150 w 8610600"/>
                    <a:gd name="connsiteY143" fmla="*/ 1659973 h 10480123"/>
                    <a:gd name="connsiteX144" fmla="*/ 6229350 w 8610600"/>
                    <a:gd name="connsiteY144" fmla="*/ 1488523 h 10480123"/>
                    <a:gd name="connsiteX145" fmla="*/ 6286500 w 8610600"/>
                    <a:gd name="connsiteY145" fmla="*/ 1164673 h 10480123"/>
                    <a:gd name="connsiteX146" fmla="*/ 6229350 w 8610600"/>
                    <a:gd name="connsiteY146" fmla="*/ 707473 h 10480123"/>
                    <a:gd name="connsiteX147" fmla="*/ 6096000 w 8610600"/>
                    <a:gd name="connsiteY147" fmla="*/ 193123 h 10480123"/>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66750 w 8610600"/>
                    <a:gd name="connsiteY68" fmla="*/ 6784423 h 10480123"/>
                    <a:gd name="connsiteX69" fmla="*/ 952500 w 8610600"/>
                    <a:gd name="connsiteY69" fmla="*/ 678442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048000 w 8610600"/>
                    <a:gd name="connsiteY73" fmla="*/ 7203523 h 10480123"/>
                    <a:gd name="connsiteX74" fmla="*/ 3009900 w 8610600"/>
                    <a:gd name="connsiteY74" fmla="*/ 7394023 h 10480123"/>
                    <a:gd name="connsiteX75" fmla="*/ 3143250 w 8610600"/>
                    <a:gd name="connsiteY75" fmla="*/ 7432123 h 10480123"/>
                    <a:gd name="connsiteX76" fmla="*/ 3276600 w 8610600"/>
                    <a:gd name="connsiteY76" fmla="*/ 7432123 h 10480123"/>
                    <a:gd name="connsiteX77" fmla="*/ 3295650 w 8610600"/>
                    <a:gd name="connsiteY77" fmla="*/ 7546423 h 10480123"/>
                    <a:gd name="connsiteX78" fmla="*/ 3371850 w 8610600"/>
                    <a:gd name="connsiteY78" fmla="*/ 7603573 h 10480123"/>
                    <a:gd name="connsiteX79" fmla="*/ 3657600 w 8610600"/>
                    <a:gd name="connsiteY79" fmla="*/ 7641673 h 10480123"/>
                    <a:gd name="connsiteX80" fmla="*/ 3657600 w 8610600"/>
                    <a:gd name="connsiteY80" fmla="*/ 7641673 h 10480123"/>
                    <a:gd name="connsiteX81" fmla="*/ 3676650 w 8610600"/>
                    <a:gd name="connsiteY81" fmla="*/ 7813123 h 10480123"/>
                    <a:gd name="connsiteX82" fmla="*/ 3924300 w 8610600"/>
                    <a:gd name="connsiteY82" fmla="*/ 7851223 h 10480123"/>
                    <a:gd name="connsiteX83" fmla="*/ 4324350 w 8610600"/>
                    <a:gd name="connsiteY83" fmla="*/ 7832173 h 10480123"/>
                    <a:gd name="connsiteX84" fmla="*/ 4724400 w 8610600"/>
                    <a:gd name="connsiteY84" fmla="*/ 7717873 h 10480123"/>
                    <a:gd name="connsiteX85" fmla="*/ 5029200 w 8610600"/>
                    <a:gd name="connsiteY85" fmla="*/ 7698823 h 10480123"/>
                    <a:gd name="connsiteX86" fmla="*/ 5243513 w 8610600"/>
                    <a:gd name="connsiteY86" fmla="*/ 7615479 h 10480123"/>
                    <a:gd name="connsiteX87" fmla="*/ 5391150 w 8610600"/>
                    <a:gd name="connsiteY87" fmla="*/ 7584523 h 10480123"/>
                    <a:gd name="connsiteX88" fmla="*/ 5657850 w 8610600"/>
                    <a:gd name="connsiteY88" fmla="*/ 7584523 h 10480123"/>
                    <a:gd name="connsiteX89" fmla="*/ 5867400 w 8610600"/>
                    <a:gd name="connsiteY89" fmla="*/ 7698823 h 10480123"/>
                    <a:gd name="connsiteX90" fmla="*/ 5753100 w 8610600"/>
                    <a:gd name="connsiteY90" fmla="*/ 7279723 h 10480123"/>
                    <a:gd name="connsiteX91" fmla="*/ 5581650 w 8610600"/>
                    <a:gd name="connsiteY91" fmla="*/ 6955873 h 10480123"/>
                    <a:gd name="connsiteX92" fmla="*/ 5391150 w 8610600"/>
                    <a:gd name="connsiteY92" fmla="*/ 6670123 h 10480123"/>
                    <a:gd name="connsiteX93" fmla="*/ 5281613 w 8610600"/>
                    <a:gd name="connsiteY93" fmla="*/ 6617736 h 10480123"/>
                    <a:gd name="connsiteX94" fmla="*/ 4910138 w 8610600"/>
                    <a:gd name="connsiteY94" fmla="*/ 6546298 h 10480123"/>
                    <a:gd name="connsiteX95" fmla="*/ 4629150 w 8610600"/>
                    <a:gd name="connsiteY95" fmla="*/ 6346273 h 10480123"/>
                    <a:gd name="connsiteX96" fmla="*/ 4286250 w 8610600"/>
                    <a:gd name="connsiteY96" fmla="*/ 6384373 h 10480123"/>
                    <a:gd name="connsiteX97" fmla="*/ 3874294 w 8610600"/>
                    <a:gd name="connsiteY97" fmla="*/ 6558204 h 10480123"/>
                    <a:gd name="connsiteX98" fmla="*/ 3600450 w 8610600"/>
                    <a:gd name="connsiteY98" fmla="*/ 6670123 h 10480123"/>
                    <a:gd name="connsiteX99" fmla="*/ 3181350 w 8610600"/>
                    <a:gd name="connsiteY99" fmla="*/ 5774773 h 10480123"/>
                    <a:gd name="connsiteX100" fmla="*/ 2724150 w 8610600"/>
                    <a:gd name="connsiteY100" fmla="*/ 4860373 h 10480123"/>
                    <a:gd name="connsiteX101" fmla="*/ 2381250 w 8610600"/>
                    <a:gd name="connsiteY101" fmla="*/ 4288873 h 10480123"/>
                    <a:gd name="connsiteX102" fmla="*/ 1962150 w 8610600"/>
                    <a:gd name="connsiteY102" fmla="*/ 3869773 h 10480123"/>
                    <a:gd name="connsiteX103" fmla="*/ 1619250 w 8610600"/>
                    <a:gd name="connsiteY103" fmla="*/ 3545923 h 10480123"/>
                    <a:gd name="connsiteX104" fmla="*/ 1009650 w 8610600"/>
                    <a:gd name="connsiteY104" fmla="*/ 3507823 h 10480123"/>
                    <a:gd name="connsiteX105" fmla="*/ 762000 w 8610600"/>
                    <a:gd name="connsiteY105" fmla="*/ 3545923 h 10480123"/>
                    <a:gd name="connsiteX106" fmla="*/ 838200 w 8610600"/>
                    <a:gd name="connsiteY106" fmla="*/ 2917273 h 10480123"/>
                    <a:gd name="connsiteX107" fmla="*/ 838200 w 8610600"/>
                    <a:gd name="connsiteY107" fmla="*/ 2479123 h 10480123"/>
                    <a:gd name="connsiteX108" fmla="*/ 971550 w 8610600"/>
                    <a:gd name="connsiteY108" fmla="*/ 1964773 h 10480123"/>
                    <a:gd name="connsiteX109" fmla="*/ 1028700 w 8610600"/>
                    <a:gd name="connsiteY109" fmla="*/ 1412323 h 10480123"/>
                    <a:gd name="connsiteX110" fmla="*/ 1295400 w 8610600"/>
                    <a:gd name="connsiteY110" fmla="*/ 859873 h 10480123"/>
                    <a:gd name="connsiteX111" fmla="*/ 1562100 w 8610600"/>
                    <a:gd name="connsiteY111" fmla="*/ 745573 h 10480123"/>
                    <a:gd name="connsiteX112" fmla="*/ 1809750 w 8610600"/>
                    <a:gd name="connsiteY112" fmla="*/ 726523 h 10480123"/>
                    <a:gd name="connsiteX113" fmla="*/ 2190750 w 8610600"/>
                    <a:gd name="connsiteY113" fmla="*/ 574123 h 10480123"/>
                    <a:gd name="connsiteX114" fmla="*/ 2457450 w 8610600"/>
                    <a:gd name="connsiteY114" fmla="*/ 478873 h 10480123"/>
                    <a:gd name="connsiteX115" fmla="*/ 2838450 w 8610600"/>
                    <a:gd name="connsiteY115" fmla="*/ 421723 h 10480123"/>
                    <a:gd name="connsiteX116" fmla="*/ 3219450 w 8610600"/>
                    <a:gd name="connsiteY116" fmla="*/ 174073 h 10480123"/>
                    <a:gd name="connsiteX117" fmla="*/ 2857500 w 8610600"/>
                    <a:gd name="connsiteY117" fmla="*/ 440773 h 10480123"/>
                    <a:gd name="connsiteX118" fmla="*/ 2381250 w 8610600"/>
                    <a:gd name="connsiteY118" fmla="*/ 707473 h 10480123"/>
                    <a:gd name="connsiteX119" fmla="*/ 2286000 w 8610600"/>
                    <a:gd name="connsiteY119" fmla="*/ 821773 h 10480123"/>
                    <a:gd name="connsiteX120" fmla="*/ 2400300 w 8610600"/>
                    <a:gd name="connsiteY120" fmla="*/ 840823 h 10480123"/>
                    <a:gd name="connsiteX121" fmla="*/ 2686050 w 8610600"/>
                    <a:gd name="connsiteY121" fmla="*/ 764623 h 10480123"/>
                    <a:gd name="connsiteX122" fmla="*/ 2895600 w 8610600"/>
                    <a:gd name="connsiteY122" fmla="*/ 707473 h 10480123"/>
                    <a:gd name="connsiteX123" fmla="*/ 3143250 w 8610600"/>
                    <a:gd name="connsiteY123" fmla="*/ 555073 h 10480123"/>
                    <a:gd name="connsiteX124" fmla="*/ 3143250 w 8610600"/>
                    <a:gd name="connsiteY124" fmla="*/ 669373 h 10480123"/>
                    <a:gd name="connsiteX125" fmla="*/ 3143250 w 8610600"/>
                    <a:gd name="connsiteY125" fmla="*/ 955123 h 10480123"/>
                    <a:gd name="connsiteX126" fmla="*/ 3314700 w 8610600"/>
                    <a:gd name="connsiteY126" fmla="*/ 1202773 h 10480123"/>
                    <a:gd name="connsiteX127" fmla="*/ 3067050 w 8610600"/>
                    <a:gd name="connsiteY127" fmla="*/ 2802973 h 10480123"/>
                    <a:gd name="connsiteX128" fmla="*/ 3009900 w 8610600"/>
                    <a:gd name="connsiteY128" fmla="*/ 3488773 h 10480123"/>
                    <a:gd name="connsiteX129" fmla="*/ 3162300 w 8610600"/>
                    <a:gd name="connsiteY129" fmla="*/ 4574623 h 10480123"/>
                    <a:gd name="connsiteX130" fmla="*/ 3314700 w 8610600"/>
                    <a:gd name="connsiteY130" fmla="*/ 5355673 h 10480123"/>
                    <a:gd name="connsiteX131" fmla="*/ 3429000 w 8610600"/>
                    <a:gd name="connsiteY131" fmla="*/ 6079573 h 10480123"/>
                    <a:gd name="connsiteX132" fmla="*/ 3714750 w 8610600"/>
                    <a:gd name="connsiteY132" fmla="*/ 5679523 h 10480123"/>
                    <a:gd name="connsiteX133" fmla="*/ 3886200 w 8610600"/>
                    <a:gd name="connsiteY133" fmla="*/ 5355673 h 10480123"/>
                    <a:gd name="connsiteX134" fmla="*/ 3981450 w 8610600"/>
                    <a:gd name="connsiteY134" fmla="*/ 4974673 h 10480123"/>
                    <a:gd name="connsiteX135" fmla="*/ 4248150 w 8610600"/>
                    <a:gd name="connsiteY135" fmla="*/ 4555573 h 10480123"/>
                    <a:gd name="connsiteX136" fmla="*/ 4476750 w 8610600"/>
                    <a:gd name="connsiteY136" fmla="*/ 4041223 h 10480123"/>
                    <a:gd name="connsiteX137" fmla="*/ 4876800 w 8610600"/>
                    <a:gd name="connsiteY137" fmla="*/ 3203023 h 10480123"/>
                    <a:gd name="connsiteX138" fmla="*/ 5181600 w 8610600"/>
                    <a:gd name="connsiteY138" fmla="*/ 2402923 h 10480123"/>
                    <a:gd name="connsiteX139" fmla="*/ 5410200 w 8610600"/>
                    <a:gd name="connsiteY139" fmla="*/ 1679023 h 10480123"/>
                    <a:gd name="connsiteX140" fmla="*/ 5638800 w 8610600"/>
                    <a:gd name="connsiteY140" fmla="*/ 993223 h 10480123"/>
                    <a:gd name="connsiteX141" fmla="*/ 6057900 w 8610600"/>
                    <a:gd name="connsiteY141" fmla="*/ 1336123 h 10480123"/>
                    <a:gd name="connsiteX142" fmla="*/ 6076950 w 8610600"/>
                    <a:gd name="connsiteY142" fmla="*/ 1583773 h 10480123"/>
                    <a:gd name="connsiteX143" fmla="*/ 6153150 w 8610600"/>
                    <a:gd name="connsiteY143" fmla="*/ 1659973 h 10480123"/>
                    <a:gd name="connsiteX144" fmla="*/ 6229350 w 8610600"/>
                    <a:gd name="connsiteY144" fmla="*/ 1488523 h 10480123"/>
                    <a:gd name="connsiteX145" fmla="*/ 6286500 w 8610600"/>
                    <a:gd name="connsiteY145" fmla="*/ 1164673 h 10480123"/>
                    <a:gd name="connsiteX146" fmla="*/ 6229350 w 8610600"/>
                    <a:gd name="connsiteY146" fmla="*/ 707473 h 10480123"/>
                    <a:gd name="connsiteX147" fmla="*/ 6096000 w 8610600"/>
                    <a:gd name="connsiteY147" fmla="*/ 193123 h 10480123"/>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66750 w 8610600"/>
                    <a:gd name="connsiteY68" fmla="*/ 6784423 h 10480123"/>
                    <a:gd name="connsiteX69" fmla="*/ 952500 w 8610600"/>
                    <a:gd name="connsiteY69" fmla="*/ 678442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048000 w 8610600"/>
                    <a:gd name="connsiteY73" fmla="*/ 7203523 h 10480123"/>
                    <a:gd name="connsiteX74" fmla="*/ 3009900 w 8610600"/>
                    <a:gd name="connsiteY74" fmla="*/ 7394023 h 10480123"/>
                    <a:gd name="connsiteX75" fmla="*/ 3143250 w 8610600"/>
                    <a:gd name="connsiteY75" fmla="*/ 7432123 h 10480123"/>
                    <a:gd name="connsiteX76" fmla="*/ 3276600 w 8610600"/>
                    <a:gd name="connsiteY76" fmla="*/ 7432123 h 10480123"/>
                    <a:gd name="connsiteX77" fmla="*/ 3295650 w 8610600"/>
                    <a:gd name="connsiteY77" fmla="*/ 7546423 h 10480123"/>
                    <a:gd name="connsiteX78" fmla="*/ 3371850 w 8610600"/>
                    <a:gd name="connsiteY78" fmla="*/ 7603573 h 10480123"/>
                    <a:gd name="connsiteX79" fmla="*/ 3657600 w 8610600"/>
                    <a:gd name="connsiteY79" fmla="*/ 7641673 h 10480123"/>
                    <a:gd name="connsiteX80" fmla="*/ 3657600 w 8610600"/>
                    <a:gd name="connsiteY80" fmla="*/ 7641673 h 10480123"/>
                    <a:gd name="connsiteX81" fmla="*/ 3676650 w 8610600"/>
                    <a:gd name="connsiteY81" fmla="*/ 7813123 h 10480123"/>
                    <a:gd name="connsiteX82" fmla="*/ 3924300 w 8610600"/>
                    <a:gd name="connsiteY82" fmla="*/ 7851223 h 10480123"/>
                    <a:gd name="connsiteX83" fmla="*/ 4324350 w 8610600"/>
                    <a:gd name="connsiteY83" fmla="*/ 7832173 h 10480123"/>
                    <a:gd name="connsiteX84" fmla="*/ 4724400 w 8610600"/>
                    <a:gd name="connsiteY84" fmla="*/ 7717873 h 10480123"/>
                    <a:gd name="connsiteX85" fmla="*/ 5029200 w 8610600"/>
                    <a:gd name="connsiteY85" fmla="*/ 7698823 h 10480123"/>
                    <a:gd name="connsiteX86" fmla="*/ 5272088 w 8610600"/>
                    <a:gd name="connsiteY86" fmla="*/ 7591667 h 10480123"/>
                    <a:gd name="connsiteX87" fmla="*/ 5391150 w 8610600"/>
                    <a:gd name="connsiteY87" fmla="*/ 7584523 h 10480123"/>
                    <a:gd name="connsiteX88" fmla="*/ 5657850 w 8610600"/>
                    <a:gd name="connsiteY88" fmla="*/ 7584523 h 10480123"/>
                    <a:gd name="connsiteX89" fmla="*/ 5867400 w 8610600"/>
                    <a:gd name="connsiteY89" fmla="*/ 7698823 h 10480123"/>
                    <a:gd name="connsiteX90" fmla="*/ 5753100 w 8610600"/>
                    <a:gd name="connsiteY90" fmla="*/ 7279723 h 10480123"/>
                    <a:gd name="connsiteX91" fmla="*/ 5581650 w 8610600"/>
                    <a:gd name="connsiteY91" fmla="*/ 6955873 h 10480123"/>
                    <a:gd name="connsiteX92" fmla="*/ 5391150 w 8610600"/>
                    <a:gd name="connsiteY92" fmla="*/ 6670123 h 10480123"/>
                    <a:gd name="connsiteX93" fmla="*/ 5281613 w 8610600"/>
                    <a:gd name="connsiteY93" fmla="*/ 6617736 h 10480123"/>
                    <a:gd name="connsiteX94" fmla="*/ 4910138 w 8610600"/>
                    <a:gd name="connsiteY94" fmla="*/ 6546298 h 10480123"/>
                    <a:gd name="connsiteX95" fmla="*/ 4629150 w 8610600"/>
                    <a:gd name="connsiteY95" fmla="*/ 6346273 h 10480123"/>
                    <a:gd name="connsiteX96" fmla="*/ 4286250 w 8610600"/>
                    <a:gd name="connsiteY96" fmla="*/ 6384373 h 10480123"/>
                    <a:gd name="connsiteX97" fmla="*/ 3874294 w 8610600"/>
                    <a:gd name="connsiteY97" fmla="*/ 6558204 h 10480123"/>
                    <a:gd name="connsiteX98" fmla="*/ 3600450 w 8610600"/>
                    <a:gd name="connsiteY98" fmla="*/ 6670123 h 10480123"/>
                    <a:gd name="connsiteX99" fmla="*/ 3181350 w 8610600"/>
                    <a:gd name="connsiteY99" fmla="*/ 5774773 h 10480123"/>
                    <a:gd name="connsiteX100" fmla="*/ 2724150 w 8610600"/>
                    <a:gd name="connsiteY100" fmla="*/ 4860373 h 10480123"/>
                    <a:gd name="connsiteX101" fmla="*/ 2381250 w 8610600"/>
                    <a:gd name="connsiteY101" fmla="*/ 4288873 h 10480123"/>
                    <a:gd name="connsiteX102" fmla="*/ 1962150 w 8610600"/>
                    <a:gd name="connsiteY102" fmla="*/ 3869773 h 10480123"/>
                    <a:gd name="connsiteX103" fmla="*/ 1619250 w 8610600"/>
                    <a:gd name="connsiteY103" fmla="*/ 3545923 h 10480123"/>
                    <a:gd name="connsiteX104" fmla="*/ 1009650 w 8610600"/>
                    <a:gd name="connsiteY104" fmla="*/ 3507823 h 10480123"/>
                    <a:gd name="connsiteX105" fmla="*/ 762000 w 8610600"/>
                    <a:gd name="connsiteY105" fmla="*/ 3545923 h 10480123"/>
                    <a:gd name="connsiteX106" fmla="*/ 838200 w 8610600"/>
                    <a:gd name="connsiteY106" fmla="*/ 2917273 h 10480123"/>
                    <a:gd name="connsiteX107" fmla="*/ 838200 w 8610600"/>
                    <a:gd name="connsiteY107" fmla="*/ 2479123 h 10480123"/>
                    <a:gd name="connsiteX108" fmla="*/ 971550 w 8610600"/>
                    <a:gd name="connsiteY108" fmla="*/ 1964773 h 10480123"/>
                    <a:gd name="connsiteX109" fmla="*/ 1028700 w 8610600"/>
                    <a:gd name="connsiteY109" fmla="*/ 1412323 h 10480123"/>
                    <a:gd name="connsiteX110" fmla="*/ 1295400 w 8610600"/>
                    <a:gd name="connsiteY110" fmla="*/ 859873 h 10480123"/>
                    <a:gd name="connsiteX111" fmla="*/ 1562100 w 8610600"/>
                    <a:gd name="connsiteY111" fmla="*/ 745573 h 10480123"/>
                    <a:gd name="connsiteX112" fmla="*/ 1809750 w 8610600"/>
                    <a:gd name="connsiteY112" fmla="*/ 726523 h 10480123"/>
                    <a:gd name="connsiteX113" fmla="*/ 2190750 w 8610600"/>
                    <a:gd name="connsiteY113" fmla="*/ 574123 h 10480123"/>
                    <a:gd name="connsiteX114" fmla="*/ 2457450 w 8610600"/>
                    <a:gd name="connsiteY114" fmla="*/ 478873 h 10480123"/>
                    <a:gd name="connsiteX115" fmla="*/ 2838450 w 8610600"/>
                    <a:gd name="connsiteY115" fmla="*/ 421723 h 10480123"/>
                    <a:gd name="connsiteX116" fmla="*/ 3219450 w 8610600"/>
                    <a:gd name="connsiteY116" fmla="*/ 174073 h 10480123"/>
                    <a:gd name="connsiteX117" fmla="*/ 2857500 w 8610600"/>
                    <a:gd name="connsiteY117" fmla="*/ 440773 h 10480123"/>
                    <a:gd name="connsiteX118" fmla="*/ 2381250 w 8610600"/>
                    <a:gd name="connsiteY118" fmla="*/ 707473 h 10480123"/>
                    <a:gd name="connsiteX119" fmla="*/ 2286000 w 8610600"/>
                    <a:gd name="connsiteY119" fmla="*/ 821773 h 10480123"/>
                    <a:gd name="connsiteX120" fmla="*/ 2400300 w 8610600"/>
                    <a:gd name="connsiteY120" fmla="*/ 840823 h 10480123"/>
                    <a:gd name="connsiteX121" fmla="*/ 2686050 w 8610600"/>
                    <a:gd name="connsiteY121" fmla="*/ 764623 h 10480123"/>
                    <a:gd name="connsiteX122" fmla="*/ 2895600 w 8610600"/>
                    <a:gd name="connsiteY122" fmla="*/ 707473 h 10480123"/>
                    <a:gd name="connsiteX123" fmla="*/ 3143250 w 8610600"/>
                    <a:gd name="connsiteY123" fmla="*/ 555073 h 10480123"/>
                    <a:gd name="connsiteX124" fmla="*/ 3143250 w 8610600"/>
                    <a:gd name="connsiteY124" fmla="*/ 669373 h 10480123"/>
                    <a:gd name="connsiteX125" fmla="*/ 3143250 w 8610600"/>
                    <a:gd name="connsiteY125" fmla="*/ 955123 h 10480123"/>
                    <a:gd name="connsiteX126" fmla="*/ 3314700 w 8610600"/>
                    <a:gd name="connsiteY126" fmla="*/ 1202773 h 10480123"/>
                    <a:gd name="connsiteX127" fmla="*/ 3067050 w 8610600"/>
                    <a:gd name="connsiteY127" fmla="*/ 2802973 h 10480123"/>
                    <a:gd name="connsiteX128" fmla="*/ 3009900 w 8610600"/>
                    <a:gd name="connsiteY128" fmla="*/ 3488773 h 10480123"/>
                    <a:gd name="connsiteX129" fmla="*/ 3162300 w 8610600"/>
                    <a:gd name="connsiteY129" fmla="*/ 4574623 h 10480123"/>
                    <a:gd name="connsiteX130" fmla="*/ 3314700 w 8610600"/>
                    <a:gd name="connsiteY130" fmla="*/ 5355673 h 10480123"/>
                    <a:gd name="connsiteX131" fmla="*/ 3429000 w 8610600"/>
                    <a:gd name="connsiteY131" fmla="*/ 6079573 h 10480123"/>
                    <a:gd name="connsiteX132" fmla="*/ 3714750 w 8610600"/>
                    <a:gd name="connsiteY132" fmla="*/ 5679523 h 10480123"/>
                    <a:gd name="connsiteX133" fmla="*/ 3886200 w 8610600"/>
                    <a:gd name="connsiteY133" fmla="*/ 5355673 h 10480123"/>
                    <a:gd name="connsiteX134" fmla="*/ 3981450 w 8610600"/>
                    <a:gd name="connsiteY134" fmla="*/ 4974673 h 10480123"/>
                    <a:gd name="connsiteX135" fmla="*/ 4248150 w 8610600"/>
                    <a:gd name="connsiteY135" fmla="*/ 4555573 h 10480123"/>
                    <a:gd name="connsiteX136" fmla="*/ 4476750 w 8610600"/>
                    <a:gd name="connsiteY136" fmla="*/ 4041223 h 10480123"/>
                    <a:gd name="connsiteX137" fmla="*/ 4876800 w 8610600"/>
                    <a:gd name="connsiteY137" fmla="*/ 3203023 h 10480123"/>
                    <a:gd name="connsiteX138" fmla="*/ 5181600 w 8610600"/>
                    <a:gd name="connsiteY138" fmla="*/ 2402923 h 10480123"/>
                    <a:gd name="connsiteX139" fmla="*/ 5410200 w 8610600"/>
                    <a:gd name="connsiteY139" fmla="*/ 1679023 h 10480123"/>
                    <a:gd name="connsiteX140" fmla="*/ 5638800 w 8610600"/>
                    <a:gd name="connsiteY140" fmla="*/ 993223 h 10480123"/>
                    <a:gd name="connsiteX141" fmla="*/ 6057900 w 8610600"/>
                    <a:gd name="connsiteY141" fmla="*/ 1336123 h 10480123"/>
                    <a:gd name="connsiteX142" fmla="*/ 6076950 w 8610600"/>
                    <a:gd name="connsiteY142" fmla="*/ 1583773 h 10480123"/>
                    <a:gd name="connsiteX143" fmla="*/ 6153150 w 8610600"/>
                    <a:gd name="connsiteY143" fmla="*/ 1659973 h 10480123"/>
                    <a:gd name="connsiteX144" fmla="*/ 6229350 w 8610600"/>
                    <a:gd name="connsiteY144" fmla="*/ 1488523 h 10480123"/>
                    <a:gd name="connsiteX145" fmla="*/ 6286500 w 8610600"/>
                    <a:gd name="connsiteY145" fmla="*/ 1164673 h 10480123"/>
                    <a:gd name="connsiteX146" fmla="*/ 6229350 w 8610600"/>
                    <a:gd name="connsiteY146" fmla="*/ 707473 h 10480123"/>
                    <a:gd name="connsiteX147" fmla="*/ 6096000 w 8610600"/>
                    <a:gd name="connsiteY147" fmla="*/ 193123 h 10480123"/>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66750 w 8610600"/>
                    <a:gd name="connsiteY68" fmla="*/ 6784423 h 10480123"/>
                    <a:gd name="connsiteX69" fmla="*/ 952500 w 8610600"/>
                    <a:gd name="connsiteY69" fmla="*/ 678442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048000 w 8610600"/>
                    <a:gd name="connsiteY73" fmla="*/ 7203523 h 10480123"/>
                    <a:gd name="connsiteX74" fmla="*/ 3009900 w 8610600"/>
                    <a:gd name="connsiteY74" fmla="*/ 7394023 h 10480123"/>
                    <a:gd name="connsiteX75" fmla="*/ 3143250 w 8610600"/>
                    <a:gd name="connsiteY75" fmla="*/ 7432123 h 10480123"/>
                    <a:gd name="connsiteX76" fmla="*/ 3276600 w 8610600"/>
                    <a:gd name="connsiteY76" fmla="*/ 7432123 h 10480123"/>
                    <a:gd name="connsiteX77" fmla="*/ 3295650 w 8610600"/>
                    <a:gd name="connsiteY77" fmla="*/ 7546423 h 10480123"/>
                    <a:gd name="connsiteX78" fmla="*/ 3371850 w 8610600"/>
                    <a:gd name="connsiteY78" fmla="*/ 7603573 h 10480123"/>
                    <a:gd name="connsiteX79" fmla="*/ 3657600 w 8610600"/>
                    <a:gd name="connsiteY79" fmla="*/ 7641673 h 10480123"/>
                    <a:gd name="connsiteX80" fmla="*/ 3657600 w 8610600"/>
                    <a:gd name="connsiteY80" fmla="*/ 7641673 h 10480123"/>
                    <a:gd name="connsiteX81" fmla="*/ 3676650 w 8610600"/>
                    <a:gd name="connsiteY81" fmla="*/ 7813123 h 10480123"/>
                    <a:gd name="connsiteX82" fmla="*/ 3924300 w 8610600"/>
                    <a:gd name="connsiteY82" fmla="*/ 7851223 h 10480123"/>
                    <a:gd name="connsiteX83" fmla="*/ 4324350 w 8610600"/>
                    <a:gd name="connsiteY83" fmla="*/ 7832173 h 10480123"/>
                    <a:gd name="connsiteX84" fmla="*/ 4724400 w 8610600"/>
                    <a:gd name="connsiteY84" fmla="*/ 7717873 h 10480123"/>
                    <a:gd name="connsiteX85" fmla="*/ 5098256 w 8610600"/>
                    <a:gd name="connsiteY85" fmla="*/ 7663104 h 10480123"/>
                    <a:gd name="connsiteX86" fmla="*/ 5272088 w 8610600"/>
                    <a:gd name="connsiteY86" fmla="*/ 7591667 h 10480123"/>
                    <a:gd name="connsiteX87" fmla="*/ 5391150 w 8610600"/>
                    <a:gd name="connsiteY87" fmla="*/ 7584523 h 10480123"/>
                    <a:gd name="connsiteX88" fmla="*/ 5657850 w 8610600"/>
                    <a:gd name="connsiteY88" fmla="*/ 7584523 h 10480123"/>
                    <a:gd name="connsiteX89" fmla="*/ 5867400 w 8610600"/>
                    <a:gd name="connsiteY89" fmla="*/ 7698823 h 10480123"/>
                    <a:gd name="connsiteX90" fmla="*/ 5753100 w 8610600"/>
                    <a:gd name="connsiteY90" fmla="*/ 7279723 h 10480123"/>
                    <a:gd name="connsiteX91" fmla="*/ 5581650 w 8610600"/>
                    <a:gd name="connsiteY91" fmla="*/ 6955873 h 10480123"/>
                    <a:gd name="connsiteX92" fmla="*/ 5391150 w 8610600"/>
                    <a:gd name="connsiteY92" fmla="*/ 6670123 h 10480123"/>
                    <a:gd name="connsiteX93" fmla="*/ 5281613 w 8610600"/>
                    <a:gd name="connsiteY93" fmla="*/ 6617736 h 10480123"/>
                    <a:gd name="connsiteX94" fmla="*/ 4910138 w 8610600"/>
                    <a:gd name="connsiteY94" fmla="*/ 6546298 h 10480123"/>
                    <a:gd name="connsiteX95" fmla="*/ 4629150 w 8610600"/>
                    <a:gd name="connsiteY95" fmla="*/ 6346273 h 10480123"/>
                    <a:gd name="connsiteX96" fmla="*/ 4286250 w 8610600"/>
                    <a:gd name="connsiteY96" fmla="*/ 6384373 h 10480123"/>
                    <a:gd name="connsiteX97" fmla="*/ 3874294 w 8610600"/>
                    <a:gd name="connsiteY97" fmla="*/ 6558204 h 10480123"/>
                    <a:gd name="connsiteX98" fmla="*/ 3600450 w 8610600"/>
                    <a:gd name="connsiteY98" fmla="*/ 6670123 h 10480123"/>
                    <a:gd name="connsiteX99" fmla="*/ 3181350 w 8610600"/>
                    <a:gd name="connsiteY99" fmla="*/ 5774773 h 10480123"/>
                    <a:gd name="connsiteX100" fmla="*/ 2724150 w 8610600"/>
                    <a:gd name="connsiteY100" fmla="*/ 4860373 h 10480123"/>
                    <a:gd name="connsiteX101" fmla="*/ 2381250 w 8610600"/>
                    <a:gd name="connsiteY101" fmla="*/ 4288873 h 10480123"/>
                    <a:gd name="connsiteX102" fmla="*/ 1962150 w 8610600"/>
                    <a:gd name="connsiteY102" fmla="*/ 3869773 h 10480123"/>
                    <a:gd name="connsiteX103" fmla="*/ 1619250 w 8610600"/>
                    <a:gd name="connsiteY103" fmla="*/ 3545923 h 10480123"/>
                    <a:gd name="connsiteX104" fmla="*/ 1009650 w 8610600"/>
                    <a:gd name="connsiteY104" fmla="*/ 3507823 h 10480123"/>
                    <a:gd name="connsiteX105" fmla="*/ 762000 w 8610600"/>
                    <a:gd name="connsiteY105" fmla="*/ 3545923 h 10480123"/>
                    <a:gd name="connsiteX106" fmla="*/ 838200 w 8610600"/>
                    <a:gd name="connsiteY106" fmla="*/ 2917273 h 10480123"/>
                    <a:gd name="connsiteX107" fmla="*/ 838200 w 8610600"/>
                    <a:gd name="connsiteY107" fmla="*/ 2479123 h 10480123"/>
                    <a:gd name="connsiteX108" fmla="*/ 971550 w 8610600"/>
                    <a:gd name="connsiteY108" fmla="*/ 1964773 h 10480123"/>
                    <a:gd name="connsiteX109" fmla="*/ 1028700 w 8610600"/>
                    <a:gd name="connsiteY109" fmla="*/ 1412323 h 10480123"/>
                    <a:gd name="connsiteX110" fmla="*/ 1295400 w 8610600"/>
                    <a:gd name="connsiteY110" fmla="*/ 859873 h 10480123"/>
                    <a:gd name="connsiteX111" fmla="*/ 1562100 w 8610600"/>
                    <a:gd name="connsiteY111" fmla="*/ 745573 h 10480123"/>
                    <a:gd name="connsiteX112" fmla="*/ 1809750 w 8610600"/>
                    <a:gd name="connsiteY112" fmla="*/ 726523 h 10480123"/>
                    <a:gd name="connsiteX113" fmla="*/ 2190750 w 8610600"/>
                    <a:gd name="connsiteY113" fmla="*/ 574123 h 10480123"/>
                    <a:gd name="connsiteX114" fmla="*/ 2457450 w 8610600"/>
                    <a:gd name="connsiteY114" fmla="*/ 478873 h 10480123"/>
                    <a:gd name="connsiteX115" fmla="*/ 2838450 w 8610600"/>
                    <a:gd name="connsiteY115" fmla="*/ 421723 h 10480123"/>
                    <a:gd name="connsiteX116" fmla="*/ 3219450 w 8610600"/>
                    <a:gd name="connsiteY116" fmla="*/ 174073 h 10480123"/>
                    <a:gd name="connsiteX117" fmla="*/ 2857500 w 8610600"/>
                    <a:gd name="connsiteY117" fmla="*/ 440773 h 10480123"/>
                    <a:gd name="connsiteX118" fmla="*/ 2381250 w 8610600"/>
                    <a:gd name="connsiteY118" fmla="*/ 707473 h 10480123"/>
                    <a:gd name="connsiteX119" fmla="*/ 2286000 w 8610600"/>
                    <a:gd name="connsiteY119" fmla="*/ 821773 h 10480123"/>
                    <a:gd name="connsiteX120" fmla="*/ 2400300 w 8610600"/>
                    <a:gd name="connsiteY120" fmla="*/ 840823 h 10480123"/>
                    <a:gd name="connsiteX121" fmla="*/ 2686050 w 8610600"/>
                    <a:gd name="connsiteY121" fmla="*/ 764623 h 10480123"/>
                    <a:gd name="connsiteX122" fmla="*/ 2895600 w 8610600"/>
                    <a:gd name="connsiteY122" fmla="*/ 707473 h 10480123"/>
                    <a:gd name="connsiteX123" fmla="*/ 3143250 w 8610600"/>
                    <a:gd name="connsiteY123" fmla="*/ 555073 h 10480123"/>
                    <a:gd name="connsiteX124" fmla="*/ 3143250 w 8610600"/>
                    <a:gd name="connsiteY124" fmla="*/ 669373 h 10480123"/>
                    <a:gd name="connsiteX125" fmla="*/ 3143250 w 8610600"/>
                    <a:gd name="connsiteY125" fmla="*/ 955123 h 10480123"/>
                    <a:gd name="connsiteX126" fmla="*/ 3314700 w 8610600"/>
                    <a:gd name="connsiteY126" fmla="*/ 1202773 h 10480123"/>
                    <a:gd name="connsiteX127" fmla="*/ 3067050 w 8610600"/>
                    <a:gd name="connsiteY127" fmla="*/ 2802973 h 10480123"/>
                    <a:gd name="connsiteX128" fmla="*/ 3009900 w 8610600"/>
                    <a:gd name="connsiteY128" fmla="*/ 3488773 h 10480123"/>
                    <a:gd name="connsiteX129" fmla="*/ 3162300 w 8610600"/>
                    <a:gd name="connsiteY129" fmla="*/ 4574623 h 10480123"/>
                    <a:gd name="connsiteX130" fmla="*/ 3314700 w 8610600"/>
                    <a:gd name="connsiteY130" fmla="*/ 5355673 h 10480123"/>
                    <a:gd name="connsiteX131" fmla="*/ 3429000 w 8610600"/>
                    <a:gd name="connsiteY131" fmla="*/ 6079573 h 10480123"/>
                    <a:gd name="connsiteX132" fmla="*/ 3714750 w 8610600"/>
                    <a:gd name="connsiteY132" fmla="*/ 5679523 h 10480123"/>
                    <a:gd name="connsiteX133" fmla="*/ 3886200 w 8610600"/>
                    <a:gd name="connsiteY133" fmla="*/ 5355673 h 10480123"/>
                    <a:gd name="connsiteX134" fmla="*/ 3981450 w 8610600"/>
                    <a:gd name="connsiteY134" fmla="*/ 4974673 h 10480123"/>
                    <a:gd name="connsiteX135" fmla="*/ 4248150 w 8610600"/>
                    <a:gd name="connsiteY135" fmla="*/ 4555573 h 10480123"/>
                    <a:gd name="connsiteX136" fmla="*/ 4476750 w 8610600"/>
                    <a:gd name="connsiteY136" fmla="*/ 4041223 h 10480123"/>
                    <a:gd name="connsiteX137" fmla="*/ 4876800 w 8610600"/>
                    <a:gd name="connsiteY137" fmla="*/ 3203023 h 10480123"/>
                    <a:gd name="connsiteX138" fmla="*/ 5181600 w 8610600"/>
                    <a:gd name="connsiteY138" fmla="*/ 2402923 h 10480123"/>
                    <a:gd name="connsiteX139" fmla="*/ 5410200 w 8610600"/>
                    <a:gd name="connsiteY139" fmla="*/ 1679023 h 10480123"/>
                    <a:gd name="connsiteX140" fmla="*/ 5638800 w 8610600"/>
                    <a:gd name="connsiteY140" fmla="*/ 993223 h 10480123"/>
                    <a:gd name="connsiteX141" fmla="*/ 6057900 w 8610600"/>
                    <a:gd name="connsiteY141" fmla="*/ 1336123 h 10480123"/>
                    <a:gd name="connsiteX142" fmla="*/ 6076950 w 8610600"/>
                    <a:gd name="connsiteY142" fmla="*/ 1583773 h 10480123"/>
                    <a:gd name="connsiteX143" fmla="*/ 6153150 w 8610600"/>
                    <a:gd name="connsiteY143" fmla="*/ 1659973 h 10480123"/>
                    <a:gd name="connsiteX144" fmla="*/ 6229350 w 8610600"/>
                    <a:gd name="connsiteY144" fmla="*/ 1488523 h 10480123"/>
                    <a:gd name="connsiteX145" fmla="*/ 6286500 w 8610600"/>
                    <a:gd name="connsiteY145" fmla="*/ 1164673 h 10480123"/>
                    <a:gd name="connsiteX146" fmla="*/ 6229350 w 8610600"/>
                    <a:gd name="connsiteY146" fmla="*/ 707473 h 10480123"/>
                    <a:gd name="connsiteX147" fmla="*/ 6096000 w 8610600"/>
                    <a:gd name="connsiteY147" fmla="*/ 193123 h 10480123"/>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66750 w 8610600"/>
                    <a:gd name="connsiteY68" fmla="*/ 6784423 h 10480123"/>
                    <a:gd name="connsiteX69" fmla="*/ 952500 w 8610600"/>
                    <a:gd name="connsiteY69" fmla="*/ 678442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048000 w 8610600"/>
                    <a:gd name="connsiteY73" fmla="*/ 7203523 h 10480123"/>
                    <a:gd name="connsiteX74" fmla="*/ 3009900 w 8610600"/>
                    <a:gd name="connsiteY74" fmla="*/ 7394023 h 10480123"/>
                    <a:gd name="connsiteX75" fmla="*/ 3143250 w 8610600"/>
                    <a:gd name="connsiteY75" fmla="*/ 7432123 h 10480123"/>
                    <a:gd name="connsiteX76" fmla="*/ 3276600 w 8610600"/>
                    <a:gd name="connsiteY76" fmla="*/ 7432123 h 10480123"/>
                    <a:gd name="connsiteX77" fmla="*/ 3295650 w 8610600"/>
                    <a:gd name="connsiteY77" fmla="*/ 7546423 h 10480123"/>
                    <a:gd name="connsiteX78" fmla="*/ 3371850 w 8610600"/>
                    <a:gd name="connsiteY78" fmla="*/ 7603573 h 10480123"/>
                    <a:gd name="connsiteX79" fmla="*/ 3657600 w 8610600"/>
                    <a:gd name="connsiteY79" fmla="*/ 7641673 h 10480123"/>
                    <a:gd name="connsiteX80" fmla="*/ 3657600 w 8610600"/>
                    <a:gd name="connsiteY80" fmla="*/ 7641673 h 10480123"/>
                    <a:gd name="connsiteX81" fmla="*/ 3676650 w 8610600"/>
                    <a:gd name="connsiteY81" fmla="*/ 7813123 h 10480123"/>
                    <a:gd name="connsiteX82" fmla="*/ 3924300 w 8610600"/>
                    <a:gd name="connsiteY82" fmla="*/ 7851223 h 10480123"/>
                    <a:gd name="connsiteX83" fmla="*/ 4341019 w 8610600"/>
                    <a:gd name="connsiteY83" fmla="*/ 7805979 h 10480123"/>
                    <a:gd name="connsiteX84" fmla="*/ 4724400 w 8610600"/>
                    <a:gd name="connsiteY84" fmla="*/ 7717873 h 10480123"/>
                    <a:gd name="connsiteX85" fmla="*/ 5098256 w 8610600"/>
                    <a:gd name="connsiteY85" fmla="*/ 7663104 h 10480123"/>
                    <a:gd name="connsiteX86" fmla="*/ 5272088 w 8610600"/>
                    <a:gd name="connsiteY86" fmla="*/ 7591667 h 10480123"/>
                    <a:gd name="connsiteX87" fmla="*/ 5391150 w 8610600"/>
                    <a:gd name="connsiteY87" fmla="*/ 7584523 h 10480123"/>
                    <a:gd name="connsiteX88" fmla="*/ 5657850 w 8610600"/>
                    <a:gd name="connsiteY88" fmla="*/ 7584523 h 10480123"/>
                    <a:gd name="connsiteX89" fmla="*/ 5867400 w 8610600"/>
                    <a:gd name="connsiteY89" fmla="*/ 7698823 h 10480123"/>
                    <a:gd name="connsiteX90" fmla="*/ 5753100 w 8610600"/>
                    <a:gd name="connsiteY90" fmla="*/ 7279723 h 10480123"/>
                    <a:gd name="connsiteX91" fmla="*/ 5581650 w 8610600"/>
                    <a:gd name="connsiteY91" fmla="*/ 6955873 h 10480123"/>
                    <a:gd name="connsiteX92" fmla="*/ 5391150 w 8610600"/>
                    <a:gd name="connsiteY92" fmla="*/ 6670123 h 10480123"/>
                    <a:gd name="connsiteX93" fmla="*/ 5281613 w 8610600"/>
                    <a:gd name="connsiteY93" fmla="*/ 6617736 h 10480123"/>
                    <a:gd name="connsiteX94" fmla="*/ 4910138 w 8610600"/>
                    <a:gd name="connsiteY94" fmla="*/ 6546298 h 10480123"/>
                    <a:gd name="connsiteX95" fmla="*/ 4629150 w 8610600"/>
                    <a:gd name="connsiteY95" fmla="*/ 6346273 h 10480123"/>
                    <a:gd name="connsiteX96" fmla="*/ 4286250 w 8610600"/>
                    <a:gd name="connsiteY96" fmla="*/ 6384373 h 10480123"/>
                    <a:gd name="connsiteX97" fmla="*/ 3874294 w 8610600"/>
                    <a:gd name="connsiteY97" fmla="*/ 6558204 h 10480123"/>
                    <a:gd name="connsiteX98" fmla="*/ 3600450 w 8610600"/>
                    <a:gd name="connsiteY98" fmla="*/ 6670123 h 10480123"/>
                    <a:gd name="connsiteX99" fmla="*/ 3181350 w 8610600"/>
                    <a:gd name="connsiteY99" fmla="*/ 5774773 h 10480123"/>
                    <a:gd name="connsiteX100" fmla="*/ 2724150 w 8610600"/>
                    <a:gd name="connsiteY100" fmla="*/ 4860373 h 10480123"/>
                    <a:gd name="connsiteX101" fmla="*/ 2381250 w 8610600"/>
                    <a:gd name="connsiteY101" fmla="*/ 4288873 h 10480123"/>
                    <a:gd name="connsiteX102" fmla="*/ 1962150 w 8610600"/>
                    <a:gd name="connsiteY102" fmla="*/ 3869773 h 10480123"/>
                    <a:gd name="connsiteX103" fmla="*/ 1619250 w 8610600"/>
                    <a:gd name="connsiteY103" fmla="*/ 3545923 h 10480123"/>
                    <a:gd name="connsiteX104" fmla="*/ 1009650 w 8610600"/>
                    <a:gd name="connsiteY104" fmla="*/ 3507823 h 10480123"/>
                    <a:gd name="connsiteX105" fmla="*/ 762000 w 8610600"/>
                    <a:gd name="connsiteY105" fmla="*/ 3545923 h 10480123"/>
                    <a:gd name="connsiteX106" fmla="*/ 838200 w 8610600"/>
                    <a:gd name="connsiteY106" fmla="*/ 2917273 h 10480123"/>
                    <a:gd name="connsiteX107" fmla="*/ 838200 w 8610600"/>
                    <a:gd name="connsiteY107" fmla="*/ 2479123 h 10480123"/>
                    <a:gd name="connsiteX108" fmla="*/ 971550 w 8610600"/>
                    <a:gd name="connsiteY108" fmla="*/ 1964773 h 10480123"/>
                    <a:gd name="connsiteX109" fmla="*/ 1028700 w 8610600"/>
                    <a:gd name="connsiteY109" fmla="*/ 1412323 h 10480123"/>
                    <a:gd name="connsiteX110" fmla="*/ 1295400 w 8610600"/>
                    <a:gd name="connsiteY110" fmla="*/ 859873 h 10480123"/>
                    <a:gd name="connsiteX111" fmla="*/ 1562100 w 8610600"/>
                    <a:gd name="connsiteY111" fmla="*/ 745573 h 10480123"/>
                    <a:gd name="connsiteX112" fmla="*/ 1809750 w 8610600"/>
                    <a:gd name="connsiteY112" fmla="*/ 726523 h 10480123"/>
                    <a:gd name="connsiteX113" fmla="*/ 2190750 w 8610600"/>
                    <a:gd name="connsiteY113" fmla="*/ 574123 h 10480123"/>
                    <a:gd name="connsiteX114" fmla="*/ 2457450 w 8610600"/>
                    <a:gd name="connsiteY114" fmla="*/ 478873 h 10480123"/>
                    <a:gd name="connsiteX115" fmla="*/ 2838450 w 8610600"/>
                    <a:gd name="connsiteY115" fmla="*/ 421723 h 10480123"/>
                    <a:gd name="connsiteX116" fmla="*/ 3219450 w 8610600"/>
                    <a:gd name="connsiteY116" fmla="*/ 174073 h 10480123"/>
                    <a:gd name="connsiteX117" fmla="*/ 2857500 w 8610600"/>
                    <a:gd name="connsiteY117" fmla="*/ 440773 h 10480123"/>
                    <a:gd name="connsiteX118" fmla="*/ 2381250 w 8610600"/>
                    <a:gd name="connsiteY118" fmla="*/ 707473 h 10480123"/>
                    <a:gd name="connsiteX119" fmla="*/ 2286000 w 8610600"/>
                    <a:gd name="connsiteY119" fmla="*/ 821773 h 10480123"/>
                    <a:gd name="connsiteX120" fmla="*/ 2400300 w 8610600"/>
                    <a:gd name="connsiteY120" fmla="*/ 840823 h 10480123"/>
                    <a:gd name="connsiteX121" fmla="*/ 2686050 w 8610600"/>
                    <a:gd name="connsiteY121" fmla="*/ 764623 h 10480123"/>
                    <a:gd name="connsiteX122" fmla="*/ 2895600 w 8610600"/>
                    <a:gd name="connsiteY122" fmla="*/ 707473 h 10480123"/>
                    <a:gd name="connsiteX123" fmla="*/ 3143250 w 8610600"/>
                    <a:gd name="connsiteY123" fmla="*/ 555073 h 10480123"/>
                    <a:gd name="connsiteX124" fmla="*/ 3143250 w 8610600"/>
                    <a:gd name="connsiteY124" fmla="*/ 669373 h 10480123"/>
                    <a:gd name="connsiteX125" fmla="*/ 3143250 w 8610600"/>
                    <a:gd name="connsiteY125" fmla="*/ 955123 h 10480123"/>
                    <a:gd name="connsiteX126" fmla="*/ 3314700 w 8610600"/>
                    <a:gd name="connsiteY126" fmla="*/ 1202773 h 10480123"/>
                    <a:gd name="connsiteX127" fmla="*/ 3067050 w 8610600"/>
                    <a:gd name="connsiteY127" fmla="*/ 2802973 h 10480123"/>
                    <a:gd name="connsiteX128" fmla="*/ 3009900 w 8610600"/>
                    <a:gd name="connsiteY128" fmla="*/ 3488773 h 10480123"/>
                    <a:gd name="connsiteX129" fmla="*/ 3162300 w 8610600"/>
                    <a:gd name="connsiteY129" fmla="*/ 4574623 h 10480123"/>
                    <a:gd name="connsiteX130" fmla="*/ 3314700 w 8610600"/>
                    <a:gd name="connsiteY130" fmla="*/ 5355673 h 10480123"/>
                    <a:gd name="connsiteX131" fmla="*/ 3429000 w 8610600"/>
                    <a:gd name="connsiteY131" fmla="*/ 6079573 h 10480123"/>
                    <a:gd name="connsiteX132" fmla="*/ 3714750 w 8610600"/>
                    <a:gd name="connsiteY132" fmla="*/ 5679523 h 10480123"/>
                    <a:gd name="connsiteX133" fmla="*/ 3886200 w 8610600"/>
                    <a:gd name="connsiteY133" fmla="*/ 5355673 h 10480123"/>
                    <a:gd name="connsiteX134" fmla="*/ 3981450 w 8610600"/>
                    <a:gd name="connsiteY134" fmla="*/ 4974673 h 10480123"/>
                    <a:gd name="connsiteX135" fmla="*/ 4248150 w 8610600"/>
                    <a:gd name="connsiteY135" fmla="*/ 4555573 h 10480123"/>
                    <a:gd name="connsiteX136" fmla="*/ 4476750 w 8610600"/>
                    <a:gd name="connsiteY136" fmla="*/ 4041223 h 10480123"/>
                    <a:gd name="connsiteX137" fmla="*/ 4876800 w 8610600"/>
                    <a:gd name="connsiteY137" fmla="*/ 3203023 h 10480123"/>
                    <a:gd name="connsiteX138" fmla="*/ 5181600 w 8610600"/>
                    <a:gd name="connsiteY138" fmla="*/ 2402923 h 10480123"/>
                    <a:gd name="connsiteX139" fmla="*/ 5410200 w 8610600"/>
                    <a:gd name="connsiteY139" fmla="*/ 1679023 h 10480123"/>
                    <a:gd name="connsiteX140" fmla="*/ 5638800 w 8610600"/>
                    <a:gd name="connsiteY140" fmla="*/ 993223 h 10480123"/>
                    <a:gd name="connsiteX141" fmla="*/ 6057900 w 8610600"/>
                    <a:gd name="connsiteY141" fmla="*/ 1336123 h 10480123"/>
                    <a:gd name="connsiteX142" fmla="*/ 6076950 w 8610600"/>
                    <a:gd name="connsiteY142" fmla="*/ 1583773 h 10480123"/>
                    <a:gd name="connsiteX143" fmla="*/ 6153150 w 8610600"/>
                    <a:gd name="connsiteY143" fmla="*/ 1659973 h 10480123"/>
                    <a:gd name="connsiteX144" fmla="*/ 6229350 w 8610600"/>
                    <a:gd name="connsiteY144" fmla="*/ 1488523 h 10480123"/>
                    <a:gd name="connsiteX145" fmla="*/ 6286500 w 8610600"/>
                    <a:gd name="connsiteY145" fmla="*/ 1164673 h 10480123"/>
                    <a:gd name="connsiteX146" fmla="*/ 6229350 w 8610600"/>
                    <a:gd name="connsiteY146" fmla="*/ 707473 h 10480123"/>
                    <a:gd name="connsiteX147" fmla="*/ 6096000 w 8610600"/>
                    <a:gd name="connsiteY147" fmla="*/ 193123 h 10480123"/>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66750 w 8610600"/>
                    <a:gd name="connsiteY68" fmla="*/ 6784423 h 10480123"/>
                    <a:gd name="connsiteX69" fmla="*/ 952500 w 8610600"/>
                    <a:gd name="connsiteY69" fmla="*/ 678442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048000 w 8610600"/>
                    <a:gd name="connsiteY73" fmla="*/ 7203523 h 10480123"/>
                    <a:gd name="connsiteX74" fmla="*/ 3009900 w 8610600"/>
                    <a:gd name="connsiteY74" fmla="*/ 7394023 h 10480123"/>
                    <a:gd name="connsiteX75" fmla="*/ 3143250 w 8610600"/>
                    <a:gd name="connsiteY75" fmla="*/ 7432123 h 10480123"/>
                    <a:gd name="connsiteX76" fmla="*/ 3276600 w 8610600"/>
                    <a:gd name="connsiteY76" fmla="*/ 7432123 h 10480123"/>
                    <a:gd name="connsiteX77" fmla="*/ 3295650 w 8610600"/>
                    <a:gd name="connsiteY77" fmla="*/ 7546423 h 10480123"/>
                    <a:gd name="connsiteX78" fmla="*/ 3371850 w 8610600"/>
                    <a:gd name="connsiteY78" fmla="*/ 7603573 h 10480123"/>
                    <a:gd name="connsiteX79" fmla="*/ 3657600 w 8610600"/>
                    <a:gd name="connsiteY79" fmla="*/ 7641673 h 10480123"/>
                    <a:gd name="connsiteX80" fmla="*/ 3657600 w 8610600"/>
                    <a:gd name="connsiteY80" fmla="*/ 7641673 h 10480123"/>
                    <a:gd name="connsiteX81" fmla="*/ 3698081 w 8610600"/>
                    <a:gd name="connsiteY81" fmla="*/ 7789311 h 10480123"/>
                    <a:gd name="connsiteX82" fmla="*/ 3924300 w 8610600"/>
                    <a:gd name="connsiteY82" fmla="*/ 7851223 h 10480123"/>
                    <a:gd name="connsiteX83" fmla="*/ 4341019 w 8610600"/>
                    <a:gd name="connsiteY83" fmla="*/ 7805979 h 10480123"/>
                    <a:gd name="connsiteX84" fmla="*/ 4724400 w 8610600"/>
                    <a:gd name="connsiteY84" fmla="*/ 7717873 h 10480123"/>
                    <a:gd name="connsiteX85" fmla="*/ 5098256 w 8610600"/>
                    <a:gd name="connsiteY85" fmla="*/ 7663104 h 10480123"/>
                    <a:gd name="connsiteX86" fmla="*/ 5272088 w 8610600"/>
                    <a:gd name="connsiteY86" fmla="*/ 7591667 h 10480123"/>
                    <a:gd name="connsiteX87" fmla="*/ 5391150 w 8610600"/>
                    <a:gd name="connsiteY87" fmla="*/ 7584523 h 10480123"/>
                    <a:gd name="connsiteX88" fmla="*/ 5657850 w 8610600"/>
                    <a:gd name="connsiteY88" fmla="*/ 7584523 h 10480123"/>
                    <a:gd name="connsiteX89" fmla="*/ 5867400 w 8610600"/>
                    <a:gd name="connsiteY89" fmla="*/ 7698823 h 10480123"/>
                    <a:gd name="connsiteX90" fmla="*/ 5753100 w 8610600"/>
                    <a:gd name="connsiteY90" fmla="*/ 7279723 h 10480123"/>
                    <a:gd name="connsiteX91" fmla="*/ 5581650 w 8610600"/>
                    <a:gd name="connsiteY91" fmla="*/ 6955873 h 10480123"/>
                    <a:gd name="connsiteX92" fmla="*/ 5391150 w 8610600"/>
                    <a:gd name="connsiteY92" fmla="*/ 6670123 h 10480123"/>
                    <a:gd name="connsiteX93" fmla="*/ 5281613 w 8610600"/>
                    <a:gd name="connsiteY93" fmla="*/ 6617736 h 10480123"/>
                    <a:gd name="connsiteX94" fmla="*/ 4910138 w 8610600"/>
                    <a:gd name="connsiteY94" fmla="*/ 6546298 h 10480123"/>
                    <a:gd name="connsiteX95" fmla="*/ 4629150 w 8610600"/>
                    <a:gd name="connsiteY95" fmla="*/ 6346273 h 10480123"/>
                    <a:gd name="connsiteX96" fmla="*/ 4286250 w 8610600"/>
                    <a:gd name="connsiteY96" fmla="*/ 6384373 h 10480123"/>
                    <a:gd name="connsiteX97" fmla="*/ 3874294 w 8610600"/>
                    <a:gd name="connsiteY97" fmla="*/ 6558204 h 10480123"/>
                    <a:gd name="connsiteX98" fmla="*/ 3600450 w 8610600"/>
                    <a:gd name="connsiteY98" fmla="*/ 6670123 h 10480123"/>
                    <a:gd name="connsiteX99" fmla="*/ 3181350 w 8610600"/>
                    <a:gd name="connsiteY99" fmla="*/ 5774773 h 10480123"/>
                    <a:gd name="connsiteX100" fmla="*/ 2724150 w 8610600"/>
                    <a:gd name="connsiteY100" fmla="*/ 4860373 h 10480123"/>
                    <a:gd name="connsiteX101" fmla="*/ 2381250 w 8610600"/>
                    <a:gd name="connsiteY101" fmla="*/ 4288873 h 10480123"/>
                    <a:gd name="connsiteX102" fmla="*/ 1962150 w 8610600"/>
                    <a:gd name="connsiteY102" fmla="*/ 3869773 h 10480123"/>
                    <a:gd name="connsiteX103" fmla="*/ 1619250 w 8610600"/>
                    <a:gd name="connsiteY103" fmla="*/ 3545923 h 10480123"/>
                    <a:gd name="connsiteX104" fmla="*/ 1009650 w 8610600"/>
                    <a:gd name="connsiteY104" fmla="*/ 3507823 h 10480123"/>
                    <a:gd name="connsiteX105" fmla="*/ 762000 w 8610600"/>
                    <a:gd name="connsiteY105" fmla="*/ 3545923 h 10480123"/>
                    <a:gd name="connsiteX106" fmla="*/ 838200 w 8610600"/>
                    <a:gd name="connsiteY106" fmla="*/ 2917273 h 10480123"/>
                    <a:gd name="connsiteX107" fmla="*/ 838200 w 8610600"/>
                    <a:gd name="connsiteY107" fmla="*/ 2479123 h 10480123"/>
                    <a:gd name="connsiteX108" fmla="*/ 971550 w 8610600"/>
                    <a:gd name="connsiteY108" fmla="*/ 1964773 h 10480123"/>
                    <a:gd name="connsiteX109" fmla="*/ 1028700 w 8610600"/>
                    <a:gd name="connsiteY109" fmla="*/ 1412323 h 10480123"/>
                    <a:gd name="connsiteX110" fmla="*/ 1295400 w 8610600"/>
                    <a:gd name="connsiteY110" fmla="*/ 859873 h 10480123"/>
                    <a:gd name="connsiteX111" fmla="*/ 1562100 w 8610600"/>
                    <a:gd name="connsiteY111" fmla="*/ 745573 h 10480123"/>
                    <a:gd name="connsiteX112" fmla="*/ 1809750 w 8610600"/>
                    <a:gd name="connsiteY112" fmla="*/ 726523 h 10480123"/>
                    <a:gd name="connsiteX113" fmla="*/ 2190750 w 8610600"/>
                    <a:gd name="connsiteY113" fmla="*/ 574123 h 10480123"/>
                    <a:gd name="connsiteX114" fmla="*/ 2457450 w 8610600"/>
                    <a:gd name="connsiteY114" fmla="*/ 478873 h 10480123"/>
                    <a:gd name="connsiteX115" fmla="*/ 2838450 w 8610600"/>
                    <a:gd name="connsiteY115" fmla="*/ 421723 h 10480123"/>
                    <a:gd name="connsiteX116" fmla="*/ 3219450 w 8610600"/>
                    <a:gd name="connsiteY116" fmla="*/ 174073 h 10480123"/>
                    <a:gd name="connsiteX117" fmla="*/ 2857500 w 8610600"/>
                    <a:gd name="connsiteY117" fmla="*/ 440773 h 10480123"/>
                    <a:gd name="connsiteX118" fmla="*/ 2381250 w 8610600"/>
                    <a:gd name="connsiteY118" fmla="*/ 707473 h 10480123"/>
                    <a:gd name="connsiteX119" fmla="*/ 2286000 w 8610600"/>
                    <a:gd name="connsiteY119" fmla="*/ 821773 h 10480123"/>
                    <a:gd name="connsiteX120" fmla="*/ 2400300 w 8610600"/>
                    <a:gd name="connsiteY120" fmla="*/ 840823 h 10480123"/>
                    <a:gd name="connsiteX121" fmla="*/ 2686050 w 8610600"/>
                    <a:gd name="connsiteY121" fmla="*/ 764623 h 10480123"/>
                    <a:gd name="connsiteX122" fmla="*/ 2895600 w 8610600"/>
                    <a:gd name="connsiteY122" fmla="*/ 707473 h 10480123"/>
                    <a:gd name="connsiteX123" fmla="*/ 3143250 w 8610600"/>
                    <a:gd name="connsiteY123" fmla="*/ 555073 h 10480123"/>
                    <a:gd name="connsiteX124" fmla="*/ 3143250 w 8610600"/>
                    <a:gd name="connsiteY124" fmla="*/ 669373 h 10480123"/>
                    <a:gd name="connsiteX125" fmla="*/ 3143250 w 8610600"/>
                    <a:gd name="connsiteY125" fmla="*/ 955123 h 10480123"/>
                    <a:gd name="connsiteX126" fmla="*/ 3314700 w 8610600"/>
                    <a:gd name="connsiteY126" fmla="*/ 1202773 h 10480123"/>
                    <a:gd name="connsiteX127" fmla="*/ 3067050 w 8610600"/>
                    <a:gd name="connsiteY127" fmla="*/ 2802973 h 10480123"/>
                    <a:gd name="connsiteX128" fmla="*/ 3009900 w 8610600"/>
                    <a:gd name="connsiteY128" fmla="*/ 3488773 h 10480123"/>
                    <a:gd name="connsiteX129" fmla="*/ 3162300 w 8610600"/>
                    <a:gd name="connsiteY129" fmla="*/ 4574623 h 10480123"/>
                    <a:gd name="connsiteX130" fmla="*/ 3314700 w 8610600"/>
                    <a:gd name="connsiteY130" fmla="*/ 5355673 h 10480123"/>
                    <a:gd name="connsiteX131" fmla="*/ 3429000 w 8610600"/>
                    <a:gd name="connsiteY131" fmla="*/ 6079573 h 10480123"/>
                    <a:gd name="connsiteX132" fmla="*/ 3714750 w 8610600"/>
                    <a:gd name="connsiteY132" fmla="*/ 5679523 h 10480123"/>
                    <a:gd name="connsiteX133" fmla="*/ 3886200 w 8610600"/>
                    <a:gd name="connsiteY133" fmla="*/ 5355673 h 10480123"/>
                    <a:gd name="connsiteX134" fmla="*/ 3981450 w 8610600"/>
                    <a:gd name="connsiteY134" fmla="*/ 4974673 h 10480123"/>
                    <a:gd name="connsiteX135" fmla="*/ 4248150 w 8610600"/>
                    <a:gd name="connsiteY135" fmla="*/ 4555573 h 10480123"/>
                    <a:gd name="connsiteX136" fmla="*/ 4476750 w 8610600"/>
                    <a:gd name="connsiteY136" fmla="*/ 4041223 h 10480123"/>
                    <a:gd name="connsiteX137" fmla="*/ 4876800 w 8610600"/>
                    <a:gd name="connsiteY137" fmla="*/ 3203023 h 10480123"/>
                    <a:gd name="connsiteX138" fmla="*/ 5181600 w 8610600"/>
                    <a:gd name="connsiteY138" fmla="*/ 2402923 h 10480123"/>
                    <a:gd name="connsiteX139" fmla="*/ 5410200 w 8610600"/>
                    <a:gd name="connsiteY139" fmla="*/ 1679023 h 10480123"/>
                    <a:gd name="connsiteX140" fmla="*/ 5638800 w 8610600"/>
                    <a:gd name="connsiteY140" fmla="*/ 993223 h 10480123"/>
                    <a:gd name="connsiteX141" fmla="*/ 6057900 w 8610600"/>
                    <a:gd name="connsiteY141" fmla="*/ 1336123 h 10480123"/>
                    <a:gd name="connsiteX142" fmla="*/ 6076950 w 8610600"/>
                    <a:gd name="connsiteY142" fmla="*/ 1583773 h 10480123"/>
                    <a:gd name="connsiteX143" fmla="*/ 6153150 w 8610600"/>
                    <a:gd name="connsiteY143" fmla="*/ 1659973 h 10480123"/>
                    <a:gd name="connsiteX144" fmla="*/ 6229350 w 8610600"/>
                    <a:gd name="connsiteY144" fmla="*/ 1488523 h 10480123"/>
                    <a:gd name="connsiteX145" fmla="*/ 6286500 w 8610600"/>
                    <a:gd name="connsiteY145" fmla="*/ 1164673 h 10480123"/>
                    <a:gd name="connsiteX146" fmla="*/ 6229350 w 8610600"/>
                    <a:gd name="connsiteY146" fmla="*/ 707473 h 10480123"/>
                    <a:gd name="connsiteX147" fmla="*/ 6096000 w 8610600"/>
                    <a:gd name="connsiteY147" fmla="*/ 193123 h 10480123"/>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66750 w 8610600"/>
                    <a:gd name="connsiteY68" fmla="*/ 6784423 h 10480123"/>
                    <a:gd name="connsiteX69" fmla="*/ 952500 w 8610600"/>
                    <a:gd name="connsiteY69" fmla="*/ 678442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048000 w 8610600"/>
                    <a:gd name="connsiteY73" fmla="*/ 7203523 h 10480123"/>
                    <a:gd name="connsiteX74" fmla="*/ 3009900 w 8610600"/>
                    <a:gd name="connsiteY74" fmla="*/ 7394023 h 10480123"/>
                    <a:gd name="connsiteX75" fmla="*/ 3143250 w 8610600"/>
                    <a:gd name="connsiteY75" fmla="*/ 7432123 h 10480123"/>
                    <a:gd name="connsiteX76" fmla="*/ 3276600 w 8610600"/>
                    <a:gd name="connsiteY76" fmla="*/ 7432123 h 10480123"/>
                    <a:gd name="connsiteX77" fmla="*/ 3295650 w 8610600"/>
                    <a:gd name="connsiteY77" fmla="*/ 7546423 h 10480123"/>
                    <a:gd name="connsiteX78" fmla="*/ 3371850 w 8610600"/>
                    <a:gd name="connsiteY78" fmla="*/ 7603573 h 10480123"/>
                    <a:gd name="connsiteX79" fmla="*/ 3657600 w 8610600"/>
                    <a:gd name="connsiteY79" fmla="*/ 7641673 h 10480123"/>
                    <a:gd name="connsiteX80" fmla="*/ 3657600 w 8610600"/>
                    <a:gd name="connsiteY80" fmla="*/ 7641673 h 10480123"/>
                    <a:gd name="connsiteX81" fmla="*/ 3698081 w 8610600"/>
                    <a:gd name="connsiteY81" fmla="*/ 7789311 h 10480123"/>
                    <a:gd name="connsiteX82" fmla="*/ 3926681 w 8610600"/>
                    <a:gd name="connsiteY82" fmla="*/ 7836936 h 10480123"/>
                    <a:gd name="connsiteX83" fmla="*/ 4341019 w 8610600"/>
                    <a:gd name="connsiteY83" fmla="*/ 7805979 h 10480123"/>
                    <a:gd name="connsiteX84" fmla="*/ 4724400 w 8610600"/>
                    <a:gd name="connsiteY84" fmla="*/ 7717873 h 10480123"/>
                    <a:gd name="connsiteX85" fmla="*/ 5098256 w 8610600"/>
                    <a:gd name="connsiteY85" fmla="*/ 7663104 h 10480123"/>
                    <a:gd name="connsiteX86" fmla="*/ 5272088 w 8610600"/>
                    <a:gd name="connsiteY86" fmla="*/ 7591667 h 10480123"/>
                    <a:gd name="connsiteX87" fmla="*/ 5391150 w 8610600"/>
                    <a:gd name="connsiteY87" fmla="*/ 7584523 h 10480123"/>
                    <a:gd name="connsiteX88" fmla="*/ 5657850 w 8610600"/>
                    <a:gd name="connsiteY88" fmla="*/ 7584523 h 10480123"/>
                    <a:gd name="connsiteX89" fmla="*/ 5867400 w 8610600"/>
                    <a:gd name="connsiteY89" fmla="*/ 7698823 h 10480123"/>
                    <a:gd name="connsiteX90" fmla="*/ 5753100 w 8610600"/>
                    <a:gd name="connsiteY90" fmla="*/ 7279723 h 10480123"/>
                    <a:gd name="connsiteX91" fmla="*/ 5581650 w 8610600"/>
                    <a:gd name="connsiteY91" fmla="*/ 6955873 h 10480123"/>
                    <a:gd name="connsiteX92" fmla="*/ 5391150 w 8610600"/>
                    <a:gd name="connsiteY92" fmla="*/ 6670123 h 10480123"/>
                    <a:gd name="connsiteX93" fmla="*/ 5281613 w 8610600"/>
                    <a:gd name="connsiteY93" fmla="*/ 6617736 h 10480123"/>
                    <a:gd name="connsiteX94" fmla="*/ 4910138 w 8610600"/>
                    <a:gd name="connsiteY94" fmla="*/ 6546298 h 10480123"/>
                    <a:gd name="connsiteX95" fmla="*/ 4629150 w 8610600"/>
                    <a:gd name="connsiteY95" fmla="*/ 6346273 h 10480123"/>
                    <a:gd name="connsiteX96" fmla="*/ 4286250 w 8610600"/>
                    <a:gd name="connsiteY96" fmla="*/ 6384373 h 10480123"/>
                    <a:gd name="connsiteX97" fmla="*/ 3874294 w 8610600"/>
                    <a:gd name="connsiteY97" fmla="*/ 6558204 h 10480123"/>
                    <a:gd name="connsiteX98" fmla="*/ 3600450 w 8610600"/>
                    <a:gd name="connsiteY98" fmla="*/ 6670123 h 10480123"/>
                    <a:gd name="connsiteX99" fmla="*/ 3181350 w 8610600"/>
                    <a:gd name="connsiteY99" fmla="*/ 5774773 h 10480123"/>
                    <a:gd name="connsiteX100" fmla="*/ 2724150 w 8610600"/>
                    <a:gd name="connsiteY100" fmla="*/ 4860373 h 10480123"/>
                    <a:gd name="connsiteX101" fmla="*/ 2381250 w 8610600"/>
                    <a:gd name="connsiteY101" fmla="*/ 4288873 h 10480123"/>
                    <a:gd name="connsiteX102" fmla="*/ 1962150 w 8610600"/>
                    <a:gd name="connsiteY102" fmla="*/ 3869773 h 10480123"/>
                    <a:gd name="connsiteX103" fmla="*/ 1619250 w 8610600"/>
                    <a:gd name="connsiteY103" fmla="*/ 3545923 h 10480123"/>
                    <a:gd name="connsiteX104" fmla="*/ 1009650 w 8610600"/>
                    <a:gd name="connsiteY104" fmla="*/ 3507823 h 10480123"/>
                    <a:gd name="connsiteX105" fmla="*/ 762000 w 8610600"/>
                    <a:gd name="connsiteY105" fmla="*/ 3545923 h 10480123"/>
                    <a:gd name="connsiteX106" fmla="*/ 838200 w 8610600"/>
                    <a:gd name="connsiteY106" fmla="*/ 2917273 h 10480123"/>
                    <a:gd name="connsiteX107" fmla="*/ 838200 w 8610600"/>
                    <a:gd name="connsiteY107" fmla="*/ 2479123 h 10480123"/>
                    <a:gd name="connsiteX108" fmla="*/ 971550 w 8610600"/>
                    <a:gd name="connsiteY108" fmla="*/ 1964773 h 10480123"/>
                    <a:gd name="connsiteX109" fmla="*/ 1028700 w 8610600"/>
                    <a:gd name="connsiteY109" fmla="*/ 1412323 h 10480123"/>
                    <a:gd name="connsiteX110" fmla="*/ 1295400 w 8610600"/>
                    <a:gd name="connsiteY110" fmla="*/ 859873 h 10480123"/>
                    <a:gd name="connsiteX111" fmla="*/ 1562100 w 8610600"/>
                    <a:gd name="connsiteY111" fmla="*/ 745573 h 10480123"/>
                    <a:gd name="connsiteX112" fmla="*/ 1809750 w 8610600"/>
                    <a:gd name="connsiteY112" fmla="*/ 726523 h 10480123"/>
                    <a:gd name="connsiteX113" fmla="*/ 2190750 w 8610600"/>
                    <a:gd name="connsiteY113" fmla="*/ 574123 h 10480123"/>
                    <a:gd name="connsiteX114" fmla="*/ 2457450 w 8610600"/>
                    <a:gd name="connsiteY114" fmla="*/ 478873 h 10480123"/>
                    <a:gd name="connsiteX115" fmla="*/ 2838450 w 8610600"/>
                    <a:gd name="connsiteY115" fmla="*/ 421723 h 10480123"/>
                    <a:gd name="connsiteX116" fmla="*/ 3219450 w 8610600"/>
                    <a:gd name="connsiteY116" fmla="*/ 174073 h 10480123"/>
                    <a:gd name="connsiteX117" fmla="*/ 2857500 w 8610600"/>
                    <a:gd name="connsiteY117" fmla="*/ 440773 h 10480123"/>
                    <a:gd name="connsiteX118" fmla="*/ 2381250 w 8610600"/>
                    <a:gd name="connsiteY118" fmla="*/ 707473 h 10480123"/>
                    <a:gd name="connsiteX119" fmla="*/ 2286000 w 8610600"/>
                    <a:gd name="connsiteY119" fmla="*/ 821773 h 10480123"/>
                    <a:gd name="connsiteX120" fmla="*/ 2400300 w 8610600"/>
                    <a:gd name="connsiteY120" fmla="*/ 840823 h 10480123"/>
                    <a:gd name="connsiteX121" fmla="*/ 2686050 w 8610600"/>
                    <a:gd name="connsiteY121" fmla="*/ 764623 h 10480123"/>
                    <a:gd name="connsiteX122" fmla="*/ 2895600 w 8610600"/>
                    <a:gd name="connsiteY122" fmla="*/ 707473 h 10480123"/>
                    <a:gd name="connsiteX123" fmla="*/ 3143250 w 8610600"/>
                    <a:gd name="connsiteY123" fmla="*/ 555073 h 10480123"/>
                    <a:gd name="connsiteX124" fmla="*/ 3143250 w 8610600"/>
                    <a:gd name="connsiteY124" fmla="*/ 669373 h 10480123"/>
                    <a:gd name="connsiteX125" fmla="*/ 3143250 w 8610600"/>
                    <a:gd name="connsiteY125" fmla="*/ 955123 h 10480123"/>
                    <a:gd name="connsiteX126" fmla="*/ 3314700 w 8610600"/>
                    <a:gd name="connsiteY126" fmla="*/ 1202773 h 10480123"/>
                    <a:gd name="connsiteX127" fmla="*/ 3067050 w 8610600"/>
                    <a:gd name="connsiteY127" fmla="*/ 2802973 h 10480123"/>
                    <a:gd name="connsiteX128" fmla="*/ 3009900 w 8610600"/>
                    <a:gd name="connsiteY128" fmla="*/ 3488773 h 10480123"/>
                    <a:gd name="connsiteX129" fmla="*/ 3162300 w 8610600"/>
                    <a:gd name="connsiteY129" fmla="*/ 4574623 h 10480123"/>
                    <a:gd name="connsiteX130" fmla="*/ 3314700 w 8610600"/>
                    <a:gd name="connsiteY130" fmla="*/ 5355673 h 10480123"/>
                    <a:gd name="connsiteX131" fmla="*/ 3429000 w 8610600"/>
                    <a:gd name="connsiteY131" fmla="*/ 6079573 h 10480123"/>
                    <a:gd name="connsiteX132" fmla="*/ 3714750 w 8610600"/>
                    <a:gd name="connsiteY132" fmla="*/ 5679523 h 10480123"/>
                    <a:gd name="connsiteX133" fmla="*/ 3886200 w 8610600"/>
                    <a:gd name="connsiteY133" fmla="*/ 5355673 h 10480123"/>
                    <a:gd name="connsiteX134" fmla="*/ 3981450 w 8610600"/>
                    <a:gd name="connsiteY134" fmla="*/ 4974673 h 10480123"/>
                    <a:gd name="connsiteX135" fmla="*/ 4248150 w 8610600"/>
                    <a:gd name="connsiteY135" fmla="*/ 4555573 h 10480123"/>
                    <a:gd name="connsiteX136" fmla="*/ 4476750 w 8610600"/>
                    <a:gd name="connsiteY136" fmla="*/ 4041223 h 10480123"/>
                    <a:gd name="connsiteX137" fmla="*/ 4876800 w 8610600"/>
                    <a:gd name="connsiteY137" fmla="*/ 3203023 h 10480123"/>
                    <a:gd name="connsiteX138" fmla="*/ 5181600 w 8610600"/>
                    <a:gd name="connsiteY138" fmla="*/ 2402923 h 10480123"/>
                    <a:gd name="connsiteX139" fmla="*/ 5410200 w 8610600"/>
                    <a:gd name="connsiteY139" fmla="*/ 1679023 h 10480123"/>
                    <a:gd name="connsiteX140" fmla="*/ 5638800 w 8610600"/>
                    <a:gd name="connsiteY140" fmla="*/ 993223 h 10480123"/>
                    <a:gd name="connsiteX141" fmla="*/ 6057900 w 8610600"/>
                    <a:gd name="connsiteY141" fmla="*/ 1336123 h 10480123"/>
                    <a:gd name="connsiteX142" fmla="*/ 6076950 w 8610600"/>
                    <a:gd name="connsiteY142" fmla="*/ 1583773 h 10480123"/>
                    <a:gd name="connsiteX143" fmla="*/ 6153150 w 8610600"/>
                    <a:gd name="connsiteY143" fmla="*/ 1659973 h 10480123"/>
                    <a:gd name="connsiteX144" fmla="*/ 6229350 w 8610600"/>
                    <a:gd name="connsiteY144" fmla="*/ 1488523 h 10480123"/>
                    <a:gd name="connsiteX145" fmla="*/ 6286500 w 8610600"/>
                    <a:gd name="connsiteY145" fmla="*/ 1164673 h 10480123"/>
                    <a:gd name="connsiteX146" fmla="*/ 6229350 w 8610600"/>
                    <a:gd name="connsiteY146" fmla="*/ 707473 h 10480123"/>
                    <a:gd name="connsiteX147" fmla="*/ 6096000 w 8610600"/>
                    <a:gd name="connsiteY147" fmla="*/ 193123 h 10480123"/>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66750 w 8610600"/>
                    <a:gd name="connsiteY68" fmla="*/ 6784423 h 10480123"/>
                    <a:gd name="connsiteX69" fmla="*/ 952500 w 8610600"/>
                    <a:gd name="connsiteY69" fmla="*/ 678442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048000 w 8610600"/>
                    <a:gd name="connsiteY73" fmla="*/ 7203523 h 10480123"/>
                    <a:gd name="connsiteX74" fmla="*/ 3009900 w 8610600"/>
                    <a:gd name="connsiteY74" fmla="*/ 7394023 h 10480123"/>
                    <a:gd name="connsiteX75" fmla="*/ 3143250 w 8610600"/>
                    <a:gd name="connsiteY75" fmla="*/ 7432123 h 10480123"/>
                    <a:gd name="connsiteX76" fmla="*/ 3276600 w 8610600"/>
                    <a:gd name="connsiteY76" fmla="*/ 7432123 h 10480123"/>
                    <a:gd name="connsiteX77" fmla="*/ 3295650 w 8610600"/>
                    <a:gd name="connsiteY77" fmla="*/ 7546423 h 10480123"/>
                    <a:gd name="connsiteX78" fmla="*/ 3371850 w 8610600"/>
                    <a:gd name="connsiteY78" fmla="*/ 7603573 h 10480123"/>
                    <a:gd name="connsiteX79" fmla="*/ 3657600 w 8610600"/>
                    <a:gd name="connsiteY79" fmla="*/ 7641673 h 10480123"/>
                    <a:gd name="connsiteX80" fmla="*/ 3657600 w 8610600"/>
                    <a:gd name="connsiteY80" fmla="*/ 7641673 h 10480123"/>
                    <a:gd name="connsiteX81" fmla="*/ 3698081 w 8610600"/>
                    <a:gd name="connsiteY81" fmla="*/ 7789311 h 10480123"/>
                    <a:gd name="connsiteX82" fmla="*/ 3926681 w 8610600"/>
                    <a:gd name="connsiteY82" fmla="*/ 7836936 h 10480123"/>
                    <a:gd name="connsiteX83" fmla="*/ 4341019 w 8610600"/>
                    <a:gd name="connsiteY83" fmla="*/ 7805979 h 10480123"/>
                    <a:gd name="connsiteX84" fmla="*/ 4724400 w 8610600"/>
                    <a:gd name="connsiteY84" fmla="*/ 7717873 h 10480123"/>
                    <a:gd name="connsiteX85" fmla="*/ 5098256 w 8610600"/>
                    <a:gd name="connsiteY85" fmla="*/ 7663104 h 10480123"/>
                    <a:gd name="connsiteX86" fmla="*/ 5272088 w 8610600"/>
                    <a:gd name="connsiteY86" fmla="*/ 7591667 h 10480123"/>
                    <a:gd name="connsiteX87" fmla="*/ 5391150 w 8610600"/>
                    <a:gd name="connsiteY87" fmla="*/ 7584523 h 10480123"/>
                    <a:gd name="connsiteX88" fmla="*/ 5657850 w 8610600"/>
                    <a:gd name="connsiteY88" fmla="*/ 7584523 h 10480123"/>
                    <a:gd name="connsiteX89" fmla="*/ 5867400 w 8610600"/>
                    <a:gd name="connsiteY89" fmla="*/ 7698823 h 10480123"/>
                    <a:gd name="connsiteX90" fmla="*/ 5753100 w 8610600"/>
                    <a:gd name="connsiteY90" fmla="*/ 7279723 h 10480123"/>
                    <a:gd name="connsiteX91" fmla="*/ 5581650 w 8610600"/>
                    <a:gd name="connsiteY91" fmla="*/ 6955873 h 10480123"/>
                    <a:gd name="connsiteX92" fmla="*/ 5391150 w 8610600"/>
                    <a:gd name="connsiteY92" fmla="*/ 6670123 h 10480123"/>
                    <a:gd name="connsiteX93" fmla="*/ 5281613 w 8610600"/>
                    <a:gd name="connsiteY93" fmla="*/ 6617736 h 10480123"/>
                    <a:gd name="connsiteX94" fmla="*/ 4910138 w 8610600"/>
                    <a:gd name="connsiteY94" fmla="*/ 6546298 h 10480123"/>
                    <a:gd name="connsiteX95" fmla="*/ 4629150 w 8610600"/>
                    <a:gd name="connsiteY95" fmla="*/ 6346273 h 10480123"/>
                    <a:gd name="connsiteX96" fmla="*/ 4286250 w 8610600"/>
                    <a:gd name="connsiteY96" fmla="*/ 6384373 h 10480123"/>
                    <a:gd name="connsiteX97" fmla="*/ 3874294 w 8610600"/>
                    <a:gd name="connsiteY97" fmla="*/ 6558204 h 10480123"/>
                    <a:gd name="connsiteX98" fmla="*/ 3600450 w 8610600"/>
                    <a:gd name="connsiteY98" fmla="*/ 6670123 h 10480123"/>
                    <a:gd name="connsiteX99" fmla="*/ 3181350 w 8610600"/>
                    <a:gd name="connsiteY99" fmla="*/ 5774773 h 10480123"/>
                    <a:gd name="connsiteX100" fmla="*/ 2724150 w 8610600"/>
                    <a:gd name="connsiteY100" fmla="*/ 4860373 h 10480123"/>
                    <a:gd name="connsiteX101" fmla="*/ 2381250 w 8610600"/>
                    <a:gd name="connsiteY101" fmla="*/ 4288873 h 10480123"/>
                    <a:gd name="connsiteX102" fmla="*/ 1962150 w 8610600"/>
                    <a:gd name="connsiteY102" fmla="*/ 3869773 h 10480123"/>
                    <a:gd name="connsiteX103" fmla="*/ 1619250 w 8610600"/>
                    <a:gd name="connsiteY103" fmla="*/ 3545923 h 10480123"/>
                    <a:gd name="connsiteX104" fmla="*/ 1009650 w 8610600"/>
                    <a:gd name="connsiteY104" fmla="*/ 3507823 h 10480123"/>
                    <a:gd name="connsiteX105" fmla="*/ 762000 w 8610600"/>
                    <a:gd name="connsiteY105" fmla="*/ 3545923 h 10480123"/>
                    <a:gd name="connsiteX106" fmla="*/ 838200 w 8610600"/>
                    <a:gd name="connsiteY106" fmla="*/ 2917273 h 10480123"/>
                    <a:gd name="connsiteX107" fmla="*/ 838200 w 8610600"/>
                    <a:gd name="connsiteY107" fmla="*/ 2479123 h 10480123"/>
                    <a:gd name="connsiteX108" fmla="*/ 971550 w 8610600"/>
                    <a:gd name="connsiteY108" fmla="*/ 1964773 h 10480123"/>
                    <a:gd name="connsiteX109" fmla="*/ 1028700 w 8610600"/>
                    <a:gd name="connsiteY109" fmla="*/ 1412323 h 10480123"/>
                    <a:gd name="connsiteX110" fmla="*/ 1295400 w 8610600"/>
                    <a:gd name="connsiteY110" fmla="*/ 859873 h 10480123"/>
                    <a:gd name="connsiteX111" fmla="*/ 1562100 w 8610600"/>
                    <a:gd name="connsiteY111" fmla="*/ 745573 h 10480123"/>
                    <a:gd name="connsiteX112" fmla="*/ 1809750 w 8610600"/>
                    <a:gd name="connsiteY112" fmla="*/ 726523 h 10480123"/>
                    <a:gd name="connsiteX113" fmla="*/ 2190750 w 8610600"/>
                    <a:gd name="connsiteY113" fmla="*/ 574123 h 10480123"/>
                    <a:gd name="connsiteX114" fmla="*/ 2457450 w 8610600"/>
                    <a:gd name="connsiteY114" fmla="*/ 478873 h 10480123"/>
                    <a:gd name="connsiteX115" fmla="*/ 2838450 w 8610600"/>
                    <a:gd name="connsiteY115" fmla="*/ 421723 h 10480123"/>
                    <a:gd name="connsiteX116" fmla="*/ 3219450 w 8610600"/>
                    <a:gd name="connsiteY116" fmla="*/ 174073 h 10480123"/>
                    <a:gd name="connsiteX117" fmla="*/ 2857500 w 8610600"/>
                    <a:gd name="connsiteY117" fmla="*/ 440773 h 10480123"/>
                    <a:gd name="connsiteX118" fmla="*/ 2381250 w 8610600"/>
                    <a:gd name="connsiteY118" fmla="*/ 707473 h 10480123"/>
                    <a:gd name="connsiteX119" fmla="*/ 2286000 w 8610600"/>
                    <a:gd name="connsiteY119" fmla="*/ 821773 h 10480123"/>
                    <a:gd name="connsiteX120" fmla="*/ 2400300 w 8610600"/>
                    <a:gd name="connsiteY120" fmla="*/ 840823 h 10480123"/>
                    <a:gd name="connsiteX121" fmla="*/ 2686050 w 8610600"/>
                    <a:gd name="connsiteY121" fmla="*/ 764623 h 10480123"/>
                    <a:gd name="connsiteX122" fmla="*/ 2895600 w 8610600"/>
                    <a:gd name="connsiteY122" fmla="*/ 707473 h 10480123"/>
                    <a:gd name="connsiteX123" fmla="*/ 3143250 w 8610600"/>
                    <a:gd name="connsiteY123" fmla="*/ 555073 h 10480123"/>
                    <a:gd name="connsiteX124" fmla="*/ 3143250 w 8610600"/>
                    <a:gd name="connsiteY124" fmla="*/ 669373 h 10480123"/>
                    <a:gd name="connsiteX125" fmla="*/ 3143250 w 8610600"/>
                    <a:gd name="connsiteY125" fmla="*/ 955123 h 10480123"/>
                    <a:gd name="connsiteX126" fmla="*/ 3314700 w 8610600"/>
                    <a:gd name="connsiteY126" fmla="*/ 1202773 h 10480123"/>
                    <a:gd name="connsiteX127" fmla="*/ 3067050 w 8610600"/>
                    <a:gd name="connsiteY127" fmla="*/ 2802973 h 10480123"/>
                    <a:gd name="connsiteX128" fmla="*/ 3009900 w 8610600"/>
                    <a:gd name="connsiteY128" fmla="*/ 3488773 h 10480123"/>
                    <a:gd name="connsiteX129" fmla="*/ 3162300 w 8610600"/>
                    <a:gd name="connsiteY129" fmla="*/ 4574623 h 10480123"/>
                    <a:gd name="connsiteX130" fmla="*/ 3314700 w 8610600"/>
                    <a:gd name="connsiteY130" fmla="*/ 5355673 h 10480123"/>
                    <a:gd name="connsiteX131" fmla="*/ 3429000 w 8610600"/>
                    <a:gd name="connsiteY131" fmla="*/ 6079573 h 10480123"/>
                    <a:gd name="connsiteX132" fmla="*/ 3714750 w 8610600"/>
                    <a:gd name="connsiteY132" fmla="*/ 5679523 h 10480123"/>
                    <a:gd name="connsiteX133" fmla="*/ 3886200 w 8610600"/>
                    <a:gd name="connsiteY133" fmla="*/ 5355673 h 10480123"/>
                    <a:gd name="connsiteX134" fmla="*/ 3981450 w 8610600"/>
                    <a:gd name="connsiteY134" fmla="*/ 4974673 h 10480123"/>
                    <a:gd name="connsiteX135" fmla="*/ 4248150 w 8610600"/>
                    <a:gd name="connsiteY135" fmla="*/ 4555573 h 10480123"/>
                    <a:gd name="connsiteX136" fmla="*/ 4476750 w 8610600"/>
                    <a:gd name="connsiteY136" fmla="*/ 4041223 h 10480123"/>
                    <a:gd name="connsiteX137" fmla="*/ 4876800 w 8610600"/>
                    <a:gd name="connsiteY137" fmla="*/ 3203023 h 10480123"/>
                    <a:gd name="connsiteX138" fmla="*/ 5181600 w 8610600"/>
                    <a:gd name="connsiteY138" fmla="*/ 2402923 h 10480123"/>
                    <a:gd name="connsiteX139" fmla="*/ 5410200 w 8610600"/>
                    <a:gd name="connsiteY139" fmla="*/ 1679023 h 10480123"/>
                    <a:gd name="connsiteX140" fmla="*/ 5638800 w 8610600"/>
                    <a:gd name="connsiteY140" fmla="*/ 993223 h 10480123"/>
                    <a:gd name="connsiteX141" fmla="*/ 6057900 w 8610600"/>
                    <a:gd name="connsiteY141" fmla="*/ 1336123 h 10480123"/>
                    <a:gd name="connsiteX142" fmla="*/ 6076950 w 8610600"/>
                    <a:gd name="connsiteY142" fmla="*/ 1583773 h 10480123"/>
                    <a:gd name="connsiteX143" fmla="*/ 6153150 w 8610600"/>
                    <a:gd name="connsiteY143" fmla="*/ 1659973 h 10480123"/>
                    <a:gd name="connsiteX144" fmla="*/ 6229350 w 8610600"/>
                    <a:gd name="connsiteY144" fmla="*/ 1488523 h 10480123"/>
                    <a:gd name="connsiteX145" fmla="*/ 6286500 w 8610600"/>
                    <a:gd name="connsiteY145" fmla="*/ 1164673 h 10480123"/>
                    <a:gd name="connsiteX146" fmla="*/ 6229350 w 8610600"/>
                    <a:gd name="connsiteY146" fmla="*/ 707473 h 10480123"/>
                    <a:gd name="connsiteX147" fmla="*/ 6096000 w 8610600"/>
                    <a:gd name="connsiteY147" fmla="*/ 193123 h 10480123"/>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66750 w 8610600"/>
                    <a:gd name="connsiteY68" fmla="*/ 6784423 h 10480123"/>
                    <a:gd name="connsiteX69" fmla="*/ 952500 w 8610600"/>
                    <a:gd name="connsiteY69" fmla="*/ 678442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048000 w 8610600"/>
                    <a:gd name="connsiteY73" fmla="*/ 7203523 h 10480123"/>
                    <a:gd name="connsiteX74" fmla="*/ 3009900 w 8610600"/>
                    <a:gd name="connsiteY74" fmla="*/ 7394023 h 10480123"/>
                    <a:gd name="connsiteX75" fmla="*/ 3143250 w 8610600"/>
                    <a:gd name="connsiteY75" fmla="*/ 7432123 h 10480123"/>
                    <a:gd name="connsiteX76" fmla="*/ 3276600 w 8610600"/>
                    <a:gd name="connsiteY76" fmla="*/ 7432123 h 10480123"/>
                    <a:gd name="connsiteX77" fmla="*/ 3295650 w 8610600"/>
                    <a:gd name="connsiteY77" fmla="*/ 7546423 h 10480123"/>
                    <a:gd name="connsiteX78" fmla="*/ 3371850 w 8610600"/>
                    <a:gd name="connsiteY78" fmla="*/ 7603573 h 10480123"/>
                    <a:gd name="connsiteX79" fmla="*/ 3657600 w 8610600"/>
                    <a:gd name="connsiteY79" fmla="*/ 7641673 h 10480123"/>
                    <a:gd name="connsiteX80" fmla="*/ 3657600 w 8610600"/>
                    <a:gd name="connsiteY80" fmla="*/ 7641673 h 10480123"/>
                    <a:gd name="connsiteX81" fmla="*/ 3698081 w 8610600"/>
                    <a:gd name="connsiteY81" fmla="*/ 7789311 h 10480123"/>
                    <a:gd name="connsiteX82" fmla="*/ 3926681 w 8610600"/>
                    <a:gd name="connsiteY82" fmla="*/ 7836936 h 10480123"/>
                    <a:gd name="connsiteX83" fmla="*/ 4341019 w 8610600"/>
                    <a:gd name="connsiteY83" fmla="*/ 7805979 h 10480123"/>
                    <a:gd name="connsiteX84" fmla="*/ 4724400 w 8610600"/>
                    <a:gd name="connsiteY84" fmla="*/ 7717873 h 10480123"/>
                    <a:gd name="connsiteX85" fmla="*/ 5098256 w 8610600"/>
                    <a:gd name="connsiteY85" fmla="*/ 7663104 h 10480123"/>
                    <a:gd name="connsiteX86" fmla="*/ 5272088 w 8610600"/>
                    <a:gd name="connsiteY86" fmla="*/ 7591667 h 10480123"/>
                    <a:gd name="connsiteX87" fmla="*/ 5391150 w 8610600"/>
                    <a:gd name="connsiteY87" fmla="*/ 7584523 h 10480123"/>
                    <a:gd name="connsiteX88" fmla="*/ 5657850 w 8610600"/>
                    <a:gd name="connsiteY88" fmla="*/ 7584523 h 10480123"/>
                    <a:gd name="connsiteX89" fmla="*/ 5867400 w 8610600"/>
                    <a:gd name="connsiteY89" fmla="*/ 7698823 h 10480123"/>
                    <a:gd name="connsiteX90" fmla="*/ 5753100 w 8610600"/>
                    <a:gd name="connsiteY90" fmla="*/ 7279723 h 10480123"/>
                    <a:gd name="connsiteX91" fmla="*/ 5581650 w 8610600"/>
                    <a:gd name="connsiteY91" fmla="*/ 6955873 h 10480123"/>
                    <a:gd name="connsiteX92" fmla="*/ 5391150 w 8610600"/>
                    <a:gd name="connsiteY92" fmla="*/ 6670123 h 10480123"/>
                    <a:gd name="connsiteX93" fmla="*/ 5281613 w 8610600"/>
                    <a:gd name="connsiteY93" fmla="*/ 6617736 h 10480123"/>
                    <a:gd name="connsiteX94" fmla="*/ 4910138 w 8610600"/>
                    <a:gd name="connsiteY94" fmla="*/ 6546298 h 10480123"/>
                    <a:gd name="connsiteX95" fmla="*/ 4629150 w 8610600"/>
                    <a:gd name="connsiteY95" fmla="*/ 6346273 h 10480123"/>
                    <a:gd name="connsiteX96" fmla="*/ 4286250 w 8610600"/>
                    <a:gd name="connsiteY96" fmla="*/ 6384373 h 10480123"/>
                    <a:gd name="connsiteX97" fmla="*/ 3874294 w 8610600"/>
                    <a:gd name="connsiteY97" fmla="*/ 6558204 h 10480123"/>
                    <a:gd name="connsiteX98" fmla="*/ 3600450 w 8610600"/>
                    <a:gd name="connsiteY98" fmla="*/ 6670123 h 10480123"/>
                    <a:gd name="connsiteX99" fmla="*/ 3181350 w 8610600"/>
                    <a:gd name="connsiteY99" fmla="*/ 5774773 h 10480123"/>
                    <a:gd name="connsiteX100" fmla="*/ 2724150 w 8610600"/>
                    <a:gd name="connsiteY100" fmla="*/ 4860373 h 10480123"/>
                    <a:gd name="connsiteX101" fmla="*/ 2381250 w 8610600"/>
                    <a:gd name="connsiteY101" fmla="*/ 4288873 h 10480123"/>
                    <a:gd name="connsiteX102" fmla="*/ 1962150 w 8610600"/>
                    <a:gd name="connsiteY102" fmla="*/ 3869773 h 10480123"/>
                    <a:gd name="connsiteX103" fmla="*/ 1619250 w 8610600"/>
                    <a:gd name="connsiteY103" fmla="*/ 3545923 h 10480123"/>
                    <a:gd name="connsiteX104" fmla="*/ 1009650 w 8610600"/>
                    <a:gd name="connsiteY104" fmla="*/ 3507823 h 10480123"/>
                    <a:gd name="connsiteX105" fmla="*/ 762000 w 8610600"/>
                    <a:gd name="connsiteY105" fmla="*/ 3545923 h 10480123"/>
                    <a:gd name="connsiteX106" fmla="*/ 838200 w 8610600"/>
                    <a:gd name="connsiteY106" fmla="*/ 2917273 h 10480123"/>
                    <a:gd name="connsiteX107" fmla="*/ 838200 w 8610600"/>
                    <a:gd name="connsiteY107" fmla="*/ 2479123 h 10480123"/>
                    <a:gd name="connsiteX108" fmla="*/ 971550 w 8610600"/>
                    <a:gd name="connsiteY108" fmla="*/ 1964773 h 10480123"/>
                    <a:gd name="connsiteX109" fmla="*/ 1028700 w 8610600"/>
                    <a:gd name="connsiteY109" fmla="*/ 1412323 h 10480123"/>
                    <a:gd name="connsiteX110" fmla="*/ 1295400 w 8610600"/>
                    <a:gd name="connsiteY110" fmla="*/ 859873 h 10480123"/>
                    <a:gd name="connsiteX111" fmla="*/ 1562100 w 8610600"/>
                    <a:gd name="connsiteY111" fmla="*/ 745573 h 10480123"/>
                    <a:gd name="connsiteX112" fmla="*/ 1809750 w 8610600"/>
                    <a:gd name="connsiteY112" fmla="*/ 726523 h 10480123"/>
                    <a:gd name="connsiteX113" fmla="*/ 2190750 w 8610600"/>
                    <a:gd name="connsiteY113" fmla="*/ 574123 h 10480123"/>
                    <a:gd name="connsiteX114" fmla="*/ 2457450 w 8610600"/>
                    <a:gd name="connsiteY114" fmla="*/ 478873 h 10480123"/>
                    <a:gd name="connsiteX115" fmla="*/ 2838450 w 8610600"/>
                    <a:gd name="connsiteY115" fmla="*/ 421723 h 10480123"/>
                    <a:gd name="connsiteX116" fmla="*/ 3219450 w 8610600"/>
                    <a:gd name="connsiteY116" fmla="*/ 174073 h 10480123"/>
                    <a:gd name="connsiteX117" fmla="*/ 2857500 w 8610600"/>
                    <a:gd name="connsiteY117" fmla="*/ 440773 h 10480123"/>
                    <a:gd name="connsiteX118" fmla="*/ 2381250 w 8610600"/>
                    <a:gd name="connsiteY118" fmla="*/ 707473 h 10480123"/>
                    <a:gd name="connsiteX119" fmla="*/ 2286000 w 8610600"/>
                    <a:gd name="connsiteY119" fmla="*/ 821773 h 10480123"/>
                    <a:gd name="connsiteX120" fmla="*/ 2400300 w 8610600"/>
                    <a:gd name="connsiteY120" fmla="*/ 840823 h 10480123"/>
                    <a:gd name="connsiteX121" fmla="*/ 2686050 w 8610600"/>
                    <a:gd name="connsiteY121" fmla="*/ 764623 h 10480123"/>
                    <a:gd name="connsiteX122" fmla="*/ 2895600 w 8610600"/>
                    <a:gd name="connsiteY122" fmla="*/ 707473 h 10480123"/>
                    <a:gd name="connsiteX123" fmla="*/ 3143250 w 8610600"/>
                    <a:gd name="connsiteY123" fmla="*/ 555073 h 10480123"/>
                    <a:gd name="connsiteX124" fmla="*/ 3143250 w 8610600"/>
                    <a:gd name="connsiteY124" fmla="*/ 669373 h 10480123"/>
                    <a:gd name="connsiteX125" fmla="*/ 3143250 w 8610600"/>
                    <a:gd name="connsiteY125" fmla="*/ 955123 h 10480123"/>
                    <a:gd name="connsiteX126" fmla="*/ 3314700 w 8610600"/>
                    <a:gd name="connsiteY126" fmla="*/ 1202773 h 10480123"/>
                    <a:gd name="connsiteX127" fmla="*/ 3067050 w 8610600"/>
                    <a:gd name="connsiteY127" fmla="*/ 2802973 h 10480123"/>
                    <a:gd name="connsiteX128" fmla="*/ 3009900 w 8610600"/>
                    <a:gd name="connsiteY128" fmla="*/ 3488773 h 10480123"/>
                    <a:gd name="connsiteX129" fmla="*/ 3162300 w 8610600"/>
                    <a:gd name="connsiteY129" fmla="*/ 4574623 h 10480123"/>
                    <a:gd name="connsiteX130" fmla="*/ 3314700 w 8610600"/>
                    <a:gd name="connsiteY130" fmla="*/ 5355673 h 10480123"/>
                    <a:gd name="connsiteX131" fmla="*/ 3429000 w 8610600"/>
                    <a:gd name="connsiteY131" fmla="*/ 6079573 h 10480123"/>
                    <a:gd name="connsiteX132" fmla="*/ 3714750 w 8610600"/>
                    <a:gd name="connsiteY132" fmla="*/ 5679523 h 10480123"/>
                    <a:gd name="connsiteX133" fmla="*/ 3886200 w 8610600"/>
                    <a:gd name="connsiteY133" fmla="*/ 5355673 h 10480123"/>
                    <a:gd name="connsiteX134" fmla="*/ 3981450 w 8610600"/>
                    <a:gd name="connsiteY134" fmla="*/ 4974673 h 10480123"/>
                    <a:gd name="connsiteX135" fmla="*/ 4248150 w 8610600"/>
                    <a:gd name="connsiteY135" fmla="*/ 4555573 h 10480123"/>
                    <a:gd name="connsiteX136" fmla="*/ 4476750 w 8610600"/>
                    <a:gd name="connsiteY136" fmla="*/ 4041223 h 10480123"/>
                    <a:gd name="connsiteX137" fmla="*/ 4876800 w 8610600"/>
                    <a:gd name="connsiteY137" fmla="*/ 3203023 h 10480123"/>
                    <a:gd name="connsiteX138" fmla="*/ 5181600 w 8610600"/>
                    <a:gd name="connsiteY138" fmla="*/ 2402923 h 10480123"/>
                    <a:gd name="connsiteX139" fmla="*/ 5410200 w 8610600"/>
                    <a:gd name="connsiteY139" fmla="*/ 1679023 h 10480123"/>
                    <a:gd name="connsiteX140" fmla="*/ 5638800 w 8610600"/>
                    <a:gd name="connsiteY140" fmla="*/ 993223 h 10480123"/>
                    <a:gd name="connsiteX141" fmla="*/ 6057900 w 8610600"/>
                    <a:gd name="connsiteY141" fmla="*/ 1336123 h 10480123"/>
                    <a:gd name="connsiteX142" fmla="*/ 6076950 w 8610600"/>
                    <a:gd name="connsiteY142" fmla="*/ 1583773 h 10480123"/>
                    <a:gd name="connsiteX143" fmla="*/ 6153150 w 8610600"/>
                    <a:gd name="connsiteY143" fmla="*/ 1659973 h 10480123"/>
                    <a:gd name="connsiteX144" fmla="*/ 6229350 w 8610600"/>
                    <a:gd name="connsiteY144" fmla="*/ 1488523 h 10480123"/>
                    <a:gd name="connsiteX145" fmla="*/ 6286500 w 8610600"/>
                    <a:gd name="connsiteY145" fmla="*/ 1164673 h 10480123"/>
                    <a:gd name="connsiteX146" fmla="*/ 6229350 w 8610600"/>
                    <a:gd name="connsiteY146" fmla="*/ 707473 h 10480123"/>
                    <a:gd name="connsiteX147" fmla="*/ 6096000 w 8610600"/>
                    <a:gd name="connsiteY147" fmla="*/ 193123 h 10480123"/>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66750 w 8610600"/>
                    <a:gd name="connsiteY68" fmla="*/ 6784423 h 10480123"/>
                    <a:gd name="connsiteX69" fmla="*/ 952500 w 8610600"/>
                    <a:gd name="connsiteY69" fmla="*/ 678442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048000 w 8610600"/>
                    <a:gd name="connsiteY73" fmla="*/ 7203523 h 10480123"/>
                    <a:gd name="connsiteX74" fmla="*/ 3009900 w 8610600"/>
                    <a:gd name="connsiteY74" fmla="*/ 7394023 h 10480123"/>
                    <a:gd name="connsiteX75" fmla="*/ 3143250 w 8610600"/>
                    <a:gd name="connsiteY75" fmla="*/ 7432123 h 10480123"/>
                    <a:gd name="connsiteX76" fmla="*/ 3276600 w 8610600"/>
                    <a:gd name="connsiteY76" fmla="*/ 7432123 h 10480123"/>
                    <a:gd name="connsiteX77" fmla="*/ 3295650 w 8610600"/>
                    <a:gd name="connsiteY77" fmla="*/ 7546423 h 10480123"/>
                    <a:gd name="connsiteX78" fmla="*/ 3371850 w 8610600"/>
                    <a:gd name="connsiteY78" fmla="*/ 7603573 h 10480123"/>
                    <a:gd name="connsiteX79" fmla="*/ 3657600 w 8610600"/>
                    <a:gd name="connsiteY79" fmla="*/ 7641673 h 10480123"/>
                    <a:gd name="connsiteX80" fmla="*/ 3676650 w 8610600"/>
                    <a:gd name="connsiteY80" fmla="*/ 7605954 h 10480123"/>
                    <a:gd name="connsiteX81" fmla="*/ 3698081 w 8610600"/>
                    <a:gd name="connsiteY81" fmla="*/ 7789311 h 10480123"/>
                    <a:gd name="connsiteX82" fmla="*/ 3926681 w 8610600"/>
                    <a:gd name="connsiteY82" fmla="*/ 7836936 h 10480123"/>
                    <a:gd name="connsiteX83" fmla="*/ 4341019 w 8610600"/>
                    <a:gd name="connsiteY83" fmla="*/ 7805979 h 10480123"/>
                    <a:gd name="connsiteX84" fmla="*/ 4724400 w 8610600"/>
                    <a:gd name="connsiteY84" fmla="*/ 7717873 h 10480123"/>
                    <a:gd name="connsiteX85" fmla="*/ 5098256 w 8610600"/>
                    <a:gd name="connsiteY85" fmla="*/ 7663104 h 10480123"/>
                    <a:gd name="connsiteX86" fmla="*/ 5272088 w 8610600"/>
                    <a:gd name="connsiteY86" fmla="*/ 7591667 h 10480123"/>
                    <a:gd name="connsiteX87" fmla="*/ 5391150 w 8610600"/>
                    <a:gd name="connsiteY87" fmla="*/ 7584523 h 10480123"/>
                    <a:gd name="connsiteX88" fmla="*/ 5657850 w 8610600"/>
                    <a:gd name="connsiteY88" fmla="*/ 7584523 h 10480123"/>
                    <a:gd name="connsiteX89" fmla="*/ 5867400 w 8610600"/>
                    <a:gd name="connsiteY89" fmla="*/ 7698823 h 10480123"/>
                    <a:gd name="connsiteX90" fmla="*/ 5753100 w 8610600"/>
                    <a:gd name="connsiteY90" fmla="*/ 7279723 h 10480123"/>
                    <a:gd name="connsiteX91" fmla="*/ 5581650 w 8610600"/>
                    <a:gd name="connsiteY91" fmla="*/ 6955873 h 10480123"/>
                    <a:gd name="connsiteX92" fmla="*/ 5391150 w 8610600"/>
                    <a:gd name="connsiteY92" fmla="*/ 6670123 h 10480123"/>
                    <a:gd name="connsiteX93" fmla="*/ 5281613 w 8610600"/>
                    <a:gd name="connsiteY93" fmla="*/ 6617736 h 10480123"/>
                    <a:gd name="connsiteX94" fmla="*/ 4910138 w 8610600"/>
                    <a:gd name="connsiteY94" fmla="*/ 6546298 h 10480123"/>
                    <a:gd name="connsiteX95" fmla="*/ 4629150 w 8610600"/>
                    <a:gd name="connsiteY95" fmla="*/ 6346273 h 10480123"/>
                    <a:gd name="connsiteX96" fmla="*/ 4286250 w 8610600"/>
                    <a:gd name="connsiteY96" fmla="*/ 6384373 h 10480123"/>
                    <a:gd name="connsiteX97" fmla="*/ 3874294 w 8610600"/>
                    <a:gd name="connsiteY97" fmla="*/ 6558204 h 10480123"/>
                    <a:gd name="connsiteX98" fmla="*/ 3600450 w 8610600"/>
                    <a:gd name="connsiteY98" fmla="*/ 6670123 h 10480123"/>
                    <a:gd name="connsiteX99" fmla="*/ 3181350 w 8610600"/>
                    <a:gd name="connsiteY99" fmla="*/ 5774773 h 10480123"/>
                    <a:gd name="connsiteX100" fmla="*/ 2724150 w 8610600"/>
                    <a:gd name="connsiteY100" fmla="*/ 4860373 h 10480123"/>
                    <a:gd name="connsiteX101" fmla="*/ 2381250 w 8610600"/>
                    <a:gd name="connsiteY101" fmla="*/ 4288873 h 10480123"/>
                    <a:gd name="connsiteX102" fmla="*/ 1962150 w 8610600"/>
                    <a:gd name="connsiteY102" fmla="*/ 3869773 h 10480123"/>
                    <a:gd name="connsiteX103" fmla="*/ 1619250 w 8610600"/>
                    <a:gd name="connsiteY103" fmla="*/ 3545923 h 10480123"/>
                    <a:gd name="connsiteX104" fmla="*/ 1009650 w 8610600"/>
                    <a:gd name="connsiteY104" fmla="*/ 3507823 h 10480123"/>
                    <a:gd name="connsiteX105" fmla="*/ 762000 w 8610600"/>
                    <a:gd name="connsiteY105" fmla="*/ 3545923 h 10480123"/>
                    <a:gd name="connsiteX106" fmla="*/ 838200 w 8610600"/>
                    <a:gd name="connsiteY106" fmla="*/ 2917273 h 10480123"/>
                    <a:gd name="connsiteX107" fmla="*/ 838200 w 8610600"/>
                    <a:gd name="connsiteY107" fmla="*/ 2479123 h 10480123"/>
                    <a:gd name="connsiteX108" fmla="*/ 971550 w 8610600"/>
                    <a:gd name="connsiteY108" fmla="*/ 1964773 h 10480123"/>
                    <a:gd name="connsiteX109" fmla="*/ 1028700 w 8610600"/>
                    <a:gd name="connsiteY109" fmla="*/ 1412323 h 10480123"/>
                    <a:gd name="connsiteX110" fmla="*/ 1295400 w 8610600"/>
                    <a:gd name="connsiteY110" fmla="*/ 859873 h 10480123"/>
                    <a:gd name="connsiteX111" fmla="*/ 1562100 w 8610600"/>
                    <a:gd name="connsiteY111" fmla="*/ 745573 h 10480123"/>
                    <a:gd name="connsiteX112" fmla="*/ 1809750 w 8610600"/>
                    <a:gd name="connsiteY112" fmla="*/ 726523 h 10480123"/>
                    <a:gd name="connsiteX113" fmla="*/ 2190750 w 8610600"/>
                    <a:gd name="connsiteY113" fmla="*/ 574123 h 10480123"/>
                    <a:gd name="connsiteX114" fmla="*/ 2457450 w 8610600"/>
                    <a:gd name="connsiteY114" fmla="*/ 478873 h 10480123"/>
                    <a:gd name="connsiteX115" fmla="*/ 2838450 w 8610600"/>
                    <a:gd name="connsiteY115" fmla="*/ 421723 h 10480123"/>
                    <a:gd name="connsiteX116" fmla="*/ 3219450 w 8610600"/>
                    <a:gd name="connsiteY116" fmla="*/ 174073 h 10480123"/>
                    <a:gd name="connsiteX117" fmla="*/ 2857500 w 8610600"/>
                    <a:gd name="connsiteY117" fmla="*/ 440773 h 10480123"/>
                    <a:gd name="connsiteX118" fmla="*/ 2381250 w 8610600"/>
                    <a:gd name="connsiteY118" fmla="*/ 707473 h 10480123"/>
                    <a:gd name="connsiteX119" fmla="*/ 2286000 w 8610600"/>
                    <a:gd name="connsiteY119" fmla="*/ 821773 h 10480123"/>
                    <a:gd name="connsiteX120" fmla="*/ 2400300 w 8610600"/>
                    <a:gd name="connsiteY120" fmla="*/ 840823 h 10480123"/>
                    <a:gd name="connsiteX121" fmla="*/ 2686050 w 8610600"/>
                    <a:gd name="connsiteY121" fmla="*/ 764623 h 10480123"/>
                    <a:gd name="connsiteX122" fmla="*/ 2895600 w 8610600"/>
                    <a:gd name="connsiteY122" fmla="*/ 707473 h 10480123"/>
                    <a:gd name="connsiteX123" fmla="*/ 3143250 w 8610600"/>
                    <a:gd name="connsiteY123" fmla="*/ 555073 h 10480123"/>
                    <a:gd name="connsiteX124" fmla="*/ 3143250 w 8610600"/>
                    <a:gd name="connsiteY124" fmla="*/ 669373 h 10480123"/>
                    <a:gd name="connsiteX125" fmla="*/ 3143250 w 8610600"/>
                    <a:gd name="connsiteY125" fmla="*/ 955123 h 10480123"/>
                    <a:gd name="connsiteX126" fmla="*/ 3314700 w 8610600"/>
                    <a:gd name="connsiteY126" fmla="*/ 1202773 h 10480123"/>
                    <a:gd name="connsiteX127" fmla="*/ 3067050 w 8610600"/>
                    <a:gd name="connsiteY127" fmla="*/ 2802973 h 10480123"/>
                    <a:gd name="connsiteX128" fmla="*/ 3009900 w 8610600"/>
                    <a:gd name="connsiteY128" fmla="*/ 3488773 h 10480123"/>
                    <a:gd name="connsiteX129" fmla="*/ 3162300 w 8610600"/>
                    <a:gd name="connsiteY129" fmla="*/ 4574623 h 10480123"/>
                    <a:gd name="connsiteX130" fmla="*/ 3314700 w 8610600"/>
                    <a:gd name="connsiteY130" fmla="*/ 5355673 h 10480123"/>
                    <a:gd name="connsiteX131" fmla="*/ 3429000 w 8610600"/>
                    <a:gd name="connsiteY131" fmla="*/ 6079573 h 10480123"/>
                    <a:gd name="connsiteX132" fmla="*/ 3714750 w 8610600"/>
                    <a:gd name="connsiteY132" fmla="*/ 5679523 h 10480123"/>
                    <a:gd name="connsiteX133" fmla="*/ 3886200 w 8610600"/>
                    <a:gd name="connsiteY133" fmla="*/ 5355673 h 10480123"/>
                    <a:gd name="connsiteX134" fmla="*/ 3981450 w 8610600"/>
                    <a:gd name="connsiteY134" fmla="*/ 4974673 h 10480123"/>
                    <a:gd name="connsiteX135" fmla="*/ 4248150 w 8610600"/>
                    <a:gd name="connsiteY135" fmla="*/ 4555573 h 10480123"/>
                    <a:gd name="connsiteX136" fmla="*/ 4476750 w 8610600"/>
                    <a:gd name="connsiteY136" fmla="*/ 4041223 h 10480123"/>
                    <a:gd name="connsiteX137" fmla="*/ 4876800 w 8610600"/>
                    <a:gd name="connsiteY137" fmla="*/ 3203023 h 10480123"/>
                    <a:gd name="connsiteX138" fmla="*/ 5181600 w 8610600"/>
                    <a:gd name="connsiteY138" fmla="*/ 2402923 h 10480123"/>
                    <a:gd name="connsiteX139" fmla="*/ 5410200 w 8610600"/>
                    <a:gd name="connsiteY139" fmla="*/ 1679023 h 10480123"/>
                    <a:gd name="connsiteX140" fmla="*/ 5638800 w 8610600"/>
                    <a:gd name="connsiteY140" fmla="*/ 993223 h 10480123"/>
                    <a:gd name="connsiteX141" fmla="*/ 6057900 w 8610600"/>
                    <a:gd name="connsiteY141" fmla="*/ 1336123 h 10480123"/>
                    <a:gd name="connsiteX142" fmla="*/ 6076950 w 8610600"/>
                    <a:gd name="connsiteY142" fmla="*/ 1583773 h 10480123"/>
                    <a:gd name="connsiteX143" fmla="*/ 6153150 w 8610600"/>
                    <a:gd name="connsiteY143" fmla="*/ 1659973 h 10480123"/>
                    <a:gd name="connsiteX144" fmla="*/ 6229350 w 8610600"/>
                    <a:gd name="connsiteY144" fmla="*/ 1488523 h 10480123"/>
                    <a:gd name="connsiteX145" fmla="*/ 6286500 w 8610600"/>
                    <a:gd name="connsiteY145" fmla="*/ 1164673 h 10480123"/>
                    <a:gd name="connsiteX146" fmla="*/ 6229350 w 8610600"/>
                    <a:gd name="connsiteY146" fmla="*/ 707473 h 10480123"/>
                    <a:gd name="connsiteX147" fmla="*/ 6096000 w 8610600"/>
                    <a:gd name="connsiteY147" fmla="*/ 193123 h 10480123"/>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66750 w 8610600"/>
                    <a:gd name="connsiteY68" fmla="*/ 6784423 h 10480123"/>
                    <a:gd name="connsiteX69" fmla="*/ 952500 w 8610600"/>
                    <a:gd name="connsiteY69" fmla="*/ 678442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048000 w 8610600"/>
                    <a:gd name="connsiteY73" fmla="*/ 7203523 h 10480123"/>
                    <a:gd name="connsiteX74" fmla="*/ 3009900 w 8610600"/>
                    <a:gd name="connsiteY74" fmla="*/ 7394023 h 10480123"/>
                    <a:gd name="connsiteX75" fmla="*/ 3143250 w 8610600"/>
                    <a:gd name="connsiteY75" fmla="*/ 7432123 h 10480123"/>
                    <a:gd name="connsiteX76" fmla="*/ 3276600 w 8610600"/>
                    <a:gd name="connsiteY76" fmla="*/ 7432123 h 10480123"/>
                    <a:gd name="connsiteX77" fmla="*/ 3295650 w 8610600"/>
                    <a:gd name="connsiteY77" fmla="*/ 7546423 h 10480123"/>
                    <a:gd name="connsiteX78" fmla="*/ 3371850 w 8610600"/>
                    <a:gd name="connsiteY78" fmla="*/ 7603573 h 10480123"/>
                    <a:gd name="connsiteX79" fmla="*/ 3655219 w 8610600"/>
                    <a:gd name="connsiteY79" fmla="*/ 7613098 h 10480123"/>
                    <a:gd name="connsiteX80" fmla="*/ 3676650 w 8610600"/>
                    <a:gd name="connsiteY80" fmla="*/ 7605954 h 10480123"/>
                    <a:gd name="connsiteX81" fmla="*/ 3698081 w 8610600"/>
                    <a:gd name="connsiteY81" fmla="*/ 7789311 h 10480123"/>
                    <a:gd name="connsiteX82" fmla="*/ 3926681 w 8610600"/>
                    <a:gd name="connsiteY82" fmla="*/ 7836936 h 10480123"/>
                    <a:gd name="connsiteX83" fmla="*/ 4341019 w 8610600"/>
                    <a:gd name="connsiteY83" fmla="*/ 7805979 h 10480123"/>
                    <a:gd name="connsiteX84" fmla="*/ 4724400 w 8610600"/>
                    <a:gd name="connsiteY84" fmla="*/ 7717873 h 10480123"/>
                    <a:gd name="connsiteX85" fmla="*/ 5098256 w 8610600"/>
                    <a:gd name="connsiteY85" fmla="*/ 7663104 h 10480123"/>
                    <a:gd name="connsiteX86" fmla="*/ 5272088 w 8610600"/>
                    <a:gd name="connsiteY86" fmla="*/ 7591667 h 10480123"/>
                    <a:gd name="connsiteX87" fmla="*/ 5391150 w 8610600"/>
                    <a:gd name="connsiteY87" fmla="*/ 7584523 h 10480123"/>
                    <a:gd name="connsiteX88" fmla="*/ 5657850 w 8610600"/>
                    <a:gd name="connsiteY88" fmla="*/ 7584523 h 10480123"/>
                    <a:gd name="connsiteX89" fmla="*/ 5867400 w 8610600"/>
                    <a:gd name="connsiteY89" fmla="*/ 7698823 h 10480123"/>
                    <a:gd name="connsiteX90" fmla="*/ 5753100 w 8610600"/>
                    <a:gd name="connsiteY90" fmla="*/ 7279723 h 10480123"/>
                    <a:gd name="connsiteX91" fmla="*/ 5581650 w 8610600"/>
                    <a:gd name="connsiteY91" fmla="*/ 6955873 h 10480123"/>
                    <a:gd name="connsiteX92" fmla="*/ 5391150 w 8610600"/>
                    <a:gd name="connsiteY92" fmla="*/ 6670123 h 10480123"/>
                    <a:gd name="connsiteX93" fmla="*/ 5281613 w 8610600"/>
                    <a:gd name="connsiteY93" fmla="*/ 6617736 h 10480123"/>
                    <a:gd name="connsiteX94" fmla="*/ 4910138 w 8610600"/>
                    <a:gd name="connsiteY94" fmla="*/ 6546298 h 10480123"/>
                    <a:gd name="connsiteX95" fmla="*/ 4629150 w 8610600"/>
                    <a:gd name="connsiteY95" fmla="*/ 6346273 h 10480123"/>
                    <a:gd name="connsiteX96" fmla="*/ 4286250 w 8610600"/>
                    <a:gd name="connsiteY96" fmla="*/ 6384373 h 10480123"/>
                    <a:gd name="connsiteX97" fmla="*/ 3874294 w 8610600"/>
                    <a:gd name="connsiteY97" fmla="*/ 6558204 h 10480123"/>
                    <a:gd name="connsiteX98" fmla="*/ 3600450 w 8610600"/>
                    <a:gd name="connsiteY98" fmla="*/ 6670123 h 10480123"/>
                    <a:gd name="connsiteX99" fmla="*/ 3181350 w 8610600"/>
                    <a:gd name="connsiteY99" fmla="*/ 5774773 h 10480123"/>
                    <a:gd name="connsiteX100" fmla="*/ 2724150 w 8610600"/>
                    <a:gd name="connsiteY100" fmla="*/ 4860373 h 10480123"/>
                    <a:gd name="connsiteX101" fmla="*/ 2381250 w 8610600"/>
                    <a:gd name="connsiteY101" fmla="*/ 4288873 h 10480123"/>
                    <a:gd name="connsiteX102" fmla="*/ 1962150 w 8610600"/>
                    <a:gd name="connsiteY102" fmla="*/ 3869773 h 10480123"/>
                    <a:gd name="connsiteX103" fmla="*/ 1619250 w 8610600"/>
                    <a:gd name="connsiteY103" fmla="*/ 3545923 h 10480123"/>
                    <a:gd name="connsiteX104" fmla="*/ 1009650 w 8610600"/>
                    <a:gd name="connsiteY104" fmla="*/ 3507823 h 10480123"/>
                    <a:gd name="connsiteX105" fmla="*/ 762000 w 8610600"/>
                    <a:gd name="connsiteY105" fmla="*/ 3545923 h 10480123"/>
                    <a:gd name="connsiteX106" fmla="*/ 838200 w 8610600"/>
                    <a:gd name="connsiteY106" fmla="*/ 2917273 h 10480123"/>
                    <a:gd name="connsiteX107" fmla="*/ 838200 w 8610600"/>
                    <a:gd name="connsiteY107" fmla="*/ 2479123 h 10480123"/>
                    <a:gd name="connsiteX108" fmla="*/ 971550 w 8610600"/>
                    <a:gd name="connsiteY108" fmla="*/ 1964773 h 10480123"/>
                    <a:gd name="connsiteX109" fmla="*/ 1028700 w 8610600"/>
                    <a:gd name="connsiteY109" fmla="*/ 1412323 h 10480123"/>
                    <a:gd name="connsiteX110" fmla="*/ 1295400 w 8610600"/>
                    <a:gd name="connsiteY110" fmla="*/ 859873 h 10480123"/>
                    <a:gd name="connsiteX111" fmla="*/ 1562100 w 8610600"/>
                    <a:gd name="connsiteY111" fmla="*/ 745573 h 10480123"/>
                    <a:gd name="connsiteX112" fmla="*/ 1809750 w 8610600"/>
                    <a:gd name="connsiteY112" fmla="*/ 726523 h 10480123"/>
                    <a:gd name="connsiteX113" fmla="*/ 2190750 w 8610600"/>
                    <a:gd name="connsiteY113" fmla="*/ 574123 h 10480123"/>
                    <a:gd name="connsiteX114" fmla="*/ 2457450 w 8610600"/>
                    <a:gd name="connsiteY114" fmla="*/ 478873 h 10480123"/>
                    <a:gd name="connsiteX115" fmla="*/ 2838450 w 8610600"/>
                    <a:gd name="connsiteY115" fmla="*/ 421723 h 10480123"/>
                    <a:gd name="connsiteX116" fmla="*/ 3219450 w 8610600"/>
                    <a:gd name="connsiteY116" fmla="*/ 174073 h 10480123"/>
                    <a:gd name="connsiteX117" fmla="*/ 2857500 w 8610600"/>
                    <a:gd name="connsiteY117" fmla="*/ 440773 h 10480123"/>
                    <a:gd name="connsiteX118" fmla="*/ 2381250 w 8610600"/>
                    <a:gd name="connsiteY118" fmla="*/ 707473 h 10480123"/>
                    <a:gd name="connsiteX119" fmla="*/ 2286000 w 8610600"/>
                    <a:gd name="connsiteY119" fmla="*/ 821773 h 10480123"/>
                    <a:gd name="connsiteX120" fmla="*/ 2400300 w 8610600"/>
                    <a:gd name="connsiteY120" fmla="*/ 840823 h 10480123"/>
                    <a:gd name="connsiteX121" fmla="*/ 2686050 w 8610600"/>
                    <a:gd name="connsiteY121" fmla="*/ 764623 h 10480123"/>
                    <a:gd name="connsiteX122" fmla="*/ 2895600 w 8610600"/>
                    <a:gd name="connsiteY122" fmla="*/ 707473 h 10480123"/>
                    <a:gd name="connsiteX123" fmla="*/ 3143250 w 8610600"/>
                    <a:gd name="connsiteY123" fmla="*/ 555073 h 10480123"/>
                    <a:gd name="connsiteX124" fmla="*/ 3143250 w 8610600"/>
                    <a:gd name="connsiteY124" fmla="*/ 669373 h 10480123"/>
                    <a:gd name="connsiteX125" fmla="*/ 3143250 w 8610600"/>
                    <a:gd name="connsiteY125" fmla="*/ 955123 h 10480123"/>
                    <a:gd name="connsiteX126" fmla="*/ 3314700 w 8610600"/>
                    <a:gd name="connsiteY126" fmla="*/ 1202773 h 10480123"/>
                    <a:gd name="connsiteX127" fmla="*/ 3067050 w 8610600"/>
                    <a:gd name="connsiteY127" fmla="*/ 2802973 h 10480123"/>
                    <a:gd name="connsiteX128" fmla="*/ 3009900 w 8610600"/>
                    <a:gd name="connsiteY128" fmla="*/ 3488773 h 10480123"/>
                    <a:gd name="connsiteX129" fmla="*/ 3162300 w 8610600"/>
                    <a:gd name="connsiteY129" fmla="*/ 4574623 h 10480123"/>
                    <a:gd name="connsiteX130" fmla="*/ 3314700 w 8610600"/>
                    <a:gd name="connsiteY130" fmla="*/ 5355673 h 10480123"/>
                    <a:gd name="connsiteX131" fmla="*/ 3429000 w 8610600"/>
                    <a:gd name="connsiteY131" fmla="*/ 6079573 h 10480123"/>
                    <a:gd name="connsiteX132" fmla="*/ 3714750 w 8610600"/>
                    <a:gd name="connsiteY132" fmla="*/ 5679523 h 10480123"/>
                    <a:gd name="connsiteX133" fmla="*/ 3886200 w 8610600"/>
                    <a:gd name="connsiteY133" fmla="*/ 5355673 h 10480123"/>
                    <a:gd name="connsiteX134" fmla="*/ 3981450 w 8610600"/>
                    <a:gd name="connsiteY134" fmla="*/ 4974673 h 10480123"/>
                    <a:gd name="connsiteX135" fmla="*/ 4248150 w 8610600"/>
                    <a:gd name="connsiteY135" fmla="*/ 4555573 h 10480123"/>
                    <a:gd name="connsiteX136" fmla="*/ 4476750 w 8610600"/>
                    <a:gd name="connsiteY136" fmla="*/ 4041223 h 10480123"/>
                    <a:gd name="connsiteX137" fmla="*/ 4876800 w 8610600"/>
                    <a:gd name="connsiteY137" fmla="*/ 3203023 h 10480123"/>
                    <a:gd name="connsiteX138" fmla="*/ 5181600 w 8610600"/>
                    <a:gd name="connsiteY138" fmla="*/ 2402923 h 10480123"/>
                    <a:gd name="connsiteX139" fmla="*/ 5410200 w 8610600"/>
                    <a:gd name="connsiteY139" fmla="*/ 1679023 h 10480123"/>
                    <a:gd name="connsiteX140" fmla="*/ 5638800 w 8610600"/>
                    <a:gd name="connsiteY140" fmla="*/ 993223 h 10480123"/>
                    <a:gd name="connsiteX141" fmla="*/ 6057900 w 8610600"/>
                    <a:gd name="connsiteY141" fmla="*/ 1336123 h 10480123"/>
                    <a:gd name="connsiteX142" fmla="*/ 6076950 w 8610600"/>
                    <a:gd name="connsiteY142" fmla="*/ 1583773 h 10480123"/>
                    <a:gd name="connsiteX143" fmla="*/ 6153150 w 8610600"/>
                    <a:gd name="connsiteY143" fmla="*/ 1659973 h 10480123"/>
                    <a:gd name="connsiteX144" fmla="*/ 6229350 w 8610600"/>
                    <a:gd name="connsiteY144" fmla="*/ 1488523 h 10480123"/>
                    <a:gd name="connsiteX145" fmla="*/ 6286500 w 8610600"/>
                    <a:gd name="connsiteY145" fmla="*/ 1164673 h 10480123"/>
                    <a:gd name="connsiteX146" fmla="*/ 6229350 w 8610600"/>
                    <a:gd name="connsiteY146" fmla="*/ 707473 h 10480123"/>
                    <a:gd name="connsiteX147" fmla="*/ 6096000 w 8610600"/>
                    <a:gd name="connsiteY147" fmla="*/ 193123 h 10480123"/>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66750 w 8610600"/>
                    <a:gd name="connsiteY68" fmla="*/ 6784423 h 10480123"/>
                    <a:gd name="connsiteX69" fmla="*/ 952500 w 8610600"/>
                    <a:gd name="connsiteY69" fmla="*/ 678442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048000 w 8610600"/>
                    <a:gd name="connsiteY73" fmla="*/ 7203523 h 10480123"/>
                    <a:gd name="connsiteX74" fmla="*/ 3009900 w 8610600"/>
                    <a:gd name="connsiteY74" fmla="*/ 7394023 h 10480123"/>
                    <a:gd name="connsiteX75" fmla="*/ 3143250 w 8610600"/>
                    <a:gd name="connsiteY75" fmla="*/ 7432123 h 10480123"/>
                    <a:gd name="connsiteX76" fmla="*/ 3276600 w 8610600"/>
                    <a:gd name="connsiteY76" fmla="*/ 7432123 h 10480123"/>
                    <a:gd name="connsiteX77" fmla="*/ 3295650 w 8610600"/>
                    <a:gd name="connsiteY77" fmla="*/ 7546423 h 10480123"/>
                    <a:gd name="connsiteX78" fmla="*/ 3393281 w 8610600"/>
                    <a:gd name="connsiteY78" fmla="*/ 7594048 h 10480123"/>
                    <a:gd name="connsiteX79" fmla="*/ 3655219 w 8610600"/>
                    <a:gd name="connsiteY79" fmla="*/ 7613098 h 10480123"/>
                    <a:gd name="connsiteX80" fmla="*/ 3676650 w 8610600"/>
                    <a:gd name="connsiteY80" fmla="*/ 7605954 h 10480123"/>
                    <a:gd name="connsiteX81" fmla="*/ 3698081 w 8610600"/>
                    <a:gd name="connsiteY81" fmla="*/ 7789311 h 10480123"/>
                    <a:gd name="connsiteX82" fmla="*/ 3926681 w 8610600"/>
                    <a:gd name="connsiteY82" fmla="*/ 7836936 h 10480123"/>
                    <a:gd name="connsiteX83" fmla="*/ 4341019 w 8610600"/>
                    <a:gd name="connsiteY83" fmla="*/ 7805979 h 10480123"/>
                    <a:gd name="connsiteX84" fmla="*/ 4724400 w 8610600"/>
                    <a:gd name="connsiteY84" fmla="*/ 7717873 h 10480123"/>
                    <a:gd name="connsiteX85" fmla="*/ 5098256 w 8610600"/>
                    <a:gd name="connsiteY85" fmla="*/ 7663104 h 10480123"/>
                    <a:gd name="connsiteX86" fmla="*/ 5272088 w 8610600"/>
                    <a:gd name="connsiteY86" fmla="*/ 7591667 h 10480123"/>
                    <a:gd name="connsiteX87" fmla="*/ 5391150 w 8610600"/>
                    <a:gd name="connsiteY87" fmla="*/ 7584523 h 10480123"/>
                    <a:gd name="connsiteX88" fmla="*/ 5657850 w 8610600"/>
                    <a:gd name="connsiteY88" fmla="*/ 7584523 h 10480123"/>
                    <a:gd name="connsiteX89" fmla="*/ 5867400 w 8610600"/>
                    <a:gd name="connsiteY89" fmla="*/ 7698823 h 10480123"/>
                    <a:gd name="connsiteX90" fmla="*/ 5753100 w 8610600"/>
                    <a:gd name="connsiteY90" fmla="*/ 7279723 h 10480123"/>
                    <a:gd name="connsiteX91" fmla="*/ 5581650 w 8610600"/>
                    <a:gd name="connsiteY91" fmla="*/ 6955873 h 10480123"/>
                    <a:gd name="connsiteX92" fmla="*/ 5391150 w 8610600"/>
                    <a:gd name="connsiteY92" fmla="*/ 6670123 h 10480123"/>
                    <a:gd name="connsiteX93" fmla="*/ 5281613 w 8610600"/>
                    <a:gd name="connsiteY93" fmla="*/ 6617736 h 10480123"/>
                    <a:gd name="connsiteX94" fmla="*/ 4910138 w 8610600"/>
                    <a:gd name="connsiteY94" fmla="*/ 6546298 h 10480123"/>
                    <a:gd name="connsiteX95" fmla="*/ 4629150 w 8610600"/>
                    <a:gd name="connsiteY95" fmla="*/ 6346273 h 10480123"/>
                    <a:gd name="connsiteX96" fmla="*/ 4286250 w 8610600"/>
                    <a:gd name="connsiteY96" fmla="*/ 6384373 h 10480123"/>
                    <a:gd name="connsiteX97" fmla="*/ 3874294 w 8610600"/>
                    <a:gd name="connsiteY97" fmla="*/ 6558204 h 10480123"/>
                    <a:gd name="connsiteX98" fmla="*/ 3600450 w 8610600"/>
                    <a:gd name="connsiteY98" fmla="*/ 6670123 h 10480123"/>
                    <a:gd name="connsiteX99" fmla="*/ 3181350 w 8610600"/>
                    <a:gd name="connsiteY99" fmla="*/ 5774773 h 10480123"/>
                    <a:gd name="connsiteX100" fmla="*/ 2724150 w 8610600"/>
                    <a:gd name="connsiteY100" fmla="*/ 4860373 h 10480123"/>
                    <a:gd name="connsiteX101" fmla="*/ 2381250 w 8610600"/>
                    <a:gd name="connsiteY101" fmla="*/ 4288873 h 10480123"/>
                    <a:gd name="connsiteX102" fmla="*/ 1962150 w 8610600"/>
                    <a:gd name="connsiteY102" fmla="*/ 3869773 h 10480123"/>
                    <a:gd name="connsiteX103" fmla="*/ 1619250 w 8610600"/>
                    <a:gd name="connsiteY103" fmla="*/ 3545923 h 10480123"/>
                    <a:gd name="connsiteX104" fmla="*/ 1009650 w 8610600"/>
                    <a:gd name="connsiteY104" fmla="*/ 3507823 h 10480123"/>
                    <a:gd name="connsiteX105" fmla="*/ 762000 w 8610600"/>
                    <a:gd name="connsiteY105" fmla="*/ 3545923 h 10480123"/>
                    <a:gd name="connsiteX106" fmla="*/ 838200 w 8610600"/>
                    <a:gd name="connsiteY106" fmla="*/ 2917273 h 10480123"/>
                    <a:gd name="connsiteX107" fmla="*/ 838200 w 8610600"/>
                    <a:gd name="connsiteY107" fmla="*/ 2479123 h 10480123"/>
                    <a:gd name="connsiteX108" fmla="*/ 971550 w 8610600"/>
                    <a:gd name="connsiteY108" fmla="*/ 1964773 h 10480123"/>
                    <a:gd name="connsiteX109" fmla="*/ 1028700 w 8610600"/>
                    <a:gd name="connsiteY109" fmla="*/ 1412323 h 10480123"/>
                    <a:gd name="connsiteX110" fmla="*/ 1295400 w 8610600"/>
                    <a:gd name="connsiteY110" fmla="*/ 859873 h 10480123"/>
                    <a:gd name="connsiteX111" fmla="*/ 1562100 w 8610600"/>
                    <a:gd name="connsiteY111" fmla="*/ 745573 h 10480123"/>
                    <a:gd name="connsiteX112" fmla="*/ 1809750 w 8610600"/>
                    <a:gd name="connsiteY112" fmla="*/ 726523 h 10480123"/>
                    <a:gd name="connsiteX113" fmla="*/ 2190750 w 8610600"/>
                    <a:gd name="connsiteY113" fmla="*/ 574123 h 10480123"/>
                    <a:gd name="connsiteX114" fmla="*/ 2457450 w 8610600"/>
                    <a:gd name="connsiteY114" fmla="*/ 478873 h 10480123"/>
                    <a:gd name="connsiteX115" fmla="*/ 2838450 w 8610600"/>
                    <a:gd name="connsiteY115" fmla="*/ 421723 h 10480123"/>
                    <a:gd name="connsiteX116" fmla="*/ 3219450 w 8610600"/>
                    <a:gd name="connsiteY116" fmla="*/ 174073 h 10480123"/>
                    <a:gd name="connsiteX117" fmla="*/ 2857500 w 8610600"/>
                    <a:gd name="connsiteY117" fmla="*/ 440773 h 10480123"/>
                    <a:gd name="connsiteX118" fmla="*/ 2381250 w 8610600"/>
                    <a:gd name="connsiteY118" fmla="*/ 707473 h 10480123"/>
                    <a:gd name="connsiteX119" fmla="*/ 2286000 w 8610600"/>
                    <a:gd name="connsiteY119" fmla="*/ 821773 h 10480123"/>
                    <a:gd name="connsiteX120" fmla="*/ 2400300 w 8610600"/>
                    <a:gd name="connsiteY120" fmla="*/ 840823 h 10480123"/>
                    <a:gd name="connsiteX121" fmla="*/ 2686050 w 8610600"/>
                    <a:gd name="connsiteY121" fmla="*/ 764623 h 10480123"/>
                    <a:gd name="connsiteX122" fmla="*/ 2895600 w 8610600"/>
                    <a:gd name="connsiteY122" fmla="*/ 707473 h 10480123"/>
                    <a:gd name="connsiteX123" fmla="*/ 3143250 w 8610600"/>
                    <a:gd name="connsiteY123" fmla="*/ 555073 h 10480123"/>
                    <a:gd name="connsiteX124" fmla="*/ 3143250 w 8610600"/>
                    <a:gd name="connsiteY124" fmla="*/ 669373 h 10480123"/>
                    <a:gd name="connsiteX125" fmla="*/ 3143250 w 8610600"/>
                    <a:gd name="connsiteY125" fmla="*/ 955123 h 10480123"/>
                    <a:gd name="connsiteX126" fmla="*/ 3314700 w 8610600"/>
                    <a:gd name="connsiteY126" fmla="*/ 1202773 h 10480123"/>
                    <a:gd name="connsiteX127" fmla="*/ 3067050 w 8610600"/>
                    <a:gd name="connsiteY127" fmla="*/ 2802973 h 10480123"/>
                    <a:gd name="connsiteX128" fmla="*/ 3009900 w 8610600"/>
                    <a:gd name="connsiteY128" fmla="*/ 3488773 h 10480123"/>
                    <a:gd name="connsiteX129" fmla="*/ 3162300 w 8610600"/>
                    <a:gd name="connsiteY129" fmla="*/ 4574623 h 10480123"/>
                    <a:gd name="connsiteX130" fmla="*/ 3314700 w 8610600"/>
                    <a:gd name="connsiteY130" fmla="*/ 5355673 h 10480123"/>
                    <a:gd name="connsiteX131" fmla="*/ 3429000 w 8610600"/>
                    <a:gd name="connsiteY131" fmla="*/ 6079573 h 10480123"/>
                    <a:gd name="connsiteX132" fmla="*/ 3714750 w 8610600"/>
                    <a:gd name="connsiteY132" fmla="*/ 5679523 h 10480123"/>
                    <a:gd name="connsiteX133" fmla="*/ 3886200 w 8610600"/>
                    <a:gd name="connsiteY133" fmla="*/ 5355673 h 10480123"/>
                    <a:gd name="connsiteX134" fmla="*/ 3981450 w 8610600"/>
                    <a:gd name="connsiteY134" fmla="*/ 4974673 h 10480123"/>
                    <a:gd name="connsiteX135" fmla="*/ 4248150 w 8610600"/>
                    <a:gd name="connsiteY135" fmla="*/ 4555573 h 10480123"/>
                    <a:gd name="connsiteX136" fmla="*/ 4476750 w 8610600"/>
                    <a:gd name="connsiteY136" fmla="*/ 4041223 h 10480123"/>
                    <a:gd name="connsiteX137" fmla="*/ 4876800 w 8610600"/>
                    <a:gd name="connsiteY137" fmla="*/ 3203023 h 10480123"/>
                    <a:gd name="connsiteX138" fmla="*/ 5181600 w 8610600"/>
                    <a:gd name="connsiteY138" fmla="*/ 2402923 h 10480123"/>
                    <a:gd name="connsiteX139" fmla="*/ 5410200 w 8610600"/>
                    <a:gd name="connsiteY139" fmla="*/ 1679023 h 10480123"/>
                    <a:gd name="connsiteX140" fmla="*/ 5638800 w 8610600"/>
                    <a:gd name="connsiteY140" fmla="*/ 993223 h 10480123"/>
                    <a:gd name="connsiteX141" fmla="*/ 6057900 w 8610600"/>
                    <a:gd name="connsiteY141" fmla="*/ 1336123 h 10480123"/>
                    <a:gd name="connsiteX142" fmla="*/ 6076950 w 8610600"/>
                    <a:gd name="connsiteY142" fmla="*/ 1583773 h 10480123"/>
                    <a:gd name="connsiteX143" fmla="*/ 6153150 w 8610600"/>
                    <a:gd name="connsiteY143" fmla="*/ 1659973 h 10480123"/>
                    <a:gd name="connsiteX144" fmla="*/ 6229350 w 8610600"/>
                    <a:gd name="connsiteY144" fmla="*/ 1488523 h 10480123"/>
                    <a:gd name="connsiteX145" fmla="*/ 6286500 w 8610600"/>
                    <a:gd name="connsiteY145" fmla="*/ 1164673 h 10480123"/>
                    <a:gd name="connsiteX146" fmla="*/ 6229350 w 8610600"/>
                    <a:gd name="connsiteY146" fmla="*/ 707473 h 10480123"/>
                    <a:gd name="connsiteX147" fmla="*/ 6096000 w 8610600"/>
                    <a:gd name="connsiteY147" fmla="*/ 193123 h 10480123"/>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66750 w 8610600"/>
                    <a:gd name="connsiteY68" fmla="*/ 6784423 h 10480123"/>
                    <a:gd name="connsiteX69" fmla="*/ 952500 w 8610600"/>
                    <a:gd name="connsiteY69" fmla="*/ 678442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048000 w 8610600"/>
                    <a:gd name="connsiteY73" fmla="*/ 7203523 h 10480123"/>
                    <a:gd name="connsiteX74" fmla="*/ 3009900 w 8610600"/>
                    <a:gd name="connsiteY74" fmla="*/ 7394023 h 10480123"/>
                    <a:gd name="connsiteX75" fmla="*/ 3143250 w 8610600"/>
                    <a:gd name="connsiteY75" fmla="*/ 7432123 h 10480123"/>
                    <a:gd name="connsiteX76" fmla="*/ 3276600 w 8610600"/>
                    <a:gd name="connsiteY76" fmla="*/ 7432123 h 10480123"/>
                    <a:gd name="connsiteX77" fmla="*/ 3309938 w 8610600"/>
                    <a:gd name="connsiteY77" fmla="*/ 7498798 h 10480123"/>
                    <a:gd name="connsiteX78" fmla="*/ 3393281 w 8610600"/>
                    <a:gd name="connsiteY78" fmla="*/ 7594048 h 10480123"/>
                    <a:gd name="connsiteX79" fmla="*/ 3655219 w 8610600"/>
                    <a:gd name="connsiteY79" fmla="*/ 7613098 h 10480123"/>
                    <a:gd name="connsiteX80" fmla="*/ 3676650 w 8610600"/>
                    <a:gd name="connsiteY80" fmla="*/ 7605954 h 10480123"/>
                    <a:gd name="connsiteX81" fmla="*/ 3698081 w 8610600"/>
                    <a:gd name="connsiteY81" fmla="*/ 7789311 h 10480123"/>
                    <a:gd name="connsiteX82" fmla="*/ 3926681 w 8610600"/>
                    <a:gd name="connsiteY82" fmla="*/ 7836936 h 10480123"/>
                    <a:gd name="connsiteX83" fmla="*/ 4341019 w 8610600"/>
                    <a:gd name="connsiteY83" fmla="*/ 7805979 h 10480123"/>
                    <a:gd name="connsiteX84" fmla="*/ 4724400 w 8610600"/>
                    <a:gd name="connsiteY84" fmla="*/ 7717873 h 10480123"/>
                    <a:gd name="connsiteX85" fmla="*/ 5098256 w 8610600"/>
                    <a:gd name="connsiteY85" fmla="*/ 7663104 h 10480123"/>
                    <a:gd name="connsiteX86" fmla="*/ 5272088 w 8610600"/>
                    <a:gd name="connsiteY86" fmla="*/ 7591667 h 10480123"/>
                    <a:gd name="connsiteX87" fmla="*/ 5391150 w 8610600"/>
                    <a:gd name="connsiteY87" fmla="*/ 7584523 h 10480123"/>
                    <a:gd name="connsiteX88" fmla="*/ 5657850 w 8610600"/>
                    <a:gd name="connsiteY88" fmla="*/ 7584523 h 10480123"/>
                    <a:gd name="connsiteX89" fmla="*/ 5867400 w 8610600"/>
                    <a:gd name="connsiteY89" fmla="*/ 7698823 h 10480123"/>
                    <a:gd name="connsiteX90" fmla="*/ 5753100 w 8610600"/>
                    <a:gd name="connsiteY90" fmla="*/ 7279723 h 10480123"/>
                    <a:gd name="connsiteX91" fmla="*/ 5581650 w 8610600"/>
                    <a:gd name="connsiteY91" fmla="*/ 6955873 h 10480123"/>
                    <a:gd name="connsiteX92" fmla="*/ 5391150 w 8610600"/>
                    <a:gd name="connsiteY92" fmla="*/ 6670123 h 10480123"/>
                    <a:gd name="connsiteX93" fmla="*/ 5281613 w 8610600"/>
                    <a:gd name="connsiteY93" fmla="*/ 6617736 h 10480123"/>
                    <a:gd name="connsiteX94" fmla="*/ 4910138 w 8610600"/>
                    <a:gd name="connsiteY94" fmla="*/ 6546298 h 10480123"/>
                    <a:gd name="connsiteX95" fmla="*/ 4629150 w 8610600"/>
                    <a:gd name="connsiteY95" fmla="*/ 6346273 h 10480123"/>
                    <a:gd name="connsiteX96" fmla="*/ 4286250 w 8610600"/>
                    <a:gd name="connsiteY96" fmla="*/ 6384373 h 10480123"/>
                    <a:gd name="connsiteX97" fmla="*/ 3874294 w 8610600"/>
                    <a:gd name="connsiteY97" fmla="*/ 6558204 h 10480123"/>
                    <a:gd name="connsiteX98" fmla="*/ 3600450 w 8610600"/>
                    <a:gd name="connsiteY98" fmla="*/ 6670123 h 10480123"/>
                    <a:gd name="connsiteX99" fmla="*/ 3181350 w 8610600"/>
                    <a:gd name="connsiteY99" fmla="*/ 5774773 h 10480123"/>
                    <a:gd name="connsiteX100" fmla="*/ 2724150 w 8610600"/>
                    <a:gd name="connsiteY100" fmla="*/ 4860373 h 10480123"/>
                    <a:gd name="connsiteX101" fmla="*/ 2381250 w 8610600"/>
                    <a:gd name="connsiteY101" fmla="*/ 4288873 h 10480123"/>
                    <a:gd name="connsiteX102" fmla="*/ 1962150 w 8610600"/>
                    <a:gd name="connsiteY102" fmla="*/ 3869773 h 10480123"/>
                    <a:gd name="connsiteX103" fmla="*/ 1619250 w 8610600"/>
                    <a:gd name="connsiteY103" fmla="*/ 3545923 h 10480123"/>
                    <a:gd name="connsiteX104" fmla="*/ 1009650 w 8610600"/>
                    <a:gd name="connsiteY104" fmla="*/ 3507823 h 10480123"/>
                    <a:gd name="connsiteX105" fmla="*/ 762000 w 8610600"/>
                    <a:gd name="connsiteY105" fmla="*/ 3545923 h 10480123"/>
                    <a:gd name="connsiteX106" fmla="*/ 838200 w 8610600"/>
                    <a:gd name="connsiteY106" fmla="*/ 2917273 h 10480123"/>
                    <a:gd name="connsiteX107" fmla="*/ 838200 w 8610600"/>
                    <a:gd name="connsiteY107" fmla="*/ 2479123 h 10480123"/>
                    <a:gd name="connsiteX108" fmla="*/ 971550 w 8610600"/>
                    <a:gd name="connsiteY108" fmla="*/ 1964773 h 10480123"/>
                    <a:gd name="connsiteX109" fmla="*/ 1028700 w 8610600"/>
                    <a:gd name="connsiteY109" fmla="*/ 1412323 h 10480123"/>
                    <a:gd name="connsiteX110" fmla="*/ 1295400 w 8610600"/>
                    <a:gd name="connsiteY110" fmla="*/ 859873 h 10480123"/>
                    <a:gd name="connsiteX111" fmla="*/ 1562100 w 8610600"/>
                    <a:gd name="connsiteY111" fmla="*/ 745573 h 10480123"/>
                    <a:gd name="connsiteX112" fmla="*/ 1809750 w 8610600"/>
                    <a:gd name="connsiteY112" fmla="*/ 726523 h 10480123"/>
                    <a:gd name="connsiteX113" fmla="*/ 2190750 w 8610600"/>
                    <a:gd name="connsiteY113" fmla="*/ 574123 h 10480123"/>
                    <a:gd name="connsiteX114" fmla="*/ 2457450 w 8610600"/>
                    <a:gd name="connsiteY114" fmla="*/ 478873 h 10480123"/>
                    <a:gd name="connsiteX115" fmla="*/ 2838450 w 8610600"/>
                    <a:gd name="connsiteY115" fmla="*/ 421723 h 10480123"/>
                    <a:gd name="connsiteX116" fmla="*/ 3219450 w 8610600"/>
                    <a:gd name="connsiteY116" fmla="*/ 174073 h 10480123"/>
                    <a:gd name="connsiteX117" fmla="*/ 2857500 w 8610600"/>
                    <a:gd name="connsiteY117" fmla="*/ 440773 h 10480123"/>
                    <a:gd name="connsiteX118" fmla="*/ 2381250 w 8610600"/>
                    <a:gd name="connsiteY118" fmla="*/ 707473 h 10480123"/>
                    <a:gd name="connsiteX119" fmla="*/ 2286000 w 8610600"/>
                    <a:gd name="connsiteY119" fmla="*/ 821773 h 10480123"/>
                    <a:gd name="connsiteX120" fmla="*/ 2400300 w 8610600"/>
                    <a:gd name="connsiteY120" fmla="*/ 840823 h 10480123"/>
                    <a:gd name="connsiteX121" fmla="*/ 2686050 w 8610600"/>
                    <a:gd name="connsiteY121" fmla="*/ 764623 h 10480123"/>
                    <a:gd name="connsiteX122" fmla="*/ 2895600 w 8610600"/>
                    <a:gd name="connsiteY122" fmla="*/ 707473 h 10480123"/>
                    <a:gd name="connsiteX123" fmla="*/ 3143250 w 8610600"/>
                    <a:gd name="connsiteY123" fmla="*/ 555073 h 10480123"/>
                    <a:gd name="connsiteX124" fmla="*/ 3143250 w 8610600"/>
                    <a:gd name="connsiteY124" fmla="*/ 669373 h 10480123"/>
                    <a:gd name="connsiteX125" fmla="*/ 3143250 w 8610600"/>
                    <a:gd name="connsiteY125" fmla="*/ 955123 h 10480123"/>
                    <a:gd name="connsiteX126" fmla="*/ 3314700 w 8610600"/>
                    <a:gd name="connsiteY126" fmla="*/ 1202773 h 10480123"/>
                    <a:gd name="connsiteX127" fmla="*/ 3067050 w 8610600"/>
                    <a:gd name="connsiteY127" fmla="*/ 2802973 h 10480123"/>
                    <a:gd name="connsiteX128" fmla="*/ 3009900 w 8610600"/>
                    <a:gd name="connsiteY128" fmla="*/ 3488773 h 10480123"/>
                    <a:gd name="connsiteX129" fmla="*/ 3162300 w 8610600"/>
                    <a:gd name="connsiteY129" fmla="*/ 4574623 h 10480123"/>
                    <a:gd name="connsiteX130" fmla="*/ 3314700 w 8610600"/>
                    <a:gd name="connsiteY130" fmla="*/ 5355673 h 10480123"/>
                    <a:gd name="connsiteX131" fmla="*/ 3429000 w 8610600"/>
                    <a:gd name="connsiteY131" fmla="*/ 6079573 h 10480123"/>
                    <a:gd name="connsiteX132" fmla="*/ 3714750 w 8610600"/>
                    <a:gd name="connsiteY132" fmla="*/ 5679523 h 10480123"/>
                    <a:gd name="connsiteX133" fmla="*/ 3886200 w 8610600"/>
                    <a:gd name="connsiteY133" fmla="*/ 5355673 h 10480123"/>
                    <a:gd name="connsiteX134" fmla="*/ 3981450 w 8610600"/>
                    <a:gd name="connsiteY134" fmla="*/ 4974673 h 10480123"/>
                    <a:gd name="connsiteX135" fmla="*/ 4248150 w 8610600"/>
                    <a:gd name="connsiteY135" fmla="*/ 4555573 h 10480123"/>
                    <a:gd name="connsiteX136" fmla="*/ 4476750 w 8610600"/>
                    <a:gd name="connsiteY136" fmla="*/ 4041223 h 10480123"/>
                    <a:gd name="connsiteX137" fmla="*/ 4876800 w 8610600"/>
                    <a:gd name="connsiteY137" fmla="*/ 3203023 h 10480123"/>
                    <a:gd name="connsiteX138" fmla="*/ 5181600 w 8610600"/>
                    <a:gd name="connsiteY138" fmla="*/ 2402923 h 10480123"/>
                    <a:gd name="connsiteX139" fmla="*/ 5410200 w 8610600"/>
                    <a:gd name="connsiteY139" fmla="*/ 1679023 h 10480123"/>
                    <a:gd name="connsiteX140" fmla="*/ 5638800 w 8610600"/>
                    <a:gd name="connsiteY140" fmla="*/ 993223 h 10480123"/>
                    <a:gd name="connsiteX141" fmla="*/ 6057900 w 8610600"/>
                    <a:gd name="connsiteY141" fmla="*/ 1336123 h 10480123"/>
                    <a:gd name="connsiteX142" fmla="*/ 6076950 w 8610600"/>
                    <a:gd name="connsiteY142" fmla="*/ 1583773 h 10480123"/>
                    <a:gd name="connsiteX143" fmla="*/ 6153150 w 8610600"/>
                    <a:gd name="connsiteY143" fmla="*/ 1659973 h 10480123"/>
                    <a:gd name="connsiteX144" fmla="*/ 6229350 w 8610600"/>
                    <a:gd name="connsiteY144" fmla="*/ 1488523 h 10480123"/>
                    <a:gd name="connsiteX145" fmla="*/ 6286500 w 8610600"/>
                    <a:gd name="connsiteY145" fmla="*/ 1164673 h 10480123"/>
                    <a:gd name="connsiteX146" fmla="*/ 6229350 w 8610600"/>
                    <a:gd name="connsiteY146" fmla="*/ 707473 h 10480123"/>
                    <a:gd name="connsiteX147" fmla="*/ 6096000 w 8610600"/>
                    <a:gd name="connsiteY147" fmla="*/ 193123 h 10480123"/>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66750 w 8610600"/>
                    <a:gd name="connsiteY68" fmla="*/ 6784423 h 10480123"/>
                    <a:gd name="connsiteX69" fmla="*/ 952500 w 8610600"/>
                    <a:gd name="connsiteY69" fmla="*/ 678442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048000 w 8610600"/>
                    <a:gd name="connsiteY73" fmla="*/ 7203523 h 10480123"/>
                    <a:gd name="connsiteX74" fmla="*/ 3009900 w 8610600"/>
                    <a:gd name="connsiteY74" fmla="*/ 7394023 h 10480123"/>
                    <a:gd name="connsiteX75" fmla="*/ 3143250 w 8610600"/>
                    <a:gd name="connsiteY75" fmla="*/ 7432123 h 10480123"/>
                    <a:gd name="connsiteX76" fmla="*/ 3295650 w 8610600"/>
                    <a:gd name="connsiteY76" fmla="*/ 7403548 h 10480123"/>
                    <a:gd name="connsiteX77" fmla="*/ 3309938 w 8610600"/>
                    <a:gd name="connsiteY77" fmla="*/ 7498798 h 10480123"/>
                    <a:gd name="connsiteX78" fmla="*/ 3393281 w 8610600"/>
                    <a:gd name="connsiteY78" fmla="*/ 7594048 h 10480123"/>
                    <a:gd name="connsiteX79" fmla="*/ 3655219 w 8610600"/>
                    <a:gd name="connsiteY79" fmla="*/ 7613098 h 10480123"/>
                    <a:gd name="connsiteX80" fmla="*/ 3676650 w 8610600"/>
                    <a:gd name="connsiteY80" fmla="*/ 7605954 h 10480123"/>
                    <a:gd name="connsiteX81" fmla="*/ 3698081 w 8610600"/>
                    <a:gd name="connsiteY81" fmla="*/ 7789311 h 10480123"/>
                    <a:gd name="connsiteX82" fmla="*/ 3926681 w 8610600"/>
                    <a:gd name="connsiteY82" fmla="*/ 7836936 h 10480123"/>
                    <a:gd name="connsiteX83" fmla="*/ 4341019 w 8610600"/>
                    <a:gd name="connsiteY83" fmla="*/ 7805979 h 10480123"/>
                    <a:gd name="connsiteX84" fmla="*/ 4724400 w 8610600"/>
                    <a:gd name="connsiteY84" fmla="*/ 7717873 h 10480123"/>
                    <a:gd name="connsiteX85" fmla="*/ 5098256 w 8610600"/>
                    <a:gd name="connsiteY85" fmla="*/ 7663104 h 10480123"/>
                    <a:gd name="connsiteX86" fmla="*/ 5272088 w 8610600"/>
                    <a:gd name="connsiteY86" fmla="*/ 7591667 h 10480123"/>
                    <a:gd name="connsiteX87" fmla="*/ 5391150 w 8610600"/>
                    <a:gd name="connsiteY87" fmla="*/ 7584523 h 10480123"/>
                    <a:gd name="connsiteX88" fmla="*/ 5657850 w 8610600"/>
                    <a:gd name="connsiteY88" fmla="*/ 7584523 h 10480123"/>
                    <a:gd name="connsiteX89" fmla="*/ 5867400 w 8610600"/>
                    <a:gd name="connsiteY89" fmla="*/ 7698823 h 10480123"/>
                    <a:gd name="connsiteX90" fmla="*/ 5753100 w 8610600"/>
                    <a:gd name="connsiteY90" fmla="*/ 7279723 h 10480123"/>
                    <a:gd name="connsiteX91" fmla="*/ 5581650 w 8610600"/>
                    <a:gd name="connsiteY91" fmla="*/ 6955873 h 10480123"/>
                    <a:gd name="connsiteX92" fmla="*/ 5391150 w 8610600"/>
                    <a:gd name="connsiteY92" fmla="*/ 6670123 h 10480123"/>
                    <a:gd name="connsiteX93" fmla="*/ 5281613 w 8610600"/>
                    <a:gd name="connsiteY93" fmla="*/ 6617736 h 10480123"/>
                    <a:gd name="connsiteX94" fmla="*/ 4910138 w 8610600"/>
                    <a:gd name="connsiteY94" fmla="*/ 6546298 h 10480123"/>
                    <a:gd name="connsiteX95" fmla="*/ 4629150 w 8610600"/>
                    <a:gd name="connsiteY95" fmla="*/ 6346273 h 10480123"/>
                    <a:gd name="connsiteX96" fmla="*/ 4286250 w 8610600"/>
                    <a:gd name="connsiteY96" fmla="*/ 6384373 h 10480123"/>
                    <a:gd name="connsiteX97" fmla="*/ 3874294 w 8610600"/>
                    <a:gd name="connsiteY97" fmla="*/ 6558204 h 10480123"/>
                    <a:gd name="connsiteX98" fmla="*/ 3600450 w 8610600"/>
                    <a:gd name="connsiteY98" fmla="*/ 6670123 h 10480123"/>
                    <a:gd name="connsiteX99" fmla="*/ 3181350 w 8610600"/>
                    <a:gd name="connsiteY99" fmla="*/ 5774773 h 10480123"/>
                    <a:gd name="connsiteX100" fmla="*/ 2724150 w 8610600"/>
                    <a:gd name="connsiteY100" fmla="*/ 4860373 h 10480123"/>
                    <a:gd name="connsiteX101" fmla="*/ 2381250 w 8610600"/>
                    <a:gd name="connsiteY101" fmla="*/ 4288873 h 10480123"/>
                    <a:gd name="connsiteX102" fmla="*/ 1962150 w 8610600"/>
                    <a:gd name="connsiteY102" fmla="*/ 3869773 h 10480123"/>
                    <a:gd name="connsiteX103" fmla="*/ 1619250 w 8610600"/>
                    <a:gd name="connsiteY103" fmla="*/ 3545923 h 10480123"/>
                    <a:gd name="connsiteX104" fmla="*/ 1009650 w 8610600"/>
                    <a:gd name="connsiteY104" fmla="*/ 3507823 h 10480123"/>
                    <a:gd name="connsiteX105" fmla="*/ 762000 w 8610600"/>
                    <a:gd name="connsiteY105" fmla="*/ 3545923 h 10480123"/>
                    <a:gd name="connsiteX106" fmla="*/ 838200 w 8610600"/>
                    <a:gd name="connsiteY106" fmla="*/ 2917273 h 10480123"/>
                    <a:gd name="connsiteX107" fmla="*/ 838200 w 8610600"/>
                    <a:gd name="connsiteY107" fmla="*/ 2479123 h 10480123"/>
                    <a:gd name="connsiteX108" fmla="*/ 971550 w 8610600"/>
                    <a:gd name="connsiteY108" fmla="*/ 1964773 h 10480123"/>
                    <a:gd name="connsiteX109" fmla="*/ 1028700 w 8610600"/>
                    <a:gd name="connsiteY109" fmla="*/ 1412323 h 10480123"/>
                    <a:gd name="connsiteX110" fmla="*/ 1295400 w 8610600"/>
                    <a:gd name="connsiteY110" fmla="*/ 859873 h 10480123"/>
                    <a:gd name="connsiteX111" fmla="*/ 1562100 w 8610600"/>
                    <a:gd name="connsiteY111" fmla="*/ 745573 h 10480123"/>
                    <a:gd name="connsiteX112" fmla="*/ 1809750 w 8610600"/>
                    <a:gd name="connsiteY112" fmla="*/ 726523 h 10480123"/>
                    <a:gd name="connsiteX113" fmla="*/ 2190750 w 8610600"/>
                    <a:gd name="connsiteY113" fmla="*/ 574123 h 10480123"/>
                    <a:gd name="connsiteX114" fmla="*/ 2457450 w 8610600"/>
                    <a:gd name="connsiteY114" fmla="*/ 478873 h 10480123"/>
                    <a:gd name="connsiteX115" fmla="*/ 2838450 w 8610600"/>
                    <a:gd name="connsiteY115" fmla="*/ 421723 h 10480123"/>
                    <a:gd name="connsiteX116" fmla="*/ 3219450 w 8610600"/>
                    <a:gd name="connsiteY116" fmla="*/ 174073 h 10480123"/>
                    <a:gd name="connsiteX117" fmla="*/ 2857500 w 8610600"/>
                    <a:gd name="connsiteY117" fmla="*/ 440773 h 10480123"/>
                    <a:gd name="connsiteX118" fmla="*/ 2381250 w 8610600"/>
                    <a:gd name="connsiteY118" fmla="*/ 707473 h 10480123"/>
                    <a:gd name="connsiteX119" fmla="*/ 2286000 w 8610600"/>
                    <a:gd name="connsiteY119" fmla="*/ 821773 h 10480123"/>
                    <a:gd name="connsiteX120" fmla="*/ 2400300 w 8610600"/>
                    <a:gd name="connsiteY120" fmla="*/ 840823 h 10480123"/>
                    <a:gd name="connsiteX121" fmla="*/ 2686050 w 8610600"/>
                    <a:gd name="connsiteY121" fmla="*/ 764623 h 10480123"/>
                    <a:gd name="connsiteX122" fmla="*/ 2895600 w 8610600"/>
                    <a:gd name="connsiteY122" fmla="*/ 707473 h 10480123"/>
                    <a:gd name="connsiteX123" fmla="*/ 3143250 w 8610600"/>
                    <a:gd name="connsiteY123" fmla="*/ 555073 h 10480123"/>
                    <a:gd name="connsiteX124" fmla="*/ 3143250 w 8610600"/>
                    <a:gd name="connsiteY124" fmla="*/ 669373 h 10480123"/>
                    <a:gd name="connsiteX125" fmla="*/ 3143250 w 8610600"/>
                    <a:gd name="connsiteY125" fmla="*/ 955123 h 10480123"/>
                    <a:gd name="connsiteX126" fmla="*/ 3314700 w 8610600"/>
                    <a:gd name="connsiteY126" fmla="*/ 1202773 h 10480123"/>
                    <a:gd name="connsiteX127" fmla="*/ 3067050 w 8610600"/>
                    <a:gd name="connsiteY127" fmla="*/ 2802973 h 10480123"/>
                    <a:gd name="connsiteX128" fmla="*/ 3009900 w 8610600"/>
                    <a:gd name="connsiteY128" fmla="*/ 3488773 h 10480123"/>
                    <a:gd name="connsiteX129" fmla="*/ 3162300 w 8610600"/>
                    <a:gd name="connsiteY129" fmla="*/ 4574623 h 10480123"/>
                    <a:gd name="connsiteX130" fmla="*/ 3314700 w 8610600"/>
                    <a:gd name="connsiteY130" fmla="*/ 5355673 h 10480123"/>
                    <a:gd name="connsiteX131" fmla="*/ 3429000 w 8610600"/>
                    <a:gd name="connsiteY131" fmla="*/ 6079573 h 10480123"/>
                    <a:gd name="connsiteX132" fmla="*/ 3714750 w 8610600"/>
                    <a:gd name="connsiteY132" fmla="*/ 5679523 h 10480123"/>
                    <a:gd name="connsiteX133" fmla="*/ 3886200 w 8610600"/>
                    <a:gd name="connsiteY133" fmla="*/ 5355673 h 10480123"/>
                    <a:gd name="connsiteX134" fmla="*/ 3981450 w 8610600"/>
                    <a:gd name="connsiteY134" fmla="*/ 4974673 h 10480123"/>
                    <a:gd name="connsiteX135" fmla="*/ 4248150 w 8610600"/>
                    <a:gd name="connsiteY135" fmla="*/ 4555573 h 10480123"/>
                    <a:gd name="connsiteX136" fmla="*/ 4476750 w 8610600"/>
                    <a:gd name="connsiteY136" fmla="*/ 4041223 h 10480123"/>
                    <a:gd name="connsiteX137" fmla="*/ 4876800 w 8610600"/>
                    <a:gd name="connsiteY137" fmla="*/ 3203023 h 10480123"/>
                    <a:gd name="connsiteX138" fmla="*/ 5181600 w 8610600"/>
                    <a:gd name="connsiteY138" fmla="*/ 2402923 h 10480123"/>
                    <a:gd name="connsiteX139" fmla="*/ 5410200 w 8610600"/>
                    <a:gd name="connsiteY139" fmla="*/ 1679023 h 10480123"/>
                    <a:gd name="connsiteX140" fmla="*/ 5638800 w 8610600"/>
                    <a:gd name="connsiteY140" fmla="*/ 993223 h 10480123"/>
                    <a:gd name="connsiteX141" fmla="*/ 6057900 w 8610600"/>
                    <a:gd name="connsiteY141" fmla="*/ 1336123 h 10480123"/>
                    <a:gd name="connsiteX142" fmla="*/ 6076950 w 8610600"/>
                    <a:gd name="connsiteY142" fmla="*/ 1583773 h 10480123"/>
                    <a:gd name="connsiteX143" fmla="*/ 6153150 w 8610600"/>
                    <a:gd name="connsiteY143" fmla="*/ 1659973 h 10480123"/>
                    <a:gd name="connsiteX144" fmla="*/ 6229350 w 8610600"/>
                    <a:gd name="connsiteY144" fmla="*/ 1488523 h 10480123"/>
                    <a:gd name="connsiteX145" fmla="*/ 6286500 w 8610600"/>
                    <a:gd name="connsiteY145" fmla="*/ 1164673 h 10480123"/>
                    <a:gd name="connsiteX146" fmla="*/ 6229350 w 8610600"/>
                    <a:gd name="connsiteY146" fmla="*/ 707473 h 10480123"/>
                    <a:gd name="connsiteX147" fmla="*/ 6096000 w 8610600"/>
                    <a:gd name="connsiteY147" fmla="*/ 193123 h 10480123"/>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66750 w 8610600"/>
                    <a:gd name="connsiteY68" fmla="*/ 6784423 h 10480123"/>
                    <a:gd name="connsiteX69" fmla="*/ 952500 w 8610600"/>
                    <a:gd name="connsiteY69" fmla="*/ 678442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048000 w 8610600"/>
                    <a:gd name="connsiteY73" fmla="*/ 7203523 h 10480123"/>
                    <a:gd name="connsiteX74" fmla="*/ 3009900 w 8610600"/>
                    <a:gd name="connsiteY74" fmla="*/ 7394023 h 10480123"/>
                    <a:gd name="connsiteX75" fmla="*/ 3174206 w 8610600"/>
                    <a:gd name="connsiteY75" fmla="*/ 7415454 h 10480123"/>
                    <a:gd name="connsiteX76" fmla="*/ 3295650 w 8610600"/>
                    <a:gd name="connsiteY76" fmla="*/ 7403548 h 10480123"/>
                    <a:gd name="connsiteX77" fmla="*/ 3309938 w 8610600"/>
                    <a:gd name="connsiteY77" fmla="*/ 7498798 h 10480123"/>
                    <a:gd name="connsiteX78" fmla="*/ 3393281 w 8610600"/>
                    <a:gd name="connsiteY78" fmla="*/ 7594048 h 10480123"/>
                    <a:gd name="connsiteX79" fmla="*/ 3655219 w 8610600"/>
                    <a:gd name="connsiteY79" fmla="*/ 7613098 h 10480123"/>
                    <a:gd name="connsiteX80" fmla="*/ 3676650 w 8610600"/>
                    <a:gd name="connsiteY80" fmla="*/ 7605954 h 10480123"/>
                    <a:gd name="connsiteX81" fmla="*/ 3698081 w 8610600"/>
                    <a:gd name="connsiteY81" fmla="*/ 7789311 h 10480123"/>
                    <a:gd name="connsiteX82" fmla="*/ 3926681 w 8610600"/>
                    <a:gd name="connsiteY82" fmla="*/ 7836936 h 10480123"/>
                    <a:gd name="connsiteX83" fmla="*/ 4341019 w 8610600"/>
                    <a:gd name="connsiteY83" fmla="*/ 7805979 h 10480123"/>
                    <a:gd name="connsiteX84" fmla="*/ 4724400 w 8610600"/>
                    <a:gd name="connsiteY84" fmla="*/ 7717873 h 10480123"/>
                    <a:gd name="connsiteX85" fmla="*/ 5098256 w 8610600"/>
                    <a:gd name="connsiteY85" fmla="*/ 7663104 h 10480123"/>
                    <a:gd name="connsiteX86" fmla="*/ 5272088 w 8610600"/>
                    <a:gd name="connsiteY86" fmla="*/ 7591667 h 10480123"/>
                    <a:gd name="connsiteX87" fmla="*/ 5391150 w 8610600"/>
                    <a:gd name="connsiteY87" fmla="*/ 7584523 h 10480123"/>
                    <a:gd name="connsiteX88" fmla="*/ 5657850 w 8610600"/>
                    <a:gd name="connsiteY88" fmla="*/ 7584523 h 10480123"/>
                    <a:gd name="connsiteX89" fmla="*/ 5867400 w 8610600"/>
                    <a:gd name="connsiteY89" fmla="*/ 7698823 h 10480123"/>
                    <a:gd name="connsiteX90" fmla="*/ 5753100 w 8610600"/>
                    <a:gd name="connsiteY90" fmla="*/ 7279723 h 10480123"/>
                    <a:gd name="connsiteX91" fmla="*/ 5581650 w 8610600"/>
                    <a:gd name="connsiteY91" fmla="*/ 6955873 h 10480123"/>
                    <a:gd name="connsiteX92" fmla="*/ 5391150 w 8610600"/>
                    <a:gd name="connsiteY92" fmla="*/ 6670123 h 10480123"/>
                    <a:gd name="connsiteX93" fmla="*/ 5281613 w 8610600"/>
                    <a:gd name="connsiteY93" fmla="*/ 6617736 h 10480123"/>
                    <a:gd name="connsiteX94" fmla="*/ 4910138 w 8610600"/>
                    <a:gd name="connsiteY94" fmla="*/ 6546298 h 10480123"/>
                    <a:gd name="connsiteX95" fmla="*/ 4629150 w 8610600"/>
                    <a:gd name="connsiteY95" fmla="*/ 6346273 h 10480123"/>
                    <a:gd name="connsiteX96" fmla="*/ 4286250 w 8610600"/>
                    <a:gd name="connsiteY96" fmla="*/ 6384373 h 10480123"/>
                    <a:gd name="connsiteX97" fmla="*/ 3874294 w 8610600"/>
                    <a:gd name="connsiteY97" fmla="*/ 6558204 h 10480123"/>
                    <a:gd name="connsiteX98" fmla="*/ 3600450 w 8610600"/>
                    <a:gd name="connsiteY98" fmla="*/ 6670123 h 10480123"/>
                    <a:gd name="connsiteX99" fmla="*/ 3181350 w 8610600"/>
                    <a:gd name="connsiteY99" fmla="*/ 5774773 h 10480123"/>
                    <a:gd name="connsiteX100" fmla="*/ 2724150 w 8610600"/>
                    <a:gd name="connsiteY100" fmla="*/ 4860373 h 10480123"/>
                    <a:gd name="connsiteX101" fmla="*/ 2381250 w 8610600"/>
                    <a:gd name="connsiteY101" fmla="*/ 4288873 h 10480123"/>
                    <a:gd name="connsiteX102" fmla="*/ 1962150 w 8610600"/>
                    <a:gd name="connsiteY102" fmla="*/ 3869773 h 10480123"/>
                    <a:gd name="connsiteX103" fmla="*/ 1619250 w 8610600"/>
                    <a:gd name="connsiteY103" fmla="*/ 3545923 h 10480123"/>
                    <a:gd name="connsiteX104" fmla="*/ 1009650 w 8610600"/>
                    <a:gd name="connsiteY104" fmla="*/ 3507823 h 10480123"/>
                    <a:gd name="connsiteX105" fmla="*/ 762000 w 8610600"/>
                    <a:gd name="connsiteY105" fmla="*/ 3545923 h 10480123"/>
                    <a:gd name="connsiteX106" fmla="*/ 838200 w 8610600"/>
                    <a:gd name="connsiteY106" fmla="*/ 2917273 h 10480123"/>
                    <a:gd name="connsiteX107" fmla="*/ 838200 w 8610600"/>
                    <a:gd name="connsiteY107" fmla="*/ 2479123 h 10480123"/>
                    <a:gd name="connsiteX108" fmla="*/ 971550 w 8610600"/>
                    <a:gd name="connsiteY108" fmla="*/ 1964773 h 10480123"/>
                    <a:gd name="connsiteX109" fmla="*/ 1028700 w 8610600"/>
                    <a:gd name="connsiteY109" fmla="*/ 1412323 h 10480123"/>
                    <a:gd name="connsiteX110" fmla="*/ 1295400 w 8610600"/>
                    <a:gd name="connsiteY110" fmla="*/ 859873 h 10480123"/>
                    <a:gd name="connsiteX111" fmla="*/ 1562100 w 8610600"/>
                    <a:gd name="connsiteY111" fmla="*/ 745573 h 10480123"/>
                    <a:gd name="connsiteX112" fmla="*/ 1809750 w 8610600"/>
                    <a:gd name="connsiteY112" fmla="*/ 726523 h 10480123"/>
                    <a:gd name="connsiteX113" fmla="*/ 2190750 w 8610600"/>
                    <a:gd name="connsiteY113" fmla="*/ 574123 h 10480123"/>
                    <a:gd name="connsiteX114" fmla="*/ 2457450 w 8610600"/>
                    <a:gd name="connsiteY114" fmla="*/ 478873 h 10480123"/>
                    <a:gd name="connsiteX115" fmla="*/ 2838450 w 8610600"/>
                    <a:gd name="connsiteY115" fmla="*/ 421723 h 10480123"/>
                    <a:gd name="connsiteX116" fmla="*/ 3219450 w 8610600"/>
                    <a:gd name="connsiteY116" fmla="*/ 174073 h 10480123"/>
                    <a:gd name="connsiteX117" fmla="*/ 2857500 w 8610600"/>
                    <a:gd name="connsiteY117" fmla="*/ 440773 h 10480123"/>
                    <a:gd name="connsiteX118" fmla="*/ 2381250 w 8610600"/>
                    <a:gd name="connsiteY118" fmla="*/ 707473 h 10480123"/>
                    <a:gd name="connsiteX119" fmla="*/ 2286000 w 8610600"/>
                    <a:gd name="connsiteY119" fmla="*/ 821773 h 10480123"/>
                    <a:gd name="connsiteX120" fmla="*/ 2400300 w 8610600"/>
                    <a:gd name="connsiteY120" fmla="*/ 840823 h 10480123"/>
                    <a:gd name="connsiteX121" fmla="*/ 2686050 w 8610600"/>
                    <a:gd name="connsiteY121" fmla="*/ 764623 h 10480123"/>
                    <a:gd name="connsiteX122" fmla="*/ 2895600 w 8610600"/>
                    <a:gd name="connsiteY122" fmla="*/ 707473 h 10480123"/>
                    <a:gd name="connsiteX123" fmla="*/ 3143250 w 8610600"/>
                    <a:gd name="connsiteY123" fmla="*/ 555073 h 10480123"/>
                    <a:gd name="connsiteX124" fmla="*/ 3143250 w 8610600"/>
                    <a:gd name="connsiteY124" fmla="*/ 669373 h 10480123"/>
                    <a:gd name="connsiteX125" fmla="*/ 3143250 w 8610600"/>
                    <a:gd name="connsiteY125" fmla="*/ 955123 h 10480123"/>
                    <a:gd name="connsiteX126" fmla="*/ 3314700 w 8610600"/>
                    <a:gd name="connsiteY126" fmla="*/ 1202773 h 10480123"/>
                    <a:gd name="connsiteX127" fmla="*/ 3067050 w 8610600"/>
                    <a:gd name="connsiteY127" fmla="*/ 2802973 h 10480123"/>
                    <a:gd name="connsiteX128" fmla="*/ 3009900 w 8610600"/>
                    <a:gd name="connsiteY128" fmla="*/ 3488773 h 10480123"/>
                    <a:gd name="connsiteX129" fmla="*/ 3162300 w 8610600"/>
                    <a:gd name="connsiteY129" fmla="*/ 4574623 h 10480123"/>
                    <a:gd name="connsiteX130" fmla="*/ 3314700 w 8610600"/>
                    <a:gd name="connsiteY130" fmla="*/ 5355673 h 10480123"/>
                    <a:gd name="connsiteX131" fmla="*/ 3429000 w 8610600"/>
                    <a:gd name="connsiteY131" fmla="*/ 6079573 h 10480123"/>
                    <a:gd name="connsiteX132" fmla="*/ 3714750 w 8610600"/>
                    <a:gd name="connsiteY132" fmla="*/ 5679523 h 10480123"/>
                    <a:gd name="connsiteX133" fmla="*/ 3886200 w 8610600"/>
                    <a:gd name="connsiteY133" fmla="*/ 5355673 h 10480123"/>
                    <a:gd name="connsiteX134" fmla="*/ 3981450 w 8610600"/>
                    <a:gd name="connsiteY134" fmla="*/ 4974673 h 10480123"/>
                    <a:gd name="connsiteX135" fmla="*/ 4248150 w 8610600"/>
                    <a:gd name="connsiteY135" fmla="*/ 4555573 h 10480123"/>
                    <a:gd name="connsiteX136" fmla="*/ 4476750 w 8610600"/>
                    <a:gd name="connsiteY136" fmla="*/ 4041223 h 10480123"/>
                    <a:gd name="connsiteX137" fmla="*/ 4876800 w 8610600"/>
                    <a:gd name="connsiteY137" fmla="*/ 3203023 h 10480123"/>
                    <a:gd name="connsiteX138" fmla="*/ 5181600 w 8610600"/>
                    <a:gd name="connsiteY138" fmla="*/ 2402923 h 10480123"/>
                    <a:gd name="connsiteX139" fmla="*/ 5410200 w 8610600"/>
                    <a:gd name="connsiteY139" fmla="*/ 1679023 h 10480123"/>
                    <a:gd name="connsiteX140" fmla="*/ 5638800 w 8610600"/>
                    <a:gd name="connsiteY140" fmla="*/ 993223 h 10480123"/>
                    <a:gd name="connsiteX141" fmla="*/ 6057900 w 8610600"/>
                    <a:gd name="connsiteY141" fmla="*/ 1336123 h 10480123"/>
                    <a:gd name="connsiteX142" fmla="*/ 6076950 w 8610600"/>
                    <a:gd name="connsiteY142" fmla="*/ 1583773 h 10480123"/>
                    <a:gd name="connsiteX143" fmla="*/ 6153150 w 8610600"/>
                    <a:gd name="connsiteY143" fmla="*/ 1659973 h 10480123"/>
                    <a:gd name="connsiteX144" fmla="*/ 6229350 w 8610600"/>
                    <a:gd name="connsiteY144" fmla="*/ 1488523 h 10480123"/>
                    <a:gd name="connsiteX145" fmla="*/ 6286500 w 8610600"/>
                    <a:gd name="connsiteY145" fmla="*/ 1164673 h 10480123"/>
                    <a:gd name="connsiteX146" fmla="*/ 6229350 w 8610600"/>
                    <a:gd name="connsiteY146" fmla="*/ 707473 h 10480123"/>
                    <a:gd name="connsiteX147" fmla="*/ 6096000 w 8610600"/>
                    <a:gd name="connsiteY147" fmla="*/ 193123 h 10480123"/>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66750 w 8610600"/>
                    <a:gd name="connsiteY68" fmla="*/ 6784423 h 10480123"/>
                    <a:gd name="connsiteX69" fmla="*/ 952500 w 8610600"/>
                    <a:gd name="connsiteY69" fmla="*/ 678442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048000 w 8610600"/>
                    <a:gd name="connsiteY73" fmla="*/ 7203523 h 10480123"/>
                    <a:gd name="connsiteX74" fmla="*/ 3078956 w 8610600"/>
                    <a:gd name="connsiteY74" fmla="*/ 7403548 h 10480123"/>
                    <a:gd name="connsiteX75" fmla="*/ 3174206 w 8610600"/>
                    <a:gd name="connsiteY75" fmla="*/ 7415454 h 10480123"/>
                    <a:gd name="connsiteX76" fmla="*/ 3295650 w 8610600"/>
                    <a:gd name="connsiteY76" fmla="*/ 7403548 h 10480123"/>
                    <a:gd name="connsiteX77" fmla="*/ 3309938 w 8610600"/>
                    <a:gd name="connsiteY77" fmla="*/ 7498798 h 10480123"/>
                    <a:gd name="connsiteX78" fmla="*/ 3393281 w 8610600"/>
                    <a:gd name="connsiteY78" fmla="*/ 7594048 h 10480123"/>
                    <a:gd name="connsiteX79" fmla="*/ 3655219 w 8610600"/>
                    <a:gd name="connsiteY79" fmla="*/ 7613098 h 10480123"/>
                    <a:gd name="connsiteX80" fmla="*/ 3676650 w 8610600"/>
                    <a:gd name="connsiteY80" fmla="*/ 7605954 h 10480123"/>
                    <a:gd name="connsiteX81" fmla="*/ 3698081 w 8610600"/>
                    <a:gd name="connsiteY81" fmla="*/ 7789311 h 10480123"/>
                    <a:gd name="connsiteX82" fmla="*/ 3926681 w 8610600"/>
                    <a:gd name="connsiteY82" fmla="*/ 7836936 h 10480123"/>
                    <a:gd name="connsiteX83" fmla="*/ 4341019 w 8610600"/>
                    <a:gd name="connsiteY83" fmla="*/ 7805979 h 10480123"/>
                    <a:gd name="connsiteX84" fmla="*/ 4724400 w 8610600"/>
                    <a:gd name="connsiteY84" fmla="*/ 7717873 h 10480123"/>
                    <a:gd name="connsiteX85" fmla="*/ 5098256 w 8610600"/>
                    <a:gd name="connsiteY85" fmla="*/ 7663104 h 10480123"/>
                    <a:gd name="connsiteX86" fmla="*/ 5272088 w 8610600"/>
                    <a:gd name="connsiteY86" fmla="*/ 7591667 h 10480123"/>
                    <a:gd name="connsiteX87" fmla="*/ 5391150 w 8610600"/>
                    <a:gd name="connsiteY87" fmla="*/ 7584523 h 10480123"/>
                    <a:gd name="connsiteX88" fmla="*/ 5657850 w 8610600"/>
                    <a:gd name="connsiteY88" fmla="*/ 7584523 h 10480123"/>
                    <a:gd name="connsiteX89" fmla="*/ 5867400 w 8610600"/>
                    <a:gd name="connsiteY89" fmla="*/ 7698823 h 10480123"/>
                    <a:gd name="connsiteX90" fmla="*/ 5753100 w 8610600"/>
                    <a:gd name="connsiteY90" fmla="*/ 7279723 h 10480123"/>
                    <a:gd name="connsiteX91" fmla="*/ 5581650 w 8610600"/>
                    <a:gd name="connsiteY91" fmla="*/ 6955873 h 10480123"/>
                    <a:gd name="connsiteX92" fmla="*/ 5391150 w 8610600"/>
                    <a:gd name="connsiteY92" fmla="*/ 6670123 h 10480123"/>
                    <a:gd name="connsiteX93" fmla="*/ 5281613 w 8610600"/>
                    <a:gd name="connsiteY93" fmla="*/ 6617736 h 10480123"/>
                    <a:gd name="connsiteX94" fmla="*/ 4910138 w 8610600"/>
                    <a:gd name="connsiteY94" fmla="*/ 6546298 h 10480123"/>
                    <a:gd name="connsiteX95" fmla="*/ 4629150 w 8610600"/>
                    <a:gd name="connsiteY95" fmla="*/ 6346273 h 10480123"/>
                    <a:gd name="connsiteX96" fmla="*/ 4286250 w 8610600"/>
                    <a:gd name="connsiteY96" fmla="*/ 6384373 h 10480123"/>
                    <a:gd name="connsiteX97" fmla="*/ 3874294 w 8610600"/>
                    <a:gd name="connsiteY97" fmla="*/ 6558204 h 10480123"/>
                    <a:gd name="connsiteX98" fmla="*/ 3600450 w 8610600"/>
                    <a:gd name="connsiteY98" fmla="*/ 6670123 h 10480123"/>
                    <a:gd name="connsiteX99" fmla="*/ 3181350 w 8610600"/>
                    <a:gd name="connsiteY99" fmla="*/ 5774773 h 10480123"/>
                    <a:gd name="connsiteX100" fmla="*/ 2724150 w 8610600"/>
                    <a:gd name="connsiteY100" fmla="*/ 4860373 h 10480123"/>
                    <a:gd name="connsiteX101" fmla="*/ 2381250 w 8610600"/>
                    <a:gd name="connsiteY101" fmla="*/ 4288873 h 10480123"/>
                    <a:gd name="connsiteX102" fmla="*/ 1962150 w 8610600"/>
                    <a:gd name="connsiteY102" fmla="*/ 3869773 h 10480123"/>
                    <a:gd name="connsiteX103" fmla="*/ 1619250 w 8610600"/>
                    <a:gd name="connsiteY103" fmla="*/ 3545923 h 10480123"/>
                    <a:gd name="connsiteX104" fmla="*/ 1009650 w 8610600"/>
                    <a:gd name="connsiteY104" fmla="*/ 3507823 h 10480123"/>
                    <a:gd name="connsiteX105" fmla="*/ 762000 w 8610600"/>
                    <a:gd name="connsiteY105" fmla="*/ 3545923 h 10480123"/>
                    <a:gd name="connsiteX106" fmla="*/ 838200 w 8610600"/>
                    <a:gd name="connsiteY106" fmla="*/ 2917273 h 10480123"/>
                    <a:gd name="connsiteX107" fmla="*/ 838200 w 8610600"/>
                    <a:gd name="connsiteY107" fmla="*/ 2479123 h 10480123"/>
                    <a:gd name="connsiteX108" fmla="*/ 971550 w 8610600"/>
                    <a:gd name="connsiteY108" fmla="*/ 1964773 h 10480123"/>
                    <a:gd name="connsiteX109" fmla="*/ 1028700 w 8610600"/>
                    <a:gd name="connsiteY109" fmla="*/ 1412323 h 10480123"/>
                    <a:gd name="connsiteX110" fmla="*/ 1295400 w 8610600"/>
                    <a:gd name="connsiteY110" fmla="*/ 859873 h 10480123"/>
                    <a:gd name="connsiteX111" fmla="*/ 1562100 w 8610600"/>
                    <a:gd name="connsiteY111" fmla="*/ 745573 h 10480123"/>
                    <a:gd name="connsiteX112" fmla="*/ 1809750 w 8610600"/>
                    <a:gd name="connsiteY112" fmla="*/ 726523 h 10480123"/>
                    <a:gd name="connsiteX113" fmla="*/ 2190750 w 8610600"/>
                    <a:gd name="connsiteY113" fmla="*/ 574123 h 10480123"/>
                    <a:gd name="connsiteX114" fmla="*/ 2457450 w 8610600"/>
                    <a:gd name="connsiteY114" fmla="*/ 478873 h 10480123"/>
                    <a:gd name="connsiteX115" fmla="*/ 2838450 w 8610600"/>
                    <a:gd name="connsiteY115" fmla="*/ 421723 h 10480123"/>
                    <a:gd name="connsiteX116" fmla="*/ 3219450 w 8610600"/>
                    <a:gd name="connsiteY116" fmla="*/ 174073 h 10480123"/>
                    <a:gd name="connsiteX117" fmla="*/ 2857500 w 8610600"/>
                    <a:gd name="connsiteY117" fmla="*/ 440773 h 10480123"/>
                    <a:gd name="connsiteX118" fmla="*/ 2381250 w 8610600"/>
                    <a:gd name="connsiteY118" fmla="*/ 707473 h 10480123"/>
                    <a:gd name="connsiteX119" fmla="*/ 2286000 w 8610600"/>
                    <a:gd name="connsiteY119" fmla="*/ 821773 h 10480123"/>
                    <a:gd name="connsiteX120" fmla="*/ 2400300 w 8610600"/>
                    <a:gd name="connsiteY120" fmla="*/ 840823 h 10480123"/>
                    <a:gd name="connsiteX121" fmla="*/ 2686050 w 8610600"/>
                    <a:gd name="connsiteY121" fmla="*/ 764623 h 10480123"/>
                    <a:gd name="connsiteX122" fmla="*/ 2895600 w 8610600"/>
                    <a:gd name="connsiteY122" fmla="*/ 707473 h 10480123"/>
                    <a:gd name="connsiteX123" fmla="*/ 3143250 w 8610600"/>
                    <a:gd name="connsiteY123" fmla="*/ 555073 h 10480123"/>
                    <a:gd name="connsiteX124" fmla="*/ 3143250 w 8610600"/>
                    <a:gd name="connsiteY124" fmla="*/ 669373 h 10480123"/>
                    <a:gd name="connsiteX125" fmla="*/ 3143250 w 8610600"/>
                    <a:gd name="connsiteY125" fmla="*/ 955123 h 10480123"/>
                    <a:gd name="connsiteX126" fmla="*/ 3314700 w 8610600"/>
                    <a:gd name="connsiteY126" fmla="*/ 1202773 h 10480123"/>
                    <a:gd name="connsiteX127" fmla="*/ 3067050 w 8610600"/>
                    <a:gd name="connsiteY127" fmla="*/ 2802973 h 10480123"/>
                    <a:gd name="connsiteX128" fmla="*/ 3009900 w 8610600"/>
                    <a:gd name="connsiteY128" fmla="*/ 3488773 h 10480123"/>
                    <a:gd name="connsiteX129" fmla="*/ 3162300 w 8610600"/>
                    <a:gd name="connsiteY129" fmla="*/ 4574623 h 10480123"/>
                    <a:gd name="connsiteX130" fmla="*/ 3314700 w 8610600"/>
                    <a:gd name="connsiteY130" fmla="*/ 5355673 h 10480123"/>
                    <a:gd name="connsiteX131" fmla="*/ 3429000 w 8610600"/>
                    <a:gd name="connsiteY131" fmla="*/ 6079573 h 10480123"/>
                    <a:gd name="connsiteX132" fmla="*/ 3714750 w 8610600"/>
                    <a:gd name="connsiteY132" fmla="*/ 5679523 h 10480123"/>
                    <a:gd name="connsiteX133" fmla="*/ 3886200 w 8610600"/>
                    <a:gd name="connsiteY133" fmla="*/ 5355673 h 10480123"/>
                    <a:gd name="connsiteX134" fmla="*/ 3981450 w 8610600"/>
                    <a:gd name="connsiteY134" fmla="*/ 4974673 h 10480123"/>
                    <a:gd name="connsiteX135" fmla="*/ 4248150 w 8610600"/>
                    <a:gd name="connsiteY135" fmla="*/ 4555573 h 10480123"/>
                    <a:gd name="connsiteX136" fmla="*/ 4476750 w 8610600"/>
                    <a:gd name="connsiteY136" fmla="*/ 4041223 h 10480123"/>
                    <a:gd name="connsiteX137" fmla="*/ 4876800 w 8610600"/>
                    <a:gd name="connsiteY137" fmla="*/ 3203023 h 10480123"/>
                    <a:gd name="connsiteX138" fmla="*/ 5181600 w 8610600"/>
                    <a:gd name="connsiteY138" fmla="*/ 2402923 h 10480123"/>
                    <a:gd name="connsiteX139" fmla="*/ 5410200 w 8610600"/>
                    <a:gd name="connsiteY139" fmla="*/ 1679023 h 10480123"/>
                    <a:gd name="connsiteX140" fmla="*/ 5638800 w 8610600"/>
                    <a:gd name="connsiteY140" fmla="*/ 993223 h 10480123"/>
                    <a:gd name="connsiteX141" fmla="*/ 6057900 w 8610600"/>
                    <a:gd name="connsiteY141" fmla="*/ 1336123 h 10480123"/>
                    <a:gd name="connsiteX142" fmla="*/ 6076950 w 8610600"/>
                    <a:gd name="connsiteY142" fmla="*/ 1583773 h 10480123"/>
                    <a:gd name="connsiteX143" fmla="*/ 6153150 w 8610600"/>
                    <a:gd name="connsiteY143" fmla="*/ 1659973 h 10480123"/>
                    <a:gd name="connsiteX144" fmla="*/ 6229350 w 8610600"/>
                    <a:gd name="connsiteY144" fmla="*/ 1488523 h 10480123"/>
                    <a:gd name="connsiteX145" fmla="*/ 6286500 w 8610600"/>
                    <a:gd name="connsiteY145" fmla="*/ 1164673 h 10480123"/>
                    <a:gd name="connsiteX146" fmla="*/ 6229350 w 8610600"/>
                    <a:gd name="connsiteY146" fmla="*/ 707473 h 10480123"/>
                    <a:gd name="connsiteX147" fmla="*/ 6096000 w 8610600"/>
                    <a:gd name="connsiteY147" fmla="*/ 193123 h 10480123"/>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66750 w 8610600"/>
                    <a:gd name="connsiteY68" fmla="*/ 6784423 h 10480123"/>
                    <a:gd name="connsiteX69" fmla="*/ 952500 w 8610600"/>
                    <a:gd name="connsiteY69" fmla="*/ 678442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264694 w 8610600"/>
                    <a:gd name="connsiteY73" fmla="*/ 7103511 h 10480123"/>
                    <a:gd name="connsiteX74" fmla="*/ 3048000 w 8610600"/>
                    <a:gd name="connsiteY74" fmla="*/ 7203523 h 10480123"/>
                    <a:gd name="connsiteX75" fmla="*/ 3078956 w 8610600"/>
                    <a:gd name="connsiteY75" fmla="*/ 7403548 h 10480123"/>
                    <a:gd name="connsiteX76" fmla="*/ 3174206 w 8610600"/>
                    <a:gd name="connsiteY76" fmla="*/ 7415454 h 10480123"/>
                    <a:gd name="connsiteX77" fmla="*/ 3295650 w 8610600"/>
                    <a:gd name="connsiteY77" fmla="*/ 7403548 h 10480123"/>
                    <a:gd name="connsiteX78" fmla="*/ 3309938 w 8610600"/>
                    <a:gd name="connsiteY78" fmla="*/ 7498798 h 10480123"/>
                    <a:gd name="connsiteX79" fmla="*/ 3393281 w 8610600"/>
                    <a:gd name="connsiteY79" fmla="*/ 7594048 h 10480123"/>
                    <a:gd name="connsiteX80" fmla="*/ 3655219 w 8610600"/>
                    <a:gd name="connsiteY80" fmla="*/ 7613098 h 10480123"/>
                    <a:gd name="connsiteX81" fmla="*/ 3676650 w 8610600"/>
                    <a:gd name="connsiteY81" fmla="*/ 7605954 h 10480123"/>
                    <a:gd name="connsiteX82" fmla="*/ 3698081 w 8610600"/>
                    <a:gd name="connsiteY82" fmla="*/ 7789311 h 10480123"/>
                    <a:gd name="connsiteX83" fmla="*/ 3926681 w 8610600"/>
                    <a:gd name="connsiteY83" fmla="*/ 7836936 h 10480123"/>
                    <a:gd name="connsiteX84" fmla="*/ 4341019 w 8610600"/>
                    <a:gd name="connsiteY84" fmla="*/ 7805979 h 10480123"/>
                    <a:gd name="connsiteX85" fmla="*/ 4724400 w 8610600"/>
                    <a:gd name="connsiteY85" fmla="*/ 7717873 h 10480123"/>
                    <a:gd name="connsiteX86" fmla="*/ 5098256 w 8610600"/>
                    <a:gd name="connsiteY86" fmla="*/ 7663104 h 10480123"/>
                    <a:gd name="connsiteX87" fmla="*/ 5272088 w 8610600"/>
                    <a:gd name="connsiteY87" fmla="*/ 7591667 h 10480123"/>
                    <a:gd name="connsiteX88" fmla="*/ 5391150 w 8610600"/>
                    <a:gd name="connsiteY88" fmla="*/ 7584523 h 10480123"/>
                    <a:gd name="connsiteX89" fmla="*/ 5657850 w 8610600"/>
                    <a:gd name="connsiteY89" fmla="*/ 7584523 h 10480123"/>
                    <a:gd name="connsiteX90" fmla="*/ 5867400 w 8610600"/>
                    <a:gd name="connsiteY90" fmla="*/ 7698823 h 10480123"/>
                    <a:gd name="connsiteX91" fmla="*/ 5753100 w 8610600"/>
                    <a:gd name="connsiteY91" fmla="*/ 7279723 h 10480123"/>
                    <a:gd name="connsiteX92" fmla="*/ 5581650 w 8610600"/>
                    <a:gd name="connsiteY92" fmla="*/ 6955873 h 10480123"/>
                    <a:gd name="connsiteX93" fmla="*/ 5391150 w 8610600"/>
                    <a:gd name="connsiteY93" fmla="*/ 6670123 h 10480123"/>
                    <a:gd name="connsiteX94" fmla="*/ 5281613 w 8610600"/>
                    <a:gd name="connsiteY94" fmla="*/ 6617736 h 10480123"/>
                    <a:gd name="connsiteX95" fmla="*/ 4910138 w 8610600"/>
                    <a:gd name="connsiteY95" fmla="*/ 6546298 h 10480123"/>
                    <a:gd name="connsiteX96" fmla="*/ 4629150 w 8610600"/>
                    <a:gd name="connsiteY96" fmla="*/ 6346273 h 10480123"/>
                    <a:gd name="connsiteX97" fmla="*/ 4286250 w 8610600"/>
                    <a:gd name="connsiteY97" fmla="*/ 6384373 h 10480123"/>
                    <a:gd name="connsiteX98" fmla="*/ 3874294 w 8610600"/>
                    <a:gd name="connsiteY98" fmla="*/ 6558204 h 10480123"/>
                    <a:gd name="connsiteX99" fmla="*/ 3600450 w 8610600"/>
                    <a:gd name="connsiteY99" fmla="*/ 6670123 h 10480123"/>
                    <a:gd name="connsiteX100" fmla="*/ 3181350 w 8610600"/>
                    <a:gd name="connsiteY100" fmla="*/ 5774773 h 10480123"/>
                    <a:gd name="connsiteX101" fmla="*/ 2724150 w 8610600"/>
                    <a:gd name="connsiteY101" fmla="*/ 4860373 h 10480123"/>
                    <a:gd name="connsiteX102" fmla="*/ 2381250 w 8610600"/>
                    <a:gd name="connsiteY102" fmla="*/ 4288873 h 10480123"/>
                    <a:gd name="connsiteX103" fmla="*/ 1962150 w 8610600"/>
                    <a:gd name="connsiteY103" fmla="*/ 3869773 h 10480123"/>
                    <a:gd name="connsiteX104" fmla="*/ 1619250 w 8610600"/>
                    <a:gd name="connsiteY104" fmla="*/ 3545923 h 10480123"/>
                    <a:gd name="connsiteX105" fmla="*/ 1009650 w 8610600"/>
                    <a:gd name="connsiteY105" fmla="*/ 3507823 h 10480123"/>
                    <a:gd name="connsiteX106" fmla="*/ 762000 w 8610600"/>
                    <a:gd name="connsiteY106" fmla="*/ 3545923 h 10480123"/>
                    <a:gd name="connsiteX107" fmla="*/ 838200 w 8610600"/>
                    <a:gd name="connsiteY107" fmla="*/ 2917273 h 10480123"/>
                    <a:gd name="connsiteX108" fmla="*/ 838200 w 8610600"/>
                    <a:gd name="connsiteY108" fmla="*/ 2479123 h 10480123"/>
                    <a:gd name="connsiteX109" fmla="*/ 971550 w 8610600"/>
                    <a:gd name="connsiteY109" fmla="*/ 1964773 h 10480123"/>
                    <a:gd name="connsiteX110" fmla="*/ 1028700 w 8610600"/>
                    <a:gd name="connsiteY110" fmla="*/ 1412323 h 10480123"/>
                    <a:gd name="connsiteX111" fmla="*/ 1295400 w 8610600"/>
                    <a:gd name="connsiteY111" fmla="*/ 859873 h 10480123"/>
                    <a:gd name="connsiteX112" fmla="*/ 1562100 w 8610600"/>
                    <a:gd name="connsiteY112" fmla="*/ 745573 h 10480123"/>
                    <a:gd name="connsiteX113" fmla="*/ 1809750 w 8610600"/>
                    <a:gd name="connsiteY113" fmla="*/ 726523 h 10480123"/>
                    <a:gd name="connsiteX114" fmla="*/ 2190750 w 8610600"/>
                    <a:gd name="connsiteY114" fmla="*/ 574123 h 10480123"/>
                    <a:gd name="connsiteX115" fmla="*/ 2457450 w 8610600"/>
                    <a:gd name="connsiteY115" fmla="*/ 478873 h 10480123"/>
                    <a:gd name="connsiteX116" fmla="*/ 2838450 w 8610600"/>
                    <a:gd name="connsiteY116" fmla="*/ 421723 h 10480123"/>
                    <a:gd name="connsiteX117" fmla="*/ 3219450 w 8610600"/>
                    <a:gd name="connsiteY117" fmla="*/ 174073 h 10480123"/>
                    <a:gd name="connsiteX118" fmla="*/ 2857500 w 8610600"/>
                    <a:gd name="connsiteY118" fmla="*/ 440773 h 10480123"/>
                    <a:gd name="connsiteX119" fmla="*/ 2381250 w 8610600"/>
                    <a:gd name="connsiteY119" fmla="*/ 707473 h 10480123"/>
                    <a:gd name="connsiteX120" fmla="*/ 2286000 w 8610600"/>
                    <a:gd name="connsiteY120" fmla="*/ 821773 h 10480123"/>
                    <a:gd name="connsiteX121" fmla="*/ 2400300 w 8610600"/>
                    <a:gd name="connsiteY121" fmla="*/ 840823 h 10480123"/>
                    <a:gd name="connsiteX122" fmla="*/ 2686050 w 8610600"/>
                    <a:gd name="connsiteY122" fmla="*/ 764623 h 10480123"/>
                    <a:gd name="connsiteX123" fmla="*/ 2895600 w 8610600"/>
                    <a:gd name="connsiteY123" fmla="*/ 707473 h 10480123"/>
                    <a:gd name="connsiteX124" fmla="*/ 3143250 w 8610600"/>
                    <a:gd name="connsiteY124" fmla="*/ 555073 h 10480123"/>
                    <a:gd name="connsiteX125" fmla="*/ 3143250 w 8610600"/>
                    <a:gd name="connsiteY125" fmla="*/ 669373 h 10480123"/>
                    <a:gd name="connsiteX126" fmla="*/ 3143250 w 8610600"/>
                    <a:gd name="connsiteY126" fmla="*/ 955123 h 10480123"/>
                    <a:gd name="connsiteX127" fmla="*/ 3314700 w 8610600"/>
                    <a:gd name="connsiteY127" fmla="*/ 1202773 h 10480123"/>
                    <a:gd name="connsiteX128" fmla="*/ 3067050 w 8610600"/>
                    <a:gd name="connsiteY128" fmla="*/ 2802973 h 10480123"/>
                    <a:gd name="connsiteX129" fmla="*/ 3009900 w 8610600"/>
                    <a:gd name="connsiteY129" fmla="*/ 3488773 h 10480123"/>
                    <a:gd name="connsiteX130" fmla="*/ 3162300 w 8610600"/>
                    <a:gd name="connsiteY130" fmla="*/ 4574623 h 10480123"/>
                    <a:gd name="connsiteX131" fmla="*/ 3314700 w 8610600"/>
                    <a:gd name="connsiteY131" fmla="*/ 5355673 h 10480123"/>
                    <a:gd name="connsiteX132" fmla="*/ 3429000 w 8610600"/>
                    <a:gd name="connsiteY132" fmla="*/ 6079573 h 10480123"/>
                    <a:gd name="connsiteX133" fmla="*/ 3714750 w 8610600"/>
                    <a:gd name="connsiteY133" fmla="*/ 5679523 h 10480123"/>
                    <a:gd name="connsiteX134" fmla="*/ 3886200 w 8610600"/>
                    <a:gd name="connsiteY134" fmla="*/ 5355673 h 10480123"/>
                    <a:gd name="connsiteX135" fmla="*/ 3981450 w 8610600"/>
                    <a:gd name="connsiteY135" fmla="*/ 4974673 h 10480123"/>
                    <a:gd name="connsiteX136" fmla="*/ 4248150 w 8610600"/>
                    <a:gd name="connsiteY136" fmla="*/ 4555573 h 10480123"/>
                    <a:gd name="connsiteX137" fmla="*/ 4476750 w 8610600"/>
                    <a:gd name="connsiteY137" fmla="*/ 4041223 h 10480123"/>
                    <a:gd name="connsiteX138" fmla="*/ 4876800 w 8610600"/>
                    <a:gd name="connsiteY138" fmla="*/ 3203023 h 10480123"/>
                    <a:gd name="connsiteX139" fmla="*/ 5181600 w 8610600"/>
                    <a:gd name="connsiteY139" fmla="*/ 2402923 h 10480123"/>
                    <a:gd name="connsiteX140" fmla="*/ 5410200 w 8610600"/>
                    <a:gd name="connsiteY140" fmla="*/ 1679023 h 10480123"/>
                    <a:gd name="connsiteX141" fmla="*/ 5638800 w 8610600"/>
                    <a:gd name="connsiteY141" fmla="*/ 993223 h 10480123"/>
                    <a:gd name="connsiteX142" fmla="*/ 6057900 w 8610600"/>
                    <a:gd name="connsiteY142" fmla="*/ 1336123 h 10480123"/>
                    <a:gd name="connsiteX143" fmla="*/ 6076950 w 8610600"/>
                    <a:gd name="connsiteY143" fmla="*/ 1583773 h 10480123"/>
                    <a:gd name="connsiteX144" fmla="*/ 6153150 w 8610600"/>
                    <a:gd name="connsiteY144" fmla="*/ 1659973 h 10480123"/>
                    <a:gd name="connsiteX145" fmla="*/ 6229350 w 8610600"/>
                    <a:gd name="connsiteY145" fmla="*/ 1488523 h 10480123"/>
                    <a:gd name="connsiteX146" fmla="*/ 6286500 w 8610600"/>
                    <a:gd name="connsiteY146" fmla="*/ 1164673 h 10480123"/>
                    <a:gd name="connsiteX147" fmla="*/ 6229350 w 8610600"/>
                    <a:gd name="connsiteY147" fmla="*/ 707473 h 10480123"/>
                    <a:gd name="connsiteX148" fmla="*/ 6096000 w 8610600"/>
                    <a:gd name="connsiteY148" fmla="*/ 193123 h 10480123"/>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66750 w 8610600"/>
                    <a:gd name="connsiteY68" fmla="*/ 6784423 h 10480123"/>
                    <a:gd name="connsiteX69" fmla="*/ 952500 w 8610600"/>
                    <a:gd name="connsiteY69" fmla="*/ 678442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264694 w 8610600"/>
                    <a:gd name="connsiteY73" fmla="*/ 7103511 h 10480123"/>
                    <a:gd name="connsiteX74" fmla="*/ 3064669 w 8610600"/>
                    <a:gd name="connsiteY74" fmla="*/ 7227336 h 10480123"/>
                    <a:gd name="connsiteX75" fmla="*/ 3078956 w 8610600"/>
                    <a:gd name="connsiteY75" fmla="*/ 7403548 h 10480123"/>
                    <a:gd name="connsiteX76" fmla="*/ 3174206 w 8610600"/>
                    <a:gd name="connsiteY76" fmla="*/ 7415454 h 10480123"/>
                    <a:gd name="connsiteX77" fmla="*/ 3295650 w 8610600"/>
                    <a:gd name="connsiteY77" fmla="*/ 7403548 h 10480123"/>
                    <a:gd name="connsiteX78" fmla="*/ 3309938 w 8610600"/>
                    <a:gd name="connsiteY78" fmla="*/ 7498798 h 10480123"/>
                    <a:gd name="connsiteX79" fmla="*/ 3393281 w 8610600"/>
                    <a:gd name="connsiteY79" fmla="*/ 7594048 h 10480123"/>
                    <a:gd name="connsiteX80" fmla="*/ 3655219 w 8610600"/>
                    <a:gd name="connsiteY80" fmla="*/ 7613098 h 10480123"/>
                    <a:gd name="connsiteX81" fmla="*/ 3676650 w 8610600"/>
                    <a:gd name="connsiteY81" fmla="*/ 7605954 h 10480123"/>
                    <a:gd name="connsiteX82" fmla="*/ 3698081 w 8610600"/>
                    <a:gd name="connsiteY82" fmla="*/ 7789311 h 10480123"/>
                    <a:gd name="connsiteX83" fmla="*/ 3926681 w 8610600"/>
                    <a:gd name="connsiteY83" fmla="*/ 7836936 h 10480123"/>
                    <a:gd name="connsiteX84" fmla="*/ 4341019 w 8610600"/>
                    <a:gd name="connsiteY84" fmla="*/ 7805979 h 10480123"/>
                    <a:gd name="connsiteX85" fmla="*/ 4724400 w 8610600"/>
                    <a:gd name="connsiteY85" fmla="*/ 7717873 h 10480123"/>
                    <a:gd name="connsiteX86" fmla="*/ 5098256 w 8610600"/>
                    <a:gd name="connsiteY86" fmla="*/ 7663104 h 10480123"/>
                    <a:gd name="connsiteX87" fmla="*/ 5272088 w 8610600"/>
                    <a:gd name="connsiteY87" fmla="*/ 7591667 h 10480123"/>
                    <a:gd name="connsiteX88" fmla="*/ 5391150 w 8610600"/>
                    <a:gd name="connsiteY88" fmla="*/ 7584523 h 10480123"/>
                    <a:gd name="connsiteX89" fmla="*/ 5657850 w 8610600"/>
                    <a:gd name="connsiteY89" fmla="*/ 7584523 h 10480123"/>
                    <a:gd name="connsiteX90" fmla="*/ 5867400 w 8610600"/>
                    <a:gd name="connsiteY90" fmla="*/ 7698823 h 10480123"/>
                    <a:gd name="connsiteX91" fmla="*/ 5753100 w 8610600"/>
                    <a:gd name="connsiteY91" fmla="*/ 7279723 h 10480123"/>
                    <a:gd name="connsiteX92" fmla="*/ 5581650 w 8610600"/>
                    <a:gd name="connsiteY92" fmla="*/ 6955873 h 10480123"/>
                    <a:gd name="connsiteX93" fmla="*/ 5391150 w 8610600"/>
                    <a:gd name="connsiteY93" fmla="*/ 6670123 h 10480123"/>
                    <a:gd name="connsiteX94" fmla="*/ 5281613 w 8610600"/>
                    <a:gd name="connsiteY94" fmla="*/ 6617736 h 10480123"/>
                    <a:gd name="connsiteX95" fmla="*/ 4910138 w 8610600"/>
                    <a:gd name="connsiteY95" fmla="*/ 6546298 h 10480123"/>
                    <a:gd name="connsiteX96" fmla="*/ 4629150 w 8610600"/>
                    <a:gd name="connsiteY96" fmla="*/ 6346273 h 10480123"/>
                    <a:gd name="connsiteX97" fmla="*/ 4286250 w 8610600"/>
                    <a:gd name="connsiteY97" fmla="*/ 6384373 h 10480123"/>
                    <a:gd name="connsiteX98" fmla="*/ 3874294 w 8610600"/>
                    <a:gd name="connsiteY98" fmla="*/ 6558204 h 10480123"/>
                    <a:gd name="connsiteX99" fmla="*/ 3600450 w 8610600"/>
                    <a:gd name="connsiteY99" fmla="*/ 6670123 h 10480123"/>
                    <a:gd name="connsiteX100" fmla="*/ 3181350 w 8610600"/>
                    <a:gd name="connsiteY100" fmla="*/ 5774773 h 10480123"/>
                    <a:gd name="connsiteX101" fmla="*/ 2724150 w 8610600"/>
                    <a:gd name="connsiteY101" fmla="*/ 4860373 h 10480123"/>
                    <a:gd name="connsiteX102" fmla="*/ 2381250 w 8610600"/>
                    <a:gd name="connsiteY102" fmla="*/ 4288873 h 10480123"/>
                    <a:gd name="connsiteX103" fmla="*/ 1962150 w 8610600"/>
                    <a:gd name="connsiteY103" fmla="*/ 3869773 h 10480123"/>
                    <a:gd name="connsiteX104" fmla="*/ 1619250 w 8610600"/>
                    <a:gd name="connsiteY104" fmla="*/ 3545923 h 10480123"/>
                    <a:gd name="connsiteX105" fmla="*/ 1009650 w 8610600"/>
                    <a:gd name="connsiteY105" fmla="*/ 3507823 h 10480123"/>
                    <a:gd name="connsiteX106" fmla="*/ 762000 w 8610600"/>
                    <a:gd name="connsiteY106" fmla="*/ 3545923 h 10480123"/>
                    <a:gd name="connsiteX107" fmla="*/ 838200 w 8610600"/>
                    <a:gd name="connsiteY107" fmla="*/ 2917273 h 10480123"/>
                    <a:gd name="connsiteX108" fmla="*/ 838200 w 8610600"/>
                    <a:gd name="connsiteY108" fmla="*/ 2479123 h 10480123"/>
                    <a:gd name="connsiteX109" fmla="*/ 971550 w 8610600"/>
                    <a:gd name="connsiteY109" fmla="*/ 1964773 h 10480123"/>
                    <a:gd name="connsiteX110" fmla="*/ 1028700 w 8610600"/>
                    <a:gd name="connsiteY110" fmla="*/ 1412323 h 10480123"/>
                    <a:gd name="connsiteX111" fmla="*/ 1295400 w 8610600"/>
                    <a:gd name="connsiteY111" fmla="*/ 859873 h 10480123"/>
                    <a:gd name="connsiteX112" fmla="*/ 1562100 w 8610600"/>
                    <a:gd name="connsiteY112" fmla="*/ 745573 h 10480123"/>
                    <a:gd name="connsiteX113" fmla="*/ 1809750 w 8610600"/>
                    <a:gd name="connsiteY113" fmla="*/ 726523 h 10480123"/>
                    <a:gd name="connsiteX114" fmla="*/ 2190750 w 8610600"/>
                    <a:gd name="connsiteY114" fmla="*/ 574123 h 10480123"/>
                    <a:gd name="connsiteX115" fmla="*/ 2457450 w 8610600"/>
                    <a:gd name="connsiteY115" fmla="*/ 478873 h 10480123"/>
                    <a:gd name="connsiteX116" fmla="*/ 2838450 w 8610600"/>
                    <a:gd name="connsiteY116" fmla="*/ 421723 h 10480123"/>
                    <a:gd name="connsiteX117" fmla="*/ 3219450 w 8610600"/>
                    <a:gd name="connsiteY117" fmla="*/ 174073 h 10480123"/>
                    <a:gd name="connsiteX118" fmla="*/ 2857500 w 8610600"/>
                    <a:gd name="connsiteY118" fmla="*/ 440773 h 10480123"/>
                    <a:gd name="connsiteX119" fmla="*/ 2381250 w 8610600"/>
                    <a:gd name="connsiteY119" fmla="*/ 707473 h 10480123"/>
                    <a:gd name="connsiteX120" fmla="*/ 2286000 w 8610600"/>
                    <a:gd name="connsiteY120" fmla="*/ 821773 h 10480123"/>
                    <a:gd name="connsiteX121" fmla="*/ 2400300 w 8610600"/>
                    <a:gd name="connsiteY121" fmla="*/ 840823 h 10480123"/>
                    <a:gd name="connsiteX122" fmla="*/ 2686050 w 8610600"/>
                    <a:gd name="connsiteY122" fmla="*/ 764623 h 10480123"/>
                    <a:gd name="connsiteX123" fmla="*/ 2895600 w 8610600"/>
                    <a:gd name="connsiteY123" fmla="*/ 707473 h 10480123"/>
                    <a:gd name="connsiteX124" fmla="*/ 3143250 w 8610600"/>
                    <a:gd name="connsiteY124" fmla="*/ 555073 h 10480123"/>
                    <a:gd name="connsiteX125" fmla="*/ 3143250 w 8610600"/>
                    <a:gd name="connsiteY125" fmla="*/ 669373 h 10480123"/>
                    <a:gd name="connsiteX126" fmla="*/ 3143250 w 8610600"/>
                    <a:gd name="connsiteY126" fmla="*/ 955123 h 10480123"/>
                    <a:gd name="connsiteX127" fmla="*/ 3314700 w 8610600"/>
                    <a:gd name="connsiteY127" fmla="*/ 1202773 h 10480123"/>
                    <a:gd name="connsiteX128" fmla="*/ 3067050 w 8610600"/>
                    <a:gd name="connsiteY128" fmla="*/ 2802973 h 10480123"/>
                    <a:gd name="connsiteX129" fmla="*/ 3009900 w 8610600"/>
                    <a:gd name="connsiteY129" fmla="*/ 3488773 h 10480123"/>
                    <a:gd name="connsiteX130" fmla="*/ 3162300 w 8610600"/>
                    <a:gd name="connsiteY130" fmla="*/ 4574623 h 10480123"/>
                    <a:gd name="connsiteX131" fmla="*/ 3314700 w 8610600"/>
                    <a:gd name="connsiteY131" fmla="*/ 5355673 h 10480123"/>
                    <a:gd name="connsiteX132" fmla="*/ 3429000 w 8610600"/>
                    <a:gd name="connsiteY132" fmla="*/ 6079573 h 10480123"/>
                    <a:gd name="connsiteX133" fmla="*/ 3714750 w 8610600"/>
                    <a:gd name="connsiteY133" fmla="*/ 5679523 h 10480123"/>
                    <a:gd name="connsiteX134" fmla="*/ 3886200 w 8610600"/>
                    <a:gd name="connsiteY134" fmla="*/ 5355673 h 10480123"/>
                    <a:gd name="connsiteX135" fmla="*/ 3981450 w 8610600"/>
                    <a:gd name="connsiteY135" fmla="*/ 4974673 h 10480123"/>
                    <a:gd name="connsiteX136" fmla="*/ 4248150 w 8610600"/>
                    <a:gd name="connsiteY136" fmla="*/ 4555573 h 10480123"/>
                    <a:gd name="connsiteX137" fmla="*/ 4476750 w 8610600"/>
                    <a:gd name="connsiteY137" fmla="*/ 4041223 h 10480123"/>
                    <a:gd name="connsiteX138" fmla="*/ 4876800 w 8610600"/>
                    <a:gd name="connsiteY138" fmla="*/ 3203023 h 10480123"/>
                    <a:gd name="connsiteX139" fmla="*/ 5181600 w 8610600"/>
                    <a:gd name="connsiteY139" fmla="*/ 2402923 h 10480123"/>
                    <a:gd name="connsiteX140" fmla="*/ 5410200 w 8610600"/>
                    <a:gd name="connsiteY140" fmla="*/ 1679023 h 10480123"/>
                    <a:gd name="connsiteX141" fmla="*/ 5638800 w 8610600"/>
                    <a:gd name="connsiteY141" fmla="*/ 993223 h 10480123"/>
                    <a:gd name="connsiteX142" fmla="*/ 6057900 w 8610600"/>
                    <a:gd name="connsiteY142" fmla="*/ 1336123 h 10480123"/>
                    <a:gd name="connsiteX143" fmla="*/ 6076950 w 8610600"/>
                    <a:gd name="connsiteY143" fmla="*/ 1583773 h 10480123"/>
                    <a:gd name="connsiteX144" fmla="*/ 6153150 w 8610600"/>
                    <a:gd name="connsiteY144" fmla="*/ 1659973 h 10480123"/>
                    <a:gd name="connsiteX145" fmla="*/ 6229350 w 8610600"/>
                    <a:gd name="connsiteY145" fmla="*/ 1488523 h 10480123"/>
                    <a:gd name="connsiteX146" fmla="*/ 6286500 w 8610600"/>
                    <a:gd name="connsiteY146" fmla="*/ 1164673 h 10480123"/>
                    <a:gd name="connsiteX147" fmla="*/ 6229350 w 8610600"/>
                    <a:gd name="connsiteY147" fmla="*/ 707473 h 10480123"/>
                    <a:gd name="connsiteX148" fmla="*/ 6096000 w 8610600"/>
                    <a:gd name="connsiteY148" fmla="*/ 193123 h 10480123"/>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66750 w 8610600"/>
                    <a:gd name="connsiteY68" fmla="*/ 6784423 h 10480123"/>
                    <a:gd name="connsiteX69" fmla="*/ 952500 w 8610600"/>
                    <a:gd name="connsiteY69" fmla="*/ 678442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264694 w 8610600"/>
                    <a:gd name="connsiteY73" fmla="*/ 7103511 h 10480123"/>
                    <a:gd name="connsiteX74" fmla="*/ 3064669 w 8610600"/>
                    <a:gd name="connsiteY74" fmla="*/ 7227336 h 10480123"/>
                    <a:gd name="connsiteX75" fmla="*/ 3078956 w 8610600"/>
                    <a:gd name="connsiteY75" fmla="*/ 7403548 h 10480123"/>
                    <a:gd name="connsiteX76" fmla="*/ 3174206 w 8610600"/>
                    <a:gd name="connsiteY76" fmla="*/ 7415454 h 10480123"/>
                    <a:gd name="connsiteX77" fmla="*/ 3295650 w 8610600"/>
                    <a:gd name="connsiteY77" fmla="*/ 7403548 h 10480123"/>
                    <a:gd name="connsiteX78" fmla="*/ 3309938 w 8610600"/>
                    <a:gd name="connsiteY78" fmla="*/ 7498798 h 10480123"/>
                    <a:gd name="connsiteX79" fmla="*/ 3393281 w 8610600"/>
                    <a:gd name="connsiteY79" fmla="*/ 7594048 h 10480123"/>
                    <a:gd name="connsiteX80" fmla="*/ 3655219 w 8610600"/>
                    <a:gd name="connsiteY80" fmla="*/ 7613098 h 10480123"/>
                    <a:gd name="connsiteX81" fmla="*/ 3676650 w 8610600"/>
                    <a:gd name="connsiteY81" fmla="*/ 7605954 h 10480123"/>
                    <a:gd name="connsiteX82" fmla="*/ 3698081 w 8610600"/>
                    <a:gd name="connsiteY82" fmla="*/ 7789311 h 10480123"/>
                    <a:gd name="connsiteX83" fmla="*/ 3926681 w 8610600"/>
                    <a:gd name="connsiteY83" fmla="*/ 7836936 h 10480123"/>
                    <a:gd name="connsiteX84" fmla="*/ 4341019 w 8610600"/>
                    <a:gd name="connsiteY84" fmla="*/ 7805979 h 10480123"/>
                    <a:gd name="connsiteX85" fmla="*/ 4724400 w 8610600"/>
                    <a:gd name="connsiteY85" fmla="*/ 7717873 h 10480123"/>
                    <a:gd name="connsiteX86" fmla="*/ 5098256 w 8610600"/>
                    <a:gd name="connsiteY86" fmla="*/ 7663104 h 10480123"/>
                    <a:gd name="connsiteX87" fmla="*/ 5272088 w 8610600"/>
                    <a:gd name="connsiteY87" fmla="*/ 7591667 h 10480123"/>
                    <a:gd name="connsiteX88" fmla="*/ 5391150 w 8610600"/>
                    <a:gd name="connsiteY88" fmla="*/ 7584523 h 10480123"/>
                    <a:gd name="connsiteX89" fmla="*/ 5657850 w 8610600"/>
                    <a:gd name="connsiteY89" fmla="*/ 7584523 h 10480123"/>
                    <a:gd name="connsiteX90" fmla="*/ 5867400 w 8610600"/>
                    <a:gd name="connsiteY90" fmla="*/ 7698823 h 10480123"/>
                    <a:gd name="connsiteX91" fmla="*/ 5753100 w 8610600"/>
                    <a:gd name="connsiteY91" fmla="*/ 7279723 h 10480123"/>
                    <a:gd name="connsiteX92" fmla="*/ 5581650 w 8610600"/>
                    <a:gd name="connsiteY92" fmla="*/ 6955873 h 10480123"/>
                    <a:gd name="connsiteX93" fmla="*/ 5391150 w 8610600"/>
                    <a:gd name="connsiteY93" fmla="*/ 6670123 h 10480123"/>
                    <a:gd name="connsiteX94" fmla="*/ 5281613 w 8610600"/>
                    <a:gd name="connsiteY94" fmla="*/ 6617736 h 10480123"/>
                    <a:gd name="connsiteX95" fmla="*/ 4910138 w 8610600"/>
                    <a:gd name="connsiteY95" fmla="*/ 6546298 h 10480123"/>
                    <a:gd name="connsiteX96" fmla="*/ 4629150 w 8610600"/>
                    <a:gd name="connsiteY96" fmla="*/ 6346273 h 10480123"/>
                    <a:gd name="connsiteX97" fmla="*/ 4286250 w 8610600"/>
                    <a:gd name="connsiteY97" fmla="*/ 6384373 h 10480123"/>
                    <a:gd name="connsiteX98" fmla="*/ 3874294 w 8610600"/>
                    <a:gd name="connsiteY98" fmla="*/ 6558204 h 10480123"/>
                    <a:gd name="connsiteX99" fmla="*/ 3600450 w 8610600"/>
                    <a:gd name="connsiteY99" fmla="*/ 6689173 h 10480123"/>
                    <a:gd name="connsiteX100" fmla="*/ 3181350 w 8610600"/>
                    <a:gd name="connsiteY100" fmla="*/ 5774773 h 10480123"/>
                    <a:gd name="connsiteX101" fmla="*/ 2724150 w 8610600"/>
                    <a:gd name="connsiteY101" fmla="*/ 4860373 h 10480123"/>
                    <a:gd name="connsiteX102" fmla="*/ 2381250 w 8610600"/>
                    <a:gd name="connsiteY102" fmla="*/ 4288873 h 10480123"/>
                    <a:gd name="connsiteX103" fmla="*/ 1962150 w 8610600"/>
                    <a:gd name="connsiteY103" fmla="*/ 3869773 h 10480123"/>
                    <a:gd name="connsiteX104" fmla="*/ 1619250 w 8610600"/>
                    <a:gd name="connsiteY104" fmla="*/ 3545923 h 10480123"/>
                    <a:gd name="connsiteX105" fmla="*/ 1009650 w 8610600"/>
                    <a:gd name="connsiteY105" fmla="*/ 3507823 h 10480123"/>
                    <a:gd name="connsiteX106" fmla="*/ 762000 w 8610600"/>
                    <a:gd name="connsiteY106" fmla="*/ 3545923 h 10480123"/>
                    <a:gd name="connsiteX107" fmla="*/ 838200 w 8610600"/>
                    <a:gd name="connsiteY107" fmla="*/ 2917273 h 10480123"/>
                    <a:gd name="connsiteX108" fmla="*/ 838200 w 8610600"/>
                    <a:gd name="connsiteY108" fmla="*/ 2479123 h 10480123"/>
                    <a:gd name="connsiteX109" fmla="*/ 971550 w 8610600"/>
                    <a:gd name="connsiteY109" fmla="*/ 1964773 h 10480123"/>
                    <a:gd name="connsiteX110" fmla="*/ 1028700 w 8610600"/>
                    <a:gd name="connsiteY110" fmla="*/ 1412323 h 10480123"/>
                    <a:gd name="connsiteX111" fmla="*/ 1295400 w 8610600"/>
                    <a:gd name="connsiteY111" fmla="*/ 859873 h 10480123"/>
                    <a:gd name="connsiteX112" fmla="*/ 1562100 w 8610600"/>
                    <a:gd name="connsiteY112" fmla="*/ 745573 h 10480123"/>
                    <a:gd name="connsiteX113" fmla="*/ 1809750 w 8610600"/>
                    <a:gd name="connsiteY113" fmla="*/ 726523 h 10480123"/>
                    <a:gd name="connsiteX114" fmla="*/ 2190750 w 8610600"/>
                    <a:gd name="connsiteY114" fmla="*/ 574123 h 10480123"/>
                    <a:gd name="connsiteX115" fmla="*/ 2457450 w 8610600"/>
                    <a:gd name="connsiteY115" fmla="*/ 478873 h 10480123"/>
                    <a:gd name="connsiteX116" fmla="*/ 2838450 w 8610600"/>
                    <a:gd name="connsiteY116" fmla="*/ 421723 h 10480123"/>
                    <a:gd name="connsiteX117" fmla="*/ 3219450 w 8610600"/>
                    <a:gd name="connsiteY117" fmla="*/ 174073 h 10480123"/>
                    <a:gd name="connsiteX118" fmla="*/ 2857500 w 8610600"/>
                    <a:gd name="connsiteY118" fmla="*/ 440773 h 10480123"/>
                    <a:gd name="connsiteX119" fmla="*/ 2381250 w 8610600"/>
                    <a:gd name="connsiteY119" fmla="*/ 707473 h 10480123"/>
                    <a:gd name="connsiteX120" fmla="*/ 2286000 w 8610600"/>
                    <a:gd name="connsiteY120" fmla="*/ 821773 h 10480123"/>
                    <a:gd name="connsiteX121" fmla="*/ 2400300 w 8610600"/>
                    <a:gd name="connsiteY121" fmla="*/ 840823 h 10480123"/>
                    <a:gd name="connsiteX122" fmla="*/ 2686050 w 8610600"/>
                    <a:gd name="connsiteY122" fmla="*/ 764623 h 10480123"/>
                    <a:gd name="connsiteX123" fmla="*/ 2895600 w 8610600"/>
                    <a:gd name="connsiteY123" fmla="*/ 707473 h 10480123"/>
                    <a:gd name="connsiteX124" fmla="*/ 3143250 w 8610600"/>
                    <a:gd name="connsiteY124" fmla="*/ 555073 h 10480123"/>
                    <a:gd name="connsiteX125" fmla="*/ 3143250 w 8610600"/>
                    <a:gd name="connsiteY125" fmla="*/ 669373 h 10480123"/>
                    <a:gd name="connsiteX126" fmla="*/ 3143250 w 8610600"/>
                    <a:gd name="connsiteY126" fmla="*/ 955123 h 10480123"/>
                    <a:gd name="connsiteX127" fmla="*/ 3314700 w 8610600"/>
                    <a:gd name="connsiteY127" fmla="*/ 1202773 h 10480123"/>
                    <a:gd name="connsiteX128" fmla="*/ 3067050 w 8610600"/>
                    <a:gd name="connsiteY128" fmla="*/ 2802973 h 10480123"/>
                    <a:gd name="connsiteX129" fmla="*/ 3009900 w 8610600"/>
                    <a:gd name="connsiteY129" fmla="*/ 3488773 h 10480123"/>
                    <a:gd name="connsiteX130" fmla="*/ 3162300 w 8610600"/>
                    <a:gd name="connsiteY130" fmla="*/ 4574623 h 10480123"/>
                    <a:gd name="connsiteX131" fmla="*/ 3314700 w 8610600"/>
                    <a:gd name="connsiteY131" fmla="*/ 5355673 h 10480123"/>
                    <a:gd name="connsiteX132" fmla="*/ 3429000 w 8610600"/>
                    <a:gd name="connsiteY132" fmla="*/ 6079573 h 10480123"/>
                    <a:gd name="connsiteX133" fmla="*/ 3714750 w 8610600"/>
                    <a:gd name="connsiteY133" fmla="*/ 5679523 h 10480123"/>
                    <a:gd name="connsiteX134" fmla="*/ 3886200 w 8610600"/>
                    <a:gd name="connsiteY134" fmla="*/ 5355673 h 10480123"/>
                    <a:gd name="connsiteX135" fmla="*/ 3981450 w 8610600"/>
                    <a:gd name="connsiteY135" fmla="*/ 4974673 h 10480123"/>
                    <a:gd name="connsiteX136" fmla="*/ 4248150 w 8610600"/>
                    <a:gd name="connsiteY136" fmla="*/ 4555573 h 10480123"/>
                    <a:gd name="connsiteX137" fmla="*/ 4476750 w 8610600"/>
                    <a:gd name="connsiteY137" fmla="*/ 4041223 h 10480123"/>
                    <a:gd name="connsiteX138" fmla="*/ 4876800 w 8610600"/>
                    <a:gd name="connsiteY138" fmla="*/ 3203023 h 10480123"/>
                    <a:gd name="connsiteX139" fmla="*/ 5181600 w 8610600"/>
                    <a:gd name="connsiteY139" fmla="*/ 2402923 h 10480123"/>
                    <a:gd name="connsiteX140" fmla="*/ 5410200 w 8610600"/>
                    <a:gd name="connsiteY140" fmla="*/ 1679023 h 10480123"/>
                    <a:gd name="connsiteX141" fmla="*/ 5638800 w 8610600"/>
                    <a:gd name="connsiteY141" fmla="*/ 993223 h 10480123"/>
                    <a:gd name="connsiteX142" fmla="*/ 6057900 w 8610600"/>
                    <a:gd name="connsiteY142" fmla="*/ 1336123 h 10480123"/>
                    <a:gd name="connsiteX143" fmla="*/ 6076950 w 8610600"/>
                    <a:gd name="connsiteY143" fmla="*/ 1583773 h 10480123"/>
                    <a:gd name="connsiteX144" fmla="*/ 6153150 w 8610600"/>
                    <a:gd name="connsiteY144" fmla="*/ 1659973 h 10480123"/>
                    <a:gd name="connsiteX145" fmla="*/ 6229350 w 8610600"/>
                    <a:gd name="connsiteY145" fmla="*/ 1488523 h 10480123"/>
                    <a:gd name="connsiteX146" fmla="*/ 6286500 w 8610600"/>
                    <a:gd name="connsiteY146" fmla="*/ 1164673 h 10480123"/>
                    <a:gd name="connsiteX147" fmla="*/ 6229350 w 8610600"/>
                    <a:gd name="connsiteY147" fmla="*/ 707473 h 10480123"/>
                    <a:gd name="connsiteX148" fmla="*/ 6096000 w 8610600"/>
                    <a:gd name="connsiteY148" fmla="*/ 193123 h 10480123"/>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66750 w 8610600"/>
                    <a:gd name="connsiteY68" fmla="*/ 6784423 h 10480123"/>
                    <a:gd name="connsiteX69" fmla="*/ 974725 w 8610600"/>
                    <a:gd name="connsiteY69" fmla="*/ 673997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264694 w 8610600"/>
                    <a:gd name="connsiteY73" fmla="*/ 7103511 h 10480123"/>
                    <a:gd name="connsiteX74" fmla="*/ 3064669 w 8610600"/>
                    <a:gd name="connsiteY74" fmla="*/ 7227336 h 10480123"/>
                    <a:gd name="connsiteX75" fmla="*/ 3078956 w 8610600"/>
                    <a:gd name="connsiteY75" fmla="*/ 7403548 h 10480123"/>
                    <a:gd name="connsiteX76" fmla="*/ 3174206 w 8610600"/>
                    <a:gd name="connsiteY76" fmla="*/ 7415454 h 10480123"/>
                    <a:gd name="connsiteX77" fmla="*/ 3295650 w 8610600"/>
                    <a:gd name="connsiteY77" fmla="*/ 7403548 h 10480123"/>
                    <a:gd name="connsiteX78" fmla="*/ 3309938 w 8610600"/>
                    <a:gd name="connsiteY78" fmla="*/ 7498798 h 10480123"/>
                    <a:gd name="connsiteX79" fmla="*/ 3393281 w 8610600"/>
                    <a:gd name="connsiteY79" fmla="*/ 7594048 h 10480123"/>
                    <a:gd name="connsiteX80" fmla="*/ 3655219 w 8610600"/>
                    <a:gd name="connsiteY80" fmla="*/ 7613098 h 10480123"/>
                    <a:gd name="connsiteX81" fmla="*/ 3676650 w 8610600"/>
                    <a:gd name="connsiteY81" fmla="*/ 7605954 h 10480123"/>
                    <a:gd name="connsiteX82" fmla="*/ 3698081 w 8610600"/>
                    <a:gd name="connsiteY82" fmla="*/ 7789311 h 10480123"/>
                    <a:gd name="connsiteX83" fmla="*/ 3926681 w 8610600"/>
                    <a:gd name="connsiteY83" fmla="*/ 7836936 h 10480123"/>
                    <a:gd name="connsiteX84" fmla="*/ 4341019 w 8610600"/>
                    <a:gd name="connsiteY84" fmla="*/ 7805979 h 10480123"/>
                    <a:gd name="connsiteX85" fmla="*/ 4724400 w 8610600"/>
                    <a:gd name="connsiteY85" fmla="*/ 7717873 h 10480123"/>
                    <a:gd name="connsiteX86" fmla="*/ 5098256 w 8610600"/>
                    <a:gd name="connsiteY86" fmla="*/ 7663104 h 10480123"/>
                    <a:gd name="connsiteX87" fmla="*/ 5272088 w 8610600"/>
                    <a:gd name="connsiteY87" fmla="*/ 7591667 h 10480123"/>
                    <a:gd name="connsiteX88" fmla="*/ 5391150 w 8610600"/>
                    <a:gd name="connsiteY88" fmla="*/ 7584523 h 10480123"/>
                    <a:gd name="connsiteX89" fmla="*/ 5657850 w 8610600"/>
                    <a:gd name="connsiteY89" fmla="*/ 7584523 h 10480123"/>
                    <a:gd name="connsiteX90" fmla="*/ 5867400 w 8610600"/>
                    <a:gd name="connsiteY90" fmla="*/ 7698823 h 10480123"/>
                    <a:gd name="connsiteX91" fmla="*/ 5753100 w 8610600"/>
                    <a:gd name="connsiteY91" fmla="*/ 7279723 h 10480123"/>
                    <a:gd name="connsiteX92" fmla="*/ 5581650 w 8610600"/>
                    <a:gd name="connsiteY92" fmla="*/ 6955873 h 10480123"/>
                    <a:gd name="connsiteX93" fmla="*/ 5391150 w 8610600"/>
                    <a:gd name="connsiteY93" fmla="*/ 6670123 h 10480123"/>
                    <a:gd name="connsiteX94" fmla="*/ 5281613 w 8610600"/>
                    <a:gd name="connsiteY94" fmla="*/ 6617736 h 10480123"/>
                    <a:gd name="connsiteX95" fmla="*/ 4910138 w 8610600"/>
                    <a:gd name="connsiteY95" fmla="*/ 6546298 h 10480123"/>
                    <a:gd name="connsiteX96" fmla="*/ 4629150 w 8610600"/>
                    <a:gd name="connsiteY96" fmla="*/ 6346273 h 10480123"/>
                    <a:gd name="connsiteX97" fmla="*/ 4286250 w 8610600"/>
                    <a:gd name="connsiteY97" fmla="*/ 6384373 h 10480123"/>
                    <a:gd name="connsiteX98" fmla="*/ 3874294 w 8610600"/>
                    <a:gd name="connsiteY98" fmla="*/ 6558204 h 10480123"/>
                    <a:gd name="connsiteX99" fmla="*/ 3600450 w 8610600"/>
                    <a:gd name="connsiteY99" fmla="*/ 6689173 h 10480123"/>
                    <a:gd name="connsiteX100" fmla="*/ 3181350 w 8610600"/>
                    <a:gd name="connsiteY100" fmla="*/ 5774773 h 10480123"/>
                    <a:gd name="connsiteX101" fmla="*/ 2724150 w 8610600"/>
                    <a:gd name="connsiteY101" fmla="*/ 4860373 h 10480123"/>
                    <a:gd name="connsiteX102" fmla="*/ 2381250 w 8610600"/>
                    <a:gd name="connsiteY102" fmla="*/ 4288873 h 10480123"/>
                    <a:gd name="connsiteX103" fmla="*/ 1962150 w 8610600"/>
                    <a:gd name="connsiteY103" fmla="*/ 3869773 h 10480123"/>
                    <a:gd name="connsiteX104" fmla="*/ 1619250 w 8610600"/>
                    <a:gd name="connsiteY104" fmla="*/ 3545923 h 10480123"/>
                    <a:gd name="connsiteX105" fmla="*/ 1009650 w 8610600"/>
                    <a:gd name="connsiteY105" fmla="*/ 3507823 h 10480123"/>
                    <a:gd name="connsiteX106" fmla="*/ 762000 w 8610600"/>
                    <a:gd name="connsiteY106" fmla="*/ 3545923 h 10480123"/>
                    <a:gd name="connsiteX107" fmla="*/ 838200 w 8610600"/>
                    <a:gd name="connsiteY107" fmla="*/ 2917273 h 10480123"/>
                    <a:gd name="connsiteX108" fmla="*/ 838200 w 8610600"/>
                    <a:gd name="connsiteY108" fmla="*/ 2479123 h 10480123"/>
                    <a:gd name="connsiteX109" fmla="*/ 971550 w 8610600"/>
                    <a:gd name="connsiteY109" fmla="*/ 1964773 h 10480123"/>
                    <a:gd name="connsiteX110" fmla="*/ 1028700 w 8610600"/>
                    <a:gd name="connsiteY110" fmla="*/ 1412323 h 10480123"/>
                    <a:gd name="connsiteX111" fmla="*/ 1295400 w 8610600"/>
                    <a:gd name="connsiteY111" fmla="*/ 859873 h 10480123"/>
                    <a:gd name="connsiteX112" fmla="*/ 1562100 w 8610600"/>
                    <a:gd name="connsiteY112" fmla="*/ 745573 h 10480123"/>
                    <a:gd name="connsiteX113" fmla="*/ 1809750 w 8610600"/>
                    <a:gd name="connsiteY113" fmla="*/ 726523 h 10480123"/>
                    <a:gd name="connsiteX114" fmla="*/ 2190750 w 8610600"/>
                    <a:gd name="connsiteY114" fmla="*/ 574123 h 10480123"/>
                    <a:gd name="connsiteX115" fmla="*/ 2457450 w 8610600"/>
                    <a:gd name="connsiteY115" fmla="*/ 478873 h 10480123"/>
                    <a:gd name="connsiteX116" fmla="*/ 2838450 w 8610600"/>
                    <a:gd name="connsiteY116" fmla="*/ 421723 h 10480123"/>
                    <a:gd name="connsiteX117" fmla="*/ 3219450 w 8610600"/>
                    <a:gd name="connsiteY117" fmla="*/ 174073 h 10480123"/>
                    <a:gd name="connsiteX118" fmla="*/ 2857500 w 8610600"/>
                    <a:gd name="connsiteY118" fmla="*/ 440773 h 10480123"/>
                    <a:gd name="connsiteX119" fmla="*/ 2381250 w 8610600"/>
                    <a:gd name="connsiteY119" fmla="*/ 707473 h 10480123"/>
                    <a:gd name="connsiteX120" fmla="*/ 2286000 w 8610600"/>
                    <a:gd name="connsiteY120" fmla="*/ 821773 h 10480123"/>
                    <a:gd name="connsiteX121" fmla="*/ 2400300 w 8610600"/>
                    <a:gd name="connsiteY121" fmla="*/ 840823 h 10480123"/>
                    <a:gd name="connsiteX122" fmla="*/ 2686050 w 8610600"/>
                    <a:gd name="connsiteY122" fmla="*/ 764623 h 10480123"/>
                    <a:gd name="connsiteX123" fmla="*/ 2895600 w 8610600"/>
                    <a:gd name="connsiteY123" fmla="*/ 707473 h 10480123"/>
                    <a:gd name="connsiteX124" fmla="*/ 3143250 w 8610600"/>
                    <a:gd name="connsiteY124" fmla="*/ 555073 h 10480123"/>
                    <a:gd name="connsiteX125" fmla="*/ 3143250 w 8610600"/>
                    <a:gd name="connsiteY125" fmla="*/ 669373 h 10480123"/>
                    <a:gd name="connsiteX126" fmla="*/ 3143250 w 8610600"/>
                    <a:gd name="connsiteY126" fmla="*/ 955123 h 10480123"/>
                    <a:gd name="connsiteX127" fmla="*/ 3314700 w 8610600"/>
                    <a:gd name="connsiteY127" fmla="*/ 1202773 h 10480123"/>
                    <a:gd name="connsiteX128" fmla="*/ 3067050 w 8610600"/>
                    <a:gd name="connsiteY128" fmla="*/ 2802973 h 10480123"/>
                    <a:gd name="connsiteX129" fmla="*/ 3009900 w 8610600"/>
                    <a:gd name="connsiteY129" fmla="*/ 3488773 h 10480123"/>
                    <a:gd name="connsiteX130" fmla="*/ 3162300 w 8610600"/>
                    <a:gd name="connsiteY130" fmla="*/ 4574623 h 10480123"/>
                    <a:gd name="connsiteX131" fmla="*/ 3314700 w 8610600"/>
                    <a:gd name="connsiteY131" fmla="*/ 5355673 h 10480123"/>
                    <a:gd name="connsiteX132" fmla="*/ 3429000 w 8610600"/>
                    <a:gd name="connsiteY132" fmla="*/ 6079573 h 10480123"/>
                    <a:gd name="connsiteX133" fmla="*/ 3714750 w 8610600"/>
                    <a:gd name="connsiteY133" fmla="*/ 5679523 h 10480123"/>
                    <a:gd name="connsiteX134" fmla="*/ 3886200 w 8610600"/>
                    <a:gd name="connsiteY134" fmla="*/ 5355673 h 10480123"/>
                    <a:gd name="connsiteX135" fmla="*/ 3981450 w 8610600"/>
                    <a:gd name="connsiteY135" fmla="*/ 4974673 h 10480123"/>
                    <a:gd name="connsiteX136" fmla="*/ 4248150 w 8610600"/>
                    <a:gd name="connsiteY136" fmla="*/ 4555573 h 10480123"/>
                    <a:gd name="connsiteX137" fmla="*/ 4476750 w 8610600"/>
                    <a:gd name="connsiteY137" fmla="*/ 4041223 h 10480123"/>
                    <a:gd name="connsiteX138" fmla="*/ 4876800 w 8610600"/>
                    <a:gd name="connsiteY138" fmla="*/ 3203023 h 10480123"/>
                    <a:gd name="connsiteX139" fmla="*/ 5181600 w 8610600"/>
                    <a:gd name="connsiteY139" fmla="*/ 2402923 h 10480123"/>
                    <a:gd name="connsiteX140" fmla="*/ 5410200 w 8610600"/>
                    <a:gd name="connsiteY140" fmla="*/ 1679023 h 10480123"/>
                    <a:gd name="connsiteX141" fmla="*/ 5638800 w 8610600"/>
                    <a:gd name="connsiteY141" fmla="*/ 993223 h 10480123"/>
                    <a:gd name="connsiteX142" fmla="*/ 6057900 w 8610600"/>
                    <a:gd name="connsiteY142" fmla="*/ 1336123 h 10480123"/>
                    <a:gd name="connsiteX143" fmla="*/ 6076950 w 8610600"/>
                    <a:gd name="connsiteY143" fmla="*/ 1583773 h 10480123"/>
                    <a:gd name="connsiteX144" fmla="*/ 6153150 w 8610600"/>
                    <a:gd name="connsiteY144" fmla="*/ 1659973 h 10480123"/>
                    <a:gd name="connsiteX145" fmla="*/ 6229350 w 8610600"/>
                    <a:gd name="connsiteY145" fmla="*/ 1488523 h 10480123"/>
                    <a:gd name="connsiteX146" fmla="*/ 6286500 w 8610600"/>
                    <a:gd name="connsiteY146" fmla="*/ 1164673 h 10480123"/>
                    <a:gd name="connsiteX147" fmla="*/ 6229350 w 8610600"/>
                    <a:gd name="connsiteY147" fmla="*/ 707473 h 10480123"/>
                    <a:gd name="connsiteX148" fmla="*/ 6096000 w 8610600"/>
                    <a:gd name="connsiteY148" fmla="*/ 193123 h 10480123"/>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85800 w 8610600"/>
                    <a:gd name="connsiteY68" fmla="*/ 6739973 h 10480123"/>
                    <a:gd name="connsiteX69" fmla="*/ 974725 w 8610600"/>
                    <a:gd name="connsiteY69" fmla="*/ 673997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264694 w 8610600"/>
                    <a:gd name="connsiteY73" fmla="*/ 7103511 h 10480123"/>
                    <a:gd name="connsiteX74" fmla="*/ 3064669 w 8610600"/>
                    <a:gd name="connsiteY74" fmla="*/ 7227336 h 10480123"/>
                    <a:gd name="connsiteX75" fmla="*/ 3078956 w 8610600"/>
                    <a:gd name="connsiteY75" fmla="*/ 7403548 h 10480123"/>
                    <a:gd name="connsiteX76" fmla="*/ 3174206 w 8610600"/>
                    <a:gd name="connsiteY76" fmla="*/ 7415454 h 10480123"/>
                    <a:gd name="connsiteX77" fmla="*/ 3295650 w 8610600"/>
                    <a:gd name="connsiteY77" fmla="*/ 7403548 h 10480123"/>
                    <a:gd name="connsiteX78" fmla="*/ 3309938 w 8610600"/>
                    <a:gd name="connsiteY78" fmla="*/ 7498798 h 10480123"/>
                    <a:gd name="connsiteX79" fmla="*/ 3393281 w 8610600"/>
                    <a:gd name="connsiteY79" fmla="*/ 7594048 h 10480123"/>
                    <a:gd name="connsiteX80" fmla="*/ 3655219 w 8610600"/>
                    <a:gd name="connsiteY80" fmla="*/ 7613098 h 10480123"/>
                    <a:gd name="connsiteX81" fmla="*/ 3676650 w 8610600"/>
                    <a:gd name="connsiteY81" fmla="*/ 7605954 h 10480123"/>
                    <a:gd name="connsiteX82" fmla="*/ 3698081 w 8610600"/>
                    <a:gd name="connsiteY82" fmla="*/ 7789311 h 10480123"/>
                    <a:gd name="connsiteX83" fmla="*/ 3926681 w 8610600"/>
                    <a:gd name="connsiteY83" fmla="*/ 7836936 h 10480123"/>
                    <a:gd name="connsiteX84" fmla="*/ 4341019 w 8610600"/>
                    <a:gd name="connsiteY84" fmla="*/ 7805979 h 10480123"/>
                    <a:gd name="connsiteX85" fmla="*/ 4724400 w 8610600"/>
                    <a:gd name="connsiteY85" fmla="*/ 7717873 h 10480123"/>
                    <a:gd name="connsiteX86" fmla="*/ 5098256 w 8610600"/>
                    <a:gd name="connsiteY86" fmla="*/ 7663104 h 10480123"/>
                    <a:gd name="connsiteX87" fmla="*/ 5272088 w 8610600"/>
                    <a:gd name="connsiteY87" fmla="*/ 7591667 h 10480123"/>
                    <a:gd name="connsiteX88" fmla="*/ 5391150 w 8610600"/>
                    <a:gd name="connsiteY88" fmla="*/ 7584523 h 10480123"/>
                    <a:gd name="connsiteX89" fmla="*/ 5657850 w 8610600"/>
                    <a:gd name="connsiteY89" fmla="*/ 7584523 h 10480123"/>
                    <a:gd name="connsiteX90" fmla="*/ 5867400 w 8610600"/>
                    <a:gd name="connsiteY90" fmla="*/ 7698823 h 10480123"/>
                    <a:gd name="connsiteX91" fmla="*/ 5753100 w 8610600"/>
                    <a:gd name="connsiteY91" fmla="*/ 7279723 h 10480123"/>
                    <a:gd name="connsiteX92" fmla="*/ 5581650 w 8610600"/>
                    <a:gd name="connsiteY92" fmla="*/ 6955873 h 10480123"/>
                    <a:gd name="connsiteX93" fmla="*/ 5391150 w 8610600"/>
                    <a:gd name="connsiteY93" fmla="*/ 6670123 h 10480123"/>
                    <a:gd name="connsiteX94" fmla="*/ 5281613 w 8610600"/>
                    <a:gd name="connsiteY94" fmla="*/ 6617736 h 10480123"/>
                    <a:gd name="connsiteX95" fmla="*/ 4910138 w 8610600"/>
                    <a:gd name="connsiteY95" fmla="*/ 6546298 h 10480123"/>
                    <a:gd name="connsiteX96" fmla="*/ 4629150 w 8610600"/>
                    <a:gd name="connsiteY96" fmla="*/ 6346273 h 10480123"/>
                    <a:gd name="connsiteX97" fmla="*/ 4286250 w 8610600"/>
                    <a:gd name="connsiteY97" fmla="*/ 6384373 h 10480123"/>
                    <a:gd name="connsiteX98" fmla="*/ 3874294 w 8610600"/>
                    <a:gd name="connsiteY98" fmla="*/ 6558204 h 10480123"/>
                    <a:gd name="connsiteX99" fmla="*/ 3600450 w 8610600"/>
                    <a:gd name="connsiteY99" fmla="*/ 6689173 h 10480123"/>
                    <a:gd name="connsiteX100" fmla="*/ 3181350 w 8610600"/>
                    <a:gd name="connsiteY100" fmla="*/ 5774773 h 10480123"/>
                    <a:gd name="connsiteX101" fmla="*/ 2724150 w 8610600"/>
                    <a:gd name="connsiteY101" fmla="*/ 4860373 h 10480123"/>
                    <a:gd name="connsiteX102" fmla="*/ 2381250 w 8610600"/>
                    <a:gd name="connsiteY102" fmla="*/ 4288873 h 10480123"/>
                    <a:gd name="connsiteX103" fmla="*/ 1962150 w 8610600"/>
                    <a:gd name="connsiteY103" fmla="*/ 3869773 h 10480123"/>
                    <a:gd name="connsiteX104" fmla="*/ 1619250 w 8610600"/>
                    <a:gd name="connsiteY104" fmla="*/ 3545923 h 10480123"/>
                    <a:gd name="connsiteX105" fmla="*/ 1009650 w 8610600"/>
                    <a:gd name="connsiteY105" fmla="*/ 3507823 h 10480123"/>
                    <a:gd name="connsiteX106" fmla="*/ 762000 w 8610600"/>
                    <a:gd name="connsiteY106" fmla="*/ 3545923 h 10480123"/>
                    <a:gd name="connsiteX107" fmla="*/ 838200 w 8610600"/>
                    <a:gd name="connsiteY107" fmla="*/ 2917273 h 10480123"/>
                    <a:gd name="connsiteX108" fmla="*/ 838200 w 8610600"/>
                    <a:gd name="connsiteY108" fmla="*/ 2479123 h 10480123"/>
                    <a:gd name="connsiteX109" fmla="*/ 971550 w 8610600"/>
                    <a:gd name="connsiteY109" fmla="*/ 1964773 h 10480123"/>
                    <a:gd name="connsiteX110" fmla="*/ 1028700 w 8610600"/>
                    <a:gd name="connsiteY110" fmla="*/ 1412323 h 10480123"/>
                    <a:gd name="connsiteX111" fmla="*/ 1295400 w 8610600"/>
                    <a:gd name="connsiteY111" fmla="*/ 859873 h 10480123"/>
                    <a:gd name="connsiteX112" fmla="*/ 1562100 w 8610600"/>
                    <a:gd name="connsiteY112" fmla="*/ 745573 h 10480123"/>
                    <a:gd name="connsiteX113" fmla="*/ 1809750 w 8610600"/>
                    <a:gd name="connsiteY113" fmla="*/ 726523 h 10480123"/>
                    <a:gd name="connsiteX114" fmla="*/ 2190750 w 8610600"/>
                    <a:gd name="connsiteY114" fmla="*/ 574123 h 10480123"/>
                    <a:gd name="connsiteX115" fmla="*/ 2457450 w 8610600"/>
                    <a:gd name="connsiteY115" fmla="*/ 478873 h 10480123"/>
                    <a:gd name="connsiteX116" fmla="*/ 2838450 w 8610600"/>
                    <a:gd name="connsiteY116" fmla="*/ 421723 h 10480123"/>
                    <a:gd name="connsiteX117" fmla="*/ 3219450 w 8610600"/>
                    <a:gd name="connsiteY117" fmla="*/ 174073 h 10480123"/>
                    <a:gd name="connsiteX118" fmla="*/ 2857500 w 8610600"/>
                    <a:gd name="connsiteY118" fmla="*/ 440773 h 10480123"/>
                    <a:gd name="connsiteX119" fmla="*/ 2381250 w 8610600"/>
                    <a:gd name="connsiteY119" fmla="*/ 707473 h 10480123"/>
                    <a:gd name="connsiteX120" fmla="*/ 2286000 w 8610600"/>
                    <a:gd name="connsiteY120" fmla="*/ 821773 h 10480123"/>
                    <a:gd name="connsiteX121" fmla="*/ 2400300 w 8610600"/>
                    <a:gd name="connsiteY121" fmla="*/ 840823 h 10480123"/>
                    <a:gd name="connsiteX122" fmla="*/ 2686050 w 8610600"/>
                    <a:gd name="connsiteY122" fmla="*/ 764623 h 10480123"/>
                    <a:gd name="connsiteX123" fmla="*/ 2895600 w 8610600"/>
                    <a:gd name="connsiteY123" fmla="*/ 707473 h 10480123"/>
                    <a:gd name="connsiteX124" fmla="*/ 3143250 w 8610600"/>
                    <a:gd name="connsiteY124" fmla="*/ 555073 h 10480123"/>
                    <a:gd name="connsiteX125" fmla="*/ 3143250 w 8610600"/>
                    <a:gd name="connsiteY125" fmla="*/ 669373 h 10480123"/>
                    <a:gd name="connsiteX126" fmla="*/ 3143250 w 8610600"/>
                    <a:gd name="connsiteY126" fmla="*/ 955123 h 10480123"/>
                    <a:gd name="connsiteX127" fmla="*/ 3314700 w 8610600"/>
                    <a:gd name="connsiteY127" fmla="*/ 1202773 h 10480123"/>
                    <a:gd name="connsiteX128" fmla="*/ 3067050 w 8610600"/>
                    <a:gd name="connsiteY128" fmla="*/ 2802973 h 10480123"/>
                    <a:gd name="connsiteX129" fmla="*/ 3009900 w 8610600"/>
                    <a:gd name="connsiteY129" fmla="*/ 3488773 h 10480123"/>
                    <a:gd name="connsiteX130" fmla="*/ 3162300 w 8610600"/>
                    <a:gd name="connsiteY130" fmla="*/ 4574623 h 10480123"/>
                    <a:gd name="connsiteX131" fmla="*/ 3314700 w 8610600"/>
                    <a:gd name="connsiteY131" fmla="*/ 5355673 h 10480123"/>
                    <a:gd name="connsiteX132" fmla="*/ 3429000 w 8610600"/>
                    <a:gd name="connsiteY132" fmla="*/ 6079573 h 10480123"/>
                    <a:gd name="connsiteX133" fmla="*/ 3714750 w 8610600"/>
                    <a:gd name="connsiteY133" fmla="*/ 5679523 h 10480123"/>
                    <a:gd name="connsiteX134" fmla="*/ 3886200 w 8610600"/>
                    <a:gd name="connsiteY134" fmla="*/ 5355673 h 10480123"/>
                    <a:gd name="connsiteX135" fmla="*/ 3981450 w 8610600"/>
                    <a:gd name="connsiteY135" fmla="*/ 4974673 h 10480123"/>
                    <a:gd name="connsiteX136" fmla="*/ 4248150 w 8610600"/>
                    <a:gd name="connsiteY136" fmla="*/ 4555573 h 10480123"/>
                    <a:gd name="connsiteX137" fmla="*/ 4476750 w 8610600"/>
                    <a:gd name="connsiteY137" fmla="*/ 4041223 h 10480123"/>
                    <a:gd name="connsiteX138" fmla="*/ 4876800 w 8610600"/>
                    <a:gd name="connsiteY138" fmla="*/ 3203023 h 10480123"/>
                    <a:gd name="connsiteX139" fmla="*/ 5181600 w 8610600"/>
                    <a:gd name="connsiteY139" fmla="*/ 2402923 h 10480123"/>
                    <a:gd name="connsiteX140" fmla="*/ 5410200 w 8610600"/>
                    <a:gd name="connsiteY140" fmla="*/ 1679023 h 10480123"/>
                    <a:gd name="connsiteX141" fmla="*/ 5638800 w 8610600"/>
                    <a:gd name="connsiteY141" fmla="*/ 993223 h 10480123"/>
                    <a:gd name="connsiteX142" fmla="*/ 6057900 w 8610600"/>
                    <a:gd name="connsiteY142" fmla="*/ 1336123 h 10480123"/>
                    <a:gd name="connsiteX143" fmla="*/ 6076950 w 8610600"/>
                    <a:gd name="connsiteY143" fmla="*/ 1583773 h 10480123"/>
                    <a:gd name="connsiteX144" fmla="*/ 6153150 w 8610600"/>
                    <a:gd name="connsiteY144" fmla="*/ 1659973 h 10480123"/>
                    <a:gd name="connsiteX145" fmla="*/ 6229350 w 8610600"/>
                    <a:gd name="connsiteY145" fmla="*/ 1488523 h 10480123"/>
                    <a:gd name="connsiteX146" fmla="*/ 6286500 w 8610600"/>
                    <a:gd name="connsiteY146" fmla="*/ 1164673 h 10480123"/>
                    <a:gd name="connsiteX147" fmla="*/ 6229350 w 8610600"/>
                    <a:gd name="connsiteY147" fmla="*/ 707473 h 10480123"/>
                    <a:gd name="connsiteX148" fmla="*/ 6096000 w 8610600"/>
                    <a:gd name="connsiteY148" fmla="*/ 193123 h 10480123"/>
                    <a:gd name="connsiteX0" fmla="*/ 6096000 w 8610600"/>
                    <a:gd name="connsiteY0" fmla="*/ 193123 h 10480123"/>
                    <a:gd name="connsiteX1" fmla="*/ 6248400 w 8610600"/>
                    <a:gd name="connsiteY1" fmla="*/ 402673 h 10480123"/>
                    <a:gd name="connsiteX2" fmla="*/ 6362700 w 8610600"/>
                    <a:gd name="connsiteY2" fmla="*/ 536023 h 10480123"/>
                    <a:gd name="connsiteX3" fmla="*/ 6838950 w 8610600"/>
                    <a:gd name="connsiteY3" fmla="*/ 764623 h 10480123"/>
                    <a:gd name="connsiteX4" fmla="*/ 7010400 w 8610600"/>
                    <a:gd name="connsiteY4" fmla="*/ 917023 h 10480123"/>
                    <a:gd name="connsiteX5" fmla="*/ 7448550 w 8610600"/>
                    <a:gd name="connsiteY5" fmla="*/ 1202773 h 10480123"/>
                    <a:gd name="connsiteX6" fmla="*/ 7848600 w 8610600"/>
                    <a:gd name="connsiteY6" fmla="*/ 1374223 h 10480123"/>
                    <a:gd name="connsiteX7" fmla="*/ 8020050 w 8610600"/>
                    <a:gd name="connsiteY7" fmla="*/ 1374223 h 10480123"/>
                    <a:gd name="connsiteX8" fmla="*/ 8058150 w 8610600"/>
                    <a:gd name="connsiteY8" fmla="*/ 1679023 h 10480123"/>
                    <a:gd name="connsiteX9" fmla="*/ 8115300 w 8610600"/>
                    <a:gd name="connsiteY9" fmla="*/ 2002873 h 10480123"/>
                    <a:gd name="connsiteX10" fmla="*/ 8115300 w 8610600"/>
                    <a:gd name="connsiteY10" fmla="*/ 2345773 h 10480123"/>
                    <a:gd name="connsiteX11" fmla="*/ 8305800 w 8610600"/>
                    <a:gd name="connsiteY11" fmla="*/ 3603073 h 10480123"/>
                    <a:gd name="connsiteX12" fmla="*/ 8324850 w 8610600"/>
                    <a:gd name="connsiteY12" fmla="*/ 4784173 h 10480123"/>
                    <a:gd name="connsiteX13" fmla="*/ 8420100 w 8610600"/>
                    <a:gd name="connsiteY13" fmla="*/ 5127073 h 10480123"/>
                    <a:gd name="connsiteX14" fmla="*/ 8420100 w 8610600"/>
                    <a:gd name="connsiteY14" fmla="*/ 5546173 h 10480123"/>
                    <a:gd name="connsiteX15" fmla="*/ 8534400 w 8610600"/>
                    <a:gd name="connsiteY15" fmla="*/ 5831923 h 10480123"/>
                    <a:gd name="connsiteX16" fmla="*/ 8553450 w 8610600"/>
                    <a:gd name="connsiteY16" fmla="*/ 6289123 h 10480123"/>
                    <a:gd name="connsiteX17" fmla="*/ 8610600 w 8610600"/>
                    <a:gd name="connsiteY17" fmla="*/ 6612973 h 10480123"/>
                    <a:gd name="connsiteX18" fmla="*/ 8572500 w 8610600"/>
                    <a:gd name="connsiteY18" fmla="*/ 6841573 h 10480123"/>
                    <a:gd name="connsiteX19" fmla="*/ 8534400 w 8610600"/>
                    <a:gd name="connsiteY19" fmla="*/ 6917773 h 10480123"/>
                    <a:gd name="connsiteX20" fmla="*/ 8610600 w 8610600"/>
                    <a:gd name="connsiteY20" fmla="*/ 7089223 h 10480123"/>
                    <a:gd name="connsiteX21" fmla="*/ 8496300 w 8610600"/>
                    <a:gd name="connsiteY21" fmla="*/ 7279723 h 10480123"/>
                    <a:gd name="connsiteX22" fmla="*/ 8210550 w 8610600"/>
                    <a:gd name="connsiteY22" fmla="*/ 7603573 h 10480123"/>
                    <a:gd name="connsiteX23" fmla="*/ 7924800 w 8610600"/>
                    <a:gd name="connsiteY23" fmla="*/ 7813123 h 10480123"/>
                    <a:gd name="connsiteX24" fmla="*/ 7486650 w 8610600"/>
                    <a:gd name="connsiteY24" fmla="*/ 8003623 h 10480123"/>
                    <a:gd name="connsiteX25" fmla="*/ 6991350 w 8610600"/>
                    <a:gd name="connsiteY25" fmla="*/ 8098873 h 10480123"/>
                    <a:gd name="connsiteX26" fmla="*/ 6724650 w 8610600"/>
                    <a:gd name="connsiteY26" fmla="*/ 8270323 h 10480123"/>
                    <a:gd name="connsiteX27" fmla="*/ 6972300 w 8610600"/>
                    <a:gd name="connsiteY27" fmla="*/ 8898973 h 10480123"/>
                    <a:gd name="connsiteX28" fmla="*/ 7010400 w 8610600"/>
                    <a:gd name="connsiteY28" fmla="*/ 9375223 h 10480123"/>
                    <a:gd name="connsiteX29" fmla="*/ 7200900 w 8610600"/>
                    <a:gd name="connsiteY29" fmla="*/ 10080073 h 10480123"/>
                    <a:gd name="connsiteX30" fmla="*/ 7277100 w 8610600"/>
                    <a:gd name="connsiteY30" fmla="*/ 10461073 h 10480123"/>
                    <a:gd name="connsiteX31" fmla="*/ 6858000 w 8610600"/>
                    <a:gd name="connsiteY31" fmla="*/ 10384873 h 10480123"/>
                    <a:gd name="connsiteX32" fmla="*/ 6191250 w 8610600"/>
                    <a:gd name="connsiteY32" fmla="*/ 10442023 h 10480123"/>
                    <a:gd name="connsiteX33" fmla="*/ 4781550 w 8610600"/>
                    <a:gd name="connsiteY33" fmla="*/ 10480123 h 10480123"/>
                    <a:gd name="connsiteX34" fmla="*/ 4095750 w 8610600"/>
                    <a:gd name="connsiteY34" fmla="*/ 10480123 h 10480123"/>
                    <a:gd name="connsiteX35" fmla="*/ 3695700 w 8610600"/>
                    <a:gd name="connsiteY35" fmla="*/ 10270573 h 10480123"/>
                    <a:gd name="connsiteX36" fmla="*/ 3429000 w 8610600"/>
                    <a:gd name="connsiteY36" fmla="*/ 9965773 h 10480123"/>
                    <a:gd name="connsiteX37" fmla="*/ 3333750 w 8610600"/>
                    <a:gd name="connsiteY37" fmla="*/ 9622873 h 10480123"/>
                    <a:gd name="connsiteX38" fmla="*/ 3257550 w 8610600"/>
                    <a:gd name="connsiteY38" fmla="*/ 8956123 h 10480123"/>
                    <a:gd name="connsiteX39" fmla="*/ 3219450 w 8610600"/>
                    <a:gd name="connsiteY39" fmla="*/ 8194123 h 10480123"/>
                    <a:gd name="connsiteX40" fmla="*/ 3219450 w 8610600"/>
                    <a:gd name="connsiteY40" fmla="*/ 7432123 h 10480123"/>
                    <a:gd name="connsiteX41" fmla="*/ 3009900 w 8610600"/>
                    <a:gd name="connsiteY41" fmla="*/ 8003623 h 10480123"/>
                    <a:gd name="connsiteX42" fmla="*/ 2667000 w 8610600"/>
                    <a:gd name="connsiteY42" fmla="*/ 8918023 h 10480123"/>
                    <a:gd name="connsiteX43" fmla="*/ 2400300 w 8610600"/>
                    <a:gd name="connsiteY43" fmla="*/ 9622873 h 10480123"/>
                    <a:gd name="connsiteX44" fmla="*/ 2133600 w 8610600"/>
                    <a:gd name="connsiteY44" fmla="*/ 10041973 h 10480123"/>
                    <a:gd name="connsiteX45" fmla="*/ 1885950 w 8610600"/>
                    <a:gd name="connsiteY45" fmla="*/ 10289623 h 10480123"/>
                    <a:gd name="connsiteX46" fmla="*/ 1524000 w 8610600"/>
                    <a:gd name="connsiteY46" fmla="*/ 10308673 h 10480123"/>
                    <a:gd name="connsiteX47" fmla="*/ 1143000 w 8610600"/>
                    <a:gd name="connsiteY47" fmla="*/ 10232473 h 10480123"/>
                    <a:gd name="connsiteX48" fmla="*/ 838200 w 8610600"/>
                    <a:gd name="connsiteY48" fmla="*/ 10175323 h 10480123"/>
                    <a:gd name="connsiteX49" fmla="*/ 609600 w 8610600"/>
                    <a:gd name="connsiteY49" fmla="*/ 10061023 h 10480123"/>
                    <a:gd name="connsiteX50" fmla="*/ 400050 w 8610600"/>
                    <a:gd name="connsiteY50" fmla="*/ 9984823 h 10480123"/>
                    <a:gd name="connsiteX51" fmla="*/ 552450 w 8610600"/>
                    <a:gd name="connsiteY51" fmla="*/ 9451423 h 10480123"/>
                    <a:gd name="connsiteX52" fmla="*/ 723900 w 8610600"/>
                    <a:gd name="connsiteY52" fmla="*/ 8784673 h 10480123"/>
                    <a:gd name="connsiteX53" fmla="*/ 857250 w 8610600"/>
                    <a:gd name="connsiteY53" fmla="*/ 8384623 h 10480123"/>
                    <a:gd name="connsiteX54" fmla="*/ 1085850 w 8610600"/>
                    <a:gd name="connsiteY54" fmla="*/ 7927423 h 10480123"/>
                    <a:gd name="connsiteX55" fmla="*/ 1085850 w 8610600"/>
                    <a:gd name="connsiteY55" fmla="*/ 7584523 h 10480123"/>
                    <a:gd name="connsiteX56" fmla="*/ 1219200 w 8610600"/>
                    <a:gd name="connsiteY56" fmla="*/ 7279723 h 10480123"/>
                    <a:gd name="connsiteX57" fmla="*/ 971550 w 8610600"/>
                    <a:gd name="connsiteY57" fmla="*/ 7470223 h 10480123"/>
                    <a:gd name="connsiteX58" fmla="*/ 838200 w 8610600"/>
                    <a:gd name="connsiteY58" fmla="*/ 7622623 h 10480123"/>
                    <a:gd name="connsiteX59" fmla="*/ 762000 w 8610600"/>
                    <a:gd name="connsiteY59" fmla="*/ 7946473 h 10480123"/>
                    <a:gd name="connsiteX60" fmla="*/ 476250 w 8610600"/>
                    <a:gd name="connsiteY60" fmla="*/ 7984573 h 10480123"/>
                    <a:gd name="connsiteX61" fmla="*/ 304800 w 8610600"/>
                    <a:gd name="connsiteY61" fmla="*/ 7660723 h 10480123"/>
                    <a:gd name="connsiteX62" fmla="*/ 95250 w 8610600"/>
                    <a:gd name="connsiteY62" fmla="*/ 7165423 h 10480123"/>
                    <a:gd name="connsiteX63" fmla="*/ 0 w 8610600"/>
                    <a:gd name="connsiteY63" fmla="*/ 6860623 h 10480123"/>
                    <a:gd name="connsiteX64" fmla="*/ 171450 w 8610600"/>
                    <a:gd name="connsiteY64" fmla="*/ 6841573 h 10480123"/>
                    <a:gd name="connsiteX65" fmla="*/ 266700 w 8610600"/>
                    <a:gd name="connsiteY65" fmla="*/ 6784423 h 10480123"/>
                    <a:gd name="connsiteX66" fmla="*/ 438150 w 8610600"/>
                    <a:gd name="connsiteY66" fmla="*/ 6955873 h 10480123"/>
                    <a:gd name="connsiteX67" fmla="*/ 571500 w 8610600"/>
                    <a:gd name="connsiteY67" fmla="*/ 6879673 h 10480123"/>
                    <a:gd name="connsiteX68" fmla="*/ 685800 w 8610600"/>
                    <a:gd name="connsiteY68" fmla="*/ 6739973 h 10480123"/>
                    <a:gd name="connsiteX69" fmla="*/ 974725 w 8610600"/>
                    <a:gd name="connsiteY69" fmla="*/ 6739973 h 10480123"/>
                    <a:gd name="connsiteX70" fmla="*/ 1314450 w 8610600"/>
                    <a:gd name="connsiteY70" fmla="*/ 6765373 h 10480123"/>
                    <a:gd name="connsiteX71" fmla="*/ 1771650 w 8610600"/>
                    <a:gd name="connsiteY71" fmla="*/ 6860623 h 10480123"/>
                    <a:gd name="connsiteX72" fmla="*/ 2305050 w 8610600"/>
                    <a:gd name="connsiteY72" fmla="*/ 7070173 h 10480123"/>
                    <a:gd name="connsiteX73" fmla="*/ 3264694 w 8610600"/>
                    <a:gd name="connsiteY73" fmla="*/ 7103511 h 10480123"/>
                    <a:gd name="connsiteX74" fmla="*/ 3064669 w 8610600"/>
                    <a:gd name="connsiteY74" fmla="*/ 7227336 h 10480123"/>
                    <a:gd name="connsiteX75" fmla="*/ 3078956 w 8610600"/>
                    <a:gd name="connsiteY75" fmla="*/ 7403548 h 10480123"/>
                    <a:gd name="connsiteX76" fmla="*/ 3174206 w 8610600"/>
                    <a:gd name="connsiteY76" fmla="*/ 7415454 h 10480123"/>
                    <a:gd name="connsiteX77" fmla="*/ 3295650 w 8610600"/>
                    <a:gd name="connsiteY77" fmla="*/ 7403548 h 10480123"/>
                    <a:gd name="connsiteX78" fmla="*/ 3309938 w 8610600"/>
                    <a:gd name="connsiteY78" fmla="*/ 7498798 h 10480123"/>
                    <a:gd name="connsiteX79" fmla="*/ 3393281 w 8610600"/>
                    <a:gd name="connsiteY79" fmla="*/ 7594048 h 10480123"/>
                    <a:gd name="connsiteX80" fmla="*/ 3655219 w 8610600"/>
                    <a:gd name="connsiteY80" fmla="*/ 7613098 h 10480123"/>
                    <a:gd name="connsiteX81" fmla="*/ 3676650 w 8610600"/>
                    <a:gd name="connsiteY81" fmla="*/ 7605954 h 10480123"/>
                    <a:gd name="connsiteX82" fmla="*/ 3698081 w 8610600"/>
                    <a:gd name="connsiteY82" fmla="*/ 7789311 h 10480123"/>
                    <a:gd name="connsiteX83" fmla="*/ 3926681 w 8610600"/>
                    <a:gd name="connsiteY83" fmla="*/ 7836936 h 10480123"/>
                    <a:gd name="connsiteX84" fmla="*/ 4341019 w 8610600"/>
                    <a:gd name="connsiteY84" fmla="*/ 7805979 h 10480123"/>
                    <a:gd name="connsiteX85" fmla="*/ 4724400 w 8610600"/>
                    <a:gd name="connsiteY85" fmla="*/ 7717873 h 10480123"/>
                    <a:gd name="connsiteX86" fmla="*/ 5098256 w 8610600"/>
                    <a:gd name="connsiteY86" fmla="*/ 7663104 h 10480123"/>
                    <a:gd name="connsiteX87" fmla="*/ 5272088 w 8610600"/>
                    <a:gd name="connsiteY87" fmla="*/ 7591667 h 10480123"/>
                    <a:gd name="connsiteX88" fmla="*/ 5391150 w 8610600"/>
                    <a:gd name="connsiteY88" fmla="*/ 7584523 h 10480123"/>
                    <a:gd name="connsiteX89" fmla="*/ 5657850 w 8610600"/>
                    <a:gd name="connsiteY89" fmla="*/ 7584523 h 10480123"/>
                    <a:gd name="connsiteX90" fmla="*/ 5867400 w 8610600"/>
                    <a:gd name="connsiteY90" fmla="*/ 7698823 h 10480123"/>
                    <a:gd name="connsiteX91" fmla="*/ 5753100 w 8610600"/>
                    <a:gd name="connsiteY91" fmla="*/ 7279723 h 10480123"/>
                    <a:gd name="connsiteX92" fmla="*/ 5581650 w 8610600"/>
                    <a:gd name="connsiteY92" fmla="*/ 6955873 h 10480123"/>
                    <a:gd name="connsiteX93" fmla="*/ 5391150 w 8610600"/>
                    <a:gd name="connsiteY93" fmla="*/ 6670123 h 10480123"/>
                    <a:gd name="connsiteX94" fmla="*/ 5281613 w 8610600"/>
                    <a:gd name="connsiteY94" fmla="*/ 6617736 h 10480123"/>
                    <a:gd name="connsiteX95" fmla="*/ 4910138 w 8610600"/>
                    <a:gd name="connsiteY95" fmla="*/ 6546298 h 10480123"/>
                    <a:gd name="connsiteX96" fmla="*/ 4629150 w 8610600"/>
                    <a:gd name="connsiteY96" fmla="*/ 6346273 h 10480123"/>
                    <a:gd name="connsiteX97" fmla="*/ 4286250 w 8610600"/>
                    <a:gd name="connsiteY97" fmla="*/ 6384373 h 10480123"/>
                    <a:gd name="connsiteX98" fmla="*/ 3874294 w 8610600"/>
                    <a:gd name="connsiteY98" fmla="*/ 6558204 h 10480123"/>
                    <a:gd name="connsiteX99" fmla="*/ 3600450 w 8610600"/>
                    <a:gd name="connsiteY99" fmla="*/ 6689173 h 10480123"/>
                    <a:gd name="connsiteX100" fmla="*/ 3181350 w 8610600"/>
                    <a:gd name="connsiteY100" fmla="*/ 5774773 h 10480123"/>
                    <a:gd name="connsiteX101" fmla="*/ 2724150 w 8610600"/>
                    <a:gd name="connsiteY101" fmla="*/ 4860373 h 10480123"/>
                    <a:gd name="connsiteX102" fmla="*/ 2381250 w 8610600"/>
                    <a:gd name="connsiteY102" fmla="*/ 4288873 h 10480123"/>
                    <a:gd name="connsiteX103" fmla="*/ 1962150 w 8610600"/>
                    <a:gd name="connsiteY103" fmla="*/ 3869773 h 10480123"/>
                    <a:gd name="connsiteX104" fmla="*/ 1619250 w 8610600"/>
                    <a:gd name="connsiteY104" fmla="*/ 3545923 h 10480123"/>
                    <a:gd name="connsiteX105" fmla="*/ 1009650 w 8610600"/>
                    <a:gd name="connsiteY105" fmla="*/ 3507823 h 10480123"/>
                    <a:gd name="connsiteX106" fmla="*/ 762000 w 8610600"/>
                    <a:gd name="connsiteY106" fmla="*/ 3545923 h 10480123"/>
                    <a:gd name="connsiteX107" fmla="*/ 838200 w 8610600"/>
                    <a:gd name="connsiteY107" fmla="*/ 2917273 h 10480123"/>
                    <a:gd name="connsiteX108" fmla="*/ 838200 w 8610600"/>
                    <a:gd name="connsiteY108" fmla="*/ 2479123 h 10480123"/>
                    <a:gd name="connsiteX109" fmla="*/ 971550 w 8610600"/>
                    <a:gd name="connsiteY109" fmla="*/ 1964773 h 10480123"/>
                    <a:gd name="connsiteX110" fmla="*/ 1028700 w 8610600"/>
                    <a:gd name="connsiteY110" fmla="*/ 1412323 h 10480123"/>
                    <a:gd name="connsiteX111" fmla="*/ 1295400 w 8610600"/>
                    <a:gd name="connsiteY111" fmla="*/ 859873 h 10480123"/>
                    <a:gd name="connsiteX112" fmla="*/ 1562100 w 8610600"/>
                    <a:gd name="connsiteY112" fmla="*/ 745573 h 10480123"/>
                    <a:gd name="connsiteX113" fmla="*/ 1809750 w 8610600"/>
                    <a:gd name="connsiteY113" fmla="*/ 726523 h 10480123"/>
                    <a:gd name="connsiteX114" fmla="*/ 2190750 w 8610600"/>
                    <a:gd name="connsiteY114" fmla="*/ 574123 h 10480123"/>
                    <a:gd name="connsiteX115" fmla="*/ 2457450 w 8610600"/>
                    <a:gd name="connsiteY115" fmla="*/ 478873 h 10480123"/>
                    <a:gd name="connsiteX116" fmla="*/ 2838450 w 8610600"/>
                    <a:gd name="connsiteY116" fmla="*/ 421723 h 10480123"/>
                    <a:gd name="connsiteX117" fmla="*/ 3219450 w 8610600"/>
                    <a:gd name="connsiteY117" fmla="*/ 174073 h 10480123"/>
                    <a:gd name="connsiteX118" fmla="*/ 2857500 w 8610600"/>
                    <a:gd name="connsiteY118" fmla="*/ 440773 h 10480123"/>
                    <a:gd name="connsiteX119" fmla="*/ 2381250 w 8610600"/>
                    <a:gd name="connsiteY119" fmla="*/ 707473 h 10480123"/>
                    <a:gd name="connsiteX120" fmla="*/ 2286000 w 8610600"/>
                    <a:gd name="connsiteY120" fmla="*/ 821773 h 10480123"/>
                    <a:gd name="connsiteX121" fmla="*/ 2400300 w 8610600"/>
                    <a:gd name="connsiteY121" fmla="*/ 840823 h 10480123"/>
                    <a:gd name="connsiteX122" fmla="*/ 2686050 w 8610600"/>
                    <a:gd name="connsiteY122" fmla="*/ 764623 h 10480123"/>
                    <a:gd name="connsiteX123" fmla="*/ 2895600 w 8610600"/>
                    <a:gd name="connsiteY123" fmla="*/ 707473 h 10480123"/>
                    <a:gd name="connsiteX124" fmla="*/ 3143250 w 8610600"/>
                    <a:gd name="connsiteY124" fmla="*/ 555073 h 10480123"/>
                    <a:gd name="connsiteX125" fmla="*/ 3143250 w 8610600"/>
                    <a:gd name="connsiteY125" fmla="*/ 669373 h 10480123"/>
                    <a:gd name="connsiteX126" fmla="*/ 3143250 w 8610600"/>
                    <a:gd name="connsiteY126" fmla="*/ 955123 h 10480123"/>
                    <a:gd name="connsiteX127" fmla="*/ 3314700 w 8610600"/>
                    <a:gd name="connsiteY127" fmla="*/ 1202773 h 10480123"/>
                    <a:gd name="connsiteX128" fmla="*/ 3067050 w 8610600"/>
                    <a:gd name="connsiteY128" fmla="*/ 2802973 h 10480123"/>
                    <a:gd name="connsiteX129" fmla="*/ 3009900 w 8610600"/>
                    <a:gd name="connsiteY129" fmla="*/ 3488773 h 10480123"/>
                    <a:gd name="connsiteX130" fmla="*/ 3162300 w 8610600"/>
                    <a:gd name="connsiteY130" fmla="*/ 4574623 h 10480123"/>
                    <a:gd name="connsiteX131" fmla="*/ 3314700 w 8610600"/>
                    <a:gd name="connsiteY131" fmla="*/ 5355673 h 10480123"/>
                    <a:gd name="connsiteX132" fmla="*/ 3429000 w 8610600"/>
                    <a:gd name="connsiteY132" fmla="*/ 6079573 h 10480123"/>
                    <a:gd name="connsiteX133" fmla="*/ 3714750 w 8610600"/>
                    <a:gd name="connsiteY133" fmla="*/ 5679523 h 10480123"/>
                    <a:gd name="connsiteX134" fmla="*/ 3886200 w 8610600"/>
                    <a:gd name="connsiteY134" fmla="*/ 5355673 h 10480123"/>
                    <a:gd name="connsiteX135" fmla="*/ 3981450 w 8610600"/>
                    <a:gd name="connsiteY135" fmla="*/ 4974673 h 10480123"/>
                    <a:gd name="connsiteX136" fmla="*/ 4248150 w 8610600"/>
                    <a:gd name="connsiteY136" fmla="*/ 4555573 h 10480123"/>
                    <a:gd name="connsiteX137" fmla="*/ 4476750 w 8610600"/>
                    <a:gd name="connsiteY137" fmla="*/ 4041223 h 10480123"/>
                    <a:gd name="connsiteX138" fmla="*/ 4876800 w 8610600"/>
                    <a:gd name="connsiteY138" fmla="*/ 3203023 h 10480123"/>
                    <a:gd name="connsiteX139" fmla="*/ 5181600 w 8610600"/>
                    <a:gd name="connsiteY139" fmla="*/ 2402923 h 10480123"/>
                    <a:gd name="connsiteX140" fmla="*/ 5410200 w 8610600"/>
                    <a:gd name="connsiteY140" fmla="*/ 1679023 h 10480123"/>
                    <a:gd name="connsiteX141" fmla="*/ 5638800 w 8610600"/>
                    <a:gd name="connsiteY141" fmla="*/ 993223 h 10480123"/>
                    <a:gd name="connsiteX142" fmla="*/ 6057900 w 8610600"/>
                    <a:gd name="connsiteY142" fmla="*/ 1336123 h 10480123"/>
                    <a:gd name="connsiteX143" fmla="*/ 6076950 w 8610600"/>
                    <a:gd name="connsiteY143" fmla="*/ 1583773 h 10480123"/>
                    <a:gd name="connsiteX144" fmla="*/ 6153150 w 8610600"/>
                    <a:gd name="connsiteY144" fmla="*/ 1659973 h 10480123"/>
                    <a:gd name="connsiteX145" fmla="*/ 6229350 w 8610600"/>
                    <a:gd name="connsiteY145" fmla="*/ 1488523 h 10480123"/>
                    <a:gd name="connsiteX146" fmla="*/ 6286500 w 8610600"/>
                    <a:gd name="connsiteY146" fmla="*/ 1164673 h 10480123"/>
                    <a:gd name="connsiteX147" fmla="*/ 6229350 w 8610600"/>
                    <a:gd name="connsiteY147" fmla="*/ 707473 h 10480123"/>
                    <a:gd name="connsiteX148" fmla="*/ 6096000 w 8610600"/>
                    <a:gd name="connsiteY148" fmla="*/ 193123 h 10480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Lst>
                  <a:rect l="l" t="t" r="r" b="b"/>
                  <a:pathLst>
                    <a:path w="8610600" h="10480123">
                      <a:moveTo>
                        <a:pt x="6096000" y="193123"/>
                      </a:moveTo>
                      <a:lnTo>
                        <a:pt x="6248400" y="402673"/>
                      </a:lnTo>
                      <a:lnTo>
                        <a:pt x="6362700" y="536023"/>
                      </a:lnTo>
                      <a:lnTo>
                        <a:pt x="6838950" y="764623"/>
                      </a:lnTo>
                      <a:lnTo>
                        <a:pt x="7010400" y="917023"/>
                      </a:lnTo>
                      <a:lnTo>
                        <a:pt x="7448550" y="1202773"/>
                      </a:lnTo>
                      <a:lnTo>
                        <a:pt x="7848600" y="1374223"/>
                      </a:lnTo>
                      <a:lnTo>
                        <a:pt x="8020050" y="1374223"/>
                      </a:lnTo>
                      <a:lnTo>
                        <a:pt x="8058150" y="1679023"/>
                      </a:lnTo>
                      <a:lnTo>
                        <a:pt x="8115300" y="2002873"/>
                      </a:lnTo>
                      <a:lnTo>
                        <a:pt x="8115300" y="2345773"/>
                      </a:lnTo>
                      <a:cubicBezTo>
                        <a:pt x="8179755" y="2764727"/>
                        <a:pt x="8305800" y="3179190"/>
                        <a:pt x="8305800" y="3603073"/>
                      </a:cubicBezTo>
                      <a:cubicBezTo>
                        <a:pt x="8325407" y="4720668"/>
                        <a:pt x="8324850" y="4326917"/>
                        <a:pt x="8324850" y="4784173"/>
                      </a:cubicBezTo>
                      <a:cubicBezTo>
                        <a:pt x="8421892" y="5114115"/>
                        <a:pt x="8420100" y="4995501"/>
                        <a:pt x="8420100" y="5127073"/>
                      </a:cubicBezTo>
                      <a:lnTo>
                        <a:pt x="8420100" y="5546173"/>
                      </a:lnTo>
                      <a:lnTo>
                        <a:pt x="8534400" y="5831923"/>
                      </a:lnTo>
                      <a:lnTo>
                        <a:pt x="8553450" y="6289123"/>
                      </a:lnTo>
                      <a:lnTo>
                        <a:pt x="8610600" y="6612973"/>
                      </a:lnTo>
                      <a:lnTo>
                        <a:pt x="8572500" y="6841573"/>
                      </a:lnTo>
                      <a:lnTo>
                        <a:pt x="8534400" y="6917773"/>
                      </a:lnTo>
                      <a:lnTo>
                        <a:pt x="8610600" y="7089223"/>
                      </a:lnTo>
                      <a:cubicBezTo>
                        <a:pt x="8473609" y="7284925"/>
                        <a:pt x="8399738" y="7279723"/>
                        <a:pt x="8496300" y="7279723"/>
                      </a:cubicBezTo>
                      <a:lnTo>
                        <a:pt x="8210550" y="7603573"/>
                      </a:lnTo>
                      <a:lnTo>
                        <a:pt x="7924800" y="7813123"/>
                      </a:lnTo>
                      <a:lnTo>
                        <a:pt x="7486650" y="8003623"/>
                      </a:lnTo>
                      <a:lnTo>
                        <a:pt x="6991350" y="8098873"/>
                      </a:lnTo>
                      <a:lnTo>
                        <a:pt x="6724650" y="8270323"/>
                      </a:lnTo>
                      <a:lnTo>
                        <a:pt x="6972300" y="8898973"/>
                      </a:lnTo>
                      <a:cubicBezTo>
                        <a:pt x="7010927" y="9362501"/>
                        <a:pt x="7010400" y="9203245"/>
                        <a:pt x="7010400" y="9375223"/>
                      </a:cubicBezTo>
                      <a:lnTo>
                        <a:pt x="7200900" y="10080073"/>
                      </a:lnTo>
                      <a:lnTo>
                        <a:pt x="7277100" y="10461073"/>
                      </a:lnTo>
                      <a:lnTo>
                        <a:pt x="6858000" y="10384873"/>
                      </a:lnTo>
                      <a:cubicBezTo>
                        <a:pt x="6635798" y="10404479"/>
                        <a:pt x="6414315" y="10442023"/>
                        <a:pt x="6191250" y="10442023"/>
                      </a:cubicBezTo>
                      <a:lnTo>
                        <a:pt x="4781550" y="10480123"/>
                      </a:lnTo>
                      <a:lnTo>
                        <a:pt x="4095750" y="10480123"/>
                      </a:lnTo>
                      <a:lnTo>
                        <a:pt x="3695700" y="10270573"/>
                      </a:lnTo>
                      <a:lnTo>
                        <a:pt x="3429000" y="9965773"/>
                      </a:lnTo>
                      <a:lnTo>
                        <a:pt x="3333750" y="9622873"/>
                      </a:lnTo>
                      <a:lnTo>
                        <a:pt x="3257550" y="8956123"/>
                      </a:lnTo>
                      <a:lnTo>
                        <a:pt x="3219450" y="8194123"/>
                      </a:lnTo>
                      <a:lnTo>
                        <a:pt x="3219450" y="7432123"/>
                      </a:lnTo>
                      <a:lnTo>
                        <a:pt x="3009900" y="8003623"/>
                      </a:lnTo>
                      <a:lnTo>
                        <a:pt x="2667000" y="8918023"/>
                      </a:lnTo>
                      <a:lnTo>
                        <a:pt x="2400300" y="9622873"/>
                      </a:lnTo>
                      <a:lnTo>
                        <a:pt x="2133600" y="10041973"/>
                      </a:lnTo>
                      <a:lnTo>
                        <a:pt x="1885950" y="10289623"/>
                      </a:lnTo>
                      <a:lnTo>
                        <a:pt x="1524000" y="10308673"/>
                      </a:lnTo>
                      <a:lnTo>
                        <a:pt x="1143000" y="10232473"/>
                      </a:lnTo>
                      <a:lnTo>
                        <a:pt x="838200" y="10175323"/>
                      </a:lnTo>
                      <a:lnTo>
                        <a:pt x="609600" y="10061023"/>
                      </a:lnTo>
                      <a:lnTo>
                        <a:pt x="400050" y="9984823"/>
                      </a:lnTo>
                      <a:lnTo>
                        <a:pt x="552450" y="9451423"/>
                      </a:lnTo>
                      <a:lnTo>
                        <a:pt x="723900" y="8784673"/>
                      </a:lnTo>
                      <a:lnTo>
                        <a:pt x="857250" y="8384623"/>
                      </a:lnTo>
                      <a:lnTo>
                        <a:pt x="1085850" y="7927423"/>
                      </a:lnTo>
                      <a:lnTo>
                        <a:pt x="1085850" y="7584523"/>
                      </a:lnTo>
                      <a:lnTo>
                        <a:pt x="1219200" y="7279723"/>
                      </a:lnTo>
                      <a:lnTo>
                        <a:pt x="971550" y="7470223"/>
                      </a:lnTo>
                      <a:lnTo>
                        <a:pt x="838200" y="7622623"/>
                      </a:lnTo>
                      <a:lnTo>
                        <a:pt x="762000" y="7946473"/>
                      </a:lnTo>
                      <a:lnTo>
                        <a:pt x="476250" y="7984573"/>
                      </a:lnTo>
                      <a:lnTo>
                        <a:pt x="304800" y="7660723"/>
                      </a:lnTo>
                      <a:lnTo>
                        <a:pt x="95250" y="7165423"/>
                      </a:lnTo>
                      <a:lnTo>
                        <a:pt x="0" y="6860623"/>
                      </a:lnTo>
                      <a:lnTo>
                        <a:pt x="171450" y="6841573"/>
                      </a:lnTo>
                      <a:lnTo>
                        <a:pt x="266700" y="6784423"/>
                      </a:lnTo>
                      <a:lnTo>
                        <a:pt x="438150" y="6955873"/>
                      </a:lnTo>
                      <a:lnTo>
                        <a:pt x="571500" y="6879673"/>
                      </a:lnTo>
                      <a:lnTo>
                        <a:pt x="685800" y="6739973"/>
                      </a:lnTo>
                      <a:cubicBezTo>
                        <a:pt x="977886" y="6759445"/>
                        <a:pt x="803275" y="6740184"/>
                        <a:pt x="974725" y="6739973"/>
                      </a:cubicBezTo>
                      <a:lnTo>
                        <a:pt x="1314450" y="6765373"/>
                      </a:lnTo>
                      <a:lnTo>
                        <a:pt x="1771650" y="6860623"/>
                      </a:lnTo>
                      <a:lnTo>
                        <a:pt x="2305050" y="7070173"/>
                      </a:lnTo>
                      <a:cubicBezTo>
                        <a:pt x="2517378" y="7117798"/>
                        <a:pt x="3138091" y="7077317"/>
                        <a:pt x="3264694" y="7103511"/>
                      </a:cubicBezTo>
                      <a:cubicBezTo>
                        <a:pt x="3391297" y="7129705"/>
                        <a:pt x="3059113" y="7184474"/>
                        <a:pt x="3064669" y="7227336"/>
                      </a:cubicBezTo>
                      <a:lnTo>
                        <a:pt x="3078956" y="7403548"/>
                      </a:lnTo>
                      <a:lnTo>
                        <a:pt x="3174206" y="7415454"/>
                      </a:lnTo>
                      <a:lnTo>
                        <a:pt x="3295650" y="7403548"/>
                      </a:lnTo>
                      <a:lnTo>
                        <a:pt x="3309938" y="7498798"/>
                      </a:lnTo>
                      <a:lnTo>
                        <a:pt x="3393281" y="7594048"/>
                      </a:lnTo>
                      <a:lnTo>
                        <a:pt x="3655219" y="7613098"/>
                      </a:lnTo>
                      <a:lnTo>
                        <a:pt x="3676650" y="7605954"/>
                      </a:lnTo>
                      <a:cubicBezTo>
                        <a:pt x="3696332" y="7802772"/>
                        <a:pt x="3681412" y="7691203"/>
                        <a:pt x="3698081" y="7789311"/>
                      </a:cubicBezTo>
                      <a:lnTo>
                        <a:pt x="3926681" y="7836936"/>
                      </a:lnTo>
                      <a:lnTo>
                        <a:pt x="4341019" y="7805979"/>
                      </a:lnTo>
                      <a:lnTo>
                        <a:pt x="4724400" y="7717873"/>
                      </a:lnTo>
                      <a:lnTo>
                        <a:pt x="5098256" y="7663104"/>
                      </a:lnTo>
                      <a:lnTo>
                        <a:pt x="5272088" y="7591667"/>
                      </a:lnTo>
                      <a:lnTo>
                        <a:pt x="5391150" y="7584523"/>
                      </a:lnTo>
                      <a:lnTo>
                        <a:pt x="5657850" y="7584523"/>
                      </a:lnTo>
                      <a:lnTo>
                        <a:pt x="5867400" y="7698823"/>
                      </a:lnTo>
                      <a:cubicBezTo>
                        <a:pt x="5751356" y="7292667"/>
                        <a:pt x="5753100" y="7437459"/>
                        <a:pt x="5753100" y="7279723"/>
                      </a:cubicBezTo>
                      <a:cubicBezTo>
                        <a:pt x="5578537" y="6969388"/>
                        <a:pt x="5581650" y="7091494"/>
                        <a:pt x="5581650" y="6955873"/>
                      </a:cubicBezTo>
                      <a:cubicBezTo>
                        <a:pt x="5387459" y="6684006"/>
                        <a:pt x="5391150" y="6798423"/>
                        <a:pt x="5391150" y="6670123"/>
                      </a:cubicBezTo>
                      <a:cubicBezTo>
                        <a:pt x="5271972" y="6570808"/>
                        <a:pt x="5350258" y="6617736"/>
                        <a:pt x="5281613" y="6617736"/>
                      </a:cubicBezTo>
                      <a:cubicBezTo>
                        <a:pt x="5118506" y="6639566"/>
                        <a:pt x="5029558" y="6665718"/>
                        <a:pt x="4910138" y="6546298"/>
                      </a:cubicBezTo>
                      <a:cubicBezTo>
                        <a:pt x="4676254" y="6390376"/>
                        <a:pt x="4699300" y="6391517"/>
                        <a:pt x="4629150" y="6346273"/>
                      </a:cubicBezTo>
                      <a:cubicBezTo>
                        <a:pt x="4298993" y="6385115"/>
                        <a:pt x="4413994" y="6384373"/>
                        <a:pt x="4286250" y="6384373"/>
                      </a:cubicBezTo>
                      <a:lnTo>
                        <a:pt x="3874294" y="6558204"/>
                      </a:lnTo>
                      <a:lnTo>
                        <a:pt x="3600450" y="6689173"/>
                      </a:lnTo>
                      <a:lnTo>
                        <a:pt x="3181350" y="5774773"/>
                      </a:lnTo>
                      <a:lnTo>
                        <a:pt x="2724150" y="4860373"/>
                      </a:lnTo>
                      <a:lnTo>
                        <a:pt x="2381250" y="4288873"/>
                      </a:lnTo>
                      <a:lnTo>
                        <a:pt x="1962150" y="3869773"/>
                      </a:lnTo>
                      <a:lnTo>
                        <a:pt x="1619250" y="3545923"/>
                      </a:lnTo>
                      <a:lnTo>
                        <a:pt x="1009650" y="3507823"/>
                      </a:lnTo>
                      <a:lnTo>
                        <a:pt x="762000" y="3545923"/>
                      </a:lnTo>
                      <a:lnTo>
                        <a:pt x="838200" y="2917273"/>
                      </a:lnTo>
                      <a:lnTo>
                        <a:pt x="838200" y="2479123"/>
                      </a:lnTo>
                      <a:lnTo>
                        <a:pt x="971550" y="1964773"/>
                      </a:lnTo>
                      <a:lnTo>
                        <a:pt x="1028700" y="1412323"/>
                      </a:lnTo>
                      <a:lnTo>
                        <a:pt x="1295400" y="859873"/>
                      </a:lnTo>
                      <a:lnTo>
                        <a:pt x="1562100" y="745573"/>
                      </a:lnTo>
                      <a:lnTo>
                        <a:pt x="1809750" y="726523"/>
                      </a:lnTo>
                      <a:lnTo>
                        <a:pt x="2190750" y="574123"/>
                      </a:lnTo>
                      <a:lnTo>
                        <a:pt x="2457450" y="478873"/>
                      </a:lnTo>
                      <a:lnTo>
                        <a:pt x="2838450" y="421723"/>
                      </a:lnTo>
                      <a:cubicBezTo>
                        <a:pt x="3224652" y="151382"/>
                        <a:pt x="3219450" y="0"/>
                        <a:pt x="3219450" y="174073"/>
                      </a:cubicBezTo>
                      <a:lnTo>
                        <a:pt x="2857500" y="440773"/>
                      </a:lnTo>
                      <a:lnTo>
                        <a:pt x="2381250" y="707473"/>
                      </a:lnTo>
                      <a:cubicBezTo>
                        <a:pt x="2281510" y="807213"/>
                        <a:pt x="2286000" y="757822"/>
                        <a:pt x="2286000" y="821773"/>
                      </a:cubicBezTo>
                      <a:lnTo>
                        <a:pt x="2400300" y="840823"/>
                      </a:lnTo>
                      <a:lnTo>
                        <a:pt x="2686050" y="764623"/>
                      </a:lnTo>
                      <a:lnTo>
                        <a:pt x="2895600" y="707473"/>
                      </a:lnTo>
                      <a:lnTo>
                        <a:pt x="3143250" y="555073"/>
                      </a:lnTo>
                      <a:lnTo>
                        <a:pt x="3143250" y="669373"/>
                      </a:lnTo>
                      <a:lnTo>
                        <a:pt x="3143250" y="955123"/>
                      </a:lnTo>
                      <a:lnTo>
                        <a:pt x="3314700" y="1202773"/>
                      </a:lnTo>
                      <a:cubicBezTo>
                        <a:pt x="3237467" y="1736969"/>
                        <a:pt x="3448711" y="2421312"/>
                        <a:pt x="3067050" y="2802973"/>
                      </a:cubicBezTo>
                      <a:lnTo>
                        <a:pt x="3009900" y="3488773"/>
                      </a:lnTo>
                      <a:lnTo>
                        <a:pt x="3162300" y="4574623"/>
                      </a:lnTo>
                      <a:lnTo>
                        <a:pt x="3314700" y="5355673"/>
                      </a:lnTo>
                      <a:lnTo>
                        <a:pt x="3429000" y="6079573"/>
                      </a:lnTo>
                      <a:lnTo>
                        <a:pt x="3714750" y="5679523"/>
                      </a:lnTo>
                      <a:lnTo>
                        <a:pt x="3886200" y="5355673"/>
                      </a:lnTo>
                      <a:lnTo>
                        <a:pt x="3981450" y="4974673"/>
                      </a:lnTo>
                      <a:lnTo>
                        <a:pt x="4248150" y="4555573"/>
                      </a:lnTo>
                      <a:lnTo>
                        <a:pt x="4476750" y="4041223"/>
                      </a:lnTo>
                      <a:cubicBezTo>
                        <a:pt x="4882480" y="3229764"/>
                        <a:pt x="4876800" y="3539303"/>
                        <a:pt x="4876800" y="3203023"/>
                      </a:cubicBezTo>
                      <a:lnTo>
                        <a:pt x="5181600" y="2402923"/>
                      </a:lnTo>
                      <a:lnTo>
                        <a:pt x="5410200" y="1679023"/>
                      </a:lnTo>
                      <a:lnTo>
                        <a:pt x="5638800" y="993223"/>
                      </a:lnTo>
                      <a:lnTo>
                        <a:pt x="6057900" y="1336123"/>
                      </a:lnTo>
                      <a:lnTo>
                        <a:pt x="6076950" y="1583773"/>
                      </a:lnTo>
                      <a:lnTo>
                        <a:pt x="6153150" y="1659973"/>
                      </a:lnTo>
                      <a:lnTo>
                        <a:pt x="6229350" y="1488523"/>
                      </a:lnTo>
                      <a:lnTo>
                        <a:pt x="6286500" y="1164673"/>
                      </a:lnTo>
                      <a:lnTo>
                        <a:pt x="6229350" y="707473"/>
                      </a:lnTo>
                      <a:lnTo>
                        <a:pt x="6096000" y="19312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05" name="Freeform 216">
                  <a:extLst>
                    <a:ext uri="{FF2B5EF4-FFF2-40B4-BE49-F238E27FC236}">
                      <a16:creationId xmlns:a16="http://schemas.microsoft.com/office/drawing/2014/main" id="{45951901-C081-4DA0-B89D-20D757CB137C}"/>
                    </a:ext>
                  </a:extLst>
                </p:cNvPr>
                <p:cNvSpPr/>
                <p:nvPr/>
              </p:nvSpPr>
              <p:spPr>
                <a:xfrm>
                  <a:off x="1739900" y="-5524500"/>
                  <a:ext cx="1244600" cy="4953000"/>
                </a:xfrm>
                <a:custGeom>
                  <a:avLst/>
                  <a:gdLst>
                    <a:gd name="connsiteX0" fmla="*/ 152400 w 1244600"/>
                    <a:gd name="connsiteY0" fmla="*/ 0 h 4953000"/>
                    <a:gd name="connsiteX1" fmla="*/ 152400 w 1244600"/>
                    <a:gd name="connsiteY1" fmla="*/ 342900 h 4953000"/>
                    <a:gd name="connsiteX2" fmla="*/ 63500 w 1244600"/>
                    <a:gd name="connsiteY2" fmla="*/ 622300 h 4953000"/>
                    <a:gd name="connsiteX3" fmla="*/ 63500 w 1244600"/>
                    <a:gd name="connsiteY3" fmla="*/ 1054100 h 4953000"/>
                    <a:gd name="connsiteX4" fmla="*/ 165100 w 1244600"/>
                    <a:gd name="connsiteY4" fmla="*/ 1879600 h 4953000"/>
                    <a:gd name="connsiteX5" fmla="*/ 241300 w 1244600"/>
                    <a:gd name="connsiteY5" fmla="*/ 2425700 h 4953000"/>
                    <a:gd name="connsiteX6" fmla="*/ 457200 w 1244600"/>
                    <a:gd name="connsiteY6" fmla="*/ 2984500 h 4953000"/>
                    <a:gd name="connsiteX7" fmla="*/ 673100 w 1244600"/>
                    <a:gd name="connsiteY7" fmla="*/ 3517900 h 4953000"/>
                    <a:gd name="connsiteX8" fmla="*/ 977900 w 1244600"/>
                    <a:gd name="connsiteY8" fmla="*/ 4064000 h 4953000"/>
                    <a:gd name="connsiteX9" fmla="*/ 1117600 w 1244600"/>
                    <a:gd name="connsiteY9" fmla="*/ 4318000 h 4953000"/>
                    <a:gd name="connsiteX10" fmla="*/ 1244600 w 1244600"/>
                    <a:gd name="connsiteY10" fmla="*/ 4953000 h 4953000"/>
                    <a:gd name="connsiteX11" fmla="*/ 1104900 w 1244600"/>
                    <a:gd name="connsiteY11" fmla="*/ 4546600 h 4953000"/>
                    <a:gd name="connsiteX12" fmla="*/ 1003300 w 1244600"/>
                    <a:gd name="connsiteY12" fmla="*/ 4267200 h 4953000"/>
                    <a:gd name="connsiteX13" fmla="*/ 762000 w 1244600"/>
                    <a:gd name="connsiteY13" fmla="*/ 3759200 h 4953000"/>
                    <a:gd name="connsiteX14" fmla="*/ 393700 w 1244600"/>
                    <a:gd name="connsiteY14" fmla="*/ 2933700 h 4953000"/>
                    <a:gd name="connsiteX15" fmla="*/ 190500 w 1244600"/>
                    <a:gd name="connsiteY15" fmla="*/ 2451100 h 4953000"/>
                    <a:gd name="connsiteX16" fmla="*/ 63500 w 1244600"/>
                    <a:gd name="connsiteY16" fmla="*/ 1409700 h 4953000"/>
                    <a:gd name="connsiteX17" fmla="*/ 0 w 1244600"/>
                    <a:gd name="connsiteY17" fmla="*/ 698500 h 4953000"/>
                    <a:gd name="connsiteX18" fmla="*/ 101600 w 1244600"/>
                    <a:gd name="connsiteY18" fmla="*/ 406400 h 4953000"/>
                    <a:gd name="connsiteX19" fmla="*/ 152400 w 1244600"/>
                    <a:gd name="connsiteY19" fmla="*/ 0 h 495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44600" h="4953000">
                      <a:moveTo>
                        <a:pt x="152400" y="0"/>
                      </a:moveTo>
                      <a:lnTo>
                        <a:pt x="152400" y="342900"/>
                      </a:lnTo>
                      <a:lnTo>
                        <a:pt x="63500" y="622300"/>
                      </a:lnTo>
                      <a:lnTo>
                        <a:pt x="63500" y="1054100"/>
                      </a:lnTo>
                      <a:lnTo>
                        <a:pt x="165100" y="1879600"/>
                      </a:lnTo>
                      <a:lnTo>
                        <a:pt x="241300" y="2425700"/>
                      </a:lnTo>
                      <a:lnTo>
                        <a:pt x="457200" y="2984500"/>
                      </a:lnTo>
                      <a:lnTo>
                        <a:pt x="673100" y="3517900"/>
                      </a:lnTo>
                      <a:lnTo>
                        <a:pt x="977900" y="4064000"/>
                      </a:lnTo>
                      <a:lnTo>
                        <a:pt x="1117600" y="4318000"/>
                      </a:lnTo>
                      <a:lnTo>
                        <a:pt x="1244600" y="4953000"/>
                      </a:lnTo>
                      <a:lnTo>
                        <a:pt x="1104900" y="4546600"/>
                      </a:lnTo>
                      <a:lnTo>
                        <a:pt x="1003300" y="4267200"/>
                      </a:lnTo>
                      <a:lnTo>
                        <a:pt x="762000" y="3759200"/>
                      </a:lnTo>
                      <a:lnTo>
                        <a:pt x="393700" y="2933700"/>
                      </a:lnTo>
                      <a:lnTo>
                        <a:pt x="190500" y="2451100"/>
                      </a:lnTo>
                      <a:lnTo>
                        <a:pt x="63500" y="1409700"/>
                      </a:lnTo>
                      <a:lnTo>
                        <a:pt x="0" y="698500"/>
                      </a:lnTo>
                      <a:lnTo>
                        <a:pt x="101600" y="406400"/>
                      </a:lnTo>
                      <a:lnTo>
                        <a:pt x="1524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06" name="Freeform 217">
                  <a:extLst>
                    <a:ext uri="{FF2B5EF4-FFF2-40B4-BE49-F238E27FC236}">
                      <a16:creationId xmlns:a16="http://schemas.microsoft.com/office/drawing/2014/main" id="{E538B098-5039-43F9-BB9D-D3A3A917F1AE}"/>
                    </a:ext>
                  </a:extLst>
                </p:cNvPr>
                <p:cNvSpPr/>
                <p:nvPr/>
              </p:nvSpPr>
              <p:spPr>
                <a:xfrm>
                  <a:off x="3733800" y="-5263796"/>
                  <a:ext cx="2683188" cy="3993796"/>
                </a:xfrm>
                <a:custGeom>
                  <a:avLst/>
                  <a:gdLst>
                    <a:gd name="connsiteX0" fmla="*/ 0 w 2683188"/>
                    <a:gd name="connsiteY0" fmla="*/ 3993796 h 3993796"/>
                    <a:gd name="connsiteX1" fmla="*/ 241300 w 2683188"/>
                    <a:gd name="connsiteY1" fmla="*/ 3561996 h 3993796"/>
                    <a:gd name="connsiteX2" fmla="*/ 482600 w 2683188"/>
                    <a:gd name="connsiteY2" fmla="*/ 3041296 h 3993796"/>
                    <a:gd name="connsiteX3" fmla="*/ 723900 w 2683188"/>
                    <a:gd name="connsiteY3" fmla="*/ 2507896 h 3993796"/>
                    <a:gd name="connsiteX4" fmla="*/ 863600 w 2683188"/>
                    <a:gd name="connsiteY4" fmla="*/ 2253896 h 3993796"/>
                    <a:gd name="connsiteX5" fmla="*/ 1066800 w 2683188"/>
                    <a:gd name="connsiteY5" fmla="*/ 1847496 h 3993796"/>
                    <a:gd name="connsiteX6" fmla="*/ 1206500 w 2683188"/>
                    <a:gd name="connsiteY6" fmla="*/ 1402996 h 3993796"/>
                    <a:gd name="connsiteX7" fmla="*/ 1358900 w 2683188"/>
                    <a:gd name="connsiteY7" fmla="*/ 958496 h 3993796"/>
                    <a:gd name="connsiteX8" fmla="*/ 1536700 w 2683188"/>
                    <a:gd name="connsiteY8" fmla="*/ 526696 h 3993796"/>
                    <a:gd name="connsiteX9" fmla="*/ 1562100 w 2683188"/>
                    <a:gd name="connsiteY9" fmla="*/ 755296 h 3993796"/>
                    <a:gd name="connsiteX10" fmla="*/ 1587500 w 2683188"/>
                    <a:gd name="connsiteY10" fmla="*/ 1161696 h 3993796"/>
                    <a:gd name="connsiteX11" fmla="*/ 1663700 w 2683188"/>
                    <a:gd name="connsiteY11" fmla="*/ 1555396 h 3993796"/>
                    <a:gd name="connsiteX12" fmla="*/ 1803400 w 2683188"/>
                    <a:gd name="connsiteY12" fmla="*/ 1517296 h 3993796"/>
                    <a:gd name="connsiteX13" fmla="*/ 1841500 w 2683188"/>
                    <a:gd name="connsiteY13" fmla="*/ 1174396 h 3993796"/>
                    <a:gd name="connsiteX14" fmla="*/ 1866900 w 2683188"/>
                    <a:gd name="connsiteY14" fmla="*/ 691796 h 3993796"/>
                    <a:gd name="connsiteX15" fmla="*/ 1917700 w 2683188"/>
                    <a:gd name="connsiteY15" fmla="*/ 894996 h 3993796"/>
                    <a:gd name="connsiteX16" fmla="*/ 1943100 w 2683188"/>
                    <a:gd name="connsiteY16" fmla="*/ 1136296 h 3993796"/>
                    <a:gd name="connsiteX17" fmla="*/ 2082800 w 2683188"/>
                    <a:gd name="connsiteY17" fmla="*/ 1072796 h 3993796"/>
                    <a:gd name="connsiteX18" fmla="*/ 2247900 w 2683188"/>
                    <a:gd name="connsiteY18" fmla="*/ 920396 h 3993796"/>
                    <a:gd name="connsiteX19" fmla="*/ 2298700 w 2683188"/>
                    <a:gd name="connsiteY19" fmla="*/ 602896 h 3993796"/>
                    <a:gd name="connsiteX20" fmla="*/ 2476500 w 2683188"/>
                    <a:gd name="connsiteY20" fmla="*/ 221896 h 3993796"/>
                    <a:gd name="connsiteX21" fmla="*/ 2679700 w 2683188"/>
                    <a:gd name="connsiteY21" fmla="*/ 94896 h 3993796"/>
                    <a:gd name="connsiteX22" fmla="*/ 2565400 w 2683188"/>
                    <a:gd name="connsiteY22" fmla="*/ 412396 h 3993796"/>
                    <a:gd name="connsiteX23" fmla="*/ 2273300 w 2683188"/>
                    <a:gd name="connsiteY23" fmla="*/ 1136296 h 3993796"/>
                    <a:gd name="connsiteX24" fmla="*/ 1701800 w 2683188"/>
                    <a:gd name="connsiteY24" fmla="*/ 2088796 h 3993796"/>
                    <a:gd name="connsiteX25" fmla="*/ 1270000 w 2683188"/>
                    <a:gd name="connsiteY25" fmla="*/ 2647596 h 3993796"/>
                    <a:gd name="connsiteX26" fmla="*/ 812800 w 2683188"/>
                    <a:gd name="connsiteY26" fmla="*/ 3117496 h 3993796"/>
                    <a:gd name="connsiteX27" fmla="*/ 304800 w 2683188"/>
                    <a:gd name="connsiteY27" fmla="*/ 3549296 h 3993796"/>
                    <a:gd name="connsiteX28" fmla="*/ 0 w 2683188"/>
                    <a:gd name="connsiteY28" fmla="*/ 3993796 h 3993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83188" h="3993796">
                      <a:moveTo>
                        <a:pt x="0" y="3993796"/>
                      </a:moveTo>
                      <a:lnTo>
                        <a:pt x="241300" y="3561996"/>
                      </a:lnTo>
                      <a:lnTo>
                        <a:pt x="482600" y="3041296"/>
                      </a:lnTo>
                      <a:lnTo>
                        <a:pt x="723900" y="2507896"/>
                      </a:lnTo>
                      <a:lnTo>
                        <a:pt x="863600" y="2253896"/>
                      </a:lnTo>
                      <a:lnTo>
                        <a:pt x="1066800" y="1847496"/>
                      </a:lnTo>
                      <a:lnTo>
                        <a:pt x="1206500" y="1402996"/>
                      </a:lnTo>
                      <a:lnTo>
                        <a:pt x="1358900" y="958496"/>
                      </a:lnTo>
                      <a:lnTo>
                        <a:pt x="1536700" y="526696"/>
                      </a:lnTo>
                      <a:lnTo>
                        <a:pt x="1562100" y="755296"/>
                      </a:lnTo>
                      <a:cubicBezTo>
                        <a:pt x="1588063" y="1144744"/>
                        <a:pt x="1587500" y="1009014"/>
                        <a:pt x="1587500" y="1161696"/>
                      </a:cubicBezTo>
                      <a:lnTo>
                        <a:pt x="1663700" y="1555396"/>
                      </a:lnTo>
                      <a:lnTo>
                        <a:pt x="1803400" y="1517296"/>
                      </a:lnTo>
                      <a:cubicBezTo>
                        <a:pt x="1842509" y="1191390"/>
                        <a:pt x="1841500" y="1306389"/>
                        <a:pt x="1841500" y="1174396"/>
                      </a:cubicBezTo>
                      <a:lnTo>
                        <a:pt x="1866900" y="691796"/>
                      </a:lnTo>
                      <a:lnTo>
                        <a:pt x="1917700" y="894996"/>
                      </a:lnTo>
                      <a:cubicBezTo>
                        <a:pt x="1930622" y="1140523"/>
                        <a:pt x="1849855" y="1136296"/>
                        <a:pt x="1943100" y="1136296"/>
                      </a:cubicBezTo>
                      <a:cubicBezTo>
                        <a:pt x="2086778" y="1084049"/>
                        <a:pt x="2082800" y="1135046"/>
                        <a:pt x="2082800" y="1072796"/>
                      </a:cubicBezTo>
                      <a:lnTo>
                        <a:pt x="2247900" y="920396"/>
                      </a:lnTo>
                      <a:cubicBezTo>
                        <a:pt x="2299396" y="611420"/>
                        <a:pt x="2298700" y="718597"/>
                        <a:pt x="2298700" y="602896"/>
                      </a:cubicBezTo>
                      <a:lnTo>
                        <a:pt x="2476500" y="221896"/>
                      </a:lnTo>
                      <a:cubicBezTo>
                        <a:pt x="2683188" y="79798"/>
                        <a:pt x="2679700" y="0"/>
                        <a:pt x="2679700" y="94896"/>
                      </a:cubicBezTo>
                      <a:lnTo>
                        <a:pt x="2565400" y="412396"/>
                      </a:lnTo>
                      <a:lnTo>
                        <a:pt x="2273300" y="1136296"/>
                      </a:lnTo>
                      <a:lnTo>
                        <a:pt x="1701800" y="2088796"/>
                      </a:lnTo>
                      <a:lnTo>
                        <a:pt x="1270000" y="2647596"/>
                      </a:lnTo>
                      <a:lnTo>
                        <a:pt x="812800" y="3117496"/>
                      </a:lnTo>
                      <a:lnTo>
                        <a:pt x="304800" y="3549296"/>
                      </a:lnTo>
                      <a:lnTo>
                        <a:pt x="0" y="3993796"/>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07" name="Freeform 218">
                  <a:extLst>
                    <a:ext uri="{FF2B5EF4-FFF2-40B4-BE49-F238E27FC236}">
                      <a16:creationId xmlns:a16="http://schemas.microsoft.com/office/drawing/2014/main" id="{8B121BDD-A059-44A0-B3E9-BEAC3EB02FC9}"/>
                    </a:ext>
                  </a:extLst>
                </p:cNvPr>
                <p:cNvSpPr/>
                <p:nvPr/>
              </p:nvSpPr>
              <p:spPr>
                <a:xfrm>
                  <a:off x="6489700" y="-3860800"/>
                  <a:ext cx="762000" cy="3581400"/>
                </a:xfrm>
                <a:custGeom>
                  <a:avLst/>
                  <a:gdLst>
                    <a:gd name="connsiteX0" fmla="*/ 762000 w 762000"/>
                    <a:gd name="connsiteY0" fmla="*/ 0 h 3581400"/>
                    <a:gd name="connsiteX1" fmla="*/ 457200 w 762000"/>
                    <a:gd name="connsiteY1" fmla="*/ 889000 h 3581400"/>
                    <a:gd name="connsiteX2" fmla="*/ 266700 w 762000"/>
                    <a:gd name="connsiteY2" fmla="*/ 1333500 h 3581400"/>
                    <a:gd name="connsiteX3" fmla="*/ 152400 w 762000"/>
                    <a:gd name="connsiteY3" fmla="*/ 1803400 h 3581400"/>
                    <a:gd name="connsiteX4" fmla="*/ 0 w 762000"/>
                    <a:gd name="connsiteY4" fmla="*/ 2095500 h 3581400"/>
                    <a:gd name="connsiteX5" fmla="*/ 25400 w 762000"/>
                    <a:gd name="connsiteY5" fmla="*/ 2641600 h 3581400"/>
                    <a:gd name="connsiteX6" fmla="*/ 152400 w 762000"/>
                    <a:gd name="connsiteY6" fmla="*/ 3124200 h 3581400"/>
                    <a:gd name="connsiteX7" fmla="*/ 165100 w 762000"/>
                    <a:gd name="connsiteY7" fmla="*/ 3581400 h 3581400"/>
                    <a:gd name="connsiteX8" fmla="*/ 254000 w 762000"/>
                    <a:gd name="connsiteY8" fmla="*/ 3416300 h 3581400"/>
                    <a:gd name="connsiteX9" fmla="*/ 457200 w 762000"/>
                    <a:gd name="connsiteY9" fmla="*/ 3302000 h 3581400"/>
                    <a:gd name="connsiteX10" fmla="*/ 177800 w 762000"/>
                    <a:gd name="connsiteY10" fmla="*/ 3162300 h 3581400"/>
                    <a:gd name="connsiteX11" fmla="*/ 177800 w 762000"/>
                    <a:gd name="connsiteY11" fmla="*/ 2806700 h 3581400"/>
                    <a:gd name="connsiteX12" fmla="*/ 292100 w 762000"/>
                    <a:gd name="connsiteY12" fmla="*/ 2438400 h 3581400"/>
                    <a:gd name="connsiteX13" fmla="*/ 609600 w 762000"/>
                    <a:gd name="connsiteY13" fmla="*/ 2133600 h 3581400"/>
                    <a:gd name="connsiteX14" fmla="*/ 622300 w 762000"/>
                    <a:gd name="connsiteY14" fmla="*/ 1943100 h 3581400"/>
                    <a:gd name="connsiteX15" fmla="*/ 342900 w 762000"/>
                    <a:gd name="connsiteY15" fmla="*/ 2209800 h 3581400"/>
                    <a:gd name="connsiteX16" fmla="*/ 304800 w 762000"/>
                    <a:gd name="connsiteY16" fmla="*/ 2260600 h 3581400"/>
                    <a:gd name="connsiteX17" fmla="*/ 152400 w 762000"/>
                    <a:gd name="connsiteY17" fmla="*/ 2413000 h 3581400"/>
                    <a:gd name="connsiteX18" fmla="*/ 177800 w 762000"/>
                    <a:gd name="connsiteY18" fmla="*/ 2095500 h 3581400"/>
                    <a:gd name="connsiteX19" fmla="*/ 342900 w 762000"/>
                    <a:gd name="connsiteY19" fmla="*/ 1625600 h 3581400"/>
                    <a:gd name="connsiteX20" fmla="*/ 457200 w 762000"/>
                    <a:gd name="connsiteY20" fmla="*/ 1282700 h 3581400"/>
                    <a:gd name="connsiteX21" fmla="*/ 558800 w 762000"/>
                    <a:gd name="connsiteY21" fmla="*/ 889000 h 3581400"/>
                    <a:gd name="connsiteX22" fmla="*/ 558800 w 762000"/>
                    <a:gd name="connsiteY22" fmla="*/ 647700 h 3581400"/>
                    <a:gd name="connsiteX23" fmla="*/ 762000 w 762000"/>
                    <a:gd name="connsiteY23" fmla="*/ 0 h 3581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62000" h="3581400">
                      <a:moveTo>
                        <a:pt x="762000" y="0"/>
                      </a:moveTo>
                      <a:lnTo>
                        <a:pt x="457200" y="889000"/>
                      </a:lnTo>
                      <a:lnTo>
                        <a:pt x="266700" y="1333500"/>
                      </a:lnTo>
                      <a:lnTo>
                        <a:pt x="152400" y="1803400"/>
                      </a:lnTo>
                      <a:lnTo>
                        <a:pt x="0" y="2095500"/>
                      </a:lnTo>
                      <a:lnTo>
                        <a:pt x="25400" y="2641600"/>
                      </a:lnTo>
                      <a:lnTo>
                        <a:pt x="152400" y="3124200"/>
                      </a:lnTo>
                      <a:lnTo>
                        <a:pt x="165100" y="3581400"/>
                      </a:lnTo>
                      <a:lnTo>
                        <a:pt x="254000" y="3416300"/>
                      </a:lnTo>
                      <a:lnTo>
                        <a:pt x="457200" y="3302000"/>
                      </a:lnTo>
                      <a:cubicBezTo>
                        <a:pt x="173946" y="3173248"/>
                        <a:pt x="177800" y="3277303"/>
                        <a:pt x="177800" y="3162300"/>
                      </a:cubicBezTo>
                      <a:lnTo>
                        <a:pt x="177800" y="2806700"/>
                      </a:lnTo>
                      <a:lnTo>
                        <a:pt x="292100" y="2438400"/>
                      </a:lnTo>
                      <a:lnTo>
                        <a:pt x="609600" y="2133600"/>
                      </a:lnTo>
                      <a:cubicBezTo>
                        <a:pt x="649360" y="1934798"/>
                        <a:pt x="712458" y="1943100"/>
                        <a:pt x="622300" y="1943100"/>
                      </a:cubicBezTo>
                      <a:cubicBezTo>
                        <a:pt x="529167" y="2032000"/>
                        <a:pt x="433941" y="2118759"/>
                        <a:pt x="342900" y="2209800"/>
                      </a:cubicBezTo>
                      <a:cubicBezTo>
                        <a:pt x="327933" y="2224767"/>
                        <a:pt x="304800" y="2260600"/>
                        <a:pt x="304800" y="2260600"/>
                      </a:cubicBezTo>
                      <a:lnTo>
                        <a:pt x="152400" y="2413000"/>
                      </a:lnTo>
                      <a:lnTo>
                        <a:pt x="177800" y="2095500"/>
                      </a:lnTo>
                      <a:lnTo>
                        <a:pt x="342900" y="1625600"/>
                      </a:lnTo>
                      <a:lnTo>
                        <a:pt x="457200" y="1282700"/>
                      </a:lnTo>
                      <a:cubicBezTo>
                        <a:pt x="561052" y="906238"/>
                        <a:pt x="558800" y="1041752"/>
                        <a:pt x="558800" y="889000"/>
                      </a:cubicBezTo>
                      <a:lnTo>
                        <a:pt x="558800" y="647700"/>
                      </a:lnTo>
                      <a:lnTo>
                        <a:pt x="762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08" name="Freeform 219">
                  <a:extLst>
                    <a:ext uri="{FF2B5EF4-FFF2-40B4-BE49-F238E27FC236}">
                      <a16:creationId xmlns:a16="http://schemas.microsoft.com/office/drawing/2014/main" id="{6AF36C80-34D1-4865-91FF-FA5EC4B0B446}"/>
                    </a:ext>
                  </a:extLst>
                </p:cNvPr>
                <p:cNvSpPr/>
                <p:nvPr/>
              </p:nvSpPr>
              <p:spPr>
                <a:xfrm>
                  <a:off x="3204029" y="-4401457"/>
                  <a:ext cx="4122057" cy="4847771"/>
                </a:xfrm>
                <a:custGeom>
                  <a:avLst/>
                  <a:gdLst>
                    <a:gd name="connsiteX0" fmla="*/ 4122057 w 4122057"/>
                    <a:gd name="connsiteY0" fmla="*/ 0 h 4847771"/>
                    <a:gd name="connsiteX1" fmla="*/ 3773714 w 4122057"/>
                    <a:gd name="connsiteY1" fmla="*/ 435428 h 4847771"/>
                    <a:gd name="connsiteX2" fmla="*/ 3352800 w 4122057"/>
                    <a:gd name="connsiteY2" fmla="*/ 1494971 h 4847771"/>
                    <a:gd name="connsiteX3" fmla="*/ 2510971 w 4122057"/>
                    <a:gd name="connsiteY3" fmla="*/ 2859314 h 4847771"/>
                    <a:gd name="connsiteX4" fmla="*/ 1161142 w 4122057"/>
                    <a:gd name="connsiteY4" fmla="*/ 3991428 h 4847771"/>
                    <a:gd name="connsiteX5" fmla="*/ 275771 w 4122057"/>
                    <a:gd name="connsiteY5" fmla="*/ 4542971 h 4847771"/>
                    <a:gd name="connsiteX6" fmla="*/ 0 w 4122057"/>
                    <a:gd name="connsiteY6" fmla="*/ 4833257 h 4847771"/>
                    <a:gd name="connsiteX7" fmla="*/ 333828 w 4122057"/>
                    <a:gd name="connsiteY7" fmla="*/ 4630057 h 4847771"/>
                    <a:gd name="connsiteX8" fmla="*/ 1059542 w 4122057"/>
                    <a:gd name="connsiteY8" fmla="*/ 4223657 h 4847771"/>
                    <a:gd name="connsiteX9" fmla="*/ 1567542 w 4122057"/>
                    <a:gd name="connsiteY9" fmla="*/ 4064000 h 4847771"/>
                    <a:gd name="connsiteX10" fmla="*/ 1262742 w 4122057"/>
                    <a:gd name="connsiteY10" fmla="*/ 4267200 h 4847771"/>
                    <a:gd name="connsiteX11" fmla="*/ 653142 w 4122057"/>
                    <a:gd name="connsiteY11" fmla="*/ 4586514 h 4847771"/>
                    <a:gd name="connsiteX12" fmla="*/ 333828 w 4122057"/>
                    <a:gd name="connsiteY12" fmla="*/ 4847771 h 4847771"/>
                    <a:gd name="connsiteX13" fmla="*/ 914400 w 4122057"/>
                    <a:gd name="connsiteY13" fmla="*/ 4630057 h 4847771"/>
                    <a:gd name="connsiteX14" fmla="*/ 1538514 w 4122057"/>
                    <a:gd name="connsiteY14" fmla="*/ 4426857 h 4847771"/>
                    <a:gd name="connsiteX15" fmla="*/ 2119085 w 4122057"/>
                    <a:gd name="connsiteY15" fmla="*/ 4122057 h 4847771"/>
                    <a:gd name="connsiteX16" fmla="*/ 2438400 w 4122057"/>
                    <a:gd name="connsiteY16" fmla="*/ 3599543 h 4847771"/>
                    <a:gd name="connsiteX17" fmla="*/ 2061028 w 4122057"/>
                    <a:gd name="connsiteY17" fmla="*/ 3831771 h 4847771"/>
                    <a:gd name="connsiteX18" fmla="*/ 1727200 w 4122057"/>
                    <a:gd name="connsiteY18" fmla="*/ 3846286 h 4847771"/>
                    <a:gd name="connsiteX19" fmla="*/ 2148114 w 4122057"/>
                    <a:gd name="connsiteY19" fmla="*/ 3425371 h 4847771"/>
                    <a:gd name="connsiteX20" fmla="*/ 2815771 w 4122057"/>
                    <a:gd name="connsiteY20" fmla="*/ 2917371 h 4847771"/>
                    <a:gd name="connsiteX21" fmla="*/ 3004457 w 4122057"/>
                    <a:gd name="connsiteY21" fmla="*/ 2656114 h 4847771"/>
                    <a:gd name="connsiteX22" fmla="*/ 2699657 w 4122057"/>
                    <a:gd name="connsiteY22" fmla="*/ 2830286 h 4847771"/>
                    <a:gd name="connsiteX23" fmla="*/ 3033485 w 4122057"/>
                    <a:gd name="connsiteY23" fmla="*/ 2235200 h 4847771"/>
                    <a:gd name="connsiteX24" fmla="*/ 3643085 w 4122057"/>
                    <a:gd name="connsiteY24" fmla="*/ 1219200 h 4847771"/>
                    <a:gd name="connsiteX25" fmla="*/ 3860800 w 4122057"/>
                    <a:gd name="connsiteY25" fmla="*/ 508000 h 4847771"/>
                    <a:gd name="connsiteX26" fmla="*/ 4122057 w 4122057"/>
                    <a:gd name="connsiteY26" fmla="*/ 0 h 4847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122057" h="4847771">
                      <a:moveTo>
                        <a:pt x="4122057" y="0"/>
                      </a:moveTo>
                      <a:lnTo>
                        <a:pt x="3773714" y="435428"/>
                      </a:lnTo>
                      <a:lnTo>
                        <a:pt x="3352800" y="1494971"/>
                      </a:lnTo>
                      <a:lnTo>
                        <a:pt x="2510971" y="2859314"/>
                      </a:lnTo>
                      <a:lnTo>
                        <a:pt x="1161142" y="3991428"/>
                      </a:lnTo>
                      <a:lnTo>
                        <a:pt x="275771" y="4542971"/>
                      </a:lnTo>
                      <a:lnTo>
                        <a:pt x="0" y="4833257"/>
                      </a:lnTo>
                      <a:lnTo>
                        <a:pt x="333828" y="4630057"/>
                      </a:lnTo>
                      <a:lnTo>
                        <a:pt x="1059542" y="4223657"/>
                      </a:lnTo>
                      <a:lnTo>
                        <a:pt x="1567542" y="4064000"/>
                      </a:lnTo>
                      <a:lnTo>
                        <a:pt x="1262742" y="4267200"/>
                      </a:lnTo>
                      <a:lnTo>
                        <a:pt x="653142" y="4586514"/>
                      </a:lnTo>
                      <a:lnTo>
                        <a:pt x="333828" y="4847771"/>
                      </a:lnTo>
                      <a:lnTo>
                        <a:pt x="914400" y="4630057"/>
                      </a:lnTo>
                      <a:lnTo>
                        <a:pt x="1538514" y="4426857"/>
                      </a:lnTo>
                      <a:cubicBezTo>
                        <a:pt x="2132321" y="4159644"/>
                        <a:pt x="2119085" y="4377815"/>
                        <a:pt x="2119085" y="4122057"/>
                      </a:cubicBezTo>
                      <a:lnTo>
                        <a:pt x="2438400" y="3599543"/>
                      </a:lnTo>
                      <a:lnTo>
                        <a:pt x="2061028" y="3831771"/>
                      </a:lnTo>
                      <a:cubicBezTo>
                        <a:pt x="1722380" y="3861219"/>
                        <a:pt x="1727200" y="3972496"/>
                        <a:pt x="1727200" y="3846286"/>
                      </a:cubicBezTo>
                      <a:lnTo>
                        <a:pt x="2148114" y="3425371"/>
                      </a:lnTo>
                      <a:cubicBezTo>
                        <a:pt x="2819662" y="2929010"/>
                        <a:pt x="2815771" y="3208632"/>
                        <a:pt x="2815771" y="2917371"/>
                      </a:cubicBezTo>
                      <a:lnTo>
                        <a:pt x="3004457" y="2656114"/>
                      </a:lnTo>
                      <a:cubicBezTo>
                        <a:pt x="2695543" y="2847347"/>
                        <a:pt x="2699657" y="2964292"/>
                        <a:pt x="2699657" y="2830286"/>
                      </a:cubicBezTo>
                      <a:lnTo>
                        <a:pt x="3033485" y="2235200"/>
                      </a:lnTo>
                      <a:lnTo>
                        <a:pt x="3643085" y="1219200"/>
                      </a:lnTo>
                      <a:cubicBezTo>
                        <a:pt x="3717035" y="982560"/>
                        <a:pt x="3860800" y="755926"/>
                        <a:pt x="3860800" y="508000"/>
                      </a:cubicBezTo>
                      <a:lnTo>
                        <a:pt x="4122057"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09" name="Freeform 220">
                  <a:extLst>
                    <a:ext uri="{FF2B5EF4-FFF2-40B4-BE49-F238E27FC236}">
                      <a16:creationId xmlns:a16="http://schemas.microsoft.com/office/drawing/2014/main" id="{6A20173A-77C4-450C-ABBF-C655F905E5D8}"/>
                    </a:ext>
                  </a:extLst>
                </p:cNvPr>
                <p:cNvSpPr/>
                <p:nvPr/>
              </p:nvSpPr>
              <p:spPr>
                <a:xfrm>
                  <a:off x="3624943" y="-5170714"/>
                  <a:ext cx="2801257" cy="4281714"/>
                </a:xfrm>
                <a:custGeom>
                  <a:avLst/>
                  <a:gdLst>
                    <a:gd name="connsiteX0" fmla="*/ 43543 w 2801257"/>
                    <a:gd name="connsiteY0" fmla="*/ 4281714 h 4281714"/>
                    <a:gd name="connsiteX1" fmla="*/ 130628 w 2801257"/>
                    <a:gd name="connsiteY1" fmla="*/ 3962400 h 4281714"/>
                    <a:gd name="connsiteX2" fmla="*/ 420914 w 2801257"/>
                    <a:gd name="connsiteY2" fmla="*/ 3541485 h 4281714"/>
                    <a:gd name="connsiteX3" fmla="*/ 957943 w 2801257"/>
                    <a:gd name="connsiteY3" fmla="*/ 3091543 h 4281714"/>
                    <a:gd name="connsiteX4" fmla="*/ 1712686 w 2801257"/>
                    <a:gd name="connsiteY4" fmla="*/ 2206171 h 4281714"/>
                    <a:gd name="connsiteX5" fmla="*/ 2032000 w 2801257"/>
                    <a:gd name="connsiteY5" fmla="*/ 1712685 h 4281714"/>
                    <a:gd name="connsiteX6" fmla="*/ 2380343 w 2801257"/>
                    <a:gd name="connsiteY6" fmla="*/ 1190171 h 4281714"/>
                    <a:gd name="connsiteX7" fmla="*/ 2685143 w 2801257"/>
                    <a:gd name="connsiteY7" fmla="*/ 435428 h 4281714"/>
                    <a:gd name="connsiteX8" fmla="*/ 2801257 w 2801257"/>
                    <a:gd name="connsiteY8" fmla="*/ 0 h 4281714"/>
                    <a:gd name="connsiteX9" fmla="*/ 2423886 w 2801257"/>
                    <a:gd name="connsiteY9" fmla="*/ 986971 h 4281714"/>
                    <a:gd name="connsiteX10" fmla="*/ 1944914 w 2801257"/>
                    <a:gd name="connsiteY10" fmla="*/ 1741714 h 4281714"/>
                    <a:gd name="connsiteX11" fmla="*/ 1582057 w 2801257"/>
                    <a:gd name="connsiteY11" fmla="*/ 2278743 h 4281714"/>
                    <a:gd name="connsiteX12" fmla="*/ 1132114 w 2801257"/>
                    <a:gd name="connsiteY12" fmla="*/ 2844800 h 4281714"/>
                    <a:gd name="connsiteX13" fmla="*/ 333828 w 2801257"/>
                    <a:gd name="connsiteY13" fmla="*/ 3541485 h 4281714"/>
                    <a:gd name="connsiteX14" fmla="*/ 0 w 2801257"/>
                    <a:gd name="connsiteY14" fmla="*/ 4064000 h 4281714"/>
                    <a:gd name="connsiteX15" fmla="*/ 43543 w 2801257"/>
                    <a:gd name="connsiteY15" fmla="*/ 4281714 h 4281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01257" h="4281714">
                      <a:moveTo>
                        <a:pt x="43543" y="4281714"/>
                      </a:moveTo>
                      <a:cubicBezTo>
                        <a:pt x="133408" y="3982160"/>
                        <a:pt x="130628" y="4092450"/>
                        <a:pt x="130628" y="3962400"/>
                      </a:cubicBezTo>
                      <a:lnTo>
                        <a:pt x="420914" y="3541485"/>
                      </a:lnTo>
                      <a:lnTo>
                        <a:pt x="957943" y="3091543"/>
                      </a:lnTo>
                      <a:cubicBezTo>
                        <a:pt x="1719084" y="2227941"/>
                        <a:pt x="1712686" y="2615691"/>
                        <a:pt x="1712686" y="2206171"/>
                      </a:cubicBezTo>
                      <a:cubicBezTo>
                        <a:pt x="2034684" y="1723174"/>
                        <a:pt x="2032000" y="1919084"/>
                        <a:pt x="2032000" y="1712685"/>
                      </a:cubicBezTo>
                      <a:lnTo>
                        <a:pt x="2380343" y="1190171"/>
                      </a:lnTo>
                      <a:lnTo>
                        <a:pt x="2685143" y="435428"/>
                      </a:lnTo>
                      <a:lnTo>
                        <a:pt x="2801257" y="0"/>
                      </a:lnTo>
                      <a:lnTo>
                        <a:pt x="2423886" y="986971"/>
                      </a:lnTo>
                      <a:lnTo>
                        <a:pt x="1944914" y="1741714"/>
                      </a:lnTo>
                      <a:lnTo>
                        <a:pt x="1582057" y="2278743"/>
                      </a:lnTo>
                      <a:lnTo>
                        <a:pt x="1132114" y="2844800"/>
                      </a:lnTo>
                      <a:lnTo>
                        <a:pt x="333828" y="3541485"/>
                      </a:lnTo>
                      <a:lnTo>
                        <a:pt x="0" y="4064000"/>
                      </a:lnTo>
                      <a:lnTo>
                        <a:pt x="43543" y="428171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10" name="Freeform 221">
                  <a:extLst>
                    <a:ext uri="{FF2B5EF4-FFF2-40B4-BE49-F238E27FC236}">
                      <a16:creationId xmlns:a16="http://schemas.microsoft.com/office/drawing/2014/main" id="{6B6B5376-C520-4DAF-8E9F-5DAB0BD61246}"/>
                    </a:ext>
                  </a:extLst>
                </p:cNvPr>
                <p:cNvSpPr/>
                <p:nvPr/>
              </p:nvSpPr>
              <p:spPr>
                <a:xfrm>
                  <a:off x="4911879" y="228600"/>
                  <a:ext cx="2849635" cy="1641877"/>
                </a:xfrm>
                <a:custGeom>
                  <a:avLst/>
                  <a:gdLst>
                    <a:gd name="connsiteX0" fmla="*/ 1746550 w 2849635"/>
                    <a:gd name="connsiteY0" fmla="*/ 116114 h 1641877"/>
                    <a:gd name="connsiteX1" fmla="*/ 1949750 w 2849635"/>
                    <a:gd name="connsiteY1" fmla="*/ 0 h 1641877"/>
                    <a:gd name="connsiteX2" fmla="*/ 2443235 w 2849635"/>
                    <a:gd name="connsiteY2" fmla="*/ 29029 h 1641877"/>
                    <a:gd name="connsiteX3" fmla="*/ 2849635 w 2849635"/>
                    <a:gd name="connsiteY3" fmla="*/ 87086 h 1641877"/>
                    <a:gd name="connsiteX4" fmla="*/ 2399692 w 2849635"/>
                    <a:gd name="connsiteY4" fmla="*/ 87086 h 1641877"/>
                    <a:gd name="connsiteX5" fmla="*/ 1891692 w 2849635"/>
                    <a:gd name="connsiteY5" fmla="*/ 87086 h 1641877"/>
                    <a:gd name="connsiteX6" fmla="*/ 1659464 w 2849635"/>
                    <a:gd name="connsiteY6" fmla="*/ 174171 h 1641877"/>
                    <a:gd name="connsiteX7" fmla="*/ 1920721 w 2849635"/>
                    <a:gd name="connsiteY7" fmla="*/ 203200 h 1641877"/>
                    <a:gd name="connsiteX8" fmla="*/ 2428721 w 2849635"/>
                    <a:gd name="connsiteY8" fmla="*/ 246743 h 1641877"/>
                    <a:gd name="connsiteX9" fmla="*/ 2733521 w 2849635"/>
                    <a:gd name="connsiteY9" fmla="*/ 537029 h 1641877"/>
                    <a:gd name="connsiteX10" fmla="*/ 2617407 w 2849635"/>
                    <a:gd name="connsiteY10" fmla="*/ 580571 h 1641877"/>
                    <a:gd name="connsiteX11" fmla="*/ 2457750 w 2849635"/>
                    <a:gd name="connsiteY11" fmla="*/ 391886 h 1641877"/>
                    <a:gd name="connsiteX12" fmla="*/ 2211007 w 2849635"/>
                    <a:gd name="connsiteY12" fmla="*/ 304800 h 1641877"/>
                    <a:gd name="connsiteX13" fmla="*/ 1703007 w 2849635"/>
                    <a:gd name="connsiteY13" fmla="*/ 275771 h 1641877"/>
                    <a:gd name="connsiteX14" fmla="*/ 1514321 w 2849635"/>
                    <a:gd name="connsiteY14" fmla="*/ 290286 h 1641877"/>
                    <a:gd name="connsiteX15" fmla="*/ 1383692 w 2849635"/>
                    <a:gd name="connsiteY15" fmla="*/ 203200 h 1641877"/>
                    <a:gd name="connsiteX16" fmla="*/ 861178 w 2849635"/>
                    <a:gd name="connsiteY16" fmla="*/ 188686 h 1641877"/>
                    <a:gd name="connsiteX17" fmla="*/ 4835 w 2849635"/>
                    <a:gd name="connsiteY17" fmla="*/ 217714 h 1641877"/>
                    <a:gd name="connsiteX18" fmla="*/ 19350 w 2849635"/>
                    <a:gd name="connsiteY18" fmla="*/ 217714 h 1641877"/>
                    <a:gd name="connsiteX19" fmla="*/ 149978 w 2849635"/>
                    <a:gd name="connsiteY19" fmla="*/ 377371 h 1641877"/>
                    <a:gd name="connsiteX20" fmla="*/ 411235 w 2849635"/>
                    <a:gd name="connsiteY20" fmla="*/ 725714 h 1641877"/>
                    <a:gd name="connsiteX21" fmla="*/ 570892 w 2849635"/>
                    <a:gd name="connsiteY21" fmla="*/ 1074057 h 1641877"/>
                    <a:gd name="connsiteX22" fmla="*/ 701521 w 2849635"/>
                    <a:gd name="connsiteY22" fmla="*/ 1480457 h 1641877"/>
                    <a:gd name="connsiteX23" fmla="*/ 716035 w 2849635"/>
                    <a:gd name="connsiteY23" fmla="*/ 1320800 h 1641877"/>
                    <a:gd name="connsiteX24" fmla="*/ 599921 w 2849635"/>
                    <a:gd name="connsiteY24" fmla="*/ 914400 h 1641877"/>
                    <a:gd name="connsiteX25" fmla="*/ 541864 w 2849635"/>
                    <a:gd name="connsiteY25" fmla="*/ 638629 h 1641877"/>
                    <a:gd name="connsiteX26" fmla="*/ 701521 w 2849635"/>
                    <a:gd name="connsiteY26" fmla="*/ 914400 h 1641877"/>
                    <a:gd name="connsiteX27" fmla="*/ 774092 w 2849635"/>
                    <a:gd name="connsiteY27" fmla="*/ 1175657 h 1641877"/>
                    <a:gd name="connsiteX28" fmla="*/ 759578 w 2849635"/>
                    <a:gd name="connsiteY28" fmla="*/ 841829 h 1641877"/>
                    <a:gd name="connsiteX29" fmla="*/ 628950 w 2849635"/>
                    <a:gd name="connsiteY29" fmla="*/ 537029 h 1641877"/>
                    <a:gd name="connsiteX30" fmla="*/ 962778 w 2849635"/>
                    <a:gd name="connsiteY30" fmla="*/ 551543 h 1641877"/>
                    <a:gd name="connsiteX31" fmla="*/ 1267578 w 2849635"/>
                    <a:gd name="connsiteY31" fmla="*/ 682171 h 1641877"/>
                    <a:gd name="connsiteX32" fmla="*/ 1659464 w 2849635"/>
                    <a:gd name="connsiteY32" fmla="*/ 711200 h 1641877"/>
                    <a:gd name="connsiteX33" fmla="*/ 2051350 w 2849635"/>
                    <a:gd name="connsiteY33" fmla="*/ 885371 h 1641877"/>
                    <a:gd name="connsiteX34" fmla="*/ 1906207 w 2849635"/>
                    <a:gd name="connsiteY34" fmla="*/ 624114 h 1641877"/>
                    <a:gd name="connsiteX35" fmla="*/ 1601407 w 2849635"/>
                    <a:gd name="connsiteY35" fmla="*/ 348343 h 1641877"/>
                    <a:gd name="connsiteX36" fmla="*/ 1557864 w 2849635"/>
                    <a:gd name="connsiteY36" fmla="*/ 261257 h 1641877"/>
                    <a:gd name="connsiteX37" fmla="*/ 1746550 w 2849635"/>
                    <a:gd name="connsiteY37" fmla="*/ 116114 h 1641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49635" h="1641877">
                      <a:moveTo>
                        <a:pt x="1746550" y="116114"/>
                      </a:moveTo>
                      <a:lnTo>
                        <a:pt x="1949750" y="0"/>
                      </a:lnTo>
                      <a:lnTo>
                        <a:pt x="2443235" y="29029"/>
                      </a:lnTo>
                      <a:lnTo>
                        <a:pt x="2849635" y="87086"/>
                      </a:lnTo>
                      <a:lnTo>
                        <a:pt x="2399692" y="87086"/>
                      </a:lnTo>
                      <a:lnTo>
                        <a:pt x="1891692" y="87086"/>
                      </a:lnTo>
                      <a:lnTo>
                        <a:pt x="1659464" y="174171"/>
                      </a:lnTo>
                      <a:lnTo>
                        <a:pt x="1920721" y="203200"/>
                      </a:lnTo>
                      <a:lnTo>
                        <a:pt x="2428721" y="246743"/>
                      </a:lnTo>
                      <a:lnTo>
                        <a:pt x="2733521" y="537029"/>
                      </a:lnTo>
                      <a:lnTo>
                        <a:pt x="2617407" y="580571"/>
                      </a:lnTo>
                      <a:lnTo>
                        <a:pt x="2457750" y="391886"/>
                      </a:lnTo>
                      <a:lnTo>
                        <a:pt x="2211007" y="304800"/>
                      </a:lnTo>
                      <a:lnTo>
                        <a:pt x="1703007" y="275771"/>
                      </a:lnTo>
                      <a:lnTo>
                        <a:pt x="1514321" y="290286"/>
                      </a:lnTo>
                      <a:lnTo>
                        <a:pt x="1383692" y="203200"/>
                      </a:lnTo>
                      <a:cubicBezTo>
                        <a:pt x="1209525" y="198224"/>
                        <a:pt x="1035417" y="188686"/>
                        <a:pt x="861178" y="188686"/>
                      </a:cubicBezTo>
                      <a:lnTo>
                        <a:pt x="4835" y="217714"/>
                      </a:lnTo>
                      <a:cubicBezTo>
                        <a:pt x="0" y="217881"/>
                        <a:pt x="14512" y="217714"/>
                        <a:pt x="19350" y="217714"/>
                      </a:cubicBezTo>
                      <a:lnTo>
                        <a:pt x="149978" y="377371"/>
                      </a:lnTo>
                      <a:lnTo>
                        <a:pt x="411235" y="725714"/>
                      </a:lnTo>
                      <a:lnTo>
                        <a:pt x="570892" y="1074057"/>
                      </a:lnTo>
                      <a:cubicBezTo>
                        <a:pt x="702955" y="1499592"/>
                        <a:pt x="701521" y="1641877"/>
                        <a:pt x="701521" y="1480457"/>
                      </a:cubicBezTo>
                      <a:cubicBezTo>
                        <a:pt x="717104" y="1340212"/>
                        <a:pt x="716035" y="1393640"/>
                        <a:pt x="716035" y="1320800"/>
                      </a:cubicBezTo>
                      <a:cubicBezTo>
                        <a:pt x="598547" y="924275"/>
                        <a:pt x="599921" y="1065156"/>
                        <a:pt x="599921" y="914400"/>
                      </a:cubicBezTo>
                      <a:lnTo>
                        <a:pt x="541864" y="638629"/>
                      </a:lnTo>
                      <a:lnTo>
                        <a:pt x="701521" y="914400"/>
                      </a:lnTo>
                      <a:lnTo>
                        <a:pt x="774092" y="1175657"/>
                      </a:lnTo>
                      <a:cubicBezTo>
                        <a:pt x="769035" y="1064391"/>
                        <a:pt x="759578" y="953210"/>
                        <a:pt x="759578" y="841829"/>
                      </a:cubicBezTo>
                      <a:lnTo>
                        <a:pt x="628950" y="537029"/>
                      </a:lnTo>
                      <a:cubicBezTo>
                        <a:pt x="740216" y="542086"/>
                        <a:pt x="851397" y="551543"/>
                        <a:pt x="962778" y="551543"/>
                      </a:cubicBezTo>
                      <a:lnTo>
                        <a:pt x="1267578" y="682171"/>
                      </a:lnTo>
                      <a:lnTo>
                        <a:pt x="1659464" y="711200"/>
                      </a:lnTo>
                      <a:cubicBezTo>
                        <a:pt x="2041228" y="887399"/>
                        <a:pt x="1898293" y="885371"/>
                        <a:pt x="2051350" y="885371"/>
                      </a:cubicBezTo>
                      <a:cubicBezTo>
                        <a:pt x="1903754" y="634459"/>
                        <a:pt x="1906207" y="734051"/>
                        <a:pt x="1906207" y="624114"/>
                      </a:cubicBezTo>
                      <a:lnTo>
                        <a:pt x="1601407" y="348343"/>
                      </a:lnTo>
                      <a:lnTo>
                        <a:pt x="1557864" y="261257"/>
                      </a:lnTo>
                      <a:lnTo>
                        <a:pt x="1746550" y="11611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11" name="Freeform 222">
                  <a:extLst>
                    <a:ext uri="{FF2B5EF4-FFF2-40B4-BE49-F238E27FC236}">
                      <a16:creationId xmlns:a16="http://schemas.microsoft.com/office/drawing/2014/main" id="{242F88D1-B245-4139-BB0D-8C574EF65D6A}"/>
                    </a:ext>
                  </a:extLst>
                </p:cNvPr>
                <p:cNvSpPr/>
                <p:nvPr/>
              </p:nvSpPr>
              <p:spPr>
                <a:xfrm>
                  <a:off x="446314" y="-5262486"/>
                  <a:ext cx="509202" cy="2775278"/>
                </a:xfrm>
                <a:custGeom>
                  <a:avLst/>
                  <a:gdLst>
                    <a:gd name="connsiteX0" fmla="*/ 290286 w 509202"/>
                    <a:gd name="connsiteY0" fmla="*/ 541715 h 2775278"/>
                    <a:gd name="connsiteX1" fmla="*/ 217715 w 509202"/>
                    <a:gd name="connsiteY1" fmla="*/ 1122286 h 2775278"/>
                    <a:gd name="connsiteX2" fmla="*/ 72572 w 509202"/>
                    <a:gd name="connsiteY2" fmla="*/ 1557715 h 2775278"/>
                    <a:gd name="connsiteX3" fmla="*/ 72572 w 509202"/>
                    <a:gd name="connsiteY3" fmla="*/ 1949600 h 2775278"/>
                    <a:gd name="connsiteX4" fmla="*/ 43543 w 509202"/>
                    <a:gd name="connsiteY4" fmla="*/ 2414057 h 2775278"/>
                    <a:gd name="connsiteX5" fmla="*/ 0 w 509202"/>
                    <a:gd name="connsiteY5" fmla="*/ 2704343 h 2775278"/>
                    <a:gd name="connsiteX6" fmla="*/ 217715 w 509202"/>
                    <a:gd name="connsiteY6" fmla="*/ 2689829 h 2775278"/>
                    <a:gd name="connsiteX7" fmla="*/ 203200 w 509202"/>
                    <a:gd name="connsiteY7" fmla="*/ 2530172 h 2775278"/>
                    <a:gd name="connsiteX8" fmla="*/ 145143 w 509202"/>
                    <a:gd name="connsiteY8" fmla="*/ 2312457 h 2775278"/>
                    <a:gd name="connsiteX9" fmla="*/ 348343 w 509202"/>
                    <a:gd name="connsiteY9" fmla="*/ 2631772 h 2775278"/>
                    <a:gd name="connsiteX10" fmla="*/ 493486 w 509202"/>
                    <a:gd name="connsiteY10" fmla="*/ 2704343 h 2775278"/>
                    <a:gd name="connsiteX11" fmla="*/ 362857 w 509202"/>
                    <a:gd name="connsiteY11" fmla="*/ 2457600 h 2775278"/>
                    <a:gd name="connsiteX12" fmla="*/ 217715 w 509202"/>
                    <a:gd name="connsiteY12" fmla="*/ 2094743 h 2775278"/>
                    <a:gd name="connsiteX13" fmla="*/ 319315 w 509202"/>
                    <a:gd name="connsiteY13" fmla="*/ 1935086 h 2775278"/>
                    <a:gd name="connsiteX14" fmla="*/ 391886 w 509202"/>
                    <a:gd name="connsiteY14" fmla="*/ 1470629 h 2775278"/>
                    <a:gd name="connsiteX15" fmla="*/ 464457 w 509202"/>
                    <a:gd name="connsiteY15" fmla="*/ 1107772 h 2775278"/>
                    <a:gd name="connsiteX16" fmla="*/ 362857 w 509202"/>
                    <a:gd name="connsiteY16" fmla="*/ 585257 h 2775278"/>
                    <a:gd name="connsiteX17" fmla="*/ 508000 w 509202"/>
                    <a:gd name="connsiteY17" fmla="*/ 4686 h 2775278"/>
                    <a:gd name="connsiteX18" fmla="*/ 508000 w 509202"/>
                    <a:gd name="connsiteY18" fmla="*/ 19200 h 2775278"/>
                    <a:gd name="connsiteX19" fmla="*/ 290286 w 509202"/>
                    <a:gd name="connsiteY19" fmla="*/ 541715 h 2775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09202" h="2775278">
                      <a:moveTo>
                        <a:pt x="290286" y="541715"/>
                      </a:moveTo>
                      <a:lnTo>
                        <a:pt x="217715" y="1122286"/>
                      </a:lnTo>
                      <a:cubicBezTo>
                        <a:pt x="70995" y="1547774"/>
                        <a:pt x="72572" y="1394788"/>
                        <a:pt x="72572" y="1557715"/>
                      </a:cubicBezTo>
                      <a:lnTo>
                        <a:pt x="72572" y="1949600"/>
                      </a:lnTo>
                      <a:lnTo>
                        <a:pt x="43543" y="2414057"/>
                      </a:lnTo>
                      <a:lnTo>
                        <a:pt x="0" y="2704343"/>
                      </a:lnTo>
                      <a:lnTo>
                        <a:pt x="217715" y="2689829"/>
                      </a:lnTo>
                      <a:lnTo>
                        <a:pt x="203200" y="2530172"/>
                      </a:lnTo>
                      <a:lnTo>
                        <a:pt x="145143" y="2312457"/>
                      </a:lnTo>
                      <a:lnTo>
                        <a:pt x="348343" y="2631772"/>
                      </a:lnTo>
                      <a:cubicBezTo>
                        <a:pt x="497635" y="2721346"/>
                        <a:pt x="493486" y="2775278"/>
                        <a:pt x="493486" y="2704343"/>
                      </a:cubicBezTo>
                      <a:cubicBezTo>
                        <a:pt x="355008" y="2488934"/>
                        <a:pt x="362857" y="2581665"/>
                        <a:pt x="362857" y="2457600"/>
                      </a:cubicBezTo>
                      <a:lnTo>
                        <a:pt x="217715" y="2094743"/>
                      </a:lnTo>
                      <a:cubicBezTo>
                        <a:pt x="322089" y="1945637"/>
                        <a:pt x="319315" y="2008657"/>
                        <a:pt x="319315" y="1935086"/>
                      </a:cubicBezTo>
                      <a:cubicBezTo>
                        <a:pt x="394352" y="1499869"/>
                        <a:pt x="391886" y="1656547"/>
                        <a:pt x="391886" y="1470629"/>
                      </a:cubicBezTo>
                      <a:lnTo>
                        <a:pt x="464457" y="1107772"/>
                      </a:lnTo>
                      <a:lnTo>
                        <a:pt x="362857" y="585257"/>
                      </a:lnTo>
                      <a:cubicBezTo>
                        <a:pt x="411238" y="391733"/>
                        <a:pt x="458454" y="197915"/>
                        <a:pt x="508000" y="4686"/>
                      </a:cubicBezTo>
                      <a:cubicBezTo>
                        <a:pt x="509202" y="0"/>
                        <a:pt x="508000" y="14362"/>
                        <a:pt x="508000" y="19200"/>
                      </a:cubicBezTo>
                      <a:lnTo>
                        <a:pt x="290286" y="54171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12" name="Freeform 223">
                  <a:extLst>
                    <a:ext uri="{FF2B5EF4-FFF2-40B4-BE49-F238E27FC236}">
                      <a16:creationId xmlns:a16="http://schemas.microsoft.com/office/drawing/2014/main" id="{3AF30E46-95A8-4631-9EF0-DB6AE69C438C}"/>
                    </a:ext>
                  </a:extLst>
                </p:cNvPr>
                <p:cNvSpPr/>
                <p:nvPr/>
              </p:nvSpPr>
              <p:spPr>
                <a:xfrm>
                  <a:off x="990600" y="-5181600"/>
                  <a:ext cx="1563449" cy="4330555"/>
                </a:xfrm>
                <a:custGeom>
                  <a:avLst/>
                  <a:gdLst>
                    <a:gd name="connsiteX0" fmla="*/ 114300 w 1563449"/>
                    <a:gd name="connsiteY0" fmla="*/ 666750 h 4330555"/>
                    <a:gd name="connsiteX1" fmla="*/ 209550 w 1563449"/>
                    <a:gd name="connsiteY1" fmla="*/ 1257300 h 4330555"/>
                    <a:gd name="connsiteX2" fmla="*/ 533400 w 1563449"/>
                    <a:gd name="connsiteY2" fmla="*/ 1790700 h 4330555"/>
                    <a:gd name="connsiteX3" fmla="*/ 1047750 w 1563449"/>
                    <a:gd name="connsiteY3" fmla="*/ 2628900 h 4330555"/>
                    <a:gd name="connsiteX4" fmla="*/ 1371600 w 1563449"/>
                    <a:gd name="connsiteY4" fmla="*/ 3429000 h 4330555"/>
                    <a:gd name="connsiteX5" fmla="*/ 1562100 w 1563449"/>
                    <a:gd name="connsiteY5" fmla="*/ 4324350 h 4330555"/>
                    <a:gd name="connsiteX6" fmla="*/ 1562100 w 1563449"/>
                    <a:gd name="connsiteY6" fmla="*/ 4305300 h 4330555"/>
                    <a:gd name="connsiteX7" fmla="*/ 933450 w 1563449"/>
                    <a:gd name="connsiteY7" fmla="*/ 3276600 h 4330555"/>
                    <a:gd name="connsiteX8" fmla="*/ 361950 w 1563449"/>
                    <a:gd name="connsiteY8" fmla="*/ 2647950 h 4330555"/>
                    <a:gd name="connsiteX9" fmla="*/ 381000 w 1563449"/>
                    <a:gd name="connsiteY9" fmla="*/ 2114550 h 4330555"/>
                    <a:gd name="connsiteX10" fmla="*/ 152400 w 1563449"/>
                    <a:gd name="connsiteY10" fmla="*/ 1752600 h 4330555"/>
                    <a:gd name="connsiteX11" fmla="*/ 133350 w 1563449"/>
                    <a:gd name="connsiteY11" fmla="*/ 1371600 h 4330555"/>
                    <a:gd name="connsiteX12" fmla="*/ 95250 w 1563449"/>
                    <a:gd name="connsiteY12" fmla="*/ 914400 h 4330555"/>
                    <a:gd name="connsiteX13" fmla="*/ 0 w 1563449"/>
                    <a:gd name="connsiteY13" fmla="*/ 533400 h 4330555"/>
                    <a:gd name="connsiteX14" fmla="*/ 0 w 1563449"/>
                    <a:gd name="connsiteY14" fmla="*/ 171450 h 4330555"/>
                    <a:gd name="connsiteX15" fmla="*/ 95250 w 1563449"/>
                    <a:gd name="connsiteY15" fmla="*/ 0 h 4330555"/>
                    <a:gd name="connsiteX16" fmla="*/ 209550 w 1563449"/>
                    <a:gd name="connsiteY16" fmla="*/ 400050 h 4330555"/>
                    <a:gd name="connsiteX17" fmla="*/ 114300 w 1563449"/>
                    <a:gd name="connsiteY17" fmla="*/ 742950 h 4330555"/>
                    <a:gd name="connsiteX18" fmla="*/ 95250 w 1563449"/>
                    <a:gd name="connsiteY18" fmla="*/ 819150 h 4330555"/>
                    <a:gd name="connsiteX19" fmla="*/ 152400 w 1563449"/>
                    <a:gd name="connsiteY19" fmla="*/ 800100 h 4330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63449" h="4330555">
                      <a:moveTo>
                        <a:pt x="114300" y="666750"/>
                      </a:moveTo>
                      <a:lnTo>
                        <a:pt x="209550" y="1257300"/>
                      </a:lnTo>
                      <a:lnTo>
                        <a:pt x="533400" y="1790700"/>
                      </a:lnTo>
                      <a:lnTo>
                        <a:pt x="1047750" y="2628900"/>
                      </a:lnTo>
                      <a:lnTo>
                        <a:pt x="1371600" y="3429000"/>
                      </a:lnTo>
                      <a:cubicBezTo>
                        <a:pt x="1435100" y="3727450"/>
                        <a:pt x="1497281" y="4026184"/>
                        <a:pt x="1562100" y="4324350"/>
                      </a:cubicBezTo>
                      <a:cubicBezTo>
                        <a:pt x="1563449" y="4330555"/>
                        <a:pt x="1562100" y="4311650"/>
                        <a:pt x="1562100" y="4305300"/>
                      </a:cubicBezTo>
                      <a:lnTo>
                        <a:pt x="933450" y="3276600"/>
                      </a:lnTo>
                      <a:lnTo>
                        <a:pt x="361950" y="2647950"/>
                      </a:lnTo>
                      <a:lnTo>
                        <a:pt x="381000" y="2114550"/>
                      </a:lnTo>
                      <a:lnTo>
                        <a:pt x="152400" y="1752600"/>
                      </a:lnTo>
                      <a:cubicBezTo>
                        <a:pt x="133016" y="1384309"/>
                        <a:pt x="133350" y="1511467"/>
                        <a:pt x="133350" y="1371600"/>
                      </a:cubicBezTo>
                      <a:lnTo>
                        <a:pt x="95250" y="914400"/>
                      </a:lnTo>
                      <a:cubicBezTo>
                        <a:pt x="17200" y="543662"/>
                        <a:pt x="106233" y="639633"/>
                        <a:pt x="0" y="533400"/>
                      </a:cubicBezTo>
                      <a:lnTo>
                        <a:pt x="0" y="171450"/>
                      </a:lnTo>
                      <a:lnTo>
                        <a:pt x="95250" y="0"/>
                      </a:lnTo>
                      <a:cubicBezTo>
                        <a:pt x="230608" y="406074"/>
                        <a:pt x="369163" y="400050"/>
                        <a:pt x="209550" y="400050"/>
                      </a:cubicBezTo>
                      <a:lnTo>
                        <a:pt x="114300" y="742950"/>
                      </a:lnTo>
                      <a:lnTo>
                        <a:pt x="95250" y="819150"/>
                      </a:lnTo>
                      <a:lnTo>
                        <a:pt x="152400" y="800100"/>
                      </a:lnTo>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13" name="Freeform 224">
                  <a:extLst>
                    <a:ext uri="{FF2B5EF4-FFF2-40B4-BE49-F238E27FC236}">
                      <a16:creationId xmlns:a16="http://schemas.microsoft.com/office/drawing/2014/main" id="{973F04F0-C300-4C43-A55E-4ECFC61C01DE}"/>
                    </a:ext>
                  </a:extLst>
                </p:cNvPr>
                <p:cNvSpPr/>
                <p:nvPr/>
              </p:nvSpPr>
              <p:spPr>
                <a:xfrm>
                  <a:off x="4916714" y="1462314"/>
                  <a:ext cx="725715" cy="711200"/>
                </a:xfrm>
                <a:custGeom>
                  <a:avLst/>
                  <a:gdLst>
                    <a:gd name="connsiteX0" fmla="*/ 43543 w 725715"/>
                    <a:gd name="connsiteY0" fmla="*/ 43543 h 711200"/>
                    <a:gd name="connsiteX1" fmla="*/ 145143 w 725715"/>
                    <a:gd name="connsiteY1" fmla="*/ 406400 h 711200"/>
                    <a:gd name="connsiteX2" fmla="*/ 449943 w 725715"/>
                    <a:gd name="connsiteY2" fmla="*/ 711200 h 711200"/>
                    <a:gd name="connsiteX3" fmla="*/ 725715 w 725715"/>
                    <a:gd name="connsiteY3" fmla="*/ 711200 h 711200"/>
                    <a:gd name="connsiteX4" fmla="*/ 725715 w 725715"/>
                    <a:gd name="connsiteY4" fmla="*/ 406400 h 711200"/>
                    <a:gd name="connsiteX5" fmla="*/ 624115 w 725715"/>
                    <a:gd name="connsiteY5" fmla="*/ 101600 h 711200"/>
                    <a:gd name="connsiteX6" fmla="*/ 406400 w 725715"/>
                    <a:gd name="connsiteY6" fmla="*/ 14515 h 711200"/>
                    <a:gd name="connsiteX7" fmla="*/ 188686 w 725715"/>
                    <a:gd name="connsiteY7" fmla="*/ 0 h 711200"/>
                    <a:gd name="connsiteX8" fmla="*/ 0 w 725715"/>
                    <a:gd name="connsiteY8" fmla="*/ 14515 h 711200"/>
                    <a:gd name="connsiteX9" fmla="*/ 43543 w 725715"/>
                    <a:gd name="connsiteY9" fmla="*/ 43543 h 71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5715" h="711200">
                      <a:moveTo>
                        <a:pt x="43543" y="43543"/>
                      </a:moveTo>
                      <a:lnTo>
                        <a:pt x="145143" y="406400"/>
                      </a:lnTo>
                      <a:lnTo>
                        <a:pt x="449943" y="711200"/>
                      </a:lnTo>
                      <a:lnTo>
                        <a:pt x="725715" y="711200"/>
                      </a:lnTo>
                      <a:lnTo>
                        <a:pt x="725715" y="406400"/>
                      </a:lnTo>
                      <a:lnTo>
                        <a:pt x="624115" y="101600"/>
                      </a:lnTo>
                      <a:lnTo>
                        <a:pt x="406400" y="14515"/>
                      </a:lnTo>
                      <a:lnTo>
                        <a:pt x="188686" y="0"/>
                      </a:lnTo>
                      <a:lnTo>
                        <a:pt x="0" y="14515"/>
                      </a:lnTo>
                      <a:lnTo>
                        <a:pt x="43543" y="4354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14" name="Freeform 225">
                  <a:extLst>
                    <a:ext uri="{FF2B5EF4-FFF2-40B4-BE49-F238E27FC236}">
                      <a16:creationId xmlns:a16="http://schemas.microsoft.com/office/drawing/2014/main" id="{24496EB5-3B86-4603-A844-2834EF687387}"/>
                    </a:ext>
                  </a:extLst>
                </p:cNvPr>
                <p:cNvSpPr/>
                <p:nvPr/>
              </p:nvSpPr>
              <p:spPr>
                <a:xfrm>
                  <a:off x="5555343" y="1505857"/>
                  <a:ext cx="2278743" cy="653143"/>
                </a:xfrm>
                <a:custGeom>
                  <a:avLst/>
                  <a:gdLst>
                    <a:gd name="connsiteX0" fmla="*/ 72571 w 2278743"/>
                    <a:gd name="connsiteY0" fmla="*/ 653143 h 653143"/>
                    <a:gd name="connsiteX1" fmla="*/ 449943 w 2278743"/>
                    <a:gd name="connsiteY1" fmla="*/ 537029 h 653143"/>
                    <a:gd name="connsiteX2" fmla="*/ 754743 w 2278743"/>
                    <a:gd name="connsiteY2" fmla="*/ 478972 h 653143"/>
                    <a:gd name="connsiteX3" fmla="*/ 1117600 w 2278743"/>
                    <a:gd name="connsiteY3" fmla="*/ 464457 h 653143"/>
                    <a:gd name="connsiteX4" fmla="*/ 1611086 w 2278743"/>
                    <a:gd name="connsiteY4" fmla="*/ 348343 h 653143"/>
                    <a:gd name="connsiteX5" fmla="*/ 2061028 w 2278743"/>
                    <a:gd name="connsiteY5" fmla="*/ 188686 h 653143"/>
                    <a:gd name="connsiteX6" fmla="*/ 2278743 w 2278743"/>
                    <a:gd name="connsiteY6" fmla="*/ 0 h 653143"/>
                    <a:gd name="connsiteX7" fmla="*/ 2017486 w 2278743"/>
                    <a:gd name="connsiteY7" fmla="*/ 174172 h 653143"/>
                    <a:gd name="connsiteX8" fmla="*/ 1291771 w 2278743"/>
                    <a:gd name="connsiteY8" fmla="*/ 391886 h 653143"/>
                    <a:gd name="connsiteX9" fmla="*/ 870857 w 2278743"/>
                    <a:gd name="connsiteY9" fmla="*/ 449943 h 653143"/>
                    <a:gd name="connsiteX10" fmla="*/ 435428 w 2278743"/>
                    <a:gd name="connsiteY10" fmla="*/ 522514 h 653143"/>
                    <a:gd name="connsiteX11" fmla="*/ 159657 w 2278743"/>
                    <a:gd name="connsiteY11" fmla="*/ 580572 h 653143"/>
                    <a:gd name="connsiteX12" fmla="*/ 101600 w 2278743"/>
                    <a:gd name="connsiteY12" fmla="*/ 275772 h 653143"/>
                    <a:gd name="connsiteX13" fmla="*/ 0 w 2278743"/>
                    <a:gd name="connsiteY13" fmla="*/ 14514 h 653143"/>
                    <a:gd name="connsiteX14" fmla="*/ 145143 w 2278743"/>
                    <a:gd name="connsiteY14" fmla="*/ 551543 h 653143"/>
                    <a:gd name="connsiteX15" fmla="*/ 72571 w 2278743"/>
                    <a:gd name="connsiteY15" fmla="*/ 653143 h 65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78743" h="653143">
                      <a:moveTo>
                        <a:pt x="72571" y="653143"/>
                      </a:moveTo>
                      <a:lnTo>
                        <a:pt x="449943" y="537029"/>
                      </a:lnTo>
                      <a:lnTo>
                        <a:pt x="754743" y="478972"/>
                      </a:lnTo>
                      <a:lnTo>
                        <a:pt x="1117600" y="464457"/>
                      </a:lnTo>
                      <a:lnTo>
                        <a:pt x="1611086" y="348343"/>
                      </a:lnTo>
                      <a:lnTo>
                        <a:pt x="2061028" y="188686"/>
                      </a:lnTo>
                      <a:lnTo>
                        <a:pt x="2278743" y="0"/>
                      </a:lnTo>
                      <a:lnTo>
                        <a:pt x="2017486" y="174172"/>
                      </a:lnTo>
                      <a:lnTo>
                        <a:pt x="1291771" y="391886"/>
                      </a:lnTo>
                      <a:lnTo>
                        <a:pt x="870857" y="449943"/>
                      </a:lnTo>
                      <a:cubicBezTo>
                        <a:pt x="430632" y="508639"/>
                        <a:pt x="435428" y="361573"/>
                        <a:pt x="435428" y="522514"/>
                      </a:cubicBezTo>
                      <a:lnTo>
                        <a:pt x="159657" y="580572"/>
                      </a:lnTo>
                      <a:lnTo>
                        <a:pt x="101600" y="275772"/>
                      </a:lnTo>
                      <a:lnTo>
                        <a:pt x="0" y="14514"/>
                      </a:lnTo>
                      <a:lnTo>
                        <a:pt x="145143" y="551543"/>
                      </a:lnTo>
                      <a:lnTo>
                        <a:pt x="72571" y="65314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15" name="Freeform 226">
                  <a:extLst>
                    <a:ext uri="{FF2B5EF4-FFF2-40B4-BE49-F238E27FC236}">
                      <a16:creationId xmlns:a16="http://schemas.microsoft.com/office/drawing/2014/main" id="{D91542A4-835C-4955-A776-332EC6A0745C}"/>
                    </a:ext>
                  </a:extLst>
                </p:cNvPr>
                <p:cNvSpPr/>
                <p:nvPr/>
              </p:nvSpPr>
              <p:spPr>
                <a:xfrm>
                  <a:off x="-358302" y="633919"/>
                  <a:ext cx="914400" cy="1254868"/>
                </a:xfrm>
                <a:custGeom>
                  <a:avLst/>
                  <a:gdLst>
                    <a:gd name="connsiteX0" fmla="*/ 0 w 914400"/>
                    <a:gd name="connsiteY0" fmla="*/ 107004 h 1254868"/>
                    <a:gd name="connsiteX1" fmla="*/ 136187 w 914400"/>
                    <a:gd name="connsiteY1" fmla="*/ 505838 h 1254868"/>
                    <a:gd name="connsiteX2" fmla="*/ 437745 w 914400"/>
                    <a:gd name="connsiteY2" fmla="*/ 1099226 h 1254868"/>
                    <a:gd name="connsiteX3" fmla="*/ 505838 w 914400"/>
                    <a:gd name="connsiteY3" fmla="*/ 1235413 h 1254868"/>
                    <a:gd name="connsiteX4" fmla="*/ 690664 w 914400"/>
                    <a:gd name="connsiteY4" fmla="*/ 1254868 h 1254868"/>
                    <a:gd name="connsiteX5" fmla="*/ 787940 w 914400"/>
                    <a:gd name="connsiteY5" fmla="*/ 1157592 h 1254868"/>
                    <a:gd name="connsiteX6" fmla="*/ 885217 w 914400"/>
                    <a:gd name="connsiteY6" fmla="*/ 826851 h 1254868"/>
                    <a:gd name="connsiteX7" fmla="*/ 914400 w 914400"/>
                    <a:gd name="connsiteY7" fmla="*/ 291830 h 1254868"/>
                    <a:gd name="connsiteX8" fmla="*/ 856034 w 914400"/>
                    <a:gd name="connsiteY8" fmla="*/ 0 h 1254868"/>
                    <a:gd name="connsiteX9" fmla="*/ 690664 w 914400"/>
                    <a:gd name="connsiteY9" fmla="*/ 9728 h 1254868"/>
                    <a:gd name="connsiteX10" fmla="*/ 583659 w 914400"/>
                    <a:gd name="connsiteY10" fmla="*/ 136187 h 1254868"/>
                    <a:gd name="connsiteX11" fmla="*/ 418289 w 914400"/>
                    <a:gd name="connsiteY11" fmla="*/ 214009 h 1254868"/>
                    <a:gd name="connsiteX12" fmla="*/ 350196 w 914400"/>
                    <a:gd name="connsiteY12" fmla="*/ 87549 h 1254868"/>
                    <a:gd name="connsiteX13" fmla="*/ 223736 w 914400"/>
                    <a:gd name="connsiteY13" fmla="*/ 58366 h 1254868"/>
                    <a:gd name="connsiteX14" fmla="*/ 87549 w 914400"/>
                    <a:gd name="connsiteY14" fmla="*/ 107004 h 1254868"/>
                    <a:gd name="connsiteX15" fmla="*/ 0 w 914400"/>
                    <a:gd name="connsiteY15" fmla="*/ 107004 h 1254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14400" h="1254868">
                      <a:moveTo>
                        <a:pt x="0" y="107004"/>
                      </a:moveTo>
                      <a:lnTo>
                        <a:pt x="136187" y="505838"/>
                      </a:lnTo>
                      <a:cubicBezTo>
                        <a:pt x="234104" y="704935"/>
                        <a:pt x="215873" y="1099226"/>
                        <a:pt x="437745" y="1099226"/>
                      </a:cubicBezTo>
                      <a:lnTo>
                        <a:pt x="505838" y="1235413"/>
                      </a:lnTo>
                      <a:lnTo>
                        <a:pt x="690664" y="1254868"/>
                      </a:lnTo>
                      <a:lnTo>
                        <a:pt x="787940" y="1157592"/>
                      </a:lnTo>
                      <a:lnTo>
                        <a:pt x="885217" y="826851"/>
                      </a:lnTo>
                      <a:lnTo>
                        <a:pt x="914400" y="291830"/>
                      </a:lnTo>
                      <a:lnTo>
                        <a:pt x="856034" y="0"/>
                      </a:lnTo>
                      <a:lnTo>
                        <a:pt x="690664" y="9728"/>
                      </a:lnTo>
                      <a:lnTo>
                        <a:pt x="583659" y="136187"/>
                      </a:lnTo>
                      <a:lnTo>
                        <a:pt x="418289" y="214009"/>
                      </a:lnTo>
                      <a:lnTo>
                        <a:pt x="350196" y="87549"/>
                      </a:lnTo>
                      <a:cubicBezTo>
                        <a:pt x="230318" y="57580"/>
                        <a:pt x="273572" y="58366"/>
                        <a:pt x="223736" y="58366"/>
                      </a:cubicBezTo>
                      <a:lnTo>
                        <a:pt x="87549" y="107004"/>
                      </a:lnTo>
                      <a:lnTo>
                        <a:pt x="0" y="10700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16" name="Freeform 227">
                  <a:extLst>
                    <a:ext uri="{FF2B5EF4-FFF2-40B4-BE49-F238E27FC236}">
                      <a16:creationId xmlns:a16="http://schemas.microsoft.com/office/drawing/2014/main" id="{9E13F4CB-37F4-4059-A435-7200A5C8829B}"/>
                    </a:ext>
                  </a:extLst>
                </p:cNvPr>
                <p:cNvSpPr/>
                <p:nvPr/>
              </p:nvSpPr>
              <p:spPr>
                <a:xfrm>
                  <a:off x="3095625" y="1524000"/>
                  <a:ext cx="3514725" cy="2129101"/>
                </a:xfrm>
                <a:custGeom>
                  <a:avLst/>
                  <a:gdLst>
                    <a:gd name="connsiteX0" fmla="*/ 57150 w 3514725"/>
                    <a:gd name="connsiteY0" fmla="*/ 85725 h 2129101"/>
                    <a:gd name="connsiteX1" fmla="*/ 1000125 w 3514725"/>
                    <a:gd name="connsiteY1" fmla="*/ 857250 h 2129101"/>
                    <a:gd name="connsiteX2" fmla="*/ 1971675 w 3514725"/>
                    <a:gd name="connsiteY2" fmla="*/ 1343025 h 2129101"/>
                    <a:gd name="connsiteX3" fmla="*/ 3028950 w 3514725"/>
                    <a:gd name="connsiteY3" fmla="*/ 1571625 h 2129101"/>
                    <a:gd name="connsiteX4" fmla="*/ 3514725 w 3514725"/>
                    <a:gd name="connsiteY4" fmla="*/ 1943100 h 2129101"/>
                    <a:gd name="connsiteX5" fmla="*/ 3371850 w 3514725"/>
                    <a:gd name="connsiteY5" fmla="*/ 2085975 h 2129101"/>
                    <a:gd name="connsiteX6" fmla="*/ 2600325 w 3514725"/>
                    <a:gd name="connsiteY6" fmla="*/ 1857375 h 2129101"/>
                    <a:gd name="connsiteX7" fmla="*/ 1543050 w 3514725"/>
                    <a:gd name="connsiteY7" fmla="*/ 1514475 h 2129101"/>
                    <a:gd name="connsiteX8" fmla="*/ 2085975 w 3514725"/>
                    <a:gd name="connsiteY8" fmla="*/ 1943100 h 2129101"/>
                    <a:gd name="connsiteX9" fmla="*/ 1943100 w 3514725"/>
                    <a:gd name="connsiteY9" fmla="*/ 2057400 h 2129101"/>
                    <a:gd name="connsiteX10" fmla="*/ 1257300 w 3514725"/>
                    <a:gd name="connsiteY10" fmla="*/ 1657350 h 2129101"/>
                    <a:gd name="connsiteX11" fmla="*/ 628650 w 3514725"/>
                    <a:gd name="connsiteY11" fmla="*/ 1200150 h 2129101"/>
                    <a:gd name="connsiteX12" fmla="*/ 257175 w 3514725"/>
                    <a:gd name="connsiteY12" fmla="*/ 571500 h 2129101"/>
                    <a:gd name="connsiteX13" fmla="*/ 0 w 3514725"/>
                    <a:gd name="connsiteY13" fmla="*/ 0 h 2129101"/>
                    <a:gd name="connsiteX14" fmla="*/ 57150 w 3514725"/>
                    <a:gd name="connsiteY14" fmla="*/ 85725 h 2129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14725" h="2129101">
                      <a:moveTo>
                        <a:pt x="57150" y="85725"/>
                      </a:moveTo>
                      <a:lnTo>
                        <a:pt x="1000125" y="857250"/>
                      </a:lnTo>
                      <a:lnTo>
                        <a:pt x="1971675" y="1343025"/>
                      </a:lnTo>
                      <a:lnTo>
                        <a:pt x="3028950" y="1571625"/>
                      </a:lnTo>
                      <a:lnTo>
                        <a:pt x="3514725" y="1943100"/>
                      </a:lnTo>
                      <a:lnTo>
                        <a:pt x="3371850" y="2085975"/>
                      </a:lnTo>
                      <a:lnTo>
                        <a:pt x="2600325" y="1857375"/>
                      </a:lnTo>
                      <a:lnTo>
                        <a:pt x="1543050" y="1514475"/>
                      </a:lnTo>
                      <a:lnTo>
                        <a:pt x="2085975" y="1943100"/>
                      </a:lnTo>
                      <a:cubicBezTo>
                        <a:pt x="1963260" y="2096494"/>
                        <a:pt x="2014801" y="2129101"/>
                        <a:pt x="1943100" y="2057400"/>
                      </a:cubicBezTo>
                      <a:lnTo>
                        <a:pt x="1257300" y="1657350"/>
                      </a:lnTo>
                      <a:lnTo>
                        <a:pt x="628650" y="1200150"/>
                      </a:lnTo>
                      <a:lnTo>
                        <a:pt x="257175" y="571500"/>
                      </a:lnTo>
                      <a:lnTo>
                        <a:pt x="0" y="0"/>
                      </a:lnTo>
                      <a:lnTo>
                        <a:pt x="57150" y="8572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17" name="Freeform 228">
                  <a:extLst>
                    <a:ext uri="{FF2B5EF4-FFF2-40B4-BE49-F238E27FC236}">
                      <a16:creationId xmlns:a16="http://schemas.microsoft.com/office/drawing/2014/main" id="{4CA200F6-3492-4D76-B865-E37EB99EC4AB}"/>
                    </a:ext>
                  </a:extLst>
                </p:cNvPr>
                <p:cNvSpPr/>
                <p:nvPr/>
              </p:nvSpPr>
              <p:spPr>
                <a:xfrm>
                  <a:off x="1323975" y="1238250"/>
                  <a:ext cx="1143000" cy="1047034"/>
                </a:xfrm>
                <a:custGeom>
                  <a:avLst/>
                  <a:gdLst>
                    <a:gd name="connsiteX0" fmla="*/ 1143000 w 1143000"/>
                    <a:gd name="connsiteY0" fmla="*/ 0 h 1047034"/>
                    <a:gd name="connsiteX1" fmla="*/ 628650 w 1143000"/>
                    <a:gd name="connsiteY1" fmla="*/ 600075 h 1047034"/>
                    <a:gd name="connsiteX2" fmla="*/ 0 w 1143000"/>
                    <a:gd name="connsiteY2" fmla="*/ 1028700 h 1047034"/>
                    <a:gd name="connsiteX3" fmla="*/ 542925 w 1143000"/>
                    <a:gd name="connsiteY3" fmla="*/ 828675 h 1047034"/>
                    <a:gd name="connsiteX4" fmla="*/ 1085850 w 1143000"/>
                    <a:gd name="connsiteY4" fmla="*/ 285750 h 1047034"/>
                    <a:gd name="connsiteX5" fmla="*/ 1143000 w 1143000"/>
                    <a:gd name="connsiteY5" fmla="*/ 0 h 1047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 h="1047034">
                      <a:moveTo>
                        <a:pt x="1143000" y="0"/>
                      </a:moveTo>
                      <a:lnTo>
                        <a:pt x="628650" y="600075"/>
                      </a:lnTo>
                      <a:lnTo>
                        <a:pt x="0" y="1028700"/>
                      </a:lnTo>
                      <a:cubicBezTo>
                        <a:pt x="552008" y="854382"/>
                        <a:pt x="542925" y="1047034"/>
                        <a:pt x="542925" y="828675"/>
                      </a:cubicBezTo>
                      <a:lnTo>
                        <a:pt x="1085850" y="285750"/>
                      </a:lnTo>
                      <a:lnTo>
                        <a:pt x="114300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18" name="Freeform 229">
                  <a:extLst>
                    <a:ext uri="{FF2B5EF4-FFF2-40B4-BE49-F238E27FC236}">
                      <a16:creationId xmlns:a16="http://schemas.microsoft.com/office/drawing/2014/main" id="{19EB83E5-FE8B-4BB6-A0E3-EF02D62CA4ED}"/>
                    </a:ext>
                  </a:extLst>
                </p:cNvPr>
                <p:cNvSpPr/>
                <p:nvPr/>
              </p:nvSpPr>
              <p:spPr>
                <a:xfrm>
                  <a:off x="583660" y="680936"/>
                  <a:ext cx="389106" cy="690664"/>
                </a:xfrm>
                <a:custGeom>
                  <a:avLst/>
                  <a:gdLst>
                    <a:gd name="connsiteX0" fmla="*/ 389106 w 389106"/>
                    <a:gd name="connsiteY0" fmla="*/ 38911 h 690664"/>
                    <a:gd name="connsiteX1" fmla="*/ 379378 w 389106"/>
                    <a:gd name="connsiteY1" fmla="*/ 262647 h 690664"/>
                    <a:gd name="connsiteX2" fmla="*/ 321012 w 389106"/>
                    <a:gd name="connsiteY2" fmla="*/ 466928 h 690664"/>
                    <a:gd name="connsiteX3" fmla="*/ 87549 w 389106"/>
                    <a:gd name="connsiteY3" fmla="*/ 622570 h 690664"/>
                    <a:gd name="connsiteX4" fmla="*/ 0 w 389106"/>
                    <a:gd name="connsiteY4" fmla="*/ 690664 h 690664"/>
                    <a:gd name="connsiteX5" fmla="*/ 175097 w 389106"/>
                    <a:gd name="connsiteY5" fmla="*/ 515566 h 690664"/>
                    <a:gd name="connsiteX6" fmla="*/ 252919 w 389106"/>
                    <a:gd name="connsiteY6" fmla="*/ 311285 h 690664"/>
                    <a:gd name="connsiteX7" fmla="*/ 321012 w 389106"/>
                    <a:gd name="connsiteY7" fmla="*/ 0 h 690664"/>
                    <a:gd name="connsiteX8" fmla="*/ 389106 w 389106"/>
                    <a:gd name="connsiteY8" fmla="*/ 38911 h 690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9106" h="690664">
                      <a:moveTo>
                        <a:pt x="389106" y="38911"/>
                      </a:moveTo>
                      <a:cubicBezTo>
                        <a:pt x="385716" y="113483"/>
                        <a:pt x="379378" y="187998"/>
                        <a:pt x="379378" y="262647"/>
                      </a:cubicBezTo>
                      <a:lnTo>
                        <a:pt x="321012" y="466928"/>
                      </a:lnTo>
                      <a:lnTo>
                        <a:pt x="87549" y="622570"/>
                      </a:lnTo>
                      <a:lnTo>
                        <a:pt x="0" y="690664"/>
                      </a:lnTo>
                      <a:lnTo>
                        <a:pt x="175097" y="515566"/>
                      </a:lnTo>
                      <a:cubicBezTo>
                        <a:pt x="254123" y="318002"/>
                        <a:pt x="252919" y="390860"/>
                        <a:pt x="252919" y="311285"/>
                      </a:cubicBezTo>
                      <a:lnTo>
                        <a:pt x="321012" y="0"/>
                      </a:lnTo>
                      <a:cubicBezTo>
                        <a:pt x="382278" y="30633"/>
                        <a:pt x="379378" y="50935"/>
                        <a:pt x="389106" y="3891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586" name="Group 585">
                <a:extLst>
                  <a:ext uri="{FF2B5EF4-FFF2-40B4-BE49-F238E27FC236}">
                    <a16:creationId xmlns:a16="http://schemas.microsoft.com/office/drawing/2014/main" id="{1F6021E5-2ED0-4DDD-A1FB-11984D870436}"/>
                  </a:ext>
                </a:extLst>
              </p:cNvPr>
              <p:cNvGrpSpPr/>
              <p:nvPr/>
            </p:nvGrpSpPr>
            <p:grpSpPr>
              <a:xfrm>
                <a:off x="3700629" y="1749630"/>
                <a:ext cx="905944" cy="800538"/>
                <a:chOff x="-1349829" y="8897257"/>
                <a:chExt cx="4771572" cy="4216400"/>
              </a:xfrm>
              <a:grpFill/>
            </p:grpSpPr>
            <p:sp>
              <p:nvSpPr>
                <p:cNvPr id="602" name="Freeform 213">
                  <a:extLst>
                    <a:ext uri="{FF2B5EF4-FFF2-40B4-BE49-F238E27FC236}">
                      <a16:creationId xmlns:a16="http://schemas.microsoft.com/office/drawing/2014/main" id="{7C5F714D-ED20-4613-8333-145BD32544B0}"/>
                    </a:ext>
                  </a:extLst>
                </p:cNvPr>
                <p:cNvSpPr/>
                <p:nvPr/>
              </p:nvSpPr>
              <p:spPr>
                <a:xfrm>
                  <a:off x="-1349829" y="8897257"/>
                  <a:ext cx="4717143" cy="4122057"/>
                </a:xfrm>
                <a:custGeom>
                  <a:avLst/>
                  <a:gdLst>
                    <a:gd name="connsiteX0" fmla="*/ 0 w 4717143"/>
                    <a:gd name="connsiteY0" fmla="*/ 0 h 4122057"/>
                    <a:gd name="connsiteX1" fmla="*/ 566058 w 4717143"/>
                    <a:gd name="connsiteY1" fmla="*/ 290286 h 4122057"/>
                    <a:gd name="connsiteX2" fmla="*/ 1407886 w 4717143"/>
                    <a:gd name="connsiteY2" fmla="*/ 493486 h 4122057"/>
                    <a:gd name="connsiteX3" fmla="*/ 2191658 w 4717143"/>
                    <a:gd name="connsiteY3" fmla="*/ 464457 h 4122057"/>
                    <a:gd name="connsiteX4" fmla="*/ 2859315 w 4717143"/>
                    <a:gd name="connsiteY4" fmla="*/ 435429 h 4122057"/>
                    <a:gd name="connsiteX5" fmla="*/ 2989943 w 4717143"/>
                    <a:gd name="connsiteY5" fmla="*/ 420914 h 4122057"/>
                    <a:gd name="connsiteX6" fmla="*/ 3120572 w 4717143"/>
                    <a:gd name="connsiteY6" fmla="*/ 798286 h 4122057"/>
                    <a:gd name="connsiteX7" fmla="*/ 3410858 w 4717143"/>
                    <a:gd name="connsiteY7" fmla="*/ 1248229 h 4122057"/>
                    <a:gd name="connsiteX8" fmla="*/ 3991429 w 4717143"/>
                    <a:gd name="connsiteY8" fmla="*/ 2148114 h 4122057"/>
                    <a:gd name="connsiteX9" fmla="*/ 4586515 w 4717143"/>
                    <a:gd name="connsiteY9" fmla="*/ 3338286 h 4122057"/>
                    <a:gd name="connsiteX10" fmla="*/ 4717143 w 4717143"/>
                    <a:gd name="connsiteY10" fmla="*/ 3657600 h 4122057"/>
                    <a:gd name="connsiteX11" fmla="*/ 4296229 w 4717143"/>
                    <a:gd name="connsiteY11" fmla="*/ 4093029 h 4122057"/>
                    <a:gd name="connsiteX12" fmla="*/ 3614058 w 4717143"/>
                    <a:gd name="connsiteY12" fmla="*/ 4122057 h 4122057"/>
                    <a:gd name="connsiteX13" fmla="*/ 2859315 w 4717143"/>
                    <a:gd name="connsiteY13" fmla="*/ 3933372 h 4122057"/>
                    <a:gd name="connsiteX14" fmla="*/ 2206172 w 4717143"/>
                    <a:gd name="connsiteY14" fmla="*/ 3744686 h 4122057"/>
                    <a:gd name="connsiteX15" fmla="*/ 1553029 w 4717143"/>
                    <a:gd name="connsiteY15" fmla="*/ 3759200 h 4122057"/>
                    <a:gd name="connsiteX16" fmla="*/ 1233715 w 4717143"/>
                    <a:gd name="connsiteY16" fmla="*/ 3178629 h 4122057"/>
                    <a:gd name="connsiteX17" fmla="*/ 551543 w 4717143"/>
                    <a:gd name="connsiteY17" fmla="*/ 1436914 h 4122057"/>
                    <a:gd name="connsiteX18" fmla="*/ 0 w 4717143"/>
                    <a:gd name="connsiteY18" fmla="*/ 0 h 4122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17143" h="4122057">
                      <a:moveTo>
                        <a:pt x="0" y="0"/>
                      </a:moveTo>
                      <a:lnTo>
                        <a:pt x="566058" y="290286"/>
                      </a:lnTo>
                      <a:lnTo>
                        <a:pt x="1407886" y="493486"/>
                      </a:lnTo>
                      <a:lnTo>
                        <a:pt x="2191658" y="464457"/>
                      </a:lnTo>
                      <a:lnTo>
                        <a:pt x="2859315" y="435429"/>
                      </a:lnTo>
                      <a:lnTo>
                        <a:pt x="2989943" y="420914"/>
                      </a:lnTo>
                      <a:cubicBezTo>
                        <a:pt x="3122211" y="788324"/>
                        <a:pt x="3120572" y="655220"/>
                        <a:pt x="3120572" y="798286"/>
                      </a:cubicBezTo>
                      <a:lnTo>
                        <a:pt x="3410858" y="1248229"/>
                      </a:lnTo>
                      <a:lnTo>
                        <a:pt x="3991429" y="2148114"/>
                      </a:lnTo>
                      <a:lnTo>
                        <a:pt x="4586515" y="3338286"/>
                      </a:lnTo>
                      <a:lnTo>
                        <a:pt x="4717143" y="3657600"/>
                      </a:lnTo>
                      <a:lnTo>
                        <a:pt x="4296229" y="4093029"/>
                      </a:lnTo>
                      <a:lnTo>
                        <a:pt x="3614058" y="4122057"/>
                      </a:lnTo>
                      <a:lnTo>
                        <a:pt x="2859315" y="3933372"/>
                      </a:lnTo>
                      <a:lnTo>
                        <a:pt x="2206172" y="3744686"/>
                      </a:lnTo>
                      <a:lnTo>
                        <a:pt x="1553029" y="3759200"/>
                      </a:lnTo>
                      <a:lnTo>
                        <a:pt x="1233715" y="3178629"/>
                      </a:lnTo>
                      <a:lnTo>
                        <a:pt x="551543" y="143691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03" name="Freeform 214">
                  <a:extLst>
                    <a:ext uri="{FF2B5EF4-FFF2-40B4-BE49-F238E27FC236}">
                      <a16:creationId xmlns:a16="http://schemas.microsoft.com/office/drawing/2014/main" id="{8B3D930C-6768-44A3-9B49-C176B95C076C}"/>
                    </a:ext>
                  </a:extLst>
                </p:cNvPr>
                <p:cNvSpPr/>
                <p:nvPr/>
              </p:nvSpPr>
              <p:spPr>
                <a:xfrm>
                  <a:off x="-1295400" y="8991600"/>
                  <a:ext cx="4717143" cy="4122057"/>
                </a:xfrm>
                <a:custGeom>
                  <a:avLst/>
                  <a:gdLst>
                    <a:gd name="connsiteX0" fmla="*/ 0 w 4717143"/>
                    <a:gd name="connsiteY0" fmla="*/ 0 h 4122057"/>
                    <a:gd name="connsiteX1" fmla="*/ 566058 w 4717143"/>
                    <a:gd name="connsiteY1" fmla="*/ 290286 h 4122057"/>
                    <a:gd name="connsiteX2" fmla="*/ 1407886 w 4717143"/>
                    <a:gd name="connsiteY2" fmla="*/ 493486 h 4122057"/>
                    <a:gd name="connsiteX3" fmla="*/ 2191658 w 4717143"/>
                    <a:gd name="connsiteY3" fmla="*/ 464457 h 4122057"/>
                    <a:gd name="connsiteX4" fmla="*/ 2859315 w 4717143"/>
                    <a:gd name="connsiteY4" fmla="*/ 435429 h 4122057"/>
                    <a:gd name="connsiteX5" fmla="*/ 2989943 w 4717143"/>
                    <a:gd name="connsiteY5" fmla="*/ 420914 h 4122057"/>
                    <a:gd name="connsiteX6" fmla="*/ 3120572 w 4717143"/>
                    <a:gd name="connsiteY6" fmla="*/ 798286 h 4122057"/>
                    <a:gd name="connsiteX7" fmla="*/ 3410858 w 4717143"/>
                    <a:gd name="connsiteY7" fmla="*/ 1248229 h 4122057"/>
                    <a:gd name="connsiteX8" fmla="*/ 3991429 w 4717143"/>
                    <a:gd name="connsiteY8" fmla="*/ 2148114 h 4122057"/>
                    <a:gd name="connsiteX9" fmla="*/ 4586515 w 4717143"/>
                    <a:gd name="connsiteY9" fmla="*/ 3338286 h 4122057"/>
                    <a:gd name="connsiteX10" fmla="*/ 4717143 w 4717143"/>
                    <a:gd name="connsiteY10" fmla="*/ 3657600 h 4122057"/>
                    <a:gd name="connsiteX11" fmla="*/ 4296229 w 4717143"/>
                    <a:gd name="connsiteY11" fmla="*/ 4093029 h 4122057"/>
                    <a:gd name="connsiteX12" fmla="*/ 3614058 w 4717143"/>
                    <a:gd name="connsiteY12" fmla="*/ 4122057 h 4122057"/>
                    <a:gd name="connsiteX13" fmla="*/ 2859315 w 4717143"/>
                    <a:gd name="connsiteY13" fmla="*/ 3933372 h 4122057"/>
                    <a:gd name="connsiteX14" fmla="*/ 2206172 w 4717143"/>
                    <a:gd name="connsiteY14" fmla="*/ 3744686 h 4122057"/>
                    <a:gd name="connsiteX15" fmla="*/ 1553029 w 4717143"/>
                    <a:gd name="connsiteY15" fmla="*/ 3759200 h 4122057"/>
                    <a:gd name="connsiteX16" fmla="*/ 1233715 w 4717143"/>
                    <a:gd name="connsiteY16" fmla="*/ 3178629 h 4122057"/>
                    <a:gd name="connsiteX17" fmla="*/ 551543 w 4717143"/>
                    <a:gd name="connsiteY17" fmla="*/ 1436914 h 4122057"/>
                    <a:gd name="connsiteX18" fmla="*/ 0 w 4717143"/>
                    <a:gd name="connsiteY18" fmla="*/ 0 h 4122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17143" h="4122057">
                      <a:moveTo>
                        <a:pt x="0" y="0"/>
                      </a:moveTo>
                      <a:lnTo>
                        <a:pt x="566058" y="290286"/>
                      </a:lnTo>
                      <a:lnTo>
                        <a:pt x="1407886" y="493486"/>
                      </a:lnTo>
                      <a:lnTo>
                        <a:pt x="2191658" y="464457"/>
                      </a:lnTo>
                      <a:lnTo>
                        <a:pt x="2859315" y="435429"/>
                      </a:lnTo>
                      <a:lnTo>
                        <a:pt x="2989943" y="420914"/>
                      </a:lnTo>
                      <a:cubicBezTo>
                        <a:pt x="3122211" y="788324"/>
                        <a:pt x="3120572" y="655220"/>
                        <a:pt x="3120572" y="798286"/>
                      </a:cubicBezTo>
                      <a:lnTo>
                        <a:pt x="3410858" y="1248229"/>
                      </a:lnTo>
                      <a:lnTo>
                        <a:pt x="3991429" y="2148114"/>
                      </a:lnTo>
                      <a:lnTo>
                        <a:pt x="4586515" y="3338286"/>
                      </a:lnTo>
                      <a:lnTo>
                        <a:pt x="4717143" y="3657600"/>
                      </a:lnTo>
                      <a:lnTo>
                        <a:pt x="4296229" y="4093029"/>
                      </a:lnTo>
                      <a:lnTo>
                        <a:pt x="3614058" y="4122057"/>
                      </a:lnTo>
                      <a:lnTo>
                        <a:pt x="2859315" y="3933372"/>
                      </a:lnTo>
                      <a:lnTo>
                        <a:pt x="2206172" y="3744686"/>
                      </a:lnTo>
                      <a:lnTo>
                        <a:pt x="1553029" y="3759200"/>
                      </a:lnTo>
                      <a:lnTo>
                        <a:pt x="1233715" y="3178629"/>
                      </a:lnTo>
                      <a:lnTo>
                        <a:pt x="551543" y="1436914"/>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587" name="Group 97">
                <a:extLst>
                  <a:ext uri="{FF2B5EF4-FFF2-40B4-BE49-F238E27FC236}">
                    <a16:creationId xmlns:a16="http://schemas.microsoft.com/office/drawing/2014/main" id="{8764544A-3CA1-4BE1-B7C6-3160A9D43542}"/>
                  </a:ext>
                </a:extLst>
              </p:cNvPr>
              <p:cNvGrpSpPr/>
              <p:nvPr/>
            </p:nvGrpSpPr>
            <p:grpSpPr>
              <a:xfrm>
                <a:off x="4500038" y="2400054"/>
                <a:ext cx="539888" cy="286273"/>
                <a:chOff x="2762655" y="12188757"/>
                <a:chExt cx="2843567" cy="1507788"/>
              </a:xfrm>
              <a:grpFill/>
            </p:grpSpPr>
            <p:sp>
              <p:nvSpPr>
                <p:cNvPr id="597" name="Freeform 208">
                  <a:extLst>
                    <a:ext uri="{FF2B5EF4-FFF2-40B4-BE49-F238E27FC236}">
                      <a16:creationId xmlns:a16="http://schemas.microsoft.com/office/drawing/2014/main" id="{0329C53A-541E-4855-85DB-1F30013A1677}"/>
                    </a:ext>
                  </a:extLst>
                </p:cNvPr>
                <p:cNvSpPr/>
                <p:nvPr/>
              </p:nvSpPr>
              <p:spPr>
                <a:xfrm>
                  <a:off x="2762655" y="12188757"/>
                  <a:ext cx="2843567" cy="1507788"/>
                </a:xfrm>
                <a:custGeom>
                  <a:avLst/>
                  <a:gdLst>
                    <a:gd name="connsiteX0" fmla="*/ 2840477 w 2843567"/>
                    <a:gd name="connsiteY0" fmla="*/ 1342417 h 1507788"/>
                    <a:gd name="connsiteX1" fmla="*/ 2733473 w 2843567"/>
                    <a:gd name="connsiteY1" fmla="*/ 914400 h 1507788"/>
                    <a:gd name="connsiteX2" fmla="*/ 2548647 w 2843567"/>
                    <a:gd name="connsiteY2" fmla="*/ 603115 h 1507788"/>
                    <a:gd name="connsiteX3" fmla="*/ 2344366 w 2843567"/>
                    <a:gd name="connsiteY3" fmla="*/ 340469 h 1507788"/>
                    <a:gd name="connsiteX4" fmla="*/ 2256817 w 2843567"/>
                    <a:gd name="connsiteY4" fmla="*/ 223737 h 1507788"/>
                    <a:gd name="connsiteX5" fmla="*/ 1935805 w 2843567"/>
                    <a:gd name="connsiteY5" fmla="*/ 233464 h 1507788"/>
                    <a:gd name="connsiteX6" fmla="*/ 1819073 w 2843567"/>
                    <a:gd name="connsiteY6" fmla="*/ 155643 h 1507788"/>
                    <a:gd name="connsiteX7" fmla="*/ 1682885 w 2843567"/>
                    <a:gd name="connsiteY7" fmla="*/ 48639 h 1507788"/>
                    <a:gd name="connsiteX8" fmla="*/ 1605064 w 2843567"/>
                    <a:gd name="connsiteY8" fmla="*/ 0 h 1507788"/>
                    <a:gd name="connsiteX9" fmla="*/ 1342417 w 2843567"/>
                    <a:gd name="connsiteY9" fmla="*/ 29183 h 1507788"/>
                    <a:gd name="connsiteX10" fmla="*/ 914400 w 2843567"/>
                    <a:gd name="connsiteY10" fmla="*/ 175098 h 1507788"/>
                    <a:gd name="connsiteX11" fmla="*/ 554477 w 2843567"/>
                    <a:gd name="connsiteY11" fmla="*/ 340469 h 1507788"/>
                    <a:gd name="connsiteX12" fmla="*/ 165371 w 2843567"/>
                    <a:gd name="connsiteY12" fmla="*/ 554477 h 1507788"/>
                    <a:gd name="connsiteX13" fmla="*/ 116732 w 2843567"/>
                    <a:gd name="connsiteY13" fmla="*/ 671209 h 1507788"/>
                    <a:gd name="connsiteX14" fmla="*/ 145915 w 2843567"/>
                    <a:gd name="connsiteY14" fmla="*/ 739303 h 1507788"/>
                    <a:gd name="connsiteX15" fmla="*/ 223736 w 2843567"/>
                    <a:gd name="connsiteY15" fmla="*/ 787941 h 1507788"/>
                    <a:gd name="connsiteX16" fmla="*/ 77822 w 2843567"/>
                    <a:gd name="connsiteY16" fmla="*/ 817124 h 1507788"/>
                    <a:gd name="connsiteX17" fmla="*/ 9728 w 2843567"/>
                    <a:gd name="connsiteY17" fmla="*/ 865762 h 1507788"/>
                    <a:gd name="connsiteX18" fmla="*/ 0 w 2843567"/>
                    <a:gd name="connsiteY18" fmla="*/ 1001949 h 1507788"/>
                    <a:gd name="connsiteX19" fmla="*/ 48639 w 2843567"/>
                    <a:gd name="connsiteY19" fmla="*/ 1070043 h 1507788"/>
                    <a:gd name="connsiteX20" fmla="*/ 165371 w 2843567"/>
                    <a:gd name="connsiteY20" fmla="*/ 1079771 h 1507788"/>
                    <a:gd name="connsiteX21" fmla="*/ 262647 w 2843567"/>
                    <a:gd name="connsiteY21" fmla="*/ 1070043 h 1507788"/>
                    <a:gd name="connsiteX22" fmla="*/ 282102 w 2843567"/>
                    <a:gd name="connsiteY22" fmla="*/ 1177047 h 1507788"/>
                    <a:gd name="connsiteX23" fmla="*/ 321013 w 2843567"/>
                    <a:gd name="connsiteY23" fmla="*/ 1245141 h 1507788"/>
                    <a:gd name="connsiteX24" fmla="*/ 418290 w 2843567"/>
                    <a:gd name="connsiteY24" fmla="*/ 1264596 h 1507788"/>
                    <a:gd name="connsiteX25" fmla="*/ 544749 w 2843567"/>
                    <a:gd name="connsiteY25" fmla="*/ 1284052 h 1507788"/>
                    <a:gd name="connsiteX26" fmla="*/ 642026 w 2843567"/>
                    <a:gd name="connsiteY26" fmla="*/ 1274324 h 1507788"/>
                    <a:gd name="connsiteX27" fmla="*/ 642026 w 2843567"/>
                    <a:gd name="connsiteY27" fmla="*/ 1352145 h 1507788"/>
                    <a:gd name="connsiteX28" fmla="*/ 661481 w 2843567"/>
                    <a:gd name="connsiteY28" fmla="*/ 1449422 h 1507788"/>
                    <a:gd name="connsiteX29" fmla="*/ 739302 w 2843567"/>
                    <a:gd name="connsiteY29" fmla="*/ 1478605 h 1507788"/>
                    <a:gd name="connsiteX30" fmla="*/ 924128 w 2843567"/>
                    <a:gd name="connsiteY30" fmla="*/ 1507788 h 1507788"/>
                    <a:gd name="connsiteX31" fmla="*/ 1138136 w 2843567"/>
                    <a:gd name="connsiteY31" fmla="*/ 1488332 h 1507788"/>
                    <a:gd name="connsiteX32" fmla="*/ 1332690 w 2843567"/>
                    <a:gd name="connsiteY32" fmla="*/ 1468877 h 1507788"/>
                    <a:gd name="connsiteX33" fmla="*/ 1556426 w 2843567"/>
                    <a:gd name="connsiteY33" fmla="*/ 1410511 h 1507788"/>
                    <a:gd name="connsiteX34" fmla="*/ 1702341 w 2843567"/>
                    <a:gd name="connsiteY34" fmla="*/ 1371600 h 1507788"/>
                    <a:gd name="connsiteX35" fmla="*/ 1964988 w 2843567"/>
                    <a:gd name="connsiteY35" fmla="*/ 1352145 h 1507788"/>
                    <a:gd name="connsiteX36" fmla="*/ 2159541 w 2843567"/>
                    <a:gd name="connsiteY36" fmla="*/ 1303507 h 1507788"/>
                    <a:gd name="connsiteX37" fmla="*/ 2247090 w 2843567"/>
                    <a:gd name="connsiteY37" fmla="*/ 1254869 h 1507788"/>
                    <a:gd name="connsiteX38" fmla="*/ 2626468 w 2843567"/>
                    <a:gd name="connsiteY38" fmla="*/ 1245141 h 1507788"/>
                    <a:gd name="connsiteX39" fmla="*/ 2840477 w 2843567"/>
                    <a:gd name="connsiteY39" fmla="*/ 1342417 h 1507788"/>
                    <a:gd name="connsiteX0" fmla="*/ 2840477 w 2843567"/>
                    <a:gd name="connsiteY0" fmla="*/ 1342417 h 1507788"/>
                    <a:gd name="connsiteX1" fmla="*/ 2733473 w 2843567"/>
                    <a:gd name="connsiteY1" fmla="*/ 914400 h 1507788"/>
                    <a:gd name="connsiteX2" fmla="*/ 2548647 w 2843567"/>
                    <a:gd name="connsiteY2" fmla="*/ 603115 h 1507788"/>
                    <a:gd name="connsiteX3" fmla="*/ 2344366 w 2843567"/>
                    <a:gd name="connsiteY3" fmla="*/ 340469 h 1507788"/>
                    <a:gd name="connsiteX4" fmla="*/ 2279677 w 2843567"/>
                    <a:gd name="connsiteY4" fmla="*/ 261837 h 1507788"/>
                    <a:gd name="connsiteX5" fmla="*/ 1935805 w 2843567"/>
                    <a:gd name="connsiteY5" fmla="*/ 233464 h 1507788"/>
                    <a:gd name="connsiteX6" fmla="*/ 1819073 w 2843567"/>
                    <a:gd name="connsiteY6" fmla="*/ 155643 h 1507788"/>
                    <a:gd name="connsiteX7" fmla="*/ 1682885 w 2843567"/>
                    <a:gd name="connsiteY7" fmla="*/ 48639 h 1507788"/>
                    <a:gd name="connsiteX8" fmla="*/ 1605064 w 2843567"/>
                    <a:gd name="connsiteY8" fmla="*/ 0 h 1507788"/>
                    <a:gd name="connsiteX9" fmla="*/ 1342417 w 2843567"/>
                    <a:gd name="connsiteY9" fmla="*/ 29183 h 1507788"/>
                    <a:gd name="connsiteX10" fmla="*/ 914400 w 2843567"/>
                    <a:gd name="connsiteY10" fmla="*/ 175098 h 1507788"/>
                    <a:gd name="connsiteX11" fmla="*/ 554477 w 2843567"/>
                    <a:gd name="connsiteY11" fmla="*/ 340469 h 1507788"/>
                    <a:gd name="connsiteX12" fmla="*/ 165371 w 2843567"/>
                    <a:gd name="connsiteY12" fmla="*/ 554477 h 1507788"/>
                    <a:gd name="connsiteX13" fmla="*/ 116732 w 2843567"/>
                    <a:gd name="connsiteY13" fmla="*/ 671209 h 1507788"/>
                    <a:gd name="connsiteX14" fmla="*/ 145915 w 2843567"/>
                    <a:gd name="connsiteY14" fmla="*/ 739303 h 1507788"/>
                    <a:gd name="connsiteX15" fmla="*/ 223736 w 2843567"/>
                    <a:gd name="connsiteY15" fmla="*/ 787941 h 1507788"/>
                    <a:gd name="connsiteX16" fmla="*/ 77822 w 2843567"/>
                    <a:gd name="connsiteY16" fmla="*/ 817124 h 1507788"/>
                    <a:gd name="connsiteX17" fmla="*/ 9728 w 2843567"/>
                    <a:gd name="connsiteY17" fmla="*/ 865762 h 1507788"/>
                    <a:gd name="connsiteX18" fmla="*/ 0 w 2843567"/>
                    <a:gd name="connsiteY18" fmla="*/ 1001949 h 1507788"/>
                    <a:gd name="connsiteX19" fmla="*/ 48639 w 2843567"/>
                    <a:gd name="connsiteY19" fmla="*/ 1070043 h 1507788"/>
                    <a:gd name="connsiteX20" fmla="*/ 165371 w 2843567"/>
                    <a:gd name="connsiteY20" fmla="*/ 1079771 h 1507788"/>
                    <a:gd name="connsiteX21" fmla="*/ 262647 w 2843567"/>
                    <a:gd name="connsiteY21" fmla="*/ 1070043 h 1507788"/>
                    <a:gd name="connsiteX22" fmla="*/ 282102 w 2843567"/>
                    <a:gd name="connsiteY22" fmla="*/ 1177047 h 1507788"/>
                    <a:gd name="connsiteX23" fmla="*/ 321013 w 2843567"/>
                    <a:gd name="connsiteY23" fmla="*/ 1245141 h 1507788"/>
                    <a:gd name="connsiteX24" fmla="*/ 418290 w 2843567"/>
                    <a:gd name="connsiteY24" fmla="*/ 1264596 h 1507788"/>
                    <a:gd name="connsiteX25" fmla="*/ 544749 w 2843567"/>
                    <a:gd name="connsiteY25" fmla="*/ 1284052 h 1507788"/>
                    <a:gd name="connsiteX26" fmla="*/ 642026 w 2843567"/>
                    <a:gd name="connsiteY26" fmla="*/ 1274324 h 1507788"/>
                    <a:gd name="connsiteX27" fmla="*/ 642026 w 2843567"/>
                    <a:gd name="connsiteY27" fmla="*/ 1352145 h 1507788"/>
                    <a:gd name="connsiteX28" fmla="*/ 661481 w 2843567"/>
                    <a:gd name="connsiteY28" fmla="*/ 1449422 h 1507788"/>
                    <a:gd name="connsiteX29" fmla="*/ 739302 w 2843567"/>
                    <a:gd name="connsiteY29" fmla="*/ 1478605 h 1507788"/>
                    <a:gd name="connsiteX30" fmla="*/ 924128 w 2843567"/>
                    <a:gd name="connsiteY30" fmla="*/ 1507788 h 1507788"/>
                    <a:gd name="connsiteX31" fmla="*/ 1138136 w 2843567"/>
                    <a:gd name="connsiteY31" fmla="*/ 1488332 h 1507788"/>
                    <a:gd name="connsiteX32" fmla="*/ 1332690 w 2843567"/>
                    <a:gd name="connsiteY32" fmla="*/ 1468877 h 1507788"/>
                    <a:gd name="connsiteX33" fmla="*/ 1556426 w 2843567"/>
                    <a:gd name="connsiteY33" fmla="*/ 1410511 h 1507788"/>
                    <a:gd name="connsiteX34" fmla="*/ 1702341 w 2843567"/>
                    <a:gd name="connsiteY34" fmla="*/ 1371600 h 1507788"/>
                    <a:gd name="connsiteX35" fmla="*/ 1964988 w 2843567"/>
                    <a:gd name="connsiteY35" fmla="*/ 1352145 h 1507788"/>
                    <a:gd name="connsiteX36" fmla="*/ 2159541 w 2843567"/>
                    <a:gd name="connsiteY36" fmla="*/ 1303507 h 1507788"/>
                    <a:gd name="connsiteX37" fmla="*/ 2247090 w 2843567"/>
                    <a:gd name="connsiteY37" fmla="*/ 1254869 h 1507788"/>
                    <a:gd name="connsiteX38" fmla="*/ 2626468 w 2843567"/>
                    <a:gd name="connsiteY38" fmla="*/ 1245141 h 1507788"/>
                    <a:gd name="connsiteX39" fmla="*/ 2840477 w 2843567"/>
                    <a:gd name="connsiteY39" fmla="*/ 1342417 h 1507788"/>
                    <a:gd name="connsiteX0" fmla="*/ 2840477 w 2843567"/>
                    <a:gd name="connsiteY0" fmla="*/ 1342417 h 1507788"/>
                    <a:gd name="connsiteX1" fmla="*/ 2733473 w 2843567"/>
                    <a:gd name="connsiteY1" fmla="*/ 914400 h 1507788"/>
                    <a:gd name="connsiteX2" fmla="*/ 2548647 w 2843567"/>
                    <a:gd name="connsiteY2" fmla="*/ 603115 h 1507788"/>
                    <a:gd name="connsiteX3" fmla="*/ 2344366 w 2843567"/>
                    <a:gd name="connsiteY3" fmla="*/ 340469 h 1507788"/>
                    <a:gd name="connsiteX4" fmla="*/ 2279677 w 2843567"/>
                    <a:gd name="connsiteY4" fmla="*/ 261837 h 1507788"/>
                    <a:gd name="connsiteX5" fmla="*/ 1935805 w 2843567"/>
                    <a:gd name="connsiteY5" fmla="*/ 233464 h 1507788"/>
                    <a:gd name="connsiteX6" fmla="*/ 1819073 w 2843567"/>
                    <a:gd name="connsiteY6" fmla="*/ 155643 h 1507788"/>
                    <a:gd name="connsiteX7" fmla="*/ 1682885 w 2843567"/>
                    <a:gd name="connsiteY7" fmla="*/ 48639 h 1507788"/>
                    <a:gd name="connsiteX8" fmla="*/ 1605064 w 2843567"/>
                    <a:gd name="connsiteY8" fmla="*/ 0 h 1507788"/>
                    <a:gd name="connsiteX9" fmla="*/ 1342417 w 2843567"/>
                    <a:gd name="connsiteY9" fmla="*/ 29183 h 1507788"/>
                    <a:gd name="connsiteX10" fmla="*/ 914400 w 2843567"/>
                    <a:gd name="connsiteY10" fmla="*/ 175098 h 1507788"/>
                    <a:gd name="connsiteX11" fmla="*/ 554477 w 2843567"/>
                    <a:gd name="connsiteY11" fmla="*/ 340469 h 1507788"/>
                    <a:gd name="connsiteX12" fmla="*/ 165371 w 2843567"/>
                    <a:gd name="connsiteY12" fmla="*/ 554477 h 1507788"/>
                    <a:gd name="connsiteX13" fmla="*/ 116732 w 2843567"/>
                    <a:gd name="connsiteY13" fmla="*/ 671209 h 1507788"/>
                    <a:gd name="connsiteX14" fmla="*/ 145915 w 2843567"/>
                    <a:gd name="connsiteY14" fmla="*/ 739303 h 1507788"/>
                    <a:gd name="connsiteX15" fmla="*/ 223736 w 2843567"/>
                    <a:gd name="connsiteY15" fmla="*/ 787941 h 1507788"/>
                    <a:gd name="connsiteX16" fmla="*/ 77822 w 2843567"/>
                    <a:gd name="connsiteY16" fmla="*/ 817124 h 1507788"/>
                    <a:gd name="connsiteX17" fmla="*/ 9728 w 2843567"/>
                    <a:gd name="connsiteY17" fmla="*/ 865762 h 1507788"/>
                    <a:gd name="connsiteX18" fmla="*/ 0 w 2843567"/>
                    <a:gd name="connsiteY18" fmla="*/ 1001949 h 1507788"/>
                    <a:gd name="connsiteX19" fmla="*/ 48639 w 2843567"/>
                    <a:gd name="connsiteY19" fmla="*/ 1070043 h 1507788"/>
                    <a:gd name="connsiteX20" fmla="*/ 165371 w 2843567"/>
                    <a:gd name="connsiteY20" fmla="*/ 1079771 h 1507788"/>
                    <a:gd name="connsiteX21" fmla="*/ 262647 w 2843567"/>
                    <a:gd name="connsiteY21" fmla="*/ 1070043 h 1507788"/>
                    <a:gd name="connsiteX22" fmla="*/ 282102 w 2843567"/>
                    <a:gd name="connsiteY22" fmla="*/ 1177047 h 1507788"/>
                    <a:gd name="connsiteX23" fmla="*/ 321013 w 2843567"/>
                    <a:gd name="connsiteY23" fmla="*/ 1245141 h 1507788"/>
                    <a:gd name="connsiteX24" fmla="*/ 418290 w 2843567"/>
                    <a:gd name="connsiteY24" fmla="*/ 1264596 h 1507788"/>
                    <a:gd name="connsiteX25" fmla="*/ 544749 w 2843567"/>
                    <a:gd name="connsiteY25" fmla="*/ 1284052 h 1507788"/>
                    <a:gd name="connsiteX26" fmla="*/ 642026 w 2843567"/>
                    <a:gd name="connsiteY26" fmla="*/ 1274324 h 1507788"/>
                    <a:gd name="connsiteX27" fmla="*/ 642026 w 2843567"/>
                    <a:gd name="connsiteY27" fmla="*/ 1352145 h 1507788"/>
                    <a:gd name="connsiteX28" fmla="*/ 661481 w 2843567"/>
                    <a:gd name="connsiteY28" fmla="*/ 1449422 h 1507788"/>
                    <a:gd name="connsiteX29" fmla="*/ 739302 w 2843567"/>
                    <a:gd name="connsiteY29" fmla="*/ 1478605 h 1507788"/>
                    <a:gd name="connsiteX30" fmla="*/ 924128 w 2843567"/>
                    <a:gd name="connsiteY30" fmla="*/ 1507788 h 1507788"/>
                    <a:gd name="connsiteX31" fmla="*/ 1138136 w 2843567"/>
                    <a:gd name="connsiteY31" fmla="*/ 1488332 h 1507788"/>
                    <a:gd name="connsiteX32" fmla="*/ 1332690 w 2843567"/>
                    <a:gd name="connsiteY32" fmla="*/ 1468877 h 1507788"/>
                    <a:gd name="connsiteX33" fmla="*/ 1556426 w 2843567"/>
                    <a:gd name="connsiteY33" fmla="*/ 1410511 h 1507788"/>
                    <a:gd name="connsiteX34" fmla="*/ 1702341 w 2843567"/>
                    <a:gd name="connsiteY34" fmla="*/ 1371600 h 1507788"/>
                    <a:gd name="connsiteX35" fmla="*/ 1964988 w 2843567"/>
                    <a:gd name="connsiteY35" fmla="*/ 1352145 h 1507788"/>
                    <a:gd name="connsiteX36" fmla="*/ 2159541 w 2843567"/>
                    <a:gd name="connsiteY36" fmla="*/ 1303507 h 1507788"/>
                    <a:gd name="connsiteX37" fmla="*/ 2247090 w 2843567"/>
                    <a:gd name="connsiteY37" fmla="*/ 1254869 h 1507788"/>
                    <a:gd name="connsiteX38" fmla="*/ 2626468 w 2843567"/>
                    <a:gd name="connsiteY38" fmla="*/ 1245141 h 1507788"/>
                    <a:gd name="connsiteX39" fmla="*/ 2840477 w 2843567"/>
                    <a:gd name="connsiteY39" fmla="*/ 1342417 h 150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843567" h="1507788">
                      <a:moveTo>
                        <a:pt x="2840477" y="1342417"/>
                      </a:moveTo>
                      <a:lnTo>
                        <a:pt x="2733473" y="914400"/>
                      </a:lnTo>
                      <a:lnTo>
                        <a:pt x="2548647" y="603115"/>
                      </a:lnTo>
                      <a:lnTo>
                        <a:pt x="2344366" y="340469"/>
                      </a:lnTo>
                      <a:lnTo>
                        <a:pt x="2279677" y="261837"/>
                      </a:lnTo>
                      <a:cubicBezTo>
                        <a:pt x="2108595" y="281578"/>
                        <a:pt x="2019042" y="316710"/>
                        <a:pt x="1935805" y="233464"/>
                      </a:cubicBezTo>
                      <a:lnTo>
                        <a:pt x="1819073" y="155643"/>
                      </a:lnTo>
                      <a:lnTo>
                        <a:pt x="1682885" y="48639"/>
                      </a:lnTo>
                      <a:lnTo>
                        <a:pt x="1605064" y="0"/>
                      </a:lnTo>
                      <a:lnTo>
                        <a:pt x="1342417" y="29183"/>
                      </a:lnTo>
                      <a:lnTo>
                        <a:pt x="914400" y="175098"/>
                      </a:lnTo>
                      <a:lnTo>
                        <a:pt x="554477" y="340469"/>
                      </a:lnTo>
                      <a:cubicBezTo>
                        <a:pt x="172274" y="556070"/>
                        <a:pt x="320291" y="554477"/>
                        <a:pt x="165371" y="554477"/>
                      </a:cubicBezTo>
                      <a:lnTo>
                        <a:pt x="116732" y="671209"/>
                      </a:lnTo>
                      <a:lnTo>
                        <a:pt x="145915" y="739303"/>
                      </a:lnTo>
                      <a:lnTo>
                        <a:pt x="223736" y="787941"/>
                      </a:lnTo>
                      <a:lnTo>
                        <a:pt x="77822" y="817124"/>
                      </a:lnTo>
                      <a:cubicBezTo>
                        <a:pt x="16965" y="867838"/>
                        <a:pt x="44781" y="865762"/>
                        <a:pt x="9728" y="865762"/>
                      </a:cubicBezTo>
                      <a:lnTo>
                        <a:pt x="0" y="1001949"/>
                      </a:lnTo>
                      <a:lnTo>
                        <a:pt x="48639" y="1070043"/>
                      </a:lnTo>
                      <a:lnTo>
                        <a:pt x="165371" y="1079771"/>
                      </a:lnTo>
                      <a:lnTo>
                        <a:pt x="262647" y="1070043"/>
                      </a:lnTo>
                      <a:lnTo>
                        <a:pt x="282102" y="1177047"/>
                      </a:lnTo>
                      <a:lnTo>
                        <a:pt x="321013" y="1245141"/>
                      </a:lnTo>
                      <a:cubicBezTo>
                        <a:pt x="411727" y="1265299"/>
                        <a:pt x="378667" y="1264596"/>
                        <a:pt x="418290" y="1264596"/>
                      </a:cubicBezTo>
                      <a:lnTo>
                        <a:pt x="544749" y="1284052"/>
                      </a:lnTo>
                      <a:lnTo>
                        <a:pt x="642026" y="1274324"/>
                      </a:lnTo>
                      <a:lnTo>
                        <a:pt x="642026" y="1352145"/>
                      </a:lnTo>
                      <a:lnTo>
                        <a:pt x="661481" y="1449422"/>
                      </a:lnTo>
                      <a:lnTo>
                        <a:pt x="739302" y="1478605"/>
                      </a:lnTo>
                      <a:lnTo>
                        <a:pt x="924128" y="1507788"/>
                      </a:lnTo>
                      <a:lnTo>
                        <a:pt x="1138136" y="1488332"/>
                      </a:lnTo>
                      <a:lnTo>
                        <a:pt x="1332690" y="1468877"/>
                      </a:lnTo>
                      <a:lnTo>
                        <a:pt x="1556426" y="1410511"/>
                      </a:lnTo>
                      <a:lnTo>
                        <a:pt x="1702341" y="1371600"/>
                      </a:lnTo>
                      <a:lnTo>
                        <a:pt x="1964988" y="1352145"/>
                      </a:lnTo>
                      <a:lnTo>
                        <a:pt x="2159541" y="1303507"/>
                      </a:lnTo>
                      <a:lnTo>
                        <a:pt x="2247090" y="1254869"/>
                      </a:lnTo>
                      <a:lnTo>
                        <a:pt x="2626468" y="1245141"/>
                      </a:lnTo>
                      <a:cubicBezTo>
                        <a:pt x="2843567" y="1314217"/>
                        <a:pt x="2765617" y="1313234"/>
                        <a:pt x="2840477" y="134241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598" name="Freeform 209">
                  <a:extLst>
                    <a:ext uri="{FF2B5EF4-FFF2-40B4-BE49-F238E27FC236}">
                      <a16:creationId xmlns:a16="http://schemas.microsoft.com/office/drawing/2014/main" id="{A8DB0BCF-BD3F-42AF-A574-EEFCC338253D}"/>
                    </a:ext>
                  </a:extLst>
                </p:cNvPr>
                <p:cNvSpPr/>
                <p:nvPr/>
              </p:nvSpPr>
              <p:spPr>
                <a:xfrm>
                  <a:off x="2994660" y="12489180"/>
                  <a:ext cx="1173480" cy="480060"/>
                </a:xfrm>
                <a:custGeom>
                  <a:avLst/>
                  <a:gdLst>
                    <a:gd name="connsiteX0" fmla="*/ 0 w 1173480"/>
                    <a:gd name="connsiteY0" fmla="*/ 480060 h 480060"/>
                    <a:gd name="connsiteX1" fmla="*/ 243840 w 1173480"/>
                    <a:gd name="connsiteY1" fmla="*/ 426720 h 480060"/>
                    <a:gd name="connsiteX2" fmla="*/ 480060 w 1173480"/>
                    <a:gd name="connsiteY2" fmla="*/ 312420 h 480060"/>
                    <a:gd name="connsiteX3" fmla="*/ 769620 w 1173480"/>
                    <a:gd name="connsiteY3" fmla="*/ 190500 h 480060"/>
                    <a:gd name="connsiteX4" fmla="*/ 1074420 w 1173480"/>
                    <a:gd name="connsiteY4" fmla="*/ 68580 h 480060"/>
                    <a:gd name="connsiteX5" fmla="*/ 1173480 w 1173480"/>
                    <a:gd name="connsiteY5" fmla="*/ 0 h 480060"/>
                    <a:gd name="connsiteX6" fmla="*/ 1112520 w 1173480"/>
                    <a:gd name="connsiteY6" fmla="*/ 91440 h 480060"/>
                    <a:gd name="connsiteX7" fmla="*/ 739140 w 1173480"/>
                    <a:gd name="connsiteY7" fmla="*/ 228600 h 480060"/>
                    <a:gd name="connsiteX8" fmla="*/ 632460 w 1173480"/>
                    <a:gd name="connsiteY8" fmla="*/ 274320 h 480060"/>
                    <a:gd name="connsiteX9" fmla="*/ 259080 w 1173480"/>
                    <a:gd name="connsiteY9" fmla="*/ 441960 h 480060"/>
                    <a:gd name="connsiteX10" fmla="*/ 0 w 1173480"/>
                    <a:gd name="connsiteY10" fmla="*/ 480060 h 480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3480" h="480060">
                      <a:moveTo>
                        <a:pt x="0" y="480060"/>
                      </a:moveTo>
                      <a:lnTo>
                        <a:pt x="243840" y="426720"/>
                      </a:lnTo>
                      <a:lnTo>
                        <a:pt x="480060" y="312420"/>
                      </a:lnTo>
                      <a:lnTo>
                        <a:pt x="769620" y="190500"/>
                      </a:lnTo>
                      <a:lnTo>
                        <a:pt x="1074420" y="68580"/>
                      </a:lnTo>
                      <a:lnTo>
                        <a:pt x="1173480" y="0"/>
                      </a:lnTo>
                      <a:lnTo>
                        <a:pt x="1112520" y="91440"/>
                      </a:lnTo>
                      <a:lnTo>
                        <a:pt x="739140" y="228600"/>
                      </a:lnTo>
                      <a:lnTo>
                        <a:pt x="632460" y="274320"/>
                      </a:lnTo>
                      <a:lnTo>
                        <a:pt x="259080" y="441960"/>
                      </a:lnTo>
                      <a:lnTo>
                        <a:pt x="0" y="48006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599" name="Freeform 210">
                  <a:extLst>
                    <a:ext uri="{FF2B5EF4-FFF2-40B4-BE49-F238E27FC236}">
                      <a16:creationId xmlns:a16="http://schemas.microsoft.com/office/drawing/2014/main" id="{1FA46209-B50F-4903-AFCA-DA8B883F93BD}"/>
                    </a:ext>
                  </a:extLst>
                </p:cNvPr>
                <p:cNvSpPr/>
                <p:nvPr/>
              </p:nvSpPr>
              <p:spPr>
                <a:xfrm>
                  <a:off x="3037880" y="12885420"/>
                  <a:ext cx="1262876" cy="373829"/>
                </a:xfrm>
                <a:custGeom>
                  <a:avLst/>
                  <a:gdLst>
                    <a:gd name="connsiteX0" fmla="*/ 2500 w 1262876"/>
                    <a:gd name="connsiteY0" fmla="*/ 365760 h 373829"/>
                    <a:gd name="connsiteX1" fmla="*/ 330160 w 1262876"/>
                    <a:gd name="connsiteY1" fmla="*/ 304800 h 373829"/>
                    <a:gd name="connsiteX2" fmla="*/ 452080 w 1262876"/>
                    <a:gd name="connsiteY2" fmla="*/ 304800 h 373829"/>
                    <a:gd name="connsiteX3" fmla="*/ 794980 w 1262876"/>
                    <a:gd name="connsiteY3" fmla="*/ 190500 h 373829"/>
                    <a:gd name="connsiteX4" fmla="*/ 1061680 w 1262876"/>
                    <a:gd name="connsiteY4" fmla="*/ 106680 h 373829"/>
                    <a:gd name="connsiteX5" fmla="*/ 1229320 w 1262876"/>
                    <a:gd name="connsiteY5" fmla="*/ 0 h 373829"/>
                    <a:gd name="connsiteX6" fmla="*/ 1229320 w 1262876"/>
                    <a:gd name="connsiteY6" fmla="*/ 0 h 373829"/>
                    <a:gd name="connsiteX7" fmla="*/ 1198840 w 1262876"/>
                    <a:gd name="connsiteY7" fmla="*/ 68580 h 373829"/>
                    <a:gd name="connsiteX8" fmla="*/ 1236940 w 1262876"/>
                    <a:gd name="connsiteY8" fmla="*/ 99060 h 373829"/>
                    <a:gd name="connsiteX9" fmla="*/ 1107400 w 1262876"/>
                    <a:gd name="connsiteY9" fmla="*/ 114300 h 373829"/>
                    <a:gd name="connsiteX10" fmla="*/ 894040 w 1262876"/>
                    <a:gd name="connsiteY10" fmla="*/ 182880 h 373829"/>
                    <a:gd name="connsiteX11" fmla="*/ 459700 w 1262876"/>
                    <a:gd name="connsiteY11" fmla="*/ 335280 h 373829"/>
                    <a:gd name="connsiteX12" fmla="*/ 467320 w 1262876"/>
                    <a:gd name="connsiteY12" fmla="*/ 335280 h 373829"/>
                    <a:gd name="connsiteX13" fmla="*/ 307300 w 1262876"/>
                    <a:gd name="connsiteY13" fmla="*/ 320040 h 373829"/>
                    <a:gd name="connsiteX14" fmla="*/ 2500 w 1262876"/>
                    <a:gd name="connsiteY14" fmla="*/ 373380 h 373829"/>
                    <a:gd name="connsiteX15" fmla="*/ 2500 w 1262876"/>
                    <a:gd name="connsiteY15" fmla="*/ 365760 h 37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62876" h="373829">
                      <a:moveTo>
                        <a:pt x="2500" y="365760"/>
                      </a:moveTo>
                      <a:lnTo>
                        <a:pt x="330160" y="304800"/>
                      </a:lnTo>
                      <a:lnTo>
                        <a:pt x="452080" y="304800"/>
                      </a:lnTo>
                      <a:lnTo>
                        <a:pt x="794980" y="190500"/>
                      </a:lnTo>
                      <a:lnTo>
                        <a:pt x="1061680" y="106680"/>
                      </a:lnTo>
                      <a:lnTo>
                        <a:pt x="1229320" y="0"/>
                      </a:lnTo>
                      <a:lnTo>
                        <a:pt x="1229320" y="0"/>
                      </a:lnTo>
                      <a:lnTo>
                        <a:pt x="1198840" y="68580"/>
                      </a:lnTo>
                      <a:cubicBezTo>
                        <a:pt x="1246673" y="100469"/>
                        <a:pt x="1262876" y="99060"/>
                        <a:pt x="1236940" y="99060"/>
                      </a:cubicBezTo>
                      <a:cubicBezTo>
                        <a:pt x="1112500" y="114615"/>
                        <a:pt x="1155976" y="114300"/>
                        <a:pt x="1107400" y="114300"/>
                      </a:cubicBezTo>
                      <a:lnTo>
                        <a:pt x="894040" y="182880"/>
                      </a:lnTo>
                      <a:lnTo>
                        <a:pt x="459700" y="335280"/>
                      </a:lnTo>
                      <a:cubicBezTo>
                        <a:pt x="457308" y="336134"/>
                        <a:pt x="464780" y="335280"/>
                        <a:pt x="467320" y="335280"/>
                      </a:cubicBezTo>
                      <a:lnTo>
                        <a:pt x="307300" y="320040"/>
                      </a:lnTo>
                      <a:lnTo>
                        <a:pt x="2500" y="373380"/>
                      </a:lnTo>
                      <a:cubicBezTo>
                        <a:pt x="0" y="373829"/>
                        <a:pt x="7580" y="373380"/>
                        <a:pt x="2500" y="36576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00" name="Freeform 211">
                  <a:extLst>
                    <a:ext uri="{FF2B5EF4-FFF2-40B4-BE49-F238E27FC236}">
                      <a16:creationId xmlns:a16="http://schemas.microsoft.com/office/drawing/2014/main" id="{71CEA619-C0E8-4515-9B29-196301FF8FAD}"/>
                    </a:ext>
                  </a:extLst>
                </p:cNvPr>
                <p:cNvSpPr/>
                <p:nvPr/>
              </p:nvSpPr>
              <p:spPr>
                <a:xfrm>
                  <a:off x="3429000" y="13281660"/>
                  <a:ext cx="944880" cy="198120"/>
                </a:xfrm>
                <a:custGeom>
                  <a:avLst/>
                  <a:gdLst>
                    <a:gd name="connsiteX0" fmla="*/ 0 w 944880"/>
                    <a:gd name="connsiteY0" fmla="*/ 198120 h 198120"/>
                    <a:gd name="connsiteX1" fmla="*/ 381000 w 944880"/>
                    <a:gd name="connsiteY1" fmla="*/ 175260 h 198120"/>
                    <a:gd name="connsiteX2" fmla="*/ 655320 w 944880"/>
                    <a:gd name="connsiteY2" fmla="*/ 76200 h 198120"/>
                    <a:gd name="connsiteX3" fmla="*/ 868680 w 944880"/>
                    <a:gd name="connsiteY3" fmla="*/ 7620 h 198120"/>
                    <a:gd name="connsiteX4" fmla="*/ 944880 w 944880"/>
                    <a:gd name="connsiteY4" fmla="*/ 0 h 198120"/>
                    <a:gd name="connsiteX5" fmla="*/ 822960 w 944880"/>
                    <a:gd name="connsiteY5" fmla="*/ 53340 h 198120"/>
                    <a:gd name="connsiteX6" fmla="*/ 480060 w 944880"/>
                    <a:gd name="connsiteY6" fmla="*/ 160020 h 198120"/>
                    <a:gd name="connsiteX7" fmla="*/ 335280 w 944880"/>
                    <a:gd name="connsiteY7" fmla="*/ 190500 h 198120"/>
                    <a:gd name="connsiteX8" fmla="*/ 0 w 944880"/>
                    <a:gd name="connsiteY8" fmla="*/ 198120 h 198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4880" h="198120">
                      <a:moveTo>
                        <a:pt x="0" y="198120"/>
                      </a:moveTo>
                      <a:lnTo>
                        <a:pt x="381000" y="175260"/>
                      </a:lnTo>
                      <a:lnTo>
                        <a:pt x="655320" y="76200"/>
                      </a:lnTo>
                      <a:lnTo>
                        <a:pt x="868680" y="7620"/>
                      </a:lnTo>
                      <a:lnTo>
                        <a:pt x="944880" y="0"/>
                      </a:lnTo>
                      <a:lnTo>
                        <a:pt x="822960" y="53340"/>
                      </a:lnTo>
                      <a:lnTo>
                        <a:pt x="480060" y="160020"/>
                      </a:lnTo>
                      <a:lnTo>
                        <a:pt x="335280" y="190500"/>
                      </a:lnTo>
                      <a:lnTo>
                        <a:pt x="0" y="19812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601" name="Freeform 212">
                  <a:extLst>
                    <a:ext uri="{FF2B5EF4-FFF2-40B4-BE49-F238E27FC236}">
                      <a16:creationId xmlns:a16="http://schemas.microsoft.com/office/drawing/2014/main" id="{51A1B8FA-2D78-4F8A-93C5-6A2193D7C029}"/>
                    </a:ext>
                  </a:extLst>
                </p:cNvPr>
                <p:cNvSpPr/>
                <p:nvPr/>
              </p:nvSpPr>
              <p:spPr>
                <a:xfrm>
                  <a:off x="4389120" y="12275820"/>
                  <a:ext cx="1202020" cy="1240120"/>
                </a:xfrm>
                <a:custGeom>
                  <a:avLst/>
                  <a:gdLst>
                    <a:gd name="connsiteX0" fmla="*/ 0 w 1202020"/>
                    <a:gd name="connsiteY0" fmla="*/ 0 h 1240120"/>
                    <a:gd name="connsiteX1" fmla="*/ 0 w 1202020"/>
                    <a:gd name="connsiteY1" fmla="*/ 190500 h 1240120"/>
                    <a:gd name="connsiteX2" fmla="*/ 91440 w 1202020"/>
                    <a:gd name="connsiteY2" fmla="*/ 403860 h 1240120"/>
                    <a:gd name="connsiteX3" fmla="*/ 137160 w 1202020"/>
                    <a:gd name="connsiteY3" fmla="*/ 586740 h 1240120"/>
                    <a:gd name="connsiteX4" fmla="*/ 137160 w 1202020"/>
                    <a:gd name="connsiteY4" fmla="*/ 655320 h 1240120"/>
                    <a:gd name="connsiteX5" fmla="*/ 220980 w 1202020"/>
                    <a:gd name="connsiteY5" fmla="*/ 830580 h 1240120"/>
                    <a:gd name="connsiteX6" fmla="*/ 220980 w 1202020"/>
                    <a:gd name="connsiteY6" fmla="*/ 1036320 h 1240120"/>
                    <a:gd name="connsiteX7" fmla="*/ 358140 w 1202020"/>
                    <a:gd name="connsiteY7" fmla="*/ 1173480 h 1240120"/>
                    <a:gd name="connsiteX8" fmla="*/ 609600 w 1202020"/>
                    <a:gd name="connsiteY8" fmla="*/ 1120140 h 1240120"/>
                    <a:gd name="connsiteX9" fmla="*/ 830580 w 1202020"/>
                    <a:gd name="connsiteY9" fmla="*/ 1104900 h 1240120"/>
                    <a:gd name="connsiteX10" fmla="*/ 1104900 w 1202020"/>
                    <a:gd name="connsiteY10" fmla="*/ 1127760 h 1240120"/>
                    <a:gd name="connsiteX11" fmla="*/ 1196340 w 1202020"/>
                    <a:gd name="connsiteY11" fmla="*/ 1234440 h 1240120"/>
                    <a:gd name="connsiteX12" fmla="*/ 1188720 w 1202020"/>
                    <a:gd name="connsiteY12" fmla="*/ 1211580 h 1240120"/>
                    <a:gd name="connsiteX13" fmla="*/ 1104900 w 1202020"/>
                    <a:gd name="connsiteY13" fmla="*/ 822960 h 1240120"/>
                    <a:gd name="connsiteX14" fmla="*/ 960120 w 1202020"/>
                    <a:gd name="connsiteY14" fmla="*/ 990600 h 1240120"/>
                    <a:gd name="connsiteX15" fmla="*/ 708660 w 1202020"/>
                    <a:gd name="connsiteY15" fmla="*/ 990600 h 1240120"/>
                    <a:gd name="connsiteX16" fmla="*/ 640080 w 1202020"/>
                    <a:gd name="connsiteY16" fmla="*/ 815340 h 1240120"/>
                    <a:gd name="connsiteX17" fmla="*/ 472440 w 1202020"/>
                    <a:gd name="connsiteY17" fmla="*/ 594360 h 1240120"/>
                    <a:gd name="connsiteX18" fmla="*/ 304800 w 1202020"/>
                    <a:gd name="connsiteY18" fmla="*/ 182880 h 1240120"/>
                    <a:gd name="connsiteX19" fmla="*/ 0 w 1202020"/>
                    <a:gd name="connsiteY19" fmla="*/ 0 h 1240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02020" h="1240120">
                      <a:moveTo>
                        <a:pt x="0" y="0"/>
                      </a:moveTo>
                      <a:lnTo>
                        <a:pt x="0" y="190500"/>
                      </a:lnTo>
                      <a:lnTo>
                        <a:pt x="91440" y="403860"/>
                      </a:lnTo>
                      <a:lnTo>
                        <a:pt x="137160" y="586740"/>
                      </a:lnTo>
                      <a:lnTo>
                        <a:pt x="137160" y="655320"/>
                      </a:lnTo>
                      <a:lnTo>
                        <a:pt x="220980" y="830580"/>
                      </a:lnTo>
                      <a:cubicBezTo>
                        <a:pt x="213266" y="1038858"/>
                        <a:pt x="144733" y="1036320"/>
                        <a:pt x="220980" y="1036320"/>
                      </a:cubicBezTo>
                      <a:lnTo>
                        <a:pt x="358140" y="1173480"/>
                      </a:lnTo>
                      <a:lnTo>
                        <a:pt x="609600" y="1120140"/>
                      </a:lnTo>
                      <a:lnTo>
                        <a:pt x="830580" y="1104900"/>
                      </a:lnTo>
                      <a:lnTo>
                        <a:pt x="1104900" y="1127760"/>
                      </a:lnTo>
                      <a:cubicBezTo>
                        <a:pt x="1135380" y="1163320"/>
                        <a:pt x="1163222" y="1201322"/>
                        <a:pt x="1196340" y="1234440"/>
                      </a:cubicBezTo>
                      <a:cubicBezTo>
                        <a:pt x="1202020" y="1240120"/>
                        <a:pt x="1188720" y="1211580"/>
                        <a:pt x="1188720" y="1211580"/>
                      </a:cubicBezTo>
                      <a:lnTo>
                        <a:pt x="1104900" y="822960"/>
                      </a:lnTo>
                      <a:cubicBezTo>
                        <a:pt x="965402" y="985707"/>
                        <a:pt x="1017416" y="933304"/>
                        <a:pt x="960120" y="990600"/>
                      </a:cubicBezTo>
                      <a:cubicBezTo>
                        <a:pt x="706121" y="998297"/>
                        <a:pt x="708660" y="1082078"/>
                        <a:pt x="708660" y="990600"/>
                      </a:cubicBezTo>
                      <a:lnTo>
                        <a:pt x="640080" y="815340"/>
                      </a:lnTo>
                      <a:lnTo>
                        <a:pt x="472440" y="594360"/>
                      </a:lnTo>
                      <a:lnTo>
                        <a:pt x="304800" y="182880"/>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588" name="Group 148">
                <a:extLst>
                  <a:ext uri="{FF2B5EF4-FFF2-40B4-BE49-F238E27FC236}">
                    <a16:creationId xmlns:a16="http://schemas.microsoft.com/office/drawing/2014/main" id="{FDC0A6B8-F3D8-439F-9090-05DC87EA9FC0}"/>
                  </a:ext>
                </a:extLst>
              </p:cNvPr>
              <p:cNvGrpSpPr/>
              <p:nvPr/>
            </p:nvGrpSpPr>
            <p:grpSpPr>
              <a:xfrm>
                <a:off x="3801902" y="2217113"/>
                <a:ext cx="326514" cy="298597"/>
                <a:chOff x="-990600" y="-738187"/>
                <a:chExt cx="1719736" cy="1572700"/>
              </a:xfrm>
              <a:grpFill/>
            </p:grpSpPr>
            <p:sp>
              <p:nvSpPr>
                <p:cNvPr id="592" name="Freeform 203">
                  <a:extLst>
                    <a:ext uri="{FF2B5EF4-FFF2-40B4-BE49-F238E27FC236}">
                      <a16:creationId xmlns:a16="http://schemas.microsoft.com/office/drawing/2014/main" id="{2DC55255-9850-494D-8D7C-522B4AE6EB7D}"/>
                    </a:ext>
                  </a:extLst>
                </p:cNvPr>
                <p:cNvSpPr/>
                <p:nvPr/>
              </p:nvSpPr>
              <p:spPr>
                <a:xfrm>
                  <a:off x="-990600" y="-738187"/>
                  <a:ext cx="1719736" cy="1383796"/>
                </a:xfrm>
                <a:custGeom>
                  <a:avLst/>
                  <a:gdLst>
                    <a:gd name="connsiteX0" fmla="*/ 100012 w 1719736"/>
                    <a:gd name="connsiteY0" fmla="*/ 190500 h 1383796"/>
                    <a:gd name="connsiteX1" fmla="*/ 123825 w 1719736"/>
                    <a:gd name="connsiteY1" fmla="*/ 114300 h 1383796"/>
                    <a:gd name="connsiteX2" fmla="*/ 197644 w 1719736"/>
                    <a:gd name="connsiteY2" fmla="*/ 59531 h 1383796"/>
                    <a:gd name="connsiteX3" fmla="*/ 330994 w 1719736"/>
                    <a:gd name="connsiteY3" fmla="*/ 2381 h 1383796"/>
                    <a:gd name="connsiteX4" fmla="*/ 478631 w 1719736"/>
                    <a:gd name="connsiteY4" fmla="*/ 0 h 1383796"/>
                    <a:gd name="connsiteX5" fmla="*/ 633412 w 1719736"/>
                    <a:gd name="connsiteY5" fmla="*/ 54768 h 1383796"/>
                    <a:gd name="connsiteX6" fmla="*/ 831056 w 1719736"/>
                    <a:gd name="connsiteY6" fmla="*/ 145256 h 1383796"/>
                    <a:gd name="connsiteX7" fmla="*/ 1012031 w 1719736"/>
                    <a:gd name="connsiteY7" fmla="*/ 209550 h 1383796"/>
                    <a:gd name="connsiteX8" fmla="*/ 1207294 w 1719736"/>
                    <a:gd name="connsiteY8" fmla="*/ 292893 h 1383796"/>
                    <a:gd name="connsiteX9" fmla="*/ 1283494 w 1719736"/>
                    <a:gd name="connsiteY9" fmla="*/ 354806 h 1383796"/>
                    <a:gd name="connsiteX10" fmla="*/ 1278731 w 1719736"/>
                    <a:gd name="connsiteY10" fmla="*/ 416718 h 1383796"/>
                    <a:gd name="connsiteX11" fmla="*/ 1235869 w 1719736"/>
                    <a:gd name="connsiteY11" fmla="*/ 495300 h 1383796"/>
                    <a:gd name="connsiteX12" fmla="*/ 1181100 w 1719736"/>
                    <a:gd name="connsiteY12" fmla="*/ 531018 h 1383796"/>
                    <a:gd name="connsiteX13" fmla="*/ 1271588 w 1719736"/>
                    <a:gd name="connsiteY13" fmla="*/ 554831 h 1383796"/>
                    <a:gd name="connsiteX14" fmla="*/ 1402556 w 1719736"/>
                    <a:gd name="connsiteY14" fmla="*/ 578643 h 1383796"/>
                    <a:gd name="connsiteX15" fmla="*/ 1554956 w 1719736"/>
                    <a:gd name="connsiteY15" fmla="*/ 595312 h 1383796"/>
                    <a:gd name="connsiteX16" fmla="*/ 1664494 w 1719736"/>
                    <a:gd name="connsiteY16" fmla="*/ 616743 h 1383796"/>
                    <a:gd name="connsiteX17" fmla="*/ 1719263 w 1719736"/>
                    <a:gd name="connsiteY17" fmla="*/ 692943 h 1383796"/>
                    <a:gd name="connsiteX18" fmla="*/ 1714500 w 1719736"/>
                    <a:gd name="connsiteY18" fmla="*/ 785812 h 1383796"/>
                    <a:gd name="connsiteX19" fmla="*/ 1650206 w 1719736"/>
                    <a:gd name="connsiteY19" fmla="*/ 864393 h 1383796"/>
                    <a:gd name="connsiteX20" fmla="*/ 1604963 w 1719736"/>
                    <a:gd name="connsiteY20" fmla="*/ 888206 h 1383796"/>
                    <a:gd name="connsiteX21" fmla="*/ 1609725 w 1719736"/>
                    <a:gd name="connsiteY21" fmla="*/ 964406 h 1383796"/>
                    <a:gd name="connsiteX22" fmla="*/ 1578769 w 1719736"/>
                    <a:gd name="connsiteY22" fmla="*/ 1023937 h 1383796"/>
                    <a:gd name="connsiteX23" fmla="*/ 1507331 w 1719736"/>
                    <a:gd name="connsiteY23" fmla="*/ 1042987 h 1383796"/>
                    <a:gd name="connsiteX24" fmla="*/ 1481138 w 1719736"/>
                    <a:gd name="connsiteY24" fmla="*/ 1052512 h 1383796"/>
                    <a:gd name="connsiteX25" fmla="*/ 1485900 w 1719736"/>
                    <a:gd name="connsiteY25" fmla="*/ 1112043 h 1383796"/>
                    <a:gd name="connsiteX26" fmla="*/ 1462088 w 1719736"/>
                    <a:gd name="connsiteY26" fmla="*/ 1164431 h 1383796"/>
                    <a:gd name="connsiteX27" fmla="*/ 1340644 w 1719736"/>
                    <a:gd name="connsiteY27" fmla="*/ 1254918 h 1383796"/>
                    <a:gd name="connsiteX28" fmla="*/ 1150144 w 1719736"/>
                    <a:gd name="connsiteY28" fmla="*/ 1300162 h 1383796"/>
                    <a:gd name="connsiteX29" fmla="*/ 1028700 w 1719736"/>
                    <a:gd name="connsiteY29" fmla="*/ 1312068 h 1383796"/>
                    <a:gd name="connsiteX30" fmla="*/ 847725 w 1719736"/>
                    <a:gd name="connsiteY30" fmla="*/ 1378743 h 1383796"/>
                    <a:gd name="connsiteX31" fmla="*/ 661987 w 1719736"/>
                    <a:gd name="connsiteY31" fmla="*/ 1366837 h 1383796"/>
                    <a:gd name="connsiteX32" fmla="*/ 519112 w 1719736"/>
                    <a:gd name="connsiteY32" fmla="*/ 1383506 h 1383796"/>
                    <a:gd name="connsiteX33" fmla="*/ 357187 w 1719736"/>
                    <a:gd name="connsiteY33" fmla="*/ 1352550 h 1383796"/>
                    <a:gd name="connsiteX34" fmla="*/ 261937 w 1719736"/>
                    <a:gd name="connsiteY34" fmla="*/ 1316831 h 1383796"/>
                    <a:gd name="connsiteX35" fmla="*/ 195262 w 1719736"/>
                    <a:gd name="connsiteY35" fmla="*/ 1243012 h 1383796"/>
                    <a:gd name="connsiteX36" fmla="*/ 173831 w 1719736"/>
                    <a:gd name="connsiteY36" fmla="*/ 1178718 h 1383796"/>
                    <a:gd name="connsiteX37" fmla="*/ 185737 w 1719736"/>
                    <a:gd name="connsiteY37" fmla="*/ 1100137 h 1383796"/>
                    <a:gd name="connsiteX38" fmla="*/ 157162 w 1719736"/>
                    <a:gd name="connsiteY38" fmla="*/ 1047750 h 1383796"/>
                    <a:gd name="connsiteX39" fmla="*/ 92869 w 1719736"/>
                    <a:gd name="connsiteY39" fmla="*/ 969168 h 1383796"/>
                    <a:gd name="connsiteX40" fmla="*/ 64294 w 1719736"/>
                    <a:gd name="connsiteY40" fmla="*/ 904875 h 1383796"/>
                    <a:gd name="connsiteX41" fmla="*/ 85725 w 1719736"/>
                    <a:gd name="connsiteY41" fmla="*/ 831056 h 1383796"/>
                    <a:gd name="connsiteX42" fmla="*/ 116681 w 1719736"/>
                    <a:gd name="connsiteY42" fmla="*/ 778668 h 1383796"/>
                    <a:gd name="connsiteX43" fmla="*/ 80962 w 1719736"/>
                    <a:gd name="connsiteY43" fmla="*/ 733425 h 1383796"/>
                    <a:gd name="connsiteX44" fmla="*/ 33337 w 1719736"/>
                    <a:gd name="connsiteY44" fmla="*/ 683418 h 1383796"/>
                    <a:gd name="connsiteX45" fmla="*/ 0 w 1719736"/>
                    <a:gd name="connsiteY45" fmla="*/ 619125 h 1383796"/>
                    <a:gd name="connsiteX46" fmla="*/ 2381 w 1719736"/>
                    <a:gd name="connsiteY46" fmla="*/ 554831 h 1383796"/>
                    <a:gd name="connsiteX47" fmla="*/ 40481 w 1719736"/>
                    <a:gd name="connsiteY47" fmla="*/ 502443 h 1383796"/>
                    <a:gd name="connsiteX48" fmla="*/ 102394 w 1719736"/>
                    <a:gd name="connsiteY48" fmla="*/ 452437 h 1383796"/>
                    <a:gd name="connsiteX49" fmla="*/ 133350 w 1719736"/>
                    <a:gd name="connsiteY49" fmla="*/ 385762 h 1383796"/>
                    <a:gd name="connsiteX50" fmla="*/ 126206 w 1719736"/>
                    <a:gd name="connsiteY50" fmla="*/ 304800 h 1383796"/>
                    <a:gd name="connsiteX51" fmla="*/ 100012 w 1719736"/>
                    <a:gd name="connsiteY51" fmla="*/ 190500 h 1383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719736" h="1383796">
                      <a:moveTo>
                        <a:pt x="100012" y="190500"/>
                      </a:moveTo>
                      <a:lnTo>
                        <a:pt x="123825" y="114300"/>
                      </a:lnTo>
                      <a:lnTo>
                        <a:pt x="197644" y="59531"/>
                      </a:lnTo>
                      <a:lnTo>
                        <a:pt x="330994" y="2381"/>
                      </a:lnTo>
                      <a:lnTo>
                        <a:pt x="478631" y="0"/>
                      </a:lnTo>
                      <a:lnTo>
                        <a:pt x="633412" y="54768"/>
                      </a:lnTo>
                      <a:lnTo>
                        <a:pt x="831056" y="145256"/>
                      </a:lnTo>
                      <a:lnTo>
                        <a:pt x="1012031" y="209550"/>
                      </a:lnTo>
                      <a:lnTo>
                        <a:pt x="1207294" y="292893"/>
                      </a:lnTo>
                      <a:cubicBezTo>
                        <a:pt x="1284764" y="350996"/>
                        <a:pt x="1283494" y="318293"/>
                        <a:pt x="1283494" y="354806"/>
                      </a:cubicBezTo>
                      <a:cubicBezTo>
                        <a:pt x="1278599" y="413538"/>
                        <a:pt x="1278731" y="392840"/>
                        <a:pt x="1278731" y="416718"/>
                      </a:cubicBezTo>
                      <a:lnTo>
                        <a:pt x="1235869" y="495300"/>
                      </a:lnTo>
                      <a:cubicBezTo>
                        <a:pt x="1179718" y="527037"/>
                        <a:pt x="1181100" y="505285"/>
                        <a:pt x="1181100" y="531018"/>
                      </a:cubicBezTo>
                      <a:lnTo>
                        <a:pt x="1271588" y="554831"/>
                      </a:lnTo>
                      <a:lnTo>
                        <a:pt x="1402556" y="578643"/>
                      </a:lnTo>
                      <a:lnTo>
                        <a:pt x="1554956" y="595312"/>
                      </a:lnTo>
                      <a:lnTo>
                        <a:pt x="1664494" y="616743"/>
                      </a:lnTo>
                      <a:cubicBezTo>
                        <a:pt x="1719736" y="691199"/>
                        <a:pt x="1719263" y="659923"/>
                        <a:pt x="1719263" y="692943"/>
                      </a:cubicBezTo>
                      <a:cubicBezTo>
                        <a:pt x="1714414" y="782635"/>
                        <a:pt x="1714500" y="751638"/>
                        <a:pt x="1714500" y="785812"/>
                      </a:cubicBezTo>
                      <a:lnTo>
                        <a:pt x="1650206" y="864393"/>
                      </a:lnTo>
                      <a:lnTo>
                        <a:pt x="1604963" y="888206"/>
                      </a:lnTo>
                      <a:lnTo>
                        <a:pt x="1609725" y="964406"/>
                      </a:lnTo>
                      <a:lnTo>
                        <a:pt x="1578769" y="1023937"/>
                      </a:lnTo>
                      <a:lnTo>
                        <a:pt x="1507331" y="1042987"/>
                      </a:lnTo>
                      <a:lnTo>
                        <a:pt x="1481138" y="1052512"/>
                      </a:lnTo>
                      <a:lnTo>
                        <a:pt x="1485900" y="1112043"/>
                      </a:lnTo>
                      <a:lnTo>
                        <a:pt x="1462088" y="1164431"/>
                      </a:lnTo>
                      <a:cubicBezTo>
                        <a:pt x="1421895" y="1194977"/>
                        <a:pt x="1391127" y="1254918"/>
                        <a:pt x="1340644" y="1254918"/>
                      </a:cubicBezTo>
                      <a:lnTo>
                        <a:pt x="1150144" y="1300162"/>
                      </a:lnTo>
                      <a:lnTo>
                        <a:pt x="1028700" y="1312068"/>
                      </a:lnTo>
                      <a:lnTo>
                        <a:pt x="847725" y="1378743"/>
                      </a:lnTo>
                      <a:lnTo>
                        <a:pt x="661987" y="1366837"/>
                      </a:lnTo>
                      <a:cubicBezTo>
                        <a:pt x="523892" y="1383796"/>
                        <a:pt x="571840" y="1383506"/>
                        <a:pt x="519112" y="1383506"/>
                      </a:cubicBezTo>
                      <a:cubicBezTo>
                        <a:pt x="360392" y="1352243"/>
                        <a:pt x="415344" y="1352550"/>
                        <a:pt x="357187" y="1352550"/>
                      </a:cubicBezTo>
                      <a:cubicBezTo>
                        <a:pt x="265034" y="1318598"/>
                        <a:pt x="295452" y="1333585"/>
                        <a:pt x="261937" y="1316831"/>
                      </a:cubicBezTo>
                      <a:lnTo>
                        <a:pt x="195262" y="1243012"/>
                      </a:lnTo>
                      <a:lnTo>
                        <a:pt x="173831" y="1178718"/>
                      </a:lnTo>
                      <a:lnTo>
                        <a:pt x="185737" y="1100137"/>
                      </a:lnTo>
                      <a:lnTo>
                        <a:pt x="157162" y="1047750"/>
                      </a:lnTo>
                      <a:lnTo>
                        <a:pt x="92869" y="969168"/>
                      </a:lnTo>
                      <a:lnTo>
                        <a:pt x="64294" y="904875"/>
                      </a:lnTo>
                      <a:cubicBezTo>
                        <a:pt x="86195" y="834302"/>
                        <a:pt x="85725" y="859920"/>
                        <a:pt x="85725" y="831056"/>
                      </a:cubicBezTo>
                      <a:lnTo>
                        <a:pt x="116681" y="778668"/>
                      </a:lnTo>
                      <a:lnTo>
                        <a:pt x="80962" y="733425"/>
                      </a:lnTo>
                      <a:lnTo>
                        <a:pt x="33337" y="683418"/>
                      </a:lnTo>
                      <a:lnTo>
                        <a:pt x="0" y="619125"/>
                      </a:lnTo>
                      <a:cubicBezTo>
                        <a:pt x="824" y="597695"/>
                        <a:pt x="2381" y="576277"/>
                        <a:pt x="2381" y="554831"/>
                      </a:cubicBezTo>
                      <a:lnTo>
                        <a:pt x="40481" y="502443"/>
                      </a:lnTo>
                      <a:lnTo>
                        <a:pt x="102394" y="452437"/>
                      </a:lnTo>
                      <a:lnTo>
                        <a:pt x="133350" y="385762"/>
                      </a:lnTo>
                      <a:lnTo>
                        <a:pt x="126206" y="304800"/>
                      </a:lnTo>
                      <a:lnTo>
                        <a:pt x="100012" y="1905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593" name="Freeform 204">
                  <a:extLst>
                    <a:ext uri="{FF2B5EF4-FFF2-40B4-BE49-F238E27FC236}">
                      <a16:creationId xmlns:a16="http://schemas.microsoft.com/office/drawing/2014/main" id="{442EC85E-D6B9-4C04-969C-3F52620C4173}"/>
                    </a:ext>
                  </a:extLst>
                </p:cNvPr>
                <p:cNvSpPr/>
                <p:nvPr/>
              </p:nvSpPr>
              <p:spPr>
                <a:xfrm>
                  <a:off x="-573881" y="-438150"/>
                  <a:ext cx="759619" cy="216694"/>
                </a:xfrm>
                <a:custGeom>
                  <a:avLst/>
                  <a:gdLst>
                    <a:gd name="connsiteX0" fmla="*/ 759619 w 759619"/>
                    <a:gd name="connsiteY0" fmla="*/ 216694 h 216694"/>
                    <a:gd name="connsiteX1" fmla="*/ 581025 w 759619"/>
                    <a:gd name="connsiteY1" fmla="*/ 171450 h 216694"/>
                    <a:gd name="connsiteX2" fmla="*/ 378618 w 759619"/>
                    <a:gd name="connsiteY2" fmla="*/ 100013 h 216694"/>
                    <a:gd name="connsiteX3" fmla="*/ 195262 w 759619"/>
                    <a:gd name="connsiteY3" fmla="*/ 38100 h 216694"/>
                    <a:gd name="connsiteX4" fmla="*/ 0 w 759619"/>
                    <a:gd name="connsiteY4" fmla="*/ 0 h 216694"/>
                    <a:gd name="connsiteX5" fmla="*/ 45243 w 759619"/>
                    <a:gd name="connsiteY5" fmla="*/ 23813 h 216694"/>
                    <a:gd name="connsiteX6" fmla="*/ 138112 w 759619"/>
                    <a:gd name="connsiteY6" fmla="*/ 47625 h 216694"/>
                    <a:gd name="connsiteX7" fmla="*/ 240506 w 759619"/>
                    <a:gd name="connsiteY7" fmla="*/ 61913 h 216694"/>
                    <a:gd name="connsiteX8" fmla="*/ 421481 w 759619"/>
                    <a:gd name="connsiteY8" fmla="*/ 138113 h 216694"/>
                    <a:gd name="connsiteX9" fmla="*/ 642937 w 759619"/>
                    <a:gd name="connsiteY9" fmla="*/ 202406 h 216694"/>
                    <a:gd name="connsiteX10" fmla="*/ 759619 w 759619"/>
                    <a:gd name="connsiteY10" fmla="*/ 216694 h 216694"/>
                    <a:gd name="connsiteX0" fmla="*/ 759619 w 759619"/>
                    <a:gd name="connsiteY0" fmla="*/ 216694 h 216694"/>
                    <a:gd name="connsiteX1" fmla="*/ 581025 w 759619"/>
                    <a:gd name="connsiteY1" fmla="*/ 171450 h 216694"/>
                    <a:gd name="connsiteX2" fmla="*/ 378618 w 759619"/>
                    <a:gd name="connsiteY2" fmla="*/ 100013 h 216694"/>
                    <a:gd name="connsiteX3" fmla="*/ 195262 w 759619"/>
                    <a:gd name="connsiteY3" fmla="*/ 38100 h 216694"/>
                    <a:gd name="connsiteX4" fmla="*/ 0 w 759619"/>
                    <a:gd name="connsiteY4" fmla="*/ 0 h 216694"/>
                    <a:gd name="connsiteX5" fmla="*/ 45243 w 759619"/>
                    <a:gd name="connsiteY5" fmla="*/ 23813 h 216694"/>
                    <a:gd name="connsiteX6" fmla="*/ 138112 w 759619"/>
                    <a:gd name="connsiteY6" fmla="*/ 47625 h 216694"/>
                    <a:gd name="connsiteX7" fmla="*/ 195262 w 759619"/>
                    <a:gd name="connsiteY7" fmla="*/ 69057 h 216694"/>
                    <a:gd name="connsiteX8" fmla="*/ 421481 w 759619"/>
                    <a:gd name="connsiteY8" fmla="*/ 138113 h 216694"/>
                    <a:gd name="connsiteX9" fmla="*/ 642937 w 759619"/>
                    <a:gd name="connsiteY9" fmla="*/ 202406 h 216694"/>
                    <a:gd name="connsiteX10" fmla="*/ 759619 w 759619"/>
                    <a:gd name="connsiteY10" fmla="*/ 216694 h 216694"/>
                    <a:gd name="connsiteX0" fmla="*/ 759619 w 759619"/>
                    <a:gd name="connsiteY0" fmla="*/ 216694 h 216694"/>
                    <a:gd name="connsiteX1" fmla="*/ 581025 w 759619"/>
                    <a:gd name="connsiteY1" fmla="*/ 171450 h 216694"/>
                    <a:gd name="connsiteX2" fmla="*/ 378618 w 759619"/>
                    <a:gd name="connsiteY2" fmla="*/ 100013 h 216694"/>
                    <a:gd name="connsiteX3" fmla="*/ 195262 w 759619"/>
                    <a:gd name="connsiteY3" fmla="*/ 38100 h 216694"/>
                    <a:gd name="connsiteX4" fmla="*/ 0 w 759619"/>
                    <a:gd name="connsiteY4" fmla="*/ 0 h 216694"/>
                    <a:gd name="connsiteX5" fmla="*/ 45243 w 759619"/>
                    <a:gd name="connsiteY5" fmla="*/ 23813 h 216694"/>
                    <a:gd name="connsiteX6" fmla="*/ 138112 w 759619"/>
                    <a:gd name="connsiteY6" fmla="*/ 47625 h 216694"/>
                    <a:gd name="connsiteX7" fmla="*/ 195262 w 759619"/>
                    <a:gd name="connsiteY7" fmla="*/ 69057 h 216694"/>
                    <a:gd name="connsiteX8" fmla="*/ 421481 w 759619"/>
                    <a:gd name="connsiteY8" fmla="*/ 138113 h 216694"/>
                    <a:gd name="connsiteX9" fmla="*/ 642937 w 759619"/>
                    <a:gd name="connsiteY9" fmla="*/ 202406 h 216694"/>
                    <a:gd name="connsiteX10" fmla="*/ 759619 w 759619"/>
                    <a:gd name="connsiteY10" fmla="*/ 216694 h 216694"/>
                    <a:gd name="connsiteX0" fmla="*/ 759619 w 759619"/>
                    <a:gd name="connsiteY0" fmla="*/ 216694 h 216694"/>
                    <a:gd name="connsiteX1" fmla="*/ 581025 w 759619"/>
                    <a:gd name="connsiteY1" fmla="*/ 171450 h 216694"/>
                    <a:gd name="connsiteX2" fmla="*/ 378618 w 759619"/>
                    <a:gd name="connsiteY2" fmla="*/ 100013 h 216694"/>
                    <a:gd name="connsiteX3" fmla="*/ 195262 w 759619"/>
                    <a:gd name="connsiteY3" fmla="*/ 38100 h 216694"/>
                    <a:gd name="connsiteX4" fmla="*/ 0 w 759619"/>
                    <a:gd name="connsiteY4" fmla="*/ 0 h 216694"/>
                    <a:gd name="connsiteX5" fmla="*/ 45243 w 759619"/>
                    <a:gd name="connsiteY5" fmla="*/ 23813 h 216694"/>
                    <a:gd name="connsiteX6" fmla="*/ 138112 w 759619"/>
                    <a:gd name="connsiteY6" fmla="*/ 47625 h 216694"/>
                    <a:gd name="connsiteX7" fmla="*/ 195262 w 759619"/>
                    <a:gd name="connsiteY7" fmla="*/ 69057 h 216694"/>
                    <a:gd name="connsiteX8" fmla="*/ 421481 w 759619"/>
                    <a:gd name="connsiteY8" fmla="*/ 138113 h 216694"/>
                    <a:gd name="connsiteX9" fmla="*/ 642937 w 759619"/>
                    <a:gd name="connsiteY9" fmla="*/ 202406 h 216694"/>
                    <a:gd name="connsiteX10" fmla="*/ 759619 w 759619"/>
                    <a:gd name="connsiteY10" fmla="*/ 216694 h 216694"/>
                    <a:gd name="connsiteX0" fmla="*/ 759619 w 759619"/>
                    <a:gd name="connsiteY0" fmla="*/ 216694 h 216694"/>
                    <a:gd name="connsiteX1" fmla="*/ 581025 w 759619"/>
                    <a:gd name="connsiteY1" fmla="*/ 171450 h 216694"/>
                    <a:gd name="connsiteX2" fmla="*/ 378618 w 759619"/>
                    <a:gd name="connsiteY2" fmla="*/ 100013 h 216694"/>
                    <a:gd name="connsiteX3" fmla="*/ 195262 w 759619"/>
                    <a:gd name="connsiteY3" fmla="*/ 38100 h 216694"/>
                    <a:gd name="connsiteX4" fmla="*/ 0 w 759619"/>
                    <a:gd name="connsiteY4" fmla="*/ 0 h 216694"/>
                    <a:gd name="connsiteX5" fmla="*/ 45243 w 759619"/>
                    <a:gd name="connsiteY5" fmla="*/ 23813 h 216694"/>
                    <a:gd name="connsiteX6" fmla="*/ 128587 w 759619"/>
                    <a:gd name="connsiteY6" fmla="*/ 52388 h 216694"/>
                    <a:gd name="connsiteX7" fmla="*/ 195262 w 759619"/>
                    <a:gd name="connsiteY7" fmla="*/ 69057 h 216694"/>
                    <a:gd name="connsiteX8" fmla="*/ 421481 w 759619"/>
                    <a:gd name="connsiteY8" fmla="*/ 138113 h 216694"/>
                    <a:gd name="connsiteX9" fmla="*/ 642937 w 759619"/>
                    <a:gd name="connsiteY9" fmla="*/ 202406 h 216694"/>
                    <a:gd name="connsiteX10" fmla="*/ 759619 w 759619"/>
                    <a:gd name="connsiteY10" fmla="*/ 216694 h 216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9619" h="216694">
                      <a:moveTo>
                        <a:pt x="759619" y="216694"/>
                      </a:moveTo>
                      <a:lnTo>
                        <a:pt x="581025" y="171450"/>
                      </a:lnTo>
                      <a:lnTo>
                        <a:pt x="378618" y="100013"/>
                      </a:lnTo>
                      <a:cubicBezTo>
                        <a:pt x="317582" y="79132"/>
                        <a:pt x="259771" y="38100"/>
                        <a:pt x="195262" y="38100"/>
                      </a:cubicBezTo>
                      <a:lnTo>
                        <a:pt x="0" y="0"/>
                      </a:lnTo>
                      <a:cubicBezTo>
                        <a:pt x="43556" y="24198"/>
                        <a:pt x="26518" y="23813"/>
                        <a:pt x="45243" y="23813"/>
                      </a:cubicBezTo>
                      <a:lnTo>
                        <a:pt x="128587" y="52388"/>
                      </a:lnTo>
                      <a:lnTo>
                        <a:pt x="195262" y="69057"/>
                      </a:lnTo>
                      <a:cubicBezTo>
                        <a:pt x="274870" y="74271"/>
                        <a:pt x="337391" y="100759"/>
                        <a:pt x="421481" y="138113"/>
                      </a:cubicBezTo>
                      <a:cubicBezTo>
                        <a:pt x="495173" y="159977"/>
                        <a:pt x="566070" y="202406"/>
                        <a:pt x="642937" y="202406"/>
                      </a:cubicBezTo>
                      <a:lnTo>
                        <a:pt x="759619" y="21669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594" name="Freeform 205">
                  <a:extLst>
                    <a:ext uri="{FF2B5EF4-FFF2-40B4-BE49-F238E27FC236}">
                      <a16:creationId xmlns:a16="http://schemas.microsoft.com/office/drawing/2014/main" id="{FCA84738-A417-4D97-B4E0-F16DB1A347B0}"/>
                    </a:ext>
                  </a:extLst>
                </p:cNvPr>
                <p:cNvSpPr/>
                <p:nvPr/>
              </p:nvSpPr>
              <p:spPr>
                <a:xfrm>
                  <a:off x="-583406" y="-50006"/>
                  <a:ext cx="1195387" cy="192881"/>
                </a:xfrm>
                <a:custGeom>
                  <a:avLst/>
                  <a:gdLst>
                    <a:gd name="connsiteX0" fmla="*/ 1195387 w 1195387"/>
                    <a:gd name="connsiteY0" fmla="*/ 192881 h 192881"/>
                    <a:gd name="connsiteX1" fmla="*/ 883444 w 1195387"/>
                    <a:gd name="connsiteY1" fmla="*/ 150019 h 192881"/>
                    <a:gd name="connsiteX2" fmla="*/ 628650 w 1195387"/>
                    <a:gd name="connsiteY2" fmla="*/ 97631 h 192881"/>
                    <a:gd name="connsiteX3" fmla="*/ 507206 w 1195387"/>
                    <a:gd name="connsiteY3" fmla="*/ 54769 h 192881"/>
                    <a:gd name="connsiteX4" fmla="*/ 316706 w 1195387"/>
                    <a:gd name="connsiteY4" fmla="*/ 26194 h 192881"/>
                    <a:gd name="connsiteX5" fmla="*/ 164306 w 1195387"/>
                    <a:gd name="connsiteY5" fmla="*/ 0 h 192881"/>
                    <a:gd name="connsiteX6" fmla="*/ 45243 w 1195387"/>
                    <a:gd name="connsiteY6" fmla="*/ 0 h 192881"/>
                    <a:gd name="connsiteX7" fmla="*/ 4762 w 1195387"/>
                    <a:gd name="connsiteY7" fmla="*/ 28575 h 192881"/>
                    <a:gd name="connsiteX8" fmla="*/ 0 w 1195387"/>
                    <a:gd name="connsiteY8" fmla="*/ 50006 h 192881"/>
                    <a:gd name="connsiteX9" fmla="*/ 59531 w 1195387"/>
                    <a:gd name="connsiteY9" fmla="*/ 19050 h 192881"/>
                    <a:gd name="connsiteX10" fmla="*/ 135731 w 1195387"/>
                    <a:gd name="connsiteY10" fmla="*/ 9525 h 192881"/>
                    <a:gd name="connsiteX11" fmla="*/ 369093 w 1195387"/>
                    <a:gd name="connsiteY11" fmla="*/ 45244 h 192881"/>
                    <a:gd name="connsiteX12" fmla="*/ 573881 w 1195387"/>
                    <a:gd name="connsiteY12" fmla="*/ 90487 h 192881"/>
                    <a:gd name="connsiteX13" fmla="*/ 740569 w 1195387"/>
                    <a:gd name="connsiteY13" fmla="*/ 135731 h 192881"/>
                    <a:gd name="connsiteX14" fmla="*/ 942975 w 1195387"/>
                    <a:gd name="connsiteY14" fmla="*/ 164306 h 192881"/>
                    <a:gd name="connsiteX15" fmla="*/ 1195387 w 1195387"/>
                    <a:gd name="connsiteY15" fmla="*/ 192881 h 192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95387" h="192881">
                      <a:moveTo>
                        <a:pt x="1195387" y="192881"/>
                      </a:moveTo>
                      <a:cubicBezTo>
                        <a:pt x="1091421" y="178486"/>
                        <a:pt x="988402" y="150019"/>
                        <a:pt x="883444" y="150019"/>
                      </a:cubicBezTo>
                      <a:lnTo>
                        <a:pt x="628650" y="97631"/>
                      </a:lnTo>
                      <a:lnTo>
                        <a:pt x="507206" y="54769"/>
                      </a:lnTo>
                      <a:cubicBezTo>
                        <a:pt x="443724" y="45126"/>
                        <a:pt x="380916" y="26194"/>
                        <a:pt x="316706" y="26194"/>
                      </a:cubicBezTo>
                      <a:lnTo>
                        <a:pt x="164306" y="0"/>
                      </a:lnTo>
                      <a:lnTo>
                        <a:pt x="45243" y="0"/>
                      </a:lnTo>
                      <a:lnTo>
                        <a:pt x="4762" y="28575"/>
                      </a:lnTo>
                      <a:lnTo>
                        <a:pt x="0" y="50006"/>
                      </a:lnTo>
                      <a:cubicBezTo>
                        <a:pt x="60984" y="23173"/>
                        <a:pt x="59531" y="45492"/>
                        <a:pt x="59531" y="19050"/>
                      </a:cubicBezTo>
                      <a:lnTo>
                        <a:pt x="135731" y="9525"/>
                      </a:lnTo>
                      <a:lnTo>
                        <a:pt x="369093" y="45244"/>
                      </a:lnTo>
                      <a:lnTo>
                        <a:pt x="573881" y="90487"/>
                      </a:lnTo>
                      <a:lnTo>
                        <a:pt x="740569" y="135731"/>
                      </a:lnTo>
                      <a:lnTo>
                        <a:pt x="942975" y="164306"/>
                      </a:lnTo>
                      <a:lnTo>
                        <a:pt x="1195387" y="192881"/>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595" name="Freeform 206">
                  <a:extLst>
                    <a:ext uri="{FF2B5EF4-FFF2-40B4-BE49-F238E27FC236}">
                      <a16:creationId xmlns:a16="http://schemas.microsoft.com/office/drawing/2014/main" id="{F63F651F-04BF-4ACC-8EE7-3B751A4A6614}"/>
                    </a:ext>
                  </a:extLst>
                </p:cNvPr>
                <p:cNvSpPr/>
                <p:nvPr/>
              </p:nvSpPr>
              <p:spPr>
                <a:xfrm>
                  <a:off x="-593695" y="307181"/>
                  <a:ext cx="1086614" cy="78773"/>
                </a:xfrm>
                <a:custGeom>
                  <a:avLst/>
                  <a:gdLst>
                    <a:gd name="connsiteX0" fmla="*/ 1086614 w 1086614"/>
                    <a:gd name="connsiteY0" fmla="*/ 7144 h 78773"/>
                    <a:gd name="connsiteX1" fmla="*/ 922308 w 1086614"/>
                    <a:gd name="connsiteY1" fmla="*/ 9525 h 78773"/>
                    <a:gd name="connsiteX2" fmla="*/ 677039 w 1086614"/>
                    <a:gd name="connsiteY2" fmla="*/ 40482 h 78773"/>
                    <a:gd name="connsiteX3" fmla="*/ 493682 w 1086614"/>
                    <a:gd name="connsiteY3" fmla="*/ 59532 h 78773"/>
                    <a:gd name="connsiteX4" fmla="*/ 357951 w 1086614"/>
                    <a:gd name="connsiteY4" fmla="*/ 35719 h 78773"/>
                    <a:gd name="connsiteX5" fmla="*/ 215076 w 1086614"/>
                    <a:gd name="connsiteY5" fmla="*/ 33338 h 78773"/>
                    <a:gd name="connsiteX6" fmla="*/ 76964 w 1086614"/>
                    <a:gd name="connsiteY6" fmla="*/ 30957 h 78773"/>
                    <a:gd name="connsiteX7" fmla="*/ 764 w 1086614"/>
                    <a:gd name="connsiteY7" fmla="*/ 50007 h 78773"/>
                    <a:gd name="connsiteX8" fmla="*/ 29339 w 1086614"/>
                    <a:gd name="connsiteY8" fmla="*/ 30957 h 78773"/>
                    <a:gd name="connsiteX9" fmla="*/ 22195 w 1086614"/>
                    <a:gd name="connsiteY9" fmla="*/ 7144 h 78773"/>
                    <a:gd name="connsiteX10" fmla="*/ 86489 w 1086614"/>
                    <a:gd name="connsiteY10" fmla="*/ 28575 h 78773"/>
                    <a:gd name="connsiteX11" fmla="*/ 222220 w 1086614"/>
                    <a:gd name="connsiteY11" fmla="*/ 21432 h 78773"/>
                    <a:gd name="connsiteX12" fmla="*/ 412720 w 1086614"/>
                    <a:gd name="connsiteY12" fmla="*/ 23813 h 78773"/>
                    <a:gd name="connsiteX13" fmla="*/ 503207 w 1086614"/>
                    <a:gd name="connsiteY13" fmla="*/ 42863 h 78773"/>
                    <a:gd name="connsiteX14" fmla="*/ 724664 w 1086614"/>
                    <a:gd name="connsiteY14" fmla="*/ 23813 h 78773"/>
                    <a:gd name="connsiteX15" fmla="*/ 908020 w 1086614"/>
                    <a:gd name="connsiteY15" fmla="*/ 0 h 78773"/>
                    <a:gd name="connsiteX16" fmla="*/ 1086614 w 1086614"/>
                    <a:gd name="connsiteY16" fmla="*/ 7144 h 78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86614" h="78773">
                      <a:moveTo>
                        <a:pt x="1086614" y="7144"/>
                      </a:moveTo>
                      <a:lnTo>
                        <a:pt x="922308" y="9525"/>
                      </a:lnTo>
                      <a:cubicBezTo>
                        <a:pt x="840564" y="19944"/>
                        <a:pt x="759444" y="40482"/>
                        <a:pt x="677039" y="40482"/>
                      </a:cubicBezTo>
                      <a:lnTo>
                        <a:pt x="493682" y="59532"/>
                      </a:lnTo>
                      <a:cubicBezTo>
                        <a:pt x="361152" y="35435"/>
                        <a:pt x="407086" y="35719"/>
                        <a:pt x="357951" y="35719"/>
                      </a:cubicBezTo>
                      <a:lnTo>
                        <a:pt x="215076" y="33338"/>
                      </a:lnTo>
                      <a:lnTo>
                        <a:pt x="76964" y="30957"/>
                      </a:lnTo>
                      <a:cubicBezTo>
                        <a:pt x="0" y="52603"/>
                        <a:pt x="764" y="78773"/>
                        <a:pt x="764" y="50007"/>
                      </a:cubicBezTo>
                      <a:lnTo>
                        <a:pt x="29339" y="30957"/>
                      </a:lnTo>
                      <a:cubicBezTo>
                        <a:pt x="21944" y="8772"/>
                        <a:pt x="22195" y="17055"/>
                        <a:pt x="22195" y="7144"/>
                      </a:cubicBezTo>
                      <a:cubicBezTo>
                        <a:pt x="83417" y="26735"/>
                        <a:pt x="63090" y="16878"/>
                        <a:pt x="86489" y="28575"/>
                      </a:cubicBezTo>
                      <a:lnTo>
                        <a:pt x="222220" y="21432"/>
                      </a:lnTo>
                      <a:lnTo>
                        <a:pt x="412720" y="23813"/>
                      </a:lnTo>
                      <a:lnTo>
                        <a:pt x="503207" y="42863"/>
                      </a:lnTo>
                      <a:cubicBezTo>
                        <a:pt x="713527" y="23298"/>
                        <a:pt x="639438" y="23813"/>
                        <a:pt x="724664" y="23813"/>
                      </a:cubicBezTo>
                      <a:lnTo>
                        <a:pt x="908020" y="0"/>
                      </a:lnTo>
                      <a:lnTo>
                        <a:pt x="1086614" y="714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596" name="Freeform 207">
                  <a:extLst>
                    <a:ext uri="{FF2B5EF4-FFF2-40B4-BE49-F238E27FC236}">
                      <a16:creationId xmlns:a16="http://schemas.microsoft.com/office/drawing/2014/main" id="{A7F4DDF0-25C2-4121-B997-7FF6CAE52EFE}"/>
                    </a:ext>
                  </a:extLst>
                </p:cNvPr>
                <p:cNvSpPr/>
                <p:nvPr/>
              </p:nvSpPr>
              <p:spPr>
                <a:xfrm>
                  <a:off x="-700088" y="576263"/>
                  <a:ext cx="1062038" cy="258250"/>
                </a:xfrm>
                <a:custGeom>
                  <a:avLst/>
                  <a:gdLst>
                    <a:gd name="connsiteX0" fmla="*/ 0 w 1062038"/>
                    <a:gd name="connsiteY0" fmla="*/ 28575 h 258250"/>
                    <a:gd name="connsiteX1" fmla="*/ 90488 w 1062038"/>
                    <a:gd name="connsiteY1" fmla="*/ 76200 h 258250"/>
                    <a:gd name="connsiteX2" fmla="*/ 242888 w 1062038"/>
                    <a:gd name="connsiteY2" fmla="*/ 123825 h 258250"/>
                    <a:gd name="connsiteX3" fmla="*/ 361950 w 1062038"/>
                    <a:gd name="connsiteY3" fmla="*/ 171450 h 258250"/>
                    <a:gd name="connsiteX4" fmla="*/ 519113 w 1062038"/>
                    <a:gd name="connsiteY4" fmla="*/ 157162 h 258250"/>
                    <a:gd name="connsiteX5" fmla="*/ 604838 w 1062038"/>
                    <a:gd name="connsiteY5" fmla="*/ 114300 h 258250"/>
                    <a:gd name="connsiteX6" fmla="*/ 676276 w 1062038"/>
                    <a:gd name="connsiteY6" fmla="*/ 147637 h 258250"/>
                    <a:gd name="connsiteX7" fmla="*/ 800101 w 1062038"/>
                    <a:gd name="connsiteY7" fmla="*/ 257175 h 258250"/>
                    <a:gd name="connsiteX8" fmla="*/ 957263 w 1062038"/>
                    <a:gd name="connsiteY8" fmla="*/ 166687 h 258250"/>
                    <a:gd name="connsiteX9" fmla="*/ 1062038 w 1062038"/>
                    <a:gd name="connsiteY9" fmla="*/ 66675 h 258250"/>
                    <a:gd name="connsiteX10" fmla="*/ 781051 w 1062038"/>
                    <a:gd name="connsiteY10" fmla="*/ 71437 h 258250"/>
                    <a:gd name="connsiteX11" fmla="*/ 738188 w 1062038"/>
                    <a:gd name="connsiteY11" fmla="*/ 0 h 258250"/>
                    <a:gd name="connsiteX12" fmla="*/ 552450 w 1062038"/>
                    <a:gd name="connsiteY12" fmla="*/ 61912 h 258250"/>
                    <a:gd name="connsiteX13" fmla="*/ 342900 w 1062038"/>
                    <a:gd name="connsiteY13" fmla="*/ 57150 h 258250"/>
                    <a:gd name="connsiteX14" fmla="*/ 204788 w 1062038"/>
                    <a:gd name="connsiteY14" fmla="*/ 66675 h 258250"/>
                    <a:gd name="connsiteX15" fmla="*/ 71438 w 1062038"/>
                    <a:gd name="connsiteY15" fmla="*/ 33337 h 258250"/>
                    <a:gd name="connsiteX16" fmla="*/ 0 w 1062038"/>
                    <a:gd name="connsiteY16" fmla="*/ 28575 h 258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62038" h="258250">
                      <a:moveTo>
                        <a:pt x="0" y="28575"/>
                      </a:moveTo>
                      <a:cubicBezTo>
                        <a:pt x="87113" y="76971"/>
                        <a:pt x="53036" y="76200"/>
                        <a:pt x="90488" y="76200"/>
                      </a:cubicBezTo>
                      <a:lnTo>
                        <a:pt x="242888" y="123825"/>
                      </a:lnTo>
                      <a:cubicBezTo>
                        <a:pt x="358653" y="172061"/>
                        <a:pt x="315913" y="171450"/>
                        <a:pt x="361950" y="171450"/>
                      </a:cubicBezTo>
                      <a:lnTo>
                        <a:pt x="519113" y="157162"/>
                      </a:lnTo>
                      <a:lnTo>
                        <a:pt x="604838" y="114300"/>
                      </a:lnTo>
                      <a:lnTo>
                        <a:pt x="676276" y="147637"/>
                      </a:lnTo>
                      <a:cubicBezTo>
                        <a:pt x="796506" y="258250"/>
                        <a:pt x="741410" y="257175"/>
                        <a:pt x="800101" y="257175"/>
                      </a:cubicBezTo>
                      <a:lnTo>
                        <a:pt x="957263" y="166687"/>
                      </a:lnTo>
                      <a:lnTo>
                        <a:pt x="1062038" y="66675"/>
                      </a:lnTo>
                      <a:lnTo>
                        <a:pt x="781051" y="71437"/>
                      </a:lnTo>
                      <a:lnTo>
                        <a:pt x="738188" y="0"/>
                      </a:lnTo>
                      <a:lnTo>
                        <a:pt x="552450" y="61912"/>
                      </a:lnTo>
                      <a:lnTo>
                        <a:pt x="342900" y="57150"/>
                      </a:lnTo>
                      <a:lnTo>
                        <a:pt x="204788" y="66675"/>
                      </a:lnTo>
                      <a:lnTo>
                        <a:pt x="71438" y="33337"/>
                      </a:lnTo>
                      <a:lnTo>
                        <a:pt x="0" y="2857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sp>
            <p:nvSpPr>
              <p:cNvPr id="589" name="Freeform 200">
                <a:extLst>
                  <a:ext uri="{FF2B5EF4-FFF2-40B4-BE49-F238E27FC236}">
                    <a16:creationId xmlns:a16="http://schemas.microsoft.com/office/drawing/2014/main" id="{B9B993DC-9E37-4EDD-B19E-398DF60020F0}"/>
                  </a:ext>
                </a:extLst>
              </p:cNvPr>
              <p:cNvSpPr/>
              <p:nvPr/>
            </p:nvSpPr>
            <p:spPr>
              <a:xfrm>
                <a:off x="4435088" y="2785753"/>
                <a:ext cx="107121" cy="94193"/>
              </a:xfrm>
              <a:custGeom>
                <a:avLst/>
                <a:gdLst>
                  <a:gd name="connsiteX0" fmla="*/ 0 w 564204"/>
                  <a:gd name="connsiteY0" fmla="*/ 457200 h 496111"/>
                  <a:gd name="connsiteX1" fmla="*/ 330740 w 564204"/>
                  <a:gd name="connsiteY1" fmla="*/ 496111 h 496111"/>
                  <a:gd name="connsiteX2" fmla="*/ 564204 w 564204"/>
                  <a:gd name="connsiteY2" fmla="*/ 476655 h 496111"/>
                  <a:gd name="connsiteX3" fmla="*/ 544749 w 564204"/>
                  <a:gd name="connsiteY3" fmla="*/ 136187 h 496111"/>
                  <a:gd name="connsiteX4" fmla="*/ 544749 w 564204"/>
                  <a:gd name="connsiteY4" fmla="*/ 9728 h 496111"/>
                  <a:gd name="connsiteX5" fmla="*/ 389106 w 564204"/>
                  <a:gd name="connsiteY5" fmla="*/ 0 h 496111"/>
                  <a:gd name="connsiteX6" fmla="*/ 175098 w 564204"/>
                  <a:gd name="connsiteY6" fmla="*/ 19455 h 496111"/>
                  <a:gd name="connsiteX7" fmla="*/ 0 w 564204"/>
                  <a:gd name="connsiteY7" fmla="*/ 457200 h 496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4204" h="496111">
                    <a:moveTo>
                      <a:pt x="0" y="457200"/>
                    </a:moveTo>
                    <a:cubicBezTo>
                      <a:pt x="110200" y="470558"/>
                      <a:pt x="219733" y="496111"/>
                      <a:pt x="330740" y="496111"/>
                    </a:cubicBezTo>
                    <a:lnTo>
                      <a:pt x="564204" y="476655"/>
                    </a:lnTo>
                    <a:lnTo>
                      <a:pt x="544749" y="136187"/>
                    </a:lnTo>
                    <a:lnTo>
                      <a:pt x="544749" y="9728"/>
                    </a:lnTo>
                    <a:lnTo>
                      <a:pt x="389106" y="0"/>
                    </a:lnTo>
                    <a:lnTo>
                      <a:pt x="175098" y="19455"/>
                    </a:lnTo>
                    <a:lnTo>
                      <a:pt x="0" y="4572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590" name="Freeform 201">
                <a:extLst>
                  <a:ext uri="{FF2B5EF4-FFF2-40B4-BE49-F238E27FC236}">
                    <a16:creationId xmlns:a16="http://schemas.microsoft.com/office/drawing/2014/main" id="{3A143056-51E5-49A4-9A81-B69D9BD3A249}"/>
                  </a:ext>
                </a:extLst>
              </p:cNvPr>
              <p:cNvSpPr/>
              <p:nvPr/>
            </p:nvSpPr>
            <p:spPr>
              <a:xfrm>
                <a:off x="4931304" y="6373283"/>
                <a:ext cx="256117" cy="351367"/>
              </a:xfrm>
              <a:custGeom>
                <a:avLst/>
                <a:gdLst>
                  <a:gd name="connsiteX0" fmla="*/ 199496 w 256117"/>
                  <a:gd name="connsiteY0" fmla="*/ 2117 h 351367"/>
                  <a:gd name="connsiteX1" fmla="*/ 250296 w 256117"/>
                  <a:gd name="connsiteY1" fmla="*/ 103717 h 351367"/>
                  <a:gd name="connsiteX2" fmla="*/ 234421 w 256117"/>
                  <a:gd name="connsiteY2" fmla="*/ 230717 h 351367"/>
                  <a:gd name="connsiteX3" fmla="*/ 199496 w 256117"/>
                  <a:gd name="connsiteY3" fmla="*/ 338667 h 351367"/>
                  <a:gd name="connsiteX4" fmla="*/ 123296 w 256117"/>
                  <a:gd name="connsiteY4" fmla="*/ 306917 h 351367"/>
                  <a:gd name="connsiteX5" fmla="*/ 18521 w 256117"/>
                  <a:gd name="connsiteY5" fmla="*/ 202142 h 351367"/>
                  <a:gd name="connsiteX6" fmla="*/ 12171 w 256117"/>
                  <a:gd name="connsiteY6" fmla="*/ 144992 h 351367"/>
                  <a:gd name="connsiteX7" fmla="*/ 53446 w 256117"/>
                  <a:gd name="connsiteY7" fmla="*/ 91017 h 351367"/>
                  <a:gd name="connsiteX8" fmla="*/ 174096 w 256117"/>
                  <a:gd name="connsiteY8" fmla="*/ 91017 h 351367"/>
                  <a:gd name="connsiteX9" fmla="*/ 199496 w 256117"/>
                  <a:gd name="connsiteY9" fmla="*/ 2117 h 351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6117" h="351367">
                    <a:moveTo>
                      <a:pt x="199496" y="2117"/>
                    </a:moveTo>
                    <a:cubicBezTo>
                      <a:pt x="212196" y="4234"/>
                      <a:pt x="244475" y="65617"/>
                      <a:pt x="250296" y="103717"/>
                    </a:cubicBezTo>
                    <a:cubicBezTo>
                      <a:pt x="256117" y="141817"/>
                      <a:pt x="242888" y="191559"/>
                      <a:pt x="234421" y="230717"/>
                    </a:cubicBezTo>
                    <a:cubicBezTo>
                      <a:pt x="225954" y="269875"/>
                      <a:pt x="218017" y="325967"/>
                      <a:pt x="199496" y="338667"/>
                    </a:cubicBezTo>
                    <a:cubicBezTo>
                      <a:pt x="180975" y="351367"/>
                      <a:pt x="153458" y="329671"/>
                      <a:pt x="123296" y="306917"/>
                    </a:cubicBezTo>
                    <a:cubicBezTo>
                      <a:pt x="93134" y="284163"/>
                      <a:pt x="37042" y="229129"/>
                      <a:pt x="18521" y="202142"/>
                    </a:cubicBezTo>
                    <a:cubicBezTo>
                      <a:pt x="0" y="175155"/>
                      <a:pt x="6350" y="163513"/>
                      <a:pt x="12171" y="144992"/>
                    </a:cubicBezTo>
                    <a:cubicBezTo>
                      <a:pt x="17992" y="126471"/>
                      <a:pt x="26459" y="100013"/>
                      <a:pt x="53446" y="91017"/>
                    </a:cubicBezTo>
                    <a:cubicBezTo>
                      <a:pt x="80433" y="82021"/>
                      <a:pt x="151871" y="106892"/>
                      <a:pt x="174096" y="91017"/>
                    </a:cubicBezTo>
                    <a:cubicBezTo>
                      <a:pt x="196321" y="75142"/>
                      <a:pt x="186796" y="0"/>
                      <a:pt x="199496" y="211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591" name="Freeform 202">
                <a:extLst>
                  <a:ext uri="{FF2B5EF4-FFF2-40B4-BE49-F238E27FC236}">
                    <a16:creationId xmlns:a16="http://schemas.microsoft.com/office/drawing/2014/main" id="{C213ED93-91CA-4451-9784-D7FB1E1E7558}"/>
                  </a:ext>
                </a:extLst>
              </p:cNvPr>
              <p:cNvSpPr/>
              <p:nvPr/>
            </p:nvSpPr>
            <p:spPr>
              <a:xfrm>
                <a:off x="3577167" y="6321954"/>
                <a:ext cx="437091" cy="177800"/>
              </a:xfrm>
              <a:custGeom>
                <a:avLst/>
                <a:gdLst>
                  <a:gd name="connsiteX0" fmla="*/ 32808 w 437091"/>
                  <a:gd name="connsiteY0" fmla="*/ 101071 h 177800"/>
                  <a:gd name="connsiteX1" fmla="*/ 7408 w 437091"/>
                  <a:gd name="connsiteY1" fmla="*/ 158221 h 177800"/>
                  <a:gd name="connsiteX2" fmla="*/ 77258 w 437091"/>
                  <a:gd name="connsiteY2" fmla="*/ 177271 h 177800"/>
                  <a:gd name="connsiteX3" fmla="*/ 239183 w 437091"/>
                  <a:gd name="connsiteY3" fmla="*/ 161396 h 177800"/>
                  <a:gd name="connsiteX4" fmla="*/ 353483 w 437091"/>
                  <a:gd name="connsiteY4" fmla="*/ 101071 h 177800"/>
                  <a:gd name="connsiteX5" fmla="*/ 432858 w 437091"/>
                  <a:gd name="connsiteY5" fmla="*/ 12171 h 177800"/>
                  <a:gd name="connsiteX6" fmla="*/ 378883 w 437091"/>
                  <a:gd name="connsiteY6" fmla="*/ 28046 h 177800"/>
                  <a:gd name="connsiteX7" fmla="*/ 236008 w 437091"/>
                  <a:gd name="connsiteY7" fmla="*/ 91546 h 177800"/>
                  <a:gd name="connsiteX8" fmla="*/ 80433 w 437091"/>
                  <a:gd name="connsiteY8" fmla="*/ 123296 h 177800"/>
                  <a:gd name="connsiteX9" fmla="*/ 32808 w 437091"/>
                  <a:gd name="connsiteY9" fmla="*/ 101071 h 177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7091" h="177800">
                    <a:moveTo>
                      <a:pt x="32808" y="101071"/>
                    </a:moveTo>
                    <a:cubicBezTo>
                      <a:pt x="20637" y="106892"/>
                      <a:pt x="0" y="145521"/>
                      <a:pt x="7408" y="158221"/>
                    </a:cubicBezTo>
                    <a:cubicBezTo>
                      <a:pt x="14816" y="170921"/>
                      <a:pt x="38629" y="176742"/>
                      <a:pt x="77258" y="177271"/>
                    </a:cubicBezTo>
                    <a:cubicBezTo>
                      <a:pt x="115887" y="177800"/>
                      <a:pt x="193146" y="174096"/>
                      <a:pt x="239183" y="161396"/>
                    </a:cubicBezTo>
                    <a:cubicBezTo>
                      <a:pt x="285220" y="148696"/>
                      <a:pt x="321204" y="125942"/>
                      <a:pt x="353483" y="101071"/>
                    </a:cubicBezTo>
                    <a:cubicBezTo>
                      <a:pt x="385762" y="76200"/>
                      <a:pt x="428625" y="24342"/>
                      <a:pt x="432858" y="12171"/>
                    </a:cubicBezTo>
                    <a:cubicBezTo>
                      <a:pt x="437091" y="0"/>
                      <a:pt x="411691" y="14817"/>
                      <a:pt x="378883" y="28046"/>
                    </a:cubicBezTo>
                    <a:cubicBezTo>
                      <a:pt x="346075" y="41275"/>
                      <a:pt x="285750" y="75671"/>
                      <a:pt x="236008" y="91546"/>
                    </a:cubicBezTo>
                    <a:cubicBezTo>
                      <a:pt x="186266" y="107421"/>
                      <a:pt x="107420" y="122767"/>
                      <a:pt x="80433" y="123296"/>
                    </a:cubicBezTo>
                    <a:cubicBezTo>
                      <a:pt x="53446" y="123825"/>
                      <a:pt x="44979" y="95250"/>
                      <a:pt x="32808" y="10107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570" name="Group 569">
              <a:extLst>
                <a:ext uri="{FF2B5EF4-FFF2-40B4-BE49-F238E27FC236}">
                  <a16:creationId xmlns:a16="http://schemas.microsoft.com/office/drawing/2014/main" id="{D29446BC-EA38-4EA1-A2FE-044541B09B63}"/>
                </a:ext>
              </a:extLst>
            </p:cNvPr>
            <p:cNvGrpSpPr/>
            <p:nvPr/>
          </p:nvGrpSpPr>
          <p:grpSpPr>
            <a:xfrm>
              <a:off x="3627441" y="4045747"/>
              <a:ext cx="664918" cy="1768334"/>
              <a:chOff x="3264054" y="4392978"/>
              <a:chExt cx="383762" cy="1020607"/>
            </a:xfrm>
            <a:grpFill/>
          </p:grpSpPr>
          <p:sp>
            <p:nvSpPr>
              <p:cNvPr id="571" name="Freeform 221">
                <a:extLst>
                  <a:ext uri="{FF2B5EF4-FFF2-40B4-BE49-F238E27FC236}">
                    <a16:creationId xmlns:a16="http://schemas.microsoft.com/office/drawing/2014/main" id="{43488CC5-64E7-4FEB-B45E-C0AD9679B1B9}"/>
                  </a:ext>
                </a:extLst>
              </p:cNvPr>
              <p:cNvSpPr>
                <a:spLocks noEditPoints="1"/>
              </p:cNvSpPr>
              <p:nvPr/>
            </p:nvSpPr>
            <p:spPr bwMode="auto">
              <a:xfrm>
                <a:off x="3333783" y="4392978"/>
                <a:ext cx="314033" cy="1020607"/>
              </a:xfrm>
              <a:custGeom>
                <a:avLst/>
                <a:gdLst>
                  <a:gd name="T0" fmla="*/ 1231 w 1252"/>
                  <a:gd name="T1" fmla="*/ 1944 h 4069"/>
                  <a:gd name="T2" fmla="*/ 1206 w 1252"/>
                  <a:gd name="T3" fmla="*/ 1651 h 4069"/>
                  <a:gd name="T4" fmla="*/ 1151 w 1252"/>
                  <a:gd name="T5" fmla="*/ 1030 h 4069"/>
                  <a:gd name="T6" fmla="*/ 1110 w 1252"/>
                  <a:gd name="T7" fmla="*/ 772 h 4069"/>
                  <a:gd name="T8" fmla="*/ 949 w 1252"/>
                  <a:gd name="T9" fmla="*/ 676 h 4069"/>
                  <a:gd name="T10" fmla="*/ 772 w 1252"/>
                  <a:gd name="T11" fmla="*/ 570 h 4069"/>
                  <a:gd name="T12" fmla="*/ 787 w 1252"/>
                  <a:gd name="T13" fmla="*/ 474 h 4069"/>
                  <a:gd name="T14" fmla="*/ 868 w 1252"/>
                  <a:gd name="T15" fmla="*/ 328 h 4069"/>
                  <a:gd name="T16" fmla="*/ 868 w 1252"/>
                  <a:gd name="T17" fmla="*/ 272 h 4069"/>
                  <a:gd name="T18" fmla="*/ 858 w 1252"/>
                  <a:gd name="T19" fmla="*/ 96 h 4069"/>
                  <a:gd name="T20" fmla="*/ 737 w 1252"/>
                  <a:gd name="T21" fmla="*/ 5 h 4069"/>
                  <a:gd name="T22" fmla="*/ 570 w 1252"/>
                  <a:gd name="T23" fmla="*/ 20 h 4069"/>
                  <a:gd name="T24" fmla="*/ 479 w 1252"/>
                  <a:gd name="T25" fmla="*/ 146 h 4069"/>
                  <a:gd name="T26" fmla="*/ 459 w 1252"/>
                  <a:gd name="T27" fmla="*/ 277 h 4069"/>
                  <a:gd name="T28" fmla="*/ 494 w 1252"/>
                  <a:gd name="T29" fmla="*/ 439 h 4069"/>
                  <a:gd name="T30" fmla="*/ 510 w 1252"/>
                  <a:gd name="T31" fmla="*/ 530 h 4069"/>
                  <a:gd name="T32" fmla="*/ 464 w 1252"/>
                  <a:gd name="T33" fmla="*/ 611 h 4069"/>
                  <a:gd name="T34" fmla="*/ 176 w 1252"/>
                  <a:gd name="T35" fmla="*/ 732 h 4069"/>
                  <a:gd name="T36" fmla="*/ 70 w 1252"/>
                  <a:gd name="T37" fmla="*/ 1085 h 4069"/>
                  <a:gd name="T38" fmla="*/ 5 w 1252"/>
                  <a:gd name="T39" fmla="*/ 1333 h 4069"/>
                  <a:gd name="T40" fmla="*/ 25 w 1252"/>
                  <a:gd name="T41" fmla="*/ 1540 h 4069"/>
                  <a:gd name="T42" fmla="*/ 65 w 1252"/>
                  <a:gd name="T43" fmla="*/ 1802 h 4069"/>
                  <a:gd name="T44" fmla="*/ 101 w 1252"/>
                  <a:gd name="T45" fmla="*/ 1797 h 4069"/>
                  <a:gd name="T46" fmla="*/ 121 w 1252"/>
                  <a:gd name="T47" fmla="*/ 1939 h 4069"/>
                  <a:gd name="T48" fmla="*/ 257 w 1252"/>
                  <a:gd name="T49" fmla="*/ 2070 h 4069"/>
                  <a:gd name="T50" fmla="*/ 227 w 1252"/>
                  <a:gd name="T51" fmla="*/ 2772 h 4069"/>
                  <a:gd name="T52" fmla="*/ 192 w 1252"/>
                  <a:gd name="T53" fmla="*/ 3852 h 4069"/>
                  <a:gd name="T54" fmla="*/ 242 w 1252"/>
                  <a:gd name="T55" fmla="*/ 3903 h 4069"/>
                  <a:gd name="T56" fmla="*/ 182 w 1252"/>
                  <a:gd name="T57" fmla="*/ 4009 h 4069"/>
                  <a:gd name="T58" fmla="*/ 212 w 1252"/>
                  <a:gd name="T59" fmla="*/ 4059 h 4069"/>
                  <a:gd name="T60" fmla="*/ 378 w 1252"/>
                  <a:gd name="T61" fmla="*/ 4044 h 4069"/>
                  <a:gd name="T62" fmla="*/ 429 w 1252"/>
                  <a:gd name="T63" fmla="*/ 3918 h 4069"/>
                  <a:gd name="T64" fmla="*/ 469 w 1252"/>
                  <a:gd name="T65" fmla="*/ 3559 h 4069"/>
                  <a:gd name="T66" fmla="*/ 515 w 1252"/>
                  <a:gd name="T67" fmla="*/ 2999 h 4069"/>
                  <a:gd name="T68" fmla="*/ 616 w 1252"/>
                  <a:gd name="T69" fmla="*/ 2231 h 4069"/>
                  <a:gd name="T70" fmla="*/ 691 w 1252"/>
                  <a:gd name="T71" fmla="*/ 2544 h 4069"/>
                  <a:gd name="T72" fmla="*/ 747 w 1252"/>
                  <a:gd name="T73" fmla="*/ 3044 h 4069"/>
                  <a:gd name="T74" fmla="*/ 777 w 1252"/>
                  <a:gd name="T75" fmla="*/ 3847 h 4069"/>
                  <a:gd name="T76" fmla="*/ 782 w 1252"/>
                  <a:gd name="T77" fmla="*/ 3963 h 4069"/>
                  <a:gd name="T78" fmla="*/ 893 w 1252"/>
                  <a:gd name="T79" fmla="*/ 4019 h 4069"/>
                  <a:gd name="T80" fmla="*/ 1055 w 1252"/>
                  <a:gd name="T81" fmla="*/ 4059 h 4069"/>
                  <a:gd name="T82" fmla="*/ 1120 w 1252"/>
                  <a:gd name="T83" fmla="*/ 4014 h 4069"/>
                  <a:gd name="T84" fmla="*/ 1009 w 1252"/>
                  <a:gd name="T85" fmla="*/ 3893 h 4069"/>
                  <a:gd name="T86" fmla="*/ 1070 w 1252"/>
                  <a:gd name="T87" fmla="*/ 3665 h 4069"/>
                  <a:gd name="T88" fmla="*/ 1035 w 1252"/>
                  <a:gd name="T89" fmla="*/ 3403 h 4069"/>
                  <a:gd name="T90" fmla="*/ 1040 w 1252"/>
                  <a:gd name="T91" fmla="*/ 2206 h 4069"/>
                  <a:gd name="T92" fmla="*/ 1060 w 1252"/>
                  <a:gd name="T93" fmla="*/ 2009 h 4069"/>
                  <a:gd name="T94" fmla="*/ 1080 w 1252"/>
                  <a:gd name="T95" fmla="*/ 1898 h 4069"/>
                  <a:gd name="T96" fmla="*/ 1125 w 1252"/>
                  <a:gd name="T97" fmla="*/ 1999 h 4069"/>
                  <a:gd name="T98" fmla="*/ 1135 w 1252"/>
                  <a:gd name="T99" fmla="*/ 2085 h 4069"/>
                  <a:gd name="T100" fmla="*/ 1141 w 1252"/>
                  <a:gd name="T101" fmla="*/ 2156 h 4069"/>
                  <a:gd name="T102" fmla="*/ 1110 w 1252"/>
                  <a:gd name="T103" fmla="*/ 2226 h 4069"/>
                  <a:gd name="T104" fmla="*/ 1206 w 1252"/>
                  <a:gd name="T105" fmla="*/ 2201 h 4069"/>
                  <a:gd name="T106" fmla="*/ 1252 w 1252"/>
                  <a:gd name="T107" fmla="*/ 2090 h 4069"/>
                  <a:gd name="T108" fmla="*/ 237 w 1252"/>
                  <a:gd name="T109" fmla="*/ 1686 h 4069"/>
                  <a:gd name="T110" fmla="*/ 207 w 1252"/>
                  <a:gd name="T111" fmla="*/ 1752 h 4069"/>
                  <a:gd name="T112" fmla="*/ 222 w 1252"/>
                  <a:gd name="T113" fmla="*/ 1711 h 4069"/>
                  <a:gd name="T114" fmla="*/ 207 w 1252"/>
                  <a:gd name="T115" fmla="*/ 1524 h 4069"/>
                  <a:gd name="T116" fmla="*/ 197 w 1252"/>
                  <a:gd name="T117" fmla="*/ 1363 h 4069"/>
                  <a:gd name="T118" fmla="*/ 262 w 1252"/>
                  <a:gd name="T119" fmla="*/ 1232 h 40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52" h="4069">
                    <a:moveTo>
                      <a:pt x="1241" y="2014"/>
                    </a:moveTo>
                    <a:lnTo>
                      <a:pt x="1241" y="2014"/>
                    </a:lnTo>
                    <a:lnTo>
                      <a:pt x="1226" y="1969"/>
                    </a:lnTo>
                    <a:lnTo>
                      <a:pt x="1226" y="1949"/>
                    </a:lnTo>
                    <a:lnTo>
                      <a:pt x="1226" y="1949"/>
                    </a:lnTo>
                    <a:lnTo>
                      <a:pt x="1231" y="1944"/>
                    </a:lnTo>
                    <a:lnTo>
                      <a:pt x="1236" y="1933"/>
                    </a:lnTo>
                    <a:lnTo>
                      <a:pt x="1236" y="1903"/>
                    </a:lnTo>
                    <a:lnTo>
                      <a:pt x="1236" y="1858"/>
                    </a:lnTo>
                    <a:lnTo>
                      <a:pt x="1231" y="1807"/>
                    </a:lnTo>
                    <a:lnTo>
                      <a:pt x="1216" y="1706"/>
                    </a:lnTo>
                    <a:lnTo>
                      <a:pt x="1206" y="1651"/>
                    </a:lnTo>
                    <a:lnTo>
                      <a:pt x="1206" y="1651"/>
                    </a:lnTo>
                    <a:lnTo>
                      <a:pt x="1191" y="1535"/>
                    </a:lnTo>
                    <a:lnTo>
                      <a:pt x="1171" y="1343"/>
                    </a:lnTo>
                    <a:lnTo>
                      <a:pt x="1171" y="1343"/>
                    </a:lnTo>
                    <a:lnTo>
                      <a:pt x="1156" y="1161"/>
                    </a:lnTo>
                    <a:lnTo>
                      <a:pt x="1151" y="1030"/>
                    </a:lnTo>
                    <a:lnTo>
                      <a:pt x="1151" y="1030"/>
                    </a:lnTo>
                    <a:lnTo>
                      <a:pt x="1146" y="949"/>
                    </a:lnTo>
                    <a:lnTo>
                      <a:pt x="1130" y="833"/>
                    </a:lnTo>
                    <a:lnTo>
                      <a:pt x="1130" y="833"/>
                    </a:lnTo>
                    <a:lnTo>
                      <a:pt x="1120" y="797"/>
                    </a:lnTo>
                    <a:lnTo>
                      <a:pt x="1110" y="772"/>
                    </a:lnTo>
                    <a:lnTo>
                      <a:pt x="1095" y="752"/>
                    </a:lnTo>
                    <a:lnTo>
                      <a:pt x="1080" y="732"/>
                    </a:lnTo>
                    <a:lnTo>
                      <a:pt x="1045" y="706"/>
                    </a:lnTo>
                    <a:lnTo>
                      <a:pt x="1019" y="696"/>
                    </a:lnTo>
                    <a:lnTo>
                      <a:pt x="1019" y="696"/>
                    </a:lnTo>
                    <a:lnTo>
                      <a:pt x="949" y="676"/>
                    </a:lnTo>
                    <a:lnTo>
                      <a:pt x="908" y="661"/>
                    </a:lnTo>
                    <a:lnTo>
                      <a:pt x="868" y="641"/>
                    </a:lnTo>
                    <a:lnTo>
                      <a:pt x="868" y="641"/>
                    </a:lnTo>
                    <a:lnTo>
                      <a:pt x="807" y="606"/>
                    </a:lnTo>
                    <a:lnTo>
                      <a:pt x="787" y="585"/>
                    </a:lnTo>
                    <a:lnTo>
                      <a:pt x="772" y="570"/>
                    </a:lnTo>
                    <a:lnTo>
                      <a:pt x="772" y="570"/>
                    </a:lnTo>
                    <a:lnTo>
                      <a:pt x="767" y="550"/>
                    </a:lnTo>
                    <a:lnTo>
                      <a:pt x="767" y="530"/>
                    </a:lnTo>
                    <a:lnTo>
                      <a:pt x="782" y="479"/>
                    </a:lnTo>
                    <a:lnTo>
                      <a:pt x="782" y="479"/>
                    </a:lnTo>
                    <a:lnTo>
                      <a:pt x="787" y="474"/>
                    </a:lnTo>
                    <a:lnTo>
                      <a:pt x="797" y="469"/>
                    </a:lnTo>
                    <a:lnTo>
                      <a:pt x="812" y="454"/>
                    </a:lnTo>
                    <a:lnTo>
                      <a:pt x="833" y="424"/>
                    </a:lnTo>
                    <a:lnTo>
                      <a:pt x="833" y="424"/>
                    </a:lnTo>
                    <a:lnTo>
                      <a:pt x="853" y="373"/>
                    </a:lnTo>
                    <a:lnTo>
                      <a:pt x="868" y="328"/>
                    </a:lnTo>
                    <a:lnTo>
                      <a:pt x="868" y="328"/>
                    </a:lnTo>
                    <a:lnTo>
                      <a:pt x="868" y="318"/>
                    </a:lnTo>
                    <a:lnTo>
                      <a:pt x="863" y="313"/>
                    </a:lnTo>
                    <a:lnTo>
                      <a:pt x="858" y="308"/>
                    </a:lnTo>
                    <a:lnTo>
                      <a:pt x="858" y="308"/>
                    </a:lnTo>
                    <a:lnTo>
                      <a:pt x="868" y="272"/>
                    </a:lnTo>
                    <a:lnTo>
                      <a:pt x="873" y="237"/>
                    </a:lnTo>
                    <a:lnTo>
                      <a:pt x="878" y="191"/>
                    </a:lnTo>
                    <a:lnTo>
                      <a:pt x="878" y="191"/>
                    </a:lnTo>
                    <a:lnTo>
                      <a:pt x="878" y="166"/>
                    </a:lnTo>
                    <a:lnTo>
                      <a:pt x="873" y="141"/>
                    </a:lnTo>
                    <a:lnTo>
                      <a:pt x="858" y="96"/>
                    </a:lnTo>
                    <a:lnTo>
                      <a:pt x="838" y="65"/>
                    </a:lnTo>
                    <a:lnTo>
                      <a:pt x="823" y="50"/>
                    </a:lnTo>
                    <a:lnTo>
                      <a:pt x="823" y="50"/>
                    </a:lnTo>
                    <a:lnTo>
                      <a:pt x="797" y="30"/>
                    </a:lnTo>
                    <a:lnTo>
                      <a:pt x="762" y="15"/>
                    </a:lnTo>
                    <a:lnTo>
                      <a:pt x="737" y="5"/>
                    </a:lnTo>
                    <a:lnTo>
                      <a:pt x="706" y="0"/>
                    </a:lnTo>
                    <a:lnTo>
                      <a:pt x="671" y="0"/>
                    </a:lnTo>
                    <a:lnTo>
                      <a:pt x="631" y="0"/>
                    </a:lnTo>
                    <a:lnTo>
                      <a:pt x="631" y="0"/>
                    </a:lnTo>
                    <a:lnTo>
                      <a:pt x="595" y="10"/>
                    </a:lnTo>
                    <a:lnTo>
                      <a:pt x="570" y="20"/>
                    </a:lnTo>
                    <a:lnTo>
                      <a:pt x="545" y="40"/>
                    </a:lnTo>
                    <a:lnTo>
                      <a:pt x="525" y="60"/>
                    </a:lnTo>
                    <a:lnTo>
                      <a:pt x="510" y="80"/>
                    </a:lnTo>
                    <a:lnTo>
                      <a:pt x="500" y="106"/>
                    </a:lnTo>
                    <a:lnTo>
                      <a:pt x="479" y="146"/>
                    </a:lnTo>
                    <a:lnTo>
                      <a:pt x="479" y="146"/>
                    </a:lnTo>
                    <a:lnTo>
                      <a:pt x="469" y="191"/>
                    </a:lnTo>
                    <a:lnTo>
                      <a:pt x="469" y="227"/>
                    </a:lnTo>
                    <a:lnTo>
                      <a:pt x="474" y="267"/>
                    </a:lnTo>
                    <a:lnTo>
                      <a:pt x="474" y="267"/>
                    </a:lnTo>
                    <a:lnTo>
                      <a:pt x="464" y="272"/>
                    </a:lnTo>
                    <a:lnTo>
                      <a:pt x="459" y="277"/>
                    </a:lnTo>
                    <a:lnTo>
                      <a:pt x="454" y="292"/>
                    </a:lnTo>
                    <a:lnTo>
                      <a:pt x="454" y="318"/>
                    </a:lnTo>
                    <a:lnTo>
                      <a:pt x="459" y="348"/>
                    </a:lnTo>
                    <a:lnTo>
                      <a:pt x="474" y="404"/>
                    </a:lnTo>
                    <a:lnTo>
                      <a:pt x="484" y="429"/>
                    </a:lnTo>
                    <a:lnTo>
                      <a:pt x="494" y="439"/>
                    </a:lnTo>
                    <a:lnTo>
                      <a:pt x="494" y="439"/>
                    </a:lnTo>
                    <a:lnTo>
                      <a:pt x="500" y="449"/>
                    </a:lnTo>
                    <a:lnTo>
                      <a:pt x="505" y="459"/>
                    </a:lnTo>
                    <a:lnTo>
                      <a:pt x="510" y="489"/>
                    </a:lnTo>
                    <a:lnTo>
                      <a:pt x="510" y="530"/>
                    </a:lnTo>
                    <a:lnTo>
                      <a:pt x="510" y="530"/>
                    </a:lnTo>
                    <a:lnTo>
                      <a:pt x="505" y="540"/>
                    </a:lnTo>
                    <a:lnTo>
                      <a:pt x="500" y="565"/>
                    </a:lnTo>
                    <a:lnTo>
                      <a:pt x="489" y="590"/>
                    </a:lnTo>
                    <a:lnTo>
                      <a:pt x="479" y="600"/>
                    </a:lnTo>
                    <a:lnTo>
                      <a:pt x="464" y="611"/>
                    </a:lnTo>
                    <a:lnTo>
                      <a:pt x="464" y="611"/>
                    </a:lnTo>
                    <a:lnTo>
                      <a:pt x="409" y="636"/>
                    </a:lnTo>
                    <a:lnTo>
                      <a:pt x="368" y="651"/>
                    </a:lnTo>
                    <a:lnTo>
                      <a:pt x="368" y="651"/>
                    </a:lnTo>
                    <a:lnTo>
                      <a:pt x="197" y="722"/>
                    </a:lnTo>
                    <a:lnTo>
                      <a:pt x="197" y="722"/>
                    </a:lnTo>
                    <a:lnTo>
                      <a:pt x="176" y="732"/>
                    </a:lnTo>
                    <a:lnTo>
                      <a:pt x="156" y="757"/>
                    </a:lnTo>
                    <a:lnTo>
                      <a:pt x="136" y="792"/>
                    </a:lnTo>
                    <a:lnTo>
                      <a:pt x="126" y="823"/>
                    </a:lnTo>
                    <a:lnTo>
                      <a:pt x="126" y="823"/>
                    </a:lnTo>
                    <a:lnTo>
                      <a:pt x="96" y="984"/>
                    </a:lnTo>
                    <a:lnTo>
                      <a:pt x="70" y="1085"/>
                    </a:lnTo>
                    <a:lnTo>
                      <a:pt x="50" y="1156"/>
                    </a:lnTo>
                    <a:lnTo>
                      <a:pt x="50" y="1156"/>
                    </a:lnTo>
                    <a:lnTo>
                      <a:pt x="25" y="1242"/>
                    </a:lnTo>
                    <a:lnTo>
                      <a:pt x="10" y="1307"/>
                    </a:lnTo>
                    <a:lnTo>
                      <a:pt x="10" y="1307"/>
                    </a:lnTo>
                    <a:lnTo>
                      <a:pt x="5" y="1333"/>
                    </a:lnTo>
                    <a:lnTo>
                      <a:pt x="0" y="1363"/>
                    </a:lnTo>
                    <a:lnTo>
                      <a:pt x="0" y="1398"/>
                    </a:lnTo>
                    <a:lnTo>
                      <a:pt x="5" y="1423"/>
                    </a:lnTo>
                    <a:lnTo>
                      <a:pt x="5" y="1423"/>
                    </a:lnTo>
                    <a:lnTo>
                      <a:pt x="15" y="1469"/>
                    </a:lnTo>
                    <a:lnTo>
                      <a:pt x="25" y="1540"/>
                    </a:lnTo>
                    <a:lnTo>
                      <a:pt x="35" y="1656"/>
                    </a:lnTo>
                    <a:lnTo>
                      <a:pt x="35" y="1656"/>
                    </a:lnTo>
                    <a:lnTo>
                      <a:pt x="40" y="1696"/>
                    </a:lnTo>
                    <a:lnTo>
                      <a:pt x="45" y="1747"/>
                    </a:lnTo>
                    <a:lnTo>
                      <a:pt x="55" y="1792"/>
                    </a:lnTo>
                    <a:lnTo>
                      <a:pt x="65" y="1802"/>
                    </a:lnTo>
                    <a:lnTo>
                      <a:pt x="76" y="1807"/>
                    </a:lnTo>
                    <a:lnTo>
                      <a:pt x="76" y="1807"/>
                    </a:lnTo>
                    <a:lnTo>
                      <a:pt x="91" y="1797"/>
                    </a:lnTo>
                    <a:lnTo>
                      <a:pt x="96" y="1797"/>
                    </a:lnTo>
                    <a:lnTo>
                      <a:pt x="101" y="1797"/>
                    </a:lnTo>
                    <a:lnTo>
                      <a:pt x="101" y="1797"/>
                    </a:lnTo>
                    <a:lnTo>
                      <a:pt x="111" y="1812"/>
                    </a:lnTo>
                    <a:lnTo>
                      <a:pt x="111" y="1827"/>
                    </a:lnTo>
                    <a:lnTo>
                      <a:pt x="116" y="1868"/>
                    </a:lnTo>
                    <a:lnTo>
                      <a:pt x="116" y="1868"/>
                    </a:lnTo>
                    <a:lnTo>
                      <a:pt x="116" y="1908"/>
                    </a:lnTo>
                    <a:lnTo>
                      <a:pt x="121" y="1939"/>
                    </a:lnTo>
                    <a:lnTo>
                      <a:pt x="131" y="1964"/>
                    </a:lnTo>
                    <a:lnTo>
                      <a:pt x="146" y="1999"/>
                    </a:lnTo>
                    <a:lnTo>
                      <a:pt x="171" y="2024"/>
                    </a:lnTo>
                    <a:lnTo>
                      <a:pt x="207" y="2050"/>
                    </a:lnTo>
                    <a:lnTo>
                      <a:pt x="257" y="2070"/>
                    </a:lnTo>
                    <a:lnTo>
                      <a:pt x="257" y="2070"/>
                    </a:lnTo>
                    <a:lnTo>
                      <a:pt x="257" y="2267"/>
                    </a:lnTo>
                    <a:lnTo>
                      <a:pt x="257" y="2267"/>
                    </a:lnTo>
                    <a:lnTo>
                      <a:pt x="252" y="2388"/>
                    </a:lnTo>
                    <a:lnTo>
                      <a:pt x="247" y="2534"/>
                    </a:lnTo>
                    <a:lnTo>
                      <a:pt x="227" y="2772"/>
                    </a:lnTo>
                    <a:lnTo>
                      <a:pt x="227" y="2772"/>
                    </a:lnTo>
                    <a:lnTo>
                      <a:pt x="212" y="2964"/>
                    </a:lnTo>
                    <a:lnTo>
                      <a:pt x="202" y="3080"/>
                    </a:lnTo>
                    <a:lnTo>
                      <a:pt x="202" y="3206"/>
                    </a:lnTo>
                    <a:lnTo>
                      <a:pt x="202" y="3206"/>
                    </a:lnTo>
                    <a:lnTo>
                      <a:pt x="192" y="3852"/>
                    </a:lnTo>
                    <a:lnTo>
                      <a:pt x="192" y="3852"/>
                    </a:lnTo>
                    <a:lnTo>
                      <a:pt x="197" y="3872"/>
                    </a:lnTo>
                    <a:lnTo>
                      <a:pt x="202" y="3877"/>
                    </a:lnTo>
                    <a:lnTo>
                      <a:pt x="207" y="3877"/>
                    </a:lnTo>
                    <a:lnTo>
                      <a:pt x="222" y="3888"/>
                    </a:lnTo>
                    <a:lnTo>
                      <a:pt x="232" y="3893"/>
                    </a:lnTo>
                    <a:lnTo>
                      <a:pt x="242" y="3903"/>
                    </a:lnTo>
                    <a:lnTo>
                      <a:pt x="242" y="3903"/>
                    </a:lnTo>
                    <a:lnTo>
                      <a:pt x="247" y="3913"/>
                    </a:lnTo>
                    <a:lnTo>
                      <a:pt x="242" y="3918"/>
                    </a:lnTo>
                    <a:lnTo>
                      <a:pt x="232" y="3938"/>
                    </a:lnTo>
                    <a:lnTo>
                      <a:pt x="197" y="3983"/>
                    </a:lnTo>
                    <a:lnTo>
                      <a:pt x="182" y="4009"/>
                    </a:lnTo>
                    <a:lnTo>
                      <a:pt x="176" y="4029"/>
                    </a:lnTo>
                    <a:lnTo>
                      <a:pt x="176" y="4034"/>
                    </a:lnTo>
                    <a:lnTo>
                      <a:pt x="182" y="4044"/>
                    </a:lnTo>
                    <a:lnTo>
                      <a:pt x="197" y="4054"/>
                    </a:lnTo>
                    <a:lnTo>
                      <a:pt x="212" y="4059"/>
                    </a:lnTo>
                    <a:lnTo>
                      <a:pt x="212" y="4059"/>
                    </a:lnTo>
                    <a:lnTo>
                      <a:pt x="252" y="4064"/>
                    </a:lnTo>
                    <a:lnTo>
                      <a:pt x="288" y="4069"/>
                    </a:lnTo>
                    <a:lnTo>
                      <a:pt x="313" y="4069"/>
                    </a:lnTo>
                    <a:lnTo>
                      <a:pt x="338" y="4064"/>
                    </a:lnTo>
                    <a:lnTo>
                      <a:pt x="363" y="4054"/>
                    </a:lnTo>
                    <a:lnTo>
                      <a:pt x="378" y="4044"/>
                    </a:lnTo>
                    <a:lnTo>
                      <a:pt x="394" y="4034"/>
                    </a:lnTo>
                    <a:lnTo>
                      <a:pt x="404" y="4019"/>
                    </a:lnTo>
                    <a:lnTo>
                      <a:pt x="419" y="3989"/>
                    </a:lnTo>
                    <a:lnTo>
                      <a:pt x="429" y="3958"/>
                    </a:lnTo>
                    <a:lnTo>
                      <a:pt x="429" y="3918"/>
                    </a:lnTo>
                    <a:lnTo>
                      <a:pt x="429" y="3918"/>
                    </a:lnTo>
                    <a:lnTo>
                      <a:pt x="439" y="3867"/>
                    </a:lnTo>
                    <a:lnTo>
                      <a:pt x="439" y="3867"/>
                    </a:lnTo>
                    <a:lnTo>
                      <a:pt x="449" y="3842"/>
                    </a:lnTo>
                    <a:lnTo>
                      <a:pt x="454" y="3797"/>
                    </a:lnTo>
                    <a:lnTo>
                      <a:pt x="464" y="3681"/>
                    </a:lnTo>
                    <a:lnTo>
                      <a:pt x="469" y="3559"/>
                    </a:lnTo>
                    <a:lnTo>
                      <a:pt x="474" y="3473"/>
                    </a:lnTo>
                    <a:lnTo>
                      <a:pt x="474" y="3473"/>
                    </a:lnTo>
                    <a:lnTo>
                      <a:pt x="479" y="3393"/>
                    </a:lnTo>
                    <a:lnTo>
                      <a:pt x="484" y="3266"/>
                    </a:lnTo>
                    <a:lnTo>
                      <a:pt x="500" y="3130"/>
                    </a:lnTo>
                    <a:lnTo>
                      <a:pt x="515" y="2999"/>
                    </a:lnTo>
                    <a:lnTo>
                      <a:pt x="515" y="2999"/>
                    </a:lnTo>
                    <a:lnTo>
                      <a:pt x="545" y="2741"/>
                    </a:lnTo>
                    <a:lnTo>
                      <a:pt x="580" y="2454"/>
                    </a:lnTo>
                    <a:lnTo>
                      <a:pt x="580" y="2454"/>
                    </a:lnTo>
                    <a:lnTo>
                      <a:pt x="595" y="2327"/>
                    </a:lnTo>
                    <a:lnTo>
                      <a:pt x="616" y="2231"/>
                    </a:lnTo>
                    <a:lnTo>
                      <a:pt x="641" y="2146"/>
                    </a:lnTo>
                    <a:lnTo>
                      <a:pt x="641" y="2146"/>
                    </a:lnTo>
                    <a:lnTo>
                      <a:pt x="641" y="2216"/>
                    </a:lnTo>
                    <a:lnTo>
                      <a:pt x="651" y="2287"/>
                    </a:lnTo>
                    <a:lnTo>
                      <a:pt x="666" y="2423"/>
                    </a:lnTo>
                    <a:lnTo>
                      <a:pt x="691" y="2544"/>
                    </a:lnTo>
                    <a:lnTo>
                      <a:pt x="706" y="2656"/>
                    </a:lnTo>
                    <a:lnTo>
                      <a:pt x="706" y="2656"/>
                    </a:lnTo>
                    <a:lnTo>
                      <a:pt x="727" y="2888"/>
                    </a:lnTo>
                    <a:lnTo>
                      <a:pt x="737" y="2984"/>
                    </a:lnTo>
                    <a:lnTo>
                      <a:pt x="747" y="3044"/>
                    </a:lnTo>
                    <a:lnTo>
                      <a:pt x="747" y="3044"/>
                    </a:lnTo>
                    <a:lnTo>
                      <a:pt x="752" y="3085"/>
                    </a:lnTo>
                    <a:lnTo>
                      <a:pt x="757" y="3160"/>
                    </a:lnTo>
                    <a:lnTo>
                      <a:pt x="767" y="3388"/>
                    </a:lnTo>
                    <a:lnTo>
                      <a:pt x="777" y="3756"/>
                    </a:lnTo>
                    <a:lnTo>
                      <a:pt x="777" y="3756"/>
                    </a:lnTo>
                    <a:lnTo>
                      <a:pt x="777" y="3847"/>
                    </a:lnTo>
                    <a:lnTo>
                      <a:pt x="777" y="3882"/>
                    </a:lnTo>
                    <a:lnTo>
                      <a:pt x="787" y="3913"/>
                    </a:lnTo>
                    <a:lnTo>
                      <a:pt x="787" y="3913"/>
                    </a:lnTo>
                    <a:lnTo>
                      <a:pt x="787" y="3938"/>
                    </a:lnTo>
                    <a:lnTo>
                      <a:pt x="787" y="3953"/>
                    </a:lnTo>
                    <a:lnTo>
                      <a:pt x="782" y="3963"/>
                    </a:lnTo>
                    <a:lnTo>
                      <a:pt x="782" y="3978"/>
                    </a:lnTo>
                    <a:lnTo>
                      <a:pt x="782" y="3978"/>
                    </a:lnTo>
                    <a:lnTo>
                      <a:pt x="787" y="3983"/>
                    </a:lnTo>
                    <a:lnTo>
                      <a:pt x="802" y="3994"/>
                    </a:lnTo>
                    <a:lnTo>
                      <a:pt x="838" y="4004"/>
                    </a:lnTo>
                    <a:lnTo>
                      <a:pt x="893" y="4019"/>
                    </a:lnTo>
                    <a:lnTo>
                      <a:pt x="949" y="4039"/>
                    </a:lnTo>
                    <a:lnTo>
                      <a:pt x="949" y="4039"/>
                    </a:lnTo>
                    <a:lnTo>
                      <a:pt x="979" y="4049"/>
                    </a:lnTo>
                    <a:lnTo>
                      <a:pt x="1004" y="4054"/>
                    </a:lnTo>
                    <a:lnTo>
                      <a:pt x="1035" y="4059"/>
                    </a:lnTo>
                    <a:lnTo>
                      <a:pt x="1055" y="4059"/>
                    </a:lnTo>
                    <a:lnTo>
                      <a:pt x="1080" y="4054"/>
                    </a:lnTo>
                    <a:lnTo>
                      <a:pt x="1095" y="4044"/>
                    </a:lnTo>
                    <a:lnTo>
                      <a:pt x="1110" y="4039"/>
                    </a:lnTo>
                    <a:lnTo>
                      <a:pt x="1120" y="4024"/>
                    </a:lnTo>
                    <a:lnTo>
                      <a:pt x="1120" y="4024"/>
                    </a:lnTo>
                    <a:lnTo>
                      <a:pt x="1120" y="4014"/>
                    </a:lnTo>
                    <a:lnTo>
                      <a:pt x="1110" y="3994"/>
                    </a:lnTo>
                    <a:lnTo>
                      <a:pt x="1095" y="3978"/>
                    </a:lnTo>
                    <a:lnTo>
                      <a:pt x="1075" y="3958"/>
                    </a:lnTo>
                    <a:lnTo>
                      <a:pt x="1009" y="3903"/>
                    </a:lnTo>
                    <a:lnTo>
                      <a:pt x="1009" y="3903"/>
                    </a:lnTo>
                    <a:lnTo>
                      <a:pt x="1009" y="3893"/>
                    </a:lnTo>
                    <a:lnTo>
                      <a:pt x="1009" y="3877"/>
                    </a:lnTo>
                    <a:lnTo>
                      <a:pt x="1024" y="3822"/>
                    </a:lnTo>
                    <a:lnTo>
                      <a:pt x="1065" y="3706"/>
                    </a:lnTo>
                    <a:lnTo>
                      <a:pt x="1065" y="3706"/>
                    </a:lnTo>
                    <a:lnTo>
                      <a:pt x="1065" y="3686"/>
                    </a:lnTo>
                    <a:lnTo>
                      <a:pt x="1070" y="3665"/>
                    </a:lnTo>
                    <a:lnTo>
                      <a:pt x="1065" y="3625"/>
                    </a:lnTo>
                    <a:lnTo>
                      <a:pt x="1050" y="3580"/>
                    </a:lnTo>
                    <a:lnTo>
                      <a:pt x="1040" y="3514"/>
                    </a:lnTo>
                    <a:lnTo>
                      <a:pt x="1040" y="3514"/>
                    </a:lnTo>
                    <a:lnTo>
                      <a:pt x="1035" y="3468"/>
                    </a:lnTo>
                    <a:lnTo>
                      <a:pt x="1035" y="3403"/>
                    </a:lnTo>
                    <a:lnTo>
                      <a:pt x="1040" y="3256"/>
                    </a:lnTo>
                    <a:lnTo>
                      <a:pt x="1045" y="3115"/>
                    </a:lnTo>
                    <a:lnTo>
                      <a:pt x="1050" y="3014"/>
                    </a:lnTo>
                    <a:lnTo>
                      <a:pt x="1050" y="3014"/>
                    </a:lnTo>
                    <a:lnTo>
                      <a:pt x="1045" y="2605"/>
                    </a:lnTo>
                    <a:lnTo>
                      <a:pt x="1040" y="2206"/>
                    </a:lnTo>
                    <a:lnTo>
                      <a:pt x="1040" y="2206"/>
                    </a:lnTo>
                    <a:lnTo>
                      <a:pt x="1040" y="2151"/>
                    </a:lnTo>
                    <a:lnTo>
                      <a:pt x="1045" y="2100"/>
                    </a:lnTo>
                    <a:lnTo>
                      <a:pt x="1050" y="2055"/>
                    </a:lnTo>
                    <a:lnTo>
                      <a:pt x="1050" y="2055"/>
                    </a:lnTo>
                    <a:lnTo>
                      <a:pt x="1060" y="2009"/>
                    </a:lnTo>
                    <a:lnTo>
                      <a:pt x="1065" y="1954"/>
                    </a:lnTo>
                    <a:lnTo>
                      <a:pt x="1065" y="1954"/>
                    </a:lnTo>
                    <a:lnTo>
                      <a:pt x="1065" y="1923"/>
                    </a:lnTo>
                    <a:lnTo>
                      <a:pt x="1070" y="1908"/>
                    </a:lnTo>
                    <a:lnTo>
                      <a:pt x="1080" y="1898"/>
                    </a:lnTo>
                    <a:lnTo>
                      <a:pt x="1080" y="1898"/>
                    </a:lnTo>
                    <a:lnTo>
                      <a:pt x="1085" y="1928"/>
                    </a:lnTo>
                    <a:lnTo>
                      <a:pt x="1095" y="1954"/>
                    </a:lnTo>
                    <a:lnTo>
                      <a:pt x="1115" y="1979"/>
                    </a:lnTo>
                    <a:lnTo>
                      <a:pt x="1115" y="1979"/>
                    </a:lnTo>
                    <a:lnTo>
                      <a:pt x="1125" y="1989"/>
                    </a:lnTo>
                    <a:lnTo>
                      <a:pt x="1125" y="1999"/>
                    </a:lnTo>
                    <a:lnTo>
                      <a:pt x="1120" y="2014"/>
                    </a:lnTo>
                    <a:lnTo>
                      <a:pt x="1120" y="2014"/>
                    </a:lnTo>
                    <a:lnTo>
                      <a:pt x="1120" y="2024"/>
                    </a:lnTo>
                    <a:lnTo>
                      <a:pt x="1120" y="2034"/>
                    </a:lnTo>
                    <a:lnTo>
                      <a:pt x="1125" y="2060"/>
                    </a:lnTo>
                    <a:lnTo>
                      <a:pt x="1135" y="2085"/>
                    </a:lnTo>
                    <a:lnTo>
                      <a:pt x="1135" y="2095"/>
                    </a:lnTo>
                    <a:lnTo>
                      <a:pt x="1135" y="2110"/>
                    </a:lnTo>
                    <a:lnTo>
                      <a:pt x="1135" y="2110"/>
                    </a:lnTo>
                    <a:lnTo>
                      <a:pt x="1135" y="2130"/>
                    </a:lnTo>
                    <a:lnTo>
                      <a:pt x="1135" y="2146"/>
                    </a:lnTo>
                    <a:lnTo>
                      <a:pt x="1141" y="2156"/>
                    </a:lnTo>
                    <a:lnTo>
                      <a:pt x="1141" y="2166"/>
                    </a:lnTo>
                    <a:lnTo>
                      <a:pt x="1141" y="2166"/>
                    </a:lnTo>
                    <a:lnTo>
                      <a:pt x="1135" y="2181"/>
                    </a:lnTo>
                    <a:lnTo>
                      <a:pt x="1120" y="2201"/>
                    </a:lnTo>
                    <a:lnTo>
                      <a:pt x="1110" y="2216"/>
                    </a:lnTo>
                    <a:lnTo>
                      <a:pt x="1110" y="2226"/>
                    </a:lnTo>
                    <a:lnTo>
                      <a:pt x="1110" y="2231"/>
                    </a:lnTo>
                    <a:lnTo>
                      <a:pt x="1110" y="2231"/>
                    </a:lnTo>
                    <a:lnTo>
                      <a:pt x="1120" y="2236"/>
                    </a:lnTo>
                    <a:lnTo>
                      <a:pt x="1130" y="2236"/>
                    </a:lnTo>
                    <a:lnTo>
                      <a:pt x="1166" y="2226"/>
                    </a:lnTo>
                    <a:lnTo>
                      <a:pt x="1206" y="2201"/>
                    </a:lnTo>
                    <a:lnTo>
                      <a:pt x="1221" y="2186"/>
                    </a:lnTo>
                    <a:lnTo>
                      <a:pt x="1236" y="2171"/>
                    </a:lnTo>
                    <a:lnTo>
                      <a:pt x="1236" y="2171"/>
                    </a:lnTo>
                    <a:lnTo>
                      <a:pt x="1241" y="2151"/>
                    </a:lnTo>
                    <a:lnTo>
                      <a:pt x="1252" y="2135"/>
                    </a:lnTo>
                    <a:lnTo>
                      <a:pt x="1252" y="2090"/>
                    </a:lnTo>
                    <a:lnTo>
                      <a:pt x="1252" y="2050"/>
                    </a:lnTo>
                    <a:lnTo>
                      <a:pt x="1241" y="2014"/>
                    </a:lnTo>
                    <a:lnTo>
                      <a:pt x="1241" y="2014"/>
                    </a:lnTo>
                    <a:close/>
                    <a:moveTo>
                      <a:pt x="237" y="1565"/>
                    </a:moveTo>
                    <a:lnTo>
                      <a:pt x="237" y="1565"/>
                    </a:lnTo>
                    <a:lnTo>
                      <a:pt x="237" y="1686"/>
                    </a:lnTo>
                    <a:lnTo>
                      <a:pt x="247" y="1762"/>
                    </a:lnTo>
                    <a:lnTo>
                      <a:pt x="247" y="1762"/>
                    </a:lnTo>
                    <a:lnTo>
                      <a:pt x="232" y="1762"/>
                    </a:lnTo>
                    <a:lnTo>
                      <a:pt x="217" y="1757"/>
                    </a:lnTo>
                    <a:lnTo>
                      <a:pt x="207" y="1757"/>
                    </a:lnTo>
                    <a:lnTo>
                      <a:pt x="207" y="1752"/>
                    </a:lnTo>
                    <a:lnTo>
                      <a:pt x="202" y="1742"/>
                    </a:lnTo>
                    <a:lnTo>
                      <a:pt x="207" y="1731"/>
                    </a:lnTo>
                    <a:lnTo>
                      <a:pt x="207" y="1731"/>
                    </a:lnTo>
                    <a:lnTo>
                      <a:pt x="212" y="1726"/>
                    </a:lnTo>
                    <a:lnTo>
                      <a:pt x="217" y="1716"/>
                    </a:lnTo>
                    <a:lnTo>
                      <a:pt x="222" y="1711"/>
                    </a:lnTo>
                    <a:lnTo>
                      <a:pt x="222" y="1701"/>
                    </a:lnTo>
                    <a:lnTo>
                      <a:pt x="222" y="1701"/>
                    </a:lnTo>
                    <a:lnTo>
                      <a:pt x="222" y="1666"/>
                    </a:lnTo>
                    <a:lnTo>
                      <a:pt x="217" y="1615"/>
                    </a:lnTo>
                    <a:lnTo>
                      <a:pt x="212" y="1570"/>
                    </a:lnTo>
                    <a:lnTo>
                      <a:pt x="207" y="1524"/>
                    </a:lnTo>
                    <a:lnTo>
                      <a:pt x="207" y="1524"/>
                    </a:lnTo>
                    <a:lnTo>
                      <a:pt x="202" y="1489"/>
                    </a:lnTo>
                    <a:lnTo>
                      <a:pt x="197" y="1454"/>
                    </a:lnTo>
                    <a:lnTo>
                      <a:pt x="197" y="1413"/>
                    </a:lnTo>
                    <a:lnTo>
                      <a:pt x="197" y="1363"/>
                    </a:lnTo>
                    <a:lnTo>
                      <a:pt x="197" y="1363"/>
                    </a:lnTo>
                    <a:lnTo>
                      <a:pt x="207" y="1322"/>
                    </a:lnTo>
                    <a:lnTo>
                      <a:pt x="222" y="1282"/>
                    </a:lnTo>
                    <a:lnTo>
                      <a:pt x="242" y="1247"/>
                    </a:lnTo>
                    <a:lnTo>
                      <a:pt x="252" y="1237"/>
                    </a:lnTo>
                    <a:lnTo>
                      <a:pt x="262" y="1232"/>
                    </a:lnTo>
                    <a:lnTo>
                      <a:pt x="262" y="1232"/>
                    </a:lnTo>
                    <a:lnTo>
                      <a:pt x="257" y="1302"/>
                    </a:lnTo>
                    <a:lnTo>
                      <a:pt x="247" y="1383"/>
                    </a:lnTo>
                    <a:lnTo>
                      <a:pt x="242" y="1469"/>
                    </a:lnTo>
                    <a:lnTo>
                      <a:pt x="237" y="1565"/>
                    </a:lnTo>
                    <a:lnTo>
                      <a:pt x="237" y="1565"/>
                    </a:lnTo>
                    <a:close/>
                  </a:path>
                </a:pathLst>
              </a:custGeom>
              <a:grp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sp>
            <p:nvSpPr>
              <p:cNvPr id="572" name="Freeform 225">
                <a:extLst>
                  <a:ext uri="{FF2B5EF4-FFF2-40B4-BE49-F238E27FC236}">
                    <a16:creationId xmlns:a16="http://schemas.microsoft.com/office/drawing/2014/main" id="{8018B629-E3D6-4CE1-BF07-BD6E6BD3F803}"/>
                  </a:ext>
                </a:extLst>
              </p:cNvPr>
              <p:cNvSpPr>
                <a:spLocks/>
              </p:cNvSpPr>
              <p:nvPr/>
            </p:nvSpPr>
            <p:spPr bwMode="auto">
              <a:xfrm>
                <a:off x="3264054" y="4888107"/>
                <a:ext cx="226746" cy="268383"/>
              </a:xfrm>
              <a:custGeom>
                <a:avLst/>
                <a:gdLst>
                  <a:gd name="T0" fmla="*/ 868 w 904"/>
                  <a:gd name="T1" fmla="*/ 252 h 1070"/>
                  <a:gd name="T2" fmla="*/ 868 w 904"/>
                  <a:gd name="T3" fmla="*/ 252 h 1070"/>
                  <a:gd name="T4" fmla="*/ 581 w 904"/>
                  <a:gd name="T5" fmla="*/ 126 h 1070"/>
                  <a:gd name="T6" fmla="*/ 374 w 904"/>
                  <a:gd name="T7" fmla="*/ 40 h 1070"/>
                  <a:gd name="T8" fmla="*/ 298 w 904"/>
                  <a:gd name="T9" fmla="*/ 10 h 1070"/>
                  <a:gd name="T10" fmla="*/ 263 w 904"/>
                  <a:gd name="T11" fmla="*/ 0 h 1070"/>
                  <a:gd name="T12" fmla="*/ 263 w 904"/>
                  <a:gd name="T13" fmla="*/ 0 h 1070"/>
                  <a:gd name="T14" fmla="*/ 202 w 904"/>
                  <a:gd name="T15" fmla="*/ 5 h 1070"/>
                  <a:gd name="T16" fmla="*/ 182 w 904"/>
                  <a:gd name="T17" fmla="*/ 10 h 1070"/>
                  <a:gd name="T18" fmla="*/ 157 w 904"/>
                  <a:gd name="T19" fmla="*/ 25 h 1070"/>
                  <a:gd name="T20" fmla="*/ 157 w 904"/>
                  <a:gd name="T21" fmla="*/ 25 h 1070"/>
                  <a:gd name="T22" fmla="*/ 152 w 904"/>
                  <a:gd name="T23" fmla="*/ 30 h 1070"/>
                  <a:gd name="T24" fmla="*/ 142 w 904"/>
                  <a:gd name="T25" fmla="*/ 55 h 1070"/>
                  <a:gd name="T26" fmla="*/ 121 w 904"/>
                  <a:gd name="T27" fmla="*/ 121 h 1070"/>
                  <a:gd name="T28" fmla="*/ 71 w 904"/>
                  <a:gd name="T29" fmla="*/ 323 h 1070"/>
                  <a:gd name="T30" fmla="*/ 25 w 904"/>
                  <a:gd name="T31" fmla="*/ 530 h 1070"/>
                  <a:gd name="T32" fmla="*/ 0 w 904"/>
                  <a:gd name="T33" fmla="*/ 661 h 1070"/>
                  <a:gd name="T34" fmla="*/ 0 w 904"/>
                  <a:gd name="T35" fmla="*/ 661 h 1070"/>
                  <a:gd name="T36" fmla="*/ 0 w 904"/>
                  <a:gd name="T37" fmla="*/ 707 h 1070"/>
                  <a:gd name="T38" fmla="*/ 5 w 904"/>
                  <a:gd name="T39" fmla="*/ 722 h 1070"/>
                  <a:gd name="T40" fmla="*/ 10 w 904"/>
                  <a:gd name="T41" fmla="*/ 732 h 1070"/>
                  <a:gd name="T42" fmla="*/ 25 w 904"/>
                  <a:gd name="T43" fmla="*/ 747 h 1070"/>
                  <a:gd name="T44" fmla="*/ 56 w 904"/>
                  <a:gd name="T45" fmla="*/ 772 h 1070"/>
                  <a:gd name="T46" fmla="*/ 56 w 904"/>
                  <a:gd name="T47" fmla="*/ 772 h 1070"/>
                  <a:gd name="T48" fmla="*/ 101 w 904"/>
                  <a:gd name="T49" fmla="*/ 798 h 1070"/>
                  <a:gd name="T50" fmla="*/ 187 w 904"/>
                  <a:gd name="T51" fmla="*/ 838 h 1070"/>
                  <a:gd name="T52" fmla="*/ 424 w 904"/>
                  <a:gd name="T53" fmla="*/ 939 h 1070"/>
                  <a:gd name="T54" fmla="*/ 752 w 904"/>
                  <a:gd name="T55" fmla="*/ 1070 h 1070"/>
                  <a:gd name="T56" fmla="*/ 752 w 904"/>
                  <a:gd name="T57" fmla="*/ 1070 h 1070"/>
                  <a:gd name="T58" fmla="*/ 788 w 904"/>
                  <a:gd name="T59" fmla="*/ 944 h 1070"/>
                  <a:gd name="T60" fmla="*/ 823 w 904"/>
                  <a:gd name="T61" fmla="*/ 813 h 1070"/>
                  <a:gd name="T62" fmla="*/ 858 w 904"/>
                  <a:gd name="T63" fmla="*/ 661 h 1070"/>
                  <a:gd name="T64" fmla="*/ 889 w 904"/>
                  <a:gd name="T65" fmla="*/ 510 h 1070"/>
                  <a:gd name="T66" fmla="*/ 899 w 904"/>
                  <a:gd name="T67" fmla="*/ 444 h 1070"/>
                  <a:gd name="T68" fmla="*/ 904 w 904"/>
                  <a:gd name="T69" fmla="*/ 379 h 1070"/>
                  <a:gd name="T70" fmla="*/ 904 w 904"/>
                  <a:gd name="T71" fmla="*/ 328 h 1070"/>
                  <a:gd name="T72" fmla="*/ 899 w 904"/>
                  <a:gd name="T73" fmla="*/ 288 h 1070"/>
                  <a:gd name="T74" fmla="*/ 894 w 904"/>
                  <a:gd name="T75" fmla="*/ 273 h 1070"/>
                  <a:gd name="T76" fmla="*/ 889 w 904"/>
                  <a:gd name="T77" fmla="*/ 262 h 1070"/>
                  <a:gd name="T78" fmla="*/ 878 w 904"/>
                  <a:gd name="T79" fmla="*/ 252 h 1070"/>
                  <a:gd name="T80" fmla="*/ 868 w 904"/>
                  <a:gd name="T81" fmla="*/ 252 h 1070"/>
                  <a:gd name="T82" fmla="*/ 868 w 904"/>
                  <a:gd name="T83" fmla="*/ 252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04" h="1070">
                    <a:moveTo>
                      <a:pt x="868" y="252"/>
                    </a:moveTo>
                    <a:lnTo>
                      <a:pt x="868" y="252"/>
                    </a:lnTo>
                    <a:lnTo>
                      <a:pt x="581" y="126"/>
                    </a:lnTo>
                    <a:lnTo>
                      <a:pt x="374" y="40"/>
                    </a:lnTo>
                    <a:lnTo>
                      <a:pt x="298" y="10"/>
                    </a:lnTo>
                    <a:lnTo>
                      <a:pt x="263" y="0"/>
                    </a:lnTo>
                    <a:lnTo>
                      <a:pt x="263" y="0"/>
                    </a:lnTo>
                    <a:lnTo>
                      <a:pt x="202" y="5"/>
                    </a:lnTo>
                    <a:lnTo>
                      <a:pt x="182" y="10"/>
                    </a:lnTo>
                    <a:lnTo>
                      <a:pt x="157" y="25"/>
                    </a:lnTo>
                    <a:lnTo>
                      <a:pt x="157" y="25"/>
                    </a:lnTo>
                    <a:lnTo>
                      <a:pt x="152" y="30"/>
                    </a:lnTo>
                    <a:lnTo>
                      <a:pt x="142" y="55"/>
                    </a:lnTo>
                    <a:lnTo>
                      <a:pt x="121" y="121"/>
                    </a:lnTo>
                    <a:lnTo>
                      <a:pt x="71" y="323"/>
                    </a:lnTo>
                    <a:lnTo>
                      <a:pt x="25" y="530"/>
                    </a:lnTo>
                    <a:lnTo>
                      <a:pt x="0" y="661"/>
                    </a:lnTo>
                    <a:lnTo>
                      <a:pt x="0" y="661"/>
                    </a:lnTo>
                    <a:lnTo>
                      <a:pt x="0" y="707"/>
                    </a:lnTo>
                    <a:lnTo>
                      <a:pt x="5" y="722"/>
                    </a:lnTo>
                    <a:lnTo>
                      <a:pt x="10" y="732"/>
                    </a:lnTo>
                    <a:lnTo>
                      <a:pt x="25" y="747"/>
                    </a:lnTo>
                    <a:lnTo>
                      <a:pt x="56" y="772"/>
                    </a:lnTo>
                    <a:lnTo>
                      <a:pt x="56" y="772"/>
                    </a:lnTo>
                    <a:lnTo>
                      <a:pt x="101" y="798"/>
                    </a:lnTo>
                    <a:lnTo>
                      <a:pt x="187" y="838"/>
                    </a:lnTo>
                    <a:lnTo>
                      <a:pt x="424" y="939"/>
                    </a:lnTo>
                    <a:lnTo>
                      <a:pt x="752" y="1070"/>
                    </a:lnTo>
                    <a:lnTo>
                      <a:pt x="752" y="1070"/>
                    </a:lnTo>
                    <a:lnTo>
                      <a:pt x="788" y="944"/>
                    </a:lnTo>
                    <a:lnTo>
                      <a:pt x="823" y="813"/>
                    </a:lnTo>
                    <a:lnTo>
                      <a:pt x="858" y="661"/>
                    </a:lnTo>
                    <a:lnTo>
                      <a:pt x="889" y="510"/>
                    </a:lnTo>
                    <a:lnTo>
                      <a:pt x="899" y="444"/>
                    </a:lnTo>
                    <a:lnTo>
                      <a:pt x="904" y="379"/>
                    </a:lnTo>
                    <a:lnTo>
                      <a:pt x="904" y="328"/>
                    </a:lnTo>
                    <a:lnTo>
                      <a:pt x="899" y="288"/>
                    </a:lnTo>
                    <a:lnTo>
                      <a:pt x="894" y="273"/>
                    </a:lnTo>
                    <a:lnTo>
                      <a:pt x="889" y="262"/>
                    </a:lnTo>
                    <a:lnTo>
                      <a:pt x="878" y="252"/>
                    </a:lnTo>
                    <a:lnTo>
                      <a:pt x="868" y="252"/>
                    </a:lnTo>
                    <a:lnTo>
                      <a:pt x="868" y="252"/>
                    </a:lnTo>
                    <a:close/>
                  </a:path>
                </a:pathLst>
              </a:custGeom>
              <a:grp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white"/>
                  </a:solidFill>
                  <a:effectLst/>
                  <a:uLnTx/>
                  <a:uFillTx/>
                  <a:latin typeface="Segoe UI"/>
                  <a:ea typeface="+mn-ea"/>
                  <a:cs typeface="+mn-cs"/>
                </a:endParaRPr>
              </a:p>
            </p:txBody>
          </p:sp>
        </p:grpSp>
      </p:grpSp>
      <p:sp>
        <p:nvSpPr>
          <p:cNvPr id="732" name="Freeform 566">
            <a:extLst>
              <a:ext uri="{FF2B5EF4-FFF2-40B4-BE49-F238E27FC236}">
                <a16:creationId xmlns:a16="http://schemas.microsoft.com/office/drawing/2014/main" id="{ECC53976-ADD9-45CF-A80B-3EB98151DE26}"/>
              </a:ext>
            </a:extLst>
          </p:cNvPr>
          <p:cNvSpPr>
            <a:spLocks noChangeAspect="1"/>
          </p:cNvSpPr>
          <p:nvPr/>
        </p:nvSpPr>
        <p:spPr bwMode="auto">
          <a:xfrm>
            <a:off x="2452104" y="2483471"/>
            <a:ext cx="411480" cy="249474"/>
          </a:xfrm>
          <a:custGeom>
            <a:avLst/>
            <a:gdLst/>
            <a:ahLst/>
            <a:cxnLst/>
            <a:rect l="l" t="t" r="r" b="b"/>
            <a:pathLst>
              <a:path w="5246824" h="3181073">
                <a:moveTo>
                  <a:pt x="3735445" y="1121019"/>
                </a:moveTo>
                <a:cubicBezTo>
                  <a:pt x="4182142" y="1131526"/>
                  <a:pt x="4061877" y="1376195"/>
                  <a:pt x="4077497" y="1517293"/>
                </a:cubicBezTo>
                <a:cubicBezTo>
                  <a:pt x="4205571" y="1536806"/>
                  <a:pt x="4104048" y="1718431"/>
                  <a:pt x="4054068" y="1737945"/>
                </a:cubicBezTo>
                <a:cubicBezTo>
                  <a:pt x="4025955" y="1799487"/>
                  <a:pt x="3990812" y="1855965"/>
                  <a:pt x="3969727" y="1922572"/>
                </a:cubicBezTo>
                <a:lnTo>
                  <a:pt x="3967668" y="2088035"/>
                </a:lnTo>
                <a:cubicBezTo>
                  <a:pt x="4003538" y="2104933"/>
                  <a:pt x="4038513" y="2106213"/>
                  <a:pt x="4086820" y="2117581"/>
                </a:cubicBezTo>
                <a:cubicBezTo>
                  <a:pt x="4135128" y="2128948"/>
                  <a:pt x="4568184" y="2210801"/>
                  <a:pt x="4581245" y="2510322"/>
                </a:cubicBezTo>
                <a:cubicBezTo>
                  <a:pt x="4593591" y="2632786"/>
                  <a:pt x="4589468" y="2749118"/>
                  <a:pt x="4578859" y="2859218"/>
                </a:cubicBezTo>
                <a:lnTo>
                  <a:pt x="3801770" y="2858677"/>
                </a:lnTo>
                <a:cubicBezTo>
                  <a:pt x="3802502" y="2787752"/>
                  <a:pt x="3799437" y="2715169"/>
                  <a:pt x="3791954" y="2640940"/>
                </a:cubicBezTo>
                <a:cubicBezTo>
                  <a:pt x="3779735" y="2360730"/>
                  <a:pt x="3499101" y="2219631"/>
                  <a:pt x="3301043" y="2154424"/>
                </a:cubicBezTo>
                <a:cubicBezTo>
                  <a:pt x="3358735" y="2142280"/>
                  <a:pt x="3413196" y="2132840"/>
                  <a:pt x="3454407" y="2118009"/>
                </a:cubicBezTo>
                <a:cubicBezTo>
                  <a:pt x="3488241" y="2106029"/>
                  <a:pt x="3529557" y="2100195"/>
                  <a:pt x="3558509" y="2086370"/>
                </a:cubicBezTo>
                <a:lnTo>
                  <a:pt x="3562077" y="1925923"/>
                </a:lnTo>
                <a:cubicBezTo>
                  <a:pt x="3543530" y="1859877"/>
                  <a:pt x="3510925" y="1790481"/>
                  <a:pt x="3485349" y="1731190"/>
                </a:cubicBezTo>
                <a:cubicBezTo>
                  <a:pt x="3429708" y="1709425"/>
                  <a:pt x="3327795" y="1602102"/>
                  <a:pt x="3458993" y="1530802"/>
                </a:cubicBezTo>
                <a:cubicBezTo>
                  <a:pt x="3438688" y="1403214"/>
                  <a:pt x="3371528" y="1158545"/>
                  <a:pt x="3735445" y="1121019"/>
                </a:cubicBezTo>
                <a:close/>
                <a:moveTo>
                  <a:pt x="1511380" y="1121019"/>
                </a:moveTo>
                <a:cubicBezTo>
                  <a:pt x="1875297" y="1158545"/>
                  <a:pt x="1808137" y="1403214"/>
                  <a:pt x="1787833" y="1530802"/>
                </a:cubicBezTo>
                <a:cubicBezTo>
                  <a:pt x="1919030" y="1602102"/>
                  <a:pt x="1817117" y="1709425"/>
                  <a:pt x="1761476" y="1731190"/>
                </a:cubicBezTo>
                <a:cubicBezTo>
                  <a:pt x="1735900" y="1790481"/>
                  <a:pt x="1703295" y="1859877"/>
                  <a:pt x="1684749" y="1925923"/>
                </a:cubicBezTo>
                <a:lnTo>
                  <a:pt x="1688316" y="2086370"/>
                </a:lnTo>
                <a:cubicBezTo>
                  <a:pt x="1717268" y="2100195"/>
                  <a:pt x="1758585" y="2106029"/>
                  <a:pt x="1792418" y="2118009"/>
                </a:cubicBezTo>
                <a:cubicBezTo>
                  <a:pt x="1833629" y="2132840"/>
                  <a:pt x="1888090" y="2142280"/>
                  <a:pt x="1945782" y="2154424"/>
                </a:cubicBezTo>
                <a:cubicBezTo>
                  <a:pt x="1747724" y="2219631"/>
                  <a:pt x="1467090" y="2360730"/>
                  <a:pt x="1454871" y="2640940"/>
                </a:cubicBezTo>
                <a:cubicBezTo>
                  <a:pt x="1447388" y="2715169"/>
                  <a:pt x="1444323" y="2787752"/>
                  <a:pt x="1445055" y="2858677"/>
                </a:cubicBezTo>
                <a:lnTo>
                  <a:pt x="667966" y="2859218"/>
                </a:lnTo>
                <a:cubicBezTo>
                  <a:pt x="657357" y="2749118"/>
                  <a:pt x="653234" y="2632786"/>
                  <a:pt x="665580" y="2510322"/>
                </a:cubicBezTo>
                <a:cubicBezTo>
                  <a:pt x="678641" y="2210801"/>
                  <a:pt x="1111697" y="2128948"/>
                  <a:pt x="1160005" y="2117581"/>
                </a:cubicBezTo>
                <a:cubicBezTo>
                  <a:pt x="1208313" y="2106213"/>
                  <a:pt x="1243288" y="2104933"/>
                  <a:pt x="1279157" y="2088035"/>
                </a:cubicBezTo>
                <a:lnTo>
                  <a:pt x="1277099" y="1922572"/>
                </a:lnTo>
                <a:cubicBezTo>
                  <a:pt x="1256013" y="1855965"/>
                  <a:pt x="1220871" y="1799487"/>
                  <a:pt x="1192757" y="1737945"/>
                </a:cubicBezTo>
                <a:cubicBezTo>
                  <a:pt x="1142777" y="1718431"/>
                  <a:pt x="1041254" y="1536806"/>
                  <a:pt x="1169328" y="1517293"/>
                </a:cubicBezTo>
                <a:cubicBezTo>
                  <a:pt x="1184948" y="1376195"/>
                  <a:pt x="1064683" y="1131526"/>
                  <a:pt x="1511380" y="1121019"/>
                </a:cubicBezTo>
                <a:close/>
                <a:moveTo>
                  <a:pt x="2644025" y="804535"/>
                </a:moveTo>
                <a:cubicBezTo>
                  <a:pt x="3117058" y="855925"/>
                  <a:pt x="3029760" y="1190988"/>
                  <a:pt x="3003368" y="1365715"/>
                </a:cubicBezTo>
                <a:cubicBezTo>
                  <a:pt x="3173903" y="1463356"/>
                  <a:pt x="3041433" y="1610331"/>
                  <a:pt x="2969109" y="1640138"/>
                </a:cubicBezTo>
                <a:cubicBezTo>
                  <a:pt x="2935865" y="1721334"/>
                  <a:pt x="2895675" y="1820987"/>
                  <a:pt x="2871567" y="1911433"/>
                </a:cubicBezTo>
                <a:cubicBezTo>
                  <a:pt x="2872383" y="1983135"/>
                  <a:pt x="2873197" y="2054838"/>
                  <a:pt x="2874013" y="2126540"/>
                </a:cubicBezTo>
                <a:cubicBezTo>
                  <a:pt x="2911646" y="2145473"/>
                  <a:pt x="2965350" y="2153462"/>
                  <a:pt x="3009329" y="2169868"/>
                </a:cubicBezTo>
                <a:cubicBezTo>
                  <a:pt x="3222053" y="2221603"/>
                  <a:pt x="3720748" y="2225705"/>
                  <a:pt x="3725199" y="2704028"/>
                </a:cubicBezTo>
                <a:cubicBezTo>
                  <a:pt x="3737590" y="2865486"/>
                  <a:pt x="3727458" y="3021680"/>
                  <a:pt x="3731525" y="3179525"/>
                </a:cubicBezTo>
                <a:lnTo>
                  <a:pt x="1544046" y="3181073"/>
                </a:lnTo>
                <a:cubicBezTo>
                  <a:pt x="1548730" y="3030295"/>
                  <a:pt x="1528577" y="2874833"/>
                  <a:pt x="1544625" y="2707124"/>
                </a:cubicBezTo>
                <a:cubicBezTo>
                  <a:pt x="1524658" y="2213819"/>
                  <a:pt x="2124503" y="2184850"/>
                  <a:pt x="2187295" y="2169283"/>
                </a:cubicBezTo>
                <a:cubicBezTo>
                  <a:pt x="2250087" y="2153715"/>
                  <a:pt x="2295549" y="2151961"/>
                  <a:pt x="2342174" y="2128821"/>
                </a:cubicBezTo>
                <a:lnTo>
                  <a:pt x="2339498" y="1902226"/>
                </a:lnTo>
                <a:cubicBezTo>
                  <a:pt x="2312090" y="1811010"/>
                  <a:pt x="2266411" y="1733667"/>
                  <a:pt x="2229868" y="1649387"/>
                </a:cubicBezTo>
                <a:cubicBezTo>
                  <a:pt x="2164902" y="1622664"/>
                  <a:pt x="2032939" y="1373938"/>
                  <a:pt x="2199415" y="1347214"/>
                </a:cubicBezTo>
                <a:cubicBezTo>
                  <a:pt x="2219717" y="1153987"/>
                  <a:pt x="2063393" y="818925"/>
                  <a:pt x="2644025" y="804535"/>
                </a:cubicBezTo>
                <a:close/>
                <a:moveTo>
                  <a:pt x="2618959" y="4"/>
                </a:moveTo>
                <a:cubicBezTo>
                  <a:pt x="3113091" y="-895"/>
                  <a:pt x="3607459" y="147580"/>
                  <a:pt x="4040549" y="445541"/>
                </a:cubicBezTo>
                <a:cubicBezTo>
                  <a:pt x="4829951" y="988640"/>
                  <a:pt x="5288727" y="1942162"/>
                  <a:pt x="5243804" y="2946395"/>
                </a:cubicBezTo>
                <a:lnTo>
                  <a:pt x="4893772" y="2928408"/>
                </a:lnTo>
                <a:cubicBezTo>
                  <a:pt x="4932097" y="2053874"/>
                  <a:pt x="4538512" y="1223127"/>
                  <a:pt x="3860159" y="746736"/>
                </a:cubicBezTo>
                <a:cubicBezTo>
                  <a:pt x="3105483" y="216746"/>
                  <a:pt x="2133172" y="218542"/>
                  <a:pt x="1380169" y="751315"/>
                </a:cubicBezTo>
                <a:cubicBezTo>
                  <a:pt x="703569" y="1230031"/>
                  <a:pt x="312623" y="2061806"/>
                  <a:pt x="353389" y="2935887"/>
                </a:cubicBezTo>
                <a:lnTo>
                  <a:pt x="3419" y="2955027"/>
                </a:lnTo>
                <a:cubicBezTo>
                  <a:pt x="-44367" y="1951271"/>
                  <a:pt x="411365" y="996507"/>
                  <a:pt x="1198789" y="450712"/>
                </a:cubicBezTo>
                <a:cubicBezTo>
                  <a:pt x="1630932" y="151176"/>
                  <a:pt x="2124827" y="903"/>
                  <a:pt x="2618959" y="4"/>
                </a:cubicBezTo>
                <a:close/>
              </a:path>
            </a:pathLst>
          </a:custGeom>
          <a:solidFill>
            <a:srgbClr val="4266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733" name="Rectangle 732">
            <a:extLst>
              <a:ext uri="{FF2B5EF4-FFF2-40B4-BE49-F238E27FC236}">
                <a16:creationId xmlns:a16="http://schemas.microsoft.com/office/drawing/2014/main" id="{24F8033E-852B-41D7-8A3A-3B34EE1D2EA4}"/>
              </a:ext>
            </a:extLst>
          </p:cNvPr>
          <p:cNvSpPr/>
          <p:nvPr/>
        </p:nvSpPr>
        <p:spPr>
          <a:xfrm>
            <a:off x="303212" y="4388490"/>
            <a:ext cx="11582400" cy="3795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1088105" rtl="0" eaLnBrk="1" fontAlgn="auto" latinLnBrk="0" hangingPunct="1">
              <a:lnSpc>
                <a:spcPct val="100000"/>
              </a:lnSpc>
              <a:spcBef>
                <a:spcPts val="20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Top-line Impact</a:t>
            </a:r>
          </a:p>
          <a:p>
            <a:pPr marL="0" marR="0" lvl="0" indent="0" algn="l" defTabSz="1088105" rtl="0" eaLnBrk="1" fontAlgn="auto" latinLnBrk="0" hangingPunct="1">
              <a:lnSpc>
                <a:spcPct val="100000"/>
              </a:lnSpc>
              <a:spcBef>
                <a:spcPts val="20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Coordinate supply chain participants in real-time to increase agility, improve planning and responsiveness, and reduce risk and waste.</a:t>
            </a:r>
          </a:p>
        </p:txBody>
      </p:sp>
      <p:sp>
        <p:nvSpPr>
          <p:cNvPr id="734" name="Rectangle 733">
            <a:extLst>
              <a:ext uri="{FF2B5EF4-FFF2-40B4-BE49-F238E27FC236}">
                <a16:creationId xmlns:a16="http://schemas.microsoft.com/office/drawing/2014/main" id="{1B00339E-CB2E-491F-BBDA-AA860C0D35C7}"/>
              </a:ext>
            </a:extLst>
          </p:cNvPr>
          <p:cNvSpPr/>
          <p:nvPr/>
        </p:nvSpPr>
        <p:spPr bwMode="auto">
          <a:xfrm>
            <a:off x="3595755" y="3274487"/>
            <a:ext cx="796682" cy="276999"/>
          </a:xfrm>
          <a:prstGeom prst="rect">
            <a:avLst/>
          </a:prstGeom>
          <a:noFill/>
          <a:ln w="9525" cap="flat" cmpd="sng" algn="ctr">
            <a:noFill/>
            <a:prstDash val="sysDot"/>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ctr" defTabSz="608884"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505050"/>
                </a:solidFill>
                <a:effectLst/>
                <a:uLnTx/>
                <a:uFillTx/>
                <a:latin typeface="Segoe UI"/>
                <a:ea typeface="+mn-ea"/>
                <a:cs typeface="+mn-cs"/>
              </a:rPr>
              <a:t>Sensors Telemetry</a:t>
            </a:r>
          </a:p>
        </p:txBody>
      </p:sp>
      <p:grpSp>
        <p:nvGrpSpPr>
          <p:cNvPr id="735" name="Group 734">
            <a:extLst>
              <a:ext uri="{FF2B5EF4-FFF2-40B4-BE49-F238E27FC236}">
                <a16:creationId xmlns:a16="http://schemas.microsoft.com/office/drawing/2014/main" id="{01CF3975-85AF-4AE8-BDF8-A81049EFBA8E}"/>
              </a:ext>
            </a:extLst>
          </p:cNvPr>
          <p:cNvGrpSpPr>
            <a:grpSpLocks noChangeAspect="1"/>
          </p:cNvGrpSpPr>
          <p:nvPr/>
        </p:nvGrpSpPr>
        <p:grpSpPr>
          <a:xfrm>
            <a:off x="5871308" y="2845944"/>
            <a:ext cx="411480" cy="235956"/>
            <a:chOff x="5151066" y="2905985"/>
            <a:chExt cx="1597094" cy="915824"/>
          </a:xfrm>
          <a:solidFill>
            <a:srgbClr val="4266A0"/>
          </a:solidFill>
        </p:grpSpPr>
        <p:sp>
          <p:nvSpPr>
            <p:cNvPr id="736" name="Man's Body">
              <a:extLst>
                <a:ext uri="{FF2B5EF4-FFF2-40B4-BE49-F238E27FC236}">
                  <a16:creationId xmlns:a16="http://schemas.microsoft.com/office/drawing/2014/main" id="{27C5DB96-F50C-4F58-B650-1C87A3BAC8EB}"/>
                </a:ext>
              </a:extLst>
            </p:cNvPr>
            <p:cNvSpPr>
              <a:spLocks/>
            </p:cNvSpPr>
            <p:nvPr/>
          </p:nvSpPr>
          <p:spPr bwMode="auto">
            <a:xfrm flipH="1">
              <a:off x="6138624" y="2908991"/>
              <a:ext cx="609536" cy="858034"/>
            </a:xfrm>
            <a:custGeom>
              <a:avLst/>
              <a:gdLst>
                <a:gd name="connsiteX0" fmla="*/ 452684 w 609536"/>
                <a:gd name="connsiteY0" fmla="*/ 499119 h 858034"/>
                <a:gd name="connsiteX1" fmla="*/ 364244 w 609536"/>
                <a:gd name="connsiteY1" fmla="*/ 552651 h 858034"/>
                <a:gd name="connsiteX2" fmla="*/ 303255 w 609536"/>
                <a:gd name="connsiteY2" fmla="*/ 763544 h 858034"/>
                <a:gd name="connsiteX3" fmla="*/ 343737 w 609536"/>
                <a:gd name="connsiteY3" fmla="*/ 794501 h 858034"/>
                <a:gd name="connsiteX4" fmla="*/ 367549 w 609536"/>
                <a:gd name="connsiteY4" fmla="*/ 777832 h 858034"/>
                <a:gd name="connsiteX5" fmla="*/ 362787 w 609536"/>
                <a:gd name="connsiteY5" fmla="*/ 754019 h 858034"/>
                <a:gd name="connsiteX6" fmla="*/ 386599 w 609536"/>
                <a:gd name="connsiteY6" fmla="*/ 746876 h 858034"/>
                <a:gd name="connsiteX7" fmla="*/ 398506 w 609536"/>
                <a:gd name="connsiteY7" fmla="*/ 777832 h 858034"/>
                <a:gd name="connsiteX8" fmla="*/ 343737 w 609536"/>
                <a:gd name="connsiteY8" fmla="*/ 815932 h 858034"/>
                <a:gd name="connsiteX9" fmla="*/ 279443 w 609536"/>
                <a:gd name="connsiteY9" fmla="*/ 773069 h 858034"/>
                <a:gd name="connsiteX10" fmla="*/ 331831 w 609536"/>
                <a:gd name="connsiteY10" fmla="*/ 577807 h 858034"/>
                <a:gd name="connsiteX11" fmla="*/ 305637 w 609536"/>
                <a:gd name="connsiteY11" fmla="*/ 563519 h 858034"/>
                <a:gd name="connsiteX12" fmla="*/ 311779 w 609536"/>
                <a:gd name="connsiteY12" fmla="*/ 547549 h 858034"/>
                <a:gd name="connsiteX13" fmla="*/ 237741 w 609536"/>
                <a:gd name="connsiteY13" fmla="*/ 500485 h 858034"/>
                <a:gd name="connsiteX14" fmla="*/ 224038 w 609536"/>
                <a:gd name="connsiteY14" fmla="*/ 528452 h 858034"/>
                <a:gd name="connsiteX15" fmla="*/ 153447 w 609536"/>
                <a:gd name="connsiteY15" fmla="*/ 578809 h 858034"/>
                <a:gd name="connsiteX16" fmla="*/ 8401 w 609536"/>
                <a:gd name="connsiteY16" fmla="*/ 653033 h 858034"/>
                <a:gd name="connsiteX17" fmla="*/ 67793 w 609536"/>
                <a:gd name="connsiteY17" fmla="*/ 850206 h 858034"/>
                <a:gd name="connsiteX18" fmla="*/ 124357 w 609536"/>
                <a:gd name="connsiteY18" fmla="*/ 749115 h 858034"/>
                <a:gd name="connsiteX19" fmla="*/ 100924 w 609536"/>
                <a:gd name="connsiteY19" fmla="*/ 852938 h 858034"/>
                <a:gd name="connsiteX20" fmla="*/ 480551 w 609536"/>
                <a:gd name="connsiteY20" fmla="*/ 858034 h 858034"/>
                <a:gd name="connsiteX21" fmla="*/ 451681 w 609536"/>
                <a:gd name="connsiteY21" fmla="*/ 791472 h 858034"/>
                <a:gd name="connsiteX22" fmla="*/ 442156 w 609536"/>
                <a:gd name="connsiteY22" fmla="*/ 731940 h 858034"/>
                <a:gd name="connsiteX23" fmla="*/ 449300 w 609536"/>
                <a:gd name="connsiteY23" fmla="*/ 691459 h 858034"/>
                <a:gd name="connsiteX24" fmla="*/ 527881 w 609536"/>
                <a:gd name="connsiteY24" fmla="*/ 643834 h 858034"/>
                <a:gd name="connsiteX25" fmla="*/ 609536 w 609536"/>
                <a:gd name="connsiteY25" fmla="*/ 614300 h 858034"/>
                <a:gd name="connsiteX26" fmla="*/ 520157 w 609536"/>
                <a:gd name="connsiteY26" fmla="*/ 578809 h 858034"/>
                <a:gd name="connsiteX27" fmla="*/ 416545 w 609536"/>
                <a:gd name="connsiteY27" fmla="*/ 619374 h 858034"/>
                <a:gd name="connsiteX28" fmla="*/ 402735 w 609536"/>
                <a:gd name="connsiteY28" fmla="*/ 611762 h 858034"/>
                <a:gd name="connsiteX29" fmla="*/ 480966 w 609536"/>
                <a:gd name="connsiteY29" fmla="*/ 558317 h 858034"/>
                <a:gd name="connsiteX30" fmla="*/ 452684 w 609536"/>
                <a:gd name="connsiteY30" fmla="*/ 499119 h 858034"/>
                <a:gd name="connsiteX31" fmla="*/ 360713 w 609536"/>
                <a:gd name="connsiteY31" fmla="*/ 167 h 858034"/>
                <a:gd name="connsiteX32" fmla="*/ 241395 w 609536"/>
                <a:gd name="connsiteY32" fmla="*/ 59839 h 858034"/>
                <a:gd name="connsiteX33" fmla="*/ 169081 w 609536"/>
                <a:gd name="connsiteY33" fmla="*/ 160974 h 858034"/>
                <a:gd name="connsiteX34" fmla="*/ 192109 w 609536"/>
                <a:gd name="connsiteY34" fmla="*/ 186030 h 858034"/>
                <a:gd name="connsiteX35" fmla="*/ 209480 w 609536"/>
                <a:gd name="connsiteY35" fmla="*/ 168263 h 858034"/>
                <a:gd name="connsiteX36" fmla="*/ 352895 w 609536"/>
                <a:gd name="connsiteY36" fmla="*/ 122251 h 858034"/>
                <a:gd name="connsiteX37" fmla="*/ 205036 w 609536"/>
                <a:gd name="connsiteY37" fmla="*/ 213819 h 858034"/>
                <a:gd name="connsiteX38" fmla="*/ 205036 w 609536"/>
                <a:gd name="connsiteY38" fmla="*/ 254364 h 858034"/>
                <a:gd name="connsiteX39" fmla="*/ 186453 w 609536"/>
                <a:gd name="connsiteY39" fmla="*/ 269397 h 858034"/>
                <a:gd name="connsiteX40" fmla="*/ 206248 w 609536"/>
                <a:gd name="connsiteY40" fmla="*/ 358232 h 858034"/>
                <a:gd name="connsiteX41" fmla="*/ 217560 w 609536"/>
                <a:gd name="connsiteY41" fmla="*/ 365976 h 858034"/>
                <a:gd name="connsiteX42" fmla="*/ 265230 w 609536"/>
                <a:gd name="connsiteY42" fmla="*/ 473033 h 858034"/>
                <a:gd name="connsiteX43" fmla="*/ 352895 w 609536"/>
                <a:gd name="connsiteY43" fmla="*/ 522690 h 858034"/>
                <a:gd name="connsiteX44" fmla="*/ 447024 w 609536"/>
                <a:gd name="connsiteY44" fmla="*/ 460733 h 858034"/>
                <a:gd name="connsiteX45" fmla="*/ 488231 w 609536"/>
                <a:gd name="connsiteY45" fmla="*/ 361421 h 858034"/>
                <a:gd name="connsiteX46" fmla="*/ 521357 w 609536"/>
                <a:gd name="connsiteY46" fmla="*/ 283520 h 858034"/>
                <a:gd name="connsiteX47" fmla="*/ 508430 w 609536"/>
                <a:gd name="connsiteY47" fmla="*/ 261653 h 858034"/>
                <a:gd name="connsiteX48" fmla="*/ 535901 w 609536"/>
                <a:gd name="connsiteY48" fmla="*/ 181930 h 858034"/>
                <a:gd name="connsiteX49" fmla="*/ 426016 w 609536"/>
                <a:gd name="connsiteY49" fmla="*/ 17472 h 858034"/>
                <a:gd name="connsiteX50" fmla="*/ 360713 w 609536"/>
                <a:gd name="connsiteY50" fmla="*/ 167 h 858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09536" h="858034">
                  <a:moveTo>
                    <a:pt x="452684" y="499119"/>
                  </a:moveTo>
                  <a:cubicBezTo>
                    <a:pt x="445971" y="497526"/>
                    <a:pt x="395679" y="543306"/>
                    <a:pt x="364244" y="552651"/>
                  </a:cubicBezTo>
                  <a:lnTo>
                    <a:pt x="303255" y="763544"/>
                  </a:lnTo>
                  <a:lnTo>
                    <a:pt x="343737" y="794501"/>
                  </a:lnTo>
                  <a:lnTo>
                    <a:pt x="367549" y="777832"/>
                  </a:lnTo>
                  <a:lnTo>
                    <a:pt x="362787" y="754019"/>
                  </a:lnTo>
                  <a:lnTo>
                    <a:pt x="386599" y="746876"/>
                  </a:lnTo>
                  <a:lnTo>
                    <a:pt x="398506" y="777832"/>
                  </a:lnTo>
                  <a:lnTo>
                    <a:pt x="343737" y="815932"/>
                  </a:lnTo>
                  <a:lnTo>
                    <a:pt x="279443" y="773069"/>
                  </a:lnTo>
                  <a:lnTo>
                    <a:pt x="331831" y="577807"/>
                  </a:lnTo>
                  <a:lnTo>
                    <a:pt x="305637" y="563519"/>
                  </a:lnTo>
                  <a:lnTo>
                    <a:pt x="311779" y="547549"/>
                  </a:lnTo>
                  <a:cubicBezTo>
                    <a:pt x="265856" y="532518"/>
                    <a:pt x="243484" y="498328"/>
                    <a:pt x="237741" y="500485"/>
                  </a:cubicBezTo>
                  <a:cubicBezTo>
                    <a:pt x="234382" y="501482"/>
                    <a:pt x="229709" y="514159"/>
                    <a:pt x="224038" y="528452"/>
                  </a:cubicBezTo>
                  <a:cubicBezTo>
                    <a:pt x="205457" y="548836"/>
                    <a:pt x="184781" y="572298"/>
                    <a:pt x="153447" y="578809"/>
                  </a:cubicBezTo>
                  <a:cubicBezTo>
                    <a:pt x="143751" y="576532"/>
                    <a:pt x="24966" y="624345"/>
                    <a:pt x="8401" y="653033"/>
                  </a:cubicBezTo>
                  <a:cubicBezTo>
                    <a:pt x="-8568" y="682176"/>
                    <a:pt x="-4932" y="756856"/>
                    <a:pt x="67793" y="850206"/>
                  </a:cubicBezTo>
                  <a:cubicBezTo>
                    <a:pt x="75470" y="796473"/>
                    <a:pt x="115065" y="755035"/>
                    <a:pt x="124357" y="749115"/>
                  </a:cubicBezTo>
                  <a:cubicBezTo>
                    <a:pt x="112236" y="775071"/>
                    <a:pt x="101328" y="823340"/>
                    <a:pt x="100924" y="852938"/>
                  </a:cubicBezTo>
                  <a:cubicBezTo>
                    <a:pt x="128188" y="855133"/>
                    <a:pt x="414548" y="856773"/>
                    <a:pt x="480551" y="858034"/>
                  </a:cubicBezTo>
                  <a:cubicBezTo>
                    <a:pt x="466924" y="834305"/>
                    <a:pt x="458117" y="810194"/>
                    <a:pt x="451681" y="791472"/>
                  </a:cubicBezTo>
                  <a:cubicBezTo>
                    <a:pt x="442950" y="766072"/>
                    <a:pt x="442553" y="748609"/>
                    <a:pt x="442156" y="731940"/>
                  </a:cubicBezTo>
                  <a:cubicBezTo>
                    <a:pt x="441759" y="715271"/>
                    <a:pt x="435012" y="706143"/>
                    <a:pt x="449300" y="691459"/>
                  </a:cubicBezTo>
                  <a:cubicBezTo>
                    <a:pt x="463587" y="676775"/>
                    <a:pt x="501175" y="656694"/>
                    <a:pt x="527881" y="643834"/>
                  </a:cubicBezTo>
                  <a:cubicBezTo>
                    <a:pt x="554587" y="630974"/>
                    <a:pt x="583785" y="620160"/>
                    <a:pt x="609536" y="614300"/>
                  </a:cubicBezTo>
                  <a:cubicBezTo>
                    <a:pt x="573506" y="596277"/>
                    <a:pt x="525501" y="577554"/>
                    <a:pt x="520157" y="578809"/>
                  </a:cubicBezTo>
                  <a:cubicBezTo>
                    <a:pt x="513668" y="580027"/>
                    <a:pt x="471919" y="609413"/>
                    <a:pt x="416545" y="619374"/>
                  </a:cubicBezTo>
                  <a:cubicBezTo>
                    <a:pt x="412236" y="616547"/>
                    <a:pt x="407719" y="613840"/>
                    <a:pt x="402735" y="611762"/>
                  </a:cubicBezTo>
                  <a:cubicBezTo>
                    <a:pt x="445434" y="596908"/>
                    <a:pt x="480070" y="566055"/>
                    <a:pt x="480966" y="558317"/>
                  </a:cubicBezTo>
                  <a:cubicBezTo>
                    <a:pt x="482178" y="547388"/>
                    <a:pt x="460765" y="500485"/>
                    <a:pt x="452684" y="499119"/>
                  </a:cubicBezTo>
                  <a:close/>
                  <a:moveTo>
                    <a:pt x="360713" y="167"/>
                  </a:moveTo>
                  <a:cubicBezTo>
                    <a:pt x="320835" y="2218"/>
                    <a:pt x="277249" y="23109"/>
                    <a:pt x="241395" y="59839"/>
                  </a:cubicBezTo>
                  <a:cubicBezTo>
                    <a:pt x="184029" y="118607"/>
                    <a:pt x="167869" y="149129"/>
                    <a:pt x="169081" y="160974"/>
                  </a:cubicBezTo>
                  <a:cubicBezTo>
                    <a:pt x="170294" y="172363"/>
                    <a:pt x="182009" y="188307"/>
                    <a:pt x="192109" y="186030"/>
                  </a:cubicBezTo>
                  <a:cubicBezTo>
                    <a:pt x="202612" y="183752"/>
                    <a:pt x="203824" y="173729"/>
                    <a:pt x="209480" y="168263"/>
                  </a:cubicBezTo>
                  <a:cubicBezTo>
                    <a:pt x="276542" y="104484"/>
                    <a:pt x="330676" y="114506"/>
                    <a:pt x="352895" y="122251"/>
                  </a:cubicBezTo>
                  <a:cubicBezTo>
                    <a:pt x="266442" y="130451"/>
                    <a:pt x="209480" y="202430"/>
                    <a:pt x="205036" y="213819"/>
                  </a:cubicBezTo>
                  <a:cubicBezTo>
                    <a:pt x="200593" y="224750"/>
                    <a:pt x="205034" y="254351"/>
                    <a:pt x="205036" y="254364"/>
                  </a:cubicBezTo>
                  <a:cubicBezTo>
                    <a:pt x="204990" y="254368"/>
                    <a:pt x="186453" y="255747"/>
                    <a:pt x="186453" y="269397"/>
                  </a:cubicBezTo>
                  <a:cubicBezTo>
                    <a:pt x="186453" y="283062"/>
                    <a:pt x="206241" y="358204"/>
                    <a:pt x="206248" y="358232"/>
                  </a:cubicBezTo>
                  <a:cubicBezTo>
                    <a:pt x="206265" y="358260"/>
                    <a:pt x="211510" y="367342"/>
                    <a:pt x="217560" y="365976"/>
                  </a:cubicBezTo>
                  <a:cubicBezTo>
                    <a:pt x="224023" y="421555"/>
                    <a:pt x="246243" y="456178"/>
                    <a:pt x="265230" y="473033"/>
                  </a:cubicBezTo>
                  <a:cubicBezTo>
                    <a:pt x="283813" y="489434"/>
                    <a:pt x="327040" y="522690"/>
                    <a:pt x="352895" y="522690"/>
                  </a:cubicBezTo>
                  <a:cubicBezTo>
                    <a:pt x="378750" y="522690"/>
                    <a:pt x="442176" y="469844"/>
                    <a:pt x="447024" y="460733"/>
                  </a:cubicBezTo>
                  <a:cubicBezTo>
                    <a:pt x="452275" y="451622"/>
                    <a:pt x="487018" y="411077"/>
                    <a:pt x="488231" y="361421"/>
                  </a:cubicBezTo>
                  <a:cubicBezTo>
                    <a:pt x="505198" y="360054"/>
                    <a:pt x="514894" y="309942"/>
                    <a:pt x="521357" y="283520"/>
                  </a:cubicBezTo>
                  <a:cubicBezTo>
                    <a:pt x="526607" y="261206"/>
                    <a:pt x="508444" y="261652"/>
                    <a:pt x="508430" y="261653"/>
                  </a:cubicBezTo>
                  <a:cubicBezTo>
                    <a:pt x="508451" y="261595"/>
                    <a:pt x="533882" y="191493"/>
                    <a:pt x="535901" y="181930"/>
                  </a:cubicBezTo>
                  <a:cubicBezTo>
                    <a:pt x="537517" y="172818"/>
                    <a:pt x="554484" y="11549"/>
                    <a:pt x="426016" y="17472"/>
                  </a:cubicBezTo>
                  <a:cubicBezTo>
                    <a:pt x="407231" y="4488"/>
                    <a:pt x="384639" y="-1064"/>
                    <a:pt x="360713"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737" name="Man's Body">
              <a:extLst>
                <a:ext uri="{FF2B5EF4-FFF2-40B4-BE49-F238E27FC236}">
                  <a16:creationId xmlns:a16="http://schemas.microsoft.com/office/drawing/2014/main" id="{15B09E47-BB6D-49F4-9490-42A712BB9CAB}"/>
                </a:ext>
              </a:extLst>
            </p:cNvPr>
            <p:cNvSpPr>
              <a:spLocks/>
            </p:cNvSpPr>
            <p:nvPr/>
          </p:nvSpPr>
          <p:spPr bwMode="auto">
            <a:xfrm>
              <a:off x="5151066" y="2905985"/>
              <a:ext cx="633506" cy="861255"/>
            </a:xfrm>
            <a:custGeom>
              <a:avLst/>
              <a:gdLst/>
              <a:ahLst/>
              <a:cxnLst/>
              <a:rect l="l" t="t" r="r" b="b"/>
              <a:pathLst>
                <a:path w="633506" h="861255">
                  <a:moveTo>
                    <a:pt x="256453" y="499120"/>
                  </a:moveTo>
                  <a:cubicBezTo>
                    <a:pt x="264130" y="497298"/>
                    <a:pt x="328774" y="557407"/>
                    <a:pt x="356248" y="556496"/>
                  </a:cubicBezTo>
                  <a:cubicBezTo>
                    <a:pt x="430185" y="553308"/>
                    <a:pt x="464124" y="497754"/>
                    <a:pt x="471396" y="500486"/>
                  </a:cubicBezTo>
                  <a:cubicBezTo>
                    <a:pt x="479073" y="502763"/>
                    <a:pt x="493618" y="566058"/>
                    <a:pt x="510183" y="570612"/>
                  </a:cubicBezTo>
                  <a:cubicBezTo>
                    <a:pt x="536065" y="577458"/>
                    <a:pt x="592849" y="597925"/>
                    <a:pt x="633506" y="619705"/>
                  </a:cubicBezTo>
                  <a:lnTo>
                    <a:pt x="550184" y="652623"/>
                  </a:lnTo>
                  <a:cubicBezTo>
                    <a:pt x="519221" y="665299"/>
                    <a:pt x="483687" y="676104"/>
                    <a:pt x="465400" y="688780"/>
                  </a:cubicBezTo>
                  <a:cubicBezTo>
                    <a:pt x="447113" y="701456"/>
                    <a:pt x="443581" y="714132"/>
                    <a:pt x="440464" y="728678"/>
                  </a:cubicBezTo>
                  <a:cubicBezTo>
                    <a:pt x="437347" y="743225"/>
                    <a:pt x="442334" y="758187"/>
                    <a:pt x="446698" y="776058"/>
                  </a:cubicBezTo>
                  <a:cubicBezTo>
                    <a:pt x="451062" y="793928"/>
                    <a:pt x="460621" y="816995"/>
                    <a:pt x="466647" y="835905"/>
                  </a:cubicBezTo>
                  <a:cubicBezTo>
                    <a:pt x="469140" y="843728"/>
                    <a:pt x="476257" y="851480"/>
                    <a:pt x="482013" y="859117"/>
                  </a:cubicBezTo>
                  <a:cubicBezTo>
                    <a:pt x="426772" y="861357"/>
                    <a:pt x="383089" y="861398"/>
                    <a:pt x="360693" y="861135"/>
                  </a:cubicBezTo>
                  <a:cubicBezTo>
                    <a:pt x="343764" y="861357"/>
                    <a:pt x="314272" y="861362"/>
                    <a:pt x="276708" y="860129"/>
                  </a:cubicBezTo>
                  <a:lnTo>
                    <a:pt x="188866" y="861175"/>
                  </a:lnTo>
                  <a:cubicBezTo>
                    <a:pt x="188860" y="861202"/>
                    <a:pt x="188850" y="861228"/>
                    <a:pt x="188840" y="861255"/>
                  </a:cubicBezTo>
                  <a:lnTo>
                    <a:pt x="187817" y="861195"/>
                  </a:lnTo>
                  <a:lnTo>
                    <a:pt x="184667" y="861255"/>
                  </a:lnTo>
                  <a:cubicBezTo>
                    <a:pt x="184542" y="861199"/>
                    <a:pt x="184417" y="861141"/>
                    <a:pt x="184346" y="860989"/>
                  </a:cubicBezTo>
                  <a:cubicBezTo>
                    <a:pt x="158819" y="859923"/>
                    <a:pt x="131391" y="858325"/>
                    <a:pt x="102874" y="856167"/>
                  </a:cubicBezTo>
                  <a:cubicBezTo>
                    <a:pt x="103285" y="827813"/>
                    <a:pt x="98437" y="820353"/>
                    <a:pt x="110792" y="795487"/>
                  </a:cubicBezTo>
                  <a:cubicBezTo>
                    <a:pt x="101321" y="801159"/>
                    <a:pt x="76929" y="802075"/>
                    <a:pt x="69103" y="853550"/>
                  </a:cubicBezTo>
                  <a:cubicBezTo>
                    <a:pt x="-5028" y="764123"/>
                    <a:pt x="-8734" y="692582"/>
                    <a:pt x="8563" y="664664"/>
                  </a:cubicBezTo>
                  <a:cubicBezTo>
                    <a:pt x="20163" y="645783"/>
                    <a:pt x="80944" y="618255"/>
                    <a:pt x="121197" y="603911"/>
                  </a:cubicBezTo>
                  <a:lnTo>
                    <a:pt x="125773" y="602177"/>
                  </a:lnTo>
                  <a:cubicBezTo>
                    <a:pt x="125566" y="601954"/>
                    <a:pt x="125310" y="601813"/>
                    <a:pt x="125052" y="601673"/>
                  </a:cubicBezTo>
                  <a:cubicBezTo>
                    <a:pt x="155803" y="587721"/>
                    <a:pt x="184426" y="577739"/>
                    <a:pt x="188981" y="578809"/>
                  </a:cubicBezTo>
                  <a:cubicBezTo>
                    <a:pt x="198677" y="580630"/>
                    <a:pt x="258473" y="648935"/>
                    <a:pt x="347764" y="647569"/>
                  </a:cubicBezTo>
                  <a:cubicBezTo>
                    <a:pt x="435010" y="646203"/>
                    <a:pt x="453609" y="597050"/>
                    <a:pt x="453619" y="597023"/>
                  </a:cubicBezTo>
                  <a:cubicBezTo>
                    <a:pt x="453602" y="597053"/>
                    <a:pt x="437815" y="624344"/>
                    <a:pt x="352612" y="622524"/>
                  </a:cubicBezTo>
                  <a:cubicBezTo>
                    <a:pt x="292412" y="621613"/>
                    <a:pt x="229384" y="568791"/>
                    <a:pt x="228171" y="558317"/>
                  </a:cubicBezTo>
                  <a:cubicBezTo>
                    <a:pt x="226959" y="547388"/>
                    <a:pt x="248373" y="500486"/>
                    <a:pt x="256453" y="499120"/>
                  </a:cubicBezTo>
                  <a:close/>
                  <a:moveTo>
                    <a:pt x="348425" y="167"/>
                  </a:moveTo>
                  <a:cubicBezTo>
                    <a:pt x="388302" y="2218"/>
                    <a:pt x="446273" y="21312"/>
                    <a:pt x="475280" y="42250"/>
                  </a:cubicBezTo>
                  <a:cubicBezTo>
                    <a:pt x="504286" y="63189"/>
                    <a:pt x="523678" y="113952"/>
                    <a:pt x="522466" y="125796"/>
                  </a:cubicBezTo>
                  <a:cubicBezTo>
                    <a:pt x="521254" y="137186"/>
                    <a:pt x="520089" y="171360"/>
                    <a:pt x="517028" y="186030"/>
                  </a:cubicBezTo>
                  <a:cubicBezTo>
                    <a:pt x="513968" y="200701"/>
                    <a:pt x="506256" y="202430"/>
                    <a:pt x="504101" y="213819"/>
                  </a:cubicBezTo>
                  <a:cubicBezTo>
                    <a:pt x="508544" y="224750"/>
                    <a:pt x="504103" y="254352"/>
                    <a:pt x="504101" y="254364"/>
                  </a:cubicBezTo>
                  <a:cubicBezTo>
                    <a:pt x="504124" y="254366"/>
                    <a:pt x="522684" y="255739"/>
                    <a:pt x="522684" y="269398"/>
                  </a:cubicBezTo>
                  <a:cubicBezTo>
                    <a:pt x="522684" y="283062"/>
                    <a:pt x="502897" y="358204"/>
                    <a:pt x="502889" y="358232"/>
                  </a:cubicBezTo>
                  <a:cubicBezTo>
                    <a:pt x="502878" y="358251"/>
                    <a:pt x="497631" y="367342"/>
                    <a:pt x="491577" y="365977"/>
                  </a:cubicBezTo>
                  <a:cubicBezTo>
                    <a:pt x="485114" y="421555"/>
                    <a:pt x="462894" y="456178"/>
                    <a:pt x="443907" y="473034"/>
                  </a:cubicBezTo>
                  <a:cubicBezTo>
                    <a:pt x="425324" y="489434"/>
                    <a:pt x="382097" y="522690"/>
                    <a:pt x="356242" y="522690"/>
                  </a:cubicBezTo>
                  <a:cubicBezTo>
                    <a:pt x="330387" y="522690"/>
                    <a:pt x="266961" y="469845"/>
                    <a:pt x="262114" y="460734"/>
                  </a:cubicBezTo>
                  <a:cubicBezTo>
                    <a:pt x="256862" y="451623"/>
                    <a:pt x="222119" y="411077"/>
                    <a:pt x="220907" y="361421"/>
                  </a:cubicBezTo>
                  <a:cubicBezTo>
                    <a:pt x="203940" y="360054"/>
                    <a:pt x="194244" y="309943"/>
                    <a:pt x="187780" y="283520"/>
                  </a:cubicBezTo>
                  <a:cubicBezTo>
                    <a:pt x="182530" y="261207"/>
                    <a:pt x="200694" y="261653"/>
                    <a:pt x="200708" y="261653"/>
                  </a:cubicBezTo>
                  <a:cubicBezTo>
                    <a:pt x="200692" y="261612"/>
                    <a:pt x="175256" y="191494"/>
                    <a:pt x="173237" y="181930"/>
                  </a:cubicBezTo>
                  <a:cubicBezTo>
                    <a:pt x="171621" y="172819"/>
                    <a:pt x="154653" y="11550"/>
                    <a:pt x="283121" y="17472"/>
                  </a:cubicBezTo>
                  <a:cubicBezTo>
                    <a:pt x="301906" y="4488"/>
                    <a:pt x="324498" y="-1064"/>
                    <a:pt x="348425" y="16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a:solidFill>
                  <a:srgbClr val="FFFFFF"/>
                </a:solidFill>
                <a:effectLst>
                  <a:outerShdw blurRad="38100" dist="38100" dir="2700000" algn="tl">
                    <a:srgbClr val="000000">
                      <a:alpha val="43137"/>
                    </a:srgbClr>
                  </a:outerShdw>
                </a:effectLst>
              </a:endParaRPr>
            </a:p>
          </p:txBody>
        </p:sp>
        <p:sp>
          <p:nvSpPr>
            <p:cNvPr id="738" name="Freeform 548">
              <a:extLst>
                <a:ext uri="{FF2B5EF4-FFF2-40B4-BE49-F238E27FC236}">
                  <a16:creationId xmlns:a16="http://schemas.microsoft.com/office/drawing/2014/main" id="{914C9C68-B94C-4E16-B662-2C80C90E396C}"/>
                </a:ext>
              </a:extLst>
            </p:cNvPr>
            <p:cNvSpPr/>
            <p:nvPr/>
          </p:nvSpPr>
          <p:spPr>
            <a:xfrm>
              <a:off x="5606711" y="2967331"/>
              <a:ext cx="688024" cy="854478"/>
            </a:xfrm>
            <a:custGeom>
              <a:avLst/>
              <a:gdLst>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338138 w 3900488"/>
                <a:gd name="connsiteY63" fmla="*/ 4760516 h 4808141"/>
                <a:gd name="connsiteX64" fmla="*/ 161925 w 3900488"/>
                <a:gd name="connsiteY64" fmla="*/ 4436666 h 4808141"/>
                <a:gd name="connsiteX65" fmla="*/ 57150 w 3900488"/>
                <a:gd name="connsiteY65" fmla="*/ 4141391 h 4808141"/>
                <a:gd name="connsiteX66" fmla="*/ 0 w 3900488"/>
                <a:gd name="connsiteY66" fmla="*/ 3855641 h 4808141"/>
                <a:gd name="connsiteX67" fmla="*/ 23813 w 3900488"/>
                <a:gd name="connsiteY67" fmla="*/ 3703241 h 4808141"/>
                <a:gd name="connsiteX68" fmla="*/ 219075 w 3900488"/>
                <a:gd name="connsiteY68" fmla="*/ 3584179 h 4808141"/>
                <a:gd name="connsiteX69" fmla="*/ 533400 w 3900488"/>
                <a:gd name="connsiteY69" fmla="*/ 3450829 h 4808141"/>
                <a:gd name="connsiteX70" fmla="*/ 933450 w 3900488"/>
                <a:gd name="connsiteY70" fmla="*/ 3293666 h 4808141"/>
                <a:gd name="connsiteX71" fmla="*/ 1133475 w 3900488"/>
                <a:gd name="connsiteY71" fmla="*/ 3217466 h 4808141"/>
                <a:gd name="connsiteX72" fmla="*/ 1276350 w 3900488"/>
                <a:gd name="connsiteY72" fmla="*/ 2950766 h 4808141"/>
                <a:gd name="connsiteX73" fmla="*/ 1371600 w 3900488"/>
                <a:gd name="connsiteY73" fmla="*/ 2888854 h 4808141"/>
                <a:gd name="connsiteX74" fmla="*/ 1443038 w 3900488"/>
                <a:gd name="connsiteY74" fmla="*/ 2750741 h 4808141"/>
                <a:gd name="connsiteX75" fmla="*/ 1428750 w 3900488"/>
                <a:gd name="connsiteY75" fmla="*/ 2665016 h 4808141"/>
                <a:gd name="connsiteX76" fmla="*/ 1432339 w 3900488"/>
                <a:gd name="connsiteY76" fmla="*/ 2655556 h 4808141"/>
                <a:gd name="connsiteX77" fmla="*/ 1411332 w 3900488"/>
                <a:gd name="connsiteY77" fmla="*/ 2630242 h 4808141"/>
                <a:gd name="connsiteX78" fmla="*/ 1169833 w 3900488"/>
                <a:gd name="connsiteY78" fmla="*/ 2059985 h 4808141"/>
                <a:gd name="connsiteX79" fmla="*/ 975688 w 3900488"/>
                <a:gd name="connsiteY79" fmla="*/ 1612672 h 4808141"/>
                <a:gd name="connsiteX80" fmla="*/ 1051451 w 3900488"/>
                <a:gd name="connsiteY80" fmla="*/ 1487109 h 4808141"/>
                <a:gd name="connsiteX81" fmla="*/ 1016847 w 3900488"/>
                <a:gd name="connsiteY81" fmla="*/ 1277790 h 4808141"/>
                <a:gd name="connsiteX82" fmla="*/ 933449 w 3900488"/>
                <a:gd name="connsiteY82" fmla="*/ 1341041 h 4808141"/>
                <a:gd name="connsiteX83" fmla="*/ 882649 w 3900488"/>
                <a:gd name="connsiteY83" fmla="*/ 1404541 h 4808141"/>
                <a:gd name="connsiteX84" fmla="*/ 838199 w 3900488"/>
                <a:gd name="connsiteY84" fmla="*/ 1525191 h 4808141"/>
                <a:gd name="connsiteX85" fmla="*/ 857249 w 3900488"/>
                <a:gd name="connsiteY85" fmla="*/ 1645841 h 4808141"/>
                <a:gd name="connsiteX86" fmla="*/ 888999 w 3900488"/>
                <a:gd name="connsiteY86" fmla="*/ 1829991 h 4808141"/>
                <a:gd name="connsiteX87" fmla="*/ 965199 w 3900488"/>
                <a:gd name="connsiteY87" fmla="*/ 2128441 h 4808141"/>
                <a:gd name="connsiteX88" fmla="*/ 1047749 w 3900488"/>
                <a:gd name="connsiteY88" fmla="*/ 2198291 h 4808141"/>
                <a:gd name="connsiteX89" fmla="*/ 1098549 w 3900488"/>
                <a:gd name="connsiteY89" fmla="*/ 2331641 h 4808141"/>
                <a:gd name="connsiteX90" fmla="*/ 1219199 w 3900488"/>
                <a:gd name="connsiteY90" fmla="*/ 2566591 h 4808141"/>
                <a:gd name="connsiteX91" fmla="*/ 1269999 w 3900488"/>
                <a:gd name="connsiteY91" fmla="*/ 2712641 h 4808141"/>
                <a:gd name="connsiteX92" fmla="*/ 1130299 w 3900488"/>
                <a:gd name="connsiteY92" fmla="*/ 2750741 h 4808141"/>
                <a:gd name="connsiteX93" fmla="*/ 927099 w 3900488"/>
                <a:gd name="connsiteY93" fmla="*/ 2776141 h 4808141"/>
                <a:gd name="connsiteX94" fmla="*/ 742949 w 3900488"/>
                <a:gd name="connsiteY94" fmla="*/ 2731691 h 4808141"/>
                <a:gd name="connsiteX95" fmla="*/ 660399 w 3900488"/>
                <a:gd name="connsiteY95" fmla="*/ 2591991 h 4808141"/>
                <a:gd name="connsiteX96" fmla="*/ 622299 w 3900488"/>
                <a:gd name="connsiteY96" fmla="*/ 2344341 h 4808141"/>
                <a:gd name="connsiteX97" fmla="*/ 634999 w 3900488"/>
                <a:gd name="connsiteY97" fmla="*/ 2020491 h 4808141"/>
                <a:gd name="connsiteX98" fmla="*/ 736599 w 3900488"/>
                <a:gd name="connsiteY98" fmla="*/ 1328341 h 4808141"/>
                <a:gd name="connsiteX99" fmla="*/ 971549 w 3900488"/>
                <a:gd name="connsiteY99" fmla="*/ 623491 h 4808141"/>
                <a:gd name="connsiteX100" fmla="*/ 1168399 w 3900488"/>
                <a:gd name="connsiteY100" fmla="*/ 299641 h 4808141"/>
                <a:gd name="connsiteX101" fmla="*/ 1358899 w 3900488"/>
                <a:gd name="connsiteY101" fmla="*/ 140891 h 4808141"/>
                <a:gd name="connsiteX102" fmla="*/ 1530349 w 3900488"/>
                <a:gd name="connsiteY102" fmla="*/ 115491 h 4808141"/>
                <a:gd name="connsiteX103" fmla="*/ 1676399 w 3900488"/>
                <a:gd name="connsiteY103" fmla="*/ 13891 h 4808141"/>
                <a:gd name="connsiteX104" fmla="*/ 1813321 w 3900488"/>
                <a:gd name="connsiteY104" fmla="*/ 0 h 4808141"/>
                <a:gd name="connsiteX0" fmla="*/ 3060949 w 3900488"/>
                <a:gd name="connsiteY0" fmla="*/ 1005769 h 4760516"/>
                <a:gd name="connsiteX1" fmla="*/ 3081338 w 3900488"/>
                <a:gd name="connsiteY1" fmla="*/ 1026716 h 4760516"/>
                <a:gd name="connsiteX2" fmla="*/ 3167063 w 3900488"/>
                <a:gd name="connsiteY2" fmla="*/ 1369616 h 4760516"/>
                <a:gd name="connsiteX3" fmla="*/ 3252788 w 3900488"/>
                <a:gd name="connsiteY3" fmla="*/ 1822054 h 4760516"/>
                <a:gd name="connsiteX4" fmla="*/ 3281363 w 3900488"/>
                <a:gd name="connsiteY4" fmla="*/ 2255441 h 4760516"/>
                <a:gd name="connsiteX5" fmla="*/ 3271838 w 3900488"/>
                <a:gd name="connsiteY5" fmla="*/ 2526904 h 4760516"/>
                <a:gd name="connsiteX6" fmla="*/ 3190875 w 3900488"/>
                <a:gd name="connsiteY6" fmla="*/ 2722166 h 4760516"/>
                <a:gd name="connsiteX7" fmla="*/ 3043238 w 3900488"/>
                <a:gd name="connsiteY7" fmla="*/ 2750741 h 4760516"/>
                <a:gd name="connsiteX8" fmla="*/ 2809875 w 3900488"/>
                <a:gd name="connsiteY8" fmla="*/ 2731691 h 4760516"/>
                <a:gd name="connsiteX9" fmla="*/ 2633663 w 3900488"/>
                <a:gd name="connsiteY9" fmla="*/ 2669779 h 4760516"/>
                <a:gd name="connsiteX10" fmla="*/ 2657475 w 3900488"/>
                <a:gd name="connsiteY10" fmla="*/ 2603104 h 4760516"/>
                <a:gd name="connsiteX11" fmla="*/ 2752725 w 3900488"/>
                <a:gd name="connsiteY11" fmla="*/ 2474516 h 4760516"/>
                <a:gd name="connsiteX12" fmla="*/ 2843213 w 3900488"/>
                <a:gd name="connsiteY12" fmla="*/ 2255441 h 4760516"/>
                <a:gd name="connsiteX13" fmla="*/ 2862263 w 3900488"/>
                <a:gd name="connsiteY13" fmla="*/ 2160191 h 4760516"/>
                <a:gd name="connsiteX14" fmla="*/ 2919413 w 3900488"/>
                <a:gd name="connsiteY14" fmla="*/ 2098279 h 4760516"/>
                <a:gd name="connsiteX15" fmla="*/ 3000375 w 3900488"/>
                <a:gd name="connsiteY15" fmla="*/ 1855391 h 4760516"/>
                <a:gd name="connsiteX16" fmla="*/ 3057525 w 3900488"/>
                <a:gd name="connsiteY16" fmla="*/ 1598216 h 4760516"/>
                <a:gd name="connsiteX17" fmla="*/ 3062288 w 3900488"/>
                <a:gd name="connsiteY17" fmla="*/ 1483916 h 4760516"/>
                <a:gd name="connsiteX18" fmla="*/ 3009900 w 3900488"/>
                <a:gd name="connsiteY18" fmla="*/ 1379141 h 4760516"/>
                <a:gd name="connsiteX19" fmla="*/ 2957513 w 3900488"/>
                <a:gd name="connsiteY19" fmla="*/ 1331516 h 4760516"/>
                <a:gd name="connsiteX20" fmla="*/ 2947988 w 3900488"/>
                <a:gd name="connsiteY20" fmla="*/ 1236266 h 4760516"/>
                <a:gd name="connsiteX21" fmla="*/ 2957513 w 3900488"/>
                <a:gd name="connsiteY21" fmla="*/ 1121966 h 4760516"/>
                <a:gd name="connsiteX22" fmla="*/ 3005138 w 3900488"/>
                <a:gd name="connsiteY22" fmla="*/ 1050529 h 4760516"/>
                <a:gd name="connsiteX23" fmla="*/ 3060949 w 3900488"/>
                <a:gd name="connsiteY23" fmla="*/ 1005769 h 4760516"/>
                <a:gd name="connsiteX24" fmla="*/ 1813321 w 3900488"/>
                <a:gd name="connsiteY24" fmla="*/ 0 h 4760516"/>
                <a:gd name="connsiteX25" fmla="*/ 1955799 w 3900488"/>
                <a:gd name="connsiteY25" fmla="*/ 1191 h 4760516"/>
                <a:gd name="connsiteX26" fmla="*/ 2152649 w 3900488"/>
                <a:gd name="connsiteY26" fmla="*/ 20241 h 4760516"/>
                <a:gd name="connsiteX27" fmla="*/ 2381249 w 3900488"/>
                <a:gd name="connsiteY27" fmla="*/ 121841 h 4760516"/>
                <a:gd name="connsiteX28" fmla="*/ 2641599 w 3900488"/>
                <a:gd name="connsiteY28" fmla="*/ 331391 h 4760516"/>
                <a:gd name="connsiteX29" fmla="*/ 2946399 w 3900488"/>
                <a:gd name="connsiteY29" fmla="*/ 693341 h 4760516"/>
                <a:gd name="connsiteX30" fmla="*/ 3060699 w 3900488"/>
                <a:gd name="connsiteY30" fmla="*/ 883841 h 4760516"/>
                <a:gd name="connsiteX31" fmla="*/ 3009899 w 3900488"/>
                <a:gd name="connsiteY31" fmla="*/ 1004491 h 4760516"/>
                <a:gd name="connsiteX32" fmla="*/ 2901949 w 3900488"/>
                <a:gd name="connsiteY32" fmla="*/ 1061641 h 4760516"/>
                <a:gd name="connsiteX33" fmla="*/ 2825749 w 3900488"/>
                <a:gd name="connsiteY33" fmla="*/ 998141 h 4760516"/>
                <a:gd name="connsiteX34" fmla="*/ 2654299 w 3900488"/>
                <a:gd name="connsiteY34" fmla="*/ 820341 h 4760516"/>
                <a:gd name="connsiteX35" fmla="*/ 2349499 w 3900488"/>
                <a:gd name="connsiteY35" fmla="*/ 674291 h 4760516"/>
                <a:gd name="connsiteX36" fmla="*/ 2019299 w 3900488"/>
                <a:gd name="connsiteY36" fmla="*/ 674291 h 4760516"/>
                <a:gd name="connsiteX37" fmla="*/ 2343149 w 3900488"/>
                <a:gd name="connsiteY37" fmla="*/ 769541 h 4760516"/>
                <a:gd name="connsiteX38" fmla="*/ 2552699 w 3900488"/>
                <a:gd name="connsiteY38" fmla="*/ 909241 h 4760516"/>
                <a:gd name="connsiteX39" fmla="*/ 2629040 w 3900488"/>
                <a:gd name="connsiteY39" fmla="*/ 973620 h 4760516"/>
                <a:gd name="connsiteX40" fmla="*/ 2900212 w 3900488"/>
                <a:gd name="connsiteY40" fmla="*/ 1067700 h 4760516"/>
                <a:gd name="connsiteX41" fmla="*/ 2829545 w 3900488"/>
                <a:gd name="connsiteY41" fmla="*/ 1212445 h 4760516"/>
                <a:gd name="connsiteX42" fmla="*/ 2829545 w 3900488"/>
                <a:gd name="connsiteY42" fmla="*/ 1445256 h 4760516"/>
                <a:gd name="connsiteX43" fmla="*/ 2938456 w 3900488"/>
                <a:gd name="connsiteY43" fmla="*/ 1531580 h 4760516"/>
                <a:gd name="connsiteX44" fmla="*/ 2822442 w 3900488"/>
                <a:gd name="connsiteY44" fmla="*/ 2041674 h 4760516"/>
                <a:gd name="connsiteX45" fmla="*/ 2756148 w 3900488"/>
                <a:gd name="connsiteY45" fmla="*/ 2086142 h 4760516"/>
                <a:gd name="connsiteX46" fmla="*/ 2479547 w 3900488"/>
                <a:gd name="connsiteY46" fmla="*/ 2698176 h 4760516"/>
                <a:gd name="connsiteX47" fmla="*/ 2528888 w 3900488"/>
                <a:gd name="connsiteY47" fmla="*/ 2817416 h 4760516"/>
                <a:gd name="connsiteX48" fmla="*/ 2590800 w 3900488"/>
                <a:gd name="connsiteY48" fmla="*/ 2874566 h 4760516"/>
                <a:gd name="connsiteX49" fmla="*/ 2657475 w 3900488"/>
                <a:gd name="connsiteY49" fmla="*/ 2884091 h 4760516"/>
                <a:gd name="connsiteX50" fmla="*/ 2681288 w 3900488"/>
                <a:gd name="connsiteY50" fmla="*/ 2912666 h 4760516"/>
                <a:gd name="connsiteX51" fmla="*/ 2747963 w 3900488"/>
                <a:gd name="connsiteY51" fmla="*/ 3079354 h 4760516"/>
                <a:gd name="connsiteX52" fmla="*/ 2843213 w 3900488"/>
                <a:gd name="connsiteY52" fmla="*/ 3174604 h 4760516"/>
                <a:gd name="connsiteX53" fmla="*/ 2938463 w 3900488"/>
                <a:gd name="connsiteY53" fmla="*/ 3207941 h 4760516"/>
                <a:gd name="connsiteX54" fmla="*/ 3281363 w 3900488"/>
                <a:gd name="connsiteY54" fmla="*/ 3317479 h 4760516"/>
                <a:gd name="connsiteX55" fmla="*/ 3657600 w 3900488"/>
                <a:gd name="connsiteY55" fmla="*/ 3493691 h 4760516"/>
                <a:gd name="connsiteX56" fmla="*/ 3867150 w 3900488"/>
                <a:gd name="connsiteY56" fmla="*/ 3641329 h 4760516"/>
                <a:gd name="connsiteX57" fmla="*/ 3900488 w 3900488"/>
                <a:gd name="connsiteY57" fmla="*/ 3769916 h 4760516"/>
                <a:gd name="connsiteX58" fmla="*/ 3876675 w 3900488"/>
                <a:gd name="connsiteY58" fmla="*/ 4027091 h 4760516"/>
                <a:gd name="connsiteX59" fmla="*/ 3790950 w 3900488"/>
                <a:gd name="connsiteY59" fmla="*/ 4236641 h 4760516"/>
                <a:gd name="connsiteX60" fmla="*/ 3619500 w 3900488"/>
                <a:gd name="connsiteY60" fmla="*/ 4598591 h 4760516"/>
                <a:gd name="connsiteX61" fmla="*/ 3471863 w 3900488"/>
                <a:gd name="connsiteY61" fmla="*/ 4760516 h 4760516"/>
                <a:gd name="connsiteX62" fmla="*/ 338138 w 3900488"/>
                <a:gd name="connsiteY62" fmla="*/ 4760516 h 4760516"/>
                <a:gd name="connsiteX63" fmla="*/ 161925 w 3900488"/>
                <a:gd name="connsiteY63" fmla="*/ 4436666 h 4760516"/>
                <a:gd name="connsiteX64" fmla="*/ 57150 w 3900488"/>
                <a:gd name="connsiteY64" fmla="*/ 4141391 h 4760516"/>
                <a:gd name="connsiteX65" fmla="*/ 0 w 3900488"/>
                <a:gd name="connsiteY65" fmla="*/ 3855641 h 4760516"/>
                <a:gd name="connsiteX66" fmla="*/ 23813 w 3900488"/>
                <a:gd name="connsiteY66" fmla="*/ 3703241 h 4760516"/>
                <a:gd name="connsiteX67" fmla="*/ 219075 w 3900488"/>
                <a:gd name="connsiteY67" fmla="*/ 3584179 h 4760516"/>
                <a:gd name="connsiteX68" fmla="*/ 533400 w 3900488"/>
                <a:gd name="connsiteY68" fmla="*/ 3450829 h 4760516"/>
                <a:gd name="connsiteX69" fmla="*/ 933450 w 3900488"/>
                <a:gd name="connsiteY69" fmla="*/ 3293666 h 4760516"/>
                <a:gd name="connsiteX70" fmla="*/ 1133475 w 3900488"/>
                <a:gd name="connsiteY70" fmla="*/ 3217466 h 4760516"/>
                <a:gd name="connsiteX71" fmla="*/ 1276350 w 3900488"/>
                <a:gd name="connsiteY71" fmla="*/ 2950766 h 4760516"/>
                <a:gd name="connsiteX72" fmla="*/ 1371600 w 3900488"/>
                <a:gd name="connsiteY72" fmla="*/ 2888854 h 4760516"/>
                <a:gd name="connsiteX73" fmla="*/ 1443038 w 3900488"/>
                <a:gd name="connsiteY73" fmla="*/ 2750741 h 4760516"/>
                <a:gd name="connsiteX74" fmla="*/ 1428750 w 3900488"/>
                <a:gd name="connsiteY74" fmla="*/ 2665016 h 4760516"/>
                <a:gd name="connsiteX75" fmla="*/ 1432339 w 3900488"/>
                <a:gd name="connsiteY75" fmla="*/ 2655556 h 4760516"/>
                <a:gd name="connsiteX76" fmla="*/ 1411332 w 3900488"/>
                <a:gd name="connsiteY76" fmla="*/ 2630242 h 4760516"/>
                <a:gd name="connsiteX77" fmla="*/ 1169833 w 3900488"/>
                <a:gd name="connsiteY77" fmla="*/ 2059985 h 4760516"/>
                <a:gd name="connsiteX78" fmla="*/ 975688 w 3900488"/>
                <a:gd name="connsiteY78" fmla="*/ 1612672 h 4760516"/>
                <a:gd name="connsiteX79" fmla="*/ 1051451 w 3900488"/>
                <a:gd name="connsiteY79" fmla="*/ 1487109 h 4760516"/>
                <a:gd name="connsiteX80" fmla="*/ 1016847 w 3900488"/>
                <a:gd name="connsiteY80" fmla="*/ 1277790 h 4760516"/>
                <a:gd name="connsiteX81" fmla="*/ 933449 w 3900488"/>
                <a:gd name="connsiteY81" fmla="*/ 1341041 h 4760516"/>
                <a:gd name="connsiteX82" fmla="*/ 882649 w 3900488"/>
                <a:gd name="connsiteY82" fmla="*/ 1404541 h 4760516"/>
                <a:gd name="connsiteX83" fmla="*/ 838199 w 3900488"/>
                <a:gd name="connsiteY83" fmla="*/ 1525191 h 4760516"/>
                <a:gd name="connsiteX84" fmla="*/ 857249 w 3900488"/>
                <a:gd name="connsiteY84" fmla="*/ 1645841 h 4760516"/>
                <a:gd name="connsiteX85" fmla="*/ 888999 w 3900488"/>
                <a:gd name="connsiteY85" fmla="*/ 1829991 h 4760516"/>
                <a:gd name="connsiteX86" fmla="*/ 965199 w 3900488"/>
                <a:gd name="connsiteY86" fmla="*/ 2128441 h 4760516"/>
                <a:gd name="connsiteX87" fmla="*/ 1047749 w 3900488"/>
                <a:gd name="connsiteY87" fmla="*/ 2198291 h 4760516"/>
                <a:gd name="connsiteX88" fmla="*/ 1098549 w 3900488"/>
                <a:gd name="connsiteY88" fmla="*/ 2331641 h 4760516"/>
                <a:gd name="connsiteX89" fmla="*/ 1219199 w 3900488"/>
                <a:gd name="connsiteY89" fmla="*/ 2566591 h 4760516"/>
                <a:gd name="connsiteX90" fmla="*/ 1269999 w 3900488"/>
                <a:gd name="connsiteY90" fmla="*/ 2712641 h 4760516"/>
                <a:gd name="connsiteX91" fmla="*/ 1130299 w 3900488"/>
                <a:gd name="connsiteY91" fmla="*/ 2750741 h 4760516"/>
                <a:gd name="connsiteX92" fmla="*/ 927099 w 3900488"/>
                <a:gd name="connsiteY92" fmla="*/ 2776141 h 4760516"/>
                <a:gd name="connsiteX93" fmla="*/ 742949 w 3900488"/>
                <a:gd name="connsiteY93" fmla="*/ 2731691 h 4760516"/>
                <a:gd name="connsiteX94" fmla="*/ 660399 w 3900488"/>
                <a:gd name="connsiteY94" fmla="*/ 2591991 h 4760516"/>
                <a:gd name="connsiteX95" fmla="*/ 622299 w 3900488"/>
                <a:gd name="connsiteY95" fmla="*/ 2344341 h 4760516"/>
                <a:gd name="connsiteX96" fmla="*/ 634999 w 3900488"/>
                <a:gd name="connsiteY96" fmla="*/ 2020491 h 4760516"/>
                <a:gd name="connsiteX97" fmla="*/ 736599 w 3900488"/>
                <a:gd name="connsiteY97" fmla="*/ 1328341 h 4760516"/>
                <a:gd name="connsiteX98" fmla="*/ 971549 w 3900488"/>
                <a:gd name="connsiteY98" fmla="*/ 623491 h 4760516"/>
                <a:gd name="connsiteX99" fmla="*/ 1168399 w 3900488"/>
                <a:gd name="connsiteY99" fmla="*/ 299641 h 4760516"/>
                <a:gd name="connsiteX100" fmla="*/ 1358899 w 3900488"/>
                <a:gd name="connsiteY100" fmla="*/ 140891 h 4760516"/>
                <a:gd name="connsiteX101" fmla="*/ 1530349 w 3900488"/>
                <a:gd name="connsiteY101" fmla="*/ 115491 h 4760516"/>
                <a:gd name="connsiteX102" fmla="*/ 1676399 w 3900488"/>
                <a:gd name="connsiteY102" fmla="*/ 13891 h 4760516"/>
                <a:gd name="connsiteX103" fmla="*/ 1813321 w 3900488"/>
                <a:gd name="connsiteY103" fmla="*/ 0 h 4760516"/>
                <a:gd name="connsiteX0" fmla="*/ 3061653 w 3901192"/>
                <a:gd name="connsiteY0" fmla="*/ 1005769 h 4760516"/>
                <a:gd name="connsiteX1" fmla="*/ 3082042 w 3901192"/>
                <a:gd name="connsiteY1" fmla="*/ 1026716 h 4760516"/>
                <a:gd name="connsiteX2" fmla="*/ 3167767 w 3901192"/>
                <a:gd name="connsiteY2" fmla="*/ 1369616 h 4760516"/>
                <a:gd name="connsiteX3" fmla="*/ 3253492 w 3901192"/>
                <a:gd name="connsiteY3" fmla="*/ 1822054 h 4760516"/>
                <a:gd name="connsiteX4" fmla="*/ 3282067 w 3901192"/>
                <a:gd name="connsiteY4" fmla="*/ 2255441 h 4760516"/>
                <a:gd name="connsiteX5" fmla="*/ 3272542 w 3901192"/>
                <a:gd name="connsiteY5" fmla="*/ 2526904 h 4760516"/>
                <a:gd name="connsiteX6" fmla="*/ 3191579 w 3901192"/>
                <a:gd name="connsiteY6" fmla="*/ 2722166 h 4760516"/>
                <a:gd name="connsiteX7" fmla="*/ 3043942 w 3901192"/>
                <a:gd name="connsiteY7" fmla="*/ 2750741 h 4760516"/>
                <a:gd name="connsiteX8" fmla="*/ 2810579 w 3901192"/>
                <a:gd name="connsiteY8" fmla="*/ 2731691 h 4760516"/>
                <a:gd name="connsiteX9" fmla="*/ 2634367 w 3901192"/>
                <a:gd name="connsiteY9" fmla="*/ 2669779 h 4760516"/>
                <a:gd name="connsiteX10" fmla="*/ 2658179 w 3901192"/>
                <a:gd name="connsiteY10" fmla="*/ 2603104 h 4760516"/>
                <a:gd name="connsiteX11" fmla="*/ 2753429 w 3901192"/>
                <a:gd name="connsiteY11" fmla="*/ 2474516 h 4760516"/>
                <a:gd name="connsiteX12" fmla="*/ 2843917 w 3901192"/>
                <a:gd name="connsiteY12" fmla="*/ 2255441 h 4760516"/>
                <a:gd name="connsiteX13" fmla="*/ 2862967 w 3901192"/>
                <a:gd name="connsiteY13" fmla="*/ 2160191 h 4760516"/>
                <a:gd name="connsiteX14" fmla="*/ 2920117 w 3901192"/>
                <a:gd name="connsiteY14" fmla="*/ 2098279 h 4760516"/>
                <a:gd name="connsiteX15" fmla="*/ 3001079 w 3901192"/>
                <a:gd name="connsiteY15" fmla="*/ 1855391 h 4760516"/>
                <a:gd name="connsiteX16" fmla="*/ 3058229 w 3901192"/>
                <a:gd name="connsiteY16" fmla="*/ 1598216 h 4760516"/>
                <a:gd name="connsiteX17" fmla="*/ 3062992 w 3901192"/>
                <a:gd name="connsiteY17" fmla="*/ 1483916 h 4760516"/>
                <a:gd name="connsiteX18" fmla="*/ 3010604 w 3901192"/>
                <a:gd name="connsiteY18" fmla="*/ 1379141 h 4760516"/>
                <a:gd name="connsiteX19" fmla="*/ 2958217 w 3901192"/>
                <a:gd name="connsiteY19" fmla="*/ 1331516 h 4760516"/>
                <a:gd name="connsiteX20" fmla="*/ 2948692 w 3901192"/>
                <a:gd name="connsiteY20" fmla="*/ 1236266 h 4760516"/>
                <a:gd name="connsiteX21" fmla="*/ 2958217 w 3901192"/>
                <a:gd name="connsiteY21" fmla="*/ 1121966 h 4760516"/>
                <a:gd name="connsiteX22" fmla="*/ 3005842 w 3901192"/>
                <a:gd name="connsiteY22" fmla="*/ 1050529 h 4760516"/>
                <a:gd name="connsiteX23" fmla="*/ 3061653 w 3901192"/>
                <a:gd name="connsiteY23" fmla="*/ 1005769 h 4760516"/>
                <a:gd name="connsiteX24" fmla="*/ 1814025 w 3901192"/>
                <a:gd name="connsiteY24" fmla="*/ 0 h 4760516"/>
                <a:gd name="connsiteX25" fmla="*/ 1956503 w 3901192"/>
                <a:gd name="connsiteY25" fmla="*/ 1191 h 4760516"/>
                <a:gd name="connsiteX26" fmla="*/ 2153353 w 3901192"/>
                <a:gd name="connsiteY26" fmla="*/ 20241 h 4760516"/>
                <a:gd name="connsiteX27" fmla="*/ 2381953 w 3901192"/>
                <a:gd name="connsiteY27" fmla="*/ 121841 h 4760516"/>
                <a:gd name="connsiteX28" fmla="*/ 2642303 w 3901192"/>
                <a:gd name="connsiteY28" fmla="*/ 331391 h 4760516"/>
                <a:gd name="connsiteX29" fmla="*/ 2947103 w 3901192"/>
                <a:gd name="connsiteY29" fmla="*/ 693341 h 4760516"/>
                <a:gd name="connsiteX30" fmla="*/ 3061403 w 3901192"/>
                <a:gd name="connsiteY30" fmla="*/ 883841 h 4760516"/>
                <a:gd name="connsiteX31" fmla="*/ 3010603 w 3901192"/>
                <a:gd name="connsiteY31" fmla="*/ 1004491 h 4760516"/>
                <a:gd name="connsiteX32" fmla="*/ 2902653 w 3901192"/>
                <a:gd name="connsiteY32" fmla="*/ 1061641 h 4760516"/>
                <a:gd name="connsiteX33" fmla="*/ 2826453 w 3901192"/>
                <a:gd name="connsiteY33" fmla="*/ 998141 h 4760516"/>
                <a:gd name="connsiteX34" fmla="*/ 2655003 w 3901192"/>
                <a:gd name="connsiteY34" fmla="*/ 820341 h 4760516"/>
                <a:gd name="connsiteX35" fmla="*/ 2350203 w 3901192"/>
                <a:gd name="connsiteY35" fmla="*/ 674291 h 4760516"/>
                <a:gd name="connsiteX36" fmla="*/ 2020003 w 3901192"/>
                <a:gd name="connsiteY36" fmla="*/ 674291 h 4760516"/>
                <a:gd name="connsiteX37" fmla="*/ 2343853 w 3901192"/>
                <a:gd name="connsiteY37" fmla="*/ 769541 h 4760516"/>
                <a:gd name="connsiteX38" fmla="*/ 2553403 w 3901192"/>
                <a:gd name="connsiteY38" fmla="*/ 909241 h 4760516"/>
                <a:gd name="connsiteX39" fmla="*/ 2629744 w 3901192"/>
                <a:gd name="connsiteY39" fmla="*/ 973620 h 4760516"/>
                <a:gd name="connsiteX40" fmla="*/ 2900916 w 3901192"/>
                <a:gd name="connsiteY40" fmla="*/ 1067700 h 4760516"/>
                <a:gd name="connsiteX41" fmla="*/ 2830249 w 3901192"/>
                <a:gd name="connsiteY41" fmla="*/ 1212445 h 4760516"/>
                <a:gd name="connsiteX42" fmla="*/ 2830249 w 3901192"/>
                <a:gd name="connsiteY42" fmla="*/ 1445256 h 4760516"/>
                <a:gd name="connsiteX43" fmla="*/ 2939160 w 3901192"/>
                <a:gd name="connsiteY43" fmla="*/ 1531580 h 4760516"/>
                <a:gd name="connsiteX44" fmla="*/ 2823146 w 3901192"/>
                <a:gd name="connsiteY44" fmla="*/ 2041674 h 4760516"/>
                <a:gd name="connsiteX45" fmla="*/ 2756852 w 3901192"/>
                <a:gd name="connsiteY45" fmla="*/ 2086142 h 4760516"/>
                <a:gd name="connsiteX46" fmla="*/ 2480251 w 3901192"/>
                <a:gd name="connsiteY46" fmla="*/ 2698176 h 4760516"/>
                <a:gd name="connsiteX47" fmla="*/ 2529592 w 3901192"/>
                <a:gd name="connsiteY47" fmla="*/ 2817416 h 4760516"/>
                <a:gd name="connsiteX48" fmla="*/ 2591504 w 3901192"/>
                <a:gd name="connsiteY48" fmla="*/ 2874566 h 4760516"/>
                <a:gd name="connsiteX49" fmla="*/ 2658179 w 3901192"/>
                <a:gd name="connsiteY49" fmla="*/ 2884091 h 4760516"/>
                <a:gd name="connsiteX50" fmla="*/ 2681992 w 3901192"/>
                <a:gd name="connsiteY50" fmla="*/ 2912666 h 4760516"/>
                <a:gd name="connsiteX51" fmla="*/ 2748667 w 3901192"/>
                <a:gd name="connsiteY51" fmla="*/ 3079354 h 4760516"/>
                <a:gd name="connsiteX52" fmla="*/ 2843917 w 3901192"/>
                <a:gd name="connsiteY52" fmla="*/ 3174604 h 4760516"/>
                <a:gd name="connsiteX53" fmla="*/ 2939167 w 3901192"/>
                <a:gd name="connsiteY53" fmla="*/ 3207941 h 4760516"/>
                <a:gd name="connsiteX54" fmla="*/ 3282067 w 3901192"/>
                <a:gd name="connsiteY54" fmla="*/ 3317479 h 4760516"/>
                <a:gd name="connsiteX55" fmla="*/ 3658304 w 3901192"/>
                <a:gd name="connsiteY55" fmla="*/ 3493691 h 4760516"/>
                <a:gd name="connsiteX56" fmla="*/ 3867854 w 3901192"/>
                <a:gd name="connsiteY56" fmla="*/ 3641329 h 4760516"/>
                <a:gd name="connsiteX57" fmla="*/ 3901192 w 3901192"/>
                <a:gd name="connsiteY57" fmla="*/ 3769916 h 4760516"/>
                <a:gd name="connsiteX58" fmla="*/ 3877379 w 3901192"/>
                <a:gd name="connsiteY58" fmla="*/ 4027091 h 4760516"/>
                <a:gd name="connsiteX59" fmla="*/ 3791654 w 3901192"/>
                <a:gd name="connsiteY59" fmla="*/ 4236641 h 4760516"/>
                <a:gd name="connsiteX60" fmla="*/ 3620204 w 3901192"/>
                <a:gd name="connsiteY60" fmla="*/ 4598591 h 4760516"/>
                <a:gd name="connsiteX61" fmla="*/ 3472567 w 3901192"/>
                <a:gd name="connsiteY61" fmla="*/ 4760516 h 4760516"/>
                <a:gd name="connsiteX62" fmla="*/ 338842 w 3901192"/>
                <a:gd name="connsiteY62" fmla="*/ 4760516 h 4760516"/>
                <a:gd name="connsiteX63" fmla="*/ 162629 w 3901192"/>
                <a:gd name="connsiteY63" fmla="*/ 4436666 h 4760516"/>
                <a:gd name="connsiteX64" fmla="*/ 57854 w 3901192"/>
                <a:gd name="connsiteY64" fmla="*/ 4141391 h 4760516"/>
                <a:gd name="connsiteX65" fmla="*/ 704 w 3901192"/>
                <a:gd name="connsiteY65" fmla="*/ 3855641 h 4760516"/>
                <a:gd name="connsiteX66" fmla="*/ 24517 w 3901192"/>
                <a:gd name="connsiteY66" fmla="*/ 3703241 h 4760516"/>
                <a:gd name="connsiteX67" fmla="*/ 219779 w 3901192"/>
                <a:gd name="connsiteY67" fmla="*/ 3584179 h 4760516"/>
                <a:gd name="connsiteX68" fmla="*/ 534104 w 3901192"/>
                <a:gd name="connsiteY68" fmla="*/ 3450829 h 4760516"/>
                <a:gd name="connsiteX69" fmla="*/ 934154 w 3901192"/>
                <a:gd name="connsiteY69" fmla="*/ 3293666 h 4760516"/>
                <a:gd name="connsiteX70" fmla="*/ 1134179 w 3901192"/>
                <a:gd name="connsiteY70" fmla="*/ 3217466 h 4760516"/>
                <a:gd name="connsiteX71" fmla="*/ 1277054 w 3901192"/>
                <a:gd name="connsiteY71" fmla="*/ 2950766 h 4760516"/>
                <a:gd name="connsiteX72" fmla="*/ 1372304 w 3901192"/>
                <a:gd name="connsiteY72" fmla="*/ 2888854 h 4760516"/>
                <a:gd name="connsiteX73" fmla="*/ 1443742 w 3901192"/>
                <a:gd name="connsiteY73" fmla="*/ 2750741 h 4760516"/>
                <a:gd name="connsiteX74" fmla="*/ 1429454 w 3901192"/>
                <a:gd name="connsiteY74" fmla="*/ 2665016 h 4760516"/>
                <a:gd name="connsiteX75" fmla="*/ 1433043 w 3901192"/>
                <a:gd name="connsiteY75" fmla="*/ 2655556 h 4760516"/>
                <a:gd name="connsiteX76" fmla="*/ 1412036 w 3901192"/>
                <a:gd name="connsiteY76" fmla="*/ 2630242 h 4760516"/>
                <a:gd name="connsiteX77" fmla="*/ 1170537 w 3901192"/>
                <a:gd name="connsiteY77" fmla="*/ 2059985 h 4760516"/>
                <a:gd name="connsiteX78" fmla="*/ 976392 w 3901192"/>
                <a:gd name="connsiteY78" fmla="*/ 1612672 h 4760516"/>
                <a:gd name="connsiteX79" fmla="*/ 1052155 w 3901192"/>
                <a:gd name="connsiteY79" fmla="*/ 1487109 h 4760516"/>
                <a:gd name="connsiteX80" fmla="*/ 1017551 w 3901192"/>
                <a:gd name="connsiteY80" fmla="*/ 1277790 h 4760516"/>
                <a:gd name="connsiteX81" fmla="*/ 934153 w 3901192"/>
                <a:gd name="connsiteY81" fmla="*/ 1341041 h 4760516"/>
                <a:gd name="connsiteX82" fmla="*/ 883353 w 3901192"/>
                <a:gd name="connsiteY82" fmla="*/ 1404541 h 4760516"/>
                <a:gd name="connsiteX83" fmla="*/ 838903 w 3901192"/>
                <a:gd name="connsiteY83" fmla="*/ 1525191 h 4760516"/>
                <a:gd name="connsiteX84" fmla="*/ 857953 w 3901192"/>
                <a:gd name="connsiteY84" fmla="*/ 1645841 h 4760516"/>
                <a:gd name="connsiteX85" fmla="*/ 889703 w 3901192"/>
                <a:gd name="connsiteY85" fmla="*/ 1829991 h 4760516"/>
                <a:gd name="connsiteX86" fmla="*/ 965903 w 3901192"/>
                <a:gd name="connsiteY86" fmla="*/ 2128441 h 4760516"/>
                <a:gd name="connsiteX87" fmla="*/ 1048453 w 3901192"/>
                <a:gd name="connsiteY87" fmla="*/ 2198291 h 4760516"/>
                <a:gd name="connsiteX88" fmla="*/ 1099253 w 3901192"/>
                <a:gd name="connsiteY88" fmla="*/ 2331641 h 4760516"/>
                <a:gd name="connsiteX89" fmla="*/ 1219903 w 3901192"/>
                <a:gd name="connsiteY89" fmla="*/ 2566591 h 4760516"/>
                <a:gd name="connsiteX90" fmla="*/ 1270703 w 3901192"/>
                <a:gd name="connsiteY90" fmla="*/ 2712641 h 4760516"/>
                <a:gd name="connsiteX91" fmla="*/ 1131003 w 3901192"/>
                <a:gd name="connsiteY91" fmla="*/ 2750741 h 4760516"/>
                <a:gd name="connsiteX92" fmla="*/ 927803 w 3901192"/>
                <a:gd name="connsiteY92" fmla="*/ 2776141 h 4760516"/>
                <a:gd name="connsiteX93" fmla="*/ 743653 w 3901192"/>
                <a:gd name="connsiteY93" fmla="*/ 2731691 h 4760516"/>
                <a:gd name="connsiteX94" fmla="*/ 661103 w 3901192"/>
                <a:gd name="connsiteY94" fmla="*/ 2591991 h 4760516"/>
                <a:gd name="connsiteX95" fmla="*/ 623003 w 3901192"/>
                <a:gd name="connsiteY95" fmla="*/ 2344341 h 4760516"/>
                <a:gd name="connsiteX96" fmla="*/ 635703 w 3901192"/>
                <a:gd name="connsiteY96" fmla="*/ 2020491 h 4760516"/>
                <a:gd name="connsiteX97" fmla="*/ 737303 w 3901192"/>
                <a:gd name="connsiteY97" fmla="*/ 1328341 h 4760516"/>
                <a:gd name="connsiteX98" fmla="*/ 972253 w 3901192"/>
                <a:gd name="connsiteY98" fmla="*/ 623491 h 4760516"/>
                <a:gd name="connsiteX99" fmla="*/ 1169103 w 3901192"/>
                <a:gd name="connsiteY99" fmla="*/ 299641 h 4760516"/>
                <a:gd name="connsiteX100" fmla="*/ 1359603 w 3901192"/>
                <a:gd name="connsiteY100" fmla="*/ 140891 h 4760516"/>
                <a:gd name="connsiteX101" fmla="*/ 1531053 w 3901192"/>
                <a:gd name="connsiteY101" fmla="*/ 115491 h 4760516"/>
                <a:gd name="connsiteX102" fmla="*/ 1677103 w 3901192"/>
                <a:gd name="connsiteY102" fmla="*/ 13891 h 4760516"/>
                <a:gd name="connsiteX103" fmla="*/ 1814025 w 3901192"/>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2384"/>
                <a:gd name="connsiteY0" fmla="*/ 1005769 h 4760516"/>
                <a:gd name="connsiteX1" fmla="*/ 3082677 w 3902384"/>
                <a:gd name="connsiteY1" fmla="*/ 1026716 h 4760516"/>
                <a:gd name="connsiteX2" fmla="*/ 3168402 w 3902384"/>
                <a:gd name="connsiteY2" fmla="*/ 1369616 h 4760516"/>
                <a:gd name="connsiteX3" fmla="*/ 3254127 w 3902384"/>
                <a:gd name="connsiteY3" fmla="*/ 1822054 h 4760516"/>
                <a:gd name="connsiteX4" fmla="*/ 3282702 w 3902384"/>
                <a:gd name="connsiteY4" fmla="*/ 2255441 h 4760516"/>
                <a:gd name="connsiteX5" fmla="*/ 3273177 w 3902384"/>
                <a:gd name="connsiteY5" fmla="*/ 2526904 h 4760516"/>
                <a:gd name="connsiteX6" fmla="*/ 3192214 w 3902384"/>
                <a:gd name="connsiteY6" fmla="*/ 2722166 h 4760516"/>
                <a:gd name="connsiteX7" fmla="*/ 3044577 w 3902384"/>
                <a:gd name="connsiteY7" fmla="*/ 2750741 h 4760516"/>
                <a:gd name="connsiteX8" fmla="*/ 2811214 w 3902384"/>
                <a:gd name="connsiteY8" fmla="*/ 2731691 h 4760516"/>
                <a:gd name="connsiteX9" fmla="*/ 2635002 w 3902384"/>
                <a:gd name="connsiteY9" fmla="*/ 2669779 h 4760516"/>
                <a:gd name="connsiteX10" fmla="*/ 2658814 w 3902384"/>
                <a:gd name="connsiteY10" fmla="*/ 2603104 h 4760516"/>
                <a:gd name="connsiteX11" fmla="*/ 2754064 w 3902384"/>
                <a:gd name="connsiteY11" fmla="*/ 2474516 h 4760516"/>
                <a:gd name="connsiteX12" fmla="*/ 2844552 w 3902384"/>
                <a:gd name="connsiteY12" fmla="*/ 2255441 h 4760516"/>
                <a:gd name="connsiteX13" fmla="*/ 2863602 w 3902384"/>
                <a:gd name="connsiteY13" fmla="*/ 2160191 h 4760516"/>
                <a:gd name="connsiteX14" fmla="*/ 2920752 w 3902384"/>
                <a:gd name="connsiteY14" fmla="*/ 2098279 h 4760516"/>
                <a:gd name="connsiteX15" fmla="*/ 3001714 w 3902384"/>
                <a:gd name="connsiteY15" fmla="*/ 1855391 h 4760516"/>
                <a:gd name="connsiteX16" fmla="*/ 3058864 w 3902384"/>
                <a:gd name="connsiteY16" fmla="*/ 1598216 h 4760516"/>
                <a:gd name="connsiteX17" fmla="*/ 3063627 w 3902384"/>
                <a:gd name="connsiteY17" fmla="*/ 1483916 h 4760516"/>
                <a:gd name="connsiteX18" fmla="*/ 3011239 w 3902384"/>
                <a:gd name="connsiteY18" fmla="*/ 1379141 h 4760516"/>
                <a:gd name="connsiteX19" fmla="*/ 2958852 w 3902384"/>
                <a:gd name="connsiteY19" fmla="*/ 1331516 h 4760516"/>
                <a:gd name="connsiteX20" fmla="*/ 2949327 w 3902384"/>
                <a:gd name="connsiteY20" fmla="*/ 1236266 h 4760516"/>
                <a:gd name="connsiteX21" fmla="*/ 2958852 w 3902384"/>
                <a:gd name="connsiteY21" fmla="*/ 1121966 h 4760516"/>
                <a:gd name="connsiteX22" fmla="*/ 3006477 w 3902384"/>
                <a:gd name="connsiteY22" fmla="*/ 1050529 h 4760516"/>
                <a:gd name="connsiteX23" fmla="*/ 3062288 w 3902384"/>
                <a:gd name="connsiteY23" fmla="*/ 1005769 h 4760516"/>
                <a:gd name="connsiteX24" fmla="*/ 1814660 w 3902384"/>
                <a:gd name="connsiteY24" fmla="*/ 0 h 4760516"/>
                <a:gd name="connsiteX25" fmla="*/ 1957138 w 3902384"/>
                <a:gd name="connsiteY25" fmla="*/ 1191 h 4760516"/>
                <a:gd name="connsiteX26" fmla="*/ 2153988 w 3902384"/>
                <a:gd name="connsiteY26" fmla="*/ 20241 h 4760516"/>
                <a:gd name="connsiteX27" fmla="*/ 2382588 w 3902384"/>
                <a:gd name="connsiteY27" fmla="*/ 121841 h 4760516"/>
                <a:gd name="connsiteX28" fmla="*/ 2642938 w 3902384"/>
                <a:gd name="connsiteY28" fmla="*/ 331391 h 4760516"/>
                <a:gd name="connsiteX29" fmla="*/ 2947738 w 3902384"/>
                <a:gd name="connsiteY29" fmla="*/ 693341 h 4760516"/>
                <a:gd name="connsiteX30" fmla="*/ 3062038 w 3902384"/>
                <a:gd name="connsiteY30" fmla="*/ 883841 h 4760516"/>
                <a:gd name="connsiteX31" fmla="*/ 3011238 w 3902384"/>
                <a:gd name="connsiteY31" fmla="*/ 1004491 h 4760516"/>
                <a:gd name="connsiteX32" fmla="*/ 2903288 w 3902384"/>
                <a:gd name="connsiteY32" fmla="*/ 1061641 h 4760516"/>
                <a:gd name="connsiteX33" fmla="*/ 2827088 w 3902384"/>
                <a:gd name="connsiteY33" fmla="*/ 998141 h 4760516"/>
                <a:gd name="connsiteX34" fmla="*/ 2655638 w 3902384"/>
                <a:gd name="connsiteY34" fmla="*/ 820341 h 4760516"/>
                <a:gd name="connsiteX35" fmla="*/ 2350838 w 3902384"/>
                <a:gd name="connsiteY35" fmla="*/ 674291 h 4760516"/>
                <a:gd name="connsiteX36" fmla="*/ 2020638 w 3902384"/>
                <a:gd name="connsiteY36" fmla="*/ 674291 h 4760516"/>
                <a:gd name="connsiteX37" fmla="*/ 2344488 w 3902384"/>
                <a:gd name="connsiteY37" fmla="*/ 769541 h 4760516"/>
                <a:gd name="connsiteX38" fmla="*/ 2554038 w 3902384"/>
                <a:gd name="connsiteY38" fmla="*/ 909241 h 4760516"/>
                <a:gd name="connsiteX39" fmla="*/ 2630379 w 3902384"/>
                <a:gd name="connsiteY39" fmla="*/ 973620 h 4760516"/>
                <a:gd name="connsiteX40" fmla="*/ 2901551 w 3902384"/>
                <a:gd name="connsiteY40" fmla="*/ 1067700 h 4760516"/>
                <a:gd name="connsiteX41" fmla="*/ 2830884 w 3902384"/>
                <a:gd name="connsiteY41" fmla="*/ 1212445 h 4760516"/>
                <a:gd name="connsiteX42" fmla="*/ 2830884 w 3902384"/>
                <a:gd name="connsiteY42" fmla="*/ 1445256 h 4760516"/>
                <a:gd name="connsiteX43" fmla="*/ 2939795 w 3902384"/>
                <a:gd name="connsiteY43" fmla="*/ 1531580 h 4760516"/>
                <a:gd name="connsiteX44" fmla="*/ 2823781 w 3902384"/>
                <a:gd name="connsiteY44" fmla="*/ 2041674 h 4760516"/>
                <a:gd name="connsiteX45" fmla="*/ 2757487 w 3902384"/>
                <a:gd name="connsiteY45" fmla="*/ 2086142 h 4760516"/>
                <a:gd name="connsiteX46" fmla="*/ 2480886 w 3902384"/>
                <a:gd name="connsiteY46" fmla="*/ 2698176 h 4760516"/>
                <a:gd name="connsiteX47" fmla="*/ 2530227 w 3902384"/>
                <a:gd name="connsiteY47" fmla="*/ 2817416 h 4760516"/>
                <a:gd name="connsiteX48" fmla="*/ 2592139 w 3902384"/>
                <a:gd name="connsiteY48" fmla="*/ 2874566 h 4760516"/>
                <a:gd name="connsiteX49" fmla="*/ 2658814 w 3902384"/>
                <a:gd name="connsiteY49" fmla="*/ 2884091 h 4760516"/>
                <a:gd name="connsiteX50" fmla="*/ 2682627 w 3902384"/>
                <a:gd name="connsiteY50" fmla="*/ 2912666 h 4760516"/>
                <a:gd name="connsiteX51" fmla="*/ 2749302 w 3902384"/>
                <a:gd name="connsiteY51" fmla="*/ 3079354 h 4760516"/>
                <a:gd name="connsiteX52" fmla="*/ 2844552 w 3902384"/>
                <a:gd name="connsiteY52" fmla="*/ 3174604 h 4760516"/>
                <a:gd name="connsiteX53" fmla="*/ 2939802 w 3902384"/>
                <a:gd name="connsiteY53" fmla="*/ 3207941 h 4760516"/>
                <a:gd name="connsiteX54" fmla="*/ 3282702 w 3902384"/>
                <a:gd name="connsiteY54" fmla="*/ 3317479 h 4760516"/>
                <a:gd name="connsiteX55" fmla="*/ 3658939 w 3902384"/>
                <a:gd name="connsiteY55" fmla="*/ 3493691 h 4760516"/>
                <a:gd name="connsiteX56" fmla="*/ 3868489 w 3902384"/>
                <a:gd name="connsiteY56" fmla="*/ 3641329 h 4760516"/>
                <a:gd name="connsiteX57" fmla="*/ 3901827 w 3902384"/>
                <a:gd name="connsiteY57" fmla="*/ 3769916 h 4760516"/>
                <a:gd name="connsiteX58" fmla="*/ 3878014 w 3902384"/>
                <a:gd name="connsiteY58" fmla="*/ 4027091 h 4760516"/>
                <a:gd name="connsiteX59" fmla="*/ 3792289 w 3902384"/>
                <a:gd name="connsiteY59" fmla="*/ 4236641 h 4760516"/>
                <a:gd name="connsiteX60" fmla="*/ 3620839 w 3902384"/>
                <a:gd name="connsiteY60" fmla="*/ 4598591 h 4760516"/>
                <a:gd name="connsiteX61" fmla="*/ 3473202 w 3902384"/>
                <a:gd name="connsiteY61" fmla="*/ 4760516 h 4760516"/>
                <a:gd name="connsiteX62" fmla="*/ 339477 w 3902384"/>
                <a:gd name="connsiteY62" fmla="*/ 4760516 h 4760516"/>
                <a:gd name="connsiteX63" fmla="*/ 163264 w 3902384"/>
                <a:gd name="connsiteY63" fmla="*/ 4436666 h 4760516"/>
                <a:gd name="connsiteX64" fmla="*/ 58489 w 3902384"/>
                <a:gd name="connsiteY64" fmla="*/ 4141391 h 4760516"/>
                <a:gd name="connsiteX65" fmla="*/ 1339 w 3902384"/>
                <a:gd name="connsiteY65" fmla="*/ 3855641 h 4760516"/>
                <a:gd name="connsiteX66" fmla="*/ 25152 w 3902384"/>
                <a:gd name="connsiteY66" fmla="*/ 3703241 h 4760516"/>
                <a:gd name="connsiteX67" fmla="*/ 220414 w 3902384"/>
                <a:gd name="connsiteY67" fmla="*/ 3584179 h 4760516"/>
                <a:gd name="connsiteX68" fmla="*/ 534739 w 3902384"/>
                <a:gd name="connsiteY68" fmla="*/ 3450829 h 4760516"/>
                <a:gd name="connsiteX69" fmla="*/ 934789 w 3902384"/>
                <a:gd name="connsiteY69" fmla="*/ 3293666 h 4760516"/>
                <a:gd name="connsiteX70" fmla="*/ 1134814 w 3902384"/>
                <a:gd name="connsiteY70" fmla="*/ 3217466 h 4760516"/>
                <a:gd name="connsiteX71" fmla="*/ 1277689 w 3902384"/>
                <a:gd name="connsiteY71" fmla="*/ 2950766 h 4760516"/>
                <a:gd name="connsiteX72" fmla="*/ 1372939 w 3902384"/>
                <a:gd name="connsiteY72" fmla="*/ 2888854 h 4760516"/>
                <a:gd name="connsiteX73" fmla="*/ 1444377 w 3902384"/>
                <a:gd name="connsiteY73" fmla="*/ 2750741 h 4760516"/>
                <a:gd name="connsiteX74" fmla="*/ 1430089 w 3902384"/>
                <a:gd name="connsiteY74" fmla="*/ 2665016 h 4760516"/>
                <a:gd name="connsiteX75" fmla="*/ 1433678 w 3902384"/>
                <a:gd name="connsiteY75" fmla="*/ 2655556 h 4760516"/>
                <a:gd name="connsiteX76" fmla="*/ 1412671 w 3902384"/>
                <a:gd name="connsiteY76" fmla="*/ 2630242 h 4760516"/>
                <a:gd name="connsiteX77" fmla="*/ 1171172 w 3902384"/>
                <a:gd name="connsiteY77" fmla="*/ 2059985 h 4760516"/>
                <a:gd name="connsiteX78" fmla="*/ 977027 w 3902384"/>
                <a:gd name="connsiteY78" fmla="*/ 1612672 h 4760516"/>
                <a:gd name="connsiteX79" fmla="*/ 1052790 w 3902384"/>
                <a:gd name="connsiteY79" fmla="*/ 1487109 h 4760516"/>
                <a:gd name="connsiteX80" fmla="*/ 1018186 w 3902384"/>
                <a:gd name="connsiteY80" fmla="*/ 1277790 h 4760516"/>
                <a:gd name="connsiteX81" fmla="*/ 934788 w 3902384"/>
                <a:gd name="connsiteY81" fmla="*/ 1341041 h 4760516"/>
                <a:gd name="connsiteX82" fmla="*/ 883988 w 3902384"/>
                <a:gd name="connsiteY82" fmla="*/ 1404541 h 4760516"/>
                <a:gd name="connsiteX83" fmla="*/ 839538 w 3902384"/>
                <a:gd name="connsiteY83" fmla="*/ 1525191 h 4760516"/>
                <a:gd name="connsiteX84" fmla="*/ 858588 w 3902384"/>
                <a:gd name="connsiteY84" fmla="*/ 1645841 h 4760516"/>
                <a:gd name="connsiteX85" fmla="*/ 890338 w 3902384"/>
                <a:gd name="connsiteY85" fmla="*/ 1829991 h 4760516"/>
                <a:gd name="connsiteX86" fmla="*/ 966538 w 3902384"/>
                <a:gd name="connsiteY86" fmla="*/ 2128441 h 4760516"/>
                <a:gd name="connsiteX87" fmla="*/ 1049088 w 3902384"/>
                <a:gd name="connsiteY87" fmla="*/ 2198291 h 4760516"/>
                <a:gd name="connsiteX88" fmla="*/ 1099888 w 3902384"/>
                <a:gd name="connsiteY88" fmla="*/ 2331641 h 4760516"/>
                <a:gd name="connsiteX89" fmla="*/ 1220538 w 3902384"/>
                <a:gd name="connsiteY89" fmla="*/ 2566591 h 4760516"/>
                <a:gd name="connsiteX90" fmla="*/ 1271338 w 3902384"/>
                <a:gd name="connsiteY90" fmla="*/ 2712641 h 4760516"/>
                <a:gd name="connsiteX91" fmla="*/ 1131638 w 3902384"/>
                <a:gd name="connsiteY91" fmla="*/ 2750741 h 4760516"/>
                <a:gd name="connsiteX92" fmla="*/ 928438 w 3902384"/>
                <a:gd name="connsiteY92" fmla="*/ 2776141 h 4760516"/>
                <a:gd name="connsiteX93" fmla="*/ 744288 w 3902384"/>
                <a:gd name="connsiteY93" fmla="*/ 2731691 h 4760516"/>
                <a:gd name="connsiteX94" fmla="*/ 661738 w 3902384"/>
                <a:gd name="connsiteY94" fmla="*/ 2591991 h 4760516"/>
                <a:gd name="connsiteX95" fmla="*/ 623638 w 3902384"/>
                <a:gd name="connsiteY95" fmla="*/ 2344341 h 4760516"/>
                <a:gd name="connsiteX96" fmla="*/ 636338 w 3902384"/>
                <a:gd name="connsiteY96" fmla="*/ 2020491 h 4760516"/>
                <a:gd name="connsiteX97" fmla="*/ 737938 w 3902384"/>
                <a:gd name="connsiteY97" fmla="*/ 1328341 h 4760516"/>
                <a:gd name="connsiteX98" fmla="*/ 972888 w 3902384"/>
                <a:gd name="connsiteY98" fmla="*/ 623491 h 4760516"/>
                <a:gd name="connsiteX99" fmla="*/ 1169738 w 3902384"/>
                <a:gd name="connsiteY99" fmla="*/ 299641 h 4760516"/>
                <a:gd name="connsiteX100" fmla="*/ 1360238 w 3902384"/>
                <a:gd name="connsiteY100" fmla="*/ 140891 h 4760516"/>
                <a:gd name="connsiteX101" fmla="*/ 1531688 w 3902384"/>
                <a:gd name="connsiteY101" fmla="*/ 115491 h 4760516"/>
                <a:gd name="connsiteX102" fmla="*/ 1677738 w 3902384"/>
                <a:gd name="connsiteY102" fmla="*/ 13891 h 4760516"/>
                <a:gd name="connsiteX103" fmla="*/ 1814660 w 3902384"/>
                <a:gd name="connsiteY103" fmla="*/ 0 h 4760516"/>
                <a:gd name="connsiteX0" fmla="*/ 3062288 w 3903424"/>
                <a:gd name="connsiteY0" fmla="*/ 1005769 h 4760516"/>
                <a:gd name="connsiteX1" fmla="*/ 3082677 w 3903424"/>
                <a:gd name="connsiteY1" fmla="*/ 1026716 h 4760516"/>
                <a:gd name="connsiteX2" fmla="*/ 3168402 w 3903424"/>
                <a:gd name="connsiteY2" fmla="*/ 1369616 h 4760516"/>
                <a:gd name="connsiteX3" fmla="*/ 3254127 w 3903424"/>
                <a:gd name="connsiteY3" fmla="*/ 1822054 h 4760516"/>
                <a:gd name="connsiteX4" fmla="*/ 3282702 w 3903424"/>
                <a:gd name="connsiteY4" fmla="*/ 2255441 h 4760516"/>
                <a:gd name="connsiteX5" fmla="*/ 3273177 w 3903424"/>
                <a:gd name="connsiteY5" fmla="*/ 2526904 h 4760516"/>
                <a:gd name="connsiteX6" fmla="*/ 3192214 w 3903424"/>
                <a:gd name="connsiteY6" fmla="*/ 2722166 h 4760516"/>
                <a:gd name="connsiteX7" fmla="*/ 3044577 w 3903424"/>
                <a:gd name="connsiteY7" fmla="*/ 2750741 h 4760516"/>
                <a:gd name="connsiteX8" fmla="*/ 2811214 w 3903424"/>
                <a:gd name="connsiteY8" fmla="*/ 2731691 h 4760516"/>
                <a:gd name="connsiteX9" fmla="*/ 2635002 w 3903424"/>
                <a:gd name="connsiteY9" fmla="*/ 2669779 h 4760516"/>
                <a:gd name="connsiteX10" fmla="*/ 2658814 w 3903424"/>
                <a:gd name="connsiteY10" fmla="*/ 2603104 h 4760516"/>
                <a:gd name="connsiteX11" fmla="*/ 2754064 w 3903424"/>
                <a:gd name="connsiteY11" fmla="*/ 2474516 h 4760516"/>
                <a:gd name="connsiteX12" fmla="*/ 2844552 w 3903424"/>
                <a:gd name="connsiteY12" fmla="*/ 2255441 h 4760516"/>
                <a:gd name="connsiteX13" fmla="*/ 2863602 w 3903424"/>
                <a:gd name="connsiteY13" fmla="*/ 2160191 h 4760516"/>
                <a:gd name="connsiteX14" fmla="*/ 2920752 w 3903424"/>
                <a:gd name="connsiteY14" fmla="*/ 2098279 h 4760516"/>
                <a:gd name="connsiteX15" fmla="*/ 3001714 w 3903424"/>
                <a:gd name="connsiteY15" fmla="*/ 1855391 h 4760516"/>
                <a:gd name="connsiteX16" fmla="*/ 3058864 w 3903424"/>
                <a:gd name="connsiteY16" fmla="*/ 1598216 h 4760516"/>
                <a:gd name="connsiteX17" fmla="*/ 3063627 w 3903424"/>
                <a:gd name="connsiteY17" fmla="*/ 1483916 h 4760516"/>
                <a:gd name="connsiteX18" fmla="*/ 3011239 w 3903424"/>
                <a:gd name="connsiteY18" fmla="*/ 1379141 h 4760516"/>
                <a:gd name="connsiteX19" fmla="*/ 2958852 w 3903424"/>
                <a:gd name="connsiteY19" fmla="*/ 1331516 h 4760516"/>
                <a:gd name="connsiteX20" fmla="*/ 2949327 w 3903424"/>
                <a:gd name="connsiteY20" fmla="*/ 1236266 h 4760516"/>
                <a:gd name="connsiteX21" fmla="*/ 2958852 w 3903424"/>
                <a:gd name="connsiteY21" fmla="*/ 1121966 h 4760516"/>
                <a:gd name="connsiteX22" fmla="*/ 3006477 w 3903424"/>
                <a:gd name="connsiteY22" fmla="*/ 1050529 h 4760516"/>
                <a:gd name="connsiteX23" fmla="*/ 3062288 w 3903424"/>
                <a:gd name="connsiteY23" fmla="*/ 1005769 h 4760516"/>
                <a:gd name="connsiteX24" fmla="*/ 1814660 w 3903424"/>
                <a:gd name="connsiteY24" fmla="*/ 0 h 4760516"/>
                <a:gd name="connsiteX25" fmla="*/ 1957138 w 3903424"/>
                <a:gd name="connsiteY25" fmla="*/ 1191 h 4760516"/>
                <a:gd name="connsiteX26" fmla="*/ 2153988 w 3903424"/>
                <a:gd name="connsiteY26" fmla="*/ 20241 h 4760516"/>
                <a:gd name="connsiteX27" fmla="*/ 2382588 w 3903424"/>
                <a:gd name="connsiteY27" fmla="*/ 121841 h 4760516"/>
                <a:gd name="connsiteX28" fmla="*/ 2642938 w 3903424"/>
                <a:gd name="connsiteY28" fmla="*/ 331391 h 4760516"/>
                <a:gd name="connsiteX29" fmla="*/ 2947738 w 3903424"/>
                <a:gd name="connsiteY29" fmla="*/ 693341 h 4760516"/>
                <a:gd name="connsiteX30" fmla="*/ 3062038 w 3903424"/>
                <a:gd name="connsiteY30" fmla="*/ 883841 h 4760516"/>
                <a:gd name="connsiteX31" fmla="*/ 3011238 w 3903424"/>
                <a:gd name="connsiteY31" fmla="*/ 1004491 h 4760516"/>
                <a:gd name="connsiteX32" fmla="*/ 2903288 w 3903424"/>
                <a:gd name="connsiteY32" fmla="*/ 1061641 h 4760516"/>
                <a:gd name="connsiteX33" fmla="*/ 2827088 w 3903424"/>
                <a:gd name="connsiteY33" fmla="*/ 998141 h 4760516"/>
                <a:gd name="connsiteX34" fmla="*/ 2655638 w 3903424"/>
                <a:gd name="connsiteY34" fmla="*/ 820341 h 4760516"/>
                <a:gd name="connsiteX35" fmla="*/ 2350838 w 3903424"/>
                <a:gd name="connsiteY35" fmla="*/ 674291 h 4760516"/>
                <a:gd name="connsiteX36" fmla="*/ 2020638 w 3903424"/>
                <a:gd name="connsiteY36" fmla="*/ 674291 h 4760516"/>
                <a:gd name="connsiteX37" fmla="*/ 2344488 w 3903424"/>
                <a:gd name="connsiteY37" fmla="*/ 769541 h 4760516"/>
                <a:gd name="connsiteX38" fmla="*/ 2554038 w 3903424"/>
                <a:gd name="connsiteY38" fmla="*/ 909241 h 4760516"/>
                <a:gd name="connsiteX39" fmla="*/ 2630379 w 3903424"/>
                <a:gd name="connsiteY39" fmla="*/ 973620 h 4760516"/>
                <a:gd name="connsiteX40" fmla="*/ 2901551 w 3903424"/>
                <a:gd name="connsiteY40" fmla="*/ 1067700 h 4760516"/>
                <a:gd name="connsiteX41" fmla="*/ 2830884 w 3903424"/>
                <a:gd name="connsiteY41" fmla="*/ 1212445 h 4760516"/>
                <a:gd name="connsiteX42" fmla="*/ 2830884 w 3903424"/>
                <a:gd name="connsiteY42" fmla="*/ 1445256 h 4760516"/>
                <a:gd name="connsiteX43" fmla="*/ 2939795 w 3903424"/>
                <a:gd name="connsiteY43" fmla="*/ 1531580 h 4760516"/>
                <a:gd name="connsiteX44" fmla="*/ 2823781 w 3903424"/>
                <a:gd name="connsiteY44" fmla="*/ 2041674 h 4760516"/>
                <a:gd name="connsiteX45" fmla="*/ 2757487 w 3903424"/>
                <a:gd name="connsiteY45" fmla="*/ 2086142 h 4760516"/>
                <a:gd name="connsiteX46" fmla="*/ 2480886 w 3903424"/>
                <a:gd name="connsiteY46" fmla="*/ 2698176 h 4760516"/>
                <a:gd name="connsiteX47" fmla="*/ 2530227 w 3903424"/>
                <a:gd name="connsiteY47" fmla="*/ 2817416 h 4760516"/>
                <a:gd name="connsiteX48" fmla="*/ 2592139 w 3903424"/>
                <a:gd name="connsiteY48" fmla="*/ 2874566 h 4760516"/>
                <a:gd name="connsiteX49" fmla="*/ 2658814 w 3903424"/>
                <a:gd name="connsiteY49" fmla="*/ 2884091 h 4760516"/>
                <a:gd name="connsiteX50" fmla="*/ 2682627 w 3903424"/>
                <a:gd name="connsiteY50" fmla="*/ 2912666 h 4760516"/>
                <a:gd name="connsiteX51" fmla="*/ 2749302 w 3903424"/>
                <a:gd name="connsiteY51" fmla="*/ 3079354 h 4760516"/>
                <a:gd name="connsiteX52" fmla="*/ 2844552 w 3903424"/>
                <a:gd name="connsiteY52" fmla="*/ 3174604 h 4760516"/>
                <a:gd name="connsiteX53" fmla="*/ 2939802 w 3903424"/>
                <a:gd name="connsiteY53" fmla="*/ 3207941 h 4760516"/>
                <a:gd name="connsiteX54" fmla="*/ 3282702 w 3903424"/>
                <a:gd name="connsiteY54" fmla="*/ 3317479 h 4760516"/>
                <a:gd name="connsiteX55" fmla="*/ 3658939 w 3903424"/>
                <a:gd name="connsiteY55" fmla="*/ 3493691 h 4760516"/>
                <a:gd name="connsiteX56" fmla="*/ 3868489 w 3903424"/>
                <a:gd name="connsiteY56" fmla="*/ 3641329 h 4760516"/>
                <a:gd name="connsiteX57" fmla="*/ 3901827 w 3903424"/>
                <a:gd name="connsiteY57" fmla="*/ 3769916 h 4760516"/>
                <a:gd name="connsiteX58" fmla="*/ 3878014 w 3903424"/>
                <a:gd name="connsiteY58" fmla="*/ 4027091 h 4760516"/>
                <a:gd name="connsiteX59" fmla="*/ 3792289 w 3903424"/>
                <a:gd name="connsiteY59" fmla="*/ 4236641 h 4760516"/>
                <a:gd name="connsiteX60" fmla="*/ 3620839 w 3903424"/>
                <a:gd name="connsiteY60" fmla="*/ 4598591 h 4760516"/>
                <a:gd name="connsiteX61" fmla="*/ 3473202 w 3903424"/>
                <a:gd name="connsiteY61" fmla="*/ 4760516 h 4760516"/>
                <a:gd name="connsiteX62" fmla="*/ 339477 w 3903424"/>
                <a:gd name="connsiteY62" fmla="*/ 4760516 h 4760516"/>
                <a:gd name="connsiteX63" fmla="*/ 163264 w 3903424"/>
                <a:gd name="connsiteY63" fmla="*/ 4436666 h 4760516"/>
                <a:gd name="connsiteX64" fmla="*/ 58489 w 3903424"/>
                <a:gd name="connsiteY64" fmla="*/ 4141391 h 4760516"/>
                <a:gd name="connsiteX65" fmla="*/ 1339 w 3903424"/>
                <a:gd name="connsiteY65" fmla="*/ 3855641 h 4760516"/>
                <a:gd name="connsiteX66" fmla="*/ 25152 w 3903424"/>
                <a:gd name="connsiteY66" fmla="*/ 3703241 h 4760516"/>
                <a:gd name="connsiteX67" fmla="*/ 220414 w 3903424"/>
                <a:gd name="connsiteY67" fmla="*/ 3584179 h 4760516"/>
                <a:gd name="connsiteX68" fmla="*/ 534739 w 3903424"/>
                <a:gd name="connsiteY68" fmla="*/ 3450829 h 4760516"/>
                <a:gd name="connsiteX69" fmla="*/ 934789 w 3903424"/>
                <a:gd name="connsiteY69" fmla="*/ 3293666 h 4760516"/>
                <a:gd name="connsiteX70" fmla="*/ 1134814 w 3903424"/>
                <a:gd name="connsiteY70" fmla="*/ 3217466 h 4760516"/>
                <a:gd name="connsiteX71" fmla="*/ 1277689 w 3903424"/>
                <a:gd name="connsiteY71" fmla="*/ 2950766 h 4760516"/>
                <a:gd name="connsiteX72" fmla="*/ 1372939 w 3903424"/>
                <a:gd name="connsiteY72" fmla="*/ 2888854 h 4760516"/>
                <a:gd name="connsiteX73" fmla="*/ 1444377 w 3903424"/>
                <a:gd name="connsiteY73" fmla="*/ 2750741 h 4760516"/>
                <a:gd name="connsiteX74" fmla="*/ 1430089 w 3903424"/>
                <a:gd name="connsiteY74" fmla="*/ 2665016 h 4760516"/>
                <a:gd name="connsiteX75" fmla="*/ 1433678 w 3903424"/>
                <a:gd name="connsiteY75" fmla="*/ 2655556 h 4760516"/>
                <a:gd name="connsiteX76" fmla="*/ 1412671 w 3903424"/>
                <a:gd name="connsiteY76" fmla="*/ 2630242 h 4760516"/>
                <a:gd name="connsiteX77" fmla="*/ 1171172 w 3903424"/>
                <a:gd name="connsiteY77" fmla="*/ 2059985 h 4760516"/>
                <a:gd name="connsiteX78" fmla="*/ 977027 w 3903424"/>
                <a:gd name="connsiteY78" fmla="*/ 1612672 h 4760516"/>
                <a:gd name="connsiteX79" fmla="*/ 1052790 w 3903424"/>
                <a:gd name="connsiteY79" fmla="*/ 1487109 h 4760516"/>
                <a:gd name="connsiteX80" fmla="*/ 1018186 w 3903424"/>
                <a:gd name="connsiteY80" fmla="*/ 1277790 h 4760516"/>
                <a:gd name="connsiteX81" fmla="*/ 934788 w 3903424"/>
                <a:gd name="connsiteY81" fmla="*/ 1341041 h 4760516"/>
                <a:gd name="connsiteX82" fmla="*/ 883988 w 3903424"/>
                <a:gd name="connsiteY82" fmla="*/ 1404541 h 4760516"/>
                <a:gd name="connsiteX83" fmla="*/ 839538 w 3903424"/>
                <a:gd name="connsiteY83" fmla="*/ 1525191 h 4760516"/>
                <a:gd name="connsiteX84" fmla="*/ 858588 w 3903424"/>
                <a:gd name="connsiteY84" fmla="*/ 1645841 h 4760516"/>
                <a:gd name="connsiteX85" fmla="*/ 890338 w 3903424"/>
                <a:gd name="connsiteY85" fmla="*/ 1829991 h 4760516"/>
                <a:gd name="connsiteX86" fmla="*/ 966538 w 3903424"/>
                <a:gd name="connsiteY86" fmla="*/ 2128441 h 4760516"/>
                <a:gd name="connsiteX87" fmla="*/ 1049088 w 3903424"/>
                <a:gd name="connsiteY87" fmla="*/ 2198291 h 4760516"/>
                <a:gd name="connsiteX88" fmla="*/ 1099888 w 3903424"/>
                <a:gd name="connsiteY88" fmla="*/ 2331641 h 4760516"/>
                <a:gd name="connsiteX89" fmla="*/ 1220538 w 3903424"/>
                <a:gd name="connsiteY89" fmla="*/ 2566591 h 4760516"/>
                <a:gd name="connsiteX90" fmla="*/ 1271338 w 3903424"/>
                <a:gd name="connsiteY90" fmla="*/ 2712641 h 4760516"/>
                <a:gd name="connsiteX91" fmla="*/ 1131638 w 3903424"/>
                <a:gd name="connsiteY91" fmla="*/ 2750741 h 4760516"/>
                <a:gd name="connsiteX92" fmla="*/ 928438 w 3903424"/>
                <a:gd name="connsiteY92" fmla="*/ 2776141 h 4760516"/>
                <a:gd name="connsiteX93" fmla="*/ 744288 w 3903424"/>
                <a:gd name="connsiteY93" fmla="*/ 2731691 h 4760516"/>
                <a:gd name="connsiteX94" fmla="*/ 661738 w 3903424"/>
                <a:gd name="connsiteY94" fmla="*/ 2591991 h 4760516"/>
                <a:gd name="connsiteX95" fmla="*/ 623638 w 3903424"/>
                <a:gd name="connsiteY95" fmla="*/ 2344341 h 4760516"/>
                <a:gd name="connsiteX96" fmla="*/ 636338 w 3903424"/>
                <a:gd name="connsiteY96" fmla="*/ 2020491 h 4760516"/>
                <a:gd name="connsiteX97" fmla="*/ 737938 w 3903424"/>
                <a:gd name="connsiteY97" fmla="*/ 1328341 h 4760516"/>
                <a:gd name="connsiteX98" fmla="*/ 972888 w 3903424"/>
                <a:gd name="connsiteY98" fmla="*/ 623491 h 4760516"/>
                <a:gd name="connsiteX99" fmla="*/ 1169738 w 3903424"/>
                <a:gd name="connsiteY99" fmla="*/ 299641 h 4760516"/>
                <a:gd name="connsiteX100" fmla="*/ 1360238 w 3903424"/>
                <a:gd name="connsiteY100" fmla="*/ 140891 h 4760516"/>
                <a:gd name="connsiteX101" fmla="*/ 1531688 w 3903424"/>
                <a:gd name="connsiteY101" fmla="*/ 115491 h 4760516"/>
                <a:gd name="connsiteX102" fmla="*/ 1677738 w 3903424"/>
                <a:gd name="connsiteY102" fmla="*/ 13891 h 4760516"/>
                <a:gd name="connsiteX103" fmla="*/ 1814660 w 3903424"/>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810829"/>
                <a:gd name="connsiteX1" fmla="*/ 3082677 w 3904400"/>
                <a:gd name="connsiteY1" fmla="*/ 1026716 h 4810829"/>
                <a:gd name="connsiteX2" fmla="*/ 3168402 w 3904400"/>
                <a:gd name="connsiteY2" fmla="*/ 1369616 h 4810829"/>
                <a:gd name="connsiteX3" fmla="*/ 3254127 w 3904400"/>
                <a:gd name="connsiteY3" fmla="*/ 1822054 h 4810829"/>
                <a:gd name="connsiteX4" fmla="*/ 3282702 w 3904400"/>
                <a:gd name="connsiteY4" fmla="*/ 2255441 h 4810829"/>
                <a:gd name="connsiteX5" fmla="*/ 3273177 w 3904400"/>
                <a:gd name="connsiteY5" fmla="*/ 2526904 h 4810829"/>
                <a:gd name="connsiteX6" fmla="*/ 3192214 w 3904400"/>
                <a:gd name="connsiteY6" fmla="*/ 2722166 h 4810829"/>
                <a:gd name="connsiteX7" fmla="*/ 3044577 w 3904400"/>
                <a:gd name="connsiteY7" fmla="*/ 2750741 h 4810829"/>
                <a:gd name="connsiteX8" fmla="*/ 2811214 w 3904400"/>
                <a:gd name="connsiteY8" fmla="*/ 2731691 h 4810829"/>
                <a:gd name="connsiteX9" fmla="*/ 2635002 w 3904400"/>
                <a:gd name="connsiteY9" fmla="*/ 2669779 h 4810829"/>
                <a:gd name="connsiteX10" fmla="*/ 2658814 w 3904400"/>
                <a:gd name="connsiteY10" fmla="*/ 2603104 h 4810829"/>
                <a:gd name="connsiteX11" fmla="*/ 2754064 w 3904400"/>
                <a:gd name="connsiteY11" fmla="*/ 2474516 h 4810829"/>
                <a:gd name="connsiteX12" fmla="*/ 2844552 w 3904400"/>
                <a:gd name="connsiteY12" fmla="*/ 2255441 h 4810829"/>
                <a:gd name="connsiteX13" fmla="*/ 2863602 w 3904400"/>
                <a:gd name="connsiteY13" fmla="*/ 2160191 h 4810829"/>
                <a:gd name="connsiteX14" fmla="*/ 2920752 w 3904400"/>
                <a:gd name="connsiteY14" fmla="*/ 2098279 h 4810829"/>
                <a:gd name="connsiteX15" fmla="*/ 3001714 w 3904400"/>
                <a:gd name="connsiteY15" fmla="*/ 1855391 h 4810829"/>
                <a:gd name="connsiteX16" fmla="*/ 3058864 w 3904400"/>
                <a:gd name="connsiteY16" fmla="*/ 1598216 h 4810829"/>
                <a:gd name="connsiteX17" fmla="*/ 3063627 w 3904400"/>
                <a:gd name="connsiteY17" fmla="*/ 1483916 h 4810829"/>
                <a:gd name="connsiteX18" fmla="*/ 3011239 w 3904400"/>
                <a:gd name="connsiteY18" fmla="*/ 1379141 h 4810829"/>
                <a:gd name="connsiteX19" fmla="*/ 2958852 w 3904400"/>
                <a:gd name="connsiteY19" fmla="*/ 1331516 h 4810829"/>
                <a:gd name="connsiteX20" fmla="*/ 2949327 w 3904400"/>
                <a:gd name="connsiteY20" fmla="*/ 1236266 h 4810829"/>
                <a:gd name="connsiteX21" fmla="*/ 2958852 w 3904400"/>
                <a:gd name="connsiteY21" fmla="*/ 1121966 h 4810829"/>
                <a:gd name="connsiteX22" fmla="*/ 3006477 w 3904400"/>
                <a:gd name="connsiteY22" fmla="*/ 1050529 h 4810829"/>
                <a:gd name="connsiteX23" fmla="*/ 3062288 w 3904400"/>
                <a:gd name="connsiteY23" fmla="*/ 1005769 h 4810829"/>
                <a:gd name="connsiteX24" fmla="*/ 1814660 w 3904400"/>
                <a:gd name="connsiteY24" fmla="*/ 0 h 4810829"/>
                <a:gd name="connsiteX25" fmla="*/ 1957138 w 3904400"/>
                <a:gd name="connsiteY25" fmla="*/ 1191 h 4810829"/>
                <a:gd name="connsiteX26" fmla="*/ 2153988 w 3904400"/>
                <a:gd name="connsiteY26" fmla="*/ 20241 h 4810829"/>
                <a:gd name="connsiteX27" fmla="*/ 2382588 w 3904400"/>
                <a:gd name="connsiteY27" fmla="*/ 121841 h 4810829"/>
                <a:gd name="connsiteX28" fmla="*/ 2642938 w 3904400"/>
                <a:gd name="connsiteY28" fmla="*/ 331391 h 4810829"/>
                <a:gd name="connsiteX29" fmla="*/ 2947738 w 3904400"/>
                <a:gd name="connsiteY29" fmla="*/ 693341 h 4810829"/>
                <a:gd name="connsiteX30" fmla="*/ 3062038 w 3904400"/>
                <a:gd name="connsiteY30" fmla="*/ 883841 h 4810829"/>
                <a:gd name="connsiteX31" fmla="*/ 3011238 w 3904400"/>
                <a:gd name="connsiteY31" fmla="*/ 1004491 h 4810829"/>
                <a:gd name="connsiteX32" fmla="*/ 2903288 w 3904400"/>
                <a:gd name="connsiteY32" fmla="*/ 1061641 h 4810829"/>
                <a:gd name="connsiteX33" fmla="*/ 2827088 w 3904400"/>
                <a:gd name="connsiteY33" fmla="*/ 998141 h 4810829"/>
                <a:gd name="connsiteX34" fmla="*/ 2655638 w 3904400"/>
                <a:gd name="connsiteY34" fmla="*/ 820341 h 4810829"/>
                <a:gd name="connsiteX35" fmla="*/ 2350838 w 3904400"/>
                <a:gd name="connsiteY35" fmla="*/ 674291 h 4810829"/>
                <a:gd name="connsiteX36" fmla="*/ 2020638 w 3904400"/>
                <a:gd name="connsiteY36" fmla="*/ 674291 h 4810829"/>
                <a:gd name="connsiteX37" fmla="*/ 2344488 w 3904400"/>
                <a:gd name="connsiteY37" fmla="*/ 769541 h 4810829"/>
                <a:gd name="connsiteX38" fmla="*/ 2554038 w 3904400"/>
                <a:gd name="connsiteY38" fmla="*/ 909241 h 4810829"/>
                <a:gd name="connsiteX39" fmla="*/ 2630379 w 3904400"/>
                <a:gd name="connsiteY39" fmla="*/ 973620 h 4810829"/>
                <a:gd name="connsiteX40" fmla="*/ 2901551 w 3904400"/>
                <a:gd name="connsiteY40" fmla="*/ 1067700 h 4810829"/>
                <a:gd name="connsiteX41" fmla="*/ 2830884 w 3904400"/>
                <a:gd name="connsiteY41" fmla="*/ 1212445 h 4810829"/>
                <a:gd name="connsiteX42" fmla="*/ 2830884 w 3904400"/>
                <a:gd name="connsiteY42" fmla="*/ 1445256 h 4810829"/>
                <a:gd name="connsiteX43" fmla="*/ 2939795 w 3904400"/>
                <a:gd name="connsiteY43" fmla="*/ 1531580 h 4810829"/>
                <a:gd name="connsiteX44" fmla="*/ 2823781 w 3904400"/>
                <a:gd name="connsiteY44" fmla="*/ 2041674 h 4810829"/>
                <a:gd name="connsiteX45" fmla="*/ 2757487 w 3904400"/>
                <a:gd name="connsiteY45" fmla="*/ 2086142 h 4810829"/>
                <a:gd name="connsiteX46" fmla="*/ 2480886 w 3904400"/>
                <a:gd name="connsiteY46" fmla="*/ 2698176 h 4810829"/>
                <a:gd name="connsiteX47" fmla="*/ 2530227 w 3904400"/>
                <a:gd name="connsiteY47" fmla="*/ 2817416 h 4810829"/>
                <a:gd name="connsiteX48" fmla="*/ 2592139 w 3904400"/>
                <a:gd name="connsiteY48" fmla="*/ 2874566 h 4810829"/>
                <a:gd name="connsiteX49" fmla="*/ 2658814 w 3904400"/>
                <a:gd name="connsiteY49" fmla="*/ 2884091 h 4810829"/>
                <a:gd name="connsiteX50" fmla="*/ 2682627 w 3904400"/>
                <a:gd name="connsiteY50" fmla="*/ 2912666 h 4810829"/>
                <a:gd name="connsiteX51" fmla="*/ 2749302 w 3904400"/>
                <a:gd name="connsiteY51" fmla="*/ 3079354 h 4810829"/>
                <a:gd name="connsiteX52" fmla="*/ 2844552 w 3904400"/>
                <a:gd name="connsiteY52" fmla="*/ 3174604 h 4810829"/>
                <a:gd name="connsiteX53" fmla="*/ 2939802 w 3904400"/>
                <a:gd name="connsiteY53" fmla="*/ 3207941 h 4810829"/>
                <a:gd name="connsiteX54" fmla="*/ 3282702 w 3904400"/>
                <a:gd name="connsiteY54" fmla="*/ 3317479 h 4810829"/>
                <a:gd name="connsiteX55" fmla="*/ 3658939 w 3904400"/>
                <a:gd name="connsiteY55" fmla="*/ 3493691 h 4810829"/>
                <a:gd name="connsiteX56" fmla="*/ 3868489 w 3904400"/>
                <a:gd name="connsiteY56" fmla="*/ 3641329 h 4810829"/>
                <a:gd name="connsiteX57" fmla="*/ 3901827 w 3904400"/>
                <a:gd name="connsiteY57" fmla="*/ 3769916 h 4810829"/>
                <a:gd name="connsiteX58" fmla="*/ 3878014 w 3904400"/>
                <a:gd name="connsiteY58" fmla="*/ 4027091 h 4810829"/>
                <a:gd name="connsiteX59" fmla="*/ 3792289 w 3904400"/>
                <a:gd name="connsiteY59" fmla="*/ 4236641 h 4810829"/>
                <a:gd name="connsiteX60" fmla="*/ 3620839 w 3904400"/>
                <a:gd name="connsiteY60" fmla="*/ 4598591 h 4810829"/>
                <a:gd name="connsiteX61" fmla="*/ 3473202 w 3904400"/>
                <a:gd name="connsiteY61" fmla="*/ 4760516 h 4810829"/>
                <a:gd name="connsiteX62" fmla="*/ 339477 w 3904400"/>
                <a:gd name="connsiteY62" fmla="*/ 4760516 h 4810829"/>
                <a:gd name="connsiteX63" fmla="*/ 163264 w 3904400"/>
                <a:gd name="connsiteY63" fmla="*/ 4436666 h 4810829"/>
                <a:gd name="connsiteX64" fmla="*/ 58489 w 3904400"/>
                <a:gd name="connsiteY64" fmla="*/ 4141391 h 4810829"/>
                <a:gd name="connsiteX65" fmla="*/ 1339 w 3904400"/>
                <a:gd name="connsiteY65" fmla="*/ 3855641 h 4810829"/>
                <a:gd name="connsiteX66" fmla="*/ 25152 w 3904400"/>
                <a:gd name="connsiteY66" fmla="*/ 3703241 h 4810829"/>
                <a:gd name="connsiteX67" fmla="*/ 220414 w 3904400"/>
                <a:gd name="connsiteY67" fmla="*/ 3584179 h 4810829"/>
                <a:gd name="connsiteX68" fmla="*/ 534739 w 3904400"/>
                <a:gd name="connsiteY68" fmla="*/ 3450829 h 4810829"/>
                <a:gd name="connsiteX69" fmla="*/ 934789 w 3904400"/>
                <a:gd name="connsiteY69" fmla="*/ 3293666 h 4810829"/>
                <a:gd name="connsiteX70" fmla="*/ 1134814 w 3904400"/>
                <a:gd name="connsiteY70" fmla="*/ 3217466 h 4810829"/>
                <a:gd name="connsiteX71" fmla="*/ 1277689 w 3904400"/>
                <a:gd name="connsiteY71" fmla="*/ 2950766 h 4810829"/>
                <a:gd name="connsiteX72" fmla="*/ 1372939 w 3904400"/>
                <a:gd name="connsiteY72" fmla="*/ 2888854 h 4810829"/>
                <a:gd name="connsiteX73" fmla="*/ 1444377 w 3904400"/>
                <a:gd name="connsiteY73" fmla="*/ 2750741 h 4810829"/>
                <a:gd name="connsiteX74" fmla="*/ 1430089 w 3904400"/>
                <a:gd name="connsiteY74" fmla="*/ 2665016 h 4810829"/>
                <a:gd name="connsiteX75" fmla="*/ 1433678 w 3904400"/>
                <a:gd name="connsiteY75" fmla="*/ 2655556 h 4810829"/>
                <a:gd name="connsiteX76" fmla="*/ 1412671 w 3904400"/>
                <a:gd name="connsiteY76" fmla="*/ 2630242 h 4810829"/>
                <a:gd name="connsiteX77" fmla="*/ 1171172 w 3904400"/>
                <a:gd name="connsiteY77" fmla="*/ 2059985 h 4810829"/>
                <a:gd name="connsiteX78" fmla="*/ 977027 w 3904400"/>
                <a:gd name="connsiteY78" fmla="*/ 1612672 h 4810829"/>
                <a:gd name="connsiteX79" fmla="*/ 1052790 w 3904400"/>
                <a:gd name="connsiteY79" fmla="*/ 1487109 h 4810829"/>
                <a:gd name="connsiteX80" fmla="*/ 1018186 w 3904400"/>
                <a:gd name="connsiteY80" fmla="*/ 1277790 h 4810829"/>
                <a:gd name="connsiteX81" fmla="*/ 934788 w 3904400"/>
                <a:gd name="connsiteY81" fmla="*/ 1341041 h 4810829"/>
                <a:gd name="connsiteX82" fmla="*/ 883988 w 3904400"/>
                <a:gd name="connsiteY82" fmla="*/ 1404541 h 4810829"/>
                <a:gd name="connsiteX83" fmla="*/ 839538 w 3904400"/>
                <a:gd name="connsiteY83" fmla="*/ 1525191 h 4810829"/>
                <a:gd name="connsiteX84" fmla="*/ 858588 w 3904400"/>
                <a:gd name="connsiteY84" fmla="*/ 1645841 h 4810829"/>
                <a:gd name="connsiteX85" fmla="*/ 890338 w 3904400"/>
                <a:gd name="connsiteY85" fmla="*/ 1829991 h 4810829"/>
                <a:gd name="connsiteX86" fmla="*/ 966538 w 3904400"/>
                <a:gd name="connsiteY86" fmla="*/ 2128441 h 4810829"/>
                <a:gd name="connsiteX87" fmla="*/ 1049088 w 3904400"/>
                <a:gd name="connsiteY87" fmla="*/ 2198291 h 4810829"/>
                <a:gd name="connsiteX88" fmla="*/ 1099888 w 3904400"/>
                <a:gd name="connsiteY88" fmla="*/ 2331641 h 4810829"/>
                <a:gd name="connsiteX89" fmla="*/ 1220538 w 3904400"/>
                <a:gd name="connsiteY89" fmla="*/ 2566591 h 4810829"/>
                <a:gd name="connsiteX90" fmla="*/ 1271338 w 3904400"/>
                <a:gd name="connsiteY90" fmla="*/ 2712641 h 4810829"/>
                <a:gd name="connsiteX91" fmla="*/ 1131638 w 3904400"/>
                <a:gd name="connsiteY91" fmla="*/ 2750741 h 4810829"/>
                <a:gd name="connsiteX92" fmla="*/ 928438 w 3904400"/>
                <a:gd name="connsiteY92" fmla="*/ 2776141 h 4810829"/>
                <a:gd name="connsiteX93" fmla="*/ 744288 w 3904400"/>
                <a:gd name="connsiteY93" fmla="*/ 2731691 h 4810829"/>
                <a:gd name="connsiteX94" fmla="*/ 661738 w 3904400"/>
                <a:gd name="connsiteY94" fmla="*/ 2591991 h 4810829"/>
                <a:gd name="connsiteX95" fmla="*/ 623638 w 3904400"/>
                <a:gd name="connsiteY95" fmla="*/ 2344341 h 4810829"/>
                <a:gd name="connsiteX96" fmla="*/ 636338 w 3904400"/>
                <a:gd name="connsiteY96" fmla="*/ 2020491 h 4810829"/>
                <a:gd name="connsiteX97" fmla="*/ 737938 w 3904400"/>
                <a:gd name="connsiteY97" fmla="*/ 1328341 h 4810829"/>
                <a:gd name="connsiteX98" fmla="*/ 972888 w 3904400"/>
                <a:gd name="connsiteY98" fmla="*/ 623491 h 4810829"/>
                <a:gd name="connsiteX99" fmla="*/ 1169738 w 3904400"/>
                <a:gd name="connsiteY99" fmla="*/ 299641 h 4810829"/>
                <a:gd name="connsiteX100" fmla="*/ 1360238 w 3904400"/>
                <a:gd name="connsiteY100" fmla="*/ 140891 h 4810829"/>
                <a:gd name="connsiteX101" fmla="*/ 1531688 w 3904400"/>
                <a:gd name="connsiteY101" fmla="*/ 115491 h 4810829"/>
                <a:gd name="connsiteX102" fmla="*/ 1677738 w 3904400"/>
                <a:gd name="connsiteY102" fmla="*/ 13891 h 4810829"/>
                <a:gd name="connsiteX103" fmla="*/ 1814660 w 3904400"/>
                <a:gd name="connsiteY103" fmla="*/ 0 h 4810829"/>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630379 w 3904400"/>
                <a:gd name="connsiteY39" fmla="*/ 973620 h 4848994"/>
                <a:gd name="connsiteX40" fmla="*/ 2901551 w 3904400"/>
                <a:gd name="connsiteY40" fmla="*/ 1067700 h 4848994"/>
                <a:gd name="connsiteX41" fmla="*/ 2830884 w 3904400"/>
                <a:gd name="connsiteY41" fmla="*/ 1212445 h 4848994"/>
                <a:gd name="connsiteX42" fmla="*/ 2830884 w 3904400"/>
                <a:gd name="connsiteY42" fmla="*/ 1445256 h 4848994"/>
                <a:gd name="connsiteX43" fmla="*/ 2939795 w 3904400"/>
                <a:gd name="connsiteY43" fmla="*/ 1531580 h 4848994"/>
                <a:gd name="connsiteX44" fmla="*/ 2823781 w 3904400"/>
                <a:gd name="connsiteY44" fmla="*/ 2041674 h 4848994"/>
                <a:gd name="connsiteX45" fmla="*/ 2757487 w 3904400"/>
                <a:gd name="connsiteY45" fmla="*/ 2086142 h 4848994"/>
                <a:gd name="connsiteX46" fmla="*/ 2480886 w 3904400"/>
                <a:gd name="connsiteY46" fmla="*/ 2698176 h 4848994"/>
                <a:gd name="connsiteX47" fmla="*/ 2530227 w 3904400"/>
                <a:gd name="connsiteY47" fmla="*/ 2817416 h 4848994"/>
                <a:gd name="connsiteX48" fmla="*/ 2592139 w 3904400"/>
                <a:gd name="connsiteY48" fmla="*/ 2874566 h 4848994"/>
                <a:gd name="connsiteX49" fmla="*/ 2658814 w 3904400"/>
                <a:gd name="connsiteY49" fmla="*/ 2884091 h 4848994"/>
                <a:gd name="connsiteX50" fmla="*/ 2682627 w 3904400"/>
                <a:gd name="connsiteY50" fmla="*/ 2912666 h 4848994"/>
                <a:gd name="connsiteX51" fmla="*/ 2749302 w 3904400"/>
                <a:gd name="connsiteY51" fmla="*/ 3079354 h 4848994"/>
                <a:gd name="connsiteX52" fmla="*/ 2844552 w 3904400"/>
                <a:gd name="connsiteY52" fmla="*/ 3174604 h 4848994"/>
                <a:gd name="connsiteX53" fmla="*/ 2939802 w 3904400"/>
                <a:gd name="connsiteY53" fmla="*/ 3207941 h 4848994"/>
                <a:gd name="connsiteX54" fmla="*/ 3282702 w 3904400"/>
                <a:gd name="connsiteY54" fmla="*/ 3317479 h 4848994"/>
                <a:gd name="connsiteX55" fmla="*/ 3658939 w 3904400"/>
                <a:gd name="connsiteY55" fmla="*/ 3493691 h 4848994"/>
                <a:gd name="connsiteX56" fmla="*/ 3868489 w 3904400"/>
                <a:gd name="connsiteY56" fmla="*/ 3641329 h 4848994"/>
                <a:gd name="connsiteX57" fmla="*/ 3901827 w 3904400"/>
                <a:gd name="connsiteY57" fmla="*/ 3769916 h 4848994"/>
                <a:gd name="connsiteX58" fmla="*/ 3878014 w 3904400"/>
                <a:gd name="connsiteY58" fmla="*/ 4027091 h 4848994"/>
                <a:gd name="connsiteX59" fmla="*/ 3792289 w 3904400"/>
                <a:gd name="connsiteY59" fmla="*/ 4236641 h 4848994"/>
                <a:gd name="connsiteX60" fmla="*/ 3620839 w 3904400"/>
                <a:gd name="connsiteY60" fmla="*/ 4598591 h 4848994"/>
                <a:gd name="connsiteX61" fmla="*/ 3473202 w 3904400"/>
                <a:gd name="connsiteY61" fmla="*/ 4760516 h 4848994"/>
                <a:gd name="connsiteX62" fmla="*/ 339477 w 3904400"/>
                <a:gd name="connsiteY62" fmla="*/ 4760516 h 4848994"/>
                <a:gd name="connsiteX63" fmla="*/ 163264 w 3904400"/>
                <a:gd name="connsiteY63" fmla="*/ 4436666 h 4848994"/>
                <a:gd name="connsiteX64" fmla="*/ 58489 w 3904400"/>
                <a:gd name="connsiteY64" fmla="*/ 4141391 h 4848994"/>
                <a:gd name="connsiteX65" fmla="*/ 1339 w 3904400"/>
                <a:gd name="connsiteY65" fmla="*/ 3855641 h 4848994"/>
                <a:gd name="connsiteX66" fmla="*/ 25152 w 3904400"/>
                <a:gd name="connsiteY66" fmla="*/ 3703241 h 4848994"/>
                <a:gd name="connsiteX67" fmla="*/ 220414 w 3904400"/>
                <a:gd name="connsiteY67" fmla="*/ 3584179 h 4848994"/>
                <a:gd name="connsiteX68" fmla="*/ 534739 w 3904400"/>
                <a:gd name="connsiteY68" fmla="*/ 3450829 h 4848994"/>
                <a:gd name="connsiteX69" fmla="*/ 934789 w 3904400"/>
                <a:gd name="connsiteY69" fmla="*/ 3293666 h 4848994"/>
                <a:gd name="connsiteX70" fmla="*/ 1134814 w 3904400"/>
                <a:gd name="connsiteY70" fmla="*/ 3217466 h 4848994"/>
                <a:gd name="connsiteX71" fmla="*/ 1277689 w 3904400"/>
                <a:gd name="connsiteY71" fmla="*/ 2950766 h 4848994"/>
                <a:gd name="connsiteX72" fmla="*/ 1372939 w 3904400"/>
                <a:gd name="connsiteY72" fmla="*/ 2888854 h 4848994"/>
                <a:gd name="connsiteX73" fmla="*/ 1444377 w 3904400"/>
                <a:gd name="connsiteY73" fmla="*/ 2750741 h 4848994"/>
                <a:gd name="connsiteX74" fmla="*/ 1430089 w 3904400"/>
                <a:gd name="connsiteY74" fmla="*/ 2665016 h 4848994"/>
                <a:gd name="connsiteX75" fmla="*/ 1433678 w 3904400"/>
                <a:gd name="connsiteY75" fmla="*/ 2655556 h 4848994"/>
                <a:gd name="connsiteX76" fmla="*/ 1412671 w 3904400"/>
                <a:gd name="connsiteY76" fmla="*/ 2630242 h 4848994"/>
                <a:gd name="connsiteX77" fmla="*/ 1171172 w 3904400"/>
                <a:gd name="connsiteY77" fmla="*/ 2059985 h 4848994"/>
                <a:gd name="connsiteX78" fmla="*/ 977027 w 3904400"/>
                <a:gd name="connsiteY78" fmla="*/ 1612672 h 4848994"/>
                <a:gd name="connsiteX79" fmla="*/ 1052790 w 3904400"/>
                <a:gd name="connsiteY79" fmla="*/ 1487109 h 4848994"/>
                <a:gd name="connsiteX80" fmla="*/ 1018186 w 3904400"/>
                <a:gd name="connsiteY80" fmla="*/ 1277790 h 4848994"/>
                <a:gd name="connsiteX81" fmla="*/ 934788 w 3904400"/>
                <a:gd name="connsiteY81" fmla="*/ 1341041 h 4848994"/>
                <a:gd name="connsiteX82" fmla="*/ 883988 w 3904400"/>
                <a:gd name="connsiteY82" fmla="*/ 1404541 h 4848994"/>
                <a:gd name="connsiteX83" fmla="*/ 839538 w 3904400"/>
                <a:gd name="connsiteY83" fmla="*/ 1525191 h 4848994"/>
                <a:gd name="connsiteX84" fmla="*/ 858588 w 3904400"/>
                <a:gd name="connsiteY84" fmla="*/ 1645841 h 4848994"/>
                <a:gd name="connsiteX85" fmla="*/ 890338 w 3904400"/>
                <a:gd name="connsiteY85" fmla="*/ 1829991 h 4848994"/>
                <a:gd name="connsiteX86" fmla="*/ 966538 w 3904400"/>
                <a:gd name="connsiteY86" fmla="*/ 2128441 h 4848994"/>
                <a:gd name="connsiteX87" fmla="*/ 1049088 w 3904400"/>
                <a:gd name="connsiteY87" fmla="*/ 2198291 h 4848994"/>
                <a:gd name="connsiteX88" fmla="*/ 1099888 w 3904400"/>
                <a:gd name="connsiteY88" fmla="*/ 2331641 h 4848994"/>
                <a:gd name="connsiteX89" fmla="*/ 1220538 w 3904400"/>
                <a:gd name="connsiteY89" fmla="*/ 2566591 h 4848994"/>
                <a:gd name="connsiteX90" fmla="*/ 1271338 w 3904400"/>
                <a:gd name="connsiteY90" fmla="*/ 2712641 h 4848994"/>
                <a:gd name="connsiteX91" fmla="*/ 1131638 w 3904400"/>
                <a:gd name="connsiteY91" fmla="*/ 2750741 h 4848994"/>
                <a:gd name="connsiteX92" fmla="*/ 928438 w 3904400"/>
                <a:gd name="connsiteY92" fmla="*/ 2776141 h 4848994"/>
                <a:gd name="connsiteX93" fmla="*/ 744288 w 3904400"/>
                <a:gd name="connsiteY93" fmla="*/ 2731691 h 4848994"/>
                <a:gd name="connsiteX94" fmla="*/ 661738 w 3904400"/>
                <a:gd name="connsiteY94" fmla="*/ 2591991 h 4848994"/>
                <a:gd name="connsiteX95" fmla="*/ 623638 w 3904400"/>
                <a:gd name="connsiteY95" fmla="*/ 2344341 h 4848994"/>
                <a:gd name="connsiteX96" fmla="*/ 636338 w 3904400"/>
                <a:gd name="connsiteY96" fmla="*/ 2020491 h 4848994"/>
                <a:gd name="connsiteX97" fmla="*/ 737938 w 3904400"/>
                <a:gd name="connsiteY97" fmla="*/ 1328341 h 4848994"/>
                <a:gd name="connsiteX98" fmla="*/ 972888 w 3904400"/>
                <a:gd name="connsiteY98" fmla="*/ 623491 h 4848994"/>
                <a:gd name="connsiteX99" fmla="*/ 1169738 w 3904400"/>
                <a:gd name="connsiteY99" fmla="*/ 299641 h 4848994"/>
                <a:gd name="connsiteX100" fmla="*/ 1360238 w 3904400"/>
                <a:gd name="connsiteY100" fmla="*/ 140891 h 4848994"/>
                <a:gd name="connsiteX101" fmla="*/ 1531688 w 3904400"/>
                <a:gd name="connsiteY101" fmla="*/ 115491 h 4848994"/>
                <a:gd name="connsiteX102" fmla="*/ 1677738 w 3904400"/>
                <a:gd name="connsiteY102" fmla="*/ 13891 h 4848994"/>
                <a:gd name="connsiteX103" fmla="*/ 1814660 w 3904400"/>
                <a:gd name="connsiteY103"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859098 w 3904400"/>
                <a:gd name="connsiteY39" fmla="*/ 1103077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904400" h="4848994">
                  <a:moveTo>
                    <a:pt x="3062288" y="1005769"/>
                  </a:moveTo>
                  <a:lnTo>
                    <a:pt x="3082677" y="1026716"/>
                  </a:lnTo>
                  <a:cubicBezTo>
                    <a:pt x="3109664" y="1079897"/>
                    <a:pt x="3139827" y="1237060"/>
                    <a:pt x="3168402" y="1369616"/>
                  </a:cubicBezTo>
                  <a:cubicBezTo>
                    <a:pt x="3196977" y="1502172"/>
                    <a:pt x="3235077" y="1674417"/>
                    <a:pt x="3254127" y="1822054"/>
                  </a:cubicBezTo>
                  <a:cubicBezTo>
                    <a:pt x="3273177" y="1969691"/>
                    <a:pt x="3279527" y="2137966"/>
                    <a:pt x="3282702" y="2255441"/>
                  </a:cubicBezTo>
                  <a:cubicBezTo>
                    <a:pt x="3285877" y="2372916"/>
                    <a:pt x="3288258" y="2449116"/>
                    <a:pt x="3273177" y="2526904"/>
                  </a:cubicBezTo>
                  <a:cubicBezTo>
                    <a:pt x="3258096" y="2604692"/>
                    <a:pt x="3230314" y="2684860"/>
                    <a:pt x="3192214" y="2722166"/>
                  </a:cubicBezTo>
                  <a:cubicBezTo>
                    <a:pt x="3154114" y="2759472"/>
                    <a:pt x="3108077" y="2749154"/>
                    <a:pt x="3044577" y="2750741"/>
                  </a:cubicBezTo>
                  <a:cubicBezTo>
                    <a:pt x="2981077" y="2752328"/>
                    <a:pt x="2879476" y="2745185"/>
                    <a:pt x="2811214" y="2731691"/>
                  </a:cubicBezTo>
                  <a:cubicBezTo>
                    <a:pt x="2742952" y="2718197"/>
                    <a:pt x="2660402" y="2691210"/>
                    <a:pt x="2635002" y="2669779"/>
                  </a:cubicBezTo>
                  <a:cubicBezTo>
                    <a:pt x="2609602" y="2648348"/>
                    <a:pt x="2638970" y="2635648"/>
                    <a:pt x="2658814" y="2603104"/>
                  </a:cubicBezTo>
                  <a:cubicBezTo>
                    <a:pt x="2678658" y="2570560"/>
                    <a:pt x="2723108" y="2532460"/>
                    <a:pt x="2754064" y="2474516"/>
                  </a:cubicBezTo>
                  <a:cubicBezTo>
                    <a:pt x="2785020" y="2416572"/>
                    <a:pt x="2826296" y="2307828"/>
                    <a:pt x="2844552" y="2255441"/>
                  </a:cubicBezTo>
                  <a:cubicBezTo>
                    <a:pt x="2862808" y="2203054"/>
                    <a:pt x="2850902" y="2186385"/>
                    <a:pt x="2863602" y="2160191"/>
                  </a:cubicBezTo>
                  <a:cubicBezTo>
                    <a:pt x="2876302" y="2133997"/>
                    <a:pt x="2897733" y="2149079"/>
                    <a:pt x="2920752" y="2098279"/>
                  </a:cubicBezTo>
                  <a:cubicBezTo>
                    <a:pt x="2943771" y="2047479"/>
                    <a:pt x="2978695" y="1938735"/>
                    <a:pt x="3001714" y="1855391"/>
                  </a:cubicBezTo>
                  <a:cubicBezTo>
                    <a:pt x="3024733" y="1772047"/>
                    <a:pt x="3048545" y="1660129"/>
                    <a:pt x="3058864" y="1598216"/>
                  </a:cubicBezTo>
                  <a:cubicBezTo>
                    <a:pt x="3069183" y="1536303"/>
                    <a:pt x="3071564" y="1520428"/>
                    <a:pt x="3063627" y="1483916"/>
                  </a:cubicBezTo>
                  <a:cubicBezTo>
                    <a:pt x="3055690" y="1447404"/>
                    <a:pt x="3028702" y="1404541"/>
                    <a:pt x="3011239" y="1379141"/>
                  </a:cubicBezTo>
                  <a:cubicBezTo>
                    <a:pt x="2993776" y="1353741"/>
                    <a:pt x="2969171" y="1355329"/>
                    <a:pt x="2958852" y="1331516"/>
                  </a:cubicBezTo>
                  <a:cubicBezTo>
                    <a:pt x="2948533" y="1307704"/>
                    <a:pt x="2949327" y="1271191"/>
                    <a:pt x="2949327" y="1236266"/>
                  </a:cubicBezTo>
                  <a:cubicBezTo>
                    <a:pt x="2949327" y="1201341"/>
                    <a:pt x="2949327" y="1152922"/>
                    <a:pt x="2958852" y="1121966"/>
                  </a:cubicBezTo>
                  <a:cubicBezTo>
                    <a:pt x="2968377" y="1091010"/>
                    <a:pt x="2985839" y="1066404"/>
                    <a:pt x="3006477" y="1050529"/>
                  </a:cubicBezTo>
                  <a:cubicBezTo>
                    <a:pt x="3021955" y="1038623"/>
                    <a:pt x="3041898" y="1001267"/>
                    <a:pt x="3062288" y="1005769"/>
                  </a:cubicBezTo>
                  <a:close/>
                  <a:moveTo>
                    <a:pt x="1814660" y="0"/>
                  </a:moveTo>
                  <a:lnTo>
                    <a:pt x="1957138" y="1191"/>
                  </a:lnTo>
                  <a:cubicBezTo>
                    <a:pt x="2036513" y="2249"/>
                    <a:pt x="2083080" y="133"/>
                    <a:pt x="2153988" y="20241"/>
                  </a:cubicBezTo>
                  <a:cubicBezTo>
                    <a:pt x="2224896" y="40349"/>
                    <a:pt x="2301096" y="69983"/>
                    <a:pt x="2382588" y="121841"/>
                  </a:cubicBezTo>
                  <a:cubicBezTo>
                    <a:pt x="2464080" y="173699"/>
                    <a:pt x="2548747" y="236141"/>
                    <a:pt x="2642938" y="331391"/>
                  </a:cubicBezTo>
                  <a:cubicBezTo>
                    <a:pt x="2737129" y="426641"/>
                    <a:pt x="2877888" y="601266"/>
                    <a:pt x="2947738" y="693341"/>
                  </a:cubicBezTo>
                  <a:cubicBezTo>
                    <a:pt x="3017588" y="785416"/>
                    <a:pt x="3051455" y="831983"/>
                    <a:pt x="3062038" y="883841"/>
                  </a:cubicBezTo>
                  <a:cubicBezTo>
                    <a:pt x="3072621" y="935699"/>
                    <a:pt x="3037696" y="974858"/>
                    <a:pt x="3011238" y="1004491"/>
                  </a:cubicBezTo>
                  <a:cubicBezTo>
                    <a:pt x="2984780" y="1034124"/>
                    <a:pt x="2933980" y="1062699"/>
                    <a:pt x="2903288" y="1061641"/>
                  </a:cubicBezTo>
                  <a:cubicBezTo>
                    <a:pt x="2872596" y="1060583"/>
                    <a:pt x="2868363" y="1038358"/>
                    <a:pt x="2827088" y="998141"/>
                  </a:cubicBezTo>
                  <a:cubicBezTo>
                    <a:pt x="2785813" y="957924"/>
                    <a:pt x="2735013" y="874316"/>
                    <a:pt x="2655638" y="820341"/>
                  </a:cubicBezTo>
                  <a:cubicBezTo>
                    <a:pt x="2576263" y="766366"/>
                    <a:pt x="2456671" y="698633"/>
                    <a:pt x="2350838" y="674291"/>
                  </a:cubicBezTo>
                  <a:cubicBezTo>
                    <a:pt x="2245005" y="649949"/>
                    <a:pt x="2004008" y="658416"/>
                    <a:pt x="2020638" y="674291"/>
                  </a:cubicBezTo>
                  <a:cubicBezTo>
                    <a:pt x="2037268" y="690166"/>
                    <a:pt x="2322805" y="697365"/>
                    <a:pt x="2450619" y="769542"/>
                  </a:cubicBezTo>
                  <a:cubicBezTo>
                    <a:pt x="2578433" y="841719"/>
                    <a:pt x="2592091" y="839501"/>
                    <a:pt x="2660171" y="895090"/>
                  </a:cubicBezTo>
                  <a:cubicBezTo>
                    <a:pt x="2728251" y="950679"/>
                    <a:pt x="2812957" y="1052543"/>
                    <a:pt x="2859098" y="1103077"/>
                  </a:cubicBezTo>
                  <a:cubicBezTo>
                    <a:pt x="2840639" y="1173982"/>
                    <a:pt x="2842709" y="1151206"/>
                    <a:pt x="2830884" y="1212445"/>
                  </a:cubicBezTo>
                  <a:cubicBezTo>
                    <a:pt x="2856921" y="1275211"/>
                    <a:pt x="2830896" y="1445184"/>
                    <a:pt x="2830884" y="1445256"/>
                  </a:cubicBezTo>
                  <a:cubicBezTo>
                    <a:pt x="2830987" y="1445263"/>
                    <a:pt x="2939795" y="1453141"/>
                    <a:pt x="2939795" y="1531580"/>
                  </a:cubicBezTo>
                  <a:cubicBezTo>
                    <a:pt x="2939795" y="1610041"/>
                    <a:pt x="2823824" y="2041512"/>
                    <a:pt x="2823781" y="2041674"/>
                  </a:cubicBezTo>
                  <a:cubicBezTo>
                    <a:pt x="2823748" y="2041731"/>
                    <a:pt x="2792983" y="2093987"/>
                    <a:pt x="2757487" y="2086142"/>
                  </a:cubicBezTo>
                  <a:cubicBezTo>
                    <a:pt x="2719935" y="2402501"/>
                    <a:pt x="2591644" y="2600616"/>
                    <a:pt x="2480886" y="2698176"/>
                  </a:cubicBezTo>
                  <a:cubicBezTo>
                    <a:pt x="2497333" y="2737923"/>
                    <a:pt x="2509017" y="2787194"/>
                    <a:pt x="2530227" y="2817416"/>
                  </a:cubicBezTo>
                  <a:lnTo>
                    <a:pt x="2592139" y="2874566"/>
                  </a:lnTo>
                  <a:lnTo>
                    <a:pt x="2658814" y="2884091"/>
                  </a:lnTo>
                  <a:lnTo>
                    <a:pt x="2682627" y="2912666"/>
                  </a:lnTo>
                  <a:lnTo>
                    <a:pt x="2749302" y="3079354"/>
                  </a:lnTo>
                  <a:lnTo>
                    <a:pt x="2844552" y="3174604"/>
                  </a:lnTo>
                  <a:lnTo>
                    <a:pt x="2939802" y="3207941"/>
                  </a:lnTo>
                  <a:lnTo>
                    <a:pt x="3282702" y="3317479"/>
                  </a:lnTo>
                  <a:lnTo>
                    <a:pt x="3658939" y="3493691"/>
                  </a:lnTo>
                  <a:lnTo>
                    <a:pt x="3868489" y="3641329"/>
                  </a:lnTo>
                  <a:cubicBezTo>
                    <a:pt x="3879602" y="3684191"/>
                    <a:pt x="3906589" y="3708004"/>
                    <a:pt x="3901827" y="3769916"/>
                  </a:cubicBezTo>
                  <a:cubicBezTo>
                    <a:pt x="3909764" y="3830241"/>
                    <a:pt x="3898652" y="3938191"/>
                    <a:pt x="3878014" y="4027091"/>
                  </a:cubicBezTo>
                  <a:cubicBezTo>
                    <a:pt x="3855789" y="4119166"/>
                    <a:pt x="3820864" y="4166791"/>
                    <a:pt x="3792289" y="4236641"/>
                  </a:cubicBezTo>
                  <a:lnTo>
                    <a:pt x="3620839" y="4598591"/>
                  </a:lnTo>
                  <a:lnTo>
                    <a:pt x="3473202" y="4760516"/>
                  </a:lnTo>
                  <a:cubicBezTo>
                    <a:pt x="2419193" y="4883157"/>
                    <a:pt x="1553862" y="4873723"/>
                    <a:pt x="339477" y="4760516"/>
                  </a:cubicBezTo>
                  <a:lnTo>
                    <a:pt x="163264" y="4436666"/>
                  </a:lnTo>
                  <a:lnTo>
                    <a:pt x="58489" y="4141391"/>
                  </a:lnTo>
                  <a:cubicBezTo>
                    <a:pt x="39439" y="4046141"/>
                    <a:pt x="14039" y="3992166"/>
                    <a:pt x="1339" y="3855641"/>
                  </a:cubicBezTo>
                  <a:cubicBezTo>
                    <a:pt x="-3423" y="3795316"/>
                    <a:pt x="4514" y="3744516"/>
                    <a:pt x="25152" y="3703241"/>
                  </a:cubicBezTo>
                  <a:lnTo>
                    <a:pt x="220414" y="3584179"/>
                  </a:lnTo>
                  <a:lnTo>
                    <a:pt x="534739" y="3450829"/>
                  </a:lnTo>
                  <a:lnTo>
                    <a:pt x="934789" y="3293666"/>
                  </a:lnTo>
                  <a:lnTo>
                    <a:pt x="1134814" y="3217466"/>
                  </a:lnTo>
                  <a:cubicBezTo>
                    <a:pt x="1234827" y="3090466"/>
                    <a:pt x="1241971" y="3068241"/>
                    <a:pt x="1277689" y="2950766"/>
                  </a:cubicBezTo>
                  <a:lnTo>
                    <a:pt x="1372939" y="2888854"/>
                  </a:lnTo>
                  <a:lnTo>
                    <a:pt x="1444377" y="2750741"/>
                  </a:lnTo>
                  <a:lnTo>
                    <a:pt x="1430089" y="2665016"/>
                  </a:lnTo>
                  <a:lnTo>
                    <a:pt x="1433678" y="2655556"/>
                  </a:lnTo>
                  <a:cubicBezTo>
                    <a:pt x="1422983" y="2644679"/>
                    <a:pt x="1415776" y="2635961"/>
                    <a:pt x="1412671" y="2630242"/>
                  </a:cubicBezTo>
                  <a:cubicBezTo>
                    <a:pt x="1381893" y="2577926"/>
                    <a:pt x="1178275" y="2345112"/>
                    <a:pt x="1171172" y="2059985"/>
                  </a:cubicBezTo>
                  <a:cubicBezTo>
                    <a:pt x="1071731" y="2052136"/>
                    <a:pt x="1014908" y="1764391"/>
                    <a:pt x="977027" y="1612672"/>
                  </a:cubicBezTo>
                  <a:cubicBezTo>
                    <a:pt x="946258" y="1484545"/>
                    <a:pt x="1052708" y="1487108"/>
                    <a:pt x="1052790" y="1487109"/>
                  </a:cubicBezTo>
                  <a:cubicBezTo>
                    <a:pt x="1052758" y="1487025"/>
                    <a:pt x="992834" y="1362590"/>
                    <a:pt x="1018186" y="1277790"/>
                  </a:cubicBezTo>
                  <a:cubicBezTo>
                    <a:pt x="962383" y="1308036"/>
                    <a:pt x="957154" y="1319916"/>
                    <a:pt x="934788" y="1341041"/>
                  </a:cubicBezTo>
                  <a:cubicBezTo>
                    <a:pt x="912422" y="1362166"/>
                    <a:pt x="899863" y="1373849"/>
                    <a:pt x="883988" y="1404541"/>
                  </a:cubicBezTo>
                  <a:cubicBezTo>
                    <a:pt x="868113" y="1435233"/>
                    <a:pt x="843771" y="1484974"/>
                    <a:pt x="839538" y="1525191"/>
                  </a:cubicBezTo>
                  <a:cubicBezTo>
                    <a:pt x="835305" y="1565408"/>
                    <a:pt x="850121" y="1595041"/>
                    <a:pt x="858588" y="1645841"/>
                  </a:cubicBezTo>
                  <a:cubicBezTo>
                    <a:pt x="867055" y="1696641"/>
                    <a:pt x="872346" y="1749558"/>
                    <a:pt x="890338" y="1829991"/>
                  </a:cubicBezTo>
                  <a:cubicBezTo>
                    <a:pt x="908330" y="1910424"/>
                    <a:pt x="940080" y="2067058"/>
                    <a:pt x="966538" y="2128441"/>
                  </a:cubicBezTo>
                  <a:cubicBezTo>
                    <a:pt x="992996" y="2189824"/>
                    <a:pt x="1026863" y="2164424"/>
                    <a:pt x="1049088" y="2198291"/>
                  </a:cubicBezTo>
                  <a:cubicBezTo>
                    <a:pt x="1071313" y="2232158"/>
                    <a:pt x="1071313" y="2270258"/>
                    <a:pt x="1099888" y="2331641"/>
                  </a:cubicBezTo>
                  <a:cubicBezTo>
                    <a:pt x="1128463" y="2393024"/>
                    <a:pt x="1191963" y="2503091"/>
                    <a:pt x="1220538" y="2566591"/>
                  </a:cubicBezTo>
                  <a:cubicBezTo>
                    <a:pt x="1249113" y="2630091"/>
                    <a:pt x="1286155" y="2681949"/>
                    <a:pt x="1271338" y="2712641"/>
                  </a:cubicBezTo>
                  <a:cubicBezTo>
                    <a:pt x="1256521" y="2743333"/>
                    <a:pt x="1188788" y="2740158"/>
                    <a:pt x="1131638" y="2750741"/>
                  </a:cubicBezTo>
                  <a:cubicBezTo>
                    <a:pt x="1074488" y="2761324"/>
                    <a:pt x="992996" y="2779316"/>
                    <a:pt x="928438" y="2776141"/>
                  </a:cubicBezTo>
                  <a:cubicBezTo>
                    <a:pt x="863880" y="2772966"/>
                    <a:pt x="788738" y="2762383"/>
                    <a:pt x="744288" y="2731691"/>
                  </a:cubicBezTo>
                  <a:cubicBezTo>
                    <a:pt x="699838" y="2700999"/>
                    <a:pt x="681846" y="2656549"/>
                    <a:pt x="661738" y="2591991"/>
                  </a:cubicBezTo>
                  <a:cubicBezTo>
                    <a:pt x="641630" y="2527433"/>
                    <a:pt x="627871" y="2439591"/>
                    <a:pt x="623638" y="2344341"/>
                  </a:cubicBezTo>
                  <a:cubicBezTo>
                    <a:pt x="619405" y="2249091"/>
                    <a:pt x="617288" y="2189824"/>
                    <a:pt x="636338" y="2020491"/>
                  </a:cubicBezTo>
                  <a:cubicBezTo>
                    <a:pt x="655388" y="1851158"/>
                    <a:pt x="681846" y="1561174"/>
                    <a:pt x="737938" y="1328341"/>
                  </a:cubicBezTo>
                  <a:cubicBezTo>
                    <a:pt x="794030" y="1095508"/>
                    <a:pt x="900921" y="794941"/>
                    <a:pt x="972888" y="623491"/>
                  </a:cubicBezTo>
                  <a:cubicBezTo>
                    <a:pt x="1044855" y="452041"/>
                    <a:pt x="1105180" y="380074"/>
                    <a:pt x="1169738" y="299641"/>
                  </a:cubicBezTo>
                  <a:cubicBezTo>
                    <a:pt x="1234296" y="219208"/>
                    <a:pt x="1299913" y="171583"/>
                    <a:pt x="1360238" y="140891"/>
                  </a:cubicBezTo>
                  <a:cubicBezTo>
                    <a:pt x="1420563" y="110199"/>
                    <a:pt x="1478771" y="136658"/>
                    <a:pt x="1531688" y="115491"/>
                  </a:cubicBezTo>
                  <a:cubicBezTo>
                    <a:pt x="1584605" y="94324"/>
                    <a:pt x="1605771" y="32941"/>
                    <a:pt x="1677738" y="13891"/>
                  </a:cubicBezTo>
                  <a:cubicBezTo>
                    <a:pt x="1713722" y="4366"/>
                    <a:pt x="1763728" y="926"/>
                    <a:pt x="181466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spTree>
    <p:extLst>
      <p:ext uri="{BB962C8B-B14F-4D97-AF65-F5344CB8AC3E}">
        <p14:creationId xmlns:p14="http://schemas.microsoft.com/office/powerpoint/2010/main" val="41714842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35D42505-68E3-4282-B9C5-ED8F3CBE8D0F}"/>
              </a:ext>
            </a:extLst>
          </p:cNvPr>
          <p:cNvGrpSpPr/>
          <p:nvPr/>
        </p:nvGrpSpPr>
        <p:grpSpPr>
          <a:xfrm>
            <a:off x="650949" y="2969955"/>
            <a:ext cx="891150" cy="891148"/>
            <a:chOff x="664175" y="3028890"/>
            <a:chExt cx="909256" cy="909254"/>
          </a:xfrm>
        </p:grpSpPr>
        <p:sp>
          <p:nvSpPr>
            <p:cNvPr id="58" name="Rectangle 57">
              <a:extLst>
                <a:ext uri="{FF2B5EF4-FFF2-40B4-BE49-F238E27FC236}">
                  <a16:creationId xmlns:a16="http://schemas.microsoft.com/office/drawing/2014/main" id="{E9C9A834-4E16-4E04-94BD-78A5B2488C8A}"/>
                </a:ext>
              </a:extLst>
            </p:cNvPr>
            <p:cNvSpPr>
              <a:spLocks noChangeAspect="1"/>
            </p:cNvSpPr>
            <p:nvPr/>
          </p:nvSpPr>
          <p:spPr bwMode="auto">
            <a:xfrm>
              <a:off x="664175" y="3028890"/>
              <a:ext cx="909256" cy="909254"/>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defRPr/>
              </a:pPr>
              <a:endParaRPr lang="en-US" sz="1960">
                <a:gradFill>
                  <a:gsLst>
                    <a:gs pos="0">
                      <a:srgbClr val="FFFFFF"/>
                    </a:gs>
                    <a:gs pos="100000">
                      <a:srgbClr val="FFFFFF"/>
                    </a:gs>
                  </a:gsLst>
                  <a:lin ang="5400000" scaled="0"/>
                </a:gradFill>
                <a:latin typeface="Segoe UI Semilight"/>
              </a:endParaRPr>
            </a:p>
          </p:txBody>
        </p:sp>
        <p:sp>
          <p:nvSpPr>
            <p:cNvPr id="59" name="Business applications icon">
              <a:extLst>
                <a:ext uri="{FF2B5EF4-FFF2-40B4-BE49-F238E27FC236}">
                  <a16:creationId xmlns:a16="http://schemas.microsoft.com/office/drawing/2014/main" id="{AA0C5836-1B10-40BD-924C-4185167C8132}"/>
                </a:ext>
              </a:extLst>
            </p:cNvPr>
            <p:cNvSpPr>
              <a:spLocks noChangeAspect="1" noEditPoints="1"/>
            </p:cNvSpPr>
            <p:nvPr/>
          </p:nvSpPr>
          <p:spPr bwMode="auto">
            <a:xfrm>
              <a:off x="932131" y="3329808"/>
              <a:ext cx="373345" cy="307418"/>
            </a:xfrm>
            <a:custGeom>
              <a:avLst/>
              <a:gdLst>
                <a:gd name="T0" fmla="*/ 227 w 521"/>
                <a:gd name="T1" fmla="*/ 429 h 429"/>
                <a:gd name="T2" fmla="*/ 0 w 521"/>
                <a:gd name="T3" fmla="*/ 429 h 429"/>
                <a:gd name="T4" fmla="*/ 114 w 521"/>
                <a:gd name="T5" fmla="*/ 279 h 429"/>
                <a:gd name="T6" fmla="*/ 227 w 521"/>
                <a:gd name="T7" fmla="*/ 429 h 429"/>
                <a:gd name="T8" fmla="*/ 513 w 521"/>
                <a:gd name="T9" fmla="*/ 78 h 429"/>
                <a:gd name="T10" fmla="*/ 265 w 521"/>
                <a:gd name="T11" fmla="*/ 429 h 429"/>
                <a:gd name="T12" fmla="*/ 521 w 521"/>
                <a:gd name="T13" fmla="*/ 429 h 429"/>
                <a:gd name="T14" fmla="*/ 513 w 521"/>
                <a:gd name="T15" fmla="*/ 78 h 429"/>
                <a:gd name="T16" fmla="*/ 278 w 521"/>
                <a:gd name="T17" fmla="*/ 195 h 429"/>
                <a:gd name="T18" fmla="*/ 117 w 521"/>
                <a:gd name="T19" fmla="*/ 429 h 429"/>
                <a:gd name="T20" fmla="*/ 440 w 521"/>
                <a:gd name="T21" fmla="*/ 429 h 429"/>
                <a:gd name="T22" fmla="*/ 278 w 521"/>
                <a:gd name="T23" fmla="*/ 195 h 429"/>
                <a:gd name="T24" fmla="*/ 462 w 521"/>
                <a:gd name="T25" fmla="*/ 55 h 429"/>
                <a:gd name="T26" fmla="*/ 462 w 521"/>
                <a:gd name="T27" fmla="*/ 55 h 429"/>
                <a:gd name="T28" fmla="*/ 431 w 521"/>
                <a:gd name="T29" fmla="*/ 90 h 429"/>
                <a:gd name="T30" fmla="*/ 443 w 521"/>
                <a:gd name="T31" fmla="*/ 75 h 429"/>
                <a:gd name="T32" fmla="*/ 405 w 521"/>
                <a:gd name="T33" fmla="*/ 118 h 429"/>
                <a:gd name="T34" fmla="*/ 418 w 521"/>
                <a:gd name="T35" fmla="*/ 103 h 429"/>
                <a:gd name="T36" fmla="*/ 380 w 521"/>
                <a:gd name="T37" fmla="*/ 146 h 429"/>
                <a:gd name="T38" fmla="*/ 393 w 521"/>
                <a:gd name="T39" fmla="*/ 132 h 429"/>
                <a:gd name="T40" fmla="*/ 355 w 521"/>
                <a:gd name="T41" fmla="*/ 175 h 429"/>
                <a:gd name="T42" fmla="*/ 367 w 521"/>
                <a:gd name="T43" fmla="*/ 160 h 429"/>
                <a:gd name="T44" fmla="*/ 329 w 521"/>
                <a:gd name="T45" fmla="*/ 203 h 429"/>
                <a:gd name="T46" fmla="*/ 342 w 521"/>
                <a:gd name="T47" fmla="*/ 189 h 429"/>
                <a:gd name="T48" fmla="*/ 303 w 521"/>
                <a:gd name="T49" fmla="*/ 231 h 429"/>
                <a:gd name="T50" fmla="*/ 316 w 521"/>
                <a:gd name="T51" fmla="*/ 217 h 429"/>
                <a:gd name="T52" fmla="*/ 277 w 521"/>
                <a:gd name="T53" fmla="*/ 260 h 429"/>
                <a:gd name="T54" fmla="*/ 290 w 521"/>
                <a:gd name="T55" fmla="*/ 246 h 429"/>
                <a:gd name="T56" fmla="*/ 252 w 521"/>
                <a:gd name="T57" fmla="*/ 288 h 429"/>
                <a:gd name="T58" fmla="*/ 264 w 521"/>
                <a:gd name="T59" fmla="*/ 274 h 429"/>
                <a:gd name="T60" fmla="*/ 226 w 521"/>
                <a:gd name="T61" fmla="*/ 316 h 429"/>
                <a:gd name="T62" fmla="*/ 239 w 521"/>
                <a:gd name="T63" fmla="*/ 302 h 429"/>
                <a:gd name="T64" fmla="*/ 201 w 521"/>
                <a:gd name="T65" fmla="*/ 344 h 429"/>
                <a:gd name="T66" fmla="*/ 214 w 521"/>
                <a:gd name="T67" fmla="*/ 331 h 429"/>
                <a:gd name="T68" fmla="*/ 175 w 521"/>
                <a:gd name="T69" fmla="*/ 372 h 429"/>
                <a:gd name="T70" fmla="*/ 188 w 521"/>
                <a:gd name="T71" fmla="*/ 359 h 429"/>
                <a:gd name="T72" fmla="*/ 150 w 521"/>
                <a:gd name="T73" fmla="*/ 401 h 429"/>
                <a:gd name="T74" fmla="*/ 163 w 521"/>
                <a:gd name="T75" fmla="*/ 387 h 429"/>
                <a:gd name="T76" fmla="*/ 125 w 521"/>
                <a:gd name="T77" fmla="*/ 429 h 429"/>
                <a:gd name="T78" fmla="*/ 137 w 521"/>
                <a:gd name="T79" fmla="*/ 415 h 429"/>
                <a:gd name="T80" fmla="*/ 509 w 521"/>
                <a:gd name="T81" fmla="*/ 32 h 429"/>
                <a:gd name="T82" fmla="*/ 509 w 521"/>
                <a:gd name="T83" fmla="*/ 32 h 429"/>
                <a:gd name="T84" fmla="*/ 515 w 521"/>
                <a:gd name="T85" fmla="*/ 29 h 429"/>
                <a:gd name="T86" fmla="*/ 515 w 521"/>
                <a:gd name="T87" fmla="*/ 0 h 429"/>
                <a:gd name="T88" fmla="*/ 487 w 521"/>
                <a:gd name="T89" fmla="*/ 0 h 429"/>
                <a:gd name="T90" fmla="*/ 515 w 521"/>
                <a:gd name="T91" fmla="*/ 0 h 429"/>
                <a:gd name="T92" fmla="*/ 459 w 521"/>
                <a:gd name="T93" fmla="*/ 58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1" h="429">
                  <a:moveTo>
                    <a:pt x="227" y="429"/>
                  </a:moveTo>
                  <a:lnTo>
                    <a:pt x="0" y="429"/>
                  </a:lnTo>
                  <a:lnTo>
                    <a:pt x="114" y="279"/>
                  </a:lnTo>
                  <a:lnTo>
                    <a:pt x="227" y="429"/>
                  </a:lnTo>
                  <a:moveTo>
                    <a:pt x="513" y="78"/>
                  </a:moveTo>
                  <a:lnTo>
                    <a:pt x="265" y="429"/>
                  </a:lnTo>
                  <a:lnTo>
                    <a:pt x="521" y="429"/>
                  </a:lnTo>
                  <a:lnTo>
                    <a:pt x="513" y="78"/>
                  </a:lnTo>
                  <a:moveTo>
                    <a:pt x="278" y="195"/>
                  </a:moveTo>
                  <a:lnTo>
                    <a:pt x="117" y="429"/>
                  </a:lnTo>
                  <a:lnTo>
                    <a:pt x="440" y="429"/>
                  </a:lnTo>
                  <a:lnTo>
                    <a:pt x="278" y="195"/>
                  </a:lnTo>
                  <a:moveTo>
                    <a:pt x="462" y="55"/>
                  </a:moveTo>
                  <a:lnTo>
                    <a:pt x="462" y="55"/>
                  </a:lnTo>
                  <a:moveTo>
                    <a:pt x="431" y="90"/>
                  </a:moveTo>
                  <a:lnTo>
                    <a:pt x="443" y="75"/>
                  </a:lnTo>
                  <a:moveTo>
                    <a:pt x="405" y="118"/>
                  </a:moveTo>
                  <a:lnTo>
                    <a:pt x="418" y="103"/>
                  </a:lnTo>
                  <a:moveTo>
                    <a:pt x="380" y="146"/>
                  </a:moveTo>
                  <a:lnTo>
                    <a:pt x="393" y="132"/>
                  </a:lnTo>
                  <a:moveTo>
                    <a:pt x="355" y="175"/>
                  </a:moveTo>
                  <a:lnTo>
                    <a:pt x="367" y="160"/>
                  </a:lnTo>
                  <a:moveTo>
                    <a:pt x="329" y="203"/>
                  </a:moveTo>
                  <a:lnTo>
                    <a:pt x="342" y="189"/>
                  </a:lnTo>
                  <a:moveTo>
                    <a:pt x="303" y="231"/>
                  </a:moveTo>
                  <a:lnTo>
                    <a:pt x="316" y="217"/>
                  </a:lnTo>
                  <a:moveTo>
                    <a:pt x="277" y="260"/>
                  </a:moveTo>
                  <a:lnTo>
                    <a:pt x="290" y="246"/>
                  </a:lnTo>
                  <a:moveTo>
                    <a:pt x="252" y="288"/>
                  </a:moveTo>
                  <a:lnTo>
                    <a:pt x="264" y="274"/>
                  </a:lnTo>
                  <a:moveTo>
                    <a:pt x="226" y="316"/>
                  </a:moveTo>
                  <a:lnTo>
                    <a:pt x="239" y="302"/>
                  </a:lnTo>
                  <a:moveTo>
                    <a:pt x="201" y="344"/>
                  </a:moveTo>
                  <a:lnTo>
                    <a:pt x="214" y="331"/>
                  </a:lnTo>
                  <a:moveTo>
                    <a:pt x="175" y="372"/>
                  </a:moveTo>
                  <a:lnTo>
                    <a:pt x="188" y="359"/>
                  </a:lnTo>
                  <a:moveTo>
                    <a:pt x="150" y="401"/>
                  </a:moveTo>
                  <a:lnTo>
                    <a:pt x="163" y="387"/>
                  </a:lnTo>
                  <a:moveTo>
                    <a:pt x="125" y="429"/>
                  </a:moveTo>
                  <a:lnTo>
                    <a:pt x="137" y="415"/>
                  </a:lnTo>
                  <a:moveTo>
                    <a:pt x="509" y="32"/>
                  </a:moveTo>
                  <a:lnTo>
                    <a:pt x="509" y="32"/>
                  </a:lnTo>
                  <a:moveTo>
                    <a:pt x="515" y="29"/>
                  </a:moveTo>
                  <a:lnTo>
                    <a:pt x="515" y="0"/>
                  </a:lnTo>
                  <a:lnTo>
                    <a:pt x="487" y="0"/>
                  </a:lnTo>
                  <a:moveTo>
                    <a:pt x="515" y="0"/>
                  </a:moveTo>
                  <a:lnTo>
                    <a:pt x="459" y="58"/>
                  </a:lnTo>
                </a:path>
              </a:pathLst>
            </a:custGeom>
            <a:noFill/>
            <a:ln w="12700" cap="flat">
              <a:solidFill>
                <a:schemeClr val="bg1"/>
              </a:solidFill>
              <a:prstDash val="solid"/>
              <a:miter lim="800000"/>
              <a:headEnd/>
              <a:tailEnd/>
            </a:ln>
            <a:extLst/>
          </p:spPr>
          <p:txBody>
            <a:bodyPr vert="horz" wrap="square" lIns="89619" tIns="44809" rIns="89619" bIns="44809" numCol="1" anchor="t" anchorCtr="0" compatLnSpc="1">
              <a:prstTxWarp prst="textNoShape">
                <a:avLst/>
              </a:prstTxWarp>
            </a:bodyPr>
            <a:lstStyle/>
            <a:p>
              <a:pPr defTabSz="914093">
                <a:defRPr/>
              </a:pPr>
              <a:endParaRPr lang="en-US" sz="1764">
                <a:solidFill>
                  <a:srgbClr val="353535"/>
                </a:solidFill>
                <a:latin typeface="Segoe UI Semilight"/>
              </a:endParaRPr>
            </a:p>
          </p:txBody>
        </p:sp>
      </p:grpSp>
      <p:grpSp>
        <p:nvGrpSpPr>
          <p:cNvPr id="60" name="Group 59">
            <a:extLst>
              <a:ext uri="{FF2B5EF4-FFF2-40B4-BE49-F238E27FC236}">
                <a16:creationId xmlns:a16="http://schemas.microsoft.com/office/drawing/2014/main" id="{24270DA5-8D15-46DC-87EE-F0C703FADD16}"/>
              </a:ext>
            </a:extLst>
          </p:cNvPr>
          <p:cNvGrpSpPr/>
          <p:nvPr/>
        </p:nvGrpSpPr>
        <p:grpSpPr>
          <a:xfrm>
            <a:off x="650949" y="3932939"/>
            <a:ext cx="891150" cy="891148"/>
            <a:chOff x="664175" y="4011440"/>
            <a:chExt cx="909256" cy="909254"/>
          </a:xfrm>
        </p:grpSpPr>
        <p:sp>
          <p:nvSpPr>
            <p:cNvPr id="61" name="Rectangle 60">
              <a:extLst>
                <a:ext uri="{FF2B5EF4-FFF2-40B4-BE49-F238E27FC236}">
                  <a16:creationId xmlns:a16="http://schemas.microsoft.com/office/drawing/2014/main" id="{5C50A2D1-5140-4A46-9CF0-294267C0B12F}"/>
                </a:ext>
              </a:extLst>
            </p:cNvPr>
            <p:cNvSpPr>
              <a:spLocks noChangeAspect="1"/>
            </p:cNvSpPr>
            <p:nvPr/>
          </p:nvSpPr>
          <p:spPr bwMode="auto">
            <a:xfrm>
              <a:off x="664175" y="4011440"/>
              <a:ext cx="909256" cy="909254"/>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defRPr/>
              </a:pPr>
              <a:endParaRPr lang="en-US" sz="1960">
                <a:gradFill>
                  <a:gsLst>
                    <a:gs pos="0">
                      <a:srgbClr val="FFFFFF"/>
                    </a:gs>
                    <a:gs pos="100000">
                      <a:srgbClr val="FFFFFF"/>
                    </a:gs>
                  </a:gsLst>
                  <a:lin ang="5400000" scaled="0"/>
                </a:gradFill>
                <a:latin typeface="Segoe UI Semilight"/>
              </a:endParaRPr>
            </a:p>
          </p:txBody>
        </p:sp>
        <p:sp>
          <p:nvSpPr>
            <p:cNvPr id="62" name="Freeform: Shape 61">
              <a:extLst>
                <a:ext uri="{FF2B5EF4-FFF2-40B4-BE49-F238E27FC236}">
                  <a16:creationId xmlns:a16="http://schemas.microsoft.com/office/drawing/2014/main" id="{0A7429A6-5F56-4A43-B310-94FD8DE1A06F}"/>
                </a:ext>
              </a:extLst>
            </p:cNvPr>
            <p:cNvSpPr/>
            <p:nvPr/>
          </p:nvSpPr>
          <p:spPr bwMode="auto">
            <a:xfrm flipV="1">
              <a:off x="861774" y="4324379"/>
              <a:ext cx="514060" cy="283376"/>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40">
                <a:defRPr/>
              </a:pPr>
              <a:endParaRPr lang="en-US" sz="1799">
                <a:solidFill>
                  <a:srgbClr val="353535"/>
                </a:solidFill>
                <a:latin typeface="Segoe UI Semilight"/>
              </a:endParaRPr>
            </a:p>
          </p:txBody>
        </p:sp>
      </p:grpSp>
      <p:grpSp>
        <p:nvGrpSpPr>
          <p:cNvPr id="63" name="Group 62">
            <a:extLst>
              <a:ext uri="{FF2B5EF4-FFF2-40B4-BE49-F238E27FC236}">
                <a16:creationId xmlns:a16="http://schemas.microsoft.com/office/drawing/2014/main" id="{B4FD31B3-5C28-4C02-B16B-361257E9563C}"/>
              </a:ext>
            </a:extLst>
          </p:cNvPr>
          <p:cNvGrpSpPr/>
          <p:nvPr/>
        </p:nvGrpSpPr>
        <p:grpSpPr>
          <a:xfrm>
            <a:off x="650949" y="4895922"/>
            <a:ext cx="891150" cy="891148"/>
            <a:chOff x="664175" y="4993989"/>
            <a:chExt cx="909256" cy="909254"/>
          </a:xfrm>
        </p:grpSpPr>
        <p:sp>
          <p:nvSpPr>
            <p:cNvPr id="64" name="Rectangle 63">
              <a:extLst>
                <a:ext uri="{FF2B5EF4-FFF2-40B4-BE49-F238E27FC236}">
                  <a16:creationId xmlns:a16="http://schemas.microsoft.com/office/drawing/2014/main" id="{CB9F66DF-AF57-41E9-9523-2AE98F2688CF}"/>
                </a:ext>
              </a:extLst>
            </p:cNvPr>
            <p:cNvSpPr>
              <a:spLocks noChangeAspect="1"/>
            </p:cNvSpPr>
            <p:nvPr/>
          </p:nvSpPr>
          <p:spPr bwMode="auto">
            <a:xfrm>
              <a:off x="664175" y="4993989"/>
              <a:ext cx="909256" cy="909254"/>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defRPr/>
              </a:pPr>
              <a:endParaRPr lang="en-US" sz="1960">
                <a:gradFill>
                  <a:gsLst>
                    <a:gs pos="0">
                      <a:srgbClr val="FFFFFF"/>
                    </a:gs>
                    <a:gs pos="100000">
                      <a:srgbClr val="FFFFFF"/>
                    </a:gs>
                  </a:gsLst>
                  <a:lin ang="5400000" scaled="0"/>
                </a:gradFill>
                <a:latin typeface="Segoe UI Semilight"/>
              </a:endParaRPr>
            </a:p>
          </p:txBody>
        </p:sp>
        <p:sp>
          <p:nvSpPr>
            <p:cNvPr id="65" name="Data &amp; AI icon">
              <a:extLst>
                <a:ext uri="{FF2B5EF4-FFF2-40B4-BE49-F238E27FC236}">
                  <a16:creationId xmlns:a16="http://schemas.microsoft.com/office/drawing/2014/main" id="{340DB764-BF62-4BC9-83F9-B82247767F1F}"/>
                </a:ext>
              </a:extLst>
            </p:cNvPr>
            <p:cNvSpPr>
              <a:spLocks noChangeAspect="1" noEditPoints="1"/>
            </p:cNvSpPr>
            <p:nvPr/>
          </p:nvSpPr>
          <p:spPr bwMode="auto">
            <a:xfrm>
              <a:off x="881268" y="5259031"/>
              <a:ext cx="475071" cy="379170"/>
            </a:xfrm>
            <a:custGeom>
              <a:avLst/>
              <a:gdLst>
                <a:gd name="T0" fmla="*/ 588 w 892"/>
                <a:gd name="T1" fmla="*/ 97 h 712"/>
                <a:gd name="T2" fmla="*/ 588 w 892"/>
                <a:gd name="T3" fmla="*/ 0 h 712"/>
                <a:gd name="T4" fmla="*/ 844 w 892"/>
                <a:gd name="T5" fmla="*/ 174 h 712"/>
                <a:gd name="T6" fmla="*/ 844 w 892"/>
                <a:gd name="T7" fmla="*/ 270 h 712"/>
                <a:gd name="T8" fmla="*/ 844 w 892"/>
                <a:gd name="T9" fmla="*/ 174 h 712"/>
                <a:gd name="T10" fmla="*/ 573 w 892"/>
                <a:gd name="T11" fmla="*/ 396 h 712"/>
                <a:gd name="T12" fmla="*/ 670 w 892"/>
                <a:gd name="T13" fmla="*/ 396 h 712"/>
                <a:gd name="T14" fmla="*/ 804 w 892"/>
                <a:gd name="T15" fmla="*/ 533 h 712"/>
                <a:gd name="T16" fmla="*/ 804 w 892"/>
                <a:gd name="T17" fmla="*/ 630 h 712"/>
                <a:gd name="T18" fmla="*/ 804 w 892"/>
                <a:gd name="T19" fmla="*/ 533 h 712"/>
                <a:gd name="T20" fmla="*/ 356 w 892"/>
                <a:gd name="T21" fmla="*/ 664 h 712"/>
                <a:gd name="T22" fmla="*/ 453 w 892"/>
                <a:gd name="T23" fmla="*/ 664 h 712"/>
                <a:gd name="T24" fmla="*/ 48 w 892"/>
                <a:gd name="T25" fmla="*/ 427 h 712"/>
                <a:gd name="T26" fmla="*/ 48 w 892"/>
                <a:gd name="T27" fmla="*/ 523 h 712"/>
                <a:gd name="T28" fmla="*/ 48 w 892"/>
                <a:gd name="T29" fmla="*/ 427 h 712"/>
                <a:gd name="T30" fmla="*/ 325 w 892"/>
                <a:gd name="T31" fmla="*/ 259 h 712"/>
                <a:gd name="T32" fmla="*/ 422 w 892"/>
                <a:gd name="T33" fmla="*/ 259 h 712"/>
                <a:gd name="T34" fmla="*/ 152 w 892"/>
                <a:gd name="T35" fmla="*/ 95 h 712"/>
                <a:gd name="T36" fmla="*/ 152 w 892"/>
                <a:gd name="T37" fmla="*/ 192 h 712"/>
                <a:gd name="T38" fmla="*/ 152 w 892"/>
                <a:gd name="T39" fmla="*/ 95 h 712"/>
                <a:gd name="T40" fmla="*/ 325 w 892"/>
                <a:gd name="T41" fmla="*/ 237 h 712"/>
                <a:gd name="T42" fmla="*/ 581 w 892"/>
                <a:gd name="T43" fmla="*/ 371 h 712"/>
                <a:gd name="T44" fmla="*/ 96 w 892"/>
                <a:gd name="T45" fmla="*/ 475 h 712"/>
                <a:gd name="T46" fmla="*/ 364 w 892"/>
                <a:gd name="T47" fmla="*/ 637 h 712"/>
                <a:gd name="T48" fmla="*/ 762 w 892"/>
                <a:gd name="T49" fmla="*/ 604 h 712"/>
                <a:gd name="T50" fmla="*/ 201 w 892"/>
                <a:gd name="T51" fmla="*/ 131 h 712"/>
                <a:gd name="T52" fmla="*/ 804 w 892"/>
                <a:gd name="T53" fmla="*/ 190 h 712"/>
                <a:gd name="T54" fmla="*/ 660 w 892"/>
                <a:gd name="T55" fmla="*/ 367 h 712"/>
                <a:gd name="T56" fmla="*/ 588 w 892"/>
                <a:gd name="T57" fmla="*/ 437 h 712"/>
                <a:gd name="T58" fmla="*/ 422 w 892"/>
                <a:gd name="T59" fmla="*/ 618 h 712"/>
                <a:gd name="T60" fmla="*/ 404 w 892"/>
                <a:gd name="T61" fmla="*/ 615 h 712"/>
                <a:gd name="T62" fmla="*/ 169 w 892"/>
                <a:gd name="T63" fmla="*/ 189 h 712"/>
                <a:gd name="T64" fmla="*/ 553 w 892"/>
                <a:gd name="T65" fmla="*/ 82 h 712"/>
                <a:gd name="T66" fmla="*/ 788 w 892"/>
                <a:gd name="T67" fmla="*/ 536 h 712"/>
                <a:gd name="T68" fmla="*/ 762 w 892"/>
                <a:gd name="T69" fmla="*/ 548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92" h="712">
                  <a:moveTo>
                    <a:pt x="636" y="48"/>
                  </a:moveTo>
                  <a:cubicBezTo>
                    <a:pt x="636" y="75"/>
                    <a:pt x="614" y="97"/>
                    <a:pt x="588" y="97"/>
                  </a:cubicBezTo>
                  <a:cubicBezTo>
                    <a:pt x="561" y="97"/>
                    <a:pt x="539" y="75"/>
                    <a:pt x="539" y="48"/>
                  </a:cubicBezTo>
                  <a:cubicBezTo>
                    <a:pt x="539" y="22"/>
                    <a:pt x="561" y="0"/>
                    <a:pt x="588" y="0"/>
                  </a:cubicBezTo>
                  <a:cubicBezTo>
                    <a:pt x="614" y="0"/>
                    <a:pt x="636" y="22"/>
                    <a:pt x="636" y="48"/>
                  </a:cubicBezTo>
                  <a:close/>
                  <a:moveTo>
                    <a:pt x="844" y="174"/>
                  </a:moveTo>
                  <a:cubicBezTo>
                    <a:pt x="817" y="174"/>
                    <a:pt x="795" y="195"/>
                    <a:pt x="795" y="222"/>
                  </a:cubicBezTo>
                  <a:cubicBezTo>
                    <a:pt x="795" y="248"/>
                    <a:pt x="817" y="270"/>
                    <a:pt x="844" y="270"/>
                  </a:cubicBezTo>
                  <a:cubicBezTo>
                    <a:pt x="870" y="270"/>
                    <a:pt x="892" y="248"/>
                    <a:pt x="892" y="222"/>
                  </a:cubicBezTo>
                  <a:cubicBezTo>
                    <a:pt x="892" y="195"/>
                    <a:pt x="870" y="174"/>
                    <a:pt x="844" y="174"/>
                  </a:cubicBezTo>
                  <a:close/>
                  <a:moveTo>
                    <a:pt x="622" y="348"/>
                  </a:moveTo>
                  <a:cubicBezTo>
                    <a:pt x="595" y="348"/>
                    <a:pt x="573" y="370"/>
                    <a:pt x="573" y="396"/>
                  </a:cubicBezTo>
                  <a:cubicBezTo>
                    <a:pt x="573" y="423"/>
                    <a:pt x="595" y="444"/>
                    <a:pt x="622" y="444"/>
                  </a:cubicBezTo>
                  <a:cubicBezTo>
                    <a:pt x="648" y="444"/>
                    <a:pt x="670" y="423"/>
                    <a:pt x="670" y="396"/>
                  </a:cubicBezTo>
                  <a:cubicBezTo>
                    <a:pt x="670" y="370"/>
                    <a:pt x="648" y="348"/>
                    <a:pt x="622" y="348"/>
                  </a:cubicBezTo>
                  <a:close/>
                  <a:moveTo>
                    <a:pt x="804" y="533"/>
                  </a:moveTo>
                  <a:cubicBezTo>
                    <a:pt x="777" y="533"/>
                    <a:pt x="756" y="555"/>
                    <a:pt x="756" y="581"/>
                  </a:cubicBezTo>
                  <a:cubicBezTo>
                    <a:pt x="756" y="608"/>
                    <a:pt x="777" y="630"/>
                    <a:pt x="804" y="630"/>
                  </a:cubicBezTo>
                  <a:cubicBezTo>
                    <a:pt x="831" y="630"/>
                    <a:pt x="852" y="608"/>
                    <a:pt x="852" y="581"/>
                  </a:cubicBezTo>
                  <a:cubicBezTo>
                    <a:pt x="852" y="555"/>
                    <a:pt x="831" y="533"/>
                    <a:pt x="804" y="533"/>
                  </a:cubicBezTo>
                  <a:close/>
                  <a:moveTo>
                    <a:pt x="404" y="615"/>
                  </a:moveTo>
                  <a:cubicBezTo>
                    <a:pt x="378" y="615"/>
                    <a:pt x="356" y="637"/>
                    <a:pt x="356" y="664"/>
                  </a:cubicBezTo>
                  <a:cubicBezTo>
                    <a:pt x="356" y="690"/>
                    <a:pt x="378" y="712"/>
                    <a:pt x="404" y="712"/>
                  </a:cubicBezTo>
                  <a:cubicBezTo>
                    <a:pt x="431" y="712"/>
                    <a:pt x="453" y="690"/>
                    <a:pt x="453" y="664"/>
                  </a:cubicBezTo>
                  <a:cubicBezTo>
                    <a:pt x="453" y="637"/>
                    <a:pt x="431" y="615"/>
                    <a:pt x="404" y="615"/>
                  </a:cubicBezTo>
                  <a:close/>
                  <a:moveTo>
                    <a:pt x="48" y="427"/>
                  </a:moveTo>
                  <a:cubicBezTo>
                    <a:pt x="21" y="427"/>
                    <a:pt x="0" y="449"/>
                    <a:pt x="0" y="475"/>
                  </a:cubicBezTo>
                  <a:cubicBezTo>
                    <a:pt x="0" y="502"/>
                    <a:pt x="21" y="523"/>
                    <a:pt x="48" y="523"/>
                  </a:cubicBezTo>
                  <a:cubicBezTo>
                    <a:pt x="75" y="523"/>
                    <a:pt x="96" y="502"/>
                    <a:pt x="96" y="475"/>
                  </a:cubicBezTo>
                  <a:cubicBezTo>
                    <a:pt x="96" y="449"/>
                    <a:pt x="75" y="427"/>
                    <a:pt x="48" y="427"/>
                  </a:cubicBezTo>
                  <a:close/>
                  <a:moveTo>
                    <a:pt x="374" y="211"/>
                  </a:moveTo>
                  <a:cubicBezTo>
                    <a:pt x="347" y="211"/>
                    <a:pt x="325" y="232"/>
                    <a:pt x="325" y="259"/>
                  </a:cubicBezTo>
                  <a:cubicBezTo>
                    <a:pt x="325" y="286"/>
                    <a:pt x="347" y="307"/>
                    <a:pt x="374" y="307"/>
                  </a:cubicBezTo>
                  <a:cubicBezTo>
                    <a:pt x="400" y="307"/>
                    <a:pt x="422" y="286"/>
                    <a:pt x="422" y="259"/>
                  </a:cubicBezTo>
                  <a:cubicBezTo>
                    <a:pt x="422" y="232"/>
                    <a:pt x="400" y="211"/>
                    <a:pt x="374" y="211"/>
                  </a:cubicBezTo>
                  <a:close/>
                  <a:moveTo>
                    <a:pt x="152" y="95"/>
                  </a:moveTo>
                  <a:cubicBezTo>
                    <a:pt x="126" y="95"/>
                    <a:pt x="104" y="117"/>
                    <a:pt x="104" y="144"/>
                  </a:cubicBezTo>
                  <a:cubicBezTo>
                    <a:pt x="104" y="170"/>
                    <a:pt x="126" y="192"/>
                    <a:pt x="152" y="192"/>
                  </a:cubicBezTo>
                  <a:cubicBezTo>
                    <a:pt x="179" y="192"/>
                    <a:pt x="201" y="170"/>
                    <a:pt x="201" y="144"/>
                  </a:cubicBezTo>
                  <a:cubicBezTo>
                    <a:pt x="201" y="117"/>
                    <a:pt x="179" y="95"/>
                    <a:pt x="152" y="95"/>
                  </a:cubicBezTo>
                  <a:close/>
                  <a:moveTo>
                    <a:pt x="194" y="169"/>
                  </a:moveTo>
                  <a:cubicBezTo>
                    <a:pt x="325" y="237"/>
                    <a:pt x="325" y="237"/>
                    <a:pt x="325" y="237"/>
                  </a:cubicBezTo>
                  <a:moveTo>
                    <a:pt x="415" y="284"/>
                  </a:moveTo>
                  <a:cubicBezTo>
                    <a:pt x="581" y="371"/>
                    <a:pt x="581" y="371"/>
                    <a:pt x="581" y="371"/>
                  </a:cubicBezTo>
                  <a:moveTo>
                    <a:pt x="573" y="396"/>
                  </a:moveTo>
                  <a:cubicBezTo>
                    <a:pt x="96" y="475"/>
                    <a:pt x="96" y="475"/>
                    <a:pt x="96" y="475"/>
                  </a:cubicBezTo>
                  <a:moveTo>
                    <a:pt x="90" y="498"/>
                  </a:moveTo>
                  <a:cubicBezTo>
                    <a:pt x="364" y="637"/>
                    <a:pt x="364" y="637"/>
                    <a:pt x="364" y="637"/>
                  </a:cubicBezTo>
                  <a:moveTo>
                    <a:pt x="453" y="664"/>
                  </a:moveTo>
                  <a:cubicBezTo>
                    <a:pt x="762" y="604"/>
                    <a:pt x="762" y="604"/>
                    <a:pt x="762" y="604"/>
                  </a:cubicBezTo>
                  <a:moveTo>
                    <a:pt x="539" y="48"/>
                  </a:moveTo>
                  <a:cubicBezTo>
                    <a:pt x="201" y="131"/>
                    <a:pt x="201" y="131"/>
                    <a:pt x="201" y="131"/>
                  </a:cubicBezTo>
                  <a:moveTo>
                    <a:pt x="628" y="75"/>
                  </a:moveTo>
                  <a:cubicBezTo>
                    <a:pt x="804" y="190"/>
                    <a:pt x="804" y="190"/>
                    <a:pt x="804" y="190"/>
                  </a:cubicBezTo>
                  <a:moveTo>
                    <a:pt x="804" y="249"/>
                  </a:moveTo>
                  <a:cubicBezTo>
                    <a:pt x="660" y="367"/>
                    <a:pt x="660" y="367"/>
                    <a:pt x="660" y="367"/>
                  </a:cubicBezTo>
                  <a:moveTo>
                    <a:pt x="437" y="628"/>
                  </a:moveTo>
                  <a:cubicBezTo>
                    <a:pt x="588" y="437"/>
                    <a:pt x="588" y="437"/>
                    <a:pt x="588" y="437"/>
                  </a:cubicBezTo>
                  <a:moveTo>
                    <a:pt x="565" y="97"/>
                  </a:moveTo>
                  <a:cubicBezTo>
                    <a:pt x="422" y="618"/>
                    <a:pt x="422" y="618"/>
                    <a:pt x="422" y="618"/>
                  </a:cubicBezTo>
                  <a:moveTo>
                    <a:pt x="374" y="307"/>
                  </a:moveTo>
                  <a:cubicBezTo>
                    <a:pt x="404" y="615"/>
                    <a:pt x="404" y="615"/>
                    <a:pt x="404" y="615"/>
                  </a:cubicBezTo>
                  <a:moveTo>
                    <a:pt x="385" y="615"/>
                  </a:moveTo>
                  <a:cubicBezTo>
                    <a:pt x="169" y="189"/>
                    <a:pt x="169" y="189"/>
                    <a:pt x="169" y="189"/>
                  </a:cubicBezTo>
                  <a:moveTo>
                    <a:pt x="408" y="225"/>
                  </a:moveTo>
                  <a:cubicBezTo>
                    <a:pt x="553" y="82"/>
                    <a:pt x="553" y="82"/>
                    <a:pt x="553" y="82"/>
                  </a:cubicBezTo>
                  <a:moveTo>
                    <a:pt x="607" y="97"/>
                  </a:moveTo>
                  <a:cubicBezTo>
                    <a:pt x="788" y="536"/>
                    <a:pt x="788" y="536"/>
                    <a:pt x="788" y="536"/>
                  </a:cubicBezTo>
                  <a:moveTo>
                    <a:pt x="650" y="437"/>
                  </a:moveTo>
                  <a:cubicBezTo>
                    <a:pt x="762" y="548"/>
                    <a:pt x="762" y="548"/>
                    <a:pt x="762" y="548"/>
                  </a:cubicBezTo>
                </a:path>
              </a:pathLst>
            </a:custGeom>
            <a:grpFill/>
            <a:ln w="12700" cap="flat">
              <a:solidFill>
                <a:schemeClr val="bg1"/>
              </a:solidFill>
              <a:prstDash val="solid"/>
              <a:miter lim="800000"/>
              <a:headEnd/>
              <a:tailEnd/>
            </a:ln>
            <a:extLst/>
          </p:spPr>
          <p:txBody>
            <a:bodyPr vert="horz" wrap="square" lIns="89619" tIns="44809" rIns="89619" bIns="44809" numCol="1" anchor="t" anchorCtr="0" compatLnSpc="1">
              <a:prstTxWarp prst="textNoShape">
                <a:avLst/>
              </a:prstTxWarp>
            </a:bodyPr>
            <a:lstStyle/>
            <a:p>
              <a:pPr defTabSz="914093">
                <a:defRPr/>
              </a:pPr>
              <a:endParaRPr lang="en-US" sz="1764">
                <a:solidFill>
                  <a:srgbClr val="353535"/>
                </a:solidFill>
                <a:latin typeface="Segoe UI Semilight"/>
              </a:endParaRPr>
            </a:p>
          </p:txBody>
        </p:sp>
      </p:grpSp>
      <p:grpSp>
        <p:nvGrpSpPr>
          <p:cNvPr id="66" name="Group 65">
            <a:extLst>
              <a:ext uri="{FF2B5EF4-FFF2-40B4-BE49-F238E27FC236}">
                <a16:creationId xmlns:a16="http://schemas.microsoft.com/office/drawing/2014/main" id="{F11BD633-6237-4C4C-9298-1AE7E4148142}"/>
              </a:ext>
            </a:extLst>
          </p:cNvPr>
          <p:cNvGrpSpPr/>
          <p:nvPr/>
        </p:nvGrpSpPr>
        <p:grpSpPr>
          <a:xfrm>
            <a:off x="650949" y="2006970"/>
            <a:ext cx="891150" cy="891148"/>
            <a:chOff x="664175" y="2046340"/>
            <a:chExt cx="909256" cy="909254"/>
          </a:xfrm>
        </p:grpSpPr>
        <p:sp>
          <p:nvSpPr>
            <p:cNvPr id="68" name="Rectangle 67">
              <a:extLst>
                <a:ext uri="{FF2B5EF4-FFF2-40B4-BE49-F238E27FC236}">
                  <a16:creationId xmlns:a16="http://schemas.microsoft.com/office/drawing/2014/main" id="{A0F4C545-24A1-4E28-83C2-14007A4492DF}"/>
                </a:ext>
              </a:extLst>
            </p:cNvPr>
            <p:cNvSpPr>
              <a:spLocks noChangeAspect="1"/>
            </p:cNvSpPr>
            <p:nvPr/>
          </p:nvSpPr>
          <p:spPr bwMode="auto">
            <a:xfrm>
              <a:off x="664175" y="2046340"/>
              <a:ext cx="909256" cy="909254"/>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defRPr/>
              </a:pPr>
              <a:endParaRPr lang="en-US" sz="1960">
                <a:gradFill>
                  <a:gsLst>
                    <a:gs pos="0">
                      <a:srgbClr val="FFFFFF"/>
                    </a:gs>
                    <a:gs pos="100000">
                      <a:srgbClr val="FFFFFF"/>
                    </a:gs>
                  </a:gsLst>
                  <a:lin ang="5400000" scaled="0"/>
                </a:gradFill>
                <a:latin typeface="Segoe UI Semilight"/>
              </a:endParaRPr>
            </a:p>
          </p:txBody>
        </p:sp>
        <p:sp>
          <p:nvSpPr>
            <p:cNvPr id="69" name="Modern_workplace">
              <a:extLst>
                <a:ext uri="{FF2B5EF4-FFF2-40B4-BE49-F238E27FC236}">
                  <a16:creationId xmlns:a16="http://schemas.microsoft.com/office/drawing/2014/main" id="{346E14BD-6772-41B2-B41C-B40C6CDAFC14}"/>
                </a:ext>
              </a:extLst>
            </p:cNvPr>
            <p:cNvSpPr>
              <a:spLocks noChangeAspect="1" noEditPoints="1"/>
            </p:cNvSpPr>
            <p:nvPr/>
          </p:nvSpPr>
          <p:spPr bwMode="auto">
            <a:xfrm>
              <a:off x="911225" y="2299799"/>
              <a:ext cx="415156" cy="402336"/>
            </a:xfrm>
            <a:custGeom>
              <a:avLst/>
              <a:gdLst>
                <a:gd name="T0" fmla="*/ 210 w 584"/>
                <a:gd name="T1" fmla="*/ 515 h 564"/>
                <a:gd name="T2" fmla="*/ 226 w 584"/>
                <a:gd name="T3" fmla="*/ 515 h 564"/>
                <a:gd name="T4" fmla="*/ 239 w 584"/>
                <a:gd name="T5" fmla="*/ 515 h 564"/>
                <a:gd name="T6" fmla="*/ 255 w 584"/>
                <a:gd name="T7" fmla="*/ 515 h 564"/>
                <a:gd name="T8" fmla="*/ 269 w 584"/>
                <a:gd name="T9" fmla="*/ 515 h 564"/>
                <a:gd name="T10" fmla="*/ 285 w 584"/>
                <a:gd name="T11" fmla="*/ 515 h 564"/>
                <a:gd name="T12" fmla="*/ 298 w 584"/>
                <a:gd name="T13" fmla="*/ 515 h 564"/>
                <a:gd name="T14" fmla="*/ 314 w 584"/>
                <a:gd name="T15" fmla="*/ 515 h 564"/>
                <a:gd name="T16" fmla="*/ 328 w 584"/>
                <a:gd name="T17" fmla="*/ 515 h 564"/>
                <a:gd name="T18" fmla="*/ 344 w 584"/>
                <a:gd name="T19" fmla="*/ 515 h 564"/>
                <a:gd name="T20" fmla="*/ 357 w 584"/>
                <a:gd name="T21" fmla="*/ 515 h 564"/>
                <a:gd name="T22" fmla="*/ 373 w 584"/>
                <a:gd name="T23" fmla="*/ 515 h 564"/>
                <a:gd name="T24" fmla="*/ 366 w 584"/>
                <a:gd name="T25" fmla="*/ 247 h 564"/>
                <a:gd name="T26" fmla="*/ 358 w 584"/>
                <a:gd name="T27" fmla="*/ 233 h 564"/>
                <a:gd name="T28" fmla="*/ 372 w 584"/>
                <a:gd name="T29" fmla="*/ 259 h 564"/>
                <a:gd name="T30" fmla="*/ 380 w 584"/>
                <a:gd name="T31" fmla="*/ 273 h 564"/>
                <a:gd name="T32" fmla="*/ 386 w 584"/>
                <a:gd name="T33" fmla="*/ 285 h 564"/>
                <a:gd name="T34" fmla="*/ 393 w 584"/>
                <a:gd name="T35" fmla="*/ 299 h 564"/>
                <a:gd name="T36" fmla="*/ 400 w 584"/>
                <a:gd name="T37" fmla="*/ 311 h 564"/>
                <a:gd name="T38" fmla="*/ 407 w 584"/>
                <a:gd name="T39" fmla="*/ 325 h 564"/>
                <a:gd name="T40" fmla="*/ 414 w 584"/>
                <a:gd name="T41" fmla="*/ 337 h 564"/>
                <a:gd name="T42" fmla="*/ 421 w 584"/>
                <a:gd name="T43" fmla="*/ 351 h 564"/>
                <a:gd name="T44" fmla="*/ 226 w 584"/>
                <a:gd name="T45" fmla="*/ 233 h 564"/>
                <a:gd name="T46" fmla="*/ 218 w 584"/>
                <a:gd name="T47" fmla="*/ 247 h 564"/>
                <a:gd name="T48" fmla="*/ 212 w 584"/>
                <a:gd name="T49" fmla="*/ 259 h 564"/>
                <a:gd name="T50" fmla="*/ 204 w 584"/>
                <a:gd name="T51" fmla="*/ 273 h 564"/>
                <a:gd name="T52" fmla="*/ 198 w 584"/>
                <a:gd name="T53" fmla="*/ 285 h 564"/>
                <a:gd name="T54" fmla="*/ 191 w 584"/>
                <a:gd name="T55" fmla="*/ 299 h 564"/>
                <a:gd name="T56" fmla="*/ 184 w 584"/>
                <a:gd name="T57" fmla="*/ 311 h 564"/>
                <a:gd name="T58" fmla="*/ 177 w 584"/>
                <a:gd name="T59" fmla="*/ 325 h 564"/>
                <a:gd name="T60" fmla="*/ 170 w 584"/>
                <a:gd name="T61" fmla="*/ 337 h 564"/>
                <a:gd name="T62" fmla="*/ 163 w 584"/>
                <a:gd name="T63" fmla="*/ 351 h 564"/>
                <a:gd name="T64" fmla="*/ 239 w 584"/>
                <a:gd name="T65" fmla="*/ 53 h 564"/>
                <a:gd name="T66" fmla="*/ 293 w 584"/>
                <a:gd name="T67" fmla="*/ 105 h 564"/>
                <a:gd name="T68" fmla="*/ 347 w 584"/>
                <a:gd name="T69" fmla="*/ 53 h 564"/>
                <a:gd name="T70" fmla="*/ 293 w 584"/>
                <a:gd name="T71" fmla="*/ 0 h 564"/>
                <a:gd name="T72" fmla="*/ 239 w 584"/>
                <a:gd name="T73" fmla="*/ 53 h 564"/>
                <a:gd name="T74" fmla="*/ 205 w 584"/>
                <a:gd name="T75" fmla="*/ 190 h 564"/>
                <a:gd name="T76" fmla="*/ 292 w 584"/>
                <a:gd name="T77" fmla="*/ 105 h 564"/>
                <a:gd name="T78" fmla="*/ 379 w 584"/>
                <a:gd name="T79" fmla="*/ 190 h 564"/>
                <a:gd name="T80" fmla="*/ 444 w 584"/>
                <a:gd name="T81" fmla="*/ 427 h 564"/>
                <a:gd name="T82" fmla="*/ 498 w 584"/>
                <a:gd name="T83" fmla="*/ 479 h 564"/>
                <a:gd name="T84" fmla="*/ 553 w 584"/>
                <a:gd name="T85" fmla="*/ 427 h 564"/>
                <a:gd name="T86" fmla="*/ 498 w 584"/>
                <a:gd name="T87" fmla="*/ 374 h 564"/>
                <a:gd name="T88" fmla="*/ 444 w 584"/>
                <a:gd name="T89" fmla="*/ 427 h 564"/>
                <a:gd name="T90" fmla="*/ 411 w 584"/>
                <a:gd name="T91" fmla="*/ 564 h 564"/>
                <a:gd name="T92" fmla="*/ 498 w 584"/>
                <a:gd name="T93" fmla="*/ 479 h 564"/>
                <a:gd name="T94" fmla="*/ 584 w 584"/>
                <a:gd name="T95" fmla="*/ 564 h 564"/>
                <a:gd name="T96" fmla="*/ 34 w 584"/>
                <a:gd name="T97" fmla="*/ 427 h 564"/>
                <a:gd name="T98" fmla="*/ 87 w 584"/>
                <a:gd name="T99" fmla="*/ 479 h 564"/>
                <a:gd name="T100" fmla="*/ 142 w 584"/>
                <a:gd name="T101" fmla="*/ 427 h 564"/>
                <a:gd name="T102" fmla="*/ 87 w 584"/>
                <a:gd name="T103" fmla="*/ 374 h 564"/>
                <a:gd name="T104" fmla="*/ 34 w 584"/>
                <a:gd name="T105" fmla="*/ 427 h 564"/>
                <a:gd name="T106" fmla="*/ 0 w 584"/>
                <a:gd name="T107" fmla="*/ 564 h 564"/>
                <a:gd name="T108" fmla="*/ 87 w 584"/>
                <a:gd name="T109" fmla="*/ 479 h 564"/>
                <a:gd name="T110" fmla="*/ 173 w 584"/>
                <a:gd name="T111" fmla="*/ 56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4" h="564">
                  <a:moveTo>
                    <a:pt x="210" y="515"/>
                  </a:moveTo>
                  <a:cubicBezTo>
                    <a:pt x="226" y="515"/>
                    <a:pt x="226" y="515"/>
                    <a:pt x="226" y="515"/>
                  </a:cubicBezTo>
                  <a:moveTo>
                    <a:pt x="239" y="515"/>
                  </a:moveTo>
                  <a:cubicBezTo>
                    <a:pt x="255" y="515"/>
                    <a:pt x="255" y="515"/>
                    <a:pt x="255" y="515"/>
                  </a:cubicBezTo>
                  <a:moveTo>
                    <a:pt x="269" y="515"/>
                  </a:moveTo>
                  <a:cubicBezTo>
                    <a:pt x="285" y="515"/>
                    <a:pt x="285" y="515"/>
                    <a:pt x="285" y="515"/>
                  </a:cubicBezTo>
                  <a:moveTo>
                    <a:pt x="298" y="515"/>
                  </a:moveTo>
                  <a:cubicBezTo>
                    <a:pt x="314" y="515"/>
                    <a:pt x="314" y="515"/>
                    <a:pt x="314" y="515"/>
                  </a:cubicBezTo>
                  <a:moveTo>
                    <a:pt x="328" y="515"/>
                  </a:moveTo>
                  <a:cubicBezTo>
                    <a:pt x="344" y="515"/>
                    <a:pt x="344" y="515"/>
                    <a:pt x="344" y="515"/>
                  </a:cubicBezTo>
                  <a:moveTo>
                    <a:pt x="357" y="515"/>
                  </a:moveTo>
                  <a:cubicBezTo>
                    <a:pt x="373" y="515"/>
                    <a:pt x="373" y="515"/>
                    <a:pt x="373" y="515"/>
                  </a:cubicBezTo>
                  <a:moveTo>
                    <a:pt x="366" y="247"/>
                  </a:moveTo>
                  <a:cubicBezTo>
                    <a:pt x="358" y="233"/>
                    <a:pt x="358" y="233"/>
                    <a:pt x="358" y="233"/>
                  </a:cubicBezTo>
                  <a:moveTo>
                    <a:pt x="372" y="259"/>
                  </a:moveTo>
                  <a:cubicBezTo>
                    <a:pt x="380" y="273"/>
                    <a:pt x="380" y="273"/>
                    <a:pt x="380" y="273"/>
                  </a:cubicBezTo>
                  <a:moveTo>
                    <a:pt x="386" y="285"/>
                  </a:moveTo>
                  <a:cubicBezTo>
                    <a:pt x="393" y="299"/>
                    <a:pt x="393" y="299"/>
                    <a:pt x="393" y="299"/>
                  </a:cubicBezTo>
                  <a:moveTo>
                    <a:pt x="400" y="311"/>
                  </a:moveTo>
                  <a:cubicBezTo>
                    <a:pt x="407" y="325"/>
                    <a:pt x="407" y="325"/>
                    <a:pt x="407" y="325"/>
                  </a:cubicBezTo>
                  <a:moveTo>
                    <a:pt x="414" y="337"/>
                  </a:moveTo>
                  <a:cubicBezTo>
                    <a:pt x="421" y="351"/>
                    <a:pt x="421" y="351"/>
                    <a:pt x="421" y="351"/>
                  </a:cubicBezTo>
                  <a:moveTo>
                    <a:pt x="226" y="233"/>
                  </a:moveTo>
                  <a:cubicBezTo>
                    <a:pt x="218" y="247"/>
                    <a:pt x="218" y="247"/>
                    <a:pt x="218" y="247"/>
                  </a:cubicBezTo>
                  <a:moveTo>
                    <a:pt x="212" y="259"/>
                  </a:moveTo>
                  <a:cubicBezTo>
                    <a:pt x="204" y="273"/>
                    <a:pt x="204" y="273"/>
                    <a:pt x="204" y="273"/>
                  </a:cubicBezTo>
                  <a:moveTo>
                    <a:pt x="198" y="285"/>
                  </a:moveTo>
                  <a:cubicBezTo>
                    <a:pt x="191" y="299"/>
                    <a:pt x="191" y="299"/>
                    <a:pt x="191" y="299"/>
                  </a:cubicBezTo>
                  <a:moveTo>
                    <a:pt x="184" y="311"/>
                  </a:moveTo>
                  <a:cubicBezTo>
                    <a:pt x="177" y="325"/>
                    <a:pt x="177" y="325"/>
                    <a:pt x="177" y="325"/>
                  </a:cubicBezTo>
                  <a:moveTo>
                    <a:pt x="170" y="337"/>
                  </a:moveTo>
                  <a:cubicBezTo>
                    <a:pt x="163" y="351"/>
                    <a:pt x="163" y="351"/>
                    <a:pt x="163" y="351"/>
                  </a:cubicBezTo>
                  <a:moveTo>
                    <a:pt x="239" y="53"/>
                  </a:moveTo>
                  <a:cubicBezTo>
                    <a:pt x="239" y="82"/>
                    <a:pt x="263" y="105"/>
                    <a:pt x="293" y="105"/>
                  </a:cubicBezTo>
                  <a:cubicBezTo>
                    <a:pt x="322" y="105"/>
                    <a:pt x="347" y="82"/>
                    <a:pt x="347" y="53"/>
                  </a:cubicBezTo>
                  <a:cubicBezTo>
                    <a:pt x="347" y="24"/>
                    <a:pt x="322" y="0"/>
                    <a:pt x="293" y="0"/>
                  </a:cubicBezTo>
                  <a:cubicBezTo>
                    <a:pt x="263" y="0"/>
                    <a:pt x="239" y="24"/>
                    <a:pt x="239" y="53"/>
                  </a:cubicBezTo>
                  <a:close/>
                  <a:moveTo>
                    <a:pt x="205" y="190"/>
                  </a:moveTo>
                  <a:cubicBezTo>
                    <a:pt x="205" y="143"/>
                    <a:pt x="244" y="105"/>
                    <a:pt x="292" y="105"/>
                  </a:cubicBezTo>
                  <a:cubicBezTo>
                    <a:pt x="340" y="105"/>
                    <a:pt x="379" y="143"/>
                    <a:pt x="379" y="190"/>
                  </a:cubicBezTo>
                  <a:moveTo>
                    <a:pt x="444" y="427"/>
                  </a:moveTo>
                  <a:cubicBezTo>
                    <a:pt x="444" y="456"/>
                    <a:pt x="469" y="479"/>
                    <a:pt x="498" y="479"/>
                  </a:cubicBezTo>
                  <a:cubicBezTo>
                    <a:pt x="528" y="479"/>
                    <a:pt x="553" y="456"/>
                    <a:pt x="553" y="427"/>
                  </a:cubicBezTo>
                  <a:cubicBezTo>
                    <a:pt x="553" y="398"/>
                    <a:pt x="528" y="374"/>
                    <a:pt x="498" y="374"/>
                  </a:cubicBezTo>
                  <a:cubicBezTo>
                    <a:pt x="469" y="374"/>
                    <a:pt x="444" y="398"/>
                    <a:pt x="444" y="427"/>
                  </a:cubicBezTo>
                  <a:close/>
                  <a:moveTo>
                    <a:pt x="411" y="564"/>
                  </a:moveTo>
                  <a:cubicBezTo>
                    <a:pt x="411" y="517"/>
                    <a:pt x="449" y="479"/>
                    <a:pt x="498" y="479"/>
                  </a:cubicBezTo>
                  <a:cubicBezTo>
                    <a:pt x="546" y="479"/>
                    <a:pt x="584" y="517"/>
                    <a:pt x="584" y="564"/>
                  </a:cubicBezTo>
                  <a:moveTo>
                    <a:pt x="34" y="427"/>
                  </a:moveTo>
                  <a:cubicBezTo>
                    <a:pt x="34" y="456"/>
                    <a:pt x="58" y="479"/>
                    <a:pt x="87" y="479"/>
                  </a:cubicBezTo>
                  <a:cubicBezTo>
                    <a:pt x="117" y="479"/>
                    <a:pt x="142" y="456"/>
                    <a:pt x="142" y="427"/>
                  </a:cubicBezTo>
                  <a:cubicBezTo>
                    <a:pt x="142" y="398"/>
                    <a:pt x="117" y="374"/>
                    <a:pt x="87" y="374"/>
                  </a:cubicBezTo>
                  <a:cubicBezTo>
                    <a:pt x="58" y="374"/>
                    <a:pt x="34" y="398"/>
                    <a:pt x="34" y="427"/>
                  </a:cubicBezTo>
                  <a:close/>
                  <a:moveTo>
                    <a:pt x="0" y="564"/>
                  </a:moveTo>
                  <a:cubicBezTo>
                    <a:pt x="0" y="517"/>
                    <a:pt x="38" y="479"/>
                    <a:pt x="87" y="479"/>
                  </a:cubicBezTo>
                  <a:cubicBezTo>
                    <a:pt x="135" y="479"/>
                    <a:pt x="173" y="517"/>
                    <a:pt x="173" y="564"/>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914040">
                <a:defRPr/>
              </a:pPr>
              <a:endParaRPr lang="en-US" sz="1799">
                <a:solidFill>
                  <a:srgbClr val="353535"/>
                </a:solidFill>
                <a:latin typeface="Segoe UI Semilight"/>
              </a:endParaRPr>
            </a:p>
          </p:txBody>
        </p:sp>
      </p:grpSp>
      <p:cxnSp>
        <p:nvCxnSpPr>
          <p:cNvPr id="24" name="title baseline guide" hidden="1"/>
          <p:cNvCxnSpPr/>
          <p:nvPr/>
        </p:nvCxnSpPr>
        <p:spPr>
          <a:xfrm>
            <a:off x="1" y="1533337"/>
            <a:ext cx="12188202" cy="0"/>
          </a:xfrm>
          <a:prstGeom prst="line">
            <a:avLst/>
          </a:prstGeom>
          <a:ln w="3175">
            <a:solidFill>
              <a:srgbClr val="C0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1" name="transform">
            <a:extLst>
              <a:ext uri="{FF2B5EF4-FFF2-40B4-BE49-F238E27FC236}">
                <a16:creationId xmlns:a16="http://schemas.microsoft.com/office/drawing/2014/main" id="{76D62920-EB31-4396-89A2-F921042C3CE3}"/>
              </a:ext>
            </a:extLst>
          </p:cNvPr>
          <p:cNvSpPr/>
          <p:nvPr/>
        </p:nvSpPr>
        <p:spPr bwMode="auto">
          <a:xfrm>
            <a:off x="9967809" y="4004562"/>
            <a:ext cx="2150860" cy="81570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spAutoFit/>
          </a:bodyPr>
          <a:lstStyle/>
          <a:p>
            <a:pPr algn="ctr" defTabSz="913828" fontAlgn="base">
              <a:lnSpc>
                <a:spcPct val="95000"/>
              </a:lnSpc>
              <a:spcBef>
                <a:spcPct val="0"/>
              </a:spcBef>
              <a:spcAft>
                <a:spcPct val="0"/>
              </a:spcAft>
              <a:defRPr/>
            </a:pPr>
            <a:r>
              <a:rPr lang="en-US" sz="1764" spc="-10">
                <a:ln w="3175">
                  <a:noFill/>
                </a:ln>
                <a:gradFill>
                  <a:gsLst>
                    <a:gs pos="2917">
                      <a:srgbClr val="353535"/>
                    </a:gs>
                    <a:gs pos="30000">
                      <a:srgbClr val="353535"/>
                    </a:gs>
                  </a:gsLst>
                </a:gradFill>
                <a:latin typeface="Segoe UI" panose="020B0502040204020203" pitchFamily="34" charset="0"/>
                <a:cs typeface="Segoe UI" panose="020B0502040204020203" pitchFamily="34" charset="0"/>
              </a:rPr>
              <a:t>Transform products</a:t>
            </a:r>
          </a:p>
        </p:txBody>
      </p:sp>
      <p:grpSp>
        <p:nvGrpSpPr>
          <p:cNvPr id="41" name="Group 40">
            <a:extLst>
              <a:ext uri="{FF2B5EF4-FFF2-40B4-BE49-F238E27FC236}">
                <a16:creationId xmlns:a16="http://schemas.microsoft.com/office/drawing/2014/main" id="{4A0F7662-C8C7-448F-92A6-5C0BC7D52F91}"/>
              </a:ext>
            </a:extLst>
          </p:cNvPr>
          <p:cNvGrpSpPr/>
          <p:nvPr/>
        </p:nvGrpSpPr>
        <p:grpSpPr>
          <a:xfrm>
            <a:off x="10544241" y="2928543"/>
            <a:ext cx="985810" cy="985810"/>
            <a:chOff x="10758476" y="2986636"/>
            <a:chExt cx="1005840" cy="1005840"/>
          </a:xfrm>
        </p:grpSpPr>
        <p:sp>
          <p:nvSpPr>
            <p:cNvPr id="42" name="Oval 41">
              <a:extLst>
                <a:ext uri="{FF2B5EF4-FFF2-40B4-BE49-F238E27FC236}">
                  <a16:creationId xmlns:a16="http://schemas.microsoft.com/office/drawing/2014/main" id="{CDF3FD4C-79DF-48EC-8E98-E26DCE61A3D2}"/>
                </a:ext>
              </a:extLst>
            </p:cNvPr>
            <p:cNvSpPr/>
            <p:nvPr/>
          </p:nvSpPr>
          <p:spPr bwMode="auto">
            <a:xfrm>
              <a:off x="10758476" y="2986636"/>
              <a:ext cx="1005840" cy="1005840"/>
            </a:xfrm>
            <a:prstGeom prst="ellipse">
              <a:avLst/>
            </a:prstGeom>
            <a:solidFill>
              <a:schemeClr val="tx2"/>
            </a:solidFill>
            <a:ln w="12700" cap="flat" cmpd="sng" algn="ctr">
              <a:noFill/>
              <a:prstDash val="solid"/>
              <a:miter lim="800000"/>
            </a:ln>
            <a:effectLst/>
          </p:spPr>
          <p:txBody>
            <a:bodyPr rot="0" spcFirstLastPara="0" vertOverflow="overflow" horzOverflow="overflow" vert="horz" wrap="square" lIns="215047" tIns="172037" rIns="215047" bIns="172037" numCol="1" spcCol="0" rtlCol="0" fromWordArt="0" anchor="t" anchorCtr="0" forceAA="0" compatLnSpc="1">
              <a:prstTxWarp prst="textNoShape">
                <a:avLst/>
              </a:prstTxWarp>
              <a:noAutofit/>
            </a:bodyPr>
            <a:lstStyle/>
            <a:p>
              <a:pPr algn="ctr" defTabSz="1096384" fontAlgn="base">
                <a:lnSpc>
                  <a:spcPct val="90000"/>
                </a:lnSpc>
                <a:spcBef>
                  <a:spcPct val="0"/>
                </a:spcBef>
                <a:spcAft>
                  <a:spcPct val="0"/>
                </a:spcAft>
                <a:defRPr/>
              </a:pPr>
              <a:endParaRPr lang="en-US" sz="2822"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3" name="box">
              <a:extLst>
                <a:ext uri="{FF2B5EF4-FFF2-40B4-BE49-F238E27FC236}">
                  <a16:creationId xmlns:a16="http://schemas.microsoft.com/office/drawing/2014/main" id="{4F842061-A551-4509-9295-4822215E3322}"/>
                </a:ext>
              </a:extLst>
            </p:cNvPr>
            <p:cNvSpPr>
              <a:spLocks noChangeAspect="1" noEditPoints="1"/>
            </p:cNvSpPr>
            <p:nvPr/>
          </p:nvSpPr>
          <p:spPr bwMode="auto">
            <a:xfrm>
              <a:off x="11036544" y="3260956"/>
              <a:ext cx="449705" cy="457200"/>
            </a:xfrm>
            <a:custGeom>
              <a:avLst/>
              <a:gdLst>
                <a:gd name="T0" fmla="*/ 87 w 240"/>
                <a:gd name="T1" fmla="*/ 0 h 244"/>
                <a:gd name="T2" fmla="*/ 165 w 240"/>
                <a:gd name="T3" fmla="*/ 83 h 244"/>
                <a:gd name="T4" fmla="*/ 198 w 240"/>
                <a:gd name="T5" fmla="*/ 39 h 244"/>
                <a:gd name="T6" fmla="*/ 123 w 240"/>
                <a:gd name="T7" fmla="*/ 39 h 244"/>
                <a:gd name="T8" fmla="*/ 240 w 240"/>
                <a:gd name="T9" fmla="*/ 83 h 244"/>
                <a:gd name="T10" fmla="*/ 80 w 240"/>
                <a:gd name="T11" fmla="*/ 83 h 244"/>
                <a:gd name="T12" fmla="*/ 80 w 240"/>
                <a:gd name="T13" fmla="*/ 244 h 244"/>
                <a:gd name="T14" fmla="*/ 240 w 240"/>
                <a:gd name="T15" fmla="*/ 244 h 244"/>
                <a:gd name="T16" fmla="*/ 240 w 240"/>
                <a:gd name="T17" fmla="*/ 83 h 244"/>
                <a:gd name="T18" fmla="*/ 80 w 240"/>
                <a:gd name="T19" fmla="*/ 173 h 244"/>
                <a:gd name="T20" fmla="*/ 80 w 240"/>
                <a:gd name="T21" fmla="*/ 83 h 244"/>
                <a:gd name="T22" fmla="*/ 0 w 240"/>
                <a:gd name="T23" fmla="*/ 0 h 244"/>
                <a:gd name="T24" fmla="*/ 0 w 240"/>
                <a:gd name="T25" fmla="*/ 137 h 244"/>
                <a:gd name="T26" fmla="*/ 80 w 240"/>
                <a:gd name="T27" fmla="*/ 244 h 244"/>
                <a:gd name="T28" fmla="*/ 80 w 240"/>
                <a:gd name="T29" fmla="*/ 173 h 244"/>
                <a:gd name="T30" fmla="*/ 119 w 240"/>
                <a:gd name="T31" fmla="*/ 0 h 244"/>
                <a:gd name="T32" fmla="*/ 0 w 240"/>
                <a:gd name="T33" fmla="*/ 0 h 244"/>
                <a:gd name="T34" fmla="*/ 80 w 240"/>
                <a:gd name="T35" fmla="*/ 83 h 244"/>
                <a:gd name="T36" fmla="*/ 240 w 240"/>
                <a:gd name="T37" fmla="*/ 83 h 244"/>
                <a:gd name="T38" fmla="*/ 161 w 240"/>
                <a:gd name="T39" fmla="*/ 0 h 244"/>
                <a:gd name="T40" fmla="*/ 119 w 240"/>
                <a:gd name="T41"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0" h="244">
                  <a:moveTo>
                    <a:pt x="87" y="0"/>
                  </a:moveTo>
                  <a:lnTo>
                    <a:pt x="165" y="83"/>
                  </a:lnTo>
                  <a:moveTo>
                    <a:pt x="198" y="39"/>
                  </a:moveTo>
                  <a:lnTo>
                    <a:pt x="123" y="39"/>
                  </a:lnTo>
                  <a:moveTo>
                    <a:pt x="240" y="83"/>
                  </a:moveTo>
                  <a:lnTo>
                    <a:pt x="80" y="83"/>
                  </a:lnTo>
                  <a:lnTo>
                    <a:pt x="80" y="244"/>
                  </a:lnTo>
                  <a:lnTo>
                    <a:pt x="240" y="244"/>
                  </a:lnTo>
                  <a:lnTo>
                    <a:pt x="240" y="83"/>
                  </a:lnTo>
                  <a:moveTo>
                    <a:pt x="80" y="173"/>
                  </a:moveTo>
                  <a:lnTo>
                    <a:pt x="80" y="83"/>
                  </a:lnTo>
                  <a:lnTo>
                    <a:pt x="0" y="0"/>
                  </a:lnTo>
                  <a:lnTo>
                    <a:pt x="0" y="137"/>
                  </a:lnTo>
                  <a:lnTo>
                    <a:pt x="80" y="244"/>
                  </a:lnTo>
                  <a:lnTo>
                    <a:pt x="80" y="173"/>
                  </a:lnTo>
                  <a:moveTo>
                    <a:pt x="119" y="0"/>
                  </a:moveTo>
                  <a:lnTo>
                    <a:pt x="0" y="0"/>
                  </a:lnTo>
                  <a:lnTo>
                    <a:pt x="80" y="83"/>
                  </a:lnTo>
                  <a:lnTo>
                    <a:pt x="240" y="83"/>
                  </a:lnTo>
                  <a:lnTo>
                    <a:pt x="161" y="0"/>
                  </a:lnTo>
                  <a:lnTo>
                    <a:pt x="119" y="0"/>
                  </a:lnTo>
                </a:path>
              </a:pathLst>
            </a:custGeom>
            <a:noFill/>
            <a:ln w="12700">
              <a:solidFill>
                <a:schemeClr val="bg1"/>
              </a:solidFill>
              <a:round/>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89619" tIns="44809" rIns="89619" bIns="44809" numCol="1" anchor="t" anchorCtr="0" compatLnSpc="1">
              <a:prstTxWarp prst="textNoShape">
                <a:avLst/>
              </a:prstTxWarp>
            </a:bodyPr>
            <a:lstStyle/>
            <a:p>
              <a:pPr defTabSz="914040">
                <a:defRPr/>
              </a:pPr>
              <a:endParaRPr lang="en-US" sz="1799">
                <a:gradFill>
                  <a:gsLst>
                    <a:gs pos="0">
                      <a:srgbClr val="505050"/>
                    </a:gs>
                    <a:gs pos="100000">
                      <a:srgbClr val="505050"/>
                    </a:gs>
                  </a:gsLst>
                  <a:lin ang="5400000" scaled="1"/>
                </a:gradFill>
                <a:latin typeface="Segoe UI Semilight"/>
              </a:endParaRPr>
            </a:p>
          </p:txBody>
        </p:sp>
      </p:grpSp>
      <p:grpSp>
        <p:nvGrpSpPr>
          <p:cNvPr id="44" name="Group 43">
            <a:extLst>
              <a:ext uri="{FF2B5EF4-FFF2-40B4-BE49-F238E27FC236}">
                <a16:creationId xmlns:a16="http://schemas.microsoft.com/office/drawing/2014/main" id="{7DC9790B-D0AF-4CE9-AF91-C532AACB2E62}"/>
              </a:ext>
            </a:extLst>
          </p:cNvPr>
          <p:cNvGrpSpPr/>
          <p:nvPr/>
        </p:nvGrpSpPr>
        <p:grpSpPr>
          <a:xfrm>
            <a:off x="9079961" y="2928543"/>
            <a:ext cx="985810" cy="985810"/>
            <a:chOff x="9264445" y="2986636"/>
            <a:chExt cx="1005840" cy="1005840"/>
          </a:xfrm>
        </p:grpSpPr>
        <p:sp>
          <p:nvSpPr>
            <p:cNvPr id="45" name="Oval 44">
              <a:extLst>
                <a:ext uri="{FF2B5EF4-FFF2-40B4-BE49-F238E27FC236}">
                  <a16:creationId xmlns:a16="http://schemas.microsoft.com/office/drawing/2014/main" id="{CE9D321C-C274-4A9F-A3C7-4CC6E7E5890E}"/>
                </a:ext>
              </a:extLst>
            </p:cNvPr>
            <p:cNvSpPr/>
            <p:nvPr/>
          </p:nvSpPr>
          <p:spPr bwMode="auto">
            <a:xfrm>
              <a:off x="9264445" y="2986636"/>
              <a:ext cx="1005840" cy="1005840"/>
            </a:xfrm>
            <a:prstGeom prst="ellipse">
              <a:avLst/>
            </a:prstGeom>
            <a:solidFill>
              <a:schemeClr val="tx2"/>
            </a:solidFill>
            <a:ln w="12700" cap="flat" cmpd="sng" algn="ctr">
              <a:noFill/>
              <a:prstDash val="solid"/>
              <a:miter lim="800000"/>
            </a:ln>
            <a:effectLst/>
          </p:spPr>
          <p:txBody>
            <a:bodyPr rot="0" spcFirstLastPara="0" vertOverflow="overflow" horzOverflow="overflow" vert="horz" wrap="square" lIns="215047" tIns="172037" rIns="215047" bIns="172037" numCol="1" spcCol="0" rtlCol="0" fromWordArt="0" anchor="t" anchorCtr="0" forceAA="0" compatLnSpc="1">
              <a:prstTxWarp prst="textNoShape">
                <a:avLst/>
              </a:prstTxWarp>
              <a:noAutofit/>
            </a:bodyPr>
            <a:lstStyle/>
            <a:p>
              <a:pPr algn="ctr" defTabSz="1096384" fontAlgn="base">
                <a:lnSpc>
                  <a:spcPct val="90000"/>
                </a:lnSpc>
                <a:spcBef>
                  <a:spcPct val="0"/>
                </a:spcBef>
                <a:spcAft>
                  <a:spcPct val="0"/>
                </a:spcAft>
                <a:defRPr/>
              </a:pPr>
              <a:endParaRPr lang="en-US" sz="2822"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6" name="gear">
              <a:extLst>
                <a:ext uri="{FF2B5EF4-FFF2-40B4-BE49-F238E27FC236}">
                  <a16:creationId xmlns:a16="http://schemas.microsoft.com/office/drawing/2014/main" id="{EB7AB83F-345F-4C1E-A242-D078F5997475}"/>
                </a:ext>
              </a:extLst>
            </p:cNvPr>
            <p:cNvSpPr>
              <a:spLocks noChangeAspect="1" noEditPoints="1"/>
            </p:cNvSpPr>
            <p:nvPr/>
          </p:nvSpPr>
          <p:spPr bwMode="auto">
            <a:xfrm>
              <a:off x="9538765" y="3261946"/>
              <a:ext cx="457200" cy="455221"/>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12700">
              <a:solidFill>
                <a:schemeClr val="bg1"/>
              </a:solidFill>
              <a:miter lim="800000"/>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89619" tIns="44809" rIns="89619" bIns="44809" numCol="1" anchor="t" anchorCtr="0" compatLnSpc="1">
              <a:prstTxWarp prst="textNoShape">
                <a:avLst/>
              </a:prstTxWarp>
            </a:bodyPr>
            <a:lstStyle/>
            <a:p>
              <a:pPr defTabSz="914040">
                <a:defRPr/>
              </a:pPr>
              <a:endParaRPr lang="en-US" sz="1799">
                <a:solidFill>
                  <a:srgbClr val="FFFFFF"/>
                </a:solidFill>
                <a:latin typeface="Segoe UI Semilight"/>
              </a:endParaRPr>
            </a:p>
          </p:txBody>
        </p:sp>
      </p:grpSp>
      <p:grpSp>
        <p:nvGrpSpPr>
          <p:cNvPr id="47" name="Group 46">
            <a:extLst>
              <a:ext uri="{FF2B5EF4-FFF2-40B4-BE49-F238E27FC236}">
                <a16:creationId xmlns:a16="http://schemas.microsoft.com/office/drawing/2014/main" id="{5D110FC1-2A1B-4B44-AB6D-26271661F5F5}"/>
              </a:ext>
            </a:extLst>
          </p:cNvPr>
          <p:cNvGrpSpPr/>
          <p:nvPr/>
        </p:nvGrpSpPr>
        <p:grpSpPr>
          <a:xfrm>
            <a:off x="6151403" y="2928543"/>
            <a:ext cx="985810" cy="985810"/>
            <a:chOff x="6276385" y="2986636"/>
            <a:chExt cx="1005840" cy="1005840"/>
          </a:xfrm>
        </p:grpSpPr>
        <p:sp>
          <p:nvSpPr>
            <p:cNvPr id="48" name="circle1">
              <a:extLst>
                <a:ext uri="{FF2B5EF4-FFF2-40B4-BE49-F238E27FC236}">
                  <a16:creationId xmlns:a16="http://schemas.microsoft.com/office/drawing/2014/main" id="{66B9C297-6EF0-4428-9868-B1F525ED47B5}"/>
                </a:ext>
              </a:extLst>
            </p:cNvPr>
            <p:cNvSpPr/>
            <p:nvPr/>
          </p:nvSpPr>
          <p:spPr bwMode="auto">
            <a:xfrm>
              <a:off x="6276385" y="2986636"/>
              <a:ext cx="1005840" cy="1005840"/>
            </a:xfrm>
            <a:prstGeom prst="ellipse">
              <a:avLst/>
            </a:prstGeom>
            <a:solidFill>
              <a:schemeClr val="tx2"/>
            </a:solidFill>
            <a:ln w="12700" cap="flat" cmpd="sng" algn="ctr">
              <a:noFill/>
              <a:prstDash val="solid"/>
              <a:miter lim="800000"/>
            </a:ln>
            <a:effectLst/>
          </p:spPr>
          <p:txBody>
            <a:bodyPr rot="0" spcFirstLastPara="0" vertOverflow="overflow" horzOverflow="overflow" vert="horz" wrap="square" lIns="215047" tIns="172037" rIns="215047" bIns="172037" numCol="1" spcCol="0" rtlCol="0" fromWordArt="0" anchor="t" anchorCtr="0" forceAA="0" compatLnSpc="1">
              <a:prstTxWarp prst="textNoShape">
                <a:avLst/>
              </a:prstTxWarp>
              <a:noAutofit/>
            </a:bodyPr>
            <a:lstStyle/>
            <a:p>
              <a:pPr algn="ctr" defTabSz="1096384" fontAlgn="base">
                <a:lnSpc>
                  <a:spcPct val="90000"/>
                </a:lnSpc>
                <a:spcBef>
                  <a:spcPct val="0"/>
                </a:spcBef>
                <a:spcAft>
                  <a:spcPct val="0"/>
                </a:spcAft>
                <a:defRPr/>
              </a:pPr>
              <a:endParaRPr lang="en-US" sz="2822" kern="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9" name="tool">
              <a:extLst>
                <a:ext uri="{FF2B5EF4-FFF2-40B4-BE49-F238E27FC236}">
                  <a16:creationId xmlns:a16="http://schemas.microsoft.com/office/drawing/2014/main" id="{2F2834FB-F41A-4D8A-9492-F895B35E8B91}"/>
                </a:ext>
              </a:extLst>
            </p:cNvPr>
            <p:cNvSpPr>
              <a:spLocks noChangeAspect="1" noEditPoints="1"/>
            </p:cNvSpPr>
            <p:nvPr/>
          </p:nvSpPr>
          <p:spPr bwMode="auto">
            <a:xfrm>
              <a:off x="6626532" y="3274359"/>
              <a:ext cx="305547" cy="430394"/>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2700">
              <a:solidFill>
                <a:schemeClr val="bg1"/>
              </a:solidFill>
              <a:miter lim="800000"/>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89619" tIns="44809" rIns="89619" bIns="44809" numCol="1" anchor="t" anchorCtr="0" compatLnSpc="1">
              <a:prstTxWarp prst="textNoShape">
                <a:avLst/>
              </a:prstTxWarp>
            </a:bodyPr>
            <a:lstStyle/>
            <a:p>
              <a:pPr defTabSz="914040">
                <a:defRPr/>
              </a:pPr>
              <a:endParaRPr lang="en-US" sz="1799">
                <a:solidFill>
                  <a:srgbClr val="FFFFFF"/>
                </a:solidFill>
                <a:latin typeface="Segoe UI Semilight"/>
              </a:endParaRPr>
            </a:p>
          </p:txBody>
        </p:sp>
      </p:grpSp>
      <p:grpSp>
        <p:nvGrpSpPr>
          <p:cNvPr id="50" name="Group 49">
            <a:extLst>
              <a:ext uri="{FF2B5EF4-FFF2-40B4-BE49-F238E27FC236}">
                <a16:creationId xmlns:a16="http://schemas.microsoft.com/office/drawing/2014/main" id="{677876BA-6C9B-40A0-81D1-4B160981A456}"/>
              </a:ext>
            </a:extLst>
          </p:cNvPr>
          <p:cNvGrpSpPr/>
          <p:nvPr/>
        </p:nvGrpSpPr>
        <p:grpSpPr>
          <a:xfrm>
            <a:off x="7615682" y="2928543"/>
            <a:ext cx="985810" cy="985810"/>
            <a:chOff x="7770415" y="2986636"/>
            <a:chExt cx="1005840" cy="1005840"/>
          </a:xfrm>
        </p:grpSpPr>
        <p:sp>
          <p:nvSpPr>
            <p:cNvPr id="56" name="Oval 55">
              <a:extLst>
                <a:ext uri="{FF2B5EF4-FFF2-40B4-BE49-F238E27FC236}">
                  <a16:creationId xmlns:a16="http://schemas.microsoft.com/office/drawing/2014/main" id="{FF1D3506-878C-4F45-88D7-40D0CC7ED519}"/>
                </a:ext>
              </a:extLst>
            </p:cNvPr>
            <p:cNvSpPr>
              <a:spLocks noChangeAspect="1"/>
            </p:cNvSpPr>
            <p:nvPr/>
          </p:nvSpPr>
          <p:spPr bwMode="auto">
            <a:xfrm>
              <a:off x="7770415" y="2986636"/>
              <a:ext cx="1005840" cy="1005840"/>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28" fontAlgn="base">
                <a:spcBef>
                  <a:spcPct val="0"/>
                </a:spcBef>
                <a:spcAft>
                  <a:spcPct val="0"/>
                </a:spcAft>
                <a:defRPr/>
              </a:pPr>
              <a:endParaRPr lang="en-US" sz="2744">
                <a:gradFill>
                  <a:gsLst>
                    <a:gs pos="5439">
                      <a:srgbClr val="F8F8F8"/>
                    </a:gs>
                    <a:gs pos="10000">
                      <a:srgbClr val="F8F8F8"/>
                    </a:gs>
                  </a:gsLst>
                  <a:lin ang="5400000" scaled="0"/>
                </a:gradFill>
                <a:latin typeface="Segoe UI Semilight"/>
              </a:endParaRPr>
            </a:p>
          </p:txBody>
        </p:sp>
        <p:sp>
          <p:nvSpPr>
            <p:cNvPr id="57" name="people_11">
              <a:extLst>
                <a:ext uri="{FF2B5EF4-FFF2-40B4-BE49-F238E27FC236}">
                  <a16:creationId xmlns:a16="http://schemas.microsoft.com/office/drawing/2014/main" id="{45C587BF-5F31-41C1-AAD4-35473D948E54}"/>
                </a:ext>
              </a:extLst>
            </p:cNvPr>
            <p:cNvSpPr>
              <a:spLocks noChangeAspect="1" noEditPoints="1"/>
            </p:cNvSpPr>
            <p:nvPr/>
          </p:nvSpPr>
          <p:spPr bwMode="auto">
            <a:xfrm>
              <a:off x="8044735" y="3270027"/>
              <a:ext cx="457200" cy="439058"/>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2700">
              <a:solidFill>
                <a:schemeClr val="bg1"/>
              </a:solidFill>
              <a:miter lim="800000"/>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vert="horz" wrap="square" lIns="89619" tIns="44809" rIns="89619" bIns="44809" numCol="1" anchor="t" anchorCtr="0" compatLnSpc="1">
              <a:prstTxWarp prst="textNoShape">
                <a:avLst/>
              </a:prstTxWarp>
            </a:bodyPr>
            <a:lstStyle/>
            <a:p>
              <a:pPr defTabSz="914040">
                <a:defRPr/>
              </a:pPr>
              <a:endParaRPr lang="en-US" sz="1799">
                <a:solidFill>
                  <a:srgbClr val="FFFFFF"/>
                </a:solidFill>
                <a:latin typeface="Segoe UI Semilight"/>
              </a:endParaRPr>
            </a:p>
          </p:txBody>
        </p:sp>
      </p:grpSp>
      <p:sp>
        <p:nvSpPr>
          <p:cNvPr id="67" name="engage">
            <a:extLst>
              <a:ext uri="{FF2B5EF4-FFF2-40B4-BE49-F238E27FC236}">
                <a16:creationId xmlns:a16="http://schemas.microsoft.com/office/drawing/2014/main" id="{78E145E6-C869-4438-AA5C-7C1826F6B3B1}"/>
              </a:ext>
            </a:extLst>
          </p:cNvPr>
          <p:cNvSpPr/>
          <p:nvPr/>
        </p:nvSpPr>
        <p:spPr bwMode="auto">
          <a:xfrm>
            <a:off x="5894636" y="4004562"/>
            <a:ext cx="1499344" cy="81570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spAutoFit/>
          </a:bodyPr>
          <a:lstStyle/>
          <a:p>
            <a:pPr algn="ctr" defTabSz="913828" fontAlgn="base">
              <a:lnSpc>
                <a:spcPct val="95000"/>
              </a:lnSpc>
              <a:spcBef>
                <a:spcPct val="0"/>
              </a:spcBef>
              <a:spcAft>
                <a:spcPct val="0"/>
              </a:spcAft>
              <a:defRPr/>
            </a:pPr>
            <a:r>
              <a:rPr lang="en-US" sz="1764" spc="-10">
                <a:ln w="3175">
                  <a:noFill/>
                </a:ln>
                <a:gradFill>
                  <a:gsLst>
                    <a:gs pos="2917">
                      <a:srgbClr val="353535"/>
                    </a:gs>
                    <a:gs pos="30000">
                      <a:srgbClr val="353535"/>
                    </a:gs>
                  </a:gsLst>
                </a:gradFill>
                <a:latin typeface="Segoe UI" panose="020B0502040204020203" pitchFamily="34" charset="0"/>
                <a:cs typeface="Segoe UI" panose="020B0502040204020203" pitchFamily="34" charset="0"/>
              </a:rPr>
              <a:t>Empower</a:t>
            </a:r>
            <a:br>
              <a:rPr lang="en-US" sz="1764" spc="-10">
                <a:ln w="3175">
                  <a:noFill/>
                </a:ln>
                <a:gradFill>
                  <a:gsLst>
                    <a:gs pos="2917">
                      <a:srgbClr val="353535"/>
                    </a:gs>
                    <a:gs pos="30000">
                      <a:srgbClr val="353535"/>
                    </a:gs>
                  </a:gsLst>
                </a:gradFill>
                <a:latin typeface="Segoe UI" panose="020B0502040204020203" pitchFamily="34" charset="0"/>
                <a:cs typeface="Segoe UI" panose="020B0502040204020203" pitchFamily="34" charset="0"/>
              </a:rPr>
            </a:br>
            <a:r>
              <a:rPr lang="en-US" sz="1764" spc="-10">
                <a:ln w="3175">
                  <a:noFill/>
                </a:ln>
                <a:gradFill>
                  <a:gsLst>
                    <a:gs pos="2917">
                      <a:srgbClr val="353535"/>
                    </a:gs>
                    <a:gs pos="30000">
                      <a:srgbClr val="353535"/>
                    </a:gs>
                  </a:gsLst>
                </a:gradFill>
                <a:latin typeface="Segoe UI" panose="020B0502040204020203" pitchFamily="34" charset="0"/>
                <a:cs typeface="Segoe UI" panose="020B0502040204020203" pitchFamily="34" charset="0"/>
              </a:rPr>
              <a:t>employees</a:t>
            </a:r>
          </a:p>
        </p:txBody>
      </p:sp>
      <p:sp>
        <p:nvSpPr>
          <p:cNvPr id="72" name="optimize">
            <a:extLst>
              <a:ext uri="{FF2B5EF4-FFF2-40B4-BE49-F238E27FC236}">
                <a16:creationId xmlns:a16="http://schemas.microsoft.com/office/drawing/2014/main" id="{B6849A3A-33E4-45EE-9BDE-FA1E19A195D4}"/>
              </a:ext>
            </a:extLst>
          </p:cNvPr>
          <p:cNvSpPr/>
          <p:nvPr/>
        </p:nvSpPr>
        <p:spPr bwMode="auto">
          <a:xfrm>
            <a:off x="8823194" y="4004562"/>
            <a:ext cx="1499344" cy="81570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spAutoFit/>
          </a:bodyPr>
          <a:lstStyle/>
          <a:p>
            <a:pPr algn="ctr" defTabSz="913828" fontAlgn="base">
              <a:lnSpc>
                <a:spcPct val="95000"/>
              </a:lnSpc>
              <a:spcBef>
                <a:spcPct val="0"/>
              </a:spcBef>
              <a:spcAft>
                <a:spcPct val="0"/>
              </a:spcAft>
              <a:defRPr/>
            </a:pPr>
            <a:r>
              <a:rPr lang="en-US" sz="1764" spc="-10">
                <a:ln w="3175">
                  <a:noFill/>
                </a:ln>
                <a:gradFill>
                  <a:gsLst>
                    <a:gs pos="2917">
                      <a:srgbClr val="353535"/>
                    </a:gs>
                    <a:gs pos="30000">
                      <a:srgbClr val="353535"/>
                    </a:gs>
                  </a:gsLst>
                </a:gradFill>
                <a:latin typeface="Segoe UI" panose="020B0502040204020203" pitchFamily="34" charset="0"/>
                <a:cs typeface="Segoe UI" panose="020B0502040204020203" pitchFamily="34" charset="0"/>
              </a:rPr>
              <a:t>Optimize operations</a:t>
            </a:r>
          </a:p>
        </p:txBody>
      </p:sp>
      <p:sp>
        <p:nvSpPr>
          <p:cNvPr id="75" name="empower">
            <a:extLst>
              <a:ext uri="{FF2B5EF4-FFF2-40B4-BE49-F238E27FC236}">
                <a16:creationId xmlns:a16="http://schemas.microsoft.com/office/drawing/2014/main" id="{BC9680AD-78E2-47B6-82E5-49DDC1477779}"/>
              </a:ext>
            </a:extLst>
          </p:cNvPr>
          <p:cNvSpPr/>
          <p:nvPr/>
        </p:nvSpPr>
        <p:spPr bwMode="auto">
          <a:xfrm>
            <a:off x="7358915" y="4004562"/>
            <a:ext cx="1499344" cy="81570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79238" tIns="143391" rIns="179238" bIns="143391" numCol="1" spcCol="0" rtlCol="0" fromWordArt="0" anchor="ctr" anchorCtr="0" forceAA="0" compatLnSpc="1">
            <a:prstTxWarp prst="textNoShape">
              <a:avLst/>
            </a:prstTxWarp>
            <a:spAutoFit/>
          </a:bodyPr>
          <a:lstStyle/>
          <a:p>
            <a:pPr algn="ctr" defTabSz="913828" fontAlgn="base">
              <a:lnSpc>
                <a:spcPct val="95000"/>
              </a:lnSpc>
              <a:spcBef>
                <a:spcPct val="0"/>
              </a:spcBef>
              <a:spcAft>
                <a:spcPct val="0"/>
              </a:spcAft>
              <a:defRPr/>
            </a:pPr>
            <a:r>
              <a:rPr lang="en-US" sz="1764" spc="-10">
                <a:ln w="3175">
                  <a:noFill/>
                </a:ln>
                <a:gradFill>
                  <a:gsLst>
                    <a:gs pos="2917">
                      <a:srgbClr val="353535"/>
                    </a:gs>
                    <a:gs pos="30000">
                      <a:srgbClr val="353535"/>
                    </a:gs>
                  </a:gsLst>
                </a:gradFill>
                <a:latin typeface="Segoe UI" panose="020B0502040204020203" pitchFamily="34" charset="0"/>
                <a:cs typeface="Segoe UI" panose="020B0502040204020203" pitchFamily="34" charset="0"/>
              </a:rPr>
              <a:t>Engage</a:t>
            </a:r>
            <a:br>
              <a:rPr lang="en-US" sz="1764" spc="-10">
                <a:ln w="3175">
                  <a:noFill/>
                </a:ln>
                <a:gradFill>
                  <a:gsLst>
                    <a:gs pos="2917">
                      <a:srgbClr val="353535"/>
                    </a:gs>
                    <a:gs pos="30000">
                      <a:srgbClr val="353535"/>
                    </a:gs>
                  </a:gsLst>
                </a:gradFill>
                <a:latin typeface="Segoe UI" panose="020B0502040204020203" pitchFamily="34" charset="0"/>
                <a:cs typeface="Segoe UI" panose="020B0502040204020203" pitchFamily="34" charset="0"/>
              </a:rPr>
            </a:br>
            <a:r>
              <a:rPr lang="en-US" sz="1764" spc="-10">
                <a:ln w="3175">
                  <a:noFill/>
                </a:ln>
                <a:gradFill>
                  <a:gsLst>
                    <a:gs pos="2917">
                      <a:srgbClr val="353535"/>
                    </a:gs>
                    <a:gs pos="30000">
                      <a:srgbClr val="353535"/>
                    </a:gs>
                  </a:gsLst>
                </a:gradFill>
                <a:latin typeface="Segoe UI" panose="020B0502040204020203" pitchFamily="34" charset="0"/>
                <a:cs typeface="Segoe UI" panose="020B0502040204020203" pitchFamily="34" charset="0"/>
              </a:rPr>
              <a:t>customers</a:t>
            </a:r>
          </a:p>
        </p:txBody>
      </p:sp>
      <p:sp>
        <p:nvSpPr>
          <p:cNvPr id="118" name="TextBox 117">
            <a:extLst>
              <a:ext uri="{FF2B5EF4-FFF2-40B4-BE49-F238E27FC236}">
                <a16:creationId xmlns:a16="http://schemas.microsoft.com/office/drawing/2014/main" id="{D70E3342-E78D-45C3-995B-E2F54E51F517}"/>
              </a:ext>
            </a:extLst>
          </p:cNvPr>
          <p:cNvSpPr txBox="1"/>
          <p:nvPr/>
        </p:nvSpPr>
        <p:spPr>
          <a:xfrm>
            <a:off x="1798799" y="2330364"/>
            <a:ext cx="1869127" cy="244362"/>
          </a:xfrm>
          <a:prstGeom prst="rect">
            <a:avLst/>
          </a:prstGeom>
          <a:noFill/>
        </p:spPr>
        <p:txBody>
          <a:bodyPr wrap="none" lIns="0" tIns="0" rIns="0" bIns="0" rtlCol="0" anchor="ctr" anchorCtr="0">
            <a:spAutoFit/>
          </a:bodyPr>
          <a:lstStyle/>
          <a:p>
            <a:pPr defTabSz="914093">
              <a:lnSpc>
                <a:spcPct val="90000"/>
              </a:lnSpc>
              <a:spcAft>
                <a:spcPts val="588"/>
              </a:spcAft>
              <a:defRPr/>
            </a:pPr>
            <a:r>
              <a:rPr lang="en-US" sz="1764">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Modern workplace</a:t>
            </a:r>
          </a:p>
        </p:txBody>
      </p:sp>
      <p:sp>
        <p:nvSpPr>
          <p:cNvPr id="119" name="TextBox 118">
            <a:extLst>
              <a:ext uri="{FF2B5EF4-FFF2-40B4-BE49-F238E27FC236}">
                <a16:creationId xmlns:a16="http://schemas.microsoft.com/office/drawing/2014/main" id="{FAFBFC19-A57C-40FE-9EC8-68D2A9D509EC}"/>
              </a:ext>
            </a:extLst>
          </p:cNvPr>
          <p:cNvSpPr txBox="1"/>
          <p:nvPr/>
        </p:nvSpPr>
        <p:spPr>
          <a:xfrm>
            <a:off x="1798798" y="3293349"/>
            <a:ext cx="2109003" cy="244362"/>
          </a:xfrm>
          <a:prstGeom prst="rect">
            <a:avLst/>
          </a:prstGeom>
          <a:noFill/>
        </p:spPr>
        <p:txBody>
          <a:bodyPr wrap="none" lIns="0" tIns="0" rIns="0" bIns="0" rtlCol="0" anchor="ctr" anchorCtr="0">
            <a:spAutoFit/>
          </a:bodyPr>
          <a:lstStyle/>
          <a:p>
            <a:pPr defTabSz="914093">
              <a:lnSpc>
                <a:spcPct val="90000"/>
              </a:lnSpc>
              <a:spcAft>
                <a:spcPts val="588"/>
              </a:spcAft>
              <a:defRPr/>
            </a:pPr>
            <a:r>
              <a:rPr lang="en-US" sz="1764">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Business applications</a:t>
            </a:r>
          </a:p>
        </p:txBody>
      </p:sp>
      <p:sp>
        <p:nvSpPr>
          <p:cNvPr id="120" name="TextBox 119">
            <a:extLst>
              <a:ext uri="{FF2B5EF4-FFF2-40B4-BE49-F238E27FC236}">
                <a16:creationId xmlns:a16="http://schemas.microsoft.com/office/drawing/2014/main" id="{DF0AE706-2876-41E7-99D3-61613FBD61B0}"/>
              </a:ext>
            </a:extLst>
          </p:cNvPr>
          <p:cNvSpPr txBox="1"/>
          <p:nvPr/>
        </p:nvSpPr>
        <p:spPr>
          <a:xfrm>
            <a:off x="1798798" y="4134150"/>
            <a:ext cx="1573932" cy="488725"/>
          </a:xfrm>
          <a:prstGeom prst="rect">
            <a:avLst/>
          </a:prstGeom>
          <a:noFill/>
        </p:spPr>
        <p:txBody>
          <a:bodyPr wrap="none" lIns="0" tIns="0" rIns="0" bIns="0" rtlCol="0" anchor="ctr" anchorCtr="0">
            <a:spAutoFit/>
          </a:bodyPr>
          <a:lstStyle/>
          <a:p>
            <a:pPr defTabSz="914093">
              <a:lnSpc>
                <a:spcPct val="90000"/>
              </a:lnSpc>
              <a:spcAft>
                <a:spcPts val="588"/>
              </a:spcAft>
              <a:defRPr/>
            </a:pPr>
            <a:r>
              <a:rPr lang="en-US" sz="1764">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Applications </a:t>
            </a:r>
            <a:br>
              <a:rPr lang="en-US" sz="1764">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br>
            <a:r>
              <a:rPr lang="en-US" sz="1764">
                <a:gradFill>
                  <a:gsLst>
                    <a:gs pos="2917">
                      <a:srgbClr val="353535"/>
                    </a:gs>
                    <a:gs pos="30000">
                      <a:srgbClr val="353535"/>
                    </a:gs>
                  </a:gsLst>
                  <a:lin ang="5400000" scaled="0"/>
                </a:gradFill>
                <a:latin typeface="Segoe UI" panose="020B0502040204020203" pitchFamily="34" charset="0"/>
                <a:cs typeface="Segoe UI" panose="020B0502040204020203" pitchFamily="34" charset="0"/>
              </a:rPr>
              <a:t>&amp; infrastructure</a:t>
            </a:r>
          </a:p>
        </p:txBody>
      </p:sp>
      <p:sp>
        <p:nvSpPr>
          <p:cNvPr id="121" name="TextBox 120">
            <a:extLst>
              <a:ext uri="{FF2B5EF4-FFF2-40B4-BE49-F238E27FC236}">
                <a16:creationId xmlns:a16="http://schemas.microsoft.com/office/drawing/2014/main" id="{89FCF03B-FB78-4B7D-9C66-6136866BE509}"/>
              </a:ext>
            </a:extLst>
          </p:cNvPr>
          <p:cNvSpPr txBox="1"/>
          <p:nvPr/>
        </p:nvSpPr>
        <p:spPr>
          <a:xfrm>
            <a:off x="1798799" y="5219330"/>
            <a:ext cx="974071" cy="244334"/>
          </a:xfrm>
          <a:prstGeom prst="rect">
            <a:avLst/>
          </a:prstGeom>
          <a:noFill/>
        </p:spPr>
        <p:txBody>
          <a:bodyPr wrap="none" lIns="0" tIns="0" rIns="0" bIns="0" rtlCol="0" anchor="ctr" anchorCtr="0">
            <a:spAutoFit/>
          </a:bodyPr>
          <a:lstStyle>
            <a:defPPr>
              <a:defRPr lang="en-US"/>
            </a:defPPr>
            <a:lvl1pPr marR="0" lvl="0" indent="0" fontAlgn="auto">
              <a:lnSpc>
                <a:spcPct val="90000"/>
              </a:lnSpc>
              <a:spcBef>
                <a:spcPts val="0"/>
              </a:spcBef>
              <a:spcAft>
                <a:spcPts val="600"/>
              </a:spcAft>
              <a:buClrTx/>
              <a:buSzTx/>
              <a:buFontTx/>
              <a:buNone/>
              <a:tabLst/>
              <a:defRPr kumimoji="0" sz="2400" i="0" u="none" strike="noStrike" cap="none" spc="0" normalizeH="0" baseline="0">
                <a:ln>
                  <a:noFill/>
                </a:ln>
                <a:gradFill>
                  <a:gsLst>
                    <a:gs pos="2917">
                      <a:srgbClr val="353535"/>
                    </a:gs>
                    <a:gs pos="30000">
                      <a:srgbClr val="353535"/>
                    </a:gs>
                  </a:gsLst>
                  <a:lin ang="5400000" scaled="0"/>
                </a:gradFill>
                <a:effectLst/>
                <a:uLnTx/>
                <a:uFillTx/>
                <a:cs typeface="Segoe UI" panose="020B0502040204020203" pitchFamily="34" charset="0"/>
              </a:defRPr>
            </a:lvl1pPr>
          </a:lstStyle>
          <a:p>
            <a:pPr defTabSz="914040">
              <a:spcAft>
                <a:spcPts val="588"/>
              </a:spcAft>
              <a:defRPr/>
            </a:pPr>
            <a:r>
              <a:rPr lang="en-US" sz="1764">
                <a:latin typeface="Segoe UI" panose="020B0502040204020203" pitchFamily="34" charset="0"/>
              </a:rPr>
              <a:t>Data &amp; AI</a:t>
            </a:r>
          </a:p>
        </p:txBody>
      </p:sp>
      <p:sp>
        <p:nvSpPr>
          <p:cNvPr id="134" name="Digital Transformation">
            <a:extLst>
              <a:ext uri="{FF2B5EF4-FFF2-40B4-BE49-F238E27FC236}">
                <a16:creationId xmlns:a16="http://schemas.microsoft.com/office/drawing/2014/main" id="{C150B0E3-6DC1-44E4-9F04-FFF219E4725C}"/>
              </a:ext>
            </a:extLst>
          </p:cNvPr>
          <p:cNvSpPr txBox="1">
            <a:spLocks/>
          </p:cNvSpPr>
          <p:nvPr/>
        </p:nvSpPr>
        <p:spPr>
          <a:xfrm>
            <a:off x="0" y="298706"/>
            <a:ext cx="8550798" cy="899303"/>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913828" fontAlgn="base">
              <a:spcAft>
                <a:spcPct val="0"/>
              </a:spcAft>
              <a:defRPr/>
            </a:pPr>
            <a:r>
              <a:rPr lang="en-US" sz="3599" kern="0" spc="-98" dirty="0">
                <a:gradFill>
                  <a:gsLst>
                    <a:gs pos="2917">
                      <a:srgbClr val="353535"/>
                    </a:gs>
                    <a:gs pos="30000">
                      <a:srgbClr val="353535"/>
                    </a:gs>
                  </a:gsLst>
                  <a:lin ang="5400000" scaled="1"/>
                </a:gradFill>
                <a:latin typeface="Segoe UI Light"/>
              </a:rPr>
              <a:t>Digital Transformation Customer Outcomes</a:t>
            </a:r>
          </a:p>
        </p:txBody>
      </p:sp>
      <p:grpSp>
        <p:nvGrpSpPr>
          <p:cNvPr id="70" name="Group 69">
            <a:extLst>
              <a:ext uri="{FF2B5EF4-FFF2-40B4-BE49-F238E27FC236}">
                <a16:creationId xmlns:a16="http://schemas.microsoft.com/office/drawing/2014/main" id="{CC7679BA-B0FE-48FD-9682-F6009C53F879}"/>
              </a:ext>
            </a:extLst>
          </p:cNvPr>
          <p:cNvGrpSpPr/>
          <p:nvPr/>
        </p:nvGrpSpPr>
        <p:grpSpPr>
          <a:xfrm>
            <a:off x="4797226" y="3761383"/>
            <a:ext cx="655163" cy="250993"/>
            <a:chOff x="7147278" y="3439948"/>
            <a:chExt cx="299213" cy="114628"/>
          </a:xfrm>
        </p:grpSpPr>
        <p:sp>
          <p:nvSpPr>
            <p:cNvPr id="71" name="Rectangle 3">
              <a:extLst>
                <a:ext uri="{FF2B5EF4-FFF2-40B4-BE49-F238E27FC236}">
                  <a16:creationId xmlns:a16="http://schemas.microsoft.com/office/drawing/2014/main" id="{2FA43BC6-599B-4E53-8F5A-06A650D55555}"/>
                </a:ext>
              </a:extLst>
            </p:cNvPr>
            <p:cNvSpPr/>
            <p:nvPr/>
          </p:nvSpPr>
          <p:spPr bwMode="auto">
            <a:xfrm rot="2700000">
              <a:off x="7308123" y="3439948"/>
              <a:ext cx="114628" cy="114628"/>
            </a:xfrm>
            <a:custGeom>
              <a:avLst/>
              <a:gdLst>
                <a:gd name="connsiteX0" fmla="*/ 0 w 371366"/>
                <a:gd name="connsiteY0" fmla="*/ 0 h 371366"/>
                <a:gd name="connsiteX1" fmla="*/ 371366 w 371366"/>
                <a:gd name="connsiteY1" fmla="*/ 0 h 371366"/>
                <a:gd name="connsiteX2" fmla="*/ 371366 w 371366"/>
                <a:gd name="connsiteY2" fmla="*/ 371366 h 371366"/>
                <a:gd name="connsiteX3" fmla="*/ 0 w 371366"/>
                <a:gd name="connsiteY3" fmla="*/ 371366 h 371366"/>
                <a:gd name="connsiteX4" fmla="*/ 0 w 371366"/>
                <a:gd name="connsiteY4" fmla="*/ 0 h 371366"/>
                <a:gd name="connsiteX0" fmla="*/ 0 w 371366"/>
                <a:gd name="connsiteY0" fmla="*/ 371366 h 462806"/>
                <a:gd name="connsiteX1" fmla="*/ 0 w 371366"/>
                <a:gd name="connsiteY1" fmla="*/ 0 h 462806"/>
                <a:gd name="connsiteX2" fmla="*/ 371366 w 371366"/>
                <a:gd name="connsiteY2" fmla="*/ 0 h 462806"/>
                <a:gd name="connsiteX3" fmla="*/ 371366 w 371366"/>
                <a:gd name="connsiteY3" fmla="*/ 371366 h 462806"/>
                <a:gd name="connsiteX4" fmla="*/ 91440 w 371366"/>
                <a:gd name="connsiteY4" fmla="*/ 462806 h 462806"/>
                <a:gd name="connsiteX0" fmla="*/ 0 w 371366"/>
                <a:gd name="connsiteY0" fmla="*/ 0 h 462806"/>
                <a:gd name="connsiteX1" fmla="*/ 371366 w 371366"/>
                <a:gd name="connsiteY1" fmla="*/ 0 h 462806"/>
                <a:gd name="connsiteX2" fmla="*/ 371366 w 371366"/>
                <a:gd name="connsiteY2" fmla="*/ 371366 h 462806"/>
                <a:gd name="connsiteX3" fmla="*/ 91440 w 371366"/>
                <a:gd name="connsiteY3" fmla="*/ 462806 h 462806"/>
                <a:gd name="connsiteX0" fmla="*/ 0 w 371366"/>
                <a:gd name="connsiteY0" fmla="*/ 0 h 371366"/>
                <a:gd name="connsiteX1" fmla="*/ 371366 w 371366"/>
                <a:gd name="connsiteY1" fmla="*/ 0 h 371366"/>
                <a:gd name="connsiteX2" fmla="*/ 371366 w 371366"/>
                <a:gd name="connsiteY2" fmla="*/ 371366 h 371366"/>
              </a:gdLst>
              <a:ahLst/>
              <a:cxnLst>
                <a:cxn ang="0">
                  <a:pos x="connsiteX0" y="connsiteY0"/>
                </a:cxn>
                <a:cxn ang="0">
                  <a:pos x="connsiteX1" y="connsiteY1"/>
                </a:cxn>
                <a:cxn ang="0">
                  <a:pos x="connsiteX2" y="connsiteY2"/>
                </a:cxn>
              </a:cxnLst>
              <a:rect l="l" t="t" r="r" b="b"/>
              <a:pathLst>
                <a:path w="371366" h="371366">
                  <a:moveTo>
                    <a:pt x="0" y="0"/>
                  </a:moveTo>
                  <a:lnTo>
                    <a:pt x="371366" y="0"/>
                  </a:lnTo>
                  <a:lnTo>
                    <a:pt x="371366" y="371366"/>
                  </a:lnTo>
                </a:path>
              </a:pathLst>
            </a:custGeom>
            <a:noFill/>
            <a:ln w="1905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09" rIns="89619" bIns="44809" numCol="1" anchor="t" anchorCtr="0" compatLnSpc="1">
              <a:prstTxWarp prst="textNoShape">
                <a:avLst/>
              </a:prstTxWarp>
            </a:bodyPr>
            <a:lstStyle/>
            <a:p>
              <a:pPr defTabSz="896117">
                <a:defRPr/>
              </a:pPr>
              <a:endParaRPr lang="en-US" sz="1799" kern="0">
                <a:solidFill>
                  <a:srgbClr val="505050"/>
                </a:solidFill>
                <a:latin typeface="Segoe UI Semilight"/>
              </a:endParaRPr>
            </a:p>
          </p:txBody>
        </p:sp>
        <p:cxnSp>
          <p:nvCxnSpPr>
            <p:cNvPr id="73" name="Straight Connector 72">
              <a:extLst>
                <a:ext uri="{FF2B5EF4-FFF2-40B4-BE49-F238E27FC236}">
                  <a16:creationId xmlns:a16="http://schemas.microsoft.com/office/drawing/2014/main" id="{B297695E-13DF-4867-A6DD-E2486A9BAF63}"/>
                </a:ext>
              </a:extLst>
            </p:cNvPr>
            <p:cNvCxnSpPr>
              <a:cxnSpLocks/>
            </p:cNvCxnSpPr>
            <p:nvPr/>
          </p:nvCxnSpPr>
          <p:spPr>
            <a:xfrm flipH="1">
              <a:off x="7147278" y="3497262"/>
              <a:ext cx="299213" cy="0"/>
            </a:xfrm>
            <a:prstGeom prst="line">
              <a:avLst/>
            </a:prstGeom>
            <a:noFill/>
            <a:ln w="1905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grpSp>
      <p:cxnSp>
        <p:nvCxnSpPr>
          <p:cNvPr id="74" name="Straight Connector 73">
            <a:extLst>
              <a:ext uri="{FF2B5EF4-FFF2-40B4-BE49-F238E27FC236}">
                <a16:creationId xmlns:a16="http://schemas.microsoft.com/office/drawing/2014/main" id="{404F706D-A1A2-4F52-9D0B-AD131BFD08AE}"/>
              </a:ext>
            </a:extLst>
          </p:cNvPr>
          <p:cNvCxnSpPr>
            <a:cxnSpLocks/>
          </p:cNvCxnSpPr>
          <p:nvPr/>
        </p:nvCxnSpPr>
        <p:spPr>
          <a:xfrm>
            <a:off x="4797225" y="2010293"/>
            <a:ext cx="0" cy="3753176"/>
          </a:xfrm>
          <a:prstGeom prst="line">
            <a:avLst/>
          </a:prstGeom>
          <a:noFill/>
          <a:ln w="1905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3" name="Rectangle 2">
            <a:extLst>
              <a:ext uri="{FF2B5EF4-FFF2-40B4-BE49-F238E27FC236}">
                <a16:creationId xmlns:a16="http://schemas.microsoft.com/office/drawing/2014/main" id="{410442C7-D9C1-4031-9BB1-0D1DD345EAC5}"/>
              </a:ext>
            </a:extLst>
          </p:cNvPr>
          <p:cNvSpPr/>
          <p:nvPr/>
        </p:nvSpPr>
        <p:spPr>
          <a:xfrm>
            <a:off x="854257" y="658834"/>
            <a:ext cx="10080756" cy="953859"/>
          </a:xfrm>
          <a:prstGeom prst="rect">
            <a:avLst/>
          </a:prstGeom>
        </p:spPr>
        <p:txBody>
          <a:bodyPr wrap="square">
            <a:spAutoFit/>
          </a:bodyPr>
          <a:lstStyle/>
          <a:p>
            <a:pPr defTabSz="913967"/>
            <a:endParaRPr lang="en-US" sz="1600" dirty="0">
              <a:solidFill>
                <a:srgbClr val="000000"/>
              </a:solidFill>
              <a:latin typeface="Segoe Pro Light" panose="020B0302040504020203" pitchFamily="34" charset="0"/>
            </a:endParaRPr>
          </a:p>
          <a:p>
            <a:pPr algn="ctr" defTabSz="913967"/>
            <a:r>
              <a:rPr lang="en-US" sz="1999" dirty="0">
                <a:solidFill>
                  <a:srgbClr val="505050"/>
                </a:solidFill>
                <a:latin typeface="Segoe Pro Light" panose="020B0302040504020203" pitchFamily="34" charset="0"/>
              </a:rPr>
              <a:t>Microsoft is focused on empowering every individual and every organization </a:t>
            </a:r>
            <a:br>
              <a:rPr lang="en-US" sz="1999" dirty="0">
                <a:solidFill>
                  <a:srgbClr val="505050"/>
                </a:solidFill>
                <a:latin typeface="Segoe Pro Light" panose="020B0302040504020203" pitchFamily="34" charset="0"/>
              </a:rPr>
            </a:br>
            <a:r>
              <a:rPr lang="en-US" sz="1999" dirty="0">
                <a:solidFill>
                  <a:srgbClr val="505050"/>
                </a:solidFill>
                <a:latin typeface="Segoe Pro Light" panose="020B0302040504020203" pitchFamily="34" charset="0"/>
              </a:rPr>
              <a:t>to achieve more through Digital Transformation. </a:t>
            </a:r>
            <a:endParaRPr lang="en-US" sz="1899" dirty="0">
              <a:solidFill>
                <a:srgbClr val="505050"/>
              </a:solidFill>
              <a:latin typeface="Segoe UI"/>
            </a:endParaRPr>
          </a:p>
        </p:txBody>
      </p:sp>
    </p:spTree>
    <p:extLst>
      <p:ext uri="{BB962C8B-B14F-4D97-AF65-F5344CB8AC3E}">
        <p14:creationId xmlns:p14="http://schemas.microsoft.com/office/powerpoint/2010/main" val="40386617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med" p14:dur="700">
        <p159:morph option="byObject"/>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300"/>
                                  </p:stCondLst>
                                  <p:childTnLst>
                                    <p:set>
                                      <p:cBhvr>
                                        <p:cTn id="6" dur="1" fill="hold">
                                          <p:stCondLst>
                                            <p:cond delay="499"/>
                                          </p:stCondLst>
                                        </p:cTn>
                                        <p:tgtEl>
                                          <p:spTgt spid="47"/>
                                        </p:tgtEl>
                                        <p:attrNameLst>
                                          <p:attrName>style.visibility</p:attrName>
                                        </p:attrNameLst>
                                      </p:cBhvr>
                                      <p:to>
                                        <p:strVal val="visible"/>
                                      </p:to>
                                    </p:set>
                                  </p:childTnLst>
                                </p:cTn>
                              </p:par>
                              <p:par>
                                <p:cTn id="7" presetID="6" presetClass="emph" presetSubtype="0" accel="100000" autoRev="1" fill="hold" nodeType="withEffect">
                                  <p:stCondLst>
                                    <p:cond delay="300"/>
                                  </p:stCondLst>
                                  <p:childTnLst>
                                    <p:animScale>
                                      <p:cBhvr>
                                        <p:cTn id="8" dur="500" fill="hold"/>
                                        <p:tgtEl>
                                          <p:spTgt spid="47"/>
                                        </p:tgtEl>
                                      </p:cBhvr>
                                      <p:by x="0" y="0"/>
                                    </p:animScale>
                                  </p:childTnLst>
                                </p:cTn>
                              </p:par>
                              <p:par>
                                <p:cTn id="9" presetID="1" presetClass="entr" presetSubtype="0" fill="hold" nodeType="withEffect">
                                  <p:stCondLst>
                                    <p:cond delay="350"/>
                                  </p:stCondLst>
                                  <p:childTnLst>
                                    <p:set>
                                      <p:cBhvr>
                                        <p:cTn id="10" dur="1" fill="hold">
                                          <p:stCondLst>
                                            <p:cond delay="499"/>
                                          </p:stCondLst>
                                        </p:cTn>
                                        <p:tgtEl>
                                          <p:spTgt spid="50"/>
                                        </p:tgtEl>
                                        <p:attrNameLst>
                                          <p:attrName>style.visibility</p:attrName>
                                        </p:attrNameLst>
                                      </p:cBhvr>
                                      <p:to>
                                        <p:strVal val="visible"/>
                                      </p:to>
                                    </p:set>
                                  </p:childTnLst>
                                </p:cTn>
                              </p:par>
                              <p:par>
                                <p:cTn id="11" presetID="6" presetClass="emph" presetSubtype="0" accel="100000" autoRev="1" fill="hold" nodeType="withEffect">
                                  <p:stCondLst>
                                    <p:cond delay="350"/>
                                  </p:stCondLst>
                                  <p:childTnLst>
                                    <p:animScale>
                                      <p:cBhvr>
                                        <p:cTn id="12" dur="500" fill="hold"/>
                                        <p:tgtEl>
                                          <p:spTgt spid="50"/>
                                        </p:tgtEl>
                                      </p:cBhvr>
                                      <p:by x="0" y="0"/>
                                    </p:animScale>
                                  </p:childTnLst>
                                </p:cTn>
                              </p:par>
                              <p:par>
                                <p:cTn id="13" presetID="1" presetClass="entr" presetSubtype="0" fill="hold" nodeType="withEffect">
                                  <p:stCondLst>
                                    <p:cond delay="400"/>
                                  </p:stCondLst>
                                  <p:childTnLst>
                                    <p:set>
                                      <p:cBhvr>
                                        <p:cTn id="14" dur="1" fill="hold">
                                          <p:stCondLst>
                                            <p:cond delay="499"/>
                                          </p:stCondLst>
                                        </p:cTn>
                                        <p:tgtEl>
                                          <p:spTgt spid="44"/>
                                        </p:tgtEl>
                                        <p:attrNameLst>
                                          <p:attrName>style.visibility</p:attrName>
                                        </p:attrNameLst>
                                      </p:cBhvr>
                                      <p:to>
                                        <p:strVal val="visible"/>
                                      </p:to>
                                    </p:set>
                                  </p:childTnLst>
                                </p:cTn>
                              </p:par>
                              <p:par>
                                <p:cTn id="15" presetID="6" presetClass="emph" presetSubtype="0" accel="100000" autoRev="1" fill="hold" nodeType="withEffect">
                                  <p:stCondLst>
                                    <p:cond delay="400"/>
                                  </p:stCondLst>
                                  <p:childTnLst>
                                    <p:animScale>
                                      <p:cBhvr>
                                        <p:cTn id="16" dur="500" fill="hold"/>
                                        <p:tgtEl>
                                          <p:spTgt spid="44"/>
                                        </p:tgtEl>
                                      </p:cBhvr>
                                      <p:by x="0" y="0"/>
                                    </p:animScale>
                                  </p:childTnLst>
                                </p:cTn>
                              </p:par>
                              <p:par>
                                <p:cTn id="17" presetID="1" presetClass="entr" presetSubtype="0" fill="hold" nodeType="withEffect">
                                  <p:stCondLst>
                                    <p:cond delay="450"/>
                                  </p:stCondLst>
                                  <p:childTnLst>
                                    <p:set>
                                      <p:cBhvr>
                                        <p:cTn id="18" dur="1" fill="hold">
                                          <p:stCondLst>
                                            <p:cond delay="499"/>
                                          </p:stCondLst>
                                        </p:cTn>
                                        <p:tgtEl>
                                          <p:spTgt spid="41"/>
                                        </p:tgtEl>
                                        <p:attrNameLst>
                                          <p:attrName>style.visibility</p:attrName>
                                        </p:attrNameLst>
                                      </p:cBhvr>
                                      <p:to>
                                        <p:strVal val="visible"/>
                                      </p:to>
                                    </p:set>
                                  </p:childTnLst>
                                </p:cTn>
                              </p:par>
                              <p:par>
                                <p:cTn id="19" presetID="6" presetClass="emph" presetSubtype="0" accel="100000" autoRev="1" fill="hold" nodeType="withEffect">
                                  <p:stCondLst>
                                    <p:cond delay="450"/>
                                  </p:stCondLst>
                                  <p:childTnLst>
                                    <p:animScale>
                                      <p:cBhvr>
                                        <p:cTn id="20" dur="500" fill="hold"/>
                                        <p:tgtEl>
                                          <p:spTgt spid="41"/>
                                        </p:tgtEl>
                                      </p:cBhvr>
                                      <p:by x="0" y="0"/>
                                    </p:animScale>
                                  </p:childTnLst>
                                </p:cTn>
                              </p:par>
                              <p:par>
                                <p:cTn id="21" presetID="10" presetClass="entr" presetSubtype="0" fill="hold" grpId="0" nodeType="withEffect">
                                  <p:stCondLst>
                                    <p:cond delay="900"/>
                                  </p:stCondLst>
                                  <p:childTnLst>
                                    <p:set>
                                      <p:cBhvr>
                                        <p:cTn id="22" dur="1" fill="hold">
                                          <p:stCondLst>
                                            <p:cond delay="0"/>
                                          </p:stCondLst>
                                        </p:cTn>
                                        <p:tgtEl>
                                          <p:spTgt spid="67"/>
                                        </p:tgtEl>
                                        <p:attrNameLst>
                                          <p:attrName>style.visibility</p:attrName>
                                        </p:attrNameLst>
                                      </p:cBhvr>
                                      <p:to>
                                        <p:strVal val="visible"/>
                                      </p:to>
                                    </p:set>
                                    <p:animEffect transition="in" filter="fade">
                                      <p:cBhvr>
                                        <p:cTn id="23" dur="400"/>
                                        <p:tgtEl>
                                          <p:spTgt spid="67"/>
                                        </p:tgtEl>
                                      </p:cBhvr>
                                    </p:animEffect>
                                  </p:childTnLst>
                                </p:cTn>
                              </p:par>
                              <p:par>
                                <p:cTn id="24" presetID="42" presetClass="path" presetSubtype="0" decel="100000" fill="hold" grpId="1" nodeType="withEffect">
                                  <p:stCondLst>
                                    <p:cond delay="600"/>
                                  </p:stCondLst>
                                  <p:childTnLst>
                                    <p:animMotion origin="layout" path="M 0 -1.35724E-6 L 0 0.09623 " pathEditMode="relative" rAng="0" ptsTypes="AA">
                                      <p:cBhvr>
                                        <p:cTn id="25" dur="700" spd="-100000" fill="hold"/>
                                        <p:tgtEl>
                                          <p:spTgt spid="67"/>
                                        </p:tgtEl>
                                        <p:attrNameLst>
                                          <p:attrName>ppt_x</p:attrName>
                                          <p:attrName>ppt_y</p:attrName>
                                        </p:attrNameLst>
                                      </p:cBhvr>
                                      <p:rCtr x="0" y="4812"/>
                                    </p:animMotion>
                                  </p:childTnLst>
                                </p:cTn>
                              </p:par>
                              <p:par>
                                <p:cTn id="26" presetID="10" presetClass="entr" presetSubtype="0" fill="hold" grpId="0" nodeType="withEffect">
                                  <p:stCondLst>
                                    <p:cond delay="950"/>
                                  </p:stCondLst>
                                  <p:childTnLst>
                                    <p:set>
                                      <p:cBhvr>
                                        <p:cTn id="27" dur="1" fill="hold">
                                          <p:stCondLst>
                                            <p:cond delay="0"/>
                                          </p:stCondLst>
                                        </p:cTn>
                                        <p:tgtEl>
                                          <p:spTgt spid="75"/>
                                        </p:tgtEl>
                                        <p:attrNameLst>
                                          <p:attrName>style.visibility</p:attrName>
                                        </p:attrNameLst>
                                      </p:cBhvr>
                                      <p:to>
                                        <p:strVal val="visible"/>
                                      </p:to>
                                    </p:set>
                                    <p:animEffect transition="in" filter="fade">
                                      <p:cBhvr>
                                        <p:cTn id="28" dur="400"/>
                                        <p:tgtEl>
                                          <p:spTgt spid="75"/>
                                        </p:tgtEl>
                                      </p:cBhvr>
                                    </p:animEffect>
                                  </p:childTnLst>
                                </p:cTn>
                              </p:par>
                              <p:par>
                                <p:cTn id="29" presetID="42" presetClass="path" presetSubtype="0" decel="100000" fill="hold" grpId="1" nodeType="withEffect">
                                  <p:stCondLst>
                                    <p:cond delay="650"/>
                                  </p:stCondLst>
                                  <p:childTnLst>
                                    <p:animMotion origin="layout" path="M 0 -1.35724E-6 L 0 0.09623 " pathEditMode="relative" rAng="0" ptsTypes="AA">
                                      <p:cBhvr>
                                        <p:cTn id="30" dur="700" spd="-100000" fill="hold"/>
                                        <p:tgtEl>
                                          <p:spTgt spid="75"/>
                                        </p:tgtEl>
                                        <p:attrNameLst>
                                          <p:attrName>ppt_x</p:attrName>
                                          <p:attrName>ppt_y</p:attrName>
                                        </p:attrNameLst>
                                      </p:cBhvr>
                                      <p:rCtr x="0" y="4812"/>
                                    </p:animMotion>
                                  </p:childTnLst>
                                </p:cTn>
                              </p:par>
                              <p:par>
                                <p:cTn id="31" presetID="10" presetClass="entr" presetSubtype="0" fill="hold" grpId="0" nodeType="withEffect">
                                  <p:stCondLst>
                                    <p:cond delay="1000"/>
                                  </p:stCondLst>
                                  <p:childTnLst>
                                    <p:set>
                                      <p:cBhvr>
                                        <p:cTn id="32" dur="1" fill="hold">
                                          <p:stCondLst>
                                            <p:cond delay="0"/>
                                          </p:stCondLst>
                                        </p:cTn>
                                        <p:tgtEl>
                                          <p:spTgt spid="72"/>
                                        </p:tgtEl>
                                        <p:attrNameLst>
                                          <p:attrName>style.visibility</p:attrName>
                                        </p:attrNameLst>
                                      </p:cBhvr>
                                      <p:to>
                                        <p:strVal val="visible"/>
                                      </p:to>
                                    </p:set>
                                    <p:animEffect transition="in" filter="fade">
                                      <p:cBhvr>
                                        <p:cTn id="33" dur="400"/>
                                        <p:tgtEl>
                                          <p:spTgt spid="72"/>
                                        </p:tgtEl>
                                      </p:cBhvr>
                                    </p:animEffect>
                                  </p:childTnLst>
                                </p:cTn>
                              </p:par>
                              <p:par>
                                <p:cTn id="34" presetID="42" presetClass="path" presetSubtype="0" decel="100000" fill="hold" grpId="1" nodeType="withEffect">
                                  <p:stCondLst>
                                    <p:cond delay="700"/>
                                  </p:stCondLst>
                                  <p:childTnLst>
                                    <p:animMotion origin="layout" path="M 0 -1.35724E-6 L 0 0.09623 " pathEditMode="relative" rAng="0" ptsTypes="AA">
                                      <p:cBhvr>
                                        <p:cTn id="35" dur="700" spd="-100000" fill="hold"/>
                                        <p:tgtEl>
                                          <p:spTgt spid="72"/>
                                        </p:tgtEl>
                                        <p:attrNameLst>
                                          <p:attrName>ppt_x</p:attrName>
                                          <p:attrName>ppt_y</p:attrName>
                                        </p:attrNameLst>
                                      </p:cBhvr>
                                      <p:rCtr x="0" y="4812"/>
                                    </p:animMotion>
                                  </p:childTnLst>
                                </p:cTn>
                              </p:par>
                              <p:par>
                                <p:cTn id="36" presetID="10" presetClass="entr" presetSubtype="0" fill="hold" grpId="0" nodeType="withEffect">
                                  <p:stCondLst>
                                    <p:cond delay="1050"/>
                                  </p:stCondLst>
                                  <p:childTnLst>
                                    <p:set>
                                      <p:cBhvr>
                                        <p:cTn id="37" dur="1" fill="hold">
                                          <p:stCondLst>
                                            <p:cond delay="0"/>
                                          </p:stCondLst>
                                        </p:cTn>
                                        <p:tgtEl>
                                          <p:spTgt spid="51"/>
                                        </p:tgtEl>
                                        <p:attrNameLst>
                                          <p:attrName>style.visibility</p:attrName>
                                        </p:attrNameLst>
                                      </p:cBhvr>
                                      <p:to>
                                        <p:strVal val="visible"/>
                                      </p:to>
                                    </p:set>
                                    <p:animEffect transition="in" filter="fade">
                                      <p:cBhvr>
                                        <p:cTn id="38" dur="400"/>
                                        <p:tgtEl>
                                          <p:spTgt spid="51"/>
                                        </p:tgtEl>
                                      </p:cBhvr>
                                    </p:animEffect>
                                  </p:childTnLst>
                                </p:cTn>
                              </p:par>
                              <p:par>
                                <p:cTn id="39" presetID="42" presetClass="path" presetSubtype="0" decel="100000" fill="hold" grpId="1" nodeType="withEffect">
                                  <p:stCondLst>
                                    <p:cond delay="750"/>
                                  </p:stCondLst>
                                  <p:childTnLst>
                                    <p:animMotion origin="layout" path="M 0 -1.35724E-6 L 0 0.09623 " pathEditMode="relative" rAng="0" ptsTypes="AA">
                                      <p:cBhvr>
                                        <p:cTn id="40" dur="700" spd="-100000" fill="hold"/>
                                        <p:tgtEl>
                                          <p:spTgt spid="51"/>
                                        </p:tgtEl>
                                        <p:attrNameLst>
                                          <p:attrName>ppt_x</p:attrName>
                                          <p:attrName>ppt_y</p:attrName>
                                        </p:attrNameLst>
                                      </p:cBhvr>
                                      <p:rCtr x="0" y="4812"/>
                                    </p:animMotion>
                                  </p:childTnLst>
                                </p:cTn>
                              </p:par>
                              <p:par>
                                <p:cTn id="41" presetID="10" presetClass="entr" presetSubtype="0" fill="hold" grpId="0" nodeType="withEffect">
                                  <p:stCondLst>
                                    <p:cond delay="500"/>
                                  </p:stCondLst>
                                  <p:childTnLst>
                                    <p:set>
                                      <p:cBhvr>
                                        <p:cTn id="42" dur="1" fill="hold">
                                          <p:stCondLst>
                                            <p:cond delay="0"/>
                                          </p:stCondLst>
                                        </p:cTn>
                                        <p:tgtEl>
                                          <p:spTgt spid="118"/>
                                        </p:tgtEl>
                                        <p:attrNameLst>
                                          <p:attrName>style.visibility</p:attrName>
                                        </p:attrNameLst>
                                      </p:cBhvr>
                                      <p:to>
                                        <p:strVal val="visible"/>
                                      </p:to>
                                    </p:set>
                                    <p:animEffect transition="in" filter="fade">
                                      <p:cBhvr>
                                        <p:cTn id="43" dur="500"/>
                                        <p:tgtEl>
                                          <p:spTgt spid="118"/>
                                        </p:tgtEl>
                                      </p:cBhvr>
                                    </p:animEffect>
                                  </p:childTnLst>
                                </p:cTn>
                              </p:par>
                              <p:par>
                                <p:cTn id="44" presetID="35" presetClass="path" presetSubtype="0" decel="100000" fill="hold" grpId="1" nodeType="withEffect">
                                  <p:stCondLst>
                                    <p:cond delay="500"/>
                                  </p:stCondLst>
                                  <p:childTnLst>
                                    <p:animMotion origin="layout" path="M -2.9206E-6 2.90967E-6 L -0.02706 2.90967E-6 " pathEditMode="relative" rAng="0" ptsTypes="AA">
                                      <p:cBhvr>
                                        <p:cTn id="45" dur="500" spd="-100000" fill="hold"/>
                                        <p:tgtEl>
                                          <p:spTgt spid="118"/>
                                        </p:tgtEl>
                                        <p:attrNameLst>
                                          <p:attrName>ppt_x</p:attrName>
                                          <p:attrName>ppt_y</p:attrName>
                                        </p:attrNameLst>
                                      </p:cBhvr>
                                      <p:rCtr x="-1353" y="0"/>
                                    </p:animMotion>
                                  </p:childTnLst>
                                </p:cTn>
                              </p:par>
                              <p:par>
                                <p:cTn id="46" presetID="10" presetClass="entr" presetSubtype="0" fill="hold" grpId="0" nodeType="withEffect">
                                  <p:stCondLst>
                                    <p:cond delay="550"/>
                                  </p:stCondLst>
                                  <p:childTnLst>
                                    <p:set>
                                      <p:cBhvr>
                                        <p:cTn id="47" dur="1" fill="hold">
                                          <p:stCondLst>
                                            <p:cond delay="0"/>
                                          </p:stCondLst>
                                        </p:cTn>
                                        <p:tgtEl>
                                          <p:spTgt spid="119"/>
                                        </p:tgtEl>
                                        <p:attrNameLst>
                                          <p:attrName>style.visibility</p:attrName>
                                        </p:attrNameLst>
                                      </p:cBhvr>
                                      <p:to>
                                        <p:strVal val="visible"/>
                                      </p:to>
                                    </p:set>
                                    <p:animEffect transition="in" filter="fade">
                                      <p:cBhvr>
                                        <p:cTn id="48" dur="500"/>
                                        <p:tgtEl>
                                          <p:spTgt spid="119"/>
                                        </p:tgtEl>
                                      </p:cBhvr>
                                    </p:animEffect>
                                  </p:childTnLst>
                                </p:cTn>
                              </p:par>
                              <p:par>
                                <p:cTn id="49" presetID="35" presetClass="path" presetSubtype="0" decel="100000" fill="hold" grpId="1" nodeType="withEffect">
                                  <p:stCondLst>
                                    <p:cond delay="550"/>
                                  </p:stCondLst>
                                  <p:childTnLst>
                                    <p:animMotion origin="layout" path="M 4.79959E-7 2.66909E-6 L -0.02706 2.66909E-6 " pathEditMode="relative" rAng="0" ptsTypes="AA">
                                      <p:cBhvr>
                                        <p:cTn id="50" dur="500" spd="-100000" fill="hold"/>
                                        <p:tgtEl>
                                          <p:spTgt spid="119"/>
                                        </p:tgtEl>
                                        <p:attrNameLst>
                                          <p:attrName>ppt_x</p:attrName>
                                          <p:attrName>ppt_y</p:attrName>
                                        </p:attrNameLst>
                                      </p:cBhvr>
                                      <p:rCtr x="-1353" y="0"/>
                                    </p:animMotion>
                                  </p:childTnLst>
                                </p:cTn>
                              </p:par>
                              <p:par>
                                <p:cTn id="51" presetID="10" presetClass="entr" presetSubtype="0" fill="hold" grpId="0" nodeType="withEffect">
                                  <p:stCondLst>
                                    <p:cond delay="600"/>
                                  </p:stCondLst>
                                  <p:childTnLst>
                                    <p:set>
                                      <p:cBhvr>
                                        <p:cTn id="52" dur="1" fill="hold">
                                          <p:stCondLst>
                                            <p:cond delay="0"/>
                                          </p:stCondLst>
                                        </p:cTn>
                                        <p:tgtEl>
                                          <p:spTgt spid="120"/>
                                        </p:tgtEl>
                                        <p:attrNameLst>
                                          <p:attrName>style.visibility</p:attrName>
                                        </p:attrNameLst>
                                      </p:cBhvr>
                                      <p:to>
                                        <p:strVal val="visible"/>
                                      </p:to>
                                    </p:set>
                                    <p:animEffect transition="in" filter="fade">
                                      <p:cBhvr>
                                        <p:cTn id="53" dur="500"/>
                                        <p:tgtEl>
                                          <p:spTgt spid="120"/>
                                        </p:tgtEl>
                                      </p:cBhvr>
                                    </p:animEffect>
                                  </p:childTnLst>
                                </p:cTn>
                              </p:par>
                              <p:par>
                                <p:cTn id="54" presetID="35" presetClass="path" presetSubtype="0" decel="100000" fill="hold" grpId="1" nodeType="withEffect">
                                  <p:stCondLst>
                                    <p:cond delay="600"/>
                                  </p:stCondLst>
                                  <p:childTnLst>
                                    <p:animMotion origin="layout" path="M 1.35563E-6 2.42851E-6 L -0.02706 2.42851E-6 " pathEditMode="relative" rAng="0" ptsTypes="AA">
                                      <p:cBhvr>
                                        <p:cTn id="55" dur="500" spd="-100000" fill="hold"/>
                                        <p:tgtEl>
                                          <p:spTgt spid="120"/>
                                        </p:tgtEl>
                                        <p:attrNameLst>
                                          <p:attrName>ppt_x</p:attrName>
                                          <p:attrName>ppt_y</p:attrName>
                                        </p:attrNameLst>
                                      </p:cBhvr>
                                      <p:rCtr x="-1353" y="0"/>
                                    </p:animMotion>
                                  </p:childTnLst>
                                </p:cTn>
                              </p:par>
                              <p:par>
                                <p:cTn id="56" presetID="10" presetClass="entr" presetSubtype="0" fill="hold" grpId="0" nodeType="withEffect">
                                  <p:stCondLst>
                                    <p:cond delay="650"/>
                                  </p:stCondLst>
                                  <p:childTnLst>
                                    <p:set>
                                      <p:cBhvr>
                                        <p:cTn id="57" dur="1" fill="hold">
                                          <p:stCondLst>
                                            <p:cond delay="0"/>
                                          </p:stCondLst>
                                        </p:cTn>
                                        <p:tgtEl>
                                          <p:spTgt spid="121"/>
                                        </p:tgtEl>
                                        <p:attrNameLst>
                                          <p:attrName>style.visibility</p:attrName>
                                        </p:attrNameLst>
                                      </p:cBhvr>
                                      <p:to>
                                        <p:strVal val="visible"/>
                                      </p:to>
                                    </p:set>
                                    <p:animEffect transition="in" filter="fade">
                                      <p:cBhvr>
                                        <p:cTn id="58" dur="500"/>
                                        <p:tgtEl>
                                          <p:spTgt spid="121"/>
                                        </p:tgtEl>
                                      </p:cBhvr>
                                    </p:animEffect>
                                  </p:childTnLst>
                                </p:cTn>
                              </p:par>
                              <p:par>
                                <p:cTn id="59" presetID="35" presetClass="path" presetSubtype="0" decel="100000" fill="hold" grpId="1" nodeType="withEffect">
                                  <p:stCondLst>
                                    <p:cond delay="650"/>
                                  </p:stCondLst>
                                  <p:childTnLst>
                                    <p:animMotion origin="layout" path="M 4.04391E-6 2.18793E-6 L -0.02707 2.18793E-6 " pathEditMode="relative" rAng="0" ptsTypes="AA">
                                      <p:cBhvr>
                                        <p:cTn id="60" dur="500" spd="-100000" fill="hold"/>
                                        <p:tgtEl>
                                          <p:spTgt spid="121"/>
                                        </p:tgtEl>
                                        <p:attrNameLst>
                                          <p:attrName>ppt_x</p:attrName>
                                          <p:attrName>ppt_y</p:attrName>
                                        </p:attrNameLst>
                                      </p:cBhvr>
                                      <p:rCtr x="-1353" y="0"/>
                                    </p:animMotion>
                                  </p:childTnLst>
                                </p:cTn>
                              </p:par>
                              <p:par>
                                <p:cTn id="61" presetID="10" presetClass="entr" presetSubtype="0" fill="hold" grpId="0" nodeType="withEffect">
                                  <p:stCondLst>
                                    <p:cond delay="400"/>
                                  </p:stCondLst>
                                  <p:childTnLst>
                                    <p:set>
                                      <p:cBhvr>
                                        <p:cTn id="62" dur="1" fill="hold">
                                          <p:stCondLst>
                                            <p:cond delay="0"/>
                                          </p:stCondLst>
                                        </p:cTn>
                                        <p:tgtEl>
                                          <p:spTgt spid="134"/>
                                        </p:tgtEl>
                                        <p:attrNameLst>
                                          <p:attrName>style.visibility</p:attrName>
                                        </p:attrNameLst>
                                      </p:cBhvr>
                                      <p:to>
                                        <p:strVal val="visible"/>
                                      </p:to>
                                    </p:set>
                                    <p:animEffect transition="in" filter="fade">
                                      <p:cBhvr>
                                        <p:cTn id="63" dur="250"/>
                                        <p:tgtEl>
                                          <p:spTgt spid="134"/>
                                        </p:tgtEl>
                                      </p:cBhvr>
                                    </p:animEffect>
                                  </p:childTnLst>
                                </p:cTn>
                              </p:par>
                              <p:par>
                                <p:cTn id="64" presetID="42" presetClass="path" presetSubtype="0" decel="100000" fill="hold" grpId="1" nodeType="withEffect">
                                  <p:stCondLst>
                                    <p:cond delay="0"/>
                                  </p:stCondLst>
                                  <p:childTnLst>
                                    <p:animMotion origin="layout" path="M -1.25E-6 2.22222E-6 L -1.25E-6 0.25023 " pathEditMode="relative" rAng="0" ptsTypes="AA">
                                      <p:cBhvr>
                                        <p:cTn id="65" dur="750" spd="-100000" fill="hold"/>
                                        <p:tgtEl>
                                          <p:spTgt spid="134"/>
                                        </p:tgtEl>
                                        <p:attrNameLst>
                                          <p:attrName>ppt_x</p:attrName>
                                          <p:attrName>ppt_y</p:attrName>
                                        </p:attrNameLst>
                                      </p:cBhvr>
                                      <p:rCtr x="0" y="12500"/>
                                    </p:animMotion>
                                  </p:childTnLst>
                                </p:cTn>
                              </p:par>
                              <p:par>
                                <p:cTn id="66" presetID="22" presetClass="entr" presetSubtype="1" fill="hold" nodeType="withEffect">
                                  <p:stCondLst>
                                    <p:cond delay="500"/>
                                  </p:stCondLst>
                                  <p:childTnLst>
                                    <p:set>
                                      <p:cBhvr>
                                        <p:cTn id="67" dur="1" fill="hold">
                                          <p:stCondLst>
                                            <p:cond delay="0"/>
                                          </p:stCondLst>
                                        </p:cTn>
                                        <p:tgtEl>
                                          <p:spTgt spid="74"/>
                                        </p:tgtEl>
                                        <p:attrNameLst>
                                          <p:attrName>style.visibility</p:attrName>
                                        </p:attrNameLst>
                                      </p:cBhvr>
                                      <p:to>
                                        <p:strVal val="visible"/>
                                      </p:to>
                                    </p:set>
                                    <p:animEffect transition="in" filter="wipe(up)">
                                      <p:cBhvr>
                                        <p:cTn id="68" dur="500"/>
                                        <p:tgtEl>
                                          <p:spTgt spid="74"/>
                                        </p:tgtEl>
                                      </p:cBhvr>
                                    </p:animEffect>
                                  </p:childTnLst>
                                </p:cTn>
                              </p:par>
                              <p:par>
                                <p:cTn id="69" presetID="22" presetClass="entr" presetSubtype="8" fill="hold" nodeType="withEffect">
                                  <p:stCondLst>
                                    <p:cond delay="750"/>
                                  </p:stCondLst>
                                  <p:childTnLst>
                                    <p:set>
                                      <p:cBhvr>
                                        <p:cTn id="70" dur="1" fill="hold">
                                          <p:stCondLst>
                                            <p:cond delay="0"/>
                                          </p:stCondLst>
                                        </p:cTn>
                                        <p:tgtEl>
                                          <p:spTgt spid="70"/>
                                        </p:tgtEl>
                                        <p:attrNameLst>
                                          <p:attrName>style.visibility</p:attrName>
                                        </p:attrNameLst>
                                      </p:cBhvr>
                                      <p:to>
                                        <p:strVal val="visible"/>
                                      </p:to>
                                    </p:set>
                                    <p:animEffect transition="in" filter="wipe(left)">
                                      <p:cBhvr>
                                        <p:cTn id="71" dur="25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P spid="51" grpId="1"/>
      <p:bldP spid="67" grpId="0"/>
      <p:bldP spid="67" grpId="1"/>
      <p:bldP spid="72" grpId="0"/>
      <p:bldP spid="72" grpId="1"/>
      <p:bldP spid="75" grpId="0"/>
      <p:bldP spid="75" grpId="1"/>
      <p:bldP spid="118" grpId="0"/>
      <p:bldP spid="118" grpId="1"/>
      <p:bldP spid="119" grpId="0"/>
      <p:bldP spid="119" grpId="1"/>
      <p:bldP spid="120" grpId="0"/>
      <p:bldP spid="120" grpId="1"/>
      <p:bldP spid="121" grpId="0"/>
      <p:bldP spid="121" grpId="1"/>
      <p:bldP spid="134" grpId="0"/>
      <p:bldP spid="134" grpId="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8" name="Oval 487">
            <a:extLst>
              <a:ext uri="{FF2B5EF4-FFF2-40B4-BE49-F238E27FC236}">
                <a16:creationId xmlns:a16="http://schemas.microsoft.com/office/drawing/2014/main" id="{95C1BC94-0A88-4930-8816-1474FF03E2F6}"/>
              </a:ext>
            </a:extLst>
          </p:cNvPr>
          <p:cNvSpPr/>
          <p:nvPr/>
        </p:nvSpPr>
        <p:spPr>
          <a:xfrm>
            <a:off x="186619" y="1007687"/>
            <a:ext cx="1778140" cy="419962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91392" rIns="91392" bIns="91392" numCol="1" spcCol="0" rtlCol="0" fromWordArt="0" anchor="b" anchorCtr="0" forceAA="0" compatLnSpc="1">
            <a:prstTxWarp prst="textNoShape">
              <a:avLst/>
            </a:prstTxWarp>
            <a:noAutofit/>
          </a:bodyPr>
          <a:lstStyle/>
          <a:p>
            <a:pPr algn="r" defTabSz="913852">
              <a:defRPr/>
            </a:pPr>
            <a:endParaRPr lang="en-US" sz="1200" dirty="0">
              <a:solidFill>
                <a:prstClr val="white"/>
              </a:solidFill>
              <a:latin typeface="Segoe UI"/>
            </a:endParaRPr>
          </a:p>
        </p:txBody>
      </p:sp>
      <p:sp>
        <p:nvSpPr>
          <p:cNvPr id="4" name="Title 3"/>
          <p:cNvSpPr>
            <a:spLocks noGrp="1"/>
          </p:cNvSpPr>
          <p:nvPr>
            <p:ph type="title"/>
          </p:nvPr>
        </p:nvSpPr>
        <p:spPr>
          <a:xfrm>
            <a:off x="0" y="895"/>
            <a:ext cx="12188825" cy="645874"/>
          </a:xfrm>
        </p:spPr>
        <p:txBody>
          <a:bodyPr/>
          <a:lstStyle/>
          <a:p>
            <a:r>
              <a:rPr lang="en-US" dirty="0"/>
              <a:t>Integrated Supply Chain</a:t>
            </a:r>
            <a:endParaRPr lang="en-IN" dirty="0"/>
          </a:p>
        </p:txBody>
      </p:sp>
      <p:sp>
        <p:nvSpPr>
          <p:cNvPr id="6" name="Text Placeholder 5"/>
          <p:cNvSpPr>
            <a:spLocks noGrp="1"/>
          </p:cNvSpPr>
          <p:nvPr>
            <p:ph type="body" sz="quarter" idx="13"/>
          </p:nvPr>
        </p:nvSpPr>
        <p:spPr>
          <a:xfrm>
            <a:off x="0" y="574210"/>
            <a:ext cx="12188825" cy="372966"/>
          </a:xfrm>
        </p:spPr>
        <p:txBody>
          <a:bodyPr/>
          <a:lstStyle/>
          <a:p>
            <a:r>
              <a:rPr lang="en-US" dirty="0"/>
              <a:t>Technology Storyboard</a:t>
            </a:r>
          </a:p>
        </p:txBody>
      </p:sp>
      <p:sp>
        <p:nvSpPr>
          <p:cNvPr id="5" name="Slide Number Placeholder 4"/>
          <p:cNvSpPr>
            <a:spLocks noGrp="1"/>
          </p:cNvSpPr>
          <p:nvPr>
            <p:ph type="sldNum" sz="quarter" idx="12"/>
          </p:nvPr>
        </p:nvSpPr>
        <p:spPr/>
        <p:txBody>
          <a:bodyPr/>
          <a:lstStyle/>
          <a:p>
            <a:pPr defTabSz="914126">
              <a:defRPr/>
            </a:pPr>
            <a:r>
              <a:rPr lang="en-US" sz="1799" kern="0" dirty="0">
                <a:solidFill>
                  <a:srgbClr val="505050"/>
                </a:solidFill>
                <a:latin typeface="Segoe UI"/>
              </a:rPr>
              <a:t> </a:t>
            </a:r>
          </a:p>
        </p:txBody>
      </p:sp>
      <p:grpSp>
        <p:nvGrpSpPr>
          <p:cNvPr id="295" name="Group 294"/>
          <p:cNvGrpSpPr/>
          <p:nvPr/>
        </p:nvGrpSpPr>
        <p:grpSpPr>
          <a:xfrm>
            <a:off x="8418396" y="3551688"/>
            <a:ext cx="1315847" cy="1430485"/>
            <a:chOff x="3730114" y="4767439"/>
            <a:chExt cx="1955801" cy="1792728"/>
          </a:xfrm>
        </p:grpSpPr>
        <p:grpSp>
          <p:nvGrpSpPr>
            <p:cNvPr id="296" name="Group 295"/>
            <p:cNvGrpSpPr/>
            <p:nvPr/>
          </p:nvGrpSpPr>
          <p:grpSpPr>
            <a:xfrm>
              <a:off x="3730114" y="4767439"/>
              <a:ext cx="1955801" cy="1538559"/>
              <a:chOff x="3467100" y="2017870"/>
              <a:chExt cx="1955801" cy="1538559"/>
            </a:xfrm>
          </p:grpSpPr>
          <p:sp>
            <p:nvSpPr>
              <p:cNvPr id="298" name="Rounded Rectangle 60"/>
              <p:cNvSpPr>
                <a:spLocks noChangeArrowheads="1"/>
              </p:cNvSpPr>
              <p:nvPr/>
            </p:nvSpPr>
            <p:spPr bwMode="auto">
              <a:xfrm>
                <a:off x="3467100" y="2017870"/>
                <a:ext cx="1955801" cy="1538559"/>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914126">
                  <a:defRPr/>
                </a:pPr>
                <a:endParaRPr lang="en-US" sz="1200" kern="0" dirty="0">
                  <a:solidFill>
                    <a:srgbClr val="505050"/>
                  </a:solidFill>
                  <a:latin typeface="Segoe UI"/>
                </a:endParaRPr>
              </a:p>
            </p:txBody>
          </p:sp>
          <p:pic>
            <p:nvPicPr>
              <p:cNvPr id="299" name="Picture 298"/>
              <p:cNvPicPr>
                <a:picLocks noChangeAspect="1"/>
              </p:cNvPicPr>
              <p:nvPr/>
            </p:nvPicPr>
            <p:blipFill>
              <a:blip r:embed="rId3" cstate="screen">
                <a:lum bright="-40000" contrast="-40000"/>
                <a:extLst>
                  <a:ext uri="{28A0092B-C50C-407E-A947-70E740481C1C}">
                    <a14:useLocalDpi xmlns:a14="http://schemas.microsoft.com/office/drawing/2010/main"/>
                  </a:ext>
                </a:extLst>
              </a:blip>
              <a:stretch>
                <a:fillRect/>
              </a:stretch>
            </p:blipFill>
            <p:spPr bwMode="auto">
              <a:xfrm>
                <a:off x="4923723" y="2692706"/>
                <a:ext cx="376166" cy="335748"/>
              </a:xfrm>
              <a:prstGeom prst="rect">
                <a:avLst/>
              </a:prstGeom>
              <a:noFill/>
              <a:ln>
                <a:noFill/>
              </a:ln>
            </p:spPr>
          </p:pic>
          <p:sp>
            <p:nvSpPr>
              <p:cNvPr id="300" name="Freeform 14"/>
              <p:cNvSpPr>
                <a:spLocks noEditPoints="1"/>
              </p:cNvSpPr>
              <p:nvPr/>
            </p:nvSpPr>
            <p:spPr bwMode="black">
              <a:xfrm>
                <a:off x="4696500" y="2297546"/>
                <a:ext cx="187261" cy="199336"/>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chemeClr val="bg1">
                  <a:lumMod val="50000"/>
                </a:schemeClr>
              </a:solidFill>
              <a:ln w="10795" cap="flat" cmpd="sng" algn="ctr">
                <a:noFill/>
                <a:prstDash val="solid"/>
                <a:headEnd type="none" w="med" len="med"/>
                <a:tailEnd type="none" w="med" len="med"/>
              </a:ln>
              <a:effectLst/>
            </p:spPr>
            <p:txBody>
              <a:bodyPr lIns="109678" tIns="54840" rIns="109678" bIns="54840" anchor="ctr"/>
              <a:lstStyle/>
              <a:p>
                <a:pPr defTabSz="987110">
                  <a:defRPr/>
                </a:pPr>
                <a:endParaRPr lang="en-US" sz="2398" kern="0" dirty="0">
                  <a:solidFill>
                    <a:srgbClr val="505050"/>
                  </a:solidFill>
                  <a:latin typeface="Segoe Light" pitchFamily="34" charset="0"/>
                </a:endParaRPr>
              </a:p>
            </p:txBody>
          </p:sp>
          <p:pic>
            <p:nvPicPr>
              <p:cNvPr id="301" name="Picture 300"/>
              <p:cNvPicPr>
                <a:picLocks noChangeAspect="1"/>
              </p:cNvPicPr>
              <p:nvPr/>
            </p:nvPicPr>
            <p:blipFill>
              <a:blip r:embed="rId4" cstate="screen">
                <a:duotone>
                  <a:prstClr val="black"/>
                  <a:schemeClr val="accent5">
                    <a:tint val="45000"/>
                    <a:satMod val="400000"/>
                  </a:schemeClr>
                </a:duotone>
                <a:extLst>
                  <a:ext uri="{BEBA8EAE-BF5A-486C-A8C5-ECC9F3942E4B}">
                    <a14:imgProps xmlns:a14="http://schemas.microsoft.com/office/drawing/2010/main">
                      <a14:imgLayer r:embed="rId5">
                        <a14:imgEffect>
                          <a14:brightnessContrast bright="-20000" contrast="-20000"/>
                        </a14:imgEffect>
                      </a14:imgLayer>
                    </a14:imgProps>
                  </a:ext>
                  <a:ext uri="{28A0092B-C50C-407E-A947-70E740481C1C}">
                    <a14:useLocalDpi xmlns:a14="http://schemas.microsoft.com/office/drawing/2010/main"/>
                  </a:ext>
                </a:extLst>
              </a:blip>
              <a:stretch>
                <a:fillRect/>
              </a:stretch>
            </p:blipFill>
            <p:spPr bwMode="auto">
              <a:xfrm>
                <a:off x="4977252" y="2462284"/>
                <a:ext cx="157603" cy="181015"/>
              </a:xfrm>
              <a:prstGeom prst="rect">
                <a:avLst/>
              </a:prstGeom>
            </p:spPr>
          </p:pic>
          <p:sp>
            <p:nvSpPr>
              <p:cNvPr id="302" name="Freeform 13"/>
              <p:cNvSpPr>
                <a:spLocks noEditPoints="1"/>
              </p:cNvSpPr>
              <p:nvPr/>
            </p:nvSpPr>
            <p:spPr bwMode="black">
              <a:xfrm>
                <a:off x="3646568" y="2632177"/>
                <a:ext cx="273843" cy="233566"/>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lumMod val="50000"/>
                </a:schemeClr>
              </a:solidFill>
              <a:ln w="10795" cap="flat" cmpd="sng" algn="ctr">
                <a:noFill/>
                <a:prstDash val="solid"/>
                <a:headEnd type="none" w="med" len="med"/>
                <a:tailEnd type="none" w="med" len="med"/>
              </a:ln>
              <a:effectLst/>
            </p:spPr>
            <p:txBody>
              <a:bodyPr lIns="82281" tIns="41140" rIns="82281" bIns="41140" anchor="ctr"/>
              <a:lstStyle/>
              <a:p>
                <a:pPr defTabSz="740518">
                  <a:defRPr/>
                </a:pPr>
                <a:endParaRPr lang="en-US" sz="1799" kern="0" dirty="0">
                  <a:solidFill>
                    <a:srgbClr val="505050"/>
                  </a:solidFill>
                  <a:latin typeface="Segoe Light" pitchFamily="34" charset="0"/>
                </a:endParaRPr>
              </a:p>
            </p:txBody>
          </p:sp>
          <p:sp>
            <p:nvSpPr>
              <p:cNvPr id="303" name="Freeform 302"/>
              <p:cNvSpPr>
                <a:spLocks/>
              </p:cNvSpPr>
              <p:nvPr/>
            </p:nvSpPr>
            <p:spPr bwMode="black">
              <a:xfrm>
                <a:off x="4152839" y="2924872"/>
                <a:ext cx="199340" cy="199336"/>
              </a:xfrm>
              <a:custGeom>
                <a:avLst/>
                <a:gdLst>
                  <a:gd name="connsiteX0" fmla="*/ 276253 w 393142"/>
                  <a:gd name="connsiteY0" fmla="*/ 48406 h 393039"/>
                  <a:gd name="connsiteX1" fmla="*/ 213366 w 393142"/>
                  <a:gd name="connsiteY1" fmla="*/ 111283 h 393039"/>
                  <a:gd name="connsiteX2" fmla="*/ 213366 w 393142"/>
                  <a:gd name="connsiteY2" fmla="*/ 143229 h 393039"/>
                  <a:gd name="connsiteX3" fmla="*/ 168230 w 393142"/>
                  <a:gd name="connsiteY3" fmla="*/ 143229 h 393039"/>
                  <a:gd name="connsiteX4" fmla="*/ 168230 w 393142"/>
                  <a:gd name="connsiteY4" fmla="*/ 196725 h 393039"/>
                  <a:gd name="connsiteX5" fmla="*/ 213366 w 393142"/>
                  <a:gd name="connsiteY5" fmla="*/ 196725 h 393039"/>
                  <a:gd name="connsiteX6" fmla="*/ 213366 w 393142"/>
                  <a:gd name="connsiteY6" fmla="*/ 361270 h 393039"/>
                  <a:gd name="connsiteX7" fmla="*/ 283606 w 393142"/>
                  <a:gd name="connsiteY7" fmla="*/ 361270 h 393039"/>
                  <a:gd name="connsiteX8" fmla="*/ 283606 w 393142"/>
                  <a:gd name="connsiteY8" fmla="*/ 196725 h 393039"/>
                  <a:gd name="connsiteX9" fmla="*/ 333560 w 393142"/>
                  <a:gd name="connsiteY9" fmla="*/ 196725 h 393039"/>
                  <a:gd name="connsiteX10" fmla="*/ 333560 w 393142"/>
                  <a:gd name="connsiteY10" fmla="*/ 143229 h 393039"/>
                  <a:gd name="connsiteX11" fmla="*/ 283606 w 393142"/>
                  <a:gd name="connsiteY11" fmla="*/ 143229 h 393039"/>
                  <a:gd name="connsiteX12" fmla="*/ 283606 w 393142"/>
                  <a:gd name="connsiteY12" fmla="*/ 125481 h 393039"/>
                  <a:gd name="connsiteX13" fmla="*/ 307189 w 393142"/>
                  <a:gd name="connsiteY13" fmla="*/ 101902 h 393039"/>
                  <a:gd name="connsiteX14" fmla="*/ 333560 w 393142"/>
                  <a:gd name="connsiteY14" fmla="*/ 101902 h 393039"/>
                  <a:gd name="connsiteX15" fmla="*/ 333560 w 393142"/>
                  <a:gd name="connsiteY15" fmla="*/ 48406 h 393039"/>
                  <a:gd name="connsiteX16" fmla="*/ 276253 w 393142"/>
                  <a:gd name="connsiteY16" fmla="*/ 48406 h 393039"/>
                  <a:gd name="connsiteX17" fmla="*/ 70512 w 393142"/>
                  <a:gd name="connsiteY17" fmla="*/ 0 h 393039"/>
                  <a:gd name="connsiteX18" fmla="*/ 322630 w 393142"/>
                  <a:gd name="connsiteY18" fmla="*/ 0 h 393039"/>
                  <a:gd name="connsiteX19" fmla="*/ 393142 w 393142"/>
                  <a:gd name="connsiteY19" fmla="*/ 70494 h 393039"/>
                  <a:gd name="connsiteX20" fmla="*/ 393142 w 393142"/>
                  <a:gd name="connsiteY20" fmla="*/ 322546 h 393039"/>
                  <a:gd name="connsiteX21" fmla="*/ 322630 w 393142"/>
                  <a:gd name="connsiteY21" fmla="*/ 393039 h 393039"/>
                  <a:gd name="connsiteX22" fmla="*/ 70512 w 393142"/>
                  <a:gd name="connsiteY22" fmla="*/ 393039 h 393039"/>
                  <a:gd name="connsiteX23" fmla="*/ 0 w 393142"/>
                  <a:gd name="connsiteY23" fmla="*/ 322546 h 393039"/>
                  <a:gd name="connsiteX24" fmla="*/ 0 w 393142"/>
                  <a:gd name="connsiteY24" fmla="*/ 70494 h 393039"/>
                  <a:gd name="connsiteX25" fmla="*/ 70512 w 393142"/>
                  <a:gd name="connsiteY25" fmla="*/ 0 h 393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93142" h="393039">
                    <a:moveTo>
                      <a:pt x="276253" y="48406"/>
                    </a:moveTo>
                    <a:cubicBezTo>
                      <a:pt x="241513" y="48406"/>
                      <a:pt x="213366" y="76549"/>
                      <a:pt x="213366" y="111283"/>
                    </a:cubicBezTo>
                    <a:cubicBezTo>
                      <a:pt x="213366" y="143229"/>
                      <a:pt x="213366" y="143229"/>
                      <a:pt x="213366" y="143229"/>
                    </a:cubicBezTo>
                    <a:cubicBezTo>
                      <a:pt x="168230" y="143229"/>
                      <a:pt x="168230" y="143229"/>
                      <a:pt x="168230" y="143229"/>
                    </a:cubicBezTo>
                    <a:cubicBezTo>
                      <a:pt x="168230" y="196725"/>
                      <a:pt x="168230" y="196725"/>
                      <a:pt x="168230" y="196725"/>
                    </a:cubicBezTo>
                    <a:cubicBezTo>
                      <a:pt x="213366" y="196725"/>
                      <a:pt x="213366" y="196725"/>
                      <a:pt x="213366" y="196725"/>
                    </a:cubicBezTo>
                    <a:cubicBezTo>
                      <a:pt x="213366" y="361270"/>
                      <a:pt x="213366" y="361270"/>
                      <a:pt x="213366" y="361270"/>
                    </a:cubicBezTo>
                    <a:cubicBezTo>
                      <a:pt x="283606" y="361270"/>
                      <a:pt x="283606" y="361270"/>
                      <a:pt x="283606" y="361270"/>
                    </a:cubicBezTo>
                    <a:cubicBezTo>
                      <a:pt x="283606" y="196725"/>
                      <a:pt x="283606" y="196725"/>
                      <a:pt x="283606" y="196725"/>
                    </a:cubicBezTo>
                    <a:cubicBezTo>
                      <a:pt x="333560" y="196725"/>
                      <a:pt x="333560" y="196725"/>
                      <a:pt x="333560" y="196725"/>
                    </a:cubicBezTo>
                    <a:cubicBezTo>
                      <a:pt x="333560" y="143229"/>
                      <a:pt x="333560" y="143229"/>
                      <a:pt x="333560" y="143229"/>
                    </a:cubicBezTo>
                    <a:cubicBezTo>
                      <a:pt x="283606" y="143229"/>
                      <a:pt x="283606" y="143229"/>
                      <a:pt x="283606" y="143229"/>
                    </a:cubicBezTo>
                    <a:cubicBezTo>
                      <a:pt x="283606" y="125481"/>
                      <a:pt x="283606" y="125481"/>
                      <a:pt x="283606" y="125481"/>
                    </a:cubicBezTo>
                    <a:cubicBezTo>
                      <a:pt x="283606" y="112297"/>
                      <a:pt x="294003" y="101902"/>
                      <a:pt x="307189" y="101902"/>
                    </a:cubicBezTo>
                    <a:cubicBezTo>
                      <a:pt x="333560" y="101902"/>
                      <a:pt x="333560" y="101902"/>
                      <a:pt x="333560" y="101902"/>
                    </a:cubicBezTo>
                    <a:cubicBezTo>
                      <a:pt x="333560" y="48406"/>
                      <a:pt x="333560" y="48406"/>
                      <a:pt x="333560" y="48406"/>
                    </a:cubicBezTo>
                    <a:cubicBezTo>
                      <a:pt x="276253" y="48406"/>
                      <a:pt x="276253" y="48406"/>
                      <a:pt x="276253" y="48406"/>
                    </a:cubicBezTo>
                    <a:close/>
                    <a:moveTo>
                      <a:pt x="70512" y="0"/>
                    </a:moveTo>
                    <a:cubicBezTo>
                      <a:pt x="70512" y="0"/>
                      <a:pt x="70512" y="0"/>
                      <a:pt x="322630" y="0"/>
                    </a:cubicBezTo>
                    <a:cubicBezTo>
                      <a:pt x="361437" y="0"/>
                      <a:pt x="393142" y="31697"/>
                      <a:pt x="393142" y="70494"/>
                    </a:cubicBezTo>
                    <a:cubicBezTo>
                      <a:pt x="393142" y="70494"/>
                      <a:pt x="393142" y="70494"/>
                      <a:pt x="393142" y="322546"/>
                    </a:cubicBezTo>
                    <a:cubicBezTo>
                      <a:pt x="393142" y="361342"/>
                      <a:pt x="361437" y="393039"/>
                      <a:pt x="322630" y="393039"/>
                    </a:cubicBezTo>
                    <a:cubicBezTo>
                      <a:pt x="322630" y="393039"/>
                      <a:pt x="322630" y="393039"/>
                      <a:pt x="70512" y="393039"/>
                    </a:cubicBezTo>
                    <a:cubicBezTo>
                      <a:pt x="31705" y="393039"/>
                      <a:pt x="0" y="361342"/>
                      <a:pt x="0" y="322546"/>
                    </a:cubicBezTo>
                    <a:cubicBezTo>
                      <a:pt x="0" y="322546"/>
                      <a:pt x="0" y="322546"/>
                      <a:pt x="0" y="70494"/>
                    </a:cubicBezTo>
                    <a:cubicBezTo>
                      <a:pt x="0" y="31697"/>
                      <a:pt x="31705" y="0"/>
                      <a:pt x="70512" y="0"/>
                    </a:cubicBezTo>
                    <a:close/>
                  </a:path>
                </a:pathLst>
              </a:custGeom>
              <a:solidFill>
                <a:schemeClr val="bg1">
                  <a:lumMod val="50000"/>
                </a:schemeClr>
              </a:solidFill>
              <a:ln w="10795" cap="flat" cmpd="sng" algn="ctr">
                <a:noFill/>
                <a:prstDash val="solid"/>
                <a:headEnd type="none" w="med" len="med"/>
                <a:tailEnd type="none" w="med" len="med"/>
              </a:ln>
              <a:effectLst/>
              <a:extLst/>
            </p:spPr>
            <p:txBody>
              <a:bodyPr lIns="91412" tIns="45706" rIns="91412" bIns="45706" anchor="ctr"/>
              <a:lstStyle/>
              <a:p>
                <a:pPr defTabSz="740518">
                  <a:defRPr/>
                </a:pPr>
                <a:endParaRPr lang="en-US" sz="1799" kern="0" dirty="0">
                  <a:solidFill>
                    <a:srgbClr val="505050"/>
                  </a:solidFill>
                  <a:latin typeface="Segoe Light" pitchFamily="34" charset="0"/>
                </a:endParaRPr>
              </a:p>
            </p:txBody>
          </p:sp>
          <p:sp>
            <p:nvSpPr>
              <p:cNvPr id="304" name="Freeform 303"/>
              <p:cNvSpPr>
                <a:spLocks/>
              </p:cNvSpPr>
              <p:nvPr/>
            </p:nvSpPr>
            <p:spPr bwMode="black">
              <a:xfrm>
                <a:off x="4559485" y="3225823"/>
                <a:ext cx="195314" cy="195308"/>
              </a:xfrm>
              <a:custGeom>
                <a:avLst/>
                <a:gdLst/>
                <a:ahLst/>
                <a:cxnLst/>
                <a:rect l="l" t="t" r="r" b="b"/>
                <a:pathLst>
                  <a:path w="393142" h="393039">
                    <a:moveTo>
                      <a:pt x="81679" y="184317"/>
                    </a:moveTo>
                    <a:lnTo>
                      <a:pt x="81679" y="344009"/>
                    </a:lnTo>
                    <a:lnTo>
                      <a:pt x="138295" y="344009"/>
                    </a:lnTo>
                    <a:lnTo>
                      <a:pt x="138295" y="184317"/>
                    </a:lnTo>
                    <a:close/>
                    <a:moveTo>
                      <a:pt x="285263" y="180875"/>
                    </a:moveTo>
                    <a:cubicBezTo>
                      <a:pt x="271861" y="180875"/>
                      <a:pt x="260692" y="183399"/>
                      <a:pt x="251758" y="188447"/>
                    </a:cubicBezTo>
                    <a:cubicBezTo>
                      <a:pt x="246259" y="191544"/>
                      <a:pt x="240245" y="196879"/>
                      <a:pt x="233717" y="204450"/>
                    </a:cubicBezTo>
                    <a:lnTo>
                      <a:pt x="233717" y="184317"/>
                    </a:lnTo>
                    <a:lnTo>
                      <a:pt x="177101" y="184317"/>
                    </a:lnTo>
                    <a:lnTo>
                      <a:pt x="177101" y="344009"/>
                    </a:lnTo>
                    <a:lnTo>
                      <a:pt x="233717" y="344009"/>
                    </a:lnTo>
                    <a:lnTo>
                      <a:pt x="233717" y="258484"/>
                    </a:lnTo>
                    <a:cubicBezTo>
                      <a:pt x="233717" y="247299"/>
                      <a:pt x="236339" y="239081"/>
                      <a:pt x="241584" y="233831"/>
                    </a:cubicBezTo>
                    <a:cubicBezTo>
                      <a:pt x="247399" y="228010"/>
                      <a:pt x="254582" y="225100"/>
                      <a:pt x="263132" y="225100"/>
                    </a:cubicBezTo>
                    <a:cubicBezTo>
                      <a:pt x="272480" y="225100"/>
                      <a:pt x="279491" y="228480"/>
                      <a:pt x="284166" y="235240"/>
                    </a:cubicBezTo>
                    <a:cubicBezTo>
                      <a:pt x="287359" y="239821"/>
                      <a:pt x="288955" y="249157"/>
                      <a:pt x="288955" y="263246"/>
                    </a:cubicBezTo>
                    <a:lnTo>
                      <a:pt x="288955" y="344009"/>
                    </a:lnTo>
                    <a:lnTo>
                      <a:pt x="345570" y="344009"/>
                    </a:lnTo>
                    <a:lnTo>
                      <a:pt x="345570" y="242308"/>
                    </a:lnTo>
                    <a:cubicBezTo>
                      <a:pt x="345570" y="221200"/>
                      <a:pt x="339443" y="205368"/>
                      <a:pt x="327187" y="194814"/>
                    </a:cubicBezTo>
                    <a:cubicBezTo>
                      <a:pt x="316419" y="185521"/>
                      <a:pt x="302445" y="180875"/>
                      <a:pt x="285263" y="180875"/>
                    </a:cubicBezTo>
                    <a:close/>
                    <a:moveTo>
                      <a:pt x="109987" y="91392"/>
                    </a:moveTo>
                    <a:cubicBezTo>
                      <a:pt x="101177" y="91392"/>
                      <a:pt x="93711" y="94452"/>
                      <a:pt x="87591" y="100573"/>
                    </a:cubicBezTo>
                    <a:cubicBezTo>
                      <a:pt x="81470" y="106693"/>
                      <a:pt x="78410" y="114159"/>
                      <a:pt x="78410" y="122969"/>
                    </a:cubicBezTo>
                    <a:cubicBezTo>
                      <a:pt x="78410" y="131779"/>
                      <a:pt x="81470" y="139274"/>
                      <a:pt x="87591" y="145451"/>
                    </a:cubicBezTo>
                    <a:cubicBezTo>
                      <a:pt x="93711" y="151629"/>
                      <a:pt x="101177" y="154718"/>
                      <a:pt x="109987" y="154718"/>
                    </a:cubicBezTo>
                    <a:cubicBezTo>
                      <a:pt x="118912" y="154718"/>
                      <a:pt x="126435" y="151658"/>
                      <a:pt x="132555" y="145537"/>
                    </a:cubicBezTo>
                    <a:cubicBezTo>
                      <a:pt x="138676" y="139417"/>
                      <a:pt x="141736" y="131894"/>
                      <a:pt x="141736" y="122969"/>
                    </a:cubicBezTo>
                    <a:cubicBezTo>
                      <a:pt x="141736" y="114159"/>
                      <a:pt x="138647" y="106693"/>
                      <a:pt x="132469" y="100573"/>
                    </a:cubicBezTo>
                    <a:cubicBezTo>
                      <a:pt x="126291" y="94452"/>
                      <a:pt x="118797" y="91392"/>
                      <a:pt x="109987" y="91392"/>
                    </a:cubicBezTo>
                    <a:close/>
                    <a:moveTo>
                      <a:pt x="70512" y="0"/>
                    </a:moveTo>
                    <a:cubicBezTo>
                      <a:pt x="70512" y="0"/>
                      <a:pt x="70512" y="0"/>
                      <a:pt x="322630" y="0"/>
                    </a:cubicBezTo>
                    <a:cubicBezTo>
                      <a:pt x="361437" y="0"/>
                      <a:pt x="393142" y="31697"/>
                      <a:pt x="393142" y="70494"/>
                    </a:cubicBezTo>
                    <a:cubicBezTo>
                      <a:pt x="393142" y="70494"/>
                      <a:pt x="393142" y="70494"/>
                      <a:pt x="393142" y="322546"/>
                    </a:cubicBezTo>
                    <a:cubicBezTo>
                      <a:pt x="393142" y="361342"/>
                      <a:pt x="361437" y="393039"/>
                      <a:pt x="322630" y="393039"/>
                    </a:cubicBezTo>
                    <a:cubicBezTo>
                      <a:pt x="322630" y="393039"/>
                      <a:pt x="322630" y="393039"/>
                      <a:pt x="70512" y="393039"/>
                    </a:cubicBezTo>
                    <a:cubicBezTo>
                      <a:pt x="31705" y="393039"/>
                      <a:pt x="0" y="361342"/>
                      <a:pt x="0" y="322546"/>
                    </a:cubicBezTo>
                    <a:cubicBezTo>
                      <a:pt x="0" y="322546"/>
                      <a:pt x="0" y="322546"/>
                      <a:pt x="0" y="70494"/>
                    </a:cubicBezTo>
                    <a:cubicBezTo>
                      <a:pt x="0" y="31697"/>
                      <a:pt x="31705" y="0"/>
                      <a:pt x="70512" y="0"/>
                    </a:cubicBezTo>
                    <a:close/>
                  </a:path>
                </a:pathLst>
              </a:custGeom>
              <a:solidFill>
                <a:schemeClr val="bg1">
                  <a:lumMod val="50000"/>
                </a:schemeClr>
              </a:solidFill>
              <a:ln w="10795" cap="flat" cmpd="sng" algn="ctr">
                <a:noFill/>
                <a:prstDash val="solid"/>
                <a:headEnd type="none" w="med" len="med"/>
                <a:tailEnd type="none" w="med" len="med"/>
              </a:ln>
              <a:effectLst/>
              <a:extLst/>
            </p:spPr>
            <p:txBody>
              <a:bodyPr lIns="91412" tIns="45706" rIns="91412" bIns="45706" anchor="ctr"/>
              <a:lstStyle/>
              <a:p>
                <a:pPr defTabSz="740518">
                  <a:defRPr/>
                </a:pPr>
                <a:endParaRPr lang="en-US" sz="1799" kern="0" dirty="0">
                  <a:solidFill>
                    <a:srgbClr val="505050"/>
                  </a:solidFill>
                  <a:latin typeface="Segoe Light" pitchFamily="34" charset="0"/>
                </a:endParaRPr>
              </a:p>
            </p:txBody>
          </p:sp>
          <p:sp>
            <p:nvSpPr>
              <p:cNvPr id="305" name="Trapezoid 86"/>
              <p:cNvSpPr/>
              <p:nvPr/>
            </p:nvSpPr>
            <p:spPr>
              <a:xfrm rot="16200000">
                <a:off x="3926391" y="2322063"/>
                <a:ext cx="214998" cy="224675"/>
              </a:xfrm>
              <a:custGeom>
                <a:avLst/>
                <a:gdLst/>
                <a:ahLst/>
                <a:cxnLst/>
                <a:rect l="l" t="t" r="r" b="b"/>
                <a:pathLst>
                  <a:path w="2026419" h="2117634">
                    <a:moveTo>
                      <a:pt x="683394" y="1357221"/>
                    </a:moveTo>
                    <a:cubicBezTo>
                      <a:pt x="683394" y="1472952"/>
                      <a:pt x="589575" y="1566771"/>
                      <a:pt x="473844" y="1566771"/>
                    </a:cubicBezTo>
                    <a:cubicBezTo>
                      <a:pt x="358113" y="1566771"/>
                      <a:pt x="264294" y="1472952"/>
                      <a:pt x="264294" y="1357221"/>
                    </a:cubicBezTo>
                    <a:cubicBezTo>
                      <a:pt x="264294" y="1241490"/>
                      <a:pt x="358113" y="1147671"/>
                      <a:pt x="473844" y="1147671"/>
                    </a:cubicBezTo>
                    <a:cubicBezTo>
                      <a:pt x="589575" y="1147671"/>
                      <a:pt x="683394" y="1241490"/>
                      <a:pt x="683394" y="1357221"/>
                    </a:cubicBezTo>
                    <a:close/>
                    <a:moveTo>
                      <a:pt x="794521" y="1772403"/>
                    </a:moveTo>
                    <a:cubicBezTo>
                      <a:pt x="775533" y="1803019"/>
                      <a:pt x="763564" y="1838106"/>
                      <a:pt x="760480" y="1875663"/>
                    </a:cubicBezTo>
                    <a:cubicBezTo>
                      <a:pt x="654054" y="1822066"/>
                      <a:pt x="568072" y="1734443"/>
                      <a:pt x="516913" y="1626725"/>
                    </a:cubicBezTo>
                    <a:cubicBezTo>
                      <a:pt x="554560" y="1621730"/>
                      <a:pt x="589522" y="1608175"/>
                      <a:pt x="619969" y="1588089"/>
                    </a:cubicBezTo>
                    <a:cubicBezTo>
                      <a:pt x="656986" y="1666600"/>
                      <a:pt x="718716" y="1730458"/>
                      <a:pt x="794521" y="1772403"/>
                    </a:cubicBezTo>
                    <a:close/>
                    <a:moveTo>
                      <a:pt x="1240606" y="1908084"/>
                    </a:moveTo>
                    <a:cubicBezTo>
                      <a:pt x="1240606" y="2023815"/>
                      <a:pt x="1146787" y="2117634"/>
                      <a:pt x="1031056" y="2117634"/>
                    </a:cubicBezTo>
                    <a:cubicBezTo>
                      <a:pt x="915325" y="2117634"/>
                      <a:pt x="821506" y="2023815"/>
                      <a:pt x="821506" y="1908084"/>
                    </a:cubicBezTo>
                    <a:cubicBezTo>
                      <a:pt x="821506" y="1792353"/>
                      <a:pt x="915325" y="1698534"/>
                      <a:pt x="1031056" y="1698534"/>
                    </a:cubicBezTo>
                    <a:cubicBezTo>
                      <a:pt x="1146787" y="1698534"/>
                      <a:pt x="1240606" y="1792353"/>
                      <a:pt x="1240606" y="1908084"/>
                    </a:cubicBezTo>
                    <a:close/>
                    <a:moveTo>
                      <a:pt x="1373359" y="613050"/>
                    </a:moveTo>
                    <a:cubicBezTo>
                      <a:pt x="1373781" y="592439"/>
                      <a:pt x="1371525" y="580084"/>
                      <a:pt x="1366588" y="548121"/>
                    </a:cubicBezTo>
                    <a:cubicBezTo>
                      <a:pt x="1346003" y="461219"/>
                      <a:pt x="1278868" y="410011"/>
                      <a:pt x="1201868" y="402221"/>
                    </a:cubicBezTo>
                    <a:cubicBezTo>
                      <a:pt x="931351" y="360536"/>
                      <a:pt x="985455" y="670197"/>
                      <a:pt x="854062" y="652331"/>
                    </a:cubicBezTo>
                    <a:cubicBezTo>
                      <a:pt x="735550" y="625534"/>
                      <a:pt x="783213" y="491547"/>
                      <a:pt x="823146" y="420087"/>
                    </a:cubicBezTo>
                    <a:lnTo>
                      <a:pt x="695617" y="393290"/>
                    </a:lnTo>
                    <a:cubicBezTo>
                      <a:pt x="669255" y="453845"/>
                      <a:pt x="655521" y="504886"/>
                      <a:pt x="653658" y="548121"/>
                    </a:cubicBezTo>
                    <a:cubicBezTo>
                      <a:pt x="652750" y="592572"/>
                      <a:pt x="651843" y="592994"/>
                      <a:pt x="658078" y="637445"/>
                    </a:cubicBezTo>
                    <a:cubicBezTo>
                      <a:pt x="684114" y="745767"/>
                      <a:pt x="788926" y="772909"/>
                      <a:pt x="827010" y="783341"/>
                    </a:cubicBezTo>
                    <a:cubicBezTo>
                      <a:pt x="1076916" y="832967"/>
                      <a:pt x="1075626" y="531247"/>
                      <a:pt x="1182546" y="530254"/>
                    </a:cubicBezTo>
                    <a:cubicBezTo>
                      <a:pt x="1299767" y="545140"/>
                      <a:pt x="1246955" y="694015"/>
                      <a:pt x="1209598" y="735701"/>
                    </a:cubicBezTo>
                    <a:lnTo>
                      <a:pt x="1340990" y="762499"/>
                    </a:lnTo>
                    <a:cubicBezTo>
                      <a:pt x="1359764" y="717009"/>
                      <a:pt x="1370090" y="675238"/>
                      <a:pt x="1372044" y="637445"/>
                    </a:cubicBezTo>
                    <a:cubicBezTo>
                      <a:pt x="1372780" y="627708"/>
                      <a:pt x="1373218" y="619921"/>
                      <a:pt x="1373359" y="613050"/>
                    </a:cubicBezTo>
                    <a:close/>
                    <a:moveTo>
                      <a:pt x="1512939" y="1619251"/>
                    </a:moveTo>
                    <a:cubicBezTo>
                      <a:pt x="1467757" y="1718695"/>
                      <a:pt x="1392941" y="1801540"/>
                      <a:pt x="1299780" y="1857295"/>
                    </a:cubicBezTo>
                    <a:cubicBezTo>
                      <a:pt x="1293356" y="1820868"/>
                      <a:pt x="1279346" y="1787051"/>
                      <a:pt x="1259468" y="1757439"/>
                    </a:cubicBezTo>
                    <a:cubicBezTo>
                      <a:pt x="1328714" y="1711331"/>
                      <a:pt x="1384214" y="1646253"/>
                      <a:pt x="1415932" y="1568433"/>
                    </a:cubicBezTo>
                    <a:cubicBezTo>
                      <a:pt x="1443458" y="1592539"/>
                      <a:pt x="1476496" y="1610117"/>
                      <a:pt x="1512939" y="1619251"/>
                    </a:cubicBezTo>
                    <a:close/>
                    <a:moveTo>
                      <a:pt x="1797819" y="1357221"/>
                    </a:moveTo>
                    <a:cubicBezTo>
                      <a:pt x="1797819" y="1472952"/>
                      <a:pt x="1704000" y="1566771"/>
                      <a:pt x="1588269" y="1566771"/>
                    </a:cubicBezTo>
                    <a:cubicBezTo>
                      <a:pt x="1472538" y="1566771"/>
                      <a:pt x="1378719" y="1472952"/>
                      <a:pt x="1378719" y="1357221"/>
                    </a:cubicBezTo>
                    <a:cubicBezTo>
                      <a:pt x="1378719" y="1241490"/>
                      <a:pt x="1472538" y="1147671"/>
                      <a:pt x="1588269" y="1147671"/>
                    </a:cubicBezTo>
                    <a:cubicBezTo>
                      <a:pt x="1704000" y="1147671"/>
                      <a:pt x="1797819" y="1241490"/>
                      <a:pt x="1797819" y="1357221"/>
                    </a:cubicBezTo>
                    <a:close/>
                    <a:moveTo>
                      <a:pt x="2026419" y="1204820"/>
                    </a:moveTo>
                    <a:lnTo>
                      <a:pt x="1815729" y="1204820"/>
                    </a:lnTo>
                    <a:cubicBezTo>
                      <a:pt x="1766640" y="1131561"/>
                      <a:pt x="1683081" y="1083377"/>
                      <a:pt x="1588269" y="1083377"/>
                    </a:cubicBezTo>
                    <a:cubicBezTo>
                      <a:pt x="1493456" y="1083377"/>
                      <a:pt x="1409898" y="1131561"/>
                      <a:pt x="1360808" y="1204820"/>
                    </a:cubicBezTo>
                    <a:lnTo>
                      <a:pt x="701304" y="1204820"/>
                    </a:lnTo>
                    <a:cubicBezTo>
                      <a:pt x="652215" y="1131561"/>
                      <a:pt x="568656" y="1083377"/>
                      <a:pt x="473844" y="1083377"/>
                    </a:cubicBezTo>
                    <a:cubicBezTo>
                      <a:pt x="379031" y="1083377"/>
                      <a:pt x="295473" y="1131561"/>
                      <a:pt x="246383" y="1204820"/>
                    </a:cubicBezTo>
                    <a:lnTo>
                      <a:pt x="0" y="1204820"/>
                    </a:lnTo>
                    <a:lnTo>
                      <a:pt x="199603" y="0"/>
                    </a:lnTo>
                    <a:lnTo>
                      <a:pt x="1826816" y="0"/>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16" tIns="45708" rIns="91416" bIns="45708"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89">
                  <a:defRPr/>
                </a:pPr>
                <a:endParaRPr lang="en-US" sz="1799" dirty="0">
                  <a:solidFill>
                    <a:srgbClr val="505050"/>
                  </a:solidFill>
                  <a:latin typeface="Segoe UI"/>
                </a:endParaRPr>
              </a:p>
            </p:txBody>
          </p:sp>
          <p:sp>
            <p:nvSpPr>
              <p:cNvPr id="306" name="Freeform 305"/>
              <p:cNvSpPr/>
              <p:nvPr/>
            </p:nvSpPr>
            <p:spPr>
              <a:xfrm>
                <a:off x="4739777" y="2702651"/>
                <a:ext cx="212360" cy="205921"/>
              </a:xfrm>
              <a:custGeom>
                <a:avLst/>
                <a:gdLst>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598424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1358 w 4062047"/>
                  <a:gd name="connsiteY5" fmla="*/ 1576817 h 3938955"/>
                  <a:gd name="connsiteX6" fmla="*/ 2420651 w 4062047"/>
                  <a:gd name="connsiteY6" fmla="*/ 1739087 h 3938955"/>
                  <a:gd name="connsiteX7" fmla="*/ 3241046 w 4062047"/>
                  <a:gd name="connsiteY7" fmla="*/ 1879207 h 3938955"/>
                  <a:gd name="connsiteX8" fmla="*/ 3223454 w 4062047"/>
                  <a:gd name="connsiteY8" fmla="*/ 1598424 h 3938955"/>
                  <a:gd name="connsiteX9" fmla="*/ 3121358 w 4062047"/>
                  <a:gd name="connsiteY9" fmla="*/ 1576817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3739 w 4062047"/>
                  <a:gd name="connsiteY5" fmla="*/ 1610155 h 3938955"/>
                  <a:gd name="connsiteX6" fmla="*/ 2420651 w 4062047"/>
                  <a:gd name="connsiteY6" fmla="*/ 1739087 h 3938955"/>
                  <a:gd name="connsiteX7" fmla="*/ 3241046 w 4062047"/>
                  <a:gd name="connsiteY7" fmla="*/ 1879207 h 3938955"/>
                  <a:gd name="connsiteX8" fmla="*/ 3223454 w 4062047"/>
                  <a:gd name="connsiteY8" fmla="*/ 1598424 h 3938955"/>
                  <a:gd name="connsiteX9" fmla="*/ 3123739 w 4062047"/>
                  <a:gd name="connsiteY9" fmla="*/ 1610155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4214 w 4062047"/>
                  <a:gd name="connsiteY5" fmla="*/ 1610155 h 3938955"/>
                  <a:gd name="connsiteX6" fmla="*/ 2420651 w 4062047"/>
                  <a:gd name="connsiteY6" fmla="*/ 1739087 h 3938955"/>
                  <a:gd name="connsiteX7" fmla="*/ 3241046 w 4062047"/>
                  <a:gd name="connsiteY7" fmla="*/ 1879207 h 3938955"/>
                  <a:gd name="connsiteX8" fmla="*/ 3223454 w 4062047"/>
                  <a:gd name="connsiteY8" fmla="*/ 1598424 h 3938955"/>
                  <a:gd name="connsiteX9" fmla="*/ 3114214 w 4062047"/>
                  <a:gd name="connsiteY9" fmla="*/ 1610155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4214 w 4062047"/>
                  <a:gd name="connsiteY5" fmla="*/ 1610155 h 3938955"/>
                  <a:gd name="connsiteX6" fmla="*/ 2420651 w 4062047"/>
                  <a:gd name="connsiteY6" fmla="*/ 1739087 h 3938955"/>
                  <a:gd name="connsiteX7" fmla="*/ 3241046 w 4062047"/>
                  <a:gd name="connsiteY7" fmla="*/ 1879207 h 3938955"/>
                  <a:gd name="connsiteX8" fmla="*/ 3206785 w 4062047"/>
                  <a:gd name="connsiteY8" fmla="*/ 1600806 h 3938955"/>
                  <a:gd name="connsiteX9" fmla="*/ 3114214 w 4062047"/>
                  <a:gd name="connsiteY9" fmla="*/ 1610155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1832 w 4062047"/>
                  <a:gd name="connsiteY5" fmla="*/ 1605392 h 3938955"/>
                  <a:gd name="connsiteX6" fmla="*/ 2420651 w 4062047"/>
                  <a:gd name="connsiteY6" fmla="*/ 1739087 h 3938955"/>
                  <a:gd name="connsiteX7" fmla="*/ 3241046 w 4062047"/>
                  <a:gd name="connsiteY7" fmla="*/ 1879207 h 3938955"/>
                  <a:gd name="connsiteX8" fmla="*/ 3206785 w 4062047"/>
                  <a:gd name="connsiteY8" fmla="*/ 1600806 h 3938955"/>
                  <a:gd name="connsiteX9" fmla="*/ 3111832 w 4062047"/>
                  <a:gd name="connsiteY9" fmla="*/ 1605392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1832 w 4062047"/>
                  <a:gd name="connsiteY5" fmla="*/ 1605392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3111832 w 4062047"/>
                  <a:gd name="connsiteY9" fmla="*/ 1605392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1832 w 4062047"/>
                  <a:gd name="connsiteY5" fmla="*/ 1605392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3111832 w 4062047"/>
                  <a:gd name="connsiteY9" fmla="*/ 1605392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1832 w 4062047"/>
                  <a:gd name="connsiteY5" fmla="*/ 1605392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3111832 w 4062047"/>
                  <a:gd name="connsiteY9" fmla="*/ 1605392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1832 w 4062047"/>
                  <a:gd name="connsiteY5" fmla="*/ 1605392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3111832 w 4062047"/>
                  <a:gd name="connsiteY9" fmla="*/ 1605392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206785 w 4062047"/>
                  <a:gd name="connsiteY5" fmla="*/ 1603188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2950677 w 4062047"/>
                  <a:gd name="connsiteY9" fmla="*/ 857698 h 3938955"/>
                  <a:gd name="connsiteX10" fmla="*/ 2870505 w 4062047"/>
                  <a:gd name="connsiteY10" fmla="*/ 878864 h 3938955"/>
                  <a:gd name="connsiteX11" fmla="*/ 2227569 w 4062047"/>
                  <a:gd name="connsiteY11" fmla="*/ 1381308 h 3938955"/>
                  <a:gd name="connsiteX12" fmla="*/ 3013380 w 4062047"/>
                  <a:gd name="connsiteY12" fmla="*/ 1093177 h 3938955"/>
                  <a:gd name="connsiteX13" fmla="*/ 2950677 w 4062047"/>
                  <a:gd name="connsiteY13" fmla="*/ 857698 h 3938955"/>
                  <a:gd name="connsiteX14" fmla="*/ 850835 w 4062047"/>
                  <a:gd name="connsiteY14" fmla="*/ 587237 h 3938955"/>
                  <a:gd name="connsiteX15" fmla="*/ 691663 w 4062047"/>
                  <a:gd name="connsiteY15" fmla="*/ 759803 h 3938955"/>
                  <a:gd name="connsiteX16" fmla="*/ 1286976 w 4062047"/>
                  <a:gd name="connsiteY16" fmla="*/ 2250466 h 3938955"/>
                  <a:gd name="connsiteX17" fmla="*/ 1072663 w 4062047"/>
                  <a:gd name="connsiteY17" fmla="*/ 2593366 h 3938955"/>
                  <a:gd name="connsiteX18" fmla="*/ 744051 w 4062047"/>
                  <a:gd name="connsiteY18" fmla="*/ 2731478 h 3938955"/>
                  <a:gd name="connsiteX19" fmla="*/ 1191726 w 4062047"/>
                  <a:gd name="connsiteY19" fmla="*/ 2836253 h 3938955"/>
                  <a:gd name="connsiteX20" fmla="*/ 1696551 w 4062047"/>
                  <a:gd name="connsiteY20" fmla="*/ 2036153 h 3938955"/>
                  <a:gd name="connsiteX21" fmla="*/ 2201376 w 4062047"/>
                  <a:gd name="connsiteY21" fmla="*/ 769328 h 3938955"/>
                  <a:gd name="connsiteX22" fmla="*/ 1929913 w 4062047"/>
                  <a:gd name="connsiteY22" fmla="*/ 683603 h 3938955"/>
                  <a:gd name="connsiteX23" fmla="*/ 1458426 w 4062047"/>
                  <a:gd name="connsiteY23" fmla="*/ 1855178 h 3938955"/>
                  <a:gd name="connsiteX24" fmla="*/ 972651 w 4062047"/>
                  <a:gd name="connsiteY24" fmla="*/ 650266 h 3938955"/>
                  <a:gd name="connsiteX25" fmla="*/ 850835 w 4062047"/>
                  <a:gd name="connsiteY25" fmla="*/ 587237 h 3938955"/>
                  <a:gd name="connsiteX26" fmla="*/ 540732 w 4062047"/>
                  <a:gd name="connsiteY26" fmla="*/ 0 h 3938955"/>
                  <a:gd name="connsiteX27" fmla="*/ 3521315 w 4062047"/>
                  <a:gd name="connsiteY27" fmla="*/ 0 h 3938955"/>
                  <a:gd name="connsiteX28" fmla="*/ 4062047 w 4062047"/>
                  <a:gd name="connsiteY28" fmla="*/ 540731 h 3938955"/>
                  <a:gd name="connsiteX29" fmla="*/ 4062047 w 4062047"/>
                  <a:gd name="connsiteY29" fmla="*/ 2914645 h 3938955"/>
                  <a:gd name="connsiteX30" fmla="*/ 3521315 w 4062047"/>
                  <a:gd name="connsiteY30" fmla="*/ 3455377 h 3938955"/>
                  <a:gd name="connsiteX31" fmla="*/ 1802912 w 4062047"/>
                  <a:gd name="connsiteY31" fmla="*/ 3455377 h 3938955"/>
                  <a:gd name="connsiteX32" fmla="*/ 1075041 w 4062047"/>
                  <a:gd name="connsiteY32" fmla="*/ 3938955 h 3938955"/>
                  <a:gd name="connsiteX33" fmla="*/ 1075041 w 4062047"/>
                  <a:gd name="connsiteY33" fmla="*/ 3455377 h 3938955"/>
                  <a:gd name="connsiteX34" fmla="*/ 540732 w 4062047"/>
                  <a:gd name="connsiteY34" fmla="*/ 3455377 h 3938955"/>
                  <a:gd name="connsiteX35" fmla="*/ 0 w 4062047"/>
                  <a:gd name="connsiteY35" fmla="*/ 2914645 h 3938955"/>
                  <a:gd name="connsiteX36" fmla="*/ 0 w 4062047"/>
                  <a:gd name="connsiteY36" fmla="*/ 540731 h 3938955"/>
                  <a:gd name="connsiteX37" fmla="*/ 540732 w 4062047"/>
                  <a:gd name="connsiteY37"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206785 w 4062047"/>
                  <a:gd name="connsiteY5" fmla="*/ 1603188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2950677 w 4062047"/>
                  <a:gd name="connsiteY9" fmla="*/ 857698 h 3938955"/>
                  <a:gd name="connsiteX10" fmla="*/ 2870505 w 4062047"/>
                  <a:gd name="connsiteY10" fmla="*/ 878864 h 3938955"/>
                  <a:gd name="connsiteX11" fmla="*/ 2227569 w 4062047"/>
                  <a:gd name="connsiteY11" fmla="*/ 1381308 h 3938955"/>
                  <a:gd name="connsiteX12" fmla="*/ 3013380 w 4062047"/>
                  <a:gd name="connsiteY12" fmla="*/ 1093177 h 3938955"/>
                  <a:gd name="connsiteX13" fmla="*/ 2950677 w 4062047"/>
                  <a:gd name="connsiteY13" fmla="*/ 857698 h 3938955"/>
                  <a:gd name="connsiteX14" fmla="*/ 850835 w 4062047"/>
                  <a:gd name="connsiteY14" fmla="*/ 587237 h 3938955"/>
                  <a:gd name="connsiteX15" fmla="*/ 691663 w 4062047"/>
                  <a:gd name="connsiteY15" fmla="*/ 759803 h 3938955"/>
                  <a:gd name="connsiteX16" fmla="*/ 1286976 w 4062047"/>
                  <a:gd name="connsiteY16" fmla="*/ 2250466 h 3938955"/>
                  <a:gd name="connsiteX17" fmla="*/ 1072663 w 4062047"/>
                  <a:gd name="connsiteY17" fmla="*/ 2593366 h 3938955"/>
                  <a:gd name="connsiteX18" fmla="*/ 744051 w 4062047"/>
                  <a:gd name="connsiteY18" fmla="*/ 2731478 h 3938955"/>
                  <a:gd name="connsiteX19" fmla="*/ 1191726 w 4062047"/>
                  <a:gd name="connsiteY19" fmla="*/ 2836253 h 3938955"/>
                  <a:gd name="connsiteX20" fmla="*/ 1696551 w 4062047"/>
                  <a:gd name="connsiteY20" fmla="*/ 2036153 h 3938955"/>
                  <a:gd name="connsiteX21" fmla="*/ 2201376 w 4062047"/>
                  <a:gd name="connsiteY21" fmla="*/ 769328 h 3938955"/>
                  <a:gd name="connsiteX22" fmla="*/ 1929913 w 4062047"/>
                  <a:gd name="connsiteY22" fmla="*/ 683603 h 3938955"/>
                  <a:gd name="connsiteX23" fmla="*/ 1458426 w 4062047"/>
                  <a:gd name="connsiteY23" fmla="*/ 1855178 h 3938955"/>
                  <a:gd name="connsiteX24" fmla="*/ 972651 w 4062047"/>
                  <a:gd name="connsiteY24" fmla="*/ 650266 h 3938955"/>
                  <a:gd name="connsiteX25" fmla="*/ 850835 w 4062047"/>
                  <a:gd name="connsiteY25" fmla="*/ 587237 h 3938955"/>
                  <a:gd name="connsiteX26" fmla="*/ 540732 w 4062047"/>
                  <a:gd name="connsiteY26" fmla="*/ 0 h 3938955"/>
                  <a:gd name="connsiteX27" fmla="*/ 3521315 w 4062047"/>
                  <a:gd name="connsiteY27" fmla="*/ 0 h 3938955"/>
                  <a:gd name="connsiteX28" fmla="*/ 4062047 w 4062047"/>
                  <a:gd name="connsiteY28" fmla="*/ 540731 h 3938955"/>
                  <a:gd name="connsiteX29" fmla="*/ 4062047 w 4062047"/>
                  <a:gd name="connsiteY29" fmla="*/ 2914645 h 3938955"/>
                  <a:gd name="connsiteX30" fmla="*/ 3521315 w 4062047"/>
                  <a:gd name="connsiteY30" fmla="*/ 3455377 h 3938955"/>
                  <a:gd name="connsiteX31" fmla="*/ 1802912 w 4062047"/>
                  <a:gd name="connsiteY31" fmla="*/ 3455377 h 3938955"/>
                  <a:gd name="connsiteX32" fmla="*/ 1075041 w 4062047"/>
                  <a:gd name="connsiteY32" fmla="*/ 3938955 h 3938955"/>
                  <a:gd name="connsiteX33" fmla="*/ 1075041 w 4062047"/>
                  <a:gd name="connsiteY33" fmla="*/ 3455377 h 3938955"/>
                  <a:gd name="connsiteX34" fmla="*/ 540732 w 4062047"/>
                  <a:gd name="connsiteY34" fmla="*/ 3455377 h 3938955"/>
                  <a:gd name="connsiteX35" fmla="*/ 0 w 4062047"/>
                  <a:gd name="connsiteY35" fmla="*/ 2914645 h 3938955"/>
                  <a:gd name="connsiteX36" fmla="*/ 0 w 4062047"/>
                  <a:gd name="connsiteY36" fmla="*/ 540731 h 3938955"/>
                  <a:gd name="connsiteX37" fmla="*/ 540732 w 4062047"/>
                  <a:gd name="connsiteY37"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206785 w 4062047"/>
                  <a:gd name="connsiteY5" fmla="*/ 1603188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2950677 w 4062047"/>
                  <a:gd name="connsiteY9" fmla="*/ 857698 h 3938955"/>
                  <a:gd name="connsiteX10" fmla="*/ 2870505 w 4062047"/>
                  <a:gd name="connsiteY10" fmla="*/ 878864 h 3938955"/>
                  <a:gd name="connsiteX11" fmla="*/ 2227569 w 4062047"/>
                  <a:gd name="connsiteY11" fmla="*/ 1381308 h 3938955"/>
                  <a:gd name="connsiteX12" fmla="*/ 3013380 w 4062047"/>
                  <a:gd name="connsiteY12" fmla="*/ 1093177 h 3938955"/>
                  <a:gd name="connsiteX13" fmla="*/ 2950677 w 4062047"/>
                  <a:gd name="connsiteY13" fmla="*/ 857698 h 3938955"/>
                  <a:gd name="connsiteX14" fmla="*/ 850835 w 4062047"/>
                  <a:gd name="connsiteY14" fmla="*/ 587237 h 3938955"/>
                  <a:gd name="connsiteX15" fmla="*/ 691663 w 4062047"/>
                  <a:gd name="connsiteY15" fmla="*/ 759803 h 3938955"/>
                  <a:gd name="connsiteX16" fmla="*/ 1286976 w 4062047"/>
                  <a:gd name="connsiteY16" fmla="*/ 2250466 h 3938955"/>
                  <a:gd name="connsiteX17" fmla="*/ 1072663 w 4062047"/>
                  <a:gd name="connsiteY17" fmla="*/ 2593366 h 3938955"/>
                  <a:gd name="connsiteX18" fmla="*/ 744051 w 4062047"/>
                  <a:gd name="connsiteY18" fmla="*/ 2731478 h 3938955"/>
                  <a:gd name="connsiteX19" fmla="*/ 1191726 w 4062047"/>
                  <a:gd name="connsiteY19" fmla="*/ 2836253 h 3938955"/>
                  <a:gd name="connsiteX20" fmla="*/ 1696551 w 4062047"/>
                  <a:gd name="connsiteY20" fmla="*/ 2036153 h 3938955"/>
                  <a:gd name="connsiteX21" fmla="*/ 2201376 w 4062047"/>
                  <a:gd name="connsiteY21" fmla="*/ 769328 h 3938955"/>
                  <a:gd name="connsiteX22" fmla="*/ 1929913 w 4062047"/>
                  <a:gd name="connsiteY22" fmla="*/ 683603 h 3938955"/>
                  <a:gd name="connsiteX23" fmla="*/ 1458426 w 4062047"/>
                  <a:gd name="connsiteY23" fmla="*/ 1855178 h 3938955"/>
                  <a:gd name="connsiteX24" fmla="*/ 972651 w 4062047"/>
                  <a:gd name="connsiteY24" fmla="*/ 650266 h 3938955"/>
                  <a:gd name="connsiteX25" fmla="*/ 850835 w 4062047"/>
                  <a:gd name="connsiteY25" fmla="*/ 587237 h 3938955"/>
                  <a:gd name="connsiteX26" fmla="*/ 540732 w 4062047"/>
                  <a:gd name="connsiteY26" fmla="*/ 0 h 3938955"/>
                  <a:gd name="connsiteX27" fmla="*/ 3521315 w 4062047"/>
                  <a:gd name="connsiteY27" fmla="*/ 0 h 3938955"/>
                  <a:gd name="connsiteX28" fmla="*/ 4062047 w 4062047"/>
                  <a:gd name="connsiteY28" fmla="*/ 540731 h 3938955"/>
                  <a:gd name="connsiteX29" fmla="*/ 4062047 w 4062047"/>
                  <a:gd name="connsiteY29" fmla="*/ 2914645 h 3938955"/>
                  <a:gd name="connsiteX30" fmla="*/ 3521315 w 4062047"/>
                  <a:gd name="connsiteY30" fmla="*/ 3455377 h 3938955"/>
                  <a:gd name="connsiteX31" fmla="*/ 1802912 w 4062047"/>
                  <a:gd name="connsiteY31" fmla="*/ 3455377 h 3938955"/>
                  <a:gd name="connsiteX32" fmla="*/ 1075041 w 4062047"/>
                  <a:gd name="connsiteY32" fmla="*/ 3938955 h 3938955"/>
                  <a:gd name="connsiteX33" fmla="*/ 1075041 w 4062047"/>
                  <a:gd name="connsiteY33" fmla="*/ 3455377 h 3938955"/>
                  <a:gd name="connsiteX34" fmla="*/ 540732 w 4062047"/>
                  <a:gd name="connsiteY34" fmla="*/ 3455377 h 3938955"/>
                  <a:gd name="connsiteX35" fmla="*/ 0 w 4062047"/>
                  <a:gd name="connsiteY35" fmla="*/ 2914645 h 3938955"/>
                  <a:gd name="connsiteX36" fmla="*/ 0 w 4062047"/>
                  <a:gd name="connsiteY36" fmla="*/ 540731 h 3938955"/>
                  <a:gd name="connsiteX37" fmla="*/ 540732 w 4062047"/>
                  <a:gd name="connsiteY37" fmla="*/ 0 h 393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62047" h="3938955">
                    <a:moveTo>
                      <a:pt x="2292410" y="2109292"/>
                    </a:moveTo>
                    <a:cubicBezTo>
                      <a:pt x="2268687" y="2107678"/>
                      <a:pt x="2249265" y="2109514"/>
                      <a:pt x="2235381" y="2115515"/>
                    </a:cubicBezTo>
                    <a:cubicBezTo>
                      <a:pt x="2217974" y="2189262"/>
                      <a:pt x="2613445" y="2474616"/>
                      <a:pt x="2889776" y="2637325"/>
                    </a:cubicBezTo>
                    <a:cubicBezTo>
                      <a:pt x="2978370" y="2687082"/>
                      <a:pt x="3175001" y="2558447"/>
                      <a:pt x="2998691" y="2403914"/>
                    </a:cubicBezTo>
                    <a:cubicBezTo>
                      <a:pt x="2835268" y="2300874"/>
                      <a:pt x="2458468" y="2120587"/>
                      <a:pt x="2292410" y="2109292"/>
                    </a:cubicBezTo>
                    <a:close/>
                    <a:moveTo>
                      <a:pt x="3206785" y="1603188"/>
                    </a:moveTo>
                    <a:cubicBezTo>
                      <a:pt x="3072434" y="1591741"/>
                      <a:pt x="2414941" y="1693084"/>
                      <a:pt x="2420651" y="1739087"/>
                    </a:cubicBezTo>
                    <a:cubicBezTo>
                      <a:pt x="2441093" y="1812050"/>
                      <a:pt x="2920489" y="1870481"/>
                      <a:pt x="3241046" y="1879207"/>
                    </a:cubicBezTo>
                    <a:cubicBezTo>
                      <a:pt x="3377656" y="1864033"/>
                      <a:pt x="3431985" y="1611977"/>
                      <a:pt x="3206785" y="1603188"/>
                    </a:cubicBezTo>
                    <a:close/>
                    <a:moveTo>
                      <a:pt x="2950677" y="857698"/>
                    </a:moveTo>
                    <a:cubicBezTo>
                      <a:pt x="2927159" y="860050"/>
                      <a:pt x="2900469" y="866759"/>
                      <a:pt x="2870505" y="878864"/>
                    </a:cubicBezTo>
                    <a:cubicBezTo>
                      <a:pt x="2672862" y="977289"/>
                      <a:pt x="2275194" y="1268596"/>
                      <a:pt x="2227569" y="1381308"/>
                    </a:cubicBezTo>
                    <a:cubicBezTo>
                      <a:pt x="2281544" y="1434489"/>
                      <a:pt x="2730806" y="1244784"/>
                      <a:pt x="3013380" y="1093177"/>
                    </a:cubicBezTo>
                    <a:cubicBezTo>
                      <a:pt x="3117363" y="1016878"/>
                      <a:pt x="3055771" y="876954"/>
                      <a:pt x="2950677" y="857698"/>
                    </a:cubicBezTo>
                    <a:close/>
                    <a:moveTo>
                      <a:pt x="850835" y="587237"/>
                    </a:moveTo>
                    <a:cubicBezTo>
                      <a:pt x="745540" y="573769"/>
                      <a:pt x="690473" y="689557"/>
                      <a:pt x="691663" y="759803"/>
                    </a:cubicBezTo>
                    <a:lnTo>
                      <a:pt x="1286976" y="2250466"/>
                    </a:lnTo>
                    <a:cubicBezTo>
                      <a:pt x="1258401" y="2445728"/>
                      <a:pt x="1167913" y="2564791"/>
                      <a:pt x="1072663" y="2593366"/>
                    </a:cubicBezTo>
                    <a:cubicBezTo>
                      <a:pt x="963126" y="2639403"/>
                      <a:pt x="767864" y="2542565"/>
                      <a:pt x="744051" y="2731478"/>
                    </a:cubicBezTo>
                    <a:cubicBezTo>
                      <a:pt x="759926" y="2890228"/>
                      <a:pt x="947251" y="2896578"/>
                      <a:pt x="1191726" y="2836253"/>
                    </a:cubicBezTo>
                    <a:cubicBezTo>
                      <a:pt x="1426676" y="2750528"/>
                      <a:pt x="1466364" y="2636228"/>
                      <a:pt x="1696551" y="2036153"/>
                    </a:cubicBezTo>
                    <a:lnTo>
                      <a:pt x="2201376" y="769328"/>
                    </a:lnTo>
                    <a:cubicBezTo>
                      <a:pt x="2215663" y="650265"/>
                      <a:pt x="2048976" y="521678"/>
                      <a:pt x="1929913" y="683603"/>
                    </a:cubicBezTo>
                    <a:lnTo>
                      <a:pt x="1458426" y="1855178"/>
                    </a:lnTo>
                    <a:lnTo>
                      <a:pt x="972651" y="650266"/>
                    </a:lnTo>
                    <a:cubicBezTo>
                      <a:pt x="926614" y="610579"/>
                      <a:pt x="885934" y="591727"/>
                      <a:pt x="850835" y="587237"/>
                    </a:cubicBezTo>
                    <a:close/>
                    <a:moveTo>
                      <a:pt x="540732" y="0"/>
                    </a:moveTo>
                    <a:lnTo>
                      <a:pt x="3521315" y="0"/>
                    </a:lnTo>
                    <a:cubicBezTo>
                      <a:pt x="3819953" y="0"/>
                      <a:pt x="4062047" y="242093"/>
                      <a:pt x="4062047" y="540731"/>
                    </a:cubicBezTo>
                    <a:lnTo>
                      <a:pt x="4062047" y="2914645"/>
                    </a:lnTo>
                    <a:cubicBezTo>
                      <a:pt x="4062047" y="3213283"/>
                      <a:pt x="3819953" y="3455377"/>
                      <a:pt x="3521315" y="3455377"/>
                    </a:cubicBezTo>
                    <a:lnTo>
                      <a:pt x="1802912" y="3455377"/>
                    </a:lnTo>
                    <a:lnTo>
                      <a:pt x="1075041" y="3938955"/>
                    </a:lnTo>
                    <a:lnTo>
                      <a:pt x="1075041" y="3455377"/>
                    </a:lnTo>
                    <a:lnTo>
                      <a:pt x="540732" y="3455377"/>
                    </a:lnTo>
                    <a:cubicBezTo>
                      <a:pt x="242094" y="3455377"/>
                      <a:pt x="0" y="3213283"/>
                      <a:pt x="0" y="2914645"/>
                    </a:cubicBezTo>
                    <a:lnTo>
                      <a:pt x="0" y="540731"/>
                    </a:lnTo>
                    <a:cubicBezTo>
                      <a:pt x="0" y="242093"/>
                      <a:pt x="242094" y="0"/>
                      <a:pt x="540732" y="0"/>
                    </a:cubicBez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defRPr/>
                </a:pPr>
                <a:endParaRPr lang="en-US" sz="1799" dirty="0">
                  <a:solidFill>
                    <a:srgbClr val="505050"/>
                  </a:solidFill>
                  <a:latin typeface="Segoe UI"/>
                  <a:ea typeface="Segoe UI" pitchFamily="34" charset="0"/>
                  <a:cs typeface="Segoe UI" pitchFamily="34" charset="0"/>
                </a:endParaRPr>
              </a:p>
            </p:txBody>
          </p:sp>
          <p:sp>
            <p:nvSpPr>
              <p:cNvPr id="307" name="Freeform 306"/>
              <p:cNvSpPr>
                <a:spLocks/>
              </p:cNvSpPr>
              <p:nvPr/>
            </p:nvSpPr>
            <p:spPr bwMode="auto">
              <a:xfrm>
                <a:off x="4790660" y="3040183"/>
                <a:ext cx="179316" cy="173928"/>
              </a:xfrm>
              <a:custGeom>
                <a:avLst/>
                <a:gdLst/>
                <a:ahLst/>
                <a:cxnLst/>
                <a:rect l="l" t="t" r="r" b="b"/>
                <a:pathLst>
                  <a:path w="792162" h="768350">
                    <a:moveTo>
                      <a:pt x="428082" y="239713"/>
                    </a:moveTo>
                    <a:lnTo>
                      <a:pt x="415438" y="240512"/>
                    </a:lnTo>
                    <a:lnTo>
                      <a:pt x="403583" y="242907"/>
                    </a:lnTo>
                    <a:lnTo>
                      <a:pt x="391728" y="248496"/>
                    </a:lnTo>
                    <a:lnTo>
                      <a:pt x="380664" y="254884"/>
                    </a:lnTo>
                    <a:lnTo>
                      <a:pt x="369599" y="264466"/>
                    </a:lnTo>
                    <a:lnTo>
                      <a:pt x="360116" y="274846"/>
                    </a:lnTo>
                    <a:lnTo>
                      <a:pt x="349842" y="288420"/>
                    </a:lnTo>
                    <a:lnTo>
                      <a:pt x="340358" y="303591"/>
                    </a:lnTo>
                    <a:lnTo>
                      <a:pt x="331664" y="319561"/>
                    </a:lnTo>
                    <a:lnTo>
                      <a:pt x="324552" y="334732"/>
                    </a:lnTo>
                    <a:lnTo>
                      <a:pt x="318229" y="350701"/>
                    </a:lnTo>
                    <a:lnTo>
                      <a:pt x="312697" y="366671"/>
                    </a:lnTo>
                    <a:lnTo>
                      <a:pt x="308745" y="381842"/>
                    </a:lnTo>
                    <a:lnTo>
                      <a:pt x="306374" y="397013"/>
                    </a:lnTo>
                    <a:lnTo>
                      <a:pt x="304004" y="412184"/>
                    </a:lnTo>
                    <a:lnTo>
                      <a:pt x="303213" y="427355"/>
                    </a:lnTo>
                    <a:lnTo>
                      <a:pt x="304004" y="444922"/>
                    </a:lnTo>
                    <a:lnTo>
                      <a:pt x="307955" y="459294"/>
                    </a:lnTo>
                    <a:lnTo>
                      <a:pt x="312697" y="472868"/>
                    </a:lnTo>
                    <a:lnTo>
                      <a:pt x="319810" y="484845"/>
                    </a:lnTo>
                    <a:lnTo>
                      <a:pt x="324552" y="490435"/>
                    </a:lnTo>
                    <a:lnTo>
                      <a:pt x="328503" y="495226"/>
                    </a:lnTo>
                    <a:lnTo>
                      <a:pt x="334035" y="499218"/>
                    </a:lnTo>
                    <a:lnTo>
                      <a:pt x="339568" y="502412"/>
                    </a:lnTo>
                    <a:lnTo>
                      <a:pt x="345100" y="505606"/>
                    </a:lnTo>
                    <a:lnTo>
                      <a:pt x="351422" y="506404"/>
                    </a:lnTo>
                    <a:lnTo>
                      <a:pt x="358535" y="508001"/>
                    </a:lnTo>
                    <a:lnTo>
                      <a:pt x="366438" y="508001"/>
                    </a:lnTo>
                    <a:lnTo>
                      <a:pt x="379083" y="507203"/>
                    </a:lnTo>
                    <a:lnTo>
                      <a:pt x="390938" y="502412"/>
                    </a:lnTo>
                    <a:lnTo>
                      <a:pt x="402793" y="496024"/>
                    </a:lnTo>
                    <a:lnTo>
                      <a:pt x="413857" y="488039"/>
                    </a:lnTo>
                    <a:lnTo>
                      <a:pt x="424131" y="476062"/>
                    </a:lnTo>
                    <a:lnTo>
                      <a:pt x="434405" y="462488"/>
                    </a:lnTo>
                    <a:lnTo>
                      <a:pt x="443889" y="445720"/>
                    </a:lnTo>
                    <a:lnTo>
                      <a:pt x="451792" y="427355"/>
                    </a:lnTo>
                    <a:lnTo>
                      <a:pt x="459695" y="407393"/>
                    </a:lnTo>
                    <a:lnTo>
                      <a:pt x="466017" y="389028"/>
                    </a:lnTo>
                    <a:lnTo>
                      <a:pt x="472340" y="372260"/>
                    </a:lnTo>
                    <a:lnTo>
                      <a:pt x="477082" y="355492"/>
                    </a:lnTo>
                    <a:lnTo>
                      <a:pt x="481033" y="340321"/>
                    </a:lnTo>
                    <a:lnTo>
                      <a:pt x="483404" y="325949"/>
                    </a:lnTo>
                    <a:lnTo>
                      <a:pt x="484195" y="313173"/>
                    </a:lnTo>
                    <a:lnTo>
                      <a:pt x="485775" y="301196"/>
                    </a:lnTo>
                    <a:lnTo>
                      <a:pt x="484195" y="288420"/>
                    </a:lnTo>
                    <a:lnTo>
                      <a:pt x="481824" y="277242"/>
                    </a:lnTo>
                    <a:lnTo>
                      <a:pt x="476292" y="266063"/>
                    </a:lnTo>
                    <a:lnTo>
                      <a:pt x="469969" y="256481"/>
                    </a:lnTo>
                    <a:lnTo>
                      <a:pt x="466017" y="253287"/>
                    </a:lnTo>
                    <a:lnTo>
                      <a:pt x="462066" y="249295"/>
                    </a:lnTo>
                    <a:lnTo>
                      <a:pt x="457324" y="246900"/>
                    </a:lnTo>
                    <a:lnTo>
                      <a:pt x="451792" y="243706"/>
                    </a:lnTo>
                    <a:lnTo>
                      <a:pt x="446260" y="242109"/>
                    </a:lnTo>
                    <a:lnTo>
                      <a:pt x="440727" y="240512"/>
                    </a:lnTo>
                    <a:lnTo>
                      <a:pt x="434405" y="239713"/>
                    </a:lnTo>
                    <a:close/>
                    <a:moveTo>
                      <a:pt x="427466" y="0"/>
                    </a:moveTo>
                    <a:lnTo>
                      <a:pt x="446535" y="0"/>
                    </a:lnTo>
                    <a:lnTo>
                      <a:pt x="464809" y="1588"/>
                    </a:lnTo>
                    <a:lnTo>
                      <a:pt x="483084" y="3175"/>
                    </a:lnTo>
                    <a:lnTo>
                      <a:pt x="501359" y="5556"/>
                    </a:lnTo>
                    <a:lnTo>
                      <a:pt x="518839" y="8731"/>
                    </a:lnTo>
                    <a:lnTo>
                      <a:pt x="536319" y="11906"/>
                    </a:lnTo>
                    <a:lnTo>
                      <a:pt x="553004" y="15875"/>
                    </a:lnTo>
                    <a:lnTo>
                      <a:pt x="569689" y="20638"/>
                    </a:lnTo>
                    <a:lnTo>
                      <a:pt x="584786" y="26194"/>
                    </a:lnTo>
                    <a:lnTo>
                      <a:pt x="600677" y="32544"/>
                    </a:lnTo>
                    <a:lnTo>
                      <a:pt x="614979" y="38894"/>
                    </a:lnTo>
                    <a:lnTo>
                      <a:pt x="630075" y="46038"/>
                    </a:lnTo>
                    <a:lnTo>
                      <a:pt x="644377" y="53975"/>
                    </a:lnTo>
                    <a:lnTo>
                      <a:pt x="657884" y="62706"/>
                    </a:lnTo>
                    <a:lnTo>
                      <a:pt x="672186" y="71438"/>
                    </a:lnTo>
                    <a:lnTo>
                      <a:pt x="684899" y="81756"/>
                    </a:lnTo>
                    <a:lnTo>
                      <a:pt x="709529" y="103981"/>
                    </a:lnTo>
                    <a:lnTo>
                      <a:pt x="730982" y="127794"/>
                    </a:lnTo>
                    <a:lnTo>
                      <a:pt x="750051" y="153988"/>
                    </a:lnTo>
                    <a:lnTo>
                      <a:pt x="765148" y="181769"/>
                    </a:lnTo>
                    <a:lnTo>
                      <a:pt x="777066" y="211138"/>
                    </a:lnTo>
                    <a:lnTo>
                      <a:pt x="785011" y="242094"/>
                    </a:lnTo>
                    <a:lnTo>
                      <a:pt x="789779" y="273844"/>
                    </a:lnTo>
                    <a:lnTo>
                      <a:pt x="792162" y="308769"/>
                    </a:lnTo>
                    <a:lnTo>
                      <a:pt x="790573" y="336550"/>
                    </a:lnTo>
                    <a:lnTo>
                      <a:pt x="787395" y="362744"/>
                    </a:lnTo>
                    <a:lnTo>
                      <a:pt x="781833" y="387350"/>
                    </a:lnTo>
                    <a:lnTo>
                      <a:pt x="774682" y="411956"/>
                    </a:lnTo>
                    <a:lnTo>
                      <a:pt x="765148" y="435769"/>
                    </a:lnTo>
                    <a:lnTo>
                      <a:pt x="753229" y="457994"/>
                    </a:lnTo>
                    <a:lnTo>
                      <a:pt x="739722" y="480219"/>
                    </a:lnTo>
                    <a:lnTo>
                      <a:pt x="723037" y="500063"/>
                    </a:lnTo>
                    <a:lnTo>
                      <a:pt x="715091" y="510381"/>
                    </a:lnTo>
                    <a:lnTo>
                      <a:pt x="705557" y="518319"/>
                    </a:lnTo>
                    <a:lnTo>
                      <a:pt x="697611" y="527844"/>
                    </a:lnTo>
                    <a:lnTo>
                      <a:pt x="688077" y="534988"/>
                    </a:lnTo>
                    <a:lnTo>
                      <a:pt x="679337" y="542131"/>
                    </a:lnTo>
                    <a:lnTo>
                      <a:pt x="669802" y="548481"/>
                    </a:lnTo>
                    <a:lnTo>
                      <a:pt x="661062" y="554038"/>
                    </a:lnTo>
                    <a:lnTo>
                      <a:pt x="650733" y="559594"/>
                    </a:lnTo>
                    <a:lnTo>
                      <a:pt x="640404" y="564356"/>
                    </a:lnTo>
                    <a:lnTo>
                      <a:pt x="631664" y="568325"/>
                    </a:lnTo>
                    <a:lnTo>
                      <a:pt x="621335" y="572294"/>
                    </a:lnTo>
                    <a:lnTo>
                      <a:pt x="611800" y="574675"/>
                    </a:lnTo>
                    <a:lnTo>
                      <a:pt x="600677" y="577056"/>
                    </a:lnTo>
                    <a:lnTo>
                      <a:pt x="590348" y="578644"/>
                    </a:lnTo>
                    <a:lnTo>
                      <a:pt x="579224" y="579438"/>
                    </a:lnTo>
                    <a:lnTo>
                      <a:pt x="568100" y="579438"/>
                    </a:lnTo>
                    <a:lnTo>
                      <a:pt x="557771" y="579438"/>
                    </a:lnTo>
                    <a:lnTo>
                      <a:pt x="547442" y="577850"/>
                    </a:lnTo>
                    <a:lnTo>
                      <a:pt x="537113" y="576263"/>
                    </a:lnTo>
                    <a:lnTo>
                      <a:pt x="528373" y="573088"/>
                    </a:lnTo>
                    <a:lnTo>
                      <a:pt x="519633" y="569913"/>
                    </a:lnTo>
                    <a:lnTo>
                      <a:pt x="512482" y="565150"/>
                    </a:lnTo>
                    <a:lnTo>
                      <a:pt x="505331" y="560388"/>
                    </a:lnTo>
                    <a:lnTo>
                      <a:pt x="498975" y="554038"/>
                    </a:lnTo>
                    <a:lnTo>
                      <a:pt x="488646" y="541338"/>
                    </a:lnTo>
                    <a:lnTo>
                      <a:pt x="481495" y="527844"/>
                    </a:lnTo>
                    <a:lnTo>
                      <a:pt x="476728" y="514350"/>
                    </a:lnTo>
                    <a:lnTo>
                      <a:pt x="475139" y="501650"/>
                    </a:lnTo>
                    <a:lnTo>
                      <a:pt x="475139" y="498475"/>
                    </a:lnTo>
                    <a:lnTo>
                      <a:pt x="475139" y="494506"/>
                    </a:lnTo>
                    <a:lnTo>
                      <a:pt x="475139" y="489744"/>
                    </a:lnTo>
                    <a:lnTo>
                      <a:pt x="475933" y="484188"/>
                    </a:lnTo>
                    <a:lnTo>
                      <a:pt x="471166" y="493713"/>
                    </a:lnTo>
                    <a:lnTo>
                      <a:pt x="465604" y="501650"/>
                    </a:lnTo>
                    <a:lnTo>
                      <a:pt x="461631" y="508794"/>
                    </a:lnTo>
                    <a:lnTo>
                      <a:pt x="456069" y="516731"/>
                    </a:lnTo>
                    <a:lnTo>
                      <a:pt x="450508" y="523875"/>
                    </a:lnTo>
                    <a:lnTo>
                      <a:pt x="444946" y="530225"/>
                    </a:lnTo>
                    <a:lnTo>
                      <a:pt x="439384" y="535781"/>
                    </a:lnTo>
                    <a:lnTo>
                      <a:pt x="433822" y="541338"/>
                    </a:lnTo>
                    <a:lnTo>
                      <a:pt x="422699" y="550069"/>
                    </a:lnTo>
                    <a:lnTo>
                      <a:pt x="411575" y="558006"/>
                    </a:lnTo>
                    <a:lnTo>
                      <a:pt x="399657" y="564356"/>
                    </a:lnTo>
                    <a:lnTo>
                      <a:pt x="387739" y="569913"/>
                    </a:lnTo>
                    <a:lnTo>
                      <a:pt x="375026" y="573088"/>
                    </a:lnTo>
                    <a:lnTo>
                      <a:pt x="362313" y="577056"/>
                    </a:lnTo>
                    <a:lnTo>
                      <a:pt x="348806" y="577850"/>
                    </a:lnTo>
                    <a:lnTo>
                      <a:pt x="333709" y="578644"/>
                    </a:lnTo>
                    <a:lnTo>
                      <a:pt x="319408" y="577850"/>
                    </a:lnTo>
                    <a:lnTo>
                      <a:pt x="305900" y="576263"/>
                    </a:lnTo>
                    <a:lnTo>
                      <a:pt x="291598" y="573088"/>
                    </a:lnTo>
                    <a:lnTo>
                      <a:pt x="278886" y="568325"/>
                    </a:lnTo>
                    <a:lnTo>
                      <a:pt x="266968" y="561975"/>
                    </a:lnTo>
                    <a:lnTo>
                      <a:pt x="255844" y="554831"/>
                    </a:lnTo>
                    <a:lnTo>
                      <a:pt x="245515" y="546894"/>
                    </a:lnTo>
                    <a:lnTo>
                      <a:pt x="235186" y="536575"/>
                    </a:lnTo>
                    <a:lnTo>
                      <a:pt x="225651" y="525463"/>
                    </a:lnTo>
                    <a:lnTo>
                      <a:pt x="217706" y="512763"/>
                    </a:lnTo>
                    <a:lnTo>
                      <a:pt x="210555" y="500063"/>
                    </a:lnTo>
                    <a:lnTo>
                      <a:pt x="204993" y="484981"/>
                    </a:lnTo>
                    <a:lnTo>
                      <a:pt x="200226" y="469900"/>
                    </a:lnTo>
                    <a:lnTo>
                      <a:pt x="197842" y="453231"/>
                    </a:lnTo>
                    <a:lnTo>
                      <a:pt x="195458" y="434975"/>
                    </a:lnTo>
                    <a:lnTo>
                      <a:pt x="194664" y="416719"/>
                    </a:lnTo>
                    <a:lnTo>
                      <a:pt x="195458" y="394494"/>
                    </a:lnTo>
                    <a:lnTo>
                      <a:pt x="198637" y="373856"/>
                    </a:lnTo>
                    <a:lnTo>
                      <a:pt x="203404" y="351631"/>
                    </a:lnTo>
                    <a:lnTo>
                      <a:pt x="210555" y="330994"/>
                    </a:lnTo>
                    <a:lnTo>
                      <a:pt x="218500" y="310356"/>
                    </a:lnTo>
                    <a:lnTo>
                      <a:pt x="228829" y="289719"/>
                    </a:lnTo>
                    <a:lnTo>
                      <a:pt x="241542" y="270669"/>
                    </a:lnTo>
                    <a:lnTo>
                      <a:pt x="255049" y="250031"/>
                    </a:lnTo>
                    <a:lnTo>
                      <a:pt x="262995" y="241300"/>
                    </a:lnTo>
                    <a:lnTo>
                      <a:pt x="270940" y="231775"/>
                    </a:lnTo>
                    <a:lnTo>
                      <a:pt x="278886" y="223838"/>
                    </a:lnTo>
                    <a:lnTo>
                      <a:pt x="287626" y="216694"/>
                    </a:lnTo>
                    <a:lnTo>
                      <a:pt x="295571" y="209550"/>
                    </a:lnTo>
                    <a:lnTo>
                      <a:pt x="305106" y="203200"/>
                    </a:lnTo>
                    <a:lnTo>
                      <a:pt x="313846" y="197644"/>
                    </a:lnTo>
                    <a:lnTo>
                      <a:pt x="323380" y="192881"/>
                    </a:lnTo>
                    <a:lnTo>
                      <a:pt x="332120" y="188119"/>
                    </a:lnTo>
                    <a:lnTo>
                      <a:pt x="342449" y="184150"/>
                    </a:lnTo>
                    <a:lnTo>
                      <a:pt x="351984" y="180975"/>
                    </a:lnTo>
                    <a:lnTo>
                      <a:pt x="362313" y="177800"/>
                    </a:lnTo>
                    <a:lnTo>
                      <a:pt x="372642" y="176213"/>
                    </a:lnTo>
                    <a:lnTo>
                      <a:pt x="382177" y="174625"/>
                    </a:lnTo>
                    <a:lnTo>
                      <a:pt x="393300" y="173038"/>
                    </a:lnTo>
                    <a:lnTo>
                      <a:pt x="404424" y="173038"/>
                    </a:lnTo>
                    <a:lnTo>
                      <a:pt x="417137" y="173038"/>
                    </a:lnTo>
                    <a:lnTo>
                      <a:pt x="428260" y="175419"/>
                    </a:lnTo>
                    <a:lnTo>
                      <a:pt x="439384" y="177006"/>
                    </a:lnTo>
                    <a:lnTo>
                      <a:pt x="450508" y="180975"/>
                    </a:lnTo>
                    <a:lnTo>
                      <a:pt x="459248" y="184150"/>
                    </a:lnTo>
                    <a:lnTo>
                      <a:pt x="468782" y="188913"/>
                    </a:lnTo>
                    <a:lnTo>
                      <a:pt x="476728" y="195263"/>
                    </a:lnTo>
                    <a:lnTo>
                      <a:pt x="483879" y="201613"/>
                    </a:lnTo>
                    <a:lnTo>
                      <a:pt x="489440" y="207169"/>
                    </a:lnTo>
                    <a:lnTo>
                      <a:pt x="494208" y="212725"/>
                    </a:lnTo>
                    <a:lnTo>
                      <a:pt x="498975" y="219075"/>
                    </a:lnTo>
                    <a:lnTo>
                      <a:pt x="502153" y="225425"/>
                    </a:lnTo>
                    <a:lnTo>
                      <a:pt x="505331" y="231775"/>
                    </a:lnTo>
                    <a:lnTo>
                      <a:pt x="509304" y="238125"/>
                    </a:lnTo>
                    <a:lnTo>
                      <a:pt x="511688" y="244475"/>
                    </a:lnTo>
                    <a:lnTo>
                      <a:pt x="513277" y="252413"/>
                    </a:lnTo>
                    <a:lnTo>
                      <a:pt x="530757" y="189706"/>
                    </a:lnTo>
                    <a:lnTo>
                      <a:pt x="624513" y="189706"/>
                    </a:lnTo>
                    <a:lnTo>
                      <a:pt x="560949" y="403225"/>
                    </a:lnTo>
                    <a:lnTo>
                      <a:pt x="557771" y="415131"/>
                    </a:lnTo>
                    <a:lnTo>
                      <a:pt x="554593" y="426244"/>
                    </a:lnTo>
                    <a:lnTo>
                      <a:pt x="552209" y="434181"/>
                    </a:lnTo>
                    <a:lnTo>
                      <a:pt x="549826" y="441325"/>
                    </a:lnTo>
                    <a:lnTo>
                      <a:pt x="549031" y="447675"/>
                    </a:lnTo>
                    <a:lnTo>
                      <a:pt x="548237" y="453231"/>
                    </a:lnTo>
                    <a:lnTo>
                      <a:pt x="547442" y="458788"/>
                    </a:lnTo>
                    <a:lnTo>
                      <a:pt x="547442" y="463550"/>
                    </a:lnTo>
                    <a:lnTo>
                      <a:pt x="548237" y="470694"/>
                    </a:lnTo>
                    <a:lnTo>
                      <a:pt x="549826" y="477838"/>
                    </a:lnTo>
                    <a:lnTo>
                      <a:pt x="553004" y="484188"/>
                    </a:lnTo>
                    <a:lnTo>
                      <a:pt x="557771" y="492125"/>
                    </a:lnTo>
                    <a:lnTo>
                      <a:pt x="560155" y="494506"/>
                    </a:lnTo>
                    <a:lnTo>
                      <a:pt x="562539" y="496888"/>
                    </a:lnTo>
                    <a:lnTo>
                      <a:pt x="566511" y="499269"/>
                    </a:lnTo>
                    <a:lnTo>
                      <a:pt x="570484" y="500856"/>
                    </a:lnTo>
                    <a:lnTo>
                      <a:pt x="573662" y="502444"/>
                    </a:lnTo>
                    <a:lnTo>
                      <a:pt x="578429" y="504031"/>
                    </a:lnTo>
                    <a:lnTo>
                      <a:pt x="583197" y="504825"/>
                    </a:lnTo>
                    <a:lnTo>
                      <a:pt x="588759" y="504825"/>
                    </a:lnTo>
                    <a:lnTo>
                      <a:pt x="599882" y="504031"/>
                    </a:lnTo>
                    <a:lnTo>
                      <a:pt x="609417" y="500856"/>
                    </a:lnTo>
                    <a:lnTo>
                      <a:pt x="620540" y="496888"/>
                    </a:lnTo>
                    <a:lnTo>
                      <a:pt x="630869" y="490538"/>
                    </a:lnTo>
                    <a:lnTo>
                      <a:pt x="641993" y="482600"/>
                    </a:lnTo>
                    <a:lnTo>
                      <a:pt x="651528" y="473869"/>
                    </a:lnTo>
                    <a:lnTo>
                      <a:pt x="662651" y="461963"/>
                    </a:lnTo>
                    <a:lnTo>
                      <a:pt x="672980" y="448469"/>
                    </a:lnTo>
                    <a:lnTo>
                      <a:pt x="682515" y="434181"/>
                    </a:lnTo>
                    <a:lnTo>
                      <a:pt x="691255" y="419100"/>
                    </a:lnTo>
                    <a:lnTo>
                      <a:pt x="698406" y="402431"/>
                    </a:lnTo>
                    <a:lnTo>
                      <a:pt x="704762" y="384969"/>
                    </a:lnTo>
                    <a:lnTo>
                      <a:pt x="709529" y="366713"/>
                    </a:lnTo>
                    <a:lnTo>
                      <a:pt x="712708" y="346075"/>
                    </a:lnTo>
                    <a:lnTo>
                      <a:pt x="715091" y="324644"/>
                    </a:lnTo>
                    <a:lnTo>
                      <a:pt x="715886" y="302419"/>
                    </a:lnTo>
                    <a:lnTo>
                      <a:pt x="714297" y="270669"/>
                    </a:lnTo>
                    <a:lnTo>
                      <a:pt x="708735" y="240506"/>
                    </a:lnTo>
                    <a:lnTo>
                      <a:pt x="699200" y="211931"/>
                    </a:lnTo>
                    <a:lnTo>
                      <a:pt x="686488" y="185738"/>
                    </a:lnTo>
                    <a:lnTo>
                      <a:pt x="670597" y="163513"/>
                    </a:lnTo>
                    <a:lnTo>
                      <a:pt x="650733" y="142081"/>
                    </a:lnTo>
                    <a:lnTo>
                      <a:pt x="626897" y="123825"/>
                    </a:lnTo>
                    <a:lnTo>
                      <a:pt x="599882" y="108744"/>
                    </a:lnTo>
                    <a:lnTo>
                      <a:pt x="590348" y="103981"/>
                    </a:lnTo>
                    <a:lnTo>
                      <a:pt x="581608" y="99219"/>
                    </a:lnTo>
                    <a:lnTo>
                      <a:pt x="572073" y="95250"/>
                    </a:lnTo>
                    <a:lnTo>
                      <a:pt x="561744" y="92075"/>
                    </a:lnTo>
                    <a:lnTo>
                      <a:pt x="552209" y="88900"/>
                    </a:lnTo>
                    <a:lnTo>
                      <a:pt x="542675" y="85725"/>
                    </a:lnTo>
                    <a:lnTo>
                      <a:pt x="532346" y="82550"/>
                    </a:lnTo>
                    <a:lnTo>
                      <a:pt x="522811" y="80169"/>
                    </a:lnTo>
                    <a:lnTo>
                      <a:pt x="512482" y="77788"/>
                    </a:lnTo>
                    <a:lnTo>
                      <a:pt x="501359" y="76200"/>
                    </a:lnTo>
                    <a:lnTo>
                      <a:pt x="491824" y="74613"/>
                    </a:lnTo>
                    <a:lnTo>
                      <a:pt x="480700" y="73819"/>
                    </a:lnTo>
                    <a:lnTo>
                      <a:pt x="469577" y="71438"/>
                    </a:lnTo>
                    <a:lnTo>
                      <a:pt x="458453" y="71438"/>
                    </a:lnTo>
                    <a:lnTo>
                      <a:pt x="446535" y="70644"/>
                    </a:lnTo>
                    <a:lnTo>
                      <a:pt x="435411" y="70644"/>
                    </a:lnTo>
                    <a:lnTo>
                      <a:pt x="415548" y="70644"/>
                    </a:lnTo>
                    <a:lnTo>
                      <a:pt x="395684" y="73025"/>
                    </a:lnTo>
                    <a:lnTo>
                      <a:pt x="375026" y="74613"/>
                    </a:lnTo>
                    <a:lnTo>
                      <a:pt x="356751" y="76994"/>
                    </a:lnTo>
                    <a:lnTo>
                      <a:pt x="337682" y="80963"/>
                    </a:lnTo>
                    <a:lnTo>
                      <a:pt x="320202" y="85725"/>
                    </a:lnTo>
                    <a:lnTo>
                      <a:pt x="301928" y="91281"/>
                    </a:lnTo>
                    <a:lnTo>
                      <a:pt x="285242" y="96838"/>
                    </a:lnTo>
                    <a:lnTo>
                      <a:pt x="269351" y="103981"/>
                    </a:lnTo>
                    <a:lnTo>
                      <a:pt x="252666" y="111125"/>
                    </a:lnTo>
                    <a:lnTo>
                      <a:pt x="236775" y="119063"/>
                    </a:lnTo>
                    <a:lnTo>
                      <a:pt x="222473" y="128588"/>
                    </a:lnTo>
                    <a:lnTo>
                      <a:pt x="207377" y="138906"/>
                    </a:lnTo>
                    <a:lnTo>
                      <a:pt x="193869" y="149225"/>
                    </a:lnTo>
                    <a:lnTo>
                      <a:pt x="180362" y="161131"/>
                    </a:lnTo>
                    <a:lnTo>
                      <a:pt x="167649" y="173038"/>
                    </a:lnTo>
                    <a:lnTo>
                      <a:pt x="146197" y="196850"/>
                    </a:lnTo>
                    <a:lnTo>
                      <a:pt x="127922" y="221456"/>
                    </a:lnTo>
                    <a:lnTo>
                      <a:pt x="112826" y="247650"/>
                    </a:lnTo>
                    <a:lnTo>
                      <a:pt x="99318" y="274638"/>
                    </a:lnTo>
                    <a:lnTo>
                      <a:pt x="89784" y="303213"/>
                    </a:lnTo>
                    <a:lnTo>
                      <a:pt x="82633" y="332581"/>
                    </a:lnTo>
                    <a:lnTo>
                      <a:pt x="78660" y="362744"/>
                    </a:lnTo>
                    <a:lnTo>
                      <a:pt x="77071" y="394494"/>
                    </a:lnTo>
                    <a:lnTo>
                      <a:pt x="78660" y="429419"/>
                    </a:lnTo>
                    <a:lnTo>
                      <a:pt x="83428" y="463550"/>
                    </a:lnTo>
                    <a:lnTo>
                      <a:pt x="91373" y="494506"/>
                    </a:lnTo>
                    <a:lnTo>
                      <a:pt x="103291" y="523875"/>
                    </a:lnTo>
                    <a:lnTo>
                      <a:pt x="119182" y="550863"/>
                    </a:lnTo>
                    <a:lnTo>
                      <a:pt x="137457" y="577056"/>
                    </a:lnTo>
                    <a:lnTo>
                      <a:pt x="158909" y="600869"/>
                    </a:lnTo>
                    <a:lnTo>
                      <a:pt x="183540" y="622300"/>
                    </a:lnTo>
                    <a:lnTo>
                      <a:pt x="195458" y="631825"/>
                    </a:lnTo>
                    <a:lnTo>
                      <a:pt x="208966" y="639763"/>
                    </a:lnTo>
                    <a:lnTo>
                      <a:pt x="220884" y="648494"/>
                    </a:lnTo>
                    <a:lnTo>
                      <a:pt x="234391" y="654844"/>
                    </a:lnTo>
                    <a:lnTo>
                      <a:pt x="247104" y="661988"/>
                    </a:lnTo>
                    <a:lnTo>
                      <a:pt x="260611" y="667544"/>
                    </a:lnTo>
                    <a:lnTo>
                      <a:pt x="274913" y="673100"/>
                    </a:lnTo>
                    <a:lnTo>
                      <a:pt x="289215" y="678656"/>
                    </a:lnTo>
                    <a:lnTo>
                      <a:pt x="303517" y="681831"/>
                    </a:lnTo>
                    <a:lnTo>
                      <a:pt x="318613" y="686594"/>
                    </a:lnTo>
                    <a:lnTo>
                      <a:pt x="333709" y="689769"/>
                    </a:lnTo>
                    <a:lnTo>
                      <a:pt x="349600" y="692150"/>
                    </a:lnTo>
                    <a:lnTo>
                      <a:pt x="365491" y="693738"/>
                    </a:lnTo>
                    <a:lnTo>
                      <a:pt x="381382" y="696119"/>
                    </a:lnTo>
                    <a:lnTo>
                      <a:pt x="398068" y="696913"/>
                    </a:lnTo>
                    <a:lnTo>
                      <a:pt x="414753" y="696913"/>
                    </a:lnTo>
                    <a:lnTo>
                      <a:pt x="426671" y="696913"/>
                    </a:lnTo>
                    <a:lnTo>
                      <a:pt x="437795" y="696119"/>
                    </a:lnTo>
                    <a:lnTo>
                      <a:pt x="449713" y="696119"/>
                    </a:lnTo>
                    <a:lnTo>
                      <a:pt x="460042" y="694531"/>
                    </a:lnTo>
                    <a:lnTo>
                      <a:pt x="471960" y="692944"/>
                    </a:lnTo>
                    <a:lnTo>
                      <a:pt x="483084" y="692150"/>
                    </a:lnTo>
                    <a:lnTo>
                      <a:pt x="494208" y="690563"/>
                    </a:lnTo>
                    <a:lnTo>
                      <a:pt x="505331" y="687388"/>
                    </a:lnTo>
                    <a:lnTo>
                      <a:pt x="516455" y="685800"/>
                    </a:lnTo>
                    <a:lnTo>
                      <a:pt x="527579" y="683419"/>
                    </a:lnTo>
                    <a:lnTo>
                      <a:pt x="537113" y="680244"/>
                    </a:lnTo>
                    <a:lnTo>
                      <a:pt x="548237" y="676275"/>
                    </a:lnTo>
                    <a:lnTo>
                      <a:pt x="558566" y="673894"/>
                    </a:lnTo>
                    <a:lnTo>
                      <a:pt x="569689" y="669925"/>
                    </a:lnTo>
                    <a:lnTo>
                      <a:pt x="579224" y="666750"/>
                    </a:lnTo>
                    <a:lnTo>
                      <a:pt x="589553" y="661988"/>
                    </a:lnTo>
                    <a:lnTo>
                      <a:pt x="600677" y="657225"/>
                    </a:lnTo>
                    <a:lnTo>
                      <a:pt x="611800" y="651669"/>
                    </a:lnTo>
                    <a:lnTo>
                      <a:pt x="622129" y="646113"/>
                    </a:lnTo>
                    <a:lnTo>
                      <a:pt x="634048" y="639763"/>
                    </a:lnTo>
                    <a:lnTo>
                      <a:pt x="645171" y="633413"/>
                    </a:lnTo>
                    <a:lnTo>
                      <a:pt x="657089" y="626269"/>
                    </a:lnTo>
                    <a:lnTo>
                      <a:pt x="669008" y="619125"/>
                    </a:lnTo>
                    <a:lnTo>
                      <a:pt x="680926" y="610394"/>
                    </a:lnTo>
                    <a:lnTo>
                      <a:pt x="692844" y="602456"/>
                    </a:lnTo>
                    <a:lnTo>
                      <a:pt x="728599" y="657225"/>
                    </a:lnTo>
                    <a:lnTo>
                      <a:pt x="719859" y="663575"/>
                    </a:lnTo>
                    <a:lnTo>
                      <a:pt x="711119" y="669925"/>
                    </a:lnTo>
                    <a:lnTo>
                      <a:pt x="702379" y="676275"/>
                    </a:lnTo>
                    <a:lnTo>
                      <a:pt x="692844" y="683419"/>
                    </a:lnTo>
                    <a:lnTo>
                      <a:pt x="684104" y="688181"/>
                    </a:lnTo>
                    <a:lnTo>
                      <a:pt x="674569" y="693738"/>
                    </a:lnTo>
                    <a:lnTo>
                      <a:pt x="665829" y="699294"/>
                    </a:lnTo>
                    <a:lnTo>
                      <a:pt x="656295" y="704850"/>
                    </a:lnTo>
                    <a:lnTo>
                      <a:pt x="645966" y="709613"/>
                    </a:lnTo>
                    <a:lnTo>
                      <a:pt x="637226" y="715169"/>
                    </a:lnTo>
                    <a:lnTo>
                      <a:pt x="626897" y="719931"/>
                    </a:lnTo>
                    <a:lnTo>
                      <a:pt x="618157" y="723900"/>
                    </a:lnTo>
                    <a:lnTo>
                      <a:pt x="607828" y="727869"/>
                    </a:lnTo>
                    <a:lnTo>
                      <a:pt x="597499" y="732631"/>
                    </a:lnTo>
                    <a:lnTo>
                      <a:pt x="587964" y="735806"/>
                    </a:lnTo>
                    <a:lnTo>
                      <a:pt x="577635" y="739775"/>
                    </a:lnTo>
                    <a:lnTo>
                      <a:pt x="567306" y="743744"/>
                    </a:lnTo>
                    <a:lnTo>
                      <a:pt x="557771" y="746125"/>
                    </a:lnTo>
                    <a:lnTo>
                      <a:pt x="547442" y="749300"/>
                    </a:lnTo>
                    <a:lnTo>
                      <a:pt x="536319" y="751681"/>
                    </a:lnTo>
                    <a:lnTo>
                      <a:pt x="525989" y="754063"/>
                    </a:lnTo>
                    <a:lnTo>
                      <a:pt x="515660" y="757238"/>
                    </a:lnTo>
                    <a:lnTo>
                      <a:pt x="505331" y="758825"/>
                    </a:lnTo>
                    <a:lnTo>
                      <a:pt x="494208" y="761206"/>
                    </a:lnTo>
                    <a:lnTo>
                      <a:pt x="483879" y="762794"/>
                    </a:lnTo>
                    <a:lnTo>
                      <a:pt x="473549" y="763588"/>
                    </a:lnTo>
                    <a:lnTo>
                      <a:pt x="462426" y="765175"/>
                    </a:lnTo>
                    <a:lnTo>
                      <a:pt x="452097" y="765969"/>
                    </a:lnTo>
                    <a:lnTo>
                      <a:pt x="440973" y="767556"/>
                    </a:lnTo>
                    <a:lnTo>
                      <a:pt x="429849" y="767556"/>
                    </a:lnTo>
                    <a:lnTo>
                      <a:pt x="419520" y="768350"/>
                    </a:lnTo>
                    <a:lnTo>
                      <a:pt x="408397" y="768350"/>
                    </a:lnTo>
                    <a:lnTo>
                      <a:pt x="383766" y="767556"/>
                    </a:lnTo>
                    <a:lnTo>
                      <a:pt x="359135" y="765969"/>
                    </a:lnTo>
                    <a:lnTo>
                      <a:pt x="335299" y="763588"/>
                    </a:lnTo>
                    <a:lnTo>
                      <a:pt x="312257" y="759619"/>
                    </a:lnTo>
                    <a:lnTo>
                      <a:pt x="290009" y="755650"/>
                    </a:lnTo>
                    <a:lnTo>
                      <a:pt x="267762" y="750094"/>
                    </a:lnTo>
                    <a:lnTo>
                      <a:pt x="247898" y="743744"/>
                    </a:lnTo>
                    <a:lnTo>
                      <a:pt x="228035" y="735806"/>
                    </a:lnTo>
                    <a:lnTo>
                      <a:pt x="208966" y="727869"/>
                    </a:lnTo>
                    <a:lnTo>
                      <a:pt x="189102" y="717550"/>
                    </a:lnTo>
                    <a:lnTo>
                      <a:pt x="171622" y="708025"/>
                    </a:lnTo>
                    <a:lnTo>
                      <a:pt x="154937" y="696913"/>
                    </a:lnTo>
                    <a:lnTo>
                      <a:pt x="138251" y="684213"/>
                    </a:lnTo>
                    <a:lnTo>
                      <a:pt x="121566" y="669925"/>
                    </a:lnTo>
                    <a:lnTo>
                      <a:pt x="107264" y="656431"/>
                    </a:lnTo>
                    <a:lnTo>
                      <a:pt x="92168" y="640556"/>
                    </a:lnTo>
                    <a:lnTo>
                      <a:pt x="70715" y="614363"/>
                    </a:lnTo>
                    <a:lnTo>
                      <a:pt x="52440" y="585788"/>
                    </a:lnTo>
                    <a:lnTo>
                      <a:pt x="36549" y="556419"/>
                    </a:lnTo>
                    <a:lnTo>
                      <a:pt x="23042" y="526256"/>
                    </a:lnTo>
                    <a:lnTo>
                      <a:pt x="12713" y="494506"/>
                    </a:lnTo>
                    <a:lnTo>
                      <a:pt x="5562" y="461963"/>
                    </a:lnTo>
                    <a:lnTo>
                      <a:pt x="1589" y="427831"/>
                    </a:lnTo>
                    <a:lnTo>
                      <a:pt x="0" y="392113"/>
                    </a:lnTo>
                    <a:lnTo>
                      <a:pt x="1589" y="352425"/>
                    </a:lnTo>
                    <a:lnTo>
                      <a:pt x="7151" y="314325"/>
                    </a:lnTo>
                    <a:lnTo>
                      <a:pt x="16686" y="278606"/>
                    </a:lnTo>
                    <a:lnTo>
                      <a:pt x="29398" y="242888"/>
                    </a:lnTo>
                    <a:lnTo>
                      <a:pt x="44495" y="209550"/>
                    </a:lnTo>
                    <a:lnTo>
                      <a:pt x="65153" y="177800"/>
                    </a:lnTo>
                    <a:lnTo>
                      <a:pt x="87400" y="147638"/>
                    </a:lnTo>
                    <a:lnTo>
                      <a:pt x="115209" y="119063"/>
                    </a:lnTo>
                    <a:lnTo>
                      <a:pt x="131100" y="104775"/>
                    </a:lnTo>
                    <a:lnTo>
                      <a:pt x="146991" y="91281"/>
                    </a:lnTo>
                    <a:lnTo>
                      <a:pt x="163677" y="79375"/>
                    </a:lnTo>
                    <a:lnTo>
                      <a:pt x="180362" y="67469"/>
                    </a:lnTo>
                    <a:lnTo>
                      <a:pt x="198637" y="56356"/>
                    </a:lnTo>
                    <a:lnTo>
                      <a:pt x="216911" y="46831"/>
                    </a:lnTo>
                    <a:lnTo>
                      <a:pt x="235186" y="38100"/>
                    </a:lnTo>
                    <a:lnTo>
                      <a:pt x="254255" y="29369"/>
                    </a:lnTo>
                    <a:lnTo>
                      <a:pt x="274913" y="23019"/>
                    </a:lnTo>
                    <a:lnTo>
                      <a:pt x="294777" y="16669"/>
                    </a:lnTo>
                    <a:lnTo>
                      <a:pt x="315435" y="11906"/>
                    </a:lnTo>
                    <a:lnTo>
                      <a:pt x="336888" y="7938"/>
                    </a:lnTo>
                    <a:lnTo>
                      <a:pt x="359135" y="4763"/>
                    </a:lnTo>
                    <a:lnTo>
                      <a:pt x="380588" y="2381"/>
                    </a:lnTo>
                    <a:lnTo>
                      <a:pt x="403629" y="1588"/>
                    </a:lnTo>
                    <a:close/>
                  </a:path>
                </a:pathLst>
              </a:custGeom>
              <a:solidFill>
                <a:schemeClr val="bg1">
                  <a:lumMod val="50000"/>
                </a:schemeClr>
              </a:solidFill>
              <a:ln>
                <a:noFill/>
              </a:ln>
            </p:spPr>
            <p:txBody>
              <a:bodyPr vert="horz" wrap="square" lIns="91416" tIns="45708" rIns="91416" bIns="45708"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9" dirty="0">
                  <a:solidFill>
                    <a:srgbClr val="505050"/>
                  </a:solidFill>
                  <a:latin typeface="Segoe UI"/>
                </a:endParaRPr>
              </a:p>
            </p:txBody>
          </p:sp>
          <p:grpSp>
            <p:nvGrpSpPr>
              <p:cNvPr id="308" name="Group 307"/>
              <p:cNvGrpSpPr/>
              <p:nvPr/>
            </p:nvGrpSpPr>
            <p:grpSpPr>
              <a:xfrm>
                <a:off x="4195952" y="3237771"/>
                <a:ext cx="229678" cy="198426"/>
                <a:chOff x="3960963" y="2956210"/>
                <a:chExt cx="229678" cy="198426"/>
              </a:xfrm>
            </p:grpSpPr>
            <p:sp>
              <p:nvSpPr>
                <p:cNvPr id="314" name="Oval 313"/>
                <p:cNvSpPr>
                  <a:spLocks noChangeArrowheads="1"/>
                </p:cNvSpPr>
                <p:nvPr/>
              </p:nvSpPr>
              <p:spPr bwMode="auto">
                <a:xfrm>
                  <a:off x="4041271" y="2956210"/>
                  <a:ext cx="73284" cy="73406"/>
                </a:xfrm>
                <a:prstGeom prst="ellipse">
                  <a:avLst/>
                </a:prstGeom>
                <a:solidFill>
                  <a:schemeClr val="bg1">
                    <a:lumMod val="50000"/>
                  </a:schemeClr>
                </a:solidFill>
                <a:ln w="9525" cap="flat" cmpd="sng" algn="ctr">
                  <a:noFill/>
                  <a:prstDash val="solid"/>
                  <a:headEnd type="none" w="med" len="med"/>
                  <a:tailEnd type="none" w="med" len="med"/>
                </a:ln>
                <a:effectLst/>
              </p:spPr>
              <p:txBody>
                <a:bodyPr vert="horz" wrap="square" lIns="91412" tIns="45706" rIns="91412" bIns="45706"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825" fontAlgn="base">
                    <a:spcBef>
                      <a:spcPct val="0"/>
                    </a:spcBef>
                    <a:spcAft>
                      <a:spcPct val="0"/>
                    </a:spcAft>
                    <a:defRPr/>
                  </a:pPr>
                  <a:endParaRPr lang="en-US" sz="2199" dirty="0">
                    <a:solidFill>
                      <a:srgbClr val="505050"/>
                    </a:solidFill>
                    <a:latin typeface="Segoe"/>
                  </a:endParaRPr>
                </a:p>
              </p:txBody>
            </p:sp>
            <p:sp>
              <p:nvSpPr>
                <p:cNvPr id="315" name="Freeform 314"/>
                <p:cNvSpPr>
                  <a:spLocks/>
                </p:cNvSpPr>
                <p:nvPr/>
              </p:nvSpPr>
              <p:spPr bwMode="auto">
                <a:xfrm>
                  <a:off x="4011324" y="3038258"/>
                  <a:ext cx="131108" cy="116378"/>
                </a:xfrm>
                <a:custGeom>
                  <a:avLst/>
                  <a:gdLst>
                    <a:gd name="T0" fmla="*/ 420 w 456"/>
                    <a:gd name="T1" fmla="*/ 125 h 405"/>
                    <a:gd name="T2" fmla="*/ 311 w 456"/>
                    <a:gd name="T3" fmla="*/ 0 h 405"/>
                    <a:gd name="T4" fmla="*/ 233 w 456"/>
                    <a:gd name="T5" fmla="*/ 97 h 405"/>
                    <a:gd name="T6" fmla="*/ 223 w 456"/>
                    <a:gd name="T7" fmla="*/ 97 h 405"/>
                    <a:gd name="T8" fmla="*/ 145 w 456"/>
                    <a:gd name="T9" fmla="*/ 0 h 405"/>
                    <a:gd name="T10" fmla="*/ 37 w 456"/>
                    <a:gd name="T11" fmla="*/ 125 h 405"/>
                    <a:gd name="T12" fmla="*/ 30 w 456"/>
                    <a:gd name="T13" fmla="*/ 307 h 405"/>
                    <a:gd name="T14" fmla="*/ 220 w 456"/>
                    <a:gd name="T15" fmla="*/ 405 h 405"/>
                    <a:gd name="T16" fmla="*/ 236 w 456"/>
                    <a:gd name="T17" fmla="*/ 405 h 405"/>
                    <a:gd name="T18" fmla="*/ 427 w 456"/>
                    <a:gd name="T19" fmla="*/ 307 h 405"/>
                    <a:gd name="T20" fmla="*/ 420 w 456"/>
                    <a:gd name="T21" fmla="*/ 125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6" h="405">
                      <a:moveTo>
                        <a:pt x="420" y="125"/>
                      </a:moveTo>
                      <a:cubicBezTo>
                        <a:pt x="369" y="38"/>
                        <a:pt x="327" y="0"/>
                        <a:pt x="311" y="0"/>
                      </a:cubicBezTo>
                      <a:cubicBezTo>
                        <a:pt x="296" y="0"/>
                        <a:pt x="247" y="97"/>
                        <a:pt x="233" y="97"/>
                      </a:cubicBezTo>
                      <a:cubicBezTo>
                        <a:pt x="223" y="97"/>
                        <a:pt x="223" y="97"/>
                        <a:pt x="223" y="97"/>
                      </a:cubicBezTo>
                      <a:cubicBezTo>
                        <a:pt x="210" y="97"/>
                        <a:pt x="161" y="0"/>
                        <a:pt x="145" y="0"/>
                      </a:cubicBezTo>
                      <a:cubicBezTo>
                        <a:pt x="130" y="0"/>
                        <a:pt x="88" y="38"/>
                        <a:pt x="37" y="125"/>
                      </a:cubicBezTo>
                      <a:cubicBezTo>
                        <a:pt x="13" y="165"/>
                        <a:pt x="0" y="251"/>
                        <a:pt x="30" y="307"/>
                      </a:cubicBezTo>
                      <a:cubicBezTo>
                        <a:pt x="64" y="372"/>
                        <a:pt x="149" y="405"/>
                        <a:pt x="220" y="405"/>
                      </a:cubicBezTo>
                      <a:cubicBezTo>
                        <a:pt x="236" y="405"/>
                        <a:pt x="236" y="405"/>
                        <a:pt x="236" y="405"/>
                      </a:cubicBezTo>
                      <a:cubicBezTo>
                        <a:pt x="308" y="405"/>
                        <a:pt x="393" y="372"/>
                        <a:pt x="427" y="307"/>
                      </a:cubicBezTo>
                      <a:cubicBezTo>
                        <a:pt x="456" y="251"/>
                        <a:pt x="444" y="165"/>
                        <a:pt x="420" y="125"/>
                      </a:cubicBezTo>
                      <a:close/>
                    </a:path>
                  </a:pathLst>
                </a:custGeom>
                <a:solidFill>
                  <a:schemeClr val="bg1">
                    <a:lumMod val="50000"/>
                  </a:schemeClr>
                </a:solidFill>
                <a:ln w="9525" cap="flat" cmpd="sng" algn="ctr">
                  <a:noFill/>
                  <a:prstDash val="solid"/>
                  <a:headEnd type="none" w="med" len="med"/>
                  <a:tailEnd type="none" w="med" len="med"/>
                </a:ln>
                <a:effectLst/>
              </p:spPr>
              <p:txBody>
                <a:bodyPr vert="horz" wrap="square" lIns="91412" tIns="45706" rIns="91412" bIns="45706"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825" fontAlgn="base">
                    <a:spcBef>
                      <a:spcPct val="0"/>
                    </a:spcBef>
                    <a:spcAft>
                      <a:spcPct val="0"/>
                    </a:spcAft>
                    <a:defRPr/>
                  </a:pPr>
                  <a:endParaRPr lang="en-US" sz="2199" dirty="0">
                    <a:solidFill>
                      <a:srgbClr val="505050"/>
                    </a:solidFill>
                    <a:latin typeface="Segoe"/>
                  </a:endParaRPr>
                </a:p>
              </p:txBody>
            </p:sp>
            <p:sp>
              <p:nvSpPr>
                <p:cNvPr id="316" name="Oval 315"/>
                <p:cNvSpPr>
                  <a:spLocks noChangeArrowheads="1"/>
                </p:cNvSpPr>
                <p:nvPr/>
              </p:nvSpPr>
              <p:spPr bwMode="auto">
                <a:xfrm>
                  <a:off x="3979716" y="2985802"/>
                  <a:ext cx="45687" cy="45942"/>
                </a:xfrm>
                <a:prstGeom prst="ellipse">
                  <a:avLst/>
                </a:prstGeom>
                <a:solidFill>
                  <a:schemeClr val="bg1">
                    <a:lumMod val="50000"/>
                  </a:schemeClr>
                </a:solidFill>
                <a:ln w="9525" cap="flat" cmpd="sng" algn="ctr">
                  <a:noFill/>
                  <a:prstDash val="solid"/>
                  <a:headEnd type="none" w="med" len="med"/>
                  <a:tailEnd type="none" w="med" len="med"/>
                </a:ln>
                <a:effectLst/>
              </p:spPr>
              <p:txBody>
                <a:bodyPr vert="horz" wrap="square" lIns="91412" tIns="45706" rIns="91412" bIns="45706"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825" fontAlgn="base">
                    <a:spcBef>
                      <a:spcPct val="0"/>
                    </a:spcBef>
                    <a:spcAft>
                      <a:spcPct val="0"/>
                    </a:spcAft>
                    <a:defRPr/>
                  </a:pPr>
                  <a:endParaRPr lang="en-US" sz="2199" dirty="0">
                    <a:solidFill>
                      <a:srgbClr val="505050"/>
                    </a:solidFill>
                    <a:latin typeface="Segoe"/>
                  </a:endParaRPr>
                </a:p>
              </p:txBody>
            </p:sp>
            <p:sp>
              <p:nvSpPr>
                <p:cNvPr id="317" name="Freeform 316"/>
                <p:cNvSpPr>
                  <a:spLocks/>
                </p:cNvSpPr>
                <p:nvPr/>
              </p:nvSpPr>
              <p:spPr bwMode="auto">
                <a:xfrm>
                  <a:off x="3960963" y="3036944"/>
                  <a:ext cx="67509" cy="72877"/>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solidFill>
                  <a:schemeClr val="bg1">
                    <a:lumMod val="50000"/>
                  </a:schemeClr>
                </a:solidFill>
                <a:ln w="9525" cap="flat" cmpd="sng" algn="ctr">
                  <a:noFill/>
                  <a:prstDash val="solid"/>
                  <a:headEnd type="none" w="med" len="med"/>
                  <a:tailEnd type="none" w="med" len="med"/>
                </a:ln>
                <a:effectLst/>
              </p:spPr>
              <p:txBody>
                <a:bodyPr vert="horz" wrap="square" lIns="91412" tIns="45706" rIns="91412" bIns="45706"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825" fontAlgn="base">
                    <a:spcBef>
                      <a:spcPct val="0"/>
                    </a:spcBef>
                    <a:spcAft>
                      <a:spcPct val="0"/>
                    </a:spcAft>
                    <a:defRPr/>
                  </a:pPr>
                  <a:endParaRPr lang="en-US" sz="2199" dirty="0">
                    <a:solidFill>
                      <a:srgbClr val="505050"/>
                    </a:solidFill>
                    <a:latin typeface="Segoe"/>
                  </a:endParaRPr>
                </a:p>
              </p:txBody>
            </p:sp>
            <p:sp>
              <p:nvSpPr>
                <p:cNvPr id="318" name="Oval 317"/>
                <p:cNvSpPr>
                  <a:spLocks noChangeArrowheads="1"/>
                </p:cNvSpPr>
                <p:nvPr/>
              </p:nvSpPr>
              <p:spPr bwMode="auto">
                <a:xfrm flipH="1">
                  <a:off x="4126201" y="2985802"/>
                  <a:ext cx="45687" cy="45942"/>
                </a:xfrm>
                <a:prstGeom prst="ellipse">
                  <a:avLst/>
                </a:prstGeom>
                <a:solidFill>
                  <a:schemeClr val="bg1">
                    <a:lumMod val="50000"/>
                  </a:schemeClr>
                </a:solidFill>
                <a:ln w="9525" cap="flat" cmpd="sng" algn="ctr">
                  <a:noFill/>
                  <a:prstDash val="solid"/>
                  <a:headEnd type="none" w="med" len="med"/>
                  <a:tailEnd type="none" w="med" len="med"/>
                </a:ln>
                <a:effectLst/>
              </p:spPr>
              <p:txBody>
                <a:bodyPr vert="horz" wrap="square" lIns="91412" tIns="45706" rIns="91412" bIns="45706"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825" fontAlgn="base">
                    <a:spcBef>
                      <a:spcPct val="0"/>
                    </a:spcBef>
                    <a:spcAft>
                      <a:spcPct val="0"/>
                    </a:spcAft>
                    <a:defRPr/>
                  </a:pPr>
                  <a:endParaRPr lang="en-US" sz="2199" dirty="0">
                    <a:solidFill>
                      <a:srgbClr val="505050"/>
                    </a:solidFill>
                    <a:latin typeface="Segoe"/>
                  </a:endParaRPr>
                </a:p>
              </p:txBody>
            </p:sp>
            <p:sp>
              <p:nvSpPr>
                <p:cNvPr id="319" name="Freeform 318"/>
                <p:cNvSpPr>
                  <a:spLocks/>
                </p:cNvSpPr>
                <p:nvPr/>
              </p:nvSpPr>
              <p:spPr bwMode="auto">
                <a:xfrm flipH="1">
                  <a:off x="4123132" y="3036944"/>
                  <a:ext cx="67509" cy="72877"/>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solidFill>
                  <a:schemeClr val="bg1">
                    <a:lumMod val="50000"/>
                  </a:schemeClr>
                </a:solidFill>
                <a:ln w="9525" cap="flat" cmpd="sng" algn="ctr">
                  <a:noFill/>
                  <a:prstDash val="solid"/>
                  <a:headEnd type="none" w="med" len="med"/>
                  <a:tailEnd type="none" w="med" len="med"/>
                </a:ln>
                <a:effectLst/>
              </p:spPr>
              <p:txBody>
                <a:bodyPr vert="horz" wrap="square" lIns="91412" tIns="45706" rIns="91412" bIns="45706"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825" fontAlgn="base">
                    <a:spcBef>
                      <a:spcPct val="0"/>
                    </a:spcBef>
                    <a:spcAft>
                      <a:spcPct val="0"/>
                    </a:spcAft>
                    <a:defRPr/>
                  </a:pPr>
                  <a:endParaRPr lang="en-US" sz="2199" dirty="0">
                    <a:solidFill>
                      <a:srgbClr val="505050"/>
                    </a:solidFill>
                    <a:latin typeface="Segoe"/>
                  </a:endParaRPr>
                </a:p>
              </p:txBody>
            </p:sp>
          </p:grpSp>
          <p:pic>
            <p:nvPicPr>
              <p:cNvPr id="309" name="Picture 42"/>
              <p:cNvPicPr>
                <a:picLocks noChangeAspect="1"/>
              </p:cNvPicPr>
              <p:nvPr/>
            </p:nvPicPr>
            <p:blipFill>
              <a:blip r:embed="rId6"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bwMode="auto">
              <a:xfrm>
                <a:off x="3751205" y="3007090"/>
                <a:ext cx="292379" cy="216168"/>
              </a:xfrm>
              <a:prstGeom prst="rect">
                <a:avLst/>
              </a:prstGeom>
            </p:spPr>
          </p:pic>
          <p:grpSp>
            <p:nvGrpSpPr>
              <p:cNvPr id="310" name="Group 309"/>
              <p:cNvGrpSpPr/>
              <p:nvPr/>
            </p:nvGrpSpPr>
            <p:grpSpPr>
              <a:xfrm>
                <a:off x="4178056" y="2150348"/>
                <a:ext cx="454851" cy="261892"/>
                <a:chOff x="10810856" y="2000146"/>
                <a:chExt cx="542944" cy="312613"/>
              </a:xfrm>
            </p:grpSpPr>
            <p:pic>
              <p:nvPicPr>
                <p:cNvPr id="312" name="Picture 47" descr="C:\Users\sakuu\Documents\Ballmer MGX 2011\Tile Icons\Calendar.png"/>
                <p:cNvPicPr>
                  <a:picLocks noChangeAspect="1" noChangeArrowheads="1"/>
                </p:cNvPicPr>
                <p:nvPr/>
              </p:nvPicPr>
              <p:blipFill>
                <a:blip r:embed="rId7" cstate="print">
                  <a:duotone>
                    <a:schemeClr val="accent5">
                      <a:shade val="45000"/>
                      <a:satMod val="135000"/>
                    </a:schemeClr>
                    <a:prstClr val="white"/>
                  </a:duotone>
                  <a:extLst>
                    <a:ext uri="{BEBA8EAE-BF5A-486C-A8C5-ECC9F3942E4B}">
                      <a14:imgProps xmlns:a14="http://schemas.microsoft.com/office/drawing/2010/main">
                        <a14:imgLayer r:embed="rId8">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bwMode="black">
                <a:xfrm>
                  <a:off x="11038367" y="2022449"/>
                  <a:ext cx="315433" cy="29031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13" name="Freeform 113"/>
                <p:cNvSpPr>
                  <a:spLocks noEditPoints="1"/>
                </p:cNvSpPr>
                <p:nvPr/>
              </p:nvSpPr>
              <p:spPr bwMode="black">
                <a:xfrm>
                  <a:off x="10810856" y="2000146"/>
                  <a:ext cx="215583" cy="215583"/>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bg1">
                    <a:lumMod val="50000"/>
                  </a:schemeClr>
                </a:solidFill>
                <a:ln>
                  <a:noFill/>
                </a:ln>
                <a:extLst/>
              </p:spPr>
              <p:txBody>
                <a:bodyPr/>
                <a:lstStyle/>
                <a:p>
                  <a:pPr defTabSz="914126">
                    <a:defRPr/>
                  </a:pPr>
                  <a:endParaRPr lang="en-US" sz="1050" kern="0" dirty="0">
                    <a:solidFill>
                      <a:srgbClr val="000000"/>
                    </a:solidFill>
                    <a:latin typeface="Segoe UI"/>
                  </a:endParaRPr>
                </a:p>
              </p:txBody>
            </p:sp>
          </p:grpSp>
          <p:pic>
            <p:nvPicPr>
              <p:cNvPr id="311" name="Picture 310"/>
              <p:cNvPicPr>
                <a:picLocks noChangeAspect="1"/>
              </p:cNvPicPr>
              <p:nvPr/>
            </p:nvPicPr>
            <p:blipFill>
              <a:blip r:embed="rId9">
                <a:duotone>
                  <a:prstClr val="black"/>
                  <a:schemeClr val="accent5">
                    <a:tint val="45000"/>
                    <a:satMod val="400000"/>
                  </a:schemeClr>
                </a:duotone>
              </a:blip>
              <a:stretch>
                <a:fillRect/>
              </a:stretch>
            </p:blipFill>
            <p:spPr bwMode="auto">
              <a:xfrm>
                <a:off x="4189696" y="2540145"/>
                <a:ext cx="380979" cy="354244"/>
              </a:xfrm>
              <a:prstGeom prst="rect">
                <a:avLst/>
              </a:prstGeom>
              <a:noFill/>
              <a:ln>
                <a:noFill/>
              </a:ln>
            </p:spPr>
          </p:pic>
        </p:grpSp>
        <p:sp>
          <p:nvSpPr>
            <p:cNvPr id="297" name="TextBox 296"/>
            <p:cNvSpPr txBox="1"/>
            <p:nvPr/>
          </p:nvSpPr>
          <p:spPr>
            <a:xfrm>
              <a:off x="4264784" y="6375501"/>
              <a:ext cx="886461" cy="184666"/>
            </a:xfrm>
            <a:prstGeom prst="rect">
              <a:avLst/>
            </a:prstGeom>
          </p:spPr>
          <p:txBody>
            <a:bodyPr vert="horz" wrap="none" lIns="0" tIns="0" rIns="0" bIns="0" rtlCol="0" anchor="t">
              <a:noAutofit/>
            </a:bodyPr>
            <a:lstStyle/>
            <a:p>
              <a:pPr algn="ctr" defTabSz="1087779">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Social Media</a:t>
              </a:r>
            </a:p>
          </p:txBody>
        </p:sp>
      </p:grpSp>
      <p:cxnSp>
        <p:nvCxnSpPr>
          <p:cNvPr id="320" name="Straight Arrow Connector 319"/>
          <p:cNvCxnSpPr>
            <a:cxnSpLocks/>
          </p:cNvCxnSpPr>
          <p:nvPr/>
        </p:nvCxnSpPr>
        <p:spPr>
          <a:xfrm flipV="1">
            <a:off x="7716807" y="4717625"/>
            <a:ext cx="807507" cy="546472"/>
          </a:xfrm>
          <a:prstGeom prst="straightConnector1">
            <a:avLst/>
          </a:prstGeom>
          <a:ln w="19050">
            <a:solidFill>
              <a:schemeClr val="accent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321" name="TextBox 320"/>
          <p:cNvSpPr txBox="1"/>
          <p:nvPr/>
        </p:nvSpPr>
        <p:spPr>
          <a:xfrm rot="19650739">
            <a:off x="7649892" y="4689993"/>
            <a:ext cx="808984" cy="199256"/>
          </a:xfrm>
          <a:prstGeom prst="rect">
            <a:avLst/>
          </a:prstGeom>
        </p:spPr>
        <p:txBody>
          <a:bodyPr vert="horz" wrap="none" lIns="0" tIns="0" rIns="0" bIns="0" rtlCol="0" anchor="ctr">
            <a:noAutofit/>
          </a:bodyPr>
          <a:lstStyle>
            <a:defPPr>
              <a:defRPr lang="en-US"/>
            </a:defPPr>
            <a:lvl1pPr algn="ctr" defTabSz="1088105">
              <a:defRPr sz="1200">
                <a:solidFill>
                  <a:srgbClr val="505050"/>
                </a:solidFill>
                <a:latin typeface="Segoe UI Semibold" panose="020B0702040204020203" pitchFamily="34" charset="0"/>
                <a:ea typeface="Segoe UI" pitchFamily="34" charset="0"/>
                <a:cs typeface="Segoe UI Semibold" panose="020B0702040204020203" pitchFamily="34" charset="0"/>
              </a:defRPr>
            </a:lvl1pPr>
          </a:lstStyle>
          <a:p>
            <a:pPr algn="l" defTabSz="1087779">
              <a:defRPr/>
            </a:pPr>
            <a:r>
              <a:rPr lang="en-US" kern="0" dirty="0"/>
              <a:t>Social </a:t>
            </a:r>
            <a:br>
              <a:rPr lang="en-US" kern="0" dirty="0"/>
            </a:br>
            <a:r>
              <a:rPr lang="en-US" kern="0" dirty="0"/>
              <a:t>Sentiment</a:t>
            </a:r>
          </a:p>
        </p:txBody>
      </p:sp>
      <p:sp>
        <p:nvSpPr>
          <p:cNvPr id="239" name="TextBox 238"/>
          <p:cNvSpPr txBox="1"/>
          <p:nvPr/>
        </p:nvSpPr>
        <p:spPr>
          <a:xfrm rot="3368437">
            <a:off x="6752688" y="4012584"/>
            <a:ext cx="1722589" cy="323619"/>
          </a:xfrm>
          <a:prstGeom prst="rect">
            <a:avLst/>
          </a:prstGeom>
        </p:spPr>
        <p:txBody>
          <a:bodyPr vert="horz" wrap="square" lIns="45708" tIns="45708" rIns="45708" bIns="45708" rtlCol="0" anchor="ctr">
            <a:noAutofit/>
          </a:bodyPr>
          <a:lstStyle/>
          <a:p>
            <a:pPr algn="ctr" defTabSz="1087779">
              <a:defRPr/>
            </a:pPr>
            <a:endPar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endParaRPr>
          </a:p>
        </p:txBody>
      </p:sp>
      <p:grpSp>
        <p:nvGrpSpPr>
          <p:cNvPr id="186" name="Group 185"/>
          <p:cNvGrpSpPr/>
          <p:nvPr/>
        </p:nvGrpSpPr>
        <p:grpSpPr>
          <a:xfrm>
            <a:off x="4653717" y="801261"/>
            <a:ext cx="4564584" cy="2961482"/>
            <a:chOff x="4646849" y="1000592"/>
            <a:chExt cx="4267442" cy="2962253"/>
          </a:xfrm>
        </p:grpSpPr>
        <p:sp>
          <p:nvSpPr>
            <p:cNvPr id="322" name="Oval 209"/>
            <p:cNvSpPr/>
            <p:nvPr/>
          </p:nvSpPr>
          <p:spPr bwMode="auto">
            <a:xfrm>
              <a:off x="4646849" y="1000592"/>
              <a:ext cx="4267442" cy="2696898"/>
            </a:xfrm>
            <a:custGeom>
              <a:avLst/>
              <a:gdLst/>
              <a:ahLst/>
              <a:cxnLst/>
              <a:rect l="l" t="t" r="r" b="b"/>
              <a:pathLst>
                <a:path w="8803468" h="5170759">
                  <a:moveTo>
                    <a:pt x="4909183" y="0"/>
                  </a:moveTo>
                  <a:cubicBezTo>
                    <a:pt x="6195616" y="0"/>
                    <a:pt x="7238475" y="1021136"/>
                    <a:pt x="7238475" y="2280772"/>
                  </a:cubicBezTo>
                  <a:cubicBezTo>
                    <a:pt x="7238475" y="2369141"/>
                    <a:pt x="7233343" y="2456337"/>
                    <a:pt x="7222091" y="2541933"/>
                  </a:cubicBezTo>
                  <a:cubicBezTo>
                    <a:pt x="7294788" y="2525239"/>
                    <a:pt x="7370149" y="2518684"/>
                    <a:pt x="7447004" y="2518684"/>
                  </a:cubicBezTo>
                  <a:cubicBezTo>
                    <a:pt x="8196160" y="2518684"/>
                    <a:pt x="8803468" y="3141396"/>
                    <a:pt x="8803468" y="3909552"/>
                  </a:cubicBezTo>
                  <a:cubicBezTo>
                    <a:pt x="8803468" y="4469014"/>
                    <a:pt x="8481324" y="4951325"/>
                    <a:pt x="8016221" y="5170759"/>
                  </a:cubicBezTo>
                  <a:lnTo>
                    <a:pt x="895411" y="5170759"/>
                  </a:lnTo>
                  <a:cubicBezTo>
                    <a:pt x="372663" y="4963354"/>
                    <a:pt x="0" y="4399621"/>
                    <a:pt x="0" y="3737717"/>
                  </a:cubicBezTo>
                  <a:cubicBezTo>
                    <a:pt x="0" y="2972099"/>
                    <a:pt x="498598" y="2337829"/>
                    <a:pt x="1150481" y="2231184"/>
                  </a:cubicBezTo>
                  <a:cubicBezTo>
                    <a:pt x="1172083" y="1693806"/>
                    <a:pt x="1604866" y="1266237"/>
                    <a:pt x="2135045" y="1266237"/>
                  </a:cubicBezTo>
                  <a:cubicBezTo>
                    <a:pt x="2360210" y="1266237"/>
                    <a:pt x="2567805" y="1343357"/>
                    <a:pt x="2731785" y="1476336"/>
                  </a:cubicBezTo>
                  <a:cubicBezTo>
                    <a:pt x="3061724" y="613163"/>
                    <a:pt x="3912322" y="0"/>
                    <a:pt x="4909183" y="0"/>
                  </a:cubicBezTo>
                  <a:close/>
                </a:path>
              </a:pathLst>
            </a:cu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850609">
                <a:defRPr/>
              </a:pPr>
              <a:endParaRPr lang="en-US" sz="1200" kern="0" dirty="0">
                <a:solidFill>
                  <a:srgbClr val="FFFFFF"/>
                </a:solidFill>
                <a:latin typeface="Segoe UI Semibold" panose="020B0702040204020203" pitchFamily="34" charset="0"/>
                <a:cs typeface="Segoe UI Semibold" panose="020B0702040204020203" pitchFamily="34" charset="0"/>
              </a:endParaRPr>
            </a:p>
          </p:txBody>
        </p:sp>
        <p:sp>
          <p:nvSpPr>
            <p:cNvPr id="323" name="TextBox 322"/>
            <p:cNvSpPr txBox="1"/>
            <p:nvPr/>
          </p:nvSpPr>
          <p:spPr>
            <a:xfrm>
              <a:off x="5084724" y="3697491"/>
              <a:ext cx="3464098" cy="265354"/>
            </a:xfrm>
            <a:prstGeom prst="rect">
              <a:avLst/>
            </a:prstGeom>
          </p:spPr>
          <p:txBody>
            <a:bodyPr vert="horz" wrap="square" lIns="45708" tIns="45708" rIns="45708" bIns="45708" rtlCol="0" anchor="ctr">
              <a:noAutofit/>
            </a:bodyPr>
            <a:lstStyle/>
            <a:p>
              <a:pPr algn="ctr" defTabSz="1087779">
                <a:defRPr/>
              </a:pPr>
              <a:r>
                <a:rPr lang="en-US" sz="1600" kern="0" dirty="0">
                  <a:solidFill>
                    <a:srgbClr val="505050"/>
                  </a:solidFill>
                  <a:latin typeface="Segoe UI Semibold" panose="020B0702040204020203" pitchFamily="34" charset="0"/>
                  <a:ea typeface="Segoe UI" pitchFamily="34" charset="0"/>
                  <a:cs typeface="Segoe UI Semibold" panose="020B0702040204020203" pitchFamily="34" charset="0"/>
                </a:rPr>
                <a:t>Productivity Cloud</a:t>
              </a:r>
            </a:p>
          </p:txBody>
        </p:sp>
      </p:grpSp>
      <p:sp>
        <p:nvSpPr>
          <p:cNvPr id="191" name="TextBox 190"/>
          <p:cNvSpPr txBox="1"/>
          <p:nvPr/>
        </p:nvSpPr>
        <p:spPr>
          <a:xfrm>
            <a:off x="7924366" y="2605667"/>
            <a:ext cx="787210" cy="321150"/>
          </a:xfrm>
          <a:prstGeom prst="rect">
            <a:avLst/>
          </a:prstGeom>
        </p:spPr>
        <p:txBody>
          <a:bodyPr vert="horz" wrap="square" lIns="45708" tIns="45708" rIns="45708" bIns="45708" rtlCol="0" anchor="ctr">
            <a:noAutofit/>
          </a:bodyPr>
          <a:lstStyle/>
          <a:p>
            <a:pPr algn="ctr" defTabSz="1087779">
              <a:defRPr/>
            </a:pPr>
            <a:endPar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endParaRPr>
          </a:p>
        </p:txBody>
      </p:sp>
      <p:sp>
        <p:nvSpPr>
          <p:cNvPr id="192" name="TextBox 191"/>
          <p:cNvSpPr txBox="1"/>
          <p:nvPr/>
        </p:nvSpPr>
        <p:spPr>
          <a:xfrm>
            <a:off x="5904168" y="2709389"/>
            <a:ext cx="577715" cy="321498"/>
          </a:xfrm>
          <a:prstGeom prst="rect">
            <a:avLst/>
          </a:prstGeom>
        </p:spPr>
        <p:txBody>
          <a:bodyPr vert="horz" wrap="square" lIns="45708" tIns="45708" rIns="45708" bIns="45708"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kern="0" dirty="0">
                <a:solidFill>
                  <a:prstClr val="white"/>
                </a:solidFill>
              </a:rPr>
              <a:t>Smart Agents</a:t>
            </a:r>
          </a:p>
        </p:txBody>
      </p:sp>
      <p:grpSp>
        <p:nvGrpSpPr>
          <p:cNvPr id="193" name="Group 192"/>
          <p:cNvGrpSpPr/>
          <p:nvPr/>
        </p:nvGrpSpPr>
        <p:grpSpPr>
          <a:xfrm>
            <a:off x="4796603" y="2183913"/>
            <a:ext cx="694320" cy="570372"/>
            <a:chOff x="6003379" y="4976374"/>
            <a:chExt cx="694501" cy="570521"/>
          </a:xfrm>
        </p:grpSpPr>
        <p:sp>
          <p:nvSpPr>
            <p:cNvPr id="287" name="TextBox 286"/>
            <p:cNvSpPr txBox="1"/>
            <p:nvPr/>
          </p:nvSpPr>
          <p:spPr>
            <a:xfrm>
              <a:off x="6003379" y="5393007"/>
              <a:ext cx="694501" cy="153888"/>
            </a:xfrm>
            <a:prstGeom prst="rect">
              <a:avLst/>
            </a:prstGeom>
          </p:spPr>
          <p:txBody>
            <a:bodyPr vert="horz" wrap="square" lIns="0" tIns="0" rIns="0" bIns="0"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kern="0" dirty="0">
                  <a:solidFill>
                    <a:prstClr val="white"/>
                  </a:solidFill>
                </a:rPr>
                <a:t>Skype</a:t>
              </a:r>
            </a:p>
          </p:txBody>
        </p:sp>
        <p:pic>
          <p:nvPicPr>
            <p:cNvPr id="289" name="Picture 288"/>
            <p:cNvPicPr>
              <a:picLocks noChangeAspect="1"/>
            </p:cNvPicPr>
            <p:nvPr/>
          </p:nvPicPr>
          <p:blipFill>
            <a:blip r:embed="rId10">
              <a:biLevel thresh="25000"/>
            </a:blip>
            <a:stretch>
              <a:fillRect/>
            </a:stretch>
          </p:blipFill>
          <p:spPr>
            <a:xfrm>
              <a:off x="6076391" y="4976374"/>
              <a:ext cx="527160" cy="394608"/>
            </a:xfrm>
            <a:prstGeom prst="rect">
              <a:avLst/>
            </a:prstGeom>
          </p:spPr>
        </p:pic>
      </p:grpSp>
      <p:grpSp>
        <p:nvGrpSpPr>
          <p:cNvPr id="199" name="Group 198"/>
          <p:cNvGrpSpPr/>
          <p:nvPr/>
        </p:nvGrpSpPr>
        <p:grpSpPr>
          <a:xfrm>
            <a:off x="7593348" y="1694034"/>
            <a:ext cx="602572" cy="688781"/>
            <a:chOff x="6786468" y="4155554"/>
            <a:chExt cx="602729" cy="688960"/>
          </a:xfrm>
        </p:grpSpPr>
        <p:pic>
          <p:nvPicPr>
            <p:cNvPr id="283" name="Picture 2" descr="Deploy Microsoft Dynamics AX on Azure"/>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901478" y="4155554"/>
              <a:ext cx="372712" cy="368378"/>
            </a:xfrm>
            <a:prstGeom prst="rect">
              <a:avLst/>
            </a:prstGeom>
            <a:noFill/>
            <a:extLst>
              <a:ext uri="{909E8E84-426E-40DD-AFC4-6F175D3DCCD1}">
                <a14:hiddenFill xmlns:a14="http://schemas.microsoft.com/office/drawing/2010/main">
                  <a:solidFill>
                    <a:srgbClr val="FFFFFF"/>
                  </a:solidFill>
                </a14:hiddenFill>
              </a:ext>
            </a:extLst>
          </p:spPr>
        </p:pic>
        <p:sp>
          <p:nvSpPr>
            <p:cNvPr id="286" name="TextBox 285"/>
            <p:cNvSpPr txBox="1"/>
            <p:nvPr/>
          </p:nvSpPr>
          <p:spPr>
            <a:xfrm>
              <a:off x="6786468" y="4536737"/>
              <a:ext cx="602729" cy="307777"/>
            </a:xfrm>
            <a:prstGeom prst="rect">
              <a:avLst/>
            </a:prstGeom>
          </p:spPr>
          <p:txBody>
            <a:bodyPr vert="horz" wrap="none" lIns="0" tIns="0" rIns="0" bIns="0" rtlCol="0" anchor="ctr">
              <a:noAutofit/>
            </a:bodyPr>
            <a:lstStyle/>
            <a:p>
              <a:pPr algn="ctr" defTabSz="1087779">
                <a:defRPr/>
              </a:pPr>
              <a:r>
                <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rPr>
                <a:t>Dynamics </a:t>
              </a:r>
              <a:br>
                <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rPr>
              </a:br>
              <a:r>
                <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rPr>
                <a:t>Marketing/AX</a:t>
              </a:r>
            </a:p>
          </p:txBody>
        </p:sp>
      </p:grpSp>
      <p:grpSp>
        <p:nvGrpSpPr>
          <p:cNvPr id="201" name="Group 200"/>
          <p:cNvGrpSpPr/>
          <p:nvPr/>
        </p:nvGrpSpPr>
        <p:grpSpPr>
          <a:xfrm>
            <a:off x="6360531" y="1155273"/>
            <a:ext cx="694320" cy="587979"/>
            <a:chOff x="6778590" y="4958763"/>
            <a:chExt cx="694501" cy="588132"/>
          </a:xfrm>
        </p:grpSpPr>
        <p:sp>
          <p:nvSpPr>
            <p:cNvPr id="280" name="TextBox 279"/>
            <p:cNvSpPr txBox="1"/>
            <p:nvPr/>
          </p:nvSpPr>
          <p:spPr>
            <a:xfrm>
              <a:off x="6778590" y="5393007"/>
              <a:ext cx="694501" cy="153888"/>
            </a:xfrm>
            <a:prstGeom prst="rect">
              <a:avLst/>
            </a:prstGeom>
          </p:spPr>
          <p:txBody>
            <a:bodyPr vert="horz" wrap="square" lIns="0" tIns="0" rIns="0" bIns="0"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kern="0" dirty="0">
                  <a:solidFill>
                    <a:prstClr val="white"/>
                  </a:solidFill>
                </a:rPr>
                <a:t>CRM Online</a:t>
              </a:r>
            </a:p>
          </p:txBody>
        </p:sp>
        <p:pic>
          <p:nvPicPr>
            <p:cNvPr id="282" name="Picture 281"/>
            <p:cNvPicPr>
              <a:picLocks noChangeAspect="1"/>
            </p:cNvPicPr>
            <p:nvPr/>
          </p:nvPicPr>
          <p:blipFill>
            <a:blip r:embed="rId12"/>
            <a:stretch>
              <a:fillRect/>
            </a:stretch>
          </p:blipFill>
          <p:spPr>
            <a:xfrm>
              <a:off x="6933148" y="4958763"/>
              <a:ext cx="327217" cy="387206"/>
            </a:xfrm>
            <a:prstGeom prst="rect">
              <a:avLst/>
            </a:prstGeom>
          </p:spPr>
        </p:pic>
      </p:grpSp>
      <p:grpSp>
        <p:nvGrpSpPr>
          <p:cNvPr id="205" name="Group 204"/>
          <p:cNvGrpSpPr/>
          <p:nvPr/>
        </p:nvGrpSpPr>
        <p:grpSpPr>
          <a:xfrm>
            <a:off x="8206256" y="2615540"/>
            <a:ext cx="661869" cy="566201"/>
            <a:chOff x="6721210" y="2977753"/>
            <a:chExt cx="662041" cy="566348"/>
          </a:xfrm>
        </p:grpSpPr>
        <p:sp>
          <p:nvSpPr>
            <p:cNvPr id="245" name="Rectangle 244"/>
            <p:cNvSpPr/>
            <p:nvPr/>
          </p:nvSpPr>
          <p:spPr>
            <a:xfrm>
              <a:off x="6914124" y="3008521"/>
              <a:ext cx="332963" cy="3488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914126">
                <a:defRPr/>
              </a:pPr>
              <a:endParaRPr lang="en-US" sz="1200" kern="0" dirty="0" err="1">
                <a:solidFill>
                  <a:sysClr val="windowText" lastClr="000000"/>
                </a:solidFill>
                <a:latin typeface="Segoe UI"/>
              </a:endParaRPr>
            </a:p>
          </p:txBody>
        </p:sp>
        <p:grpSp>
          <p:nvGrpSpPr>
            <p:cNvPr id="246" name="Group 245"/>
            <p:cNvGrpSpPr/>
            <p:nvPr/>
          </p:nvGrpSpPr>
          <p:grpSpPr>
            <a:xfrm>
              <a:off x="6721210" y="2977753"/>
              <a:ext cx="662041" cy="566348"/>
              <a:chOff x="6332079" y="3918572"/>
              <a:chExt cx="662041" cy="566348"/>
            </a:xfrm>
          </p:grpSpPr>
          <p:pic>
            <p:nvPicPr>
              <p:cNvPr id="261" name="Picture 260"/>
              <p:cNvPicPr>
                <a:picLocks noChangeAspect="1"/>
              </p:cNvPicPr>
              <p:nvPr/>
            </p:nvPicPr>
            <p:blipFill>
              <a:blip r:embed="rId13">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6452395" y="3918572"/>
                <a:ext cx="414076" cy="414076"/>
              </a:xfrm>
              <a:prstGeom prst="rect">
                <a:avLst/>
              </a:prstGeom>
            </p:spPr>
          </p:pic>
          <p:sp>
            <p:nvSpPr>
              <p:cNvPr id="271" name="TextBox 270"/>
              <p:cNvSpPr txBox="1"/>
              <p:nvPr/>
            </p:nvSpPr>
            <p:spPr>
              <a:xfrm>
                <a:off x="6332079" y="4331032"/>
                <a:ext cx="662041" cy="153888"/>
              </a:xfrm>
              <a:prstGeom prst="rect">
                <a:avLst/>
              </a:prstGeom>
            </p:spPr>
            <p:txBody>
              <a:bodyPr vert="horz" wrap="none" lIns="0" tIns="0" rIns="0" bIns="0" rtlCol="0" anchor="ctr">
                <a:spAutoFit/>
              </a:bodyPr>
              <a:lstStyle/>
              <a:p>
                <a:pPr algn="ctr" defTabSz="1087779">
                  <a:defRPr/>
                </a:pPr>
                <a:r>
                  <a:rPr lang="en-US" sz="1000" kern="0" dirty="0" err="1">
                    <a:solidFill>
                      <a:prstClr val="white"/>
                    </a:solidFill>
                    <a:latin typeface="Segoe UI Semibold" panose="020B0702040204020203" pitchFamily="34" charset="0"/>
                    <a:ea typeface="Segoe UI" pitchFamily="34" charset="0"/>
                    <a:cs typeface="Segoe UI Semibold" panose="020B0702040204020203" pitchFamily="34" charset="0"/>
                  </a:rPr>
                  <a:t>PowerApps</a:t>
                </a:r>
                <a:endPar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endParaRPr>
              </a:p>
            </p:txBody>
          </p:sp>
        </p:grpSp>
      </p:grpSp>
      <p:grpSp>
        <p:nvGrpSpPr>
          <p:cNvPr id="206" name="Group 205"/>
          <p:cNvGrpSpPr/>
          <p:nvPr/>
        </p:nvGrpSpPr>
        <p:grpSpPr>
          <a:xfrm>
            <a:off x="6633065" y="2533440"/>
            <a:ext cx="613011" cy="875113"/>
            <a:chOff x="4928969" y="2462281"/>
            <a:chExt cx="613171" cy="875341"/>
          </a:xfrm>
        </p:grpSpPr>
        <p:pic>
          <p:nvPicPr>
            <p:cNvPr id="243" name="Picture 242"/>
            <p:cNvPicPr>
              <a:picLocks noChangeAspect="1"/>
            </p:cNvPicPr>
            <p:nvPr/>
          </p:nvPicPr>
          <p:blipFill>
            <a:blip r:embed="rId14">
              <a:biLevel thresh="25000"/>
              <a:extLst>
                <a:ext uri="{28A0092B-C50C-407E-A947-70E740481C1C}">
                  <a14:useLocalDpi xmlns:a14="http://schemas.microsoft.com/office/drawing/2010/main" val="0"/>
                </a:ext>
              </a:extLst>
            </a:blip>
            <a:stretch>
              <a:fillRect/>
            </a:stretch>
          </p:blipFill>
          <p:spPr>
            <a:xfrm>
              <a:off x="4928969" y="2462281"/>
              <a:ext cx="603471" cy="603471"/>
            </a:xfrm>
            <a:prstGeom prst="rect">
              <a:avLst/>
            </a:prstGeom>
          </p:spPr>
        </p:pic>
        <p:sp>
          <p:nvSpPr>
            <p:cNvPr id="244" name="TextBox 243"/>
            <p:cNvSpPr txBox="1"/>
            <p:nvPr/>
          </p:nvSpPr>
          <p:spPr>
            <a:xfrm>
              <a:off x="4949029" y="3029845"/>
              <a:ext cx="593111" cy="307777"/>
            </a:xfrm>
            <a:prstGeom prst="rect">
              <a:avLst/>
            </a:prstGeom>
          </p:spPr>
          <p:txBody>
            <a:bodyPr vert="horz" wrap="none" lIns="0" tIns="0" rIns="0" bIns="0" rtlCol="0" anchor="ctr">
              <a:spAutoFit/>
            </a:bodyPr>
            <a:lstStyle/>
            <a:p>
              <a:pPr algn="ctr" defTabSz="1087779">
                <a:defRPr/>
              </a:pPr>
              <a:r>
                <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rPr>
                <a:t>Cognitive </a:t>
              </a:r>
            </a:p>
            <a:p>
              <a:pPr algn="ctr" defTabSz="1087779">
                <a:defRPr/>
              </a:pPr>
              <a:r>
                <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rPr>
                <a:t>Services</a:t>
              </a:r>
            </a:p>
          </p:txBody>
        </p:sp>
      </p:grpSp>
      <p:sp>
        <p:nvSpPr>
          <p:cNvPr id="207" name="TextBox 206"/>
          <p:cNvSpPr txBox="1"/>
          <p:nvPr/>
        </p:nvSpPr>
        <p:spPr>
          <a:xfrm>
            <a:off x="6135024" y="1941523"/>
            <a:ext cx="1073312" cy="180706"/>
          </a:xfrm>
          <a:prstGeom prst="rect">
            <a:avLst/>
          </a:prstGeom>
        </p:spPr>
        <p:txBody>
          <a:bodyPr vert="horz" wrap="square" lIns="45708" tIns="45708" rIns="45708" bIns="45708"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kern="0" dirty="0">
                <a:solidFill>
                  <a:prstClr val="white"/>
                </a:solidFill>
              </a:rPr>
              <a:t>Personal Graph</a:t>
            </a:r>
          </a:p>
        </p:txBody>
      </p:sp>
      <p:sp>
        <p:nvSpPr>
          <p:cNvPr id="208" name="TextBox 207"/>
          <p:cNvSpPr txBox="1"/>
          <p:nvPr/>
        </p:nvSpPr>
        <p:spPr>
          <a:xfrm>
            <a:off x="6211859" y="2286245"/>
            <a:ext cx="1073312" cy="180706"/>
          </a:xfrm>
          <a:prstGeom prst="rect">
            <a:avLst/>
          </a:prstGeom>
        </p:spPr>
        <p:txBody>
          <a:bodyPr vert="horz" wrap="square" lIns="45708" tIns="45708" rIns="45708" bIns="45708"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kern="0" dirty="0">
                <a:solidFill>
                  <a:prstClr val="white"/>
                </a:solidFill>
              </a:rPr>
              <a:t>Office Graph</a:t>
            </a:r>
          </a:p>
        </p:txBody>
      </p:sp>
      <p:grpSp>
        <p:nvGrpSpPr>
          <p:cNvPr id="209" name="Group 208"/>
          <p:cNvGrpSpPr/>
          <p:nvPr/>
        </p:nvGrpSpPr>
        <p:grpSpPr>
          <a:xfrm>
            <a:off x="7458110" y="2668944"/>
            <a:ext cx="521621" cy="622357"/>
            <a:chOff x="5545272" y="2267453"/>
            <a:chExt cx="521757" cy="622519"/>
          </a:xfrm>
        </p:grpSpPr>
        <p:sp>
          <p:nvSpPr>
            <p:cNvPr id="231" name="TextBox 230"/>
            <p:cNvSpPr txBox="1"/>
            <p:nvPr/>
          </p:nvSpPr>
          <p:spPr>
            <a:xfrm>
              <a:off x="5545272" y="2691064"/>
              <a:ext cx="521757" cy="198908"/>
            </a:xfrm>
            <a:prstGeom prst="rect">
              <a:avLst/>
            </a:prstGeom>
          </p:spPr>
          <p:txBody>
            <a:bodyPr vert="horz" wrap="square" lIns="45708" tIns="45708" rIns="45708" bIns="45708"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kern="0" dirty="0">
                  <a:solidFill>
                    <a:prstClr val="white"/>
                  </a:solidFill>
                </a:rPr>
                <a:t>Bing</a:t>
              </a:r>
            </a:p>
          </p:txBody>
        </p:sp>
        <p:pic>
          <p:nvPicPr>
            <p:cNvPr id="242" name="Picture 241"/>
            <p:cNvPicPr>
              <a:picLocks noChangeAspect="1"/>
            </p:cNvPicPr>
            <p:nvPr/>
          </p:nvPicPr>
          <p:blipFill>
            <a:blip r:embed="rId15"/>
            <a:stretch>
              <a:fillRect/>
            </a:stretch>
          </p:blipFill>
          <p:spPr>
            <a:xfrm>
              <a:off x="5608585" y="2267453"/>
              <a:ext cx="382985" cy="391892"/>
            </a:xfrm>
            <a:prstGeom prst="rect">
              <a:avLst/>
            </a:prstGeom>
          </p:spPr>
        </p:pic>
      </p:grpSp>
      <p:grpSp>
        <p:nvGrpSpPr>
          <p:cNvPr id="210" name="Group 209"/>
          <p:cNvGrpSpPr/>
          <p:nvPr/>
        </p:nvGrpSpPr>
        <p:grpSpPr>
          <a:xfrm>
            <a:off x="7086301" y="1015281"/>
            <a:ext cx="683008" cy="538652"/>
            <a:chOff x="5313364" y="3758616"/>
            <a:chExt cx="715691" cy="538792"/>
          </a:xfrm>
        </p:grpSpPr>
        <p:sp>
          <p:nvSpPr>
            <p:cNvPr id="229" name="TextBox 228"/>
            <p:cNvSpPr txBox="1"/>
            <p:nvPr/>
          </p:nvSpPr>
          <p:spPr>
            <a:xfrm>
              <a:off x="5313364" y="4107912"/>
              <a:ext cx="715691" cy="189496"/>
            </a:xfrm>
            <a:prstGeom prst="rect">
              <a:avLst/>
            </a:prstGeom>
          </p:spPr>
          <p:txBody>
            <a:bodyPr vert="horz" wrap="square" lIns="91416" tIns="91416" rIns="91416" bIns="91416" rtlCol="0" anchor="ctr">
              <a:noAutofit/>
            </a:bodyPr>
            <a:lstStyle/>
            <a:p>
              <a:pPr algn="ctr" defTabSz="914126">
                <a:defRPr/>
              </a:pPr>
              <a:r>
                <a:rPr lang="en-US" sz="1000" kern="0" dirty="0" err="1">
                  <a:solidFill>
                    <a:prstClr val="white"/>
                  </a:solidFill>
                  <a:latin typeface="Segoe UI Semibold" panose="020B0702040204020203" pitchFamily="34" charset="0"/>
                  <a:cs typeface="Segoe UI Semibold" panose="020B0702040204020203" pitchFamily="34" charset="0"/>
                </a:rPr>
                <a:t>PowerBI</a:t>
              </a:r>
              <a:endParaRPr lang="en-US" sz="1000" kern="0" dirty="0">
                <a:solidFill>
                  <a:prstClr val="white"/>
                </a:solidFill>
                <a:latin typeface="Segoe UI Semibold" panose="020B0702040204020203" pitchFamily="34" charset="0"/>
                <a:cs typeface="Segoe UI Semibold" panose="020B0702040204020203" pitchFamily="34" charset="0"/>
              </a:endParaRPr>
            </a:p>
          </p:txBody>
        </p:sp>
        <p:pic>
          <p:nvPicPr>
            <p:cNvPr id="230" name="Picture 229"/>
            <p:cNvPicPr>
              <a:picLocks noChangeAspect="1"/>
            </p:cNvPicPr>
            <p:nvPr/>
          </p:nvPicPr>
          <p:blipFill>
            <a:blip r:embed="rId16">
              <a:lum bright="70000" contrast="-70000"/>
            </a:blip>
            <a:stretch>
              <a:fillRect/>
            </a:stretch>
          </p:blipFill>
          <p:spPr>
            <a:xfrm>
              <a:off x="5441238" y="3758616"/>
              <a:ext cx="459943" cy="353647"/>
            </a:xfrm>
            <a:prstGeom prst="rect">
              <a:avLst/>
            </a:prstGeom>
          </p:spPr>
        </p:pic>
      </p:grpSp>
      <p:grpSp>
        <p:nvGrpSpPr>
          <p:cNvPr id="211" name="Group 210"/>
          <p:cNvGrpSpPr/>
          <p:nvPr/>
        </p:nvGrpSpPr>
        <p:grpSpPr>
          <a:xfrm>
            <a:off x="5387404" y="1647133"/>
            <a:ext cx="694320" cy="587979"/>
            <a:chOff x="6864062" y="4991160"/>
            <a:chExt cx="694501" cy="588132"/>
          </a:xfrm>
        </p:grpSpPr>
        <p:sp>
          <p:nvSpPr>
            <p:cNvPr id="217" name="TextBox 216"/>
            <p:cNvSpPr txBox="1"/>
            <p:nvPr/>
          </p:nvSpPr>
          <p:spPr>
            <a:xfrm>
              <a:off x="6864062" y="5425404"/>
              <a:ext cx="694501" cy="153888"/>
            </a:xfrm>
            <a:prstGeom prst="rect">
              <a:avLst/>
            </a:prstGeom>
          </p:spPr>
          <p:txBody>
            <a:bodyPr vert="horz" wrap="square" lIns="0" tIns="0" rIns="0" bIns="0"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kern="0" dirty="0">
                  <a:solidFill>
                    <a:prstClr val="white"/>
                  </a:solidFill>
                </a:rPr>
                <a:t>Office 365</a:t>
              </a:r>
            </a:p>
          </p:txBody>
        </p:sp>
        <p:pic>
          <p:nvPicPr>
            <p:cNvPr id="218" name="Picture 217"/>
            <p:cNvPicPr>
              <a:picLocks noChangeAspect="1"/>
            </p:cNvPicPr>
            <p:nvPr/>
          </p:nvPicPr>
          <p:blipFill>
            <a:blip r:embed="rId12"/>
            <a:stretch>
              <a:fillRect/>
            </a:stretch>
          </p:blipFill>
          <p:spPr>
            <a:xfrm>
              <a:off x="7018620" y="4991160"/>
              <a:ext cx="327217" cy="387206"/>
            </a:xfrm>
            <a:prstGeom prst="rect">
              <a:avLst/>
            </a:prstGeom>
          </p:spPr>
        </p:pic>
      </p:grpSp>
      <p:grpSp>
        <p:nvGrpSpPr>
          <p:cNvPr id="212" name="Group 211"/>
          <p:cNvGrpSpPr/>
          <p:nvPr/>
        </p:nvGrpSpPr>
        <p:grpSpPr>
          <a:xfrm>
            <a:off x="5127760" y="2784647"/>
            <a:ext cx="639432" cy="665959"/>
            <a:chOff x="3526638" y="3914961"/>
            <a:chExt cx="639599" cy="666132"/>
          </a:xfrm>
        </p:grpSpPr>
        <p:pic>
          <p:nvPicPr>
            <p:cNvPr id="213" name="Picture 212"/>
            <p:cNvPicPr>
              <a:picLocks noChangeAspect="1"/>
            </p:cNvPicPr>
            <p:nvPr/>
          </p:nvPicPr>
          <p:blipFill>
            <a:blip r:embed="rId17">
              <a:biLevel thresh="25000"/>
              <a:extLst>
                <a:ext uri="{28A0092B-C50C-407E-A947-70E740481C1C}">
                  <a14:useLocalDpi xmlns:a14="http://schemas.microsoft.com/office/drawing/2010/main" val="0"/>
                </a:ext>
              </a:extLst>
            </a:blip>
            <a:stretch>
              <a:fillRect/>
            </a:stretch>
          </p:blipFill>
          <p:spPr>
            <a:xfrm>
              <a:off x="3631257" y="3914961"/>
              <a:ext cx="454977" cy="454977"/>
            </a:xfrm>
            <a:prstGeom prst="rect">
              <a:avLst/>
            </a:prstGeom>
          </p:spPr>
        </p:pic>
        <p:sp>
          <p:nvSpPr>
            <p:cNvPr id="216" name="TextBox 215"/>
            <p:cNvSpPr txBox="1"/>
            <p:nvPr/>
          </p:nvSpPr>
          <p:spPr>
            <a:xfrm>
              <a:off x="3526638" y="4427205"/>
              <a:ext cx="639599" cy="153888"/>
            </a:xfrm>
            <a:prstGeom prst="rect">
              <a:avLst/>
            </a:prstGeom>
          </p:spPr>
          <p:txBody>
            <a:bodyPr vert="horz" wrap="none" lIns="0" tIns="0" rIns="0" bIns="0" rtlCol="0" anchor="ctr">
              <a:spAutoFit/>
            </a:bodyPr>
            <a:lstStyle/>
            <a:p>
              <a:pPr algn="ctr" defTabSz="1087779">
                <a:defRPr/>
              </a:pPr>
              <a:r>
                <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rPr>
                <a:t>Sharepoint</a:t>
              </a:r>
            </a:p>
          </p:txBody>
        </p:sp>
      </p:grpSp>
      <p:grpSp>
        <p:nvGrpSpPr>
          <p:cNvPr id="379" name="Group 378"/>
          <p:cNvGrpSpPr/>
          <p:nvPr/>
        </p:nvGrpSpPr>
        <p:grpSpPr>
          <a:xfrm>
            <a:off x="3360803" y="4114849"/>
            <a:ext cx="4595666" cy="2663592"/>
            <a:chOff x="2173294" y="2508387"/>
            <a:chExt cx="4596863" cy="2664286"/>
          </a:xfrm>
        </p:grpSpPr>
        <p:sp>
          <p:nvSpPr>
            <p:cNvPr id="380" name="Oval 209"/>
            <p:cNvSpPr/>
            <p:nvPr/>
          </p:nvSpPr>
          <p:spPr bwMode="auto">
            <a:xfrm>
              <a:off x="2173294" y="2508387"/>
              <a:ext cx="4596863" cy="2440080"/>
            </a:xfrm>
            <a:custGeom>
              <a:avLst/>
              <a:gdLst/>
              <a:ahLst/>
              <a:cxnLst/>
              <a:rect l="l" t="t" r="r" b="b"/>
              <a:pathLst>
                <a:path w="8803468" h="5170759">
                  <a:moveTo>
                    <a:pt x="4909183" y="0"/>
                  </a:moveTo>
                  <a:cubicBezTo>
                    <a:pt x="6195616" y="0"/>
                    <a:pt x="7238475" y="1021136"/>
                    <a:pt x="7238475" y="2280772"/>
                  </a:cubicBezTo>
                  <a:cubicBezTo>
                    <a:pt x="7238475" y="2369141"/>
                    <a:pt x="7233343" y="2456337"/>
                    <a:pt x="7222091" y="2541933"/>
                  </a:cubicBezTo>
                  <a:cubicBezTo>
                    <a:pt x="7294788" y="2525239"/>
                    <a:pt x="7370149" y="2518684"/>
                    <a:pt x="7447004" y="2518684"/>
                  </a:cubicBezTo>
                  <a:cubicBezTo>
                    <a:pt x="8196160" y="2518684"/>
                    <a:pt x="8803468" y="3141396"/>
                    <a:pt x="8803468" y="3909552"/>
                  </a:cubicBezTo>
                  <a:cubicBezTo>
                    <a:pt x="8803468" y="4469014"/>
                    <a:pt x="8481324" y="4951325"/>
                    <a:pt x="8016221" y="5170759"/>
                  </a:cubicBezTo>
                  <a:lnTo>
                    <a:pt x="895411" y="5170759"/>
                  </a:lnTo>
                  <a:cubicBezTo>
                    <a:pt x="372663" y="4963354"/>
                    <a:pt x="0" y="4399621"/>
                    <a:pt x="0" y="3737717"/>
                  </a:cubicBezTo>
                  <a:cubicBezTo>
                    <a:pt x="0" y="2972099"/>
                    <a:pt x="498598" y="2337829"/>
                    <a:pt x="1150481" y="2231184"/>
                  </a:cubicBezTo>
                  <a:cubicBezTo>
                    <a:pt x="1172083" y="1693806"/>
                    <a:pt x="1604866" y="1266237"/>
                    <a:pt x="2135045" y="1266237"/>
                  </a:cubicBezTo>
                  <a:cubicBezTo>
                    <a:pt x="2360210" y="1266237"/>
                    <a:pt x="2567805" y="1343357"/>
                    <a:pt x="2731785" y="1476336"/>
                  </a:cubicBezTo>
                  <a:cubicBezTo>
                    <a:pt x="3061724" y="613163"/>
                    <a:pt x="3912322" y="0"/>
                    <a:pt x="4909183" y="0"/>
                  </a:cubicBezTo>
                  <a:close/>
                </a:path>
              </a:pathLst>
            </a:cu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45708" tIns="45708" rIns="45708" bIns="45708" numCol="1" spcCol="0" rtlCol="0" fromWordArt="0" anchor="b" anchorCtr="0" forceAA="0" compatLnSpc="1">
              <a:prstTxWarp prst="textNoShape">
                <a:avLst/>
              </a:prstTxWarp>
              <a:noAutofit/>
            </a:bodyPr>
            <a:lstStyle/>
            <a:p>
              <a:pPr algn="ctr" defTabSz="850609">
                <a:defRPr/>
              </a:pPr>
              <a:endParaRPr lang="en-US" sz="1200" kern="0" dirty="0">
                <a:solidFill>
                  <a:srgbClr val="FFFFFF"/>
                </a:solidFill>
                <a:latin typeface="Segoe UI Semibold" panose="020B0702040204020203" pitchFamily="34" charset="0"/>
                <a:cs typeface="Segoe UI Semibold" panose="020B0702040204020203" pitchFamily="34" charset="0"/>
              </a:endParaRPr>
            </a:p>
          </p:txBody>
        </p:sp>
        <p:sp>
          <p:nvSpPr>
            <p:cNvPr id="381" name="TextBox 380"/>
            <p:cNvSpPr txBox="1"/>
            <p:nvPr/>
          </p:nvSpPr>
          <p:spPr>
            <a:xfrm>
              <a:off x="2701252" y="4948467"/>
              <a:ext cx="3721526" cy="224206"/>
            </a:xfrm>
            <a:prstGeom prst="rect">
              <a:avLst/>
            </a:prstGeom>
          </p:spPr>
          <p:txBody>
            <a:bodyPr vert="horz" wrap="square" lIns="45708" tIns="45708" rIns="45708" bIns="45708" rtlCol="0" anchor="ctr">
              <a:noAutofit/>
            </a:bodyPr>
            <a:lstStyle/>
            <a:p>
              <a:pPr algn="ctr" defTabSz="1087779">
                <a:defRPr/>
              </a:pPr>
              <a:r>
                <a:rPr lang="en-US" sz="1600" kern="0" dirty="0">
                  <a:solidFill>
                    <a:srgbClr val="505050"/>
                  </a:solidFill>
                  <a:latin typeface="Segoe UI Semibold" panose="020B0702040204020203" pitchFamily="34" charset="0"/>
                  <a:ea typeface="Segoe UI" pitchFamily="34" charset="0"/>
                  <a:cs typeface="Segoe UI Semibold" panose="020B0702040204020203" pitchFamily="34" charset="0"/>
                </a:rPr>
                <a:t>Intelligent Cloud</a:t>
              </a:r>
            </a:p>
          </p:txBody>
        </p:sp>
        <p:pic>
          <p:nvPicPr>
            <p:cNvPr id="382" name="Picture 381"/>
            <p:cNvPicPr>
              <a:picLocks noChangeAspect="1"/>
            </p:cNvPicPr>
            <p:nvPr/>
          </p:nvPicPr>
          <p:blipFill>
            <a:blip r:embed="rId18">
              <a:biLevel thresh="25000"/>
            </a:blip>
            <a:stretch>
              <a:fillRect/>
            </a:stretch>
          </p:blipFill>
          <p:spPr>
            <a:xfrm>
              <a:off x="3007745" y="3210013"/>
              <a:ext cx="483065" cy="483065"/>
            </a:xfrm>
            <a:prstGeom prst="rect">
              <a:avLst/>
            </a:prstGeom>
          </p:spPr>
        </p:pic>
        <p:sp>
          <p:nvSpPr>
            <p:cNvPr id="383" name="TextBox 382"/>
            <p:cNvSpPr txBox="1"/>
            <p:nvPr/>
          </p:nvSpPr>
          <p:spPr>
            <a:xfrm>
              <a:off x="2884593" y="3722624"/>
              <a:ext cx="729367" cy="153888"/>
            </a:xfrm>
            <a:prstGeom prst="rect">
              <a:avLst/>
            </a:prstGeom>
          </p:spPr>
          <p:txBody>
            <a:bodyPr vert="horz" wrap="none" lIns="0" tIns="0" rIns="0" bIns="0" rtlCol="0" anchor="ctr">
              <a:spAutoFit/>
            </a:bodyPr>
            <a:lstStyle/>
            <a:p>
              <a:pPr algn="ctr" defTabSz="1087779">
                <a:defRPr/>
              </a:pPr>
              <a:r>
                <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rPr>
                <a:t>App Insights</a:t>
              </a:r>
            </a:p>
          </p:txBody>
        </p:sp>
        <p:pic>
          <p:nvPicPr>
            <p:cNvPr id="384" name="Picture 383"/>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4589087" y="3501752"/>
              <a:ext cx="413553" cy="413553"/>
            </a:xfrm>
            <a:prstGeom prst="rect">
              <a:avLst/>
            </a:prstGeom>
          </p:spPr>
        </p:pic>
        <p:sp>
          <p:nvSpPr>
            <p:cNvPr id="385" name="TextBox 384"/>
            <p:cNvSpPr txBox="1"/>
            <p:nvPr/>
          </p:nvSpPr>
          <p:spPr>
            <a:xfrm>
              <a:off x="4455333" y="3868742"/>
              <a:ext cx="681060" cy="246221"/>
            </a:xfrm>
            <a:prstGeom prst="rect">
              <a:avLst/>
            </a:prstGeom>
          </p:spPr>
          <p:txBody>
            <a:bodyPr vert="horz" wrap="square" lIns="45708" tIns="45708" rIns="45708" bIns="45708" rtlCol="0" anchor="ctr">
              <a:noAutofit/>
            </a:bodyPr>
            <a:lstStyle>
              <a:defPPr>
                <a:defRPr lang="en-US"/>
              </a:defPPr>
              <a:lvl1pPr algn="ctr" defTabSz="1088105">
                <a:defRPr sz="12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sz="1000" kern="0" dirty="0" err="1">
                  <a:solidFill>
                    <a:prstClr val="white"/>
                  </a:solidFill>
                </a:rPr>
                <a:t>HDInsight</a:t>
              </a:r>
              <a:endParaRPr lang="en-US" sz="1000" kern="0" dirty="0">
                <a:solidFill>
                  <a:prstClr val="white"/>
                </a:solidFill>
              </a:endParaRPr>
            </a:p>
          </p:txBody>
        </p:sp>
        <p:pic>
          <p:nvPicPr>
            <p:cNvPr id="386" name="Picture 385"/>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4291811" y="2676250"/>
              <a:ext cx="359016" cy="359016"/>
            </a:xfrm>
            <a:prstGeom prst="rect">
              <a:avLst/>
            </a:prstGeom>
          </p:spPr>
        </p:pic>
        <p:sp>
          <p:nvSpPr>
            <p:cNvPr id="387" name="TextBox 386"/>
            <p:cNvSpPr txBox="1"/>
            <p:nvPr/>
          </p:nvSpPr>
          <p:spPr>
            <a:xfrm>
              <a:off x="3970701" y="3041546"/>
              <a:ext cx="1001236" cy="400110"/>
            </a:xfrm>
            <a:prstGeom prst="rect">
              <a:avLst/>
            </a:prstGeom>
          </p:spPr>
          <p:txBody>
            <a:bodyPr vert="horz" wrap="none" lIns="45708" tIns="45708" rIns="45708" bIns="45708" rtlCol="0" anchor="ctr">
              <a:spAutoFit/>
            </a:bodyPr>
            <a:lstStyle>
              <a:defPPr>
                <a:defRPr lang="en-US"/>
              </a:defPPr>
              <a:lvl1pPr algn="ctr" defTabSz="1088105">
                <a:defRPr sz="12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sz="1000" kern="0" dirty="0">
                  <a:solidFill>
                    <a:prstClr val="white"/>
                  </a:solidFill>
                </a:rPr>
                <a:t>Azure Machine </a:t>
              </a:r>
              <a:br>
                <a:rPr lang="en-US" sz="1000" kern="0" dirty="0">
                  <a:solidFill>
                    <a:prstClr val="white"/>
                  </a:solidFill>
                </a:rPr>
              </a:br>
              <a:r>
                <a:rPr lang="en-US" sz="1000" kern="0" dirty="0">
                  <a:solidFill>
                    <a:prstClr val="white"/>
                  </a:solidFill>
                </a:rPr>
                <a:t>Learning</a:t>
              </a:r>
            </a:p>
          </p:txBody>
        </p:sp>
        <p:pic>
          <p:nvPicPr>
            <p:cNvPr id="388" name="Picture 387"/>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5136626" y="2894953"/>
              <a:ext cx="401119" cy="401119"/>
            </a:xfrm>
            <a:prstGeom prst="rect">
              <a:avLst/>
            </a:prstGeom>
          </p:spPr>
        </p:pic>
        <p:sp>
          <p:nvSpPr>
            <p:cNvPr id="389" name="TextBox 388"/>
            <p:cNvSpPr txBox="1"/>
            <p:nvPr/>
          </p:nvSpPr>
          <p:spPr>
            <a:xfrm>
              <a:off x="4975514" y="3314726"/>
              <a:ext cx="737381" cy="153888"/>
            </a:xfrm>
            <a:prstGeom prst="rect">
              <a:avLst/>
            </a:prstGeom>
          </p:spPr>
          <p:txBody>
            <a:bodyPr vert="horz" wrap="none" lIns="0" tIns="0" rIns="0" bIns="0" rtlCol="0" anchor="ctr">
              <a:spAutoFit/>
            </a:bodyPr>
            <a:lstStyle/>
            <a:p>
              <a:pPr algn="ctr" defTabSz="1087779">
                <a:defRPr/>
              </a:pPr>
              <a:r>
                <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rPr>
                <a:t>Data Factory</a:t>
              </a:r>
            </a:p>
          </p:txBody>
        </p:sp>
        <p:pic>
          <p:nvPicPr>
            <p:cNvPr id="390" name="Picture 389"/>
            <p:cNvPicPr>
              <a:picLocks noChangeAspect="1"/>
            </p:cNvPicPr>
            <p:nvPr/>
          </p:nvPicPr>
          <p:blipFill>
            <a:blip r:embed="rId22">
              <a:biLevel thresh="25000"/>
            </a:blip>
            <a:stretch>
              <a:fillRect/>
            </a:stretch>
          </p:blipFill>
          <p:spPr>
            <a:xfrm>
              <a:off x="3736073" y="3451546"/>
              <a:ext cx="412587" cy="412587"/>
            </a:xfrm>
            <a:prstGeom prst="rect">
              <a:avLst/>
            </a:prstGeom>
          </p:spPr>
        </p:pic>
        <p:sp>
          <p:nvSpPr>
            <p:cNvPr id="391" name="TextBox 390"/>
            <p:cNvSpPr txBox="1"/>
            <p:nvPr/>
          </p:nvSpPr>
          <p:spPr>
            <a:xfrm>
              <a:off x="3655429" y="3936667"/>
              <a:ext cx="573875" cy="153888"/>
            </a:xfrm>
            <a:prstGeom prst="rect">
              <a:avLst/>
            </a:prstGeom>
          </p:spPr>
          <p:txBody>
            <a:bodyPr vert="horz" wrap="none" lIns="0" tIns="0" rIns="0" bIns="0" rtlCol="0" anchor="ctr">
              <a:spAutoFit/>
            </a:bodyPr>
            <a:lstStyle/>
            <a:p>
              <a:pPr algn="ctr" defTabSz="1087779">
                <a:defRPr/>
              </a:pPr>
              <a:r>
                <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rPr>
                <a:t>Data Lake</a:t>
              </a:r>
            </a:p>
          </p:txBody>
        </p:sp>
        <p:sp>
          <p:nvSpPr>
            <p:cNvPr id="392" name="TextBox 391"/>
            <p:cNvSpPr txBox="1"/>
            <p:nvPr/>
          </p:nvSpPr>
          <p:spPr>
            <a:xfrm>
              <a:off x="4852401" y="4454629"/>
              <a:ext cx="760737" cy="400110"/>
            </a:xfrm>
            <a:prstGeom prst="rect">
              <a:avLst/>
            </a:prstGeom>
          </p:spPr>
          <p:txBody>
            <a:bodyPr vert="horz" wrap="square" lIns="45708" tIns="45708" rIns="45708" bIns="45708" rtlCol="0" anchor="ctr">
              <a:noAutofit/>
            </a:bodyPr>
            <a:lstStyle>
              <a:defPPr>
                <a:defRPr lang="en-US"/>
              </a:defPPr>
              <a:lvl1pPr algn="ctr" defTabSz="1088105">
                <a:defRPr sz="12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sz="1000" kern="0" dirty="0">
                  <a:solidFill>
                    <a:prstClr val="white"/>
                  </a:solidFill>
                </a:rPr>
                <a:t>Stream</a:t>
              </a:r>
              <a:br>
                <a:rPr lang="en-US" sz="1000" kern="0" dirty="0">
                  <a:solidFill>
                    <a:prstClr val="white"/>
                  </a:solidFill>
                </a:rPr>
              </a:br>
              <a:r>
                <a:rPr lang="en-US" sz="1000" kern="0" dirty="0">
                  <a:solidFill>
                    <a:prstClr val="white"/>
                  </a:solidFill>
                </a:rPr>
                <a:t>Analytics</a:t>
              </a:r>
            </a:p>
          </p:txBody>
        </p:sp>
        <p:pic>
          <p:nvPicPr>
            <p:cNvPr id="393" name="Picture 392"/>
            <p:cNvPicPr>
              <a:picLocks noChangeAspect="1"/>
            </p:cNvPicPr>
            <p:nvPr/>
          </p:nvPicPr>
          <p:blipFill>
            <a:blip r:embed="rId23" cstate="print">
              <a:biLevel thresh="25000"/>
              <a:extLst>
                <a:ext uri="{28A0092B-C50C-407E-A947-70E740481C1C}">
                  <a14:useLocalDpi xmlns:a14="http://schemas.microsoft.com/office/drawing/2010/main" val="0"/>
                </a:ext>
              </a:extLst>
            </a:blip>
            <a:stretch>
              <a:fillRect/>
            </a:stretch>
          </p:blipFill>
          <p:spPr>
            <a:xfrm>
              <a:off x="4979261" y="4090555"/>
              <a:ext cx="507016" cy="507016"/>
            </a:xfrm>
            <a:prstGeom prst="rect">
              <a:avLst/>
            </a:prstGeom>
          </p:spPr>
        </p:pic>
        <p:pic>
          <p:nvPicPr>
            <p:cNvPr id="394" name="Picture 393"/>
            <p:cNvPicPr>
              <a:picLocks noChangeAspect="1"/>
            </p:cNvPicPr>
            <p:nvPr/>
          </p:nvPicPr>
          <p:blipFill>
            <a:blip r:embed="rId24" cstate="print">
              <a:biLevel thresh="25000"/>
              <a:extLst>
                <a:ext uri="{28A0092B-C50C-407E-A947-70E740481C1C}">
                  <a14:useLocalDpi xmlns:a14="http://schemas.microsoft.com/office/drawing/2010/main" val="0"/>
                </a:ext>
              </a:extLst>
            </a:blip>
            <a:stretch>
              <a:fillRect/>
            </a:stretch>
          </p:blipFill>
          <p:spPr>
            <a:xfrm>
              <a:off x="5857152" y="4295133"/>
              <a:ext cx="389797" cy="389797"/>
            </a:xfrm>
            <a:prstGeom prst="rect">
              <a:avLst/>
            </a:prstGeom>
          </p:spPr>
        </p:pic>
        <p:sp>
          <p:nvSpPr>
            <p:cNvPr id="395" name="TextBox 394"/>
            <p:cNvSpPr txBox="1"/>
            <p:nvPr/>
          </p:nvSpPr>
          <p:spPr>
            <a:xfrm>
              <a:off x="5647365" y="4718309"/>
              <a:ext cx="809369" cy="183356"/>
            </a:xfrm>
            <a:prstGeom prst="rect">
              <a:avLst/>
            </a:prstGeom>
          </p:spPr>
          <p:txBody>
            <a:bodyPr vert="horz" wrap="square" lIns="45708" tIns="45708" rIns="45708" bIns="45708" rtlCol="0" anchor="ctr">
              <a:noAutofit/>
            </a:bodyPr>
            <a:lstStyle>
              <a:defPPr>
                <a:defRPr lang="en-US"/>
              </a:defPPr>
              <a:lvl1pPr algn="ctr" defTabSz="1088105">
                <a:defRPr sz="12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sz="1000" kern="0" dirty="0">
                  <a:solidFill>
                    <a:prstClr val="white"/>
                  </a:solidFill>
                </a:rPr>
                <a:t>Event Hubs</a:t>
              </a:r>
            </a:p>
          </p:txBody>
        </p:sp>
        <p:pic>
          <p:nvPicPr>
            <p:cNvPr id="396" name="Picture 395"/>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a:off x="4221389" y="4200388"/>
              <a:ext cx="413553" cy="413553"/>
            </a:xfrm>
            <a:prstGeom prst="rect">
              <a:avLst/>
            </a:prstGeom>
          </p:spPr>
        </p:pic>
        <p:sp>
          <p:nvSpPr>
            <p:cNvPr id="397" name="TextBox 396"/>
            <p:cNvSpPr txBox="1"/>
            <p:nvPr/>
          </p:nvSpPr>
          <p:spPr>
            <a:xfrm>
              <a:off x="4087635" y="4567378"/>
              <a:ext cx="681060" cy="246221"/>
            </a:xfrm>
            <a:prstGeom prst="rect">
              <a:avLst/>
            </a:prstGeom>
          </p:spPr>
          <p:txBody>
            <a:bodyPr vert="horz" wrap="square" lIns="45708" tIns="45708" rIns="45708" bIns="45708" rtlCol="0" anchor="ctr">
              <a:noAutofit/>
            </a:bodyPr>
            <a:lstStyle>
              <a:defPPr>
                <a:defRPr lang="en-US"/>
              </a:defPPr>
              <a:lvl1pPr algn="ctr" defTabSz="1088105">
                <a:defRPr sz="12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sz="1000" kern="0" dirty="0" err="1">
                  <a:solidFill>
                    <a:prstClr val="white"/>
                  </a:solidFill>
                </a:rPr>
                <a:t>HDStorm</a:t>
              </a:r>
              <a:endParaRPr lang="en-US" sz="1000" kern="0" dirty="0">
                <a:solidFill>
                  <a:prstClr val="white"/>
                </a:solidFill>
              </a:endParaRPr>
            </a:p>
          </p:txBody>
        </p:sp>
        <p:sp>
          <p:nvSpPr>
            <p:cNvPr id="398" name="TextBox 397"/>
            <p:cNvSpPr txBox="1"/>
            <p:nvPr/>
          </p:nvSpPr>
          <p:spPr>
            <a:xfrm>
              <a:off x="2951311" y="4619878"/>
              <a:ext cx="1020867" cy="246221"/>
            </a:xfrm>
            <a:prstGeom prst="rect">
              <a:avLst/>
            </a:prstGeom>
          </p:spPr>
          <p:txBody>
            <a:bodyPr vert="horz" wrap="square" lIns="45708" tIns="45708" rIns="45708" bIns="45708"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kern="0" dirty="0">
                  <a:solidFill>
                    <a:prstClr val="white"/>
                  </a:solidFill>
                </a:rPr>
                <a:t>Azure SQL DB</a:t>
              </a:r>
            </a:p>
          </p:txBody>
        </p:sp>
        <p:pic>
          <p:nvPicPr>
            <p:cNvPr id="399" name="Picture 398"/>
            <p:cNvPicPr>
              <a:picLocks noChangeAspect="1"/>
            </p:cNvPicPr>
            <p:nvPr/>
          </p:nvPicPr>
          <p:blipFill>
            <a:blip r:embed="rId25" cstate="print">
              <a:biLevel thresh="25000"/>
              <a:extLst>
                <a:ext uri="{28A0092B-C50C-407E-A947-70E740481C1C}">
                  <a14:useLocalDpi xmlns:a14="http://schemas.microsoft.com/office/drawing/2010/main" val="0"/>
                </a:ext>
              </a:extLst>
            </a:blip>
            <a:stretch>
              <a:fillRect/>
            </a:stretch>
          </p:blipFill>
          <p:spPr>
            <a:xfrm>
              <a:off x="3271411" y="4205989"/>
              <a:ext cx="380667" cy="380667"/>
            </a:xfrm>
            <a:prstGeom prst="rect">
              <a:avLst/>
            </a:prstGeom>
          </p:spPr>
        </p:pic>
        <p:pic>
          <p:nvPicPr>
            <p:cNvPr id="400" name="Picture 399"/>
            <p:cNvPicPr>
              <a:picLocks noChangeAspect="1"/>
            </p:cNvPicPr>
            <p:nvPr/>
          </p:nvPicPr>
          <p:blipFill>
            <a:blip r:embed="rId26">
              <a:biLevel thresh="25000"/>
            </a:blip>
            <a:stretch>
              <a:fillRect/>
            </a:stretch>
          </p:blipFill>
          <p:spPr>
            <a:xfrm>
              <a:off x="2495493" y="3942526"/>
              <a:ext cx="414299" cy="414299"/>
            </a:xfrm>
            <a:prstGeom prst="rect">
              <a:avLst/>
            </a:prstGeom>
          </p:spPr>
        </p:pic>
        <p:sp>
          <p:nvSpPr>
            <p:cNvPr id="401" name="TextBox 400"/>
            <p:cNvSpPr txBox="1"/>
            <p:nvPr/>
          </p:nvSpPr>
          <p:spPr>
            <a:xfrm>
              <a:off x="2188372" y="4282318"/>
              <a:ext cx="1004732" cy="385143"/>
            </a:xfrm>
            <a:prstGeom prst="rect">
              <a:avLst/>
            </a:prstGeom>
          </p:spPr>
          <p:txBody>
            <a:bodyPr vert="horz" wrap="square" lIns="91416" tIns="91416" rIns="91416" bIns="91416" rtlCol="0" anchor="t">
              <a:noAutofit/>
            </a:bodyPr>
            <a:lstStyle/>
            <a:p>
              <a:pPr algn="ctr" defTabSz="914126">
                <a:defRPr/>
              </a:pPr>
              <a:r>
                <a:rPr lang="en-US" sz="1000" kern="0" dirty="0">
                  <a:solidFill>
                    <a:prstClr val="white"/>
                  </a:solidFill>
                  <a:latin typeface="Segoe UI" pitchFamily="34" charset="0"/>
                  <a:ea typeface="Segoe UI" pitchFamily="34" charset="0"/>
                  <a:cs typeface="Segoe UI" pitchFamily="34" charset="0"/>
                </a:rPr>
                <a:t>Notification </a:t>
              </a:r>
            </a:p>
            <a:p>
              <a:pPr algn="ctr" defTabSz="914126">
                <a:defRPr/>
              </a:pPr>
              <a:r>
                <a:rPr lang="en-US" sz="1000" kern="0" dirty="0">
                  <a:solidFill>
                    <a:prstClr val="white"/>
                  </a:solidFill>
                  <a:latin typeface="Segoe UI" pitchFamily="34" charset="0"/>
                  <a:ea typeface="Segoe UI" pitchFamily="34" charset="0"/>
                  <a:cs typeface="Segoe UI" pitchFamily="34" charset="0"/>
                </a:rPr>
                <a:t>Hubs</a:t>
              </a:r>
            </a:p>
          </p:txBody>
        </p:sp>
      </p:grpSp>
      <p:cxnSp>
        <p:nvCxnSpPr>
          <p:cNvPr id="509" name="Straight Arrow Connector 508"/>
          <p:cNvCxnSpPr>
            <a:cxnSpLocks/>
          </p:cNvCxnSpPr>
          <p:nvPr/>
        </p:nvCxnSpPr>
        <p:spPr>
          <a:xfrm flipH="1">
            <a:off x="9720754" y="3086110"/>
            <a:ext cx="595884" cy="568344"/>
          </a:xfrm>
          <a:prstGeom prst="straightConnector1">
            <a:avLst/>
          </a:prstGeom>
          <a:ln w="19050">
            <a:solidFill>
              <a:schemeClr val="accent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617" name="TextBox 616"/>
          <p:cNvSpPr txBox="1"/>
          <p:nvPr/>
        </p:nvSpPr>
        <p:spPr>
          <a:xfrm>
            <a:off x="8414554" y="5699492"/>
            <a:ext cx="1914732" cy="764849"/>
          </a:xfrm>
          <a:prstGeom prst="rect">
            <a:avLst/>
          </a:prstGeom>
        </p:spPr>
        <p:txBody>
          <a:bodyPr vert="horz" wrap="square" lIns="45708" tIns="45708" rIns="45708" bIns="45708" rtlCol="0" anchor="ctr">
            <a:noAutofit/>
          </a:bodyPr>
          <a:lstStyle/>
          <a:p>
            <a:pPr algn="ctr" defTabSz="1087779">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Real-Time Supply/Demand insights</a:t>
            </a:r>
          </a:p>
        </p:txBody>
      </p:sp>
      <p:sp>
        <p:nvSpPr>
          <p:cNvPr id="339" name="TextBox 338"/>
          <p:cNvSpPr txBox="1"/>
          <p:nvPr/>
        </p:nvSpPr>
        <p:spPr>
          <a:xfrm rot="21530953">
            <a:off x="3658374" y="3851311"/>
            <a:ext cx="1967314" cy="199256"/>
          </a:xfrm>
          <a:prstGeom prst="rect">
            <a:avLst/>
          </a:prstGeom>
        </p:spPr>
        <p:txBody>
          <a:bodyPr vert="horz" wrap="none" lIns="0" tIns="0" rIns="0" bIns="0" rtlCol="0" anchor="ctr">
            <a:noAutofit/>
          </a:bodyPr>
          <a:lstStyle>
            <a:defPPr>
              <a:defRPr lang="en-US"/>
            </a:defPPr>
            <a:lvl1pPr algn="ctr" defTabSz="1088105">
              <a:defRPr sz="1200">
                <a:solidFill>
                  <a:srgbClr val="505050"/>
                </a:solidFill>
                <a:latin typeface="Segoe UI Semibold" panose="020B0702040204020203" pitchFamily="34" charset="0"/>
                <a:ea typeface="Segoe UI" pitchFamily="34" charset="0"/>
                <a:cs typeface="Segoe UI Semibold" panose="020B0702040204020203" pitchFamily="34" charset="0"/>
              </a:defRPr>
            </a:lvl1pPr>
          </a:lstStyle>
          <a:p>
            <a:pPr algn="l" defTabSz="1087779">
              <a:defRPr/>
            </a:pPr>
            <a:r>
              <a:rPr lang="en-US" kern="0" dirty="0">
                <a:solidFill>
                  <a:prstClr val="white"/>
                </a:solidFill>
              </a:rPr>
              <a:t>Improved Collaboration</a:t>
            </a:r>
          </a:p>
        </p:txBody>
      </p:sp>
      <p:grpSp>
        <p:nvGrpSpPr>
          <p:cNvPr id="347" name="Group 346"/>
          <p:cNvGrpSpPr/>
          <p:nvPr/>
        </p:nvGrpSpPr>
        <p:grpSpPr>
          <a:xfrm>
            <a:off x="10742778" y="3126410"/>
            <a:ext cx="970245" cy="545958"/>
            <a:chOff x="396346" y="5398927"/>
            <a:chExt cx="1123256" cy="625332"/>
          </a:xfrm>
        </p:grpSpPr>
        <p:sp>
          <p:nvSpPr>
            <p:cNvPr id="348" name="TextBox 347"/>
            <p:cNvSpPr txBox="1"/>
            <p:nvPr/>
          </p:nvSpPr>
          <p:spPr>
            <a:xfrm>
              <a:off x="396346" y="5808815"/>
              <a:ext cx="1123256" cy="215444"/>
            </a:xfrm>
            <a:prstGeom prst="rect">
              <a:avLst/>
            </a:prstGeom>
          </p:spPr>
          <p:txBody>
            <a:bodyPr vert="horz" wrap="none" lIns="0" tIns="0" rIns="0" bIns="0" rtlCol="0" anchor="ctr" anchorCtr="0">
              <a:noAutofit/>
            </a:bodyPr>
            <a:lstStyle/>
            <a:p>
              <a:pPr algn="ctr" defTabSz="914126">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Product Usage</a:t>
              </a:r>
            </a:p>
          </p:txBody>
        </p:sp>
        <p:sp>
          <p:nvSpPr>
            <p:cNvPr id="349" name="Trapezoid 3"/>
            <p:cNvSpPr>
              <a:spLocks noChangeAspect="1"/>
            </p:cNvSpPr>
            <p:nvPr/>
          </p:nvSpPr>
          <p:spPr>
            <a:xfrm>
              <a:off x="842412" y="5398927"/>
              <a:ext cx="524614" cy="371821"/>
            </a:xfrm>
            <a:custGeom>
              <a:avLst/>
              <a:gdLst/>
              <a:ahLst/>
              <a:cxnLst/>
              <a:rect l="l" t="t" r="r" b="b"/>
              <a:pathLst>
                <a:path w="4936448" h="3498714">
                  <a:moveTo>
                    <a:pt x="2052754" y="2902312"/>
                  </a:moveTo>
                  <a:lnTo>
                    <a:pt x="4707054" y="2902312"/>
                  </a:lnTo>
                  <a:cubicBezTo>
                    <a:pt x="4768427" y="2902312"/>
                    <a:pt x="4818179" y="2952064"/>
                    <a:pt x="4818179" y="3013437"/>
                  </a:cubicBezTo>
                  <a:cubicBezTo>
                    <a:pt x="4818179" y="3074810"/>
                    <a:pt x="4768427" y="3124562"/>
                    <a:pt x="4707054" y="3124562"/>
                  </a:cubicBezTo>
                  <a:lnTo>
                    <a:pt x="4545125" y="3124562"/>
                  </a:lnTo>
                  <a:lnTo>
                    <a:pt x="4545125" y="3361625"/>
                  </a:lnTo>
                  <a:cubicBezTo>
                    <a:pt x="4545125" y="3421831"/>
                    <a:pt x="4496319" y="3470637"/>
                    <a:pt x="4436113" y="3470637"/>
                  </a:cubicBezTo>
                  <a:lnTo>
                    <a:pt x="4235039" y="3470637"/>
                  </a:lnTo>
                  <a:cubicBezTo>
                    <a:pt x="4174833" y="3470637"/>
                    <a:pt x="4126027" y="3421831"/>
                    <a:pt x="4126027" y="3361625"/>
                  </a:cubicBezTo>
                  <a:lnTo>
                    <a:pt x="4126027" y="3124562"/>
                  </a:lnTo>
                  <a:lnTo>
                    <a:pt x="2589325" y="3124562"/>
                  </a:lnTo>
                  <a:lnTo>
                    <a:pt x="2589325" y="3361625"/>
                  </a:lnTo>
                  <a:cubicBezTo>
                    <a:pt x="2589325" y="3421831"/>
                    <a:pt x="2540519" y="3470637"/>
                    <a:pt x="2480313" y="3470637"/>
                  </a:cubicBezTo>
                  <a:lnTo>
                    <a:pt x="2279239" y="3470637"/>
                  </a:lnTo>
                  <a:cubicBezTo>
                    <a:pt x="2219033" y="3470637"/>
                    <a:pt x="2170227" y="3421831"/>
                    <a:pt x="2170227" y="3361625"/>
                  </a:cubicBezTo>
                  <a:lnTo>
                    <a:pt x="2170227" y="3124562"/>
                  </a:lnTo>
                  <a:lnTo>
                    <a:pt x="2052754" y="3124562"/>
                  </a:lnTo>
                  <a:cubicBezTo>
                    <a:pt x="1991381" y="3124562"/>
                    <a:pt x="1941629" y="3074810"/>
                    <a:pt x="1941629" y="3013437"/>
                  </a:cubicBezTo>
                  <a:cubicBezTo>
                    <a:pt x="1941629" y="2952064"/>
                    <a:pt x="1991381" y="2902312"/>
                    <a:pt x="2052754" y="2902312"/>
                  </a:cubicBezTo>
                  <a:close/>
                  <a:moveTo>
                    <a:pt x="4492583" y="2089512"/>
                  </a:moveTo>
                  <a:cubicBezTo>
                    <a:pt x="4392633" y="2089512"/>
                    <a:pt x="4311608" y="2170537"/>
                    <a:pt x="4311608" y="2270487"/>
                  </a:cubicBezTo>
                  <a:cubicBezTo>
                    <a:pt x="4311608" y="2370437"/>
                    <a:pt x="4392633" y="2451462"/>
                    <a:pt x="4492583" y="2451462"/>
                  </a:cubicBezTo>
                  <a:cubicBezTo>
                    <a:pt x="4592533" y="2451462"/>
                    <a:pt x="4673558" y="2370437"/>
                    <a:pt x="4673558" y="2270487"/>
                  </a:cubicBezTo>
                  <a:cubicBezTo>
                    <a:pt x="4673558" y="2170537"/>
                    <a:pt x="4592533" y="2089512"/>
                    <a:pt x="4492583" y="2089512"/>
                  </a:cubicBezTo>
                  <a:close/>
                  <a:moveTo>
                    <a:pt x="2979061" y="2089512"/>
                  </a:moveTo>
                  <a:cubicBezTo>
                    <a:pt x="2808971" y="2089512"/>
                    <a:pt x="2671086" y="2227397"/>
                    <a:pt x="2671086" y="2397487"/>
                  </a:cubicBezTo>
                  <a:lnTo>
                    <a:pt x="2671086" y="2584811"/>
                  </a:lnTo>
                  <a:lnTo>
                    <a:pt x="4083961" y="2584811"/>
                  </a:lnTo>
                  <a:lnTo>
                    <a:pt x="4083961" y="2397487"/>
                  </a:lnTo>
                  <a:cubicBezTo>
                    <a:pt x="4083961" y="2227397"/>
                    <a:pt x="3946076" y="2089512"/>
                    <a:pt x="3775986" y="2089512"/>
                  </a:cubicBezTo>
                  <a:close/>
                  <a:moveTo>
                    <a:pt x="2251033" y="2089512"/>
                  </a:moveTo>
                  <a:cubicBezTo>
                    <a:pt x="2151083" y="2089512"/>
                    <a:pt x="2070058" y="2170537"/>
                    <a:pt x="2070058" y="2270487"/>
                  </a:cubicBezTo>
                  <a:cubicBezTo>
                    <a:pt x="2070058" y="2370437"/>
                    <a:pt x="2151083" y="2451462"/>
                    <a:pt x="2251033" y="2451462"/>
                  </a:cubicBezTo>
                  <a:cubicBezTo>
                    <a:pt x="2350983" y="2451462"/>
                    <a:pt x="2432008" y="2370437"/>
                    <a:pt x="2432008" y="2270487"/>
                  </a:cubicBezTo>
                  <a:cubicBezTo>
                    <a:pt x="2432008" y="2170537"/>
                    <a:pt x="2350983" y="2089512"/>
                    <a:pt x="2251033" y="2089512"/>
                  </a:cubicBezTo>
                  <a:close/>
                  <a:moveTo>
                    <a:pt x="2651061" y="1167548"/>
                  </a:moveTo>
                  <a:lnTo>
                    <a:pt x="2392797" y="1878907"/>
                  </a:lnTo>
                  <a:cubicBezTo>
                    <a:pt x="2423495" y="1888931"/>
                    <a:pt x="2452199" y="1903353"/>
                    <a:pt x="2478781" y="1920808"/>
                  </a:cubicBezTo>
                  <a:cubicBezTo>
                    <a:pt x="2564818" y="1815418"/>
                    <a:pt x="2696070" y="1749356"/>
                    <a:pt x="2842751" y="1749356"/>
                  </a:cubicBezTo>
                  <a:lnTo>
                    <a:pt x="3912296" y="1749356"/>
                  </a:lnTo>
                  <a:cubicBezTo>
                    <a:pt x="4059812" y="1749356"/>
                    <a:pt x="4191724" y="1816172"/>
                    <a:pt x="4277738" y="1922593"/>
                  </a:cubicBezTo>
                  <a:cubicBezTo>
                    <a:pt x="4306317" y="1903622"/>
                    <a:pt x="4337356" y="1888113"/>
                    <a:pt x="4370569" y="1877441"/>
                  </a:cubicBezTo>
                  <a:lnTo>
                    <a:pt x="4112835" y="1167548"/>
                  </a:lnTo>
                  <a:close/>
                  <a:moveTo>
                    <a:pt x="2534724" y="982297"/>
                  </a:moveTo>
                  <a:lnTo>
                    <a:pt x="4229172" y="982297"/>
                  </a:lnTo>
                  <a:lnTo>
                    <a:pt x="4546612" y="1856643"/>
                  </a:lnTo>
                  <a:cubicBezTo>
                    <a:pt x="4765072" y="1873078"/>
                    <a:pt x="4936448" y="2056134"/>
                    <a:pt x="4936448" y="2279217"/>
                  </a:cubicBezTo>
                  <a:cubicBezTo>
                    <a:pt x="4936448" y="2401342"/>
                    <a:pt x="4885088" y="2511471"/>
                    <a:pt x="4802103" y="2588456"/>
                  </a:cubicBezTo>
                  <a:cubicBezTo>
                    <a:pt x="4860348" y="2595065"/>
                    <a:pt x="4904699" y="2645084"/>
                    <a:pt x="4904699" y="2705462"/>
                  </a:cubicBezTo>
                  <a:lnTo>
                    <a:pt x="4904698" y="2705462"/>
                  </a:lnTo>
                  <a:cubicBezTo>
                    <a:pt x="4904698" y="2772096"/>
                    <a:pt x="4850681" y="2826113"/>
                    <a:pt x="4784047" y="2826113"/>
                  </a:cubicBezTo>
                  <a:lnTo>
                    <a:pt x="1970999" y="2826112"/>
                  </a:lnTo>
                  <a:cubicBezTo>
                    <a:pt x="1904365" y="2826112"/>
                    <a:pt x="1850349" y="2772096"/>
                    <a:pt x="1850348" y="2705462"/>
                  </a:cubicBezTo>
                  <a:cubicBezTo>
                    <a:pt x="1850348" y="2643725"/>
                    <a:pt x="1896717" y="2592819"/>
                    <a:pt x="1956769" y="2587684"/>
                  </a:cubicBezTo>
                  <a:cubicBezTo>
                    <a:pt x="1874354" y="2510684"/>
                    <a:pt x="1823360" y="2400906"/>
                    <a:pt x="1823360" y="2279217"/>
                  </a:cubicBezTo>
                  <a:cubicBezTo>
                    <a:pt x="1823360" y="2054681"/>
                    <a:pt x="1996975" y="1870696"/>
                    <a:pt x="2217440" y="1856216"/>
                  </a:cubicBezTo>
                  <a:close/>
                  <a:moveTo>
                    <a:pt x="358791" y="644545"/>
                  </a:moveTo>
                  <a:lnTo>
                    <a:pt x="1006774" y="644545"/>
                  </a:lnTo>
                  <a:cubicBezTo>
                    <a:pt x="1218838" y="701686"/>
                    <a:pt x="1428136" y="1033850"/>
                    <a:pt x="1542636" y="1193969"/>
                  </a:cubicBezTo>
                  <a:lnTo>
                    <a:pt x="1929878" y="1193970"/>
                  </a:lnTo>
                  <a:cubicBezTo>
                    <a:pt x="2007298" y="1193970"/>
                    <a:pt x="2070059" y="1256732"/>
                    <a:pt x="2070059" y="1334152"/>
                  </a:cubicBezTo>
                  <a:cubicBezTo>
                    <a:pt x="2070059" y="1411572"/>
                    <a:pt x="2021397" y="1451628"/>
                    <a:pt x="1929878" y="1474333"/>
                  </a:cubicBezTo>
                  <a:lnTo>
                    <a:pt x="1520943" y="1470388"/>
                  </a:lnTo>
                  <a:cubicBezTo>
                    <a:pt x="1397118" y="1474356"/>
                    <a:pt x="1368544" y="1410856"/>
                    <a:pt x="1332825" y="1367201"/>
                  </a:cubicBezTo>
                  <a:lnTo>
                    <a:pt x="1106501" y="1098289"/>
                  </a:lnTo>
                  <a:cubicBezTo>
                    <a:pt x="1106501" y="1095278"/>
                    <a:pt x="1104059" y="1092836"/>
                    <a:pt x="1101049" y="1092836"/>
                  </a:cubicBezTo>
                  <a:lnTo>
                    <a:pt x="1046523" y="1092836"/>
                  </a:lnTo>
                  <a:cubicBezTo>
                    <a:pt x="1043511" y="1092836"/>
                    <a:pt x="1041071" y="1095278"/>
                    <a:pt x="1041071" y="1098289"/>
                  </a:cubicBezTo>
                  <a:lnTo>
                    <a:pt x="1042136" y="1419754"/>
                  </a:lnTo>
                  <a:lnTo>
                    <a:pt x="1042136" y="3337652"/>
                  </a:lnTo>
                  <a:cubicBezTo>
                    <a:pt x="1042136" y="3426604"/>
                    <a:pt x="970027" y="3498714"/>
                    <a:pt x="881075" y="3498714"/>
                  </a:cubicBezTo>
                  <a:cubicBezTo>
                    <a:pt x="792123" y="3498714"/>
                    <a:pt x="720012" y="3426604"/>
                    <a:pt x="720012" y="3337652"/>
                  </a:cubicBezTo>
                  <a:lnTo>
                    <a:pt x="720012" y="2125717"/>
                  </a:lnTo>
                  <a:lnTo>
                    <a:pt x="718947" y="2033194"/>
                  </a:lnTo>
                  <a:cubicBezTo>
                    <a:pt x="718947" y="2030552"/>
                    <a:pt x="716805" y="2028410"/>
                    <a:pt x="714162" y="2028410"/>
                  </a:cubicBezTo>
                  <a:lnTo>
                    <a:pt x="654759" y="2028410"/>
                  </a:lnTo>
                  <a:cubicBezTo>
                    <a:pt x="652116" y="2028410"/>
                    <a:pt x="649974" y="2030552"/>
                    <a:pt x="649974" y="2033194"/>
                  </a:cubicBezTo>
                  <a:lnTo>
                    <a:pt x="649974" y="2125717"/>
                  </a:lnTo>
                  <a:lnTo>
                    <a:pt x="649574" y="3337652"/>
                  </a:lnTo>
                  <a:cubicBezTo>
                    <a:pt x="649574" y="3426604"/>
                    <a:pt x="577464" y="3498714"/>
                    <a:pt x="488511" y="3498714"/>
                  </a:cubicBezTo>
                  <a:cubicBezTo>
                    <a:pt x="399560" y="3498714"/>
                    <a:pt x="327450" y="3426604"/>
                    <a:pt x="327450" y="3337652"/>
                  </a:cubicBezTo>
                  <a:lnTo>
                    <a:pt x="327450" y="1458216"/>
                  </a:lnTo>
                  <a:cubicBezTo>
                    <a:pt x="325775" y="1338213"/>
                    <a:pt x="324101" y="1218209"/>
                    <a:pt x="322427" y="1098205"/>
                  </a:cubicBezTo>
                  <a:cubicBezTo>
                    <a:pt x="322427" y="1095240"/>
                    <a:pt x="320022" y="1092836"/>
                    <a:pt x="317058" y="1092836"/>
                  </a:cubicBezTo>
                  <a:lnTo>
                    <a:pt x="263371" y="1092836"/>
                  </a:lnTo>
                  <a:cubicBezTo>
                    <a:pt x="260405" y="1092836"/>
                    <a:pt x="258001" y="1095240"/>
                    <a:pt x="258001" y="1098205"/>
                  </a:cubicBezTo>
                  <a:lnTo>
                    <a:pt x="258001" y="1444446"/>
                  </a:lnTo>
                  <a:cubicBezTo>
                    <a:pt x="257895" y="1444438"/>
                    <a:pt x="257798" y="1444405"/>
                    <a:pt x="257700" y="1444370"/>
                  </a:cubicBezTo>
                  <a:lnTo>
                    <a:pt x="257700" y="1912573"/>
                  </a:lnTo>
                  <a:cubicBezTo>
                    <a:pt x="257700" y="1983734"/>
                    <a:pt x="200011" y="2041423"/>
                    <a:pt x="128850" y="2041423"/>
                  </a:cubicBezTo>
                  <a:cubicBezTo>
                    <a:pt x="57687" y="2041423"/>
                    <a:pt x="0" y="1983734"/>
                    <a:pt x="0" y="1912573"/>
                  </a:cubicBezTo>
                  <a:lnTo>
                    <a:pt x="0" y="1101802"/>
                  </a:lnTo>
                  <a:lnTo>
                    <a:pt x="0" y="1003338"/>
                  </a:lnTo>
                  <a:lnTo>
                    <a:pt x="0" y="982486"/>
                  </a:lnTo>
                  <a:cubicBezTo>
                    <a:pt x="0" y="952006"/>
                    <a:pt x="3965" y="922453"/>
                    <a:pt x="12733" y="894663"/>
                  </a:cubicBezTo>
                  <a:cubicBezTo>
                    <a:pt x="15126" y="886107"/>
                    <a:pt x="14856" y="875418"/>
                    <a:pt x="20539" y="868773"/>
                  </a:cubicBezTo>
                  <a:cubicBezTo>
                    <a:pt x="72281" y="735385"/>
                    <a:pt x="207053" y="644545"/>
                    <a:pt x="358791" y="644545"/>
                  </a:cubicBezTo>
                  <a:close/>
                  <a:moveTo>
                    <a:pt x="682782" y="0"/>
                  </a:moveTo>
                  <a:cubicBezTo>
                    <a:pt x="839708" y="0"/>
                    <a:pt x="966919" y="127213"/>
                    <a:pt x="966919" y="284138"/>
                  </a:cubicBezTo>
                  <a:cubicBezTo>
                    <a:pt x="966919" y="441063"/>
                    <a:pt x="839708" y="568275"/>
                    <a:pt x="682782" y="568275"/>
                  </a:cubicBezTo>
                  <a:cubicBezTo>
                    <a:pt x="525858" y="568275"/>
                    <a:pt x="398645" y="441063"/>
                    <a:pt x="398645" y="284138"/>
                  </a:cubicBezTo>
                  <a:cubicBezTo>
                    <a:pt x="398645" y="127213"/>
                    <a:pt x="525858" y="0"/>
                    <a:pt x="682782" y="0"/>
                  </a:cubicBezTo>
                  <a:close/>
                </a:path>
              </a:pathLst>
            </a:custGeom>
            <a:solidFill>
              <a:schemeClr val="bg1">
                <a:lumMod val="50000"/>
              </a:schemeClr>
            </a:solidFill>
            <a:ln w="19050">
              <a:noFill/>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913967">
                <a:defRPr/>
              </a:pPr>
              <a:endParaRPr lang="en-US" sz="1200" kern="0" dirty="0" err="1">
                <a:solidFill>
                  <a:srgbClr val="FFFFFF"/>
                </a:solidFill>
                <a:latin typeface="Segoe UI"/>
              </a:endParaRPr>
            </a:p>
          </p:txBody>
        </p:sp>
        <p:sp>
          <p:nvSpPr>
            <p:cNvPr id="350" name="Oval 20"/>
            <p:cNvSpPr/>
            <p:nvPr/>
          </p:nvSpPr>
          <p:spPr bwMode="auto">
            <a:xfrm>
              <a:off x="482295" y="5452997"/>
              <a:ext cx="283387" cy="315881"/>
            </a:xfrm>
            <a:custGeom>
              <a:avLst/>
              <a:gdLst/>
              <a:ahLst/>
              <a:cxnLst/>
              <a:rect l="l" t="t" r="r" b="b"/>
              <a:pathLst>
                <a:path w="1371600" h="1528869">
                  <a:moveTo>
                    <a:pt x="176321" y="61931"/>
                  </a:moveTo>
                  <a:cubicBezTo>
                    <a:pt x="138207" y="345243"/>
                    <a:pt x="100093" y="625381"/>
                    <a:pt x="61979" y="908693"/>
                  </a:cubicBezTo>
                  <a:lnTo>
                    <a:pt x="1154853" y="1120942"/>
                  </a:lnTo>
                  <a:cubicBezTo>
                    <a:pt x="1191909" y="816463"/>
                    <a:pt x="1228964" y="502460"/>
                    <a:pt x="1266020" y="197981"/>
                  </a:cubicBezTo>
                  <a:close/>
                  <a:moveTo>
                    <a:pt x="123825" y="0"/>
                  </a:moveTo>
                  <a:lnTo>
                    <a:pt x="1327150" y="152400"/>
                  </a:lnTo>
                  <a:lnTo>
                    <a:pt x="1371600" y="203200"/>
                  </a:lnTo>
                  <a:lnTo>
                    <a:pt x="1266825" y="1133475"/>
                  </a:lnTo>
                  <a:lnTo>
                    <a:pt x="1203325" y="1206500"/>
                  </a:lnTo>
                  <a:lnTo>
                    <a:pt x="1104540" y="1186430"/>
                  </a:lnTo>
                  <a:cubicBezTo>
                    <a:pt x="1143520" y="1218893"/>
                    <a:pt x="1165226" y="1257868"/>
                    <a:pt x="1165226" y="1299422"/>
                  </a:cubicBezTo>
                  <a:cubicBezTo>
                    <a:pt x="1165226" y="1426142"/>
                    <a:pt x="963374" y="1528869"/>
                    <a:pt x="714376" y="1528869"/>
                  </a:cubicBezTo>
                  <a:cubicBezTo>
                    <a:pt x="465378" y="1528869"/>
                    <a:pt x="263526" y="1426142"/>
                    <a:pt x="263526" y="1299422"/>
                  </a:cubicBezTo>
                  <a:cubicBezTo>
                    <a:pt x="263526" y="1195700"/>
                    <a:pt x="398762" y="1108052"/>
                    <a:pt x="584567" y="1080790"/>
                  </a:cubicBezTo>
                  <a:lnTo>
                    <a:pt x="0" y="962025"/>
                  </a:ln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16" tIns="45708" rIns="45708" bIns="91416"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825" fontAlgn="base">
                <a:spcBef>
                  <a:spcPct val="0"/>
                </a:spcBef>
                <a:spcAft>
                  <a:spcPct val="0"/>
                </a:spcAft>
                <a:defRPr/>
              </a:pPr>
              <a:endParaRPr lang="en-US" sz="1799"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14" name="TextBox 213"/>
          <p:cNvSpPr txBox="1"/>
          <p:nvPr/>
        </p:nvSpPr>
        <p:spPr>
          <a:xfrm>
            <a:off x="2016662" y="3890983"/>
            <a:ext cx="1170831" cy="499554"/>
          </a:xfrm>
          <a:prstGeom prst="rect">
            <a:avLst/>
          </a:prstGeom>
        </p:spPr>
        <p:txBody>
          <a:bodyPr vert="horz" wrap="square" lIns="45708" tIns="45708" rIns="45708" bIns="45708" rtlCol="0" anchor="ctr">
            <a:noAutofit/>
          </a:bodyPr>
          <a:lstStyle/>
          <a:p>
            <a:pPr defTabSz="1087779">
              <a:defRPr/>
            </a:pPr>
            <a:r>
              <a:rPr lang="en-US" sz="1600" kern="0" dirty="0">
                <a:solidFill>
                  <a:srgbClr val="505050"/>
                </a:solidFill>
                <a:latin typeface="Segoe UI Semibold" panose="020B0702040204020203" pitchFamily="34" charset="0"/>
                <a:ea typeface="Segoe UI" pitchFamily="34" charset="0"/>
                <a:cs typeface="Segoe UI Semibold" panose="020B0702040204020203" pitchFamily="34" charset="0"/>
              </a:rPr>
              <a:t>More</a:t>
            </a:r>
          </a:p>
          <a:p>
            <a:pPr defTabSz="1087779">
              <a:defRPr/>
            </a:pPr>
            <a:r>
              <a:rPr lang="en-US" sz="1600" kern="0" dirty="0">
                <a:solidFill>
                  <a:srgbClr val="505050"/>
                </a:solidFill>
                <a:latin typeface="Segoe UI Semibold" panose="020B0702040204020203" pitchFamily="34" charset="0"/>
                <a:ea typeface="Segoe UI" pitchFamily="34" charset="0"/>
                <a:cs typeface="Segoe UI Semibold" panose="020B0702040204020203" pitchFamily="34" charset="0"/>
              </a:rPr>
              <a:t>Personal</a:t>
            </a:r>
            <a:br>
              <a:rPr lang="en-US" sz="1600" kern="0" dirty="0">
                <a:solidFill>
                  <a:srgbClr val="505050"/>
                </a:solidFill>
                <a:latin typeface="Segoe UI Semibold" panose="020B0702040204020203" pitchFamily="34" charset="0"/>
                <a:ea typeface="Segoe UI" pitchFamily="34" charset="0"/>
                <a:cs typeface="Segoe UI Semibold" panose="020B0702040204020203" pitchFamily="34" charset="0"/>
              </a:rPr>
            </a:br>
            <a:r>
              <a:rPr lang="en-US" sz="1600" kern="0" dirty="0">
                <a:solidFill>
                  <a:srgbClr val="505050"/>
                </a:solidFill>
                <a:latin typeface="Segoe UI Semibold" panose="020B0702040204020203" pitchFamily="34" charset="0"/>
                <a:ea typeface="Segoe UI" pitchFamily="34" charset="0"/>
                <a:cs typeface="Segoe UI Semibold" panose="020B0702040204020203" pitchFamily="34" charset="0"/>
              </a:rPr>
              <a:t>Computing</a:t>
            </a:r>
          </a:p>
        </p:txBody>
      </p:sp>
      <p:grpSp>
        <p:nvGrpSpPr>
          <p:cNvPr id="215" name="Group 214"/>
          <p:cNvGrpSpPr>
            <a:grpSpLocks noChangeAspect="1"/>
          </p:cNvGrpSpPr>
          <p:nvPr/>
        </p:nvGrpSpPr>
        <p:grpSpPr bwMode="black">
          <a:xfrm>
            <a:off x="6551148" y="5159465"/>
            <a:ext cx="446077" cy="338610"/>
            <a:chOff x="5461246" y="4575892"/>
            <a:chExt cx="223480" cy="169685"/>
          </a:xfrm>
          <a:solidFill>
            <a:srgbClr val="5E83BD"/>
          </a:solidFill>
        </p:grpSpPr>
        <p:sp>
          <p:nvSpPr>
            <p:cNvPr id="219" name="Freeform 168"/>
            <p:cNvSpPr>
              <a:spLocks noEditPoints="1"/>
            </p:cNvSpPr>
            <p:nvPr/>
          </p:nvSpPr>
          <p:spPr bwMode="black">
            <a:xfrm>
              <a:off x="5461246" y="4575892"/>
              <a:ext cx="137550" cy="128953"/>
            </a:xfrm>
            <a:custGeom>
              <a:avLst/>
              <a:gdLst/>
              <a:ahLst/>
              <a:cxnLst>
                <a:cxn ang="0">
                  <a:pos x="215" y="24"/>
                </a:cxn>
                <a:cxn ang="0">
                  <a:pos x="127" y="0"/>
                </a:cxn>
                <a:cxn ang="0">
                  <a:pos x="39" y="24"/>
                </a:cxn>
                <a:cxn ang="0">
                  <a:pos x="0" y="89"/>
                </a:cxn>
                <a:cxn ang="0">
                  <a:pos x="42" y="155"/>
                </a:cxn>
                <a:cxn ang="0">
                  <a:pos x="34" y="197"/>
                </a:cxn>
                <a:cxn ang="0">
                  <a:pos x="27" y="231"/>
                </a:cxn>
                <a:cxn ang="0">
                  <a:pos x="25" y="240"/>
                </a:cxn>
                <a:cxn ang="0">
                  <a:pos x="31" y="233"/>
                </a:cxn>
                <a:cxn ang="0">
                  <a:pos x="55" y="207"/>
                </a:cxn>
                <a:cxn ang="0">
                  <a:pos x="87" y="173"/>
                </a:cxn>
                <a:cxn ang="0">
                  <a:pos x="127" y="178"/>
                </a:cxn>
                <a:cxn ang="0">
                  <a:pos x="215" y="153"/>
                </a:cxn>
                <a:cxn ang="0">
                  <a:pos x="255" y="89"/>
                </a:cxn>
                <a:cxn ang="0">
                  <a:pos x="215" y="24"/>
                </a:cxn>
                <a:cxn ang="0">
                  <a:pos x="59" y="149"/>
                </a:cxn>
                <a:cxn ang="0">
                  <a:pos x="59" y="147"/>
                </a:cxn>
                <a:cxn ang="0">
                  <a:pos x="57" y="147"/>
                </a:cxn>
                <a:cxn ang="0">
                  <a:pos x="15" y="89"/>
                </a:cxn>
                <a:cxn ang="0">
                  <a:pos x="127" y="15"/>
                </a:cxn>
                <a:cxn ang="0">
                  <a:pos x="240" y="89"/>
                </a:cxn>
                <a:cxn ang="0">
                  <a:pos x="127" y="163"/>
                </a:cxn>
                <a:cxn ang="0">
                  <a:pos x="83" y="157"/>
                </a:cxn>
                <a:cxn ang="0">
                  <a:pos x="82" y="156"/>
                </a:cxn>
                <a:cxn ang="0">
                  <a:pos x="81" y="158"/>
                </a:cxn>
                <a:cxn ang="0">
                  <a:pos x="50" y="191"/>
                </a:cxn>
                <a:cxn ang="0">
                  <a:pos x="59" y="149"/>
                </a:cxn>
              </a:cxnLst>
              <a:rect l="0" t="0" r="r" b="b"/>
              <a:pathLst>
                <a:path w="255" h="240">
                  <a:moveTo>
                    <a:pt x="215" y="24"/>
                  </a:moveTo>
                  <a:cubicBezTo>
                    <a:pt x="192" y="8"/>
                    <a:pt x="160" y="0"/>
                    <a:pt x="127" y="0"/>
                  </a:cubicBezTo>
                  <a:cubicBezTo>
                    <a:pt x="94" y="0"/>
                    <a:pt x="63" y="8"/>
                    <a:pt x="39" y="24"/>
                  </a:cubicBezTo>
                  <a:cubicBezTo>
                    <a:pt x="14" y="41"/>
                    <a:pt x="0" y="64"/>
                    <a:pt x="0" y="89"/>
                  </a:cubicBezTo>
                  <a:cubicBezTo>
                    <a:pt x="0" y="114"/>
                    <a:pt x="15" y="138"/>
                    <a:pt x="42" y="155"/>
                  </a:cubicBezTo>
                  <a:cubicBezTo>
                    <a:pt x="34" y="197"/>
                    <a:pt x="34" y="197"/>
                    <a:pt x="34" y="197"/>
                  </a:cubicBezTo>
                  <a:cubicBezTo>
                    <a:pt x="27" y="231"/>
                    <a:pt x="27" y="231"/>
                    <a:pt x="27" y="231"/>
                  </a:cubicBezTo>
                  <a:cubicBezTo>
                    <a:pt x="25" y="240"/>
                    <a:pt x="25" y="240"/>
                    <a:pt x="25" y="240"/>
                  </a:cubicBezTo>
                  <a:cubicBezTo>
                    <a:pt x="31" y="233"/>
                    <a:pt x="31" y="233"/>
                    <a:pt x="31" y="233"/>
                  </a:cubicBezTo>
                  <a:cubicBezTo>
                    <a:pt x="55" y="207"/>
                    <a:pt x="55" y="207"/>
                    <a:pt x="55" y="207"/>
                  </a:cubicBezTo>
                  <a:cubicBezTo>
                    <a:pt x="87" y="173"/>
                    <a:pt x="87" y="173"/>
                    <a:pt x="87" y="173"/>
                  </a:cubicBezTo>
                  <a:cubicBezTo>
                    <a:pt x="100" y="176"/>
                    <a:pt x="113" y="178"/>
                    <a:pt x="127" y="178"/>
                  </a:cubicBezTo>
                  <a:cubicBezTo>
                    <a:pt x="160" y="178"/>
                    <a:pt x="192" y="169"/>
                    <a:pt x="215" y="153"/>
                  </a:cubicBezTo>
                  <a:cubicBezTo>
                    <a:pt x="241" y="136"/>
                    <a:pt x="255" y="113"/>
                    <a:pt x="255" y="89"/>
                  </a:cubicBezTo>
                  <a:cubicBezTo>
                    <a:pt x="255" y="64"/>
                    <a:pt x="241" y="41"/>
                    <a:pt x="215" y="24"/>
                  </a:cubicBezTo>
                  <a:close/>
                  <a:moveTo>
                    <a:pt x="59" y="149"/>
                  </a:moveTo>
                  <a:cubicBezTo>
                    <a:pt x="59" y="147"/>
                    <a:pt x="59" y="147"/>
                    <a:pt x="59" y="147"/>
                  </a:cubicBezTo>
                  <a:cubicBezTo>
                    <a:pt x="57" y="147"/>
                    <a:pt x="57" y="147"/>
                    <a:pt x="57" y="147"/>
                  </a:cubicBezTo>
                  <a:cubicBezTo>
                    <a:pt x="30" y="132"/>
                    <a:pt x="15" y="111"/>
                    <a:pt x="15" y="89"/>
                  </a:cubicBezTo>
                  <a:cubicBezTo>
                    <a:pt x="15" y="48"/>
                    <a:pt x="65" y="15"/>
                    <a:pt x="127" y="15"/>
                  </a:cubicBezTo>
                  <a:cubicBezTo>
                    <a:pt x="189" y="15"/>
                    <a:pt x="240" y="48"/>
                    <a:pt x="240" y="89"/>
                  </a:cubicBezTo>
                  <a:cubicBezTo>
                    <a:pt x="240" y="129"/>
                    <a:pt x="189" y="163"/>
                    <a:pt x="127" y="163"/>
                  </a:cubicBezTo>
                  <a:cubicBezTo>
                    <a:pt x="112" y="163"/>
                    <a:pt x="97" y="161"/>
                    <a:pt x="83" y="157"/>
                  </a:cubicBezTo>
                  <a:cubicBezTo>
                    <a:pt x="82" y="156"/>
                    <a:pt x="82" y="156"/>
                    <a:pt x="82" y="156"/>
                  </a:cubicBezTo>
                  <a:cubicBezTo>
                    <a:pt x="81" y="158"/>
                    <a:pt x="81" y="158"/>
                    <a:pt x="81" y="158"/>
                  </a:cubicBezTo>
                  <a:cubicBezTo>
                    <a:pt x="50" y="191"/>
                    <a:pt x="50" y="191"/>
                    <a:pt x="50" y="191"/>
                  </a:cubicBezTo>
                  <a:lnTo>
                    <a:pt x="59" y="149"/>
                  </a:lnTo>
                  <a:close/>
                </a:path>
              </a:pathLst>
            </a:custGeom>
            <a:solidFill>
              <a:schemeClr val="bg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defRPr/>
              </a:pPr>
              <a:endParaRPr lang="en-US" sz="1799" kern="0" spc="-122">
                <a:solidFill>
                  <a:srgbClr val="FFFFFF">
                    <a:lumMod val="50000"/>
                  </a:srgbClr>
                </a:solidFill>
                <a:latin typeface="Segoe Light" pitchFamily="34" charset="0"/>
              </a:endParaRPr>
            </a:p>
          </p:txBody>
        </p:sp>
        <p:sp>
          <p:nvSpPr>
            <p:cNvPr id="220" name="Freeform 169"/>
            <p:cNvSpPr>
              <a:spLocks/>
            </p:cNvSpPr>
            <p:nvPr/>
          </p:nvSpPr>
          <p:spPr bwMode="black">
            <a:xfrm>
              <a:off x="5534929" y="4585607"/>
              <a:ext cx="149797" cy="159970"/>
            </a:xfrm>
            <a:custGeom>
              <a:avLst/>
              <a:gdLst/>
              <a:ahLst/>
              <a:cxnLst>
                <a:cxn ang="0">
                  <a:pos x="203" y="74"/>
                </a:cxn>
                <a:cxn ang="0">
                  <a:pos x="170" y="20"/>
                </a:cxn>
                <a:cxn ang="0">
                  <a:pos x="98" y="0"/>
                </a:cxn>
                <a:cxn ang="0">
                  <a:pos x="95" y="0"/>
                </a:cxn>
                <a:cxn ang="0">
                  <a:pos x="95" y="3"/>
                </a:cxn>
                <a:cxn ang="0">
                  <a:pos x="96" y="11"/>
                </a:cxn>
                <a:cxn ang="0">
                  <a:pos x="96" y="13"/>
                </a:cxn>
                <a:cxn ang="0">
                  <a:pos x="99" y="13"/>
                </a:cxn>
                <a:cxn ang="0">
                  <a:pos x="190" y="74"/>
                </a:cxn>
                <a:cxn ang="0">
                  <a:pos x="155" y="121"/>
                </a:cxn>
                <a:cxn ang="0">
                  <a:pos x="153" y="122"/>
                </a:cxn>
                <a:cxn ang="0">
                  <a:pos x="153" y="124"/>
                </a:cxn>
                <a:cxn ang="0">
                  <a:pos x="160" y="157"/>
                </a:cxn>
                <a:cxn ang="0">
                  <a:pos x="136" y="130"/>
                </a:cxn>
                <a:cxn ang="0">
                  <a:pos x="134" y="129"/>
                </a:cxn>
                <a:cxn ang="0">
                  <a:pos x="133" y="130"/>
                </a:cxn>
                <a:cxn ang="0">
                  <a:pos x="97" y="134"/>
                </a:cxn>
                <a:cxn ang="0">
                  <a:pos x="15" y="102"/>
                </a:cxn>
                <a:cxn ang="0">
                  <a:pos x="14" y="100"/>
                </a:cxn>
                <a:cxn ang="0">
                  <a:pos x="12" y="101"/>
                </a:cxn>
                <a:cxn ang="0">
                  <a:pos x="4" y="103"/>
                </a:cxn>
                <a:cxn ang="0">
                  <a:pos x="0" y="104"/>
                </a:cxn>
                <a:cxn ang="0">
                  <a:pos x="2" y="107"/>
                </a:cxn>
                <a:cxn ang="0">
                  <a:pos x="24" y="127"/>
                </a:cxn>
                <a:cxn ang="0">
                  <a:pos x="97" y="148"/>
                </a:cxn>
                <a:cxn ang="0">
                  <a:pos x="130" y="144"/>
                </a:cxn>
                <a:cxn ang="0">
                  <a:pos x="156" y="172"/>
                </a:cxn>
                <a:cxn ang="0">
                  <a:pos x="176" y="194"/>
                </a:cxn>
                <a:cxn ang="0">
                  <a:pos x="182" y="200"/>
                </a:cxn>
                <a:cxn ang="0">
                  <a:pos x="180" y="192"/>
                </a:cxn>
                <a:cxn ang="0">
                  <a:pos x="175" y="163"/>
                </a:cxn>
                <a:cxn ang="0">
                  <a:pos x="168" y="129"/>
                </a:cxn>
                <a:cxn ang="0">
                  <a:pos x="203" y="74"/>
                </a:cxn>
              </a:cxnLst>
              <a:rect l="0" t="0" r="r" b="b"/>
              <a:pathLst>
                <a:path w="203" h="200">
                  <a:moveTo>
                    <a:pt x="203" y="74"/>
                  </a:moveTo>
                  <a:cubicBezTo>
                    <a:pt x="203" y="53"/>
                    <a:pt x="191" y="34"/>
                    <a:pt x="170" y="20"/>
                  </a:cubicBezTo>
                  <a:cubicBezTo>
                    <a:pt x="151" y="7"/>
                    <a:pt x="125" y="0"/>
                    <a:pt x="98" y="0"/>
                  </a:cubicBezTo>
                  <a:cubicBezTo>
                    <a:pt x="95" y="0"/>
                    <a:pt x="95" y="0"/>
                    <a:pt x="95" y="0"/>
                  </a:cubicBezTo>
                  <a:cubicBezTo>
                    <a:pt x="95" y="3"/>
                    <a:pt x="95" y="3"/>
                    <a:pt x="95" y="3"/>
                  </a:cubicBezTo>
                  <a:cubicBezTo>
                    <a:pt x="96" y="5"/>
                    <a:pt x="96" y="8"/>
                    <a:pt x="96" y="11"/>
                  </a:cubicBezTo>
                  <a:cubicBezTo>
                    <a:pt x="96" y="13"/>
                    <a:pt x="96" y="13"/>
                    <a:pt x="96" y="13"/>
                  </a:cubicBezTo>
                  <a:cubicBezTo>
                    <a:pt x="99" y="13"/>
                    <a:pt x="99" y="13"/>
                    <a:pt x="99" y="13"/>
                  </a:cubicBezTo>
                  <a:cubicBezTo>
                    <a:pt x="149" y="14"/>
                    <a:pt x="190" y="41"/>
                    <a:pt x="190" y="74"/>
                  </a:cubicBezTo>
                  <a:cubicBezTo>
                    <a:pt x="190" y="92"/>
                    <a:pt x="177" y="110"/>
                    <a:pt x="155" y="121"/>
                  </a:cubicBezTo>
                  <a:cubicBezTo>
                    <a:pt x="153" y="122"/>
                    <a:pt x="153" y="122"/>
                    <a:pt x="153" y="122"/>
                  </a:cubicBezTo>
                  <a:cubicBezTo>
                    <a:pt x="153" y="124"/>
                    <a:pt x="153" y="124"/>
                    <a:pt x="153" y="124"/>
                  </a:cubicBezTo>
                  <a:cubicBezTo>
                    <a:pt x="160" y="157"/>
                    <a:pt x="160" y="157"/>
                    <a:pt x="160" y="157"/>
                  </a:cubicBezTo>
                  <a:cubicBezTo>
                    <a:pt x="136" y="130"/>
                    <a:pt x="136" y="130"/>
                    <a:pt x="136" y="130"/>
                  </a:cubicBezTo>
                  <a:cubicBezTo>
                    <a:pt x="134" y="129"/>
                    <a:pt x="134" y="129"/>
                    <a:pt x="134" y="129"/>
                  </a:cubicBezTo>
                  <a:cubicBezTo>
                    <a:pt x="133" y="130"/>
                    <a:pt x="133" y="130"/>
                    <a:pt x="133" y="130"/>
                  </a:cubicBezTo>
                  <a:cubicBezTo>
                    <a:pt x="122" y="133"/>
                    <a:pt x="109" y="134"/>
                    <a:pt x="97" y="134"/>
                  </a:cubicBezTo>
                  <a:cubicBezTo>
                    <a:pt x="62" y="134"/>
                    <a:pt x="31" y="122"/>
                    <a:pt x="15" y="102"/>
                  </a:cubicBezTo>
                  <a:cubicBezTo>
                    <a:pt x="14" y="100"/>
                    <a:pt x="14" y="100"/>
                    <a:pt x="14" y="100"/>
                  </a:cubicBezTo>
                  <a:cubicBezTo>
                    <a:pt x="12" y="101"/>
                    <a:pt x="12" y="101"/>
                    <a:pt x="12" y="101"/>
                  </a:cubicBezTo>
                  <a:cubicBezTo>
                    <a:pt x="10" y="102"/>
                    <a:pt x="7" y="102"/>
                    <a:pt x="4" y="103"/>
                  </a:cubicBezTo>
                  <a:cubicBezTo>
                    <a:pt x="0" y="104"/>
                    <a:pt x="0" y="104"/>
                    <a:pt x="0" y="104"/>
                  </a:cubicBezTo>
                  <a:cubicBezTo>
                    <a:pt x="2" y="107"/>
                    <a:pt x="2" y="107"/>
                    <a:pt x="2" y="107"/>
                  </a:cubicBezTo>
                  <a:cubicBezTo>
                    <a:pt x="8" y="115"/>
                    <a:pt x="15" y="121"/>
                    <a:pt x="24" y="127"/>
                  </a:cubicBezTo>
                  <a:cubicBezTo>
                    <a:pt x="44" y="141"/>
                    <a:pt x="70" y="148"/>
                    <a:pt x="97" y="148"/>
                  </a:cubicBezTo>
                  <a:cubicBezTo>
                    <a:pt x="108" y="148"/>
                    <a:pt x="119" y="147"/>
                    <a:pt x="130" y="144"/>
                  </a:cubicBezTo>
                  <a:cubicBezTo>
                    <a:pt x="156" y="172"/>
                    <a:pt x="156" y="172"/>
                    <a:pt x="156" y="172"/>
                  </a:cubicBezTo>
                  <a:cubicBezTo>
                    <a:pt x="176" y="194"/>
                    <a:pt x="176" y="194"/>
                    <a:pt x="176" y="194"/>
                  </a:cubicBezTo>
                  <a:cubicBezTo>
                    <a:pt x="182" y="200"/>
                    <a:pt x="182" y="200"/>
                    <a:pt x="182" y="200"/>
                  </a:cubicBezTo>
                  <a:cubicBezTo>
                    <a:pt x="180" y="192"/>
                    <a:pt x="180" y="192"/>
                    <a:pt x="180" y="192"/>
                  </a:cubicBezTo>
                  <a:cubicBezTo>
                    <a:pt x="175" y="163"/>
                    <a:pt x="175" y="163"/>
                    <a:pt x="175" y="163"/>
                  </a:cubicBezTo>
                  <a:cubicBezTo>
                    <a:pt x="168" y="129"/>
                    <a:pt x="168" y="129"/>
                    <a:pt x="168" y="129"/>
                  </a:cubicBezTo>
                  <a:cubicBezTo>
                    <a:pt x="190" y="115"/>
                    <a:pt x="203" y="95"/>
                    <a:pt x="203" y="74"/>
                  </a:cubicBezTo>
                  <a:close/>
                </a:path>
              </a:pathLst>
            </a:custGeom>
            <a:solidFill>
              <a:schemeClr val="bg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defRPr/>
              </a:pPr>
              <a:endParaRPr lang="en-US" sz="1799" kern="0" spc="-122">
                <a:solidFill>
                  <a:srgbClr val="FFFFFF">
                    <a:lumMod val="50000"/>
                  </a:srgbClr>
                </a:solidFill>
                <a:latin typeface="Segoe Light" pitchFamily="34" charset="0"/>
              </a:endParaRPr>
            </a:p>
          </p:txBody>
        </p:sp>
      </p:grpSp>
      <p:sp>
        <p:nvSpPr>
          <p:cNvPr id="221" name="TextBox 220"/>
          <p:cNvSpPr txBox="1"/>
          <p:nvPr/>
        </p:nvSpPr>
        <p:spPr>
          <a:xfrm>
            <a:off x="6388758" y="5471058"/>
            <a:ext cx="1171947" cy="310308"/>
          </a:xfrm>
          <a:prstGeom prst="rect">
            <a:avLst/>
          </a:prstGeom>
        </p:spPr>
        <p:txBody>
          <a:bodyPr vert="horz" wrap="square" lIns="45708" tIns="45708" rIns="45708" bIns="45708" rtlCol="0" anchor="ctr">
            <a:noAutofit/>
          </a:bodyPr>
          <a:lstStyle>
            <a:defPPr>
              <a:defRPr lang="en-US"/>
            </a:defPPr>
            <a:lvl1pPr algn="ctr" defTabSz="1088105">
              <a:defRPr sz="12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sz="1000" kern="0" dirty="0">
                <a:solidFill>
                  <a:prstClr val="white"/>
                </a:solidFill>
              </a:rPr>
              <a:t>Microsoft Social Engagement</a:t>
            </a:r>
          </a:p>
        </p:txBody>
      </p:sp>
      <p:grpSp>
        <p:nvGrpSpPr>
          <p:cNvPr id="8" name="Group 7">
            <a:extLst>
              <a:ext uri="{FF2B5EF4-FFF2-40B4-BE49-F238E27FC236}">
                <a16:creationId xmlns:a16="http://schemas.microsoft.com/office/drawing/2014/main" id="{C521946B-7838-471E-B7CD-19B0B61AAE11}"/>
              </a:ext>
            </a:extLst>
          </p:cNvPr>
          <p:cNvGrpSpPr/>
          <p:nvPr/>
        </p:nvGrpSpPr>
        <p:grpSpPr>
          <a:xfrm>
            <a:off x="2145536" y="1492334"/>
            <a:ext cx="2981473" cy="552227"/>
            <a:chOff x="2634419" y="2113009"/>
            <a:chExt cx="2185681" cy="552371"/>
          </a:xfrm>
        </p:grpSpPr>
        <p:sp>
          <p:nvSpPr>
            <p:cNvPr id="2" name="Arrow: Left-Right 1">
              <a:extLst>
                <a:ext uri="{FF2B5EF4-FFF2-40B4-BE49-F238E27FC236}">
                  <a16:creationId xmlns:a16="http://schemas.microsoft.com/office/drawing/2014/main" id="{AED963BF-EB9E-4ED8-8A03-28711320383D}"/>
                </a:ext>
              </a:extLst>
            </p:cNvPr>
            <p:cNvSpPr/>
            <p:nvPr/>
          </p:nvSpPr>
          <p:spPr>
            <a:xfrm>
              <a:off x="2634419" y="2113009"/>
              <a:ext cx="2031967" cy="552371"/>
            </a:xfrm>
            <a:prstGeom prst="lef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914126">
                <a:defRPr/>
              </a:pPr>
              <a:endParaRPr lang="en-US" sz="1200" dirty="0" err="1">
                <a:solidFill>
                  <a:prstClr val="white"/>
                </a:solidFill>
                <a:latin typeface="Segoe UI"/>
              </a:endParaRPr>
            </a:p>
          </p:txBody>
        </p:sp>
        <p:sp>
          <p:nvSpPr>
            <p:cNvPr id="238" name="TextBox 237">
              <a:extLst>
                <a:ext uri="{FF2B5EF4-FFF2-40B4-BE49-F238E27FC236}">
                  <a16:creationId xmlns:a16="http://schemas.microsoft.com/office/drawing/2014/main" id="{06141CAA-6E6C-4D9D-9418-3290FC2630DD}"/>
                </a:ext>
              </a:extLst>
            </p:cNvPr>
            <p:cNvSpPr txBox="1"/>
            <p:nvPr/>
          </p:nvSpPr>
          <p:spPr>
            <a:xfrm>
              <a:off x="2852274" y="2281780"/>
              <a:ext cx="1967826" cy="199308"/>
            </a:xfrm>
            <a:prstGeom prst="rect">
              <a:avLst/>
            </a:prstGeom>
          </p:spPr>
          <p:txBody>
            <a:bodyPr vert="horz" wrap="none" lIns="0" tIns="0" rIns="0" bIns="0" rtlCol="0" anchor="ctr">
              <a:noAutofit/>
            </a:bodyPr>
            <a:lstStyle>
              <a:defPPr>
                <a:defRPr lang="en-US"/>
              </a:defPPr>
              <a:lvl1pPr algn="ctr" defTabSz="1088105">
                <a:defRPr sz="1200">
                  <a:solidFill>
                    <a:srgbClr val="505050"/>
                  </a:solidFill>
                  <a:latin typeface="Segoe UI Semibold" panose="020B0702040204020203" pitchFamily="34" charset="0"/>
                  <a:ea typeface="Segoe UI" pitchFamily="34" charset="0"/>
                  <a:cs typeface="Segoe UI Semibold" panose="020B0702040204020203" pitchFamily="34" charset="0"/>
                </a:defRPr>
              </a:lvl1pPr>
            </a:lstStyle>
            <a:p>
              <a:pPr algn="l" defTabSz="1087779">
                <a:defRPr/>
              </a:pPr>
              <a:r>
                <a:rPr lang="en-US" kern="0" dirty="0">
                  <a:solidFill>
                    <a:prstClr val="white"/>
                  </a:solidFill>
                </a:rPr>
                <a:t>Proactive &amp; Actionable Insights</a:t>
              </a:r>
            </a:p>
          </p:txBody>
        </p:sp>
      </p:grpSp>
      <p:grpSp>
        <p:nvGrpSpPr>
          <p:cNvPr id="262" name="Group 261">
            <a:extLst>
              <a:ext uri="{FF2B5EF4-FFF2-40B4-BE49-F238E27FC236}">
                <a16:creationId xmlns:a16="http://schemas.microsoft.com/office/drawing/2014/main" id="{872A0CEB-4253-4E54-8053-2CEB4DFED1B7}"/>
              </a:ext>
            </a:extLst>
          </p:cNvPr>
          <p:cNvGrpSpPr/>
          <p:nvPr/>
        </p:nvGrpSpPr>
        <p:grpSpPr>
          <a:xfrm>
            <a:off x="8116839" y="5406612"/>
            <a:ext cx="2545575" cy="552227"/>
            <a:chOff x="2634419" y="2113009"/>
            <a:chExt cx="2154320" cy="552371"/>
          </a:xfrm>
        </p:grpSpPr>
        <p:sp>
          <p:nvSpPr>
            <p:cNvPr id="263" name="Arrow: Left-Right 262">
              <a:extLst>
                <a:ext uri="{FF2B5EF4-FFF2-40B4-BE49-F238E27FC236}">
                  <a16:creationId xmlns:a16="http://schemas.microsoft.com/office/drawing/2014/main" id="{9D9E8CE1-E987-498B-B326-A88BB9A73B61}"/>
                </a:ext>
              </a:extLst>
            </p:cNvPr>
            <p:cNvSpPr/>
            <p:nvPr/>
          </p:nvSpPr>
          <p:spPr>
            <a:xfrm>
              <a:off x="2634419" y="2113009"/>
              <a:ext cx="2031967" cy="552371"/>
            </a:xfrm>
            <a:prstGeom prst="lef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914126">
                <a:defRPr/>
              </a:pPr>
              <a:endParaRPr lang="en-US" sz="1200" dirty="0" err="1">
                <a:solidFill>
                  <a:prstClr val="white"/>
                </a:solidFill>
                <a:latin typeface="Segoe UI"/>
              </a:endParaRPr>
            </a:p>
          </p:txBody>
        </p:sp>
        <p:sp>
          <p:nvSpPr>
            <p:cNvPr id="274" name="TextBox 273">
              <a:extLst>
                <a:ext uri="{FF2B5EF4-FFF2-40B4-BE49-F238E27FC236}">
                  <a16:creationId xmlns:a16="http://schemas.microsoft.com/office/drawing/2014/main" id="{12066FD3-5FE3-4BE9-8974-C944B9CAF1DD}"/>
                </a:ext>
              </a:extLst>
            </p:cNvPr>
            <p:cNvSpPr txBox="1"/>
            <p:nvPr/>
          </p:nvSpPr>
          <p:spPr>
            <a:xfrm>
              <a:off x="2820913" y="2279544"/>
              <a:ext cx="1967826" cy="199308"/>
            </a:xfrm>
            <a:prstGeom prst="rect">
              <a:avLst/>
            </a:prstGeom>
          </p:spPr>
          <p:txBody>
            <a:bodyPr vert="horz" wrap="none" lIns="0" tIns="0" rIns="0" bIns="0" rtlCol="0" anchor="ctr">
              <a:noAutofit/>
            </a:bodyPr>
            <a:lstStyle>
              <a:defPPr>
                <a:defRPr lang="en-US"/>
              </a:defPPr>
              <a:lvl1pPr algn="ctr" defTabSz="1088105">
                <a:defRPr sz="1200">
                  <a:solidFill>
                    <a:srgbClr val="505050"/>
                  </a:solidFill>
                  <a:latin typeface="Segoe UI Semibold" panose="020B0702040204020203" pitchFamily="34" charset="0"/>
                  <a:ea typeface="Segoe UI" pitchFamily="34" charset="0"/>
                  <a:cs typeface="Segoe UI Semibold" panose="020B0702040204020203" pitchFamily="34" charset="0"/>
                </a:defRPr>
              </a:lvl1pPr>
            </a:lstStyle>
            <a:p>
              <a:pPr algn="l" defTabSz="1087779">
                <a:defRPr/>
              </a:pPr>
              <a:r>
                <a:rPr lang="en-US" kern="0" dirty="0">
                  <a:solidFill>
                    <a:prstClr val="white"/>
                  </a:solidFill>
                </a:rPr>
                <a:t>Improved Supply Chain</a:t>
              </a:r>
            </a:p>
          </p:txBody>
        </p:sp>
      </p:grpSp>
      <p:grpSp>
        <p:nvGrpSpPr>
          <p:cNvPr id="284" name="Group 283">
            <a:extLst>
              <a:ext uri="{FF2B5EF4-FFF2-40B4-BE49-F238E27FC236}">
                <a16:creationId xmlns:a16="http://schemas.microsoft.com/office/drawing/2014/main" id="{1BC30AE0-48DD-438E-B163-33A9C1644A7C}"/>
              </a:ext>
            </a:extLst>
          </p:cNvPr>
          <p:cNvGrpSpPr/>
          <p:nvPr/>
        </p:nvGrpSpPr>
        <p:grpSpPr>
          <a:xfrm>
            <a:off x="1910299" y="5368966"/>
            <a:ext cx="1254582" cy="552227"/>
            <a:chOff x="3013512" y="1616132"/>
            <a:chExt cx="1165746" cy="552371"/>
          </a:xfrm>
        </p:grpSpPr>
        <p:sp>
          <p:nvSpPr>
            <p:cNvPr id="285" name="Arrow: Left-Right 284">
              <a:extLst>
                <a:ext uri="{FF2B5EF4-FFF2-40B4-BE49-F238E27FC236}">
                  <a16:creationId xmlns:a16="http://schemas.microsoft.com/office/drawing/2014/main" id="{01636D2D-8CF5-4D60-9F09-D1F366ACF461}"/>
                </a:ext>
              </a:extLst>
            </p:cNvPr>
            <p:cNvSpPr/>
            <p:nvPr/>
          </p:nvSpPr>
          <p:spPr>
            <a:xfrm>
              <a:off x="3013512" y="1616132"/>
              <a:ext cx="1165746" cy="552371"/>
            </a:xfrm>
            <a:prstGeom prst="lef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914126">
                <a:defRPr/>
              </a:pPr>
              <a:endParaRPr lang="en-US" sz="1200" dirty="0" err="1">
                <a:solidFill>
                  <a:prstClr val="white"/>
                </a:solidFill>
                <a:latin typeface="Segoe UI"/>
              </a:endParaRPr>
            </a:p>
          </p:txBody>
        </p:sp>
        <p:sp>
          <p:nvSpPr>
            <p:cNvPr id="288" name="TextBox 287">
              <a:extLst>
                <a:ext uri="{FF2B5EF4-FFF2-40B4-BE49-F238E27FC236}">
                  <a16:creationId xmlns:a16="http://schemas.microsoft.com/office/drawing/2014/main" id="{75BA4358-9E8A-43D3-82C8-A84EAFFAB3B8}"/>
                </a:ext>
              </a:extLst>
            </p:cNvPr>
            <p:cNvSpPr txBox="1"/>
            <p:nvPr/>
          </p:nvSpPr>
          <p:spPr>
            <a:xfrm>
              <a:off x="3284058" y="1774778"/>
              <a:ext cx="744682" cy="212603"/>
            </a:xfrm>
            <a:prstGeom prst="rect">
              <a:avLst/>
            </a:prstGeom>
          </p:spPr>
          <p:txBody>
            <a:bodyPr vert="horz" wrap="none" lIns="0" tIns="0" rIns="0" bIns="0" rtlCol="0" anchor="ctr">
              <a:noAutofit/>
            </a:bodyPr>
            <a:lstStyle>
              <a:defPPr>
                <a:defRPr lang="en-US"/>
              </a:defPPr>
              <a:lvl1pPr algn="ctr" defTabSz="1088105">
                <a:defRPr sz="1200">
                  <a:solidFill>
                    <a:srgbClr val="505050"/>
                  </a:solidFill>
                  <a:latin typeface="Segoe UI Semibold" panose="020B0702040204020203" pitchFamily="34" charset="0"/>
                  <a:ea typeface="Segoe UI" pitchFamily="34" charset="0"/>
                  <a:cs typeface="Segoe UI Semibold" panose="020B0702040204020203" pitchFamily="34" charset="0"/>
                </a:defRPr>
              </a:lvl1pPr>
            </a:lstStyle>
            <a:p>
              <a:pPr algn="l" defTabSz="1087779">
                <a:defRPr/>
              </a:pPr>
              <a:r>
                <a:rPr lang="en-US" kern="0" dirty="0">
                  <a:solidFill>
                    <a:prstClr val="white"/>
                  </a:solidFill>
                </a:rPr>
                <a:t>Telemetry</a:t>
              </a:r>
            </a:p>
          </p:txBody>
        </p:sp>
      </p:grpSp>
      <p:grpSp>
        <p:nvGrpSpPr>
          <p:cNvPr id="375" name="Group 374">
            <a:extLst>
              <a:ext uri="{FF2B5EF4-FFF2-40B4-BE49-F238E27FC236}">
                <a16:creationId xmlns:a16="http://schemas.microsoft.com/office/drawing/2014/main" id="{AE4D0DC3-849D-4763-9D4F-BA7DA1C78EAC}"/>
              </a:ext>
            </a:extLst>
          </p:cNvPr>
          <p:cNvGrpSpPr/>
          <p:nvPr/>
        </p:nvGrpSpPr>
        <p:grpSpPr>
          <a:xfrm>
            <a:off x="2074018" y="3030094"/>
            <a:ext cx="2854208" cy="552227"/>
            <a:chOff x="2832164" y="2113009"/>
            <a:chExt cx="2192503" cy="552371"/>
          </a:xfrm>
        </p:grpSpPr>
        <p:sp>
          <p:nvSpPr>
            <p:cNvPr id="376" name="Arrow: Left-Right 375">
              <a:extLst>
                <a:ext uri="{FF2B5EF4-FFF2-40B4-BE49-F238E27FC236}">
                  <a16:creationId xmlns:a16="http://schemas.microsoft.com/office/drawing/2014/main" id="{42A1E59D-A567-4961-A9FF-650A92EF277F}"/>
                </a:ext>
              </a:extLst>
            </p:cNvPr>
            <p:cNvSpPr/>
            <p:nvPr/>
          </p:nvSpPr>
          <p:spPr>
            <a:xfrm>
              <a:off x="2832164" y="2113009"/>
              <a:ext cx="1834221" cy="552371"/>
            </a:xfrm>
            <a:prstGeom prst="lef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914126">
                <a:defRPr/>
              </a:pPr>
              <a:endParaRPr lang="en-US" sz="1200" dirty="0" err="1">
                <a:solidFill>
                  <a:prstClr val="white"/>
                </a:solidFill>
                <a:latin typeface="Segoe UI"/>
              </a:endParaRPr>
            </a:p>
          </p:txBody>
        </p:sp>
        <p:sp>
          <p:nvSpPr>
            <p:cNvPr id="377" name="TextBox 376">
              <a:extLst>
                <a:ext uri="{FF2B5EF4-FFF2-40B4-BE49-F238E27FC236}">
                  <a16:creationId xmlns:a16="http://schemas.microsoft.com/office/drawing/2014/main" id="{35E98A9D-4AC3-4BE5-947C-9343E074E509}"/>
                </a:ext>
              </a:extLst>
            </p:cNvPr>
            <p:cNvSpPr txBox="1"/>
            <p:nvPr/>
          </p:nvSpPr>
          <p:spPr>
            <a:xfrm>
              <a:off x="3056841" y="2288816"/>
              <a:ext cx="1967826" cy="199308"/>
            </a:xfrm>
            <a:prstGeom prst="rect">
              <a:avLst/>
            </a:prstGeom>
          </p:spPr>
          <p:txBody>
            <a:bodyPr vert="horz" wrap="none" lIns="0" tIns="0" rIns="0" bIns="0" rtlCol="0" anchor="ctr">
              <a:noAutofit/>
            </a:bodyPr>
            <a:lstStyle>
              <a:defPPr>
                <a:defRPr lang="en-US"/>
              </a:defPPr>
              <a:lvl1pPr algn="ctr" defTabSz="1088105">
                <a:defRPr sz="1200">
                  <a:solidFill>
                    <a:srgbClr val="505050"/>
                  </a:solidFill>
                  <a:latin typeface="Segoe UI Semibold" panose="020B0702040204020203" pitchFamily="34" charset="0"/>
                  <a:ea typeface="Segoe UI" pitchFamily="34" charset="0"/>
                  <a:cs typeface="Segoe UI Semibold" panose="020B0702040204020203" pitchFamily="34" charset="0"/>
                </a:defRPr>
              </a:lvl1pPr>
            </a:lstStyle>
            <a:p>
              <a:pPr algn="l" defTabSz="1087779">
                <a:defRPr/>
              </a:pPr>
              <a:r>
                <a:rPr lang="en-US" kern="0" dirty="0">
                  <a:solidFill>
                    <a:prstClr val="white"/>
                  </a:solidFill>
                </a:rPr>
                <a:t>Empowered Collaboration</a:t>
              </a:r>
            </a:p>
          </p:txBody>
        </p:sp>
      </p:grpSp>
      <p:grpSp>
        <p:nvGrpSpPr>
          <p:cNvPr id="236" name="Group 235">
            <a:extLst>
              <a:ext uri="{FF2B5EF4-FFF2-40B4-BE49-F238E27FC236}">
                <a16:creationId xmlns:a16="http://schemas.microsoft.com/office/drawing/2014/main" id="{896971B4-E953-4E89-804A-C96205D5954C}"/>
              </a:ext>
            </a:extLst>
          </p:cNvPr>
          <p:cNvGrpSpPr/>
          <p:nvPr/>
        </p:nvGrpSpPr>
        <p:grpSpPr>
          <a:xfrm>
            <a:off x="731280" y="1189693"/>
            <a:ext cx="762831" cy="728173"/>
            <a:chOff x="9046147" y="2182174"/>
            <a:chExt cx="922740" cy="914849"/>
          </a:xfrm>
        </p:grpSpPr>
        <p:grpSp>
          <p:nvGrpSpPr>
            <p:cNvPr id="237" name="Group 236">
              <a:extLst>
                <a:ext uri="{FF2B5EF4-FFF2-40B4-BE49-F238E27FC236}">
                  <a16:creationId xmlns:a16="http://schemas.microsoft.com/office/drawing/2014/main" id="{42EDC02B-C3CA-4584-9518-F55680470072}"/>
                </a:ext>
              </a:extLst>
            </p:cNvPr>
            <p:cNvGrpSpPr>
              <a:grpSpLocks noChangeAspect="1"/>
            </p:cNvGrpSpPr>
            <p:nvPr/>
          </p:nvGrpSpPr>
          <p:grpSpPr>
            <a:xfrm>
              <a:off x="9113399" y="2182174"/>
              <a:ext cx="788196" cy="376549"/>
              <a:chOff x="335107" y="1984056"/>
              <a:chExt cx="8623119" cy="4119564"/>
            </a:xfrm>
            <a:solidFill>
              <a:srgbClr val="7F7F7F"/>
            </a:solidFill>
          </p:grpSpPr>
          <p:sp>
            <p:nvSpPr>
              <p:cNvPr id="241" name="Freeform 286">
                <a:extLst>
                  <a:ext uri="{FF2B5EF4-FFF2-40B4-BE49-F238E27FC236}">
                    <a16:creationId xmlns:a16="http://schemas.microsoft.com/office/drawing/2014/main" id="{97E76E23-1613-43E0-938A-DDDBBE41517E}"/>
                  </a:ext>
                </a:extLst>
              </p:cNvPr>
              <p:cNvSpPr/>
              <p:nvPr/>
            </p:nvSpPr>
            <p:spPr>
              <a:xfrm>
                <a:off x="5423935" y="2187537"/>
                <a:ext cx="1275676" cy="3054785"/>
              </a:xfrm>
              <a:custGeom>
                <a:avLst/>
                <a:gdLst/>
                <a:ahLst/>
                <a:cxnLst/>
                <a:rect l="l" t="t" r="r" b="b"/>
                <a:pathLst>
                  <a:path w="1275676" h="3054785">
                    <a:moveTo>
                      <a:pt x="909893" y="2571265"/>
                    </a:moveTo>
                    <a:cubicBezTo>
                      <a:pt x="927578" y="2591556"/>
                      <a:pt x="943146" y="2624131"/>
                      <a:pt x="953053" y="2679738"/>
                    </a:cubicBezTo>
                    <a:cubicBezTo>
                      <a:pt x="966614" y="2755857"/>
                      <a:pt x="1015135" y="2902136"/>
                      <a:pt x="1032104" y="3045768"/>
                    </a:cubicBezTo>
                    <a:lnTo>
                      <a:pt x="926033" y="3054785"/>
                    </a:lnTo>
                    <a:lnTo>
                      <a:pt x="843515" y="2994064"/>
                    </a:lnTo>
                    <a:lnTo>
                      <a:pt x="791128" y="2951202"/>
                    </a:lnTo>
                    <a:lnTo>
                      <a:pt x="789242" y="2950511"/>
                    </a:lnTo>
                    <a:cubicBezTo>
                      <a:pt x="821800" y="2828680"/>
                      <a:pt x="864407" y="2700040"/>
                      <a:pt x="909893" y="2571265"/>
                    </a:cubicBezTo>
                    <a:close/>
                    <a:moveTo>
                      <a:pt x="810922" y="2515507"/>
                    </a:moveTo>
                    <a:cubicBezTo>
                      <a:pt x="813163" y="2515338"/>
                      <a:pt x="815461" y="2515417"/>
                      <a:pt x="817564" y="2517542"/>
                    </a:cubicBezTo>
                    <a:cubicBezTo>
                      <a:pt x="792015" y="2589329"/>
                      <a:pt x="769100" y="2660102"/>
                      <a:pt x="749052" y="2731145"/>
                    </a:cubicBezTo>
                    <a:cubicBezTo>
                      <a:pt x="728674" y="2665687"/>
                      <a:pt x="718117" y="2603286"/>
                      <a:pt x="714164" y="2542305"/>
                    </a:cubicBezTo>
                    <a:cubicBezTo>
                      <a:pt x="724867" y="2542383"/>
                      <a:pt x="734802" y="2542128"/>
                      <a:pt x="743503" y="2541626"/>
                    </a:cubicBezTo>
                    <a:cubicBezTo>
                      <a:pt x="774459" y="2539840"/>
                      <a:pt x="790235" y="2517070"/>
                      <a:pt x="810922" y="2515507"/>
                    </a:cubicBezTo>
                    <a:close/>
                    <a:moveTo>
                      <a:pt x="396204" y="2451912"/>
                    </a:moveTo>
                    <a:cubicBezTo>
                      <a:pt x="411647" y="2483872"/>
                      <a:pt x="433855" y="2503483"/>
                      <a:pt x="462515" y="2517813"/>
                    </a:cubicBezTo>
                    <a:cubicBezTo>
                      <a:pt x="495852" y="2534482"/>
                      <a:pt x="539509" y="2532894"/>
                      <a:pt x="586340" y="2536863"/>
                    </a:cubicBezTo>
                    <a:cubicBezTo>
                      <a:pt x="606520" y="2538574"/>
                      <a:pt x="630828" y="2540136"/>
                      <a:pt x="655265" y="2541066"/>
                    </a:cubicBezTo>
                    <a:cubicBezTo>
                      <a:pt x="657458" y="2571620"/>
                      <a:pt x="660070" y="2600527"/>
                      <a:pt x="663066" y="2624898"/>
                    </a:cubicBezTo>
                    <a:cubicBezTo>
                      <a:pt x="668463" y="2668822"/>
                      <a:pt x="677606" y="2707999"/>
                      <a:pt x="686242" y="2744162"/>
                    </a:cubicBezTo>
                    <a:cubicBezTo>
                      <a:pt x="632838" y="2717984"/>
                      <a:pt x="514903" y="2670213"/>
                      <a:pt x="514903" y="2670213"/>
                    </a:cubicBezTo>
                    <a:lnTo>
                      <a:pt x="333928" y="2589251"/>
                    </a:lnTo>
                    <a:lnTo>
                      <a:pt x="323202" y="2584990"/>
                    </a:lnTo>
                    <a:lnTo>
                      <a:pt x="327453" y="2567034"/>
                    </a:lnTo>
                    <a:cubicBezTo>
                      <a:pt x="340667" y="2528713"/>
                      <a:pt x="369951" y="2489259"/>
                      <a:pt x="396204" y="2451912"/>
                    </a:cubicBezTo>
                    <a:close/>
                    <a:moveTo>
                      <a:pt x="356384" y="1755197"/>
                    </a:moveTo>
                    <a:lnTo>
                      <a:pt x="361013" y="1949619"/>
                    </a:lnTo>
                    <a:cubicBezTo>
                      <a:pt x="293278" y="2065222"/>
                      <a:pt x="276288" y="2307687"/>
                      <a:pt x="265731" y="2563792"/>
                    </a:cubicBezTo>
                    <a:cubicBezTo>
                      <a:pt x="245616" y="2556203"/>
                      <a:pt x="227467" y="2546676"/>
                      <a:pt x="210103" y="2527338"/>
                    </a:cubicBezTo>
                    <a:cubicBezTo>
                      <a:pt x="175178" y="2488444"/>
                      <a:pt x="152159" y="2401925"/>
                      <a:pt x="124378" y="2355888"/>
                    </a:cubicBezTo>
                    <a:cubicBezTo>
                      <a:pt x="96597" y="2309851"/>
                      <a:pt x="64052" y="2271750"/>
                      <a:pt x="43415" y="2251113"/>
                    </a:cubicBezTo>
                    <a:cubicBezTo>
                      <a:pt x="22778" y="2230476"/>
                      <a:pt x="-4209" y="2253494"/>
                      <a:pt x="553" y="2232063"/>
                    </a:cubicBezTo>
                    <a:cubicBezTo>
                      <a:pt x="5315" y="2210632"/>
                      <a:pt x="48177" y="2180470"/>
                      <a:pt x="71990" y="2122526"/>
                    </a:cubicBezTo>
                    <a:cubicBezTo>
                      <a:pt x="90351" y="2077850"/>
                      <a:pt x="107767" y="1994009"/>
                      <a:pt x="126665" y="1932199"/>
                    </a:cubicBezTo>
                    <a:lnTo>
                      <a:pt x="273061" y="1880184"/>
                    </a:lnTo>
                    <a:cubicBezTo>
                      <a:pt x="305463" y="1861666"/>
                      <a:pt x="310089" y="1787599"/>
                      <a:pt x="356384" y="1755197"/>
                    </a:cubicBezTo>
                    <a:close/>
                    <a:moveTo>
                      <a:pt x="537693" y="744"/>
                    </a:moveTo>
                    <a:cubicBezTo>
                      <a:pt x="581411" y="-1830"/>
                      <a:pt x="633485" y="2027"/>
                      <a:pt x="695853" y="16174"/>
                    </a:cubicBezTo>
                    <a:cubicBezTo>
                      <a:pt x="758217" y="30318"/>
                      <a:pt x="852732" y="64395"/>
                      <a:pt x="911876" y="85609"/>
                    </a:cubicBezTo>
                    <a:cubicBezTo>
                      <a:pt x="971031" y="106829"/>
                      <a:pt x="1018605" y="128046"/>
                      <a:pt x="1050752" y="143477"/>
                    </a:cubicBezTo>
                    <a:cubicBezTo>
                      <a:pt x="1082899" y="158907"/>
                      <a:pt x="1079686" y="149264"/>
                      <a:pt x="1104760" y="178194"/>
                    </a:cubicBezTo>
                    <a:cubicBezTo>
                      <a:pt x="1129837" y="207128"/>
                      <a:pt x="1173554" y="261132"/>
                      <a:pt x="1201202" y="317070"/>
                    </a:cubicBezTo>
                    <a:cubicBezTo>
                      <a:pt x="1228849" y="373008"/>
                      <a:pt x="1259066" y="453372"/>
                      <a:pt x="1270636" y="513810"/>
                    </a:cubicBezTo>
                    <a:cubicBezTo>
                      <a:pt x="1275863" y="541109"/>
                      <a:pt x="1276368" y="577588"/>
                      <a:pt x="1275078" y="609376"/>
                    </a:cubicBezTo>
                    <a:cubicBezTo>
                      <a:pt x="1207919" y="610739"/>
                      <a:pt x="1256062" y="594379"/>
                      <a:pt x="1219753" y="593763"/>
                    </a:cubicBezTo>
                    <a:cubicBezTo>
                      <a:pt x="1172922" y="592969"/>
                      <a:pt x="1123709" y="585032"/>
                      <a:pt x="1086403" y="598526"/>
                    </a:cubicBezTo>
                    <a:cubicBezTo>
                      <a:pt x="1049097" y="612020"/>
                      <a:pt x="1027665" y="660439"/>
                      <a:pt x="995915" y="674726"/>
                    </a:cubicBezTo>
                    <a:cubicBezTo>
                      <a:pt x="964165" y="689014"/>
                      <a:pt x="933209" y="669964"/>
                      <a:pt x="895903" y="684251"/>
                    </a:cubicBezTo>
                    <a:cubicBezTo>
                      <a:pt x="858597" y="698539"/>
                      <a:pt x="813353" y="722351"/>
                      <a:pt x="772078" y="760451"/>
                    </a:cubicBezTo>
                    <a:cubicBezTo>
                      <a:pt x="730803" y="798551"/>
                      <a:pt x="685559" y="851732"/>
                      <a:pt x="648253" y="912851"/>
                    </a:cubicBezTo>
                    <a:cubicBezTo>
                      <a:pt x="610947" y="973970"/>
                      <a:pt x="579196" y="1048582"/>
                      <a:pt x="548240" y="1127163"/>
                    </a:cubicBezTo>
                    <a:cubicBezTo>
                      <a:pt x="517284" y="1205744"/>
                      <a:pt x="486327" y="1295438"/>
                      <a:pt x="462515" y="1384338"/>
                    </a:cubicBezTo>
                    <a:cubicBezTo>
                      <a:pt x="438702" y="1473238"/>
                      <a:pt x="418065" y="1592300"/>
                      <a:pt x="405365" y="1660563"/>
                    </a:cubicBezTo>
                    <a:cubicBezTo>
                      <a:pt x="401622" y="1680683"/>
                      <a:pt x="398982" y="1695769"/>
                      <a:pt x="397031" y="1708455"/>
                    </a:cubicBezTo>
                    <a:lnTo>
                      <a:pt x="379531" y="1681708"/>
                    </a:lnTo>
                    <a:cubicBezTo>
                      <a:pt x="365064" y="1654708"/>
                      <a:pt x="382424" y="1649399"/>
                      <a:pt x="362170" y="1615163"/>
                    </a:cubicBezTo>
                    <a:cubicBezTo>
                      <a:pt x="346337" y="1588394"/>
                      <a:pt x="308388" y="1553075"/>
                      <a:pt x="279806" y="1511723"/>
                    </a:cubicBezTo>
                    <a:cubicBezTo>
                      <a:pt x="283185" y="1487626"/>
                      <a:pt x="285447" y="1466602"/>
                      <a:pt x="286303" y="1451013"/>
                    </a:cubicBezTo>
                    <a:cubicBezTo>
                      <a:pt x="290272" y="1378782"/>
                      <a:pt x="259315" y="1385926"/>
                      <a:pt x="248203" y="1351001"/>
                    </a:cubicBezTo>
                    <a:cubicBezTo>
                      <a:pt x="237090" y="1316076"/>
                      <a:pt x="217247" y="1279563"/>
                      <a:pt x="219628" y="1241463"/>
                    </a:cubicBezTo>
                    <a:cubicBezTo>
                      <a:pt x="222009" y="1203363"/>
                      <a:pt x="252171" y="1173995"/>
                      <a:pt x="262490" y="1122401"/>
                    </a:cubicBezTo>
                    <a:cubicBezTo>
                      <a:pt x="272809" y="1070807"/>
                      <a:pt x="281540" y="992226"/>
                      <a:pt x="281540" y="931901"/>
                    </a:cubicBezTo>
                    <a:cubicBezTo>
                      <a:pt x="281540" y="871576"/>
                      <a:pt x="281540" y="816807"/>
                      <a:pt x="262490" y="760451"/>
                    </a:cubicBezTo>
                    <a:cubicBezTo>
                      <a:pt x="251559" y="728114"/>
                      <a:pt x="235402" y="693947"/>
                      <a:pt x="214848" y="662136"/>
                    </a:cubicBezTo>
                    <a:lnTo>
                      <a:pt x="267253" y="612813"/>
                    </a:lnTo>
                    <a:lnTo>
                      <a:pt x="500615" y="488988"/>
                    </a:lnTo>
                    <a:lnTo>
                      <a:pt x="786365" y="479463"/>
                    </a:lnTo>
                    <a:lnTo>
                      <a:pt x="486328" y="446126"/>
                    </a:lnTo>
                    <a:lnTo>
                      <a:pt x="286303" y="531851"/>
                    </a:lnTo>
                    <a:lnTo>
                      <a:pt x="188793" y="624717"/>
                    </a:lnTo>
                    <a:cubicBezTo>
                      <a:pt x="183072" y="613128"/>
                      <a:pt x="175276" y="603190"/>
                      <a:pt x="167240" y="593763"/>
                    </a:cubicBezTo>
                    <a:cubicBezTo>
                      <a:pt x="128567" y="548397"/>
                      <a:pt x="168636" y="489094"/>
                      <a:pt x="42501" y="473501"/>
                    </a:cubicBezTo>
                    <a:cubicBezTo>
                      <a:pt x="46825" y="429492"/>
                      <a:pt x="64428" y="405518"/>
                      <a:pt x="82492" y="363364"/>
                    </a:cubicBezTo>
                    <a:cubicBezTo>
                      <a:pt x="103709" y="313853"/>
                      <a:pt x="135213" y="245058"/>
                      <a:pt x="167360" y="201341"/>
                    </a:cubicBezTo>
                    <a:cubicBezTo>
                      <a:pt x="199507" y="157620"/>
                      <a:pt x="231011" y="129333"/>
                      <a:pt x="275376" y="101043"/>
                    </a:cubicBezTo>
                    <a:cubicBezTo>
                      <a:pt x="319733" y="72752"/>
                      <a:pt x="389818" y="48322"/>
                      <a:pt x="433535" y="31608"/>
                    </a:cubicBezTo>
                    <a:cubicBezTo>
                      <a:pt x="477256" y="14888"/>
                      <a:pt x="493969" y="3314"/>
                      <a:pt x="537693" y="74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578">
                  <a:defRPr/>
                </a:pPr>
                <a:endParaRPr lang="en-US" sz="1797" kern="0">
                  <a:solidFill>
                    <a:srgbClr val="FFFFFF"/>
                  </a:solidFill>
                  <a:latin typeface="Segoe UI"/>
                </a:endParaRPr>
              </a:p>
            </p:txBody>
          </p:sp>
          <p:sp>
            <p:nvSpPr>
              <p:cNvPr id="247" name="Man's Body">
                <a:extLst>
                  <a:ext uri="{FF2B5EF4-FFF2-40B4-BE49-F238E27FC236}">
                    <a16:creationId xmlns:a16="http://schemas.microsoft.com/office/drawing/2014/main" id="{DCE68E73-C9D0-4ECB-B4C4-DEC6A89E7433}"/>
                  </a:ext>
                </a:extLst>
              </p:cNvPr>
              <p:cNvSpPr>
                <a:spLocks/>
              </p:cNvSpPr>
              <p:nvPr/>
            </p:nvSpPr>
            <p:spPr bwMode="auto">
              <a:xfrm>
                <a:off x="4286421" y="1984056"/>
                <a:ext cx="1109019" cy="638618"/>
              </a:xfrm>
              <a:custGeom>
                <a:avLst/>
                <a:gdLst/>
                <a:ahLst/>
                <a:cxnLst/>
                <a:rect l="l" t="t" r="r" b="b"/>
                <a:pathLst>
                  <a:path w="1109019" h="638618">
                    <a:moveTo>
                      <a:pt x="527057" y="506"/>
                    </a:moveTo>
                    <a:cubicBezTo>
                      <a:pt x="648121" y="6732"/>
                      <a:pt x="780445" y="70158"/>
                      <a:pt x="889294" y="181665"/>
                    </a:cubicBezTo>
                    <a:cubicBezTo>
                      <a:pt x="1063451" y="360077"/>
                      <a:pt x="1112509" y="452740"/>
                      <a:pt x="1108830" y="488699"/>
                    </a:cubicBezTo>
                    <a:cubicBezTo>
                      <a:pt x="1105150" y="523275"/>
                      <a:pt x="1069584" y="571681"/>
                      <a:pt x="1038921" y="564767"/>
                    </a:cubicBezTo>
                    <a:cubicBezTo>
                      <a:pt x="1007034" y="557851"/>
                      <a:pt x="1003354" y="527424"/>
                      <a:pt x="986183" y="510828"/>
                    </a:cubicBezTo>
                    <a:cubicBezTo>
                      <a:pt x="782591" y="317203"/>
                      <a:pt x="618246" y="347629"/>
                      <a:pt x="550790" y="371142"/>
                    </a:cubicBezTo>
                    <a:cubicBezTo>
                      <a:pt x="760068" y="390992"/>
                      <a:pt x="912422" y="533945"/>
                      <a:pt x="972020" y="608911"/>
                    </a:cubicBezTo>
                    <a:cubicBezTo>
                      <a:pt x="891545" y="581606"/>
                      <a:pt x="869616" y="586916"/>
                      <a:pt x="814218" y="578169"/>
                    </a:cubicBezTo>
                    <a:cubicBezTo>
                      <a:pt x="753893" y="568644"/>
                      <a:pt x="686424" y="559913"/>
                      <a:pt x="633243" y="559119"/>
                    </a:cubicBezTo>
                    <a:cubicBezTo>
                      <a:pt x="580062" y="558325"/>
                      <a:pt x="534818" y="561501"/>
                      <a:pt x="495131" y="573407"/>
                    </a:cubicBezTo>
                    <a:cubicBezTo>
                      <a:pt x="455444" y="585313"/>
                      <a:pt x="430837" y="621032"/>
                      <a:pt x="395118" y="630557"/>
                    </a:cubicBezTo>
                    <a:cubicBezTo>
                      <a:pt x="359399" y="640082"/>
                      <a:pt x="312568" y="642463"/>
                      <a:pt x="280818" y="630557"/>
                    </a:cubicBezTo>
                    <a:cubicBezTo>
                      <a:pt x="249068" y="618651"/>
                      <a:pt x="230812" y="588488"/>
                      <a:pt x="204618" y="559119"/>
                    </a:cubicBezTo>
                    <a:cubicBezTo>
                      <a:pt x="178424" y="529750"/>
                      <a:pt x="156200" y="486888"/>
                      <a:pt x="123656" y="454344"/>
                    </a:cubicBezTo>
                    <a:cubicBezTo>
                      <a:pt x="91112" y="421800"/>
                      <a:pt x="52218" y="394019"/>
                      <a:pt x="9356" y="363857"/>
                    </a:cubicBezTo>
                    <a:cubicBezTo>
                      <a:pt x="6109" y="361572"/>
                      <a:pt x="2861" y="359100"/>
                      <a:pt x="0" y="355996"/>
                    </a:cubicBezTo>
                    <a:cubicBezTo>
                      <a:pt x="20998" y="211335"/>
                      <a:pt x="96747" y="42345"/>
                      <a:pt x="328801" y="53043"/>
                    </a:cubicBezTo>
                    <a:cubicBezTo>
                      <a:pt x="385831" y="13626"/>
                      <a:pt x="454418" y="-3230"/>
                      <a:pt x="527057" y="50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248" name="Man's Body">
                <a:extLst>
                  <a:ext uri="{FF2B5EF4-FFF2-40B4-BE49-F238E27FC236}">
                    <a16:creationId xmlns:a16="http://schemas.microsoft.com/office/drawing/2014/main" id="{D6B1840A-99EB-404D-A555-798FAE00CCA5}"/>
                  </a:ext>
                </a:extLst>
              </p:cNvPr>
              <p:cNvSpPr>
                <a:spLocks/>
              </p:cNvSpPr>
              <p:nvPr/>
            </p:nvSpPr>
            <p:spPr bwMode="auto">
              <a:xfrm>
                <a:off x="1933544" y="2281603"/>
                <a:ext cx="1087125" cy="2339128"/>
              </a:xfrm>
              <a:custGeom>
                <a:avLst/>
                <a:gdLst/>
                <a:ahLst/>
                <a:cxnLst/>
                <a:rect l="l" t="t" r="r" b="b"/>
                <a:pathLst>
                  <a:path w="1087125" h="2339128">
                    <a:moveTo>
                      <a:pt x="148114" y="1900284"/>
                    </a:moveTo>
                    <a:cubicBezTo>
                      <a:pt x="220874" y="1957568"/>
                      <a:pt x="348888" y="2049369"/>
                      <a:pt x="516243" y="2068258"/>
                    </a:cubicBezTo>
                    <a:lnTo>
                      <a:pt x="495331" y="2090372"/>
                    </a:lnTo>
                    <a:cubicBezTo>
                      <a:pt x="449294" y="2138791"/>
                      <a:pt x="388175" y="2211022"/>
                      <a:pt x="338169" y="2252297"/>
                    </a:cubicBezTo>
                    <a:cubicBezTo>
                      <a:pt x="288163" y="2293572"/>
                      <a:pt x="225456" y="2347547"/>
                      <a:pt x="195294" y="2338022"/>
                    </a:cubicBezTo>
                    <a:cubicBezTo>
                      <a:pt x="165132" y="2328497"/>
                      <a:pt x="175450" y="2234834"/>
                      <a:pt x="157194" y="2195147"/>
                    </a:cubicBezTo>
                    <a:cubicBezTo>
                      <a:pt x="138938" y="2155460"/>
                      <a:pt x="111950" y="2112597"/>
                      <a:pt x="85756" y="2099897"/>
                    </a:cubicBezTo>
                    <a:cubicBezTo>
                      <a:pt x="59562" y="2087197"/>
                      <a:pt x="-1556" y="2133234"/>
                      <a:pt x="31" y="2118947"/>
                    </a:cubicBezTo>
                    <a:cubicBezTo>
                      <a:pt x="1618" y="2104660"/>
                      <a:pt x="65912" y="2063384"/>
                      <a:pt x="95281" y="2014172"/>
                    </a:cubicBezTo>
                    <a:cubicBezTo>
                      <a:pt x="112544" y="1985245"/>
                      <a:pt x="132002" y="1941507"/>
                      <a:pt x="148114" y="1900284"/>
                    </a:cubicBezTo>
                    <a:close/>
                    <a:moveTo>
                      <a:pt x="300366" y="1598710"/>
                    </a:moveTo>
                    <a:cubicBezTo>
                      <a:pt x="322928" y="1593356"/>
                      <a:pt x="499132" y="1755026"/>
                      <a:pt x="596386" y="1777949"/>
                    </a:cubicBezTo>
                    <a:lnTo>
                      <a:pt x="614394" y="1795097"/>
                    </a:lnTo>
                    <a:cubicBezTo>
                      <a:pt x="638206" y="1830816"/>
                      <a:pt x="647731" y="1881616"/>
                      <a:pt x="647731" y="1909397"/>
                    </a:cubicBezTo>
                    <a:cubicBezTo>
                      <a:pt x="647731" y="1937178"/>
                      <a:pt x="639794" y="1931622"/>
                      <a:pt x="614394" y="1961785"/>
                    </a:cubicBezTo>
                    <a:cubicBezTo>
                      <a:pt x="607207" y="1970320"/>
                      <a:pt x="598240" y="1980444"/>
                      <a:pt x="588003" y="1991644"/>
                    </a:cubicBezTo>
                    <a:cubicBezTo>
                      <a:pt x="401521" y="1979273"/>
                      <a:pt x="213522" y="1820684"/>
                      <a:pt x="209777" y="1788323"/>
                    </a:cubicBezTo>
                    <a:cubicBezTo>
                      <a:pt x="205894" y="1753317"/>
                      <a:pt x="274484" y="1603086"/>
                      <a:pt x="300366" y="1598710"/>
                    </a:cubicBezTo>
                    <a:close/>
                    <a:moveTo>
                      <a:pt x="594957" y="534"/>
                    </a:moveTo>
                    <a:cubicBezTo>
                      <a:pt x="722687" y="7103"/>
                      <a:pt x="862297" y="74022"/>
                      <a:pt x="977139" y="191669"/>
                    </a:cubicBezTo>
                    <a:cubicBezTo>
                      <a:pt x="1021009" y="236610"/>
                      <a:pt x="1057355" y="276395"/>
                      <a:pt x="1087125" y="311518"/>
                    </a:cubicBezTo>
                    <a:cubicBezTo>
                      <a:pt x="1049367" y="328933"/>
                      <a:pt x="1022410" y="352709"/>
                      <a:pt x="981106" y="366347"/>
                    </a:cubicBezTo>
                    <a:cubicBezTo>
                      <a:pt x="944893" y="378304"/>
                      <a:pt x="910738" y="390997"/>
                      <a:pt x="878907" y="405059"/>
                    </a:cubicBezTo>
                    <a:cubicBezTo>
                      <a:pt x="759679" y="355398"/>
                      <a:pt x="667278" y="375098"/>
                      <a:pt x="619996" y="391578"/>
                    </a:cubicBezTo>
                    <a:cubicBezTo>
                      <a:pt x="686882" y="397922"/>
                      <a:pt x="748256" y="416185"/>
                      <a:pt x="802895" y="441165"/>
                    </a:cubicBezTo>
                    <a:lnTo>
                      <a:pt x="762031" y="461597"/>
                    </a:lnTo>
                    <a:cubicBezTo>
                      <a:pt x="700119" y="497316"/>
                      <a:pt x="650112" y="528273"/>
                      <a:pt x="609631" y="580660"/>
                    </a:cubicBezTo>
                    <a:cubicBezTo>
                      <a:pt x="569150" y="633047"/>
                      <a:pt x="541369" y="702897"/>
                      <a:pt x="519144" y="775922"/>
                    </a:cubicBezTo>
                    <a:cubicBezTo>
                      <a:pt x="496919" y="848947"/>
                      <a:pt x="482631" y="944991"/>
                      <a:pt x="476281" y="1018810"/>
                    </a:cubicBezTo>
                    <a:cubicBezTo>
                      <a:pt x="469931" y="1092629"/>
                      <a:pt x="479457" y="1144223"/>
                      <a:pt x="481044" y="1218835"/>
                    </a:cubicBezTo>
                    <a:cubicBezTo>
                      <a:pt x="482631" y="1293447"/>
                      <a:pt x="481837" y="1387110"/>
                      <a:pt x="485806" y="1466485"/>
                    </a:cubicBezTo>
                    <a:cubicBezTo>
                      <a:pt x="488264" y="1515644"/>
                      <a:pt x="486764" y="1570588"/>
                      <a:pt x="491052" y="1618253"/>
                    </a:cubicBezTo>
                    <a:cubicBezTo>
                      <a:pt x="410332" y="1566195"/>
                      <a:pt x="328150" y="1493901"/>
                      <a:pt x="318496" y="1475757"/>
                    </a:cubicBezTo>
                    <a:cubicBezTo>
                      <a:pt x="315899" y="1471251"/>
                      <a:pt x="311051" y="1464346"/>
                      <a:pt x="304709" y="1455294"/>
                    </a:cubicBezTo>
                    <a:cubicBezTo>
                      <a:pt x="315763" y="1411159"/>
                      <a:pt x="324775" y="1369039"/>
                      <a:pt x="328644" y="1342660"/>
                    </a:cubicBezTo>
                    <a:cubicBezTo>
                      <a:pt x="337375" y="1283129"/>
                      <a:pt x="327056" y="1275191"/>
                      <a:pt x="314356" y="1247410"/>
                    </a:cubicBezTo>
                    <a:cubicBezTo>
                      <a:pt x="301656" y="1219629"/>
                      <a:pt x="261969" y="1202959"/>
                      <a:pt x="252444" y="1175972"/>
                    </a:cubicBezTo>
                    <a:cubicBezTo>
                      <a:pt x="242919" y="1148985"/>
                      <a:pt x="260381" y="1112473"/>
                      <a:pt x="257206" y="1085485"/>
                    </a:cubicBezTo>
                    <a:cubicBezTo>
                      <a:pt x="254031" y="1058497"/>
                      <a:pt x="224663" y="1025953"/>
                      <a:pt x="233394" y="1014047"/>
                    </a:cubicBezTo>
                    <a:cubicBezTo>
                      <a:pt x="242125" y="1002141"/>
                      <a:pt x="284194" y="1028334"/>
                      <a:pt x="309594" y="1014047"/>
                    </a:cubicBezTo>
                    <a:cubicBezTo>
                      <a:pt x="334994" y="999760"/>
                      <a:pt x="373888" y="964834"/>
                      <a:pt x="385794" y="928322"/>
                    </a:cubicBezTo>
                    <a:cubicBezTo>
                      <a:pt x="397700" y="891810"/>
                      <a:pt x="396112" y="839422"/>
                      <a:pt x="381031" y="794972"/>
                    </a:cubicBezTo>
                    <a:cubicBezTo>
                      <a:pt x="365950" y="750522"/>
                      <a:pt x="332612" y="708453"/>
                      <a:pt x="295306" y="661622"/>
                    </a:cubicBezTo>
                    <a:cubicBezTo>
                      <a:pt x="258000" y="614791"/>
                      <a:pt x="208788" y="566372"/>
                      <a:pt x="157194" y="513985"/>
                    </a:cubicBezTo>
                    <a:cubicBezTo>
                      <a:pt x="115841" y="471996"/>
                      <a:pt x="97944" y="422357"/>
                      <a:pt x="38211" y="378976"/>
                    </a:cubicBezTo>
                    <a:cubicBezTo>
                      <a:pt x="59848" y="225643"/>
                      <a:pt x="139125" y="44593"/>
                      <a:pt x="385784" y="55964"/>
                    </a:cubicBezTo>
                    <a:cubicBezTo>
                      <a:pt x="445955" y="14377"/>
                      <a:pt x="518318" y="-3408"/>
                      <a:pt x="594957" y="534"/>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249" name="Man's Body">
                <a:extLst>
                  <a:ext uri="{FF2B5EF4-FFF2-40B4-BE49-F238E27FC236}">
                    <a16:creationId xmlns:a16="http://schemas.microsoft.com/office/drawing/2014/main" id="{5F9A4598-A19C-4582-8D1B-AB38FC2694CB}"/>
                  </a:ext>
                </a:extLst>
              </p:cNvPr>
              <p:cNvSpPr>
                <a:spLocks/>
              </p:cNvSpPr>
              <p:nvPr/>
            </p:nvSpPr>
            <p:spPr bwMode="auto">
              <a:xfrm>
                <a:off x="7167183" y="2655935"/>
                <a:ext cx="1791043" cy="3077332"/>
              </a:xfrm>
              <a:custGeom>
                <a:avLst/>
                <a:gdLst/>
                <a:ahLst/>
                <a:cxnLst/>
                <a:rect l="l" t="t" r="r" b="b"/>
                <a:pathLst>
                  <a:path w="1791043" h="3077332">
                    <a:moveTo>
                      <a:pt x="1025015" y="1789010"/>
                    </a:moveTo>
                    <a:cubicBezTo>
                      <a:pt x="1052456" y="1797149"/>
                      <a:pt x="1104448" y="2023401"/>
                      <a:pt x="1163660" y="2039679"/>
                    </a:cubicBezTo>
                    <a:cubicBezTo>
                      <a:pt x="1305194" y="2077117"/>
                      <a:pt x="1705242" y="2228494"/>
                      <a:pt x="1763012" y="2334297"/>
                    </a:cubicBezTo>
                    <a:cubicBezTo>
                      <a:pt x="1819336" y="2441727"/>
                      <a:pt x="1797673" y="2617520"/>
                      <a:pt x="1634476" y="2912138"/>
                    </a:cubicBezTo>
                    <a:cubicBezTo>
                      <a:pt x="1581040" y="2785176"/>
                      <a:pt x="1492942" y="2694024"/>
                      <a:pt x="1466947" y="2677746"/>
                    </a:cubicBezTo>
                    <a:cubicBezTo>
                      <a:pt x="1510273" y="2767271"/>
                      <a:pt x="1536270" y="2931671"/>
                      <a:pt x="1550711" y="3037473"/>
                    </a:cubicBezTo>
                    <a:cubicBezTo>
                      <a:pt x="1272518" y="3065184"/>
                      <a:pt x="1017016" y="3074577"/>
                      <a:pt x="836493" y="3077332"/>
                    </a:cubicBezTo>
                    <a:cubicBezTo>
                      <a:pt x="905753" y="2981037"/>
                      <a:pt x="872415" y="2957070"/>
                      <a:pt x="886206" y="2901903"/>
                    </a:cubicBezTo>
                    <a:cubicBezTo>
                      <a:pt x="901287" y="2841578"/>
                      <a:pt x="906844" y="2798715"/>
                      <a:pt x="905256" y="2744740"/>
                    </a:cubicBezTo>
                    <a:cubicBezTo>
                      <a:pt x="903669" y="2690765"/>
                      <a:pt x="915575" y="2629647"/>
                      <a:pt x="876681" y="2578053"/>
                    </a:cubicBezTo>
                    <a:cubicBezTo>
                      <a:pt x="837787" y="2526459"/>
                      <a:pt x="764762" y="2482009"/>
                      <a:pt x="671893" y="2435178"/>
                    </a:cubicBezTo>
                    <a:cubicBezTo>
                      <a:pt x="579024" y="2388347"/>
                      <a:pt x="408368" y="2336753"/>
                      <a:pt x="319468" y="2297065"/>
                    </a:cubicBezTo>
                    <a:cubicBezTo>
                      <a:pt x="230568" y="2257378"/>
                      <a:pt x="183737" y="2238328"/>
                      <a:pt x="138493" y="2197053"/>
                    </a:cubicBezTo>
                    <a:cubicBezTo>
                      <a:pt x="114008" y="2174716"/>
                      <a:pt x="89523" y="2140522"/>
                      <a:pt x="72566" y="2109744"/>
                    </a:cubicBezTo>
                    <a:cubicBezTo>
                      <a:pt x="161803" y="2180615"/>
                      <a:pt x="342491" y="2318445"/>
                      <a:pt x="583084" y="2314764"/>
                    </a:cubicBezTo>
                    <a:cubicBezTo>
                      <a:pt x="894952" y="2309883"/>
                      <a:pt x="961434" y="2134181"/>
                      <a:pt x="961470" y="2134087"/>
                    </a:cubicBezTo>
                    <a:cubicBezTo>
                      <a:pt x="961431" y="2134155"/>
                      <a:pt x="905040" y="2231748"/>
                      <a:pt x="600415" y="2225240"/>
                    </a:cubicBezTo>
                    <a:cubicBezTo>
                      <a:pt x="448124" y="2222935"/>
                      <a:pt x="290769" y="2127693"/>
                      <a:pt x="210656" y="2058477"/>
                    </a:cubicBezTo>
                    <a:cubicBezTo>
                      <a:pt x="247111" y="2063660"/>
                      <a:pt x="286103" y="2068919"/>
                      <a:pt x="314706" y="2068465"/>
                    </a:cubicBezTo>
                    <a:cubicBezTo>
                      <a:pt x="364712" y="2067671"/>
                      <a:pt x="409162" y="2072434"/>
                      <a:pt x="438531" y="2044653"/>
                    </a:cubicBezTo>
                    <a:cubicBezTo>
                      <a:pt x="462255" y="2022212"/>
                      <a:pt x="476137" y="1982161"/>
                      <a:pt x="483486" y="1935462"/>
                    </a:cubicBezTo>
                    <a:cubicBezTo>
                      <a:pt x="533060" y="1967097"/>
                      <a:pt x="580637" y="1990306"/>
                      <a:pt x="613413" y="1989219"/>
                    </a:cubicBezTo>
                    <a:cubicBezTo>
                      <a:pt x="877705" y="1977826"/>
                      <a:pt x="999020" y="1779243"/>
                      <a:pt x="1025015" y="1789010"/>
                    </a:cubicBezTo>
                    <a:close/>
                    <a:moveTo>
                      <a:pt x="585448" y="596"/>
                    </a:moveTo>
                    <a:cubicBezTo>
                      <a:pt x="727992" y="7927"/>
                      <a:pt x="935211" y="76180"/>
                      <a:pt x="1038898" y="151026"/>
                    </a:cubicBezTo>
                    <a:cubicBezTo>
                      <a:pt x="1142584" y="225871"/>
                      <a:pt x="1211900" y="407326"/>
                      <a:pt x="1207568" y="449665"/>
                    </a:cubicBezTo>
                    <a:cubicBezTo>
                      <a:pt x="1203236" y="490376"/>
                      <a:pt x="1199071" y="612532"/>
                      <a:pt x="1188131" y="664973"/>
                    </a:cubicBezTo>
                    <a:cubicBezTo>
                      <a:pt x="1177190" y="717413"/>
                      <a:pt x="1149623" y="723595"/>
                      <a:pt x="1141921" y="764306"/>
                    </a:cubicBezTo>
                    <a:cubicBezTo>
                      <a:pt x="1157802" y="803380"/>
                      <a:pt x="1141928" y="909191"/>
                      <a:pt x="1141921" y="909236"/>
                    </a:cubicBezTo>
                    <a:cubicBezTo>
                      <a:pt x="1141991" y="909241"/>
                      <a:pt x="1208348" y="914147"/>
                      <a:pt x="1208348" y="962974"/>
                    </a:cubicBezTo>
                    <a:cubicBezTo>
                      <a:pt x="1208348" y="1011818"/>
                      <a:pt x="1137615" y="1280417"/>
                      <a:pt x="1137589" y="1280518"/>
                    </a:cubicBezTo>
                    <a:cubicBezTo>
                      <a:pt x="1137566" y="1280557"/>
                      <a:pt x="1118803" y="1313084"/>
                      <a:pt x="1097155" y="1308200"/>
                    </a:cubicBezTo>
                    <a:cubicBezTo>
                      <a:pt x="1074050" y="1506868"/>
                      <a:pt x="994626" y="1630630"/>
                      <a:pt x="926755" y="1690881"/>
                    </a:cubicBezTo>
                    <a:cubicBezTo>
                      <a:pt x="860327" y="1749505"/>
                      <a:pt x="705811" y="1868380"/>
                      <a:pt x="613391" y="1868380"/>
                    </a:cubicBezTo>
                    <a:cubicBezTo>
                      <a:pt x="583727" y="1868380"/>
                      <a:pt x="540227" y="1848919"/>
                      <a:pt x="494585" y="1820862"/>
                    </a:cubicBezTo>
                    <a:cubicBezTo>
                      <a:pt x="495428" y="1780245"/>
                      <a:pt x="492769" y="1734980"/>
                      <a:pt x="490918" y="1682703"/>
                    </a:cubicBezTo>
                    <a:cubicBezTo>
                      <a:pt x="487743" y="1593009"/>
                      <a:pt x="490124" y="1492202"/>
                      <a:pt x="471868" y="1363615"/>
                    </a:cubicBezTo>
                    <a:cubicBezTo>
                      <a:pt x="453612" y="1235028"/>
                      <a:pt x="405987" y="1022303"/>
                      <a:pt x="381381" y="911178"/>
                    </a:cubicBezTo>
                    <a:cubicBezTo>
                      <a:pt x="356775" y="800053"/>
                      <a:pt x="352806" y="754809"/>
                      <a:pt x="324231" y="696865"/>
                    </a:cubicBezTo>
                    <a:cubicBezTo>
                      <a:pt x="295656" y="638921"/>
                      <a:pt x="255968" y="620665"/>
                      <a:pt x="209931" y="563515"/>
                    </a:cubicBezTo>
                    <a:cubicBezTo>
                      <a:pt x="163894" y="506365"/>
                      <a:pt x="103569" y="415084"/>
                      <a:pt x="48006" y="353965"/>
                    </a:cubicBezTo>
                    <a:cubicBezTo>
                      <a:pt x="28279" y="332265"/>
                      <a:pt x="14655" y="310564"/>
                      <a:pt x="0" y="290327"/>
                    </a:cubicBezTo>
                    <a:cubicBezTo>
                      <a:pt x="45987" y="162254"/>
                      <a:pt x="147389" y="53021"/>
                      <a:pt x="352016" y="62454"/>
                    </a:cubicBezTo>
                    <a:cubicBezTo>
                      <a:pt x="419165" y="16044"/>
                      <a:pt x="499920" y="-3803"/>
                      <a:pt x="585448" y="59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250" name="Man's Body">
                <a:extLst>
                  <a:ext uri="{FF2B5EF4-FFF2-40B4-BE49-F238E27FC236}">
                    <a16:creationId xmlns:a16="http://schemas.microsoft.com/office/drawing/2014/main" id="{7F875684-6650-4C22-A6E2-3791B2633FE1}"/>
                  </a:ext>
                </a:extLst>
              </p:cNvPr>
              <p:cNvSpPr>
                <a:spLocks/>
              </p:cNvSpPr>
              <p:nvPr/>
            </p:nvSpPr>
            <p:spPr bwMode="auto">
              <a:xfrm>
                <a:off x="3394954" y="2270725"/>
                <a:ext cx="1220879" cy="2577721"/>
              </a:xfrm>
              <a:custGeom>
                <a:avLst/>
                <a:gdLst/>
                <a:ahLst/>
                <a:cxnLst/>
                <a:rect l="l" t="t" r="r" b="b"/>
                <a:pathLst>
                  <a:path w="1220879" h="2577721">
                    <a:moveTo>
                      <a:pt x="1000694" y="1726538"/>
                    </a:moveTo>
                    <a:cubicBezTo>
                      <a:pt x="1015159" y="1730828"/>
                      <a:pt x="1036692" y="1797918"/>
                      <a:pt x="1062780" y="1860398"/>
                    </a:cubicBezTo>
                    <a:lnTo>
                      <a:pt x="1072271" y="1886939"/>
                    </a:lnTo>
                    <a:cubicBezTo>
                      <a:pt x="1100846" y="1947264"/>
                      <a:pt x="1157203" y="2022670"/>
                      <a:pt x="1181809" y="2063151"/>
                    </a:cubicBezTo>
                    <a:cubicBezTo>
                      <a:pt x="1206415" y="2103632"/>
                      <a:pt x="1225465" y="2098076"/>
                      <a:pt x="1219909" y="2129826"/>
                    </a:cubicBezTo>
                    <a:cubicBezTo>
                      <a:pt x="1214353" y="2161576"/>
                      <a:pt x="1178633" y="2203645"/>
                      <a:pt x="1148471" y="2253651"/>
                    </a:cubicBezTo>
                    <a:cubicBezTo>
                      <a:pt x="1118309" y="2303657"/>
                      <a:pt x="1085765" y="2388589"/>
                      <a:pt x="1038934" y="2429864"/>
                    </a:cubicBezTo>
                    <a:cubicBezTo>
                      <a:pt x="992103" y="2471139"/>
                      <a:pt x="926222" y="2476695"/>
                      <a:pt x="867484" y="2501301"/>
                    </a:cubicBezTo>
                    <a:cubicBezTo>
                      <a:pt x="867484" y="2501301"/>
                      <a:pt x="738896" y="2574326"/>
                      <a:pt x="686509" y="2577501"/>
                    </a:cubicBezTo>
                    <a:cubicBezTo>
                      <a:pt x="634122" y="2580676"/>
                      <a:pt x="626184" y="2548926"/>
                      <a:pt x="553159" y="2520351"/>
                    </a:cubicBezTo>
                    <a:cubicBezTo>
                      <a:pt x="480134" y="2491776"/>
                      <a:pt x="311859" y="2440182"/>
                      <a:pt x="248359" y="2406051"/>
                    </a:cubicBezTo>
                    <a:cubicBezTo>
                      <a:pt x="184859" y="2371920"/>
                      <a:pt x="187240" y="2346520"/>
                      <a:pt x="172159" y="2315564"/>
                    </a:cubicBezTo>
                    <a:cubicBezTo>
                      <a:pt x="157078" y="2284608"/>
                      <a:pt x="140409" y="2261589"/>
                      <a:pt x="157871" y="2220314"/>
                    </a:cubicBezTo>
                    <a:cubicBezTo>
                      <a:pt x="168198" y="2195906"/>
                      <a:pt x="198233" y="2167333"/>
                      <a:pt x="226485" y="2135786"/>
                    </a:cubicBezTo>
                    <a:cubicBezTo>
                      <a:pt x="316982" y="2189270"/>
                      <a:pt x="435235" y="2236059"/>
                      <a:pt x="574195" y="2233933"/>
                    </a:cubicBezTo>
                    <a:cubicBezTo>
                      <a:pt x="875173" y="2229222"/>
                      <a:pt x="939333" y="2059656"/>
                      <a:pt x="939368" y="2059565"/>
                    </a:cubicBezTo>
                    <a:cubicBezTo>
                      <a:pt x="939349" y="2059598"/>
                      <a:pt x="884958" y="2153817"/>
                      <a:pt x="590920" y="2147535"/>
                    </a:cubicBezTo>
                    <a:cubicBezTo>
                      <a:pt x="481175" y="2145874"/>
                      <a:pt x="368705" y="2094204"/>
                      <a:pt x="286708" y="2040070"/>
                    </a:cubicBezTo>
                    <a:cubicBezTo>
                      <a:pt x="307092" y="1982179"/>
                      <a:pt x="314374" y="1903887"/>
                      <a:pt x="324559" y="1872651"/>
                    </a:cubicBezTo>
                    <a:cubicBezTo>
                      <a:pt x="333489" y="1845267"/>
                      <a:pt x="333488" y="1864317"/>
                      <a:pt x="339628" y="1861489"/>
                    </a:cubicBezTo>
                    <a:lnTo>
                      <a:pt x="348371" y="1848839"/>
                    </a:lnTo>
                    <a:cubicBezTo>
                      <a:pt x="354151" y="1836701"/>
                      <a:pt x="363405" y="1817932"/>
                      <a:pt x="373314" y="1796017"/>
                    </a:cubicBezTo>
                    <a:cubicBezTo>
                      <a:pt x="451017" y="1853032"/>
                      <a:pt x="548670" y="1921572"/>
                      <a:pt x="603465" y="1919756"/>
                    </a:cubicBezTo>
                    <a:cubicBezTo>
                      <a:pt x="858528" y="1908760"/>
                      <a:pt x="975606" y="1717113"/>
                      <a:pt x="1000694" y="1726538"/>
                    </a:cubicBezTo>
                    <a:close/>
                    <a:moveTo>
                      <a:pt x="576476" y="576"/>
                    </a:moveTo>
                    <a:cubicBezTo>
                      <a:pt x="714043" y="7650"/>
                      <a:pt x="864404" y="79722"/>
                      <a:pt x="988090" y="206429"/>
                    </a:cubicBezTo>
                    <a:cubicBezTo>
                      <a:pt x="1037022" y="256557"/>
                      <a:pt x="1077264" y="300727"/>
                      <a:pt x="1110031" y="339462"/>
                    </a:cubicBezTo>
                    <a:cubicBezTo>
                      <a:pt x="1051415" y="362041"/>
                      <a:pt x="1030281" y="393446"/>
                      <a:pt x="996071" y="424851"/>
                    </a:cubicBezTo>
                    <a:cubicBezTo>
                      <a:pt x="979245" y="440298"/>
                      <a:pt x="967211" y="456704"/>
                      <a:pt x="958497" y="474522"/>
                    </a:cubicBezTo>
                    <a:cubicBezTo>
                      <a:pt x="793415" y="374586"/>
                      <a:pt x="664033" y="400614"/>
                      <a:pt x="603444" y="421733"/>
                    </a:cubicBezTo>
                    <a:cubicBezTo>
                      <a:pt x="733011" y="434023"/>
                      <a:pt x="843377" y="487838"/>
                      <a:pt x="927312" y="549009"/>
                    </a:cubicBezTo>
                    <a:lnTo>
                      <a:pt x="915109" y="582014"/>
                    </a:lnTo>
                    <a:cubicBezTo>
                      <a:pt x="891297" y="642339"/>
                      <a:pt x="862721" y="710601"/>
                      <a:pt x="853196" y="786801"/>
                    </a:cubicBezTo>
                    <a:cubicBezTo>
                      <a:pt x="843671" y="863001"/>
                      <a:pt x="847640" y="966983"/>
                      <a:pt x="857959" y="1039214"/>
                    </a:cubicBezTo>
                    <a:cubicBezTo>
                      <a:pt x="868278" y="1111445"/>
                      <a:pt x="900028" y="1178120"/>
                      <a:pt x="915109" y="1220189"/>
                    </a:cubicBezTo>
                    <a:cubicBezTo>
                      <a:pt x="930190" y="1262258"/>
                      <a:pt x="946859" y="1272576"/>
                      <a:pt x="948446" y="1291626"/>
                    </a:cubicBezTo>
                    <a:cubicBezTo>
                      <a:pt x="950033" y="1310676"/>
                      <a:pt x="930984" y="1315439"/>
                      <a:pt x="924634" y="1334489"/>
                    </a:cubicBezTo>
                    <a:cubicBezTo>
                      <a:pt x="918284" y="1353539"/>
                      <a:pt x="907171" y="1371001"/>
                      <a:pt x="910346" y="1405926"/>
                    </a:cubicBezTo>
                    <a:cubicBezTo>
                      <a:pt x="913521" y="1440851"/>
                      <a:pt x="927015" y="1494827"/>
                      <a:pt x="943684" y="1544039"/>
                    </a:cubicBezTo>
                    <a:cubicBezTo>
                      <a:pt x="947240" y="1554538"/>
                      <a:pt x="951338" y="1565109"/>
                      <a:pt x="956769" y="1575392"/>
                    </a:cubicBezTo>
                    <a:cubicBezTo>
                      <a:pt x="939866" y="1598334"/>
                      <a:pt x="922505" y="1617063"/>
                      <a:pt x="905864" y="1631836"/>
                    </a:cubicBezTo>
                    <a:cubicBezTo>
                      <a:pt x="841757" y="1688412"/>
                      <a:pt x="692637" y="1803136"/>
                      <a:pt x="603444" y="1803136"/>
                    </a:cubicBezTo>
                    <a:cubicBezTo>
                      <a:pt x="557961" y="1803136"/>
                      <a:pt x="478776" y="1755732"/>
                      <a:pt x="409934" y="1705014"/>
                    </a:cubicBezTo>
                    <a:lnTo>
                      <a:pt x="419809" y="1672626"/>
                    </a:lnTo>
                    <a:cubicBezTo>
                      <a:pt x="433303" y="1613095"/>
                      <a:pt x="419809" y="1540070"/>
                      <a:pt x="429334" y="1491651"/>
                    </a:cubicBezTo>
                    <a:cubicBezTo>
                      <a:pt x="438859" y="1443232"/>
                      <a:pt x="464259" y="1418627"/>
                      <a:pt x="476959" y="1382114"/>
                    </a:cubicBezTo>
                    <a:cubicBezTo>
                      <a:pt x="489659" y="1345602"/>
                      <a:pt x="506328" y="1301151"/>
                      <a:pt x="505534" y="1272576"/>
                    </a:cubicBezTo>
                    <a:cubicBezTo>
                      <a:pt x="504740" y="1244001"/>
                      <a:pt x="472990" y="1247177"/>
                      <a:pt x="472196" y="1210664"/>
                    </a:cubicBezTo>
                    <a:cubicBezTo>
                      <a:pt x="471402" y="1174152"/>
                      <a:pt x="493627" y="1105095"/>
                      <a:pt x="500771" y="1053501"/>
                    </a:cubicBezTo>
                    <a:cubicBezTo>
                      <a:pt x="507915" y="1001907"/>
                      <a:pt x="519028" y="948726"/>
                      <a:pt x="515059" y="901101"/>
                    </a:cubicBezTo>
                    <a:cubicBezTo>
                      <a:pt x="511090" y="853476"/>
                      <a:pt x="496009" y="818551"/>
                      <a:pt x="476959" y="767751"/>
                    </a:cubicBezTo>
                    <a:cubicBezTo>
                      <a:pt x="457909" y="716951"/>
                      <a:pt x="430128" y="646307"/>
                      <a:pt x="400759" y="596301"/>
                    </a:cubicBezTo>
                    <a:cubicBezTo>
                      <a:pt x="371390" y="546295"/>
                      <a:pt x="342021" y="502639"/>
                      <a:pt x="300746" y="467714"/>
                    </a:cubicBezTo>
                    <a:cubicBezTo>
                      <a:pt x="259471" y="432789"/>
                      <a:pt x="207878" y="412151"/>
                      <a:pt x="153109" y="386751"/>
                    </a:cubicBezTo>
                    <a:cubicBezTo>
                      <a:pt x="102114" y="363101"/>
                      <a:pt x="114428" y="279585"/>
                      <a:pt x="0" y="308275"/>
                    </a:cubicBezTo>
                    <a:cubicBezTo>
                      <a:pt x="41291" y="173605"/>
                      <a:pt x="138419" y="50464"/>
                      <a:pt x="351195" y="60273"/>
                    </a:cubicBezTo>
                    <a:cubicBezTo>
                      <a:pt x="415999" y="15484"/>
                      <a:pt x="493935" y="-3670"/>
                      <a:pt x="576476" y="57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252" name="Man's Body">
                <a:extLst>
                  <a:ext uri="{FF2B5EF4-FFF2-40B4-BE49-F238E27FC236}">
                    <a16:creationId xmlns:a16="http://schemas.microsoft.com/office/drawing/2014/main" id="{1F0C56FD-4EAB-4562-ABE5-C7C6344404C3}"/>
                  </a:ext>
                </a:extLst>
              </p:cNvPr>
              <p:cNvSpPr>
                <a:spLocks/>
              </p:cNvSpPr>
              <p:nvPr/>
            </p:nvSpPr>
            <p:spPr bwMode="auto">
              <a:xfrm>
                <a:off x="4129215" y="2588754"/>
                <a:ext cx="1942154" cy="3289752"/>
              </a:xfrm>
              <a:custGeom>
                <a:avLst/>
                <a:gdLst/>
                <a:ahLst/>
                <a:cxnLst/>
                <a:rect l="l" t="t" r="r" b="b"/>
                <a:pathLst>
                  <a:path w="1942154" h="3289752">
                    <a:moveTo>
                      <a:pt x="501915" y="1906497"/>
                    </a:moveTo>
                    <a:cubicBezTo>
                      <a:pt x="531238" y="1899539"/>
                      <a:pt x="778162" y="2129136"/>
                      <a:pt x="883105" y="2125656"/>
                    </a:cubicBezTo>
                    <a:cubicBezTo>
                      <a:pt x="1165524" y="2113482"/>
                      <a:pt x="1295160" y="1901279"/>
                      <a:pt x="1322938" y="1911715"/>
                    </a:cubicBezTo>
                    <a:cubicBezTo>
                      <a:pt x="1352261" y="1920412"/>
                      <a:pt x="1407819" y="2162183"/>
                      <a:pt x="1471092" y="2179577"/>
                    </a:cubicBezTo>
                    <a:cubicBezTo>
                      <a:pt x="1569955" y="2205728"/>
                      <a:pt x="1786855" y="2283903"/>
                      <a:pt x="1942154" y="2367099"/>
                    </a:cubicBezTo>
                    <a:lnTo>
                      <a:pt x="1623885" y="2492834"/>
                    </a:lnTo>
                    <a:cubicBezTo>
                      <a:pt x="1505616" y="2541253"/>
                      <a:pt x="1369885" y="2582527"/>
                      <a:pt x="1300035" y="2630946"/>
                    </a:cubicBezTo>
                    <a:cubicBezTo>
                      <a:pt x="1230185" y="2679365"/>
                      <a:pt x="1216691" y="2727784"/>
                      <a:pt x="1204785" y="2783346"/>
                    </a:cubicBezTo>
                    <a:cubicBezTo>
                      <a:pt x="1192879" y="2838909"/>
                      <a:pt x="1211929" y="2896059"/>
                      <a:pt x="1228598" y="2964321"/>
                    </a:cubicBezTo>
                    <a:cubicBezTo>
                      <a:pt x="1245267" y="3032583"/>
                      <a:pt x="1281779" y="3120690"/>
                      <a:pt x="1304798" y="3192921"/>
                    </a:cubicBezTo>
                    <a:cubicBezTo>
                      <a:pt x="1314321" y="3222803"/>
                      <a:pt x="1341505" y="3252414"/>
                      <a:pt x="1363493" y="3281583"/>
                    </a:cubicBezTo>
                    <a:cubicBezTo>
                      <a:pt x="1152486" y="3290141"/>
                      <a:pt x="985631" y="3290297"/>
                      <a:pt x="900081" y="3289292"/>
                    </a:cubicBezTo>
                    <a:cubicBezTo>
                      <a:pt x="817878" y="3290370"/>
                      <a:pt x="658124" y="3290113"/>
                      <a:pt x="456018" y="3282293"/>
                    </a:cubicBezTo>
                    <a:cubicBezTo>
                      <a:pt x="462393" y="3274575"/>
                      <a:pt x="465552" y="3265168"/>
                      <a:pt x="466598" y="3254834"/>
                    </a:cubicBezTo>
                    <a:cubicBezTo>
                      <a:pt x="472948" y="3192128"/>
                      <a:pt x="470567" y="3114340"/>
                      <a:pt x="466598" y="3021471"/>
                    </a:cubicBezTo>
                    <a:cubicBezTo>
                      <a:pt x="462629" y="2928602"/>
                      <a:pt x="461835" y="2782552"/>
                      <a:pt x="442785" y="2697621"/>
                    </a:cubicBezTo>
                    <a:cubicBezTo>
                      <a:pt x="423735" y="2612690"/>
                      <a:pt x="407860" y="2565859"/>
                      <a:pt x="352298" y="2511884"/>
                    </a:cubicBezTo>
                    <a:cubicBezTo>
                      <a:pt x="296736" y="2457909"/>
                      <a:pt x="186404" y="2415046"/>
                      <a:pt x="109410" y="2373771"/>
                    </a:cubicBezTo>
                    <a:cubicBezTo>
                      <a:pt x="63909" y="2349379"/>
                      <a:pt x="39200" y="2319443"/>
                      <a:pt x="0" y="2298223"/>
                    </a:cubicBezTo>
                    <a:cubicBezTo>
                      <a:pt x="117461" y="2244929"/>
                      <a:pt x="226792" y="2206801"/>
                      <a:pt x="244189" y="2210886"/>
                    </a:cubicBezTo>
                    <a:cubicBezTo>
                      <a:pt x="281228" y="2217843"/>
                      <a:pt x="509632" y="2478748"/>
                      <a:pt x="850696" y="2473530"/>
                    </a:cubicBezTo>
                    <a:cubicBezTo>
                      <a:pt x="1183954" y="2468314"/>
                      <a:pt x="1254996" y="2280562"/>
                      <a:pt x="1255035" y="2280461"/>
                    </a:cubicBezTo>
                    <a:cubicBezTo>
                      <a:pt x="1255005" y="2280512"/>
                      <a:pt x="1194766" y="2384821"/>
                      <a:pt x="869215" y="2377865"/>
                    </a:cubicBezTo>
                    <a:cubicBezTo>
                      <a:pt x="639268" y="2374386"/>
                      <a:pt x="398517" y="2172620"/>
                      <a:pt x="393887" y="2132615"/>
                    </a:cubicBezTo>
                    <a:cubicBezTo>
                      <a:pt x="389256" y="2090869"/>
                      <a:pt x="471051" y="1911715"/>
                      <a:pt x="501915" y="1906497"/>
                    </a:cubicBezTo>
                    <a:close/>
                    <a:moveTo>
                      <a:pt x="853221" y="637"/>
                    </a:moveTo>
                    <a:cubicBezTo>
                      <a:pt x="1005543" y="8471"/>
                      <a:pt x="1226975" y="81406"/>
                      <a:pt x="1337772" y="161384"/>
                    </a:cubicBezTo>
                    <a:cubicBezTo>
                      <a:pt x="1448570" y="241363"/>
                      <a:pt x="1522641" y="435263"/>
                      <a:pt x="1518012" y="480506"/>
                    </a:cubicBezTo>
                    <a:cubicBezTo>
                      <a:pt x="1513382" y="524010"/>
                      <a:pt x="1508932" y="654545"/>
                      <a:pt x="1497241" y="710582"/>
                    </a:cubicBezTo>
                    <a:cubicBezTo>
                      <a:pt x="1485550" y="766620"/>
                      <a:pt x="1456092" y="773225"/>
                      <a:pt x="1447862" y="816729"/>
                    </a:cubicBezTo>
                    <a:cubicBezTo>
                      <a:pt x="1464832" y="858482"/>
                      <a:pt x="1447870" y="971551"/>
                      <a:pt x="1447862" y="971599"/>
                    </a:cubicBezTo>
                    <a:cubicBezTo>
                      <a:pt x="1447887" y="971601"/>
                      <a:pt x="1518845" y="976828"/>
                      <a:pt x="1518845" y="1029023"/>
                    </a:cubicBezTo>
                    <a:cubicBezTo>
                      <a:pt x="1518845" y="1081217"/>
                      <a:pt x="1443261" y="1368239"/>
                      <a:pt x="1443233" y="1368346"/>
                    </a:cubicBezTo>
                    <a:cubicBezTo>
                      <a:pt x="1443216" y="1368375"/>
                      <a:pt x="1423163" y="1403147"/>
                      <a:pt x="1400025" y="1397928"/>
                    </a:cubicBezTo>
                    <a:cubicBezTo>
                      <a:pt x="1375336" y="1610222"/>
                      <a:pt x="1290464" y="1742472"/>
                      <a:pt x="1217938" y="1806856"/>
                    </a:cubicBezTo>
                    <a:cubicBezTo>
                      <a:pt x="1146955" y="1869501"/>
                      <a:pt x="981841" y="1996529"/>
                      <a:pt x="883082" y="1996529"/>
                    </a:cubicBezTo>
                    <a:cubicBezTo>
                      <a:pt x="784323" y="1996529"/>
                      <a:pt x="542053" y="1794675"/>
                      <a:pt x="523537" y="1759872"/>
                    </a:cubicBezTo>
                    <a:cubicBezTo>
                      <a:pt x="503477" y="1725071"/>
                      <a:pt x="370768" y="1570199"/>
                      <a:pt x="366139" y="1380528"/>
                    </a:cubicBezTo>
                    <a:cubicBezTo>
                      <a:pt x="301328" y="1375306"/>
                      <a:pt x="264293" y="1183894"/>
                      <a:pt x="239604" y="1082967"/>
                    </a:cubicBezTo>
                    <a:cubicBezTo>
                      <a:pt x="219550" y="997735"/>
                      <a:pt x="288930" y="999439"/>
                      <a:pt x="288983" y="999441"/>
                    </a:cubicBezTo>
                    <a:cubicBezTo>
                      <a:pt x="288957" y="999371"/>
                      <a:pt x="191766" y="731458"/>
                      <a:pt x="184051" y="694921"/>
                    </a:cubicBezTo>
                    <a:cubicBezTo>
                      <a:pt x="177878" y="660118"/>
                      <a:pt x="113068" y="44116"/>
                      <a:pt x="603779" y="66738"/>
                    </a:cubicBezTo>
                    <a:cubicBezTo>
                      <a:pt x="675533" y="17144"/>
                      <a:pt x="761828" y="-4064"/>
                      <a:pt x="853221" y="63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253" name="Man's Body">
                <a:extLst>
                  <a:ext uri="{FF2B5EF4-FFF2-40B4-BE49-F238E27FC236}">
                    <a16:creationId xmlns:a16="http://schemas.microsoft.com/office/drawing/2014/main" id="{8D24D26C-71E8-456C-B662-56BC4A840416}"/>
                  </a:ext>
                </a:extLst>
              </p:cNvPr>
              <p:cNvSpPr>
                <a:spLocks/>
              </p:cNvSpPr>
              <p:nvPr/>
            </p:nvSpPr>
            <p:spPr bwMode="auto">
              <a:xfrm>
                <a:off x="335107" y="2540761"/>
                <a:ext cx="1927374" cy="3278271"/>
              </a:xfrm>
              <a:custGeom>
                <a:avLst/>
                <a:gdLst/>
                <a:ahLst/>
                <a:cxnLst/>
                <a:rect l="l" t="t" r="r" b="b"/>
                <a:pathLst>
                  <a:path w="1927374" h="3278271">
                    <a:moveTo>
                      <a:pt x="586126" y="2210886"/>
                    </a:moveTo>
                    <a:cubicBezTo>
                      <a:pt x="616330" y="2216559"/>
                      <a:pt x="773790" y="2391106"/>
                      <a:pt x="1016388" y="2450287"/>
                    </a:cubicBezTo>
                    <a:cubicBezTo>
                      <a:pt x="976291" y="2480726"/>
                      <a:pt x="940784" y="2511617"/>
                      <a:pt x="912668" y="2540828"/>
                    </a:cubicBezTo>
                    <a:cubicBezTo>
                      <a:pt x="851549" y="2604328"/>
                      <a:pt x="830912" y="2661478"/>
                      <a:pt x="803131" y="2726565"/>
                    </a:cubicBezTo>
                    <a:cubicBezTo>
                      <a:pt x="775350" y="2791652"/>
                      <a:pt x="757093" y="2855947"/>
                      <a:pt x="745981" y="2931353"/>
                    </a:cubicBezTo>
                    <a:cubicBezTo>
                      <a:pt x="734869" y="3006759"/>
                      <a:pt x="738837" y="3105978"/>
                      <a:pt x="736456" y="3179003"/>
                    </a:cubicBezTo>
                    <a:cubicBezTo>
                      <a:pt x="735337" y="3213335"/>
                      <a:pt x="717901" y="3247141"/>
                      <a:pt x="707639" y="3278271"/>
                    </a:cubicBezTo>
                    <a:cubicBezTo>
                      <a:pt x="607261" y="3273701"/>
                      <a:pt x="498668" y="3267095"/>
                      <a:pt x="385500" y="3257984"/>
                    </a:cubicBezTo>
                    <a:cubicBezTo>
                      <a:pt x="387043" y="3144926"/>
                      <a:pt x="428711" y="2960553"/>
                      <a:pt x="475010" y="2861409"/>
                    </a:cubicBezTo>
                    <a:cubicBezTo>
                      <a:pt x="439515" y="2884020"/>
                      <a:pt x="288274" y="3042302"/>
                      <a:pt x="258951" y="3247548"/>
                    </a:cubicBezTo>
                    <a:cubicBezTo>
                      <a:pt x="-18839" y="2890978"/>
                      <a:pt x="-32728" y="2605722"/>
                      <a:pt x="32090" y="2494403"/>
                    </a:cubicBezTo>
                    <a:cubicBezTo>
                      <a:pt x="95364" y="2384822"/>
                      <a:pt x="549088" y="2202189"/>
                      <a:pt x="586126" y="2210886"/>
                    </a:cubicBezTo>
                    <a:close/>
                    <a:moveTo>
                      <a:pt x="843852" y="1906497"/>
                    </a:moveTo>
                    <a:cubicBezTo>
                      <a:pt x="873175" y="1899539"/>
                      <a:pt x="1120099" y="2129136"/>
                      <a:pt x="1225042" y="2125656"/>
                    </a:cubicBezTo>
                    <a:cubicBezTo>
                      <a:pt x="1507461" y="2113482"/>
                      <a:pt x="1637096" y="1901279"/>
                      <a:pt x="1664875" y="1911715"/>
                    </a:cubicBezTo>
                    <a:cubicBezTo>
                      <a:pt x="1681451" y="1916632"/>
                      <a:pt x="1706410" y="1996028"/>
                      <a:pt x="1736668" y="2067160"/>
                    </a:cubicBezTo>
                    <a:cubicBezTo>
                      <a:pt x="1645277" y="2089552"/>
                      <a:pt x="1598007" y="2141189"/>
                      <a:pt x="1512743" y="2178878"/>
                    </a:cubicBezTo>
                    <a:cubicBezTo>
                      <a:pt x="1403206" y="2227297"/>
                      <a:pt x="1269855" y="2285240"/>
                      <a:pt x="1169843" y="2345565"/>
                    </a:cubicBezTo>
                    <a:lnTo>
                      <a:pt x="1134882" y="2369115"/>
                    </a:lnTo>
                    <a:cubicBezTo>
                      <a:pt x="930801" y="2331702"/>
                      <a:pt x="739941" y="2168192"/>
                      <a:pt x="735824" y="2132615"/>
                    </a:cubicBezTo>
                    <a:cubicBezTo>
                      <a:pt x="731193" y="2090869"/>
                      <a:pt x="812988" y="1911715"/>
                      <a:pt x="843852" y="1906497"/>
                    </a:cubicBezTo>
                    <a:close/>
                    <a:moveTo>
                      <a:pt x="1195158" y="637"/>
                    </a:moveTo>
                    <a:cubicBezTo>
                      <a:pt x="1347480" y="8471"/>
                      <a:pt x="1513967" y="88272"/>
                      <a:pt x="1650919" y="228569"/>
                    </a:cubicBezTo>
                    <a:cubicBezTo>
                      <a:pt x="1870041" y="453045"/>
                      <a:pt x="1931766" y="569632"/>
                      <a:pt x="1927136" y="614875"/>
                    </a:cubicBezTo>
                    <a:cubicBezTo>
                      <a:pt x="1922506" y="658378"/>
                      <a:pt x="1877757" y="719282"/>
                      <a:pt x="1839178" y="710582"/>
                    </a:cubicBezTo>
                    <a:cubicBezTo>
                      <a:pt x="1799058" y="701882"/>
                      <a:pt x="1794429" y="663598"/>
                      <a:pt x="1772824" y="642718"/>
                    </a:cubicBezTo>
                    <a:cubicBezTo>
                      <a:pt x="1516667" y="399101"/>
                      <a:pt x="1309890" y="437383"/>
                      <a:pt x="1225019" y="466966"/>
                    </a:cubicBezTo>
                    <a:cubicBezTo>
                      <a:pt x="1555245" y="498288"/>
                      <a:pt x="1772824" y="773225"/>
                      <a:pt x="1789799" y="816729"/>
                    </a:cubicBezTo>
                    <a:cubicBezTo>
                      <a:pt x="1806769" y="858482"/>
                      <a:pt x="1789807" y="971551"/>
                      <a:pt x="1789799" y="971599"/>
                    </a:cubicBezTo>
                    <a:cubicBezTo>
                      <a:pt x="1789819" y="971601"/>
                      <a:pt x="1860782" y="976826"/>
                      <a:pt x="1860782" y="1029023"/>
                    </a:cubicBezTo>
                    <a:cubicBezTo>
                      <a:pt x="1860782" y="1081217"/>
                      <a:pt x="1785198" y="1368239"/>
                      <a:pt x="1785170" y="1368346"/>
                    </a:cubicBezTo>
                    <a:cubicBezTo>
                      <a:pt x="1785153" y="1368375"/>
                      <a:pt x="1765100" y="1403147"/>
                      <a:pt x="1741962" y="1397928"/>
                    </a:cubicBezTo>
                    <a:cubicBezTo>
                      <a:pt x="1717273" y="1610222"/>
                      <a:pt x="1632401" y="1742472"/>
                      <a:pt x="1559875" y="1806856"/>
                    </a:cubicBezTo>
                    <a:cubicBezTo>
                      <a:pt x="1488892" y="1869501"/>
                      <a:pt x="1323778" y="1996529"/>
                      <a:pt x="1225019" y="1996529"/>
                    </a:cubicBezTo>
                    <a:cubicBezTo>
                      <a:pt x="1126260" y="1996529"/>
                      <a:pt x="883990" y="1794675"/>
                      <a:pt x="865473" y="1759872"/>
                    </a:cubicBezTo>
                    <a:cubicBezTo>
                      <a:pt x="845414" y="1725071"/>
                      <a:pt x="712705" y="1570199"/>
                      <a:pt x="708075" y="1380528"/>
                    </a:cubicBezTo>
                    <a:cubicBezTo>
                      <a:pt x="643265" y="1375306"/>
                      <a:pt x="606230" y="1183894"/>
                      <a:pt x="581541" y="1082967"/>
                    </a:cubicBezTo>
                    <a:cubicBezTo>
                      <a:pt x="561487" y="997735"/>
                      <a:pt x="630866" y="999439"/>
                      <a:pt x="630919" y="999441"/>
                    </a:cubicBezTo>
                    <a:cubicBezTo>
                      <a:pt x="630881" y="999337"/>
                      <a:pt x="533702" y="731455"/>
                      <a:pt x="525988" y="694921"/>
                    </a:cubicBezTo>
                    <a:cubicBezTo>
                      <a:pt x="519815" y="660118"/>
                      <a:pt x="455005" y="44116"/>
                      <a:pt x="945716" y="66738"/>
                    </a:cubicBezTo>
                    <a:cubicBezTo>
                      <a:pt x="1017470" y="17144"/>
                      <a:pt x="1103765" y="-4064"/>
                      <a:pt x="1195158" y="63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254" name="Freeform 293">
                <a:extLst>
                  <a:ext uri="{FF2B5EF4-FFF2-40B4-BE49-F238E27FC236}">
                    <a16:creationId xmlns:a16="http://schemas.microsoft.com/office/drawing/2014/main" id="{E3460D8C-15DD-4126-9540-95252076DDCC}"/>
                  </a:ext>
                </a:extLst>
              </p:cNvPr>
              <p:cNvSpPr/>
              <p:nvPr/>
            </p:nvSpPr>
            <p:spPr>
              <a:xfrm flipH="1">
                <a:off x="1116816" y="2629054"/>
                <a:ext cx="3436629" cy="3474566"/>
              </a:xfrm>
              <a:custGeom>
                <a:avLst/>
                <a:gdLst/>
                <a:ahLst/>
                <a:cxnLst/>
                <a:rect l="l" t="t" r="r" b="b"/>
                <a:pathLst>
                  <a:path w="852601" h="862013">
                    <a:moveTo>
                      <a:pt x="339688" y="551599"/>
                    </a:moveTo>
                    <a:cubicBezTo>
                      <a:pt x="336200" y="550660"/>
                      <a:pt x="332712" y="552270"/>
                      <a:pt x="329224" y="555624"/>
                    </a:cubicBezTo>
                    <a:lnTo>
                      <a:pt x="318760" y="571723"/>
                    </a:lnTo>
                    <a:cubicBezTo>
                      <a:pt x="317687" y="576955"/>
                      <a:pt x="320907" y="582723"/>
                      <a:pt x="322785" y="587017"/>
                    </a:cubicBezTo>
                    <a:cubicBezTo>
                      <a:pt x="324663" y="591310"/>
                      <a:pt x="331370" y="593322"/>
                      <a:pt x="330029" y="597481"/>
                    </a:cubicBezTo>
                    <a:cubicBezTo>
                      <a:pt x="328687" y="601641"/>
                      <a:pt x="318894" y="606739"/>
                      <a:pt x="314735" y="611971"/>
                    </a:cubicBezTo>
                    <a:cubicBezTo>
                      <a:pt x="310576" y="617202"/>
                      <a:pt x="308563" y="620288"/>
                      <a:pt x="303465" y="629679"/>
                    </a:cubicBezTo>
                    <a:cubicBezTo>
                      <a:pt x="298368" y="639070"/>
                      <a:pt x="292062" y="654230"/>
                      <a:pt x="284147" y="668317"/>
                    </a:cubicBezTo>
                    <a:cubicBezTo>
                      <a:pt x="276232" y="682403"/>
                      <a:pt x="261340" y="698637"/>
                      <a:pt x="255974" y="714199"/>
                    </a:cubicBezTo>
                    <a:cubicBezTo>
                      <a:pt x="250607" y="729762"/>
                      <a:pt x="252754" y="745727"/>
                      <a:pt x="251949" y="761691"/>
                    </a:cubicBezTo>
                    <a:cubicBezTo>
                      <a:pt x="251144" y="777656"/>
                      <a:pt x="252351" y="796036"/>
                      <a:pt x="251143" y="809989"/>
                    </a:cubicBezTo>
                    <a:cubicBezTo>
                      <a:pt x="249937" y="823941"/>
                      <a:pt x="245778" y="837357"/>
                      <a:pt x="244705" y="845406"/>
                    </a:cubicBezTo>
                    <a:cubicBezTo>
                      <a:pt x="243631" y="853456"/>
                      <a:pt x="243095" y="855603"/>
                      <a:pt x="244705" y="858286"/>
                    </a:cubicBezTo>
                    <a:cubicBezTo>
                      <a:pt x="245509" y="859627"/>
                      <a:pt x="245945" y="860298"/>
                      <a:pt x="247169" y="860701"/>
                    </a:cubicBezTo>
                    <a:lnTo>
                      <a:pt x="254364" y="861506"/>
                    </a:lnTo>
                    <a:cubicBezTo>
                      <a:pt x="262279" y="862042"/>
                      <a:pt x="277305" y="862310"/>
                      <a:pt x="292196" y="861506"/>
                    </a:cubicBezTo>
                    <a:cubicBezTo>
                      <a:pt x="307088" y="860701"/>
                      <a:pt x="333115" y="857749"/>
                      <a:pt x="343713" y="856676"/>
                    </a:cubicBezTo>
                    <a:cubicBezTo>
                      <a:pt x="343747" y="856684"/>
                      <a:pt x="352708" y="858681"/>
                      <a:pt x="355787" y="855066"/>
                    </a:cubicBezTo>
                    <a:cubicBezTo>
                      <a:pt x="358873" y="851443"/>
                      <a:pt x="361288" y="845675"/>
                      <a:pt x="362227" y="834943"/>
                    </a:cubicBezTo>
                    <a:cubicBezTo>
                      <a:pt x="363166" y="824210"/>
                      <a:pt x="363568" y="808110"/>
                      <a:pt x="361422" y="790670"/>
                    </a:cubicBezTo>
                    <a:cubicBezTo>
                      <a:pt x="359275" y="773229"/>
                      <a:pt x="352299" y="754313"/>
                      <a:pt x="349348" y="730298"/>
                    </a:cubicBezTo>
                    <a:cubicBezTo>
                      <a:pt x="346396" y="706284"/>
                      <a:pt x="344786" y="666439"/>
                      <a:pt x="343713" y="646584"/>
                    </a:cubicBezTo>
                    <a:cubicBezTo>
                      <a:pt x="342640" y="626728"/>
                      <a:pt x="342505" y="619886"/>
                      <a:pt x="342908" y="611166"/>
                    </a:cubicBezTo>
                    <a:cubicBezTo>
                      <a:pt x="343310" y="602446"/>
                      <a:pt x="343713" y="600299"/>
                      <a:pt x="346128" y="594262"/>
                    </a:cubicBezTo>
                    <a:cubicBezTo>
                      <a:pt x="348543" y="588224"/>
                      <a:pt x="356727" y="580443"/>
                      <a:pt x="357397" y="574942"/>
                    </a:cubicBezTo>
                    <a:cubicBezTo>
                      <a:pt x="358068" y="569442"/>
                      <a:pt x="353104" y="565149"/>
                      <a:pt x="350153" y="561258"/>
                    </a:cubicBezTo>
                    <a:close/>
                    <a:moveTo>
                      <a:pt x="287206" y="507649"/>
                    </a:moveTo>
                    <a:cubicBezTo>
                      <a:pt x="299226" y="561742"/>
                      <a:pt x="284201" y="574621"/>
                      <a:pt x="274326" y="617123"/>
                    </a:cubicBezTo>
                    <a:cubicBezTo>
                      <a:pt x="272445" y="626330"/>
                      <a:pt x="270907" y="639718"/>
                      <a:pt x="269556" y="655910"/>
                    </a:cubicBezTo>
                    <a:cubicBezTo>
                      <a:pt x="284442" y="632717"/>
                      <a:pt x="299146" y="601494"/>
                      <a:pt x="316184" y="596515"/>
                    </a:cubicBezTo>
                    <a:cubicBezTo>
                      <a:pt x="314038" y="589217"/>
                      <a:pt x="305451" y="583528"/>
                      <a:pt x="306524" y="574621"/>
                    </a:cubicBezTo>
                    <a:cubicBezTo>
                      <a:pt x="307147" y="563679"/>
                      <a:pt x="314405" y="554950"/>
                      <a:pt x="319949" y="545622"/>
                    </a:cubicBezTo>
                    <a:cubicBezTo>
                      <a:pt x="307786" y="539695"/>
                      <a:pt x="298568" y="525281"/>
                      <a:pt x="287206" y="507649"/>
                    </a:cubicBezTo>
                    <a:close/>
                    <a:moveTo>
                      <a:pt x="264023" y="488330"/>
                    </a:moveTo>
                    <a:cubicBezTo>
                      <a:pt x="251143" y="497345"/>
                      <a:pt x="249856" y="517952"/>
                      <a:pt x="240841" y="523104"/>
                    </a:cubicBezTo>
                    <a:cubicBezTo>
                      <a:pt x="177304" y="542852"/>
                      <a:pt x="103463" y="578055"/>
                      <a:pt x="46365" y="613259"/>
                    </a:cubicBezTo>
                    <a:cubicBezTo>
                      <a:pt x="17601" y="630002"/>
                      <a:pt x="12021" y="649320"/>
                      <a:pt x="6440" y="682806"/>
                    </a:cubicBezTo>
                    <a:lnTo>
                      <a:pt x="0" y="793568"/>
                    </a:lnTo>
                    <a:cubicBezTo>
                      <a:pt x="60532" y="849807"/>
                      <a:pt x="154551" y="840362"/>
                      <a:pt x="230537" y="859252"/>
                    </a:cubicBezTo>
                    <a:cubicBezTo>
                      <a:pt x="242128" y="755359"/>
                      <a:pt x="233113" y="597374"/>
                      <a:pt x="265311" y="542422"/>
                    </a:cubicBezTo>
                    <a:close/>
                    <a:moveTo>
                      <a:pt x="473953" y="438101"/>
                    </a:moveTo>
                    <a:cubicBezTo>
                      <a:pt x="449999" y="476765"/>
                      <a:pt x="395188" y="525303"/>
                      <a:pt x="351750" y="542487"/>
                    </a:cubicBezTo>
                    <a:cubicBezTo>
                      <a:pt x="364570" y="553524"/>
                      <a:pt x="369815" y="566569"/>
                      <a:pt x="371564" y="577519"/>
                    </a:cubicBezTo>
                    <a:cubicBezTo>
                      <a:pt x="371510" y="588305"/>
                      <a:pt x="363407" y="591042"/>
                      <a:pt x="359329" y="597803"/>
                    </a:cubicBezTo>
                    <a:cubicBezTo>
                      <a:pt x="364928" y="652187"/>
                      <a:pt x="355161" y="701683"/>
                      <a:pt x="373271" y="759858"/>
                    </a:cubicBezTo>
                    <a:cubicBezTo>
                      <a:pt x="382583" y="726860"/>
                      <a:pt x="394118" y="694072"/>
                      <a:pt x="406981" y="659624"/>
                    </a:cubicBezTo>
                    <a:cubicBezTo>
                      <a:pt x="434458" y="598661"/>
                      <a:pt x="476100" y="510653"/>
                      <a:pt x="473953" y="438101"/>
                    </a:cubicBezTo>
                    <a:close/>
                    <a:moveTo>
                      <a:pt x="444331" y="425221"/>
                    </a:moveTo>
                    <a:cubicBezTo>
                      <a:pt x="417365" y="457420"/>
                      <a:pt x="365446" y="490423"/>
                      <a:pt x="342908" y="490423"/>
                    </a:cubicBezTo>
                    <a:cubicBezTo>
                      <a:pt x="312722" y="489752"/>
                      <a:pt x="309100" y="473787"/>
                      <a:pt x="292196" y="465469"/>
                    </a:cubicBezTo>
                    <a:cubicBezTo>
                      <a:pt x="308026" y="468152"/>
                      <a:pt x="323455" y="474056"/>
                      <a:pt x="339687" y="473519"/>
                    </a:cubicBezTo>
                    <a:cubicBezTo>
                      <a:pt x="376180" y="473116"/>
                      <a:pt x="416695" y="446955"/>
                      <a:pt x="444331" y="425221"/>
                    </a:cubicBezTo>
                    <a:close/>
                    <a:moveTo>
                      <a:pt x="488121" y="409767"/>
                    </a:moveTo>
                    <a:cubicBezTo>
                      <a:pt x="533198" y="465576"/>
                      <a:pt x="410846" y="692681"/>
                      <a:pt x="376072" y="855388"/>
                    </a:cubicBezTo>
                    <a:cubicBezTo>
                      <a:pt x="489409" y="838216"/>
                      <a:pt x="600169" y="850665"/>
                      <a:pt x="716082" y="803871"/>
                    </a:cubicBezTo>
                    <a:cubicBezTo>
                      <a:pt x="761588" y="800437"/>
                      <a:pt x="808382" y="816321"/>
                      <a:pt x="852601" y="793568"/>
                    </a:cubicBezTo>
                    <a:cubicBezTo>
                      <a:pt x="845303" y="743338"/>
                      <a:pt x="867627" y="646745"/>
                      <a:pt x="772750" y="588788"/>
                    </a:cubicBezTo>
                    <a:cubicBezTo>
                      <a:pt x="729391" y="552726"/>
                      <a:pt x="648681" y="519241"/>
                      <a:pt x="565395" y="492193"/>
                    </a:cubicBezTo>
                    <a:cubicBezTo>
                      <a:pt x="534486" y="468582"/>
                      <a:pt x="515167" y="433379"/>
                      <a:pt x="488121" y="409767"/>
                    </a:cubicBezTo>
                    <a:close/>
                    <a:moveTo>
                      <a:pt x="314467" y="207"/>
                    </a:moveTo>
                    <a:cubicBezTo>
                      <a:pt x="302302" y="922"/>
                      <a:pt x="297652" y="4142"/>
                      <a:pt x="285488" y="8794"/>
                    </a:cubicBezTo>
                    <a:cubicBezTo>
                      <a:pt x="273325" y="13444"/>
                      <a:pt x="253826" y="20241"/>
                      <a:pt x="241485" y="28112"/>
                    </a:cubicBezTo>
                    <a:cubicBezTo>
                      <a:pt x="229142" y="35983"/>
                      <a:pt x="220377" y="43853"/>
                      <a:pt x="211433" y="56017"/>
                    </a:cubicBezTo>
                    <a:cubicBezTo>
                      <a:pt x="202489" y="68180"/>
                      <a:pt x="193724" y="87320"/>
                      <a:pt x="187821" y="101095"/>
                    </a:cubicBezTo>
                    <a:cubicBezTo>
                      <a:pt x="181919" y="114868"/>
                      <a:pt x="176194" y="121665"/>
                      <a:pt x="176015" y="138658"/>
                    </a:cubicBezTo>
                    <a:cubicBezTo>
                      <a:pt x="175837" y="155652"/>
                      <a:pt x="182813" y="191249"/>
                      <a:pt x="186748" y="203055"/>
                    </a:cubicBezTo>
                    <a:lnTo>
                      <a:pt x="187520" y="204007"/>
                    </a:lnTo>
                    <a:lnTo>
                      <a:pt x="191027" y="223887"/>
                    </a:lnTo>
                    <a:cubicBezTo>
                      <a:pt x="185407" y="222374"/>
                      <a:pt x="182724" y="232570"/>
                      <a:pt x="184333" y="241693"/>
                    </a:cubicBezTo>
                    <a:cubicBezTo>
                      <a:pt x="185943" y="250815"/>
                      <a:pt x="196139" y="265841"/>
                      <a:pt x="198822" y="277111"/>
                    </a:cubicBezTo>
                    <a:cubicBezTo>
                      <a:pt x="201505" y="288380"/>
                      <a:pt x="200298" y="299113"/>
                      <a:pt x="200432" y="309308"/>
                    </a:cubicBezTo>
                    <a:cubicBezTo>
                      <a:pt x="200566" y="319505"/>
                      <a:pt x="198285" y="331579"/>
                      <a:pt x="199627" y="338286"/>
                    </a:cubicBezTo>
                    <a:cubicBezTo>
                      <a:pt x="200969" y="344995"/>
                      <a:pt x="205128" y="346739"/>
                      <a:pt x="208482" y="349556"/>
                    </a:cubicBezTo>
                    <a:cubicBezTo>
                      <a:pt x="211836" y="352373"/>
                      <a:pt x="218275" y="343385"/>
                      <a:pt x="219751" y="355191"/>
                    </a:cubicBezTo>
                    <a:cubicBezTo>
                      <a:pt x="221227" y="366997"/>
                      <a:pt x="229008" y="395036"/>
                      <a:pt x="236655" y="410733"/>
                    </a:cubicBezTo>
                    <a:cubicBezTo>
                      <a:pt x="244301" y="426429"/>
                      <a:pt x="259999" y="439845"/>
                      <a:pt x="265633" y="449370"/>
                    </a:cubicBezTo>
                    <a:cubicBezTo>
                      <a:pt x="271268" y="458895"/>
                      <a:pt x="266438" y="460372"/>
                      <a:pt x="270463" y="467884"/>
                    </a:cubicBezTo>
                    <a:cubicBezTo>
                      <a:pt x="274487" y="475397"/>
                      <a:pt x="281330" y="484118"/>
                      <a:pt x="289781" y="494447"/>
                    </a:cubicBezTo>
                    <a:cubicBezTo>
                      <a:pt x="298233" y="504778"/>
                      <a:pt x="311246" y="524097"/>
                      <a:pt x="321175" y="529866"/>
                    </a:cubicBezTo>
                    <a:cubicBezTo>
                      <a:pt x="331102" y="535634"/>
                      <a:pt x="333383" y="536305"/>
                      <a:pt x="349348" y="529061"/>
                    </a:cubicBezTo>
                    <a:cubicBezTo>
                      <a:pt x="365312" y="521816"/>
                      <a:pt x="399657" y="499680"/>
                      <a:pt x="416963" y="486398"/>
                    </a:cubicBezTo>
                    <a:cubicBezTo>
                      <a:pt x="434270" y="473116"/>
                      <a:pt x="444331" y="459298"/>
                      <a:pt x="453186" y="449370"/>
                    </a:cubicBezTo>
                    <a:cubicBezTo>
                      <a:pt x="462041" y="439443"/>
                      <a:pt x="466601" y="434746"/>
                      <a:pt x="470089" y="426831"/>
                    </a:cubicBezTo>
                    <a:cubicBezTo>
                      <a:pt x="473577" y="418917"/>
                      <a:pt x="471968" y="409526"/>
                      <a:pt x="474115" y="401878"/>
                    </a:cubicBezTo>
                    <a:cubicBezTo>
                      <a:pt x="476261" y="394231"/>
                      <a:pt x="480688" y="390341"/>
                      <a:pt x="482969" y="380949"/>
                    </a:cubicBezTo>
                    <a:cubicBezTo>
                      <a:pt x="485249" y="371558"/>
                      <a:pt x="484847" y="352373"/>
                      <a:pt x="487799" y="345532"/>
                    </a:cubicBezTo>
                    <a:cubicBezTo>
                      <a:pt x="490750" y="338689"/>
                      <a:pt x="496788" y="343787"/>
                      <a:pt x="500678" y="339897"/>
                    </a:cubicBezTo>
                    <a:cubicBezTo>
                      <a:pt x="504569" y="336006"/>
                      <a:pt x="508996" y="331177"/>
                      <a:pt x="511142" y="322188"/>
                    </a:cubicBezTo>
                    <a:cubicBezTo>
                      <a:pt x="513289" y="313199"/>
                      <a:pt x="511947" y="299515"/>
                      <a:pt x="513557" y="285965"/>
                    </a:cubicBezTo>
                    <a:cubicBezTo>
                      <a:pt x="515167" y="272415"/>
                      <a:pt x="520131" y="252425"/>
                      <a:pt x="520801" y="240888"/>
                    </a:cubicBezTo>
                    <a:cubicBezTo>
                      <a:pt x="521473" y="229350"/>
                      <a:pt x="520131" y="222508"/>
                      <a:pt x="517582" y="216739"/>
                    </a:cubicBezTo>
                    <a:lnTo>
                      <a:pt x="505508" y="206274"/>
                    </a:lnTo>
                    <a:cubicBezTo>
                      <a:pt x="501482" y="205872"/>
                      <a:pt x="496788" y="209897"/>
                      <a:pt x="493433" y="214324"/>
                    </a:cubicBezTo>
                    <a:cubicBezTo>
                      <a:pt x="490893" y="217677"/>
                      <a:pt x="489661" y="229032"/>
                      <a:pt x="487525" y="232413"/>
                    </a:cubicBezTo>
                    <a:lnTo>
                      <a:pt x="486770" y="223363"/>
                    </a:lnTo>
                    <a:lnTo>
                      <a:pt x="488165" y="195462"/>
                    </a:lnTo>
                    <a:lnTo>
                      <a:pt x="490482" y="198762"/>
                    </a:lnTo>
                    <a:cubicBezTo>
                      <a:pt x="492986" y="200550"/>
                      <a:pt x="494238" y="195185"/>
                      <a:pt x="496921" y="194469"/>
                    </a:cubicBezTo>
                    <a:cubicBezTo>
                      <a:pt x="499604" y="193754"/>
                      <a:pt x="503002" y="193217"/>
                      <a:pt x="506581" y="194469"/>
                    </a:cubicBezTo>
                    <a:cubicBezTo>
                      <a:pt x="510158" y="195721"/>
                      <a:pt x="516419" y="202876"/>
                      <a:pt x="518386" y="201981"/>
                    </a:cubicBezTo>
                    <a:cubicBezTo>
                      <a:pt x="519370" y="201534"/>
                      <a:pt x="519370" y="200774"/>
                      <a:pt x="519124" y="198896"/>
                    </a:cubicBezTo>
                    <a:lnTo>
                      <a:pt x="518386" y="189102"/>
                    </a:lnTo>
                    <a:cubicBezTo>
                      <a:pt x="518391" y="189053"/>
                      <a:pt x="521603" y="159753"/>
                      <a:pt x="518386" y="142952"/>
                    </a:cubicBezTo>
                    <a:cubicBezTo>
                      <a:pt x="515167" y="126137"/>
                      <a:pt x="506760" y="103778"/>
                      <a:pt x="499068" y="88215"/>
                    </a:cubicBezTo>
                    <a:cubicBezTo>
                      <a:pt x="491376" y="72652"/>
                      <a:pt x="479213" y="57627"/>
                      <a:pt x="472236" y="49577"/>
                    </a:cubicBezTo>
                    <a:cubicBezTo>
                      <a:pt x="465260" y="41528"/>
                      <a:pt x="466154" y="44211"/>
                      <a:pt x="457210" y="39918"/>
                    </a:cubicBezTo>
                    <a:cubicBezTo>
                      <a:pt x="448266" y="35625"/>
                      <a:pt x="435030" y="29722"/>
                      <a:pt x="418572" y="23818"/>
                    </a:cubicBezTo>
                    <a:cubicBezTo>
                      <a:pt x="402117" y="17916"/>
                      <a:pt x="375821" y="8435"/>
                      <a:pt x="358470" y="4500"/>
                    </a:cubicBezTo>
                    <a:cubicBezTo>
                      <a:pt x="341118" y="564"/>
                      <a:pt x="326630" y="-509"/>
                      <a:pt x="314467" y="20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578">
                  <a:defRPr/>
                </a:pPr>
                <a:endParaRPr lang="en-US" sz="1797" kern="0">
                  <a:solidFill>
                    <a:srgbClr val="FFFFFF"/>
                  </a:solidFill>
                  <a:latin typeface="Segoe UI"/>
                </a:endParaRPr>
              </a:p>
            </p:txBody>
          </p:sp>
          <p:sp>
            <p:nvSpPr>
              <p:cNvPr id="255" name="Freeform 294">
                <a:extLst>
                  <a:ext uri="{FF2B5EF4-FFF2-40B4-BE49-F238E27FC236}">
                    <a16:creationId xmlns:a16="http://schemas.microsoft.com/office/drawing/2014/main" id="{79B36C9B-40CE-4747-BEDB-910541D6D4F7}"/>
                  </a:ext>
                </a:extLst>
              </p:cNvPr>
              <p:cNvSpPr/>
              <p:nvPr/>
            </p:nvSpPr>
            <p:spPr>
              <a:xfrm>
                <a:off x="5391987" y="2823080"/>
                <a:ext cx="2628063" cy="3263867"/>
              </a:xfrm>
              <a:custGeom>
                <a:avLst/>
                <a:gdLst>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338138 w 3900488"/>
                  <a:gd name="connsiteY63" fmla="*/ 4760516 h 4808141"/>
                  <a:gd name="connsiteX64" fmla="*/ 161925 w 3900488"/>
                  <a:gd name="connsiteY64" fmla="*/ 4436666 h 4808141"/>
                  <a:gd name="connsiteX65" fmla="*/ 57150 w 3900488"/>
                  <a:gd name="connsiteY65" fmla="*/ 4141391 h 4808141"/>
                  <a:gd name="connsiteX66" fmla="*/ 0 w 3900488"/>
                  <a:gd name="connsiteY66" fmla="*/ 3855641 h 4808141"/>
                  <a:gd name="connsiteX67" fmla="*/ 23813 w 3900488"/>
                  <a:gd name="connsiteY67" fmla="*/ 3703241 h 4808141"/>
                  <a:gd name="connsiteX68" fmla="*/ 219075 w 3900488"/>
                  <a:gd name="connsiteY68" fmla="*/ 3584179 h 4808141"/>
                  <a:gd name="connsiteX69" fmla="*/ 533400 w 3900488"/>
                  <a:gd name="connsiteY69" fmla="*/ 3450829 h 4808141"/>
                  <a:gd name="connsiteX70" fmla="*/ 933450 w 3900488"/>
                  <a:gd name="connsiteY70" fmla="*/ 3293666 h 4808141"/>
                  <a:gd name="connsiteX71" fmla="*/ 1133475 w 3900488"/>
                  <a:gd name="connsiteY71" fmla="*/ 3217466 h 4808141"/>
                  <a:gd name="connsiteX72" fmla="*/ 1276350 w 3900488"/>
                  <a:gd name="connsiteY72" fmla="*/ 2950766 h 4808141"/>
                  <a:gd name="connsiteX73" fmla="*/ 1371600 w 3900488"/>
                  <a:gd name="connsiteY73" fmla="*/ 2888854 h 4808141"/>
                  <a:gd name="connsiteX74" fmla="*/ 1443038 w 3900488"/>
                  <a:gd name="connsiteY74" fmla="*/ 2750741 h 4808141"/>
                  <a:gd name="connsiteX75" fmla="*/ 1428750 w 3900488"/>
                  <a:gd name="connsiteY75" fmla="*/ 2665016 h 4808141"/>
                  <a:gd name="connsiteX76" fmla="*/ 1432339 w 3900488"/>
                  <a:gd name="connsiteY76" fmla="*/ 2655556 h 4808141"/>
                  <a:gd name="connsiteX77" fmla="*/ 1411332 w 3900488"/>
                  <a:gd name="connsiteY77" fmla="*/ 2630242 h 4808141"/>
                  <a:gd name="connsiteX78" fmla="*/ 1169833 w 3900488"/>
                  <a:gd name="connsiteY78" fmla="*/ 2059985 h 4808141"/>
                  <a:gd name="connsiteX79" fmla="*/ 975688 w 3900488"/>
                  <a:gd name="connsiteY79" fmla="*/ 1612672 h 4808141"/>
                  <a:gd name="connsiteX80" fmla="*/ 1051451 w 3900488"/>
                  <a:gd name="connsiteY80" fmla="*/ 1487109 h 4808141"/>
                  <a:gd name="connsiteX81" fmla="*/ 1016847 w 3900488"/>
                  <a:gd name="connsiteY81" fmla="*/ 1277790 h 4808141"/>
                  <a:gd name="connsiteX82" fmla="*/ 933449 w 3900488"/>
                  <a:gd name="connsiteY82" fmla="*/ 1341041 h 4808141"/>
                  <a:gd name="connsiteX83" fmla="*/ 882649 w 3900488"/>
                  <a:gd name="connsiteY83" fmla="*/ 1404541 h 4808141"/>
                  <a:gd name="connsiteX84" fmla="*/ 838199 w 3900488"/>
                  <a:gd name="connsiteY84" fmla="*/ 1525191 h 4808141"/>
                  <a:gd name="connsiteX85" fmla="*/ 857249 w 3900488"/>
                  <a:gd name="connsiteY85" fmla="*/ 1645841 h 4808141"/>
                  <a:gd name="connsiteX86" fmla="*/ 888999 w 3900488"/>
                  <a:gd name="connsiteY86" fmla="*/ 1829991 h 4808141"/>
                  <a:gd name="connsiteX87" fmla="*/ 965199 w 3900488"/>
                  <a:gd name="connsiteY87" fmla="*/ 2128441 h 4808141"/>
                  <a:gd name="connsiteX88" fmla="*/ 1047749 w 3900488"/>
                  <a:gd name="connsiteY88" fmla="*/ 2198291 h 4808141"/>
                  <a:gd name="connsiteX89" fmla="*/ 1098549 w 3900488"/>
                  <a:gd name="connsiteY89" fmla="*/ 2331641 h 4808141"/>
                  <a:gd name="connsiteX90" fmla="*/ 1219199 w 3900488"/>
                  <a:gd name="connsiteY90" fmla="*/ 2566591 h 4808141"/>
                  <a:gd name="connsiteX91" fmla="*/ 1269999 w 3900488"/>
                  <a:gd name="connsiteY91" fmla="*/ 2712641 h 4808141"/>
                  <a:gd name="connsiteX92" fmla="*/ 1130299 w 3900488"/>
                  <a:gd name="connsiteY92" fmla="*/ 2750741 h 4808141"/>
                  <a:gd name="connsiteX93" fmla="*/ 927099 w 3900488"/>
                  <a:gd name="connsiteY93" fmla="*/ 2776141 h 4808141"/>
                  <a:gd name="connsiteX94" fmla="*/ 742949 w 3900488"/>
                  <a:gd name="connsiteY94" fmla="*/ 2731691 h 4808141"/>
                  <a:gd name="connsiteX95" fmla="*/ 660399 w 3900488"/>
                  <a:gd name="connsiteY95" fmla="*/ 2591991 h 4808141"/>
                  <a:gd name="connsiteX96" fmla="*/ 622299 w 3900488"/>
                  <a:gd name="connsiteY96" fmla="*/ 2344341 h 4808141"/>
                  <a:gd name="connsiteX97" fmla="*/ 634999 w 3900488"/>
                  <a:gd name="connsiteY97" fmla="*/ 2020491 h 4808141"/>
                  <a:gd name="connsiteX98" fmla="*/ 736599 w 3900488"/>
                  <a:gd name="connsiteY98" fmla="*/ 1328341 h 4808141"/>
                  <a:gd name="connsiteX99" fmla="*/ 971549 w 3900488"/>
                  <a:gd name="connsiteY99" fmla="*/ 623491 h 4808141"/>
                  <a:gd name="connsiteX100" fmla="*/ 1168399 w 3900488"/>
                  <a:gd name="connsiteY100" fmla="*/ 299641 h 4808141"/>
                  <a:gd name="connsiteX101" fmla="*/ 1358899 w 3900488"/>
                  <a:gd name="connsiteY101" fmla="*/ 140891 h 4808141"/>
                  <a:gd name="connsiteX102" fmla="*/ 1530349 w 3900488"/>
                  <a:gd name="connsiteY102" fmla="*/ 115491 h 4808141"/>
                  <a:gd name="connsiteX103" fmla="*/ 1676399 w 3900488"/>
                  <a:gd name="connsiteY103" fmla="*/ 13891 h 4808141"/>
                  <a:gd name="connsiteX104" fmla="*/ 1813321 w 3900488"/>
                  <a:gd name="connsiteY104" fmla="*/ 0 h 4808141"/>
                  <a:gd name="connsiteX0" fmla="*/ 3060949 w 3900488"/>
                  <a:gd name="connsiteY0" fmla="*/ 1005769 h 4760516"/>
                  <a:gd name="connsiteX1" fmla="*/ 3081338 w 3900488"/>
                  <a:gd name="connsiteY1" fmla="*/ 1026716 h 4760516"/>
                  <a:gd name="connsiteX2" fmla="*/ 3167063 w 3900488"/>
                  <a:gd name="connsiteY2" fmla="*/ 1369616 h 4760516"/>
                  <a:gd name="connsiteX3" fmla="*/ 3252788 w 3900488"/>
                  <a:gd name="connsiteY3" fmla="*/ 1822054 h 4760516"/>
                  <a:gd name="connsiteX4" fmla="*/ 3281363 w 3900488"/>
                  <a:gd name="connsiteY4" fmla="*/ 2255441 h 4760516"/>
                  <a:gd name="connsiteX5" fmla="*/ 3271838 w 3900488"/>
                  <a:gd name="connsiteY5" fmla="*/ 2526904 h 4760516"/>
                  <a:gd name="connsiteX6" fmla="*/ 3190875 w 3900488"/>
                  <a:gd name="connsiteY6" fmla="*/ 2722166 h 4760516"/>
                  <a:gd name="connsiteX7" fmla="*/ 3043238 w 3900488"/>
                  <a:gd name="connsiteY7" fmla="*/ 2750741 h 4760516"/>
                  <a:gd name="connsiteX8" fmla="*/ 2809875 w 3900488"/>
                  <a:gd name="connsiteY8" fmla="*/ 2731691 h 4760516"/>
                  <a:gd name="connsiteX9" fmla="*/ 2633663 w 3900488"/>
                  <a:gd name="connsiteY9" fmla="*/ 2669779 h 4760516"/>
                  <a:gd name="connsiteX10" fmla="*/ 2657475 w 3900488"/>
                  <a:gd name="connsiteY10" fmla="*/ 2603104 h 4760516"/>
                  <a:gd name="connsiteX11" fmla="*/ 2752725 w 3900488"/>
                  <a:gd name="connsiteY11" fmla="*/ 2474516 h 4760516"/>
                  <a:gd name="connsiteX12" fmla="*/ 2843213 w 3900488"/>
                  <a:gd name="connsiteY12" fmla="*/ 2255441 h 4760516"/>
                  <a:gd name="connsiteX13" fmla="*/ 2862263 w 3900488"/>
                  <a:gd name="connsiteY13" fmla="*/ 2160191 h 4760516"/>
                  <a:gd name="connsiteX14" fmla="*/ 2919413 w 3900488"/>
                  <a:gd name="connsiteY14" fmla="*/ 2098279 h 4760516"/>
                  <a:gd name="connsiteX15" fmla="*/ 3000375 w 3900488"/>
                  <a:gd name="connsiteY15" fmla="*/ 1855391 h 4760516"/>
                  <a:gd name="connsiteX16" fmla="*/ 3057525 w 3900488"/>
                  <a:gd name="connsiteY16" fmla="*/ 1598216 h 4760516"/>
                  <a:gd name="connsiteX17" fmla="*/ 3062288 w 3900488"/>
                  <a:gd name="connsiteY17" fmla="*/ 1483916 h 4760516"/>
                  <a:gd name="connsiteX18" fmla="*/ 3009900 w 3900488"/>
                  <a:gd name="connsiteY18" fmla="*/ 1379141 h 4760516"/>
                  <a:gd name="connsiteX19" fmla="*/ 2957513 w 3900488"/>
                  <a:gd name="connsiteY19" fmla="*/ 1331516 h 4760516"/>
                  <a:gd name="connsiteX20" fmla="*/ 2947988 w 3900488"/>
                  <a:gd name="connsiteY20" fmla="*/ 1236266 h 4760516"/>
                  <a:gd name="connsiteX21" fmla="*/ 2957513 w 3900488"/>
                  <a:gd name="connsiteY21" fmla="*/ 1121966 h 4760516"/>
                  <a:gd name="connsiteX22" fmla="*/ 3005138 w 3900488"/>
                  <a:gd name="connsiteY22" fmla="*/ 1050529 h 4760516"/>
                  <a:gd name="connsiteX23" fmla="*/ 3060949 w 3900488"/>
                  <a:gd name="connsiteY23" fmla="*/ 1005769 h 4760516"/>
                  <a:gd name="connsiteX24" fmla="*/ 1813321 w 3900488"/>
                  <a:gd name="connsiteY24" fmla="*/ 0 h 4760516"/>
                  <a:gd name="connsiteX25" fmla="*/ 1955799 w 3900488"/>
                  <a:gd name="connsiteY25" fmla="*/ 1191 h 4760516"/>
                  <a:gd name="connsiteX26" fmla="*/ 2152649 w 3900488"/>
                  <a:gd name="connsiteY26" fmla="*/ 20241 h 4760516"/>
                  <a:gd name="connsiteX27" fmla="*/ 2381249 w 3900488"/>
                  <a:gd name="connsiteY27" fmla="*/ 121841 h 4760516"/>
                  <a:gd name="connsiteX28" fmla="*/ 2641599 w 3900488"/>
                  <a:gd name="connsiteY28" fmla="*/ 331391 h 4760516"/>
                  <a:gd name="connsiteX29" fmla="*/ 2946399 w 3900488"/>
                  <a:gd name="connsiteY29" fmla="*/ 693341 h 4760516"/>
                  <a:gd name="connsiteX30" fmla="*/ 3060699 w 3900488"/>
                  <a:gd name="connsiteY30" fmla="*/ 883841 h 4760516"/>
                  <a:gd name="connsiteX31" fmla="*/ 3009899 w 3900488"/>
                  <a:gd name="connsiteY31" fmla="*/ 1004491 h 4760516"/>
                  <a:gd name="connsiteX32" fmla="*/ 2901949 w 3900488"/>
                  <a:gd name="connsiteY32" fmla="*/ 1061641 h 4760516"/>
                  <a:gd name="connsiteX33" fmla="*/ 2825749 w 3900488"/>
                  <a:gd name="connsiteY33" fmla="*/ 998141 h 4760516"/>
                  <a:gd name="connsiteX34" fmla="*/ 2654299 w 3900488"/>
                  <a:gd name="connsiteY34" fmla="*/ 820341 h 4760516"/>
                  <a:gd name="connsiteX35" fmla="*/ 2349499 w 3900488"/>
                  <a:gd name="connsiteY35" fmla="*/ 674291 h 4760516"/>
                  <a:gd name="connsiteX36" fmla="*/ 2019299 w 3900488"/>
                  <a:gd name="connsiteY36" fmla="*/ 674291 h 4760516"/>
                  <a:gd name="connsiteX37" fmla="*/ 2343149 w 3900488"/>
                  <a:gd name="connsiteY37" fmla="*/ 769541 h 4760516"/>
                  <a:gd name="connsiteX38" fmla="*/ 2552699 w 3900488"/>
                  <a:gd name="connsiteY38" fmla="*/ 909241 h 4760516"/>
                  <a:gd name="connsiteX39" fmla="*/ 2629040 w 3900488"/>
                  <a:gd name="connsiteY39" fmla="*/ 973620 h 4760516"/>
                  <a:gd name="connsiteX40" fmla="*/ 2900212 w 3900488"/>
                  <a:gd name="connsiteY40" fmla="*/ 1067700 h 4760516"/>
                  <a:gd name="connsiteX41" fmla="*/ 2829545 w 3900488"/>
                  <a:gd name="connsiteY41" fmla="*/ 1212445 h 4760516"/>
                  <a:gd name="connsiteX42" fmla="*/ 2829545 w 3900488"/>
                  <a:gd name="connsiteY42" fmla="*/ 1445256 h 4760516"/>
                  <a:gd name="connsiteX43" fmla="*/ 2938456 w 3900488"/>
                  <a:gd name="connsiteY43" fmla="*/ 1531580 h 4760516"/>
                  <a:gd name="connsiteX44" fmla="*/ 2822442 w 3900488"/>
                  <a:gd name="connsiteY44" fmla="*/ 2041674 h 4760516"/>
                  <a:gd name="connsiteX45" fmla="*/ 2756148 w 3900488"/>
                  <a:gd name="connsiteY45" fmla="*/ 2086142 h 4760516"/>
                  <a:gd name="connsiteX46" fmla="*/ 2479547 w 3900488"/>
                  <a:gd name="connsiteY46" fmla="*/ 2698176 h 4760516"/>
                  <a:gd name="connsiteX47" fmla="*/ 2528888 w 3900488"/>
                  <a:gd name="connsiteY47" fmla="*/ 2817416 h 4760516"/>
                  <a:gd name="connsiteX48" fmla="*/ 2590800 w 3900488"/>
                  <a:gd name="connsiteY48" fmla="*/ 2874566 h 4760516"/>
                  <a:gd name="connsiteX49" fmla="*/ 2657475 w 3900488"/>
                  <a:gd name="connsiteY49" fmla="*/ 2884091 h 4760516"/>
                  <a:gd name="connsiteX50" fmla="*/ 2681288 w 3900488"/>
                  <a:gd name="connsiteY50" fmla="*/ 2912666 h 4760516"/>
                  <a:gd name="connsiteX51" fmla="*/ 2747963 w 3900488"/>
                  <a:gd name="connsiteY51" fmla="*/ 3079354 h 4760516"/>
                  <a:gd name="connsiteX52" fmla="*/ 2843213 w 3900488"/>
                  <a:gd name="connsiteY52" fmla="*/ 3174604 h 4760516"/>
                  <a:gd name="connsiteX53" fmla="*/ 2938463 w 3900488"/>
                  <a:gd name="connsiteY53" fmla="*/ 3207941 h 4760516"/>
                  <a:gd name="connsiteX54" fmla="*/ 3281363 w 3900488"/>
                  <a:gd name="connsiteY54" fmla="*/ 3317479 h 4760516"/>
                  <a:gd name="connsiteX55" fmla="*/ 3657600 w 3900488"/>
                  <a:gd name="connsiteY55" fmla="*/ 3493691 h 4760516"/>
                  <a:gd name="connsiteX56" fmla="*/ 3867150 w 3900488"/>
                  <a:gd name="connsiteY56" fmla="*/ 3641329 h 4760516"/>
                  <a:gd name="connsiteX57" fmla="*/ 3900488 w 3900488"/>
                  <a:gd name="connsiteY57" fmla="*/ 3769916 h 4760516"/>
                  <a:gd name="connsiteX58" fmla="*/ 3876675 w 3900488"/>
                  <a:gd name="connsiteY58" fmla="*/ 4027091 h 4760516"/>
                  <a:gd name="connsiteX59" fmla="*/ 3790950 w 3900488"/>
                  <a:gd name="connsiteY59" fmla="*/ 4236641 h 4760516"/>
                  <a:gd name="connsiteX60" fmla="*/ 3619500 w 3900488"/>
                  <a:gd name="connsiteY60" fmla="*/ 4598591 h 4760516"/>
                  <a:gd name="connsiteX61" fmla="*/ 3471863 w 3900488"/>
                  <a:gd name="connsiteY61" fmla="*/ 4760516 h 4760516"/>
                  <a:gd name="connsiteX62" fmla="*/ 338138 w 3900488"/>
                  <a:gd name="connsiteY62" fmla="*/ 4760516 h 4760516"/>
                  <a:gd name="connsiteX63" fmla="*/ 161925 w 3900488"/>
                  <a:gd name="connsiteY63" fmla="*/ 4436666 h 4760516"/>
                  <a:gd name="connsiteX64" fmla="*/ 57150 w 3900488"/>
                  <a:gd name="connsiteY64" fmla="*/ 4141391 h 4760516"/>
                  <a:gd name="connsiteX65" fmla="*/ 0 w 3900488"/>
                  <a:gd name="connsiteY65" fmla="*/ 3855641 h 4760516"/>
                  <a:gd name="connsiteX66" fmla="*/ 23813 w 3900488"/>
                  <a:gd name="connsiteY66" fmla="*/ 3703241 h 4760516"/>
                  <a:gd name="connsiteX67" fmla="*/ 219075 w 3900488"/>
                  <a:gd name="connsiteY67" fmla="*/ 3584179 h 4760516"/>
                  <a:gd name="connsiteX68" fmla="*/ 533400 w 3900488"/>
                  <a:gd name="connsiteY68" fmla="*/ 3450829 h 4760516"/>
                  <a:gd name="connsiteX69" fmla="*/ 933450 w 3900488"/>
                  <a:gd name="connsiteY69" fmla="*/ 3293666 h 4760516"/>
                  <a:gd name="connsiteX70" fmla="*/ 1133475 w 3900488"/>
                  <a:gd name="connsiteY70" fmla="*/ 3217466 h 4760516"/>
                  <a:gd name="connsiteX71" fmla="*/ 1276350 w 3900488"/>
                  <a:gd name="connsiteY71" fmla="*/ 2950766 h 4760516"/>
                  <a:gd name="connsiteX72" fmla="*/ 1371600 w 3900488"/>
                  <a:gd name="connsiteY72" fmla="*/ 2888854 h 4760516"/>
                  <a:gd name="connsiteX73" fmla="*/ 1443038 w 3900488"/>
                  <a:gd name="connsiteY73" fmla="*/ 2750741 h 4760516"/>
                  <a:gd name="connsiteX74" fmla="*/ 1428750 w 3900488"/>
                  <a:gd name="connsiteY74" fmla="*/ 2665016 h 4760516"/>
                  <a:gd name="connsiteX75" fmla="*/ 1432339 w 3900488"/>
                  <a:gd name="connsiteY75" fmla="*/ 2655556 h 4760516"/>
                  <a:gd name="connsiteX76" fmla="*/ 1411332 w 3900488"/>
                  <a:gd name="connsiteY76" fmla="*/ 2630242 h 4760516"/>
                  <a:gd name="connsiteX77" fmla="*/ 1169833 w 3900488"/>
                  <a:gd name="connsiteY77" fmla="*/ 2059985 h 4760516"/>
                  <a:gd name="connsiteX78" fmla="*/ 975688 w 3900488"/>
                  <a:gd name="connsiteY78" fmla="*/ 1612672 h 4760516"/>
                  <a:gd name="connsiteX79" fmla="*/ 1051451 w 3900488"/>
                  <a:gd name="connsiteY79" fmla="*/ 1487109 h 4760516"/>
                  <a:gd name="connsiteX80" fmla="*/ 1016847 w 3900488"/>
                  <a:gd name="connsiteY80" fmla="*/ 1277790 h 4760516"/>
                  <a:gd name="connsiteX81" fmla="*/ 933449 w 3900488"/>
                  <a:gd name="connsiteY81" fmla="*/ 1341041 h 4760516"/>
                  <a:gd name="connsiteX82" fmla="*/ 882649 w 3900488"/>
                  <a:gd name="connsiteY82" fmla="*/ 1404541 h 4760516"/>
                  <a:gd name="connsiteX83" fmla="*/ 838199 w 3900488"/>
                  <a:gd name="connsiteY83" fmla="*/ 1525191 h 4760516"/>
                  <a:gd name="connsiteX84" fmla="*/ 857249 w 3900488"/>
                  <a:gd name="connsiteY84" fmla="*/ 1645841 h 4760516"/>
                  <a:gd name="connsiteX85" fmla="*/ 888999 w 3900488"/>
                  <a:gd name="connsiteY85" fmla="*/ 1829991 h 4760516"/>
                  <a:gd name="connsiteX86" fmla="*/ 965199 w 3900488"/>
                  <a:gd name="connsiteY86" fmla="*/ 2128441 h 4760516"/>
                  <a:gd name="connsiteX87" fmla="*/ 1047749 w 3900488"/>
                  <a:gd name="connsiteY87" fmla="*/ 2198291 h 4760516"/>
                  <a:gd name="connsiteX88" fmla="*/ 1098549 w 3900488"/>
                  <a:gd name="connsiteY88" fmla="*/ 2331641 h 4760516"/>
                  <a:gd name="connsiteX89" fmla="*/ 1219199 w 3900488"/>
                  <a:gd name="connsiteY89" fmla="*/ 2566591 h 4760516"/>
                  <a:gd name="connsiteX90" fmla="*/ 1269999 w 3900488"/>
                  <a:gd name="connsiteY90" fmla="*/ 2712641 h 4760516"/>
                  <a:gd name="connsiteX91" fmla="*/ 1130299 w 3900488"/>
                  <a:gd name="connsiteY91" fmla="*/ 2750741 h 4760516"/>
                  <a:gd name="connsiteX92" fmla="*/ 927099 w 3900488"/>
                  <a:gd name="connsiteY92" fmla="*/ 2776141 h 4760516"/>
                  <a:gd name="connsiteX93" fmla="*/ 742949 w 3900488"/>
                  <a:gd name="connsiteY93" fmla="*/ 2731691 h 4760516"/>
                  <a:gd name="connsiteX94" fmla="*/ 660399 w 3900488"/>
                  <a:gd name="connsiteY94" fmla="*/ 2591991 h 4760516"/>
                  <a:gd name="connsiteX95" fmla="*/ 622299 w 3900488"/>
                  <a:gd name="connsiteY95" fmla="*/ 2344341 h 4760516"/>
                  <a:gd name="connsiteX96" fmla="*/ 634999 w 3900488"/>
                  <a:gd name="connsiteY96" fmla="*/ 2020491 h 4760516"/>
                  <a:gd name="connsiteX97" fmla="*/ 736599 w 3900488"/>
                  <a:gd name="connsiteY97" fmla="*/ 1328341 h 4760516"/>
                  <a:gd name="connsiteX98" fmla="*/ 971549 w 3900488"/>
                  <a:gd name="connsiteY98" fmla="*/ 623491 h 4760516"/>
                  <a:gd name="connsiteX99" fmla="*/ 1168399 w 3900488"/>
                  <a:gd name="connsiteY99" fmla="*/ 299641 h 4760516"/>
                  <a:gd name="connsiteX100" fmla="*/ 1358899 w 3900488"/>
                  <a:gd name="connsiteY100" fmla="*/ 140891 h 4760516"/>
                  <a:gd name="connsiteX101" fmla="*/ 1530349 w 3900488"/>
                  <a:gd name="connsiteY101" fmla="*/ 115491 h 4760516"/>
                  <a:gd name="connsiteX102" fmla="*/ 1676399 w 3900488"/>
                  <a:gd name="connsiteY102" fmla="*/ 13891 h 4760516"/>
                  <a:gd name="connsiteX103" fmla="*/ 1813321 w 3900488"/>
                  <a:gd name="connsiteY103" fmla="*/ 0 h 4760516"/>
                  <a:gd name="connsiteX0" fmla="*/ 3061653 w 3901192"/>
                  <a:gd name="connsiteY0" fmla="*/ 1005769 h 4760516"/>
                  <a:gd name="connsiteX1" fmla="*/ 3082042 w 3901192"/>
                  <a:gd name="connsiteY1" fmla="*/ 1026716 h 4760516"/>
                  <a:gd name="connsiteX2" fmla="*/ 3167767 w 3901192"/>
                  <a:gd name="connsiteY2" fmla="*/ 1369616 h 4760516"/>
                  <a:gd name="connsiteX3" fmla="*/ 3253492 w 3901192"/>
                  <a:gd name="connsiteY3" fmla="*/ 1822054 h 4760516"/>
                  <a:gd name="connsiteX4" fmla="*/ 3282067 w 3901192"/>
                  <a:gd name="connsiteY4" fmla="*/ 2255441 h 4760516"/>
                  <a:gd name="connsiteX5" fmla="*/ 3272542 w 3901192"/>
                  <a:gd name="connsiteY5" fmla="*/ 2526904 h 4760516"/>
                  <a:gd name="connsiteX6" fmla="*/ 3191579 w 3901192"/>
                  <a:gd name="connsiteY6" fmla="*/ 2722166 h 4760516"/>
                  <a:gd name="connsiteX7" fmla="*/ 3043942 w 3901192"/>
                  <a:gd name="connsiteY7" fmla="*/ 2750741 h 4760516"/>
                  <a:gd name="connsiteX8" fmla="*/ 2810579 w 3901192"/>
                  <a:gd name="connsiteY8" fmla="*/ 2731691 h 4760516"/>
                  <a:gd name="connsiteX9" fmla="*/ 2634367 w 3901192"/>
                  <a:gd name="connsiteY9" fmla="*/ 2669779 h 4760516"/>
                  <a:gd name="connsiteX10" fmla="*/ 2658179 w 3901192"/>
                  <a:gd name="connsiteY10" fmla="*/ 2603104 h 4760516"/>
                  <a:gd name="connsiteX11" fmla="*/ 2753429 w 3901192"/>
                  <a:gd name="connsiteY11" fmla="*/ 2474516 h 4760516"/>
                  <a:gd name="connsiteX12" fmla="*/ 2843917 w 3901192"/>
                  <a:gd name="connsiteY12" fmla="*/ 2255441 h 4760516"/>
                  <a:gd name="connsiteX13" fmla="*/ 2862967 w 3901192"/>
                  <a:gd name="connsiteY13" fmla="*/ 2160191 h 4760516"/>
                  <a:gd name="connsiteX14" fmla="*/ 2920117 w 3901192"/>
                  <a:gd name="connsiteY14" fmla="*/ 2098279 h 4760516"/>
                  <a:gd name="connsiteX15" fmla="*/ 3001079 w 3901192"/>
                  <a:gd name="connsiteY15" fmla="*/ 1855391 h 4760516"/>
                  <a:gd name="connsiteX16" fmla="*/ 3058229 w 3901192"/>
                  <a:gd name="connsiteY16" fmla="*/ 1598216 h 4760516"/>
                  <a:gd name="connsiteX17" fmla="*/ 3062992 w 3901192"/>
                  <a:gd name="connsiteY17" fmla="*/ 1483916 h 4760516"/>
                  <a:gd name="connsiteX18" fmla="*/ 3010604 w 3901192"/>
                  <a:gd name="connsiteY18" fmla="*/ 1379141 h 4760516"/>
                  <a:gd name="connsiteX19" fmla="*/ 2958217 w 3901192"/>
                  <a:gd name="connsiteY19" fmla="*/ 1331516 h 4760516"/>
                  <a:gd name="connsiteX20" fmla="*/ 2948692 w 3901192"/>
                  <a:gd name="connsiteY20" fmla="*/ 1236266 h 4760516"/>
                  <a:gd name="connsiteX21" fmla="*/ 2958217 w 3901192"/>
                  <a:gd name="connsiteY21" fmla="*/ 1121966 h 4760516"/>
                  <a:gd name="connsiteX22" fmla="*/ 3005842 w 3901192"/>
                  <a:gd name="connsiteY22" fmla="*/ 1050529 h 4760516"/>
                  <a:gd name="connsiteX23" fmla="*/ 3061653 w 3901192"/>
                  <a:gd name="connsiteY23" fmla="*/ 1005769 h 4760516"/>
                  <a:gd name="connsiteX24" fmla="*/ 1814025 w 3901192"/>
                  <a:gd name="connsiteY24" fmla="*/ 0 h 4760516"/>
                  <a:gd name="connsiteX25" fmla="*/ 1956503 w 3901192"/>
                  <a:gd name="connsiteY25" fmla="*/ 1191 h 4760516"/>
                  <a:gd name="connsiteX26" fmla="*/ 2153353 w 3901192"/>
                  <a:gd name="connsiteY26" fmla="*/ 20241 h 4760516"/>
                  <a:gd name="connsiteX27" fmla="*/ 2381953 w 3901192"/>
                  <a:gd name="connsiteY27" fmla="*/ 121841 h 4760516"/>
                  <a:gd name="connsiteX28" fmla="*/ 2642303 w 3901192"/>
                  <a:gd name="connsiteY28" fmla="*/ 331391 h 4760516"/>
                  <a:gd name="connsiteX29" fmla="*/ 2947103 w 3901192"/>
                  <a:gd name="connsiteY29" fmla="*/ 693341 h 4760516"/>
                  <a:gd name="connsiteX30" fmla="*/ 3061403 w 3901192"/>
                  <a:gd name="connsiteY30" fmla="*/ 883841 h 4760516"/>
                  <a:gd name="connsiteX31" fmla="*/ 3010603 w 3901192"/>
                  <a:gd name="connsiteY31" fmla="*/ 1004491 h 4760516"/>
                  <a:gd name="connsiteX32" fmla="*/ 2902653 w 3901192"/>
                  <a:gd name="connsiteY32" fmla="*/ 1061641 h 4760516"/>
                  <a:gd name="connsiteX33" fmla="*/ 2826453 w 3901192"/>
                  <a:gd name="connsiteY33" fmla="*/ 998141 h 4760516"/>
                  <a:gd name="connsiteX34" fmla="*/ 2655003 w 3901192"/>
                  <a:gd name="connsiteY34" fmla="*/ 820341 h 4760516"/>
                  <a:gd name="connsiteX35" fmla="*/ 2350203 w 3901192"/>
                  <a:gd name="connsiteY35" fmla="*/ 674291 h 4760516"/>
                  <a:gd name="connsiteX36" fmla="*/ 2020003 w 3901192"/>
                  <a:gd name="connsiteY36" fmla="*/ 674291 h 4760516"/>
                  <a:gd name="connsiteX37" fmla="*/ 2343853 w 3901192"/>
                  <a:gd name="connsiteY37" fmla="*/ 769541 h 4760516"/>
                  <a:gd name="connsiteX38" fmla="*/ 2553403 w 3901192"/>
                  <a:gd name="connsiteY38" fmla="*/ 909241 h 4760516"/>
                  <a:gd name="connsiteX39" fmla="*/ 2629744 w 3901192"/>
                  <a:gd name="connsiteY39" fmla="*/ 973620 h 4760516"/>
                  <a:gd name="connsiteX40" fmla="*/ 2900916 w 3901192"/>
                  <a:gd name="connsiteY40" fmla="*/ 1067700 h 4760516"/>
                  <a:gd name="connsiteX41" fmla="*/ 2830249 w 3901192"/>
                  <a:gd name="connsiteY41" fmla="*/ 1212445 h 4760516"/>
                  <a:gd name="connsiteX42" fmla="*/ 2830249 w 3901192"/>
                  <a:gd name="connsiteY42" fmla="*/ 1445256 h 4760516"/>
                  <a:gd name="connsiteX43" fmla="*/ 2939160 w 3901192"/>
                  <a:gd name="connsiteY43" fmla="*/ 1531580 h 4760516"/>
                  <a:gd name="connsiteX44" fmla="*/ 2823146 w 3901192"/>
                  <a:gd name="connsiteY44" fmla="*/ 2041674 h 4760516"/>
                  <a:gd name="connsiteX45" fmla="*/ 2756852 w 3901192"/>
                  <a:gd name="connsiteY45" fmla="*/ 2086142 h 4760516"/>
                  <a:gd name="connsiteX46" fmla="*/ 2480251 w 3901192"/>
                  <a:gd name="connsiteY46" fmla="*/ 2698176 h 4760516"/>
                  <a:gd name="connsiteX47" fmla="*/ 2529592 w 3901192"/>
                  <a:gd name="connsiteY47" fmla="*/ 2817416 h 4760516"/>
                  <a:gd name="connsiteX48" fmla="*/ 2591504 w 3901192"/>
                  <a:gd name="connsiteY48" fmla="*/ 2874566 h 4760516"/>
                  <a:gd name="connsiteX49" fmla="*/ 2658179 w 3901192"/>
                  <a:gd name="connsiteY49" fmla="*/ 2884091 h 4760516"/>
                  <a:gd name="connsiteX50" fmla="*/ 2681992 w 3901192"/>
                  <a:gd name="connsiteY50" fmla="*/ 2912666 h 4760516"/>
                  <a:gd name="connsiteX51" fmla="*/ 2748667 w 3901192"/>
                  <a:gd name="connsiteY51" fmla="*/ 3079354 h 4760516"/>
                  <a:gd name="connsiteX52" fmla="*/ 2843917 w 3901192"/>
                  <a:gd name="connsiteY52" fmla="*/ 3174604 h 4760516"/>
                  <a:gd name="connsiteX53" fmla="*/ 2939167 w 3901192"/>
                  <a:gd name="connsiteY53" fmla="*/ 3207941 h 4760516"/>
                  <a:gd name="connsiteX54" fmla="*/ 3282067 w 3901192"/>
                  <a:gd name="connsiteY54" fmla="*/ 3317479 h 4760516"/>
                  <a:gd name="connsiteX55" fmla="*/ 3658304 w 3901192"/>
                  <a:gd name="connsiteY55" fmla="*/ 3493691 h 4760516"/>
                  <a:gd name="connsiteX56" fmla="*/ 3867854 w 3901192"/>
                  <a:gd name="connsiteY56" fmla="*/ 3641329 h 4760516"/>
                  <a:gd name="connsiteX57" fmla="*/ 3901192 w 3901192"/>
                  <a:gd name="connsiteY57" fmla="*/ 3769916 h 4760516"/>
                  <a:gd name="connsiteX58" fmla="*/ 3877379 w 3901192"/>
                  <a:gd name="connsiteY58" fmla="*/ 4027091 h 4760516"/>
                  <a:gd name="connsiteX59" fmla="*/ 3791654 w 3901192"/>
                  <a:gd name="connsiteY59" fmla="*/ 4236641 h 4760516"/>
                  <a:gd name="connsiteX60" fmla="*/ 3620204 w 3901192"/>
                  <a:gd name="connsiteY60" fmla="*/ 4598591 h 4760516"/>
                  <a:gd name="connsiteX61" fmla="*/ 3472567 w 3901192"/>
                  <a:gd name="connsiteY61" fmla="*/ 4760516 h 4760516"/>
                  <a:gd name="connsiteX62" fmla="*/ 338842 w 3901192"/>
                  <a:gd name="connsiteY62" fmla="*/ 4760516 h 4760516"/>
                  <a:gd name="connsiteX63" fmla="*/ 162629 w 3901192"/>
                  <a:gd name="connsiteY63" fmla="*/ 4436666 h 4760516"/>
                  <a:gd name="connsiteX64" fmla="*/ 57854 w 3901192"/>
                  <a:gd name="connsiteY64" fmla="*/ 4141391 h 4760516"/>
                  <a:gd name="connsiteX65" fmla="*/ 704 w 3901192"/>
                  <a:gd name="connsiteY65" fmla="*/ 3855641 h 4760516"/>
                  <a:gd name="connsiteX66" fmla="*/ 24517 w 3901192"/>
                  <a:gd name="connsiteY66" fmla="*/ 3703241 h 4760516"/>
                  <a:gd name="connsiteX67" fmla="*/ 219779 w 3901192"/>
                  <a:gd name="connsiteY67" fmla="*/ 3584179 h 4760516"/>
                  <a:gd name="connsiteX68" fmla="*/ 534104 w 3901192"/>
                  <a:gd name="connsiteY68" fmla="*/ 3450829 h 4760516"/>
                  <a:gd name="connsiteX69" fmla="*/ 934154 w 3901192"/>
                  <a:gd name="connsiteY69" fmla="*/ 3293666 h 4760516"/>
                  <a:gd name="connsiteX70" fmla="*/ 1134179 w 3901192"/>
                  <a:gd name="connsiteY70" fmla="*/ 3217466 h 4760516"/>
                  <a:gd name="connsiteX71" fmla="*/ 1277054 w 3901192"/>
                  <a:gd name="connsiteY71" fmla="*/ 2950766 h 4760516"/>
                  <a:gd name="connsiteX72" fmla="*/ 1372304 w 3901192"/>
                  <a:gd name="connsiteY72" fmla="*/ 2888854 h 4760516"/>
                  <a:gd name="connsiteX73" fmla="*/ 1443742 w 3901192"/>
                  <a:gd name="connsiteY73" fmla="*/ 2750741 h 4760516"/>
                  <a:gd name="connsiteX74" fmla="*/ 1429454 w 3901192"/>
                  <a:gd name="connsiteY74" fmla="*/ 2665016 h 4760516"/>
                  <a:gd name="connsiteX75" fmla="*/ 1433043 w 3901192"/>
                  <a:gd name="connsiteY75" fmla="*/ 2655556 h 4760516"/>
                  <a:gd name="connsiteX76" fmla="*/ 1412036 w 3901192"/>
                  <a:gd name="connsiteY76" fmla="*/ 2630242 h 4760516"/>
                  <a:gd name="connsiteX77" fmla="*/ 1170537 w 3901192"/>
                  <a:gd name="connsiteY77" fmla="*/ 2059985 h 4760516"/>
                  <a:gd name="connsiteX78" fmla="*/ 976392 w 3901192"/>
                  <a:gd name="connsiteY78" fmla="*/ 1612672 h 4760516"/>
                  <a:gd name="connsiteX79" fmla="*/ 1052155 w 3901192"/>
                  <a:gd name="connsiteY79" fmla="*/ 1487109 h 4760516"/>
                  <a:gd name="connsiteX80" fmla="*/ 1017551 w 3901192"/>
                  <a:gd name="connsiteY80" fmla="*/ 1277790 h 4760516"/>
                  <a:gd name="connsiteX81" fmla="*/ 934153 w 3901192"/>
                  <a:gd name="connsiteY81" fmla="*/ 1341041 h 4760516"/>
                  <a:gd name="connsiteX82" fmla="*/ 883353 w 3901192"/>
                  <a:gd name="connsiteY82" fmla="*/ 1404541 h 4760516"/>
                  <a:gd name="connsiteX83" fmla="*/ 838903 w 3901192"/>
                  <a:gd name="connsiteY83" fmla="*/ 1525191 h 4760516"/>
                  <a:gd name="connsiteX84" fmla="*/ 857953 w 3901192"/>
                  <a:gd name="connsiteY84" fmla="*/ 1645841 h 4760516"/>
                  <a:gd name="connsiteX85" fmla="*/ 889703 w 3901192"/>
                  <a:gd name="connsiteY85" fmla="*/ 1829991 h 4760516"/>
                  <a:gd name="connsiteX86" fmla="*/ 965903 w 3901192"/>
                  <a:gd name="connsiteY86" fmla="*/ 2128441 h 4760516"/>
                  <a:gd name="connsiteX87" fmla="*/ 1048453 w 3901192"/>
                  <a:gd name="connsiteY87" fmla="*/ 2198291 h 4760516"/>
                  <a:gd name="connsiteX88" fmla="*/ 1099253 w 3901192"/>
                  <a:gd name="connsiteY88" fmla="*/ 2331641 h 4760516"/>
                  <a:gd name="connsiteX89" fmla="*/ 1219903 w 3901192"/>
                  <a:gd name="connsiteY89" fmla="*/ 2566591 h 4760516"/>
                  <a:gd name="connsiteX90" fmla="*/ 1270703 w 3901192"/>
                  <a:gd name="connsiteY90" fmla="*/ 2712641 h 4760516"/>
                  <a:gd name="connsiteX91" fmla="*/ 1131003 w 3901192"/>
                  <a:gd name="connsiteY91" fmla="*/ 2750741 h 4760516"/>
                  <a:gd name="connsiteX92" fmla="*/ 927803 w 3901192"/>
                  <a:gd name="connsiteY92" fmla="*/ 2776141 h 4760516"/>
                  <a:gd name="connsiteX93" fmla="*/ 743653 w 3901192"/>
                  <a:gd name="connsiteY93" fmla="*/ 2731691 h 4760516"/>
                  <a:gd name="connsiteX94" fmla="*/ 661103 w 3901192"/>
                  <a:gd name="connsiteY94" fmla="*/ 2591991 h 4760516"/>
                  <a:gd name="connsiteX95" fmla="*/ 623003 w 3901192"/>
                  <a:gd name="connsiteY95" fmla="*/ 2344341 h 4760516"/>
                  <a:gd name="connsiteX96" fmla="*/ 635703 w 3901192"/>
                  <a:gd name="connsiteY96" fmla="*/ 2020491 h 4760516"/>
                  <a:gd name="connsiteX97" fmla="*/ 737303 w 3901192"/>
                  <a:gd name="connsiteY97" fmla="*/ 1328341 h 4760516"/>
                  <a:gd name="connsiteX98" fmla="*/ 972253 w 3901192"/>
                  <a:gd name="connsiteY98" fmla="*/ 623491 h 4760516"/>
                  <a:gd name="connsiteX99" fmla="*/ 1169103 w 3901192"/>
                  <a:gd name="connsiteY99" fmla="*/ 299641 h 4760516"/>
                  <a:gd name="connsiteX100" fmla="*/ 1359603 w 3901192"/>
                  <a:gd name="connsiteY100" fmla="*/ 140891 h 4760516"/>
                  <a:gd name="connsiteX101" fmla="*/ 1531053 w 3901192"/>
                  <a:gd name="connsiteY101" fmla="*/ 115491 h 4760516"/>
                  <a:gd name="connsiteX102" fmla="*/ 1677103 w 3901192"/>
                  <a:gd name="connsiteY102" fmla="*/ 13891 h 4760516"/>
                  <a:gd name="connsiteX103" fmla="*/ 1814025 w 3901192"/>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2384"/>
                  <a:gd name="connsiteY0" fmla="*/ 1005769 h 4760516"/>
                  <a:gd name="connsiteX1" fmla="*/ 3082677 w 3902384"/>
                  <a:gd name="connsiteY1" fmla="*/ 1026716 h 4760516"/>
                  <a:gd name="connsiteX2" fmla="*/ 3168402 w 3902384"/>
                  <a:gd name="connsiteY2" fmla="*/ 1369616 h 4760516"/>
                  <a:gd name="connsiteX3" fmla="*/ 3254127 w 3902384"/>
                  <a:gd name="connsiteY3" fmla="*/ 1822054 h 4760516"/>
                  <a:gd name="connsiteX4" fmla="*/ 3282702 w 3902384"/>
                  <a:gd name="connsiteY4" fmla="*/ 2255441 h 4760516"/>
                  <a:gd name="connsiteX5" fmla="*/ 3273177 w 3902384"/>
                  <a:gd name="connsiteY5" fmla="*/ 2526904 h 4760516"/>
                  <a:gd name="connsiteX6" fmla="*/ 3192214 w 3902384"/>
                  <a:gd name="connsiteY6" fmla="*/ 2722166 h 4760516"/>
                  <a:gd name="connsiteX7" fmla="*/ 3044577 w 3902384"/>
                  <a:gd name="connsiteY7" fmla="*/ 2750741 h 4760516"/>
                  <a:gd name="connsiteX8" fmla="*/ 2811214 w 3902384"/>
                  <a:gd name="connsiteY8" fmla="*/ 2731691 h 4760516"/>
                  <a:gd name="connsiteX9" fmla="*/ 2635002 w 3902384"/>
                  <a:gd name="connsiteY9" fmla="*/ 2669779 h 4760516"/>
                  <a:gd name="connsiteX10" fmla="*/ 2658814 w 3902384"/>
                  <a:gd name="connsiteY10" fmla="*/ 2603104 h 4760516"/>
                  <a:gd name="connsiteX11" fmla="*/ 2754064 w 3902384"/>
                  <a:gd name="connsiteY11" fmla="*/ 2474516 h 4760516"/>
                  <a:gd name="connsiteX12" fmla="*/ 2844552 w 3902384"/>
                  <a:gd name="connsiteY12" fmla="*/ 2255441 h 4760516"/>
                  <a:gd name="connsiteX13" fmla="*/ 2863602 w 3902384"/>
                  <a:gd name="connsiteY13" fmla="*/ 2160191 h 4760516"/>
                  <a:gd name="connsiteX14" fmla="*/ 2920752 w 3902384"/>
                  <a:gd name="connsiteY14" fmla="*/ 2098279 h 4760516"/>
                  <a:gd name="connsiteX15" fmla="*/ 3001714 w 3902384"/>
                  <a:gd name="connsiteY15" fmla="*/ 1855391 h 4760516"/>
                  <a:gd name="connsiteX16" fmla="*/ 3058864 w 3902384"/>
                  <a:gd name="connsiteY16" fmla="*/ 1598216 h 4760516"/>
                  <a:gd name="connsiteX17" fmla="*/ 3063627 w 3902384"/>
                  <a:gd name="connsiteY17" fmla="*/ 1483916 h 4760516"/>
                  <a:gd name="connsiteX18" fmla="*/ 3011239 w 3902384"/>
                  <a:gd name="connsiteY18" fmla="*/ 1379141 h 4760516"/>
                  <a:gd name="connsiteX19" fmla="*/ 2958852 w 3902384"/>
                  <a:gd name="connsiteY19" fmla="*/ 1331516 h 4760516"/>
                  <a:gd name="connsiteX20" fmla="*/ 2949327 w 3902384"/>
                  <a:gd name="connsiteY20" fmla="*/ 1236266 h 4760516"/>
                  <a:gd name="connsiteX21" fmla="*/ 2958852 w 3902384"/>
                  <a:gd name="connsiteY21" fmla="*/ 1121966 h 4760516"/>
                  <a:gd name="connsiteX22" fmla="*/ 3006477 w 3902384"/>
                  <a:gd name="connsiteY22" fmla="*/ 1050529 h 4760516"/>
                  <a:gd name="connsiteX23" fmla="*/ 3062288 w 3902384"/>
                  <a:gd name="connsiteY23" fmla="*/ 1005769 h 4760516"/>
                  <a:gd name="connsiteX24" fmla="*/ 1814660 w 3902384"/>
                  <a:gd name="connsiteY24" fmla="*/ 0 h 4760516"/>
                  <a:gd name="connsiteX25" fmla="*/ 1957138 w 3902384"/>
                  <a:gd name="connsiteY25" fmla="*/ 1191 h 4760516"/>
                  <a:gd name="connsiteX26" fmla="*/ 2153988 w 3902384"/>
                  <a:gd name="connsiteY26" fmla="*/ 20241 h 4760516"/>
                  <a:gd name="connsiteX27" fmla="*/ 2382588 w 3902384"/>
                  <a:gd name="connsiteY27" fmla="*/ 121841 h 4760516"/>
                  <a:gd name="connsiteX28" fmla="*/ 2642938 w 3902384"/>
                  <a:gd name="connsiteY28" fmla="*/ 331391 h 4760516"/>
                  <a:gd name="connsiteX29" fmla="*/ 2947738 w 3902384"/>
                  <a:gd name="connsiteY29" fmla="*/ 693341 h 4760516"/>
                  <a:gd name="connsiteX30" fmla="*/ 3062038 w 3902384"/>
                  <a:gd name="connsiteY30" fmla="*/ 883841 h 4760516"/>
                  <a:gd name="connsiteX31" fmla="*/ 3011238 w 3902384"/>
                  <a:gd name="connsiteY31" fmla="*/ 1004491 h 4760516"/>
                  <a:gd name="connsiteX32" fmla="*/ 2903288 w 3902384"/>
                  <a:gd name="connsiteY32" fmla="*/ 1061641 h 4760516"/>
                  <a:gd name="connsiteX33" fmla="*/ 2827088 w 3902384"/>
                  <a:gd name="connsiteY33" fmla="*/ 998141 h 4760516"/>
                  <a:gd name="connsiteX34" fmla="*/ 2655638 w 3902384"/>
                  <a:gd name="connsiteY34" fmla="*/ 820341 h 4760516"/>
                  <a:gd name="connsiteX35" fmla="*/ 2350838 w 3902384"/>
                  <a:gd name="connsiteY35" fmla="*/ 674291 h 4760516"/>
                  <a:gd name="connsiteX36" fmla="*/ 2020638 w 3902384"/>
                  <a:gd name="connsiteY36" fmla="*/ 674291 h 4760516"/>
                  <a:gd name="connsiteX37" fmla="*/ 2344488 w 3902384"/>
                  <a:gd name="connsiteY37" fmla="*/ 769541 h 4760516"/>
                  <a:gd name="connsiteX38" fmla="*/ 2554038 w 3902384"/>
                  <a:gd name="connsiteY38" fmla="*/ 909241 h 4760516"/>
                  <a:gd name="connsiteX39" fmla="*/ 2630379 w 3902384"/>
                  <a:gd name="connsiteY39" fmla="*/ 973620 h 4760516"/>
                  <a:gd name="connsiteX40" fmla="*/ 2901551 w 3902384"/>
                  <a:gd name="connsiteY40" fmla="*/ 1067700 h 4760516"/>
                  <a:gd name="connsiteX41" fmla="*/ 2830884 w 3902384"/>
                  <a:gd name="connsiteY41" fmla="*/ 1212445 h 4760516"/>
                  <a:gd name="connsiteX42" fmla="*/ 2830884 w 3902384"/>
                  <a:gd name="connsiteY42" fmla="*/ 1445256 h 4760516"/>
                  <a:gd name="connsiteX43" fmla="*/ 2939795 w 3902384"/>
                  <a:gd name="connsiteY43" fmla="*/ 1531580 h 4760516"/>
                  <a:gd name="connsiteX44" fmla="*/ 2823781 w 3902384"/>
                  <a:gd name="connsiteY44" fmla="*/ 2041674 h 4760516"/>
                  <a:gd name="connsiteX45" fmla="*/ 2757487 w 3902384"/>
                  <a:gd name="connsiteY45" fmla="*/ 2086142 h 4760516"/>
                  <a:gd name="connsiteX46" fmla="*/ 2480886 w 3902384"/>
                  <a:gd name="connsiteY46" fmla="*/ 2698176 h 4760516"/>
                  <a:gd name="connsiteX47" fmla="*/ 2530227 w 3902384"/>
                  <a:gd name="connsiteY47" fmla="*/ 2817416 h 4760516"/>
                  <a:gd name="connsiteX48" fmla="*/ 2592139 w 3902384"/>
                  <a:gd name="connsiteY48" fmla="*/ 2874566 h 4760516"/>
                  <a:gd name="connsiteX49" fmla="*/ 2658814 w 3902384"/>
                  <a:gd name="connsiteY49" fmla="*/ 2884091 h 4760516"/>
                  <a:gd name="connsiteX50" fmla="*/ 2682627 w 3902384"/>
                  <a:gd name="connsiteY50" fmla="*/ 2912666 h 4760516"/>
                  <a:gd name="connsiteX51" fmla="*/ 2749302 w 3902384"/>
                  <a:gd name="connsiteY51" fmla="*/ 3079354 h 4760516"/>
                  <a:gd name="connsiteX52" fmla="*/ 2844552 w 3902384"/>
                  <a:gd name="connsiteY52" fmla="*/ 3174604 h 4760516"/>
                  <a:gd name="connsiteX53" fmla="*/ 2939802 w 3902384"/>
                  <a:gd name="connsiteY53" fmla="*/ 3207941 h 4760516"/>
                  <a:gd name="connsiteX54" fmla="*/ 3282702 w 3902384"/>
                  <a:gd name="connsiteY54" fmla="*/ 3317479 h 4760516"/>
                  <a:gd name="connsiteX55" fmla="*/ 3658939 w 3902384"/>
                  <a:gd name="connsiteY55" fmla="*/ 3493691 h 4760516"/>
                  <a:gd name="connsiteX56" fmla="*/ 3868489 w 3902384"/>
                  <a:gd name="connsiteY56" fmla="*/ 3641329 h 4760516"/>
                  <a:gd name="connsiteX57" fmla="*/ 3901827 w 3902384"/>
                  <a:gd name="connsiteY57" fmla="*/ 3769916 h 4760516"/>
                  <a:gd name="connsiteX58" fmla="*/ 3878014 w 3902384"/>
                  <a:gd name="connsiteY58" fmla="*/ 4027091 h 4760516"/>
                  <a:gd name="connsiteX59" fmla="*/ 3792289 w 3902384"/>
                  <a:gd name="connsiteY59" fmla="*/ 4236641 h 4760516"/>
                  <a:gd name="connsiteX60" fmla="*/ 3620839 w 3902384"/>
                  <a:gd name="connsiteY60" fmla="*/ 4598591 h 4760516"/>
                  <a:gd name="connsiteX61" fmla="*/ 3473202 w 3902384"/>
                  <a:gd name="connsiteY61" fmla="*/ 4760516 h 4760516"/>
                  <a:gd name="connsiteX62" fmla="*/ 339477 w 3902384"/>
                  <a:gd name="connsiteY62" fmla="*/ 4760516 h 4760516"/>
                  <a:gd name="connsiteX63" fmla="*/ 163264 w 3902384"/>
                  <a:gd name="connsiteY63" fmla="*/ 4436666 h 4760516"/>
                  <a:gd name="connsiteX64" fmla="*/ 58489 w 3902384"/>
                  <a:gd name="connsiteY64" fmla="*/ 4141391 h 4760516"/>
                  <a:gd name="connsiteX65" fmla="*/ 1339 w 3902384"/>
                  <a:gd name="connsiteY65" fmla="*/ 3855641 h 4760516"/>
                  <a:gd name="connsiteX66" fmla="*/ 25152 w 3902384"/>
                  <a:gd name="connsiteY66" fmla="*/ 3703241 h 4760516"/>
                  <a:gd name="connsiteX67" fmla="*/ 220414 w 3902384"/>
                  <a:gd name="connsiteY67" fmla="*/ 3584179 h 4760516"/>
                  <a:gd name="connsiteX68" fmla="*/ 534739 w 3902384"/>
                  <a:gd name="connsiteY68" fmla="*/ 3450829 h 4760516"/>
                  <a:gd name="connsiteX69" fmla="*/ 934789 w 3902384"/>
                  <a:gd name="connsiteY69" fmla="*/ 3293666 h 4760516"/>
                  <a:gd name="connsiteX70" fmla="*/ 1134814 w 3902384"/>
                  <a:gd name="connsiteY70" fmla="*/ 3217466 h 4760516"/>
                  <a:gd name="connsiteX71" fmla="*/ 1277689 w 3902384"/>
                  <a:gd name="connsiteY71" fmla="*/ 2950766 h 4760516"/>
                  <a:gd name="connsiteX72" fmla="*/ 1372939 w 3902384"/>
                  <a:gd name="connsiteY72" fmla="*/ 2888854 h 4760516"/>
                  <a:gd name="connsiteX73" fmla="*/ 1444377 w 3902384"/>
                  <a:gd name="connsiteY73" fmla="*/ 2750741 h 4760516"/>
                  <a:gd name="connsiteX74" fmla="*/ 1430089 w 3902384"/>
                  <a:gd name="connsiteY74" fmla="*/ 2665016 h 4760516"/>
                  <a:gd name="connsiteX75" fmla="*/ 1433678 w 3902384"/>
                  <a:gd name="connsiteY75" fmla="*/ 2655556 h 4760516"/>
                  <a:gd name="connsiteX76" fmla="*/ 1412671 w 3902384"/>
                  <a:gd name="connsiteY76" fmla="*/ 2630242 h 4760516"/>
                  <a:gd name="connsiteX77" fmla="*/ 1171172 w 3902384"/>
                  <a:gd name="connsiteY77" fmla="*/ 2059985 h 4760516"/>
                  <a:gd name="connsiteX78" fmla="*/ 977027 w 3902384"/>
                  <a:gd name="connsiteY78" fmla="*/ 1612672 h 4760516"/>
                  <a:gd name="connsiteX79" fmla="*/ 1052790 w 3902384"/>
                  <a:gd name="connsiteY79" fmla="*/ 1487109 h 4760516"/>
                  <a:gd name="connsiteX80" fmla="*/ 1018186 w 3902384"/>
                  <a:gd name="connsiteY80" fmla="*/ 1277790 h 4760516"/>
                  <a:gd name="connsiteX81" fmla="*/ 934788 w 3902384"/>
                  <a:gd name="connsiteY81" fmla="*/ 1341041 h 4760516"/>
                  <a:gd name="connsiteX82" fmla="*/ 883988 w 3902384"/>
                  <a:gd name="connsiteY82" fmla="*/ 1404541 h 4760516"/>
                  <a:gd name="connsiteX83" fmla="*/ 839538 w 3902384"/>
                  <a:gd name="connsiteY83" fmla="*/ 1525191 h 4760516"/>
                  <a:gd name="connsiteX84" fmla="*/ 858588 w 3902384"/>
                  <a:gd name="connsiteY84" fmla="*/ 1645841 h 4760516"/>
                  <a:gd name="connsiteX85" fmla="*/ 890338 w 3902384"/>
                  <a:gd name="connsiteY85" fmla="*/ 1829991 h 4760516"/>
                  <a:gd name="connsiteX86" fmla="*/ 966538 w 3902384"/>
                  <a:gd name="connsiteY86" fmla="*/ 2128441 h 4760516"/>
                  <a:gd name="connsiteX87" fmla="*/ 1049088 w 3902384"/>
                  <a:gd name="connsiteY87" fmla="*/ 2198291 h 4760516"/>
                  <a:gd name="connsiteX88" fmla="*/ 1099888 w 3902384"/>
                  <a:gd name="connsiteY88" fmla="*/ 2331641 h 4760516"/>
                  <a:gd name="connsiteX89" fmla="*/ 1220538 w 3902384"/>
                  <a:gd name="connsiteY89" fmla="*/ 2566591 h 4760516"/>
                  <a:gd name="connsiteX90" fmla="*/ 1271338 w 3902384"/>
                  <a:gd name="connsiteY90" fmla="*/ 2712641 h 4760516"/>
                  <a:gd name="connsiteX91" fmla="*/ 1131638 w 3902384"/>
                  <a:gd name="connsiteY91" fmla="*/ 2750741 h 4760516"/>
                  <a:gd name="connsiteX92" fmla="*/ 928438 w 3902384"/>
                  <a:gd name="connsiteY92" fmla="*/ 2776141 h 4760516"/>
                  <a:gd name="connsiteX93" fmla="*/ 744288 w 3902384"/>
                  <a:gd name="connsiteY93" fmla="*/ 2731691 h 4760516"/>
                  <a:gd name="connsiteX94" fmla="*/ 661738 w 3902384"/>
                  <a:gd name="connsiteY94" fmla="*/ 2591991 h 4760516"/>
                  <a:gd name="connsiteX95" fmla="*/ 623638 w 3902384"/>
                  <a:gd name="connsiteY95" fmla="*/ 2344341 h 4760516"/>
                  <a:gd name="connsiteX96" fmla="*/ 636338 w 3902384"/>
                  <a:gd name="connsiteY96" fmla="*/ 2020491 h 4760516"/>
                  <a:gd name="connsiteX97" fmla="*/ 737938 w 3902384"/>
                  <a:gd name="connsiteY97" fmla="*/ 1328341 h 4760516"/>
                  <a:gd name="connsiteX98" fmla="*/ 972888 w 3902384"/>
                  <a:gd name="connsiteY98" fmla="*/ 623491 h 4760516"/>
                  <a:gd name="connsiteX99" fmla="*/ 1169738 w 3902384"/>
                  <a:gd name="connsiteY99" fmla="*/ 299641 h 4760516"/>
                  <a:gd name="connsiteX100" fmla="*/ 1360238 w 3902384"/>
                  <a:gd name="connsiteY100" fmla="*/ 140891 h 4760516"/>
                  <a:gd name="connsiteX101" fmla="*/ 1531688 w 3902384"/>
                  <a:gd name="connsiteY101" fmla="*/ 115491 h 4760516"/>
                  <a:gd name="connsiteX102" fmla="*/ 1677738 w 3902384"/>
                  <a:gd name="connsiteY102" fmla="*/ 13891 h 4760516"/>
                  <a:gd name="connsiteX103" fmla="*/ 1814660 w 3902384"/>
                  <a:gd name="connsiteY103" fmla="*/ 0 h 4760516"/>
                  <a:gd name="connsiteX0" fmla="*/ 3062288 w 3903424"/>
                  <a:gd name="connsiteY0" fmla="*/ 1005769 h 4760516"/>
                  <a:gd name="connsiteX1" fmla="*/ 3082677 w 3903424"/>
                  <a:gd name="connsiteY1" fmla="*/ 1026716 h 4760516"/>
                  <a:gd name="connsiteX2" fmla="*/ 3168402 w 3903424"/>
                  <a:gd name="connsiteY2" fmla="*/ 1369616 h 4760516"/>
                  <a:gd name="connsiteX3" fmla="*/ 3254127 w 3903424"/>
                  <a:gd name="connsiteY3" fmla="*/ 1822054 h 4760516"/>
                  <a:gd name="connsiteX4" fmla="*/ 3282702 w 3903424"/>
                  <a:gd name="connsiteY4" fmla="*/ 2255441 h 4760516"/>
                  <a:gd name="connsiteX5" fmla="*/ 3273177 w 3903424"/>
                  <a:gd name="connsiteY5" fmla="*/ 2526904 h 4760516"/>
                  <a:gd name="connsiteX6" fmla="*/ 3192214 w 3903424"/>
                  <a:gd name="connsiteY6" fmla="*/ 2722166 h 4760516"/>
                  <a:gd name="connsiteX7" fmla="*/ 3044577 w 3903424"/>
                  <a:gd name="connsiteY7" fmla="*/ 2750741 h 4760516"/>
                  <a:gd name="connsiteX8" fmla="*/ 2811214 w 3903424"/>
                  <a:gd name="connsiteY8" fmla="*/ 2731691 h 4760516"/>
                  <a:gd name="connsiteX9" fmla="*/ 2635002 w 3903424"/>
                  <a:gd name="connsiteY9" fmla="*/ 2669779 h 4760516"/>
                  <a:gd name="connsiteX10" fmla="*/ 2658814 w 3903424"/>
                  <a:gd name="connsiteY10" fmla="*/ 2603104 h 4760516"/>
                  <a:gd name="connsiteX11" fmla="*/ 2754064 w 3903424"/>
                  <a:gd name="connsiteY11" fmla="*/ 2474516 h 4760516"/>
                  <a:gd name="connsiteX12" fmla="*/ 2844552 w 3903424"/>
                  <a:gd name="connsiteY12" fmla="*/ 2255441 h 4760516"/>
                  <a:gd name="connsiteX13" fmla="*/ 2863602 w 3903424"/>
                  <a:gd name="connsiteY13" fmla="*/ 2160191 h 4760516"/>
                  <a:gd name="connsiteX14" fmla="*/ 2920752 w 3903424"/>
                  <a:gd name="connsiteY14" fmla="*/ 2098279 h 4760516"/>
                  <a:gd name="connsiteX15" fmla="*/ 3001714 w 3903424"/>
                  <a:gd name="connsiteY15" fmla="*/ 1855391 h 4760516"/>
                  <a:gd name="connsiteX16" fmla="*/ 3058864 w 3903424"/>
                  <a:gd name="connsiteY16" fmla="*/ 1598216 h 4760516"/>
                  <a:gd name="connsiteX17" fmla="*/ 3063627 w 3903424"/>
                  <a:gd name="connsiteY17" fmla="*/ 1483916 h 4760516"/>
                  <a:gd name="connsiteX18" fmla="*/ 3011239 w 3903424"/>
                  <a:gd name="connsiteY18" fmla="*/ 1379141 h 4760516"/>
                  <a:gd name="connsiteX19" fmla="*/ 2958852 w 3903424"/>
                  <a:gd name="connsiteY19" fmla="*/ 1331516 h 4760516"/>
                  <a:gd name="connsiteX20" fmla="*/ 2949327 w 3903424"/>
                  <a:gd name="connsiteY20" fmla="*/ 1236266 h 4760516"/>
                  <a:gd name="connsiteX21" fmla="*/ 2958852 w 3903424"/>
                  <a:gd name="connsiteY21" fmla="*/ 1121966 h 4760516"/>
                  <a:gd name="connsiteX22" fmla="*/ 3006477 w 3903424"/>
                  <a:gd name="connsiteY22" fmla="*/ 1050529 h 4760516"/>
                  <a:gd name="connsiteX23" fmla="*/ 3062288 w 3903424"/>
                  <a:gd name="connsiteY23" fmla="*/ 1005769 h 4760516"/>
                  <a:gd name="connsiteX24" fmla="*/ 1814660 w 3903424"/>
                  <a:gd name="connsiteY24" fmla="*/ 0 h 4760516"/>
                  <a:gd name="connsiteX25" fmla="*/ 1957138 w 3903424"/>
                  <a:gd name="connsiteY25" fmla="*/ 1191 h 4760516"/>
                  <a:gd name="connsiteX26" fmla="*/ 2153988 w 3903424"/>
                  <a:gd name="connsiteY26" fmla="*/ 20241 h 4760516"/>
                  <a:gd name="connsiteX27" fmla="*/ 2382588 w 3903424"/>
                  <a:gd name="connsiteY27" fmla="*/ 121841 h 4760516"/>
                  <a:gd name="connsiteX28" fmla="*/ 2642938 w 3903424"/>
                  <a:gd name="connsiteY28" fmla="*/ 331391 h 4760516"/>
                  <a:gd name="connsiteX29" fmla="*/ 2947738 w 3903424"/>
                  <a:gd name="connsiteY29" fmla="*/ 693341 h 4760516"/>
                  <a:gd name="connsiteX30" fmla="*/ 3062038 w 3903424"/>
                  <a:gd name="connsiteY30" fmla="*/ 883841 h 4760516"/>
                  <a:gd name="connsiteX31" fmla="*/ 3011238 w 3903424"/>
                  <a:gd name="connsiteY31" fmla="*/ 1004491 h 4760516"/>
                  <a:gd name="connsiteX32" fmla="*/ 2903288 w 3903424"/>
                  <a:gd name="connsiteY32" fmla="*/ 1061641 h 4760516"/>
                  <a:gd name="connsiteX33" fmla="*/ 2827088 w 3903424"/>
                  <a:gd name="connsiteY33" fmla="*/ 998141 h 4760516"/>
                  <a:gd name="connsiteX34" fmla="*/ 2655638 w 3903424"/>
                  <a:gd name="connsiteY34" fmla="*/ 820341 h 4760516"/>
                  <a:gd name="connsiteX35" fmla="*/ 2350838 w 3903424"/>
                  <a:gd name="connsiteY35" fmla="*/ 674291 h 4760516"/>
                  <a:gd name="connsiteX36" fmla="*/ 2020638 w 3903424"/>
                  <a:gd name="connsiteY36" fmla="*/ 674291 h 4760516"/>
                  <a:gd name="connsiteX37" fmla="*/ 2344488 w 3903424"/>
                  <a:gd name="connsiteY37" fmla="*/ 769541 h 4760516"/>
                  <a:gd name="connsiteX38" fmla="*/ 2554038 w 3903424"/>
                  <a:gd name="connsiteY38" fmla="*/ 909241 h 4760516"/>
                  <a:gd name="connsiteX39" fmla="*/ 2630379 w 3903424"/>
                  <a:gd name="connsiteY39" fmla="*/ 973620 h 4760516"/>
                  <a:gd name="connsiteX40" fmla="*/ 2901551 w 3903424"/>
                  <a:gd name="connsiteY40" fmla="*/ 1067700 h 4760516"/>
                  <a:gd name="connsiteX41" fmla="*/ 2830884 w 3903424"/>
                  <a:gd name="connsiteY41" fmla="*/ 1212445 h 4760516"/>
                  <a:gd name="connsiteX42" fmla="*/ 2830884 w 3903424"/>
                  <a:gd name="connsiteY42" fmla="*/ 1445256 h 4760516"/>
                  <a:gd name="connsiteX43" fmla="*/ 2939795 w 3903424"/>
                  <a:gd name="connsiteY43" fmla="*/ 1531580 h 4760516"/>
                  <a:gd name="connsiteX44" fmla="*/ 2823781 w 3903424"/>
                  <a:gd name="connsiteY44" fmla="*/ 2041674 h 4760516"/>
                  <a:gd name="connsiteX45" fmla="*/ 2757487 w 3903424"/>
                  <a:gd name="connsiteY45" fmla="*/ 2086142 h 4760516"/>
                  <a:gd name="connsiteX46" fmla="*/ 2480886 w 3903424"/>
                  <a:gd name="connsiteY46" fmla="*/ 2698176 h 4760516"/>
                  <a:gd name="connsiteX47" fmla="*/ 2530227 w 3903424"/>
                  <a:gd name="connsiteY47" fmla="*/ 2817416 h 4760516"/>
                  <a:gd name="connsiteX48" fmla="*/ 2592139 w 3903424"/>
                  <a:gd name="connsiteY48" fmla="*/ 2874566 h 4760516"/>
                  <a:gd name="connsiteX49" fmla="*/ 2658814 w 3903424"/>
                  <a:gd name="connsiteY49" fmla="*/ 2884091 h 4760516"/>
                  <a:gd name="connsiteX50" fmla="*/ 2682627 w 3903424"/>
                  <a:gd name="connsiteY50" fmla="*/ 2912666 h 4760516"/>
                  <a:gd name="connsiteX51" fmla="*/ 2749302 w 3903424"/>
                  <a:gd name="connsiteY51" fmla="*/ 3079354 h 4760516"/>
                  <a:gd name="connsiteX52" fmla="*/ 2844552 w 3903424"/>
                  <a:gd name="connsiteY52" fmla="*/ 3174604 h 4760516"/>
                  <a:gd name="connsiteX53" fmla="*/ 2939802 w 3903424"/>
                  <a:gd name="connsiteY53" fmla="*/ 3207941 h 4760516"/>
                  <a:gd name="connsiteX54" fmla="*/ 3282702 w 3903424"/>
                  <a:gd name="connsiteY54" fmla="*/ 3317479 h 4760516"/>
                  <a:gd name="connsiteX55" fmla="*/ 3658939 w 3903424"/>
                  <a:gd name="connsiteY55" fmla="*/ 3493691 h 4760516"/>
                  <a:gd name="connsiteX56" fmla="*/ 3868489 w 3903424"/>
                  <a:gd name="connsiteY56" fmla="*/ 3641329 h 4760516"/>
                  <a:gd name="connsiteX57" fmla="*/ 3901827 w 3903424"/>
                  <a:gd name="connsiteY57" fmla="*/ 3769916 h 4760516"/>
                  <a:gd name="connsiteX58" fmla="*/ 3878014 w 3903424"/>
                  <a:gd name="connsiteY58" fmla="*/ 4027091 h 4760516"/>
                  <a:gd name="connsiteX59" fmla="*/ 3792289 w 3903424"/>
                  <a:gd name="connsiteY59" fmla="*/ 4236641 h 4760516"/>
                  <a:gd name="connsiteX60" fmla="*/ 3620839 w 3903424"/>
                  <a:gd name="connsiteY60" fmla="*/ 4598591 h 4760516"/>
                  <a:gd name="connsiteX61" fmla="*/ 3473202 w 3903424"/>
                  <a:gd name="connsiteY61" fmla="*/ 4760516 h 4760516"/>
                  <a:gd name="connsiteX62" fmla="*/ 339477 w 3903424"/>
                  <a:gd name="connsiteY62" fmla="*/ 4760516 h 4760516"/>
                  <a:gd name="connsiteX63" fmla="*/ 163264 w 3903424"/>
                  <a:gd name="connsiteY63" fmla="*/ 4436666 h 4760516"/>
                  <a:gd name="connsiteX64" fmla="*/ 58489 w 3903424"/>
                  <a:gd name="connsiteY64" fmla="*/ 4141391 h 4760516"/>
                  <a:gd name="connsiteX65" fmla="*/ 1339 w 3903424"/>
                  <a:gd name="connsiteY65" fmla="*/ 3855641 h 4760516"/>
                  <a:gd name="connsiteX66" fmla="*/ 25152 w 3903424"/>
                  <a:gd name="connsiteY66" fmla="*/ 3703241 h 4760516"/>
                  <a:gd name="connsiteX67" fmla="*/ 220414 w 3903424"/>
                  <a:gd name="connsiteY67" fmla="*/ 3584179 h 4760516"/>
                  <a:gd name="connsiteX68" fmla="*/ 534739 w 3903424"/>
                  <a:gd name="connsiteY68" fmla="*/ 3450829 h 4760516"/>
                  <a:gd name="connsiteX69" fmla="*/ 934789 w 3903424"/>
                  <a:gd name="connsiteY69" fmla="*/ 3293666 h 4760516"/>
                  <a:gd name="connsiteX70" fmla="*/ 1134814 w 3903424"/>
                  <a:gd name="connsiteY70" fmla="*/ 3217466 h 4760516"/>
                  <a:gd name="connsiteX71" fmla="*/ 1277689 w 3903424"/>
                  <a:gd name="connsiteY71" fmla="*/ 2950766 h 4760516"/>
                  <a:gd name="connsiteX72" fmla="*/ 1372939 w 3903424"/>
                  <a:gd name="connsiteY72" fmla="*/ 2888854 h 4760516"/>
                  <a:gd name="connsiteX73" fmla="*/ 1444377 w 3903424"/>
                  <a:gd name="connsiteY73" fmla="*/ 2750741 h 4760516"/>
                  <a:gd name="connsiteX74" fmla="*/ 1430089 w 3903424"/>
                  <a:gd name="connsiteY74" fmla="*/ 2665016 h 4760516"/>
                  <a:gd name="connsiteX75" fmla="*/ 1433678 w 3903424"/>
                  <a:gd name="connsiteY75" fmla="*/ 2655556 h 4760516"/>
                  <a:gd name="connsiteX76" fmla="*/ 1412671 w 3903424"/>
                  <a:gd name="connsiteY76" fmla="*/ 2630242 h 4760516"/>
                  <a:gd name="connsiteX77" fmla="*/ 1171172 w 3903424"/>
                  <a:gd name="connsiteY77" fmla="*/ 2059985 h 4760516"/>
                  <a:gd name="connsiteX78" fmla="*/ 977027 w 3903424"/>
                  <a:gd name="connsiteY78" fmla="*/ 1612672 h 4760516"/>
                  <a:gd name="connsiteX79" fmla="*/ 1052790 w 3903424"/>
                  <a:gd name="connsiteY79" fmla="*/ 1487109 h 4760516"/>
                  <a:gd name="connsiteX80" fmla="*/ 1018186 w 3903424"/>
                  <a:gd name="connsiteY80" fmla="*/ 1277790 h 4760516"/>
                  <a:gd name="connsiteX81" fmla="*/ 934788 w 3903424"/>
                  <a:gd name="connsiteY81" fmla="*/ 1341041 h 4760516"/>
                  <a:gd name="connsiteX82" fmla="*/ 883988 w 3903424"/>
                  <a:gd name="connsiteY82" fmla="*/ 1404541 h 4760516"/>
                  <a:gd name="connsiteX83" fmla="*/ 839538 w 3903424"/>
                  <a:gd name="connsiteY83" fmla="*/ 1525191 h 4760516"/>
                  <a:gd name="connsiteX84" fmla="*/ 858588 w 3903424"/>
                  <a:gd name="connsiteY84" fmla="*/ 1645841 h 4760516"/>
                  <a:gd name="connsiteX85" fmla="*/ 890338 w 3903424"/>
                  <a:gd name="connsiteY85" fmla="*/ 1829991 h 4760516"/>
                  <a:gd name="connsiteX86" fmla="*/ 966538 w 3903424"/>
                  <a:gd name="connsiteY86" fmla="*/ 2128441 h 4760516"/>
                  <a:gd name="connsiteX87" fmla="*/ 1049088 w 3903424"/>
                  <a:gd name="connsiteY87" fmla="*/ 2198291 h 4760516"/>
                  <a:gd name="connsiteX88" fmla="*/ 1099888 w 3903424"/>
                  <a:gd name="connsiteY88" fmla="*/ 2331641 h 4760516"/>
                  <a:gd name="connsiteX89" fmla="*/ 1220538 w 3903424"/>
                  <a:gd name="connsiteY89" fmla="*/ 2566591 h 4760516"/>
                  <a:gd name="connsiteX90" fmla="*/ 1271338 w 3903424"/>
                  <a:gd name="connsiteY90" fmla="*/ 2712641 h 4760516"/>
                  <a:gd name="connsiteX91" fmla="*/ 1131638 w 3903424"/>
                  <a:gd name="connsiteY91" fmla="*/ 2750741 h 4760516"/>
                  <a:gd name="connsiteX92" fmla="*/ 928438 w 3903424"/>
                  <a:gd name="connsiteY92" fmla="*/ 2776141 h 4760516"/>
                  <a:gd name="connsiteX93" fmla="*/ 744288 w 3903424"/>
                  <a:gd name="connsiteY93" fmla="*/ 2731691 h 4760516"/>
                  <a:gd name="connsiteX94" fmla="*/ 661738 w 3903424"/>
                  <a:gd name="connsiteY94" fmla="*/ 2591991 h 4760516"/>
                  <a:gd name="connsiteX95" fmla="*/ 623638 w 3903424"/>
                  <a:gd name="connsiteY95" fmla="*/ 2344341 h 4760516"/>
                  <a:gd name="connsiteX96" fmla="*/ 636338 w 3903424"/>
                  <a:gd name="connsiteY96" fmla="*/ 2020491 h 4760516"/>
                  <a:gd name="connsiteX97" fmla="*/ 737938 w 3903424"/>
                  <a:gd name="connsiteY97" fmla="*/ 1328341 h 4760516"/>
                  <a:gd name="connsiteX98" fmla="*/ 972888 w 3903424"/>
                  <a:gd name="connsiteY98" fmla="*/ 623491 h 4760516"/>
                  <a:gd name="connsiteX99" fmla="*/ 1169738 w 3903424"/>
                  <a:gd name="connsiteY99" fmla="*/ 299641 h 4760516"/>
                  <a:gd name="connsiteX100" fmla="*/ 1360238 w 3903424"/>
                  <a:gd name="connsiteY100" fmla="*/ 140891 h 4760516"/>
                  <a:gd name="connsiteX101" fmla="*/ 1531688 w 3903424"/>
                  <a:gd name="connsiteY101" fmla="*/ 115491 h 4760516"/>
                  <a:gd name="connsiteX102" fmla="*/ 1677738 w 3903424"/>
                  <a:gd name="connsiteY102" fmla="*/ 13891 h 4760516"/>
                  <a:gd name="connsiteX103" fmla="*/ 1814660 w 3903424"/>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810829"/>
                  <a:gd name="connsiteX1" fmla="*/ 3082677 w 3904400"/>
                  <a:gd name="connsiteY1" fmla="*/ 1026716 h 4810829"/>
                  <a:gd name="connsiteX2" fmla="*/ 3168402 w 3904400"/>
                  <a:gd name="connsiteY2" fmla="*/ 1369616 h 4810829"/>
                  <a:gd name="connsiteX3" fmla="*/ 3254127 w 3904400"/>
                  <a:gd name="connsiteY3" fmla="*/ 1822054 h 4810829"/>
                  <a:gd name="connsiteX4" fmla="*/ 3282702 w 3904400"/>
                  <a:gd name="connsiteY4" fmla="*/ 2255441 h 4810829"/>
                  <a:gd name="connsiteX5" fmla="*/ 3273177 w 3904400"/>
                  <a:gd name="connsiteY5" fmla="*/ 2526904 h 4810829"/>
                  <a:gd name="connsiteX6" fmla="*/ 3192214 w 3904400"/>
                  <a:gd name="connsiteY6" fmla="*/ 2722166 h 4810829"/>
                  <a:gd name="connsiteX7" fmla="*/ 3044577 w 3904400"/>
                  <a:gd name="connsiteY7" fmla="*/ 2750741 h 4810829"/>
                  <a:gd name="connsiteX8" fmla="*/ 2811214 w 3904400"/>
                  <a:gd name="connsiteY8" fmla="*/ 2731691 h 4810829"/>
                  <a:gd name="connsiteX9" fmla="*/ 2635002 w 3904400"/>
                  <a:gd name="connsiteY9" fmla="*/ 2669779 h 4810829"/>
                  <a:gd name="connsiteX10" fmla="*/ 2658814 w 3904400"/>
                  <a:gd name="connsiteY10" fmla="*/ 2603104 h 4810829"/>
                  <a:gd name="connsiteX11" fmla="*/ 2754064 w 3904400"/>
                  <a:gd name="connsiteY11" fmla="*/ 2474516 h 4810829"/>
                  <a:gd name="connsiteX12" fmla="*/ 2844552 w 3904400"/>
                  <a:gd name="connsiteY12" fmla="*/ 2255441 h 4810829"/>
                  <a:gd name="connsiteX13" fmla="*/ 2863602 w 3904400"/>
                  <a:gd name="connsiteY13" fmla="*/ 2160191 h 4810829"/>
                  <a:gd name="connsiteX14" fmla="*/ 2920752 w 3904400"/>
                  <a:gd name="connsiteY14" fmla="*/ 2098279 h 4810829"/>
                  <a:gd name="connsiteX15" fmla="*/ 3001714 w 3904400"/>
                  <a:gd name="connsiteY15" fmla="*/ 1855391 h 4810829"/>
                  <a:gd name="connsiteX16" fmla="*/ 3058864 w 3904400"/>
                  <a:gd name="connsiteY16" fmla="*/ 1598216 h 4810829"/>
                  <a:gd name="connsiteX17" fmla="*/ 3063627 w 3904400"/>
                  <a:gd name="connsiteY17" fmla="*/ 1483916 h 4810829"/>
                  <a:gd name="connsiteX18" fmla="*/ 3011239 w 3904400"/>
                  <a:gd name="connsiteY18" fmla="*/ 1379141 h 4810829"/>
                  <a:gd name="connsiteX19" fmla="*/ 2958852 w 3904400"/>
                  <a:gd name="connsiteY19" fmla="*/ 1331516 h 4810829"/>
                  <a:gd name="connsiteX20" fmla="*/ 2949327 w 3904400"/>
                  <a:gd name="connsiteY20" fmla="*/ 1236266 h 4810829"/>
                  <a:gd name="connsiteX21" fmla="*/ 2958852 w 3904400"/>
                  <a:gd name="connsiteY21" fmla="*/ 1121966 h 4810829"/>
                  <a:gd name="connsiteX22" fmla="*/ 3006477 w 3904400"/>
                  <a:gd name="connsiteY22" fmla="*/ 1050529 h 4810829"/>
                  <a:gd name="connsiteX23" fmla="*/ 3062288 w 3904400"/>
                  <a:gd name="connsiteY23" fmla="*/ 1005769 h 4810829"/>
                  <a:gd name="connsiteX24" fmla="*/ 1814660 w 3904400"/>
                  <a:gd name="connsiteY24" fmla="*/ 0 h 4810829"/>
                  <a:gd name="connsiteX25" fmla="*/ 1957138 w 3904400"/>
                  <a:gd name="connsiteY25" fmla="*/ 1191 h 4810829"/>
                  <a:gd name="connsiteX26" fmla="*/ 2153988 w 3904400"/>
                  <a:gd name="connsiteY26" fmla="*/ 20241 h 4810829"/>
                  <a:gd name="connsiteX27" fmla="*/ 2382588 w 3904400"/>
                  <a:gd name="connsiteY27" fmla="*/ 121841 h 4810829"/>
                  <a:gd name="connsiteX28" fmla="*/ 2642938 w 3904400"/>
                  <a:gd name="connsiteY28" fmla="*/ 331391 h 4810829"/>
                  <a:gd name="connsiteX29" fmla="*/ 2947738 w 3904400"/>
                  <a:gd name="connsiteY29" fmla="*/ 693341 h 4810829"/>
                  <a:gd name="connsiteX30" fmla="*/ 3062038 w 3904400"/>
                  <a:gd name="connsiteY30" fmla="*/ 883841 h 4810829"/>
                  <a:gd name="connsiteX31" fmla="*/ 3011238 w 3904400"/>
                  <a:gd name="connsiteY31" fmla="*/ 1004491 h 4810829"/>
                  <a:gd name="connsiteX32" fmla="*/ 2903288 w 3904400"/>
                  <a:gd name="connsiteY32" fmla="*/ 1061641 h 4810829"/>
                  <a:gd name="connsiteX33" fmla="*/ 2827088 w 3904400"/>
                  <a:gd name="connsiteY33" fmla="*/ 998141 h 4810829"/>
                  <a:gd name="connsiteX34" fmla="*/ 2655638 w 3904400"/>
                  <a:gd name="connsiteY34" fmla="*/ 820341 h 4810829"/>
                  <a:gd name="connsiteX35" fmla="*/ 2350838 w 3904400"/>
                  <a:gd name="connsiteY35" fmla="*/ 674291 h 4810829"/>
                  <a:gd name="connsiteX36" fmla="*/ 2020638 w 3904400"/>
                  <a:gd name="connsiteY36" fmla="*/ 674291 h 4810829"/>
                  <a:gd name="connsiteX37" fmla="*/ 2344488 w 3904400"/>
                  <a:gd name="connsiteY37" fmla="*/ 769541 h 4810829"/>
                  <a:gd name="connsiteX38" fmla="*/ 2554038 w 3904400"/>
                  <a:gd name="connsiteY38" fmla="*/ 909241 h 4810829"/>
                  <a:gd name="connsiteX39" fmla="*/ 2630379 w 3904400"/>
                  <a:gd name="connsiteY39" fmla="*/ 973620 h 4810829"/>
                  <a:gd name="connsiteX40" fmla="*/ 2901551 w 3904400"/>
                  <a:gd name="connsiteY40" fmla="*/ 1067700 h 4810829"/>
                  <a:gd name="connsiteX41" fmla="*/ 2830884 w 3904400"/>
                  <a:gd name="connsiteY41" fmla="*/ 1212445 h 4810829"/>
                  <a:gd name="connsiteX42" fmla="*/ 2830884 w 3904400"/>
                  <a:gd name="connsiteY42" fmla="*/ 1445256 h 4810829"/>
                  <a:gd name="connsiteX43" fmla="*/ 2939795 w 3904400"/>
                  <a:gd name="connsiteY43" fmla="*/ 1531580 h 4810829"/>
                  <a:gd name="connsiteX44" fmla="*/ 2823781 w 3904400"/>
                  <a:gd name="connsiteY44" fmla="*/ 2041674 h 4810829"/>
                  <a:gd name="connsiteX45" fmla="*/ 2757487 w 3904400"/>
                  <a:gd name="connsiteY45" fmla="*/ 2086142 h 4810829"/>
                  <a:gd name="connsiteX46" fmla="*/ 2480886 w 3904400"/>
                  <a:gd name="connsiteY46" fmla="*/ 2698176 h 4810829"/>
                  <a:gd name="connsiteX47" fmla="*/ 2530227 w 3904400"/>
                  <a:gd name="connsiteY47" fmla="*/ 2817416 h 4810829"/>
                  <a:gd name="connsiteX48" fmla="*/ 2592139 w 3904400"/>
                  <a:gd name="connsiteY48" fmla="*/ 2874566 h 4810829"/>
                  <a:gd name="connsiteX49" fmla="*/ 2658814 w 3904400"/>
                  <a:gd name="connsiteY49" fmla="*/ 2884091 h 4810829"/>
                  <a:gd name="connsiteX50" fmla="*/ 2682627 w 3904400"/>
                  <a:gd name="connsiteY50" fmla="*/ 2912666 h 4810829"/>
                  <a:gd name="connsiteX51" fmla="*/ 2749302 w 3904400"/>
                  <a:gd name="connsiteY51" fmla="*/ 3079354 h 4810829"/>
                  <a:gd name="connsiteX52" fmla="*/ 2844552 w 3904400"/>
                  <a:gd name="connsiteY52" fmla="*/ 3174604 h 4810829"/>
                  <a:gd name="connsiteX53" fmla="*/ 2939802 w 3904400"/>
                  <a:gd name="connsiteY53" fmla="*/ 3207941 h 4810829"/>
                  <a:gd name="connsiteX54" fmla="*/ 3282702 w 3904400"/>
                  <a:gd name="connsiteY54" fmla="*/ 3317479 h 4810829"/>
                  <a:gd name="connsiteX55" fmla="*/ 3658939 w 3904400"/>
                  <a:gd name="connsiteY55" fmla="*/ 3493691 h 4810829"/>
                  <a:gd name="connsiteX56" fmla="*/ 3868489 w 3904400"/>
                  <a:gd name="connsiteY56" fmla="*/ 3641329 h 4810829"/>
                  <a:gd name="connsiteX57" fmla="*/ 3901827 w 3904400"/>
                  <a:gd name="connsiteY57" fmla="*/ 3769916 h 4810829"/>
                  <a:gd name="connsiteX58" fmla="*/ 3878014 w 3904400"/>
                  <a:gd name="connsiteY58" fmla="*/ 4027091 h 4810829"/>
                  <a:gd name="connsiteX59" fmla="*/ 3792289 w 3904400"/>
                  <a:gd name="connsiteY59" fmla="*/ 4236641 h 4810829"/>
                  <a:gd name="connsiteX60" fmla="*/ 3620839 w 3904400"/>
                  <a:gd name="connsiteY60" fmla="*/ 4598591 h 4810829"/>
                  <a:gd name="connsiteX61" fmla="*/ 3473202 w 3904400"/>
                  <a:gd name="connsiteY61" fmla="*/ 4760516 h 4810829"/>
                  <a:gd name="connsiteX62" fmla="*/ 339477 w 3904400"/>
                  <a:gd name="connsiteY62" fmla="*/ 4760516 h 4810829"/>
                  <a:gd name="connsiteX63" fmla="*/ 163264 w 3904400"/>
                  <a:gd name="connsiteY63" fmla="*/ 4436666 h 4810829"/>
                  <a:gd name="connsiteX64" fmla="*/ 58489 w 3904400"/>
                  <a:gd name="connsiteY64" fmla="*/ 4141391 h 4810829"/>
                  <a:gd name="connsiteX65" fmla="*/ 1339 w 3904400"/>
                  <a:gd name="connsiteY65" fmla="*/ 3855641 h 4810829"/>
                  <a:gd name="connsiteX66" fmla="*/ 25152 w 3904400"/>
                  <a:gd name="connsiteY66" fmla="*/ 3703241 h 4810829"/>
                  <a:gd name="connsiteX67" fmla="*/ 220414 w 3904400"/>
                  <a:gd name="connsiteY67" fmla="*/ 3584179 h 4810829"/>
                  <a:gd name="connsiteX68" fmla="*/ 534739 w 3904400"/>
                  <a:gd name="connsiteY68" fmla="*/ 3450829 h 4810829"/>
                  <a:gd name="connsiteX69" fmla="*/ 934789 w 3904400"/>
                  <a:gd name="connsiteY69" fmla="*/ 3293666 h 4810829"/>
                  <a:gd name="connsiteX70" fmla="*/ 1134814 w 3904400"/>
                  <a:gd name="connsiteY70" fmla="*/ 3217466 h 4810829"/>
                  <a:gd name="connsiteX71" fmla="*/ 1277689 w 3904400"/>
                  <a:gd name="connsiteY71" fmla="*/ 2950766 h 4810829"/>
                  <a:gd name="connsiteX72" fmla="*/ 1372939 w 3904400"/>
                  <a:gd name="connsiteY72" fmla="*/ 2888854 h 4810829"/>
                  <a:gd name="connsiteX73" fmla="*/ 1444377 w 3904400"/>
                  <a:gd name="connsiteY73" fmla="*/ 2750741 h 4810829"/>
                  <a:gd name="connsiteX74" fmla="*/ 1430089 w 3904400"/>
                  <a:gd name="connsiteY74" fmla="*/ 2665016 h 4810829"/>
                  <a:gd name="connsiteX75" fmla="*/ 1433678 w 3904400"/>
                  <a:gd name="connsiteY75" fmla="*/ 2655556 h 4810829"/>
                  <a:gd name="connsiteX76" fmla="*/ 1412671 w 3904400"/>
                  <a:gd name="connsiteY76" fmla="*/ 2630242 h 4810829"/>
                  <a:gd name="connsiteX77" fmla="*/ 1171172 w 3904400"/>
                  <a:gd name="connsiteY77" fmla="*/ 2059985 h 4810829"/>
                  <a:gd name="connsiteX78" fmla="*/ 977027 w 3904400"/>
                  <a:gd name="connsiteY78" fmla="*/ 1612672 h 4810829"/>
                  <a:gd name="connsiteX79" fmla="*/ 1052790 w 3904400"/>
                  <a:gd name="connsiteY79" fmla="*/ 1487109 h 4810829"/>
                  <a:gd name="connsiteX80" fmla="*/ 1018186 w 3904400"/>
                  <a:gd name="connsiteY80" fmla="*/ 1277790 h 4810829"/>
                  <a:gd name="connsiteX81" fmla="*/ 934788 w 3904400"/>
                  <a:gd name="connsiteY81" fmla="*/ 1341041 h 4810829"/>
                  <a:gd name="connsiteX82" fmla="*/ 883988 w 3904400"/>
                  <a:gd name="connsiteY82" fmla="*/ 1404541 h 4810829"/>
                  <a:gd name="connsiteX83" fmla="*/ 839538 w 3904400"/>
                  <a:gd name="connsiteY83" fmla="*/ 1525191 h 4810829"/>
                  <a:gd name="connsiteX84" fmla="*/ 858588 w 3904400"/>
                  <a:gd name="connsiteY84" fmla="*/ 1645841 h 4810829"/>
                  <a:gd name="connsiteX85" fmla="*/ 890338 w 3904400"/>
                  <a:gd name="connsiteY85" fmla="*/ 1829991 h 4810829"/>
                  <a:gd name="connsiteX86" fmla="*/ 966538 w 3904400"/>
                  <a:gd name="connsiteY86" fmla="*/ 2128441 h 4810829"/>
                  <a:gd name="connsiteX87" fmla="*/ 1049088 w 3904400"/>
                  <a:gd name="connsiteY87" fmla="*/ 2198291 h 4810829"/>
                  <a:gd name="connsiteX88" fmla="*/ 1099888 w 3904400"/>
                  <a:gd name="connsiteY88" fmla="*/ 2331641 h 4810829"/>
                  <a:gd name="connsiteX89" fmla="*/ 1220538 w 3904400"/>
                  <a:gd name="connsiteY89" fmla="*/ 2566591 h 4810829"/>
                  <a:gd name="connsiteX90" fmla="*/ 1271338 w 3904400"/>
                  <a:gd name="connsiteY90" fmla="*/ 2712641 h 4810829"/>
                  <a:gd name="connsiteX91" fmla="*/ 1131638 w 3904400"/>
                  <a:gd name="connsiteY91" fmla="*/ 2750741 h 4810829"/>
                  <a:gd name="connsiteX92" fmla="*/ 928438 w 3904400"/>
                  <a:gd name="connsiteY92" fmla="*/ 2776141 h 4810829"/>
                  <a:gd name="connsiteX93" fmla="*/ 744288 w 3904400"/>
                  <a:gd name="connsiteY93" fmla="*/ 2731691 h 4810829"/>
                  <a:gd name="connsiteX94" fmla="*/ 661738 w 3904400"/>
                  <a:gd name="connsiteY94" fmla="*/ 2591991 h 4810829"/>
                  <a:gd name="connsiteX95" fmla="*/ 623638 w 3904400"/>
                  <a:gd name="connsiteY95" fmla="*/ 2344341 h 4810829"/>
                  <a:gd name="connsiteX96" fmla="*/ 636338 w 3904400"/>
                  <a:gd name="connsiteY96" fmla="*/ 2020491 h 4810829"/>
                  <a:gd name="connsiteX97" fmla="*/ 737938 w 3904400"/>
                  <a:gd name="connsiteY97" fmla="*/ 1328341 h 4810829"/>
                  <a:gd name="connsiteX98" fmla="*/ 972888 w 3904400"/>
                  <a:gd name="connsiteY98" fmla="*/ 623491 h 4810829"/>
                  <a:gd name="connsiteX99" fmla="*/ 1169738 w 3904400"/>
                  <a:gd name="connsiteY99" fmla="*/ 299641 h 4810829"/>
                  <a:gd name="connsiteX100" fmla="*/ 1360238 w 3904400"/>
                  <a:gd name="connsiteY100" fmla="*/ 140891 h 4810829"/>
                  <a:gd name="connsiteX101" fmla="*/ 1531688 w 3904400"/>
                  <a:gd name="connsiteY101" fmla="*/ 115491 h 4810829"/>
                  <a:gd name="connsiteX102" fmla="*/ 1677738 w 3904400"/>
                  <a:gd name="connsiteY102" fmla="*/ 13891 h 4810829"/>
                  <a:gd name="connsiteX103" fmla="*/ 1814660 w 3904400"/>
                  <a:gd name="connsiteY103" fmla="*/ 0 h 4810829"/>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630379 w 3904400"/>
                  <a:gd name="connsiteY39" fmla="*/ 973620 h 4848994"/>
                  <a:gd name="connsiteX40" fmla="*/ 2901551 w 3904400"/>
                  <a:gd name="connsiteY40" fmla="*/ 1067700 h 4848994"/>
                  <a:gd name="connsiteX41" fmla="*/ 2830884 w 3904400"/>
                  <a:gd name="connsiteY41" fmla="*/ 1212445 h 4848994"/>
                  <a:gd name="connsiteX42" fmla="*/ 2830884 w 3904400"/>
                  <a:gd name="connsiteY42" fmla="*/ 1445256 h 4848994"/>
                  <a:gd name="connsiteX43" fmla="*/ 2939795 w 3904400"/>
                  <a:gd name="connsiteY43" fmla="*/ 1531580 h 4848994"/>
                  <a:gd name="connsiteX44" fmla="*/ 2823781 w 3904400"/>
                  <a:gd name="connsiteY44" fmla="*/ 2041674 h 4848994"/>
                  <a:gd name="connsiteX45" fmla="*/ 2757487 w 3904400"/>
                  <a:gd name="connsiteY45" fmla="*/ 2086142 h 4848994"/>
                  <a:gd name="connsiteX46" fmla="*/ 2480886 w 3904400"/>
                  <a:gd name="connsiteY46" fmla="*/ 2698176 h 4848994"/>
                  <a:gd name="connsiteX47" fmla="*/ 2530227 w 3904400"/>
                  <a:gd name="connsiteY47" fmla="*/ 2817416 h 4848994"/>
                  <a:gd name="connsiteX48" fmla="*/ 2592139 w 3904400"/>
                  <a:gd name="connsiteY48" fmla="*/ 2874566 h 4848994"/>
                  <a:gd name="connsiteX49" fmla="*/ 2658814 w 3904400"/>
                  <a:gd name="connsiteY49" fmla="*/ 2884091 h 4848994"/>
                  <a:gd name="connsiteX50" fmla="*/ 2682627 w 3904400"/>
                  <a:gd name="connsiteY50" fmla="*/ 2912666 h 4848994"/>
                  <a:gd name="connsiteX51" fmla="*/ 2749302 w 3904400"/>
                  <a:gd name="connsiteY51" fmla="*/ 3079354 h 4848994"/>
                  <a:gd name="connsiteX52" fmla="*/ 2844552 w 3904400"/>
                  <a:gd name="connsiteY52" fmla="*/ 3174604 h 4848994"/>
                  <a:gd name="connsiteX53" fmla="*/ 2939802 w 3904400"/>
                  <a:gd name="connsiteY53" fmla="*/ 3207941 h 4848994"/>
                  <a:gd name="connsiteX54" fmla="*/ 3282702 w 3904400"/>
                  <a:gd name="connsiteY54" fmla="*/ 3317479 h 4848994"/>
                  <a:gd name="connsiteX55" fmla="*/ 3658939 w 3904400"/>
                  <a:gd name="connsiteY55" fmla="*/ 3493691 h 4848994"/>
                  <a:gd name="connsiteX56" fmla="*/ 3868489 w 3904400"/>
                  <a:gd name="connsiteY56" fmla="*/ 3641329 h 4848994"/>
                  <a:gd name="connsiteX57" fmla="*/ 3901827 w 3904400"/>
                  <a:gd name="connsiteY57" fmla="*/ 3769916 h 4848994"/>
                  <a:gd name="connsiteX58" fmla="*/ 3878014 w 3904400"/>
                  <a:gd name="connsiteY58" fmla="*/ 4027091 h 4848994"/>
                  <a:gd name="connsiteX59" fmla="*/ 3792289 w 3904400"/>
                  <a:gd name="connsiteY59" fmla="*/ 4236641 h 4848994"/>
                  <a:gd name="connsiteX60" fmla="*/ 3620839 w 3904400"/>
                  <a:gd name="connsiteY60" fmla="*/ 4598591 h 4848994"/>
                  <a:gd name="connsiteX61" fmla="*/ 3473202 w 3904400"/>
                  <a:gd name="connsiteY61" fmla="*/ 4760516 h 4848994"/>
                  <a:gd name="connsiteX62" fmla="*/ 339477 w 3904400"/>
                  <a:gd name="connsiteY62" fmla="*/ 4760516 h 4848994"/>
                  <a:gd name="connsiteX63" fmla="*/ 163264 w 3904400"/>
                  <a:gd name="connsiteY63" fmla="*/ 4436666 h 4848994"/>
                  <a:gd name="connsiteX64" fmla="*/ 58489 w 3904400"/>
                  <a:gd name="connsiteY64" fmla="*/ 4141391 h 4848994"/>
                  <a:gd name="connsiteX65" fmla="*/ 1339 w 3904400"/>
                  <a:gd name="connsiteY65" fmla="*/ 3855641 h 4848994"/>
                  <a:gd name="connsiteX66" fmla="*/ 25152 w 3904400"/>
                  <a:gd name="connsiteY66" fmla="*/ 3703241 h 4848994"/>
                  <a:gd name="connsiteX67" fmla="*/ 220414 w 3904400"/>
                  <a:gd name="connsiteY67" fmla="*/ 3584179 h 4848994"/>
                  <a:gd name="connsiteX68" fmla="*/ 534739 w 3904400"/>
                  <a:gd name="connsiteY68" fmla="*/ 3450829 h 4848994"/>
                  <a:gd name="connsiteX69" fmla="*/ 934789 w 3904400"/>
                  <a:gd name="connsiteY69" fmla="*/ 3293666 h 4848994"/>
                  <a:gd name="connsiteX70" fmla="*/ 1134814 w 3904400"/>
                  <a:gd name="connsiteY70" fmla="*/ 3217466 h 4848994"/>
                  <a:gd name="connsiteX71" fmla="*/ 1277689 w 3904400"/>
                  <a:gd name="connsiteY71" fmla="*/ 2950766 h 4848994"/>
                  <a:gd name="connsiteX72" fmla="*/ 1372939 w 3904400"/>
                  <a:gd name="connsiteY72" fmla="*/ 2888854 h 4848994"/>
                  <a:gd name="connsiteX73" fmla="*/ 1444377 w 3904400"/>
                  <a:gd name="connsiteY73" fmla="*/ 2750741 h 4848994"/>
                  <a:gd name="connsiteX74" fmla="*/ 1430089 w 3904400"/>
                  <a:gd name="connsiteY74" fmla="*/ 2665016 h 4848994"/>
                  <a:gd name="connsiteX75" fmla="*/ 1433678 w 3904400"/>
                  <a:gd name="connsiteY75" fmla="*/ 2655556 h 4848994"/>
                  <a:gd name="connsiteX76" fmla="*/ 1412671 w 3904400"/>
                  <a:gd name="connsiteY76" fmla="*/ 2630242 h 4848994"/>
                  <a:gd name="connsiteX77" fmla="*/ 1171172 w 3904400"/>
                  <a:gd name="connsiteY77" fmla="*/ 2059985 h 4848994"/>
                  <a:gd name="connsiteX78" fmla="*/ 977027 w 3904400"/>
                  <a:gd name="connsiteY78" fmla="*/ 1612672 h 4848994"/>
                  <a:gd name="connsiteX79" fmla="*/ 1052790 w 3904400"/>
                  <a:gd name="connsiteY79" fmla="*/ 1487109 h 4848994"/>
                  <a:gd name="connsiteX80" fmla="*/ 1018186 w 3904400"/>
                  <a:gd name="connsiteY80" fmla="*/ 1277790 h 4848994"/>
                  <a:gd name="connsiteX81" fmla="*/ 934788 w 3904400"/>
                  <a:gd name="connsiteY81" fmla="*/ 1341041 h 4848994"/>
                  <a:gd name="connsiteX82" fmla="*/ 883988 w 3904400"/>
                  <a:gd name="connsiteY82" fmla="*/ 1404541 h 4848994"/>
                  <a:gd name="connsiteX83" fmla="*/ 839538 w 3904400"/>
                  <a:gd name="connsiteY83" fmla="*/ 1525191 h 4848994"/>
                  <a:gd name="connsiteX84" fmla="*/ 858588 w 3904400"/>
                  <a:gd name="connsiteY84" fmla="*/ 1645841 h 4848994"/>
                  <a:gd name="connsiteX85" fmla="*/ 890338 w 3904400"/>
                  <a:gd name="connsiteY85" fmla="*/ 1829991 h 4848994"/>
                  <a:gd name="connsiteX86" fmla="*/ 966538 w 3904400"/>
                  <a:gd name="connsiteY86" fmla="*/ 2128441 h 4848994"/>
                  <a:gd name="connsiteX87" fmla="*/ 1049088 w 3904400"/>
                  <a:gd name="connsiteY87" fmla="*/ 2198291 h 4848994"/>
                  <a:gd name="connsiteX88" fmla="*/ 1099888 w 3904400"/>
                  <a:gd name="connsiteY88" fmla="*/ 2331641 h 4848994"/>
                  <a:gd name="connsiteX89" fmla="*/ 1220538 w 3904400"/>
                  <a:gd name="connsiteY89" fmla="*/ 2566591 h 4848994"/>
                  <a:gd name="connsiteX90" fmla="*/ 1271338 w 3904400"/>
                  <a:gd name="connsiteY90" fmla="*/ 2712641 h 4848994"/>
                  <a:gd name="connsiteX91" fmla="*/ 1131638 w 3904400"/>
                  <a:gd name="connsiteY91" fmla="*/ 2750741 h 4848994"/>
                  <a:gd name="connsiteX92" fmla="*/ 928438 w 3904400"/>
                  <a:gd name="connsiteY92" fmla="*/ 2776141 h 4848994"/>
                  <a:gd name="connsiteX93" fmla="*/ 744288 w 3904400"/>
                  <a:gd name="connsiteY93" fmla="*/ 2731691 h 4848994"/>
                  <a:gd name="connsiteX94" fmla="*/ 661738 w 3904400"/>
                  <a:gd name="connsiteY94" fmla="*/ 2591991 h 4848994"/>
                  <a:gd name="connsiteX95" fmla="*/ 623638 w 3904400"/>
                  <a:gd name="connsiteY95" fmla="*/ 2344341 h 4848994"/>
                  <a:gd name="connsiteX96" fmla="*/ 636338 w 3904400"/>
                  <a:gd name="connsiteY96" fmla="*/ 2020491 h 4848994"/>
                  <a:gd name="connsiteX97" fmla="*/ 737938 w 3904400"/>
                  <a:gd name="connsiteY97" fmla="*/ 1328341 h 4848994"/>
                  <a:gd name="connsiteX98" fmla="*/ 972888 w 3904400"/>
                  <a:gd name="connsiteY98" fmla="*/ 623491 h 4848994"/>
                  <a:gd name="connsiteX99" fmla="*/ 1169738 w 3904400"/>
                  <a:gd name="connsiteY99" fmla="*/ 299641 h 4848994"/>
                  <a:gd name="connsiteX100" fmla="*/ 1360238 w 3904400"/>
                  <a:gd name="connsiteY100" fmla="*/ 140891 h 4848994"/>
                  <a:gd name="connsiteX101" fmla="*/ 1531688 w 3904400"/>
                  <a:gd name="connsiteY101" fmla="*/ 115491 h 4848994"/>
                  <a:gd name="connsiteX102" fmla="*/ 1677738 w 3904400"/>
                  <a:gd name="connsiteY102" fmla="*/ 13891 h 4848994"/>
                  <a:gd name="connsiteX103" fmla="*/ 1814660 w 3904400"/>
                  <a:gd name="connsiteY103"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859098 w 3904400"/>
                  <a:gd name="connsiteY39" fmla="*/ 1103077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904400" h="4848994">
                    <a:moveTo>
                      <a:pt x="3062288" y="1005769"/>
                    </a:moveTo>
                    <a:lnTo>
                      <a:pt x="3082677" y="1026716"/>
                    </a:lnTo>
                    <a:cubicBezTo>
                      <a:pt x="3109664" y="1079897"/>
                      <a:pt x="3139827" y="1237060"/>
                      <a:pt x="3168402" y="1369616"/>
                    </a:cubicBezTo>
                    <a:cubicBezTo>
                      <a:pt x="3196977" y="1502172"/>
                      <a:pt x="3235077" y="1674417"/>
                      <a:pt x="3254127" y="1822054"/>
                    </a:cubicBezTo>
                    <a:cubicBezTo>
                      <a:pt x="3273177" y="1969691"/>
                      <a:pt x="3279527" y="2137966"/>
                      <a:pt x="3282702" y="2255441"/>
                    </a:cubicBezTo>
                    <a:cubicBezTo>
                      <a:pt x="3285877" y="2372916"/>
                      <a:pt x="3288258" y="2449116"/>
                      <a:pt x="3273177" y="2526904"/>
                    </a:cubicBezTo>
                    <a:cubicBezTo>
                      <a:pt x="3258096" y="2604692"/>
                      <a:pt x="3230314" y="2684860"/>
                      <a:pt x="3192214" y="2722166"/>
                    </a:cubicBezTo>
                    <a:cubicBezTo>
                      <a:pt x="3154114" y="2759472"/>
                      <a:pt x="3108077" y="2749154"/>
                      <a:pt x="3044577" y="2750741"/>
                    </a:cubicBezTo>
                    <a:cubicBezTo>
                      <a:pt x="2981077" y="2752328"/>
                      <a:pt x="2879476" y="2745185"/>
                      <a:pt x="2811214" y="2731691"/>
                    </a:cubicBezTo>
                    <a:cubicBezTo>
                      <a:pt x="2742952" y="2718197"/>
                      <a:pt x="2660402" y="2691210"/>
                      <a:pt x="2635002" y="2669779"/>
                    </a:cubicBezTo>
                    <a:cubicBezTo>
                      <a:pt x="2609602" y="2648348"/>
                      <a:pt x="2638970" y="2635648"/>
                      <a:pt x="2658814" y="2603104"/>
                    </a:cubicBezTo>
                    <a:cubicBezTo>
                      <a:pt x="2678658" y="2570560"/>
                      <a:pt x="2723108" y="2532460"/>
                      <a:pt x="2754064" y="2474516"/>
                    </a:cubicBezTo>
                    <a:cubicBezTo>
                      <a:pt x="2785020" y="2416572"/>
                      <a:pt x="2826296" y="2307828"/>
                      <a:pt x="2844552" y="2255441"/>
                    </a:cubicBezTo>
                    <a:cubicBezTo>
                      <a:pt x="2862808" y="2203054"/>
                      <a:pt x="2850902" y="2186385"/>
                      <a:pt x="2863602" y="2160191"/>
                    </a:cubicBezTo>
                    <a:cubicBezTo>
                      <a:pt x="2876302" y="2133997"/>
                      <a:pt x="2897733" y="2149079"/>
                      <a:pt x="2920752" y="2098279"/>
                    </a:cubicBezTo>
                    <a:cubicBezTo>
                      <a:pt x="2943771" y="2047479"/>
                      <a:pt x="2978695" y="1938735"/>
                      <a:pt x="3001714" y="1855391"/>
                    </a:cubicBezTo>
                    <a:cubicBezTo>
                      <a:pt x="3024733" y="1772047"/>
                      <a:pt x="3048545" y="1660129"/>
                      <a:pt x="3058864" y="1598216"/>
                    </a:cubicBezTo>
                    <a:cubicBezTo>
                      <a:pt x="3069183" y="1536303"/>
                      <a:pt x="3071564" y="1520428"/>
                      <a:pt x="3063627" y="1483916"/>
                    </a:cubicBezTo>
                    <a:cubicBezTo>
                      <a:pt x="3055690" y="1447404"/>
                      <a:pt x="3028702" y="1404541"/>
                      <a:pt x="3011239" y="1379141"/>
                    </a:cubicBezTo>
                    <a:cubicBezTo>
                      <a:pt x="2993776" y="1353741"/>
                      <a:pt x="2969171" y="1355329"/>
                      <a:pt x="2958852" y="1331516"/>
                    </a:cubicBezTo>
                    <a:cubicBezTo>
                      <a:pt x="2948533" y="1307704"/>
                      <a:pt x="2949327" y="1271191"/>
                      <a:pt x="2949327" y="1236266"/>
                    </a:cubicBezTo>
                    <a:cubicBezTo>
                      <a:pt x="2949327" y="1201341"/>
                      <a:pt x="2949327" y="1152922"/>
                      <a:pt x="2958852" y="1121966"/>
                    </a:cubicBezTo>
                    <a:cubicBezTo>
                      <a:pt x="2968377" y="1091010"/>
                      <a:pt x="2985839" y="1066404"/>
                      <a:pt x="3006477" y="1050529"/>
                    </a:cubicBezTo>
                    <a:cubicBezTo>
                      <a:pt x="3021955" y="1038623"/>
                      <a:pt x="3041898" y="1001267"/>
                      <a:pt x="3062288" y="1005769"/>
                    </a:cubicBezTo>
                    <a:close/>
                    <a:moveTo>
                      <a:pt x="1814660" y="0"/>
                    </a:moveTo>
                    <a:lnTo>
                      <a:pt x="1957138" y="1191"/>
                    </a:lnTo>
                    <a:cubicBezTo>
                      <a:pt x="2036513" y="2249"/>
                      <a:pt x="2083080" y="133"/>
                      <a:pt x="2153988" y="20241"/>
                    </a:cubicBezTo>
                    <a:cubicBezTo>
                      <a:pt x="2224896" y="40349"/>
                      <a:pt x="2301096" y="69983"/>
                      <a:pt x="2382588" y="121841"/>
                    </a:cubicBezTo>
                    <a:cubicBezTo>
                      <a:pt x="2464080" y="173699"/>
                      <a:pt x="2548747" y="236141"/>
                      <a:pt x="2642938" y="331391"/>
                    </a:cubicBezTo>
                    <a:cubicBezTo>
                      <a:pt x="2737129" y="426641"/>
                      <a:pt x="2877888" y="601266"/>
                      <a:pt x="2947738" y="693341"/>
                    </a:cubicBezTo>
                    <a:cubicBezTo>
                      <a:pt x="3017588" y="785416"/>
                      <a:pt x="3051455" y="831983"/>
                      <a:pt x="3062038" y="883841"/>
                    </a:cubicBezTo>
                    <a:cubicBezTo>
                      <a:pt x="3072621" y="935699"/>
                      <a:pt x="3037696" y="974858"/>
                      <a:pt x="3011238" y="1004491"/>
                    </a:cubicBezTo>
                    <a:cubicBezTo>
                      <a:pt x="2984780" y="1034124"/>
                      <a:pt x="2933980" y="1062699"/>
                      <a:pt x="2903288" y="1061641"/>
                    </a:cubicBezTo>
                    <a:cubicBezTo>
                      <a:pt x="2872596" y="1060583"/>
                      <a:pt x="2868363" y="1038358"/>
                      <a:pt x="2827088" y="998141"/>
                    </a:cubicBezTo>
                    <a:cubicBezTo>
                      <a:pt x="2785813" y="957924"/>
                      <a:pt x="2735013" y="874316"/>
                      <a:pt x="2655638" y="820341"/>
                    </a:cubicBezTo>
                    <a:cubicBezTo>
                      <a:pt x="2576263" y="766366"/>
                      <a:pt x="2456671" y="698633"/>
                      <a:pt x="2350838" y="674291"/>
                    </a:cubicBezTo>
                    <a:cubicBezTo>
                      <a:pt x="2245005" y="649949"/>
                      <a:pt x="2004008" y="658416"/>
                      <a:pt x="2020638" y="674291"/>
                    </a:cubicBezTo>
                    <a:cubicBezTo>
                      <a:pt x="2037268" y="690166"/>
                      <a:pt x="2322805" y="697365"/>
                      <a:pt x="2450619" y="769542"/>
                    </a:cubicBezTo>
                    <a:cubicBezTo>
                      <a:pt x="2578433" y="841719"/>
                      <a:pt x="2592091" y="839501"/>
                      <a:pt x="2660171" y="895090"/>
                    </a:cubicBezTo>
                    <a:cubicBezTo>
                      <a:pt x="2728251" y="950679"/>
                      <a:pt x="2812957" y="1052543"/>
                      <a:pt x="2859098" y="1103077"/>
                    </a:cubicBezTo>
                    <a:cubicBezTo>
                      <a:pt x="2840639" y="1173982"/>
                      <a:pt x="2842709" y="1151206"/>
                      <a:pt x="2830884" y="1212445"/>
                    </a:cubicBezTo>
                    <a:cubicBezTo>
                      <a:pt x="2856921" y="1275211"/>
                      <a:pt x="2830896" y="1445184"/>
                      <a:pt x="2830884" y="1445256"/>
                    </a:cubicBezTo>
                    <a:cubicBezTo>
                      <a:pt x="2830987" y="1445263"/>
                      <a:pt x="2939795" y="1453141"/>
                      <a:pt x="2939795" y="1531580"/>
                    </a:cubicBezTo>
                    <a:cubicBezTo>
                      <a:pt x="2939795" y="1610041"/>
                      <a:pt x="2823824" y="2041512"/>
                      <a:pt x="2823781" y="2041674"/>
                    </a:cubicBezTo>
                    <a:cubicBezTo>
                      <a:pt x="2823748" y="2041731"/>
                      <a:pt x="2792983" y="2093987"/>
                      <a:pt x="2757487" y="2086142"/>
                    </a:cubicBezTo>
                    <a:cubicBezTo>
                      <a:pt x="2719935" y="2402501"/>
                      <a:pt x="2591644" y="2600616"/>
                      <a:pt x="2480886" y="2698176"/>
                    </a:cubicBezTo>
                    <a:cubicBezTo>
                      <a:pt x="2497333" y="2737923"/>
                      <a:pt x="2509017" y="2787194"/>
                      <a:pt x="2530227" y="2817416"/>
                    </a:cubicBezTo>
                    <a:lnTo>
                      <a:pt x="2592139" y="2874566"/>
                    </a:lnTo>
                    <a:lnTo>
                      <a:pt x="2658814" y="2884091"/>
                    </a:lnTo>
                    <a:lnTo>
                      <a:pt x="2682627" y="2912666"/>
                    </a:lnTo>
                    <a:lnTo>
                      <a:pt x="2749302" y="3079354"/>
                    </a:lnTo>
                    <a:lnTo>
                      <a:pt x="2844552" y="3174604"/>
                    </a:lnTo>
                    <a:lnTo>
                      <a:pt x="2939802" y="3207941"/>
                    </a:lnTo>
                    <a:lnTo>
                      <a:pt x="3282702" y="3317479"/>
                    </a:lnTo>
                    <a:lnTo>
                      <a:pt x="3658939" y="3493691"/>
                    </a:lnTo>
                    <a:lnTo>
                      <a:pt x="3868489" y="3641329"/>
                    </a:lnTo>
                    <a:cubicBezTo>
                      <a:pt x="3879602" y="3684191"/>
                      <a:pt x="3906589" y="3708004"/>
                      <a:pt x="3901827" y="3769916"/>
                    </a:cubicBezTo>
                    <a:cubicBezTo>
                      <a:pt x="3909764" y="3830241"/>
                      <a:pt x="3898652" y="3938191"/>
                      <a:pt x="3878014" y="4027091"/>
                    </a:cubicBezTo>
                    <a:cubicBezTo>
                      <a:pt x="3855789" y="4119166"/>
                      <a:pt x="3820864" y="4166791"/>
                      <a:pt x="3792289" y="4236641"/>
                    </a:cubicBezTo>
                    <a:lnTo>
                      <a:pt x="3620839" y="4598591"/>
                    </a:lnTo>
                    <a:lnTo>
                      <a:pt x="3473202" y="4760516"/>
                    </a:lnTo>
                    <a:cubicBezTo>
                      <a:pt x="2419193" y="4883157"/>
                      <a:pt x="1553862" y="4873723"/>
                      <a:pt x="339477" y="4760516"/>
                    </a:cubicBezTo>
                    <a:lnTo>
                      <a:pt x="163264" y="4436666"/>
                    </a:lnTo>
                    <a:lnTo>
                      <a:pt x="58489" y="4141391"/>
                    </a:lnTo>
                    <a:cubicBezTo>
                      <a:pt x="39439" y="4046141"/>
                      <a:pt x="14039" y="3992166"/>
                      <a:pt x="1339" y="3855641"/>
                    </a:cubicBezTo>
                    <a:cubicBezTo>
                      <a:pt x="-3423" y="3795316"/>
                      <a:pt x="4514" y="3744516"/>
                      <a:pt x="25152" y="3703241"/>
                    </a:cubicBezTo>
                    <a:lnTo>
                      <a:pt x="220414" y="3584179"/>
                    </a:lnTo>
                    <a:lnTo>
                      <a:pt x="534739" y="3450829"/>
                    </a:lnTo>
                    <a:lnTo>
                      <a:pt x="934789" y="3293666"/>
                    </a:lnTo>
                    <a:lnTo>
                      <a:pt x="1134814" y="3217466"/>
                    </a:lnTo>
                    <a:cubicBezTo>
                      <a:pt x="1234827" y="3090466"/>
                      <a:pt x="1241971" y="3068241"/>
                      <a:pt x="1277689" y="2950766"/>
                    </a:cubicBezTo>
                    <a:lnTo>
                      <a:pt x="1372939" y="2888854"/>
                    </a:lnTo>
                    <a:lnTo>
                      <a:pt x="1444377" y="2750741"/>
                    </a:lnTo>
                    <a:lnTo>
                      <a:pt x="1430089" y="2665016"/>
                    </a:lnTo>
                    <a:lnTo>
                      <a:pt x="1433678" y="2655556"/>
                    </a:lnTo>
                    <a:cubicBezTo>
                      <a:pt x="1422983" y="2644679"/>
                      <a:pt x="1415776" y="2635961"/>
                      <a:pt x="1412671" y="2630242"/>
                    </a:cubicBezTo>
                    <a:cubicBezTo>
                      <a:pt x="1381893" y="2577926"/>
                      <a:pt x="1178275" y="2345112"/>
                      <a:pt x="1171172" y="2059985"/>
                    </a:cubicBezTo>
                    <a:cubicBezTo>
                      <a:pt x="1071731" y="2052136"/>
                      <a:pt x="1014908" y="1764391"/>
                      <a:pt x="977027" y="1612672"/>
                    </a:cubicBezTo>
                    <a:cubicBezTo>
                      <a:pt x="946258" y="1484545"/>
                      <a:pt x="1052708" y="1487108"/>
                      <a:pt x="1052790" y="1487109"/>
                    </a:cubicBezTo>
                    <a:cubicBezTo>
                      <a:pt x="1052758" y="1487025"/>
                      <a:pt x="992834" y="1362590"/>
                      <a:pt x="1018186" y="1277790"/>
                    </a:cubicBezTo>
                    <a:cubicBezTo>
                      <a:pt x="962383" y="1308036"/>
                      <a:pt x="957154" y="1319916"/>
                      <a:pt x="934788" y="1341041"/>
                    </a:cubicBezTo>
                    <a:cubicBezTo>
                      <a:pt x="912422" y="1362166"/>
                      <a:pt x="899863" y="1373849"/>
                      <a:pt x="883988" y="1404541"/>
                    </a:cubicBezTo>
                    <a:cubicBezTo>
                      <a:pt x="868113" y="1435233"/>
                      <a:pt x="843771" y="1484974"/>
                      <a:pt x="839538" y="1525191"/>
                    </a:cubicBezTo>
                    <a:cubicBezTo>
                      <a:pt x="835305" y="1565408"/>
                      <a:pt x="850121" y="1595041"/>
                      <a:pt x="858588" y="1645841"/>
                    </a:cubicBezTo>
                    <a:cubicBezTo>
                      <a:pt x="867055" y="1696641"/>
                      <a:pt x="872346" y="1749558"/>
                      <a:pt x="890338" y="1829991"/>
                    </a:cubicBezTo>
                    <a:cubicBezTo>
                      <a:pt x="908330" y="1910424"/>
                      <a:pt x="940080" y="2067058"/>
                      <a:pt x="966538" y="2128441"/>
                    </a:cubicBezTo>
                    <a:cubicBezTo>
                      <a:pt x="992996" y="2189824"/>
                      <a:pt x="1026863" y="2164424"/>
                      <a:pt x="1049088" y="2198291"/>
                    </a:cubicBezTo>
                    <a:cubicBezTo>
                      <a:pt x="1071313" y="2232158"/>
                      <a:pt x="1071313" y="2270258"/>
                      <a:pt x="1099888" y="2331641"/>
                    </a:cubicBezTo>
                    <a:cubicBezTo>
                      <a:pt x="1128463" y="2393024"/>
                      <a:pt x="1191963" y="2503091"/>
                      <a:pt x="1220538" y="2566591"/>
                    </a:cubicBezTo>
                    <a:cubicBezTo>
                      <a:pt x="1249113" y="2630091"/>
                      <a:pt x="1286155" y="2681949"/>
                      <a:pt x="1271338" y="2712641"/>
                    </a:cubicBezTo>
                    <a:cubicBezTo>
                      <a:pt x="1256521" y="2743333"/>
                      <a:pt x="1188788" y="2740158"/>
                      <a:pt x="1131638" y="2750741"/>
                    </a:cubicBezTo>
                    <a:cubicBezTo>
                      <a:pt x="1074488" y="2761324"/>
                      <a:pt x="992996" y="2779316"/>
                      <a:pt x="928438" y="2776141"/>
                    </a:cubicBezTo>
                    <a:cubicBezTo>
                      <a:pt x="863880" y="2772966"/>
                      <a:pt x="788738" y="2762383"/>
                      <a:pt x="744288" y="2731691"/>
                    </a:cubicBezTo>
                    <a:cubicBezTo>
                      <a:pt x="699838" y="2700999"/>
                      <a:pt x="681846" y="2656549"/>
                      <a:pt x="661738" y="2591991"/>
                    </a:cubicBezTo>
                    <a:cubicBezTo>
                      <a:pt x="641630" y="2527433"/>
                      <a:pt x="627871" y="2439591"/>
                      <a:pt x="623638" y="2344341"/>
                    </a:cubicBezTo>
                    <a:cubicBezTo>
                      <a:pt x="619405" y="2249091"/>
                      <a:pt x="617288" y="2189824"/>
                      <a:pt x="636338" y="2020491"/>
                    </a:cubicBezTo>
                    <a:cubicBezTo>
                      <a:pt x="655388" y="1851158"/>
                      <a:pt x="681846" y="1561174"/>
                      <a:pt x="737938" y="1328341"/>
                    </a:cubicBezTo>
                    <a:cubicBezTo>
                      <a:pt x="794030" y="1095508"/>
                      <a:pt x="900921" y="794941"/>
                      <a:pt x="972888" y="623491"/>
                    </a:cubicBezTo>
                    <a:cubicBezTo>
                      <a:pt x="1044855" y="452041"/>
                      <a:pt x="1105180" y="380074"/>
                      <a:pt x="1169738" y="299641"/>
                    </a:cubicBezTo>
                    <a:cubicBezTo>
                      <a:pt x="1234296" y="219208"/>
                      <a:pt x="1299913" y="171583"/>
                      <a:pt x="1360238" y="140891"/>
                    </a:cubicBezTo>
                    <a:cubicBezTo>
                      <a:pt x="1420563" y="110199"/>
                      <a:pt x="1478771" y="136658"/>
                      <a:pt x="1531688" y="115491"/>
                    </a:cubicBezTo>
                    <a:cubicBezTo>
                      <a:pt x="1584605" y="94324"/>
                      <a:pt x="1605771" y="32941"/>
                      <a:pt x="1677738" y="13891"/>
                    </a:cubicBezTo>
                    <a:cubicBezTo>
                      <a:pt x="1713722" y="4366"/>
                      <a:pt x="1763728" y="926"/>
                      <a:pt x="181466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578">
                  <a:defRPr/>
                </a:pPr>
                <a:endParaRPr lang="en-US" sz="1797" kern="0" dirty="0">
                  <a:solidFill>
                    <a:srgbClr val="FFFFFF"/>
                  </a:solidFill>
                  <a:latin typeface="Segoe UI"/>
                </a:endParaRPr>
              </a:p>
            </p:txBody>
          </p:sp>
        </p:grpSp>
        <p:sp>
          <p:nvSpPr>
            <p:cNvPr id="240" name="TextBox 239">
              <a:extLst>
                <a:ext uri="{FF2B5EF4-FFF2-40B4-BE49-F238E27FC236}">
                  <a16:creationId xmlns:a16="http://schemas.microsoft.com/office/drawing/2014/main" id="{D1619070-2ED4-49FC-B65B-5A35EC20F5E5}"/>
                </a:ext>
              </a:extLst>
            </p:cNvPr>
            <p:cNvSpPr txBox="1"/>
            <p:nvPr/>
          </p:nvSpPr>
          <p:spPr>
            <a:xfrm>
              <a:off x="9046147" y="2633130"/>
              <a:ext cx="922740" cy="463893"/>
            </a:xfrm>
            <a:prstGeom prst="rect">
              <a:avLst/>
            </a:prstGeom>
          </p:spPr>
          <p:txBody>
            <a:bodyPr vert="horz" wrap="none" lIns="0" tIns="0" rIns="0" bIns="0" rtlCol="0" anchor="t">
              <a:spAutoFit/>
            </a:bodyPr>
            <a:lstStyle>
              <a:defPPr>
                <a:defRPr lang="en-US"/>
              </a:defPPr>
              <a:lvl1pPr algn="ctr" defTabSz="1088105">
                <a:defRPr sz="1200">
                  <a:solidFill>
                    <a:srgbClr val="505050"/>
                  </a:solidFill>
                  <a:ea typeface="Segoe UI" pitchFamily="34" charset="0"/>
                  <a:cs typeface="Segoe UI" pitchFamily="34" charset="0"/>
                </a:defRPr>
              </a:lvl1pPr>
            </a:lstStyle>
            <a:p>
              <a:pPr defTabSz="1087779">
                <a:defRPr/>
              </a:pPr>
              <a:r>
                <a:rPr lang="en-US" kern="0" dirty="0">
                  <a:latin typeface="Segoe UI Semibold" panose="020B0702040204020203" pitchFamily="34" charset="0"/>
                  <a:cs typeface="Segoe UI Semibold" panose="020B0702040204020203" pitchFamily="34" charset="0"/>
                </a:rPr>
                <a:t>Sales &amp;</a:t>
              </a:r>
              <a:br>
                <a:rPr lang="en-US" kern="0" dirty="0">
                  <a:latin typeface="Segoe UI Semibold" panose="020B0702040204020203" pitchFamily="34" charset="0"/>
                  <a:cs typeface="Segoe UI Semibold" panose="020B0702040204020203" pitchFamily="34" charset="0"/>
                </a:rPr>
              </a:br>
              <a:r>
                <a:rPr lang="en-US" kern="0" dirty="0">
                  <a:latin typeface="Segoe UI Semibold" panose="020B0702040204020203" pitchFamily="34" charset="0"/>
                  <a:cs typeface="Segoe UI Semibold" panose="020B0702040204020203" pitchFamily="34" charset="0"/>
                </a:rPr>
                <a:t> Marketing</a:t>
              </a:r>
            </a:p>
          </p:txBody>
        </p:sp>
      </p:grpSp>
      <p:grpSp>
        <p:nvGrpSpPr>
          <p:cNvPr id="270" name="Group 269">
            <a:extLst>
              <a:ext uri="{FF2B5EF4-FFF2-40B4-BE49-F238E27FC236}">
                <a16:creationId xmlns:a16="http://schemas.microsoft.com/office/drawing/2014/main" id="{7FCC1CB4-F77F-40D2-93C7-7C962E68A6CC}"/>
              </a:ext>
            </a:extLst>
          </p:cNvPr>
          <p:cNvGrpSpPr/>
          <p:nvPr/>
        </p:nvGrpSpPr>
        <p:grpSpPr>
          <a:xfrm>
            <a:off x="578962" y="2017289"/>
            <a:ext cx="1046488" cy="912791"/>
            <a:chOff x="8874576" y="2182174"/>
            <a:chExt cx="1265860" cy="1146796"/>
          </a:xfrm>
        </p:grpSpPr>
        <p:grpSp>
          <p:nvGrpSpPr>
            <p:cNvPr id="273" name="Group 272">
              <a:extLst>
                <a:ext uri="{FF2B5EF4-FFF2-40B4-BE49-F238E27FC236}">
                  <a16:creationId xmlns:a16="http://schemas.microsoft.com/office/drawing/2014/main" id="{8A6B23CA-E1DB-444F-BF15-F5C66F582124}"/>
                </a:ext>
              </a:extLst>
            </p:cNvPr>
            <p:cNvGrpSpPr>
              <a:grpSpLocks noChangeAspect="1"/>
            </p:cNvGrpSpPr>
            <p:nvPr/>
          </p:nvGrpSpPr>
          <p:grpSpPr>
            <a:xfrm>
              <a:off x="9113399" y="2182174"/>
              <a:ext cx="788196" cy="376549"/>
              <a:chOff x="335107" y="1984056"/>
              <a:chExt cx="8623119" cy="4119564"/>
            </a:xfrm>
            <a:solidFill>
              <a:srgbClr val="7F7F7F"/>
            </a:solidFill>
          </p:grpSpPr>
          <p:sp>
            <p:nvSpPr>
              <p:cNvPr id="294" name="Freeform 326">
                <a:extLst>
                  <a:ext uri="{FF2B5EF4-FFF2-40B4-BE49-F238E27FC236}">
                    <a16:creationId xmlns:a16="http://schemas.microsoft.com/office/drawing/2014/main" id="{58D8037B-26EF-4AE6-8280-C51E4A19285D}"/>
                  </a:ext>
                </a:extLst>
              </p:cNvPr>
              <p:cNvSpPr/>
              <p:nvPr/>
            </p:nvSpPr>
            <p:spPr>
              <a:xfrm>
                <a:off x="5423935" y="2187537"/>
                <a:ext cx="1275676" cy="3054785"/>
              </a:xfrm>
              <a:custGeom>
                <a:avLst/>
                <a:gdLst/>
                <a:ahLst/>
                <a:cxnLst/>
                <a:rect l="l" t="t" r="r" b="b"/>
                <a:pathLst>
                  <a:path w="1275676" h="3054785">
                    <a:moveTo>
                      <a:pt x="909893" y="2571265"/>
                    </a:moveTo>
                    <a:cubicBezTo>
                      <a:pt x="927578" y="2591556"/>
                      <a:pt x="943146" y="2624131"/>
                      <a:pt x="953053" y="2679738"/>
                    </a:cubicBezTo>
                    <a:cubicBezTo>
                      <a:pt x="966614" y="2755857"/>
                      <a:pt x="1015135" y="2902136"/>
                      <a:pt x="1032104" y="3045768"/>
                    </a:cubicBezTo>
                    <a:lnTo>
                      <a:pt x="926033" y="3054785"/>
                    </a:lnTo>
                    <a:lnTo>
                      <a:pt x="843515" y="2994064"/>
                    </a:lnTo>
                    <a:lnTo>
                      <a:pt x="791128" y="2951202"/>
                    </a:lnTo>
                    <a:lnTo>
                      <a:pt x="789242" y="2950511"/>
                    </a:lnTo>
                    <a:cubicBezTo>
                      <a:pt x="821800" y="2828680"/>
                      <a:pt x="864407" y="2700040"/>
                      <a:pt x="909893" y="2571265"/>
                    </a:cubicBezTo>
                    <a:close/>
                    <a:moveTo>
                      <a:pt x="810922" y="2515507"/>
                    </a:moveTo>
                    <a:cubicBezTo>
                      <a:pt x="813163" y="2515338"/>
                      <a:pt x="815461" y="2515417"/>
                      <a:pt x="817564" y="2517542"/>
                    </a:cubicBezTo>
                    <a:cubicBezTo>
                      <a:pt x="792015" y="2589329"/>
                      <a:pt x="769100" y="2660102"/>
                      <a:pt x="749052" y="2731145"/>
                    </a:cubicBezTo>
                    <a:cubicBezTo>
                      <a:pt x="728674" y="2665687"/>
                      <a:pt x="718117" y="2603286"/>
                      <a:pt x="714164" y="2542305"/>
                    </a:cubicBezTo>
                    <a:cubicBezTo>
                      <a:pt x="724867" y="2542383"/>
                      <a:pt x="734802" y="2542128"/>
                      <a:pt x="743503" y="2541626"/>
                    </a:cubicBezTo>
                    <a:cubicBezTo>
                      <a:pt x="774459" y="2539840"/>
                      <a:pt x="790235" y="2517070"/>
                      <a:pt x="810922" y="2515507"/>
                    </a:cubicBezTo>
                    <a:close/>
                    <a:moveTo>
                      <a:pt x="396204" y="2451912"/>
                    </a:moveTo>
                    <a:cubicBezTo>
                      <a:pt x="411647" y="2483872"/>
                      <a:pt x="433855" y="2503483"/>
                      <a:pt x="462515" y="2517813"/>
                    </a:cubicBezTo>
                    <a:cubicBezTo>
                      <a:pt x="495852" y="2534482"/>
                      <a:pt x="539509" y="2532894"/>
                      <a:pt x="586340" y="2536863"/>
                    </a:cubicBezTo>
                    <a:cubicBezTo>
                      <a:pt x="606520" y="2538574"/>
                      <a:pt x="630828" y="2540136"/>
                      <a:pt x="655265" y="2541066"/>
                    </a:cubicBezTo>
                    <a:cubicBezTo>
                      <a:pt x="657458" y="2571620"/>
                      <a:pt x="660070" y="2600527"/>
                      <a:pt x="663066" y="2624898"/>
                    </a:cubicBezTo>
                    <a:cubicBezTo>
                      <a:pt x="668463" y="2668822"/>
                      <a:pt x="677606" y="2707999"/>
                      <a:pt x="686242" y="2744162"/>
                    </a:cubicBezTo>
                    <a:cubicBezTo>
                      <a:pt x="632838" y="2717984"/>
                      <a:pt x="514903" y="2670213"/>
                      <a:pt x="514903" y="2670213"/>
                    </a:cubicBezTo>
                    <a:lnTo>
                      <a:pt x="333928" y="2589251"/>
                    </a:lnTo>
                    <a:lnTo>
                      <a:pt x="323202" y="2584990"/>
                    </a:lnTo>
                    <a:lnTo>
                      <a:pt x="327453" y="2567034"/>
                    </a:lnTo>
                    <a:cubicBezTo>
                      <a:pt x="340667" y="2528713"/>
                      <a:pt x="369951" y="2489259"/>
                      <a:pt x="396204" y="2451912"/>
                    </a:cubicBezTo>
                    <a:close/>
                    <a:moveTo>
                      <a:pt x="356384" y="1755197"/>
                    </a:moveTo>
                    <a:lnTo>
                      <a:pt x="361013" y="1949619"/>
                    </a:lnTo>
                    <a:cubicBezTo>
                      <a:pt x="293278" y="2065222"/>
                      <a:pt x="276288" y="2307687"/>
                      <a:pt x="265731" y="2563792"/>
                    </a:cubicBezTo>
                    <a:cubicBezTo>
                      <a:pt x="245616" y="2556203"/>
                      <a:pt x="227467" y="2546676"/>
                      <a:pt x="210103" y="2527338"/>
                    </a:cubicBezTo>
                    <a:cubicBezTo>
                      <a:pt x="175178" y="2488444"/>
                      <a:pt x="152159" y="2401925"/>
                      <a:pt x="124378" y="2355888"/>
                    </a:cubicBezTo>
                    <a:cubicBezTo>
                      <a:pt x="96597" y="2309851"/>
                      <a:pt x="64052" y="2271750"/>
                      <a:pt x="43415" y="2251113"/>
                    </a:cubicBezTo>
                    <a:cubicBezTo>
                      <a:pt x="22778" y="2230476"/>
                      <a:pt x="-4209" y="2253494"/>
                      <a:pt x="553" y="2232063"/>
                    </a:cubicBezTo>
                    <a:cubicBezTo>
                      <a:pt x="5315" y="2210632"/>
                      <a:pt x="48177" y="2180470"/>
                      <a:pt x="71990" y="2122526"/>
                    </a:cubicBezTo>
                    <a:cubicBezTo>
                      <a:pt x="90351" y="2077850"/>
                      <a:pt x="107767" y="1994009"/>
                      <a:pt x="126665" y="1932199"/>
                    </a:cubicBezTo>
                    <a:lnTo>
                      <a:pt x="273061" y="1880184"/>
                    </a:lnTo>
                    <a:cubicBezTo>
                      <a:pt x="305463" y="1861666"/>
                      <a:pt x="310089" y="1787599"/>
                      <a:pt x="356384" y="1755197"/>
                    </a:cubicBezTo>
                    <a:close/>
                    <a:moveTo>
                      <a:pt x="537693" y="744"/>
                    </a:moveTo>
                    <a:cubicBezTo>
                      <a:pt x="581411" y="-1830"/>
                      <a:pt x="633485" y="2027"/>
                      <a:pt x="695853" y="16174"/>
                    </a:cubicBezTo>
                    <a:cubicBezTo>
                      <a:pt x="758217" y="30318"/>
                      <a:pt x="852732" y="64395"/>
                      <a:pt x="911876" y="85609"/>
                    </a:cubicBezTo>
                    <a:cubicBezTo>
                      <a:pt x="971031" y="106829"/>
                      <a:pt x="1018605" y="128046"/>
                      <a:pt x="1050752" y="143477"/>
                    </a:cubicBezTo>
                    <a:cubicBezTo>
                      <a:pt x="1082899" y="158907"/>
                      <a:pt x="1079686" y="149264"/>
                      <a:pt x="1104760" y="178194"/>
                    </a:cubicBezTo>
                    <a:cubicBezTo>
                      <a:pt x="1129837" y="207128"/>
                      <a:pt x="1173554" y="261132"/>
                      <a:pt x="1201202" y="317070"/>
                    </a:cubicBezTo>
                    <a:cubicBezTo>
                      <a:pt x="1228849" y="373008"/>
                      <a:pt x="1259066" y="453372"/>
                      <a:pt x="1270636" y="513810"/>
                    </a:cubicBezTo>
                    <a:cubicBezTo>
                      <a:pt x="1275863" y="541109"/>
                      <a:pt x="1276368" y="577588"/>
                      <a:pt x="1275078" y="609376"/>
                    </a:cubicBezTo>
                    <a:cubicBezTo>
                      <a:pt x="1207919" y="610739"/>
                      <a:pt x="1256062" y="594379"/>
                      <a:pt x="1219753" y="593763"/>
                    </a:cubicBezTo>
                    <a:cubicBezTo>
                      <a:pt x="1172922" y="592969"/>
                      <a:pt x="1123709" y="585032"/>
                      <a:pt x="1086403" y="598526"/>
                    </a:cubicBezTo>
                    <a:cubicBezTo>
                      <a:pt x="1049097" y="612020"/>
                      <a:pt x="1027665" y="660439"/>
                      <a:pt x="995915" y="674726"/>
                    </a:cubicBezTo>
                    <a:cubicBezTo>
                      <a:pt x="964165" y="689014"/>
                      <a:pt x="933209" y="669964"/>
                      <a:pt x="895903" y="684251"/>
                    </a:cubicBezTo>
                    <a:cubicBezTo>
                      <a:pt x="858597" y="698539"/>
                      <a:pt x="813353" y="722351"/>
                      <a:pt x="772078" y="760451"/>
                    </a:cubicBezTo>
                    <a:cubicBezTo>
                      <a:pt x="730803" y="798551"/>
                      <a:pt x="685559" y="851732"/>
                      <a:pt x="648253" y="912851"/>
                    </a:cubicBezTo>
                    <a:cubicBezTo>
                      <a:pt x="610947" y="973970"/>
                      <a:pt x="579196" y="1048582"/>
                      <a:pt x="548240" y="1127163"/>
                    </a:cubicBezTo>
                    <a:cubicBezTo>
                      <a:pt x="517284" y="1205744"/>
                      <a:pt x="486327" y="1295438"/>
                      <a:pt x="462515" y="1384338"/>
                    </a:cubicBezTo>
                    <a:cubicBezTo>
                      <a:pt x="438702" y="1473238"/>
                      <a:pt x="418065" y="1592300"/>
                      <a:pt x="405365" y="1660563"/>
                    </a:cubicBezTo>
                    <a:cubicBezTo>
                      <a:pt x="401622" y="1680683"/>
                      <a:pt x="398982" y="1695769"/>
                      <a:pt x="397031" y="1708455"/>
                    </a:cubicBezTo>
                    <a:lnTo>
                      <a:pt x="379531" y="1681708"/>
                    </a:lnTo>
                    <a:cubicBezTo>
                      <a:pt x="365064" y="1654708"/>
                      <a:pt x="382424" y="1649399"/>
                      <a:pt x="362170" y="1615163"/>
                    </a:cubicBezTo>
                    <a:cubicBezTo>
                      <a:pt x="346337" y="1588394"/>
                      <a:pt x="308388" y="1553075"/>
                      <a:pt x="279806" y="1511723"/>
                    </a:cubicBezTo>
                    <a:cubicBezTo>
                      <a:pt x="283185" y="1487626"/>
                      <a:pt x="285447" y="1466602"/>
                      <a:pt x="286303" y="1451013"/>
                    </a:cubicBezTo>
                    <a:cubicBezTo>
                      <a:pt x="290272" y="1378782"/>
                      <a:pt x="259315" y="1385926"/>
                      <a:pt x="248203" y="1351001"/>
                    </a:cubicBezTo>
                    <a:cubicBezTo>
                      <a:pt x="237090" y="1316076"/>
                      <a:pt x="217247" y="1279563"/>
                      <a:pt x="219628" y="1241463"/>
                    </a:cubicBezTo>
                    <a:cubicBezTo>
                      <a:pt x="222009" y="1203363"/>
                      <a:pt x="252171" y="1173995"/>
                      <a:pt x="262490" y="1122401"/>
                    </a:cubicBezTo>
                    <a:cubicBezTo>
                      <a:pt x="272809" y="1070807"/>
                      <a:pt x="281540" y="992226"/>
                      <a:pt x="281540" y="931901"/>
                    </a:cubicBezTo>
                    <a:cubicBezTo>
                      <a:pt x="281540" y="871576"/>
                      <a:pt x="281540" y="816807"/>
                      <a:pt x="262490" y="760451"/>
                    </a:cubicBezTo>
                    <a:cubicBezTo>
                      <a:pt x="251559" y="728114"/>
                      <a:pt x="235402" y="693947"/>
                      <a:pt x="214848" y="662136"/>
                    </a:cubicBezTo>
                    <a:lnTo>
                      <a:pt x="267253" y="612813"/>
                    </a:lnTo>
                    <a:lnTo>
                      <a:pt x="500615" y="488988"/>
                    </a:lnTo>
                    <a:lnTo>
                      <a:pt x="786365" y="479463"/>
                    </a:lnTo>
                    <a:lnTo>
                      <a:pt x="486328" y="446126"/>
                    </a:lnTo>
                    <a:lnTo>
                      <a:pt x="286303" y="531851"/>
                    </a:lnTo>
                    <a:lnTo>
                      <a:pt x="188793" y="624717"/>
                    </a:lnTo>
                    <a:cubicBezTo>
                      <a:pt x="183072" y="613128"/>
                      <a:pt x="175276" y="603190"/>
                      <a:pt x="167240" y="593763"/>
                    </a:cubicBezTo>
                    <a:cubicBezTo>
                      <a:pt x="128567" y="548397"/>
                      <a:pt x="168636" y="489094"/>
                      <a:pt x="42501" y="473501"/>
                    </a:cubicBezTo>
                    <a:cubicBezTo>
                      <a:pt x="46825" y="429492"/>
                      <a:pt x="64428" y="405518"/>
                      <a:pt x="82492" y="363364"/>
                    </a:cubicBezTo>
                    <a:cubicBezTo>
                      <a:pt x="103709" y="313853"/>
                      <a:pt x="135213" y="245058"/>
                      <a:pt x="167360" y="201341"/>
                    </a:cubicBezTo>
                    <a:cubicBezTo>
                      <a:pt x="199507" y="157620"/>
                      <a:pt x="231011" y="129333"/>
                      <a:pt x="275376" y="101043"/>
                    </a:cubicBezTo>
                    <a:cubicBezTo>
                      <a:pt x="319733" y="72752"/>
                      <a:pt x="389818" y="48322"/>
                      <a:pt x="433535" y="31608"/>
                    </a:cubicBezTo>
                    <a:cubicBezTo>
                      <a:pt x="477256" y="14888"/>
                      <a:pt x="493969" y="3314"/>
                      <a:pt x="537693" y="74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578">
                  <a:defRPr/>
                </a:pPr>
                <a:endParaRPr lang="en-US" sz="1797" kern="0">
                  <a:solidFill>
                    <a:srgbClr val="FFFFFF"/>
                  </a:solidFill>
                  <a:latin typeface="Segoe UI"/>
                </a:endParaRPr>
              </a:p>
            </p:txBody>
          </p:sp>
          <p:sp>
            <p:nvSpPr>
              <p:cNvPr id="326" name="Man's Body">
                <a:extLst>
                  <a:ext uri="{FF2B5EF4-FFF2-40B4-BE49-F238E27FC236}">
                    <a16:creationId xmlns:a16="http://schemas.microsoft.com/office/drawing/2014/main" id="{15680427-29F0-4F87-8C4C-203EB5A214BE}"/>
                  </a:ext>
                </a:extLst>
              </p:cNvPr>
              <p:cNvSpPr>
                <a:spLocks/>
              </p:cNvSpPr>
              <p:nvPr/>
            </p:nvSpPr>
            <p:spPr bwMode="auto">
              <a:xfrm>
                <a:off x="4286421" y="1984056"/>
                <a:ext cx="1109019" cy="638618"/>
              </a:xfrm>
              <a:custGeom>
                <a:avLst/>
                <a:gdLst/>
                <a:ahLst/>
                <a:cxnLst/>
                <a:rect l="l" t="t" r="r" b="b"/>
                <a:pathLst>
                  <a:path w="1109019" h="638618">
                    <a:moveTo>
                      <a:pt x="527057" y="506"/>
                    </a:moveTo>
                    <a:cubicBezTo>
                      <a:pt x="648121" y="6732"/>
                      <a:pt x="780445" y="70158"/>
                      <a:pt x="889294" y="181665"/>
                    </a:cubicBezTo>
                    <a:cubicBezTo>
                      <a:pt x="1063451" y="360077"/>
                      <a:pt x="1112509" y="452740"/>
                      <a:pt x="1108830" y="488699"/>
                    </a:cubicBezTo>
                    <a:cubicBezTo>
                      <a:pt x="1105150" y="523275"/>
                      <a:pt x="1069584" y="571681"/>
                      <a:pt x="1038921" y="564767"/>
                    </a:cubicBezTo>
                    <a:cubicBezTo>
                      <a:pt x="1007034" y="557851"/>
                      <a:pt x="1003354" y="527424"/>
                      <a:pt x="986183" y="510828"/>
                    </a:cubicBezTo>
                    <a:cubicBezTo>
                      <a:pt x="782591" y="317203"/>
                      <a:pt x="618246" y="347629"/>
                      <a:pt x="550790" y="371142"/>
                    </a:cubicBezTo>
                    <a:cubicBezTo>
                      <a:pt x="760068" y="390992"/>
                      <a:pt x="912422" y="533945"/>
                      <a:pt x="972020" y="608911"/>
                    </a:cubicBezTo>
                    <a:cubicBezTo>
                      <a:pt x="891545" y="581606"/>
                      <a:pt x="869616" y="586916"/>
                      <a:pt x="814218" y="578169"/>
                    </a:cubicBezTo>
                    <a:cubicBezTo>
                      <a:pt x="753893" y="568644"/>
                      <a:pt x="686424" y="559913"/>
                      <a:pt x="633243" y="559119"/>
                    </a:cubicBezTo>
                    <a:cubicBezTo>
                      <a:pt x="580062" y="558325"/>
                      <a:pt x="534818" y="561501"/>
                      <a:pt x="495131" y="573407"/>
                    </a:cubicBezTo>
                    <a:cubicBezTo>
                      <a:pt x="455444" y="585313"/>
                      <a:pt x="430837" y="621032"/>
                      <a:pt x="395118" y="630557"/>
                    </a:cubicBezTo>
                    <a:cubicBezTo>
                      <a:pt x="359399" y="640082"/>
                      <a:pt x="312568" y="642463"/>
                      <a:pt x="280818" y="630557"/>
                    </a:cubicBezTo>
                    <a:cubicBezTo>
                      <a:pt x="249068" y="618651"/>
                      <a:pt x="230812" y="588488"/>
                      <a:pt x="204618" y="559119"/>
                    </a:cubicBezTo>
                    <a:cubicBezTo>
                      <a:pt x="178424" y="529750"/>
                      <a:pt x="156200" y="486888"/>
                      <a:pt x="123656" y="454344"/>
                    </a:cubicBezTo>
                    <a:cubicBezTo>
                      <a:pt x="91112" y="421800"/>
                      <a:pt x="52218" y="394019"/>
                      <a:pt x="9356" y="363857"/>
                    </a:cubicBezTo>
                    <a:cubicBezTo>
                      <a:pt x="6109" y="361572"/>
                      <a:pt x="2861" y="359100"/>
                      <a:pt x="0" y="355996"/>
                    </a:cubicBezTo>
                    <a:cubicBezTo>
                      <a:pt x="20998" y="211335"/>
                      <a:pt x="96747" y="42345"/>
                      <a:pt x="328801" y="53043"/>
                    </a:cubicBezTo>
                    <a:cubicBezTo>
                      <a:pt x="385831" y="13626"/>
                      <a:pt x="454418" y="-3230"/>
                      <a:pt x="527057" y="50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329" name="Man's Body">
                <a:extLst>
                  <a:ext uri="{FF2B5EF4-FFF2-40B4-BE49-F238E27FC236}">
                    <a16:creationId xmlns:a16="http://schemas.microsoft.com/office/drawing/2014/main" id="{38924A34-D211-48AB-BC4B-1D8A76799E3C}"/>
                  </a:ext>
                </a:extLst>
              </p:cNvPr>
              <p:cNvSpPr>
                <a:spLocks/>
              </p:cNvSpPr>
              <p:nvPr/>
            </p:nvSpPr>
            <p:spPr bwMode="auto">
              <a:xfrm>
                <a:off x="1933544" y="2281603"/>
                <a:ext cx="1087125" cy="2339128"/>
              </a:xfrm>
              <a:custGeom>
                <a:avLst/>
                <a:gdLst/>
                <a:ahLst/>
                <a:cxnLst/>
                <a:rect l="l" t="t" r="r" b="b"/>
                <a:pathLst>
                  <a:path w="1087125" h="2339128">
                    <a:moveTo>
                      <a:pt x="148114" y="1900284"/>
                    </a:moveTo>
                    <a:cubicBezTo>
                      <a:pt x="220874" y="1957568"/>
                      <a:pt x="348888" y="2049369"/>
                      <a:pt x="516243" y="2068258"/>
                    </a:cubicBezTo>
                    <a:lnTo>
                      <a:pt x="495331" y="2090372"/>
                    </a:lnTo>
                    <a:cubicBezTo>
                      <a:pt x="449294" y="2138791"/>
                      <a:pt x="388175" y="2211022"/>
                      <a:pt x="338169" y="2252297"/>
                    </a:cubicBezTo>
                    <a:cubicBezTo>
                      <a:pt x="288163" y="2293572"/>
                      <a:pt x="225456" y="2347547"/>
                      <a:pt x="195294" y="2338022"/>
                    </a:cubicBezTo>
                    <a:cubicBezTo>
                      <a:pt x="165132" y="2328497"/>
                      <a:pt x="175450" y="2234834"/>
                      <a:pt x="157194" y="2195147"/>
                    </a:cubicBezTo>
                    <a:cubicBezTo>
                      <a:pt x="138938" y="2155460"/>
                      <a:pt x="111950" y="2112597"/>
                      <a:pt x="85756" y="2099897"/>
                    </a:cubicBezTo>
                    <a:cubicBezTo>
                      <a:pt x="59562" y="2087197"/>
                      <a:pt x="-1556" y="2133234"/>
                      <a:pt x="31" y="2118947"/>
                    </a:cubicBezTo>
                    <a:cubicBezTo>
                      <a:pt x="1618" y="2104660"/>
                      <a:pt x="65912" y="2063384"/>
                      <a:pt x="95281" y="2014172"/>
                    </a:cubicBezTo>
                    <a:cubicBezTo>
                      <a:pt x="112544" y="1985245"/>
                      <a:pt x="132002" y="1941507"/>
                      <a:pt x="148114" y="1900284"/>
                    </a:cubicBezTo>
                    <a:close/>
                    <a:moveTo>
                      <a:pt x="300366" y="1598710"/>
                    </a:moveTo>
                    <a:cubicBezTo>
                      <a:pt x="322928" y="1593356"/>
                      <a:pt x="499132" y="1755026"/>
                      <a:pt x="596386" y="1777949"/>
                    </a:cubicBezTo>
                    <a:lnTo>
                      <a:pt x="614394" y="1795097"/>
                    </a:lnTo>
                    <a:cubicBezTo>
                      <a:pt x="638206" y="1830816"/>
                      <a:pt x="647731" y="1881616"/>
                      <a:pt x="647731" y="1909397"/>
                    </a:cubicBezTo>
                    <a:cubicBezTo>
                      <a:pt x="647731" y="1937178"/>
                      <a:pt x="639794" y="1931622"/>
                      <a:pt x="614394" y="1961785"/>
                    </a:cubicBezTo>
                    <a:cubicBezTo>
                      <a:pt x="607207" y="1970320"/>
                      <a:pt x="598240" y="1980444"/>
                      <a:pt x="588003" y="1991644"/>
                    </a:cubicBezTo>
                    <a:cubicBezTo>
                      <a:pt x="401521" y="1979273"/>
                      <a:pt x="213522" y="1820684"/>
                      <a:pt x="209777" y="1788323"/>
                    </a:cubicBezTo>
                    <a:cubicBezTo>
                      <a:pt x="205894" y="1753317"/>
                      <a:pt x="274484" y="1603086"/>
                      <a:pt x="300366" y="1598710"/>
                    </a:cubicBezTo>
                    <a:close/>
                    <a:moveTo>
                      <a:pt x="594957" y="534"/>
                    </a:moveTo>
                    <a:cubicBezTo>
                      <a:pt x="722687" y="7103"/>
                      <a:pt x="862297" y="74022"/>
                      <a:pt x="977139" y="191669"/>
                    </a:cubicBezTo>
                    <a:cubicBezTo>
                      <a:pt x="1021009" y="236610"/>
                      <a:pt x="1057355" y="276395"/>
                      <a:pt x="1087125" y="311518"/>
                    </a:cubicBezTo>
                    <a:cubicBezTo>
                      <a:pt x="1049367" y="328933"/>
                      <a:pt x="1022410" y="352709"/>
                      <a:pt x="981106" y="366347"/>
                    </a:cubicBezTo>
                    <a:cubicBezTo>
                      <a:pt x="944893" y="378304"/>
                      <a:pt x="910738" y="390997"/>
                      <a:pt x="878907" y="405059"/>
                    </a:cubicBezTo>
                    <a:cubicBezTo>
                      <a:pt x="759679" y="355398"/>
                      <a:pt x="667278" y="375098"/>
                      <a:pt x="619996" y="391578"/>
                    </a:cubicBezTo>
                    <a:cubicBezTo>
                      <a:pt x="686882" y="397922"/>
                      <a:pt x="748256" y="416185"/>
                      <a:pt x="802895" y="441165"/>
                    </a:cubicBezTo>
                    <a:lnTo>
                      <a:pt x="762031" y="461597"/>
                    </a:lnTo>
                    <a:cubicBezTo>
                      <a:pt x="700119" y="497316"/>
                      <a:pt x="650112" y="528273"/>
                      <a:pt x="609631" y="580660"/>
                    </a:cubicBezTo>
                    <a:cubicBezTo>
                      <a:pt x="569150" y="633047"/>
                      <a:pt x="541369" y="702897"/>
                      <a:pt x="519144" y="775922"/>
                    </a:cubicBezTo>
                    <a:cubicBezTo>
                      <a:pt x="496919" y="848947"/>
                      <a:pt x="482631" y="944991"/>
                      <a:pt x="476281" y="1018810"/>
                    </a:cubicBezTo>
                    <a:cubicBezTo>
                      <a:pt x="469931" y="1092629"/>
                      <a:pt x="479457" y="1144223"/>
                      <a:pt x="481044" y="1218835"/>
                    </a:cubicBezTo>
                    <a:cubicBezTo>
                      <a:pt x="482631" y="1293447"/>
                      <a:pt x="481837" y="1387110"/>
                      <a:pt x="485806" y="1466485"/>
                    </a:cubicBezTo>
                    <a:cubicBezTo>
                      <a:pt x="488264" y="1515644"/>
                      <a:pt x="486764" y="1570588"/>
                      <a:pt x="491052" y="1618253"/>
                    </a:cubicBezTo>
                    <a:cubicBezTo>
                      <a:pt x="410332" y="1566195"/>
                      <a:pt x="328150" y="1493901"/>
                      <a:pt x="318496" y="1475757"/>
                    </a:cubicBezTo>
                    <a:cubicBezTo>
                      <a:pt x="315899" y="1471251"/>
                      <a:pt x="311051" y="1464346"/>
                      <a:pt x="304709" y="1455294"/>
                    </a:cubicBezTo>
                    <a:cubicBezTo>
                      <a:pt x="315763" y="1411159"/>
                      <a:pt x="324775" y="1369039"/>
                      <a:pt x="328644" y="1342660"/>
                    </a:cubicBezTo>
                    <a:cubicBezTo>
                      <a:pt x="337375" y="1283129"/>
                      <a:pt x="327056" y="1275191"/>
                      <a:pt x="314356" y="1247410"/>
                    </a:cubicBezTo>
                    <a:cubicBezTo>
                      <a:pt x="301656" y="1219629"/>
                      <a:pt x="261969" y="1202959"/>
                      <a:pt x="252444" y="1175972"/>
                    </a:cubicBezTo>
                    <a:cubicBezTo>
                      <a:pt x="242919" y="1148985"/>
                      <a:pt x="260381" y="1112473"/>
                      <a:pt x="257206" y="1085485"/>
                    </a:cubicBezTo>
                    <a:cubicBezTo>
                      <a:pt x="254031" y="1058497"/>
                      <a:pt x="224663" y="1025953"/>
                      <a:pt x="233394" y="1014047"/>
                    </a:cubicBezTo>
                    <a:cubicBezTo>
                      <a:pt x="242125" y="1002141"/>
                      <a:pt x="284194" y="1028334"/>
                      <a:pt x="309594" y="1014047"/>
                    </a:cubicBezTo>
                    <a:cubicBezTo>
                      <a:pt x="334994" y="999760"/>
                      <a:pt x="373888" y="964834"/>
                      <a:pt x="385794" y="928322"/>
                    </a:cubicBezTo>
                    <a:cubicBezTo>
                      <a:pt x="397700" y="891810"/>
                      <a:pt x="396112" y="839422"/>
                      <a:pt x="381031" y="794972"/>
                    </a:cubicBezTo>
                    <a:cubicBezTo>
                      <a:pt x="365950" y="750522"/>
                      <a:pt x="332612" y="708453"/>
                      <a:pt x="295306" y="661622"/>
                    </a:cubicBezTo>
                    <a:cubicBezTo>
                      <a:pt x="258000" y="614791"/>
                      <a:pt x="208788" y="566372"/>
                      <a:pt x="157194" y="513985"/>
                    </a:cubicBezTo>
                    <a:cubicBezTo>
                      <a:pt x="115841" y="471996"/>
                      <a:pt x="97944" y="422357"/>
                      <a:pt x="38211" y="378976"/>
                    </a:cubicBezTo>
                    <a:cubicBezTo>
                      <a:pt x="59848" y="225643"/>
                      <a:pt x="139125" y="44593"/>
                      <a:pt x="385784" y="55964"/>
                    </a:cubicBezTo>
                    <a:cubicBezTo>
                      <a:pt x="445955" y="14377"/>
                      <a:pt x="518318" y="-3408"/>
                      <a:pt x="594957" y="534"/>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332" name="Man's Body">
                <a:extLst>
                  <a:ext uri="{FF2B5EF4-FFF2-40B4-BE49-F238E27FC236}">
                    <a16:creationId xmlns:a16="http://schemas.microsoft.com/office/drawing/2014/main" id="{65B57CD2-669B-416B-8642-88402FAB3A8B}"/>
                  </a:ext>
                </a:extLst>
              </p:cNvPr>
              <p:cNvSpPr>
                <a:spLocks/>
              </p:cNvSpPr>
              <p:nvPr/>
            </p:nvSpPr>
            <p:spPr bwMode="auto">
              <a:xfrm>
                <a:off x="7167183" y="2655935"/>
                <a:ext cx="1791043" cy="3077332"/>
              </a:xfrm>
              <a:custGeom>
                <a:avLst/>
                <a:gdLst/>
                <a:ahLst/>
                <a:cxnLst/>
                <a:rect l="l" t="t" r="r" b="b"/>
                <a:pathLst>
                  <a:path w="1791043" h="3077332">
                    <a:moveTo>
                      <a:pt x="1025015" y="1789010"/>
                    </a:moveTo>
                    <a:cubicBezTo>
                      <a:pt x="1052456" y="1797149"/>
                      <a:pt x="1104448" y="2023401"/>
                      <a:pt x="1163660" y="2039679"/>
                    </a:cubicBezTo>
                    <a:cubicBezTo>
                      <a:pt x="1305194" y="2077117"/>
                      <a:pt x="1705242" y="2228494"/>
                      <a:pt x="1763012" y="2334297"/>
                    </a:cubicBezTo>
                    <a:cubicBezTo>
                      <a:pt x="1819336" y="2441727"/>
                      <a:pt x="1797673" y="2617520"/>
                      <a:pt x="1634476" y="2912138"/>
                    </a:cubicBezTo>
                    <a:cubicBezTo>
                      <a:pt x="1581040" y="2785176"/>
                      <a:pt x="1492942" y="2694024"/>
                      <a:pt x="1466947" y="2677746"/>
                    </a:cubicBezTo>
                    <a:cubicBezTo>
                      <a:pt x="1510273" y="2767271"/>
                      <a:pt x="1536270" y="2931671"/>
                      <a:pt x="1550711" y="3037473"/>
                    </a:cubicBezTo>
                    <a:cubicBezTo>
                      <a:pt x="1272518" y="3065184"/>
                      <a:pt x="1017016" y="3074577"/>
                      <a:pt x="836493" y="3077332"/>
                    </a:cubicBezTo>
                    <a:cubicBezTo>
                      <a:pt x="905753" y="2981037"/>
                      <a:pt x="872415" y="2957070"/>
                      <a:pt x="886206" y="2901903"/>
                    </a:cubicBezTo>
                    <a:cubicBezTo>
                      <a:pt x="901287" y="2841578"/>
                      <a:pt x="906844" y="2798715"/>
                      <a:pt x="905256" y="2744740"/>
                    </a:cubicBezTo>
                    <a:cubicBezTo>
                      <a:pt x="903669" y="2690765"/>
                      <a:pt x="915575" y="2629647"/>
                      <a:pt x="876681" y="2578053"/>
                    </a:cubicBezTo>
                    <a:cubicBezTo>
                      <a:pt x="837787" y="2526459"/>
                      <a:pt x="764762" y="2482009"/>
                      <a:pt x="671893" y="2435178"/>
                    </a:cubicBezTo>
                    <a:cubicBezTo>
                      <a:pt x="579024" y="2388347"/>
                      <a:pt x="408368" y="2336753"/>
                      <a:pt x="319468" y="2297065"/>
                    </a:cubicBezTo>
                    <a:cubicBezTo>
                      <a:pt x="230568" y="2257378"/>
                      <a:pt x="183737" y="2238328"/>
                      <a:pt x="138493" y="2197053"/>
                    </a:cubicBezTo>
                    <a:cubicBezTo>
                      <a:pt x="114008" y="2174716"/>
                      <a:pt x="89523" y="2140522"/>
                      <a:pt x="72566" y="2109744"/>
                    </a:cubicBezTo>
                    <a:cubicBezTo>
                      <a:pt x="161803" y="2180615"/>
                      <a:pt x="342491" y="2318445"/>
                      <a:pt x="583084" y="2314764"/>
                    </a:cubicBezTo>
                    <a:cubicBezTo>
                      <a:pt x="894952" y="2309883"/>
                      <a:pt x="961434" y="2134181"/>
                      <a:pt x="961470" y="2134087"/>
                    </a:cubicBezTo>
                    <a:cubicBezTo>
                      <a:pt x="961431" y="2134155"/>
                      <a:pt x="905040" y="2231748"/>
                      <a:pt x="600415" y="2225240"/>
                    </a:cubicBezTo>
                    <a:cubicBezTo>
                      <a:pt x="448124" y="2222935"/>
                      <a:pt x="290769" y="2127693"/>
                      <a:pt x="210656" y="2058477"/>
                    </a:cubicBezTo>
                    <a:cubicBezTo>
                      <a:pt x="247111" y="2063660"/>
                      <a:pt x="286103" y="2068919"/>
                      <a:pt x="314706" y="2068465"/>
                    </a:cubicBezTo>
                    <a:cubicBezTo>
                      <a:pt x="364712" y="2067671"/>
                      <a:pt x="409162" y="2072434"/>
                      <a:pt x="438531" y="2044653"/>
                    </a:cubicBezTo>
                    <a:cubicBezTo>
                      <a:pt x="462255" y="2022212"/>
                      <a:pt x="476137" y="1982161"/>
                      <a:pt x="483486" y="1935462"/>
                    </a:cubicBezTo>
                    <a:cubicBezTo>
                      <a:pt x="533060" y="1967097"/>
                      <a:pt x="580637" y="1990306"/>
                      <a:pt x="613413" y="1989219"/>
                    </a:cubicBezTo>
                    <a:cubicBezTo>
                      <a:pt x="877705" y="1977826"/>
                      <a:pt x="999020" y="1779243"/>
                      <a:pt x="1025015" y="1789010"/>
                    </a:cubicBezTo>
                    <a:close/>
                    <a:moveTo>
                      <a:pt x="585448" y="596"/>
                    </a:moveTo>
                    <a:cubicBezTo>
                      <a:pt x="727992" y="7927"/>
                      <a:pt x="935211" y="76180"/>
                      <a:pt x="1038898" y="151026"/>
                    </a:cubicBezTo>
                    <a:cubicBezTo>
                      <a:pt x="1142584" y="225871"/>
                      <a:pt x="1211900" y="407326"/>
                      <a:pt x="1207568" y="449665"/>
                    </a:cubicBezTo>
                    <a:cubicBezTo>
                      <a:pt x="1203236" y="490376"/>
                      <a:pt x="1199071" y="612532"/>
                      <a:pt x="1188131" y="664973"/>
                    </a:cubicBezTo>
                    <a:cubicBezTo>
                      <a:pt x="1177190" y="717413"/>
                      <a:pt x="1149623" y="723595"/>
                      <a:pt x="1141921" y="764306"/>
                    </a:cubicBezTo>
                    <a:cubicBezTo>
                      <a:pt x="1157802" y="803380"/>
                      <a:pt x="1141928" y="909191"/>
                      <a:pt x="1141921" y="909236"/>
                    </a:cubicBezTo>
                    <a:cubicBezTo>
                      <a:pt x="1141991" y="909241"/>
                      <a:pt x="1208348" y="914147"/>
                      <a:pt x="1208348" y="962974"/>
                    </a:cubicBezTo>
                    <a:cubicBezTo>
                      <a:pt x="1208348" y="1011818"/>
                      <a:pt x="1137615" y="1280417"/>
                      <a:pt x="1137589" y="1280518"/>
                    </a:cubicBezTo>
                    <a:cubicBezTo>
                      <a:pt x="1137566" y="1280557"/>
                      <a:pt x="1118803" y="1313084"/>
                      <a:pt x="1097155" y="1308200"/>
                    </a:cubicBezTo>
                    <a:cubicBezTo>
                      <a:pt x="1074050" y="1506868"/>
                      <a:pt x="994626" y="1630630"/>
                      <a:pt x="926755" y="1690881"/>
                    </a:cubicBezTo>
                    <a:cubicBezTo>
                      <a:pt x="860327" y="1749505"/>
                      <a:pt x="705811" y="1868380"/>
                      <a:pt x="613391" y="1868380"/>
                    </a:cubicBezTo>
                    <a:cubicBezTo>
                      <a:pt x="583727" y="1868380"/>
                      <a:pt x="540227" y="1848919"/>
                      <a:pt x="494585" y="1820862"/>
                    </a:cubicBezTo>
                    <a:cubicBezTo>
                      <a:pt x="495428" y="1780245"/>
                      <a:pt x="492769" y="1734980"/>
                      <a:pt x="490918" y="1682703"/>
                    </a:cubicBezTo>
                    <a:cubicBezTo>
                      <a:pt x="487743" y="1593009"/>
                      <a:pt x="490124" y="1492202"/>
                      <a:pt x="471868" y="1363615"/>
                    </a:cubicBezTo>
                    <a:cubicBezTo>
                      <a:pt x="453612" y="1235028"/>
                      <a:pt x="405987" y="1022303"/>
                      <a:pt x="381381" y="911178"/>
                    </a:cubicBezTo>
                    <a:cubicBezTo>
                      <a:pt x="356775" y="800053"/>
                      <a:pt x="352806" y="754809"/>
                      <a:pt x="324231" y="696865"/>
                    </a:cubicBezTo>
                    <a:cubicBezTo>
                      <a:pt x="295656" y="638921"/>
                      <a:pt x="255968" y="620665"/>
                      <a:pt x="209931" y="563515"/>
                    </a:cubicBezTo>
                    <a:cubicBezTo>
                      <a:pt x="163894" y="506365"/>
                      <a:pt x="103569" y="415084"/>
                      <a:pt x="48006" y="353965"/>
                    </a:cubicBezTo>
                    <a:cubicBezTo>
                      <a:pt x="28279" y="332265"/>
                      <a:pt x="14655" y="310564"/>
                      <a:pt x="0" y="290327"/>
                    </a:cubicBezTo>
                    <a:cubicBezTo>
                      <a:pt x="45987" y="162254"/>
                      <a:pt x="147389" y="53021"/>
                      <a:pt x="352016" y="62454"/>
                    </a:cubicBezTo>
                    <a:cubicBezTo>
                      <a:pt x="419165" y="16044"/>
                      <a:pt x="499920" y="-3803"/>
                      <a:pt x="585448" y="59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336" name="Man's Body">
                <a:extLst>
                  <a:ext uri="{FF2B5EF4-FFF2-40B4-BE49-F238E27FC236}">
                    <a16:creationId xmlns:a16="http://schemas.microsoft.com/office/drawing/2014/main" id="{94986C00-9A62-4FCC-840A-D503ED4C1B2D}"/>
                  </a:ext>
                </a:extLst>
              </p:cNvPr>
              <p:cNvSpPr>
                <a:spLocks/>
              </p:cNvSpPr>
              <p:nvPr/>
            </p:nvSpPr>
            <p:spPr bwMode="auto">
              <a:xfrm>
                <a:off x="3394954" y="2270725"/>
                <a:ext cx="1220879" cy="2577721"/>
              </a:xfrm>
              <a:custGeom>
                <a:avLst/>
                <a:gdLst/>
                <a:ahLst/>
                <a:cxnLst/>
                <a:rect l="l" t="t" r="r" b="b"/>
                <a:pathLst>
                  <a:path w="1220879" h="2577721">
                    <a:moveTo>
                      <a:pt x="1000694" y="1726538"/>
                    </a:moveTo>
                    <a:cubicBezTo>
                      <a:pt x="1015159" y="1730828"/>
                      <a:pt x="1036692" y="1797918"/>
                      <a:pt x="1062780" y="1860398"/>
                    </a:cubicBezTo>
                    <a:lnTo>
                      <a:pt x="1072271" y="1886939"/>
                    </a:lnTo>
                    <a:cubicBezTo>
                      <a:pt x="1100846" y="1947264"/>
                      <a:pt x="1157203" y="2022670"/>
                      <a:pt x="1181809" y="2063151"/>
                    </a:cubicBezTo>
                    <a:cubicBezTo>
                      <a:pt x="1206415" y="2103632"/>
                      <a:pt x="1225465" y="2098076"/>
                      <a:pt x="1219909" y="2129826"/>
                    </a:cubicBezTo>
                    <a:cubicBezTo>
                      <a:pt x="1214353" y="2161576"/>
                      <a:pt x="1178633" y="2203645"/>
                      <a:pt x="1148471" y="2253651"/>
                    </a:cubicBezTo>
                    <a:cubicBezTo>
                      <a:pt x="1118309" y="2303657"/>
                      <a:pt x="1085765" y="2388589"/>
                      <a:pt x="1038934" y="2429864"/>
                    </a:cubicBezTo>
                    <a:cubicBezTo>
                      <a:pt x="992103" y="2471139"/>
                      <a:pt x="926222" y="2476695"/>
                      <a:pt x="867484" y="2501301"/>
                    </a:cubicBezTo>
                    <a:cubicBezTo>
                      <a:pt x="867484" y="2501301"/>
                      <a:pt x="738896" y="2574326"/>
                      <a:pt x="686509" y="2577501"/>
                    </a:cubicBezTo>
                    <a:cubicBezTo>
                      <a:pt x="634122" y="2580676"/>
                      <a:pt x="626184" y="2548926"/>
                      <a:pt x="553159" y="2520351"/>
                    </a:cubicBezTo>
                    <a:cubicBezTo>
                      <a:pt x="480134" y="2491776"/>
                      <a:pt x="311859" y="2440182"/>
                      <a:pt x="248359" y="2406051"/>
                    </a:cubicBezTo>
                    <a:cubicBezTo>
                      <a:pt x="184859" y="2371920"/>
                      <a:pt x="187240" y="2346520"/>
                      <a:pt x="172159" y="2315564"/>
                    </a:cubicBezTo>
                    <a:cubicBezTo>
                      <a:pt x="157078" y="2284608"/>
                      <a:pt x="140409" y="2261589"/>
                      <a:pt x="157871" y="2220314"/>
                    </a:cubicBezTo>
                    <a:cubicBezTo>
                      <a:pt x="168198" y="2195906"/>
                      <a:pt x="198233" y="2167333"/>
                      <a:pt x="226485" y="2135786"/>
                    </a:cubicBezTo>
                    <a:cubicBezTo>
                      <a:pt x="316982" y="2189270"/>
                      <a:pt x="435235" y="2236059"/>
                      <a:pt x="574195" y="2233933"/>
                    </a:cubicBezTo>
                    <a:cubicBezTo>
                      <a:pt x="875173" y="2229222"/>
                      <a:pt x="939333" y="2059656"/>
                      <a:pt x="939368" y="2059565"/>
                    </a:cubicBezTo>
                    <a:cubicBezTo>
                      <a:pt x="939349" y="2059598"/>
                      <a:pt x="884958" y="2153817"/>
                      <a:pt x="590920" y="2147535"/>
                    </a:cubicBezTo>
                    <a:cubicBezTo>
                      <a:pt x="481175" y="2145874"/>
                      <a:pt x="368705" y="2094204"/>
                      <a:pt x="286708" y="2040070"/>
                    </a:cubicBezTo>
                    <a:cubicBezTo>
                      <a:pt x="307092" y="1982179"/>
                      <a:pt x="314374" y="1903887"/>
                      <a:pt x="324559" y="1872651"/>
                    </a:cubicBezTo>
                    <a:cubicBezTo>
                      <a:pt x="333489" y="1845267"/>
                      <a:pt x="333488" y="1864317"/>
                      <a:pt x="339628" y="1861489"/>
                    </a:cubicBezTo>
                    <a:lnTo>
                      <a:pt x="348371" y="1848839"/>
                    </a:lnTo>
                    <a:cubicBezTo>
                      <a:pt x="354151" y="1836701"/>
                      <a:pt x="363405" y="1817932"/>
                      <a:pt x="373314" y="1796017"/>
                    </a:cubicBezTo>
                    <a:cubicBezTo>
                      <a:pt x="451017" y="1853032"/>
                      <a:pt x="548670" y="1921572"/>
                      <a:pt x="603465" y="1919756"/>
                    </a:cubicBezTo>
                    <a:cubicBezTo>
                      <a:pt x="858528" y="1908760"/>
                      <a:pt x="975606" y="1717113"/>
                      <a:pt x="1000694" y="1726538"/>
                    </a:cubicBezTo>
                    <a:close/>
                    <a:moveTo>
                      <a:pt x="576476" y="576"/>
                    </a:moveTo>
                    <a:cubicBezTo>
                      <a:pt x="714043" y="7650"/>
                      <a:pt x="864404" y="79722"/>
                      <a:pt x="988090" y="206429"/>
                    </a:cubicBezTo>
                    <a:cubicBezTo>
                      <a:pt x="1037022" y="256557"/>
                      <a:pt x="1077264" y="300727"/>
                      <a:pt x="1110031" y="339462"/>
                    </a:cubicBezTo>
                    <a:cubicBezTo>
                      <a:pt x="1051415" y="362041"/>
                      <a:pt x="1030281" y="393446"/>
                      <a:pt x="996071" y="424851"/>
                    </a:cubicBezTo>
                    <a:cubicBezTo>
                      <a:pt x="979245" y="440298"/>
                      <a:pt x="967211" y="456704"/>
                      <a:pt x="958497" y="474522"/>
                    </a:cubicBezTo>
                    <a:cubicBezTo>
                      <a:pt x="793415" y="374586"/>
                      <a:pt x="664033" y="400614"/>
                      <a:pt x="603444" y="421733"/>
                    </a:cubicBezTo>
                    <a:cubicBezTo>
                      <a:pt x="733011" y="434023"/>
                      <a:pt x="843377" y="487838"/>
                      <a:pt x="927312" y="549009"/>
                    </a:cubicBezTo>
                    <a:lnTo>
                      <a:pt x="915109" y="582014"/>
                    </a:lnTo>
                    <a:cubicBezTo>
                      <a:pt x="891297" y="642339"/>
                      <a:pt x="862721" y="710601"/>
                      <a:pt x="853196" y="786801"/>
                    </a:cubicBezTo>
                    <a:cubicBezTo>
                      <a:pt x="843671" y="863001"/>
                      <a:pt x="847640" y="966983"/>
                      <a:pt x="857959" y="1039214"/>
                    </a:cubicBezTo>
                    <a:cubicBezTo>
                      <a:pt x="868278" y="1111445"/>
                      <a:pt x="900028" y="1178120"/>
                      <a:pt x="915109" y="1220189"/>
                    </a:cubicBezTo>
                    <a:cubicBezTo>
                      <a:pt x="930190" y="1262258"/>
                      <a:pt x="946859" y="1272576"/>
                      <a:pt x="948446" y="1291626"/>
                    </a:cubicBezTo>
                    <a:cubicBezTo>
                      <a:pt x="950033" y="1310676"/>
                      <a:pt x="930984" y="1315439"/>
                      <a:pt x="924634" y="1334489"/>
                    </a:cubicBezTo>
                    <a:cubicBezTo>
                      <a:pt x="918284" y="1353539"/>
                      <a:pt x="907171" y="1371001"/>
                      <a:pt x="910346" y="1405926"/>
                    </a:cubicBezTo>
                    <a:cubicBezTo>
                      <a:pt x="913521" y="1440851"/>
                      <a:pt x="927015" y="1494827"/>
                      <a:pt x="943684" y="1544039"/>
                    </a:cubicBezTo>
                    <a:cubicBezTo>
                      <a:pt x="947240" y="1554538"/>
                      <a:pt x="951338" y="1565109"/>
                      <a:pt x="956769" y="1575392"/>
                    </a:cubicBezTo>
                    <a:cubicBezTo>
                      <a:pt x="939866" y="1598334"/>
                      <a:pt x="922505" y="1617063"/>
                      <a:pt x="905864" y="1631836"/>
                    </a:cubicBezTo>
                    <a:cubicBezTo>
                      <a:pt x="841757" y="1688412"/>
                      <a:pt x="692637" y="1803136"/>
                      <a:pt x="603444" y="1803136"/>
                    </a:cubicBezTo>
                    <a:cubicBezTo>
                      <a:pt x="557961" y="1803136"/>
                      <a:pt x="478776" y="1755732"/>
                      <a:pt x="409934" y="1705014"/>
                    </a:cubicBezTo>
                    <a:lnTo>
                      <a:pt x="419809" y="1672626"/>
                    </a:lnTo>
                    <a:cubicBezTo>
                      <a:pt x="433303" y="1613095"/>
                      <a:pt x="419809" y="1540070"/>
                      <a:pt x="429334" y="1491651"/>
                    </a:cubicBezTo>
                    <a:cubicBezTo>
                      <a:pt x="438859" y="1443232"/>
                      <a:pt x="464259" y="1418627"/>
                      <a:pt x="476959" y="1382114"/>
                    </a:cubicBezTo>
                    <a:cubicBezTo>
                      <a:pt x="489659" y="1345602"/>
                      <a:pt x="506328" y="1301151"/>
                      <a:pt x="505534" y="1272576"/>
                    </a:cubicBezTo>
                    <a:cubicBezTo>
                      <a:pt x="504740" y="1244001"/>
                      <a:pt x="472990" y="1247177"/>
                      <a:pt x="472196" y="1210664"/>
                    </a:cubicBezTo>
                    <a:cubicBezTo>
                      <a:pt x="471402" y="1174152"/>
                      <a:pt x="493627" y="1105095"/>
                      <a:pt x="500771" y="1053501"/>
                    </a:cubicBezTo>
                    <a:cubicBezTo>
                      <a:pt x="507915" y="1001907"/>
                      <a:pt x="519028" y="948726"/>
                      <a:pt x="515059" y="901101"/>
                    </a:cubicBezTo>
                    <a:cubicBezTo>
                      <a:pt x="511090" y="853476"/>
                      <a:pt x="496009" y="818551"/>
                      <a:pt x="476959" y="767751"/>
                    </a:cubicBezTo>
                    <a:cubicBezTo>
                      <a:pt x="457909" y="716951"/>
                      <a:pt x="430128" y="646307"/>
                      <a:pt x="400759" y="596301"/>
                    </a:cubicBezTo>
                    <a:cubicBezTo>
                      <a:pt x="371390" y="546295"/>
                      <a:pt x="342021" y="502639"/>
                      <a:pt x="300746" y="467714"/>
                    </a:cubicBezTo>
                    <a:cubicBezTo>
                      <a:pt x="259471" y="432789"/>
                      <a:pt x="207878" y="412151"/>
                      <a:pt x="153109" y="386751"/>
                    </a:cubicBezTo>
                    <a:cubicBezTo>
                      <a:pt x="102114" y="363101"/>
                      <a:pt x="114428" y="279585"/>
                      <a:pt x="0" y="308275"/>
                    </a:cubicBezTo>
                    <a:cubicBezTo>
                      <a:pt x="41291" y="173605"/>
                      <a:pt x="138419" y="50464"/>
                      <a:pt x="351195" y="60273"/>
                    </a:cubicBezTo>
                    <a:cubicBezTo>
                      <a:pt x="415999" y="15484"/>
                      <a:pt x="493935" y="-3670"/>
                      <a:pt x="576476" y="57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337" name="Man's Body">
                <a:extLst>
                  <a:ext uri="{FF2B5EF4-FFF2-40B4-BE49-F238E27FC236}">
                    <a16:creationId xmlns:a16="http://schemas.microsoft.com/office/drawing/2014/main" id="{3BF64F34-2535-46CA-B71E-66D4AB33C103}"/>
                  </a:ext>
                </a:extLst>
              </p:cNvPr>
              <p:cNvSpPr>
                <a:spLocks/>
              </p:cNvSpPr>
              <p:nvPr/>
            </p:nvSpPr>
            <p:spPr bwMode="auto">
              <a:xfrm>
                <a:off x="4129215" y="2588754"/>
                <a:ext cx="1942154" cy="3289752"/>
              </a:xfrm>
              <a:custGeom>
                <a:avLst/>
                <a:gdLst/>
                <a:ahLst/>
                <a:cxnLst/>
                <a:rect l="l" t="t" r="r" b="b"/>
                <a:pathLst>
                  <a:path w="1942154" h="3289752">
                    <a:moveTo>
                      <a:pt x="501915" y="1906497"/>
                    </a:moveTo>
                    <a:cubicBezTo>
                      <a:pt x="531238" y="1899539"/>
                      <a:pt x="778162" y="2129136"/>
                      <a:pt x="883105" y="2125656"/>
                    </a:cubicBezTo>
                    <a:cubicBezTo>
                      <a:pt x="1165524" y="2113482"/>
                      <a:pt x="1295160" y="1901279"/>
                      <a:pt x="1322938" y="1911715"/>
                    </a:cubicBezTo>
                    <a:cubicBezTo>
                      <a:pt x="1352261" y="1920412"/>
                      <a:pt x="1407819" y="2162183"/>
                      <a:pt x="1471092" y="2179577"/>
                    </a:cubicBezTo>
                    <a:cubicBezTo>
                      <a:pt x="1569955" y="2205728"/>
                      <a:pt x="1786855" y="2283903"/>
                      <a:pt x="1942154" y="2367099"/>
                    </a:cubicBezTo>
                    <a:lnTo>
                      <a:pt x="1623885" y="2492834"/>
                    </a:lnTo>
                    <a:cubicBezTo>
                      <a:pt x="1505616" y="2541253"/>
                      <a:pt x="1369885" y="2582527"/>
                      <a:pt x="1300035" y="2630946"/>
                    </a:cubicBezTo>
                    <a:cubicBezTo>
                      <a:pt x="1230185" y="2679365"/>
                      <a:pt x="1216691" y="2727784"/>
                      <a:pt x="1204785" y="2783346"/>
                    </a:cubicBezTo>
                    <a:cubicBezTo>
                      <a:pt x="1192879" y="2838909"/>
                      <a:pt x="1211929" y="2896059"/>
                      <a:pt x="1228598" y="2964321"/>
                    </a:cubicBezTo>
                    <a:cubicBezTo>
                      <a:pt x="1245267" y="3032583"/>
                      <a:pt x="1281779" y="3120690"/>
                      <a:pt x="1304798" y="3192921"/>
                    </a:cubicBezTo>
                    <a:cubicBezTo>
                      <a:pt x="1314321" y="3222803"/>
                      <a:pt x="1341505" y="3252414"/>
                      <a:pt x="1363493" y="3281583"/>
                    </a:cubicBezTo>
                    <a:cubicBezTo>
                      <a:pt x="1152486" y="3290141"/>
                      <a:pt x="985631" y="3290297"/>
                      <a:pt x="900081" y="3289292"/>
                    </a:cubicBezTo>
                    <a:cubicBezTo>
                      <a:pt x="817878" y="3290370"/>
                      <a:pt x="658124" y="3290113"/>
                      <a:pt x="456018" y="3282293"/>
                    </a:cubicBezTo>
                    <a:cubicBezTo>
                      <a:pt x="462393" y="3274575"/>
                      <a:pt x="465552" y="3265168"/>
                      <a:pt x="466598" y="3254834"/>
                    </a:cubicBezTo>
                    <a:cubicBezTo>
                      <a:pt x="472948" y="3192128"/>
                      <a:pt x="470567" y="3114340"/>
                      <a:pt x="466598" y="3021471"/>
                    </a:cubicBezTo>
                    <a:cubicBezTo>
                      <a:pt x="462629" y="2928602"/>
                      <a:pt x="461835" y="2782552"/>
                      <a:pt x="442785" y="2697621"/>
                    </a:cubicBezTo>
                    <a:cubicBezTo>
                      <a:pt x="423735" y="2612690"/>
                      <a:pt x="407860" y="2565859"/>
                      <a:pt x="352298" y="2511884"/>
                    </a:cubicBezTo>
                    <a:cubicBezTo>
                      <a:pt x="296736" y="2457909"/>
                      <a:pt x="186404" y="2415046"/>
                      <a:pt x="109410" y="2373771"/>
                    </a:cubicBezTo>
                    <a:cubicBezTo>
                      <a:pt x="63909" y="2349379"/>
                      <a:pt x="39200" y="2319443"/>
                      <a:pt x="0" y="2298223"/>
                    </a:cubicBezTo>
                    <a:cubicBezTo>
                      <a:pt x="117461" y="2244929"/>
                      <a:pt x="226792" y="2206801"/>
                      <a:pt x="244189" y="2210886"/>
                    </a:cubicBezTo>
                    <a:cubicBezTo>
                      <a:pt x="281228" y="2217843"/>
                      <a:pt x="509632" y="2478748"/>
                      <a:pt x="850696" y="2473530"/>
                    </a:cubicBezTo>
                    <a:cubicBezTo>
                      <a:pt x="1183954" y="2468314"/>
                      <a:pt x="1254996" y="2280562"/>
                      <a:pt x="1255035" y="2280461"/>
                    </a:cubicBezTo>
                    <a:cubicBezTo>
                      <a:pt x="1255005" y="2280512"/>
                      <a:pt x="1194766" y="2384821"/>
                      <a:pt x="869215" y="2377865"/>
                    </a:cubicBezTo>
                    <a:cubicBezTo>
                      <a:pt x="639268" y="2374386"/>
                      <a:pt x="398517" y="2172620"/>
                      <a:pt x="393887" y="2132615"/>
                    </a:cubicBezTo>
                    <a:cubicBezTo>
                      <a:pt x="389256" y="2090869"/>
                      <a:pt x="471051" y="1911715"/>
                      <a:pt x="501915" y="1906497"/>
                    </a:cubicBezTo>
                    <a:close/>
                    <a:moveTo>
                      <a:pt x="853221" y="637"/>
                    </a:moveTo>
                    <a:cubicBezTo>
                      <a:pt x="1005543" y="8471"/>
                      <a:pt x="1226975" y="81406"/>
                      <a:pt x="1337772" y="161384"/>
                    </a:cubicBezTo>
                    <a:cubicBezTo>
                      <a:pt x="1448570" y="241363"/>
                      <a:pt x="1522641" y="435263"/>
                      <a:pt x="1518012" y="480506"/>
                    </a:cubicBezTo>
                    <a:cubicBezTo>
                      <a:pt x="1513382" y="524010"/>
                      <a:pt x="1508932" y="654545"/>
                      <a:pt x="1497241" y="710582"/>
                    </a:cubicBezTo>
                    <a:cubicBezTo>
                      <a:pt x="1485550" y="766620"/>
                      <a:pt x="1456092" y="773225"/>
                      <a:pt x="1447862" y="816729"/>
                    </a:cubicBezTo>
                    <a:cubicBezTo>
                      <a:pt x="1464832" y="858482"/>
                      <a:pt x="1447870" y="971551"/>
                      <a:pt x="1447862" y="971599"/>
                    </a:cubicBezTo>
                    <a:cubicBezTo>
                      <a:pt x="1447887" y="971601"/>
                      <a:pt x="1518845" y="976828"/>
                      <a:pt x="1518845" y="1029023"/>
                    </a:cubicBezTo>
                    <a:cubicBezTo>
                      <a:pt x="1518845" y="1081217"/>
                      <a:pt x="1443261" y="1368239"/>
                      <a:pt x="1443233" y="1368346"/>
                    </a:cubicBezTo>
                    <a:cubicBezTo>
                      <a:pt x="1443216" y="1368375"/>
                      <a:pt x="1423163" y="1403147"/>
                      <a:pt x="1400025" y="1397928"/>
                    </a:cubicBezTo>
                    <a:cubicBezTo>
                      <a:pt x="1375336" y="1610222"/>
                      <a:pt x="1290464" y="1742472"/>
                      <a:pt x="1217938" y="1806856"/>
                    </a:cubicBezTo>
                    <a:cubicBezTo>
                      <a:pt x="1146955" y="1869501"/>
                      <a:pt x="981841" y="1996529"/>
                      <a:pt x="883082" y="1996529"/>
                    </a:cubicBezTo>
                    <a:cubicBezTo>
                      <a:pt x="784323" y="1996529"/>
                      <a:pt x="542053" y="1794675"/>
                      <a:pt x="523537" y="1759872"/>
                    </a:cubicBezTo>
                    <a:cubicBezTo>
                      <a:pt x="503477" y="1725071"/>
                      <a:pt x="370768" y="1570199"/>
                      <a:pt x="366139" y="1380528"/>
                    </a:cubicBezTo>
                    <a:cubicBezTo>
                      <a:pt x="301328" y="1375306"/>
                      <a:pt x="264293" y="1183894"/>
                      <a:pt x="239604" y="1082967"/>
                    </a:cubicBezTo>
                    <a:cubicBezTo>
                      <a:pt x="219550" y="997735"/>
                      <a:pt x="288930" y="999439"/>
                      <a:pt x="288983" y="999441"/>
                    </a:cubicBezTo>
                    <a:cubicBezTo>
                      <a:pt x="288957" y="999371"/>
                      <a:pt x="191766" y="731458"/>
                      <a:pt x="184051" y="694921"/>
                    </a:cubicBezTo>
                    <a:cubicBezTo>
                      <a:pt x="177878" y="660118"/>
                      <a:pt x="113068" y="44116"/>
                      <a:pt x="603779" y="66738"/>
                    </a:cubicBezTo>
                    <a:cubicBezTo>
                      <a:pt x="675533" y="17144"/>
                      <a:pt x="761828" y="-4064"/>
                      <a:pt x="853221" y="63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338" name="Man's Body">
                <a:extLst>
                  <a:ext uri="{FF2B5EF4-FFF2-40B4-BE49-F238E27FC236}">
                    <a16:creationId xmlns:a16="http://schemas.microsoft.com/office/drawing/2014/main" id="{683CC09F-2D8F-4EEC-97BC-0E7B71F7D13C}"/>
                  </a:ext>
                </a:extLst>
              </p:cNvPr>
              <p:cNvSpPr>
                <a:spLocks/>
              </p:cNvSpPr>
              <p:nvPr/>
            </p:nvSpPr>
            <p:spPr bwMode="auto">
              <a:xfrm>
                <a:off x="335107" y="2540761"/>
                <a:ext cx="1927374" cy="3278271"/>
              </a:xfrm>
              <a:custGeom>
                <a:avLst/>
                <a:gdLst/>
                <a:ahLst/>
                <a:cxnLst/>
                <a:rect l="l" t="t" r="r" b="b"/>
                <a:pathLst>
                  <a:path w="1927374" h="3278271">
                    <a:moveTo>
                      <a:pt x="586126" y="2210886"/>
                    </a:moveTo>
                    <a:cubicBezTo>
                      <a:pt x="616330" y="2216559"/>
                      <a:pt x="773790" y="2391106"/>
                      <a:pt x="1016388" y="2450287"/>
                    </a:cubicBezTo>
                    <a:cubicBezTo>
                      <a:pt x="976291" y="2480726"/>
                      <a:pt x="940784" y="2511617"/>
                      <a:pt x="912668" y="2540828"/>
                    </a:cubicBezTo>
                    <a:cubicBezTo>
                      <a:pt x="851549" y="2604328"/>
                      <a:pt x="830912" y="2661478"/>
                      <a:pt x="803131" y="2726565"/>
                    </a:cubicBezTo>
                    <a:cubicBezTo>
                      <a:pt x="775350" y="2791652"/>
                      <a:pt x="757093" y="2855947"/>
                      <a:pt x="745981" y="2931353"/>
                    </a:cubicBezTo>
                    <a:cubicBezTo>
                      <a:pt x="734869" y="3006759"/>
                      <a:pt x="738837" y="3105978"/>
                      <a:pt x="736456" y="3179003"/>
                    </a:cubicBezTo>
                    <a:cubicBezTo>
                      <a:pt x="735337" y="3213335"/>
                      <a:pt x="717901" y="3247141"/>
                      <a:pt x="707639" y="3278271"/>
                    </a:cubicBezTo>
                    <a:cubicBezTo>
                      <a:pt x="607261" y="3273701"/>
                      <a:pt x="498668" y="3267095"/>
                      <a:pt x="385500" y="3257984"/>
                    </a:cubicBezTo>
                    <a:cubicBezTo>
                      <a:pt x="387043" y="3144926"/>
                      <a:pt x="428711" y="2960553"/>
                      <a:pt x="475010" y="2861409"/>
                    </a:cubicBezTo>
                    <a:cubicBezTo>
                      <a:pt x="439515" y="2884020"/>
                      <a:pt x="288274" y="3042302"/>
                      <a:pt x="258951" y="3247548"/>
                    </a:cubicBezTo>
                    <a:cubicBezTo>
                      <a:pt x="-18839" y="2890978"/>
                      <a:pt x="-32728" y="2605722"/>
                      <a:pt x="32090" y="2494403"/>
                    </a:cubicBezTo>
                    <a:cubicBezTo>
                      <a:pt x="95364" y="2384822"/>
                      <a:pt x="549088" y="2202189"/>
                      <a:pt x="586126" y="2210886"/>
                    </a:cubicBezTo>
                    <a:close/>
                    <a:moveTo>
                      <a:pt x="843852" y="1906497"/>
                    </a:moveTo>
                    <a:cubicBezTo>
                      <a:pt x="873175" y="1899539"/>
                      <a:pt x="1120099" y="2129136"/>
                      <a:pt x="1225042" y="2125656"/>
                    </a:cubicBezTo>
                    <a:cubicBezTo>
                      <a:pt x="1507461" y="2113482"/>
                      <a:pt x="1637096" y="1901279"/>
                      <a:pt x="1664875" y="1911715"/>
                    </a:cubicBezTo>
                    <a:cubicBezTo>
                      <a:pt x="1681451" y="1916632"/>
                      <a:pt x="1706410" y="1996028"/>
                      <a:pt x="1736668" y="2067160"/>
                    </a:cubicBezTo>
                    <a:cubicBezTo>
                      <a:pt x="1645277" y="2089552"/>
                      <a:pt x="1598007" y="2141189"/>
                      <a:pt x="1512743" y="2178878"/>
                    </a:cubicBezTo>
                    <a:cubicBezTo>
                      <a:pt x="1403206" y="2227297"/>
                      <a:pt x="1269855" y="2285240"/>
                      <a:pt x="1169843" y="2345565"/>
                    </a:cubicBezTo>
                    <a:lnTo>
                      <a:pt x="1134882" y="2369115"/>
                    </a:lnTo>
                    <a:cubicBezTo>
                      <a:pt x="930801" y="2331702"/>
                      <a:pt x="739941" y="2168192"/>
                      <a:pt x="735824" y="2132615"/>
                    </a:cubicBezTo>
                    <a:cubicBezTo>
                      <a:pt x="731193" y="2090869"/>
                      <a:pt x="812988" y="1911715"/>
                      <a:pt x="843852" y="1906497"/>
                    </a:cubicBezTo>
                    <a:close/>
                    <a:moveTo>
                      <a:pt x="1195158" y="637"/>
                    </a:moveTo>
                    <a:cubicBezTo>
                      <a:pt x="1347480" y="8471"/>
                      <a:pt x="1513967" y="88272"/>
                      <a:pt x="1650919" y="228569"/>
                    </a:cubicBezTo>
                    <a:cubicBezTo>
                      <a:pt x="1870041" y="453045"/>
                      <a:pt x="1931766" y="569632"/>
                      <a:pt x="1927136" y="614875"/>
                    </a:cubicBezTo>
                    <a:cubicBezTo>
                      <a:pt x="1922506" y="658378"/>
                      <a:pt x="1877757" y="719282"/>
                      <a:pt x="1839178" y="710582"/>
                    </a:cubicBezTo>
                    <a:cubicBezTo>
                      <a:pt x="1799058" y="701882"/>
                      <a:pt x="1794429" y="663598"/>
                      <a:pt x="1772824" y="642718"/>
                    </a:cubicBezTo>
                    <a:cubicBezTo>
                      <a:pt x="1516667" y="399101"/>
                      <a:pt x="1309890" y="437383"/>
                      <a:pt x="1225019" y="466966"/>
                    </a:cubicBezTo>
                    <a:cubicBezTo>
                      <a:pt x="1555245" y="498288"/>
                      <a:pt x="1772824" y="773225"/>
                      <a:pt x="1789799" y="816729"/>
                    </a:cubicBezTo>
                    <a:cubicBezTo>
                      <a:pt x="1806769" y="858482"/>
                      <a:pt x="1789807" y="971551"/>
                      <a:pt x="1789799" y="971599"/>
                    </a:cubicBezTo>
                    <a:cubicBezTo>
                      <a:pt x="1789819" y="971601"/>
                      <a:pt x="1860782" y="976826"/>
                      <a:pt x="1860782" y="1029023"/>
                    </a:cubicBezTo>
                    <a:cubicBezTo>
                      <a:pt x="1860782" y="1081217"/>
                      <a:pt x="1785198" y="1368239"/>
                      <a:pt x="1785170" y="1368346"/>
                    </a:cubicBezTo>
                    <a:cubicBezTo>
                      <a:pt x="1785153" y="1368375"/>
                      <a:pt x="1765100" y="1403147"/>
                      <a:pt x="1741962" y="1397928"/>
                    </a:cubicBezTo>
                    <a:cubicBezTo>
                      <a:pt x="1717273" y="1610222"/>
                      <a:pt x="1632401" y="1742472"/>
                      <a:pt x="1559875" y="1806856"/>
                    </a:cubicBezTo>
                    <a:cubicBezTo>
                      <a:pt x="1488892" y="1869501"/>
                      <a:pt x="1323778" y="1996529"/>
                      <a:pt x="1225019" y="1996529"/>
                    </a:cubicBezTo>
                    <a:cubicBezTo>
                      <a:pt x="1126260" y="1996529"/>
                      <a:pt x="883990" y="1794675"/>
                      <a:pt x="865473" y="1759872"/>
                    </a:cubicBezTo>
                    <a:cubicBezTo>
                      <a:pt x="845414" y="1725071"/>
                      <a:pt x="712705" y="1570199"/>
                      <a:pt x="708075" y="1380528"/>
                    </a:cubicBezTo>
                    <a:cubicBezTo>
                      <a:pt x="643265" y="1375306"/>
                      <a:pt x="606230" y="1183894"/>
                      <a:pt x="581541" y="1082967"/>
                    </a:cubicBezTo>
                    <a:cubicBezTo>
                      <a:pt x="561487" y="997735"/>
                      <a:pt x="630866" y="999439"/>
                      <a:pt x="630919" y="999441"/>
                    </a:cubicBezTo>
                    <a:cubicBezTo>
                      <a:pt x="630881" y="999337"/>
                      <a:pt x="533702" y="731455"/>
                      <a:pt x="525988" y="694921"/>
                    </a:cubicBezTo>
                    <a:cubicBezTo>
                      <a:pt x="519815" y="660118"/>
                      <a:pt x="455005" y="44116"/>
                      <a:pt x="945716" y="66738"/>
                    </a:cubicBezTo>
                    <a:cubicBezTo>
                      <a:pt x="1017470" y="17144"/>
                      <a:pt x="1103765" y="-4064"/>
                      <a:pt x="1195158" y="63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340" name="Freeform 333">
                <a:extLst>
                  <a:ext uri="{FF2B5EF4-FFF2-40B4-BE49-F238E27FC236}">
                    <a16:creationId xmlns:a16="http://schemas.microsoft.com/office/drawing/2014/main" id="{489EE4D6-3BAD-477E-BF1C-E535BEC9E411}"/>
                  </a:ext>
                </a:extLst>
              </p:cNvPr>
              <p:cNvSpPr/>
              <p:nvPr/>
            </p:nvSpPr>
            <p:spPr>
              <a:xfrm flipH="1">
                <a:off x="1116816" y="2629054"/>
                <a:ext cx="3436629" cy="3474566"/>
              </a:xfrm>
              <a:custGeom>
                <a:avLst/>
                <a:gdLst/>
                <a:ahLst/>
                <a:cxnLst/>
                <a:rect l="l" t="t" r="r" b="b"/>
                <a:pathLst>
                  <a:path w="852601" h="862013">
                    <a:moveTo>
                      <a:pt x="339688" y="551599"/>
                    </a:moveTo>
                    <a:cubicBezTo>
                      <a:pt x="336200" y="550660"/>
                      <a:pt x="332712" y="552270"/>
                      <a:pt x="329224" y="555624"/>
                    </a:cubicBezTo>
                    <a:lnTo>
                      <a:pt x="318760" y="571723"/>
                    </a:lnTo>
                    <a:cubicBezTo>
                      <a:pt x="317687" y="576955"/>
                      <a:pt x="320907" y="582723"/>
                      <a:pt x="322785" y="587017"/>
                    </a:cubicBezTo>
                    <a:cubicBezTo>
                      <a:pt x="324663" y="591310"/>
                      <a:pt x="331370" y="593322"/>
                      <a:pt x="330029" y="597481"/>
                    </a:cubicBezTo>
                    <a:cubicBezTo>
                      <a:pt x="328687" y="601641"/>
                      <a:pt x="318894" y="606739"/>
                      <a:pt x="314735" y="611971"/>
                    </a:cubicBezTo>
                    <a:cubicBezTo>
                      <a:pt x="310576" y="617202"/>
                      <a:pt x="308563" y="620288"/>
                      <a:pt x="303465" y="629679"/>
                    </a:cubicBezTo>
                    <a:cubicBezTo>
                      <a:pt x="298368" y="639070"/>
                      <a:pt x="292062" y="654230"/>
                      <a:pt x="284147" y="668317"/>
                    </a:cubicBezTo>
                    <a:cubicBezTo>
                      <a:pt x="276232" y="682403"/>
                      <a:pt x="261340" y="698637"/>
                      <a:pt x="255974" y="714199"/>
                    </a:cubicBezTo>
                    <a:cubicBezTo>
                      <a:pt x="250607" y="729762"/>
                      <a:pt x="252754" y="745727"/>
                      <a:pt x="251949" y="761691"/>
                    </a:cubicBezTo>
                    <a:cubicBezTo>
                      <a:pt x="251144" y="777656"/>
                      <a:pt x="252351" y="796036"/>
                      <a:pt x="251143" y="809989"/>
                    </a:cubicBezTo>
                    <a:cubicBezTo>
                      <a:pt x="249937" y="823941"/>
                      <a:pt x="245778" y="837357"/>
                      <a:pt x="244705" y="845406"/>
                    </a:cubicBezTo>
                    <a:cubicBezTo>
                      <a:pt x="243631" y="853456"/>
                      <a:pt x="243095" y="855603"/>
                      <a:pt x="244705" y="858286"/>
                    </a:cubicBezTo>
                    <a:cubicBezTo>
                      <a:pt x="245509" y="859627"/>
                      <a:pt x="245945" y="860298"/>
                      <a:pt x="247169" y="860701"/>
                    </a:cubicBezTo>
                    <a:lnTo>
                      <a:pt x="254364" y="861506"/>
                    </a:lnTo>
                    <a:cubicBezTo>
                      <a:pt x="262279" y="862042"/>
                      <a:pt x="277305" y="862310"/>
                      <a:pt x="292196" y="861506"/>
                    </a:cubicBezTo>
                    <a:cubicBezTo>
                      <a:pt x="307088" y="860701"/>
                      <a:pt x="333115" y="857749"/>
                      <a:pt x="343713" y="856676"/>
                    </a:cubicBezTo>
                    <a:cubicBezTo>
                      <a:pt x="343747" y="856684"/>
                      <a:pt x="352708" y="858681"/>
                      <a:pt x="355787" y="855066"/>
                    </a:cubicBezTo>
                    <a:cubicBezTo>
                      <a:pt x="358873" y="851443"/>
                      <a:pt x="361288" y="845675"/>
                      <a:pt x="362227" y="834943"/>
                    </a:cubicBezTo>
                    <a:cubicBezTo>
                      <a:pt x="363166" y="824210"/>
                      <a:pt x="363568" y="808110"/>
                      <a:pt x="361422" y="790670"/>
                    </a:cubicBezTo>
                    <a:cubicBezTo>
                      <a:pt x="359275" y="773229"/>
                      <a:pt x="352299" y="754313"/>
                      <a:pt x="349348" y="730298"/>
                    </a:cubicBezTo>
                    <a:cubicBezTo>
                      <a:pt x="346396" y="706284"/>
                      <a:pt x="344786" y="666439"/>
                      <a:pt x="343713" y="646584"/>
                    </a:cubicBezTo>
                    <a:cubicBezTo>
                      <a:pt x="342640" y="626728"/>
                      <a:pt x="342505" y="619886"/>
                      <a:pt x="342908" y="611166"/>
                    </a:cubicBezTo>
                    <a:cubicBezTo>
                      <a:pt x="343310" y="602446"/>
                      <a:pt x="343713" y="600299"/>
                      <a:pt x="346128" y="594262"/>
                    </a:cubicBezTo>
                    <a:cubicBezTo>
                      <a:pt x="348543" y="588224"/>
                      <a:pt x="356727" y="580443"/>
                      <a:pt x="357397" y="574942"/>
                    </a:cubicBezTo>
                    <a:cubicBezTo>
                      <a:pt x="358068" y="569442"/>
                      <a:pt x="353104" y="565149"/>
                      <a:pt x="350153" y="561258"/>
                    </a:cubicBezTo>
                    <a:close/>
                    <a:moveTo>
                      <a:pt x="287206" y="507649"/>
                    </a:moveTo>
                    <a:cubicBezTo>
                      <a:pt x="299226" y="561742"/>
                      <a:pt x="284201" y="574621"/>
                      <a:pt x="274326" y="617123"/>
                    </a:cubicBezTo>
                    <a:cubicBezTo>
                      <a:pt x="272445" y="626330"/>
                      <a:pt x="270907" y="639718"/>
                      <a:pt x="269556" y="655910"/>
                    </a:cubicBezTo>
                    <a:cubicBezTo>
                      <a:pt x="284442" y="632717"/>
                      <a:pt x="299146" y="601494"/>
                      <a:pt x="316184" y="596515"/>
                    </a:cubicBezTo>
                    <a:cubicBezTo>
                      <a:pt x="314038" y="589217"/>
                      <a:pt x="305451" y="583528"/>
                      <a:pt x="306524" y="574621"/>
                    </a:cubicBezTo>
                    <a:cubicBezTo>
                      <a:pt x="307147" y="563679"/>
                      <a:pt x="314405" y="554950"/>
                      <a:pt x="319949" y="545622"/>
                    </a:cubicBezTo>
                    <a:cubicBezTo>
                      <a:pt x="307786" y="539695"/>
                      <a:pt x="298568" y="525281"/>
                      <a:pt x="287206" y="507649"/>
                    </a:cubicBezTo>
                    <a:close/>
                    <a:moveTo>
                      <a:pt x="264023" y="488330"/>
                    </a:moveTo>
                    <a:cubicBezTo>
                      <a:pt x="251143" y="497345"/>
                      <a:pt x="249856" y="517952"/>
                      <a:pt x="240841" y="523104"/>
                    </a:cubicBezTo>
                    <a:cubicBezTo>
                      <a:pt x="177304" y="542852"/>
                      <a:pt x="103463" y="578055"/>
                      <a:pt x="46365" y="613259"/>
                    </a:cubicBezTo>
                    <a:cubicBezTo>
                      <a:pt x="17601" y="630002"/>
                      <a:pt x="12021" y="649320"/>
                      <a:pt x="6440" y="682806"/>
                    </a:cubicBezTo>
                    <a:lnTo>
                      <a:pt x="0" y="793568"/>
                    </a:lnTo>
                    <a:cubicBezTo>
                      <a:pt x="60532" y="849807"/>
                      <a:pt x="154551" y="840362"/>
                      <a:pt x="230537" y="859252"/>
                    </a:cubicBezTo>
                    <a:cubicBezTo>
                      <a:pt x="242128" y="755359"/>
                      <a:pt x="233113" y="597374"/>
                      <a:pt x="265311" y="542422"/>
                    </a:cubicBezTo>
                    <a:close/>
                    <a:moveTo>
                      <a:pt x="473953" y="438101"/>
                    </a:moveTo>
                    <a:cubicBezTo>
                      <a:pt x="449999" y="476765"/>
                      <a:pt x="395188" y="525303"/>
                      <a:pt x="351750" y="542487"/>
                    </a:cubicBezTo>
                    <a:cubicBezTo>
                      <a:pt x="364570" y="553524"/>
                      <a:pt x="369815" y="566569"/>
                      <a:pt x="371564" y="577519"/>
                    </a:cubicBezTo>
                    <a:cubicBezTo>
                      <a:pt x="371510" y="588305"/>
                      <a:pt x="363407" y="591042"/>
                      <a:pt x="359329" y="597803"/>
                    </a:cubicBezTo>
                    <a:cubicBezTo>
                      <a:pt x="364928" y="652187"/>
                      <a:pt x="355161" y="701683"/>
                      <a:pt x="373271" y="759858"/>
                    </a:cubicBezTo>
                    <a:cubicBezTo>
                      <a:pt x="382583" y="726860"/>
                      <a:pt x="394118" y="694072"/>
                      <a:pt x="406981" y="659624"/>
                    </a:cubicBezTo>
                    <a:cubicBezTo>
                      <a:pt x="434458" y="598661"/>
                      <a:pt x="476100" y="510653"/>
                      <a:pt x="473953" y="438101"/>
                    </a:cubicBezTo>
                    <a:close/>
                    <a:moveTo>
                      <a:pt x="444331" y="425221"/>
                    </a:moveTo>
                    <a:cubicBezTo>
                      <a:pt x="417365" y="457420"/>
                      <a:pt x="365446" y="490423"/>
                      <a:pt x="342908" y="490423"/>
                    </a:cubicBezTo>
                    <a:cubicBezTo>
                      <a:pt x="312722" y="489752"/>
                      <a:pt x="309100" y="473787"/>
                      <a:pt x="292196" y="465469"/>
                    </a:cubicBezTo>
                    <a:cubicBezTo>
                      <a:pt x="308026" y="468152"/>
                      <a:pt x="323455" y="474056"/>
                      <a:pt x="339687" y="473519"/>
                    </a:cubicBezTo>
                    <a:cubicBezTo>
                      <a:pt x="376180" y="473116"/>
                      <a:pt x="416695" y="446955"/>
                      <a:pt x="444331" y="425221"/>
                    </a:cubicBezTo>
                    <a:close/>
                    <a:moveTo>
                      <a:pt x="488121" y="409767"/>
                    </a:moveTo>
                    <a:cubicBezTo>
                      <a:pt x="533198" y="465576"/>
                      <a:pt x="410846" y="692681"/>
                      <a:pt x="376072" y="855388"/>
                    </a:cubicBezTo>
                    <a:cubicBezTo>
                      <a:pt x="489409" y="838216"/>
                      <a:pt x="600169" y="850665"/>
                      <a:pt x="716082" y="803871"/>
                    </a:cubicBezTo>
                    <a:cubicBezTo>
                      <a:pt x="761588" y="800437"/>
                      <a:pt x="808382" y="816321"/>
                      <a:pt x="852601" y="793568"/>
                    </a:cubicBezTo>
                    <a:cubicBezTo>
                      <a:pt x="845303" y="743338"/>
                      <a:pt x="867627" y="646745"/>
                      <a:pt x="772750" y="588788"/>
                    </a:cubicBezTo>
                    <a:cubicBezTo>
                      <a:pt x="729391" y="552726"/>
                      <a:pt x="648681" y="519241"/>
                      <a:pt x="565395" y="492193"/>
                    </a:cubicBezTo>
                    <a:cubicBezTo>
                      <a:pt x="534486" y="468582"/>
                      <a:pt x="515167" y="433379"/>
                      <a:pt x="488121" y="409767"/>
                    </a:cubicBezTo>
                    <a:close/>
                    <a:moveTo>
                      <a:pt x="314467" y="207"/>
                    </a:moveTo>
                    <a:cubicBezTo>
                      <a:pt x="302302" y="922"/>
                      <a:pt x="297652" y="4142"/>
                      <a:pt x="285488" y="8794"/>
                    </a:cubicBezTo>
                    <a:cubicBezTo>
                      <a:pt x="273325" y="13444"/>
                      <a:pt x="253826" y="20241"/>
                      <a:pt x="241485" y="28112"/>
                    </a:cubicBezTo>
                    <a:cubicBezTo>
                      <a:pt x="229142" y="35983"/>
                      <a:pt x="220377" y="43853"/>
                      <a:pt x="211433" y="56017"/>
                    </a:cubicBezTo>
                    <a:cubicBezTo>
                      <a:pt x="202489" y="68180"/>
                      <a:pt x="193724" y="87320"/>
                      <a:pt x="187821" y="101095"/>
                    </a:cubicBezTo>
                    <a:cubicBezTo>
                      <a:pt x="181919" y="114868"/>
                      <a:pt x="176194" y="121665"/>
                      <a:pt x="176015" y="138658"/>
                    </a:cubicBezTo>
                    <a:cubicBezTo>
                      <a:pt x="175837" y="155652"/>
                      <a:pt x="182813" y="191249"/>
                      <a:pt x="186748" y="203055"/>
                    </a:cubicBezTo>
                    <a:lnTo>
                      <a:pt x="187520" y="204007"/>
                    </a:lnTo>
                    <a:lnTo>
                      <a:pt x="191027" y="223887"/>
                    </a:lnTo>
                    <a:cubicBezTo>
                      <a:pt x="185407" y="222374"/>
                      <a:pt x="182724" y="232570"/>
                      <a:pt x="184333" y="241693"/>
                    </a:cubicBezTo>
                    <a:cubicBezTo>
                      <a:pt x="185943" y="250815"/>
                      <a:pt x="196139" y="265841"/>
                      <a:pt x="198822" y="277111"/>
                    </a:cubicBezTo>
                    <a:cubicBezTo>
                      <a:pt x="201505" y="288380"/>
                      <a:pt x="200298" y="299113"/>
                      <a:pt x="200432" y="309308"/>
                    </a:cubicBezTo>
                    <a:cubicBezTo>
                      <a:pt x="200566" y="319505"/>
                      <a:pt x="198285" y="331579"/>
                      <a:pt x="199627" y="338286"/>
                    </a:cubicBezTo>
                    <a:cubicBezTo>
                      <a:pt x="200969" y="344995"/>
                      <a:pt x="205128" y="346739"/>
                      <a:pt x="208482" y="349556"/>
                    </a:cubicBezTo>
                    <a:cubicBezTo>
                      <a:pt x="211836" y="352373"/>
                      <a:pt x="218275" y="343385"/>
                      <a:pt x="219751" y="355191"/>
                    </a:cubicBezTo>
                    <a:cubicBezTo>
                      <a:pt x="221227" y="366997"/>
                      <a:pt x="229008" y="395036"/>
                      <a:pt x="236655" y="410733"/>
                    </a:cubicBezTo>
                    <a:cubicBezTo>
                      <a:pt x="244301" y="426429"/>
                      <a:pt x="259999" y="439845"/>
                      <a:pt x="265633" y="449370"/>
                    </a:cubicBezTo>
                    <a:cubicBezTo>
                      <a:pt x="271268" y="458895"/>
                      <a:pt x="266438" y="460372"/>
                      <a:pt x="270463" y="467884"/>
                    </a:cubicBezTo>
                    <a:cubicBezTo>
                      <a:pt x="274487" y="475397"/>
                      <a:pt x="281330" y="484118"/>
                      <a:pt x="289781" y="494447"/>
                    </a:cubicBezTo>
                    <a:cubicBezTo>
                      <a:pt x="298233" y="504778"/>
                      <a:pt x="311246" y="524097"/>
                      <a:pt x="321175" y="529866"/>
                    </a:cubicBezTo>
                    <a:cubicBezTo>
                      <a:pt x="331102" y="535634"/>
                      <a:pt x="333383" y="536305"/>
                      <a:pt x="349348" y="529061"/>
                    </a:cubicBezTo>
                    <a:cubicBezTo>
                      <a:pt x="365312" y="521816"/>
                      <a:pt x="399657" y="499680"/>
                      <a:pt x="416963" y="486398"/>
                    </a:cubicBezTo>
                    <a:cubicBezTo>
                      <a:pt x="434270" y="473116"/>
                      <a:pt x="444331" y="459298"/>
                      <a:pt x="453186" y="449370"/>
                    </a:cubicBezTo>
                    <a:cubicBezTo>
                      <a:pt x="462041" y="439443"/>
                      <a:pt x="466601" y="434746"/>
                      <a:pt x="470089" y="426831"/>
                    </a:cubicBezTo>
                    <a:cubicBezTo>
                      <a:pt x="473577" y="418917"/>
                      <a:pt x="471968" y="409526"/>
                      <a:pt x="474115" y="401878"/>
                    </a:cubicBezTo>
                    <a:cubicBezTo>
                      <a:pt x="476261" y="394231"/>
                      <a:pt x="480688" y="390341"/>
                      <a:pt x="482969" y="380949"/>
                    </a:cubicBezTo>
                    <a:cubicBezTo>
                      <a:pt x="485249" y="371558"/>
                      <a:pt x="484847" y="352373"/>
                      <a:pt x="487799" y="345532"/>
                    </a:cubicBezTo>
                    <a:cubicBezTo>
                      <a:pt x="490750" y="338689"/>
                      <a:pt x="496788" y="343787"/>
                      <a:pt x="500678" y="339897"/>
                    </a:cubicBezTo>
                    <a:cubicBezTo>
                      <a:pt x="504569" y="336006"/>
                      <a:pt x="508996" y="331177"/>
                      <a:pt x="511142" y="322188"/>
                    </a:cubicBezTo>
                    <a:cubicBezTo>
                      <a:pt x="513289" y="313199"/>
                      <a:pt x="511947" y="299515"/>
                      <a:pt x="513557" y="285965"/>
                    </a:cubicBezTo>
                    <a:cubicBezTo>
                      <a:pt x="515167" y="272415"/>
                      <a:pt x="520131" y="252425"/>
                      <a:pt x="520801" y="240888"/>
                    </a:cubicBezTo>
                    <a:cubicBezTo>
                      <a:pt x="521473" y="229350"/>
                      <a:pt x="520131" y="222508"/>
                      <a:pt x="517582" y="216739"/>
                    </a:cubicBezTo>
                    <a:lnTo>
                      <a:pt x="505508" y="206274"/>
                    </a:lnTo>
                    <a:cubicBezTo>
                      <a:pt x="501482" y="205872"/>
                      <a:pt x="496788" y="209897"/>
                      <a:pt x="493433" y="214324"/>
                    </a:cubicBezTo>
                    <a:cubicBezTo>
                      <a:pt x="490893" y="217677"/>
                      <a:pt x="489661" y="229032"/>
                      <a:pt x="487525" y="232413"/>
                    </a:cubicBezTo>
                    <a:lnTo>
                      <a:pt x="486770" y="223363"/>
                    </a:lnTo>
                    <a:lnTo>
                      <a:pt x="488165" y="195462"/>
                    </a:lnTo>
                    <a:lnTo>
                      <a:pt x="490482" y="198762"/>
                    </a:lnTo>
                    <a:cubicBezTo>
                      <a:pt x="492986" y="200550"/>
                      <a:pt x="494238" y="195185"/>
                      <a:pt x="496921" y="194469"/>
                    </a:cubicBezTo>
                    <a:cubicBezTo>
                      <a:pt x="499604" y="193754"/>
                      <a:pt x="503002" y="193217"/>
                      <a:pt x="506581" y="194469"/>
                    </a:cubicBezTo>
                    <a:cubicBezTo>
                      <a:pt x="510158" y="195721"/>
                      <a:pt x="516419" y="202876"/>
                      <a:pt x="518386" y="201981"/>
                    </a:cubicBezTo>
                    <a:cubicBezTo>
                      <a:pt x="519370" y="201534"/>
                      <a:pt x="519370" y="200774"/>
                      <a:pt x="519124" y="198896"/>
                    </a:cubicBezTo>
                    <a:lnTo>
                      <a:pt x="518386" y="189102"/>
                    </a:lnTo>
                    <a:cubicBezTo>
                      <a:pt x="518391" y="189053"/>
                      <a:pt x="521603" y="159753"/>
                      <a:pt x="518386" y="142952"/>
                    </a:cubicBezTo>
                    <a:cubicBezTo>
                      <a:pt x="515167" y="126137"/>
                      <a:pt x="506760" y="103778"/>
                      <a:pt x="499068" y="88215"/>
                    </a:cubicBezTo>
                    <a:cubicBezTo>
                      <a:pt x="491376" y="72652"/>
                      <a:pt x="479213" y="57627"/>
                      <a:pt x="472236" y="49577"/>
                    </a:cubicBezTo>
                    <a:cubicBezTo>
                      <a:pt x="465260" y="41528"/>
                      <a:pt x="466154" y="44211"/>
                      <a:pt x="457210" y="39918"/>
                    </a:cubicBezTo>
                    <a:cubicBezTo>
                      <a:pt x="448266" y="35625"/>
                      <a:pt x="435030" y="29722"/>
                      <a:pt x="418572" y="23818"/>
                    </a:cubicBezTo>
                    <a:cubicBezTo>
                      <a:pt x="402117" y="17916"/>
                      <a:pt x="375821" y="8435"/>
                      <a:pt x="358470" y="4500"/>
                    </a:cubicBezTo>
                    <a:cubicBezTo>
                      <a:pt x="341118" y="564"/>
                      <a:pt x="326630" y="-509"/>
                      <a:pt x="314467" y="20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578">
                  <a:defRPr/>
                </a:pPr>
                <a:endParaRPr lang="en-US" sz="1797" kern="0">
                  <a:solidFill>
                    <a:srgbClr val="FFFFFF"/>
                  </a:solidFill>
                  <a:latin typeface="Segoe UI"/>
                </a:endParaRPr>
              </a:p>
            </p:txBody>
          </p:sp>
          <p:sp>
            <p:nvSpPr>
              <p:cNvPr id="341" name="Freeform 334">
                <a:extLst>
                  <a:ext uri="{FF2B5EF4-FFF2-40B4-BE49-F238E27FC236}">
                    <a16:creationId xmlns:a16="http://schemas.microsoft.com/office/drawing/2014/main" id="{9728B834-6F60-4E9F-A63B-C3EEAA7F2000}"/>
                  </a:ext>
                </a:extLst>
              </p:cNvPr>
              <p:cNvSpPr/>
              <p:nvPr/>
            </p:nvSpPr>
            <p:spPr>
              <a:xfrm>
                <a:off x="5391990" y="2823081"/>
                <a:ext cx="2628060" cy="3263867"/>
              </a:xfrm>
              <a:custGeom>
                <a:avLst/>
                <a:gdLst>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338138 w 3900488"/>
                  <a:gd name="connsiteY63" fmla="*/ 4760516 h 4808141"/>
                  <a:gd name="connsiteX64" fmla="*/ 161925 w 3900488"/>
                  <a:gd name="connsiteY64" fmla="*/ 4436666 h 4808141"/>
                  <a:gd name="connsiteX65" fmla="*/ 57150 w 3900488"/>
                  <a:gd name="connsiteY65" fmla="*/ 4141391 h 4808141"/>
                  <a:gd name="connsiteX66" fmla="*/ 0 w 3900488"/>
                  <a:gd name="connsiteY66" fmla="*/ 3855641 h 4808141"/>
                  <a:gd name="connsiteX67" fmla="*/ 23813 w 3900488"/>
                  <a:gd name="connsiteY67" fmla="*/ 3703241 h 4808141"/>
                  <a:gd name="connsiteX68" fmla="*/ 219075 w 3900488"/>
                  <a:gd name="connsiteY68" fmla="*/ 3584179 h 4808141"/>
                  <a:gd name="connsiteX69" fmla="*/ 533400 w 3900488"/>
                  <a:gd name="connsiteY69" fmla="*/ 3450829 h 4808141"/>
                  <a:gd name="connsiteX70" fmla="*/ 933450 w 3900488"/>
                  <a:gd name="connsiteY70" fmla="*/ 3293666 h 4808141"/>
                  <a:gd name="connsiteX71" fmla="*/ 1133475 w 3900488"/>
                  <a:gd name="connsiteY71" fmla="*/ 3217466 h 4808141"/>
                  <a:gd name="connsiteX72" fmla="*/ 1276350 w 3900488"/>
                  <a:gd name="connsiteY72" fmla="*/ 2950766 h 4808141"/>
                  <a:gd name="connsiteX73" fmla="*/ 1371600 w 3900488"/>
                  <a:gd name="connsiteY73" fmla="*/ 2888854 h 4808141"/>
                  <a:gd name="connsiteX74" fmla="*/ 1443038 w 3900488"/>
                  <a:gd name="connsiteY74" fmla="*/ 2750741 h 4808141"/>
                  <a:gd name="connsiteX75" fmla="*/ 1428750 w 3900488"/>
                  <a:gd name="connsiteY75" fmla="*/ 2665016 h 4808141"/>
                  <a:gd name="connsiteX76" fmla="*/ 1432339 w 3900488"/>
                  <a:gd name="connsiteY76" fmla="*/ 2655556 h 4808141"/>
                  <a:gd name="connsiteX77" fmla="*/ 1411332 w 3900488"/>
                  <a:gd name="connsiteY77" fmla="*/ 2630242 h 4808141"/>
                  <a:gd name="connsiteX78" fmla="*/ 1169833 w 3900488"/>
                  <a:gd name="connsiteY78" fmla="*/ 2059985 h 4808141"/>
                  <a:gd name="connsiteX79" fmla="*/ 975688 w 3900488"/>
                  <a:gd name="connsiteY79" fmla="*/ 1612672 h 4808141"/>
                  <a:gd name="connsiteX80" fmla="*/ 1051451 w 3900488"/>
                  <a:gd name="connsiteY80" fmla="*/ 1487109 h 4808141"/>
                  <a:gd name="connsiteX81" fmla="*/ 1016847 w 3900488"/>
                  <a:gd name="connsiteY81" fmla="*/ 1277790 h 4808141"/>
                  <a:gd name="connsiteX82" fmla="*/ 933449 w 3900488"/>
                  <a:gd name="connsiteY82" fmla="*/ 1341041 h 4808141"/>
                  <a:gd name="connsiteX83" fmla="*/ 882649 w 3900488"/>
                  <a:gd name="connsiteY83" fmla="*/ 1404541 h 4808141"/>
                  <a:gd name="connsiteX84" fmla="*/ 838199 w 3900488"/>
                  <a:gd name="connsiteY84" fmla="*/ 1525191 h 4808141"/>
                  <a:gd name="connsiteX85" fmla="*/ 857249 w 3900488"/>
                  <a:gd name="connsiteY85" fmla="*/ 1645841 h 4808141"/>
                  <a:gd name="connsiteX86" fmla="*/ 888999 w 3900488"/>
                  <a:gd name="connsiteY86" fmla="*/ 1829991 h 4808141"/>
                  <a:gd name="connsiteX87" fmla="*/ 965199 w 3900488"/>
                  <a:gd name="connsiteY87" fmla="*/ 2128441 h 4808141"/>
                  <a:gd name="connsiteX88" fmla="*/ 1047749 w 3900488"/>
                  <a:gd name="connsiteY88" fmla="*/ 2198291 h 4808141"/>
                  <a:gd name="connsiteX89" fmla="*/ 1098549 w 3900488"/>
                  <a:gd name="connsiteY89" fmla="*/ 2331641 h 4808141"/>
                  <a:gd name="connsiteX90" fmla="*/ 1219199 w 3900488"/>
                  <a:gd name="connsiteY90" fmla="*/ 2566591 h 4808141"/>
                  <a:gd name="connsiteX91" fmla="*/ 1269999 w 3900488"/>
                  <a:gd name="connsiteY91" fmla="*/ 2712641 h 4808141"/>
                  <a:gd name="connsiteX92" fmla="*/ 1130299 w 3900488"/>
                  <a:gd name="connsiteY92" fmla="*/ 2750741 h 4808141"/>
                  <a:gd name="connsiteX93" fmla="*/ 927099 w 3900488"/>
                  <a:gd name="connsiteY93" fmla="*/ 2776141 h 4808141"/>
                  <a:gd name="connsiteX94" fmla="*/ 742949 w 3900488"/>
                  <a:gd name="connsiteY94" fmla="*/ 2731691 h 4808141"/>
                  <a:gd name="connsiteX95" fmla="*/ 660399 w 3900488"/>
                  <a:gd name="connsiteY95" fmla="*/ 2591991 h 4808141"/>
                  <a:gd name="connsiteX96" fmla="*/ 622299 w 3900488"/>
                  <a:gd name="connsiteY96" fmla="*/ 2344341 h 4808141"/>
                  <a:gd name="connsiteX97" fmla="*/ 634999 w 3900488"/>
                  <a:gd name="connsiteY97" fmla="*/ 2020491 h 4808141"/>
                  <a:gd name="connsiteX98" fmla="*/ 736599 w 3900488"/>
                  <a:gd name="connsiteY98" fmla="*/ 1328341 h 4808141"/>
                  <a:gd name="connsiteX99" fmla="*/ 971549 w 3900488"/>
                  <a:gd name="connsiteY99" fmla="*/ 623491 h 4808141"/>
                  <a:gd name="connsiteX100" fmla="*/ 1168399 w 3900488"/>
                  <a:gd name="connsiteY100" fmla="*/ 299641 h 4808141"/>
                  <a:gd name="connsiteX101" fmla="*/ 1358899 w 3900488"/>
                  <a:gd name="connsiteY101" fmla="*/ 140891 h 4808141"/>
                  <a:gd name="connsiteX102" fmla="*/ 1530349 w 3900488"/>
                  <a:gd name="connsiteY102" fmla="*/ 115491 h 4808141"/>
                  <a:gd name="connsiteX103" fmla="*/ 1676399 w 3900488"/>
                  <a:gd name="connsiteY103" fmla="*/ 13891 h 4808141"/>
                  <a:gd name="connsiteX104" fmla="*/ 1813321 w 3900488"/>
                  <a:gd name="connsiteY104" fmla="*/ 0 h 4808141"/>
                  <a:gd name="connsiteX0" fmla="*/ 3060949 w 3900488"/>
                  <a:gd name="connsiteY0" fmla="*/ 1005769 h 4760516"/>
                  <a:gd name="connsiteX1" fmla="*/ 3081338 w 3900488"/>
                  <a:gd name="connsiteY1" fmla="*/ 1026716 h 4760516"/>
                  <a:gd name="connsiteX2" fmla="*/ 3167063 w 3900488"/>
                  <a:gd name="connsiteY2" fmla="*/ 1369616 h 4760516"/>
                  <a:gd name="connsiteX3" fmla="*/ 3252788 w 3900488"/>
                  <a:gd name="connsiteY3" fmla="*/ 1822054 h 4760516"/>
                  <a:gd name="connsiteX4" fmla="*/ 3281363 w 3900488"/>
                  <a:gd name="connsiteY4" fmla="*/ 2255441 h 4760516"/>
                  <a:gd name="connsiteX5" fmla="*/ 3271838 w 3900488"/>
                  <a:gd name="connsiteY5" fmla="*/ 2526904 h 4760516"/>
                  <a:gd name="connsiteX6" fmla="*/ 3190875 w 3900488"/>
                  <a:gd name="connsiteY6" fmla="*/ 2722166 h 4760516"/>
                  <a:gd name="connsiteX7" fmla="*/ 3043238 w 3900488"/>
                  <a:gd name="connsiteY7" fmla="*/ 2750741 h 4760516"/>
                  <a:gd name="connsiteX8" fmla="*/ 2809875 w 3900488"/>
                  <a:gd name="connsiteY8" fmla="*/ 2731691 h 4760516"/>
                  <a:gd name="connsiteX9" fmla="*/ 2633663 w 3900488"/>
                  <a:gd name="connsiteY9" fmla="*/ 2669779 h 4760516"/>
                  <a:gd name="connsiteX10" fmla="*/ 2657475 w 3900488"/>
                  <a:gd name="connsiteY10" fmla="*/ 2603104 h 4760516"/>
                  <a:gd name="connsiteX11" fmla="*/ 2752725 w 3900488"/>
                  <a:gd name="connsiteY11" fmla="*/ 2474516 h 4760516"/>
                  <a:gd name="connsiteX12" fmla="*/ 2843213 w 3900488"/>
                  <a:gd name="connsiteY12" fmla="*/ 2255441 h 4760516"/>
                  <a:gd name="connsiteX13" fmla="*/ 2862263 w 3900488"/>
                  <a:gd name="connsiteY13" fmla="*/ 2160191 h 4760516"/>
                  <a:gd name="connsiteX14" fmla="*/ 2919413 w 3900488"/>
                  <a:gd name="connsiteY14" fmla="*/ 2098279 h 4760516"/>
                  <a:gd name="connsiteX15" fmla="*/ 3000375 w 3900488"/>
                  <a:gd name="connsiteY15" fmla="*/ 1855391 h 4760516"/>
                  <a:gd name="connsiteX16" fmla="*/ 3057525 w 3900488"/>
                  <a:gd name="connsiteY16" fmla="*/ 1598216 h 4760516"/>
                  <a:gd name="connsiteX17" fmla="*/ 3062288 w 3900488"/>
                  <a:gd name="connsiteY17" fmla="*/ 1483916 h 4760516"/>
                  <a:gd name="connsiteX18" fmla="*/ 3009900 w 3900488"/>
                  <a:gd name="connsiteY18" fmla="*/ 1379141 h 4760516"/>
                  <a:gd name="connsiteX19" fmla="*/ 2957513 w 3900488"/>
                  <a:gd name="connsiteY19" fmla="*/ 1331516 h 4760516"/>
                  <a:gd name="connsiteX20" fmla="*/ 2947988 w 3900488"/>
                  <a:gd name="connsiteY20" fmla="*/ 1236266 h 4760516"/>
                  <a:gd name="connsiteX21" fmla="*/ 2957513 w 3900488"/>
                  <a:gd name="connsiteY21" fmla="*/ 1121966 h 4760516"/>
                  <a:gd name="connsiteX22" fmla="*/ 3005138 w 3900488"/>
                  <a:gd name="connsiteY22" fmla="*/ 1050529 h 4760516"/>
                  <a:gd name="connsiteX23" fmla="*/ 3060949 w 3900488"/>
                  <a:gd name="connsiteY23" fmla="*/ 1005769 h 4760516"/>
                  <a:gd name="connsiteX24" fmla="*/ 1813321 w 3900488"/>
                  <a:gd name="connsiteY24" fmla="*/ 0 h 4760516"/>
                  <a:gd name="connsiteX25" fmla="*/ 1955799 w 3900488"/>
                  <a:gd name="connsiteY25" fmla="*/ 1191 h 4760516"/>
                  <a:gd name="connsiteX26" fmla="*/ 2152649 w 3900488"/>
                  <a:gd name="connsiteY26" fmla="*/ 20241 h 4760516"/>
                  <a:gd name="connsiteX27" fmla="*/ 2381249 w 3900488"/>
                  <a:gd name="connsiteY27" fmla="*/ 121841 h 4760516"/>
                  <a:gd name="connsiteX28" fmla="*/ 2641599 w 3900488"/>
                  <a:gd name="connsiteY28" fmla="*/ 331391 h 4760516"/>
                  <a:gd name="connsiteX29" fmla="*/ 2946399 w 3900488"/>
                  <a:gd name="connsiteY29" fmla="*/ 693341 h 4760516"/>
                  <a:gd name="connsiteX30" fmla="*/ 3060699 w 3900488"/>
                  <a:gd name="connsiteY30" fmla="*/ 883841 h 4760516"/>
                  <a:gd name="connsiteX31" fmla="*/ 3009899 w 3900488"/>
                  <a:gd name="connsiteY31" fmla="*/ 1004491 h 4760516"/>
                  <a:gd name="connsiteX32" fmla="*/ 2901949 w 3900488"/>
                  <a:gd name="connsiteY32" fmla="*/ 1061641 h 4760516"/>
                  <a:gd name="connsiteX33" fmla="*/ 2825749 w 3900488"/>
                  <a:gd name="connsiteY33" fmla="*/ 998141 h 4760516"/>
                  <a:gd name="connsiteX34" fmla="*/ 2654299 w 3900488"/>
                  <a:gd name="connsiteY34" fmla="*/ 820341 h 4760516"/>
                  <a:gd name="connsiteX35" fmla="*/ 2349499 w 3900488"/>
                  <a:gd name="connsiteY35" fmla="*/ 674291 h 4760516"/>
                  <a:gd name="connsiteX36" fmla="*/ 2019299 w 3900488"/>
                  <a:gd name="connsiteY36" fmla="*/ 674291 h 4760516"/>
                  <a:gd name="connsiteX37" fmla="*/ 2343149 w 3900488"/>
                  <a:gd name="connsiteY37" fmla="*/ 769541 h 4760516"/>
                  <a:gd name="connsiteX38" fmla="*/ 2552699 w 3900488"/>
                  <a:gd name="connsiteY38" fmla="*/ 909241 h 4760516"/>
                  <a:gd name="connsiteX39" fmla="*/ 2629040 w 3900488"/>
                  <a:gd name="connsiteY39" fmla="*/ 973620 h 4760516"/>
                  <a:gd name="connsiteX40" fmla="*/ 2900212 w 3900488"/>
                  <a:gd name="connsiteY40" fmla="*/ 1067700 h 4760516"/>
                  <a:gd name="connsiteX41" fmla="*/ 2829545 w 3900488"/>
                  <a:gd name="connsiteY41" fmla="*/ 1212445 h 4760516"/>
                  <a:gd name="connsiteX42" fmla="*/ 2829545 w 3900488"/>
                  <a:gd name="connsiteY42" fmla="*/ 1445256 h 4760516"/>
                  <a:gd name="connsiteX43" fmla="*/ 2938456 w 3900488"/>
                  <a:gd name="connsiteY43" fmla="*/ 1531580 h 4760516"/>
                  <a:gd name="connsiteX44" fmla="*/ 2822442 w 3900488"/>
                  <a:gd name="connsiteY44" fmla="*/ 2041674 h 4760516"/>
                  <a:gd name="connsiteX45" fmla="*/ 2756148 w 3900488"/>
                  <a:gd name="connsiteY45" fmla="*/ 2086142 h 4760516"/>
                  <a:gd name="connsiteX46" fmla="*/ 2479547 w 3900488"/>
                  <a:gd name="connsiteY46" fmla="*/ 2698176 h 4760516"/>
                  <a:gd name="connsiteX47" fmla="*/ 2528888 w 3900488"/>
                  <a:gd name="connsiteY47" fmla="*/ 2817416 h 4760516"/>
                  <a:gd name="connsiteX48" fmla="*/ 2590800 w 3900488"/>
                  <a:gd name="connsiteY48" fmla="*/ 2874566 h 4760516"/>
                  <a:gd name="connsiteX49" fmla="*/ 2657475 w 3900488"/>
                  <a:gd name="connsiteY49" fmla="*/ 2884091 h 4760516"/>
                  <a:gd name="connsiteX50" fmla="*/ 2681288 w 3900488"/>
                  <a:gd name="connsiteY50" fmla="*/ 2912666 h 4760516"/>
                  <a:gd name="connsiteX51" fmla="*/ 2747963 w 3900488"/>
                  <a:gd name="connsiteY51" fmla="*/ 3079354 h 4760516"/>
                  <a:gd name="connsiteX52" fmla="*/ 2843213 w 3900488"/>
                  <a:gd name="connsiteY52" fmla="*/ 3174604 h 4760516"/>
                  <a:gd name="connsiteX53" fmla="*/ 2938463 w 3900488"/>
                  <a:gd name="connsiteY53" fmla="*/ 3207941 h 4760516"/>
                  <a:gd name="connsiteX54" fmla="*/ 3281363 w 3900488"/>
                  <a:gd name="connsiteY54" fmla="*/ 3317479 h 4760516"/>
                  <a:gd name="connsiteX55" fmla="*/ 3657600 w 3900488"/>
                  <a:gd name="connsiteY55" fmla="*/ 3493691 h 4760516"/>
                  <a:gd name="connsiteX56" fmla="*/ 3867150 w 3900488"/>
                  <a:gd name="connsiteY56" fmla="*/ 3641329 h 4760516"/>
                  <a:gd name="connsiteX57" fmla="*/ 3900488 w 3900488"/>
                  <a:gd name="connsiteY57" fmla="*/ 3769916 h 4760516"/>
                  <a:gd name="connsiteX58" fmla="*/ 3876675 w 3900488"/>
                  <a:gd name="connsiteY58" fmla="*/ 4027091 h 4760516"/>
                  <a:gd name="connsiteX59" fmla="*/ 3790950 w 3900488"/>
                  <a:gd name="connsiteY59" fmla="*/ 4236641 h 4760516"/>
                  <a:gd name="connsiteX60" fmla="*/ 3619500 w 3900488"/>
                  <a:gd name="connsiteY60" fmla="*/ 4598591 h 4760516"/>
                  <a:gd name="connsiteX61" fmla="*/ 3471863 w 3900488"/>
                  <a:gd name="connsiteY61" fmla="*/ 4760516 h 4760516"/>
                  <a:gd name="connsiteX62" fmla="*/ 338138 w 3900488"/>
                  <a:gd name="connsiteY62" fmla="*/ 4760516 h 4760516"/>
                  <a:gd name="connsiteX63" fmla="*/ 161925 w 3900488"/>
                  <a:gd name="connsiteY63" fmla="*/ 4436666 h 4760516"/>
                  <a:gd name="connsiteX64" fmla="*/ 57150 w 3900488"/>
                  <a:gd name="connsiteY64" fmla="*/ 4141391 h 4760516"/>
                  <a:gd name="connsiteX65" fmla="*/ 0 w 3900488"/>
                  <a:gd name="connsiteY65" fmla="*/ 3855641 h 4760516"/>
                  <a:gd name="connsiteX66" fmla="*/ 23813 w 3900488"/>
                  <a:gd name="connsiteY66" fmla="*/ 3703241 h 4760516"/>
                  <a:gd name="connsiteX67" fmla="*/ 219075 w 3900488"/>
                  <a:gd name="connsiteY67" fmla="*/ 3584179 h 4760516"/>
                  <a:gd name="connsiteX68" fmla="*/ 533400 w 3900488"/>
                  <a:gd name="connsiteY68" fmla="*/ 3450829 h 4760516"/>
                  <a:gd name="connsiteX69" fmla="*/ 933450 w 3900488"/>
                  <a:gd name="connsiteY69" fmla="*/ 3293666 h 4760516"/>
                  <a:gd name="connsiteX70" fmla="*/ 1133475 w 3900488"/>
                  <a:gd name="connsiteY70" fmla="*/ 3217466 h 4760516"/>
                  <a:gd name="connsiteX71" fmla="*/ 1276350 w 3900488"/>
                  <a:gd name="connsiteY71" fmla="*/ 2950766 h 4760516"/>
                  <a:gd name="connsiteX72" fmla="*/ 1371600 w 3900488"/>
                  <a:gd name="connsiteY72" fmla="*/ 2888854 h 4760516"/>
                  <a:gd name="connsiteX73" fmla="*/ 1443038 w 3900488"/>
                  <a:gd name="connsiteY73" fmla="*/ 2750741 h 4760516"/>
                  <a:gd name="connsiteX74" fmla="*/ 1428750 w 3900488"/>
                  <a:gd name="connsiteY74" fmla="*/ 2665016 h 4760516"/>
                  <a:gd name="connsiteX75" fmla="*/ 1432339 w 3900488"/>
                  <a:gd name="connsiteY75" fmla="*/ 2655556 h 4760516"/>
                  <a:gd name="connsiteX76" fmla="*/ 1411332 w 3900488"/>
                  <a:gd name="connsiteY76" fmla="*/ 2630242 h 4760516"/>
                  <a:gd name="connsiteX77" fmla="*/ 1169833 w 3900488"/>
                  <a:gd name="connsiteY77" fmla="*/ 2059985 h 4760516"/>
                  <a:gd name="connsiteX78" fmla="*/ 975688 w 3900488"/>
                  <a:gd name="connsiteY78" fmla="*/ 1612672 h 4760516"/>
                  <a:gd name="connsiteX79" fmla="*/ 1051451 w 3900488"/>
                  <a:gd name="connsiteY79" fmla="*/ 1487109 h 4760516"/>
                  <a:gd name="connsiteX80" fmla="*/ 1016847 w 3900488"/>
                  <a:gd name="connsiteY80" fmla="*/ 1277790 h 4760516"/>
                  <a:gd name="connsiteX81" fmla="*/ 933449 w 3900488"/>
                  <a:gd name="connsiteY81" fmla="*/ 1341041 h 4760516"/>
                  <a:gd name="connsiteX82" fmla="*/ 882649 w 3900488"/>
                  <a:gd name="connsiteY82" fmla="*/ 1404541 h 4760516"/>
                  <a:gd name="connsiteX83" fmla="*/ 838199 w 3900488"/>
                  <a:gd name="connsiteY83" fmla="*/ 1525191 h 4760516"/>
                  <a:gd name="connsiteX84" fmla="*/ 857249 w 3900488"/>
                  <a:gd name="connsiteY84" fmla="*/ 1645841 h 4760516"/>
                  <a:gd name="connsiteX85" fmla="*/ 888999 w 3900488"/>
                  <a:gd name="connsiteY85" fmla="*/ 1829991 h 4760516"/>
                  <a:gd name="connsiteX86" fmla="*/ 965199 w 3900488"/>
                  <a:gd name="connsiteY86" fmla="*/ 2128441 h 4760516"/>
                  <a:gd name="connsiteX87" fmla="*/ 1047749 w 3900488"/>
                  <a:gd name="connsiteY87" fmla="*/ 2198291 h 4760516"/>
                  <a:gd name="connsiteX88" fmla="*/ 1098549 w 3900488"/>
                  <a:gd name="connsiteY88" fmla="*/ 2331641 h 4760516"/>
                  <a:gd name="connsiteX89" fmla="*/ 1219199 w 3900488"/>
                  <a:gd name="connsiteY89" fmla="*/ 2566591 h 4760516"/>
                  <a:gd name="connsiteX90" fmla="*/ 1269999 w 3900488"/>
                  <a:gd name="connsiteY90" fmla="*/ 2712641 h 4760516"/>
                  <a:gd name="connsiteX91" fmla="*/ 1130299 w 3900488"/>
                  <a:gd name="connsiteY91" fmla="*/ 2750741 h 4760516"/>
                  <a:gd name="connsiteX92" fmla="*/ 927099 w 3900488"/>
                  <a:gd name="connsiteY92" fmla="*/ 2776141 h 4760516"/>
                  <a:gd name="connsiteX93" fmla="*/ 742949 w 3900488"/>
                  <a:gd name="connsiteY93" fmla="*/ 2731691 h 4760516"/>
                  <a:gd name="connsiteX94" fmla="*/ 660399 w 3900488"/>
                  <a:gd name="connsiteY94" fmla="*/ 2591991 h 4760516"/>
                  <a:gd name="connsiteX95" fmla="*/ 622299 w 3900488"/>
                  <a:gd name="connsiteY95" fmla="*/ 2344341 h 4760516"/>
                  <a:gd name="connsiteX96" fmla="*/ 634999 w 3900488"/>
                  <a:gd name="connsiteY96" fmla="*/ 2020491 h 4760516"/>
                  <a:gd name="connsiteX97" fmla="*/ 736599 w 3900488"/>
                  <a:gd name="connsiteY97" fmla="*/ 1328341 h 4760516"/>
                  <a:gd name="connsiteX98" fmla="*/ 971549 w 3900488"/>
                  <a:gd name="connsiteY98" fmla="*/ 623491 h 4760516"/>
                  <a:gd name="connsiteX99" fmla="*/ 1168399 w 3900488"/>
                  <a:gd name="connsiteY99" fmla="*/ 299641 h 4760516"/>
                  <a:gd name="connsiteX100" fmla="*/ 1358899 w 3900488"/>
                  <a:gd name="connsiteY100" fmla="*/ 140891 h 4760516"/>
                  <a:gd name="connsiteX101" fmla="*/ 1530349 w 3900488"/>
                  <a:gd name="connsiteY101" fmla="*/ 115491 h 4760516"/>
                  <a:gd name="connsiteX102" fmla="*/ 1676399 w 3900488"/>
                  <a:gd name="connsiteY102" fmla="*/ 13891 h 4760516"/>
                  <a:gd name="connsiteX103" fmla="*/ 1813321 w 3900488"/>
                  <a:gd name="connsiteY103" fmla="*/ 0 h 4760516"/>
                  <a:gd name="connsiteX0" fmla="*/ 3061653 w 3901192"/>
                  <a:gd name="connsiteY0" fmla="*/ 1005769 h 4760516"/>
                  <a:gd name="connsiteX1" fmla="*/ 3082042 w 3901192"/>
                  <a:gd name="connsiteY1" fmla="*/ 1026716 h 4760516"/>
                  <a:gd name="connsiteX2" fmla="*/ 3167767 w 3901192"/>
                  <a:gd name="connsiteY2" fmla="*/ 1369616 h 4760516"/>
                  <a:gd name="connsiteX3" fmla="*/ 3253492 w 3901192"/>
                  <a:gd name="connsiteY3" fmla="*/ 1822054 h 4760516"/>
                  <a:gd name="connsiteX4" fmla="*/ 3282067 w 3901192"/>
                  <a:gd name="connsiteY4" fmla="*/ 2255441 h 4760516"/>
                  <a:gd name="connsiteX5" fmla="*/ 3272542 w 3901192"/>
                  <a:gd name="connsiteY5" fmla="*/ 2526904 h 4760516"/>
                  <a:gd name="connsiteX6" fmla="*/ 3191579 w 3901192"/>
                  <a:gd name="connsiteY6" fmla="*/ 2722166 h 4760516"/>
                  <a:gd name="connsiteX7" fmla="*/ 3043942 w 3901192"/>
                  <a:gd name="connsiteY7" fmla="*/ 2750741 h 4760516"/>
                  <a:gd name="connsiteX8" fmla="*/ 2810579 w 3901192"/>
                  <a:gd name="connsiteY8" fmla="*/ 2731691 h 4760516"/>
                  <a:gd name="connsiteX9" fmla="*/ 2634367 w 3901192"/>
                  <a:gd name="connsiteY9" fmla="*/ 2669779 h 4760516"/>
                  <a:gd name="connsiteX10" fmla="*/ 2658179 w 3901192"/>
                  <a:gd name="connsiteY10" fmla="*/ 2603104 h 4760516"/>
                  <a:gd name="connsiteX11" fmla="*/ 2753429 w 3901192"/>
                  <a:gd name="connsiteY11" fmla="*/ 2474516 h 4760516"/>
                  <a:gd name="connsiteX12" fmla="*/ 2843917 w 3901192"/>
                  <a:gd name="connsiteY12" fmla="*/ 2255441 h 4760516"/>
                  <a:gd name="connsiteX13" fmla="*/ 2862967 w 3901192"/>
                  <a:gd name="connsiteY13" fmla="*/ 2160191 h 4760516"/>
                  <a:gd name="connsiteX14" fmla="*/ 2920117 w 3901192"/>
                  <a:gd name="connsiteY14" fmla="*/ 2098279 h 4760516"/>
                  <a:gd name="connsiteX15" fmla="*/ 3001079 w 3901192"/>
                  <a:gd name="connsiteY15" fmla="*/ 1855391 h 4760516"/>
                  <a:gd name="connsiteX16" fmla="*/ 3058229 w 3901192"/>
                  <a:gd name="connsiteY16" fmla="*/ 1598216 h 4760516"/>
                  <a:gd name="connsiteX17" fmla="*/ 3062992 w 3901192"/>
                  <a:gd name="connsiteY17" fmla="*/ 1483916 h 4760516"/>
                  <a:gd name="connsiteX18" fmla="*/ 3010604 w 3901192"/>
                  <a:gd name="connsiteY18" fmla="*/ 1379141 h 4760516"/>
                  <a:gd name="connsiteX19" fmla="*/ 2958217 w 3901192"/>
                  <a:gd name="connsiteY19" fmla="*/ 1331516 h 4760516"/>
                  <a:gd name="connsiteX20" fmla="*/ 2948692 w 3901192"/>
                  <a:gd name="connsiteY20" fmla="*/ 1236266 h 4760516"/>
                  <a:gd name="connsiteX21" fmla="*/ 2958217 w 3901192"/>
                  <a:gd name="connsiteY21" fmla="*/ 1121966 h 4760516"/>
                  <a:gd name="connsiteX22" fmla="*/ 3005842 w 3901192"/>
                  <a:gd name="connsiteY22" fmla="*/ 1050529 h 4760516"/>
                  <a:gd name="connsiteX23" fmla="*/ 3061653 w 3901192"/>
                  <a:gd name="connsiteY23" fmla="*/ 1005769 h 4760516"/>
                  <a:gd name="connsiteX24" fmla="*/ 1814025 w 3901192"/>
                  <a:gd name="connsiteY24" fmla="*/ 0 h 4760516"/>
                  <a:gd name="connsiteX25" fmla="*/ 1956503 w 3901192"/>
                  <a:gd name="connsiteY25" fmla="*/ 1191 h 4760516"/>
                  <a:gd name="connsiteX26" fmla="*/ 2153353 w 3901192"/>
                  <a:gd name="connsiteY26" fmla="*/ 20241 h 4760516"/>
                  <a:gd name="connsiteX27" fmla="*/ 2381953 w 3901192"/>
                  <a:gd name="connsiteY27" fmla="*/ 121841 h 4760516"/>
                  <a:gd name="connsiteX28" fmla="*/ 2642303 w 3901192"/>
                  <a:gd name="connsiteY28" fmla="*/ 331391 h 4760516"/>
                  <a:gd name="connsiteX29" fmla="*/ 2947103 w 3901192"/>
                  <a:gd name="connsiteY29" fmla="*/ 693341 h 4760516"/>
                  <a:gd name="connsiteX30" fmla="*/ 3061403 w 3901192"/>
                  <a:gd name="connsiteY30" fmla="*/ 883841 h 4760516"/>
                  <a:gd name="connsiteX31" fmla="*/ 3010603 w 3901192"/>
                  <a:gd name="connsiteY31" fmla="*/ 1004491 h 4760516"/>
                  <a:gd name="connsiteX32" fmla="*/ 2902653 w 3901192"/>
                  <a:gd name="connsiteY32" fmla="*/ 1061641 h 4760516"/>
                  <a:gd name="connsiteX33" fmla="*/ 2826453 w 3901192"/>
                  <a:gd name="connsiteY33" fmla="*/ 998141 h 4760516"/>
                  <a:gd name="connsiteX34" fmla="*/ 2655003 w 3901192"/>
                  <a:gd name="connsiteY34" fmla="*/ 820341 h 4760516"/>
                  <a:gd name="connsiteX35" fmla="*/ 2350203 w 3901192"/>
                  <a:gd name="connsiteY35" fmla="*/ 674291 h 4760516"/>
                  <a:gd name="connsiteX36" fmla="*/ 2020003 w 3901192"/>
                  <a:gd name="connsiteY36" fmla="*/ 674291 h 4760516"/>
                  <a:gd name="connsiteX37" fmla="*/ 2343853 w 3901192"/>
                  <a:gd name="connsiteY37" fmla="*/ 769541 h 4760516"/>
                  <a:gd name="connsiteX38" fmla="*/ 2553403 w 3901192"/>
                  <a:gd name="connsiteY38" fmla="*/ 909241 h 4760516"/>
                  <a:gd name="connsiteX39" fmla="*/ 2629744 w 3901192"/>
                  <a:gd name="connsiteY39" fmla="*/ 973620 h 4760516"/>
                  <a:gd name="connsiteX40" fmla="*/ 2900916 w 3901192"/>
                  <a:gd name="connsiteY40" fmla="*/ 1067700 h 4760516"/>
                  <a:gd name="connsiteX41" fmla="*/ 2830249 w 3901192"/>
                  <a:gd name="connsiteY41" fmla="*/ 1212445 h 4760516"/>
                  <a:gd name="connsiteX42" fmla="*/ 2830249 w 3901192"/>
                  <a:gd name="connsiteY42" fmla="*/ 1445256 h 4760516"/>
                  <a:gd name="connsiteX43" fmla="*/ 2939160 w 3901192"/>
                  <a:gd name="connsiteY43" fmla="*/ 1531580 h 4760516"/>
                  <a:gd name="connsiteX44" fmla="*/ 2823146 w 3901192"/>
                  <a:gd name="connsiteY44" fmla="*/ 2041674 h 4760516"/>
                  <a:gd name="connsiteX45" fmla="*/ 2756852 w 3901192"/>
                  <a:gd name="connsiteY45" fmla="*/ 2086142 h 4760516"/>
                  <a:gd name="connsiteX46" fmla="*/ 2480251 w 3901192"/>
                  <a:gd name="connsiteY46" fmla="*/ 2698176 h 4760516"/>
                  <a:gd name="connsiteX47" fmla="*/ 2529592 w 3901192"/>
                  <a:gd name="connsiteY47" fmla="*/ 2817416 h 4760516"/>
                  <a:gd name="connsiteX48" fmla="*/ 2591504 w 3901192"/>
                  <a:gd name="connsiteY48" fmla="*/ 2874566 h 4760516"/>
                  <a:gd name="connsiteX49" fmla="*/ 2658179 w 3901192"/>
                  <a:gd name="connsiteY49" fmla="*/ 2884091 h 4760516"/>
                  <a:gd name="connsiteX50" fmla="*/ 2681992 w 3901192"/>
                  <a:gd name="connsiteY50" fmla="*/ 2912666 h 4760516"/>
                  <a:gd name="connsiteX51" fmla="*/ 2748667 w 3901192"/>
                  <a:gd name="connsiteY51" fmla="*/ 3079354 h 4760516"/>
                  <a:gd name="connsiteX52" fmla="*/ 2843917 w 3901192"/>
                  <a:gd name="connsiteY52" fmla="*/ 3174604 h 4760516"/>
                  <a:gd name="connsiteX53" fmla="*/ 2939167 w 3901192"/>
                  <a:gd name="connsiteY53" fmla="*/ 3207941 h 4760516"/>
                  <a:gd name="connsiteX54" fmla="*/ 3282067 w 3901192"/>
                  <a:gd name="connsiteY54" fmla="*/ 3317479 h 4760516"/>
                  <a:gd name="connsiteX55" fmla="*/ 3658304 w 3901192"/>
                  <a:gd name="connsiteY55" fmla="*/ 3493691 h 4760516"/>
                  <a:gd name="connsiteX56" fmla="*/ 3867854 w 3901192"/>
                  <a:gd name="connsiteY56" fmla="*/ 3641329 h 4760516"/>
                  <a:gd name="connsiteX57" fmla="*/ 3901192 w 3901192"/>
                  <a:gd name="connsiteY57" fmla="*/ 3769916 h 4760516"/>
                  <a:gd name="connsiteX58" fmla="*/ 3877379 w 3901192"/>
                  <a:gd name="connsiteY58" fmla="*/ 4027091 h 4760516"/>
                  <a:gd name="connsiteX59" fmla="*/ 3791654 w 3901192"/>
                  <a:gd name="connsiteY59" fmla="*/ 4236641 h 4760516"/>
                  <a:gd name="connsiteX60" fmla="*/ 3620204 w 3901192"/>
                  <a:gd name="connsiteY60" fmla="*/ 4598591 h 4760516"/>
                  <a:gd name="connsiteX61" fmla="*/ 3472567 w 3901192"/>
                  <a:gd name="connsiteY61" fmla="*/ 4760516 h 4760516"/>
                  <a:gd name="connsiteX62" fmla="*/ 338842 w 3901192"/>
                  <a:gd name="connsiteY62" fmla="*/ 4760516 h 4760516"/>
                  <a:gd name="connsiteX63" fmla="*/ 162629 w 3901192"/>
                  <a:gd name="connsiteY63" fmla="*/ 4436666 h 4760516"/>
                  <a:gd name="connsiteX64" fmla="*/ 57854 w 3901192"/>
                  <a:gd name="connsiteY64" fmla="*/ 4141391 h 4760516"/>
                  <a:gd name="connsiteX65" fmla="*/ 704 w 3901192"/>
                  <a:gd name="connsiteY65" fmla="*/ 3855641 h 4760516"/>
                  <a:gd name="connsiteX66" fmla="*/ 24517 w 3901192"/>
                  <a:gd name="connsiteY66" fmla="*/ 3703241 h 4760516"/>
                  <a:gd name="connsiteX67" fmla="*/ 219779 w 3901192"/>
                  <a:gd name="connsiteY67" fmla="*/ 3584179 h 4760516"/>
                  <a:gd name="connsiteX68" fmla="*/ 534104 w 3901192"/>
                  <a:gd name="connsiteY68" fmla="*/ 3450829 h 4760516"/>
                  <a:gd name="connsiteX69" fmla="*/ 934154 w 3901192"/>
                  <a:gd name="connsiteY69" fmla="*/ 3293666 h 4760516"/>
                  <a:gd name="connsiteX70" fmla="*/ 1134179 w 3901192"/>
                  <a:gd name="connsiteY70" fmla="*/ 3217466 h 4760516"/>
                  <a:gd name="connsiteX71" fmla="*/ 1277054 w 3901192"/>
                  <a:gd name="connsiteY71" fmla="*/ 2950766 h 4760516"/>
                  <a:gd name="connsiteX72" fmla="*/ 1372304 w 3901192"/>
                  <a:gd name="connsiteY72" fmla="*/ 2888854 h 4760516"/>
                  <a:gd name="connsiteX73" fmla="*/ 1443742 w 3901192"/>
                  <a:gd name="connsiteY73" fmla="*/ 2750741 h 4760516"/>
                  <a:gd name="connsiteX74" fmla="*/ 1429454 w 3901192"/>
                  <a:gd name="connsiteY74" fmla="*/ 2665016 h 4760516"/>
                  <a:gd name="connsiteX75" fmla="*/ 1433043 w 3901192"/>
                  <a:gd name="connsiteY75" fmla="*/ 2655556 h 4760516"/>
                  <a:gd name="connsiteX76" fmla="*/ 1412036 w 3901192"/>
                  <a:gd name="connsiteY76" fmla="*/ 2630242 h 4760516"/>
                  <a:gd name="connsiteX77" fmla="*/ 1170537 w 3901192"/>
                  <a:gd name="connsiteY77" fmla="*/ 2059985 h 4760516"/>
                  <a:gd name="connsiteX78" fmla="*/ 976392 w 3901192"/>
                  <a:gd name="connsiteY78" fmla="*/ 1612672 h 4760516"/>
                  <a:gd name="connsiteX79" fmla="*/ 1052155 w 3901192"/>
                  <a:gd name="connsiteY79" fmla="*/ 1487109 h 4760516"/>
                  <a:gd name="connsiteX80" fmla="*/ 1017551 w 3901192"/>
                  <a:gd name="connsiteY80" fmla="*/ 1277790 h 4760516"/>
                  <a:gd name="connsiteX81" fmla="*/ 934153 w 3901192"/>
                  <a:gd name="connsiteY81" fmla="*/ 1341041 h 4760516"/>
                  <a:gd name="connsiteX82" fmla="*/ 883353 w 3901192"/>
                  <a:gd name="connsiteY82" fmla="*/ 1404541 h 4760516"/>
                  <a:gd name="connsiteX83" fmla="*/ 838903 w 3901192"/>
                  <a:gd name="connsiteY83" fmla="*/ 1525191 h 4760516"/>
                  <a:gd name="connsiteX84" fmla="*/ 857953 w 3901192"/>
                  <a:gd name="connsiteY84" fmla="*/ 1645841 h 4760516"/>
                  <a:gd name="connsiteX85" fmla="*/ 889703 w 3901192"/>
                  <a:gd name="connsiteY85" fmla="*/ 1829991 h 4760516"/>
                  <a:gd name="connsiteX86" fmla="*/ 965903 w 3901192"/>
                  <a:gd name="connsiteY86" fmla="*/ 2128441 h 4760516"/>
                  <a:gd name="connsiteX87" fmla="*/ 1048453 w 3901192"/>
                  <a:gd name="connsiteY87" fmla="*/ 2198291 h 4760516"/>
                  <a:gd name="connsiteX88" fmla="*/ 1099253 w 3901192"/>
                  <a:gd name="connsiteY88" fmla="*/ 2331641 h 4760516"/>
                  <a:gd name="connsiteX89" fmla="*/ 1219903 w 3901192"/>
                  <a:gd name="connsiteY89" fmla="*/ 2566591 h 4760516"/>
                  <a:gd name="connsiteX90" fmla="*/ 1270703 w 3901192"/>
                  <a:gd name="connsiteY90" fmla="*/ 2712641 h 4760516"/>
                  <a:gd name="connsiteX91" fmla="*/ 1131003 w 3901192"/>
                  <a:gd name="connsiteY91" fmla="*/ 2750741 h 4760516"/>
                  <a:gd name="connsiteX92" fmla="*/ 927803 w 3901192"/>
                  <a:gd name="connsiteY92" fmla="*/ 2776141 h 4760516"/>
                  <a:gd name="connsiteX93" fmla="*/ 743653 w 3901192"/>
                  <a:gd name="connsiteY93" fmla="*/ 2731691 h 4760516"/>
                  <a:gd name="connsiteX94" fmla="*/ 661103 w 3901192"/>
                  <a:gd name="connsiteY94" fmla="*/ 2591991 h 4760516"/>
                  <a:gd name="connsiteX95" fmla="*/ 623003 w 3901192"/>
                  <a:gd name="connsiteY95" fmla="*/ 2344341 h 4760516"/>
                  <a:gd name="connsiteX96" fmla="*/ 635703 w 3901192"/>
                  <a:gd name="connsiteY96" fmla="*/ 2020491 h 4760516"/>
                  <a:gd name="connsiteX97" fmla="*/ 737303 w 3901192"/>
                  <a:gd name="connsiteY97" fmla="*/ 1328341 h 4760516"/>
                  <a:gd name="connsiteX98" fmla="*/ 972253 w 3901192"/>
                  <a:gd name="connsiteY98" fmla="*/ 623491 h 4760516"/>
                  <a:gd name="connsiteX99" fmla="*/ 1169103 w 3901192"/>
                  <a:gd name="connsiteY99" fmla="*/ 299641 h 4760516"/>
                  <a:gd name="connsiteX100" fmla="*/ 1359603 w 3901192"/>
                  <a:gd name="connsiteY100" fmla="*/ 140891 h 4760516"/>
                  <a:gd name="connsiteX101" fmla="*/ 1531053 w 3901192"/>
                  <a:gd name="connsiteY101" fmla="*/ 115491 h 4760516"/>
                  <a:gd name="connsiteX102" fmla="*/ 1677103 w 3901192"/>
                  <a:gd name="connsiteY102" fmla="*/ 13891 h 4760516"/>
                  <a:gd name="connsiteX103" fmla="*/ 1814025 w 3901192"/>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2384"/>
                  <a:gd name="connsiteY0" fmla="*/ 1005769 h 4760516"/>
                  <a:gd name="connsiteX1" fmla="*/ 3082677 w 3902384"/>
                  <a:gd name="connsiteY1" fmla="*/ 1026716 h 4760516"/>
                  <a:gd name="connsiteX2" fmla="*/ 3168402 w 3902384"/>
                  <a:gd name="connsiteY2" fmla="*/ 1369616 h 4760516"/>
                  <a:gd name="connsiteX3" fmla="*/ 3254127 w 3902384"/>
                  <a:gd name="connsiteY3" fmla="*/ 1822054 h 4760516"/>
                  <a:gd name="connsiteX4" fmla="*/ 3282702 w 3902384"/>
                  <a:gd name="connsiteY4" fmla="*/ 2255441 h 4760516"/>
                  <a:gd name="connsiteX5" fmla="*/ 3273177 w 3902384"/>
                  <a:gd name="connsiteY5" fmla="*/ 2526904 h 4760516"/>
                  <a:gd name="connsiteX6" fmla="*/ 3192214 w 3902384"/>
                  <a:gd name="connsiteY6" fmla="*/ 2722166 h 4760516"/>
                  <a:gd name="connsiteX7" fmla="*/ 3044577 w 3902384"/>
                  <a:gd name="connsiteY7" fmla="*/ 2750741 h 4760516"/>
                  <a:gd name="connsiteX8" fmla="*/ 2811214 w 3902384"/>
                  <a:gd name="connsiteY8" fmla="*/ 2731691 h 4760516"/>
                  <a:gd name="connsiteX9" fmla="*/ 2635002 w 3902384"/>
                  <a:gd name="connsiteY9" fmla="*/ 2669779 h 4760516"/>
                  <a:gd name="connsiteX10" fmla="*/ 2658814 w 3902384"/>
                  <a:gd name="connsiteY10" fmla="*/ 2603104 h 4760516"/>
                  <a:gd name="connsiteX11" fmla="*/ 2754064 w 3902384"/>
                  <a:gd name="connsiteY11" fmla="*/ 2474516 h 4760516"/>
                  <a:gd name="connsiteX12" fmla="*/ 2844552 w 3902384"/>
                  <a:gd name="connsiteY12" fmla="*/ 2255441 h 4760516"/>
                  <a:gd name="connsiteX13" fmla="*/ 2863602 w 3902384"/>
                  <a:gd name="connsiteY13" fmla="*/ 2160191 h 4760516"/>
                  <a:gd name="connsiteX14" fmla="*/ 2920752 w 3902384"/>
                  <a:gd name="connsiteY14" fmla="*/ 2098279 h 4760516"/>
                  <a:gd name="connsiteX15" fmla="*/ 3001714 w 3902384"/>
                  <a:gd name="connsiteY15" fmla="*/ 1855391 h 4760516"/>
                  <a:gd name="connsiteX16" fmla="*/ 3058864 w 3902384"/>
                  <a:gd name="connsiteY16" fmla="*/ 1598216 h 4760516"/>
                  <a:gd name="connsiteX17" fmla="*/ 3063627 w 3902384"/>
                  <a:gd name="connsiteY17" fmla="*/ 1483916 h 4760516"/>
                  <a:gd name="connsiteX18" fmla="*/ 3011239 w 3902384"/>
                  <a:gd name="connsiteY18" fmla="*/ 1379141 h 4760516"/>
                  <a:gd name="connsiteX19" fmla="*/ 2958852 w 3902384"/>
                  <a:gd name="connsiteY19" fmla="*/ 1331516 h 4760516"/>
                  <a:gd name="connsiteX20" fmla="*/ 2949327 w 3902384"/>
                  <a:gd name="connsiteY20" fmla="*/ 1236266 h 4760516"/>
                  <a:gd name="connsiteX21" fmla="*/ 2958852 w 3902384"/>
                  <a:gd name="connsiteY21" fmla="*/ 1121966 h 4760516"/>
                  <a:gd name="connsiteX22" fmla="*/ 3006477 w 3902384"/>
                  <a:gd name="connsiteY22" fmla="*/ 1050529 h 4760516"/>
                  <a:gd name="connsiteX23" fmla="*/ 3062288 w 3902384"/>
                  <a:gd name="connsiteY23" fmla="*/ 1005769 h 4760516"/>
                  <a:gd name="connsiteX24" fmla="*/ 1814660 w 3902384"/>
                  <a:gd name="connsiteY24" fmla="*/ 0 h 4760516"/>
                  <a:gd name="connsiteX25" fmla="*/ 1957138 w 3902384"/>
                  <a:gd name="connsiteY25" fmla="*/ 1191 h 4760516"/>
                  <a:gd name="connsiteX26" fmla="*/ 2153988 w 3902384"/>
                  <a:gd name="connsiteY26" fmla="*/ 20241 h 4760516"/>
                  <a:gd name="connsiteX27" fmla="*/ 2382588 w 3902384"/>
                  <a:gd name="connsiteY27" fmla="*/ 121841 h 4760516"/>
                  <a:gd name="connsiteX28" fmla="*/ 2642938 w 3902384"/>
                  <a:gd name="connsiteY28" fmla="*/ 331391 h 4760516"/>
                  <a:gd name="connsiteX29" fmla="*/ 2947738 w 3902384"/>
                  <a:gd name="connsiteY29" fmla="*/ 693341 h 4760516"/>
                  <a:gd name="connsiteX30" fmla="*/ 3062038 w 3902384"/>
                  <a:gd name="connsiteY30" fmla="*/ 883841 h 4760516"/>
                  <a:gd name="connsiteX31" fmla="*/ 3011238 w 3902384"/>
                  <a:gd name="connsiteY31" fmla="*/ 1004491 h 4760516"/>
                  <a:gd name="connsiteX32" fmla="*/ 2903288 w 3902384"/>
                  <a:gd name="connsiteY32" fmla="*/ 1061641 h 4760516"/>
                  <a:gd name="connsiteX33" fmla="*/ 2827088 w 3902384"/>
                  <a:gd name="connsiteY33" fmla="*/ 998141 h 4760516"/>
                  <a:gd name="connsiteX34" fmla="*/ 2655638 w 3902384"/>
                  <a:gd name="connsiteY34" fmla="*/ 820341 h 4760516"/>
                  <a:gd name="connsiteX35" fmla="*/ 2350838 w 3902384"/>
                  <a:gd name="connsiteY35" fmla="*/ 674291 h 4760516"/>
                  <a:gd name="connsiteX36" fmla="*/ 2020638 w 3902384"/>
                  <a:gd name="connsiteY36" fmla="*/ 674291 h 4760516"/>
                  <a:gd name="connsiteX37" fmla="*/ 2344488 w 3902384"/>
                  <a:gd name="connsiteY37" fmla="*/ 769541 h 4760516"/>
                  <a:gd name="connsiteX38" fmla="*/ 2554038 w 3902384"/>
                  <a:gd name="connsiteY38" fmla="*/ 909241 h 4760516"/>
                  <a:gd name="connsiteX39" fmla="*/ 2630379 w 3902384"/>
                  <a:gd name="connsiteY39" fmla="*/ 973620 h 4760516"/>
                  <a:gd name="connsiteX40" fmla="*/ 2901551 w 3902384"/>
                  <a:gd name="connsiteY40" fmla="*/ 1067700 h 4760516"/>
                  <a:gd name="connsiteX41" fmla="*/ 2830884 w 3902384"/>
                  <a:gd name="connsiteY41" fmla="*/ 1212445 h 4760516"/>
                  <a:gd name="connsiteX42" fmla="*/ 2830884 w 3902384"/>
                  <a:gd name="connsiteY42" fmla="*/ 1445256 h 4760516"/>
                  <a:gd name="connsiteX43" fmla="*/ 2939795 w 3902384"/>
                  <a:gd name="connsiteY43" fmla="*/ 1531580 h 4760516"/>
                  <a:gd name="connsiteX44" fmla="*/ 2823781 w 3902384"/>
                  <a:gd name="connsiteY44" fmla="*/ 2041674 h 4760516"/>
                  <a:gd name="connsiteX45" fmla="*/ 2757487 w 3902384"/>
                  <a:gd name="connsiteY45" fmla="*/ 2086142 h 4760516"/>
                  <a:gd name="connsiteX46" fmla="*/ 2480886 w 3902384"/>
                  <a:gd name="connsiteY46" fmla="*/ 2698176 h 4760516"/>
                  <a:gd name="connsiteX47" fmla="*/ 2530227 w 3902384"/>
                  <a:gd name="connsiteY47" fmla="*/ 2817416 h 4760516"/>
                  <a:gd name="connsiteX48" fmla="*/ 2592139 w 3902384"/>
                  <a:gd name="connsiteY48" fmla="*/ 2874566 h 4760516"/>
                  <a:gd name="connsiteX49" fmla="*/ 2658814 w 3902384"/>
                  <a:gd name="connsiteY49" fmla="*/ 2884091 h 4760516"/>
                  <a:gd name="connsiteX50" fmla="*/ 2682627 w 3902384"/>
                  <a:gd name="connsiteY50" fmla="*/ 2912666 h 4760516"/>
                  <a:gd name="connsiteX51" fmla="*/ 2749302 w 3902384"/>
                  <a:gd name="connsiteY51" fmla="*/ 3079354 h 4760516"/>
                  <a:gd name="connsiteX52" fmla="*/ 2844552 w 3902384"/>
                  <a:gd name="connsiteY52" fmla="*/ 3174604 h 4760516"/>
                  <a:gd name="connsiteX53" fmla="*/ 2939802 w 3902384"/>
                  <a:gd name="connsiteY53" fmla="*/ 3207941 h 4760516"/>
                  <a:gd name="connsiteX54" fmla="*/ 3282702 w 3902384"/>
                  <a:gd name="connsiteY54" fmla="*/ 3317479 h 4760516"/>
                  <a:gd name="connsiteX55" fmla="*/ 3658939 w 3902384"/>
                  <a:gd name="connsiteY55" fmla="*/ 3493691 h 4760516"/>
                  <a:gd name="connsiteX56" fmla="*/ 3868489 w 3902384"/>
                  <a:gd name="connsiteY56" fmla="*/ 3641329 h 4760516"/>
                  <a:gd name="connsiteX57" fmla="*/ 3901827 w 3902384"/>
                  <a:gd name="connsiteY57" fmla="*/ 3769916 h 4760516"/>
                  <a:gd name="connsiteX58" fmla="*/ 3878014 w 3902384"/>
                  <a:gd name="connsiteY58" fmla="*/ 4027091 h 4760516"/>
                  <a:gd name="connsiteX59" fmla="*/ 3792289 w 3902384"/>
                  <a:gd name="connsiteY59" fmla="*/ 4236641 h 4760516"/>
                  <a:gd name="connsiteX60" fmla="*/ 3620839 w 3902384"/>
                  <a:gd name="connsiteY60" fmla="*/ 4598591 h 4760516"/>
                  <a:gd name="connsiteX61" fmla="*/ 3473202 w 3902384"/>
                  <a:gd name="connsiteY61" fmla="*/ 4760516 h 4760516"/>
                  <a:gd name="connsiteX62" fmla="*/ 339477 w 3902384"/>
                  <a:gd name="connsiteY62" fmla="*/ 4760516 h 4760516"/>
                  <a:gd name="connsiteX63" fmla="*/ 163264 w 3902384"/>
                  <a:gd name="connsiteY63" fmla="*/ 4436666 h 4760516"/>
                  <a:gd name="connsiteX64" fmla="*/ 58489 w 3902384"/>
                  <a:gd name="connsiteY64" fmla="*/ 4141391 h 4760516"/>
                  <a:gd name="connsiteX65" fmla="*/ 1339 w 3902384"/>
                  <a:gd name="connsiteY65" fmla="*/ 3855641 h 4760516"/>
                  <a:gd name="connsiteX66" fmla="*/ 25152 w 3902384"/>
                  <a:gd name="connsiteY66" fmla="*/ 3703241 h 4760516"/>
                  <a:gd name="connsiteX67" fmla="*/ 220414 w 3902384"/>
                  <a:gd name="connsiteY67" fmla="*/ 3584179 h 4760516"/>
                  <a:gd name="connsiteX68" fmla="*/ 534739 w 3902384"/>
                  <a:gd name="connsiteY68" fmla="*/ 3450829 h 4760516"/>
                  <a:gd name="connsiteX69" fmla="*/ 934789 w 3902384"/>
                  <a:gd name="connsiteY69" fmla="*/ 3293666 h 4760516"/>
                  <a:gd name="connsiteX70" fmla="*/ 1134814 w 3902384"/>
                  <a:gd name="connsiteY70" fmla="*/ 3217466 h 4760516"/>
                  <a:gd name="connsiteX71" fmla="*/ 1277689 w 3902384"/>
                  <a:gd name="connsiteY71" fmla="*/ 2950766 h 4760516"/>
                  <a:gd name="connsiteX72" fmla="*/ 1372939 w 3902384"/>
                  <a:gd name="connsiteY72" fmla="*/ 2888854 h 4760516"/>
                  <a:gd name="connsiteX73" fmla="*/ 1444377 w 3902384"/>
                  <a:gd name="connsiteY73" fmla="*/ 2750741 h 4760516"/>
                  <a:gd name="connsiteX74" fmla="*/ 1430089 w 3902384"/>
                  <a:gd name="connsiteY74" fmla="*/ 2665016 h 4760516"/>
                  <a:gd name="connsiteX75" fmla="*/ 1433678 w 3902384"/>
                  <a:gd name="connsiteY75" fmla="*/ 2655556 h 4760516"/>
                  <a:gd name="connsiteX76" fmla="*/ 1412671 w 3902384"/>
                  <a:gd name="connsiteY76" fmla="*/ 2630242 h 4760516"/>
                  <a:gd name="connsiteX77" fmla="*/ 1171172 w 3902384"/>
                  <a:gd name="connsiteY77" fmla="*/ 2059985 h 4760516"/>
                  <a:gd name="connsiteX78" fmla="*/ 977027 w 3902384"/>
                  <a:gd name="connsiteY78" fmla="*/ 1612672 h 4760516"/>
                  <a:gd name="connsiteX79" fmla="*/ 1052790 w 3902384"/>
                  <a:gd name="connsiteY79" fmla="*/ 1487109 h 4760516"/>
                  <a:gd name="connsiteX80" fmla="*/ 1018186 w 3902384"/>
                  <a:gd name="connsiteY80" fmla="*/ 1277790 h 4760516"/>
                  <a:gd name="connsiteX81" fmla="*/ 934788 w 3902384"/>
                  <a:gd name="connsiteY81" fmla="*/ 1341041 h 4760516"/>
                  <a:gd name="connsiteX82" fmla="*/ 883988 w 3902384"/>
                  <a:gd name="connsiteY82" fmla="*/ 1404541 h 4760516"/>
                  <a:gd name="connsiteX83" fmla="*/ 839538 w 3902384"/>
                  <a:gd name="connsiteY83" fmla="*/ 1525191 h 4760516"/>
                  <a:gd name="connsiteX84" fmla="*/ 858588 w 3902384"/>
                  <a:gd name="connsiteY84" fmla="*/ 1645841 h 4760516"/>
                  <a:gd name="connsiteX85" fmla="*/ 890338 w 3902384"/>
                  <a:gd name="connsiteY85" fmla="*/ 1829991 h 4760516"/>
                  <a:gd name="connsiteX86" fmla="*/ 966538 w 3902384"/>
                  <a:gd name="connsiteY86" fmla="*/ 2128441 h 4760516"/>
                  <a:gd name="connsiteX87" fmla="*/ 1049088 w 3902384"/>
                  <a:gd name="connsiteY87" fmla="*/ 2198291 h 4760516"/>
                  <a:gd name="connsiteX88" fmla="*/ 1099888 w 3902384"/>
                  <a:gd name="connsiteY88" fmla="*/ 2331641 h 4760516"/>
                  <a:gd name="connsiteX89" fmla="*/ 1220538 w 3902384"/>
                  <a:gd name="connsiteY89" fmla="*/ 2566591 h 4760516"/>
                  <a:gd name="connsiteX90" fmla="*/ 1271338 w 3902384"/>
                  <a:gd name="connsiteY90" fmla="*/ 2712641 h 4760516"/>
                  <a:gd name="connsiteX91" fmla="*/ 1131638 w 3902384"/>
                  <a:gd name="connsiteY91" fmla="*/ 2750741 h 4760516"/>
                  <a:gd name="connsiteX92" fmla="*/ 928438 w 3902384"/>
                  <a:gd name="connsiteY92" fmla="*/ 2776141 h 4760516"/>
                  <a:gd name="connsiteX93" fmla="*/ 744288 w 3902384"/>
                  <a:gd name="connsiteY93" fmla="*/ 2731691 h 4760516"/>
                  <a:gd name="connsiteX94" fmla="*/ 661738 w 3902384"/>
                  <a:gd name="connsiteY94" fmla="*/ 2591991 h 4760516"/>
                  <a:gd name="connsiteX95" fmla="*/ 623638 w 3902384"/>
                  <a:gd name="connsiteY95" fmla="*/ 2344341 h 4760516"/>
                  <a:gd name="connsiteX96" fmla="*/ 636338 w 3902384"/>
                  <a:gd name="connsiteY96" fmla="*/ 2020491 h 4760516"/>
                  <a:gd name="connsiteX97" fmla="*/ 737938 w 3902384"/>
                  <a:gd name="connsiteY97" fmla="*/ 1328341 h 4760516"/>
                  <a:gd name="connsiteX98" fmla="*/ 972888 w 3902384"/>
                  <a:gd name="connsiteY98" fmla="*/ 623491 h 4760516"/>
                  <a:gd name="connsiteX99" fmla="*/ 1169738 w 3902384"/>
                  <a:gd name="connsiteY99" fmla="*/ 299641 h 4760516"/>
                  <a:gd name="connsiteX100" fmla="*/ 1360238 w 3902384"/>
                  <a:gd name="connsiteY100" fmla="*/ 140891 h 4760516"/>
                  <a:gd name="connsiteX101" fmla="*/ 1531688 w 3902384"/>
                  <a:gd name="connsiteY101" fmla="*/ 115491 h 4760516"/>
                  <a:gd name="connsiteX102" fmla="*/ 1677738 w 3902384"/>
                  <a:gd name="connsiteY102" fmla="*/ 13891 h 4760516"/>
                  <a:gd name="connsiteX103" fmla="*/ 1814660 w 3902384"/>
                  <a:gd name="connsiteY103" fmla="*/ 0 h 4760516"/>
                  <a:gd name="connsiteX0" fmla="*/ 3062288 w 3903424"/>
                  <a:gd name="connsiteY0" fmla="*/ 1005769 h 4760516"/>
                  <a:gd name="connsiteX1" fmla="*/ 3082677 w 3903424"/>
                  <a:gd name="connsiteY1" fmla="*/ 1026716 h 4760516"/>
                  <a:gd name="connsiteX2" fmla="*/ 3168402 w 3903424"/>
                  <a:gd name="connsiteY2" fmla="*/ 1369616 h 4760516"/>
                  <a:gd name="connsiteX3" fmla="*/ 3254127 w 3903424"/>
                  <a:gd name="connsiteY3" fmla="*/ 1822054 h 4760516"/>
                  <a:gd name="connsiteX4" fmla="*/ 3282702 w 3903424"/>
                  <a:gd name="connsiteY4" fmla="*/ 2255441 h 4760516"/>
                  <a:gd name="connsiteX5" fmla="*/ 3273177 w 3903424"/>
                  <a:gd name="connsiteY5" fmla="*/ 2526904 h 4760516"/>
                  <a:gd name="connsiteX6" fmla="*/ 3192214 w 3903424"/>
                  <a:gd name="connsiteY6" fmla="*/ 2722166 h 4760516"/>
                  <a:gd name="connsiteX7" fmla="*/ 3044577 w 3903424"/>
                  <a:gd name="connsiteY7" fmla="*/ 2750741 h 4760516"/>
                  <a:gd name="connsiteX8" fmla="*/ 2811214 w 3903424"/>
                  <a:gd name="connsiteY8" fmla="*/ 2731691 h 4760516"/>
                  <a:gd name="connsiteX9" fmla="*/ 2635002 w 3903424"/>
                  <a:gd name="connsiteY9" fmla="*/ 2669779 h 4760516"/>
                  <a:gd name="connsiteX10" fmla="*/ 2658814 w 3903424"/>
                  <a:gd name="connsiteY10" fmla="*/ 2603104 h 4760516"/>
                  <a:gd name="connsiteX11" fmla="*/ 2754064 w 3903424"/>
                  <a:gd name="connsiteY11" fmla="*/ 2474516 h 4760516"/>
                  <a:gd name="connsiteX12" fmla="*/ 2844552 w 3903424"/>
                  <a:gd name="connsiteY12" fmla="*/ 2255441 h 4760516"/>
                  <a:gd name="connsiteX13" fmla="*/ 2863602 w 3903424"/>
                  <a:gd name="connsiteY13" fmla="*/ 2160191 h 4760516"/>
                  <a:gd name="connsiteX14" fmla="*/ 2920752 w 3903424"/>
                  <a:gd name="connsiteY14" fmla="*/ 2098279 h 4760516"/>
                  <a:gd name="connsiteX15" fmla="*/ 3001714 w 3903424"/>
                  <a:gd name="connsiteY15" fmla="*/ 1855391 h 4760516"/>
                  <a:gd name="connsiteX16" fmla="*/ 3058864 w 3903424"/>
                  <a:gd name="connsiteY16" fmla="*/ 1598216 h 4760516"/>
                  <a:gd name="connsiteX17" fmla="*/ 3063627 w 3903424"/>
                  <a:gd name="connsiteY17" fmla="*/ 1483916 h 4760516"/>
                  <a:gd name="connsiteX18" fmla="*/ 3011239 w 3903424"/>
                  <a:gd name="connsiteY18" fmla="*/ 1379141 h 4760516"/>
                  <a:gd name="connsiteX19" fmla="*/ 2958852 w 3903424"/>
                  <a:gd name="connsiteY19" fmla="*/ 1331516 h 4760516"/>
                  <a:gd name="connsiteX20" fmla="*/ 2949327 w 3903424"/>
                  <a:gd name="connsiteY20" fmla="*/ 1236266 h 4760516"/>
                  <a:gd name="connsiteX21" fmla="*/ 2958852 w 3903424"/>
                  <a:gd name="connsiteY21" fmla="*/ 1121966 h 4760516"/>
                  <a:gd name="connsiteX22" fmla="*/ 3006477 w 3903424"/>
                  <a:gd name="connsiteY22" fmla="*/ 1050529 h 4760516"/>
                  <a:gd name="connsiteX23" fmla="*/ 3062288 w 3903424"/>
                  <a:gd name="connsiteY23" fmla="*/ 1005769 h 4760516"/>
                  <a:gd name="connsiteX24" fmla="*/ 1814660 w 3903424"/>
                  <a:gd name="connsiteY24" fmla="*/ 0 h 4760516"/>
                  <a:gd name="connsiteX25" fmla="*/ 1957138 w 3903424"/>
                  <a:gd name="connsiteY25" fmla="*/ 1191 h 4760516"/>
                  <a:gd name="connsiteX26" fmla="*/ 2153988 w 3903424"/>
                  <a:gd name="connsiteY26" fmla="*/ 20241 h 4760516"/>
                  <a:gd name="connsiteX27" fmla="*/ 2382588 w 3903424"/>
                  <a:gd name="connsiteY27" fmla="*/ 121841 h 4760516"/>
                  <a:gd name="connsiteX28" fmla="*/ 2642938 w 3903424"/>
                  <a:gd name="connsiteY28" fmla="*/ 331391 h 4760516"/>
                  <a:gd name="connsiteX29" fmla="*/ 2947738 w 3903424"/>
                  <a:gd name="connsiteY29" fmla="*/ 693341 h 4760516"/>
                  <a:gd name="connsiteX30" fmla="*/ 3062038 w 3903424"/>
                  <a:gd name="connsiteY30" fmla="*/ 883841 h 4760516"/>
                  <a:gd name="connsiteX31" fmla="*/ 3011238 w 3903424"/>
                  <a:gd name="connsiteY31" fmla="*/ 1004491 h 4760516"/>
                  <a:gd name="connsiteX32" fmla="*/ 2903288 w 3903424"/>
                  <a:gd name="connsiteY32" fmla="*/ 1061641 h 4760516"/>
                  <a:gd name="connsiteX33" fmla="*/ 2827088 w 3903424"/>
                  <a:gd name="connsiteY33" fmla="*/ 998141 h 4760516"/>
                  <a:gd name="connsiteX34" fmla="*/ 2655638 w 3903424"/>
                  <a:gd name="connsiteY34" fmla="*/ 820341 h 4760516"/>
                  <a:gd name="connsiteX35" fmla="*/ 2350838 w 3903424"/>
                  <a:gd name="connsiteY35" fmla="*/ 674291 h 4760516"/>
                  <a:gd name="connsiteX36" fmla="*/ 2020638 w 3903424"/>
                  <a:gd name="connsiteY36" fmla="*/ 674291 h 4760516"/>
                  <a:gd name="connsiteX37" fmla="*/ 2344488 w 3903424"/>
                  <a:gd name="connsiteY37" fmla="*/ 769541 h 4760516"/>
                  <a:gd name="connsiteX38" fmla="*/ 2554038 w 3903424"/>
                  <a:gd name="connsiteY38" fmla="*/ 909241 h 4760516"/>
                  <a:gd name="connsiteX39" fmla="*/ 2630379 w 3903424"/>
                  <a:gd name="connsiteY39" fmla="*/ 973620 h 4760516"/>
                  <a:gd name="connsiteX40" fmla="*/ 2901551 w 3903424"/>
                  <a:gd name="connsiteY40" fmla="*/ 1067700 h 4760516"/>
                  <a:gd name="connsiteX41" fmla="*/ 2830884 w 3903424"/>
                  <a:gd name="connsiteY41" fmla="*/ 1212445 h 4760516"/>
                  <a:gd name="connsiteX42" fmla="*/ 2830884 w 3903424"/>
                  <a:gd name="connsiteY42" fmla="*/ 1445256 h 4760516"/>
                  <a:gd name="connsiteX43" fmla="*/ 2939795 w 3903424"/>
                  <a:gd name="connsiteY43" fmla="*/ 1531580 h 4760516"/>
                  <a:gd name="connsiteX44" fmla="*/ 2823781 w 3903424"/>
                  <a:gd name="connsiteY44" fmla="*/ 2041674 h 4760516"/>
                  <a:gd name="connsiteX45" fmla="*/ 2757487 w 3903424"/>
                  <a:gd name="connsiteY45" fmla="*/ 2086142 h 4760516"/>
                  <a:gd name="connsiteX46" fmla="*/ 2480886 w 3903424"/>
                  <a:gd name="connsiteY46" fmla="*/ 2698176 h 4760516"/>
                  <a:gd name="connsiteX47" fmla="*/ 2530227 w 3903424"/>
                  <a:gd name="connsiteY47" fmla="*/ 2817416 h 4760516"/>
                  <a:gd name="connsiteX48" fmla="*/ 2592139 w 3903424"/>
                  <a:gd name="connsiteY48" fmla="*/ 2874566 h 4760516"/>
                  <a:gd name="connsiteX49" fmla="*/ 2658814 w 3903424"/>
                  <a:gd name="connsiteY49" fmla="*/ 2884091 h 4760516"/>
                  <a:gd name="connsiteX50" fmla="*/ 2682627 w 3903424"/>
                  <a:gd name="connsiteY50" fmla="*/ 2912666 h 4760516"/>
                  <a:gd name="connsiteX51" fmla="*/ 2749302 w 3903424"/>
                  <a:gd name="connsiteY51" fmla="*/ 3079354 h 4760516"/>
                  <a:gd name="connsiteX52" fmla="*/ 2844552 w 3903424"/>
                  <a:gd name="connsiteY52" fmla="*/ 3174604 h 4760516"/>
                  <a:gd name="connsiteX53" fmla="*/ 2939802 w 3903424"/>
                  <a:gd name="connsiteY53" fmla="*/ 3207941 h 4760516"/>
                  <a:gd name="connsiteX54" fmla="*/ 3282702 w 3903424"/>
                  <a:gd name="connsiteY54" fmla="*/ 3317479 h 4760516"/>
                  <a:gd name="connsiteX55" fmla="*/ 3658939 w 3903424"/>
                  <a:gd name="connsiteY55" fmla="*/ 3493691 h 4760516"/>
                  <a:gd name="connsiteX56" fmla="*/ 3868489 w 3903424"/>
                  <a:gd name="connsiteY56" fmla="*/ 3641329 h 4760516"/>
                  <a:gd name="connsiteX57" fmla="*/ 3901827 w 3903424"/>
                  <a:gd name="connsiteY57" fmla="*/ 3769916 h 4760516"/>
                  <a:gd name="connsiteX58" fmla="*/ 3878014 w 3903424"/>
                  <a:gd name="connsiteY58" fmla="*/ 4027091 h 4760516"/>
                  <a:gd name="connsiteX59" fmla="*/ 3792289 w 3903424"/>
                  <a:gd name="connsiteY59" fmla="*/ 4236641 h 4760516"/>
                  <a:gd name="connsiteX60" fmla="*/ 3620839 w 3903424"/>
                  <a:gd name="connsiteY60" fmla="*/ 4598591 h 4760516"/>
                  <a:gd name="connsiteX61" fmla="*/ 3473202 w 3903424"/>
                  <a:gd name="connsiteY61" fmla="*/ 4760516 h 4760516"/>
                  <a:gd name="connsiteX62" fmla="*/ 339477 w 3903424"/>
                  <a:gd name="connsiteY62" fmla="*/ 4760516 h 4760516"/>
                  <a:gd name="connsiteX63" fmla="*/ 163264 w 3903424"/>
                  <a:gd name="connsiteY63" fmla="*/ 4436666 h 4760516"/>
                  <a:gd name="connsiteX64" fmla="*/ 58489 w 3903424"/>
                  <a:gd name="connsiteY64" fmla="*/ 4141391 h 4760516"/>
                  <a:gd name="connsiteX65" fmla="*/ 1339 w 3903424"/>
                  <a:gd name="connsiteY65" fmla="*/ 3855641 h 4760516"/>
                  <a:gd name="connsiteX66" fmla="*/ 25152 w 3903424"/>
                  <a:gd name="connsiteY66" fmla="*/ 3703241 h 4760516"/>
                  <a:gd name="connsiteX67" fmla="*/ 220414 w 3903424"/>
                  <a:gd name="connsiteY67" fmla="*/ 3584179 h 4760516"/>
                  <a:gd name="connsiteX68" fmla="*/ 534739 w 3903424"/>
                  <a:gd name="connsiteY68" fmla="*/ 3450829 h 4760516"/>
                  <a:gd name="connsiteX69" fmla="*/ 934789 w 3903424"/>
                  <a:gd name="connsiteY69" fmla="*/ 3293666 h 4760516"/>
                  <a:gd name="connsiteX70" fmla="*/ 1134814 w 3903424"/>
                  <a:gd name="connsiteY70" fmla="*/ 3217466 h 4760516"/>
                  <a:gd name="connsiteX71" fmla="*/ 1277689 w 3903424"/>
                  <a:gd name="connsiteY71" fmla="*/ 2950766 h 4760516"/>
                  <a:gd name="connsiteX72" fmla="*/ 1372939 w 3903424"/>
                  <a:gd name="connsiteY72" fmla="*/ 2888854 h 4760516"/>
                  <a:gd name="connsiteX73" fmla="*/ 1444377 w 3903424"/>
                  <a:gd name="connsiteY73" fmla="*/ 2750741 h 4760516"/>
                  <a:gd name="connsiteX74" fmla="*/ 1430089 w 3903424"/>
                  <a:gd name="connsiteY74" fmla="*/ 2665016 h 4760516"/>
                  <a:gd name="connsiteX75" fmla="*/ 1433678 w 3903424"/>
                  <a:gd name="connsiteY75" fmla="*/ 2655556 h 4760516"/>
                  <a:gd name="connsiteX76" fmla="*/ 1412671 w 3903424"/>
                  <a:gd name="connsiteY76" fmla="*/ 2630242 h 4760516"/>
                  <a:gd name="connsiteX77" fmla="*/ 1171172 w 3903424"/>
                  <a:gd name="connsiteY77" fmla="*/ 2059985 h 4760516"/>
                  <a:gd name="connsiteX78" fmla="*/ 977027 w 3903424"/>
                  <a:gd name="connsiteY78" fmla="*/ 1612672 h 4760516"/>
                  <a:gd name="connsiteX79" fmla="*/ 1052790 w 3903424"/>
                  <a:gd name="connsiteY79" fmla="*/ 1487109 h 4760516"/>
                  <a:gd name="connsiteX80" fmla="*/ 1018186 w 3903424"/>
                  <a:gd name="connsiteY80" fmla="*/ 1277790 h 4760516"/>
                  <a:gd name="connsiteX81" fmla="*/ 934788 w 3903424"/>
                  <a:gd name="connsiteY81" fmla="*/ 1341041 h 4760516"/>
                  <a:gd name="connsiteX82" fmla="*/ 883988 w 3903424"/>
                  <a:gd name="connsiteY82" fmla="*/ 1404541 h 4760516"/>
                  <a:gd name="connsiteX83" fmla="*/ 839538 w 3903424"/>
                  <a:gd name="connsiteY83" fmla="*/ 1525191 h 4760516"/>
                  <a:gd name="connsiteX84" fmla="*/ 858588 w 3903424"/>
                  <a:gd name="connsiteY84" fmla="*/ 1645841 h 4760516"/>
                  <a:gd name="connsiteX85" fmla="*/ 890338 w 3903424"/>
                  <a:gd name="connsiteY85" fmla="*/ 1829991 h 4760516"/>
                  <a:gd name="connsiteX86" fmla="*/ 966538 w 3903424"/>
                  <a:gd name="connsiteY86" fmla="*/ 2128441 h 4760516"/>
                  <a:gd name="connsiteX87" fmla="*/ 1049088 w 3903424"/>
                  <a:gd name="connsiteY87" fmla="*/ 2198291 h 4760516"/>
                  <a:gd name="connsiteX88" fmla="*/ 1099888 w 3903424"/>
                  <a:gd name="connsiteY88" fmla="*/ 2331641 h 4760516"/>
                  <a:gd name="connsiteX89" fmla="*/ 1220538 w 3903424"/>
                  <a:gd name="connsiteY89" fmla="*/ 2566591 h 4760516"/>
                  <a:gd name="connsiteX90" fmla="*/ 1271338 w 3903424"/>
                  <a:gd name="connsiteY90" fmla="*/ 2712641 h 4760516"/>
                  <a:gd name="connsiteX91" fmla="*/ 1131638 w 3903424"/>
                  <a:gd name="connsiteY91" fmla="*/ 2750741 h 4760516"/>
                  <a:gd name="connsiteX92" fmla="*/ 928438 w 3903424"/>
                  <a:gd name="connsiteY92" fmla="*/ 2776141 h 4760516"/>
                  <a:gd name="connsiteX93" fmla="*/ 744288 w 3903424"/>
                  <a:gd name="connsiteY93" fmla="*/ 2731691 h 4760516"/>
                  <a:gd name="connsiteX94" fmla="*/ 661738 w 3903424"/>
                  <a:gd name="connsiteY94" fmla="*/ 2591991 h 4760516"/>
                  <a:gd name="connsiteX95" fmla="*/ 623638 w 3903424"/>
                  <a:gd name="connsiteY95" fmla="*/ 2344341 h 4760516"/>
                  <a:gd name="connsiteX96" fmla="*/ 636338 w 3903424"/>
                  <a:gd name="connsiteY96" fmla="*/ 2020491 h 4760516"/>
                  <a:gd name="connsiteX97" fmla="*/ 737938 w 3903424"/>
                  <a:gd name="connsiteY97" fmla="*/ 1328341 h 4760516"/>
                  <a:gd name="connsiteX98" fmla="*/ 972888 w 3903424"/>
                  <a:gd name="connsiteY98" fmla="*/ 623491 h 4760516"/>
                  <a:gd name="connsiteX99" fmla="*/ 1169738 w 3903424"/>
                  <a:gd name="connsiteY99" fmla="*/ 299641 h 4760516"/>
                  <a:gd name="connsiteX100" fmla="*/ 1360238 w 3903424"/>
                  <a:gd name="connsiteY100" fmla="*/ 140891 h 4760516"/>
                  <a:gd name="connsiteX101" fmla="*/ 1531688 w 3903424"/>
                  <a:gd name="connsiteY101" fmla="*/ 115491 h 4760516"/>
                  <a:gd name="connsiteX102" fmla="*/ 1677738 w 3903424"/>
                  <a:gd name="connsiteY102" fmla="*/ 13891 h 4760516"/>
                  <a:gd name="connsiteX103" fmla="*/ 1814660 w 3903424"/>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810829"/>
                  <a:gd name="connsiteX1" fmla="*/ 3082677 w 3904400"/>
                  <a:gd name="connsiteY1" fmla="*/ 1026716 h 4810829"/>
                  <a:gd name="connsiteX2" fmla="*/ 3168402 w 3904400"/>
                  <a:gd name="connsiteY2" fmla="*/ 1369616 h 4810829"/>
                  <a:gd name="connsiteX3" fmla="*/ 3254127 w 3904400"/>
                  <a:gd name="connsiteY3" fmla="*/ 1822054 h 4810829"/>
                  <a:gd name="connsiteX4" fmla="*/ 3282702 w 3904400"/>
                  <a:gd name="connsiteY4" fmla="*/ 2255441 h 4810829"/>
                  <a:gd name="connsiteX5" fmla="*/ 3273177 w 3904400"/>
                  <a:gd name="connsiteY5" fmla="*/ 2526904 h 4810829"/>
                  <a:gd name="connsiteX6" fmla="*/ 3192214 w 3904400"/>
                  <a:gd name="connsiteY6" fmla="*/ 2722166 h 4810829"/>
                  <a:gd name="connsiteX7" fmla="*/ 3044577 w 3904400"/>
                  <a:gd name="connsiteY7" fmla="*/ 2750741 h 4810829"/>
                  <a:gd name="connsiteX8" fmla="*/ 2811214 w 3904400"/>
                  <a:gd name="connsiteY8" fmla="*/ 2731691 h 4810829"/>
                  <a:gd name="connsiteX9" fmla="*/ 2635002 w 3904400"/>
                  <a:gd name="connsiteY9" fmla="*/ 2669779 h 4810829"/>
                  <a:gd name="connsiteX10" fmla="*/ 2658814 w 3904400"/>
                  <a:gd name="connsiteY10" fmla="*/ 2603104 h 4810829"/>
                  <a:gd name="connsiteX11" fmla="*/ 2754064 w 3904400"/>
                  <a:gd name="connsiteY11" fmla="*/ 2474516 h 4810829"/>
                  <a:gd name="connsiteX12" fmla="*/ 2844552 w 3904400"/>
                  <a:gd name="connsiteY12" fmla="*/ 2255441 h 4810829"/>
                  <a:gd name="connsiteX13" fmla="*/ 2863602 w 3904400"/>
                  <a:gd name="connsiteY13" fmla="*/ 2160191 h 4810829"/>
                  <a:gd name="connsiteX14" fmla="*/ 2920752 w 3904400"/>
                  <a:gd name="connsiteY14" fmla="*/ 2098279 h 4810829"/>
                  <a:gd name="connsiteX15" fmla="*/ 3001714 w 3904400"/>
                  <a:gd name="connsiteY15" fmla="*/ 1855391 h 4810829"/>
                  <a:gd name="connsiteX16" fmla="*/ 3058864 w 3904400"/>
                  <a:gd name="connsiteY16" fmla="*/ 1598216 h 4810829"/>
                  <a:gd name="connsiteX17" fmla="*/ 3063627 w 3904400"/>
                  <a:gd name="connsiteY17" fmla="*/ 1483916 h 4810829"/>
                  <a:gd name="connsiteX18" fmla="*/ 3011239 w 3904400"/>
                  <a:gd name="connsiteY18" fmla="*/ 1379141 h 4810829"/>
                  <a:gd name="connsiteX19" fmla="*/ 2958852 w 3904400"/>
                  <a:gd name="connsiteY19" fmla="*/ 1331516 h 4810829"/>
                  <a:gd name="connsiteX20" fmla="*/ 2949327 w 3904400"/>
                  <a:gd name="connsiteY20" fmla="*/ 1236266 h 4810829"/>
                  <a:gd name="connsiteX21" fmla="*/ 2958852 w 3904400"/>
                  <a:gd name="connsiteY21" fmla="*/ 1121966 h 4810829"/>
                  <a:gd name="connsiteX22" fmla="*/ 3006477 w 3904400"/>
                  <a:gd name="connsiteY22" fmla="*/ 1050529 h 4810829"/>
                  <a:gd name="connsiteX23" fmla="*/ 3062288 w 3904400"/>
                  <a:gd name="connsiteY23" fmla="*/ 1005769 h 4810829"/>
                  <a:gd name="connsiteX24" fmla="*/ 1814660 w 3904400"/>
                  <a:gd name="connsiteY24" fmla="*/ 0 h 4810829"/>
                  <a:gd name="connsiteX25" fmla="*/ 1957138 w 3904400"/>
                  <a:gd name="connsiteY25" fmla="*/ 1191 h 4810829"/>
                  <a:gd name="connsiteX26" fmla="*/ 2153988 w 3904400"/>
                  <a:gd name="connsiteY26" fmla="*/ 20241 h 4810829"/>
                  <a:gd name="connsiteX27" fmla="*/ 2382588 w 3904400"/>
                  <a:gd name="connsiteY27" fmla="*/ 121841 h 4810829"/>
                  <a:gd name="connsiteX28" fmla="*/ 2642938 w 3904400"/>
                  <a:gd name="connsiteY28" fmla="*/ 331391 h 4810829"/>
                  <a:gd name="connsiteX29" fmla="*/ 2947738 w 3904400"/>
                  <a:gd name="connsiteY29" fmla="*/ 693341 h 4810829"/>
                  <a:gd name="connsiteX30" fmla="*/ 3062038 w 3904400"/>
                  <a:gd name="connsiteY30" fmla="*/ 883841 h 4810829"/>
                  <a:gd name="connsiteX31" fmla="*/ 3011238 w 3904400"/>
                  <a:gd name="connsiteY31" fmla="*/ 1004491 h 4810829"/>
                  <a:gd name="connsiteX32" fmla="*/ 2903288 w 3904400"/>
                  <a:gd name="connsiteY32" fmla="*/ 1061641 h 4810829"/>
                  <a:gd name="connsiteX33" fmla="*/ 2827088 w 3904400"/>
                  <a:gd name="connsiteY33" fmla="*/ 998141 h 4810829"/>
                  <a:gd name="connsiteX34" fmla="*/ 2655638 w 3904400"/>
                  <a:gd name="connsiteY34" fmla="*/ 820341 h 4810829"/>
                  <a:gd name="connsiteX35" fmla="*/ 2350838 w 3904400"/>
                  <a:gd name="connsiteY35" fmla="*/ 674291 h 4810829"/>
                  <a:gd name="connsiteX36" fmla="*/ 2020638 w 3904400"/>
                  <a:gd name="connsiteY36" fmla="*/ 674291 h 4810829"/>
                  <a:gd name="connsiteX37" fmla="*/ 2344488 w 3904400"/>
                  <a:gd name="connsiteY37" fmla="*/ 769541 h 4810829"/>
                  <a:gd name="connsiteX38" fmla="*/ 2554038 w 3904400"/>
                  <a:gd name="connsiteY38" fmla="*/ 909241 h 4810829"/>
                  <a:gd name="connsiteX39" fmla="*/ 2630379 w 3904400"/>
                  <a:gd name="connsiteY39" fmla="*/ 973620 h 4810829"/>
                  <a:gd name="connsiteX40" fmla="*/ 2901551 w 3904400"/>
                  <a:gd name="connsiteY40" fmla="*/ 1067700 h 4810829"/>
                  <a:gd name="connsiteX41" fmla="*/ 2830884 w 3904400"/>
                  <a:gd name="connsiteY41" fmla="*/ 1212445 h 4810829"/>
                  <a:gd name="connsiteX42" fmla="*/ 2830884 w 3904400"/>
                  <a:gd name="connsiteY42" fmla="*/ 1445256 h 4810829"/>
                  <a:gd name="connsiteX43" fmla="*/ 2939795 w 3904400"/>
                  <a:gd name="connsiteY43" fmla="*/ 1531580 h 4810829"/>
                  <a:gd name="connsiteX44" fmla="*/ 2823781 w 3904400"/>
                  <a:gd name="connsiteY44" fmla="*/ 2041674 h 4810829"/>
                  <a:gd name="connsiteX45" fmla="*/ 2757487 w 3904400"/>
                  <a:gd name="connsiteY45" fmla="*/ 2086142 h 4810829"/>
                  <a:gd name="connsiteX46" fmla="*/ 2480886 w 3904400"/>
                  <a:gd name="connsiteY46" fmla="*/ 2698176 h 4810829"/>
                  <a:gd name="connsiteX47" fmla="*/ 2530227 w 3904400"/>
                  <a:gd name="connsiteY47" fmla="*/ 2817416 h 4810829"/>
                  <a:gd name="connsiteX48" fmla="*/ 2592139 w 3904400"/>
                  <a:gd name="connsiteY48" fmla="*/ 2874566 h 4810829"/>
                  <a:gd name="connsiteX49" fmla="*/ 2658814 w 3904400"/>
                  <a:gd name="connsiteY49" fmla="*/ 2884091 h 4810829"/>
                  <a:gd name="connsiteX50" fmla="*/ 2682627 w 3904400"/>
                  <a:gd name="connsiteY50" fmla="*/ 2912666 h 4810829"/>
                  <a:gd name="connsiteX51" fmla="*/ 2749302 w 3904400"/>
                  <a:gd name="connsiteY51" fmla="*/ 3079354 h 4810829"/>
                  <a:gd name="connsiteX52" fmla="*/ 2844552 w 3904400"/>
                  <a:gd name="connsiteY52" fmla="*/ 3174604 h 4810829"/>
                  <a:gd name="connsiteX53" fmla="*/ 2939802 w 3904400"/>
                  <a:gd name="connsiteY53" fmla="*/ 3207941 h 4810829"/>
                  <a:gd name="connsiteX54" fmla="*/ 3282702 w 3904400"/>
                  <a:gd name="connsiteY54" fmla="*/ 3317479 h 4810829"/>
                  <a:gd name="connsiteX55" fmla="*/ 3658939 w 3904400"/>
                  <a:gd name="connsiteY55" fmla="*/ 3493691 h 4810829"/>
                  <a:gd name="connsiteX56" fmla="*/ 3868489 w 3904400"/>
                  <a:gd name="connsiteY56" fmla="*/ 3641329 h 4810829"/>
                  <a:gd name="connsiteX57" fmla="*/ 3901827 w 3904400"/>
                  <a:gd name="connsiteY57" fmla="*/ 3769916 h 4810829"/>
                  <a:gd name="connsiteX58" fmla="*/ 3878014 w 3904400"/>
                  <a:gd name="connsiteY58" fmla="*/ 4027091 h 4810829"/>
                  <a:gd name="connsiteX59" fmla="*/ 3792289 w 3904400"/>
                  <a:gd name="connsiteY59" fmla="*/ 4236641 h 4810829"/>
                  <a:gd name="connsiteX60" fmla="*/ 3620839 w 3904400"/>
                  <a:gd name="connsiteY60" fmla="*/ 4598591 h 4810829"/>
                  <a:gd name="connsiteX61" fmla="*/ 3473202 w 3904400"/>
                  <a:gd name="connsiteY61" fmla="*/ 4760516 h 4810829"/>
                  <a:gd name="connsiteX62" fmla="*/ 339477 w 3904400"/>
                  <a:gd name="connsiteY62" fmla="*/ 4760516 h 4810829"/>
                  <a:gd name="connsiteX63" fmla="*/ 163264 w 3904400"/>
                  <a:gd name="connsiteY63" fmla="*/ 4436666 h 4810829"/>
                  <a:gd name="connsiteX64" fmla="*/ 58489 w 3904400"/>
                  <a:gd name="connsiteY64" fmla="*/ 4141391 h 4810829"/>
                  <a:gd name="connsiteX65" fmla="*/ 1339 w 3904400"/>
                  <a:gd name="connsiteY65" fmla="*/ 3855641 h 4810829"/>
                  <a:gd name="connsiteX66" fmla="*/ 25152 w 3904400"/>
                  <a:gd name="connsiteY66" fmla="*/ 3703241 h 4810829"/>
                  <a:gd name="connsiteX67" fmla="*/ 220414 w 3904400"/>
                  <a:gd name="connsiteY67" fmla="*/ 3584179 h 4810829"/>
                  <a:gd name="connsiteX68" fmla="*/ 534739 w 3904400"/>
                  <a:gd name="connsiteY68" fmla="*/ 3450829 h 4810829"/>
                  <a:gd name="connsiteX69" fmla="*/ 934789 w 3904400"/>
                  <a:gd name="connsiteY69" fmla="*/ 3293666 h 4810829"/>
                  <a:gd name="connsiteX70" fmla="*/ 1134814 w 3904400"/>
                  <a:gd name="connsiteY70" fmla="*/ 3217466 h 4810829"/>
                  <a:gd name="connsiteX71" fmla="*/ 1277689 w 3904400"/>
                  <a:gd name="connsiteY71" fmla="*/ 2950766 h 4810829"/>
                  <a:gd name="connsiteX72" fmla="*/ 1372939 w 3904400"/>
                  <a:gd name="connsiteY72" fmla="*/ 2888854 h 4810829"/>
                  <a:gd name="connsiteX73" fmla="*/ 1444377 w 3904400"/>
                  <a:gd name="connsiteY73" fmla="*/ 2750741 h 4810829"/>
                  <a:gd name="connsiteX74" fmla="*/ 1430089 w 3904400"/>
                  <a:gd name="connsiteY74" fmla="*/ 2665016 h 4810829"/>
                  <a:gd name="connsiteX75" fmla="*/ 1433678 w 3904400"/>
                  <a:gd name="connsiteY75" fmla="*/ 2655556 h 4810829"/>
                  <a:gd name="connsiteX76" fmla="*/ 1412671 w 3904400"/>
                  <a:gd name="connsiteY76" fmla="*/ 2630242 h 4810829"/>
                  <a:gd name="connsiteX77" fmla="*/ 1171172 w 3904400"/>
                  <a:gd name="connsiteY77" fmla="*/ 2059985 h 4810829"/>
                  <a:gd name="connsiteX78" fmla="*/ 977027 w 3904400"/>
                  <a:gd name="connsiteY78" fmla="*/ 1612672 h 4810829"/>
                  <a:gd name="connsiteX79" fmla="*/ 1052790 w 3904400"/>
                  <a:gd name="connsiteY79" fmla="*/ 1487109 h 4810829"/>
                  <a:gd name="connsiteX80" fmla="*/ 1018186 w 3904400"/>
                  <a:gd name="connsiteY80" fmla="*/ 1277790 h 4810829"/>
                  <a:gd name="connsiteX81" fmla="*/ 934788 w 3904400"/>
                  <a:gd name="connsiteY81" fmla="*/ 1341041 h 4810829"/>
                  <a:gd name="connsiteX82" fmla="*/ 883988 w 3904400"/>
                  <a:gd name="connsiteY82" fmla="*/ 1404541 h 4810829"/>
                  <a:gd name="connsiteX83" fmla="*/ 839538 w 3904400"/>
                  <a:gd name="connsiteY83" fmla="*/ 1525191 h 4810829"/>
                  <a:gd name="connsiteX84" fmla="*/ 858588 w 3904400"/>
                  <a:gd name="connsiteY84" fmla="*/ 1645841 h 4810829"/>
                  <a:gd name="connsiteX85" fmla="*/ 890338 w 3904400"/>
                  <a:gd name="connsiteY85" fmla="*/ 1829991 h 4810829"/>
                  <a:gd name="connsiteX86" fmla="*/ 966538 w 3904400"/>
                  <a:gd name="connsiteY86" fmla="*/ 2128441 h 4810829"/>
                  <a:gd name="connsiteX87" fmla="*/ 1049088 w 3904400"/>
                  <a:gd name="connsiteY87" fmla="*/ 2198291 h 4810829"/>
                  <a:gd name="connsiteX88" fmla="*/ 1099888 w 3904400"/>
                  <a:gd name="connsiteY88" fmla="*/ 2331641 h 4810829"/>
                  <a:gd name="connsiteX89" fmla="*/ 1220538 w 3904400"/>
                  <a:gd name="connsiteY89" fmla="*/ 2566591 h 4810829"/>
                  <a:gd name="connsiteX90" fmla="*/ 1271338 w 3904400"/>
                  <a:gd name="connsiteY90" fmla="*/ 2712641 h 4810829"/>
                  <a:gd name="connsiteX91" fmla="*/ 1131638 w 3904400"/>
                  <a:gd name="connsiteY91" fmla="*/ 2750741 h 4810829"/>
                  <a:gd name="connsiteX92" fmla="*/ 928438 w 3904400"/>
                  <a:gd name="connsiteY92" fmla="*/ 2776141 h 4810829"/>
                  <a:gd name="connsiteX93" fmla="*/ 744288 w 3904400"/>
                  <a:gd name="connsiteY93" fmla="*/ 2731691 h 4810829"/>
                  <a:gd name="connsiteX94" fmla="*/ 661738 w 3904400"/>
                  <a:gd name="connsiteY94" fmla="*/ 2591991 h 4810829"/>
                  <a:gd name="connsiteX95" fmla="*/ 623638 w 3904400"/>
                  <a:gd name="connsiteY95" fmla="*/ 2344341 h 4810829"/>
                  <a:gd name="connsiteX96" fmla="*/ 636338 w 3904400"/>
                  <a:gd name="connsiteY96" fmla="*/ 2020491 h 4810829"/>
                  <a:gd name="connsiteX97" fmla="*/ 737938 w 3904400"/>
                  <a:gd name="connsiteY97" fmla="*/ 1328341 h 4810829"/>
                  <a:gd name="connsiteX98" fmla="*/ 972888 w 3904400"/>
                  <a:gd name="connsiteY98" fmla="*/ 623491 h 4810829"/>
                  <a:gd name="connsiteX99" fmla="*/ 1169738 w 3904400"/>
                  <a:gd name="connsiteY99" fmla="*/ 299641 h 4810829"/>
                  <a:gd name="connsiteX100" fmla="*/ 1360238 w 3904400"/>
                  <a:gd name="connsiteY100" fmla="*/ 140891 h 4810829"/>
                  <a:gd name="connsiteX101" fmla="*/ 1531688 w 3904400"/>
                  <a:gd name="connsiteY101" fmla="*/ 115491 h 4810829"/>
                  <a:gd name="connsiteX102" fmla="*/ 1677738 w 3904400"/>
                  <a:gd name="connsiteY102" fmla="*/ 13891 h 4810829"/>
                  <a:gd name="connsiteX103" fmla="*/ 1814660 w 3904400"/>
                  <a:gd name="connsiteY103" fmla="*/ 0 h 4810829"/>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630379 w 3904400"/>
                  <a:gd name="connsiteY39" fmla="*/ 973620 h 4848994"/>
                  <a:gd name="connsiteX40" fmla="*/ 2901551 w 3904400"/>
                  <a:gd name="connsiteY40" fmla="*/ 1067700 h 4848994"/>
                  <a:gd name="connsiteX41" fmla="*/ 2830884 w 3904400"/>
                  <a:gd name="connsiteY41" fmla="*/ 1212445 h 4848994"/>
                  <a:gd name="connsiteX42" fmla="*/ 2830884 w 3904400"/>
                  <a:gd name="connsiteY42" fmla="*/ 1445256 h 4848994"/>
                  <a:gd name="connsiteX43" fmla="*/ 2939795 w 3904400"/>
                  <a:gd name="connsiteY43" fmla="*/ 1531580 h 4848994"/>
                  <a:gd name="connsiteX44" fmla="*/ 2823781 w 3904400"/>
                  <a:gd name="connsiteY44" fmla="*/ 2041674 h 4848994"/>
                  <a:gd name="connsiteX45" fmla="*/ 2757487 w 3904400"/>
                  <a:gd name="connsiteY45" fmla="*/ 2086142 h 4848994"/>
                  <a:gd name="connsiteX46" fmla="*/ 2480886 w 3904400"/>
                  <a:gd name="connsiteY46" fmla="*/ 2698176 h 4848994"/>
                  <a:gd name="connsiteX47" fmla="*/ 2530227 w 3904400"/>
                  <a:gd name="connsiteY47" fmla="*/ 2817416 h 4848994"/>
                  <a:gd name="connsiteX48" fmla="*/ 2592139 w 3904400"/>
                  <a:gd name="connsiteY48" fmla="*/ 2874566 h 4848994"/>
                  <a:gd name="connsiteX49" fmla="*/ 2658814 w 3904400"/>
                  <a:gd name="connsiteY49" fmla="*/ 2884091 h 4848994"/>
                  <a:gd name="connsiteX50" fmla="*/ 2682627 w 3904400"/>
                  <a:gd name="connsiteY50" fmla="*/ 2912666 h 4848994"/>
                  <a:gd name="connsiteX51" fmla="*/ 2749302 w 3904400"/>
                  <a:gd name="connsiteY51" fmla="*/ 3079354 h 4848994"/>
                  <a:gd name="connsiteX52" fmla="*/ 2844552 w 3904400"/>
                  <a:gd name="connsiteY52" fmla="*/ 3174604 h 4848994"/>
                  <a:gd name="connsiteX53" fmla="*/ 2939802 w 3904400"/>
                  <a:gd name="connsiteY53" fmla="*/ 3207941 h 4848994"/>
                  <a:gd name="connsiteX54" fmla="*/ 3282702 w 3904400"/>
                  <a:gd name="connsiteY54" fmla="*/ 3317479 h 4848994"/>
                  <a:gd name="connsiteX55" fmla="*/ 3658939 w 3904400"/>
                  <a:gd name="connsiteY55" fmla="*/ 3493691 h 4848994"/>
                  <a:gd name="connsiteX56" fmla="*/ 3868489 w 3904400"/>
                  <a:gd name="connsiteY56" fmla="*/ 3641329 h 4848994"/>
                  <a:gd name="connsiteX57" fmla="*/ 3901827 w 3904400"/>
                  <a:gd name="connsiteY57" fmla="*/ 3769916 h 4848994"/>
                  <a:gd name="connsiteX58" fmla="*/ 3878014 w 3904400"/>
                  <a:gd name="connsiteY58" fmla="*/ 4027091 h 4848994"/>
                  <a:gd name="connsiteX59" fmla="*/ 3792289 w 3904400"/>
                  <a:gd name="connsiteY59" fmla="*/ 4236641 h 4848994"/>
                  <a:gd name="connsiteX60" fmla="*/ 3620839 w 3904400"/>
                  <a:gd name="connsiteY60" fmla="*/ 4598591 h 4848994"/>
                  <a:gd name="connsiteX61" fmla="*/ 3473202 w 3904400"/>
                  <a:gd name="connsiteY61" fmla="*/ 4760516 h 4848994"/>
                  <a:gd name="connsiteX62" fmla="*/ 339477 w 3904400"/>
                  <a:gd name="connsiteY62" fmla="*/ 4760516 h 4848994"/>
                  <a:gd name="connsiteX63" fmla="*/ 163264 w 3904400"/>
                  <a:gd name="connsiteY63" fmla="*/ 4436666 h 4848994"/>
                  <a:gd name="connsiteX64" fmla="*/ 58489 w 3904400"/>
                  <a:gd name="connsiteY64" fmla="*/ 4141391 h 4848994"/>
                  <a:gd name="connsiteX65" fmla="*/ 1339 w 3904400"/>
                  <a:gd name="connsiteY65" fmla="*/ 3855641 h 4848994"/>
                  <a:gd name="connsiteX66" fmla="*/ 25152 w 3904400"/>
                  <a:gd name="connsiteY66" fmla="*/ 3703241 h 4848994"/>
                  <a:gd name="connsiteX67" fmla="*/ 220414 w 3904400"/>
                  <a:gd name="connsiteY67" fmla="*/ 3584179 h 4848994"/>
                  <a:gd name="connsiteX68" fmla="*/ 534739 w 3904400"/>
                  <a:gd name="connsiteY68" fmla="*/ 3450829 h 4848994"/>
                  <a:gd name="connsiteX69" fmla="*/ 934789 w 3904400"/>
                  <a:gd name="connsiteY69" fmla="*/ 3293666 h 4848994"/>
                  <a:gd name="connsiteX70" fmla="*/ 1134814 w 3904400"/>
                  <a:gd name="connsiteY70" fmla="*/ 3217466 h 4848994"/>
                  <a:gd name="connsiteX71" fmla="*/ 1277689 w 3904400"/>
                  <a:gd name="connsiteY71" fmla="*/ 2950766 h 4848994"/>
                  <a:gd name="connsiteX72" fmla="*/ 1372939 w 3904400"/>
                  <a:gd name="connsiteY72" fmla="*/ 2888854 h 4848994"/>
                  <a:gd name="connsiteX73" fmla="*/ 1444377 w 3904400"/>
                  <a:gd name="connsiteY73" fmla="*/ 2750741 h 4848994"/>
                  <a:gd name="connsiteX74" fmla="*/ 1430089 w 3904400"/>
                  <a:gd name="connsiteY74" fmla="*/ 2665016 h 4848994"/>
                  <a:gd name="connsiteX75" fmla="*/ 1433678 w 3904400"/>
                  <a:gd name="connsiteY75" fmla="*/ 2655556 h 4848994"/>
                  <a:gd name="connsiteX76" fmla="*/ 1412671 w 3904400"/>
                  <a:gd name="connsiteY76" fmla="*/ 2630242 h 4848994"/>
                  <a:gd name="connsiteX77" fmla="*/ 1171172 w 3904400"/>
                  <a:gd name="connsiteY77" fmla="*/ 2059985 h 4848994"/>
                  <a:gd name="connsiteX78" fmla="*/ 977027 w 3904400"/>
                  <a:gd name="connsiteY78" fmla="*/ 1612672 h 4848994"/>
                  <a:gd name="connsiteX79" fmla="*/ 1052790 w 3904400"/>
                  <a:gd name="connsiteY79" fmla="*/ 1487109 h 4848994"/>
                  <a:gd name="connsiteX80" fmla="*/ 1018186 w 3904400"/>
                  <a:gd name="connsiteY80" fmla="*/ 1277790 h 4848994"/>
                  <a:gd name="connsiteX81" fmla="*/ 934788 w 3904400"/>
                  <a:gd name="connsiteY81" fmla="*/ 1341041 h 4848994"/>
                  <a:gd name="connsiteX82" fmla="*/ 883988 w 3904400"/>
                  <a:gd name="connsiteY82" fmla="*/ 1404541 h 4848994"/>
                  <a:gd name="connsiteX83" fmla="*/ 839538 w 3904400"/>
                  <a:gd name="connsiteY83" fmla="*/ 1525191 h 4848994"/>
                  <a:gd name="connsiteX84" fmla="*/ 858588 w 3904400"/>
                  <a:gd name="connsiteY84" fmla="*/ 1645841 h 4848994"/>
                  <a:gd name="connsiteX85" fmla="*/ 890338 w 3904400"/>
                  <a:gd name="connsiteY85" fmla="*/ 1829991 h 4848994"/>
                  <a:gd name="connsiteX86" fmla="*/ 966538 w 3904400"/>
                  <a:gd name="connsiteY86" fmla="*/ 2128441 h 4848994"/>
                  <a:gd name="connsiteX87" fmla="*/ 1049088 w 3904400"/>
                  <a:gd name="connsiteY87" fmla="*/ 2198291 h 4848994"/>
                  <a:gd name="connsiteX88" fmla="*/ 1099888 w 3904400"/>
                  <a:gd name="connsiteY88" fmla="*/ 2331641 h 4848994"/>
                  <a:gd name="connsiteX89" fmla="*/ 1220538 w 3904400"/>
                  <a:gd name="connsiteY89" fmla="*/ 2566591 h 4848994"/>
                  <a:gd name="connsiteX90" fmla="*/ 1271338 w 3904400"/>
                  <a:gd name="connsiteY90" fmla="*/ 2712641 h 4848994"/>
                  <a:gd name="connsiteX91" fmla="*/ 1131638 w 3904400"/>
                  <a:gd name="connsiteY91" fmla="*/ 2750741 h 4848994"/>
                  <a:gd name="connsiteX92" fmla="*/ 928438 w 3904400"/>
                  <a:gd name="connsiteY92" fmla="*/ 2776141 h 4848994"/>
                  <a:gd name="connsiteX93" fmla="*/ 744288 w 3904400"/>
                  <a:gd name="connsiteY93" fmla="*/ 2731691 h 4848994"/>
                  <a:gd name="connsiteX94" fmla="*/ 661738 w 3904400"/>
                  <a:gd name="connsiteY94" fmla="*/ 2591991 h 4848994"/>
                  <a:gd name="connsiteX95" fmla="*/ 623638 w 3904400"/>
                  <a:gd name="connsiteY95" fmla="*/ 2344341 h 4848994"/>
                  <a:gd name="connsiteX96" fmla="*/ 636338 w 3904400"/>
                  <a:gd name="connsiteY96" fmla="*/ 2020491 h 4848994"/>
                  <a:gd name="connsiteX97" fmla="*/ 737938 w 3904400"/>
                  <a:gd name="connsiteY97" fmla="*/ 1328341 h 4848994"/>
                  <a:gd name="connsiteX98" fmla="*/ 972888 w 3904400"/>
                  <a:gd name="connsiteY98" fmla="*/ 623491 h 4848994"/>
                  <a:gd name="connsiteX99" fmla="*/ 1169738 w 3904400"/>
                  <a:gd name="connsiteY99" fmla="*/ 299641 h 4848994"/>
                  <a:gd name="connsiteX100" fmla="*/ 1360238 w 3904400"/>
                  <a:gd name="connsiteY100" fmla="*/ 140891 h 4848994"/>
                  <a:gd name="connsiteX101" fmla="*/ 1531688 w 3904400"/>
                  <a:gd name="connsiteY101" fmla="*/ 115491 h 4848994"/>
                  <a:gd name="connsiteX102" fmla="*/ 1677738 w 3904400"/>
                  <a:gd name="connsiteY102" fmla="*/ 13891 h 4848994"/>
                  <a:gd name="connsiteX103" fmla="*/ 1814660 w 3904400"/>
                  <a:gd name="connsiteY103"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859098 w 3904400"/>
                  <a:gd name="connsiteY39" fmla="*/ 1103077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904400" h="4848994">
                    <a:moveTo>
                      <a:pt x="3062288" y="1005769"/>
                    </a:moveTo>
                    <a:lnTo>
                      <a:pt x="3082677" y="1026716"/>
                    </a:lnTo>
                    <a:cubicBezTo>
                      <a:pt x="3109664" y="1079897"/>
                      <a:pt x="3139827" y="1237060"/>
                      <a:pt x="3168402" y="1369616"/>
                    </a:cubicBezTo>
                    <a:cubicBezTo>
                      <a:pt x="3196977" y="1502172"/>
                      <a:pt x="3235077" y="1674417"/>
                      <a:pt x="3254127" y="1822054"/>
                    </a:cubicBezTo>
                    <a:cubicBezTo>
                      <a:pt x="3273177" y="1969691"/>
                      <a:pt x="3279527" y="2137966"/>
                      <a:pt x="3282702" y="2255441"/>
                    </a:cubicBezTo>
                    <a:cubicBezTo>
                      <a:pt x="3285877" y="2372916"/>
                      <a:pt x="3288258" y="2449116"/>
                      <a:pt x="3273177" y="2526904"/>
                    </a:cubicBezTo>
                    <a:cubicBezTo>
                      <a:pt x="3258096" y="2604692"/>
                      <a:pt x="3230314" y="2684860"/>
                      <a:pt x="3192214" y="2722166"/>
                    </a:cubicBezTo>
                    <a:cubicBezTo>
                      <a:pt x="3154114" y="2759472"/>
                      <a:pt x="3108077" y="2749154"/>
                      <a:pt x="3044577" y="2750741"/>
                    </a:cubicBezTo>
                    <a:cubicBezTo>
                      <a:pt x="2981077" y="2752328"/>
                      <a:pt x="2879476" y="2745185"/>
                      <a:pt x="2811214" y="2731691"/>
                    </a:cubicBezTo>
                    <a:cubicBezTo>
                      <a:pt x="2742952" y="2718197"/>
                      <a:pt x="2660402" y="2691210"/>
                      <a:pt x="2635002" y="2669779"/>
                    </a:cubicBezTo>
                    <a:cubicBezTo>
                      <a:pt x="2609602" y="2648348"/>
                      <a:pt x="2638970" y="2635648"/>
                      <a:pt x="2658814" y="2603104"/>
                    </a:cubicBezTo>
                    <a:cubicBezTo>
                      <a:pt x="2678658" y="2570560"/>
                      <a:pt x="2723108" y="2532460"/>
                      <a:pt x="2754064" y="2474516"/>
                    </a:cubicBezTo>
                    <a:cubicBezTo>
                      <a:pt x="2785020" y="2416572"/>
                      <a:pt x="2826296" y="2307828"/>
                      <a:pt x="2844552" y="2255441"/>
                    </a:cubicBezTo>
                    <a:cubicBezTo>
                      <a:pt x="2862808" y="2203054"/>
                      <a:pt x="2850902" y="2186385"/>
                      <a:pt x="2863602" y="2160191"/>
                    </a:cubicBezTo>
                    <a:cubicBezTo>
                      <a:pt x="2876302" y="2133997"/>
                      <a:pt x="2897733" y="2149079"/>
                      <a:pt x="2920752" y="2098279"/>
                    </a:cubicBezTo>
                    <a:cubicBezTo>
                      <a:pt x="2943771" y="2047479"/>
                      <a:pt x="2978695" y="1938735"/>
                      <a:pt x="3001714" y="1855391"/>
                    </a:cubicBezTo>
                    <a:cubicBezTo>
                      <a:pt x="3024733" y="1772047"/>
                      <a:pt x="3048545" y="1660129"/>
                      <a:pt x="3058864" y="1598216"/>
                    </a:cubicBezTo>
                    <a:cubicBezTo>
                      <a:pt x="3069183" y="1536303"/>
                      <a:pt x="3071564" y="1520428"/>
                      <a:pt x="3063627" y="1483916"/>
                    </a:cubicBezTo>
                    <a:cubicBezTo>
                      <a:pt x="3055690" y="1447404"/>
                      <a:pt x="3028702" y="1404541"/>
                      <a:pt x="3011239" y="1379141"/>
                    </a:cubicBezTo>
                    <a:cubicBezTo>
                      <a:pt x="2993776" y="1353741"/>
                      <a:pt x="2969171" y="1355329"/>
                      <a:pt x="2958852" y="1331516"/>
                    </a:cubicBezTo>
                    <a:cubicBezTo>
                      <a:pt x="2948533" y="1307704"/>
                      <a:pt x="2949327" y="1271191"/>
                      <a:pt x="2949327" y="1236266"/>
                    </a:cubicBezTo>
                    <a:cubicBezTo>
                      <a:pt x="2949327" y="1201341"/>
                      <a:pt x="2949327" y="1152922"/>
                      <a:pt x="2958852" y="1121966"/>
                    </a:cubicBezTo>
                    <a:cubicBezTo>
                      <a:pt x="2968377" y="1091010"/>
                      <a:pt x="2985839" y="1066404"/>
                      <a:pt x="3006477" y="1050529"/>
                    </a:cubicBezTo>
                    <a:cubicBezTo>
                      <a:pt x="3021955" y="1038623"/>
                      <a:pt x="3041898" y="1001267"/>
                      <a:pt x="3062288" y="1005769"/>
                    </a:cubicBezTo>
                    <a:close/>
                    <a:moveTo>
                      <a:pt x="1814660" y="0"/>
                    </a:moveTo>
                    <a:lnTo>
                      <a:pt x="1957138" y="1191"/>
                    </a:lnTo>
                    <a:cubicBezTo>
                      <a:pt x="2036513" y="2249"/>
                      <a:pt x="2083080" y="133"/>
                      <a:pt x="2153988" y="20241"/>
                    </a:cubicBezTo>
                    <a:cubicBezTo>
                      <a:pt x="2224896" y="40349"/>
                      <a:pt x="2301096" y="69983"/>
                      <a:pt x="2382588" y="121841"/>
                    </a:cubicBezTo>
                    <a:cubicBezTo>
                      <a:pt x="2464080" y="173699"/>
                      <a:pt x="2548747" y="236141"/>
                      <a:pt x="2642938" y="331391"/>
                    </a:cubicBezTo>
                    <a:cubicBezTo>
                      <a:pt x="2737129" y="426641"/>
                      <a:pt x="2877888" y="601266"/>
                      <a:pt x="2947738" y="693341"/>
                    </a:cubicBezTo>
                    <a:cubicBezTo>
                      <a:pt x="3017588" y="785416"/>
                      <a:pt x="3051455" y="831983"/>
                      <a:pt x="3062038" y="883841"/>
                    </a:cubicBezTo>
                    <a:cubicBezTo>
                      <a:pt x="3072621" y="935699"/>
                      <a:pt x="3037696" y="974858"/>
                      <a:pt x="3011238" y="1004491"/>
                    </a:cubicBezTo>
                    <a:cubicBezTo>
                      <a:pt x="2984780" y="1034124"/>
                      <a:pt x="2933980" y="1062699"/>
                      <a:pt x="2903288" y="1061641"/>
                    </a:cubicBezTo>
                    <a:cubicBezTo>
                      <a:pt x="2872596" y="1060583"/>
                      <a:pt x="2868363" y="1038358"/>
                      <a:pt x="2827088" y="998141"/>
                    </a:cubicBezTo>
                    <a:cubicBezTo>
                      <a:pt x="2785813" y="957924"/>
                      <a:pt x="2735013" y="874316"/>
                      <a:pt x="2655638" y="820341"/>
                    </a:cubicBezTo>
                    <a:cubicBezTo>
                      <a:pt x="2576263" y="766366"/>
                      <a:pt x="2456671" y="698633"/>
                      <a:pt x="2350838" y="674291"/>
                    </a:cubicBezTo>
                    <a:cubicBezTo>
                      <a:pt x="2245005" y="649949"/>
                      <a:pt x="2004008" y="658416"/>
                      <a:pt x="2020638" y="674291"/>
                    </a:cubicBezTo>
                    <a:cubicBezTo>
                      <a:pt x="2037268" y="690166"/>
                      <a:pt x="2322805" y="697365"/>
                      <a:pt x="2450619" y="769542"/>
                    </a:cubicBezTo>
                    <a:cubicBezTo>
                      <a:pt x="2578433" y="841719"/>
                      <a:pt x="2592091" y="839501"/>
                      <a:pt x="2660171" y="895090"/>
                    </a:cubicBezTo>
                    <a:cubicBezTo>
                      <a:pt x="2728251" y="950679"/>
                      <a:pt x="2812957" y="1052543"/>
                      <a:pt x="2859098" y="1103077"/>
                    </a:cubicBezTo>
                    <a:cubicBezTo>
                      <a:pt x="2840639" y="1173982"/>
                      <a:pt x="2842709" y="1151206"/>
                      <a:pt x="2830884" y="1212445"/>
                    </a:cubicBezTo>
                    <a:cubicBezTo>
                      <a:pt x="2856921" y="1275211"/>
                      <a:pt x="2830896" y="1445184"/>
                      <a:pt x="2830884" y="1445256"/>
                    </a:cubicBezTo>
                    <a:cubicBezTo>
                      <a:pt x="2830987" y="1445263"/>
                      <a:pt x="2939795" y="1453141"/>
                      <a:pt x="2939795" y="1531580"/>
                    </a:cubicBezTo>
                    <a:cubicBezTo>
                      <a:pt x="2939795" y="1610041"/>
                      <a:pt x="2823824" y="2041512"/>
                      <a:pt x="2823781" y="2041674"/>
                    </a:cubicBezTo>
                    <a:cubicBezTo>
                      <a:pt x="2823748" y="2041731"/>
                      <a:pt x="2792983" y="2093987"/>
                      <a:pt x="2757487" y="2086142"/>
                    </a:cubicBezTo>
                    <a:cubicBezTo>
                      <a:pt x="2719935" y="2402501"/>
                      <a:pt x="2591644" y="2600616"/>
                      <a:pt x="2480886" y="2698176"/>
                    </a:cubicBezTo>
                    <a:cubicBezTo>
                      <a:pt x="2497333" y="2737923"/>
                      <a:pt x="2509017" y="2787194"/>
                      <a:pt x="2530227" y="2817416"/>
                    </a:cubicBezTo>
                    <a:lnTo>
                      <a:pt x="2592139" y="2874566"/>
                    </a:lnTo>
                    <a:lnTo>
                      <a:pt x="2658814" y="2884091"/>
                    </a:lnTo>
                    <a:lnTo>
                      <a:pt x="2682627" y="2912666"/>
                    </a:lnTo>
                    <a:lnTo>
                      <a:pt x="2749302" y="3079354"/>
                    </a:lnTo>
                    <a:lnTo>
                      <a:pt x="2844552" y="3174604"/>
                    </a:lnTo>
                    <a:lnTo>
                      <a:pt x="2939802" y="3207941"/>
                    </a:lnTo>
                    <a:lnTo>
                      <a:pt x="3282702" y="3317479"/>
                    </a:lnTo>
                    <a:lnTo>
                      <a:pt x="3658939" y="3493691"/>
                    </a:lnTo>
                    <a:lnTo>
                      <a:pt x="3868489" y="3641329"/>
                    </a:lnTo>
                    <a:cubicBezTo>
                      <a:pt x="3879602" y="3684191"/>
                      <a:pt x="3906589" y="3708004"/>
                      <a:pt x="3901827" y="3769916"/>
                    </a:cubicBezTo>
                    <a:cubicBezTo>
                      <a:pt x="3909764" y="3830241"/>
                      <a:pt x="3898652" y="3938191"/>
                      <a:pt x="3878014" y="4027091"/>
                    </a:cubicBezTo>
                    <a:cubicBezTo>
                      <a:pt x="3855789" y="4119166"/>
                      <a:pt x="3820864" y="4166791"/>
                      <a:pt x="3792289" y="4236641"/>
                    </a:cubicBezTo>
                    <a:lnTo>
                      <a:pt x="3620839" y="4598591"/>
                    </a:lnTo>
                    <a:lnTo>
                      <a:pt x="3473202" y="4760516"/>
                    </a:lnTo>
                    <a:cubicBezTo>
                      <a:pt x="2419193" y="4883157"/>
                      <a:pt x="1553862" y="4873723"/>
                      <a:pt x="339477" y="4760516"/>
                    </a:cubicBezTo>
                    <a:lnTo>
                      <a:pt x="163264" y="4436666"/>
                    </a:lnTo>
                    <a:lnTo>
                      <a:pt x="58489" y="4141391"/>
                    </a:lnTo>
                    <a:cubicBezTo>
                      <a:pt x="39439" y="4046141"/>
                      <a:pt x="14039" y="3992166"/>
                      <a:pt x="1339" y="3855641"/>
                    </a:cubicBezTo>
                    <a:cubicBezTo>
                      <a:pt x="-3423" y="3795316"/>
                      <a:pt x="4514" y="3744516"/>
                      <a:pt x="25152" y="3703241"/>
                    </a:cubicBezTo>
                    <a:lnTo>
                      <a:pt x="220414" y="3584179"/>
                    </a:lnTo>
                    <a:lnTo>
                      <a:pt x="534739" y="3450829"/>
                    </a:lnTo>
                    <a:lnTo>
                      <a:pt x="934789" y="3293666"/>
                    </a:lnTo>
                    <a:lnTo>
                      <a:pt x="1134814" y="3217466"/>
                    </a:lnTo>
                    <a:cubicBezTo>
                      <a:pt x="1234827" y="3090466"/>
                      <a:pt x="1241971" y="3068241"/>
                      <a:pt x="1277689" y="2950766"/>
                    </a:cubicBezTo>
                    <a:lnTo>
                      <a:pt x="1372939" y="2888854"/>
                    </a:lnTo>
                    <a:lnTo>
                      <a:pt x="1444377" y="2750741"/>
                    </a:lnTo>
                    <a:lnTo>
                      <a:pt x="1430089" y="2665016"/>
                    </a:lnTo>
                    <a:lnTo>
                      <a:pt x="1433678" y="2655556"/>
                    </a:lnTo>
                    <a:cubicBezTo>
                      <a:pt x="1422983" y="2644679"/>
                      <a:pt x="1415776" y="2635961"/>
                      <a:pt x="1412671" y="2630242"/>
                    </a:cubicBezTo>
                    <a:cubicBezTo>
                      <a:pt x="1381893" y="2577926"/>
                      <a:pt x="1178275" y="2345112"/>
                      <a:pt x="1171172" y="2059985"/>
                    </a:cubicBezTo>
                    <a:cubicBezTo>
                      <a:pt x="1071731" y="2052136"/>
                      <a:pt x="1014908" y="1764391"/>
                      <a:pt x="977027" y="1612672"/>
                    </a:cubicBezTo>
                    <a:cubicBezTo>
                      <a:pt x="946258" y="1484545"/>
                      <a:pt x="1052708" y="1487108"/>
                      <a:pt x="1052790" y="1487109"/>
                    </a:cubicBezTo>
                    <a:cubicBezTo>
                      <a:pt x="1052758" y="1487025"/>
                      <a:pt x="992834" y="1362590"/>
                      <a:pt x="1018186" y="1277790"/>
                    </a:cubicBezTo>
                    <a:cubicBezTo>
                      <a:pt x="962383" y="1308036"/>
                      <a:pt x="957154" y="1319916"/>
                      <a:pt x="934788" y="1341041"/>
                    </a:cubicBezTo>
                    <a:cubicBezTo>
                      <a:pt x="912422" y="1362166"/>
                      <a:pt x="899863" y="1373849"/>
                      <a:pt x="883988" y="1404541"/>
                    </a:cubicBezTo>
                    <a:cubicBezTo>
                      <a:pt x="868113" y="1435233"/>
                      <a:pt x="843771" y="1484974"/>
                      <a:pt x="839538" y="1525191"/>
                    </a:cubicBezTo>
                    <a:cubicBezTo>
                      <a:pt x="835305" y="1565408"/>
                      <a:pt x="850121" y="1595041"/>
                      <a:pt x="858588" y="1645841"/>
                    </a:cubicBezTo>
                    <a:cubicBezTo>
                      <a:pt x="867055" y="1696641"/>
                      <a:pt x="872346" y="1749558"/>
                      <a:pt x="890338" y="1829991"/>
                    </a:cubicBezTo>
                    <a:cubicBezTo>
                      <a:pt x="908330" y="1910424"/>
                      <a:pt x="940080" y="2067058"/>
                      <a:pt x="966538" y="2128441"/>
                    </a:cubicBezTo>
                    <a:cubicBezTo>
                      <a:pt x="992996" y="2189824"/>
                      <a:pt x="1026863" y="2164424"/>
                      <a:pt x="1049088" y="2198291"/>
                    </a:cubicBezTo>
                    <a:cubicBezTo>
                      <a:pt x="1071313" y="2232158"/>
                      <a:pt x="1071313" y="2270258"/>
                      <a:pt x="1099888" y="2331641"/>
                    </a:cubicBezTo>
                    <a:cubicBezTo>
                      <a:pt x="1128463" y="2393024"/>
                      <a:pt x="1191963" y="2503091"/>
                      <a:pt x="1220538" y="2566591"/>
                    </a:cubicBezTo>
                    <a:cubicBezTo>
                      <a:pt x="1249113" y="2630091"/>
                      <a:pt x="1286155" y="2681949"/>
                      <a:pt x="1271338" y="2712641"/>
                    </a:cubicBezTo>
                    <a:cubicBezTo>
                      <a:pt x="1256521" y="2743333"/>
                      <a:pt x="1188788" y="2740158"/>
                      <a:pt x="1131638" y="2750741"/>
                    </a:cubicBezTo>
                    <a:cubicBezTo>
                      <a:pt x="1074488" y="2761324"/>
                      <a:pt x="992996" y="2779316"/>
                      <a:pt x="928438" y="2776141"/>
                    </a:cubicBezTo>
                    <a:cubicBezTo>
                      <a:pt x="863880" y="2772966"/>
                      <a:pt x="788738" y="2762383"/>
                      <a:pt x="744288" y="2731691"/>
                    </a:cubicBezTo>
                    <a:cubicBezTo>
                      <a:pt x="699838" y="2700999"/>
                      <a:pt x="681846" y="2656549"/>
                      <a:pt x="661738" y="2591991"/>
                    </a:cubicBezTo>
                    <a:cubicBezTo>
                      <a:pt x="641630" y="2527433"/>
                      <a:pt x="627871" y="2439591"/>
                      <a:pt x="623638" y="2344341"/>
                    </a:cubicBezTo>
                    <a:cubicBezTo>
                      <a:pt x="619405" y="2249091"/>
                      <a:pt x="617288" y="2189824"/>
                      <a:pt x="636338" y="2020491"/>
                    </a:cubicBezTo>
                    <a:cubicBezTo>
                      <a:pt x="655388" y="1851158"/>
                      <a:pt x="681846" y="1561174"/>
                      <a:pt x="737938" y="1328341"/>
                    </a:cubicBezTo>
                    <a:cubicBezTo>
                      <a:pt x="794030" y="1095508"/>
                      <a:pt x="900921" y="794941"/>
                      <a:pt x="972888" y="623491"/>
                    </a:cubicBezTo>
                    <a:cubicBezTo>
                      <a:pt x="1044855" y="452041"/>
                      <a:pt x="1105180" y="380074"/>
                      <a:pt x="1169738" y="299641"/>
                    </a:cubicBezTo>
                    <a:cubicBezTo>
                      <a:pt x="1234296" y="219208"/>
                      <a:pt x="1299913" y="171583"/>
                      <a:pt x="1360238" y="140891"/>
                    </a:cubicBezTo>
                    <a:cubicBezTo>
                      <a:pt x="1420563" y="110199"/>
                      <a:pt x="1478771" y="136658"/>
                      <a:pt x="1531688" y="115491"/>
                    </a:cubicBezTo>
                    <a:cubicBezTo>
                      <a:pt x="1584605" y="94324"/>
                      <a:pt x="1605771" y="32941"/>
                      <a:pt x="1677738" y="13891"/>
                    </a:cubicBezTo>
                    <a:cubicBezTo>
                      <a:pt x="1713722" y="4366"/>
                      <a:pt x="1763728" y="926"/>
                      <a:pt x="181466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578">
                  <a:defRPr/>
                </a:pPr>
                <a:endParaRPr lang="en-US" sz="1797" kern="0" dirty="0">
                  <a:solidFill>
                    <a:srgbClr val="FFFFFF"/>
                  </a:solidFill>
                  <a:latin typeface="Segoe UI"/>
                </a:endParaRPr>
              </a:p>
            </p:txBody>
          </p:sp>
        </p:grpSp>
        <p:sp>
          <p:nvSpPr>
            <p:cNvPr id="293" name="TextBox 292">
              <a:extLst>
                <a:ext uri="{FF2B5EF4-FFF2-40B4-BE49-F238E27FC236}">
                  <a16:creationId xmlns:a16="http://schemas.microsoft.com/office/drawing/2014/main" id="{D58385AE-BF5A-4171-9EA2-883BCA45D10D}"/>
                </a:ext>
              </a:extLst>
            </p:cNvPr>
            <p:cNvSpPr txBox="1"/>
            <p:nvPr/>
          </p:nvSpPr>
          <p:spPr>
            <a:xfrm>
              <a:off x="8874576" y="2633130"/>
              <a:ext cx="1265860" cy="695840"/>
            </a:xfrm>
            <a:prstGeom prst="rect">
              <a:avLst/>
            </a:prstGeom>
          </p:spPr>
          <p:txBody>
            <a:bodyPr vert="horz" wrap="none" lIns="0" tIns="0" rIns="0" bIns="0" rtlCol="0" anchor="t">
              <a:spAutoFit/>
            </a:bodyPr>
            <a:lstStyle>
              <a:defPPr>
                <a:defRPr lang="en-US"/>
              </a:defPPr>
              <a:lvl1pPr algn="ctr" defTabSz="1088105">
                <a:defRPr sz="1200">
                  <a:solidFill>
                    <a:srgbClr val="505050"/>
                  </a:solidFill>
                  <a:ea typeface="Segoe UI" pitchFamily="34" charset="0"/>
                  <a:cs typeface="Segoe UI" pitchFamily="34" charset="0"/>
                </a:defRPr>
              </a:lvl1pPr>
            </a:lstStyle>
            <a:p>
              <a:pPr defTabSz="1087779">
                <a:defRPr/>
              </a:pPr>
              <a:r>
                <a:rPr lang="en-US" kern="0" dirty="0">
                  <a:latin typeface="Segoe UI Semibold" panose="020B0702040204020203" pitchFamily="34" charset="0"/>
                  <a:cs typeface="Segoe UI Semibold" panose="020B0702040204020203" pitchFamily="34" charset="0"/>
                </a:rPr>
                <a:t>Global &amp; Local </a:t>
              </a:r>
            </a:p>
            <a:p>
              <a:pPr defTabSz="1087779">
                <a:defRPr/>
              </a:pPr>
              <a:r>
                <a:rPr lang="en-US" kern="0" dirty="0">
                  <a:latin typeface="Segoe UI Semibold" panose="020B0702040204020203" pitchFamily="34" charset="0"/>
                  <a:cs typeface="Segoe UI Semibold" panose="020B0702040204020203" pitchFamily="34" charset="0"/>
                </a:rPr>
                <a:t>Manufacturing</a:t>
              </a:r>
              <a:br>
                <a:rPr lang="en-US" kern="0" dirty="0">
                  <a:latin typeface="Segoe UI Semibold" panose="020B0702040204020203" pitchFamily="34" charset="0"/>
                  <a:cs typeface="Segoe UI Semibold" panose="020B0702040204020203" pitchFamily="34" charset="0"/>
                </a:rPr>
              </a:br>
              <a:r>
                <a:rPr lang="en-US" kern="0" dirty="0">
                  <a:latin typeface="Segoe UI Semibold" panose="020B0702040204020203" pitchFamily="34" charset="0"/>
                  <a:cs typeface="Segoe UI Semibold" panose="020B0702040204020203" pitchFamily="34" charset="0"/>
                </a:rPr>
                <a:t> Management</a:t>
              </a:r>
            </a:p>
          </p:txBody>
        </p:sp>
      </p:grpSp>
      <p:grpSp>
        <p:nvGrpSpPr>
          <p:cNvPr id="342" name="Group 341">
            <a:extLst>
              <a:ext uri="{FF2B5EF4-FFF2-40B4-BE49-F238E27FC236}">
                <a16:creationId xmlns:a16="http://schemas.microsoft.com/office/drawing/2014/main" id="{72D849A4-5B28-4550-9EBF-8D0A87A3D196}"/>
              </a:ext>
            </a:extLst>
          </p:cNvPr>
          <p:cNvGrpSpPr/>
          <p:nvPr/>
        </p:nvGrpSpPr>
        <p:grpSpPr>
          <a:xfrm>
            <a:off x="552068" y="3010272"/>
            <a:ext cx="1033668" cy="728173"/>
            <a:chOff x="8882332" y="2182174"/>
            <a:chExt cx="1250351" cy="914849"/>
          </a:xfrm>
        </p:grpSpPr>
        <p:grpSp>
          <p:nvGrpSpPr>
            <p:cNvPr id="343" name="Group 342">
              <a:extLst>
                <a:ext uri="{FF2B5EF4-FFF2-40B4-BE49-F238E27FC236}">
                  <a16:creationId xmlns:a16="http://schemas.microsoft.com/office/drawing/2014/main" id="{FB94D5E5-BABA-4BEC-93DB-8EBDFB0542BC}"/>
                </a:ext>
              </a:extLst>
            </p:cNvPr>
            <p:cNvGrpSpPr>
              <a:grpSpLocks noChangeAspect="1"/>
            </p:cNvGrpSpPr>
            <p:nvPr/>
          </p:nvGrpSpPr>
          <p:grpSpPr>
            <a:xfrm>
              <a:off x="9113399" y="2182174"/>
              <a:ext cx="788196" cy="376549"/>
              <a:chOff x="335107" y="1984056"/>
              <a:chExt cx="8623119" cy="4119564"/>
            </a:xfrm>
            <a:solidFill>
              <a:srgbClr val="7F7F7F"/>
            </a:solidFill>
          </p:grpSpPr>
          <p:sp>
            <p:nvSpPr>
              <p:cNvPr id="363" name="Freeform 216">
                <a:extLst>
                  <a:ext uri="{FF2B5EF4-FFF2-40B4-BE49-F238E27FC236}">
                    <a16:creationId xmlns:a16="http://schemas.microsoft.com/office/drawing/2014/main" id="{68675756-2BF8-4552-8189-3D5E399445EA}"/>
                  </a:ext>
                </a:extLst>
              </p:cNvPr>
              <p:cNvSpPr/>
              <p:nvPr/>
            </p:nvSpPr>
            <p:spPr>
              <a:xfrm>
                <a:off x="5423935" y="2187537"/>
                <a:ext cx="1275676" cy="3054785"/>
              </a:xfrm>
              <a:custGeom>
                <a:avLst/>
                <a:gdLst/>
                <a:ahLst/>
                <a:cxnLst/>
                <a:rect l="l" t="t" r="r" b="b"/>
                <a:pathLst>
                  <a:path w="1275676" h="3054785">
                    <a:moveTo>
                      <a:pt x="909893" y="2571265"/>
                    </a:moveTo>
                    <a:cubicBezTo>
                      <a:pt x="927578" y="2591556"/>
                      <a:pt x="943146" y="2624131"/>
                      <a:pt x="953053" y="2679738"/>
                    </a:cubicBezTo>
                    <a:cubicBezTo>
                      <a:pt x="966614" y="2755857"/>
                      <a:pt x="1015135" y="2902136"/>
                      <a:pt x="1032104" y="3045768"/>
                    </a:cubicBezTo>
                    <a:lnTo>
                      <a:pt x="926033" y="3054785"/>
                    </a:lnTo>
                    <a:lnTo>
                      <a:pt x="843515" y="2994064"/>
                    </a:lnTo>
                    <a:lnTo>
                      <a:pt x="791128" y="2951202"/>
                    </a:lnTo>
                    <a:lnTo>
                      <a:pt x="789242" y="2950511"/>
                    </a:lnTo>
                    <a:cubicBezTo>
                      <a:pt x="821800" y="2828680"/>
                      <a:pt x="864407" y="2700040"/>
                      <a:pt x="909893" y="2571265"/>
                    </a:cubicBezTo>
                    <a:close/>
                    <a:moveTo>
                      <a:pt x="810922" y="2515507"/>
                    </a:moveTo>
                    <a:cubicBezTo>
                      <a:pt x="813163" y="2515338"/>
                      <a:pt x="815461" y="2515417"/>
                      <a:pt x="817564" y="2517542"/>
                    </a:cubicBezTo>
                    <a:cubicBezTo>
                      <a:pt x="792015" y="2589329"/>
                      <a:pt x="769100" y="2660102"/>
                      <a:pt x="749052" y="2731145"/>
                    </a:cubicBezTo>
                    <a:cubicBezTo>
                      <a:pt x="728674" y="2665687"/>
                      <a:pt x="718117" y="2603286"/>
                      <a:pt x="714164" y="2542305"/>
                    </a:cubicBezTo>
                    <a:cubicBezTo>
                      <a:pt x="724867" y="2542383"/>
                      <a:pt x="734802" y="2542128"/>
                      <a:pt x="743503" y="2541626"/>
                    </a:cubicBezTo>
                    <a:cubicBezTo>
                      <a:pt x="774459" y="2539840"/>
                      <a:pt x="790235" y="2517070"/>
                      <a:pt x="810922" y="2515507"/>
                    </a:cubicBezTo>
                    <a:close/>
                    <a:moveTo>
                      <a:pt x="396204" y="2451912"/>
                    </a:moveTo>
                    <a:cubicBezTo>
                      <a:pt x="411647" y="2483872"/>
                      <a:pt x="433855" y="2503483"/>
                      <a:pt x="462515" y="2517813"/>
                    </a:cubicBezTo>
                    <a:cubicBezTo>
                      <a:pt x="495852" y="2534482"/>
                      <a:pt x="539509" y="2532894"/>
                      <a:pt x="586340" y="2536863"/>
                    </a:cubicBezTo>
                    <a:cubicBezTo>
                      <a:pt x="606520" y="2538574"/>
                      <a:pt x="630828" y="2540136"/>
                      <a:pt x="655265" y="2541066"/>
                    </a:cubicBezTo>
                    <a:cubicBezTo>
                      <a:pt x="657458" y="2571620"/>
                      <a:pt x="660070" y="2600527"/>
                      <a:pt x="663066" y="2624898"/>
                    </a:cubicBezTo>
                    <a:cubicBezTo>
                      <a:pt x="668463" y="2668822"/>
                      <a:pt x="677606" y="2707999"/>
                      <a:pt x="686242" y="2744162"/>
                    </a:cubicBezTo>
                    <a:cubicBezTo>
                      <a:pt x="632838" y="2717984"/>
                      <a:pt x="514903" y="2670213"/>
                      <a:pt x="514903" y="2670213"/>
                    </a:cubicBezTo>
                    <a:lnTo>
                      <a:pt x="333928" y="2589251"/>
                    </a:lnTo>
                    <a:lnTo>
                      <a:pt x="323202" y="2584990"/>
                    </a:lnTo>
                    <a:lnTo>
                      <a:pt x="327453" y="2567034"/>
                    </a:lnTo>
                    <a:cubicBezTo>
                      <a:pt x="340667" y="2528713"/>
                      <a:pt x="369951" y="2489259"/>
                      <a:pt x="396204" y="2451912"/>
                    </a:cubicBezTo>
                    <a:close/>
                    <a:moveTo>
                      <a:pt x="356384" y="1755197"/>
                    </a:moveTo>
                    <a:lnTo>
                      <a:pt x="361013" y="1949619"/>
                    </a:lnTo>
                    <a:cubicBezTo>
                      <a:pt x="293278" y="2065222"/>
                      <a:pt x="276288" y="2307687"/>
                      <a:pt x="265731" y="2563792"/>
                    </a:cubicBezTo>
                    <a:cubicBezTo>
                      <a:pt x="245616" y="2556203"/>
                      <a:pt x="227467" y="2546676"/>
                      <a:pt x="210103" y="2527338"/>
                    </a:cubicBezTo>
                    <a:cubicBezTo>
                      <a:pt x="175178" y="2488444"/>
                      <a:pt x="152159" y="2401925"/>
                      <a:pt x="124378" y="2355888"/>
                    </a:cubicBezTo>
                    <a:cubicBezTo>
                      <a:pt x="96597" y="2309851"/>
                      <a:pt x="64052" y="2271750"/>
                      <a:pt x="43415" y="2251113"/>
                    </a:cubicBezTo>
                    <a:cubicBezTo>
                      <a:pt x="22778" y="2230476"/>
                      <a:pt x="-4209" y="2253494"/>
                      <a:pt x="553" y="2232063"/>
                    </a:cubicBezTo>
                    <a:cubicBezTo>
                      <a:pt x="5315" y="2210632"/>
                      <a:pt x="48177" y="2180470"/>
                      <a:pt x="71990" y="2122526"/>
                    </a:cubicBezTo>
                    <a:cubicBezTo>
                      <a:pt x="90351" y="2077850"/>
                      <a:pt x="107767" y="1994009"/>
                      <a:pt x="126665" y="1932199"/>
                    </a:cubicBezTo>
                    <a:lnTo>
                      <a:pt x="273061" y="1880184"/>
                    </a:lnTo>
                    <a:cubicBezTo>
                      <a:pt x="305463" y="1861666"/>
                      <a:pt x="310089" y="1787599"/>
                      <a:pt x="356384" y="1755197"/>
                    </a:cubicBezTo>
                    <a:close/>
                    <a:moveTo>
                      <a:pt x="537693" y="744"/>
                    </a:moveTo>
                    <a:cubicBezTo>
                      <a:pt x="581411" y="-1830"/>
                      <a:pt x="633485" y="2027"/>
                      <a:pt x="695853" y="16174"/>
                    </a:cubicBezTo>
                    <a:cubicBezTo>
                      <a:pt x="758217" y="30318"/>
                      <a:pt x="852732" y="64395"/>
                      <a:pt x="911876" y="85609"/>
                    </a:cubicBezTo>
                    <a:cubicBezTo>
                      <a:pt x="971031" y="106829"/>
                      <a:pt x="1018605" y="128046"/>
                      <a:pt x="1050752" y="143477"/>
                    </a:cubicBezTo>
                    <a:cubicBezTo>
                      <a:pt x="1082899" y="158907"/>
                      <a:pt x="1079686" y="149264"/>
                      <a:pt x="1104760" y="178194"/>
                    </a:cubicBezTo>
                    <a:cubicBezTo>
                      <a:pt x="1129837" y="207128"/>
                      <a:pt x="1173554" y="261132"/>
                      <a:pt x="1201202" y="317070"/>
                    </a:cubicBezTo>
                    <a:cubicBezTo>
                      <a:pt x="1228849" y="373008"/>
                      <a:pt x="1259066" y="453372"/>
                      <a:pt x="1270636" y="513810"/>
                    </a:cubicBezTo>
                    <a:cubicBezTo>
                      <a:pt x="1275863" y="541109"/>
                      <a:pt x="1276368" y="577588"/>
                      <a:pt x="1275078" y="609376"/>
                    </a:cubicBezTo>
                    <a:cubicBezTo>
                      <a:pt x="1207919" y="610739"/>
                      <a:pt x="1256062" y="594379"/>
                      <a:pt x="1219753" y="593763"/>
                    </a:cubicBezTo>
                    <a:cubicBezTo>
                      <a:pt x="1172922" y="592969"/>
                      <a:pt x="1123709" y="585032"/>
                      <a:pt x="1086403" y="598526"/>
                    </a:cubicBezTo>
                    <a:cubicBezTo>
                      <a:pt x="1049097" y="612020"/>
                      <a:pt x="1027665" y="660439"/>
                      <a:pt x="995915" y="674726"/>
                    </a:cubicBezTo>
                    <a:cubicBezTo>
                      <a:pt x="964165" y="689014"/>
                      <a:pt x="933209" y="669964"/>
                      <a:pt x="895903" y="684251"/>
                    </a:cubicBezTo>
                    <a:cubicBezTo>
                      <a:pt x="858597" y="698539"/>
                      <a:pt x="813353" y="722351"/>
                      <a:pt x="772078" y="760451"/>
                    </a:cubicBezTo>
                    <a:cubicBezTo>
                      <a:pt x="730803" y="798551"/>
                      <a:pt x="685559" y="851732"/>
                      <a:pt x="648253" y="912851"/>
                    </a:cubicBezTo>
                    <a:cubicBezTo>
                      <a:pt x="610947" y="973970"/>
                      <a:pt x="579196" y="1048582"/>
                      <a:pt x="548240" y="1127163"/>
                    </a:cubicBezTo>
                    <a:cubicBezTo>
                      <a:pt x="517284" y="1205744"/>
                      <a:pt x="486327" y="1295438"/>
                      <a:pt x="462515" y="1384338"/>
                    </a:cubicBezTo>
                    <a:cubicBezTo>
                      <a:pt x="438702" y="1473238"/>
                      <a:pt x="418065" y="1592300"/>
                      <a:pt x="405365" y="1660563"/>
                    </a:cubicBezTo>
                    <a:cubicBezTo>
                      <a:pt x="401622" y="1680683"/>
                      <a:pt x="398982" y="1695769"/>
                      <a:pt x="397031" y="1708455"/>
                    </a:cubicBezTo>
                    <a:lnTo>
                      <a:pt x="379531" y="1681708"/>
                    </a:lnTo>
                    <a:cubicBezTo>
                      <a:pt x="365064" y="1654708"/>
                      <a:pt x="382424" y="1649399"/>
                      <a:pt x="362170" y="1615163"/>
                    </a:cubicBezTo>
                    <a:cubicBezTo>
                      <a:pt x="346337" y="1588394"/>
                      <a:pt x="308388" y="1553075"/>
                      <a:pt x="279806" y="1511723"/>
                    </a:cubicBezTo>
                    <a:cubicBezTo>
                      <a:pt x="283185" y="1487626"/>
                      <a:pt x="285447" y="1466602"/>
                      <a:pt x="286303" y="1451013"/>
                    </a:cubicBezTo>
                    <a:cubicBezTo>
                      <a:pt x="290272" y="1378782"/>
                      <a:pt x="259315" y="1385926"/>
                      <a:pt x="248203" y="1351001"/>
                    </a:cubicBezTo>
                    <a:cubicBezTo>
                      <a:pt x="237090" y="1316076"/>
                      <a:pt x="217247" y="1279563"/>
                      <a:pt x="219628" y="1241463"/>
                    </a:cubicBezTo>
                    <a:cubicBezTo>
                      <a:pt x="222009" y="1203363"/>
                      <a:pt x="252171" y="1173995"/>
                      <a:pt x="262490" y="1122401"/>
                    </a:cubicBezTo>
                    <a:cubicBezTo>
                      <a:pt x="272809" y="1070807"/>
                      <a:pt x="281540" y="992226"/>
                      <a:pt x="281540" y="931901"/>
                    </a:cubicBezTo>
                    <a:cubicBezTo>
                      <a:pt x="281540" y="871576"/>
                      <a:pt x="281540" y="816807"/>
                      <a:pt x="262490" y="760451"/>
                    </a:cubicBezTo>
                    <a:cubicBezTo>
                      <a:pt x="251559" y="728114"/>
                      <a:pt x="235402" y="693947"/>
                      <a:pt x="214848" y="662136"/>
                    </a:cubicBezTo>
                    <a:lnTo>
                      <a:pt x="267253" y="612813"/>
                    </a:lnTo>
                    <a:lnTo>
                      <a:pt x="500615" y="488988"/>
                    </a:lnTo>
                    <a:lnTo>
                      <a:pt x="786365" y="479463"/>
                    </a:lnTo>
                    <a:lnTo>
                      <a:pt x="486328" y="446126"/>
                    </a:lnTo>
                    <a:lnTo>
                      <a:pt x="286303" y="531851"/>
                    </a:lnTo>
                    <a:lnTo>
                      <a:pt x="188793" y="624717"/>
                    </a:lnTo>
                    <a:cubicBezTo>
                      <a:pt x="183072" y="613128"/>
                      <a:pt x="175276" y="603190"/>
                      <a:pt x="167240" y="593763"/>
                    </a:cubicBezTo>
                    <a:cubicBezTo>
                      <a:pt x="128567" y="548397"/>
                      <a:pt x="168636" y="489094"/>
                      <a:pt x="42501" y="473501"/>
                    </a:cubicBezTo>
                    <a:cubicBezTo>
                      <a:pt x="46825" y="429492"/>
                      <a:pt x="64428" y="405518"/>
                      <a:pt x="82492" y="363364"/>
                    </a:cubicBezTo>
                    <a:cubicBezTo>
                      <a:pt x="103709" y="313853"/>
                      <a:pt x="135213" y="245058"/>
                      <a:pt x="167360" y="201341"/>
                    </a:cubicBezTo>
                    <a:cubicBezTo>
                      <a:pt x="199507" y="157620"/>
                      <a:pt x="231011" y="129333"/>
                      <a:pt x="275376" y="101043"/>
                    </a:cubicBezTo>
                    <a:cubicBezTo>
                      <a:pt x="319733" y="72752"/>
                      <a:pt x="389818" y="48322"/>
                      <a:pt x="433535" y="31608"/>
                    </a:cubicBezTo>
                    <a:cubicBezTo>
                      <a:pt x="477256" y="14888"/>
                      <a:pt x="493969" y="3314"/>
                      <a:pt x="537693" y="74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578">
                  <a:defRPr/>
                </a:pPr>
                <a:endParaRPr lang="en-US" sz="1797" kern="0">
                  <a:solidFill>
                    <a:srgbClr val="FFFFFF"/>
                  </a:solidFill>
                  <a:latin typeface="Segoe UI"/>
                </a:endParaRPr>
              </a:p>
            </p:txBody>
          </p:sp>
          <p:sp>
            <p:nvSpPr>
              <p:cNvPr id="378" name="Man's Body">
                <a:extLst>
                  <a:ext uri="{FF2B5EF4-FFF2-40B4-BE49-F238E27FC236}">
                    <a16:creationId xmlns:a16="http://schemas.microsoft.com/office/drawing/2014/main" id="{05076F35-44F1-4891-AA72-27F9F2F11AC3}"/>
                  </a:ext>
                </a:extLst>
              </p:cNvPr>
              <p:cNvSpPr>
                <a:spLocks/>
              </p:cNvSpPr>
              <p:nvPr/>
            </p:nvSpPr>
            <p:spPr bwMode="auto">
              <a:xfrm>
                <a:off x="4286421" y="1984056"/>
                <a:ext cx="1109019" cy="638618"/>
              </a:xfrm>
              <a:custGeom>
                <a:avLst/>
                <a:gdLst/>
                <a:ahLst/>
                <a:cxnLst/>
                <a:rect l="l" t="t" r="r" b="b"/>
                <a:pathLst>
                  <a:path w="1109019" h="638618">
                    <a:moveTo>
                      <a:pt x="527057" y="506"/>
                    </a:moveTo>
                    <a:cubicBezTo>
                      <a:pt x="648121" y="6732"/>
                      <a:pt x="780445" y="70158"/>
                      <a:pt x="889294" y="181665"/>
                    </a:cubicBezTo>
                    <a:cubicBezTo>
                      <a:pt x="1063451" y="360077"/>
                      <a:pt x="1112509" y="452740"/>
                      <a:pt x="1108830" y="488699"/>
                    </a:cubicBezTo>
                    <a:cubicBezTo>
                      <a:pt x="1105150" y="523275"/>
                      <a:pt x="1069584" y="571681"/>
                      <a:pt x="1038921" y="564767"/>
                    </a:cubicBezTo>
                    <a:cubicBezTo>
                      <a:pt x="1007034" y="557851"/>
                      <a:pt x="1003354" y="527424"/>
                      <a:pt x="986183" y="510828"/>
                    </a:cubicBezTo>
                    <a:cubicBezTo>
                      <a:pt x="782591" y="317203"/>
                      <a:pt x="618246" y="347629"/>
                      <a:pt x="550790" y="371142"/>
                    </a:cubicBezTo>
                    <a:cubicBezTo>
                      <a:pt x="760068" y="390992"/>
                      <a:pt x="912422" y="533945"/>
                      <a:pt x="972020" y="608911"/>
                    </a:cubicBezTo>
                    <a:cubicBezTo>
                      <a:pt x="891545" y="581606"/>
                      <a:pt x="869616" y="586916"/>
                      <a:pt x="814218" y="578169"/>
                    </a:cubicBezTo>
                    <a:cubicBezTo>
                      <a:pt x="753893" y="568644"/>
                      <a:pt x="686424" y="559913"/>
                      <a:pt x="633243" y="559119"/>
                    </a:cubicBezTo>
                    <a:cubicBezTo>
                      <a:pt x="580062" y="558325"/>
                      <a:pt x="534818" y="561501"/>
                      <a:pt x="495131" y="573407"/>
                    </a:cubicBezTo>
                    <a:cubicBezTo>
                      <a:pt x="455444" y="585313"/>
                      <a:pt x="430837" y="621032"/>
                      <a:pt x="395118" y="630557"/>
                    </a:cubicBezTo>
                    <a:cubicBezTo>
                      <a:pt x="359399" y="640082"/>
                      <a:pt x="312568" y="642463"/>
                      <a:pt x="280818" y="630557"/>
                    </a:cubicBezTo>
                    <a:cubicBezTo>
                      <a:pt x="249068" y="618651"/>
                      <a:pt x="230812" y="588488"/>
                      <a:pt x="204618" y="559119"/>
                    </a:cubicBezTo>
                    <a:cubicBezTo>
                      <a:pt x="178424" y="529750"/>
                      <a:pt x="156200" y="486888"/>
                      <a:pt x="123656" y="454344"/>
                    </a:cubicBezTo>
                    <a:cubicBezTo>
                      <a:pt x="91112" y="421800"/>
                      <a:pt x="52218" y="394019"/>
                      <a:pt x="9356" y="363857"/>
                    </a:cubicBezTo>
                    <a:cubicBezTo>
                      <a:pt x="6109" y="361572"/>
                      <a:pt x="2861" y="359100"/>
                      <a:pt x="0" y="355996"/>
                    </a:cubicBezTo>
                    <a:cubicBezTo>
                      <a:pt x="20998" y="211335"/>
                      <a:pt x="96747" y="42345"/>
                      <a:pt x="328801" y="53043"/>
                    </a:cubicBezTo>
                    <a:cubicBezTo>
                      <a:pt x="385831" y="13626"/>
                      <a:pt x="454418" y="-3230"/>
                      <a:pt x="527057" y="50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402" name="Man's Body">
                <a:extLst>
                  <a:ext uri="{FF2B5EF4-FFF2-40B4-BE49-F238E27FC236}">
                    <a16:creationId xmlns:a16="http://schemas.microsoft.com/office/drawing/2014/main" id="{38D90C9A-C0F5-413A-ACCB-E1FFB26AF3D0}"/>
                  </a:ext>
                </a:extLst>
              </p:cNvPr>
              <p:cNvSpPr>
                <a:spLocks/>
              </p:cNvSpPr>
              <p:nvPr/>
            </p:nvSpPr>
            <p:spPr bwMode="auto">
              <a:xfrm>
                <a:off x="1933544" y="2281603"/>
                <a:ext cx="1087125" cy="2339128"/>
              </a:xfrm>
              <a:custGeom>
                <a:avLst/>
                <a:gdLst/>
                <a:ahLst/>
                <a:cxnLst/>
                <a:rect l="l" t="t" r="r" b="b"/>
                <a:pathLst>
                  <a:path w="1087125" h="2339128">
                    <a:moveTo>
                      <a:pt x="148114" y="1900284"/>
                    </a:moveTo>
                    <a:cubicBezTo>
                      <a:pt x="220874" y="1957568"/>
                      <a:pt x="348888" y="2049369"/>
                      <a:pt x="516243" y="2068258"/>
                    </a:cubicBezTo>
                    <a:lnTo>
                      <a:pt x="495331" y="2090372"/>
                    </a:lnTo>
                    <a:cubicBezTo>
                      <a:pt x="449294" y="2138791"/>
                      <a:pt x="388175" y="2211022"/>
                      <a:pt x="338169" y="2252297"/>
                    </a:cubicBezTo>
                    <a:cubicBezTo>
                      <a:pt x="288163" y="2293572"/>
                      <a:pt x="225456" y="2347547"/>
                      <a:pt x="195294" y="2338022"/>
                    </a:cubicBezTo>
                    <a:cubicBezTo>
                      <a:pt x="165132" y="2328497"/>
                      <a:pt x="175450" y="2234834"/>
                      <a:pt x="157194" y="2195147"/>
                    </a:cubicBezTo>
                    <a:cubicBezTo>
                      <a:pt x="138938" y="2155460"/>
                      <a:pt x="111950" y="2112597"/>
                      <a:pt x="85756" y="2099897"/>
                    </a:cubicBezTo>
                    <a:cubicBezTo>
                      <a:pt x="59562" y="2087197"/>
                      <a:pt x="-1556" y="2133234"/>
                      <a:pt x="31" y="2118947"/>
                    </a:cubicBezTo>
                    <a:cubicBezTo>
                      <a:pt x="1618" y="2104660"/>
                      <a:pt x="65912" y="2063384"/>
                      <a:pt x="95281" y="2014172"/>
                    </a:cubicBezTo>
                    <a:cubicBezTo>
                      <a:pt x="112544" y="1985245"/>
                      <a:pt x="132002" y="1941507"/>
                      <a:pt x="148114" y="1900284"/>
                    </a:cubicBezTo>
                    <a:close/>
                    <a:moveTo>
                      <a:pt x="300366" y="1598710"/>
                    </a:moveTo>
                    <a:cubicBezTo>
                      <a:pt x="322928" y="1593356"/>
                      <a:pt x="499132" y="1755026"/>
                      <a:pt x="596386" y="1777949"/>
                    </a:cubicBezTo>
                    <a:lnTo>
                      <a:pt x="614394" y="1795097"/>
                    </a:lnTo>
                    <a:cubicBezTo>
                      <a:pt x="638206" y="1830816"/>
                      <a:pt x="647731" y="1881616"/>
                      <a:pt x="647731" y="1909397"/>
                    </a:cubicBezTo>
                    <a:cubicBezTo>
                      <a:pt x="647731" y="1937178"/>
                      <a:pt x="639794" y="1931622"/>
                      <a:pt x="614394" y="1961785"/>
                    </a:cubicBezTo>
                    <a:cubicBezTo>
                      <a:pt x="607207" y="1970320"/>
                      <a:pt x="598240" y="1980444"/>
                      <a:pt x="588003" y="1991644"/>
                    </a:cubicBezTo>
                    <a:cubicBezTo>
                      <a:pt x="401521" y="1979273"/>
                      <a:pt x="213522" y="1820684"/>
                      <a:pt x="209777" y="1788323"/>
                    </a:cubicBezTo>
                    <a:cubicBezTo>
                      <a:pt x="205894" y="1753317"/>
                      <a:pt x="274484" y="1603086"/>
                      <a:pt x="300366" y="1598710"/>
                    </a:cubicBezTo>
                    <a:close/>
                    <a:moveTo>
                      <a:pt x="594957" y="534"/>
                    </a:moveTo>
                    <a:cubicBezTo>
                      <a:pt x="722687" y="7103"/>
                      <a:pt x="862297" y="74022"/>
                      <a:pt x="977139" y="191669"/>
                    </a:cubicBezTo>
                    <a:cubicBezTo>
                      <a:pt x="1021009" y="236610"/>
                      <a:pt x="1057355" y="276395"/>
                      <a:pt x="1087125" y="311518"/>
                    </a:cubicBezTo>
                    <a:cubicBezTo>
                      <a:pt x="1049367" y="328933"/>
                      <a:pt x="1022410" y="352709"/>
                      <a:pt x="981106" y="366347"/>
                    </a:cubicBezTo>
                    <a:cubicBezTo>
                      <a:pt x="944893" y="378304"/>
                      <a:pt x="910738" y="390997"/>
                      <a:pt x="878907" y="405059"/>
                    </a:cubicBezTo>
                    <a:cubicBezTo>
                      <a:pt x="759679" y="355398"/>
                      <a:pt x="667278" y="375098"/>
                      <a:pt x="619996" y="391578"/>
                    </a:cubicBezTo>
                    <a:cubicBezTo>
                      <a:pt x="686882" y="397922"/>
                      <a:pt x="748256" y="416185"/>
                      <a:pt x="802895" y="441165"/>
                    </a:cubicBezTo>
                    <a:lnTo>
                      <a:pt x="762031" y="461597"/>
                    </a:lnTo>
                    <a:cubicBezTo>
                      <a:pt x="700119" y="497316"/>
                      <a:pt x="650112" y="528273"/>
                      <a:pt x="609631" y="580660"/>
                    </a:cubicBezTo>
                    <a:cubicBezTo>
                      <a:pt x="569150" y="633047"/>
                      <a:pt x="541369" y="702897"/>
                      <a:pt x="519144" y="775922"/>
                    </a:cubicBezTo>
                    <a:cubicBezTo>
                      <a:pt x="496919" y="848947"/>
                      <a:pt x="482631" y="944991"/>
                      <a:pt x="476281" y="1018810"/>
                    </a:cubicBezTo>
                    <a:cubicBezTo>
                      <a:pt x="469931" y="1092629"/>
                      <a:pt x="479457" y="1144223"/>
                      <a:pt x="481044" y="1218835"/>
                    </a:cubicBezTo>
                    <a:cubicBezTo>
                      <a:pt x="482631" y="1293447"/>
                      <a:pt x="481837" y="1387110"/>
                      <a:pt x="485806" y="1466485"/>
                    </a:cubicBezTo>
                    <a:cubicBezTo>
                      <a:pt x="488264" y="1515644"/>
                      <a:pt x="486764" y="1570588"/>
                      <a:pt x="491052" y="1618253"/>
                    </a:cubicBezTo>
                    <a:cubicBezTo>
                      <a:pt x="410332" y="1566195"/>
                      <a:pt x="328150" y="1493901"/>
                      <a:pt x="318496" y="1475757"/>
                    </a:cubicBezTo>
                    <a:cubicBezTo>
                      <a:pt x="315899" y="1471251"/>
                      <a:pt x="311051" y="1464346"/>
                      <a:pt x="304709" y="1455294"/>
                    </a:cubicBezTo>
                    <a:cubicBezTo>
                      <a:pt x="315763" y="1411159"/>
                      <a:pt x="324775" y="1369039"/>
                      <a:pt x="328644" y="1342660"/>
                    </a:cubicBezTo>
                    <a:cubicBezTo>
                      <a:pt x="337375" y="1283129"/>
                      <a:pt x="327056" y="1275191"/>
                      <a:pt x="314356" y="1247410"/>
                    </a:cubicBezTo>
                    <a:cubicBezTo>
                      <a:pt x="301656" y="1219629"/>
                      <a:pt x="261969" y="1202959"/>
                      <a:pt x="252444" y="1175972"/>
                    </a:cubicBezTo>
                    <a:cubicBezTo>
                      <a:pt x="242919" y="1148985"/>
                      <a:pt x="260381" y="1112473"/>
                      <a:pt x="257206" y="1085485"/>
                    </a:cubicBezTo>
                    <a:cubicBezTo>
                      <a:pt x="254031" y="1058497"/>
                      <a:pt x="224663" y="1025953"/>
                      <a:pt x="233394" y="1014047"/>
                    </a:cubicBezTo>
                    <a:cubicBezTo>
                      <a:pt x="242125" y="1002141"/>
                      <a:pt x="284194" y="1028334"/>
                      <a:pt x="309594" y="1014047"/>
                    </a:cubicBezTo>
                    <a:cubicBezTo>
                      <a:pt x="334994" y="999760"/>
                      <a:pt x="373888" y="964834"/>
                      <a:pt x="385794" y="928322"/>
                    </a:cubicBezTo>
                    <a:cubicBezTo>
                      <a:pt x="397700" y="891810"/>
                      <a:pt x="396112" y="839422"/>
                      <a:pt x="381031" y="794972"/>
                    </a:cubicBezTo>
                    <a:cubicBezTo>
                      <a:pt x="365950" y="750522"/>
                      <a:pt x="332612" y="708453"/>
                      <a:pt x="295306" y="661622"/>
                    </a:cubicBezTo>
                    <a:cubicBezTo>
                      <a:pt x="258000" y="614791"/>
                      <a:pt x="208788" y="566372"/>
                      <a:pt x="157194" y="513985"/>
                    </a:cubicBezTo>
                    <a:cubicBezTo>
                      <a:pt x="115841" y="471996"/>
                      <a:pt x="97944" y="422357"/>
                      <a:pt x="38211" y="378976"/>
                    </a:cubicBezTo>
                    <a:cubicBezTo>
                      <a:pt x="59848" y="225643"/>
                      <a:pt x="139125" y="44593"/>
                      <a:pt x="385784" y="55964"/>
                    </a:cubicBezTo>
                    <a:cubicBezTo>
                      <a:pt x="445955" y="14377"/>
                      <a:pt x="518318" y="-3408"/>
                      <a:pt x="594957" y="534"/>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403" name="Man's Body">
                <a:extLst>
                  <a:ext uri="{FF2B5EF4-FFF2-40B4-BE49-F238E27FC236}">
                    <a16:creationId xmlns:a16="http://schemas.microsoft.com/office/drawing/2014/main" id="{76D2A5DF-0D6D-4F4F-B306-83F771212094}"/>
                  </a:ext>
                </a:extLst>
              </p:cNvPr>
              <p:cNvSpPr>
                <a:spLocks/>
              </p:cNvSpPr>
              <p:nvPr/>
            </p:nvSpPr>
            <p:spPr bwMode="auto">
              <a:xfrm>
                <a:off x="7167183" y="2655935"/>
                <a:ext cx="1791043" cy="3077332"/>
              </a:xfrm>
              <a:custGeom>
                <a:avLst/>
                <a:gdLst/>
                <a:ahLst/>
                <a:cxnLst/>
                <a:rect l="l" t="t" r="r" b="b"/>
                <a:pathLst>
                  <a:path w="1791043" h="3077332">
                    <a:moveTo>
                      <a:pt x="1025015" y="1789010"/>
                    </a:moveTo>
                    <a:cubicBezTo>
                      <a:pt x="1052456" y="1797149"/>
                      <a:pt x="1104448" y="2023401"/>
                      <a:pt x="1163660" y="2039679"/>
                    </a:cubicBezTo>
                    <a:cubicBezTo>
                      <a:pt x="1305194" y="2077117"/>
                      <a:pt x="1705242" y="2228494"/>
                      <a:pt x="1763012" y="2334297"/>
                    </a:cubicBezTo>
                    <a:cubicBezTo>
                      <a:pt x="1819336" y="2441727"/>
                      <a:pt x="1797673" y="2617520"/>
                      <a:pt x="1634476" y="2912138"/>
                    </a:cubicBezTo>
                    <a:cubicBezTo>
                      <a:pt x="1581040" y="2785176"/>
                      <a:pt x="1492942" y="2694024"/>
                      <a:pt x="1466947" y="2677746"/>
                    </a:cubicBezTo>
                    <a:cubicBezTo>
                      <a:pt x="1510273" y="2767271"/>
                      <a:pt x="1536270" y="2931671"/>
                      <a:pt x="1550711" y="3037473"/>
                    </a:cubicBezTo>
                    <a:cubicBezTo>
                      <a:pt x="1272518" y="3065184"/>
                      <a:pt x="1017016" y="3074577"/>
                      <a:pt x="836493" y="3077332"/>
                    </a:cubicBezTo>
                    <a:cubicBezTo>
                      <a:pt x="905753" y="2981037"/>
                      <a:pt x="872415" y="2957070"/>
                      <a:pt x="886206" y="2901903"/>
                    </a:cubicBezTo>
                    <a:cubicBezTo>
                      <a:pt x="901287" y="2841578"/>
                      <a:pt x="906844" y="2798715"/>
                      <a:pt x="905256" y="2744740"/>
                    </a:cubicBezTo>
                    <a:cubicBezTo>
                      <a:pt x="903669" y="2690765"/>
                      <a:pt x="915575" y="2629647"/>
                      <a:pt x="876681" y="2578053"/>
                    </a:cubicBezTo>
                    <a:cubicBezTo>
                      <a:pt x="837787" y="2526459"/>
                      <a:pt x="764762" y="2482009"/>
                      <a:pt x="671893" y="2435178"/>
                    </a:cubicBezTo>
                    <a:cubicBezTo>
                      <a:pt x="579024" y="2388347"/>
                      <a:pt x="408368" y="2336753"/>
                      <a:pt x="319468" y="2297065"/>
                    </a:cubicBezTo>
                    <a:cubicBezTo>
                      <a:pt x="230568" y="2257378"/>
                      <a:pt x="183737" y="2238328"/>
                      <a:pt x="138493" y="2197053"/>
                    </a:cubicBezTo>
                    <a:cubicBezTo>
                      <a:pt x="114008" y="2174716"/>
                      <a:pt x="89523" y="2140522"/>
                      <a:pt x="72566" y="2109744"/>
                    </a:cubicBezTo>
                    <a:cubicBezTo>
                      <a:pt x="161803" y="2180615"/>
                      <a:pt x="342491" y="2318445"/>
                      <a:pt x="583084" y="2314764"/>
                    </a:cubicBezTo>
                    <a:cubicBezTo>
                      <a:pt x="894952" y="2309883"/>
                      <a:pt x="961434" y="2134181"/>
                      <a:pt x="961470" y="2134087"/>
                    </a:cubicBezTo>
                    <a:cubicBezTo>
                      <a:pt x="961431" y="2134155"/>
                      <a:pt x="905040" y="2231748"/>
                      <a:pt x="600415" y="2225240"/>
                    </a:cubicBezTo>
                    <a:cubicBezTo>
                      <a:pt x="448124" y="2222935"/>
                      <a:pt x="290769" y="2127693"/>
                      <a:pt x="210656" y="2058477"/>
                    </a:cubicBezTo>
                    <a:cubicBezTo>
                      <a:pt x="247111" y="2063660"/>
                      <a:pt x="286103" y="2068919"/>
                      <a:pt x="314706" y="2068465"/>
                    </a:cubicBezTo>
                    <a:cubicBezTo>
                      <a:pt x="364712" y="2067671"/>
                      <a:pt x="409162" y="2072434"/>
                      <a:pt x="438531" y="2044653"/>
                    </a:cubicBezTo>
                    <a:cubicBezTo>
                      <a:pt x="462255" y="2022212"/>
                      <a:pt x="476137" y="1982161"/>
                      <a:pt x="483486" y="1935462"/>
                    </a:cubicBezTo>
                    <a:cubicBezTo>
                      <a:pt x="533060" y="1967097"/>
                      <a:pt x="580637" y="1990306"/>
                      <a:pt x="613413" y="1989219"/>
                    </a:cubicBezTo>
                    <a:cubicBezTo>
                      <a:pt x="877705" y="1977826"/>
                      <a:pt x="999020" y="1779243"/>
                      <a:pt x="1025015" y="1789010"/>
                    </a:cubicBezTo>
                    <a:close/>
                    <a:moveTo>
                      <a:pt x="585448" y="596"/>
                    </a:moveTo>
                    <a:cubicBezTo>
                      <a:pt x="727992" y="7927"/>
                      <a:pt x="935211" y="76180"/>
                      <a:pt x="1038898" y="151026"/>
                    </a:cubicBezTo>
                    <a:cubicBezTo>
                      <a:pt x="1142584" y="225871"/>
                      <a:pt x="1211900" y="407326"/>
                      <a:pt x="1207568" y="449665"/>
                    </a:cubicBezTo>
                    <a:cubicBezTo>
                      <a:pt x="1203236" y="490376"/>
                      <a:pt x="1199071" y="612532"/>
                      <a:pt x="1188131" y="664973"/>
                    </a:cubicBezTo>
                    <a:cubicBezTo>
                      <a:pt x="1177190" y="717413"/>
                      <a:pt x="1149623" y="723595"/>
                      <a:pt x="1141921" y="764306"/>
                    </a:cubicBezTo>
                    <a:cubicBezTo>
                      <a:pt x="1157802" y="803380"/>
                      <a:pt x="1141928" y="909191"/>
                      <a:pt x="1141921" y="909236"/>
                    </a:cubicBezTo>
                    <a:cubicBezTo>
                      <a:pt x="1141991" y="909241"/>
                      <a:pt x="1208348" y="914147"/>
                      <a:pt x="1208348" y="962974"/>
                    </a:cubicBezTo>
                    <a:cubicBezTo>
                      <a:pt x="1208348" y="1011818"/>
                      <a:pt x="1137615" y="1280417"/>
                      <a:pt x="1137589" y="1280518"/>
                    </a:cubicBezTo>
                    <a:cubicBezTo>
                      <a:pt x="1137566" y="1280557"/>
                      <a:pt x="1118803" y="1313084"/>
                      <a:pt x="1097155" y="1308200"/>
                    </a:cubicBezTo>
                    <a:cubicBezTo>
                      <a:pt x="1074050" y="1506868"/>
                      <a:pt x="994626" y="1630630"/>
                      <a:pt x="926755" y="1690881"/>
                    </a:cubicBezTo>
                    <a:cubicBezTo>
                      <a:pt x="860327" y="1749505"/>
                      <a:pt x="705811" y="1868380"/>
                      <a:pt x="613391" y="1868380"/>
                    </a:cubicBezTo>
                    <a:cubicBezTo>
                      <a:pt x="583727" y="1868380"/>
                      <a:pt x="540227" y="1848919"/>
                      <a:pt x="494585" y="1820862"/>
                    </a:cubicBezTo>
                    <a:cubicBezTo>
                      <a:pt x="495428" y="1780245"/>
                      <a:pt x="492769" y="1734980"/>
                      <a:pt x="490918" y="1682703"/>
                    </a:cubicBezTo>
                    <a:cubicBezTo>
                      <a:pt x="487743" y="1593009"/>
                      <a:pt x="490124" y="1492202"/>
                      <a:pt x="471868" y="1363615"/>
                    </a:cubicBezTo>
                    <a:cubicBezTo>
                      <a:pt x="453612" y="1235028"/>
                      <a:pt x="405987" y="1022303"/>
                      <a:pt x="381381" y="911178"/>
                    </a:cubicBezTo>
                    <a:cubicBezTo>
                      <a:pt x="356775" y="800053"/>
                      <a:pt x="352806" y="754809"/>
                      <a:pt x="324231" y="696865"/>
                    </a:cubicBezTo>
                    <a:cubicBezTo>
                      <a:pt x="295656" y="638921"/>
                      <a:pt x="255968" y="620665"/>
                      <a:pt x="209931" y="563515"/>
                    </a:cubicBezTo>
                    <a:cubicBezTo>
                      <a:pt x="163894" y="506365"/>
                      <a:pt x="103569" y="415084"/>
                      <a:pt x="48006" y="353965"/>
                    </a:cubicBezTo>
                    <a:cubicBezTo>
                      <a:pt x="28279" y="332265"/>
                      <a:pt x="14655" y="310564"/>
                      <a:pt x="0" y="290327"/>
                    </a:cubicBezTo>
                    <a:cubicBezTo>
                      <a:pt x="45987" y="162254"/>
                      <a:pt x="147389" y="53021"/>
                      <a:pt x="352016" y="62454"/>
                    </a:cubicBezTo>
                    <a:cubicBezTo>
                      <a:pt x="419165" y="16044"/>
                      <a:pt x="499920" y="-3803"/>
                      <a:pt x="585448" y="59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404" name="Man's Body">
                <a:extLst>
                  <a:ext uri="{FF2B5EF4-FFF2-40B4-BE49-F238E27FC236}">
                    <a16:creationId xmlns:a16="http://schemas.microsoft.com/office/drawing/2014/main" id="{62C60F08-4DAE-4BCF-940D-161AD30E35B2}"/>
                  </a:ext>
                </a:extLst>
              </p:cNvPr>
              <p:cNvSpPr>
                <a:spLocks/>
              </p:cNvSpPr>
              <p:nvPr/>
            </p:nvSpPr>
            <p:spPr bwMode="auto">
              <a:xfrm>
                <a:off x="3394954" y="2270725"/>
                <a:ext cx="1220879" cy="2577721"/>
              </a:xfrm>
              <a:custGeom>
                <a:avLst/>
                <a:gdLst/>
                <a:ahLst/>
                <a:cxnLst/>
                <a:rect l="l" t="t" r="r" b="b"/>
                <a:pathLst>
                  <a:path w="1220879" h="2577721">
                    <a:moveTo>
                      <a:pt x="1000694" y="1726538"/>
                    </a:moveTo>
                    <a:cubicBezTo>
                      <a:pt x="1015159" y="1730828"/>
                      <a:pt x="1036692" y="1797918"/>
                      <a:pt x="1062780" y="1860398"/>
                    </a:cubicBezTo>
                    <a:lnTo>
                      <a:pt x="1072271" y="1886939"/>
                    </a:lnTo>
                    <a:cubicBezTo>
                      <a:pt x="1100846" y="1947264"/>
                      <a:pt x="1157203" y="2022670"/>
                      <a:pt x="1181809" y="2063151"/>
                    </a:cubicBezTo>
                    <a:cubicBezTo>
                      <a:pt x="1206415" y="2103632"/>
                      <a:pt x="1225465" y="2098076"/>
                      <a:pt x="1219909" y="2129826"/>
                    </a:cubicBezTo>
                    <a:cubicBezTo>
                      <a:pt x="1214353" y="2161576"/>
                      <a:pt x="1178633" y="2203645"/>
                      <a:pt x="1148471" y="2253651"/>
                    </a:cubicBezTo>
                    <a:cubicBezTo>
                      <a:pt x="1118309" y="2303657"/>
                      <a:pt x="1085765" y="2388589"/>
                      <a:pt x="1038934" y="2429864"/>
                    </a:cubicBezTo>
                    <a:cubicBezTo>
                      <a:pt x="992103" y="2471139"/>
                      <a:pt x="926222" y="2476695"/>
                      <a:pt x="867484" y="2501301"/>
                    </a:cubicBezTo>
                    <a:cubicBezTo>
                      <a:pt x="867484" y="2501301"/>
                      <a:pt x="738896" y="2574326"/>
                      <a:pt x="686509" y="2577501"/>
                    </a:cubicBezTo>
                    <a:cubicBezTo>
                      <a:pt x="634122" y="2580676"/>
                      <a:pt x="626184" y="2548926"/>
                      <a:pt x="553159" y="2520351"/>
                    </a:cubicBezTo>
                    <a:cubicBezTo>
                      <a:pt x="480134" y="2491776"/>
                      <a:pt x="311859" y="2440182"/>
                      <a:pt x="248359" y="2406051"/>
                    </a:cubicBezTo>
                    <a:cubicBezTo>
                      <a:pt x="184859" y="2371920"/>
                      <a:pt x="187240" y="2346520"/>
                      <a:pt x="172159" y="2315564"/>
                    </a:cubicBezTo>
                    <a:cubicBezTo>
                      <a:pt x="157078" y="2284608"/>
                      <a:pt x="140409" y="2261589"/>
                      <a:pt x="157871" y="2220314"/>
                    </a:cubicBezTo>
                    <a:cubicBezTo>
                      <a:pt x="168198" y="2195906"/>
                      <a:pt x="198233" y="2167333"/>
                      <a:pt x="226485" y="2135786"/>
                    </a:cubicBezTo>
                    <a:cubicBezTo>
                      <a:pt x="316982" y="2189270"/>
                      <a:pt x="435235" y="2236059"/>
                      <a:pt x="574195" y="2233933"/>
                    </a:cubicBezTo>
                    <a:cubicBezTo>
                      <a:pt x="875173" y="2229222"/>
                      <a:pt x="939333" y="2059656"/>
                      <a:pt x="939368" y="2059565"/>
                    </a:cubicBezTo>
                    <a:cubicBezTo>
                      <a:pt x="939349" y="2059598"/>
                      <a:pt x="884958" y="2153817"/>
                      <a:pt x="590920" y="2147535"/>
                    </a:cubicBezTo>
                    <a:cubicBezTo>
                      <a:pt x="481175" y="2145874"/>
                      <a:pt x="368705" y="2094204"/>
                      <a:pt x="286708" y="2040070"/>
                    </a:cubicBezTo>
                    <a:cubicBezTo>
                      <a:pt x="307092" y="1982179"/>
                      <a:pt x="314374" y="1903887"/>
                      <a:pt x="324559" y="1872651"/>
                    </a:cubicBezTo>
                    <a:cubicBezTo>
                      <a:pt x="333489" y="1845267"/>
                      <a:pt x="333488" y="1864317"/>
                      <a:pt x="339628" y="1861489"/>
                    </a:cubicBezTo>
                    <a:lnTo>
                      <a:pt x="348371" y="1848839"/>
                    </a:lnTo>
                    <a:cubicBezTo>
                      <a:pt x="354151" y="1836701"/>
                      <a:pt x="363405" y="1817932"/>
                      <a:pt x="373314" y="1796017"/>
                    </a:cubicBezTo>
                    <a:cubicBezTo>
                      <a:pt x="451017" y="1853032"/>
                      <a:pt x="548670" y="1921572"/>
                      <a:pt x="603465" y="1919756"/>
                    </a:cubicBezTo>
                    <a:cubicBezTo>
                      <a:pt x="858528" y="1908760"/>
                      <a:pt x="975606" y="1717113"/>
                      <a:pt x="1000694" y="1726538"/>
                    </a:cubicBezTo>
                    <a:close/>
                    <a:moveTo>
                      <a:pt x="576476" y="576"/>
                    </a:moveTo>
                    <a:cubicBezTo>
                      <a:pt x="714043" y="7650"/>
                      <a:pt x="864404" y="79722"/>
                      <a:pt x="988090" y="206429"/>
                    </a:cubicBezTo>
                    <a:cubicBezTo>
                      <a:pt x="1037022" y="256557"/>
                      <a:pt x="1077264" y="300727"/>
                      <a:pt x="1110031" y="339462"/>
                    </a:cubicBezTo>
                    <a:cubicBezTo>
                      <a:pt x="1051415" y="362041"/>
                      <a:pt x="1030281" y="393446"/>
                      <a:pt x="996071" y="424851"/>
                    </a:cubicBezTo>
                    <a:cubicBezTo>
                      <a:pt x="979245" y="440298"/>
                      <a:pt x="967211" y="456704"/>
                      <a:pt x="958497" y="474522"/>
                    </a:cubicBezTo>
                    <a:cubicBezTo>
                      <a:pt x="793415" y="374586"/>
                      <a:pt x="664033" y="400614"/>
                      <a:pt x="603444" y="421733"/>
                    </a:cubicBezTo>
                    <a:cubicBezTo>
                      <a:pt x="733011" y="434023"/>
                      <a:pt x="843377" y="487838"/>
                      <a:pt x="927312" y="549009"/>
                    </a:cubicBezTo>
                    <a:lnTo>
                      <a:pt x="915109" y="582014"/>
                    </a:lnTo>
                    <a:cubicBezTo>
                      <a:pt x="891297" y="642339"/>
                      <a:pt x="862721" y="710601"/>
                      <a:pt x="853196" y="786801"/>
                    </a:cubicBezTo>
                    <a:cubicBezTo>
                      <a:pt x="843671" y="863001"/>
                      <a:pt x="847640" y="966983"/>
                      <a:pt x="857959" y="1039214"/>
                    </a:cubicBezTo>
                    <a:cubicBezTo>
                      <a:pt x="868278" y="1111445"/>
                      <a:pt x="900028" y="1178120"/>
                      <a:pt x="915109" y="1220189"/>
                    </a:cubicBezTo>
                    <a:cubicBezTo>
                      <a:pt x="930190" y="1262258"/>
                      <a:pt x="946859" y="1272576"/>
                      <a:pt x="948446" y="1291626"/>
                    </a:cubicBezTo>
                    <a:cubicBezTo>
                      <a:pt x="950033" y="1310676"/>
                      <a:pt x="930984" y="1315439"/>
                      <a:pt x="924634" y="1334489"/>
                    </a:cubicBezTo>
                    <a:cubicBezTo>
                      <a:pt x="918284" y="1353539"/>
                      <a:pt x="907171" y="1371001"/>
                      <a:pt x="910346" y="1405926"/>
                    </a:cubicBezTo>
                    <a:cubicBezTo>
                      <a:pt x="913521" y="1440851"/>
                      <a:pt x="927015" y="1494827"/>
                      <a:pt x="943684" y="1544039"/>
                    </a:cubicBezTo>
                    <a:cubicBezTo>
                      <a:pt x="947240" y="1554538"/>
                      <a:pt x="951338" y="1565109"/>
                      <a:pt x="956769" y="1575392"/>
                    </a:cubicBezTo>
                    <a:cubicBezTo>
                      <a:pt x="939866" y="1598334"/>
                      <a:pt x="922505" y="1617063"/>
                      <a:pt x="905864" y="1631836"/>
                    </a:cubicBezTo>
                    <a:cubicBezTo>
                      <a:pt x="841757" y="1688412"/>
                      <a:pt x="692637" y="1803136"/>
                      <a:pt x="603444" y="1803136"/>
                    </a:cubicBezTo>
                    <a:cubicBezTo>
                      <a:pt x="557961" y="1803136"/>
                      <a:pt x="478776" y="1755732"/>
                      <a:pt x="409934" y="1705014"/>
                    </a:cubicBezTo>
                    <a:lnTo>
                      <a:pt x="419809" y="1672626"/>
                    </a:lnTo>
                    <a:cubicBezTo>
                      <a:pt x="433303" y="1613095"/>
                      <a:pt x="419809" y="1540070"/>
                      <a:pt x="429334" y="1491651"/>
                    </a:cubicBezTo>
                    <a:cubicBezTo>
                      <a:pt x="438859" y="1443232"/>
                      <a:pt x="464259" y="1418627"/>
                      <a:pt x="476959" y="1382114"/>
                    </a:cubicBezTo>
                    <a:cubicBezTo>
                      <a:pt x="489659" y="1345602"/>
                      <a:pt x="506328" y="1301151"/>
                      <a:pt x="505534" y="1272576"/>
                    </a:cubicBezTo>
                    <a:cubicBezTo>
                      <a:pt x="504740" y="1244001"/>
                      <a:pt x="472990" y="1247177"/>
                      <a:pt x="472196" y="1210664"/>
                    </a:cubicBezTo>
                    <a:cubicBezTo>
                      <a:pt x="471402" y="1174152"/>
                      <a:pt x="493627" y="1105095"/>
                      <a:pt x="500771" y="1053501"/>
                    </a:cubicBezTo>
                    <a:cubicBezTo>
                      <a:pt x="507915" y="1001907"/>
                      <a:pt x="519028" y="948726"/>
                      <a:pt x="515059" y="901101"/>
                    </a:cubicBezTo>
                    <a:cubicBezTo>
                      <a:pt x="511090" y="853476"/>
                      <a:pt x="496009" y="818551"/>
                      <a:pt x="476959" y="767751"/>
                    </a:cubicBezTo>
                    <a:cubicBezTo>
                      <a:pt x="457909" y="716951"/>
                      <a:pt x="430128" y="646307"/>
                      <a:pt x="400759" y="596301"/>
                    </a:cubicBezTo>
                    <a:cubicBezTo>
                      <a:pt x="371390" y="546295"/>
                      <a:pt x="342021" y="502639"/>
                      <a:pt x="300746" y="467714"/>
                    </a:cubicBezTo>
                    <a:cubicBezTo>
                      <a:pt x="259471" y="432789"/>
                      <a:pt x="207878" y="412151"/>
                      <a:pt x="153109" y="386751"/>
                    </a:cubicBezTo>
                    <a:cubicBezTo>
                      <a:pt x="102114" y="363101"/>
                      <a:pt x="114428" y="279585"/>
                      <a:pt x="0" y="308275"/>
                    </a:cubicBezTo>
                    <a:cubicBezTo>
                      <a:pt x="41291" y="173605"/>
                      <a:pt x="138419" y="50464"/>
                      <a:pt x="351195" y="60273"/>
                    </a:cubicBezTo>
                    <a:cubicBezTo>
                      <a:pt x="415999" y="15484"/>
                      <a:pt x="493935" y="-3670"/>
                      <a:pt x="576476" y="57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405" name="Man's Body">
                <a:extLst>
                  <a:ext uri="{FF2B5EF4-FFF2-40B4-BE49-F238E27FC236}">
                    <a16:creationId xmlns:a16="http://schemas.microsoft.com/office/drawing/2014/main" id="{6CE80D07-B046-4E28-94E3-914A1ADD4399}"/>
                  </a:ext>
                </a:extLst>
              </p:cNvPr>
              <p:cNvSpPr>
                <a:spLocks/>
              </p:cNvSpPr>
              <p:nvPr/>
            </p:nvSpPr>
            <p:spPr bwMode="auto">
              <a:xfrm>
                <a:off x="4129215" y="2588754"/>
                <a:ext cx="1942154" cy="3289752"/>
              </a:xfrm>
              <a:custGeom>
                <a:avLst/>
                <a:gdLst/>
                <a:ahLst/>
                <a:cxnLst/>
                <a:rect l="l" t="t" r="r" b="b"/>
                <a:pathLst>
                  <a:path w="1942154" h="3289752">
                    <a:moveTo>
                      <a:pt x="501915" y="1906497"/>
                    </a:moveTo>
                    <a:cubicBezTo>
                      <a:pt x="531238" y="1899539"/>
                      <a:pt x="778162" y="2129136"/>
                      <a:pt x="883105" y="2125656"/>
                    </a:cubicBezTo>
                    <a:cubicBezTo>
                      <a:pt x="1165524" y="2113482"/>
                      <a:pt x="1295160" y="1901279"/>
                      <a:pt x="1322938" y="1911715"/>
                    </a:cubicBezTo>
                    <a:cubicBezTo>
                      <a:pt x="1352261" y="1920412"/>
                      <a:pt x="1407819" y="2162183"/>
                      <a:pt x="1471092" y="2179577"/>
                    </a:cubicBezTo>
                    <a:cubicBezTo>
                      <a:pt x="1569955" y="2205728"/>
                      <a:pt x="1786855" y="2283903"/>
                      <a:pt x="1942154" y="2367099"/>
                    </a:cubicBezTo>
                    <a:lnTo>
                      <a:pt x="1623885" y="2492834"/>
                    </a:lnTo>
                    <a:cubicBezTo>
                      <a:pt x="1505616" y="2541253"/>
                      <a:pt x="1369885" y="2582527"/>
                      <a:pt x="1300035" y="2630946"/>
                    </a:cubicBezTo>
                    <a:cubicBezTo>
                      <a:pt x="1230185" y="2679365"/>
                      <a:pt x="1216691" y="2727784"/>
                      <a:pt x="1204785" y="2783346"/>
                    </a:cubicBezTo>
                    <a:cubicBezTo>
                      <a:pt x="1192879" y="2838909"/>
                      <a:pt x="1211929" y="2896059"/>
                      <a:pt x="1228598" y="2964321"/>
                    </a:cubicBezTo>
                    <a:cubicBezTo>
                      <a:pt x="1245267" y="3032583"/>
                      <a:pt x="1281779" y="3120690"/>
                      <a:pt x="1304798" y="3192921"/>
                    </a:cubicBezTo>
                    <a:cubicBezTo>
                      <a:pt x="1314321" y="3222803"/>
                      <a:pt x="1341505" y="3252414"/>
                      <a:pt x="1363493" y="3281583"/>
                    </a:cubicBezTo>
                    <a:cubicBezTo>
                      <a:pt x="1152486" y="3290141"/>
                      <a:pt x="985631" y="3290297"/>
                      <a:pt x="900081" y="3289292"/>
                    </a:cubicBezTo>
                    <a:cubicBezTo>
                      <a:pt x="817878" y="3290370"/>
                      <a:pt x="658124" y="3290113"/>
                      <a:pt x="456018" y="3282293"/>
                    </a:cubicBezTo>
                    <a:cubicBezTo>
                      <a:pt x="462393" y="3274575"/>
                      <a:pt x="465552" y="3265168"/>
                      <a:pt x="466598" y="3254834"/>
                    </a:cubicBezTo>
                    <a:cubicBezTo>
                      <a:pt x="472948" y="3192128"/>
                      <a:pt x="470567" y="3114340"/>
                      <a:pt x="466598" y="3021471"/>
                    </a:cubicBezTo>
                    <a:cubicBezTo>
                      <a:pt x="462629" y="2928602"/>
                      <a:pt x="461835" y="2782552"/>
                      <a:pt x="442785" y="2697621"/>
                    </a:cubicBezTo>
                    <a:cubicBezTo>
                      <a:pt x="423735" y="2612690"/>
                      <a:pt x="407860" y="2565859"/>
                      <a:pt x="352298" y="2511884"/>
                    </a:cubicBezTo>
                    <a:cubicBezTo>
                      <a:pt x="296736" y="2457909"/>
                      <a:pt x="186404" y="2415046"/>
                      <a:pt x="109410" y="2373771"/>
                    </a:cubicBezTo>
                    <a:cubicBezTo>
                      <a:pt x="63909" y="2349379"/>
                      <a:pt x="39200" y="2319443"/>
                      <a:pt x="0" y="2298223"/>
                    </a:cubicBezTo>
                    <a:cubicBezTo>
                      <a:pt x="117461" y="2244929"/>
                      <a:pt x="226792" y="2206801"/>
                      <a:pt x="244189" y="2210886"/>
                    </a:cubicBezTo>
                    <a:cubicBezTo>
                      <a:pt x="281228" y="2217843"/>
                      <a:pt x="509632" y="2478748"/>
                      <a:pt x="850696" y="2473530"/>
                    </a:cubicBezTo>
                    <a:cubicBezTo>
                      <a:pt x="1183954" y="2468314"/>
                      <a:pt x="1254996" y="2280562"/>
                      <a:pt x="1255035" y="2280461"/>
                    </a:cubicBezTo>
                    <a:cubicBezTo>
                      <a:pt x="1255005" y="2280512"/>
                      <a:pt x="1194766" y="2384821"/>
                      <a:pt x="869215" y="2377865"/>
                    </a:cubicBezTo>
                    <a:cubicBezTo>
                      <a:pt x="639268" y="2374386"/>
                      <a:pt x="398517" y="2172620"/>
                      <a:pt x="393887" y="2132615"/>
                    </a:cubicBezTo>
                    <a:cubicBezTo>
                      <a:pt x="389256" y="2090869"/>
                      <a:pt x="471051" y="1911715"/>
                      <a:pt x="501915" y="1906497"/>
                    </a:cubicBezTo>
                    <a:close/>
                    <a:moveTo>
                      <a:pt x="853221" y="637"/>
                    </a:moveTo>
                    <a:cubicBezTo>
                      <a:pt x="1005543" y="8471"/>
                      <a:pt x="1226975" y="81406"/>
                      <a:pt x="1337772" y="161384"/>
                    </a:cubicBezTo>
                    <a:cubicBezTo>
                      <a:pt x="1448570" y="241363"/>
                      <a:pt x="1522641" y="435263"/>
                      <a:pt x="1518012" y="480506"/>
                    </a:cubicBezTo>
                    <a:cubicBezTo>
                      <a:pt x="1513382" y="524010"/>
                      <a:pt x="1508932" y="654545"/>
                      <a:pt x="1497241" y="710582"/>
                    </a:cubicBezTo>
                    <a:cubicBezTo>
                      <a:pt x="1485550" y="766620"/>
                      <a:pt x="1456092" y="773225"/>
                      <a:pt x="1447862" y="816729"/>
                    </a:cubicBezTo>
                    <a:cubicBezTo>
                      <a:pt x="1464832" y="858482"/>
                      <a:pt x="1447870" y="971551"/>
                      <a:pt x="1447862" y="971599"/>
                    </a:cubicBezTo>
                    <a:cubicBezTo>
                      <a:pt x="1447887" y="971601"/>
                      <a:pt x="1518845" y="976828"/>
                      <a:pt x="1518845" y="1029023"/>
                    </a:cubicBezTo>
                    <a:cubicBezTo>
                      <a:pt x="1518845" y="1081217"/>
                      <a:pt x="1443261" y="1368239"/>
                      <a:pt x="1443233" y="1368346"/>
                    </a:cubicBezTo>
                    <a:cubicBezTo>
                      <a:pt x="1443216" y="1368375"/>
                      <a:pt x="1423163" y="1403147"/>
                      <a:pt x="1400025" y="1397928"/>
                    </a:cubicBezTo>
                    <a:cubicBezTo>
                      <a:pt x="1375336" y="1610222"/>
                      <a:pt x="1290464" y="1742472"/>
                      <a:pt x="1217938" y="1806856"/>
                    </a:cubicBezTo>
                    <a:cubicBezTo>
                      <a:pt x="1146955" y="1869501"/>
                      <a:pt x="981841" y="1996529"/>
                      <a:pt x="883082" y="1996529"/>
                    </a:cubicBezTo>
                    <a:cubicBezTo>
                      <a:pt x="784323" y="1996529"/>
                      <a:pt x="542053" y="1794675"/>
                      <a:pt x="523537" y="1759872"/>
                    </a:cubicBezTo>
                    <a:cubicBezTo>
                      <a:pt x="503477" y="1725071"/>
                      <a:pt x="370768" y="1570199"/>
                      <a:pt x="366139" y="1380528"/>
                    </a:cubicBezTo>
                    <a:cubicBezTo>
                      <a:pt x="301328" y="1375306"/>
                      <a:pt x="264293" y="1183894"/>
                      <a:pt x="239604" y="1082967"/>
                    </a:cubicBezTo>
                    <a:cubicBezTo>
                      <a:pt x="219550" y="997735"/>
                      <a:pt x="288930" y="999439"/>
                      <a:pt x="288983" y="999441"/>
                    </a:cubicBezTo>
                    <a:cubicBezTo>
                      <a:pt x="288957" y="999371"/>
                      <a:pt x="191766" y="731458"/>
                      <a:pt x="184051" y="694921"/>
                    </a:cubicBezTo>
                    <a:cubicBezTo>
                      <a:pt x="177878" y="660118"/>
                      <a:pt x="113068" y="44116"/>
                      <a:pt x="603779" y="66738"/>
                    </a:cubicBezTo>
                    <a:cubicBezTo>
                      <a:pt x="675533" y="17144"/>
                      <a:pt x="761828" y="-4064"/>
                      <a:pt x="853221" y="63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406" name="Man's Body">
                <a:extLst>
                  <a:ext uri="{FF2B5EF4-FFF2-40B4-BE49-F238E27FC236}">
                    <a16:creationId xmlns:a16="http://schemas.microsoft.com/office/drawing/2014/main" id="{07D04E26-84A6-4244-9072-34D4EDE326A0}"/>
                  </a:ext>
                </a:extLst>
              </p:cNvPr>
              <p:cNvSpPr>
                <a:spLocks/>
              </p:cNvSpPr>
              <p:nvPr/>
            </p:nvSpPr>
            <p:spPr bwMode="auto">
              <a:xfrm>
                <a:off x="335107" y="2540761"/>
                <a:ext cx="1927374" cy="3278271"/>
              </a:xfrm>
              <a:custGeom>
                <a:avLst/>
                <a:gdLst/>
                <a:ahLst/>
                <a:cxnLst/>
                <a:rect l="l" t="t" r="r" b="b"/>
                <a:pathLst>
                  <a:path w="1927374" h="3278271">
                    <a:moveTo>
                      <a:pt x="586126" y="2210886"/>
                    </a:moveTo>
                    <a:cubicBezTo>
                      <a:pt x="616330" y="2216559"/>
                      <a:pt x="773790" y="2391106"/>
                      <a:pt x="1016388" y="2450287"/>
                    </a:cubicBezTo>
                    <a:cubicBezTo>
                      <a:pt x="976291" y="2480726"/>
                      <a:pt x="940784" y="2511617"/>
                      <a:pt x="912668" y="2540828"/>
                    </a:cubicBezTo>
                    <a:cubicBezTo>
                      <a:pt x="851549" y="2604328"/>
                      <a:pt x="830912" y="2661478"/>
                      <a:pt x="803131" y="2726565"/>
                    </a:cubicBezTo>
                    <a:cubicBezTo>
                      <a:pt x="775350" y="2791652"/>
                      <a:pt x="757093" y="2855947"/>
                      <a:pt x="745981" y="2931353"/>
                    </a:cubicBezTo>
                    <a:cubicBezTo>
                      <a:pt x="734869" y="3006759"/>
                      <a:pt x="738837" y="3105978"/>
                      <a:pt x="736456" y="3179003"/>
                    </a:cubicBezTo>
                    <a:cubicBezTo>
                      <a:pt x="735337" y="3213335"/>
                      <a:pt x="717901" y="3247141"/>
                      <a:pt x="707639" y="3278271"/>
                    </a:cubicBezTo>
                    <a:cubicBezTo>
                      <a:pt x="607261" y="3273701"/>
                      <a:pt x="498668" y="3267095"/>
                      <a:pt x="385500" y="3257984"/>
                    </a:cubicBezTo>
                    <a:cubicBezTo>
                      <a:pt x="387043" y="3144926"/>
                      <a:pt x="428711" y="2960553"/>
                      <a:pt x="475010" y="2861409"/>
                    </a:cubicBezTo>
                    <a:cubicBezTo>
                      <a:pt x="439515" y="2884020"/>
                      <a:pt x="288274" y="3042302"/>
                      <a:pt x="258951" y="3247548"/>
                    </a:cubicBezTo>
                    <a:cubicBezTo>
                      <a:pt x="-18839" y="2890978"/>
                      <a:pt x="-32728" y="2605722"/>
                      <a:pt x="32090" y="2494403"/>
                    </a:cubicBezTo>
                    <a:cubicBezTo>
                      <a:pt x="95364" y="2384822"/>
                      <a:pt x="549088" y="2202189"/>
                      <a:pt x="586126" y="2210886"/>
                    </a:cubicBezTo>
                    <a:close/>
                    <a:moveTo>
                      <a:pt x="843852" y="1906497"/>
                    </a:moveTo>
                    <a:cubicBezTo>
                      <a:pt x="873175" y="1899539"/>
                      <a:pt x="1120099" y="2129136"/>
                      <a:pt x="1225042" y="2125656"/>
                    </a:cubicBezTo>
                    <a:cubicBezTo>
                      <a:pt x="1507461" y="2113482"/>
                      <a:pt x="1637096" y="1901279"/>
                      <a:pt x="1664875" y="1911715"/>
                    </a:cubicBezTo>
                    <a:cubicBezTo>
                      <a:pt x="1681451" y="1916632"/>
                      <a:pt x="1706410" y="1996028"/>
                      <a:pt x="1736668" y="2067160"/>
                    </a:cubicBezTo>
                    <a:cubicBezTo>
                      <a:pt x="1645277" y="2089552"/>
                      <a:pt x="1598007" y="2141189"/>
                      <a:pt x="1512743" y="2178878"/>
                    </a:cubicBezTo>
                    <a:cubicBezTo>
                      <a:pt x="1403206" y="2227297"/>
                      <a:pt x="1269855" y="2285240"/>
                      <a:pt x="1169843" y="2345565"/>
                    </a:cubicBezTo>
                    <a:lnTo>
                      <a:pt x="1134882" y="2369115"/>
                    </a:lnTo>
                    <a:cubicBezTo>
                      <a:pt x="930801" y="2331702"/>
                      <a:pt x="739941" y="2168192"/>
                      <a:pt x="735824" y="2132615"/>
                    </a:cubicBezTo>
                    <a:cubicBezTo>
                      <a:pt x="731193" y="2090869"/>
                      <a:pt x="812988" y="1911715"/>
                      <a:pt x="843852" y="1906497"/>
                    </a:cubicBezTo>
                    <a:close/>
                    <a:moveTo>
                      <a:pt x="1195158" y="637"/>
                    </a:moveTo>
                    <a:cubicBezTo>
                      <a:pt x="1347480" y="8471"/>
                      <a:pt x="1513967" y="88272"/>
                      <a:pt x="1650919" y="228569"/>
                    </a:cubicBezTo>
                    <a:cubicBezTo>
                      <a:pt x="1870041" y="453045"/>
                      <a:pt x="1931766" y="569632"/>
                      <a:pt x="1927136" y="614875"/>
                    </a:cubicBezTo>
                    <a:cubicBezTo>
                      <a:pt x="1922506" y="658378"/>
                      <a:pt x="1877757" y="719282"/>
                      <a:pt x="1839178" y="710582"/>
                    </a:cubicBezTo>
                    <a:cubicBezTo>
                      <a:pt x="1799058" y="701882"/>
                      <a:pt x="1794429" y="663598"/>
                      <a:pt x="1772824" y="642718"/>
                    </a:cubicBezTo>
                    <a:cubicBezTo>
                      <a:pt x="1516667" y="399101"/>
                      <a:pt x="1309890" y="437383"/>
                      <a:pt x="1225019" y="466966"/>
                    </a:cubicBezTo>
                    <a:cubicBezTo>
                      <a:pt x="1555245" y="498288"/>
                      <a:pt x="1772824" y="773225"/>
                      <a:pt x="1789799" y="816729"/>
                    </a:cubicBezTo>
                    <a:cubicBezTo>
                      <a:pt x="1806769" y="858482"/>
                      <a:pt x="1789807" y="971551"/>
                      <a:pt x="1789799" y="971599"/>
                    </a:cubicBezTo>
                    <a:cubicBezTo>
                      <a:pt x="1789819" y="971601"/>
                      <a:pt x="1860782" y="976826"/>
                      <a:pt x="1860782" y="1029023"/>
                    </a:cubicBezTo>
                    <a:cubicBezTo>
                      <a:pt x="1860782" y="1081217"/>
                      <a:pt x="1785198" y="1368239"/>
                      <a:pt x="1785170" y="1368346"/>
                    </a:cubicBezTo>
                    <a:cubicBezTo>
                      <a:pt x="1785153" y="1368375"/>
                      <a:pt x="1765100" y="1403147"/>
                      <a:pt x="1741962" y="1397928"/>
                    </a:cubicBezTo>
                    <a:cubicBezTo>
                      <a:pt x="1717273" y="1610222"/>
                      <a:pt x="1632401" y="1742472"/>
                      <a:pt x="1559875" y="1806856"/>
                    </a:cubicBezTo>
                    <a:cubicBezTo>
                      <a:pt x="1488892" y="1869501"/>
                      <a:pt x="1323778" y="1996529"/>
                      <a:pt x="1225019" y="1996529"/>
                    </a:cubicBezTo>
                    <a:cubicBezTo>
                      <a:pt x="1126260" y="1996529"/>
                      <a:pt x="883990" y="1794675"/>
                      <a:pt x="865473" y="1759872"/>
                    </a:cubicBezTo>
                    <a:cubicBezTo>
                      <a:pt x="845414" y="1725071"/>
                      <a:pt x="712705" y="1570199"/>
                      <a:pt x="708075" y="1380528"/>
                    </a:cubicBezTo>
                    <a:cubicBezTo>
                      <a:pt x="643265" y="1375306"/>
                      <a:pt x="606230" y="1183894"/>
                      <a:pt x="581541" y="1082967"/>
                    </a:cubicBezTo>
                    <a:cubicBezTo>
                      <a:pt x="561487" y="997735"/>
                      <a:pt x="630866" y="999439"/>
                      <a:pt x="630919" y="999441"/>
                    </a:cubicBezTo>
                    <a:cubicBezTo>
                      <a:pt x="630881" y="999337"/>
                      <a:pt x="533702" y="731455"/>
                      <a:pt x="525988" y="694921"/>
                    </a:cubicBezTo>
                    <a:cubicBezTo>
                      <a:pt x="519815" y="660118"/>
                      <a:pt x="455005" y="44116"/>
                      <a:pt x="945716" y="66738"/>
                    </a:cubicBezTo>
                    <a:cubicBezTo>
                      <a:pt x="1017470" y="17144"/>
                      <a:pt x="1103765" y="-4064"/>
                      <a:pt x="1195158" y="63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407" name="Freeform 227">
                <a:extLst>
                  <a:ext uri="{FF2B5EF4-FFF2-40B4-BE49-F238E27FC236}">
                    <a16:creationId xmlns:a16="http://schemas.microsoft.com/office/drawing/2014/main" id="{E4904D5C-2790-4DB4-9AEF-033B94F36851}"/>
                  </a:ext>
                </a:extLst>
              </p:cNvPr>
              <p:cNvSpPr/>
              <p:nvPr/>
            </p:nvSpPr>
            <p:spPr>
              <a:xfrm flipH="1">
                <a:off x="1116816" y="2629054"/>
                <a:ext cx="3436629" cy="3474566"/>
              </a:xfrm>
              <a:custGeom>
                <a:avLst/>
                <a:gdLst/>
                <a:ahLst/>
                <a:cxnLst/>
                <a:rect l="l" t="t" r="r" b="b"/>
                <a:pathLst>
                  <a:path w="852601" h="862013">
                    <a:moveTo>
                      <a:pt x="339688" y="551599"/>
                    </a:moveTo>
                    <a:cubicBezTo>
                      <a:pt x="336200" y="550660"/>
                      <a:pt x="332712" y="552270"/>
                      <a:pt x="329224" y="555624"/>
                    </a:cubicBezTo>
                    <a:lnTo>
                      <a:pt x="318760" y="571723"/>
                    </a:lnTo>
                    <a:cubicBezTo>
                      <a:pt x="317687" y="576955"/>
                      <a:pt x="320907" y="582723"/>
                      <a:pt x="322785" y="587017"/>
                    </a:cubicBezTo>
                    <a:cubicBezTo>
                      <a:pt x="324663" y="591310"/>
                      <a:pt x="331370" y="593322"/>
                      <a:pt x="330029" y="597481"/>
                    </a:cubicBezTo>
                    <a:cubicBezTo>
                      <a:pt x="328687" y="601641"/>
                      <a:pt x="318894" y="606739"/>
                      <a:pt x="314735" y="611971"/>
                    </a:cubicBezTo>
                    <a:cubicBezTo>
                      <a:pt x="310576" y="617202"/>
                      <a:pt x="308563" y="620288"/>
                      <a:pt x="303465" y="629679"/>
                    </a:cubicBezTo>
                    <a:cubicBezTo>
                      <a:pt x="298368" y="639070"/>
                      <a:pt x="292062" y="654230"/>
                      <a:pt x="284147" y="668317"/>
                    </a:cubicBezTo>
                    <a:cubicBezTo>
                      <a:pt x="276232" y="682403"/>
                      <a:pt x="261340" y="698637"/>
                      <a:pt x="255974" y="714199"/>
                    </a:cubicBezTo>
                    <a:cubicBezTo>
                      <a:pt x="250607" y="729762"/>
                      <a:pt x="252754" y="745727"/>
                      <a:pt x="251949" y="761691"/>
                    </a:cubicBezTo>
                    <a:cubicBezTo>
                      <a:pt x="251144" y="777656"/>
                      <a:pt x="252351" y="796036"/>
                      <a:pt x="251143" y="809989"/>
                    </a:cubicBezTo>
                    <a:cubicBezTo>
                      <a:pt x="249937" y="823941"/>
                      <a:pt x="245778" y="837357"/>
                      <a:pt x="244705" y="845406"/>
                    </a:cubicBezTo>
                    <a:cubicBezTo>
                      <a:pt x="243631" y="853456"/>
                      <a:pt x="243095" y="855603"/>
                      <a:pt x="244705" y="858286"/>
                    </a:cubicBezTo>
                    <a:cubicBezTo>
                      <a:pt x="245509" y="859627"/>
                      <a:pt x="245945" y="860298"/>
                      <a:pt x="247169" y="860701"/>
                    </a:cubicBezTo>
                    <a:lnTo>
                      <a:pt x="254364" y="861506"/>
                    </a:lnTo>
                    <a:cubicBezTo>
                      <a:pt x="262279" y="862042"/>
                      <a:pt x="277305" y="862310"/>
                      <a:pt x="292196" y="861506"/>
                    </a:cubicBezTo>
                    <a:cubicBezTo>
                      <a:pt x="307088" y="860701"/>
                      <a:pt x="333115" y="857749"/>
                      <a:pt x="343713" y="856676"/>
                    </a:cubicBezTo>
                    <a:cubicBezTo>
                      <a:pt x="343747" y="856684"/>
                      <a:pt x="352708" y="858681"/>
                      <a:pt x="355787" y="855066"/>
                    </a:cubicBezTo>
                    <a:cubicBezTo>
                      <a:pt x="358873" y="851443"/>
                      <a:pt x="361288" y="845675"/>
                      <a:pt x="362227" y="834943"/>
                    </a:cubicBezTo>
                    <a:cubicBezTo>
                      <a:pt x="363166" y="824210"/>
                      <a:pt x="363568" y="808110"/>
                      <a:pt x="361422" y="790670"/>
                    </a:cubicBezTo>
                    <a:cubicBezTo>
                      <a:pt x="359275" y="773229"/>
                      <a:pt x="352299" y="754313"/>
                      <a:pt x="349348" y="730298"/>
                    </a:cubicBezTo>
                    <a:cubicBezTo>
                      <a:pt x="346396" y="706284"/>
                      <a:pt x="344786" y="666439"/>
                      <a:pt x="343713" y="646584"/>
                    </a:cubicBezTo>
                    <a:cubicBezTo>
                      <a:pt x="342640" y="626728"/>
                      <a:pt x="342505" y="619886"/>
                      <a:pt x="342908" y="611166"/>
                    </a:cubicBezTo>
                    <a:cubicBezTo>
                      <a:pt x="343310" y="602446"/>
                      <a:pt x="343713" y="600299"/>
                      <a:pt x="346128" y="594262"/>
                    </a:cubicBezTo>
                    <a:cubicBezTo>
                      <a:pt x="348543" y="588224"/>
                      <a:pt x="356727" y="580443"/>
                      <a:pt x="357397" y="574942"/>
                    </a:cubicBezTo>
                    <a:cubicBezTo>
                      <a:pt x="358068" y="569442"/>
                      <a:pt x="353104" y="565149"/>
                      <a:pt x="350153" y="561258"/>
                    </a:cubicBezTo>
                    <a:close/>
                    <a:moveTo>
                      <a:pt x="287206" y="507649"/>
                    </a:moveTo>
                    <a:cubicBezTo>
                      <a:pt x="299226" y="561742"/>
                      <a:pt x="284201" y="574621"/>
                      <a:pt x="274326" y="617123"/>
                    </a:cubicBezTo>
                    <a:cubicBezTo>
                      <a:pt x="272445" y="626330"/>
                      <a:pt x="270907" y="639718"/>
                      <a:pt x="269556" y="655910"/>
                    </a:cubicBezTo>
                    <a:cubicBezTo>
                      <a:pt x="284442" y="632717"/>
                      <a:pt x="299146" y="601494"/>
                      <a:pt x="316184" y="596515"/>
                    </a:cubicBezTo>
                    <a:cubicBezTo>
                      <a:pt x="314038" y="589217"/>
                      <a:pt x="305451" y="583528"/>
                      <a:pt x="306524" y="574621"/>
                    </a:cubicBezTo>
                    <a:cubicBezTo>
                      <a:pt x="307147" y="563679"/>
                      <a:pt x="314405" y="554950"/>
                      <a:pt x="319949" y="545622"/>
                    </a:cubicBezTo>
                    <a:cubicBezTo>
                      <a:pt x="307786" y="539695"/>
                      <a:pt x="298568" y="525281"/>
                      <a:pt x="287206" y="507649"/>
                    </a:cubicBezTo>
                    <a:close/>
                    <a:moveTo>
                      <a:pt x="264023" y="488330"/>
                    </a:moveTo>
                    <a:cubicBezTo>
                      <a:pt x="251143" y="497345"/>
                      <a:pt x="249856" y="517952"/>
                      <a:pt x="240841" y="523104"/>
                    </a:cubicBezTo>
                    <a:cubicBezTo>
                      <a:pt x="177304" y="542852"/>
                      <a:pt x="103463" y="578055"/>
                      <a:pt x="46365" y="613259"/>
                    </a:cubicBezTo>
                    <a:cubicBezTo>
                      <a:pt x="17601" y="630002"/>
                      <a:pt x="12021" y="649320"/>
                      <a:pt x="6440" y="682806"/>
                    </a:cubicBezTo>
                    <a:lnTo>
                      <a:pt x="0" y="793568"/>
                    </a:lnTo>
                    <a:cubicBezTo>
                      <a:pt x="60532" y="849807"/>
                      <a:pt x="154551" y="840362"/>
                      <a:pt x="230537" y="859252"/>
                    </a:cubicBezTo>
                    <a:cubicBezTo>
                      <a:pt x="242128" y="755359"/>
                      <a:pt x="233113" y="597374"/>
                      <a:pt x="265311" y="542422"/>
                    </a:cubicBezTo>
                    <a:close/>
                    <a:moveTo>
                      <a:pt x="473953" y="438101"/>
                    </a:moveTo>
                    <a:cubicBezTo>
                      <a:pt x="449999" y="476765"/>
                      <a:pt x="395188" y="525303"/>
                      <a:pt x="351750" y="542487"/>
                    </a:cubicBezTo>
                    <a:cubicBezTo>
                      <a:pt x="364570" y="553524"/>
                      <a:pt x="369815" y="566569"/>
                      <a:pt x="371564" y="577519"/>
                    </a:cubicBezTo>
                    <a:cubicBezTo>
                      <a:pt x="371510" y="588305"/>
                      <a:pt x="363407" y="591042"/>
                      <a:pt x="359329" y="597803"/>
                    </a:cubicBezTo>
                    <a:cubicBezTo>
                      <a:pt x="364928" y="652187"/>
                      <a:pt x="355161" y="701683"/>
                      <a:pt x="373271" y="759858"/>
                    </a:cubicBezTo>
                    <a:cubicBezTo>
                      <a:pt x="382583" y="726860"/>
                      <a:pt x="394118" y="694072"/>
                      <a:pt x="406981" y="659624"/>
                    </a:cubicBezTo>
                    <a:cubicBezTo>
                      <a:pt x="434458" y="598661"/>
                      <a:pt x="476100" y="510653"/>
                      <a:pt x="473953" y="438101"/>
                    </a:cubicBezTo>
                    <a:close/>
                    <a:moveTo>
                      <a:pt x="444331" y="425221"/>
                    </a:moveTo>
                    <a:cubicBezTo>
                      <a:pt x="417365" y="457420"/>
                      <a:pt x="365446" y="490423"/>
                      <a:pt x="342908" y="490423"/>
                    </a:cubicBezTo>
                    <a:cubicBezTo>
                      <a:pt x="312722" y="489752"/>
                      <a:pt x="309100" y="473787"/>
                      <a:pt x="292196" y="465469"/>
                    </a:cubicBezTo>
                    <a:cubicBezTo>
                      <a:pt x="308026" y="468152"/>
                      <a:pt x="323455" y="474056"/>
                      <a:pt x="339687" y="473519"/>
                    </a:cubicBezTo>
                    <a:cubicBezTo>
                      <a:pt x="376180" y="473116"/>
                      <a:pt x="416695" y="446955"/>
                      <a:pt x="444331" y="425221"/>
                    </a:cubicBezTo>
                    <a:close/>
                    <a:moveTo>
                      <a:pt x="488121" y="409767"/>
                    </a:moveTo>
                    <a:cubicBezTo>
                      <a:pt x="533198" y="465576"/>
                      <a:pt x="410846" y="692681"/>
                      <a:pt x="376072" y="855388"/>
                    </a:cubicBezTo>
                    <a:cubicBezTo>
                      <a:pt x="489409" y="838216"/>
                      <a:pt x="600169" y="850665"/>
                      <a:pt x="716082" y="803871"/>
                    </a:cubicBezTo>
                    <a:cubicBezTo>
                      <a:pt x="761588" y="800437"/>
                      <a:pt x="808382" y="816321"/>
                      <a:pt x="852601" y="793568"/>
                    </a:cubicBezTo>
                    <a:cubicBezTo>
                      <a:pt x="845303" y="743338"/>
                      <a:pt x="867627" y="646745"/>
                      <a:pt x="772750" y="588788"/>
                    </a:cubicBezTo>
                    <a:cubicBezTo>
                      <a:pt x="729391" y="552726"/>
                      <a:pt x="648681" y="519241"/>
                      <a:pt x="565395" y="492193"/>
                    </a:cubicBezTo>
                    <a:cubicBezTo>
                      <a:pt x="534486" y="468582"/>
                      <a:pt x="515167" y="433379"/>
                      <a:pt x="488121" y="409767"/>
                    </a:cubicBezTo>
                    <a:close/>
                    <a:moveTo>
                      <a:pt x="314467" y="207"/>
                    </a:moveTo>
                    <a:cubicBezTo>
                      <a:pt x="302302" y="922"/>
                      <a:pt x="297652" y="4142"/>
                      <a:pt x="285488" y="8794"/>
                    </a:cubicBezTo>
                    <a:cubicBezTo>
                      <a:pt x="273325" y="13444"/>
                      <a:pt x="253826" y="20241"/>
                      <a:pt x="241485" y="28112"/>
                    </a:cubicBezTo>
                    <a:cubicBezTo>
                      <a:pt x="229142" y="35983"/>
                      <a:pt x="220377" y="43853"/>
                      <a:pt x="211433" y="56017"/>
                    </a:cubicBezTo>
                    <a:cubicBezTo>
                      <a:pt x="202489" y="68180"/>
                      <a:pt x="193724" y="87320"/>
                      <a:pt x="187821" y="101095"/>
                    </a:cubicBezTo>
                    <a:cubicBezTo>
                      <a:pt x="181919" y="114868"/>
                      <a:pt x="176194" y="121665"/>
                      <a:pt x="176015" y="138658"/>
                    </a:cubicBezTo>
                    <a:cubicBezTo>
                      <a:pt x="175837" y="155652"/>
                      <a:pt x="182813" y="191249"/>
                      <a:pt x="186748" y="203055"/>
                    </a:cubicBezTo>
                    <a:lnTo>
                      <a:pt x="187520" y="204007"/>
                    </a:lnTo>
                    <a:lnTo>
                      <a:pt x="191027" y="223887"/>
                    </a:lnTo>
                    <a:cubicBezTo>
                      <a:pt x="185407" y="222374"/>
                      <a:pt x="182724" y="232570"/>
                      <a:pt x="184333" y="241693"/>
                    </a:cubicBezTo>
                    <a:cubicBezTo>
                      <a:pt x="185943" y="250815"/>
                      <a:pt x="196139" y="265841"/>
                      <a:pt x="198822" y="277111"/>
                    </a:cubicBezTo>
                    <a:cubicBezTo>
                      <a:pt x="201505" y="288380"/>
                      <a:pt x="200298" y="299113"/>
                      <a:pt x="200432" y="309308"/>
                    </a:cubicBezTo>
                    <a:cubicBezTo>
                      <a:pt x="200566" y="319505"/>
                      <a:pt x="198285" y="331579"/>
                      <a:pt x="199627" y="338286"/>
                    </a:cubicBezTo>
                    <a:cubicBezTo>
                      <a:pt x="200969" y="344995"/>
                      <a:pt x="205128" y="346739"/>
                      <a:pt x="208482" y="349556"/>
                    </a:cubicBezTo>
                    <a:cubicBezTo>
                      <a:pt x="211836" y="352373"/>
                      <a:pt x="218275" y="343385"/>
                      <a:pt x="219751" y="355191"/>
                    </a:cubicBezTo>
                    <a:cubicBezTo>
                      <a:pt x="221227" y="366997"/>
                      <a:pt x="229008" y="395036"/>
                      <a:pt x="236655" y="410733"/>
                    </a:cubicBezTo>
                    <a:cubicBezTo>
                      <a:pt x="244301" y="426429"/>
                      <a:pt x="259999" y="439845"/>
                      <a:pt x="265633" y="449370"/>
                    </a:cubicBezTo>
                    <a:cubicBezTo>
                      <a:pt x="271268" y="458895"/>
                      <a:pt x="266438" y="460372"/>
                      <a:pt x="270463" y="467884"/>
                    </a:cubicBezTo>
                    <a:cubicBezTo>
                      <a:pt x="274487" y="475397"/>
                      <a:pt x="281330" y="484118"/>
                      <a:pt x="289781" y="494447"/>
                    </a:cubicBezTo>
                    <a:cubicBezTo>
                      <a:pt x="298233" y="504778"/>
                      <a:pt x="311246" y="524097"/>
                      <a:pt x="321175" y="529866"/>
                    </a:cubicBezTo>
                    <a:cubicBezTo>
                      <a:pt x="331102" y="535634"/>
                      <a:pt x="333383" y="536305"/>
                      <a:pt x="349348" y="529061"/>
                    </a:cubicBezTo>
                    <a:cubicBezTo>
                      <a:pt x="365312" y="521816"/>
                      <a:pt x="399657" y="499680"/>
                      <a:pt x="416963" y="486398"/>
                    </a:cubicBezTo>
                    <a:cubicBezTo>
                      <a:pt x="434270" y="473116"/>
                      <a:pt x="444331" y="459298"/>
                      <a:pt x="453186" y="449370"/>
                    </a:cubicBezTo>
                    <a:cubicBezTo>
                      <a:pt x="462041" y="439443"/>
                      <a:pt x="466601" y="434746"/>
                      <a:pt x="470089" y="426831"/>
                    </a:cubicBezTo>
                    <a:cubicBezTo>
                      <a:pt x="473577" y="418917"/>
                      <a:pt x="471968" y="409526"/>
                      <a:pt x="474115" y="401878"/>
                    </a:cubicBezTo>
                    <a:cubicBezTo>
                      <a:pt x="476261" y="394231"/>
                      <a:pt x="480688" y="390341"/>
                      <a:pt x="482969" y="380949"/>
                    </a:cubicBezTo>
                    <a:cubicBezTo>
                      <a:pt x="485249" y="371558"/>
                      <a:pt x="484847" y="352373"/>
                      <a:pt x="487799" y="345532"/>
                    </a:cubicBezTo>
                    <a:cubicBezTo>
                      <a:pt x="490750" y="338689"/>
                      <a:pt x="496788" y="343787"/>
                      <a:pt x="500678" y="339897"/>
                    </a:cubicBezTo>
                    <a:cubicBezTo>
                      <a:pt x="504569" y="336006"/>
                      <a:pt x="508996" y="331177"/>
                      <a:pt x="511142" y="322188"/>
                    </a:cubicBezTo>
                    <a:cubicBezTo>
                      <a:pt x="513289" y="313199"/>
                      <a:pt x="511947" y="299515"/>
                      <a:pt x="513557" y="285965"/>
                    </a:cubicBezTo>
                    <a:cubicBezTo>
                      <a:pt x="515167" y="272415"/>
                      <a:pt x="520131" y="252425"/>
                      <a:pt x="520801" y="240888"/>
                    </a:cubicBezTo>
                    <a:cubicBezTo>
                      <a:pt x="521473" y="229350"/>
                      <a:pt x="520131" y="222508"/>
                      <a:pt x="517582" y="216739"/>
                    </a:cubicBezTo>
                    <a:lnTo>
                      <a:pt x="505508" y="206274"/>
                    </a:lnTo>
                    <a:cubicBezTo>
                      <a:pt x="501482" y="205872"/>
                      <a:pt x="496788" y="209897"/>
                      <a:pt x="493433" y="214324"/>
                    </a:cubicBezTo>
                    <a:cubicBezTo>
                      <a:pt x="490893" y="217677"/>
                      <a:pt x="489661" y="229032"/>
                      <a:pt x="487525" y="232413"/>
                    </a:cubicBezTo>
                    <a:lnTo>
                      <a:pt x="486770" y="223363"/>
                    </a:lnTo>
                    <a:lnTo>
                      <a:pt x="488165" y="195462"/>
                    </a:lnTo>
                    <a:lnTo>
                      <a:pt x="490482" y="198762"/>
                    </a:lnTo>
                    <a:cubicBezTo>
                      <a:pt x="492986" y="200550"/>
                      <a:pt x="494238" y="195185"/>
                      <a:pt x="496921" y="194469"/>
                    </a:cubicBezTo>
                    <a:cubicBezTo>
                      <a:pt x="499604" y="193754"/>
                      <a:pt x="503002" y="193217"/>
                      <a:pt x="506581" y="194469"/>
                    </a:cubicBezTo>
                    <a:cubicBezTo>
                      <a:pt x="510158" y="195721"/>
                      <a:pt x="516419" y="202876"/>
                      <a:pt x="518386" y="201981"/>
                    </a:cubicBezTo>
                    <a:cubicBezTo>
                      <a:pt x="519370" y="201534"/>
                      <a:pt x="519370" y="200774"/>
                      <a:pt x="519124" y="198896"/>
                    </a:cubicBezTo>
                    <a:lnTo>
                      <a:pt x="518386" y="189102"/>
                    </a:lnTo>
                    <a:cubicBezTo>
                      <a:pt x="518391" y="189053"/>
                      <a:pt x="521603" y="159753"/>
                      <a:pt x="518386" y="142952"/>
                    </a:cubicBezTo>
                    <a:cubicBezTo>
                      <a:pt x="515167" y="126137"/>
                      <a:pt x="506760" y="103778"/>
                      <a:pt x="499068" y="88215"/>
                    </a:cubicBezTo>
                    <a:cubicBezTo>
                      <a:pt x="491376" y="72652"/>
                      <a:pt x="479213" y="57627"/>
                      <a:pt x="472236" y="49577"/>
                    </a:cubicBezTo>
                    <a:cubicBezTo>
                      <a:pt x="465260" y="41528"/>
                      <a:pt x="466154" y="44211"/>
                      <a:pt x="457210" y="39918"/>
                    </a:cubicBezTo>
                    <a:cubicBezTo>
                      <a:pt x="448266" y="35625"/>
                      <a:pt x="435030" y="29722"/>
                      <a:pt x="418572" y="23818"/>
                    </a:cubicBezTo>
                    <a:cubicBezTo>
                      <a:pt x="402117" y="17916"/>
                      <a:pt x="375821" y="8435"/>
                      <a:pt x="358470" y="4500"/>
                    </a:cubicBezTo>
                    <a:cubicBezTo>
                      <a:pt x="341118" y="564"/>
                      <a:pt x="326630" y="-509"/>
                      <a:pt x="314467" y="20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578">
                  <a:defRPr/>
                </a:pPr>
                <a:endParaRPr lang="en-US" sz="1797" kern="0">
                  <a:solidFill>
                    <a:srgbClr val="FFFFFF"/>
                  </a:solidFill>
                  <a:latin typeface="Segoe UI"/>
                </a:endParaRPr>
              </a:p>
            </p:txBody>
          </p:sp>
          <p:sp>
            <p:nvSpPr>
              <p:cNvPr id="408" name="Freeform 231">
                <a:extLst>
                  <a:ext uri="{FF2B5EF4-FFF2-40B4-BE49-F238E27FC236}">
                    <a16:creationId xmlns:a16="http://schemas.microsoft.com/office/drawing/2014/main" id="{EF124C03-7E37-44B0-A85A-40D3944C90BE}"/>
                  </a:ext>
                </a:extLst>
              </p:cNvPr>
              <p:cNvSpPr/>
              <p:nvPr/>
            </p:nvSpPr>
            <p:spPr>
              <a:xfrm>
                <a:off x="5391990" y="2823081"/>
                <a:ext cx="2628060" cy="3263867"/>
              </a:xfrm>
              <a:custGeom>
                <a:avLst/>
                <a:gdLst>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338138 w 3900488"/>
                  <a:gd name="connsiteY63" fmla="*/ 4760516 h 4808141"/>
                  <a:gd name="connsiteX64" fmla="*/ 161925 w 3900488"/>
                  <a:gd name="connsiteY64" fmla="*/ 4436666 h 4808141"/>
                  <a:gd name="connsiteX65" fmla="*/ 57150 w 3900488"/>
                  <a:gd name="connsiteY65" fmla="*/ 4141391 h 4808141"/>
                  <a:gd name="connsiteX66" fmla="*/ 0 w 3900488"/>
                  <a:gd name="connsiteY66" fmla="*/ 3855641 h 4808141"/>
                  <a:gd name="connsiteX67" fmla="*/ 23813 w 3900488"/>
                  <a:gd name="connsiteY67" fmla="*/ 3703241 h 4808141"/>
                  <a:gd name="connsiteX68" fmla="*/ 219075 w 3900488"/>
                  <a:gd name="connsiteY68" fmla="*/ 3584179 h 4808141"/>
                  <a:gd name="connsiteX69" fmla="*/ 533400 w 3900488"/>
                  <a:gd name="connsiteY69" fmla="*/ 3450829 h 4808141"/>
                  <a:gd name="connsiteX70" fmla="*/ 933450 w 3900488"/>
                  <a:gd name="connsiteY70" fmla="*/ 3293666 h 4808141"/>
                  <a:gd name="connsiteX71" fmla="*/ 1133475 w 3900488"/>
                  <a:gd name="connsiteY71" fmla="*/ 3217466 h 4808141"/>
                  <a:gd name="connsiteX72" fmla="*/ 1276350 w 3900488"/>
                  <a:gd name="connsiteY72" fmla="*/ 2950766 h 4808141"/>
                  <a:gd name="connsiteX73" fmla="*/ 1371600 w 3900488"/>
                  <a:gd name="connsiteY73" fmla="*/ 2888854 h 4808141"/>
                  <a:gd name="connsiteX74" fmla="*/ 1443038 w 3900488"/>
                  <a:gd name="connsiteY74" fmla="*/ 2750741 h 4808141"/>
                  <a:gd name="connsiteX75" fmla="*/ 1428750 w 3900488"/>
                  <a:gd name="connsiteY75" fmla="*/ 2665016 h 4808141"/>
                  <a:gd name="connsiteX76" fmla="*/ 1432339 w 3900488"/>
                  <a:gd name="connsiteY76" fmla="*/ 2655556 h 4808141"/>
                  <a:gd name="connsiteX77" fmla="*/ 1411332 w 3900488"/>
                  <a:gd name="connsiteY77" fmla="*/ 2630242 h 4808141"/>
                  <a:gd name="connsiteX78" fmla="*/ 1169833 w 3900488"/>
                  <a:gd name="connsiteY78" fmla="*/ 2059985 h 4808141"/>
                  <a:gd name="connsiteX79" fmla="*/ 975688 w 3900488"/>
                  <a:gd name="connsiteY79" fmla="*/ 1612672 h 4808141"/>
                  <a:gd name="connsiteX80" fmla="*/ 1051451 w 3900488"/>
                  <a:gd name="connsiteY80" fmla="*/ 1487109 h 4808141"/>
                  <a:gd name="connsiteX81" fmla="*/ 1016847 w 3900488"/>
                  <a:gd name="connsiteY81" fmla="*/ 1277790 h 4808141"/>
                  <a:gd name="connsiteX82" fmla="*/ 933449 w 3900488"/>
                  <a:gd name="connsiteY82" fmla="*/ 1341041 h 4808141"/>
                  <a:gd name="connsiteX83" fmla="*/ 882649 w 3900488"/>
                  <a:gd name="connsiteY83" fmla="*/ 1404541 h 4808141"/>
                  <a:gd name="connsiteX84" fmla="*/ 838199 w 3900488"/>
                  <a:gd name="connsiteY84" fmla="*/ 1525191 h 4808141"/>
                  <a:gd name="connsiteX85" fmla="*/ 857249 w 3900488"/>
                  <a:gd name="connsiteY85" fmla="*/ 1645841 h 4808141"/>
                  <a:gd name="connsiteX86" fmla="*/ 888999 w 3900488"/>
                  <a:gd name="connsiteY86" fmla="*/ 1829991 h 4808141"/>
                  <a:gd name="connsiteX87" fmla="*/ 965199 w 3900488"/>
                  <a:gd name="connsiteY87" fmla="*/ 2128441 h 4808141"/>
                  <a:gd name="connsiteX88" fmla="*/ 1047749 w 3900488"/>
                  <a:gd name="connsiteY88" fmla="*/ 2198291 h 4808141"/>
                  <a:gd name="connsiteX89" fmla="*/ 1098549 w 3900488"/>
                  <a:gd name="connsiteY89" fmla="*/ 2331641 h 4808141"/>
                  <a:gd name="connsiteX90" fmla="*/ 1219199 w 3900488"/>
                  <a:gd name="connsiteY90" fmla="*/ 2566591 h 4808141"/>
                  <a:gd name="connsiteX91" fmla="*/ 1269999 w 3900488"/>
                  <a:gd name="connsiteY91" fmla="*/ 2712641 h 4808141"/>
                  <a:gd name="connsiteX92" fmla="*/ 1130299 w 3900488"/>
                  <a:gd name="connsiteY92" fmla="*/ 2750741 h 4808141"/>
                  <a:gd name="connsiteX93" fmla="*/ 927099 w 3900488"/>
                  <a:gd name="connsiteY93" fmla="*/ 2776141 h 4808141"/>
                  <a:gd name="connsiteX94" fmla="*/ 742949 w 3900488"/>
                  <a:gd name="connsiteY94" fmla="*/ 2731691 h 4808141"/>
                  <a:gd name="connsiteX95" fmla="*/ 660399 w 3900488"/>
                  <a:gd name="connsiteY95" fmla="*/ 2591991 h 4808141"/>
                  <a:gd name="connsiteX96" fmla="*/ 622299 w 3900488"/>
                  <a:gd name="connsiteY96" fmla="*/ 2344341 h 4808141"/>
                  <a:gd name="connsiteX97" fmla="*/ 634999 w 3900488"/>
                  <a:gd name="connsiteY97" fmla="*/ 2020491 h 4808141"/>
                  <a:gd name="connsiteX98" fmla="*/ 736599 w 3900488"/>
                  <a:gd name="connsiteY98" fmla="*/ 1328341 h 4808141"/>
                  <a:gd name="connsiteX99" fmla="*/ 971549 w 3900488"/>
                  <a:gd name="connsiteY99" fmla="*/ 623491 h 4808141"/>
                  <a:gd name="connsiteX100" fmla="*/ 1168399 w 3900488"/>
                  <a:gd name="connsiteY100" fmla="*/ 299641 h 4808141"/>
                  <a:gd name="connsiteX101" fmla="*/ 1358899 w 3900488"/>
                  <a:gd name="connsiteY101" fmla="*/ 140891 h 4808141"/>
                  <a:gd name="connsiteX102" fmla="*/ 1530349 w 3900488"/>
                  <a:gd name="connsiteY102" fmla="*/ 115491 h 4808141"/>
                  <a:gd name="connsiteX103" fmla="*/ 1676399 w 3900488"/>
                  <a:gd name="connsiteY103" fmla="*/ 13891 h 4808141"/>
                  <a:gd name="connsiteX104" fmla="*/ 1813321 w 3900488"/>
                  <a:gd name="connsiteY104" fmla="*/ 0 h 4808141"/>
                  <a:gd name="connsiteX0" fmla="*/ 3060949 w 3900488"/>
                  <a:gd name="connsiteY0" fmla="*/ 1005769 h 4760516"/>
                  <a:gd name="connsiteX1" fmla="*/ 3081338 w 3900488"/>
                  <a:gd name="connsiteY1" fmla="*/ 1026716 h 4760516"/>
                  <a:gd name="connsiteX2" fmla="*/ 3167063 w 3900488"/>
                  <a:gd name="connsiteY2" fmla="*/ 1369616 h 4760516"/>
                  <a:gd name="connsiteX3" fmla="*/ 3252788 w 3900488"/>
                  <a:gd name="connsiteY3" fmla="*/ 1822054 h 4760516"/>
                  <a:gd name="connsiteX4" fmla="*/ 3281363 w 3900488"/>
                  <a:gd name="connsiteY4" fmla="*/ 2255441 h 4760516"/>
                  <a:gd name="connsiteX5" fmla="*/ 3271838 w 3900488"/>
                  <a:gd name="connsiteY5" fmla="*/ 2526904 h 4760516"/>
                  <a:gd name="connsiteX6" fmla="*/ 3190875 w 3900488"/>
                  <a:gd name="connsiteY6" fmla="*/ 2722166 h 4760516"/>
                  <a:gd name="connsiteX7" fmla="*/ 3043238 w 3900488"/>
                  <a:gd name="connsiteY7" fmla="*/ 2750741 h 4760516"/>
                  <a:gd name="connsiteX8" fmla="*/ 2809875 w 3900488"/>
                  <a:gd name="connsiteY8" fmla="*/ 2731691 h 4760516"/>
                  <a:gd name="connsiteX9" fmla="*/ 2633663 w 3900488"/>
                  <a:gd name="connsiteY9" fmla="*/ 2669779 h 4760516"/>
                  <a:gd name="connsiteX10" fmla="*/ 2657475 w 3900488"/>
                  <a:gd name="connsiteY10" fmla="*/ 2603104 h 4760516"/>
                  <a:gd name="connsiteX11" fmla="*/ 2752725 w 3900488"/>
                  <a:gd name="connsiteY11" fmla="*/ 2474516 h 4760516"/>
                  <a:gd name="connsiteX12" fmla="*/ 2843213 w 3900488"/>
                  <a:gd name="connsiteY12" fmla="*/ 2255441 h 4760516"/>
                  <a:gd name="connsiteX13" fmla="*/ 2862263 w 3900488"/>
                  <a:gd name="connsiteY13" fmla="*/ 2160191 h 4760516"/>
                  <a:gd name="connsiteX14" fmla="*/ 2919413 w 3900488"/>
                  <a:gd name="connsiteY14" fmla="*/ 2098279 h 4760516"/>
                  <a:gd name="connsiteX15" fmla="*/ 3000375 w 3900488"/>
                  <a:gd name="connsiteY15" fmla="*/ 1855391 h 4760516"/>
                  <a:gd name="connsiteX16" fmla="*/ 3057525 w 3900488"/>
                  <a:gd name="connsiteY16" fmla="*/ 1598216 h 4760516"/>
                  <a:gd name="connsiteX17" fmla="*/ 3062288 w 3900488"/>
                  <a:gd name="connsiteY17" fmla="*/ 1483916 h 4760516"/>
                  <a:gd name="connsiteX18" fmla="*/ 3009900 w 3900488"/>
                  <a:gd name="connsiteY18" fmla="*/ 1379141 h 4760516"/>
                  <a:gd name="connsiteX19" fmla="*/ 2957513 w 3900488"/>
                  <a:gd name="connsiteY19" fmla="*/ 1331516 h 4760516"/>
                  <a:gd name="connsiteX20" fmla="*/ 2947988 w 3900488"/>
                  <a:gd name="connsiteY20" fmla="*/ 1236266 h 4760516"/>
                  <a:gd name="connsiteX21" fmla="*/ 2957513 w 3900488"/>
                  <a:gd name="connsiteY21" fmla="*/ 1121966 h 4760516"/>
                  <a:gd name="connsiteX22" fmla="*/ 3005138 w 3900488"/>
                  <a:gd name="connsiteY22" fmla="*/ 1050529 h 4760516"/>
                  <a:gd name="connsiteX23" fmla="*/ 3060949 w 3900488"/>
                  <a:gd name="connsiteY23" fmla="*/ 1005769 h 4760516"/>
                  <a:gd name="connsiteX24" fmla="*/ 1813321 w 3900488"/>
                  <a:gd name="connsiteY24" fmla="*/ 0 h 4760516"/>
                  <a:gd name="connsiteX25" fmla="*/ 1955799 w 3900488"/>
                  <a:gd name="connsiteY25" fmla="*/ 1191 h 4760516"/>
                  <a:gd name="connsiteX26" fmla="*/ 2152649 w 3900488"/>
                  <a:gd name="connsiteY26" fmla="*/ 20241 h 4760516"/>
                  <a:gd name="connsiteX27" fmla="*/ 2381249 w 3900488"/>
                  <a:gd name="connsiteY27" fmla="*/ 121841 h 4760516"/>
                  <a:gd name="connsiteX28" fmla="*/ 2641599 w 3900488"/>
                  <a:gd name="connsiteY28" fmla="*/ 331391 h 4760516"/>
                  <a:gd name="connsiteX29" fmla="*/ 2946399 w 3900488"/>
                  <a:gd name="connsiteY29" fmla="*/ 693341 h 4760516"/>
                  <a:gd name="connsiteX30" fmla="*/ 3060699 w 3900488"/>
                  <a:gd name="connsiteY30" fmla="*/ 883841 h 4760516"/>
                  <a:gd name="connsiteX31" fmla="*/ 3009899 w 3900488"/>
                  <a:gd name="connsiteY31" fmla="*/ 1004491 h 4760516"/>
                  <a:gd name="connsiteX32" fmla="*/ 2901949 w 3900488"/>
                  <a:gd name="connsiteY32" fmla="*/ 1061641 h 4760516"/>
                  <a:gd name="connsiteX33" fmla="*/ 2825749 w 3900488"/>
                  <a:gd name="connsiteY33" fmla="*/ 998141 h 4760516"/>
                  <a:gd name="connsiteX34" fmla="*/ 2654299 w 3900488"/>
                  <a:gd name="connsiteY34" fmla="*/ 820341 h 4760516"/>
                  <a:gd name="connsiteX35" fmla="*/ 2349499 w 3900488"/>
                  <a:gd name="connsiteY35" fmla="*/ 674291 h 4760516"/>
                  <a:gd name="connsiteX36" fmla="*/ 2019299 w 3900488"/>
                  <a:gd name="connsiteY36" fmla="*/ 674291 h 4760516"/>
                  <a:gd name="connsiteX37" fmla="*/ 2343149 w 3900488"/>
                  <a:gd name="connsiteY37" fmla="*/ 769541 h 4760516"/>
                  <a:gd name="connsiteX38" fmla="*/ 2552699 w 3900488"/>
                  <a:gd name="connsiteY38" fmla="*/ 909241 h 4760516"/>
                  <a:gd name="connsiteX39" fmla="*/ 2629040 w 3900488"/>
                  <a:gd name="connsiteY39" fmla="*/ 973620 h 4760516"/>
                  <a:gd name="connsiteX40" fmla="*/ 2900212 w 3900488"/>
                  <a:gd name="connsiteY40" fmla="*/ 1067700 h 4760516"/>
                  <a:gd name="connsiteX41" fmla="*/ 2829545 w 3900488"/>
                  <a:gd name="connsiteY41" fmla="*/ 1212445 h 4760516"/>
                  <a:gd name="connsiteX42" fmla="*/ 2829545 w 3900488"/>
                  <a:gd name="connsiteY42" fmla="*/ 1445256 h 4760516"/>
                  <a:gd name="connsiteX43" fmla="*/ 2938456 w 3900488"/>
                  <a:gd name="connsiteY43" fmla="*/ 1531580 h 4760516"/>
                  <a:gd name="connsiteX44" fmla="*/ 2822442 w 3900488"/>
                  <a:gd name="connsiteY44" fmla="*/ 2041674 h 4760516"/>
                  <a:gd name="connsiteX45" fmla="*/ 2756148 w 3900488"/>
                  <a:gd name="connsiteY45" fmla="*/ 2086142 h 4760516"/>
                  <a:gd name="connsiteX46" fmla="*/ 2479547 w 3900488"/>
                  <a:gd name="connsiteY46" fmla="*/ 2698176 h 4760516"/>
                  <a:gd name="connsiteX47" fmla="*/ 2528888 w 3900488"/>
                  <a:gd name="connsiteY47" fmla="*/ 2817416 h 4760516"/>
                  <a:gd name="connsiteX48" fmla="*/ 2590800 w 3900488"/>
                  <a:gd name="connsiteY48" fmla="*/ 2874566 h 4760516"/>
                  <a:gd name="connsiteX49" fmla="*/ 2657475 w 3900488"/>
                  <a:gd name="connsiteY49" fmla="*/ 2884091 h 4760516"/>
                  <a:gd name="connsiteX50" fmla="*/ 2681288 w 3900488"/>
                  <a:gd name="connsiteY50" fmla="*/ 2912666 h 4760516"/>
                  <a:gd name="connsiteX51" fmla="*/ 2747963 w 3900488"/>
                  <a:gd name="connsiteY51" fmla="*/ 3079354 h 4760516"/>
                  <a:gd name="connsiteX52" fmla="*/ 2843213 w 3900488"/>
                  <a:gd name="connsiteY52" fmla="*/ 3174604 h 4760516"/>
                  <a:gd name="connsiteX53" fmla="*/ 2938463 w 3900488"/>
                  <a:gd name="connsiteY53" fmla="*/ 3207941 h 4760516"/>
                  <a:gd name="connsiteX54" fmla="*/ 3281363 w 3900488"/>
                  <a:gd name="connsiteY54" fmla="*/ 3317479 h 4760516"/>
                  <a:gd name="connsiteX55" fmla="*/ 3657600 w 3900488"/>
                  <a:gd name="connsiteY55" fmla="*/ 3493691 h 4760516"/>
                  <a:gd name="connsiteX56" fmla="*/ 3867150 w 3900488"/>
                  <a:gd name="connsiteY56" fmla="*/ 3641329 h 4760516"/>
                  <a:gd name="connsiteX57" fmla="*/ 3900488 w 3900488"/>
                  <a:gd name="connsiteY57" fmla="*/ 3769916 h 4760516"/>
                  <a:gd name="connsiteX58" fmla="*/ 3876675 w 3900488"/>
                  <a:gd name="connsiteY58" fmla="*/ 4027091 h 4760516"/>
                  <a:gd name="connsiteX59" fmla="*/ 3790950 w 3900488"/>
                  <a:gd name="connsiteY59" fmla="*/ 4236641 h 4760516"/>
                  <a:gd name="connsiteX60" fmla="*/ 3619500 w 3900488"/>
                  <a:gd name="connsiteY60" fmla="*/ 4598591 h 4760516"/>
                  <a:gd name="connsiteX61" fmla="*/ 3471863 w 3900488"/>
                  <a:gd name="connsiteY61" fmla="*/ 4760516 h 4760516"/>
                  <a:gd name="connsiteX62" fmla="*/ 338138 w 3900488"/>
                  <a:gd name="connsiteY62" fmla="*/ 4760516 h 4760516"/>
                  <a:gd name="connsiteX63" fmla="*/ 161925 w 3900488"/>
                  <a:gd name="connsiteY63" fmla="*/ 4436666 h 4760516"/>
                  <a:gd name="connsiteX64" fmla="*/ 57150 w 3900488"/>
                  <a:gd name="connsiteY64" fmla="*/ 4141391 h 4760516"/>
                  <a:gd name="connsiteX65" fmla="*/ 0 w 3900488"/>
                  <a:gd name="connsiteY65" fmla="*/ 3855641 h 4760516"/>
                  <a:gd name="connsiteX66" fmla="*/ 23813 w 3900488"/>
                  <a:gd name="connsiteY66" fmla="*/ 3703241 h 4760516"/>
                  <a:gd name="connsiteX67" fmla="*/ 219075 w 3900488"/>
                  <a:gd name="connsiteY67" fmla="*/ 3584179 h 4760516"/>
                  <a:gd name="connsiteX68" fmla="*/ 533400 w 3900488"/>
                  <a:gd name="connsiteY68" fmla="*/ 3450829 h 4760516"/>
                  <a:gd name="connsiteX69" fmla="*/ 933450 w 3900488"/>
                  <a:gd name="connsiteY69" fmla="*/ 3293666 h 4760516"/>
                  <a:gd name="connsiteX70" fmla="*/ 1133475 w 3900488"/>
                  <a:gd name="connsiteY70" fmla="*/ 3217466 h 4760516"/>
                  <a:gd name="connsiteX71" fmla="*/ 1276350 w 3900488"/>
                  <a:gd name="connsiteY71" fmla="*/ 2950766 h 4760516"/>
                  <a:gd name="connsiteX72" fmla="*/ 1371600 w 3900488"/>
                  <a:gd name="connsiteY72" fmla="*/ 2888854 h 4760516"/>
                  <a:gd name="connsiteX73" fmla="*/ 1443038 w 3900488"/>
                  <a:gd name="connsiteY73" fmla="*/ 2750741 h 4760516"/>
                  <a:gd name="connsiteX74" fmla="*/ 1428750 w 3900488"/>
                  <a:gd name="connsiteY74" fmla="*/ 2665016 h 4760516"/>
                  <a:gd name="connsiteX75" fmla="*/ 1432339 w 3900488"/>
                  <a:gd name="connsiteY75" fmla="*/ 2655556 h 4760516"/>
                  <a:gd name="connsiteX76" fmla="*/ 1411332 w 3900488"/>
                  <a:gd name="connsiteY76" fmla="*/ 2630242 h 4760516"/>
                  <a:gd name="connsiteX77" fmla="*/ 1169833 w 3900488"/>
                  <a:gd name="connsiteY77" fmla="*/ 2059985 h 4760516"/>
                  <a:gd name="connsiteX78" fmla="*/ 975688 w 3900488"/>
                  <a:gd name="connsiteY78" fmla="*/ 1612672 h 4760516"/>
                  <a:gd name="connsiteX79" fmla="*/ 1051451 w 3900488"/>
                  <a:gd name="connsiteY79" fmla="*/ 1487109 h 4760516"/>
                  <a:gd name="connsiteX80" fmla="*/ 1016847 w 3900488"/>
                  <a:gd name="connsiteY80" fmla="*/ 1277790 h 4760516"/>
                  <a:gd name="connsiteX81" fmla="*/ 933449 w 3900488"/>
                  <a:gd name="connsiteY81" fmla="*/ 1341041 h 4760516"/>
                  <a:gd name="connsiteX82" fmla="*/ 882649 w 3900488"/>
                  <a:gd name="connsiteY82" fmla="*/ 1404541 h 4760516"/>
                  <a:gd name="connsiteX83" fmla="*/ 838199 w 3900488"/>
                  <a:gd name="connsiteY83" fmla="*/ 1525191 h 4760516"/>
                  <a:gd name="connsiteX84" fmla="*/ 857249 w 3900488"/>
                  <a:gd name="connsiteY84" fmla="*/ 1645841 h 4760516"/>
                  <a:gd name="connsiteX85" fmla="*/ 888999 w 3900488"/>
                  <a:gd name="connsiteY85" fmla="*/ 1829991 h 4760516"/>
                  <a:gd name="connsiteX86" fmla="*/ 965199 w 3900488"/>
                  <a:gd name="connsiteY86" fmla="*/ 2128441 h 4760516"/>
                  <a:gd name="connsiteX87" fmla="*/ 1047749 w 3900488"/>
                  <a:gd name="connsiteY87" fmla="*/ 2198291 h 4760516"/>
                  <a:gd name="connsiteX88" fmla="*/ 1098549 w 3900488"/>
                  <a:gd name="connsiteY88" fmla="*/ 2331641 h 4760516"/>
                  <a:gd name="connsiteX89" fmla="*/ 1219199 w 3900488"/>
                  <a:gd name="connsiteY89" fmla="*/ 2566591 h 4760516"/>
                  <a:gd name="connsiteX90" fmla="*/ 1269999 w 3900488"/>
                  <a:gd name="connsiteY90" fmla="*/ 2712641 h 4760516"/>
                  <a:gd name="connsiteX91" fmla="*/ 1130299 w 3900488"/>
                  <a:gd name="connsiteY91" fmla="*/ 2750741 h 4760516"/>
                  <a:gd name="connsiteX92" fmla="*/ 927099 w 3900488"/>
                  <a:gd name="connsiteY92" fmla="*/ 2776141 h 4760516"/>
                  <a:gd name="connsiteX93" fmla="*/ 742949 w 3900488"/>
                  <a:gd name="connsiteY93" fmla="*/ 2731691 h 4760516"/>
                  <a:gd name="connsiteX94" fmla="*/ 660399 w 3900488"/>
                  <a:gd name="connsiteY94" fmla="*/ 2591991 h 4760516"/>
                  <a:gd name="connsiteX95" fmla="*/ 622299 w 3900488"/>
                  <a:gd name="connsiteY95" fmla="*/ 2344341 h 4760516"/>
                  <a:gd name="connsiteX96" fmla="*/ 634999 w 3900488"/>
                  <a:gd name="connsiteY96" fmla="*/ 2020491 h 4760516"/>
                  <a:gd name="connsiteX97" fmla="*/ 736599 w 3900488"/>
                  <a:gd name="connsiteY97" fmla="*/ 1328341 h 4760516"/>
                  <a:gd name="connsiteX98" fmla="*/ 971549 w 3900488"/>
                  <a:gd name="connsiteY98" fmla="*/ 623491 h 4760516"/>
                  <a:gd name="connsiteX99" fmla="*/ 1168399 w 3900488"/>
                  <a:gd name="connsiteY99" fmla="*/ 299641 h 4760516"/>
                  <a:gd name="connsiteX100" fmla="*/ 1358899 w 3900488"/>
                  <a:gd name="connsiteY100" fmla="*/ 140891 h 4760516"/>
                  <a:gd name="connsiteX101" fmla="*/ 1530349 w 3900488"/>
                  <a:gd name="connsiteY101" fmla="*/ 115491 h 4760516"/>
                  <a:gd name="connsiteX102" fmla="*/ 1676399 w 3900488"/>
                  <a:gd name="connsiteY102" fmla="*/ 13891 h 4760516"/>
                  <a:gd name="connsiteX103" fmla="*/ 1813321 w 3900488"/>
                  <a:gd name="connsiteY103" fmla="*/ 0 h 4760516"/>
                  <a:gd name="connsiteX0" fmla="*/ 3061653 w 3901192"/>
                  <a:gd name="connsiteY0" fmla="*/ 1005769 h 4760516"/>
                  <a:gd name="connsiteX1" fmla="*/ 3082042 w 3901192"/>
                  <a:gd name="connsiteY1" fmla="*/ 1026716 h 4760516"/>
                  <a:gd name="connsiteX2" fmla="*/ 3167767 w 3901192"/>
                  <a:gd name="connsiteY2" fmla="*/ 1369616 h 4760516"/>
                  <a:gd name="connsiteX3" fmla="*/ 3253492 w 3901192"/>
                  <a:gd name="connsiteY3" fmla="*/ 1822054 h 4760516"/>
                  <a:gd name="connsiteX4" fmla="*/ 3282067 w 3901192"/>
                  <a:gd name="connsiteY4" fmla="*/ 2255441 h 4760516"/>
                  <a:gd name="connsiteX5" fmla="*/ 3272542 w 3901192"/>
                  <a:gd name="connsiteY5" fmla="*/ 2526904 h 4760516"/>
                  <a:gd name="connsiteX6" fmla="*/ 3191579 w 3901192"/>
                  <a:gd name="connsiteY6" fmla="*/ 2722166 h 4760516"/>
                  <a:gd name="connsiteX7" fmla="*/ 3043942 w 3901192"/>
                  <a:gd name="connsiteY7" fmla="*/ 2750741 h 4760516"/>
                  <a:gd name="connsiteX8" fmla="*/ 2810579 w 3901192"/>
                  <a:gd name="connsiteY8" fmla="*/ 2731691 h 4760516"/>
                  <a:gd name="connsiteX9" fmla="*/ 2634367 w 3901192"/>
                  <a:gd name="connsiteY9" fmla="*/ 2669779 h 4760516"/>
                  <a:gd name="connsiteX10" fmla="*/ 2658179 w 3901192"/>
                  <a:gd name="connsiteY10" fmla="*/ 2603104 h 4760516"/>
                  <a:gd name="connsiteX11" fmla="*/ 2753429 w 3901192"/>
                  <a:gd name="connsiteY11" fmla="*/ 2474516 h 4760516"/>
                  <a:gd name="connsiteX12" fmla="*/ 2843917 w 3901192"/>
                  <a:gd name="connsiteY12" fmla="*/ 2255441 h 4760516"/>
                  <a:gd name="connsiteX13" fmla="*/ 2862967 w 3901192"/>
                  <a:gd name="connsiteY13" fmla="*/ 2160191 h 4760516"/>
                  <a:gd name="connsiteX14" fmla="*/ 2920117 w 3901192"/>
                  <a:gd name="connsiteY14" fmla="*/ 2098279 h 4760516"/>
                  <a:gd name="connsiteX15" fmla="*/ 3001079 w 3901192"/>
                  <a:gd name="connsiteY15" fmla="*/ 1855391 h 4760516"/>
                  <a:gd name="connsiteX16" fmla="*/ 3058229 w 3901192"/>
                  <a:gd name="connsiteY16" fmla="*/ 1598216 h 4760516"/>
                  <a:gd name="connsiteX17" fmla="*/ 3062992 w 3901192"/>
                  <a:gd name="connsiteY17" fmla="*/ 1483916 h 4760516"/>
                  <a:gd name="connsiteX18" fmla="*/ 3010604 w 3901192"/>
                  <a:gd name="connsiteY18" fmla="*/ 1379141 h 4760516"/>
                  <a:gd name="connsiteX19" fmla="*/ 2958217 w 3901192"/>
                  <a:gd name="connsiteY19" fmla="*/ 1331516 h 4760516"/>
                  <a:gd name="connsiteX20" fmla="*/ 2948692 w 3901192"/>
                  <a:gd name="connsiteY20" fmla="*/ 1236266 h 4760516"/>
                  <a:gd name="connsiteX21" fmla="*/ 2958217 w 3901192"/>
                  <a:gd name="connsiteY21" fmla="*/ 1121966 h 4760516"/>
                  <a:gd name="connsiteX22" fmla="*/ 3005842 w 3901192"/>
                  <a:gd name="connsiteY22" fmla="*/ 1050529 h 4760516"/>
                  <a:gd name="connsiteX23" fmla="*/ 3061653 w 3901192"/>
                  <a:gd name="connsiteY23" fmla="*/ 1005769 h 4760516"/>
                  <a:gd name="connsiteX24" fmla="*/ 1814025 w 3901192"/>
                  <a:gd name="connsiteY24" fmla="*/ 0 h 4760516"/>
                  <a:gd name="connsiteX25" fmla="*/ 1956503 w 3901192"/>
                  <a:gd name="connsiteY25" fmla="*/ 1191 h 4760516"/>
                  <a:gd name="connsiteX26" fmla="*/ 2153353 w 3901192"/>
                  <a:gd name="connsiteY26" fmla="*/ 20241 h 4760516"/>
                  <a:gd name="connsiteX27" fmla="*/ 2381953 w 3901192"/>
                  <a:gd name="connsiteY27" fmla="*/ 121841 h 4760516"/>
                  <a:gd name="connsiteX28" fmla="*/ 2642303 w 3901192"/>
                  <a:gd name="connsiteY28" fmla="*/ 331391 h 4760516"/>
                  <a:gd name="connsiteX29" fmla="*/ 2947103 w 3901192"/>
                  <a:gd name="connsiteY29" fmla="*/ 693341 h 4760516"/>
                  <a:gd name="connsiteX30" fmla="*/ 3061403 w 3901192"/>
                  <a:gd name="connsiteY30" fmla="*/ 883841 h 4760516"/>
                  <a:gd name="connsiteX31" fmla="*/ 3010603 w 3901192"/>
                  <a:gd name="connsiteY31" fmla="*/ 1004491 h 4760516"/>
                  <a:gd name="connsiteX32" fmla="*/ 2902653 w 3901192"/>
                  <a:gd name="connsiteY32" fmla="*/ 1061641 h 4760516"/>
                  <a:gd name="connsiteX33" fmla="*/ 2826453 w 3901192"/>
                  <a:gd name="connsiteY33" fmla="*/ 998141 h 4760516"/>
                  <a:gd name="connsiteX34" fmla="*/ 2655003 w 3901192"/>
                  <a:gd name="connsiteY34" fmla="*/ 820341 h 4760516"/>
                  <a:gd name="connsiteX35" fmla="*/ 2350203 w 3901192"/>
                  <a:gd name="connsiteY35" fmla="*/ 674291 h 4760516"/>
                  <a:gd name="connsiteX36" fmla="*/ 2020003 w 3901192"/>
                  <a:gd name="connsiteY36" fmla="*/ 674291 h 4760516"/>
                  <a:gd name="connsiteX37" fmla="*/ 2343853 w 3901192"/>
                  <a:gd name="connsiteY37" fmla="*/ 769541 h 4760516"/>
                  <a:gd name="connsiteX38" fmla="*/ 2553403 w 3901192"/>
                  <a:gd name="connsiteY38" fmla="*/ 909241 h 4760516"/>
                  <a:gd name="connsiteX39" fmla="*/ 2629744 w 3901192"/>
                  <a:gd name="connsiteY39" fmla="*/ 973620 h 4760516"/>
                  <a:gd name="connsiteX40" fmla="*/ 2900916 w 3901192"/>
                  <a:gd name="connsiteY40" fmla="*/ 1067700 h 4760516"/>
                  <a:gd name="connsiteX41" fmla="*/ 2830249 w 3901192"/>
                  <a:gd name="connsiteY41" fmla="*/ 1212445 h 4760516"/>
                  <a:gd name="connsiteX42" fmla="*/ 2830249 w 3901192"/>
                  <a:gd name="connsiteY42" fmla="*/ 1445256 h 4760516"/>
                  <a:gd name="connsiteX43" fmla="*/ 2939160 w 3901192"/>
                  <a:gd name="connsiteY43" fmla="*/ 1531580 h 4760516"/>
                  <a:gd name="connsiteX44" fmla="*/ 2823146 w 3901192"/>
                  <a:gd name="connsiteY44" fmla="*/ 2041674 h 4760516"/>
                  <a:gd name="connsiteX45" fmla="*/ 2756852 w 3901192"/>
                  <a:gd name="connsiteY45" fmla="*/ 2086142 h 4760516"/>
                  <a:gd name="connsiteX46" fmla="*/ 2480251 w 3901192"/>
                  <a:gd name="connsiteY46" fmla="*/ 2698176 h 4760516"/>
                  <a:gd name="connsiteX47" fmla="*/ 2529592 w 3901192"/>
                  <a:gd name="connsiteY47" fmla="*/ 2817416 h 4760516"/>
                  <a:gd name="connsiteX48" fmla="*/ 2591504 w 3901192"/>
                  <a:gd name="connsiteY48" fmla="*/ 2874566 h 4760516"/>
                  <a:gd name="connsiteX49" fmla="*/ 2658179 w 3901192"/>
                  <a:gd name="connsiteY49" fmla="*/ 2884091 h 4760516"/>
                  <a:gd name="connsiteX50" fmla="*/ 2681992 w 3901192"/>
                  <a:gd name="connsiteY50" fmla="*/ 2912666 h 4760516"/>
                  <a:gd name="connsiteX51" fmla="*/ 2748667 w 3901192"/>
                  <a:gd name="connsiteY51" fmla="*/ 3079354 h 4760516"/>
                  <a:gd name="connsiteX52" fmla="*/ 2843917 w 3901192"/>
                  <a:gd name="connsiteY52" fmla="*/ 3174604 h 4760516"/>
                  <a:gd name="connsiteX53" fmla="*/ 2939167 w 3901192"/>
                  <a:gd name="connsiteY53" fmla="*/ 3207941 h 4760516"/>
                  <a:gd name="connsiteX54" fmla="*/ 3282067 w 3901192"/>
                  <a:gd name="connsiteY54" fmla="*/ 3317479 h 4760516"/>
                  <a:gd name="connsiteX55" fmla="*/ 3658304 w 3901192"/>
                  <a:gd name="connsiteY55" fmla="*/ 3493691 h 4760516"/>
                  <a:gd name="connsiteX56" fmla="*/ 3867854 w 3901192"/>
                  <a:gd name="connsiteY56" fmla="*/ 3641329 h 4760516"/>
                  <a:gd name="connsiteX57" fmla="*/ 3901192 w 3901192"/>
                  <a:gd name="connsiteY57" fmla="*/ 3769916 h 4760516"/>
                  <a:gd name="connsiteX58" fmla="*/ 3877379 w 3901192"/>
                  <a:gd name="connsiteY58" fmla="*/ 4027091 h 4760516"/>
                  <a:gd name="connsiteX59" fmla="*/ 3791654 w 3901192"/>
                  <a:gd name="connsiteY59" fmla="*/ 4236641 h 4760516"/>
                  <a:gd name="connsiteX60" fmla="*/ 3620204 w 3901192"/>
                  <a:gd name="connsiteY60" fmla="*/ 4598591 h 4760516"/>
                  <a:gd name="connsiteX61" fmla="*/ 3472567 w 3901192"/>
                  <a:gd name="connsiteY61" fmla="*/ 4760516 h 4760516"/>
                  <a:gd name="connsiteX62" fmla="*/ 338842 w 3901192"/>
                  <a:gd name="connsiteY62" fmla="*/ 4760516 h 4760516"/>
                  <a:gd name="connsiteX63" fmla="*/ 162629 w 3901192"/>
                  <a:gd name="connsiteY63" fmla="*/ 4436666 h 4760516"/>
                  <a:gd name="connsiteX64" fmla="*/ 57854 w 3901192"/>
                  <a:gd name="connsiteY64" fmla="*/ 4141391 h 4760516"/>
                  <a:gd name="connsiteX65" fmla="*/ 704 w 3901192"/>
                  <a:gd name="connsiteY65" fmla="*/ 3855641 h 4760516"/>
                  <a:gd name="connsiteX66" fmla="*/ 24517 w 3901192"/>
                  <a:gd name="connsiteY66" fmla="*/ 3703241 h 4760516"/>
                  <a:gd name="connsiteX67" fmla="*/ 219779 w 3901192"/>
                  <a:gd name="connsiteY67" fmla="*/ 3584179 h 4760516"/>
                  <a:gd name="connsiteX68" fmla="*/ 534104 w 3901192"/>
                  <a:gd name="connsiteY68" fmla="*/ 3450829 h 4760516"/>
                  <a:gd name="connsiteX69" fmla="*/ 934154 w 3901192"/>
                  <a:gd name="connsiteY69" fmla="*/ 3293666 h 4760516"/>
                  <a:gd name="connsiteX70" fmla="*/ 1134179 w 3901192"/>
                  <a:gd name="connsiteY70" fmla="*/ 3217466 h 4760516"/>
                  <a:gd name="connsiteX71" fmla="*/ 1277054 w 3901192"/>
                  <a:gd name="connsiteY71" fmla="*/ 2950766 h 4760516"/>
                  <a:gd name="connsiteX72" fmla="*/ 1372304 w 3901192"/>
                  <a:gd name="connsiteY72" fmla="*/ 2888854 h 4760516"/>
                  <a:gd name="connsiteX73" fmla="*/ 1443742 w 3901192"/>
                  <a:gd name="connsiteY73" fmla="*/ 2750741 h 4760516"/>
                  <a:gd name="connsiteX74" fmla="*/ 1429454 w 3901192"/>
                  <a:gd name="connsiteY74" fmla="*/ 2665016 h 4760516"/>
                  <a:gd name="connsiteX75" fmla="*/ 1433043 w 3901192"/>
                  <a:gd name="connsiteY75" fmla="*/ 2655556 h 4760516"/>
                  <a:gd name="connsiteX76" fmla="*/ 1412036 w 3901192"/>
                  <a:gd name="connsiteY76" fmla="*/ 2630242 h 4760516"/>
                  <a:gd name="connsiteX77" fmla="*/ 1170537 w 3901192"/>
                  <a:gd name="connsiteY77" fmla="*/ 2059985 h 4760516"/>
                  <a:gd name="connsiteX78" fmla="*/ 976392 w 3901192"/>
                  <a:gd name="connsiteY78" fmla="*/ 1612672 h 4760516"/>
                  <a:gd name="connsiteX79" fmla="*/ 1052155 w 3901192"/>
                  <a:gd name="connsiteY79" fmla="*/ 1487109 h 4760516"/>
                  <a:gd name="connsiteX80" fmla="*/ 1017551 w 3901192"/>
                  <a:gd name="connsiteY80" fmla="*/ 1277790 h 4760516"/>
                  <a:gd name="connsiteX81" fmla="*/ 934153 w 3901192"/>
                  <a:gd name="connsiteY81" fmla="*/ 1341041 h 4760516"/>
                  <a:gd name="connsiteX82" fmla="*/ 883353 w 3901192"/>
                  <a:gd name="connsiteY82" fmla="*/ 1404541 h 4760516"/>
                  <a:gd name="connsiteX83" fmla="*/ 838903 w 3901192"/>
                  <a:gd name="connsiteY83" fmla="*/ 1525191 h 4760516"/>
                  <a:gd name="connsiteX84" fmla="*/ 857953 w 3901192"/>
                  <a:gd name="connsiteY84" fmla="*/ 1645841 h 4760516"/>
                  <a:gd name="connsiteX85" fmla="*/ 889703 w 3901192"/>
                  <a:gd name="connsiteY85" fmla="*/ 1829991 h 4760516"/>
                  <a:gd name="connsiteX86" fmla="*/ 965903 w 3901192"/>
                  <a:gd name="connsiteY86" fmla="*/ 2128441 h 4760516"/>
                  <a:gd name="connsiteX87" fmla="*/ 1048453 w 3901192"/>
                  <a:gd name="connsiteY87" fmla="*/ 2198291 h 4760516"/>
                  <a:gd name="connsiteX88" fmla="*/ 1099253 w 3901192"/>
                  <a:gd name="connsiteY88" fmla="*/ 2331641 h 4760516"/>
                  <a:gd name="connsiteX89" fmla="*/ 1219903 w 3901192"/>
                  <a:gd name="connsiteY89" fmla="*/ 2566591 h 4760516"/>
                  <a:gd name="connsiteX90" fmla="*/ 1270703 w 3901192"/>
                  <a:gd name="connsiteY90" fmla="*/ 2712641 h 4760516"/>
                  <a:gd name="connsiteX91" fmla="*/ 1131003 w 3901192"/>
                  <a:gd name="connsiteY91" fmla="*/ 2750741 h 4760516"/>
                  <a:gd name="connsiteX92" fmla="*/ 927803 w 3901192"/>
                  <a:gd name="connsiteY92" fmla="*/ 2776141 h 4760516"/>
                  <a:gd name="connsiteX93" fmla="*/ 743653 w 3901192"/>
                  <a:gd name="connsiteY93" fmla="*/ 2731691 h 4760516"/>
                  <a:gd name="connsiteX94" fmla="*/ 661103 w 3901192"/>
                  <a:gd name="connsiteY94" fmla="*/ 2591991 h 4760516"/>
                  <a:gd name="connsiteX95" fmla="*/ 623003 w 3901192"/>
                  <a:gd name="connsiteY95" fmla="*/ 2344341 h 4760516"/>
                  <a:gd name="connsiteX96" fmla="*/ 635703 w 3901192"/>
                  <a:gd name="connsiteY96" fmla="*/ 2020491 h 4760516"/>
                  <a:gd name="connsiteX97" fmla="*/ 737303 w 3901192"/>
                  <a:gd name="connsiteY97" fmla="*/ 1328341 h 4760516"/>
                  <a:gd name="connsiteX98" fmla="*/ 972253 w 3901192"/>
                  <a:gd name="connsiteY98" fmla="*/ 623491 h 4760516"/>
                  <a:gd name="connsiteX99" fmla="*/ 1169103 w 3901192"/>
                  <a:gd name="connsiteY99" fmla="*/ 299641 h 4760516"/>
                  <a:gd name="connsiteX100" fmla="*/ 1359603 w 3901192"/>
                  <a:gd name="connsiteY100" fmla="*/ 140891 h 4760516"/>
                  <a:gd name="connsiteX101" fmla="*/ 1531053 w 3901192"/>
                  <a:gd name="connsiteY101" fmla="*/ 115491 h 4760516"/>
                  <a:gd name="connsiteX102" fmla="*/ 1677103 w 3901192"/>
                  <a:gd name="connsiteY102" fmla="*/ 13891 h 4760516"/>
                  <a:gd name="connsiteX103" fmla="*/ 1814025 w 3901192"/>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2384"/>
                  <a:gd name="connsiteY0" fmla="*/ 1005769 h 4760516"/>
                  <a:gd name="connsiteX1" fmla="*/ 3082677 w 3902384"/>
                  <a:gd name="connsiteY1" fmla="*/ 1026716 h 4760516"/>
                  <a:gd name="connsiteX2" fmla="*/ 3168402 w 3902384"/>
                  <a:gd name="connsiteY2" fmla="*/ 1369616 h 4760516"/>
                  <a:gd name="connsiteX3" fmla="*/ 3254127 w 3902384"/>
                  <a:gd name="connsiteY3" fmla="*/ 1822054 h 4760516"/>
                  <a:gd name="connsiteX4" fmla="*/ 3282702 w 3902384"/>
                  <a:gd name="connsiteY4" fmla="*/ 2255441 h 4760516"/>
                  <a:gd name="connsiteX5" fmla="*/ 3273177 w 3902384"/>
                  <a:gd name="connsiteY5" fmla="*/ 2526904 h 4760516"/>
                  <a:gd name="connsiteX6" fmla="*/ 3192214 w 3902384"/>
                  <a:gd name="connsiteY6" fmla="*/ 2722166 h 4760516"/>
                  <a:gd name="connsiteX7" fmla="*/ 3044577 w 3902384"/>
                  <a:gd name="connsiteY7" fmla="*/ 2750741 h 4760516"/>
                  <a:gd name="connsiteX8" fmla="*/ 2811214 w 3902384"/>
                  <a:gd name="connsiteY8" fmla="*/ 2731691 h 4760516"/>
                  <a:gd name="connsiteX9" fmla="*/ 2635002 w 3902384"/>
                  <a:gd name="connsiteY9" fmla="*/ 2669779 h 4760516"/>
                  <a:gd name="connsiteX10" fmla="*/ 2658814 w 3902384"/>
                  <a:gd name="connsiteY10" fmla="*/ 2603104 h 4760516"/>
                  <a:gd name="connsiteX11" fmla="*/ 2754064 w 3902384"/>
                  <a:gd name="connsiteY11" fmla="*/ 2474516 h 4760516"/>
                  <a:gd name="connsiteX12" fmla="*/ 2844552 w 3902384"/>
                  <a:gd name="connsiteY12" fmla="*/ 2255441 h 4760516"/>
                  <a:gd name="connsiteX13" fmla="*/ 2863602 w 3902384"/>
                  <a:gd name="connsiteY13" fmla="*/ 2160191 h 4760516"/>
                  <a:gd name="connsiteX14" fmla="*/ 2920752 w 3902384"/>
                  <a:gd name="connsiteY14" fmla="*/ 2098279 h 4760516"/>
                  <a:gd name="connsiteX15" fmla="*/ 3001714 w 3902384"/>
                  <a:gd name="connsiteY15" fmla="*/ 1855391 h 4760516"/>
                  <a:gd name="connsiteX16" fmla="*/ 3058864 w 3902384"/>
                  <a:gd name="connsiteY16" fmla="*/ 1598216 h 4760516"/>
                  <a:gd name="connsiteX17" fmla="*/ 3063627 w 3902384"/>
                  <a:gd name="connsiteY17" fmla="*/ 1483916 h 4760516"/>
                  <a:gd name="connsiteX18" fmla="*/ 3011239 w 3902384"/>
                  <a:gd name="connsiteY18" fmla="*/ 1379141 h 4760516"/>
                  <a:gd name="connsiteX19" fmla="*/ 2958852 w 3902384"/>
                  <a:gd name="connsiteY19" fmla="*/ 1331516 h 4760516"/>
                  <a:gd name="connsiteX20" fmla="*/ 2949327 w 3902384"/>
                  <a:gd name="connsiteY20" fmla="*/ 1236266 h 4760516"/>
                  <a:gd name="connsiteX21" fmla="*/ 2958852 w 3902384"/>
                  <a:gd name="connsiteY21" fmla="*/ 1121966 h 4760516"/>
                  <a:gd name="connsiteX22" fmla="*/ 3006477 w 3902384"/>
                  <a:gd name="connsiteY22" fmla="*/ 1050529 h 4760516"/>
                  <a:gd name="connsiteX23" fmla="*/ 3062288 w 3902384"/>
                  <a:gd name="connsiteY23" fmla="*/ 1005769 h 4760516"/>
                  <a:gd name="connsiteX24" fmla="*/ 1814660 w 3902384"/>
                  <a:gd name="connsiteY24" fmla="*/ 0 h 4760516"/>
                  <a:gd name="connsiteX25" fmla="*/ 1957138 w 3902384"/>
                  <a:gd name="connsiteY25" fmla="*/ 1191 h 4760516"/>
                  <a:gd name="connsiteX26" fmla="*/ 2153988 w 3902384"/>
                  <a:gd name="connsiteY26" fmla="*/ 20241 h 4760516"/>
                  <a:gd name="connsiteX27" fmla="*/ 2382588 w 3902384"/>
                  <a:gd name="connsiteY27" fmla="*/ 121841 h 4760516"/>
                  <a:gd name="connsiteX28" fmla="*/ 2642938 w 3902384"/>
                  <a:gd name="connsiteY28" fmla="*/ 331391 h 4760516"/>
                  <a:gd name="connsiteX29" fmla="*/ 2947738 w 3902384"/>
                  <a:gd name="connsiteY29" fmla="*/ 693341 h 4760516"/>
                  <a:gd name="connsiteX30" fmla="*/ 3062038 w 3902384"/>
                  <a:gd name="connsiteY30" fmla="*/ 883841 h 4760516"/>
                  <a:gd name="connsiteX31" fmla="*/ 3011238 w 3902384"/>
                  <a:gd name="connsiteY31" fmla="*/ 1004491 h 4760516"/>
                  <a:gd name="connsiteX32" fmla="*/ 2903288 w 3902384"/>
                  <a:gd name="connsiteY32" fmla="*/ 1061641 h 4760516"/>
                  <a:gd name="connsiteX33" fmla="*/ 2827088 w 3902384"/>
                  <a:gd name="connsiteY33" fmla="*/ 998141 h 4760516"/>
                  <a:gd name="connsiteX34" fmla="*/ 2655638 w 3902384"/>
                  <a:gd name="connsiteY34" fmla="*/ 820341 h 4760516"/>
                  <a:gd name="connsiteX35" fmla="*/ 2350838 w 3902384"/>
                  <a:gd name="connsiteY35" fmla="*/ 674291 h 4760516"/>
                  <a:gd name="connsiteX36" fmla="*/ 2020638 w 3902384"/>
                  <a:gd name="connsiteY36" fmla="*/ 674291 h 4760516"/>
                  <a:gd name="connsiteX37" fmla="*/ 2344488 w 3902384"/>
                  <a:gd name="connsiteY37" fmla="*/ 769541 h 4760516"/>
                  <a:gd name="connsiteX38" fmla="*/ 2554038 w 3902384"/>
                  <a:gd name="connsiteY38" fmla="*/ 909241 h 4760516"/>
                  <a:gd name="connsiteX39" fmla="*/ 2630379 w 3902384"/>
                  <a:gd name="connsiteY39" fmla="*/ 973620 h 4760516"/>
                  <a:gd name="connsiteX40" fmla="*/ 2901551 w 3902384"/>
                  <a:gd name="connsiteY40" fmla="*/ 1067700 h 4760516"/>
                  <a:gd name="connsiteX41" fmla="*/ 2830884 w 3902384"/>
                  <a:gd name="connsiteY41" fmla="*/ 1212445 h 4760516"/>
                  <a:gd name="connsiteX42" fmla="*/ 2830884 w 3902384"/>
                  <a:gd name="connsiteY42" fmla="*/ 1445256 h 4760516"/>
                  <a:gd name="connsiteX43" fmla="*/ 2939795 w 3902384"/>
                  <a:gd name="connsiteY43" fmla="*/ 1531580 h 4760516"/>
                  <a:gd name="connsiteX44" fmla="*/ 2823781 w 3902384"/>
                  <a:gd name="connsiteY44" fmla="*/ 2041674 h 4760516"/>
                  <a:gd name="connsiteX45" fmla="*/ 2757487 w 3902384"/>
                  <a:gd name="connsiteY45" fmla="*/ 2086142 h 4760516"/>
                  <a:gd name="connsiteX46" fmla="*/ 2480886 w 3902384"/>
                  <a:gd name="connsiteY46" fmla="*/ 2698176 h 4760516"/>
                  <a:gd name="connsiteX47" fmla="*/ 2530227 w 3902384"/>
                  <a:gd name="connsiteY47" fmla="*/ 2817416 h 4760516"/>
                  <a:gd name="connsiteX48" fmla="*/ 2592139 w 3902384"/>
                  <a:gd name="connsiteY48" fmla="*/ 2874566 h 4760516"/>
                  <a:gd name="connsiteX49" fmla="*/ 2658814 w 3902384"/>
                  <a:gd name="connsiteY49" fmla="*/ 2884091 h 4760516"/>
                  <a:gd name="connsiteX50" fmla="*/ 2682627 w 3902384"/>
                  <a:gd name="connsiteY50" fmla="*/ 2912666 h 4760516"/>
                  <a:gd name="connsiteX51" fmla="*/ 2749302 w 3902384"/>
                  <a:gd name="connsiteY51" fmla="*/ 3079354 h 4760516"/>
                  <a:gd name="connsiteX52" fmla="*/ 2844552 w 3902384"/>
                  <a:gd name="connsiteY52" fmla="*/ 3174604 h 4760516"/>
                  <a:gd name="connsiteX53" fmla="*/ 2939802 w 3902384"/>
                  <a:gd name="connsiteY53" fmla="*/ 3207941 h 4760516"/>
                  <a:gd name="connsiteX54" fmla="*/ 3282702 w 3902384"/>
                  <a:gd name="connsiteY54" fmla="*/ 3317479 h 4760516"/>
                  <a:gd name="connsiteX55" fmla="*/ 3658939 w 3902384"/>
                  <a:gd name="connsiteY55" fmla="*/ 3493691 h 4760516"/>
                  <a:gd name="connsiteX56" fmla="*/ 3868489 w 3902384"/>
                  <a:gd name="connsiteY56" fmla="*/ 3641329 h 4760516"/>
                  <a:gd name="connsiteX57" fmla="*/ 3901827 w 3902384"/>
                  <a:gd name="connsiteY57" fmla="*/ 3769916 h 4760516"/>
                  <a:gd name="connsiteX58" fmla="*/ 3878014 w 3902384"/>
                  <a:gd name="connsiteY58" fmla="*/ 4027091 h 4760516"/>
                  <a:gd name="connsiteX59" fmla="*/ 3792289 w 3902384"/>
                  <a:gd name="connsiteY59" fmla="*/ 4236641 h 4760516"/>
                  <a:gd name="connsiteX60" fmla="*/ 3620839 w 3902384"/>
                  <a:gd name="connsiteY60" fmla="*/ 4598591 h 4760516"/>
                  <a:gd name="connsiteX61" fmla="*/ 3473202 w 3902384"/>
                  <a:gd name="connsiteY61" fmla="*/ 4760516 h 4760516"/>
                  <a:gd name="connsiteX62" fmla="*/ 339477 w 3902384"/>
                  <a:gd name="connsiteY62" fmla="*/ 4760516 h 4760516"/>
                  <a:gd name="connsiteX63" fmla="*/ 163264 w 3902384"/>
                  <a:gd name="connsiteY63" fmla="*/ 4436666 h 4760516"/>
                  <a:gd name="connsiteX64" fmla="*/ 58489 w 3902384"/>
                  <a:gd name="connsiteY64" fmla="*/ 4141391 h 4760516"/>
                  <a:gd name="connsiteX65" fmla="*/ 1339 w 3902384"/>
                  <a:gd name="connsiteY65" fmla="*/ 3855641 h 4760516"/>
                  <a:gd name="connsiteX66" fmla="*/ 25152 w 3902384"/>
                  <a:gd name="connsiteY66" fmla="*/ 3703241 h 4760516"/>
                  <a:gd name="connsiteX67" fmla="*/ 220414 w 3902384"/>
                  <a:gd name="connsiteY67" fmla="*/ 3584179 h 4760516"/>
                  <a:gd name="connsiteX68" fmla="*/ 534739 w 3902384"/>
                  <a:gd name="connsiteY68" fmla="*/ 3450829 h 4760516"/>
                  <a:gd name="connsiteX69" fmla="*/ 934789 w 3902384"/>
                  <a:gd name="connsiteY69" fmla="*/ 3293666 h 4760516"/>
                  <a:gd name="connsiteX70" fmla="*/ 1134814 w 3902384"/>
                  <a:gd name="connsiteY70" fmla="*/ 3217466 h 4760516"/>
                  <a:gd name="connsiteX71" fmla="*/ 1277689 w 3902384"/>
                  <a:gd name="connsiteY71" fmla="*/ 2950766 h 4760516"/>
                  <a:gd name="connsiteX72" fmla="*/ 1372939 w 3902384"/>
                  <a:gd name="connsiteY72" fmla="*/ 2888854 h 4760516"/>
                  <a:gd name="connsiteX73" fmla="*/ 1444377 w 3902384"/>
                  <a:gd name="connsiteY73" fmla="*/ 2750741 h 4760516"/>
                  <a:gd name="connsiteX74" fmla="*/ 1430089 w 3902384"/>
                  <a:gd name="connsiteY74" fmla="*/ 2665016 h 4760516"/>
                  <a:gd name="connsiteX75" fmla="*/ 1433678 w 3902384"/>
                  <a:gd name="connsiteY75" fmla="*/ 2655556 h 4760516"/>
                  <a:gd name="connsiteX76" fmla="*/ 1412671 w 3902384"/>
                  <a:gd name="connsiteY76" fmla="*/ 2630242 h 4760516"/>
                  <a:gd name="connsiteX77" fmla="*/ 1171172 w 3902384"/>
                  <a:gd name="connsiteY77" fmla="*/ 2059985 h 4760516"/>
                  <a:gd name="connsiteX78" fmla="*/ 977027 w 3902384"/>
                  <a:gd name="connsiteY78" fmla="*/ 1612672 h 4760516"/>
                  <a:gd name="connsiteX79" fmla="*/ 1052790 w 3902384"/>
                  <a:gd name="connsiteY79" fmla="*/ 1487109 h 4760516"/>
                  <a:gd name="connsiteX80" fmla="*/ 1018186 w 3902384"/>
                  <a:gd name="connsiteY80" fmla="*/ 1277790 h 4760516"/>
                  <a:gd name="connsiteX81" fmla="*/ 934788 w 3902384"/>
                  <a:gd name="connsiteY81" fmla="*/ 1341041 h 4760516"/>
                  <a:gd name="connsiteX82" fmla="*/ 883988 w 3902384"/>
                  <a:gd name="connsiteY82" fmla="*/ 1404541 h 4760516"/>
                  <a:gd name="connsiteX83" fmla="*/ 839538 w 3902384"/>
                  <a:gd name="connsiteY83" fmla="*/ 1525191 h 4760516"/>
                  <a:gd name="connsiteX84" fmla="*/ 858588 w 3902384"/>
                  <a:gd name="connsiteY84" fmla="*/ 1645841 h 4760516"/>
                  <a:gd name="connsiteX85" fmla="*/ 890338 w 3902384"/>
                  <a:gd name="connsiteY85" fmla="*/ 1829991 h 4760516"/>
                  <a:gd name="connsiteX86" fmla="*/ 966538 w 3902384"/>
                  <a:gd name="connsiteY86" fmla="*/ 2128441 h 4760516"/>
                  <a:gd name="connsiteX87" fmla="*/ 1049088 w 3902384"/>
                  <a:gd name="connsiteY87" fmla="*/ 2198291 h 4760516"/>
                  <a:gd name="connsiteX88" fmla="*/ 1099888 w 3902384"/>
                  <a:gd name="connsiteY88" fmla="*/ 2331641 h 4760516"/>
                  <a:gd name="connsiteX89" fmla="*/ 1220538 w 3902384"/>
                  <a:gd name="connsiteY89" fmla="*/ 2566591 h 4760516"/>
                  <a:gd name="connsiteX90" fmla="*/ 1271338 w 3902384"/>
                  <a:gd name="connsiteY90" fmla="*/ 2712641 h 4760516"/>
                  <a:gd name="connsiteX91" fmla="*/ 1131638 w 3902384"/>
                  <a:gd name="connsiteY91" fmla="*/ 2750741 h 4760516"/>
                  <a:gd name="connsiteX92" fmla="*/ 928438 w 3902384"/>
                  <a:gd name="connsiteY92" fmla="*/ 2776141 h 4760516"/>
                  <a:gd name="connsiteX93" fmla="*/ 744288 w 3902384"/>
                  <a:gd name="connsiteY93" fmla="*/ 2731691 h 4760516"/>
                  <a:gd name="connsiteX94" fmla="*/ 661738 w 3902384"/>
                  <a:gd name="connsiteY94" fmla="*/ 2591991 h 4760516"/>
                  <a:gd name="connsiteX95" fmla="*/ 623638 w 3902384"/>
                  <a:gd name="connsiteY95" fmla="*/ 2344341 h 4760516"/>
                  <a:gd name="connsiteX96" fmla="*/ 636338 w 3902384"/>
                  <a:gd name="connsiteY96" fmla="*/ 2020491 h 4760516"/>
                  <a:gd name="connsiteX97" fmla="*/ 737938 w 3902384"/>
                  <a:gd name="connsiteY97" fmla="*/ 1328341 h 4760516"/>
                  <a:gd name="connsiteX98" fmla="*/ 972888 w 3902384"/>
                  <a:gd name="connsiteY98" fmla="*/ 623491 h 4760516"/>
                  <a:gd name="connsiteX99" fmla="*/ 1169738 w 3902384"/>
                  <a:gd name="connsiteY99" fmla="*/ 299641 h 4760516"/>
                  <a:gd name="connsiteX100" fmla="*/ 1360238 w 3902384"/>
                  <a:gd name="connsiteY100" fmla="*/ 140891 h 4760516"/>
                  <a:gd name="connsiteX101" fmla="*/ 1531688 w 3902384"/>
                  <a:gd name="connsiteY101" fmla="*/ 115491 h 4760516"/>
                  <a:gd name="connsiteX102" fmla="*/ 1677738 w 3902384"/>
                  <a:gd name="connsiteY102" fmla="*/ 13891 h 4760516"/>
                  <a:gd name="connsiteX103" fmla="*/ 1814660 w 3902384"/>
                  <a:gd name="connsiteY103" fmla="*/ 0 h 4760516"/>
                  <a:gd name="connsiteX0" fmla="*/ 3062288 w 3903424"/>
                  <a:gd name="connsiteY0" fmla="*/ 1005769 h 4760516"/>
                  <a:gd name="connsiteX1" fmla="*/ 3082677 w 3903424"/>
                  <a:gd name="connsiteY1" fmla="*/ 1026716 h 4760516"/>
                  <a:gd name="connsiteX2" fmla="*/ 3168402 w 3903424"/>
                  <a:gd name="connsiteY2" fmla="*/ 1369616 h 4760516"/>
                  <a:gd name="connsiteX3" fmla="*/ 3254127 w 3903424"/>
                  <a:gd name="connsiteY3" fmla="*/ 1822054 h 4760516"/>
                  <a:gd name="connsiteX4" fmla="*/ 3282702 w 3903424"/>
                  <a:gd name="connsiteY4" fmla="*/ 2255441 h 4760516"/>
                  <a:gd name="connsiteX5" fmla="*/ 3273177 w 3903424"/>
                  <a:gd name="connsiteY5" fmla="*/ 2526904 h 4760516"/>
                  <a:gd name="connsiteX6" fmla="*/ 3192214 w 3903424"/>
                  <a:gd name="connsiteY6" fmla="*/ 2722166 h 4760516"/>
                  <a:gd name="connsiteX7" fmla="*/ 3044577 w 3903424"/>
                  <a:gd name="connsiteY7" fmla="*/ 2750741 h 4760516"/>
                  <a:gd name="connsiteX8" fmla="*/ 2811214 w 3903424"/>
                  <a:gd name="connsiteY8" fmla="*/ 2731691 h 4760516"/>
                  <a:gd name="connsiteX9" fmla="*/ 2635002 w 3903424"/>
                  <a:gd name="connsiteY9" fmla="*/ 2669779 h 4760516"/>
                  <a:gd name="connsiteX10" fmla="*/ 2658814 w 3903424"/>
                  <a:gd name="connsiteY10" fmla="*/ 2603104 h 4760516"/>
                  <a:gd name="connsiteX11" fmla="*/ 2754064 w 3903424"/>
                  <a:gd name="connsiteY11" fmla="*/ 2474516 h 4760516"/>
                  <a:gd name="connsiteX12" fmla="*/ 2844552 w 3903424"/>
                  <a:gd name="connsiteY12" fmla="*/ 2255441 h 4760516"/>
                  <a:gd name="connsiteX13" fmla="*/ 2863602 w 3903424"/>
                  <a:gd name="connsiteY13" fmla="*/ 2160191 h 4760516"/>
                  <a:gd name="connsiteX14" fmla="*/ 2920752 w 3903424"/>
                  <a:gd name="connsiteY14" fmla="*/ 2098279 h 4760516"/>
                  <a:gd name="connsiteX15" fmla="*/ 3001714 w 3903424"/>
                  <a:gd name="connsiteY15" fmla="*/ 1855391 h 4760516"/>
                  <a:gd name="connsiteX16" fmla="*/ 3058864 w 3903424"/>
                  <a:gd name="connsiteY16" fmla="*/ 1598216 h 4760516"/>
                  <a:gd name="connsiteX17" fmla="*/ 3063627 w 3903424"/>
                  <a:gd name="connsiteY17" fmla="*/ 1483916 h 4760516"/>
                  <a:gd name="connsiteX18" fmla="*/ 3011239 w 3903424"/>
                  <a:gd name="connsiteY18" fmla="*/ 1379141 h 4760516"/>
                  <a:gd name="connsiteX19" fmla="*/ 2958852 w 3903424"/>
                  <a:gd name="connsiteY19" fmla="*/ 1331516 h 4760516"/>
                  <a:gd name="connsiteX20" fmla="*/ 2949327 w 3903424"/>
                  <a:gd name="connsiteY20" fmla="*/ 1236266 h 4760516"/>
                  <a:gd name="connsiteX21" fmla="*/ 2958852 w 3903424"/>
                  <a:gd name="connsiteY21" fmla="*/ 1121966 h 4760516"/>
                  <a:gd name="connsiteX22" fmla="*/ 3006477 w 3903424"/>
                  <a:gd name="connsiteY22" fmla="*/ 1050529 h 4760516"/>
                  <a:gd name="connsiteX23" fmla="*/ 3062288 w 3903424"/>
                  <a:gd name="connsiteY23" fmla="*/ 1005769 h 4760516"/>
                  <a:gd name="connsiteX24" fmla="*/ 1814660 w 3903424"/>
                  <a:gd name="connsiteY24" fmla="*/ 0 h 4760516"/>
                  <a:gd name="connsiteX25" fmla="*/ 1957138 w 3903424"/>
                  <a:gd name="connsiteY25" fmla="*/ 1191 h 4760516"/>
                  <a:gd name="connsiteX26" fmla="*/ 2153988 w 3903424"/>
                  <a:gd name="connsiteY26" fmla="*/ 20241 h 4760516"/>
                  <a:gd name="connsiteX27" fmla="*/ 2382588 w 3903424"/>
                  <a:gd name="connsiteY27" fmla="*/ 121841 h 4760516"/>
                  <a:gd name="connsiteX28" fmla="*/ 2642938 w 3903424"/>
                  <a:gd name="connsiteY28" fmla="*/ 331391 h 4760516"/>
                  <a:gd name="connsiteX29" fmla="*/ 2947738 w 3903424"/>
                  <a:gd name="connsiteY29" fmla="*/ 693341 h 4760516"/>
                  <a:gd name="connsiteX30" fmla="*/ 3062038 w 3903424"/>
                  <a:gd name="connsiteY30" fmla="*/ 883841 h 4760516"/>
                  <a:gd name="connsiteX31" fmla="*/ 3011238 w 3903424"/>
                  <a:gd name="connsiteY31" fmla="*/ 1004491 h 4760516"/>
                  <a:gd name="connsiteX32" fmla="*/ 2903288 w 3903424"/>
                  <a:gd name="connsiteY32" fmla="*/ 1061641 h 4760516"/>
                  <a:gd name="connsiteX33" fmla="*/ 2827088 w 3903424"/>
                  <a:gd name="connsiteY33" fmla="*/ 998141 h 4760516"/>
                  <a:gd name="connsiteX34" fmla="*/ 2655638 w 3903424"/>
                  <a:gd name="connsiteY34" fmla="*/ 820341 h 4760516"/>
                  <a:gd name="connsiteX35" fmla="*/ 2350838 w 3903424"/>
                  <a:gd name="connsiteY35" fmla="*/ 674291 h 4760516"/>
                  <a:gd name="connsiteX36" fmla="*/ 2020638 w 3903424"/>
                  <a:gd name="connsiteY36" fmla="*/ 674291 h 4760516"/>
                  <a:gd name="connsiteX37" fmla="*/ 2344488 w 3903424"/>
                  <a:gd name="connsiteY37" fmla="*/ 769541 h 4760516"/>
                  <a:gd name="connsiteX38" fmla="*/ 2554038 w 3903424"/>
                  <a:gd name="connsiteY38" fmla="*/ 909241 h 4760516"/>
                  <a:gd name="connsiteX39" fmla="*/ 2630379 w 3903424"/>
                  <a:gd name="connsiteY39" fmla="*/ 973620 h 4760516"/>
                  <a:gd name="connsiteX40" fmla="*/ 2901551 w 3903424"/>
                  <a:gd name="connsiteY40" fmla="*/ 1067700 h 4760516"/>
                  <a:gd name="connsiteX41" fmla="*/ 2830884 w 3903424"/>
                  <a:gd name="connsiteY41" fmla="*/ 1212445 h 4760516"/>
                  <a:gd name="connsiteX42" fmla="*/ 2830884 w 3903424"/>
                  <a:gd name="connsiteY42" fmla="*/ 1445256 h 4760516"/>
                  <a:gd name="connsiteX43" fmla="*/ 2939795 w 3903424"/>
                  <a:gd name="connsiteY43" fmla="*/ 1531580 h 4760516"/>
                  <a:gd name="connsiteX44" fmla="*/ 2823781 w 3903424"/>
                  <a:gd name="connsiteY44" fmla="*/ 2041674 h 4760516"/>
                  <a:gd name="connsiteX45" fmla="*/ 2757487 w 3903424"/>
                  <a:gd name="connsiteY45" fmla="*/ 2086142 h 4760516"/>
                  <a:gd name="connsiteX46" fmla="*/ 2480886 w 3903424"/>
                  <a:gd name="connsiteY46" fmla="*/ 2698176 h 4760516"/>
                  <a:gd name="connsiteX47" fmla="*/ 2530227 w 3903424"/>
                  <a:gd name="connsiteY47" fmla="*/ 2817416 h 4760516"/>
                  <a:gd name="connsiteX48" fmla="*/ 2592139 w 3903424"/>
                  <a:gd name="connsiteY48" fmla="*/ 2874566 h 4760516"/>
                  <a:gd name="connsiteX49" fmla="*/ 2658814 w 3903424"/>
                  <a:gd name="connsiteY49" fmla="*/ 2884091 h 4760516"/>
                  <a:gd name="connsiteX50" fmla="*/ 2682627 w 3903424"/>
                  <a:gd name="connsiteY50" fmla="*/ 2912666 h 4760516"/>
                  <a:gd name="connsiteX51" fmla="*/ 2749302 w 3903424"/>
                  <a:gd name="connsiteY51" fmla="*/ 3079354 h 4760516"/>
                  <a:gd name="connsiteX52" fmla="*/ 2844552 w 3903424"/>
                  <a:gd name="connsiteY52" fmla="*/ 3174604 h 4760516"/>
                  <a:gd name="connsiteX53" fmla="*/ 2939802 w 3903424"/>
                  <a:gd name="connsiteY53" fmla="*/ 3207941 h 4760516"/>
                  <a:gd name="connsiteX54" fmla="*/ 3282702 w 3903424"/>
                  <a:gd name="connsiteY54" fmla="*/ 3317479 h 4760516"/>
                  <a:gd name="connsiteX55" fmla="*/ 3658939 w 3903424"/>
                  <a:gd name="connsiteY55" fmla="*/ 3493691 h 4760516"/>
                  <a:gd name="connsiteX56" fmla="*/ 3868489 w 3903424"/>
                  <a:gd name="connsiteY56" fmla="*/ 3641329 h 4760516"/>
                  <a:gd name="connsiteX57" fmla="*/ 3901827 w 3903424"/>
                  <a:gd name="connsiteY57" fmla="*/ 3769916 h 4760516"/>
                  <a:gd name="connsiteX58" fmla="*/ 3878014 w 3903424"/>
                  <a:gd name="connsiteY58" fmla="*/ 4027091 h 4760516"/>
                  <a:gd name="connsiteX59" fmla="*/ 3792289 w 3903424"/>
                  <a:gd name="connsiteY59" fmla="*/ 4236641 h 4760516"/>
                  <a:gd name="connsiteX60" fmla="*/ 3620839 w 3903424"/>
                  <a:gd name="connsiteY60" fmla="*/ 4598591 h 4760516"/>
                  <a:gd name="connsiteX61" fmla="*/ 3473202 w 3903424"/>
                  <a:gd name="connsiteY61" fmla="*/ 4760516 h 4760516"/>
                  <a:gd name="connsiteX62" fmla="*/ 339477 w 3903424"/>
                  <a:gd name="connsiteY62" fmla="*/ 4760516 h 4760516"/>
                  <a:gd name="connsiteX63" fmla="*/ 163264 w 3903424"/>
                  <a:gd name="connsiteY63" fmla="*/ 4436666 h 4760516"/>
                  <a:gd name="connsiteX64" fmla="*/ 58489 w 3903424"/>
                  <a:gd name="connsiteY64" fmla="*/ 4141391 h 4760516"/>
                  <a:gd name="connsiteX65" fmla="*/ 1339 w 3903424"/>
                  <a:gd name="connsiteY65" fmla="*/ 3855641 h 4760516"/>
                  <a:gd name="connsiteX66" fmla="*/ 25152 w 3903424"/>
                  <a:gd name="connsiteY66" fmla="*/ 3703241 h 4760516"/>
                  <a:gd name="connsiteX67" fmla="*/ 220414 w 3903424"/>
                  <a:gd name="connsiteY67" fmla="*/ 3584179 h 4760516"/>
                  <a:gd name="connsiteX68" fmla="*/ 534739 w 3903424"/>
                  <a:gd name="connsiteY68" fmla="*/ 3450829 h 4760516"/>
                  <a:gd name="connsiteX69" fmla="*/ 934789 w 3903424"/>
                  <a:gd name="connsiteY69" fmla="*/ 3293666 h 4760516"/>
                  <a:gd name="connsiteX70" fmla="*/ 1134814 w 3903424"/>
                  <a:gd name="connsiteY70" fmla="*/ 3217466 h 4760516"/>
                  <a:gd name="connsiteX71" fmla="*/ 1277689 w 3903424"/>
                  <a:gd name="connsiteY71" fmla="*/ 2950766 h 4760516"/>
                  <a:gd name="connsiteX72" fmla="*/ 1372939 w 3903424"/>
                  <a:gd name="connsiteY72" fmla="*/ 2888854 h 4760516"/>
                  <a:gd name="connsiteX73" fmla="*/ 1444377 w 3903424"/>
                  <a:gd name="connsiteY73" fmla="*/ 2750741 h 4760516"/>
                  <a:gd name="connsiteX74" fmla="*/ 1430089 w 3903424"/>
                  <a:gd name="connsiteY74" fmla="*/ 2665016 h 4760516"/>
                  <a:gd name="connsiteX75" fmla="*/ 1433678 w 3903424"/>
                  <a:gd name="connsiteY75" fmla="*/ 2655556 h 4760516"/>
                  <a:gd name="connsiteX76" fmla="*/ 1412671 w 3903424"/>
                  <a:gd name="connsiteY76" fmla="*/ 2630242 h 4760516"/>
                  <a:gd name="connsiteX77" fmla="*/ 1171172 w 3903424"/>
                  <a:gd name="connsiteY77" fmla="*/ 2059985 h 4760516"/>
                  <a:gd name="connsiteX78" fmla="*/ 977027 w 3903424"/>
                  <a:gd name="connsiteY78" fmla="*/ 1612672 h 4760516"/>
                  <a:gd name="connsiteX79" fmla="*/ 1052790 w 3903424"/>
                  <a:gd name="connsiteY79" fmla="*/ 1487109 h 4760516"/>
                  <a:gd name="connsiteX80" fmla="*/ 1018186 w 3903424"/>
                  <a:gd name="connsiteY80" fmla="*/ 1277790 h 4760516"/>
                  <a:gd name="connsiteX81" fmla="*/ 934788 w 3903424"/>
                  <a:gd name="connsiteY81" fmla="*/ 1341041 h 4760516"/>
                  <a:gd name="connsiteX82" fmla="*/ 883988 w 3903424"/>
                  <a:gd name="connsiteY82" fmla="*/ 1404541 h 4760516"/>
                  <a:gd name="connsiteX83" fmla="*/ 839538 w 3903424"/>
                  <a:gd name="connsiteY83" fmla="*/ 1525191 h 4760516"/>
                  <a:gd name="connsiteX84" fmla="*/ 858588 w 3903424"/>
                  <a:gd name="connsiteY84" fmla="*/ 1645841 h 4760516"/>
                  <a:gd name="connsiteX85" fmla="*/ 890338 w 3903424"/>
                  <a:gd name="connsiteY85" fmla="*/ 1829991 h 4760516"/>
                  <a:gd name="connsiteX86" fmla="*/ 966538 w 3903424"/>
                  <a:gd name="connsiteY86" fmla="*/ 2128441 h 4760516"/>
                  <a:gd name="connsiteX87" fmla="*/ 1049088 w 3903424"/>
                  <a:gd name="connsiteY87" fmla="*/ 2198291 h 4760516"/>
                  <a:gd name="connsiteX88" fmla="*/ 1099888 w 3903424"/>
                  <a:gd name="connsiteY88" fmla="*/ 2331641 h 4760516"/>
                  <a:gd name="connsiteX89" fmla="*/ 1220538 w 3903424"/>
                  <a:gd name="connsiteY89" fmla="*/ 2566591 h 4760516"/>
                  <a:gd name="connsiteX90" fmla="*/ 1271338 w 3903424"/>
                  <a:gd name="connsiteY90" fmla="*/ 2712641 h 4760516"/>
                  <a:gd name="connsiteX91" fmla="*/ 1131638 w 3903424"/>
                  <a:gd name="connsiteY91" fmla="*/ 2750741 h 4760516"/>
                  <a:gd name="connsiteX92" fmla="*/ 928438 w 3903424"/>
                  <a:gd name="connsiteY92" fmla="*/ 2776141 h 4760516"/>
                  <a:gd name="connsiteX93" fmla="*/ 744288 w 3903424"/>
                  <a:gd name="connsiteY93" fmla="*/ 2731691 h 4760516"/>
                  <a:gd name="connsiteX94" fmla="*/ 661738 w 3903424"/>
                  <a:gd name="connsiteY94" fmla="*/ 2591991 h 4760516"/>
                  <a:gd name="connsiteX95" fmla="*/ 623638 w 3903424"/>
                  <a:gd name="connsiteY95" fmla="*/ 2344341 h 4760516"/>
                  <a:gd name="connsiteX96" fmla="*/ 636338 w 3903424"/>
                  <a:gd name="connsiteY96" fmla="*/ 2020491 h 4760516"/>
                  <a:gd name="connsiteX97" fmla="*/ 737938 w 3903424"/>
                  <a:gd name="connsiteY97" fmla="*/ 1328341 h 4760516"/>
                  <a:gd name="connsiteX98" fmla="*/ 972888 w 3903424"/>
                  <a:gd name="connsiteY98" fmla="*/ 623491 h 4760516"/>
                  <a:gd name="connsiteX99" fmla="*/ 1169738 w 3903424"/>
                  <a:gd name="connsiteY99" fmla="*/ 299641 h 4760516"/>
                  <a:gd name="connsiteX100" fmla="*/ 1360238 w 3903424"/>
                  <a:gd name="connsiteY100" fmla="*/ 140891 h 4760516"/>
                  <a:gd name="connsiteX101" fmla="*/ 1531688 w 3903424"/>
                  <a:gd name="connsiteY101" fmla="*/ 115491 h 4760516"/>
                  <a:gd name="connsiteX102" fmla="*/ 1677738 w 3903424"/>
                  <a:gd name="connsiteY102" fmla="*/ 13891 h 4760516"/>
                  <a:gd name="connsiteX103" fmla="*/ 1814660 w 3903424"/>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810829"/>
                  <a:gd name="connsiteX1" fmla="*/ 3082677 w 3904400"/>
                  <a:gd name="connsiteY1" fmla="*/ 1026716 h 4810829"/>
                  <a:gd name="connsiteX2" fmla="*/ 3168402 w 3904400"/>
                  <a:gd name="connsiteY2" fmla="*/ 1369616 h 4810829"/>
                  <a:gd name="connsiteX3" fmla="*/ 3254127 w 3904400"/>
                  <a:gd name="connsiteY3" fmla="*/ 1822054 h 4810829"/>
                  <a:gd name="connsiteX4" fmla="*/ 3282702 w 3904400"/>
                  <a:gd name="connsiteY4" fmla="*/ 2255441 h 4810829"/>
                  <a:gd name="connsiteX5" fmla="*/ 3273177 w 3904400"/>
                  <a:gd name="connsiteY5" fmla="*/ 2526904 h 4810829"/>
                  <a:gd name="connsiteX6" fmla="*/ 3192214 w 3904400"/>
                  <a:gd name="connsiteY6" fmla="*/ 2722166 h 4810829"/>
                  <a:gd name="connsiteX7" fmla="*/ 3044577 w 3904400"/>
                  <a:gd name="connsiteY7" fmla="*/ 2750741 h 4810829"/>
                  <a:gd name="connsiteX8" fmla="*/ 2811214 w 3904400"/>
                  <a:gd name="connsiteY8" fmla="*/ 2731691 h 4810829"/>
                  <a:gd name="connsiteX9" fmla="*/ 2635002 w 3904400"/>
                  <a:gd name="connsiteY9" fmla="*/ 2669779 h 4810829"/>
                  <a:gd name="connsiteX10" fmla="*/ 2658814 w 3904400"/>
                  <a:gd name="connsiteY10" fmla="*/ 2603104 h 4810829"/>
                  <a:gd name="connsiteX11" fmla="*/ 2754064 w 3904400"/>
                  <a:gd name="connsiteY11" fmla="*/ 2474516 h 4810829"/>
                  <a:gd name="connsiteX12" fmla="*/ 2844552 w 3904400"/>
                  <a:gd name="connsiteY12" fmla="*/ 2255441 h 4810829"/>
                  <a:gd name="connsiteX13" fmla="*/ 2863602 w 3904400"/>
                  <a:gd name="connsiteY13" fmla="*/ 2160191 h 4810829"/>
                  <a:gd name="connsiteX14" fmla="*/ 2920752 w 3904400"/>
                  <a:gd name="connsiteY14" fmla="*/ 2098279 h 4810829"/>
                  <a:gd name="connsiteX15" fmla="*/ 3001714 w 3904400"/>
                  <a:gd name="connsiteY15" fmla="*/ 1855391 h 4810829"/>
                  <a:gd name="connsiteX16" fmla="*/ 3058864 w 3904400"/>
                  <a:gd name="connsiteY16" fmla="*/ 1598216 h 4810829"/>
                  <a:gd name="connsiteX17" fmla="*/ 3063627 w 3904400"/>
                  <a:gd name="connsiteY17" fmla="*/ 1483916 h 4810829"/>
                  <a:gd name="connsiteX18" fmla="*/ 3011239 w 3904400"/>
                  <a:gd name="connsiteY18" fmla="*/ 1379141 h 4810829"/>
                  <a:gd name="connsiteX19" fmla="*/ 2958852 w 3904400"/>
                  <a:gd name="connsiteY19" fmla="*/ 1331516 h 4810829"/>
                  <a:gd name="connsiteX20" fmla="*/ 2949327 w 3904400"/>
                  <a:gd name="connsiteY20" fmla="*/ 1236266 h 4810829"/>
                  <a:gd name="connsiteX21" fmla="*/ 2958852 w 3904400"/>
                  <a:gd name="connsiteY21" fmla="*/ 1121966 h 4810829"/>
                  <a:gd name="connsiteX22" fmla="*/ 3006477 w 3904400"/>
                  <a:gd name="connsiteY22" fmla="*/ 1050529 h 4810829"/>
                  <a:gd name="connsiteX23" fmla="*/ 3062288 w 3904400"/>
                  <a:gd name="connsiteY23" fmla="*/ 1005769 h 4810829"/>
                  <a:gd name="connsiteX24" fmla="*/ 1814660 w 3904400"/>
                  <a:gd name="connsiteY24" fmla="*/ 0 h 4810829"/>
                  <a:gd name="connsiteX25" fmla="*/ 1957138 w 3904400"/>
                  <a:gd name="connsiteY25" fmla="*/ 1191 h 4810829"/>
                  <a:gd name="connsiteX26" fmla="*/ 2153988 w 3904400"/>
                  <a:gd name="connsiteY26" fmla="*/ 20241 h 4810829"/>
                  <a:gd name="connsiteX27" fmla="*/ 2382588 w 3904400"/>
                  <a:gd name="connsiteY27" fmla="*/ 121841 h 4810829"/>
                  <a:gd name="connsiteX28" fmla="*/ 2642938 w 3904400"/>
                  <a:gd name="connsiteY28" fmla="*/ 331391 h 4810829"/>
                  <a:gd name="connsiteX29" fmla="*/ 2947738 w 3904400"/>
                  <a:gd name="connsiteY29" fmla="*/ 693341 h 4810829"/>
                  <a:gd name="connsiteX30" fmla="*/ 3062038 w 3904400"/>
                  <a:gd name="connsiteY30" fmla="*/ 883841 h 4810829"/>
                  <a:gd name="connsiteX31" fmla="*/ 3011238 w 3904400"/>
                  <a:gd name="connsiteY31" fmla="*/ 1004491 h 4810829"/>
                  <a:gd name="connsiteX32" fmla="*/ 2903288 w 3904400"/>
                  <a:gd name="connsiteY32" fmla="*/ 1061641 h 4810829"/>
                  <a:gd name="connsiteX33" fmla="*/ 2827088 w 3904400"/>
                  <a:gd name="connsiteY33" fmla="*/ 998141 h 4810829"/>
                  <a:gd name="connsiteX34" fmla="*/ 2655638 w 3904400"/>
                  <a:gd name="connsiteY34" fmla="*/ 820341 h 4810829"/>
                  <a:gd name="connsiteX35" fmla="*/ 2350838 w 3904400"/>
                  <a:gd name="connsiteY35" fmla="*/ 674291 h 4810829"/>
                  <a:gd name="connsiteX36" fmla="*/ 2020638 w 3904400"/>
                  <a:gd name="connsiteY36" fmla="*/ 674291 h 4810829"/>
                  <a:gd name="connsiteX37" fmla="*/ 2344488 w 3904400"/>
                  <a:gd name="connsiteY37" fmla="*/ 769541 h 4810829"/>
                  <a:gd name="connsiteX38" fmla="*/ 2554038 w 3904400"/>
                  <a:gd name="connsiteY38" fmla="*/ 909241 h 4810829"/>
                  <a:gd name="connsiteX39" fmla="*/ 2630379 w 3904400"/>
                  <a:gd name="connsiteY39" fmla="*/ 973620 h 4810829"/>
                  <a:gd name="connsiteX40" fmla="*/ 2901551 w 3904400"/>
                  <a:gd name="connsiteY40" fmla="*/ 1067700 h 4810829"/>
                  <a:gd name="connsiteX41" fmla="*/ 2830884 w 3904400"/>
                  <a:gd name="connsiteY41" fmla="*/ 1212445 h 4810829"/>
                  <a:gd name="connsiteX42" fmla="*/ 2830884 w 3904400"/>
                  <a:gd name="connsiteY42" fmla="*/ 1445256 h 4810829"/>
                  <a:gd name="connsiteX43" fmla="*/ 2939795 w 3904400"/>
                  <a:gd name="connsiteY43" fmla="*/ 1531580 h 4810829"/>
                  <a:gd name="connsiteX44" fmla="*/ 2823781 w 3904400"/>
                  <a:gd name="connsiteY44" fmla="*/ 2041674 h 4810829"/>
                  <a:gd name="connsiteX45" fmla="*/ 2757487 w 3904400"/>
                  <a:gd name="connsiteY45" fmla="*/ 2086142 h 4810829"/>
                  <a:gd name="connsiteX46" fmla="*/ 2480886 w 3904400"/>
                  <a:gd name="connsiteY46" fmla="*/ 2698176 h 4810829"/>
                  <a:gd name="connsiteX47" fmla="*/ 2530227 w 3904400"/>
                  <a:gd name="connsiteY47" fmla="*/ 2817416 h 4810829"/>
                  <a:gd name="connsiteX48" fmla="*/ 2592139 w 3904400"/>
                  <a:gd name="connsiteY48" fmla="*/ 2874566 h 4810829"/>
                  <a:gd name="connsiteX49" fmla="*/ 2658814 w 3904400"/>
                  <a:gd name="connsiteY49" fmla="*/ 2884091 h 4810829"/>
                  <a:gd name="connsiteX50" fmla="*/ 2682627 w 3904400"/>
                  <a:gd name="connsiteY50" fmla="*/ 2912666 h 4810829"/>
                  <a:gd name="connsiteX51" fmla="*/ 2749302 w 3904400"/>
                  <a:gd name="connsiteY51" fmla="*/ 3079354 h 4810829"/>
                  <a:gd name="connsiteX52" fmla="*/ 2844552 w 3904400"/>
                  <a:gd name="connsiteY52" fmla="*/ 3174604 h 4810829"/>
                  <a:gd name="connsiteX53" fmla="*/ 2939802 w 3904400"/>
                  <a:gd name="connsiteY53" fmla="*/ 3207941 h 4810829"/>
                  <a:gd name="connsiteX54" fmla="*/ 3282702 w 3904400"/>
                  <a:gd name="connsiteY54" fmla="*/ 3317479 h 4810829"/>
                  <a:gd name="connsiteX55" fmla="*/ 3658939 w 3904400"/>
                  <a:gd name="connsiteY55" fmla="*/ 3493691 h 4810829"/>
                  <a:gd name="connsiteX56" fmla="*/ 3868489 w 3904400"/>
                  <a:gd name="connsiteY56" fmla="*/ 3641329 h 4810829"/>
                  <a:gd name="connsiteX57" fmla="*/ 3901827 w 3904400"/>
                  <a:gd name="connsiteY57" fmla="*/ 3769916 h 4810829"/>
                  <a:gd name="connsiteX58" fmla="*/ 3878014 w 3904400"/>
                  <a:gd name="connsiteY58" fmla="*/ 4027091 h 4810829"/>
                  <a:gd name="connsiteX59" fmla="*/ 3792289 w 3904400"/>
                  <a:gd name="connsiteY59" fmla="*/ 4236641 h 4810829"/>
                  <a:gd name="connsiteX60" fmla="*/ 3620839 w 3904400"/>
                  <a:gd name="connsiteY60" fmla="*/ 4598591 h 4810829"/>
                  <a:gd name="connsiteX61" fmla="*/ 3473202 w 3904400"/>
                  <a:gd name="connsiteY61" fmla="*/ 4760516 h 4810829"/>
                  <a:gd name="connsiteX62" fmla="*/ 339477 w 3904400"/>
                  <a:gd name="connsiteY62" fmla="*/ 4760516 h 4810829"/>
                  <a:gd name="connsiteX63" fmla="*/ 163264 w 3904400"/>
                  <a:gd name="connsiteY63" fmla="*/ 4436666 h 4810829"/>
                  <a:gd name="connsiteX64" fmla="*/ 58489 w 3904400"/>
                  <a:gd name="connsiteY64" fmla="*/ 4141391 h 4810829"/>
                  <a:gd name="connsiteX65" fmla="*/ 1339 w 3904400"/>
                  <a:gd name="connsiteY65" fmla="*/ 3855641 h 4810829"/>
                  <a:gd name="connsiteX66" fmla="*/ 25152 w 3904400"/>
                  <a:gd name="connsiteY66" fmla="*/ 3703241 h 4810829"/>
                  <a:gd name="connsiteX67" fmla="*/ 220414 w 3904400"/>
                  <a:gd name="connsiteY67" fmla="*/ 3584179 h 4810829"/>
                  <a:gd name="connsiteX68" fmla="*/ 534739 w 3904400"/>
                  <a:gd name="connsiteY68" fmla="*/ 3450829 h 4810829"/>
                  <a:gd name="connsiteX69" fmla="*/ 934789 w 3904400"/>
                  <a:gd name="connsiteY69" fmla="*/ 3293666 h 4810829"/>
                  <a:gd name="connsiteX70" fmla="*/ 1134814 w 3904400"/>
                  <a:gd name="connsiteY70" fmla="*/ 3217466 h 4810829"/>
                  <a:gd name="connsiteX71" fmla="*/ 1277689 w 3904400"/>
                  <a:gd name="connsiteY71" fmla="*/ 2950766 h 4810829"/>
                  <a:gd name="connsiteX72" fmla="*/ 1372939 w 3904400"/>
                  <a:gd name="connsiteY72" fmla="*/ 2888854 h 4810829"/>
                  <a:gd name="connsiteX73" fmla="*/ 1444377 w 3904400"/>
                  <a:gd name="connsiteY73" fmla="*/ 2750741 h 4810829"/>
                  <a:gd name="connsiteX74" fmla="*/ 1430089 w 3904400"/>
                  <a:gd name="connsiteY74" fmla="*/ 2665016 h 4810829"/>
                  <a:gd name="connsiteX75" fmla="*/ 1433678 w 3904400"/>
                  <a:gd name="connsiteY75" fmla="*/ 2655556 h 4810829"/>
                  <a:gd name="connsiteX76" fmla="*/ 1412671 w 3904400"/>
                  <a:gd name="connsiteY76" fmla="*/ 2630242 h 4810829"/>
                  <a:gd name="connsiteX77" fmla="*/ 1171172 w 3904400"/>
                  <a:gd name="connsiteY77" fmla="*/ 2059985 h 4810829"/>
                  <a:gd name="connsiteX78" fmla="*/ 977027 w 3904400"/>
                  <a:gd name="connsiteY78" fmla="*/ 1612672 h 4810829"/>
                  <a:gd name="connsiteX79" fmla="*/ 1052790 w 3904400"/>
                  <a:gd name="connsiteY79" fmla="*/ 1487109 h 4810829"/>
                  <a:gd name="connsiteX80" fmla="*/ 1018186 w 3904400"/>
                  <a:gd name="connsiteY80" fmla="*/ 1277790 h 4810829"/>
                  <a:gd name="connsiteX81" fmla="*/ 934788 w 3904400"/>
                  <a:gd name="connsiteY81" fmla="*/ 1341041 h 4810829"/>
                  <a:gd name="connsiteX82" fmla="*/ 883988 w 3904400"/>
                  <a:gd name="connsiteY82" fmla="*/ 1404541 h 4810829"/>
                  <a:gd name="connsiteX83" fmla="*/ 839538 w 3904400"/>
                  <a:gd name="connsiteY83" fmla="*/ 1525191 h 4810829"/>
                  <a:gd name="connsiteX84" fmla="*/ 858588 w 3904400"/>
                  <a:gd name="connsiteY84" fmla="*/ 1645841 h 4810829"/>
                  <a:gd name="connsiteX85" fmla="*/ 890338 w 3904400"/>
                  <a:gd name="connsiteY85" fmla="*/ 1829991 h 4810829"/>
                  <a:gd name="connsiteX86" fmla="*/ 966538 w 3904400"/>
                  <a:gd name="connsiteY86" fmla="*/ 2128441 h 4810829"/>
                  <a:gd name="connsiteX87" fmla="*/ 1049088 w 3904400"/>
                  <a:gd name="connsiteY87" fmla="*/ 2198291 h 4810829"/>
                  <a:gd name="connsiteX88" fmla="*/ 1099888 w 3904400"/>
                  <a:gd name="connsiteY88" fmla="*/ 2331641 h 4810829"/>
                  <a:gd name="connsiteX89" fmla="*/ 1220538 w 3904400"/>
                  <a:gd name="connsiteY89" fmla="*/ 2566591 h 4810829"/>
                  <a:gd name="connsiteX90" fmla="*/ 1271338 w 3904400"/>
                  <a:gd name="connsiteY90" fmla="*/ 2712641 h 4810829"/>
                  <a:gd name="connsiteX91" fmla="*/ 1131638 w 3904400"/>
                  <a:gd name="connsiteY91" fmla="*/ 2750741 h 4810829"/>
                  <a:gd name="connsiteX92" fmla="*/ 928438 w 3904400"/>
                  <a:gd name="connsiteY92" fmla="*/ 2776141 h 4810829"/>
                  <a:gd name="connsiteX93" fmla="*/ 744288 w 3904400"/>
                  <a:gd name="connsiteY93" fmla="*/ 2731691 h 4810829"/>
                  <a:gd name="connsiteX94" fmla="*/ 661738 w 3904400"/>
                  <a:gd name="connsiteY94" fmla="*/ 2591991 h 4810829"/>
                  <a:gd name="connsiteX95" fmla="*/ 623638 w 3904400"/>
                  <a:gd name="connsiteY95" fmla="*/ 2344341 h 4810829"/>
                  <a:gd name="connsiteX96" fmla="*/ 636338 w 3904400"/>
                  <a:gd name="connsiteY96" fmla="*/ 2020491 h 4810829"/>
                  <a:gd name="connsiteX97" fmla="*/ 737938 w 3904400"/>
                  <a:gd name="connsiteY97" fmla="*/ 1328341 h 4810829"/>
                  <a:gd name="connsiteX98" fmla="*/ 972888 w 3904400"/>
                  <a:gd name="connsiteY98" fmla="*/ 623491 h 4810829"/>
                  <a:gd name="connsiteX99" fmla="*/ 1169738 w 3904400"/>
                  <a:gd name="connsiteY99" fmla="*/ 299641 h 4810829"/>
                  <a:gd name="connsiteX100" fmla="*/ 1360238 w 3904400"/>
                  <a:gd name="connsiteY100" fmla="*/ 140891 h 4810829"/>
                  <a:gd name="connsiteX101" fmla="*/ 1531688 w 3904400"/>
                  <a:gd name="connsiteY101" fmla="*/ 115491 h 4810829"/>
                  <a:gd name="connsiteX102" fmla="*/ 1677738 w 3904400"/>
                  <a:gd name="connsiteY102" fmla="*/ 13891 h 4810829"/>
                  <a:gd name="connsiteX103" fmla="*/ 1814660 w 3904400"/>
                  <a:gd name="connsiteY103" fmla="*/ 0 h 4810829"/>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630379 w 3904400"/>
                  <a:gd name="connsiteY39" fmla="*/ 973620 h 4848994"/>
                  <a:gd name="connsiteX40" fmla="*/ 2901551 w 3904400"/>
                  <a:gd name="connsiteY40" fmla="*/ 1067700 h 4848994"/>
                  <a:gd name="connsiteX41" fmla="*/ 2830884 w 3904400"/>
                  <a:gd name="connsiteY41" fmla="*/ 1212445 h 4848994"/>
                  <a:gd name="connsiteX42" fmla="*/ 2830884 w 3904400"/>
                  <a:gd name="connsiteY42" fmla="*/ 1445256 h 4848994"/>
                  <a:gd name="connsiteX43" fmla="*/ 2939795 w 3904400"/>
                  <a:gd name="connsiteY43" fmla="*/ 1531580 h 4848994"/>
                  <a:gd name="connsiteX44" fmla="*/ 2823781 w 3904400"/>
                  <a:gd name="connsiteY44" fmla="*/ 2041674 h 4848994"/>
                  <a:gd name="connsiteX45" fmla="*/ 2757487 w 3904400"/>
                  <a:gd name="connsiteY45" fmla="*/ 2086142 h 4848994"/>
                  <a:gd name="connsiteX46" fmla="*/ 2480886 w 3904400"/>
                  <a:gd name="connsiteY46" fmla="*/ 2698176 h 4848994"/>
                  <a:gd name="connsiteX47" fmla="*/ 2530227 w 3904400"/>
                  <a:gd name="connsiteY47" fmla="*/ 2817416 h 4848994"/>
                  <a:gd name="connsiteX48" fmla="*/ 2592139 w 3904400"/>
                  <a:gd name="connsiteY48" fmla="*/ 2874566 h 4848994"/>
                  <a:gd name="connsiteX49" fmla="*/ 2658814 w 3904400"/>
                  <a:gd name="connsiteY49" fmla="*/ 2884091 h 4848994"/>
                  <a:gd name="connsiteX50" fmla="*/ 2682627 w 3904400"/>
                  <a:gd name="connsiteY50" fmla="*/ 2912666 h 4848994"/>
                  <a:gd name="connsiteX51" fmla="*/ 2749302 w 3904400"/>
                  <a:gd name="connsiteY51" fmla="*/ 3079354 h 4848994"/>
                  <a:gd name="connsiteX52" fmla="*/ 2844552 w 3904400"/>
                  <a:gd name="connsiteY52" fmla="*/ 3174604 h 4848994"/>
                  <a:gd name="connsiteX53" fmla="*/ 2939802 w 3904400"/>
                  <a:gd name="connsiteY53" fmla="*/ 3207941 h 4848994"/>
                  <a:gd name="connsiteX54" fmla="*/ 3282702 w 3904400"/>
                  <a:gd name="connsiteY54" fmla="*/ 3317479 h 4848994"/>
                  <a:gd name="connsiteX55" fmla="*/ 3658939 w 3904400"/>
                  <a:gd name="connsiteY55" fmla="*/ 3493691 h 4848994"/>
                  <a:gd name="connsiteX56" fmla="*/ 3868489 w 3904400"/>
                  <a:gd name="connsiteY56" fmla="*/ 3641329 h 4848994"/>
                  <a:gd name="connsiteX57" fmla="*/ 3901827 w 3904400"/>
                  <a:gd name="connsiteY57" fmla="*/ 3769916 h 4848994"/>
                  <a:gd name="connsiteX58" fmla="*/ 3878014 w 3904400"/>
                  <a:gd name="connsiteY58" fmla="*/ 4027091 h 4848994"/>
                  <a:gd name="connsiteX59" fmla="*/ 3792289 w 3904400"/>
                  <a:gd name="connsiteY59" fmla="*/ 4236641 h 4848994"/>
                  <a:gd name="connsiteX60" fmla="*/ 3620839 w 3904400"/>
                  <a:gd name="connsiteY60" fmla="*/ 4598591 h 4848994"/>
                  <a:gd name="connsiteX61" fmla="*/ 3473202 w 3904400"/>
                  <a:gd name="connsiteY61" fmla="*/ 4760516 h 4848994"/>
                  <a:gd name="connsiteX62" fmla="*/ 339477 w 3904400"/>
                  <a:gd name="connsiteY62" fmla="*/ 4760516 h 4848994"/>
                  <a:gd name="connsiteX63" fmla="*/ 163264 w 3904400"/>
                  <a:gd name="connsiteY63" fmla="*/ 4436666 h 4848994"/>
                  <a:gd name="connsiteX64" fmla="*/ 58489 w 3904400"/>
                  <a:gd name="connsiteY64" fmla="*/ 4141391 h 4848994"/>
                  <a:gd name="connsiteX65" fmla="*/ 1339 w 3904400"/>
                  <a:gd name="connsiteY65" fmla="*/ 3855641 h 4848994"/>
                  <a:gd name="connsiteX66" fmla="*/ 25152 w 3904400"/>
                  <a:gd name="connsiteY66" fmla="*/ 3703241 h 4848994"/>
                  <a:gd name="connsiteX67" fmla="*/ 220414 w 3904400"/>
                  <a:gd name="connsiteY67" fmla="*/ 3584179 h 4848994"/>
                  <a:gd name="connsiteX68" fmla="*/ 534739 w 3904400"/>
                  <a:gd name="connsiteY68" fmla="*/ 3450829 h 4848994"/>
                  <a:gd name="connsiteX69" fmla="*/ 934789 w 3904400"/>
                  <a:gd name="connsiteY69" fmla="*/ 3293666 h 4848994"/>
                  <a:gd name="connsiteX70" fmla="*/ 1134814 w 3904400"/>
                  <a:gd name="connsiteY70" fmla="*/ 3217466 h 4848994"/>
                  <a:gd name="connsiteX71" fmla="*/ 1277689 w 3904400"/>
                  <a:gd name="connsiteY71" fmla="*/ 2950766 h 4848994"/>
                  <a:gd name="connsiteX72" fmla="*/ 1372939 w 3904400"/>
                  <a:gd name="connsiteY72" fmla="*/ 2888854 h 4848994"/>
                  <a:gd name="connsiteX73" fmla="*/ 1444377 w 3904400"/>
                  <a:gd name="connsiteY73" fmla="*/ 2750741 h 4848994"/>
                  <a:gd name="connsiteX74" fmla="*/ 1430089 w 3904400"/>
                  <a:gd name="connsiteY74" fmla="*/ 2665016 h 4848994"/>
                  <a:gd name="connsiteX75" fmla="*/ 1433678 w 3904400"/>
                  <a:gd name="connsiteY75" fmla="*/ 2655556 h 4848994"/>
                  <a:gd name="connsiteX76" fmla="*/ 1412671 w 3904400"/>
                  <a:gd name="connsiteY76" fmla="*/ 2630242 h 4848994"/>
                  <a:gd name="connsiteX77" fmla="*/ 1171172 w 3904400"/>
                  <a:gd name="connsiteY77" fmla="*/ 2059985 h 4848994"/>
                  <a:gd name="connsiteX78" fmla="*/ 977027 w 3904400"/>
                  <a:gd name="connsiteY78" fmla="*/ 1612672 h 4848994"/>
                  <a:gd name="connsiteX79" fmla="*/ 1052790 w 3904400"/>
                  <a:gd name="connsiteY79" fmla="*/ 1487109 h 4848994"/>
                  <a:gd name="connsiteX80" fmla="*/ 1018186 w 3904400"/>
                  <a:gd name="connsiteY80" fmla="*/ 1277790 h 4848994"/>
                  <a:gd name="connsiteX81" fmla="*/ 934788 w 3904400"/>
                  <a:gd name="connsiteY81" fmla="*/ 1341041 h 4848994"/>
                  <a:gd name="connsiteX82" fmla="*/ 883988 w 3904400"/>
                  <a:gd name="connsiteY82" fmla="*/ 1404541 h 4848994"/>
                  <a:gd name="connsiteX83" fmla="*/ 839538 w 3904400"/>
                  <a:gd name="connsiteY83" fmla="*/ 1525191 h 4848994"/>
                  <a:gd name="connsiteX84" fmla="*/ 858588 w 3904400"/>
                  <a:gd name="connsiteY84" fmla="*/ 1645841 h 4848994"/>
                  <a:gd name="connsiteX85" fmla="*/ 890338 w 3904400"/>
                  <a:gd name="connsiteY85" fmla="*/ 1829991 h 4848994"/>
                  <a:gd name="connsiteX86" fmla="*/ 966538 w 3904400"/>
                  <a:gd name="connsiteY86" fmla="*/ 2128441 h 4848994"/>
                  <a:gd name="connsiteX87" fmla="*/ 1049088 w 3904400"/>
                  <a:gd name="connsiteY87" fmla="*/ 2198291 h 4848994"/>
                  <a:gd name="connsiteX88" fmla="*/ 1099888 w 3904400"/>
                  <a:gd name="connsiteY88" fmla="*/ 2331641 h 4848994"/>
                  <a:gd name="connsiteX89" fmla="*/ 1220538 w 3904400"/>
                  <a:gd name="connsiteY89" fmla="*/ 2566591 h 4848994"/>
                  <a:gd name="connsiteX90" fmla="*/ 1271338 w 3904400"/>
                  <a:gd name="connsiteY90" fmla="*/ 2712641 h 4848994"/>
                  <a:gd name="connsiteX91" fmla="*/ 1131638 w 3904400"/>
                  <a:gd name="connsiteY91" fmla="*/ 2750741 h 4848994"/>
                  <a:gd name="connsiteX92" fmla="*/ 928438 w 3904400"/>
                  <a:gd name="connsiteY92" fmla="*/ 2776141 h 4848994"/>
                  <a:gd name="connsiteX93" fmla="*/ 744288 w 3904400"/>
                  <a:gd name="connsiteY93" fmla="*/ 2731691 h 4848994"/>
                  <a:gd name="connsiteX94" fmla="*/ 661738 w 3904400"/>
                  <a:gd name="connsiteY94" fmla="*/ 2591991 h 4848994"/>
                  <a:gd name="connsiteX95" fmla="*/ 623638 w 3904400"/>
                  <a:gd name="connsiteY95" fmla="*/ 2344341 h 4848994"/>
                  <a:gd name="connsiteX96" fmla="*/ 636338 w 3904400"/>
                  <a:gd name="connsiteY96" fmla="*/ 2020491 h 4848994"/>
                  <a:gd name="connsiteX97" fmla="*/ 737938 w 3904400"/>
                  <a:gd name="connsiteY97" fmla="*/ 1328341 h 4848994"/>
                  <a:gd name="connsiteX98" fmla="*/ 972888 w 3904400"/>
                  <a:gd name="connsiteY98" fmla="*/ 623491 h 4848994"/>
                  <a:gd name="connsiteX99" fmla="*/ 1169738 w 3904400"/>
                  <a:gd name="connsiteY99" fmla="*/ 299641 h 4848994"/>
                  <a:gd name="connsiteX100" fmla="*/ 1360238 w 3904400"/>
                  <a:gd name="connsiteY100" fmla="*/ 140891 h 4848994"/>
                  <a:gd name="connsiteX101" fmla="*/ 1531688 w 3904400"/>
                  <a:gd name="connsiteY101" fmla="*/ 115491 h 4848994"/>
                  <a:gd name="connsiteX102" fmla="*/ 1677738 w 3904400"/>
                  <a:gd name="connsiteY102" fmla="*/ 13891 h 4848994"/>
                  <a:gd name="connsiteX103" fmla="*/ 1814660 w 3904400"/>
                  <a:gd name="connsiteY103"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859098 w 3904400"/>
                  <a:gd name="connsiteY39" fmla="*/ 1103077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904400" h="4848994">
                    <a:moveTo>
                      <a:pt x="3062288" y="1005769"/>
                    </a:moveTo>
                    <a:lnTo>
                      <a:pt x="3082677" y="1026716"/>
                    </a:lnTo>
                    <a:cubicBezTo>
                      <a:pt x="3109664" y="1079897"/>
                      <a:pt x="3139827" y="1237060"/>
                      <a:pt x="3168402" y="1369616"/>
                    </a:cubicBezTo>
                    <a:cubicBezTo>
                      <a:pt x="3196977" y="1502172"/>
                      <a:pt x="3235077" y="1674417"/>
                      <a:pt x="3254127" y="1822054"/>
                    </a:cubicBezTo>
                    <a:cubicBezTo>
                      <a:pt x="3273177" y="1969691"/>
                      <a:pt x="3279527" y="2137966"/>
                      <a:pt x="3282702" y="2255441"/>
                    </a:cubicBezTo>
                    <a:cubicBezTo>
                      <a:pt x="3285877" y="2372916"/>
                      <a:pt x="3288258" y="2449116"/>
                      <a:pt x="3273177" y="2526904"/>
                    </a:cubicBezTo>
                    <a:cubicBezTo>
                      <a:pt x="3258096" y="2604692"/>
                      <a:pt x="3230314" y="2684860"/>
                      <a:pt x="3192214" y="2722166"/>
                    </a:cubicBezTo>
                    <a:cubicBezTo>
                      <a:pt x="3154114" y="2759472"/>
                      <a:pt x="3108077" y="2749154"/>
                      <a:pt x="3044577" y="2750741"/>
                    </a:cubicBezTo>
                    <a:cubicBezTo>
                      <a:pt x="2981077" y="2752328"/>
                      <a:pt x="2879476" y="2745185"/>
                      <a:pt x="2811214" y="2731691"/>
                    </a:cubicBezTo>
                    <a:cubicBezTo>
                      <a:pt x="2742952" y="2718197"/>
                      <a:pt x="2660402" y="2691210"/>
                      <a:pt x="2635002" y="2669779"/>
                    </a:cubicBezTo>
                    <a:cubicBezTo>
                      <a:pt x="2609602" y="2648348"/>
                      <a:pt x="2638970" y="2635648"/>
                      <a:pt x="2658814" y="2603104"/>
                    </a:cubicBezTo>
                    <a:cubicBezTo>
                      <a:pt x="2678658" y="2570560"/>
                      <a:pt x="2723108" y="2532460"/>
                      <a:pt x="2754064" y="2474516"/>
                    </a:cubicBezTo>
                    <a:cubicBezTo>
                      <a:pt x="2785020" y="2416572"/>
                      <a:pt x="2826296" y="2307828"/>
                      <a:pt x="2844552" y="2255441"/>
                    </a:cubicBezTo>
                    <a:cubicBezTo>
                      <a:pt x="2862808" y="2203054"/>
                      <a:pt x="2850902" y="2186385"/>
                      <a:pt x="2863602" y="2160191"/>
                    </a:cubicBezTo>
                    <a:cubicBezTo>
                      <a:pt x="2876302" y="2133997"/>
                      <a:pt x="2897733" y="2149079"/>
                      <a:pt x="2920752" y="2098279"/>
                    </a:cubicBezTo>
                    <a:cubicBezTo>
                      <a:pt x="2943771" y="2047479"/>
                      <a:pt x="2978695" y="1938735"/>
                      <a:pt x="3001714" y="1855391"/>
                    </a:cubicBezTo>
                    <a:cubicBezTo>
                      <a:pt x="3024733" y="1772047"/>
                      <a:pt x="3048545" y="1660129"/>
                      <a:pt x="3058864" y="1598216"/>
                    </a:cubicBezTo>
                    <a:cubicBezTo>
                      <a:pt x="3069183" y="1536303"/>
                      <a:pt x="3071564" y="1520428"/>
                      <a:pt x="3063627" y="1483916"/>
                    </a:cubicBezTo>
                    <a:cubicBezTo>
                      <a:pt x="3055690" y="1447404"/>
                      <a:pt x="3028702" y="1404541"/>
                      <a:pt x="3011239" y="1379141"/>
                    </a:cubicBezTo>
                    <a:cubicBezTo>
                      <a:pt x="2993776" y="1353741"/>
                      <a:pt x="2969171" y="1355329"/>
                      <a:pt x="2958852" y="1331516"/>
                    </a:cubicBezTo>
                    <a:cubicBezTo>
                      <a:pt x="2948533" y="1307704"/>
                      <a:pt x="2949327" y="1271191"/>
                      <a:pt x="2949327" y="1236266"/>
                    </a:cubicBezTo>
                    <a:cubicBezTo>
                      <a:pt x="2949327" y="1201341"/>
                      <a:pt x="2949327" y="1152922"/>
                      <a:pt x="2958852" y="1121966"/>
                    </a:cubicBezTo>
                    <a:cubicBezTo>
                      <a:pt x="2968377" y="1091010"/>
                      <a:pt x="2985839" y="1066404"/>
                      <a:pt x="3006477" y="1050529"/>
                    </a:cubicBezTo>
                    <a:cubicBezTo>
                      <a:pt x="3021955" y="1038623"/>
                      <a:pt x="3041898" y="1001267"/>
                      <a:pt x="3062288" y="1005769"/>
                    </a:cubicBezTo>
                    <a:close/>
                    <a:moveTo>
                      <a:pt x="1814660" y="0"/>
                    </a:moveTo>
                    <a:lnTo>
                      <a:pt x="1957138" y="1191"/>
                    </a:lnTo>
                    <a:cubicBezTo>
                      <a:pt x="2036513" y="2249"/>
                      <a:pt x="2083080" y="133"/>
                      <a:pt x="2153988" y="20241"/>
                    </a:cubicBezTo>
                    <a:cubicBezTo>
                      <a:pt x="2224896" y="40349"/>
                      <a:pt x="2301096" y="69983"/>
                      <a:pt x="2382588" y="121841"/>
                    </a:cubicBezTo>
                    <a:cubicBezTo>
                      <a:pt x="2464080" y="173699"/>
                      <a:pt x="2548747" y="236141"/>
                      <a:pt x="2642938" y="331391"/>
                    </a:cubicBezTo>
                    <a:cubicBezTo>
                      <a:pt x="2737129" y="426641"/>
                      <a:pt x="2877888" y="601266"/>
                      <a:pt x="2947738" y="693341"/>
                    </a:cubicBezTo>
                    <a:cubicBezTo>
                      <a:pt x="3017588" y="785416"/>
                      <a:pt x="3051455" y="831983"/>
                      <a:pt x="3062038" y="883841"/>
                    </a:cubicBezTo>
                    <a:cubicBezTo>
                      <a:pt x="3072621" y="935699"/>
                      <a:pt x="3037696" y="974858"/>
                      <a:pt x="3011238" y="1004491"/>
                    </a:cubicBezTo>
                    <a:cubicBezTo>
                      <a:pt x="2984780" y="1034124"/>
                      <a:pt x="2933980" y="1062699"/>
                      <a:pt x="2903288" y="1061641"/>
                    </a:cubicBezTo>
                    <a:cubicBezTo>
                      <a:pt x="2872596" y="1060583"/>
                      <a:pt x="2868363" y="1038358"/>
                      <a:pt x="2827088" y="998141"/>
                    </a:cubicBezTo>
                    <a:cubicBezTo>
                      <a:pt x="2785813" y="957924"/>
                      <a:pt x="2735013" y="874316"/>
                      <a:pt x="2655638" y="820341"/>
                    </a:cubicBezTo>
                    <a:cubicBezTo>
                      <a:pt x="2576263" y="766366"/>
                      <a:pt x="2456671" y="698633"/>
                      <a:pt x="2350838" y="674291"/>
                    </a:cubicBezTo>
                    <a:cubicBezTo>
                      <a:pt x="2245005" y="649949"/>
                      <a:pt x="2004008" y="658416"/>
                      <a:pt x="2020638" y="674291"/>
                    </a:cubicBezTo>
                    <a:cubicBezTo>
                      <a:pt x="2037268" y="690166"/>
                      <a:pt x="2322805" y="697365"/>
                      <a:pt x="2450619" y="769542"/>
                    </a:cubicBezTo>
                    <a:cubicBezTo>
                      <a:pt x="2578433" y="841719"/>
                      <a:pt x="2592091" y="839501"/>
                      <a:pt x="2660171" y="895090"/>
                    </a:cubicBezTo>
                    <a:cubicBezTo>
                      <a:pt x="2728251" y="950679"/>
                      <a:pt x="2812957" y="1052543"/>
                      <a:pt x="2859098" y="1103077"/>
                    </a:cubicBezTo>
                    <a:cubicBezTo>
                      <a:pt x="2840639" y="1173982"/>
                      <a:pt x="2842709" y="1151206"/>
                      <a:pt x="2830884" y="1212445"/>
                    </a:cubicBezTo>
                    <a:cubicBezTo>
                      <a:pt x="2856921" y="1275211"/>
                      <a:pt x="2830896" y="1445184"/>
                      <a:pt x="2830884" y="1445256"/>
                    </a:cubicBezTo>
                    <a:cubicBezTo>
                      <a:pt x="2830987" y="1445263"/>
                      <a:pt x="2939795" y="1453141"/>
                      <a:pt x="2939795" y="1531580"/>
                    </a:cubicBezTo>
                    <a:cubicBezTo>
                      <a:pt x="2939795" y="1610041"/>
                      <a:pt x="2823824" y="2041512"/>
                      <a:pt x="2823781" y="2041674"/>
                    </a:cubicBezTo>
                    <a:cubicBezTo>
                      <a:pt x="2823748" y="2041731"/>
                      <a:pt x="2792983" y="2093987"/>
                      <a:pt x="2757487" y="2086142"/>
                    </a:cubicBezTo>
                    <a:cubicBezTo>
                      <a:pt x="2719935" y="2402501"/>
                      <a:pt x="2591644" y="2600616"/>
                      <a:pt x="2480886" y="2698176"/>
                    </a:cubicBezTo>
                    <a:cubicBezTo>
                      <a:pt x="2497333" y="2737923"/>
                      <a:pt x="2509017" y="2787194"/>
                      <a:pt x="2530227" y="2817416"/>
                    </a:cubicBezTo>
                    <a:lnTo>
                      <a:pt x="2592139" y="2874566"/>
                    </a:lnTo>
                    <a:lnTo>
                      <a:pt x="2658814" y="2884091"/>
                    </a:lnTo>
                    <a:lnTo>
                      <a:pt x="2682627" y="2912666"/>
                    </a:lnTo>
                    <a:lnTo>
                      <a:pt x="2749302" y="3079354"/>
                    </a:lnTo>
                    <a:lnTo>
                      <a:pt x="2844552" y="3174604"/>
                    </a:lnTo>
                    <a:lnTo>
                      <a:pt x="2939802" y="3207941"/>
                    </a:lnTo>
                    <a:lnTo>
                      <a:pt x="3282702" y="3317479"/>
                    </a:lnTo>
                    <a:lnTo>
                      <a:pt x="3658939" y="3493691"/>
                    </a:lnTo>
                    <a:lnTo>
                      <a:pt x="3868489" y="3641329"/>
                    </a:lnTo>
                    <a:cubicBezTo>
                      <a:pt x="3879602" y="3684191"/>
                      <a:pt x="3906589" y="3708004"/>
                      <a:pt x="3901827" y="3769916"/>
                    </a:cubicBezTo>
                    <a:cubicBezTo>
                      <a:pt x="3909764" y="3830241"/>
                      <a:pt x="3898652" y="3938191"/>
                      <a:pt x="3878014" y="4027091"/>
                    </a:cubicBezTo>
                    <a:cubicBezTo>
                      <a:pt x="3855789" y="4119166"/>
                      <a:pt x="3820864" y="4166791"/>
                      <a:pt x="3792289" y="4236641"/>
                    </a:cubicBezTo>
                    <a:lnTo>
                      <a:pt x="3620839" y="4598591"/>
                    </a:lnTo>
                    <a:lnTo>
                      <a:pt x="3473202" y="4760516"/>
                    </a:lnTo>
                    <a:cubicBezTo>
                      <a:pt x="2419193" y="4883157"/>
                      <a:pt x="1553862" y="4873723"/>
                      <a:pt x="339477" y="4760516"/>
                    </a:cubicBezTo>
                    <a:lnTo>
                      <a:pt x="163264" y="4436666"/>
                    </a:lnTo>
                    <a:lnTo>
                      <a:pt x="58489" y="4141391"/>
                    </a:lnTo>
                    <a:cubicBezTo>
                      <a:pt x="39439" y="4046141"/>
                      <a:pt x="14039" y="3992166"/>
                      <a:pt x="1339" y="3855641"/>
                    </a:cubicBezTo>
                    <a:cubicBezTo>
                      <a:pt x="-3423" y="3795316"/>
                      <a:pt x="4514" y="3744516"/>
                      <a:pt x="25152" y="3703241"/>
                    </a:cubicBezTo>
                    <a:lnTo>
                      <a:pt x="220414" y="3584179"/>
                    </a:lnTo>
                    <a:lnTo>
                      <a:pt x="534739" y="3450829"/>
                    </a:lnTo>
                    <a:lnTo>
                      <a:pt x="934789" y="3293666"/>
                    </a:lnTo>
                    <a:lnTo>
                      <a:pt x="1134814" y="3217466"/>
                    </a:lnTo>
                    <a:cubicBezTo>
                      <a:pt x="1234827" y="3090466"/>
                      <a:pt x="1241971" y="3068241"/>
                      <a:pt x="1277689" y="2950766"/>
                    </a:cubicBezTo>
                    <a:lnTo>
                      <a:pt x="1372939" y="2888854"/>
                    </a:lnTo>
                    <a:lnTo>
                      <a:pt x="1444377" y="2750741"/>
                    </a:lnTo>
                    <a:lnTo>
                      <a:pt x="1430089" y="2665016"/>
                    </a:lnTo>
                    <a:lnTo>
                      <a:pt x="1433678" y="2655556"/>
                    </a:lnTo>
                    <a:cubicBezTo>
                      <a:pt x="1422983" y="2644679"/>
                      <a:pt x="1415776" y="2635961"/>
                      <a:pt x="1412671" y="2630242"/>
                    </a:cubicBezTo>
                    <a:cubicBezTo>
                      <a:pt x="1381893" y="2577926"/>
                      <a:pt x="1178275" y="2345112"/>
                      <a:pt x="1171172" y="2059985"/>
                    </a:cubicBezTo>
                    <a:cubicBezTo>
                      <a:pt x="1071731" y="2052136"/>
                      <a:pt x="1014908" y="1764391"/>
                      <a:pt x="977027" y="1612672"/>
                    </a:cubicBezTo>
                    <a:cubicBezTo>
                      <a:pt x="946258" y="1484545"/>
                      <a:pt x="1052708" y="1487108"/>
                      <a:pt x="1052790" y="1487109"/>
                    </a:cubicBezTo>
                    <a:cubicBezTo>
                      <a:pt x="1052758" y="1487025"/>
                      <a:pt x="992834" y="1362590"/>
                      <a:pt x="1018186" y="1277790"/>
                    </a:cubicBezTo>
                    <a:cubicBezTo>
                      <a:pt x="962383" y="1308036"/>
                      <a:pt x="957154" y="1319916"/>
                      <a:pt x="934788" y="1341041"/>
                    </a:cubicBezTo>
                    <a:cubicBezTo>
                      <a:pt x="912422" y="1362166"/>
                      <a:pt x="899863" y="1373849"/>
                      <a:pt x="883988" y="1404541"/>
                    </a:cubicBezTo>
                    <a:cubicBezTo>
                      <a:pt x="868113" y="1435233"/>
                      <a:pt x="843771" y="1484974"/>
                      <a:pt x="839538" y="1525191"/>
                    </a:cubicBezTo>
                    <a:cubicBezTo>
                      <a:pt x="835305" y="1565408"/>
                      <a:pt x="850121" y="1595041"/>
                      <a:pt x="858588" y="1645841"/>
                    </a:cubicBezTo>
                    <a:cubicBezTo>
                      <a:pt x="867055" y="1696641"/>
                      <a:pt x="872346" y="1749558"/>
                      <a:pt x="890338" y="1829991"/>
                    </a:cubicBezTo>
                    <a:cubicBezTo>
                      <a:pt x="908330" y="1910424"/>
                      <a:pt x="940080" y="2067058"/>
                      <a:pt x="966538" y="2128441"/>
                    </a:cubicBezTo>
                    <a:cubicBezTo>
                      <a:pt x="992996" y="2189824"/>
                      <a:pt x="1026863" y="2164424"/>
                      <a:pt x="1049088" y="2198291"/>
                    </a:cubicBezTo>
                    <a:cubicBezTo>
                      <a:pt x="1071313" y="2232158"/>
                      <a:pt x="1071313" y="2270258"/>
                      <a:pt x="1099888" y="2331641"/>
                    </a:cubicBezTo>
                    <a:cubicBezTo>
                      <a:pt x="1128463" y="2393024"/>
                      <a:pt x="1191963" y="2503091"/>
                      <a:pt x="1220538" y="2566591"/>
                    </a:cubicBezTo>
                    <a:cubicBezTo>
                      <a:pt x="1249113" y="2630091"/>
                      <a:pt x="1286155" y="2681949"/>
                      <a:pt x="1271338" y="2712641"/>
                    </a:cubicBezTo>
                    <a:cubicBezTo>
                      <a:pt x="1256521" y="2743333"/>
                      <a:pt x="1188788" y="2740158"/>
                      <a:pt x="1131638" y="2750741"/>
                    </a:cubicBezTo>
                    <a:cubicBezTo>
                      <a:pt x="1074488" y="2761324"/>
                      <a:pt x="992996" y="2779316"/>
                      <a:pt x="928438" y="2776141"/>
                    </a:cubicBezTo>
                    <a:cubicBezTo>
                      <a:pt x="863880" y="2772966"/>
                      <a:pt x="788738" y="2762383"/>
                      <a:pt x="744288" y="2731691"/>
                    </a:cubicBezTo>
                    <a:cubicBezTo>
                      <a:pt x="699838" y="2700999"/>
                      <a:pt x="681846" y="2656549"/>
                      <a:pt x="661738" y="2591991"/>
                    </a:cubicBezTo>
                    <a:cubicBezTo>
                      <a:pt x="641630" y="2527433"/>
                      <a:pt x="627871" y="2439591"/>
                      <a:pt x="623638" y="2344341"/>
                    </a:cubicBezTo>
                    <a:cubicBezTo>
                      <a:pt x="619405" y="2249091"/>
                      <a:pt x="617288" y="2189824"/>
                      <a:pt x="636338" y="2020491"/>
                    </a:cubicBezTo>
                    <a:cubicBezTo>
                      <a:pt x="655388" y="1851158"/>
                      <a:pt x="681846" y="1561174"/>
                      <a:pt x="737938" y="1328341"/>
                    </a:cubicBezTo>
                    <a:cubicBezTo>
                      <a:pt x="794030" y="1095508"/>
                      <a:pt x="900921" y="794941"/>
                      <a:pt x="972888" y="623491"/>
                    </a:cubicBezTo>
                    <a:cubicBezTo>
                      <a:pt x="1044855" y="452041"/>
                      <a:pt x="1105180" y="380074"/>
                      <a:pt x="1169738" y="299641"/>
                    </a:cubicBezTo>
                    <a:cubicBezTo>
                      <a:pt x="1234296" y="219208"/>
                      <a:pt x="1299913" y="171583"/>
                      <a:pt x="1360238" y="140891"/>
                    </a:cubicBezTo>
                    <a:cubicBezTo>
                      <a:pt x="1420563" y="110199"/>
                      <a:pt x="1478771" y="136658"/>
                      <a:pt x="1531688" y="115491"/>
                    </a:cubicBezTo>
                    <a:cubicBezTo>
                      <a:pt x="1584605" y="94324"/>
                      <a:pt x="1605771" y="32941"/>
                      <a:pt x="1677738" y="13891"/>
                    </a:cubicBezTo>
                    <a:cubicBezTo>
                      <a:pt x="1713722" y="4366"/>
                      <a:pt x="1763728" y="926"/>
                      <a:pt x="181466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578">
                  <a:defRPr/>
                </a:pPr>
                <a:endParaRPr lang="en-US" sz="1797" kern="0" dirty="0">
                  <a:solidFill>
                    <a:srgbClr val="FFFFFF"/>
                  </a:solidFill>
                  <a:latin typeface="Segoe UI"/>
                </a:endParaRPr>
              </a:p>
            </p:txBody>
          </p:sp>
        </p:grpSp>
        <p:sp>
          <p:nvSpPr>
            <p:cNvPr id="362" name="TextBox 361">
              <a:extLst>
                <a:ext uri="{FF2B5EF4-FFF2-40B4-BE49-F238E27FC236}">
                  <a16:creationId xmlns:a16="http://schemas.microsoft.com/office/drawing/2014/main" id="{8444B175-80C7-4BA5-9720-E46D52100398}"/>
                </a:ext>
              </a:extLst>
            </p:cNvPr>
            <p:cNvSpPr txBox="1"/>
            <p:nvPr/>
          </p:nvSpPr>
          <p:spPr>
            <a:xfrm>
              <a:off x="8882332" y="2633130"/>
              <a:ext cx="1250351" cy="463893"/>
            </a:xfrm>
            <a:prstGeom prst="rect">
              <a:avLst/>
            </a:prstGeom>
          </p:spPr>
          <p:txBody>
            <a:bodyPr vert="horz" wrap="none" lIns="0" tIns="0" rIns="0" bIns="0" rtlCol="0" anchor="t">
              <a:spAutoFit/>
            </a:bodyPr>
            <a:lstStyle>
              <a:defPPr>
                <a:defRPr lang="en-US"/>
              </a:defPPr>
              <a:lvl1pPr algn="ctr" defTabSz="1088105">
                <a:defRPr sz="1200">
                  <a:solidFill>
                    <a:srgbClr val="505050"/>
                  </a:solidFill>
                  <a:ea typeface="Segoe UI" pitchFamily="34" charset="0"/>
                  <a:cs typeface="Segoe UI" pitchFamily="34" charset="0"/>
                </a:defRPr>
              </a:lvl1pPr>
            </a:lstStyle>
            <a:p>
              <a:pPr defTabSz="1087779">
                <a:defRPr/>
              </a:pPr>
              <a:r>
                <a:rPr lang="en-US" kern="0" dirty="0">
                  <a:latin typeface="Segoe UI Semibold" panose="020B0702040204020203" pitchFamily="34" charset="0"/>
                  <a:cs typeface="Segoe UI Semibold" panose="020B0702040204020203" pitchFamily="34" charset="0"/>
                </a:rPr>
                <a:t>Manufacturing</a:t>
              </a:r>
              <a:br>
                <a:rPr lang="en-US" kern="0" dirty="0">
                  <a:latin typeface="Segoe UI Semibold" panose="020B0702040204020203" pitchFamily="34" charset="0"/>
                  <a:cs typeface="Segoe UI Semibold" panose="020B0702040204020203" pitchFamily="34" charset="0"/>
                </a:rPr>
              </a:br>
              <a:r>
                <a:rPr lang="en-US" kern="0" dirty="0">
                  <a:latin typeface="Segoe UI Semibold" panose="020B0702040204020203" pitchFamily="34" charset="0"/>
                  <a:cs typeface="Segoe UI Semibold" panose="020B0702040204020203" pitchFamily="34" charset="0"/>
                </a:rPr>
                <a:t>Plant Crew</a:t>
              </a:r>
            </a:p>
          </p:txBody>
        </p:sp>
      </p:grpSp>
      <p:grpSp>
        <p:nvGrpSpPr>
          <p:cNvPr id="409" name="Group 408">
            <a:extLst>
              <a:ext uri="{FF2B5EF4-FFF2-40B4-BE49-F238E27FC236}">
                <a16:creationId xmlns:a16="http://schemas.microsoft.com/office/drawing/2014/main" id="{FAE6B078-CCF2-4647-AF60-B5F0615E29B7}"/>
              </a:ext>
            </a:extLst>
          </p:cNvPr>
          <p:cNvGrpSpPr/>
          <p:nvPr/>
        </p:nvGrpSpPr>
        <p:grpSpPr>
          <a:xfrm>
            <a:off x="220183" y="5285517"/>
            <a:ext cx="1640695" cy="1391553"/>
            <a:chOff x="379041" y="1682742"/>
            <a:chExt cx="2238794" cy="1433838"/>
          </a:xfrm>
        </p:grpSpPr>
        <p:sp>
          <p:nvSpPr>
            <p:cNvPr id="410" name="Oval 409">
              <a:extLst>
                <a:ext uri="{FF2B5EF4-FFF2-40B4-BE49-F238E27FC236}">
                  <a16:creationId xmlns:a16="http://schemas.microsoft.com/office/drawing/2014/main" id="{65663A05-8F5E-42B1-9C90-A7328A81FB53}"/>
                </a:ext>
              </a:extLst>
            </p:cNvPr>
            <p:cNvSpPr/>
            <p:nvPr/>
          </p:nvSpPr>
          <p:spPr>
            <a:xfrm>
              <a:off x="379041" y="1682742"/>
              <a:ext cx="2238794" cy="1433838"/>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r" defTabSz="913852">
                <a:defRPr/>
              </a:pPr>
              <a:endParaRPr lang="en-US" sz="1200" dirty="0">
                <a:solidFill>
                  <a:prstClr val="white"/>
                </a:solidFill>
                <a:latin typeface="Segoe UI"/>
              </a:endParaRPr>
            </a:p>
          </p:txBody>
        </p:sp>
        <p:sp>
          <p:nvSpPr>
            <p:cNvPr id="411" name="TextBox 410">
              <a:extLst>
                <a:ext uri="{FF2B5EF4-FFF2-40B4-BE49-F238E27FC236}">
                  <a16:creationId xmlns:a16="http://schemas.microsoft.com/office/drawing/2014/main" id="{B89F5CA6-BEDD-4988-9362-AC4499D34862}"/>
                </a:ext>
              </a:extLst>
            </p:cNvPr>
            <p:cNvSpPr txBox="1"/>
            <p:nvPr/>
          </p:nvSpPr>
          <p:spPr>
            <a:xfrm>
              <a:off x="1044251" y="2171319"/>
              <a:ext cx="853221" cy="169653"/>
            </a:xfrm>
            <a:prstGeom prst="rect">
              <a:avLst/>
            </a:prstGeom>
          </p:spPr>
          <p:txBody>
            <a:bodyPr vert="horz" wrap="square" lIns="0" tIns="0" rIns="0" bIns="0" rtlCol="0" anchor="t">
              <a:noAutofit/>
            </a:bodyPr>
            <a:lstStyle/>
            <a:p>
              <a:pPr algn="ctr" defTabSz="913852">
                <a:defRPr/>
              </a:pPr>
              <a:r>
                <a:rPr lang="en-US" sz="1050" dirty="0">
                  <a:solidFill>
                    <a:srgbClr val="505050"/>
                  </a:solidFill>
                  <a:latin typeface="Segoe UI"/>
                  <a:ea typeface="Segoe UI" pitchFamily="34" charset="0"/>
                  <a:cs typeface="Segoe UI" pitchFamily="34" charset="0"/>
                </a:rPr>
                <a:t>Factory</a:t>
              </a:r>
            </a:p>
          </p:txBody>
        </p:sp>
        <p:sp>
          <p:nvSpPr>
            <p:cNvPr id="412" name="Freeform 371">
              <a:extLst>
                <a:ext uri="{FF2B5EF4-FFF2-40B4-BE49-F238E27FC236}">
                  <a16:creationId xmlns:a16="http://schemas.microsoft.com/office/drawing/2014/main" id="{AE882633-CC02-4A81-900D-6D339DF63D95}"/>
                </a:ext>
              </a:extLst>
            </p:cNvPr>
            <p:cNvSpPr/>
            <p:nvPr/>
          </p:nvSpPr>
          <p:spPr>
            <a:xfrm>
              <a:off x="1249879" y="1762530"/>
              <a:ext cx="451723" cy="405557"/>
            </a:xfrm>
            <a:custGeom>
              <a:avLst/>
              <a:gdLst/>
              <a:ahLst/>
              <a:cxnLst/>
              <a:rect l="l" t="t" r="r" b="b"/>
              <a:pathLst>
                <a:path w="6141720" h="5514049">
                  <a:moveTo>
                    <a:pt x="2437765" y="4651720"/>
                  </a:moveTo>
                  <a:lnTo>
                    <a:pt x="1748790" y="4880320"/>
                  </a:lnTo>
                  <a:lnTo>
                    <a:pt x="3021965" y="5321645"/>
                  </a:lnTo>
                  <a:lnTo>
                    <a:pt x="4457065" y="4893020"/>
                  </a:lnTo>
                  <a:lnTo>
                    <a:pt x="3041015" y="4800945"/>
                  </a:lnTo>
                  <a:close/>
                  <a:moveTo>
                    <a:pt x="1005840" y="4480270"/>
                  </a:moveTo>
                  <a:lnTo>
                    <a:pt x="878840" y="4524720"/>
                  </a:lnTo>
                  <a:lnTo>
                    <a:pt x="1551940" y="4731095"/>
                  </a:lnTo>
                  <a:lnTo>
                    <a:pt x="1678940" y="4686645"/>
                  </a:lnTo>
                  <a:close/>
                  <a:moveTo>
                    <a:pt x="586740" y="4207220"/>
                  </a:moveTo>
                  <a:lnTo>
                    <a:pt x="97790" y="4311995"/>
                  </a:lnTo>
                  <a:lnTo>
                    <a:pt x="789940" y="4556470"/>
                  </a:lnTo>
                  <a:lnTo>
                    <a:pt x="789940" y="4508845"/>
                  </a:lnTo>
                  <a:lnTo>
                    <a:pt x="945515" y="4461220"/>
                  </a:lnTo>
                  <a:lnTo>
                    <a:pt x="945515" y="4365970"/>
                  </a:lnTo>
                  <a:lnTo>
                    <a:pt x="1069340" y="4331045"/>
                  </a:lnTo>
                  <a:close/>
                  <a:moveTo>
                    <a:pt x="3918109" y="3795264"/>
                  </a:moveTo>
                  <a:lnTo>
                    <a:pt x="3587115" y="3809551"/>
                  </a:lnTo>
                  <a:lnTo>
                    <a:pt x="3587115" y="3864320"/>
                  </a:lnTo>
                  <a:lnTo>
                    <a:pt x="3872865" y="3847651"/>
                  </a:lnTo>
                  <a:lnTo>
                    <a:pt x="3872865" y="4278658"/>
                  </a:lnTo>
                  <a:lnTo>
                    <a:pt x="3920490" y="4269133"/>
                  </a:lnTo>
                  <a:cubicBezTo>
                    <a:pt x="3919696" y="4111177"/>
                    <a:pt x="3918903" y="3953220"/>
                    <a:pt x="3918109" y="3795264"/>
                  </a:cubicBezTo>
                  <a:close/>
                  <a:moveTo>
                    <a:pt x="4713446" y="3754783"/>
                  </a:moveTo>
                  <a:lnTo>
                    <a:pt x="4434840" y="3769070"/>
                  </a:lnTo>
                  <a:lnTo>
                    <a:pt x="4434840" y="3819076"/>
                  </a:lnTo>
                  <a:lnTo>
                    <a:pt x="4672965" y="3797645"/>
                  </a:lnTo>
                  <a:lnTo>
                    <a:pt x="4672965" y="4161976"/>
                  </a:lnTo>
                  <a:lnTo>
                    <a:pt x="4713446" y="4157214"/>
                  </a:lnTo>
                  <a:close/>
                  <a:moveTo>
                    <a:pt x="5356384" y="3719064"/>
                  </a:moveTo>
                  <a:lnTo>
                    <a:pt x="5120640" y="3730970"/>
                  </a:lnTo>
                  <a:lnTo>
                    <a:pt x="5120640" y="3766689"/>
                  </a:lnTo>
                  <a:lnTo>
                    <a:pt x="5327809" y="3761926"/>
                  </a:lnTo>
                  <a:lnTo>
                    <a:pt x="5342096" y="4064345"/>
                  </a:lnTo>
                  <a:lnTo>
                    <a:pt x="5370671" y="4059583"/>
                  </a:lnTo>
                  <a:close/>
                  <a:moveTo>
                    <a:pt x="5127784" y="3018976"/>
                  </a:moveTo>
                  <a:lnTo>
                    <a:pt x="5127784" y="3057076"/>
                  </a:lnTo>
                  <a:lnTo>
                    <a:pt x="5323046" y="3076126"/>
                  </a:lnTo>
                  <a:lnTo>
                    <a:pt x="5339715" y="3378545"/>
                  </a:lnTo>
                  <a:lnTo>
                    <a:pt x="5368290" y="3383307"/>
                  </a:lnTo>
                  <a:lnTo>
                    <a:pt x="5356384" y="3049933"/>
                  </a:lnTo>
                  <a:close/>
                  <a:moveTo>
                    <a:pt x="4434840" y="2952301"/>
                  </a:moveTo>
                  <a:lnTo>
                    <a:pt x="4437222" y="2995165"/>
                  </a:lnTo>
                  <a:cubicBezTo>
                    <a:pt x="4671378" y="3011833"/>
                    <a:pt x="4555490" y="3004690"/>
                    <a:pt x="4680109" y="3016595"/>
                  </a:cubicBezTo>
                  <a:lnTo>
                    <a:pt x="4680109" y="3376164"/>
                  </a:lnTo>
                  <a:lnTo>
                    <a:pt x="4718209" y="3380926"/>
                  </a:lnTo>
                  <a:cubicBezTo>
                    <a:pt x="4716621" y="3246782"/>
                    <a:pt x="4715034" y="3112639"/>
                    <a:pt x="4713446" y="2978495"/>
                  </a:cubicBezTo>
                  <a:close/>
                  <a:moveTo>
                    <a:pt x="1129665" y="2921345"/>
                  </a:moveTo>
                  <a:lnTo>
                    <a:pt x="656590" y="2994370"/>
                  </a:lnTo>
                  <a:lnTo>
                    <a:pt x="621665" y="4153245"/>
                  </a:lnTo>
                  <a:lnTo>
                    <a:pt x="1097915" y="4273895"/>
                  </a:lnTo>
                  <a:close/>
                  <a:moveTo>
                    <a:pt x="3589496" y="2868958"/>
                  </a:moveTo>
                  <a:lnTo>
                    <a:pt x="3589496" y="2918964"/>
                  </a:lnTo>
                  <a:lnTo>
                    <a:pt x="3875246" y="2949920"/>
                  </a:lnTo>
                  <a:lnTo>
                    <a:pt x="3875246" y="3380926"/>
                  </a:lnTo>
                  <a:lnTo>
                    <a:pt x="3920490" y="3380926"/>
                  </a:lnTo>
                  <a:lnTo>
                    <a:pt x="3920490" y="2902295"/>
                  </a:lnTo>
                  <a:close/>
                  <a:moveTo>
                    <a:pt x="1139190" y="2728464"/>
                  </a:moveTo>
                  <a:lnTo>
                    <a:pt x="605790" y="2838001"/>
                  </a:lnTo>
                  <a:lnTo>
                    <a:pt x="605790" y="2888008"/>
                  </a:lnTo>
                  <a:lnTo>
                    <a:pt x="1139190" y="2778470"/>
                  </a:lnTo>
                  <a:close/>
                  <a:moveTo>
                    <a:pt x="3048953" y="2621308"/>
                  </a:moveTo>
                  <a:lnTo>
                    <a:pt x="2220278" y="2749895"/>
                  </a:lnTo>
                  <a:lnTo>
                    <a:pt x="2205990" y="4531070"/>
                  </a:lnTo>
                  <a:lnTo>
                    <a:pt x="3029903" y="4731095"/>
                  </a:lnTo>
                  <a:close/>
                  <a:moveTo>
                    <a:pt x="1859915" y="2378420"/>
                  </a:moveTo>
                  <a:lnTo>
                    <a:pt x="1199515" y="2546695"/>
                  </a:lnTo>
                  <a:lnTo>
                    <a:pt x="1161415" y="4340570"/>
                  </a:lnTo>
                  <a:lnTo>
                    <a:pt x="1028065" y="4381845"/>
                  </a:lnTo>
                  <a:lnTo>
                    <a:pt x="1678940" y="4569170"/>
                  </a:lnTo>
                  <a:lnTo>
                    <a:pt x="1824990" y="4515195"/>
                  </a:lnTo>
                  <a:close/>
                  <a:moveTo>
                    <a:pt x="3082290" y="2321270"/>
                  </a:moveTo>
                  <a:lnTo>
                    <a:pt x="2225040" y="2499864"/>
                  </a:lnTo>
                  <a:lnTo>
                    <a:pt x="2225040" y="2571301"/>
                  </a:lnTo>
                  <a:lnTo>
                    <a:pt x="3082290" y="2395089"/>
                  </a:lnTo>
                  <a:close/>
                  <a:moveTo>
                    <a:pt x="3034665" y="1897408"/>
                  </a:moveTo>
                  <a:lnTo>
                    <a:pt x="853440" y="2540345"/>
                  </a:lnTo>
                  <a:lnTo>
                    <a:pt x="853440" y="2716558"/>
                  </a:lnTo>
                  <a:lnTo>
                    <a:pt x="1141571" y="2657026"/>
                  </a:lnTo>
                  <a:lnTo>
                    <a:pt x="1141571" y="2509389"/>
                  </a:lnTo>
                  <a:lnTo>
                    <a:pt x="1860709" y="2306983"/>
                  </a:lnTo>
                  <a:lnTo>
                    <a:pt x="2196465" y="2418901"/>
                  </a:lnTo>
                  <a:lnTo>
                    <a:pt x="3034665" y="2230783"/>
                  </a:lnTo>
                  <a:close/>
                  <a:moveTo>
                    <a:pt x="2139315" y="1759295"/>
                  </a:moveTo>
                  <a:lnTo>
                    <a:pt x="1482090" y="2016470"/>
                  </a:lnTo>
                  <a:lnTo>
                    <a:pt x="1482090" y="2290314"/>
                  </a:lnTo>
                  <a:lnTo>
                    <a:pt x="2139315" y="2095051"/>
                  </a:lnTo>
                  <a:close/>
                  <a:moveTo>
                    <a:pt x="3960971" y="1437826"/>
                  </a:moveTo>
                  <a:lnTo>
                    <a:pt x="2675096" y="1864070"/>
                  </a:lnTo>
                  <a:lnTo>
                    <a:pt x="2675096" y="1937889"/>
                  </a:lnTo>
                  <a:lnTo>
                    <a:pt x="3034665" y="1833114"/>
                  </a:lnTo>
                  <a:lnTo>
                    <a:pt x="3253740" y="1890264"/>
                  </a:lnTo>
                  <a:lnTo>
                    <a:pt x="3844290" y="1721195"/>
                  </a:lnTo>
                  <a:lnTo>
                    <a:pt x="3844290" y="1809301"/>
                  </a:lnTo>
                  <a:lnTo>
                    <a:pt x="3429953" y="1930745"/>
                  </a:lnTo>
                  <a:lnTo>
                    <a:pt x="3960971" y="2080764"/>
                  </a:lnTo>
                  <a:close/>
                  <a:moveTo>
                    <a:pt x="4450467" y="798721"/>
                  </a:moveTo>
                  <a:cubicBezTo>
                    <a:pt x="4330363" y="791764"/>
                    <a:pt x="4200883" y="824655"/>
                    <a:pt x="4170521" y="840133"/>
                  </a:cubicBezTo>
                  <a:lnTo>
                    <a:pt x="4156234" y="1447351"/>
                  </a:lnTo>
                  <a:lnTo>
                    <a:pt x="4603909" y="1623564"/>
                  </a:lnTo>
                  <a:lnTo>
                    <a:pt x="4563428" y="821083"/>
                  </a:lnTo>
                  <a:cubicBezTo>
                    <a:pt x="4529495" y="807788"/>
                    <a:pt x="4490502" y="801041"/>
                    <a:pt x="4450467" y="798721"/>
                  </a:cubicBezTo>
                  <a:close/>
                  <a:moveTo>
                    <a:pt x="2501265" y="767802"/>
                  </a:moveTo>
                  <a:cubicBezTo>
                    <a:pt x="2490351" y="763138"/>
                    <a:pt x="2477056" y="767107"/>
                    <a:pt x="2463165" y="794888"/>
                  </a:cubicBezTo>
                  <a:lnTo>
                    <a:pt x="2434590" y="1761675"/>
                  </a:lnTo>
                  <a:lnTo>
                    <a:pt x="2536984" y="1787869"/>
                  </a:lnTo>
                  <a:lnTo>
                    <a:pt x="2525078" y="792507"/>
                  </a:lnTo>
                  <a:cubicBezTo>
                    <a:pt x="2520712" y="785761"/>
                    <a:pt x="2512179" y="772465"/>
                    <a:pt x="2501265" y="767802"/>
                  </a:cubicBezTo>
                  <a:close/>
                  <a:moveTo>
                    <a:pt x="4302793" y="558846"/>
                  </a:moveTo>
                  <a:cubicBezTo>
                    <a:pt x="4256396" y="562269"/>
                    <a:pt x="4216361" y="576408"/>
                    <a:pt x="4177665" y="597243"/>
                  </a:cubicBezTo>
                  <a:lnTo>
                    <a:pt x="4170521" y="780600"/>
                  </a:lnTo>
                  <a:cubicBezTo>
                    <a:pt x="4199096" y="769488"/>
                    <a:pt x="4272915" y="739325"/>
                    <a:pt x="4349115" y="747262"/>
                  </a:cubicBezTo>
                  <a:lnTo>
                    <a:pt x="4351497" y="559144"/>
                  </a:lnTo>
                  <a:cubicBezTo>
                    <a:pt x="4334431" y="557755"/>
                    <a:pt x="4318259" y="557705"/>
                    <a:pt x="4302793" y="558846"/>
                  </a:cubicBezTo>
                  <a:close/>
                  <a:moveTo>
                    <a:pt x="3202810" y="335363"/>
                  </a:moveTo>
                  <a:cubicBezTo>
                    <a:pt x="3126836" y="339232"/>
                    <a:pt x="3059668" y="355250"/>
                    <a:pt x="3020378" y="375788"/>
                  </a:cubicBezTo>
                  <a:lnTo>
                    <a:pt x="2987040" y="1687857"/>
                  </a:lnTo>
                  <a:lnTo>
                    <a:pt x="3449003" y="1528313"/>
                  </a:lnTo>
                  <a:lnTo>
                    <a:pt x="3387090" y="351975"/>
                  </a:lnTo>
                  <a:cubicBezTo>
                    <a:pt x="3352364" y="343244"/>
                    <a:pt x="3316447" y="338084"/>
                    <a:pt x="3281013" y="335827"/>
                  </a:cubicBezTo>
                  <a:cubicBezTo>
                    <a:pt x="3254438" y="334134"/>
                    <a:pt x="3228135" y="334074"/>
                    <a:pt x="3202810" y="335363"/>
                  </a:cubicBezTo>
                  <a:close/>
                  <a:moveTo>
                    <a:pt x="3210878" y="80513"/>
                  </a:moveTo>
                  <a:cubicBezTo>
                    <a:pt x="3142615" y="74956"/>
                    <a:pt x="3086259" y="86070"/>
                    <a:pt x="3034665" y="113850"/>
                  </a:cubicBezTo>
                  <a:lnTo>
                    <a:pt x="3027521" y="297207"/>
                  </a:lnTo>
                  <a:cubicBezTo>
                    <a:pt x="3056096" y="286095"/>
                    <a:pt x="3129915" y="263076"/>
                    <a:pt x="3206115" y="271013"/>
                  </a:cubicBezTo>
                  <a:close/>
                  <a:moveTo>
                    <a:pt x="3339623" y="1383"/>
                  </a:moveTo>
                  <a:cubicBezTo>
                    <a:pt x="3446502" y="8108"/>
                    <a:pt x="3543419" y="40032"/>
                    <a:pt x="3581400" y="111469"/>
                  </a:cubicBezTo>
                  <a:lnTo>
                    <a:pt x="3672840" y="1460209"/>
                  </a:lnTo>
                  <a:lnTo>
                    <a:pt x="3947160" y="1368769"/>
                  </a:lnTo>
                  <a:lnTo>
                    <a:pt x="4091940" y="1429729"/>
                  </a:lnTo>
                  <a:lnTo>
                    <a:pt x="4130040" y="561049"/>
                  </a:lnTo>
                  <a:cubicBezTo>
                    <a:pt x="4317048" y="361024"/>
                    <a:pt x="4746943" y="489611"/>
                    <a:pt x="4762500" y="561049"/>
                  </a:cubicBezTo>
                  <a:lnTo>
                    <a:pt x="4892040" y="2328889"/>
                  </a:lnTo>
                  <a:lnTo>
                    <a:pt x="5433060" y="2466049"/>
                  </a:lnTo>
                  <a:lnTo>
                    <a:pt x="5448300" y="2793709"/>
                  </a:lnTo>
                  <a:lnTo>
                    <a:pt x="5692140" y="2862289"/>
                  </a:lnTo>
                  <a:lnTo>
                    <a:pt x="5692140" y="3113749"/>
                  </a:lnTo>
                  <a:lnTo>
                    <a:pt x="5631180" y="3128989"/>
                  </a:lnTo>
                  <a:lnTo>
                    <a:pt x="5646420" y="4142449"/>
                  </a:lnTo>
                  <a:lnTo>
                    <a:pt x="6103620" y="4256749"/>
                  </a:lnTo>
                  <a:lnTo>
                    <a:pt x="6141720" y="4462489"/>
                  </a:lnTo>
                  <a:lnTo>
                    <a:pt x="3048000" y="5514049"/>
                  </a:lnTo>
                  <a:lnTo>
                    <a:pt x="0" y="4401529"/>
                  </a:lnTo>
                  <a:lnTo>
                    <a:pt x="0" y="4271989"/>
                  </a:lnTo>
                  <a:lnTo>
                    <a:pt x="556260" y="4165309"/>
                  </a:lnTo>
                  <a:lnTo>
                    <a:pt x="601980" y="3022309"/>
                  </a:lnTo>
                  <a:lnTo>
                    <a:pt x="556260" y="3007069"/>
                  </a:lnTo>
                  <a:lnTo>
                    <a:pt x="556260" y="2786089"/>
                  </a:lnTo>
                  <a:lnTo>
                    <a:pt x="792480" y="2732749"/>
                  </a:lnTo>
                  <a:lnTo>
                    <a:pt x="792480" y="2481289"/>
                  </a:lnTo>
                  <a:lnTo>
                    <a:pt x="1424940" y="2298409"/>
                  </a:lnTo>
                  <a:lnTo>
                    <a:pt x="1424940" y="1970749"/>
                  </a:lnTo>
                  <a:lnTo>
                    <a:pt x="2141220" y="1681189"/>
                  </a:lnTo>
                  <a:lnTo>
                    <a:pt x="2392680" y="1757389"/>
                  </a:lnTo>
                  <a:lnTo>
                    <a:pt x="2423637" y="751549"/>
                  </a:lnTo>
                  <a:cubicBezTo>
                    <a:pt x="2433321" y="709957"/>
                    <a:pt x="2595403" y="687414"/>
                    <a:pt x="2631281" y="748215"/>
                  </a:cubicBezTo>
                  <a:lnTo>
                    <a:pt x="2682240" y="1795489"/>
                  </a:lnTo>
                  <a:lnTo>
                    <a:pt x="2872740" y="1726909"/>
                  </a:lnTo>
                  <a:lnTo>
                    <a:pt x="2948940" y="111469"/>
                  </a:lnTo>
                  <a:cubicBezTo>
                    <a:pt x="2955687" y="48961"/>
                    <a:pt x="3161491" y="-9826"/>
                    <a:pt x="3339623" y="1383"/>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13" name="Freeform 372">
              <a:extLst>
                <a:ext uri="{FF2B5EF4-FFF2-40B4-BE49-F238E27FC236}">
                  <a16:creationId xmlns:a16="http://schemas.microsoft.com/office/drawing/2014/main" id="{150D24B7-3527-4955-A08E-74419FDD7A2D}"/>
                </a:ext>
              </a:extLst>
            </p:cNvPr>
            <p:cNvSpPr/>
            <p:nvPr/>
          </p:nvSpPr>
          <p:spPr>
            <a:xfrm>
              <a:off x="1425790" y="1973716"/>
              <a:ext cx="32051" cy="40983"/>
            </a:xfrm>
            <a:custGeom>
              <a:avLst/>
              <a:gdLst>
                <a:gd name="connsiteX0" fmla="*/ 435768 w 435768"/>
                <a:gd name="connsiteY0" fmla="*/ 76200 h 557212"/>
                <a:gd name="connsiteX1" fmla="*/ 435768 w 435768"/>
                <a:gd name="connsiteY1" fmla="*/ 0 h 557212"/>
                <a:gd name="connsiteX2" fmla="*/ 4762 w 435768"/>
                <a:gd name="connsiteY2" fmla="*/ 45244 h 557212"/>
                <a:gd name="connsiteX3" fmla="*/ 0 w 435768"/>
                <a:gd name="connsiteY3" fmla="*/ 557212 h 557212"/>
                <a:gd name="connsiteX4" fmla="*/ 64293 w 435768"/>
                <a:gd name="connsiteY4" fmla="*/ 557212 h 557212"/>
                <a:gd name="connsiteX5" fmla="*/ 66675 w 435768"/>
                <a:gd name="connsiteY5" fmla="*/ 104775 h 557212"/>
                <a:gd name="connsiteX6" fmla="*/ 435768 w 435768"/>
                <a:gd name="connsiteY6" fmla="*/ 76200 h 557212"/>
                <a:gd name="connsiteX0" fmla="*/ 435768 w 435768"/>
                <a:gd name="connsiteY0" fmla="*/ 76200 h 557212"/>
                <a:gd name="connsiteX1" fmla="*/ 435768 w 435768"/>
                <a:gd name="connsiteY1" fmla="*/ 0 h 557212"/>
                <a:gd name="connsiteX2" fmla="*/ 4762 w 435768"/>
                <a:gd name="connsiteY2" fmla="*/ 45244 h 557212"/>
                <a:gd name="connsiteX3" fmla="*/ 0 w 435768"/>
                <a:gd name="connsiteY3" fmla="*/ 557212 h 557212"/>
                <a:gd name="connsiteX4" fmla="*/ 64293 w 435768"/>
                <a:gd name="connsiteY4" fmla="*/ 557212 h 557212"/>
                <a:gd name="connsiteX5" fmla="*/ 66675 w 435768"/>
                <a:gd name="connsiteY5" fmla="*/ 109537 h 557212"/>
                <a:gd name="connsiteX6" fmla="*/ 435768 w 435768"/>
                <a:gd name="connsiteY6" fmla="*/ 76200 h 557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768" h="557212">
                  <a:moveTo>
                    <a:pt x="435768" y="76200"/>
                  </a:moveTo>
                  <a:lnTo>
                    <a:pt x="435768" y="0"/>
                  </a:lnTo>
                  <a:lnTo>
                    <a:pt x="4762" y="45244"/>
                  </a:lnTo>
                  <a:cubicBezTo>
                    <a:pt x="3175" y="215900"/>
                    <a:pt x="1587" y="386556"/>
                    <a:pt x="0" y="557212"/>
                  </a:cubicBezTo>
                  <a:lnTo>
                    <a:pt x="64293" y="557212"/>
                  </a:lnTo>
                  <a:lnTo>
                    <a:pt x="66675" y="109537"/>
                  </a:lnTo>
                  <a:lnTo>
                    <a:pt x="435768" y="76200"/>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14" name="Freeform 373">
              <a:extLst>
                <a:ext uri="{FF2B5EF4-FFF2-40B4-BE49-F238E27FC236}">
                  <a16:creationId xmlns:a16="http://schemas.microsoft.com/office/drawing/2014/main" id="{9C9DCACD-CFDF-4F43-932E-F90DAC15C69F}"/>
                </a:ext>
              </a:extLst>
            </p:cNvPr>
            <p:cNvSpPr/>
            <p:nvPr/>
          </p:nvSpPr>
          <p:spPr>
            <a:xfrm>
              <a:off x="1425790" y="2036767"/>
              <a:ext cx="32226" cy="40457"/>
            </a:xfrm>
            <a:custGeom>
              <a:avLst/>
              <a:gdLst>
                <a:gd name="connsiteX0" fmla="*/ 435768 w 435768"/>
                <a:gd name="connsiteY0" fmla="*/ 76200 h 557212"/>
                <a:gd name="connsiteX1" fmla="*/ 435768 w 435768"/>
                <a:gd name="connsiteY1" fmla="*/ 0 h 557212"/>
                <a:gd name="connsiteX2" fmla="*/ 4762 w 435768"/>
                <a:gd name="connsiteY2" fmla="*/ 45244 h 557212"/>
                <a:gd name="connsiteX3" fmla="*/ 0 w 435768"/>
                <a:gd name="connsiteY3" fmla="*/ 557212 h 557212"/>
                <a:gd name="connsiteX4" fmla="*/ 64293 w 435768"/>
                <a:gd name="connsiteY4" fmla="*/ 557212 h 557212"/>
                <a:gd name="connsiteX5" fmla="*/ 66675 w 435768"/>
                <a:gd name="connsiteY5" fmla="*/ 104775 h 557212"/>
                <a:gd name="connsiteX6" fmla="*/ 435768 w 435768"/>
                <a:gd name="connsiteY6" fmla="*/ 76200 h 557212"/>
                <a:gd name="connsiteX0" fmla="*/ 435768 w 435768"/>
                <a:gd name="connsiteY0" fmla="*/ 76200 h 557212"/>
                <a:gd name="connsiteX1" fmla="*/ 435768 w 435768"/>
                <a:gd name="connsiteY1" fmla="*/ 0 h 557212"/>
                <a:gd name="connsiteX2" fmla="*/ 4762 w 435768"/>
                <a:gd name="connsiteY2" fmla="*/ 45244 h 557212"/>
                <a:gd name="connsiteX3" fmla="*/ 0 w 435768"/>
                <a:gd name="connsiteY3" fmla="*/ 557212 h 557212"/>
                <a:gd name="connsiteX4" fmla="*/ 64293 w 435768"/>
                <a:gd name="connsiteY4" fmla="*/ 557212 h 557212"/>
                <a:gd name="connsiteX5" fmla="*/ 66675 w 435768"/>
                <a:gd name="connsiteY5" fmla="*/ 109537 h 557212"/>
                <a:gd name="connsiteX6" fmla="*/ 435768 w 435768"/>
                <a:gd name="connsiteY6" fmla="*/ 76200 h 557212"/>
                <a:gd name="connsiteX0" fmla="*/ 435768 w 435768"/>
                <a:gd name="connsiteY0" fmla="*/ 76200 h 585787"/>
                <a:gd name="connsiteX1" fmla="*/ 435768 w 435768"/>
                <a:gd name="connsiteY1" fmla="*/ 0 h 585787"/>
                <a:gd name="connsiteX2" fmla="*/ 4762 w 435768"/>
                <a:gd name="connsiteY2" fmla="*/ 45244 h 585787"/>
                <a:gd name="connsiteX3" fmla="*/ 0 w 435768"/>
                <a:gd name="connsiteY3" fmla="*/ 585787 h 585787"/>
                <a:gd name="connsiteX4" fmla="*/ 64293 w 435768"/>
                <a:gd name="connsiteY4" fmla="*/ 557212 h 585787"/>
                <a:gd name="connsiteX5" fmla="*/ 66675 w 435768"/>
                <a:gd name="connsiteY5" fmla="*/ 109537 h 585787"/>
                <a:gd name="connsiteX6" fmla="*/ 435768 w 435768"/>
                <a:gd name="connsiteY6" fmla="*/ 76200 h 585787"/>
                <a:gd name="connsiteX0" fmla="*/ 435768 w 435768"/>
                <a:gd name="connsiteY0" fmla="*/ 76200 h 595312"/>
                <a:gd name="connsiteX1" fmla="*/ 435768 w 435768"/>
                <a:gd name="connsiteY1" fmla="*/ 0 h 595312"/>
                <a:gd name="connsiteX2" fmla="*/ 4762 w 435768"/>
                <a:gd name="connsiteY2" fmla="*/ 45244 h 595312"/>
                <a:gd name="connsiteX3" fmla="*/ 0 w 435768"/>
                <a:gd name="connsiteY3" fmla="*/ 585787 h 595312"/>
                <a:gd name="connsiteX4" fmla="*/ 54768 w 435768"/>
                <a:gd name="connsiteY4" fmla="*/ 595312 h 595312"/>
                <a:gd name="connsiteX5" fmla="*/ 66675 w 435768"/>
                <a:gd name="connsiteY5" fmla="*/ 109537 h 595312"/>
                <a:gd name="connsiteX6" fmla="*/ 435768 w 435768"/>
                <a:gd name="connsiteY6" fmla="*/ 76200 h 595312"/>
                <a:gd name="connsiteX0" fmla="*/ 433387 w 435768"/>
                <a:gd name="connsiteY0" fmla="*/ 128588 h 595312"/>
                <a:gd name="connsiteX1" fmla="*/ 435768 w 435768"/>
                <a:gd name="connsiteY1" fmla="*/ 0 h 595312"/>
                <a:gd name="connsiteX2" fmla="*/ 4762 w 435768"/>
                <a:gd name="connsiteY2" fmla="*/ 45244 h 595312"/>
                <a:gd name="connsiteX3" fmla="*/ 0 w 435768"/>
                <a:gd name="connsiteY3" fmla="*/ 585787 h 595312"/>
                <a:gd name="connsiteX4" fmla="*/ 54768 w 435768"/>
                <a:gd name="connsiteY4" fmla="*/ 595312 h 595312"/>
                <a:gd name="connsiteX5" fmla="*/ 66675 w 435768"/>
                <a:gd name="connsiteY5" fmla="*/ 109537 h 595312"/>
                <a:gd name="connsiteX6" fmla="*/ 433387 w 435768"/>
                <a:gd name="connsiteY6" fmla="*/ 128588 h 595312"/>
                <a:gd name="connsiteX0" fmla="*/ 433387 w 438149"/>
                <a:gd name="connsiteY0" fmla="*/ 83344 h 550068"/>
                <a:gd name="connsiteX1" fmla="*/ 438149 w 438149"/>
                <a:gd name="connsiteY1" fmla="*/ 21431 h 550068"/>
                <a:gd name="connsiteX2" fmla="*/ 4762 w 438149"/>
                <a:gd name="connsiteY2" fmla="*/ 0 h 550068"/>
                <a:gd name="connsiteX3" fmla="*/ 0 w 438149"/>
                <a:gd name="connsiteY3" fmla="*/ 540543 h 550068"/>
                <a:gd name="connsiteX4" fmla="*/ 54768 w 438149"/>
                <a:gd name="connsiteY4" fmla="*/ 550068 h 550068"/>
                <a:gd name="connsiteX5" fmla="*/ 66675 w 438149"/>
                <a:gd name="connsiteY5" fmla="*/ 64293 h 550068"/>
                <a:gd name="connsiteX6" fmla="*/ 433387 w 438149"/>
                <a:gd name="connsiteY6" fmla="*/ 83344 h 550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149" h="550068">
                  <a:moveTo>
                    <a:pt x="433387" y="83344"/>
                  </a:moveTo>
                  <a:cubicBezTo>
                    <a:pt x="434181" y="40481"/>
                    <a:pt x="437355" y="64294"/>
                    <a:pt x="438149" y="21431"/>
                  </a:cubicBezTo>
                  <a:lnTo>
                    <a:pt x="4762" y="0"/>
                  </a:lnTo>
                  <a:cubicBezTo>
                    <a:pt x="3175" y="170656"/>
                    <a:pt x="1587" y="369887"/>
                    <a:pt x="0" y="540543"/>
                  </a:cubicBezTo>
                  <a:lnTo>
                    <a:pt x="54768" y="550068"/>
                  </a:lnTo>
                  <a:lnTo>
                    <a:pt x="66675" y="64293"/>
                  </a:lnTo>
                  <a:lnTo>
                    <a:pt x="433387" y="83344"/>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15" name="Freeform 374">
              <a:extLst>
                <a:ext uri="{FF2B5EF4-FFF2-40B4-BE49-F238E27FC236}">
                  <a16:creationId xmlns:a16="http://schemas.microsoft.com/office/drawing/2014/main" id="{3D896A5A-73DE-422C-829A-662FB2F9A198}"/>
                </a:ext>
              </a:extLst>
            </p:cNvPr>
            <p:cNvSpPr/>
            <p:nvPr/>
          </p:nvSpPr>
          <p:spPr>
            <a:xfrm>
              <a:off x="1425265" y="1973541"/>
              <a:ext cx="33102" cy="41333"/>
            </a:xfrm>
            <a:custGeom>
              <a:avLst/>
              <a:gdLst>
                <a:gd name="connsiteX0" fmla="*/ 0 w 450056"/>
                <a:gd name="connsiteY0" fmla="*/ 561975 h 561975"/>
                <a:gd name="connsiteX1" fmla="*/ 73819 w 450056"/>
                <a:gd name="connsiteY1" fmla="*/ 561975 h 561975"/>
                <a:gd name="connsiteX2" fmla="*/ 73819 w 450056"/>
                <a:gd name="connsiteY2" fmla="*/ 116681 h 561975"/>
                <a:gd name="connsiteX3" fmla="*/ 450056 w 450056"/>
                <a:gd name="connsiteY3" fmla="*/ 73818 h 561975"/>
                <a:gd name="connsiteX4" fmla="*/ 450056 w 450056"/>
                <a:gd name="connsiteY4" fmla="*/ 0 h 561975"/>
                <a:gd name="connsiteX5" fmla="*/ 7144 w 450056"/>
                <a:gd name="connsiteY5" fmla="*/ 47625 h 561975"/>
                <a:gd name="connsiteX6" fmla="*/ 0 w 450056"/>
                <a:gd name="connsiteY6" fmla="*/ 561975 h 561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056" h="561975">
                  <a:moveTo>
                    <a:pt x="0" y="561975"/>
                  </a:moveTo>
                  <a:lnTo>
                    <a:pt x="73819" y="561975"/>
                  </a:lnTo>
                  <a:lnTo>
                    <a:pt x="73819" y="116681"/>
                  </a:lnTo>
                  <a:lnTo>
                    <a:pt x="450056" y="73818"/>
                  </a:lnTo>
                  <a:lnTo>
                    <a:pt x="450056" y="0"/>
                  </a:lnTo>
                  <a:lnTo>
                    <a:pt x="7144" y="47625"/>
                  </a:lnTo>
                  <a:cubicBezTo>
                    <a:pt x="4763" y="219075"/>
                    <a:pt x="2381" y="390525"/>
                    <a:pt x="0" y="561975"/>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16" name="Freeform 375">
              <a:extLst>
                <a:ext uri="{FF2B5EF4-FFF2-40B4-BE49-F238E27FC236}">
                  <a16:creationId xmlns:a16="http://schemas.microsoft.com/office/drawing/2014/main" id="{75C66B9B-6DAB-4DF8-B074-084227C65203}"/>
                </a:ext>
              </a:extLst>
            </p:cNvPr>
            <p:cNvSpPr/>
            <p:nvPr/>
          </p:nvSpPr>
          <p:spPr>
            <a:xfrm>
              <a:off x="1425265" y="2036592"/>
              <a:ext cx="33102" cy="41158"/>
            </a:xfrm>
            <a:custGeom>
              <a:avLst/>
              <a:gdLst>
                <a:gd name="connsiteX0" fmla="*/ 0 w 450056"/>
                <a:gd name="connsiteY0" fmla="*/ 561975 h 561975"/>
                <a:gd name="connsiteX1" fmla="*/ 73819 w 450056"/>
                <a:gd name="connsiteY1" fmla="*/ 561975 h 561975"/>
                <a:gd name="connsiteX2" fmla="*/ 73819 w 450056"/>
                <a:gd name="connsiteY2" fmla="*/ 116681 h 561975"/>
                <a:gd name="connsiteX3" fmla="*/ 450056 w 450056"/>
                <a:gd name="connsiteY3" fmla="*/ 73818 h 561975"/>
                <a:gd name="connsiteX4" fmla="*/ 450056 w 450056"/>
                <a:gd name="connsiteY4" fmla="*/ 0 h 561975"/>
                <a:gd name="connsiteX5" fmla="*/ 7144 w 450056"/>
                <a:gd name="connsiteY5" fmla="*/ 47625 h 561975"/>
                <a:gd name="connsiteX6" fmla="*/ 0 w 450056"/>
                <a:gd name="connsiteY6" fmla="*/ 561975 h 561975"/>
                <a:gd name="connsiteX0" fmla="*/ 0 w 450056"/>
                <a:gd name="connsiteY0" fmla="*/ 561975 h 576262"/>
                <a:gd name="connsiteX1" fmla="*/ 71438 w 450056"/>
                <a:gd name="connsiteY1" fmla="*/ 576262 h 576262"/>
                <a:gd name="connsiteX2" fmla="*/ 73819 w 450056"/>
                <a:gd name="connsiteY2" fmla="*/ 116681 h 576262"/>
                <a:gd name="connsiteX3" fmla="*/ 450056 w 450056"/>
                <a:gd name="connsiteY3" fmla="*/ 73818 h 576262"/>
                <a:gd name="connsiteX4" fmla="*/ 450056 w 450056"/>
                <a:gd name="connsiteY4" fmla="*/ 0 h 576262"/>
                <a:gd name="connsiteX5" fmla="*/ 7144 w 450056"/>
                <a:gd name="connsiteY5" fmla="*/ 47625 h 576262"/>
                <a:gd name="connsiteX6" fmla="*/ 0 w 450056"/>
                <a:gd name="connsiteY6" fmla="*/ 561975 h 576262"/>
                <a:gd name="connsiteX0" fmla="*/ 0 w 450056"/>
                <a:gd name="connsiteY0" fmla="*/ 561975 h 576262"/>
                <a:gd name="connsiteX1" fmla="*/ 71438 w 450056"/>
                <a:gd name="connsiteY1" fmla="*/ 576262 h 576262"/>
                <a:gd name="connsiteX2" fmla="*/ 73819 w 450056"/>
                <a:gd name="connsiteY2" fmla="*/ 116681 h 576262"/>
                <a:gd name="connsiteX3" fmla="*/ 450056 w 450056"/>
                <a:gd name="connsiteY3" fmla="*/ 73818 h 576262"/>
                <a:gd name="connsiteX4" fmla="*/ 450056 w 450056"/>
                <a:gd name="connsiteY4" fmla="*/ 0 h 576262"/>
                <a:gd name="connsiteX5" fmla="*/ 7144 w 450056"/>
                <a:gd name="connsiteY5" fmla="*/ 16668 h 576262"/>
                <a:gd name="connsiteX6" fmla="*/ 0 w 450056"/>
                <a:gd name="connsiteY6" fmla="*/ 561975 h 576262"/>
                <a:gd name="connsiteX0" fmla="*/ 0 w 450056"/>
                <a:gd name="connsiteY0" fmla="*/ 561975 h 576262"/>
                <a:gd name="connsiteX1" fmla="*/ 71438 w 450056"/>
                <a:gd name="connsiteY1" fmla="*/ 576262 h 576262"/>
                <a:gd name="connsiteX2" fmla="*/ 73819 w 450056"/>
                <a:gd name="connsiteY2" fmla="*/ 116681 h 576262"/>
                <a:gd name="connsiteX3" fmla="*/ 450056 w 450056"/>
                <a:gd name="connsiteY3" fmla="*/ 104775 h 576262"/>
                <a:gd name="connsiteX4" fmla="*/ 450056 w 450056"/>
                <a:gd name="connsiteY4" fmla="*/ 0 h 576262"/>
                <a:gd name="connsiteX5" fmla="*/ 7144 w 450056"/>
                <a:gd name="connsiteY5" fmla="*/ 16668 h 576262"/>
                <a:gd name="connsiteX6" fmla="*/ 0 w 450056"/>
                <a:gd name="connsiteY6" fmla="*/ 561975 h 576262"/>
                <a:gd name="connsiteX0" fmla="*/ 0 w 450056"/>
                <a:gd name="connsiteY0" fmla="*/ 545307 h 559594"/>
                <a:gd name="connsiteX1" fmla="*/ 71438 w 450056"/>
                <a:gd name="connsiteY1" fmla="*/ 559594 h 559594"/>
                <a:gd name="connsiteX2" fmla="*/ 73819 w 450056"/>
                <a:gd name="connsiteY2" fmla="*/ 100013 h 559594"/>
                <a:gd name="connsiteX3" fmla="*/ 450056 w 450056"/>
                <a:gd name="connsiteY3" fmla="*/ 88107 h 559594"/>
                <a:gd name="connsiteX4" fmla="*/ 450056 w 450056"/>
                <a:gd name="connsiteY4" fmla="*/ 21432 h 559594"/>
                <a:gd name="connsiteX5" fmla="*/ 7144 w 450056"/>
                <a:gd name="connsiteY5" fmla="*/ 0 h 559594"/>
                <a:gd name="connsiteX6" fmla="*/ 0 w 450056"/>
                <a:gd name="connsiteY6" fmla="*/ 545307 h 559594"/>
                <a:gd name="connsiteX0" fmla="*/ 0 w 450056"/>
                <a:gd name="connsiteY0" fmla="*/ 545307 h 559594"/>
                <a:gd name="connsiteX1" fmla="*/ 71438 w 450056"/>
                <a:gd name="connsiteY1" fmla="*/ 559594 h 559594"/>
                <a:gd name="connsiteX2" fmla="*/ 76200 w 450056"/>
                <a:gd name="connsiteY2" fmla="*/ 71438 h 559594"/>
                <a:gd name="connsiteX3" fmla="*/ 450056 w 450056"/>
                <a:gd name="connsiteY3" fmla="*/ 88107 h 559594"/>
                <a:gd name="connsiteX4" fmla="*/ 450056 w 450056"/>
                <a:gd name="connsiteY4" fmla="*/ 21432 h 559594"/>
                <a:gd name="connsiteX5" fmla="*/ 7144 w 450056"/>
                <a:gd name="connsiteY5" fmla="*/ 0 h 559594"/>
                <a:gd name="connsiteX6" fmla="*/ 0 w 450056"/>
                <a:gd name="connsiteY6" fmla="*/ 545307 h 559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056" h="559594">
                  <a:moveTo>
                    <a:pt x="0" y="545307"/>
                  </a:moveTo>
                  <a:lnTo>
                    <a:pt x="71438" y="559594"/>
                  </a:lnTo>
                  <a:cubicBezTo>
                    <a:pt x="72232" y="406400"/>
                    <a:pt x="75406" y="224632"/>
                    <a:pt x="76200" y="71438"/>
                  </a:cubicBezTo>
                  <a:lnTo>
                    <a:pt x="450056" y="88107"/>
                  </a:lnTo>
                  <a:lnTo>
                    <a:pt x="450056" y="21432"/>
                  </a:lnTo>
                  <a:lnTo>
                    <a:pt x="7144" y="0"/>
                  </a:lnTo>
                  <a:cubicBezTo>
                    <a:pt x="4763" y="171450"/>
                    <a:pt x="2381" y="373857"/>
                    <a:pt x="0" y="545307"/>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17" name="Freeform 376">
              <a:extLst>
                <a:ext uri="{FF2B5EF4-FFF2-40B4-BE49-F238E27FC236}">
                  <a16:creationId xmlns:a16="http://schemas.microsoft.com/office/drawing/2014/main" id="{9AC69363-E5EA-4482-B5BE-E0CB547FB587}"/>
                </a:ext>
              </a:extLst>
            </p:cNvPr>
            <p:cNvSpPr/>
            <p:nvPr/>
          </p:nvSpPr>
          <p:spPr>
            <a:xfrm>
              <a:off x="1346451" y="1971264"/>
              <a:ext cx="23644" cy="36079"/>
            </a:xfrm>
            <a:custGeom>
              <a:avLst/>
              <a:gdLst>
                <a:gd name="connsiteX0" fmla="*/ 0 w 321469"/>
                <a:gd name="connsiteY0" fmla="*/ 490538 h 490538"/>
                <a:gd name="connsiteX1" fmla="*/ 11907 w 321469"/>
                <a:gd name="connsiteY1" fmla="*/ 47625 h 490538"/>
                <a:gd name="connsiteX2" fmla="*/ 321469 w 321469"/>
                <a:gd name="connsiteY2" fmla="*/ 0 h 490538"/>
                <a:gd name="connsiteX3" fmla="*/ 316707 w 321469"/>
                <a:gd name="connsiteY3" fmla="*/ 80963 h 490538"/>
                <a:gd name="connsiteX4" fmla="*/ 80963 w 321469"/>
                <a:gd name="connsiteY4" fmla="*/ 109538 h 490538"/>
                <a:gd name="connsiteX5" fmla="*/ 66675 w 321469"/>
                <a:gd name="connsiteY5" fmla="*/ 490538 h 490538"/>
                <a:gd name="connsiteX6" fmla="*/ 0 w 321469"/>
                <a:gd name="connsiteY6" fmla="*/ 490538 h 490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1469" h="490538">
                  <a:moveTo>
                    <a:pt x="0" y="490538"/>
                  </a:moveTo>
                  <a:lnTo>
                    <a:pt x="11907" y="47625"/>
                  </a:lnTo>
                  <a:lnTo>
                    <a:pt x="321469" y="0"/>
                  </a:lnTo>
                  <a:lnTo>
                    <a:pt x="316707" y="80963"/>
                  </a:lnTo>
                  <a:lnTo>
                    <a:pt x="80963" y="109538"/>
                  </a:lnTo>
                  <a:lnTo>
                    <a:pt x="66675" y="490538"/>
                  </a:lnTo>
                  <a:lnTo>
                    <a:pt x="0" y="490538"/>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18" name="Freeform 377">
              <a:extLst>
                <a:ext uri="{FF2B5EF4-FFF2-40B4-BE49-F238E27FC236}">
                  <a16:creationId xmlns:a16="http://schemas.microsoft.com/office/drawing/2014/main" id="{F2EAEAED-08C3-4246-B0EF-FF085FBE62D2}"/>
                </a:ext>
              </a:extLst>
            </p:cNvPr>
            <p:cNvSpPr/>
            <p:nvPr/>
          </p:nvSpPr>
          <p:spPr>
            <a:xfrm>
              <a:off x="1305294" y="1987903"/>
              <a:ext cx="20491" cy="26796"/>
            </a:xfrm>
            <a:custGeom>
              <a:avLst/>
              <a:gdLst>
                <a:gd name="connsiteX0" fmla="*/ 11906 w 278606"/>
                <a:gd name="connsiteY0" fmla="*/ 26194 h 364331"/>
                <a:gd name="connsiteX1" fmla="*/ 0 w 278606"/>
                <a:gd name="connsiteY1" fmla="*/ 361950 h 364331"/>
                <a:gd name="connsiteX2" fmla="*/ 64293 w 278606"/>
                <a:gd name="connsiteY2" fmla="*/ 364331 h 364331"/>
                <a:gd name="connsiteX3" fmla="*/ 71437 w 278606"/>
                <a:gd name="connsiteY3" fmla="*/ 95250 h 364331"/>
                <a:gd name="connsiteX4" fmla="*/ 276225 w 278606"/>
                <a:gd name="connsiteY4" fmla="*/ 73819 h 364331"/>
                <a:gd name="connsiteX5" fmla="*/ 278606 w 278606"/>
                <a:gd name="connsiteY5" fmla="*/ 0 h 364331"/>
                <a:gd name="connsiteX6" fmla="*/ 11906 w 278606"/>
                <a:gd name="connsiteY6" fmla="*/ 26194 h 364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8606" h="364331">
                  <a:moveTo>
                    <a:pt x="11906" y="26194"/>
                  </a:moveTo>
                  <a:lnTo>
                    <a:pt x="0" y="361950"/>
                  </a:lnTo>
                  <a:lnTo>
                    <a:pt x="64293" y="364331"/>
                  </a:lnTo>
                  <a:lnTo>
                    <a:pt x="71437" y="95250"/>
                  </a:lnTo>
                  <a:lnTo>
                    <a:pt x="276225" y="73819"/>
                  </a:lnTo>
                  <a:cubicBezTo>
                    <a:pt x="277019" y="49213"/>
                    <a:pt x="277812" y="24606"/>
                    <a:pt x="278606" y="0"/>
                  </a:cubicBezTo>
                  <a:lnTo>
                    <a:pt x="11906" y="26194"/>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19" name="Freeform 378">
              <a:extLst>
                <a:ext uri="{FF2B5EF4-FFF2-40B4-BE49-F238E27FC236}">
                  <a16:creationId xmlns:a16="http://schemas.microsoft.com/office/drawing/2014/main" id="{0667C85F-A21A-4887-9C41-4C9B7237B3AD}"/>
                </a:ext>
              </a:extLst>
            </p:cNvPr>
            <p:cNvSpPr/>
            <p:nvPr/>
          </p:nvSpPr>
          <p:spPr>
            <a:xfrm>
              <a:off x="1303892" y="2029236"/>
              <a:ext cx="21017" cy="26972"/>
            </a:xfrm>
            <a:custGeom>
              <a:avLst/>
              <a:gdLst>
                <a:gd name="connsiteX0" fmla="*/ 0 w 285750"/>
                <a:gd name="connsiteY0" fmla="*/ 354806 h 366713"/>
                <a:gd name="connsiteX1" fmla="*/ 19050 w 285750"/>
                <a:gd name="connsiteY1" fmla="*/ 0 h 366713"/>
                <a:gd name="connsiteX2" fmla="*/ 285750 w 285750"/>
                <a:gd name="connsiteY2" fmla="*/ 16669 h 366713"/>
                <a:gd name="connsiteX3" fmla="*/ 280987 w 285750"/>
                <a:gd name="connsiteY3" fmla="*/ 80963 h 366713"/>
                <a:gd name="connsiteX4" fmla="*/ 80962 w 285750"/>
                <a:gd name="connsiteY4" fmla="*/ 71438 h 366713"/>
                <a:gd name="connsiteX5" fmla="*/ 66675 w 285750"/>
                <a:gd name="connsiteY5" fmla="*/ 366713 h 366713"/>
                <a:gd name="connsiteX6" fmla="*/ 0 w 285750"/>
                <a:gd name="connsiteY6" fmla="*/ 354806 h 366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50" h="366713">
                  <a:moveTo>
                    <a:pt x="0" y="354806"/>
                  </a:moveTo>
                  <a:lnTo>
                    <a:pt x="19050" y="0"/>
                  </a:lnTo>
                  <a:lnTo>
                    <a:pt x="285750" y="16669"/>
                  </a:lnTo>
                  <a:lnTo>
                    <a:pt x="280987" y="80963"/>
                  </a:lnTo>
                  <a:lnTo>
                    <a:pt x="80962" y="71438"/>
                  </a:lnTo>
                  <a:lnTo>
                    <a:pt x="66675" y="366713"/>
                  </a:lnTo>
                  <a:lnTo>
                    <a:pt x="0" y="354806"/>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20" name="Freeform 379">
              <a:extLst>
                <a:ext uri="{FF2B5EF4-FFF2-40B4-BE49-F238E27FC236}">
                  <a16:creationId xmlns:a16="http://schemas.microsoft.com/office/drawing/2014/main" id="{52498472-8293-4B7C-A1E6-709611423C2E}"/>
                </a:ext>
              </a:extLst>
            </p:cNvPr>
            <p:cNvSpPr/>
            <p:nvPr/>
          </p:nvSpPr>
          <p:spPr>
            <a:xfrm>
              <a:off x="1343474" y="2032388"/>
              <a:ext cx="28898" cy="59197"/>
            </a:xfrm>
            <a:custGeom>
              <a:avLst/>
              <a:gdLst>
                <a:gd name="connsiteX0" fmla="*/ 85725 w 392906"/>
                <a:gd name="connsiteY0" fmla="*/ 685800 h 804862"/>
                <a:gd name="connsiteX1" fmla="*/ 0 w 392906"/>
                <a:gd name="connsiteY1" fmla="*/ 707231 h 804862"/>
                <a:gd name="connsiteX2" fmla="*/ 23813 w 392906"/>
                <a:gd name="connsiteY2" fmla="*/ 0 h 804862"/>
                <a:gd name="connsiteX3" fmla="*/ 392906 w 392906"/>
                <a:gd name="connsiteY3" fmla="*/ 19050 h 804862"/>
                <a:gd name="connsiteX4" fmla="*/ 376238 w 392906"/>
                <a:gd name="connsiteY4" fmla="*/ 804862 h 804862"/>
                <a:gd name="connsiteX5" fmla="*/ 347663 w 392906"/>
                <a:gd name="connsiteY5" fmla="*/ 792956 h 804862"/>
                <a:gd name="connsiteX6" fmla="*/ 364331 w 392906"/>
                <a:gd name="connsiteY6" fmla="*/ 76200 h 804862"/>
                <a:gd name="connsiteX7" fmla="*/ 252413 w 392906"/>
                <a:gd name="connsiteY7" fmla="*/ 71437 h 804862"/>
                <a:gd name="connsiteX8" fmla="*/ 235744 w 392906"/>
                <a:gd name="connsiteY8" fmla="*/ 700087 h 804862"/>
                <a:gd name="connsiteX9" fmla="*/ 197644 w 392906"/>
                <a:gd name="connsiteY9" fmla="*/ 690562 h 804862"/>
                <a:gd name="connsiteX10" fmla="*/ 211931 w 392906"/>
                <a:gd name="connsiteY10" fmla="*/ 69056 h 804862"/>
                <a:gd name="connsiteX11" fmla="*/ 100013 w 392906"/>
                <a:gd name="connsiteY11" fmla="*/ 59531 h 804862"/>
                <a:gd name="connsiteX12" fmla="*/ 85725 w 392906"/>
                <a:gd name="connsiteY12" fmla="*/ 685800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2906" h="804862">
                  <a:moveTo>
                    <a:pt x="85725" y="685800"/>
                  </a:moveTo>
                  <a:lnTo>
                    <a:pt x="0" y="707231"/>
                  </a:lnTo>
                  <a:lnTo>
                    <a:pt x="23813" y="0"/>
                  </a:lnTo>
                  <a:lnTo>
                    <a:pt x="392906" y="19050"/>
                  </a:lnTo>
                  <a:lnTo>
                    <a:pt x="376238" y="804862"/>
                  </a:lnTo>
                  <a:lnTo>
                    <a:pt x="347663" y="792956"/>
                  </a:lnTo>
                  <a:lnTo>
                    <a:pt x="364331" y="76200"/>
                  </a:lnTo>
                  <a:lnTo>
                    <a:pt x="252413" y="71437"/>
                  </a:lnTo>
                  <a:lnTo>
                    <a:pt x="235744" y="700087"/>
                  </a:lnTo>
                  <a:lnTo>
                    <a:pt x="197644" y="690562"/>
                  </a:lnTo>
                  <a:lnTo>
                    <a:pt x="211931" y="69056"/>
                  </a:lnTo>
                  <a:lnTo>
                    <a:pt x="100013" y="59531"/>
                  </a:lnTo>
                  <a:lnTo>
                    <a:pt x="85725" y="685800"/>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21" name="Freeform 380">
              <a:extLst>
                <a:ext uri="{FF2B5EF4-FFF2-40B4-BE49-F238E27FC236}">
                  <a16:creationId xmlns:a16="http://schemas.microsoft.com/office/drawing/2014/main" id="{BCA61AD7-D276-4690-A513-8104841449B6}"/>
                </a:ext>
              </a:extLst>
            </p:cNvPr>
            <p:cNvSpPr/>
            <p:nvPr/>
          </p:nvSpPr>
          <p:spPr>
            <a:xfrm>
              <a:off x="1432778" y="1794290"/>
              <a:ext cx="122266" cy="22905"/>
            </a:xfrm>
            <a:custGeom>
              <a:avLst/>
              <a:gdLst>
                <a:gd name="connsiteX0" fmla="*/ 0 w 1654175"/>
                <a:gd name="connsiteY0" fmla="*/ 158750 h 276225"/>
                <a:gd name="connsiteX1" fmla="*/ 311150 w 1654175"/>
                <a:gd name="connsiteY1" fmla="*/ 76200 h 276225"/>
                <a:gd name="connsiteX2" fmla="*/ 1136650 w 1654175"/>
                <a:gd name="connsiteY2" fmla="*/ 238125 h 276225"/>
                <a:gd name="connsiteX3" fmla="*/ 1654175 w 1654175"/>
                <a:gd name="connsiteY3" fmla="*/ 276225 h 276225"/>
                <a:gd name="connsiteX4" fmla="*/ 1177925 w 1654175"/>
                <a:gd name="connsiteY4" fmla="*/ 165100 h 276225"/>
                <a:gd name="connsiteX5" fmla="*/ 238125 w 1654175"/>
                <a:gd name="connsiteY5" fmla="*/ 0 h 276225"/>
                <a:gd name="connsiteX6" fmla="*/ 0 w 1654175"/>
                <a:gd name="connsiteY6" fmla="*/ 158750 h 276225"/>
                <a:gd name="connsiteX0" fmla="*/ 8663 w 1662838"/>
                <a:gd name="connsiteY0" fmla="*/ 158750 h 276225"/>
                <a:gd name="connsiteX1" fmla="*/ 319813 w 1662838"/>
                <a:gd name="connsiteY1" fmla="*/ 76200 h 276225"/>
                <a:gd name="connsiteX2" fmla="*/ 1145313 w 1662838"/>
                <a:gd name="connsiteY2" fmla="*/ 238125 h 276225"/>
                <a:gd name="connsiteX3" fmla="*/ 1662838 w 1662838"/>
                <a:gd name="connsiteY3" fmla="*/ 276225 h 276225"/>
                <a:gd name="connsiteX4" fmla="*/ 1186588 w 1662838"/>
                <a:gd name="connsiteY4" fmla="*/ 165100 h 276225"/>
                <a:gd name="connsiteX5" fmla="*/ 246788 w 1662838"/>
                <a:gd name="connsiteY5" fmla="*/ 0 h 276225"/>
                <a:gd name="connsiteX6" fmla="*/ 8663 w 1662838"/>
                <a:gd name="connsiteY6" fmla="*/ 158750 h 276225"/>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528"/>
                <a:gd name="connsiteX1" fmla="*/ 319612 w 1662637"/>
                <a:gd name="connsiteY1" fmla="*/ 104203 h 304528"/>
                <a:gd name="connsiteX2" fmla="*/ 1145112 w 1662637"/>
                <a:gd name="connsiteY2" fmla="*/ 266128 h 304528"/>
                <a:gd name="connsiteX3" fmla="*/ 1662637 w 1662637"/>
                <a:gd name="connsiteY3" fmla="*/ 304228 h 304528"/>
                <a:gd name="connsiteX4" fmla="*/ 1186387 w 1662637"/>
                <a:gd name="connsiteY4" fmla="*/ 193103 h 304528"/>
                <a:gd name="connsiteX5" fmla="*/ 246587 w 1662637"/>
                <a:gd name="connsiteY5" fmla="*/ 28003 h 304528"/>
                <a:gd name="connsiteX6" fmla="*/ 8462 w 1662637"/>
                <a:gd name="connsiteY6" fmla="*/ 186753 h 304528"/>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2350" h="311416">
                  <a:moveTo>
                    <a:pt x="8175" y="190827"/>
                  </a:moveTo>
                  <a:cubicBezTo>
                    <a:pt x="26167" y="172835"/>
                    <a:pt x="-51092" y="-64231"/>
                    <a:pt x="319325" y="108277"/>
                  </a:cubicBezTo>
                  <a:cubicBezTo>
                    <a:pt x="470667" y="187652"/>
                    <a:pt x="733133" y="400377"/>
                    <a:pt x="1144825" y="270202"/>
                  </a:cubicBezTo>
                  <a:cubicBezTo>
                    <a:pt x="1307808" y="200352"/>
                    <a:pt x="1461267" y="200352"/>
                    <a:pt x="1662350" y="308302"/>
                  </a:cubicBezTo>
                  <a:cubicBezTo>
                    <a:pt x="1592500" y="258560"/>
                    <a:pt x="1405175" y="151669"/>
                    <a:pt x="1186100" y="197177"/>
                  </a:cubicBezTo>
                  <a:cubicBezTo>
                    <a:pt x="720433" y="345344"/>
                    <a:pt x="623067" y="188710"/>
                    <a:pt x="246300" y="32077"/>
                  </a:cubicBezTo>
                  <a:cubicBezTo>
                    <a:pt x="182800" y="-731"/>
                    <a:pt x="-45800" y="-65290"/>
                    <a:pt x="8175" y="190827"/>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dirty="0">
                <a:solidFill>
                  <a:prstClr val="white"/>
                </a:solidFill>
                <a:latin typeface="Segoe UI"/>
              </a:endParaRPr>
            </a:p>
          </p:txBody>
        </p:sp>
        <p:sp>
          <p:nvSpPr>
            <p:cNvPr id="422" name="Freeform 381">
              <a:extLst>
                <a:ext uri="{FF2B5EF4-FFF2-40B4-BE49-F238E27FC236}">
                  <a16:creationId xmlns:a16="http://schemas.microsoft.com/office/drawing/2014/main" id="{DF8721B4-22BD-4321-9C53-E1A936B0DC2C}"/>
                </a:ext>
              </a:extLst>
            </p:cNvPr>
            <p:cNvSpPr/>
            <p:nvPr/>
          </p:nvSpPr>
          <p:spPr>
            <a:xfrm>
              <a:off x="1489275" y="1727941"/>
              <a:ext cx="215223" cy="43420"/>
            </a:xfrm>
            <a:custGeom>
              <a:avLst/>
              <a:gdLst>
                <a:gd name="connsiteX0" fmla="*/ 0 w 1654175"/>
                <a:gd name="connsiteY0" fmla="*/ 158750 h 276225"/>
                <a:gd name="connsiteX1" fmla="*/ 311150 w 1654175"/>
                <a:gd name="connsiteY1" fmla="*/ 76200 h 276225"/>
                <a:gd name="connsiteX2" fmla="*/ 1136650 w 1654175"/>
                <a:gd name="connsiteY2" fmla="*/ 238125 h 276225"/>
                <a:gd name="connsiteX3" fmla="*/ 1654175 w 1654175"/>
                <a:gd name="connsiteY3" fmla="*/ 276225 h 276225"/>
                <a:gd name="connsiteX4" fmla="*/ 1177925 w 1654175"/>
                <a:gd name="connsiteY4" fmla="*/ 165100 h 276225"/>
                <a:gd name="connsiteX5" fmla="*/ 238125 w 1654175"/>
                <a:gd name="connsiteY5" fmla="*/ 0 h 276225"/>
                <a:gd name="connsiteX6" fmla="*/ 0 w 1654175"/>
                <a:gd name="connsiteY6" fmla="*/ 158750 h 276225"/>
                <a:gd name="connsiteX0" fmla="*/ 8663 w 1662838"/>
                <a:gd name="connsiteY0" fmla="*/ 158750 h 276225"/>
                <a:gd name="connsiteX1" fmla="*/ 319813 w 1662838"/>
                <a:gd name="connsiteY1" fmla="*/ 76200 h 276225"/>
                <a:gd name="connsiteX2" fmla="*/ 1145313 w 1662838"/>
                <a:gd name="connsiteY2" fmla="*/ 238125 h 276225"/>
                <a:gd name="connsiteX3" fmla="*/ 1662838 w 1662838"/>
                <a:gd name="connsiteY3" fmla="*/ 276225 h 276225"/>
                <a:gd name="connsiteX4" fmla="*/ 1186588 w 1662838"/>
                <a:gd name="connsiteY4" fmla="*/ 165100 h 276225"/>
                <a:gd name="connsiteX5" fmla="*/ 246788 w 1662838"/>
                <a:gd name="connsiteY5" fmla="*/ 0 h 276225"/>
                <a:gd name="connsiteX6" fmla="*/ 8663 w 1662838"/>
                <a:gd name="connsiteY6" fmla="*/ 158750 h 276225"/>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528"/>
                <a:gd name="connsiteX1" fmla="*/ 319612 w 1662637"/>
                <a:gd name="connsiteY1" fmla="*/ 104203 h 304528"/>
                <a:gd name="connsiteX2" fmla="*/ 1145112 w 1662637"/>
                <a:gd name="connsiteY2" fmla="*/ 266128 h 304528"/>
                <a:gd name="connsiteX3" fmla="*/ 1662637 w 1662637"/>
                <a:gd name="connsiteY3" fmla="*/ 304228 h 304528"/>
                <a:gd name="connsiteX4" fmla="*/ 1186387 w 1662637"/>
                <a:gd name="connsiteY4" fmla="*/ 193103 h 304528"/>
                <a:gd name="connsiteX5" fmla="*/ 246587 w 1662637"/>
                <a:gd name="connsiteY5" fmla="*/ 28003 h 304528"/>
                <a:gd name="connsiteX6" fmla="*/ 8462 w 1662637"/>
                <a:gd name="connsiteY6" fmla="*/ 186753 h 304528"/>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 name="connsiteX0" fmla="*/ 8175 w 1646273"/>
                <a:gd name="connsiteY0" fmla="*/ 190827 h 445287"/>
                <a:gd name="connsiteX1" fmla="*/ 319325 w 1646273"/>
                <a:gd name="connsiteY1" fmla="*/ 108277 h 445287"/>
                <a:gd name="connsiteX2" fmla="*/ 1144825 w 1646273"/>
                <a:gd name="connsiteY2" fmla="*/ 2702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9325 w 1646273"/>
                <a:gd name="connsiteY1" fmla="*/ 108277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9325 w 1646273"/>
                <a:gd name="connsiteY1" fmla="*/ 108277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2180 w 1646273"/>
                <a:gd name="connsiteY1" fmla="*/ 125400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2180 w 1646273"/>
                <a:gd name="connsiteY1" fmla="*/ 125400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2180 w 1646273"/>
                <a:gd name="connsiteY1" fmla="*/ 125400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7914 w 1646012"/>
                <a:gd name="connsiteY0" fmla="*/ 189281 h 443741"/>
                <a:gd name="connsiteX1" fmla="*/ 311919 w 1646012"/>
                <a:gd name="connsiteY1" fmla="*/ 123854 h 443741"/>
                <a:gd name="connsiteX2" fmla="*/ 1144564 w 1646012"/>
                <a:gd name="connsiteY2" fmla="*/ 300456 h 443741"/>
                <a:gd name="connsiteX3" fmla="*/ 1646012 w 1646012"/>
                <a:gd name="connsiteY3" fmla="*/ 443741 h 443741"/>
                <a:gd name="connsiteX4" fmla="*/ 1185839 w 1646012"/>
                <a:gd name="connsiteY4" fmla="*/ 195631 h 443741"/>
                <a:gd name="connsiteX5" fmla="*/ 254971 w 1646012"/>
                <a:gd name="connsiteY5" fmla="*/ 32977 h 443741"/>
                <a:gd name="connsiteX6" fmla="*/ 7914 w 1646012"/>
                <a:gd name="connsiteY6" fmla="*/ 189281 h 443741"/>
                <a:gd name="connsiteX0" fmla="*/ 8487 w 1646585"/>
                <a:gd name="connsiteY0" fmla="*/ 212527 h 466987"/>
                <a:gd name="connsiteX1" fmla="*/ 312492 w 1646585"/>
                <a:gd name="connsiteY1" fmla="*/ 147100 h 466987"/>
                <a:gd name="connsiteX2" fmla="*/ 1145137 w 1646585"/>
                <a:gd name="connsiteY2" fmla="*/ 323702 h 466987"/>
                <a:gd name="connsiteX3" fmla="*/ 1646585 w 1646585"/>
                <a:gd name="connsiteY3" fmla="*/ 466987 h 466987"/>
                <a:gd name="connsiteX4" fmla="*/ 1186412 w 1646585"/>
                <a:gd name="connsiteY4" fmla="*/ 218877 h 466987"/>
                <a:gd name="connsiteX5" fmla="*/ 255544 w 1646585"/>
                <a:gd name="connsiteY5" fmla="*/ 56223 h 466987"/>
                <a:gd name="connsiteX6" fmla="*/ 8487 w 1646585"/>
                <a:gd name="connsiteY6" fmla="*/ 212527 h 466987"/>
                <a:gd name="connsiteX0" fmla="*/ 8487 w 1646585"/>
                <a:gd name="connsiteY0" fmla="*/ 212527 h 466987"/>
                <a:gd name="connsiteX1" fmla="*/ 312492 w 1646585"/>
                <a:gd name="connsiteY1" fmla="*/ 147100 h 466987"/>
                <a:gd name="connsiteX2" fmla="*/ 1145137 w 1646585"/>
                <a:gd name="connsiteY2" fmla="*/ 323702 h 466987"/>
                <a:gd name="connsiteX3" fmla="*/ 1646585 w 1646585"/>
                <a:gd name="connsiteY3" fmla="*/ 466987 h 466987"/>
                <a:gd name="connsiteX4" fmla="*/ 1186412 w 1646585"/>
                <a:gd name="connsiteY4" fmla="*/ 218877 h 466987"/>
                <a:gd name="connsiteX5" fmla="*/ 255544 w 1646585"/>
                <a:gd name="connsiteY5" fmla="*/ 56223 h 466987"/>
                <a:gd name="connsiteX6" fmla="*/ 8487 w 1646585"/>
                <a:gd name="connsiteY6" fmla="*/ 212527 h 466987"/>
                <a:gd name="connsiteX0" fmla="*/ 8487 w 1646585"/>
                <a:gd name="connsiteY0" fmla="*/ 212527 h 466987"/>
                <a:gd name="connsiteX1" fmla="*/ 312492 w 1646585"/>
                <a:gd name="connsiteY1" fmla="*/ 147100 h 466987"/>
                <a:gd name="connsiteX2" fmla="*/ 1145137 w 1646585"/>
                <a:gd name="connsiteY2" fmla="*/ 323702 h 466987"/>
                <a:gd name="connsiteX3" fmla="*/ 1646585 w 1646585"/>
                <a:gd name="connsiteY3" fmla="*/ 466987 h 466987"/>
                <a:gd name="connsiteX4" fmla="*/ 1186412 w 1646585"/>
                <a:gd name="connsiteY4" fmla="*/ 218877 h 466987"/>
                <a:gd name="connsiteX5" fmla="*/ 255544 w 1646585"/>
                <a:gd name="connsiteY5" fmla="*/ 56223 h 466987"/>
                <a:gd name="connsiteX6" fmla="*/ 8487 w 1646585"/>
                <a:gd name="connsiteY6" fmla="*/ 212527 h 466987"/>
                <a:gd name="connsiteX0" fmla="*/ 7122 w 1645220"/>
                <a:gd name="connsiteY0" fmla="*/ 195482 h 449942"/>
                <a:gd name="connsiteX1" fmla="*/ 311127 w 1645220"/>
                <a:gd name="connsiteY1" fmla="*/ 130055 h 449942"/>
                <a:gd name="connsiteX2" fmla="*/ 1143772 w 1645220"/>
                <a:gd name="connsiteY2" fmla="*/ 306657 h 449942"/>
                <a:gd name="connsiteX3" fmla="*/ 1645220 w 1645220"/>
                <a:gd name="connsiteY3" fmla="*/ 449942 h 449942"/>
                <a:gd name="connsiteX4" fmla="*/ 1185047 w 1645220"/>
                <a:gd name="connsiteY4" fmla="*/ 201832 h 449942"/>
                <a:gd name="connsiteX5" fmla="*/ 304198 w 1645220"/>
                <a:gd name="connsiteY5" fmla="*/ 66086 h 449942"/>
                <a:gd name="connsiteX6" fmla="*/ 7122 w 1645220"/>
                <a:gd name="connsiteY6" fmla="*/ 195482 h 449942"/>
                <a:gd name="connsiteX0" fmla="*/ 8480 w 1646578"/>
                <a:gd name="connsiteY0" fmla="*/ 207867 h 462327"/>
                <a:gd name="connsiteX1" fmla="*/ 312485 w 1646578"/>
                <a:gd name="connsiteY1" fmla="*/ 142440 h 462327"/>
                <a:gd name="connsiteX2" fmla="*/ 1145130 w 1646578"/>
                <a:gd name="connsiteY2" fmla="*/ 319042 h 462327"/>
                <a:gd name="connsiteX3" fmla="*/ 1646578 w 1646578"/>
                <a:gd name="connsiteY3" fmla="*/ 462327 h 462327"/>
                <a:gd name="connsiteX4" fmla="*/ 1186405 w 1646578"/>
                <a:gd name="connsiteY4" fmla="*/ 214217 h 462327"/>
                <a:gd name="connsiteX5" fmla="*/ 305556 w 1646578"/>
                <a:gd name="connsiteY5" fmla="*/ 78471 h 462327"/>
                <a:gd name="connsiteX6" fmla="*/ 8480 w 1646578"/>
                <a:gd name="connsiteY6" fmla="*/ 207867 h 462327"/>
                <a:gd name="connsiteX0" fmla="*/ 8480 w 1646578"/>
                <a:gd name="connsiteY0" fmla="*/ 207867 h 462327"/>
                <a:gd name="connsiteX1" fmla="*/ 312485 w 1646578"/>
                <a:gd name="connsiteY1" fmla="*/ 142440 h 462327"/>
                <a:gd name="connsiteX2" fmla="*/ 1145130 w 1646578"/>
                <a:gd name="connsiteY2" fmla="*/ 319042 h 462327"/>
                <a:gd name="connsiteX3" fmla="*/ 1646578 w 1646578"/>
                <a:gd name="connsiteY3" fmla="*/ 462327 h 462327"/>
                <a:gd name="connsiteX4" fmla="*/ 1198909 w 1646578"/>
                <a:gd name="connsiteY4" fmla="*/ 238679 h 462327"/>
                <a:gd name="connsiteX5" fmla="*/ 305556 w 1646578"/>
                <a:gd name="connsiteY5" fmla="*/ 78471 h 462327"/>
                <a:gd name="connsiteX6" fmla="*/ 8480 w 1646578"/>
                <a:gd name="connsiteY6" fmla="*/ 207867 h 462327"/>
                <a:gd name="connsiteX0" fmla="*/ 7917 w 1646015"/>
                <a:gd name="connsiteY0" fmla="*/ 201136 h 455596"/>
                <a:gd name="connsiteX1" fmla="*/ 311922 w 1646015"/>
                <a:gd name="connsiteY1" fmla="*/ 135709 h 455596"/>
                <a:gd name="connsiteX2" fmla="*/ 1144567 w 1646015"/>
                <a:gd name="connsiteY2" fmla="*/ 312311 h 455596"/>
                <a:gd name="connsiteX3" fmla="*/ 1646015 w 1646015"/>
                <a:gd name="connsiteY3" fmla="*/ 455596 h 455596"/>
                <a:gd name="connsiteX4" fmla="*/ 1198346 w 1646015"/>
                <a:gd name="connsiteY4" fmla="*/ 231948 h 455596"/>
                <a:gd name="connsiteX5" fmla="*/ 323750 w 1646015"/>
                <a:gd name="connsiteY5" fmla="*/ 82748 h 455596"/>
                <a:gd name="connsiteX6" fmla="*/ 7917 w 1646015"/>
                <a:gd name="connsiteY6" fmla="*/ 201136 h 455596"/>
                <a:gd name="connsiteX0" fmla="*/ 8295 w 1646393"/>
                <a:gd name="connsiteY0" fmla="*/ 200370 h 454830"/>
                <a:gd name="connsiteX1" fmla="*/ 312300 w 1646393"/>
                <a:gd name="connsiteY1" fmla="*/ 134943 h 454830"/>
                <a:gd name="connsiteX2" fmla="*/ 1144945 w 1646393"/>
                <a:gd name="connsiteY2" fmla="*/ 311545 h 454830"/>
                <a:gd name="connsiteX3" fmla="*/ 1646393 w 1646393"/>
                <a:gd name="connsiteY3" fmla="*/ 454830 h 454830"/>
                <a:gd name="connsiteX4" fmla="*/ 1198724 w 1646393"/>
                <a:gd name="connsiteY4" fmla="*/ 231182 h 454830"/>
                <a:gd name="connsiteX5" fmla="*/ 324128 w 1646393"/>
                <a:gd name="connsiteY5" fmla="*/ 81982 h 454830"/>
                <a:gd name="connsiteX6" fmla="*/ 8295 w 1646393"/>
                <a:gd name="connsiteY6" fmla="*/ 200370 h 454830"/>
                <a:gd name="connsiteX0" fmla="*/ 8295 w 1646393"/>
                <a:gd name="connsiteY0" fmla="*/ 200370 h 454830"/>
                <a:gd name="connsiteX1" fmla="*/ 312300 w 1646393"/>
                <a:gd name="connsiteY1" fmla="*/ 134943 h 454830"/>
                <a:gd name="connsiteX2" fmla="*/ 1144945 w 1646393"/>
                <a:gd name="connsiteY2" fmla="*/ 311545 h 454830"/>
                <a:gd name="connsiteX3" fmla="*/ 1646393 w 1646393"/>
                <a:gd name="connsiteY3" fmla="*/ 454830 h 454830"/>
                <a:gd name="connsiteX4" fmla="*/ 1198724 w 1646393"/>
                <a:gd name="connsiteY4" fmla="*/ 231182 h 454830"/>
                <a:gd name="connsiteX5" fmla="*/ 324128 w 1646393"/>
                <a:gd name="connsiteY5" fmla="*/ 81982 h 454830"/>
                <a:gd name="connsiteX6" fmla="*/ 8295 w 1646393"/>
                <a:gd name="connsiteY6" fmla="*/ 200370 h 454830"/>
                <a:gd name="connsiteX0" fmla="*/ 8295 w 1646393"/>
                <a:gd name="connsiteY0" fmla="*/ 200370 h 454830"/>
                <a:gd name="connsiteX1" fmla="*/ 312300 w 1646393"/>
                <a:gd name="connsiteY1" fmla="*/ 134943 h 454830"/>
                <a:gd name="connsiteX2" fmla="*/ 1144945 w 1646393"/>
                <a:gd name="connsiteY2" fmla="*/ 311545 h 454830"/>
                <a:gd name="connsiteX3" fmla="*/ 1646393 w 1646393"/>
                <a:gd name="connsiteY3" fmla="*/ 454830 h 454830"/>
                <a:gd name="connsiteX4" fmla="*/ 1198724 w 1646393"/>
                <a:gd name="connsiteY4" fmla="*/ 231182 h 454830"/>
                <a:gd name="connsiteX5" fmla="*/ 324128 w 1646393"/>
                <a:gd name="connsiteY5" fmla="*/ 81982 h 454830"/>
                <a:gd name="connsiteX6" fmla="*/ 8295 w 1646393"/>
                <a:gd name="connsiteY6" fmla="*/ 200370 h 454830"/>
                <a:gd name="connsiteX0" fmla="*/ 8295 w 1646393"/>
                <a:gd name="connsiteY0" fmla="*/ 200370 h 454830"/>
                <a:gd name="connsiteX1" fmla="*/ 312300 w 1646393"/>
                <a:gd name="connsiteY1" fmla="*/ 134943 h 454830"/>
                <a:gd name="connsiteX2" fmla="*/ 1144945 w 1646393"/>
                <a:gd name="connsiteY2" fmla="*/ 311545 h 454830"/>
                <a:gd name="connsiteX3" fmla="*/ 1646393 w 1646393"/>
                <a:gd name="connsiteY3" fmla="*/ 454830 h 454830"/>
                <a:gd name="connsiteX4" fmla="*/ 1198724 w 1646393"/>
                <a:gd name="connsiteY4" fmla="*/ 231182 h 454830"/>
                <a:gd name="connsiteX5" fmla="*/ 324128 w 1646393"/>
                <a:gd name="connsiteY5" fmla="*/ 81982 h 454830"/>
                <a:gd name="connsiteX6" fmla="*/ 8295 w 1646393"/>
                <a:gd name="connsiteY6" fmla="*/ 200370 h 454830"/>
                <a:gd name="connsiteX0" fmla="*/ 8295 w 1646393"/>
                <a:gd name="connsiteY0" fmla="*/ 200370 h 454830"/>
                <a:gd name="connsiteX1" fmla="*/ 312300 w 1646393"/>
                <a:gd name="connsiteY1" fmla="*/ 134943 h 454830"/>
                <a:gd name="connsiteX2" fmla="*/ 547329 w 1646393"/>
                <a:gd name="connsiteY2" fmla="*/ 306941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47329 w 1646393"/>
                <a:gd name="connsiteY2" fmla="*/ 306941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47329 w 1646393"/>
                <a:gd name="connsiteY2" fmla="*/ 306941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47329 w 1646393"/>
                <a:gd name="connsiteY2" fmla="*/ 306941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83503 w 1646393"/>
                <a:gd name="connsiteY2" fmla="*/ 316114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83503 w 1646393"/>
                <a:gd name="connsiteY2" fmla="*/ 316114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83503 w 1646393"/>
                <a:gd name="connsiteY2" fmla="*/ 316114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83503 w 1646393"/>
                <a:gd name="connsiteY2" fmla="*/ 316114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46393" h="454830">
                  <a:moveTo>
                    <a:pt x="8295" y="200370"/>
                  </a:moveTo>
                  <a:cubicBezTo>
                    <a:pt x="26287" y="182378"/>
                    <a:pt x="-22389" y="-76704"/>
                    <a:pt x="312300" y="134943"/>
                  </a:cubicBezTo>
                  <a:cubicBezTo>
                    <a:pt x="413304" y="203768"/>
                    <a:pt x="460807" y="246318"/>
                    <a:pt x="583503" y="316114"/>
                  </a:cubicBezTo>
                  <a:cubicBezTo>
                    <a:pt x="840177" y="475806"/>
                    <a:pt x="1022504" y="350802"/>
                    <a:pt x="1144945" y="311545"/>
                  </a:cubicBezTo>
                  <a:cubicBezTo>
                    <a:pt x="1307928" y="241695"/>
                    <a:pt x="1469426" y="330368"/>
                    <a:pt x="1646393" y="454830"/>
                  </a:cubicBezTo>
                  <a:cubicBezTo>
                    <a:pt x="1576543" y="405088"/>
                    <a:pt x="1417799" y="185674"/>
                    <a:pt x="1198724" y="231182"/>
                  </a:cubicBezTo>
                  <a:cubicBezTo>
                    <a:pt x="733057" y="379349"/>
                    <a:pt x="817456" y="395171"/>
                    <a:pt x="324128" y="81982"/>
                  </a:cubicBezTo>
                  <a:cubicBezTo>
                    <a:pt x="175775" y="-32162"/>
                    <a:pt x="-45680" y="-55747"/>
                    <a:pt x="8295" y="200370"/>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dirty="0">
                <a:solidFill>
                  <a:prstClr val="white"/>
                </a:solidFill>
                <a:latin typeface="Segoe UI"/>
              </a:endParaRPr>
            </a:p>
          </p:txBody>
        </p:sp>
        <p:sp>
          <p:nvSpPr>
            <p:cNvPr id="423" name="Freeform 382">
              <a:extLst>
                <a:ext uri="{FF2B5EF4-FFF2-40B4-BE49-F238E27FC236}">
                  <a16:creationId xmlns:a16="http://schemas.microsoft.com/office/drawing/2014/main" id="{2239D2E7-A0E8-4358-BE84-3149308CF1E2}"/>
                </a:ext>
              </a:extLst>
            </p:cNvPr>
            <p:cNvSpPr/>
            <p:nvPr/>
          </p:nvSpPr>
          <p:spPr>
            <a:xfrm>
              <a:off x="1590638" y="1776075"/>
              <a:ext cx="122266" cy="22905"/>
            </a:xfrm>
            <a:custGeom>
              <a:avLst/>
              <a:gdLst>
                <a:gd name="connsiteX0" fmla="*/ 0 w 1654175"/>
                <a:gd name="connsiteY0" fmla="*/ 158750 h 276225"/>
                <a:gd name="connsiteX1" fmla="*/ 311150 w 1654175"/>
                <a:gd name="connsiteY1" fmla="*/ 76200 h 276225"/>
                <a:gd name="connsiteX2" fmla="*/ 1136650 w 1654175"/>
                <a:gd name="connsiteY2" fmla="*/ 238125 h 276225"/>
                <a:gd name="connsiteX3" fmla="*/ 1654175 w 1654175"/>
                <a:gd name="connsiteY3" fmla="*/ 276225 h 276225"/>
                <a:gd name="connsiteX4" fmla="*/ 1177925 w 1654175"/>
                <a:gd name="connsiteY4" fmla="*/ 165100 h 276225"/>
                <a:gd name="connsiteX5" fmla="*/ 238125 w 1654175"/>
                <a:gd name="connsiteY5" fmla="*/ 0 h 276225"/>
                <a:gd name="connsiteX6" fmla="*/ 0 w 1654175"/>
                <a:gd name="connsiteY6" fmla="*/ 158750 h 276225"/>
                <a:gd name="connsiteX0" fmla="*/ 8663 w 1662838"/>
                <a:gd name="connsiteY0" fmla="*/ 158750 h 276225"/>
                <a:gd name="connsiteX1" fmla="*/ 319813 w 1662838"/>
                <a:gd name="connsiteY1" fmla="*/ 76200 h 276225"/>
                <a:gd name="connsiteX2" fmla="*/ 1145313 w 1662838"/>
                <a:gd name="connsiteY2" fmla="*/ 238125 h 276225"/>
                <a:gd name="connsiteX3" fmla="*/ 1662838 w 1662838"/>
                <a:gd name="connsiteY3" fmla="*/ 276225 h 276225"/>
                <a:gd name="connsiteX4" fmla="*/ 1186588 w 1662838"/>
                <a:gd name="connsiteY4" fmla="*/ 165100 h 276225"/>
                <a:gd name="connsiteX5" fmla="*/ 246788 w 1662838"/>
                <a:gd name="connsiteY5" fmla="*/ 0 h 276225"/>
                <a:gd name="connsiteX6" fmla="*/ 8663 w 1662838"/>
                <a:gd name="connsiteY6" fmla="*/ 158750 h 276225"/>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528"/>
                <a:gd name="connsiteX1" fmla="*/ 319612 w 1662637"/>
                <a:gd name="connsiteY1" fmla="*/ 104203 h 304528"/>
                <a:gd name="connsiteX2" fmla="*/ 1145112 w 1662637"/>
                <a:gd name="connsiteY2" fmla="*/ 266128 h 304528"/>
                <a:gd name="connsiteX3" fmla="*/ 1662637 w 1662637"/>
                <a:gd name="connsiteY3" fmla="*/ 304228 h 304528"/>
                <a:gd name="connsiteX4" fmla="*/ 1186387 w 1662637"/>
                <a:gd name="connsiteY4" fmla="*/ 193103 h 304528"/>
                <a:gd name="connsiteX5" fmla="*/ 246587 w 1662637"/>
                <a:gd name="connsiteY5" fmla="*/ 28003 h 304528"/>
                <a:gd name="connsiteX6" fmla="*/ 8462 w 1662637"/>
                <a:gd name="connsiteY6" fmla="*/ 186753 h 304528"/>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2350" h="311416">
                  <a:moveTo>
                    <a:pt x="8175" y="190827"/>
                  </a:moveTo>
                  <a:cubicBezTo>
                    <a:pt x="26167" y="172835"/>
                    <a:pt x="-51092" y="-64231"/>
                    <a:pt x="319325" y="108277"/>
                  </a:cubicBezTo>
                  <a:cubicBezTo>
                    <a:pt x="470667" y="187652"/>
                    <a:pt x="733133" y="400377"/>
                    <a:pt x="1144825" y="270202"/>
                  </a:cubicBezTo>
                  <a:cubicBezTo>
                    <a:pt x="1307808" y="200352"/>
                    <a:pt x="1461267" y="200352"/>
                    <a:pt x="1662350" y="308302"/>
                  </a:cubicBezTo>
                  <a:cubicBezTo>
                    <a:pt x="1592500" y="258560"/>
                    <a:pt x="1405175" y="151669"/>
                    <a:pt x="1186100" y="197177"/>
                  </a:cubicBezTo>
                  <a:cubicBezTo>
                    <a:pt x="720433" y="345344"/>
                    <a:pt x="623067" y="188710"/>
                    <a:pt x="246300" y="32077"/>
                  </a:cubicBezTo>
                  <a:cubicBezTo>
                    <a:pt x="182800" y="-731"/>
                    <a:pt x="-45800" y="-65290"/>
                    <a:pt x="8175" y="190827"/>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dirty="0">
                <a:solidFill>
                  <a:prstClr val="white"/>
                </a:solidFill>
                <a:latin typeface="Segoe UI"/>
              </a:endParaRPr>
            </a:p>
          </p:txBody>
        </p:sp>
        <p:sp>
          <p:nvSpPr>
            <p:cNvPr id="424" name="Freeform 383">
              <a:extLst>
                <a:ext uri="{FF2B5EF4-FFF2-40B4-BE49-F238E27FC236}">
                  <a16:creationId xmlns:a16="http://schemas.microsoft.com/office/drawing/2014/main" id="{5B37613F-DBA6-48E3-9049-74E56CBA3CBF}"/>
                </a:ext>
              </a:extLst>
            </p:cNvPr>
            <p:cNvSpPr/>
            <p:nvPr/>
          </p:nvSpPr>
          <p:spPr>
            <a:xfrm>
              <a:off x="1961714" y="2169246"/>
              <a:ext cx="451723" cy="405557"/>
            </a:xfrm>
            <a:custGeom>
              <a:avLst/>
              <a:gdLst/>
              <a:ahLst/>
              <a:cxnLst/>
              <a:rect l="l" t="t" r="r" b="b"/>
              <a:pathLst>
                <a:path w="6141720" h="5514049">
                  <a:moveTo>
                    <a:pt x="2437765" y="4651720"/>
                  </a:moveTo>
                  <a:lnTo>
                    <a:pt x="1748790" y="4880320"/>
                  </a:lnTo>
                  <a:lnTo>
                    <a:pt x="3021965" y="5321645"/>
                  </a:lnTo>
                  <a:lnTo>
                    <a:pt x="4457065" y="4893020"/>
                  </a:lnTo>
                  <a:lnTo>
                    <a:pt x="3041015" y="4800945"/>
                  </a:lnTo>
                  <a:close/>
                  <a:moveTo>
                    <a:pt x="1005840" y="4480270"/>
                  </a:moveTo>
                  <a:lnTo>
                    <a:pt x="878840" y="4524720"/>
                  </a:lnTo>
                  <a:lnTo>
                    <a:pt x="1551940" y="4731095"/>
                  </a:lnTo>
                  <a:lnTo>
                    <a:pt x="1678940" y="4686645"/>
                  </a:lnTo>
                  <a:close/>
                  <a:moveTo>
                    <a:pt x="586740" y="4207220"/>
                  </a:moveTo>
                  <a:lnTo>
                    <a:pt x="97790" y="4311995"/>
                  </a:lnTo>
                  <a:lnTo>
                    <a:pt x="789940" y="4556470"/>
                  </a:lnTo>
                  <a:lnTo>
                    <a:pt x="789940" y="4508845"/>
                  </a:lnTo>
                  <a:lnTo>
                    <a:pt x="945515" y="4461220"/>
                  </a:lnTo>
                  <a:lnTo>
                    <a:pt x="945515" y="4365970"/>
                  </a:lnTo>
                  <a:lnTo>
                    <a:pt x="1069340" y="4331045"/>
                  </a:lnTo>
                  <a:close/>
                  <a:moveTo>
                    <a:pt x="3918109" y="3795264"/>
                  </a:moveTo>
                  <a:lnTo>
                    <a:pt x="3587115" y="3809551"/>
                  </a:lnTo>
                  <a:lnTo>
                    <a:pt x="3587115" y="3864320"/>
                  </a:lnTo>
                  <a:lnTo>
                    <a:pt x="3872865" y="3847651"/>
                  </a:lnTo>
                  <a:lnTo>
                    <a:pt x="3872865" y="4278658"/>
                  </a:lnTo>
                  <a:lnTo>
                    <a:pt x="3920490" y="4269133"/>
                  </a:lnTo>
                  <a:cubicBezTo>
                    <a:pt x="3919696" y="4111177"/>
                    <a:pt x="3918903" y="3953220"/>
                    <a:pt x="3918109" y="3795264"/>
                  </a:cubicBezTo>
                  <a:close/>
                  <a:moveTo>
                    <a:pt x="4713446" y="3754783"/>
                  </a:moveTo>
                  <a:lnTo>
                    <a:pt x="4434840" y="3769070"/>
                  </a:lnTo>
                  <a:lnTo>
                    <a:pt x="4434840" y="3819076"/>
                  </a:lnTo>
                  <a:lnTo>
                    <a:pt x="4672965" y="3797645"/>
                  </a:lnTo>
                  <a:lnTo>
                    <a:pt x="4672965" y="4161976"/>
                  </a:lnTo>
                  <a:lnTo>
                    <a:pt x="4713446" y="4157214"/>
                  </a:lnTo>
                  <a:close/>
                  <a:moveTo>
                    <a:pt x="5356384" y="3719064"/>
                  </a:moveTo>
                  <a:lnTo>
                    <a:pt x="5120640" y="3730970"/>
                  </a:lnTo>
                  <a:lnTo>
                    <a:pt x="5120640" y="3766689"/>
                  </a:lnTo>
                  <a:lnTo>
                    <a:pt x="5327809" y="3761926"/>
                  </a:lnTo>
                  <a:lnTo>
                    <a:pt x="5342096" y="4064345"/>
                  </a:lnTo>
                  <a:lnTo>
                    <a:pt x="5370671" y="4059583"/>
                  </a:lnTo>
                  <a:close/>
                  <a:moveTo>
                    <a:pt x="5127784" y="3018976"/>
                  </a:moveTo>
                  <a:lnTo>
                    <a:pt x="5127784" y="3057076"/>
                  </a:lnTo>
                  <a:lnTo>
                    <a:pt x="5323046" y="3076126"/>
                  </a:lnTo>
                  <a:lnTo>
                    <a:pt x="5339715" y="3378545"/>
                  </a:lnTo>
                  <a:lnTo>
                    <a:pt x="5368290" y="3383307"/>
                  </a:lnTo>
                  <a:lnTo>
                    <a:pt x="5356384" y="3049933"/>
                  </a:lnTo>
                  <a:close/>
                  <a:moveTo>
                    <a:pt x="4434840" y="2952301"/>
                  </a:moveTo>
                  <a:lnTo>
                    <a:pt x="4437222" y="2995165"/>
                  </a:lnTo>
                  <a:cubicBezTo>
                    <a:pt x="4671378" y="3011833"/>
                    <a:pt x="4555490" y="3004690"/>
                    <a:pt x="4680109" y="3016595"/>
                  </a:cubicBezTo>
                  <a:lnTo>
                    <a:pt x="4680109" y="3376164"/>
                  </a:lnTo>
                  <a:lnTo>
                    <a:pt x="4718209" y="3380926"/>
                  </a:lnTo>
                  <a:cubicBezTo>
                    <a:pt x="4716621" y="3246782"/>
                    <a:pt x="4715034" y="3112639"/>
                    <a:pt x="4713446" y="2978495"/>
                  </a:cubicBezTo>
                  <a:close/>
                  <a:moveTo>
                    <a:pt x="1129665" y="2921345"/>
                  </a:moveTo>
                  <a:lnTo>
                    <a:pt x="656590" y="2994370"/>
                  </a:lnTo>
                  <a:lnTo>
                    <a:pt x="621665" y="4153245"/>
                  </a:lnTo>
                  <a:lnTo>
                    <a:pt x="1097915" y="4273895"/>
                  </a:lnTo>
                  <a:close/>
                  <a:moveTo>
                    <a:pt x="3589496" y="2868958"/>
                  </a:moveTo>
                  <a:lnTo>
                    <a:pt x="3589496" y="2918964"/>
                  </a:lnTo>
                  <a:lnTo>
                    <a:pt x="3875246" y="2949920"/>
                  </a:lnTo>
                  <a:lnTo>
                    <a:pt x="3875246" y="3380926"/>
                  </a:lnTo>
                  <a:lnTo>
                    <a:pt x="3920490" y="3380926"/>
                  </a:lnTo>
                  <a:lnTo>
                    <a:pt x="3920490" y="2902295"/>
                  </a:lnTo>
                  <a:close/>
                  <a:moveTo>
                    <a:pt x="1139190" y="2728464"/>
                  </a:moveTo>
                  <a:lnTo>
                    <a:pt x="605790" y="2838001"/>
                  </a:lnTo>
                  <a:lnTo>
                    <a:pt x="605790" y="2888008"/>
                  </a:lnTo>
                  <a:lnTo>
                    <a:pt x="1139190" y="2778470"/>
                  </a:lnTo>
                  <a:close/>
                  <a:moveTo>
                    <a:pt x="3048953" y="2621308"/>
                  </a:moveTo>
                  <a:lnTo>
                    <a:pt x="2220278" y="2749895"/>
                  </a:lnTo>
                  <a:lnTo>
                    <a:pt x="2205990" y="4531070"/>
                  </a:lnTo>
                  <a:lnTo>
                    <a:pt x="3029903" y="4731095"/>
                  </a:lnTo>
                  <a:close/>
                  <a:moveTo>
                    <a:pt x="1859915" y="2378420"/>
                  </a:moveTo>
                  <a:lnTo>
                    <a:pt x="1199515" y="2546695"/>
                  </a:lnTo>
                  <a:lnTo>
                    <a:pt x="1161415" y="4340570"/>
                  </a:lnTo>
                  <a:lnTo>
                    <a:pt x="1028065" y="4381845"/>
                  </a:lnTo>
                  <a:lnTo>
                    <a:pt x="1678940" y="4569170"/>
                  </a:lnTo>
                  <a:lnTo>
                    <a:pt x="1824990" y="4515195"/>
                  </a:lnTo>
                  <a:close/>
                  <a:moveTo>
                    <a:pt x="3082290" y="2321270"/>
                  </a:moveTo>
                  <a:lnTo>
                    <a:pt x="2225040" y="2499864"/>
                  </a:lnTo>
                  <a:lnTo>
                    <a:pt x="2225040" y="2571301"/>
                  </a:lnTo>
                  <a:lnTo>
                    <a:pt x="3082290" y="2395089"/>
                  </a:lnTo>
                  <a:close/>
                  <a:moveTo>
                    <a:pt x="3034665" y="1897408"/>
                  </a:moveTo>
                  <a:lnTo>
                    <a:pt x="853440" y="2540345"/>
                  </a:lnTo>
                  <a:lnTo>
                    <a:pt x="853440" y="2716558"/>
                  </a:lnTo>
                  <a:lnTo>
                    <a:pt x="1141571" y="2657026"/>
                  </a:lnTo>
                  <a:lnTo>
                    <a:pt x="1141571" y="2509389"/>
                  </a:lnTo>
                  <a:lnTo>
                    <a:pt x="1860709" y="2306983"/>
                  </a:lnTo>
                  <a:lnTo>
                    <a:pt x="2196465" y="2418901"/>
                  </a:lnTo>
                  <a:lnTo>
                    <a:pt x="3034665" y="2230783"/>
                  </a:lnTo>
                  <a:close/>
                  <a:moveTo>
                    <a:pt x="2139315" y="1759295"/>
                  </a:moveTo>
                  <a:lnTo>
                    <a:pt x="1482090" y="2016470"/>
                  </a:lnTo>
                  <a:lnTo>
                    <a:pt x="1482090" y="2290314"/>
                  </a:lnTo>
                  <a:lnTo>
                    <a:pt x="2139315" y="2095051"/>
                  </a:lnTo>
                  <a:close/>
                  <a:moveTo>
                    <a:pt x="3960971" y="1437826"/>
                  </a:moveTo>
                  <a:lnTo>
                    <a:pt x="2675096" y="1864070"/>
                  </a:lnTo>
                  <a:lnTo>
                    <a:pt x="2675096" y="1937889"/>
                  </a:lnTo>
                  <a:lnTo>
                    <a:pt x="3034665" y="1833114"/>
                  </a:lnTo>
                  <a:lnTo>
                    <a:pt x="3253740" y="1890264"/>
                  </a:lnTo>
                  <a:lnTo>
                    <a:pt x="3844290" y="1721195"/>
                  </a:lnTo>
                  <a:lnTo>
                    <a:pt x="3844290" y="1809301"/>
                  </a:lnTo>
                  <a:lnTo>
                    <a:pt x="3429953" y="1930745"/>
                  </a:lnTo>
                  <a:lnTo>
                    <a:pt x="3960971" y="2080764"/>
                  </a:lnTo>
                  <a:close/>
                  <a:moveTo>
                    <a:pt x="4450467" y="798721"/>
                  </a:moveTo>
                  <a:cubicBezTo>
                    <a:pt x="4330363" y="791764"/>
                    <a:pt x="4200883" y="824655"/>
                    <a:pt x="4170521" y="840133"/>
                  </a:cubicBezTo>
                  <a:lnTo>
                    <a:pt x="4156234" y="1447351"/>
                  </a:lnTo>
                  <a:lnTo>
                    <a:pt x="4603909" y="1623564"/>
                  </a:lnTo>
                  <a:lnTo>
                    <a:pt x="4563428" y="821083"/>
                  </a:lnTo>
                  <a:cubicBezTo>
                    <a:pt x="4529495" y="807788"/>
                    <a:pt x="4490502" y="801041"/>
                    <a:pt x="4450467" y="798721"/>
                  </a:cubicBezTo>
                  <a:close/>
                  <a:moveTo>
                    <a:pt x="2501265" y="767802"/>
                  </a:moveTo>
                  <a:cubicBezTo>
                    <a:pt x="2490351" y="763138"/>
                    <a:pt x="2477056" y="767107"/>
                    <a:pt x="2463165" y="794888"/>
                  </a:cubicBezTo>
                  <a:lnTo>
                    <a:pt x="2434590" y="1761675"/>
                  </a:lnTo>
                  <a:lnTo>
                    <a:pt x="2536984" y="1787869"/>
                  </a:lnTo>
                  <a:lnTo>
                    <a:pt x="2525078" y="792507"/>
                  </a:lnTo>
                  <a:cubicBezTo>
                    <a:pt x="2520712" y="785761"/>
                    <a:pt x="2512179" y="772465"/>
                    <a:pt x="2501265" y="767802"/>
                  </a:cubicBezTo>
                  <a:close/>
                  <a:moveTo>
                    <a:pt x="4302793" y="558846"/>
                  </a:moveTo>
                  <a:cubicBezTo>
                    <a:pt x="4256396" y="562269"/>
                    <a:pt x="4216361" y="576408"/>
                    <a:pt x="4177665" y="597243"/>
                  </a:cubicBezTo>
                  <a:lnTo>
                    <a:pt x="4170521" y="780600"/>
                  </a:lnTo>
                  <a:cubicBezTo>
                    <a:pt x="4199096" y="769488"/>
                    <a:pt x="4272915" y="739325"/>
                    <a:pt x="4349115" y="747262"/>
                  </a:cubicBezTo>
                  <a:lnTo>
                    <a:pt x="4351497" y="559144"/>
                  </a:lnTo>
                  <a:cubicBezTo>
                    <a:pt x="4334431" y="557755"/>
                    <a:pt x="4318259" y="557705"/>
                    <a:pt x="4302793" y="558846"/>
                  </a:cubicBezTo>
                  <a:close/>
                  <a:moveTo>
                    <a:pt x="3202810" y="335363"/>
                  </a:moveTo>
                  <a:cubicBezTo>
                    <a:pt x="3126836" y="339232"/>
                    <a:pt x="3059668" y="355250"/>
                    <a:pt x="3020378" y="375788"/>
                  </a:cubicBezTo>
                  <a:lnTo>
                    <a:pt x="2987040" y="1687857"/>
                  </a:lnTo>
                  <a:lnTo>
                    <a:pt x="3449003" y="1528313"/>
                  </a:lnTo>
                  <a:lnTo>
                    <a:pt x="3387090" y="351975"/>
                  </a:lnTo>
                  <a:cubicBezTo>
                    <a:pt x="3352364" y="343244"/>
                    <a:pt x="3316447" y="338084"/>
                    <a:pt x="3281013" y="335827"/>
                  </a:cubicBezTo>
                  <a:cubicBezTo>
                    <a:pt x="3254438" y="334134"/>
                    <a:pt x="3228135" y="334074"/>
                    <a:pt x="3202810" y="335363"/>
                  </a:cubicBezTo>
                  <a:close/>
                  <a:moveTo>
                    <a:pt x="3210878" y="80513"/>
                  </a:moveTo>
                  <a:cubicBezTo>
                    <a:pt x="3142615" y="74956"/>
                    <a:pt x="3086259" y="86070"/>
                    <a:pt x="3034665" y="113850"/>
                  </a:cubicBezTo>
                  <a:lnTo>
                    <a:pt x="3027521" y="297207"/>
                  </a:lnTo>
                  <a:cubicBezTo>
                    <a:pt x="3056096" y="286095"/>
                    <a:pt x="3129915" y="263076"/>
                    <a:pt x="3206115" y="271013"/>
                  </a:cubicBezTo>
                  <a:close/>
                  <a:moveTo>
                    <a:pt x="3339623" y="1383"/>
                  </a:moveTo>
                  <a:cubicBezTo>
                    <a:pt x="3446502" y="8108"/>
                    <a:pt x="3543419" y="40032"/>
                    <a:pt x="3581400" y="111469"/>
                  </a:cubicBezTo>
                  <a:lnTo>
                    <a:pt x="3672840" y="1460209"/>
                  </a:lnTo>
                  <a:lnTo>
                    <a:pt x="3947160" y="1368769"/>
                  </a:lnTo>
                  <a:lnTo>
                    <a:pt x="4091940" y="1429729"/>
                  </a:lnTo>
                  <a:lnTo>
                    <a:pt x="4130040" y="561049"/>
                  </a:lnTo>
                  <a:cubicBezTo>
                    <a:pt x="4317048" y="361024"/>
                    <a:pt x="4746943" y="489611"/>
                    <a:pt x="4762500" y="561049"/>
                  </a:cubicBezTo>
                  <a:lnTo>
                    <a:pt x="4892040" y="2328889"/>
                  </a:lnTo>
                  <a:lnTo>
                    <a:pt x="5433060" y="2466049"/>
                  </a:lnTo>
                  <a:lnTo>
                    <a:pt x="5448300" y="2793709"/>
                  </a:lnTo>
                  <a:lnTo>
                    <a:pt x="5692140" y="2862289"/>
                  </a:lnTo>
                  <a:lnTo>
                    <a:pt x="5692140" y="3113749"/>
                  </a:lnTo>
                  <a:lnTo>
                    <a:pt x="5631180" y="3128989"/>
                  </a:lnTo>
                  <a:lnTo>
                    <a:pt x="5646420" y="4142449"/>
                  </a:lnTo>
                  <a:lnTo>
                    <a:pt x="6103620" y="4256749"/>
                  </a:lnTo>
                  <a:lnTo>
                    <a:pt x="6141720" y="4462489"/>
                  </a:lnTo>
                  <a:lnTo>
                    <a:pt x="3048000" y="5514049"/>
                  </a:lnTo>
                  <a:lnTo>
                    <a:pt x="0" y="4401529"/>
                  </a:lnTo>
                  <a:lnTo>
                    <a:pt x="0" y="4271989"/>
                  </a:lnTo>
                  <a:lnTo>
                    <a:pt x="556260" y="4165309"/>
                  </a:lnTo>
                  <a:lnTo>
                    <a:pt x="601980" y="3022309"/>
                  </a:lnTo>
                  <a:lnTo>
                    <a:pt x="556260" y="3007069"/>
                  </a:lnTo>
                  <a:lnTo>
                    <a:pt x="556260" y="2786089"/>
                  </a:lnTo>
                  <a:lnTo>
                    <a:pt x="792480" y="2732749"/>
                  </a:lnTo>
                  <a:lnTo>
                    <a:pt x="792480" y="2481289"/>
                  </a:lnTo>
                  <a:lnTo>
                    <a:pt x="1424940" y="2298409"/>
                  </a:lnTo>
                  <a:lnTo>
                    <a:pt x="1424940" y="1970749"/>
                  </a:lnTo>
                  <a:lnTo>
                    <a:pt x="2141220" y="1681189"/>
                  </a:lnTo>
                  <a:lnTo>
                    <a:pt x="2392680" y="1757389"/>
                  </a:lnTo>
                  <a:lnTo>
                    <a:pt x="2423637" y="751549"/>
                  </a:lnTo>
                  <a:cubicBezTo>
                    <a:pt x="2433321" y="709957"/>
                    <a:pt x="2595403" y="687414"/>
                    <a:pt x="2631281" y="748215"/>
                  </a:cubicBezTo>
                  <a:lnTo>
                    <a:pt x="2682240" y="1795489"/>
                  </a:lnTo>
                  <a:lnTo>
                    <a:pt x="2872740" y="1726909"/>
                  </a:lnTo>
                  <a:lnTo>
                    <a:pt x="2948940" y="111469"/>
                  </a:lnTo>
                  <a:cubicBezTo>
                    <a:pt x="2955687" y="48961"/>
                    <a:pt x="3161491" y="-9826"/>
                    <a:pt x="3339623" y="1383"/>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25" name="Freeform 384">
              <a:extLst>
                <a:ext uri="{FF2B5EF4-FFF2-40B4-BE49-F238E27FC236}">
                  <a16:creationId xmlns:a16="http://schemas.microsoft.com/office/drawing/2014/main" id="{2F1A8B07-DBC0-4BAA-86EB-A8D8B8E252F5}"/>
                </a:ext>
              </a:extLst>
            </p:cNvPr>
            <p:cNvSpPr/>
            <p:nvPr/>
          </p:nvSpPr>
          <p:spPr>
            <a:xfrm>
              <a:off x="2137625" y="2380432"/>
              <a:ext cx="32051" cy="40983"/>
            </a:xfrm>
            <a:custGeom>
              <a:avLst/>
              <a:gdLst>
                <a:gd name="connsiteX0" fmla="*/ 435768 w 435768"/>
                <a:gd name="connsiteY0" fmla="*/ 76200 h 557212"/>
                <a:gd name="connsiteX1" fmla="*/ 435768 w 435768"/>
                <a:gd name="connsiteY1" fmla="*/ 0 h 557212"/>
                <a:gd name="connsiteX2" fmla="*/ 4762 w 435768"/>
                <a:gd name="connsiteY2" fmla="*/ 45244 h 557212"/>
                <a:gd name="connsiteX3" fmla="*/ 0 w 435768"/>
                <a:gd name="connsiteY3" fmla="*/ 557212 h 557212"/>
                <a:gd name="connsiteX4" fmla="*/ 64293 w 435768"/>
                <a:gd name="connsiteY4" fmla="*/ 557212 h 557212"/>
                <a:gd name="connsiteX5" fmla="*/ 66675 w 435768"/>
                <a:gd name="connsiteY5" fmla="*/ 104775 h 557212"/>
                <a:gd name="connsiteX6" fmla="*/ 435768 w 435768"/>
                <a:gd name="connsiteY6" fmla="*/ 76200 h 557212"/>
                <a:gd name="connsiteX0" fmla="*/ 435768 w 435768"/>
                <a:gd name="connsiteY0" fmla="*/ 76200 h 557212"/>
                <a:gd name="connsiteX1" fmla="*/ 435768 w 435768"/>
                <a:gd name="connsiteY1" fmla="*/ 0 h 557212"/>
                <a:gd name="connsiteX2" fmla="*/ 4762 w 435768"/>
                <a:gd name="connsiteY2" fmla="*/ 45244 h 557212"/>
                <a:gd name="connsiteX3" fmla="*/ 0 w 435768"/>
                <a:gd name="connsiteY3" fmla="*/ 557212 h 557212"/>
                <a:gd name="connsiteX4" fmla="*/ 64293 w 435768"/>
                <a:gd name="connsiteY4" fmla="*/ 557212 h 557212"/>
                <a:gd name="connsiteX5" fmla="*/ 66675 w 435768"/>
                <a:gd name="connsiteY5" fmla="*/ 109537 h 557212"/>
                <a:gd name="connsiteX6" fmla="*/ 435768 w 435768"/>
                <a:gd name="connsiteY6" fmla="*/ 76200 h 557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768" h="557212">
                  <a:moveTo>
                    <a:pt x="435768" y="76200"/>
                  </a:moveTo>
                  <a:lnTo>
                    <a:pt x="435768" y="0"/>
                  </a:lnTo>
                  <a:lnTo>
                    <a:pt x="4762" y="45244"/>
                  </a:lnTo>
                  <a:cubicBezTo>
                    <a:pt x="3175" y="215900"/>
                    <a:pt x="1587" y="386556"/>
                    <a:pt x="0" y="557212"/>
                  </a:cubicBezTo>
                  <a:lnTo>
                    <a:pt x="64293" y="557212"/>
                  </a:lnTo>
                  <a:lnTo>
                    <a:pt x="66675" y="109537"/>
                  </a:lnTo>
                  <a:lnTo>
                    <a:pt x="435768" y="76200"/>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26" name="Freeform 385">
              <a:extLst>
                <a:ext uri="{FF2B5EF4-FFF2-40B4-BE49-F238E27FC236}">
                  <a16:creationId xmlns:a16="http://schemas.microsoft.com/office/drawing/2014/main" id="{129BF5D5-03FC-458F-9A8C-92AA07B07985}"/>
                </a:ext>
              </a:extLst>
            </p:cNvPr>
            <p:cNvSpPr/>
            <p:nvPr/>
          </p:nvSpPr>
          <p:spPr>
            <a:xfrm>
              <a:off x="2137625" y="2443483"/>
              <a:ext cx="32226" cy="40457"/>
            </a:xfrm>
            <a:custGeom>
              <a:avLst/>
              <a:gdLst>
                <a:gd name="connsiteX0" fmla="*/ 435768 w 435768"/>
                <a:gd name="connsiteY0" fmla="*/ 76200 h 557212"/>
                <a:gd name="connsiteX1" fmla="*/ 435768 w 435768"/>
                <a:gd name="connsiteY1" fmla="*/ 0 h 557212"/>
                <a:gd name="connsiteX2" fmla="*/ 4762 w 435768"/>
                <a:gd name="connsiteY2" fmla="*/ 45244 h 557212"/>
                <a:gd name="connsiteX3" fmla="*/ 0 w 435768"/>
                <a:gd name="connsiteY3" fmla="*/ 557212 h 557212"/>
                <a:gd name="connsiteX4" fmla="*/ 64293 w 435768"/>
                <a:gd name="connsiteY4" fmla="*/ 557212 h 557212"/>
                <a:gd name="connsiteX5" fmla="*/ 66675 w 435768"/>
                <a:gd name="connsiteY5" fmla="*/ 104775 h 557212"/>
                <a:gd name="connsiteX6" fmla="*/ 435768 w 435768"/>
                <a:gd name="connsiteY6" fmla="*/ 76200 h 557212"/>
                <a:gd name="connsiteX0" fmla="*/ 435768 w 435768"/>
                <a:gd name="connsiteY0" fmla="*/ 76200 h 557212"/>
                <a:gd name="connsiteX1" fmla="*/ 435768 w 435768"/>
                <a:gd name="connsiteY1" fmla="*/ 0 h 557212"/>
                <a:gd name="connsiteX2" fmla="*/ 4762 w 435768"/>
                <a:gd name="connsiteY2" fmla="*/ 45244 h 557212"/>
                <a:gd name="connsiteX3" fmla="*/ 0 w 435768"/>
                <a:gd name="connsiteY3" fmla="*/ 557212 h 557212"/>
                <a:gd name="connsiteX4" fmla="*/ 64293 w 435768"/>
                <a:gd name="connsiteY4" fmla="*/ 557212 h 557212"/>
                <a:gd name="connsiteX5" fmla="*/ 66675 w 435768"/>
                <a:gd name="connsiteY5" fmla="*/ 109537 h 557212"/>
                <a:gd name="connsiteX6" fmla="*/ 435768 w 435768"/>
                <a:gd name="connsiteY6" fmla="*/ 76200 h 557212"/>
                <a:gd name="connsiteX0" fmla="*/ 435768 w 435768"/>
                <a:gd name="connsiteY0" fmla="*/ 76200 h 585787"/>
                <a:gd name="connsiteX1" fmla="*/ 435768 w 435768"/>
                <a:gd name="connsiteY1" fmla="*/ 0 h 585787"/>
                <a:gd name="connsiteX2" fmla="*/ 4762 w 435768"/>
                <a:gd name="connsiteY2" fmla="*/ 45244 h 585787"/>
                <a:gd name="connsiteX3" fmla="*/ 0 w 435768"/>
                <a:gd name="connsiteY3" fmla="*/ 585787 h 585787"/>
                <a:gd name="connsiteX4" fmla="*/ 64293 w 435768"/>
                <a:gd name="connsiteY4" fmla="*/ 557212 h 585787"/>
                <a:gd name="connsiteX5" fmla="*/ 66675 w 435768"/>
                <a:gd name="connsiteY5" fmla="*/ 109537 h 585787"/>
                <a:gd name="connsiteX6" fmla="*/ 435768 w 435768"/>
                <a:gd name="connsiteY6" fmla="*/ 76200 h 585787"/>
                <a:gd name="connsiteX0" fmla="*/ 435768 w 435768"/>
                <a:gd name="connsiteY0" fmla="*/ 76200 h 595312"/>
                <a:gd name="connsiteX1" fmla="*/ 435768 w 435768"/>
                <a:gd name="connsiteY1" fmla="*/ 0 h 595312"/>
                <a:gd name="connsiteX2" fmla="*/ 4762 w 435768"/>
                <a:gd name="connsiteY2" fmla="*/ 45244 h 595312"/>
                <a:gd name="connsiteX3" fmla="*/ 0 w 435768"/>
                <a:gd name="connsiteY3" fmla="*/ 585787 h 595312"/>
                <a:gd name="connsiteX4" fmla="*/ 54768 w 435768"/>
                <a:gd name="connsiteY4" fmla="*/ 595312 h 595312"/>
                <a:gd name="connsiteX5" fmla="*/ 66675 w 435768"/>
                <a:gd name="connsiteY5" fmla="*/ 109537 h 595312"/>
                <a:gd name="connsiteX6" fmla="*/ 435768 w 435768"/>
                <a:gd name="connsiteY6" fmla="*/ 76200 h 595312"/>
                <a:gd name="connsiteX0" fmla="*/ 433387 w 435768"/>
                <a:gd name="connsiteY0" fmla="*/ 128588 h 595312"/>
                <a:gd name="connsiteX1" fmla="*/ 435768 w 435768"/>
                <a:gd name="connsiteY1" fmla="*/ 0 h 595312"/>
                <a:gd name="connsiteX2" fmla="*/ 4762 w 435768"/>
                <a:gd name="connsiteY2" fmla="*/ 45244 h 595312"/>
                <a:gd name="connsiteX3" fmla="*/ 0 w 435768"/>
                <a:gd name="connsiteY3" fmla="*/ 585787 h 595312"/>
                <a:gd name="connsiteX4" fmla="*/ 54768 w 435768"/>
                <a:gd name="connsiteY4" fmla="*/ 595312 h 595312"/>
                <a:gd name="connsiteX5" fmla="*/ 66675 w 435768"/>
                <a:gd name="connsiteY5" fmla="*/ 109537 h 595312"/>
                <a:gd name="connsiteX6" fmla="*/ 433387 w 435768"/>
                <a:gd name="connsiteY6" fmla="*/ 128588 h 595312"/>
                <a:gd name="connsiteX0" fmla="*/ 433387 w 438149"/>
                <a:gd name="connsiteY0" fmla="*/ 83344 h 550068"/>
                <a:gd name="connsiteX1" fmla="*/ 438149 w 438149"/>
                <a:gd name="connsiteY1" fmla="*/ 21431 h 550068"/>
                <a:gd name="connsiteX2" fmla="*/ 4762 w 438149"/>
                <a:gd name="connsiteY2" fmla="*/ 0 h 550068"/>
                <a:gd name="connsiteX3" fmla="*/ 0 w 438149"/>
                <a:gd name="connsiteY3" fmla="*/ 540543 h 550068"/>
                <a:gd name="connsiteX4" fmla="*/ 54768 w 438149"/>
                <a:gd name="connsiteY4" fmla="*/ 550068 h 550068"/>
                <a:gd name="connsiteX5" fmla="*/ 66675 w 438149"/>
                <a:gd name="connsiteY5" fmla="*/ 64293 h 550068"/>
                <a:gd name="connsiteX6" fmla="*/ 433387 w 438149"/>
                <a:gd name="connsiteY6" fmla="*/ 83344 h 550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149" h="550068">
                  <a:moveTo>
                    <a:pt x="433387" y="83344"/>
                  </a:moveTo>
                  <a:cubicBezTo>
                    <a:pt x="434181" y="40481"/>
                    <a:pt x="437355" y="64294"/>
                    <a:pt x="438149" y="21431"/>
                  </a:cubicBezTo>
                  <a:lnTo>
                    <a:pt x="4762" y="0"/>
                  </a:lnTo>
                  <a:cubicBezTo>
                    <a:pt x="3175" y="170656"/>
                    <a:pt x="1587" y="369887"/>
                    <a:pt x="0" y="540543"/>
                  </a:cubicBezTo>
                  <a:lnTo>
                    <a:pt x="54768" y="550068"/>
                  </a:lnTo>
                  <a:lnTo>
                    <a:pt x="66675" y="64293"/>
                  </a:lnTo>
                  <a:lnTo>
                    <a:pt x="433387" y="83344"/>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27" name="Freeform 386">
              <a:extLst>
                <a:ext uri="{FF2B5EF4-FFF2-40B4-BE49-F238E27FC236}">
                  <a16:creationId xmlns:a16="http://schemas.microsoft.com/office/drawing/2014/main" id="{67DE251A-EE35-4E82-8E0F-ECDC065074F7}"/>
                </a:ext>
              </a:extLst>
            </p:cNvPr>
            <p:cNvSpPr/>
            <p:nvPr/>
          </p:nvSpPr>
          <p:spPr>
            <a:xfrm>
              <a:off x="2137100" y="2380257"/>
              <a:ext cx="33102" cy="41333"/>
            </a:xfrm>
            <a:custGeom>
              <a:avLst/>
              <a:gdLst>
                <a:gd name="connsiteX0" fmla="*/ 0 w 450056"/>
                <a:gd name="connsiteY0" fmla="*/ 561975 h 561975"/>
                <a:gd name="connsiteX1" fmla="*/ 73819 w 450056"/>
                <a:gd name="connsiteY1" fmla="*/ 561975 h 561975"/>
                <a:gd name="connsiteX2" fmla="*/ 73819 w 450056"/>
                <a:gd name="connsiteY2" fmla="*/ 116681 h 561975"/>
                <a:gd name="connsiteX3" fmla="*/ 450056 w 450056"/>
                <a:gd name="connsiteY3" fmla="*/ 73818 h 561975"/>
                <a:gd name="connsiteX4" fmla="*/ 450056 w 450056"/>
                <a:gd name="connsiteY4" fmla="*/ 0 h 561975"/>
                <a:gd name="connsiteX5" fmla="*/ 7144 w 450056"/>
                <a:gd name="connsiteY5" fmla="*/ 47625 h 561975"/>
                <a:gd name="connsiteX6" fmla="*/ 0 w 450056"/>
                <a:gd name="connsiteY6" fmla="*/ 561975 h 561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056" h="561975">
                  <a:moveTo>
                    <a:pt x="0" y="561975"/>
                  </a:moveTo>
                  <a:lnTo>
                    <a:pt x="73819" y="561975"/>
                  </a:lnTo>
                  <a:lnTo>
                    <a:pt x="73819" y="116681"/>
                  </a:lnTo>
                  <a:lnTo>
                    <a:pt x="450056" y="73818"/>
                  </a:lnTo>
                  <a:lnTo>
                    <a:pt x="450056" y="0"/>
                  </a:lnTo>
                  <a:lnTo>
                    <a:pt x="7144" y="47625"/>
                  </a:lnTo>
                  <a:cubicBezTo>
                    <a:pt x="4763" y="219075"/>
                    <a:pt x="2381" y="390525"/>
                    <a:pt x="0" y="561975"/>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28" name="Freeform 387">
              <a:extLst>
                <a:ext uri="{FF2B5EF4-FFF2-40B4-BE49-F238E27FC236}">
                  <a16:creationId xmlns:a16="http://schemas.microsoft.com/office/drawing/2014/main" id="{04229D29-2977-4624-9FAC-F51B2684D431}"/>
                </a:ext>
              </a:extLst>
            </p:cNvPr>
            <p:cNvSpPr/>
            <p:nvPr/>
          </p:nvSpPr>
          <p:spPr>
            <a:xfrm>
              <a:off x="2137100" y="2443308"/>
              <a:ext cx="33102" cy="41158"/>
            </a:xfrm>
            <a:custGeom>
              <a:avLst/>
              <a:gdLst>
                <a:gd name="connsiteX0" fmla="*/ 0 w 450056"/>
                <a:gd name="connsiteY0" fmla="*/ 561975 h 561975"/>
                <a:gd name="connsiteX1" fmla="*/ 73819 w 450056"/>
                <a:gd name="connsiteY1" fmla="*/ 561975 h 561975"/>
                <a:gd name="connsiteX2" fmla="*/ 73819 w 450056"/>
                <a:gd name="connsiteY2" fmla="*/ 116681 h 561975"/>
                <a:gd name="connsiteX3" fmla="*/ 450056 w 450056"/>
                <a:gd name="connsiteY3" fmla="*/ 73818 h 561975"/>
                <a:gd name="connsiteX4" fmla="*/ 450056 w 450056"/>
                <a:gd name="connsiteY4" fmla="*/ 0 h 561975"/>
                <a:gd name="connsiteX5" fmla="*/ 7144 w 450056"/>
                <a:gd name="connsiteY5" fmla="*/ 47625 h 561975"/>
                <a:gd name="connsiteX6" fmla="*/ 0 w 450056"/>
                <a:gd name="connsiteY6" fmla="*/ 561975 h 561975"/>
                <a:gd name="connsiteX0" fmla="*/ 0 w 450056"/>
                <a:gd name="connsiteY0" fmla="*/ 561975 h 576262"/>
                <a:gd name="connsiteX1" fmla="*/ 71438 w 450056"/>
                <a:gd name="connsiteY1" fmla="*/ 576262 h 576262"/>
                <a:gd name="connsiteX2" fmla="*/ 73819 w 450056"/>
                <a:gd name="connsiteY2" fmla="*/ 116681 h 576262"/>
                <a:gd name="connsiteX3" fmla="*/ 450056 w 450056"/>
                <a:gd name="connsiteY3" fmla="*/ 73818 h 576262"/>
                <a:gd name="connsiteX4" fmla="*/ 450056 w 450056"/>
                <a:gd name="connsiteY4" fmla="*/ 0 h 576262"/>
                <a:gd name="connsiteX5" fmla="*/ 7144 w 450056"/>
                <a:gd name="connsiteY5" fmla="*/ 47625 h 576262"/>
                <a:gd name="connsiteX6" fmla="*/ 0 w 450056"/>
                <a:gd name="connsiteY6" fmla="*/ 561975 h 576262"/>
                <a:gd name="connsiteX0" fmla="*/ 0 w 450056"/>
                <a:gd name="connsiteY0" fmla="*/ 561975 h 576262"/>
                <a:gd name="connsiteX1" fmla="*/ 71438 w 450056"/>
                <a:gd name="connsiteY1" fmla="*/ 576262 h 576262"/>
                <a:gd name="connsiteX2" fmla="*/ 73819 w 450056"/>
                <a:gd name="connsiteY2" fmla="*/ 116681 h 576262"/>
                <a:gd name="connsiteX3" fmla="*/ 450056 w 450056"/>
                <a:gd name="connsiteY3" fmla="*/ 73818 h 576262"/>
                <a:gd name="connsiteX4" fmla="*/ 450056 w 450056"/>
                <a:gd name="connsiteY4" fmla="*/ 0 h 576262"/>
                <a:gd name="connsiteX5" fmla="*/ 7144 w 450056"/>
                <a:gd name="connsiteY5" fmla="*/ 16668 h 576262"/>
                <a:gd name="connsiteX6" fmla="*/ 0 w 450056"/>
                <a:gd name="connsiteY6" fmla="*/ 561975 h 576262"/>
                <a:gd name="connsiteX0" fmla="*/ 0 w 450056"/>
                <a:gd name="connsiteY0" fmla="*/ 561975 h 576262"/>
                <a:gd name="connsiteX1" fmla="*/ 71438 w 450056"/>
                <a:gd name="connsiteY1" fmla="*/ 576262 h 576262"/>
                <a:gd name="connsiteX2" fmla="*/ 73819 w 450056"/>
                <a:gd name="connsiteY2" fmla="*/ 116681 h 576262"/>
                <a:gd name="connsiteX3" fmla="*/ 450056 w 450056"/>
                <a:gd name="connsiteY3" fmla="*/ 104775 h 576262"/>
                <a:gd name="connsiteX4" fmla="*/ 450056 w 450056"/>
                <a:gd name="connsiteY4" fmla="*/ 0 h 576262"/>
                <a:gd name="connsiteX5" fmla="*/ 7144 w 450056"/>
                <a:gd name="connsiteY5" fmla="*/ 16668 h 576262"/>
                <a:gd name="connsiteX6" fmla="*/ 0 w 450056"/>
                <a:gd name="connsiteY6" fmla="*/ 561975 h 576262"/>
                <a:gd name="connsiteX0" fmla="*/ 0 w 450056"/>
                <a:gd name="connsiteY0" fmla="*/ 545307 h 559594"/>
                <a:gd name="connsiteX1" fmla="*/ 71438 w 450056"/>
                <a:gd name="connsiteY1" fmla="*/ 559594 h 559594"/>
                <a:gd name="connsiteX2" fmla="*/ 73819 w 450056"/>
                <a:gd name="connsiteY2" fmla="*/ 100013 h 559594"/>
                <a:gd name="connsiteX3" fmla="*/ 450056 w 450056"/>
                <a:gd name="connsiteY3" fmla="*/ 88107 h 559594"/>
                <a:gd name="connsiteX4" fmla="*/ 450056 w 450056"/>
                <a:gd name="connsiteY4" fmla="*/ 21432 h 559594"/>
                <a:gd name="connsiteX5" fmla="*/ 7144 w 450056"/>
                <a:gd name="connsiteY5" fmla="*/ 0 h 559594"/>
                <a:gd name="connsiteX6" fmla="*/ 0 w 450056"/>
                <a:gd name="connsiteY6" fmla="*/ 545307 h 559594"/>
                <a:gd name="connsiteX0" fmla="*/ 0 w 450056"/>
                <a:gd name="connsiteY0" fmla="*/ 545307 h 559594"/>
                <a:gd name="connsiteX1" fmla="*/ 71438 w 450056"/>
                <a:gd name="connsiteY1" fmla="*/ 559594 h 559594"/>
                <a:gd name="connsiteX2" fmla="*/ 76200 w 450056"/>
                <a:gd name="connsiteY2" fmla="*/ 71438 h 559594"/>
                <a:gd name="connsiteX3" fmla="*/ 450056 w 450056"/>
                <a:gd name="connsiteY3" fmla="*/ 88107 h 559594"/>
                <a:gd name="connsiteX4" fmla="*/ 450056 w 450056"/>
                <a:gd name="connsiteY4" fmla="*/ 21432 h 559594"/>
                <a:gd name="connsiteX5" fmla="*/ 7144 w 450056"/>
                <a:gd name="connsiteY5" fmla="*/ 0 h 559594"/>
                <a:gd name="connsiteX6" fmla="*/ 0 w 450056"/>
                <a:gd name="connsiteY6" fmla="*/ 545307 h 559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056" h="559594">
                  <a:moveTo>
                    <a:pt x="0" y="545307"/>
                  </a:moveTo>
                  <a:lnTo>
                    <a:pt x="71438" y="559594"/>
                  </a:lnTo>
                  <a:cubicBezTo>
                    <a:pt x="72232" y="406400"/>
                    <a:pt x="75406" y="224632"/>
                    <a:pt x="76200" y="71438"/>
                  </a:cubicBezTo>
                  <a:lnTo>
                    <a:pt x="450056" y="88107"/>
                  </a:lnTo>
                  <a:lnTo>
                    <a:pt x="450056" y="21432"/>
                  </a:lnTo>
                  <a:lnTo>
                    <a:pt x="7144" y="0"/>
                  </a:lnTo>
                  <a:cubicBezTo>
                    <a:pt x="4763" y="171450"/>
                    <a:pt x="2381" y="373857"/>
                    <a:pt x="0" y="545307"/>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53" name="Freeform 388">
              <a:extLst>
                <a:ext uri="{FF2B5EF4-FFF2-40B4-BE49-F238E27FC236}">
                  <a16:creationId xmlns:a16="http://schemas.microsoft.com/office/drawing/2014/main" id="{98BD50E6-8207-46CF-87DE-9AD2B9768896}"/>
                </a:ext>
              </a:extLst>
            </p:cNvPr>
            <p:cNvSpPr/>
            <p:nvPr/>
          </p:nvSpPr>
          <p:spPr>
            <a:xfrm>
              <a:off x="2058286" y="2377980"/>
              <a:ext cx="23644" cy="36079"/>
            </a:xfrm>
            <a:custGeom>
              <a:avLst/>
              <a:gdLst>
                <a:gd name="connsiteX0" fmla="*/ 0 w 321469"/>
                <a:gd name="connsiteY0" fmla="*/ 490538 h 490538"/>
                <a:gd name="connsiteX1" fmla="*/ 11907 w 321469"/>
                <a:gd name="connsiteY1" fmla="*/ 47625 h 490538"/>
                <a:gd name="connsiteX2" fmla="*/ 321469 w 321469"/>
                <a:gd name="connsiteY2" fmla="*/ 0 h 490538"/>
                <a:gd name="connsiteX3" fmla="*/ 316707 w 321469"/>
                <a:gd name="connsiteY3" fmla="*/ 80963 h 490538"/>
                <a:gd name="connsiteX4" fmla="*/ 80963 w 321469"/>
                <a:gd name="connsiteY4" fmla="*/ 109538 h 490538"/>
                <a:gd name="connsiteX5" fmla="*/ 66675 w 321469"/>
                <a:gd name="connsiteY5" fmla="*/ 490538 h 490538"/>
                <a:gd name="connsiteX6" fmla="*/ 0 w 321469"/>
                <a:gd name="connsiteY6" fmla="*/ 490538 h 490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1469" h="490538">
                  <a:moveTo>
                    <a:pt x="0" y="490538"/>
                  </a:moveTo>
                  <a:lnTo>
                    <a:pt x="11907" y="47625"/>
                  </a:lnTo>
                  <a:lnTo>
                    <a:pt x="321469" y="0"/>
                  </a:lnTo>
                  <a:lnTo>
                    <a:pt x="316707" y="80963"/>
                  </a:lnTo>
                  <a:lnTo>
                    <a:pt x="80963" y="109538"/>
                  </a:lnTo>
                  <a:lnTo>
                    <a:pt x="66675" y="490538"/>
                  </a:lnTo>
                  <a:lnTo>
                    <a:pt x="0" y="490538"/>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54" name="Freeform 389">
              <a:extLst>
                <a:ext uri="{FF2B5EF4-FFF2-40B4-BE49-F238E27FC236}">
                  <a16:creationId xmlns:a16="http://schemas.microsoft.com/office/drawing/2014/main" id="{AA44E270-CD5D-4193-B923-350B2934C3C9}"/>
                </a:ext>
              </a:extLst>
            </p:cNvPr>
            <p:cNvSpPr/>
            <p:nvPr/>
          </p:nvSpPr>
          <p:spPr>
            <a:xfrm>
              <a:off x="2017129" y="2394619"/>
              <a:ext cx="20491" cy="26796"/>
            </a:xfrm>
            <a:custGeom>
              <a:avLst/>
              <a:gdLst>
                <a:gd name="connsiteX0" fmla="*/ 11906 w 278606"/>
                <a:gd name="connsiteY0" fmla="*/ 26194 h 364331"/>
                <a:gd name="connsiteX1" fmla="*/ 0 w 278606"/>
                <a:gd name="connsiteY1" fmla="*/ 361950 h 364331"/>
                <a:gd name="connsiteX2" fmla="*/ 64293 w 278606"/>
                <a:gd name="connsiteY2" fmla="*/ 364331 h 364331"/>
                <a:gd name="connsiteX3" fmla="*/ 71437 w 278606"/>
                <a:gd name="connsiteY3" fmla="*/ 95250 h 364331"/>
                <a:gd name="connsiteX4" fmla="*/ 276225 w 278606"/>
                <a:gd name="connsiteY4" fmla="*/ 73819 h 364331"/>
                <a:gd name="connsiteX5" fmla="*/ 278606 w 278606"/>
                <a:gd name="connsiteY5" fmla="*/ 0 h 364331"/>
                <a:gd name="connsiteX6" fmla="*/ 11906 w 278606"/>
                <a:gd name="connsiteY6" fmla="*/ 26194 h 364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8606" h="364331">
                  <a:moveTo>
                    <a:pt x="11906" y="26194"/>
                  </a:moveTo>
                  <a:lnTo>
                    <a:pt x="0" y="361950"/>
                  </a:lnTo>
                  <a:lnTo>
                    <a:pt x="64293" y="364331"/>
                  </a:lnTo>
                  <a:lnTo>
                    <a:pt x="71437" y="95250"/>
                  </a:lnTo>
                  <a:lnTo>
                    <a:pt x="276225" y="73819"/>
                  </a:lnTo>
                  <a:cubicBezTo>
                    <a:pt x="277019" y="49213"/>
                    <a:pt x="277812" y="24606"/>
                    <a:pt x="278606" y="0"/>
                  </a:cubicBezTo>
                  <a:lnTo>
                    <a:pt x="11906" y="26194"/>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55" name="Freeform 390">
              <a:extLst>
                <a:ext uri="{FF2B5EF4-FFF2-40B4-BE49-F238E27FC236}">
                  <a16:creationId xmlns:a16="http://schemas.microsoft.com/office/drawing/2014/main" id="{2782A9A5-CDB3-42C4-A4D1-CE1A8273B710}"/>
                </a:ext>
              </a:extLst>
            </p:cNvPr>
            <p:cNvSpPr/>
            <p:nvPr/>
          </p:nvSpPr>
          <p:spPr>
            <a:xfrm>
              <a:off x="2015727" y="2435952"/>
              <a:ext cx="21017" cy="26972"/>
            </a:xfrm>
            <a:custGeom>
              <a:avLst/>
              <a:gdLst>
                <a:gd name="connsiteX0" fmla="*/ 0 w 285750"/>
                <a:gd name="connsiteY0" fmla="*/ 354806 h 366713"/>
                <a:gd name="connsiteX1" fmla="*/ 19050 w 285750"/>
                <a:gd name="connsiteY1" fmla="*/ 0 h 366713"/>
                <a:gd name="connsiteX2" fmla="*/ 285750 w 285750"/>
                <a:gd name="connsiteY2" fmla="*/ 16669 h 366713"/>
                <a:gd name="connsiteX3" fmla="*/ 280987 w 285750"/>
                <a:gd name="connsiteY3" fmla="*/ 80963 h 366713"/>
                <a:gd name="connsiteX4" fmla="*/ 80962 w 285750"/>
                <a:gd name="connsiteY4" fmla="*/ 71438 h 366713"/>
                <a:gd name="connsiteX5" fmla="*/ 66675 w 285750"/>
                <a:gd name="connsiteY5" fmla="*/ 366713 h 366713"/>
                <a:gd name="connsiteX6" fmla="*/ 0 w 285750"/>
                <a:gd name="connsiteY6" fmla="*/ 354806 h 366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50" h="366713">
                  <a:moveTo>
                    <a:pt x="0" y="354806"/>
                  </a:moveTo>
                  <a:lnTo>
                    <a:pt x="19050" y="0"/>
                  </a:lnTo>
                  <a:lnTo>
                    <a:pt x="285750" y="16669"/>
                  </a:lnTo>
                  <a:lnTo>
                    <a:pt x="280987" y="80963"/>
                  </a:lnTo>
                  <a:lnTo>
                    <a:pt x="80962" y="71438"/>
                  </a:lnTo>
                  <a:lnTo>
                    <a:pt x="66675" y="366713"/>
                  </a:lnTo>
                  <a:lnTo>
                    <a:pt x="0" y="354806"/>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56" name="Freeform 391">
              <a:extLst>
                <a:ext uri="{FF2B5EF4-FFF2-40B4-BE49-F238E27FC236}">
                  <a16:creationId xmlns:a16="http://schemas.microsoft.com/office/drawing/2014/main" id="{60B9BD65-781A-419A-B98B-3680D531F68D}"/>
                </a:ext>
              </a:extLst>
            </p:cNvPr>
            <p:cNvSpPr/>
            <p:nvPr/>
          </p:nvSpPr>
          <p:spPr>
            <a:xfrm>
              <a:off x="2055309" y="2439104"/>
              <a:ext cx="28898" cy="59197"/>
            </a:xfrm>
            <a:custGeom>
              <a:avLst/>
              <a:gdLst>
                <a:gd name="connsiteX0" fmla="*/ 85725 w 392906"/>
                <a:gd name="connsiteY0" fmla="*/ 685800 h 804862"/>
                <a:gd name="connsiteX1" fmla="*/ 0 w 392906"/>
                <a:gd name="connsiteY1" fmla="*/ 707231 h 804862"/>
                <a:gd name="connsiteX2" fmla="*/ 23813 w 392906"/>
                <a:gd name="connsiteY2" fmla="*/ 0 h 804862"/>
                <a:gd name="connsiteX3" fmla="*/ 392906 w 392906"/>
                <a:gd name="connsiteY3" fmla="*/ 19050 h 804862"/>
                <a:gd name="connsiteX4" fmla="*/ 376238 w 392906"/>
                <a:gd name="connsiteY4" fmla="*/ 804862 h 804862"/>
                <a:gd name="connsiteX5" fmla="*/ 347663 w 392906"/>
                <a:gd name="connsiteY5" fmla="*/ 792956 h 804862"/>
                <a:gd name="connsiteX6" fmla="*/ 364331 w 392906"/>
                <a:gd name="connsiteY6" fmla="*/ 76200 h 804862"/>
                <a:gd name="connsiteX7" fmla="*/ 252413 w 392906"/>
                <a:gd name="connsiteY7" fmla="*/ 71437 h 804862"/>
                <a:gd name="connsiteX8" fmla="*/ 235744 w 392906"/>
                <a:gd name="connsiteY8" fmla="*/ 700087 h 804862"/>
                <a:gd name="connsiteX9" fmla="*/ 197644 w 392906"/>
                <a:gd name="connsiteY9" fmla="*/ 690562 h 804862"/>
                <a:gd name="connsiteX10" fmla="*/ 211931 w 392906"/>
                <a:gd name="connsiteY10" fmla="*/ 69056 h 804862"/>
                <a:gd name="connsiteX11" fmla="*/ 100013 w 392906"/>
                <a:gd name="connsiteY11" fmla="*/ 59531 h 804862"/>
                <a:gd name="connsiteX12" fmla="*/ 85725 w 392906"/>
                <a:gd name="connsiteY12" fmla="*/ 685800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2906" h="804862">
                  <a:moveTo>
                    <a:pt x="85725" y="685800"/>
                  </a:moveTo>
                  <a:lnTo>
                    <a:pt x="0" y="707231"/>
                  </a:lnTo>
                  <a:lnTo>
                    <a:pt x="23813" y="0"/>
                  </a:lnTo>
                  <a:lnTo>
                    <a:pt x="392906" y="19050"/>
                  </a:lnTo>
                  <a:lnTo>
                    <a:pt x="376238" y="804862"/>
                  </a:lnTo>
                  <a:lnTo>
                    <a:pt x="347663" y="792956"/>
                  </a:lnTo>
                  <a:lnTo>
                    <a:pt x="364331" y="76200"/>
                  </a:lnTo>
                  <a:lnTo>
                    <a:pt x="252413" y="71437"/>
                  </a:lnTo>
                  <a:lnTo>
                    <a:pt x="235744" y="700087"/>
                  </a:lnTo>
                  <a:lnTo>
                    <a:pt x="197644" y="690562"/>
                  </a:lnTo>
                  <a:lnTo>
                    <a:pt x="211931" y="69056"/>
                  </a:lnTo>
                  <a:lnTo>
                    <a:pt x="100013" y="59531"/>
                  </a:lnTo>
                  <a:lnTo>
                    <a:pt x="85725" y="685800"/>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57" name="Freeform 392">
              <a:extLst>
                <a:ext uri="{FF2B5EF4-FFF2-40B4-BE49-F238E27FC236}">
                  <a16:creationId xmlns:a16="http://schemas.microsoft.com/office/drawing/2014/main" id="{196FE93C-2F73-4722-894E-5F5F9F628AA9}"/>
                </a:ext>
              </a:extLst>
            </p:cNvPr>
            <p:cNvSpPr/>
            <p:nvPr/>
          </p:nvSpPr>
          <p:spPr>
            <a:xfrm>
              <a:off x="2144613" y="2201006"/>
              <a:ext cx="122266" cy="22905"/>
            </a:xfrm>
            <a:custGeom>
              <a:avLst/>
              <a:gdLst>
                <a:gd name="connsiteX0" fmla="*/ 0 w 1654175"/>
                <a:gd name="connsiteY0" fmla="*/ 158750 h 276225"/>
                <a:gd name="connsiteX1" fmla="*/ 311150 w 1654175"/>
                <a:gd name="connsiteY1" fmla="*/ 76200 h 276225"/>
                <a:gd name="connsiteX2" fmla="*/ 1136650 w 1654175"/>
                <a:gd name="connsiteY2" fmla="*/ 238125 h 276225"/>
                <a:gd name="connsiteX3" fmla="*/ 1654175 w 1654175"/>
                <a:gd name="connsiteY3" fmla="*/ 276225 h 276225"/>
                <a:gd name="connsiteX4" fmla="*/ 1177925 w 1654175"/>
                <a:gd name="connsiteY4" fmla="*/ 165100 h 276225"/>
                <a:gd name="connsiteX5" fmla="*/ 238125 w 1654175"/>
                <a:gd name="connsiteY5" fmla="*/ 0 h 276225"/>
                <a:gd name="connsiteX6" fmla="*/ 0 w 1654175"/>
                <a:gd name="connsiteY6" fmla="*/ 158750 h 276225"/>
                <a:gd name="connsiteX0" fmla="*/ 8663 w 1662838"/>
                <a:gd name="connsiteY0" fmla="*/ 158750 h 276225"/>
                <a:gd name="connsiteX1" fmla="*/ 319813 w 1662838"/>
                <a:gd name="connsiteY1" fmla="*/ 76200 h 276225"/>
                <a:gd name="connsiteX2" fmla="*/ 1145313 w 1662838"/>
                <a:gd name="connsiteY2" fmla="*/ 238125 h 276225"/>
                <a:gd name="connsiteX3" fmla="*/ 1662838 w 1662838"/>
                <a:gd name="connsiteY3" fmla="*/ 276225 h 276225"/>
                <a:gd name="connsiteX4" fmla="*/ 1186588 w 1662838"/>
                <a:gd name="connsiteY4" fmla="*/ 165100 h 276225"/>
                <a:gd name="connsiteX5" fmla="*/ 246788 w 1662838"/>
                <a:gd name="connsiteY5" fmla="*/ 0 h 276225"/>
                <a:gd name="connsiteX6" fmla="*/ 8663 w 1662838"/>
                <a:gd name="connsiteY6" fmla="*/ 158750 h 276225"/>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528"/>
                <a:gd name="connsiteX1" fmla="*/ 319612 w 1662637"/>
                <a:gd name="connsiteY1" fmla="*/ 104203 h 304528"/>
                <a:gd name="connsiteX2" fmla="*/ 1145112 w 1662637"/>
                <a:gd name="connsiteY2" fmla="*/ 266128 h 304528"/>
                <a:gd name="connsiteX3" fmla="*/ 1662637 w 1662637"/>
                <a:gd name="connsiteY3" fmla="*/ 304228 h 304528"/>
                <a:gd name="connsiteX4" fmla="*/ 1186387 w 1662637"/>
                <a:gd name="connsiteY4" fmla="*/ 193103 h 304528"/>
                <a:gd name="connsiteX5" fmla="*/ 246587 w 1662637"/>
                <a:gd name="connsiteY5" fmla="*/ 28003 h 304528"/>
                <a:gd name="connsiteX6" fmla="*/ 8462 w 1662637"/>
                <a:gd name="connsiteY6" fmla="*/ 186753 h 304528"/>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2350" h="311416">
                  <a:moveTo>
                    <a:pt x="8175" y="190827"/>
                  </a:moveTo>
                  <a:cubicBezTo>
                    <a:pt x="26167" y="172835"/>
                    <a:pt x="-51092" y="-64231"/>
                    <a:pt x="319325" y="108277"/>
                  </a:cubicBezTo>
                  <a:cubicBezTo>
                    <a:pt x="470667" y="187652"/>
                    <a:pt x="733133" y="400377"/>
                    <a:pt x="1144825" y="270202"/>
                  </a:cubicBezTo>
                  <a:cubicBezTo>
                    <a:pt x="1307808" y="200352"/>
                    <a:pt x="1461267" y="200352"/>
                    <a:pt x="1662350" y="308302"/>
                  </a:cubicBezTo>
                  <a:cubicBezTo>
                    <a:pt x="1592500" y="258560"/>
                    <a:pt x="1405175" y="151669"/>
                    <a:pt x="1186100" y="197177"/>
                  </a:cubicBezTo>
                  <a:cubicBezTo>
                    <a:pt x="720433" y="345344"/>
                    <a:pt x="623067" y="188710"/>
                    <a:pt x="246300" y="32077"/>
                  </a:cubicBezTo>
                  <a:cubicBezTo>
                    <a:pt x="182800" y="-731"/>
                    <a:pt x="-45800" y="-65290"/>
                    <a:pt x="8175" y="190827"/>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dirty="0">
                <a:solidFill>
                  <a:prstClr val="white"/>
                </a:solidFill>
                <a:latin typeface="Segoe UI"/>
              </a:endParaRPr>
            </a:p>
          </p:txBody>
        </p:sp>
        <p:sp>
          <p:nvSpPr>
            <p:cNvPr id="458" name="Freeform 393">
              <a:extLst>
                <a:ext uri="{FF2B5EF4-FFF2-40B4-BE49-F238E27FC236}">
                  <a16:creationId xmlns:a16="http://schemas.microsoft.com/office/drawing/2014/main" id="{80AFA98D-54DB-4684-B4FA-9DC6E270220D}"/>
                </a:ext>
              </a:extLst>
            </p:cNvPr>
            <p:cNvSpPr/>
            <p:nvPr/>
          </p:nvSpPr>
          <p:spPr>
            <a:xfrm>
              <a:off x="2201110" y="2134657"/>
              <a:ext cx="215223" cy="43420"/>
            </a:xfrm>
            <a:custGeom>
              <a:avLst/>
              <a:gdLst>
                <a:gd name="connsiteX0" fmla="*/ 0 w 1654175"/>
                <a:gd name="connsiteY0" fmla="*/ 158750 h 276225"/>
                <a:gd name="connsiteX1" fmla="*/ 311150 w 1654175"/>
                <a:gd name="connsiteY1" fmla="*/ 76200 h 276225"/>
                <a:gd name="connsiteX2" fmla="*/ 1136650 w 1654175"/>
                <a:gd name="connsiteY2" fmla="*/ 238125 h 276225"/>
                <a:gd name="connsiteX3" fmla="*/ 1654175 w 1654175"/>
                <a:gd name="connsiteY3" fmla="*/ 276225 h 276225"/>
                <a:gd name="connsiteX4" fmla="*/ 1177925 w 1654175"/>
                <a:gd name="connsiteY4" fmla="*/ 165100 h 276225"/>
                <a:gd name="connsiteX5" fmla="*/ 238125 w 1654175"/>
                <a:gd name="connsiteY5" fmla="*/ 0 h 276225"/>
                <a:gd name="connsiteX6" fmla="*/ 0 w 1654175"/>
                <a:gd name="connsiteY6" fmla="*/ 158750 h 276225"/>
                <a:gd name="connsiteX0" fmla="*/ 8663 w 1662838"/>
                <a:gd name="connsiteY0" fmla="*/ 158750 h 276225"/>
                <a:gd name="connsiteX1" fmla="*/ 319813 w 1662838"/>
                <a:gd name="connsiteY1" fmla="*/ 76200 h 276225"/>
                <a:gd name="connsiteX2" fmla="*/ 1145313 w 1662838"/>
                <a:gd name="connsiteY2" fmla="*/ 238125 h 276225"/>
                <a:gd name="connsiteX3" fmla="*/ 1662838 w 1662838"/>
                <a:gd name="connsiteY3" fmla="*/ 276225 h 276225"/>
                <a:gd name="connsiteX4" fmla="*/ 1186588 w 1662838"/>
                <a:gd name="connsiteY4" fmla="*/ 165100 h 276225"/>
                <a:gd name="connsiteX5" fmla="*/ 246788 w 1662838"/>
                <a:gd name="connsiteY5" fmla="*/ 0 h 276225"/>
                <a:gd name="connsiteX6" fmla="*/ 8663 w 1662838"/>
                <a:gd name="connsiteY6" fmla="*/ 158750 h 276225"/>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528"/>
                <a:gd name="connsiteX1" fmla="*/ 319612 w 1662637"/>
                <a:gd name="connsiteY1" fmla="*/ 104203 h 304528"/>
                <a:gd name="connsiteX2" fmla="*/ 1145112 w 1662637"/>
                <a:gd name="connsiteY2" fmla="*/ 266128 h 304528"/>
                <a:gd name="connsiteX3" fmla="*/ 1662637 w 1662637"/>
                <a:gd name="connsiteY3" fmla="*/ 304228 h 304528"/>
                <a:gd name="connsiteX4" fmla="*/ 1186387 w 1662637"/>
                <a:gd name="connsiteY4" fmla="*/ 193103 h 304528"/>
                <a:gd name="connsiteX5" fmla="*/ 246587 w 1662637"/>
                <a:gd name="connsiteY5" fmla="*/ 28003 h 304528"/>
                <a:gd name="connsiteX6" fmla="*/ 8462 w 1662637"/>
                <a:gd name="connsiteY6" fmla="*/ 186753 h 304528"/>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 name="connsiteX0" fmla="*/ 8175 w 1646273"/>
                <a:gd name="connsiteY0" fmla="*/ 190827 h 445287"/>
                <a:gd name="connsiteX1" fmla="*/ 319325 w 1646273"/>
                <a:gd name="connsiteY1" fmla="*/ 108277 h 445287"/>
                <a:gd name="connsiteX2" fmla="*/ 1144825 w 1646273"/>
                <a:gd name="connsiteY2" fmla="*/ 2702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9325 w 1646273"/>
                <a:gd name="connsiteY1" fmla="*/ 108277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9325 w 1646273"/>
                <a:gd name="connsiteY1" fmla="*/ 108277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2180 w 1646273"/>
                <a:gd name="connsiteY1" fmla="*/ 125400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2180 w 1646273"/>
                <a:gd name="connsiteY1" fmla="*/ 125400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2180 w 1646273"/>
                <a:gd name="connsiteY1" fmla="*/ 125400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7914 w 1646012"/>
                <a:gd name="connsiteY0" fmla="*/ 189281 h 443741"/>
                <a:gd name="connsiteX1" fmla="*/ 311919 w 1646012"/>
                <a:gd name="connsiteY1" fmla="*/ 123854 h 443741"/>
                <a:gd name="connsiteX2" fmla="*/ 1144564 w 1646012"/>
                <a:gd name="connsiteY2" fmla="*/ 300456 h 443741"/>
                <a:gd name="connsiteX3" fmla="*/ 1646012 w 1646012"/>
                <a:gd name="connsiteY3" fmla="*/ 443741 h 443741"/>
                <a:gd name="connsiteX4" fmla="*/ 1185839 w 1646012"/>
                <a:gd name="connsiteY4" fmla="*/ 195631 h 443741"/>
                <a:gd name="connsiteX5" fmla="*/ 254971 w 1646012"/>
                <a:gd name="connsiteY5" fmla="*/ 32977 h 443741"/>
                <a:gd name="connsiteX6" fmla="*/ 7914 w 1646012"/>
                <a:gd name="connsiteY6" fmla="*/ 189281 h 443741"/>
                <a:gd name="connsiteX0" fmla="*/ 8487 w 1646585"/>
                <a:gd name="connsiteY0" fmla="*/ 212527 h 466987"/>
                <a:gd name="connsiteX1" fmla="*/ 312492 w 1646585"/>
                <a:gd name="connsiteY1" fmla="*/ 147100 h 466987"/>
                <a:gd name="connsiteX2" fmla="*/ 1145137 w 1646585"/>
                <a:gd name="connsiteY2" fmla="*/ 323702 h 466987"/>
                <a:gd name="connsiteX3" fmla="*/ 1646585 w 1646585"/>
                <a:gd name="connsiteY3" fmla="*/ 466987 h 466987"/>
                <a:gd name="connsiteX4" fmla="*/ 1186412 w 1646585"/>
                <a:gd name="connsiteY4" fmla="*/ 218877 h 466987"/>
                <a:gd name="connsiteX5" fmla="*/ 255544 w 1646585"/>
                <a:gd name="connsiteY5" fmla="*/ 56223 h 466987"/>
                <a:gd name="connsiteX6" fmla="*/ 8487 w 1646585"/>
                <a:gd name="connsiteY6" fmla="*/ 212527 h 466987"/>
                <a:gd name="connsiteX0" fmla="*/ 8487 w 1646585"/>
                <a:gd name="connsiteY0" fmla="*/ 212527 h 466987"/>
                <a:gd name="connsiteX1" fmla="*/ 312492 w 1646585"/>
                <a:gd name="connsiteY1" fmla="*/ 147100 h 466987"/>
                <a:gd name="connsiteX2" fmla="*/ 1145137 w 1646585"/>
                <a:gd name="connsiteY2" fmla="*/ 323702 h 466987"/>
                <a:gd name="connsiteX3" fmla="*/ 1646585 w 1646585"/>
                <a:gd name="connsiteY3" fmla="*/ 466987 h 466987"/>
                <a:gd name="connsiteX4" fmla="*/ 1186412 w 1646585"/>
                <a:gd name="connsiteY4" fmla="*/ 218877 h 466987"/>
                <a:gd name="connsiteX5" fmla="*/ 255544 w 1646585"/>
                <a:gd name="connsiteY5" fmla="*/ 56223 h 466987"/>
                <a:gd name="connsiteX6" fmla="*/ 8487 w 1646585"/>
                <a:gd name="connsiteY6" fmla="*/ 212527 h 466987"/>
                <a:gd name="connsiteX0" fmla="*/ 8487 w 1646585"/>
                <a:gd name="connsiteY0" fmla="*/ 212527 h 466987"/>
                <a:gd name="connsiteX1" fmla="*/ 312492 w 1646585"/>
                <a:gd name="connsiteY1" fmla="*/ 147100 h 466987"/>
                <a:gd name="connsiteX2" fmla="*/ 1145137 w 1646585"/>
                <a:gd name="connsiteY2" fmla="*/ 323702 h 466987"/>
                <a:gd name="connsiteX3" fmla="*/ 1646585 w 1646585"/>
                <a:gd name="connsiteY3" fmla="*/ 466987 h 466987"/>
                <a:gd name="connsiteX4" fmla="*/ 1186412 w 1646585"/>
                <a:gd name="connsiteY4" fmla="*/ 218877 h 466987"/>
                <a:gd name="connsiteX5" fmla="*/ 255544 w 1646585"/>
                <a:gd name="connsiteY5" fmla="*/ 56223 h 466987"/>
                <a:gd name="connsiteX6" fmla="*/ 8487 w 1646585"/>
                <a:gd name="connsiteY6" fmla="*/ 212527 h 466987"/>
                <a:gd name="connsiteX0" fmla="*/ 7122 w 1645220"/>
                <a:gd name="connsiteY0" fmla="*/ 195482 h 449942"/>
                <a:gd name="connsiteX1" fmla="*/ 311127 w 1645220"/>
                <a:gd name="connsiteY1" fmla="*/ 130055 h 449942"/>
                <a:gd name="connsiteX2" fmla="*/ 1143772 w 1645220"/>
                <a:gd name="connsiteY2" fmla="*/ 306657 h 449942"/>
                <a:gd name="connsiteX3" fmla="*/ 1645220 w 1645220"/>
                <a:gd name="connsiteY3" fmla="*/ 449942 h 449942"/>
                <a:gd name="connsiteX4" fmla="*/ 1185047 w 1645220"/>
                <a:gd name="connsiteY4" fmla="*/ 201832 h 449942"/>
                <a:gd name="connsiteX5" fmla="*/ 304198 w 1645220"/>
                <a:gd name="connsiteY5" fmla="*/ 66086 h 449942"/>
                <a:gd name="connsiteX6" fmla="*/ 7122 w 1645220"/>
                <a:gd name="connsiteY6" fmla="*/ 195482 h 449942"/>
                <a:gd name="connsiteX0" fmla="*/ 8480 w 1646578"/>
                <a:gd name="connsiteY0" fmla="*/ 207867 h 462327"/>
                <a:gd name="connsiteX1" fmla="*/ 312485 w 1646578"/>
                <a:gd name="connsiteY1" fmla="*/ 142440 h 462327"/>
                <a:gd name="connsiteX2" fmla="*/ 1145130 w 1646578"/>
                <a:gd name="connsiteY2" fmla="*/ 319042 h 462327"/>
                <a:gd name="connsiteX3" fmla="*/ 1646578 w 1646578"/>
                <a:gd name="connsiteY3" fmla="*/ 462327 h 462327"/>
                <a:gd name="connsiteX4" fmla="*/ 1186405 w 1646578"/>
                <a:gd name="connsiteY4" fmla="*/ 214217 h 462327"/>
                <a:gd name="connsiteX5" fmla="*/ 305556 w 1646578"/>
                <a:gd name="connsiteY5" fmla="*/ 78471 h 462327"/>
                <a:gd name="connsiteX6" fmla="*/ 8480 w 1646578"/>
                <a:gd name="connsiteY6" fmla="*/ 207867 h 462327"/>
                <a:gd name="connsiteX0" fmla="*/ 8480 w 1646578"/>
                <a:gd name="connsiteY0" fmla="*/ 207867 h 462327"/>
                <a:gd name="connsiteX1" fmla="*/ 312485 w 1646578"/>
                <a:gd name="connsiteY1" fmla="*/ 142440 h 462327"/>
                <a:gd name="connsiteX2" fmla="*/ 1145130 w 1646578"/>
                <a:gd name="connsiteY2" fmla="*/ 319042 h 462327"/>
                <a:gd name="connsiteX3" fmla="*/ 1646578 w 1646578"/>
                <a:gd name="connsiteY3" fmla="*/ 462327 h 462327"/>
                <a:gd name="connsiteX4" fmla="*/ 1198909 w 1646578"/>
                <a:gd name="connsiteY4" fmla="*/ 238679 h 462327"/>
                <a:gd name="connsiteX5" fmla="*/ 305556 w 1646578"/>
                <a:gd name="connsiteY5" fmla="*/ 78471 h 462327"/>
                <a:gd name="connsiteX6" fmla="*/ 8480 w 1646578"/>
                <a:gd name="connsiteY6" fmla="*/ 207867 h 462327"/>
                <a:gd name="connsiteX0" fmla="*/ 7917 w 1646015"/>
                <a:gd name="connsiteY0" fmla="*/ 201136 h 455596"/>
                <a:gd name="connsiteX1" fmla="*/ 311922 w 1646015"/>
                <a:gd name="connsiteY1" fmla="*/ 135709 h 455596"/>
                <a:gd name="connsiteX2" fmla="*/ 1144567 w 1646015"/>
                <a:gd name="connsiteY2" fmla="*/ 312311 h 455596"/>
                <a:gd name="connsiteX3" fmla="*/ 1646015 w 1646015"/>
                <a:gd name="connsiteY3" fmla="*/ 455596 h 455596"/>
                <a:gd name="connsiteX4" fmla="*/ 1198346 w 1646015"/>
                <a:gd name="connsiteY4" fmla="*/ 231948 h 455596"/>
                <a:gd name="connsiteX5" fmla="*/ 323750 w 1646015"/>
                <a:gd name="connsiteY5" fmla="*/ 82748 h 455596"/>
                <a:gd name="connsiteX6" fmla="*/ 7917 w 1646015"/>
                <a:gd name="connsiteY6" fmla="*/ 201136 h 455596"/>
                <a:gd name="connsiteX0" fmla="*/ 8295 w 1646393"/>
                <a:gd name="connsiteY0" fmla="*/ 200370 h 454830"/>
                <a:gd name="connsiteX1" fmla="*/ 312300 w 1646393"/>
                <a:gd name="connsiteY1" fmla="*/ 134943 h 454830"/>
                <a:gd name="connsiteX2" fmla="*/ 1144945 w 1646393"/>
                <a:gd name="connsiteY2" fmla="*/ 311545 h 454830"/>
                <a:gd name="connsiteX3" fmla="*/ 1646393 w 1646393"/>
                <a:gd name="connsiteY3" fmla="*/ 454830 h 454830"/>
                <a:gd name="connsiteX4" fmla="*/ 1198724 w 1646393"/>
                <a:gd name="connsiteY4" fmla="*/ 231182 h 454830"/>
                <a:gd name="connsiteX5" fmla="*/ 324128 w 1646393"/>
                <a:gd name="connsiteY5" fmla="*/ 81982 h 454830"/>
                <a:gd name="connsiteX6" fmla="*/ 8295 w 1646393"/>
                <a:gd name="connsiteY6" fmla="*/ 200370 h 454830"/>
                <a:gd name="connsiteX0" fmla="*/ 8295 w 1646393"/>
                <a:gd name="connsiteY0" fmla="*/ 200370 h 454830"/>
                <a:gd name="connsiteX1" fmla="*/ 312300 w 1646393"/>
                <a:gd name="connsiteY1" fmla="*/ 134943 h 454830"/>
                <a:gd name="connsiteX2" fmla="*/ 1144945 w 1646393"/>
                <a:gd name="connsiteY2" fmla="*/ 311545 h 454830"/>
                <a:gd name="connsiteX3" fmla="*/ 1646393 w 1646393"/>
                <a:gd name="connsiteY3" fmla="*/ 454830 h 454830"/>
                <a:gd name="connsiteX4" fmla="*/ 1198724 w 1646393"/>
                <a:gd name="connsiteY4" fmla="*/ 231182 h 454830"/>
                <a:gd name="connsiteX5" fmla="*/ 324128 w 1646393"/>
                <a:gd name="connsiteY5" fmla="*/ 81982 h 454830"/>
                <a:gd name="connsiteX6" fmla="*/ 8295 w 1646393"/>
                <a:gd name="connsiteY6" fmla="*/ 200370 h 454830"/>
                <a:gd name="connsiteX0" fmla="*/ 8295 w 1646393"/>
                <a:gd name="connsiteY0" fmla="*/ 200370 h 454830"/>
                <a:gd name="connsiteX1" fmla="*/ 312300 w 1646393"/>
                <a:gd name="connsiteY1" fmla="*/ 134943 h 454830"/>
                <a:gd name="connsiteX2" fmla="*/ 1144945 w 1646393"/>
                <a:gd name="connsiteY2" fmla="*/ 311545 h 454830"/>
                <a:gd name="connsiteX3" fmla="*/ 1646393 w 1646393"/>
                <a:gd name="connsiteY3" fmla="*/ 454830 h 454830"/>
                <a:gd name="connsiteX4" fmla="*/ 1198724 w 1646393"/>
                <a:gd name="connsiteY4" fmla="*/ 231182 h 454830"/>
                <a:gd name="connsiteX5" fmla="*/ 324128 w 1646393"/>
                <a:gd name="connsiteY5" fmla="*/ 81982 h 454830"/>
                <a:gd name="connsiteX6" fmla="*/ 8295 w 1646393"/>
                <a:gd name="connsiteY6" fmla="*/ 200370 h 454830"/>
                <a:gd name="connsiteX0" fmla="*/ 8295 w 1646393"/>
                <a:gd name="connsiteY0" fmla="*/ 200370 h 454830"/>
                <a:gd name="connsiteX1" fmla="*/ 312300 w 1646393"/>
                <a:gd name="connsiteY1" fmla="*/ 134943 h 454830"/>
                <a:gd name="connsiteX2" fmla="*/ 1144945 w 1646393"/>
                <a:gd name="connsiteY2" fmla="*/ 311545 h 454830"/>
                <a:gd name="connsiteX3" fmla="*/ 1646393 w 1646393"/>
                <a:gd name="connsiteY3" fmla="*/ 454830 h 454830"/>
                <a:gd name="connsiteX4" fmla="*/ 1198724 w 1646393"/>
                <a:gd name="connsiteY4" fmla="*/ 231182 h 454830"/>
                <a:gd name="connsiteX5" fmla="*/ 324128 w 1646393"/>
                <a:gd name="connsiteY5" fmla="*/ 81982 h 454830"/>
                <a:gd name="connsiteX6" fmla="*/ 8295 w 1646393"/>
                <a:gd name="connsiteY6" fmla="*/ 200370 h 454830"/>
                <a:gd name="connsiteX0" fmla="*/ 8295 w 1646393"/>
                <a:gd name="connsiteY0" fmla="*/ 200370 h 454830"/>
                <a:gd name="connsiteX1" fmla="*/ 312300 w 1646393"/>
                <a:gd name="connsiteY1" fmla="*/ 134943 h 454830"/>
                <a:gd name="connsiteX2" fmla="*/ 547329 w 1646393"/>
                <a:gd name="connsiteY2" fmla="*/ 306941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47329 w 1646393"/>
                <a:gd name="connsiteY2" fmla="*/ 306941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47329 w 1646393"/>
                <a:gd name="connsiteY2" fmla="*/ 306941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47329 w 1646393"/>
                <a:gd name="connsiteY2" fmla="*/ 306941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83503 w 1646393"/>
                <a:gd name="connsiteY2" fmla="*/ 316114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83503 w 1646393"/>
                <a:gd name="connsiteY2" fmla="*/ 316114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83503 w 1646393"/>
                <a:gd name="connsiteY2" fmla="*/ 316114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83503 w 1646393"/>
                <a:gd name="connsiteY2" fmla="*/ 316114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46393" h="454830">
                  <a:moveTo>
                    <a:pt x="8295" y="200370"/>
                  </a:moveTo>
                  <a:cubicBezTo>
                    <a:pt x="26287" y="182378"/>
                    <a:pt x="-22389" y="-76704"/>
                    <a:pt x="312300" y="134943"/>
                  </a:cubicBezTo>
                  <a:cubicBezTo>
                    <a:pt x="413304" y="203768"/>
                    <a:pt x="460807" y="246318"/>
                    <a:pt x="583503" y="316114"/>
                  </a:cubicBezTo>
                  <a:cubicBezTo>
                    <a:pt x="840177" y="475806"/>
                    <a:pt x="1022504" y="350802"/>
                    <a:pt x="1144945" y="311545"/>
                  </a:cubicBezTo>
                  <a:cubicBezTo>
                    <a:pt x="1307928" y="241695"/>
                    <a:pt x="1469426" y="330368"/>
                    <a:pt x="1646393" y="454830"/>
                  </a:cubicBezTo>
                  <a:cubicBezTo>
                    <a:pt x="1576543" y="405088"/>
                    <a:pt x="1417799" y="185674"/>
                    <a:pt x="1198724" y="231182"/>
                  </a:cubicBezTo>
                  <a:cubicBezTo>
                    <a:pt x="733057" y="379349"/>
                    <a:pt x="817456" y="395171"/>
                    <a:pt x="324128" y="81982"/>
                  </a:cubicBezTo>
                  <a:cubicBezTo>
                    <a:pt x="175775" y="-32162"/>
                    <a:pt x="-45680" y="-55747"/>
                    <a:pt x="8295" y="200370"/>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dirty="0">
                <a:solidFill>
                  <a:prstClr val="white"/>
                </a:solidFill>
                <a:latin typeface="Segoe UI"/>
              </a:endParaRPr>
            </a:p>
          </p:txBody>
        </p:sp>
        <p:sp>
          <p:nvSpPr>
            <p:cNvPr id="459" name="Freeform 394">
              <a:extLst>
                <a:ext uri="{FF2B5EF4-FFF2-40B4-BE49-F238E27FC236}">
                  <a16:creationId xmlns:a16="http://schemas.microsoft.com/office/drawing/2014/main" id="{BD37BA74-7C4D-4622-BDB6-A77954D54074}"/>
                </a:ext>
              </a:extLst>
            </p:cNvPr>
            <p:cNvSpPr/>
            <p:nvPr/>
          </p:nvSpPr>
          <p:spPr>
            <a:xfrm>
              <a:off x="2302473" y="2182791"/>
              <a:ext cx="122266" cy="22905"/>
            </a:xfrm>
            <a:custGeom>
              <a:avLst/>
              <a:gdLst>
                <a:gd name="connsiteX0" fmla="*/ 0 w 1654175"/>
                <a:gd name="connsiteY0" fmla="*/ 158750 h 276225"/>
                <a:gd name="connsiteX1" fmla="*/ 311150 w 1654175"/>
                <a:gd name="connsiteY1" fmla="*/ 76200 h 276225"/>
                <a:gd name="connsiteX2" fmla="*/ 1136650 w 1654175"/>
                <a:gd name="connsiteY2" fmla="*/ 238125 h 276225"/>
                <a:gd name="connsiteX3" fmla="*/ 1654175 w 1654175"/>
                <a:gd name="connsiteY3" fmla="*/ 276225 h 276225"/>
                <a:gd name="connsiteX4" fmla="*/ 1177925 w 1654175"/>
                <a:gd name="connsiteY4" fmla="*/ 165100 h 276225"/>
                <a:gd name="connsiteX5" fmla="*/ 238125 w 1654175"/>
                <a:gd name="connsiteY5" fmla="*/ 0 h 276225"/>
                <a:gd name="connsiteX6" fmla="*/ 0 w 1654175"/>
                <a:gd name="connsiteY6" fmla="*/ 158750 h 276225"/>
                <a:gd name="connsiteX0" fmla="*/ 8663 w 1662838"/>
                <a:gd name="connsiteY0" fmla="*/ 158750 h 276225"/>
                <a:gd name="connsiteX1" fmla="*/ 319813 w 1662838"/>
                <a:gd name="connsiteY1" fmla="*/ 76200 h 276225"/>
                <a:gd name="connsiteX2" fmla="*/ 1145313 w 1662838"/>
                <a:gd name="connsiteY2" fmla="*/ 238125 h 276225"/>
                <a:gd name="connsiteX3" fmla="*/ 1662838 w 1662838"/>
                <a:gd name="connsiteY3" fmla="*/ 276225 h 276225"/>
                <a:gd name="connsiteX4" fmla="*/ 1186588 w 1662838"/>
                <a:gd name="connsiteY4" fmla="*/ 165100 h 276225"/>
                <a:gd name="connsiteX5" fmla="*/ 246788 w 1662838"/>
                <a:gd name="connsiteY5" fmla="*/ 0 h 276225"/>
                <a:gd name="connsiteX6" fmla="*/ 8663 w 1662838"/>
                <a:gd name="connsiteY6" fmla="*/ 158750 h 276225"/>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528"/>
                <a:gd name="connsiteX1" fmla="*/ 319612 w 1662637"/>
                <a:gd name="connsiteY1" fmla="*/ 104203 h 304528"/>
                <a:gd name="connsiteX2" fmla="*/ 1145112 w 1662637"/>
                <a:gd name="connsiteY2" fmla="*/ 266128 h 304528"/>
                <a:gd name="connsiteX3" fmla="*/ 1662637 w 1662637"/>
                <a:gd name="connsiteY3" fmla="*/ 304228 h 304528"/>
                <a:gd name="connsiteX4" fmla="*/ 1186387 w 1662637"/>
                <a:gd name="connsiteY4" fmla="*/ 193103 h 304528"/>
                <a:gd name="connsiteX5" fmla="*/ 246587 w 1662637"/>
                <a:gd name="connsiteY5" fmla="*/ 28003 h 304528"/>
                <a:gd name="connsiteX6" fmla="*/ 8462 w 1662637"/>
                <a:gd name="connsiteY6" fmla="*/ 186753 h 304528"/>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2350" h="311416">
                  <a:moveTo>
                    <a:pt x="8175" y="190827"/>
                  </a:moveTo>
                  <a:cubicBezTo>
                    <a:pt x="26167" y="172835"/>
                    <a:pt x="-51092" y="-64231"/>
                    <a:pt x="319325" y="108277"/>
                  </a:cubicBezTo>
                  <a:cubicBezTo>
                    <a:pt x="470667" y="187652"/>
                    <a:pt x="733133" y="400377"/>
                    <a:pt x="1144825" y="270202"/>
                  </a:cubicBezTo>
                  <a:cubicBezTo>
                    <a:pt x="1307808" y="200352"/>
                    <a:pt x="1461267" y="200352"/>
                    <a:pt x="1662350" y="308302"/>
                  </a:cubicBezTo>
                  <a:cubicBezTo>
                    <a:pt x="1592500" y="258560"/>
                    <a:pt x="1405175" y="151669"/>
                    <a:pt x="1186100" y="197177"/>
                  </a:cubicBezTo>
                  <a:cubicBezTo>
                    <a:pt x="720433" y="345344"/>
                    <a:pt x="623067" y="188710"/>
                    <a:pt x="246300" y="32077"/>
                  </a:cubicBezTo>
                  <a:cubicBezTo>
                    <a:pt x="182800" y="-731"/>
                    <a:pt x="-45800" y="-65290"/>
                    <a:pt x="8175" y="190827"/>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dirty="0">
                <a:solidFill>
                  <a:prstClr val="white"/>
                </a:solidFill>
                <a:latin typeface="Segoe UI"/>
              </a:endParaRPr>
            </a:p>
          </p:txBody>
        </p:sp>
        <p:sp>
          <p:nvSpPr>
            <p:cNvPr id="460" name="Freeform 395">
              <a:extLst>
                <a:ext uri="{FF2B5EF4-FFF2-40B4-BE49-F238E27FC236}">
                  <a16:creationId xmlns:a16="http://schemas.microsoft.com/office/drawing/2014/main" id="{F02E49D6-6D5C-42B4-8075-9339810A7FC7}"/>
                </a:ext>
              </a:extLst>
            </p:cNvPr>
            <p:cNvSpPr/>
            <p:nvPr/>
          </p:nvSpPr>
          <p:spPr>
            <a:xfrm>
              <a:off x="532964" y="2169246"/>
              <a:ext cx="451723" cy="405557"/>
            </a:xfrm>
            <a:custGeom>
              <a:avLst/>
              <a:gdLst/>
              <a:ahLst/>
              <a:cxnLst/>
              <a:rect l="l" t="t" r="r" b="b"/>
              <a:pathLst>
                <a:path w="6141720" h="5514049">
                  <a:moveTo>
                    <a:pt x="2437765" y="4651720"/>
                  </a:moveTo>
                  <a:lnTo>
                    <a:pt x="1748790" y="4880320"/>
                  </a:lnTo>
                  <a:lnTo>
                    <a:pt x="3021965" y="5321645"/>
                  </a:lnTo>
                  <a:lnTo>
                    <a:pt x="4457065" y="4893020"/>
                  </a:lnTo>
                  <a:lnTo>
                    <a:pt x="3041015" y="4800945"/>
                  </a:lnTo>
                  <a:close/>
                  <a:moveTo>
                    <a:pt x="1005840" y="4480270"/>
                  </a:moveTo>
                  <a:lnTo>
                    <a:pt x="878840" y="4524720"/>
                  </a:lnTo>
                  <a:lnTo>
                    <a:pt x="1551940" y="4731095"/>
                  </a:lnTo>
                  <a:lnTo>
                    <a:pt x="1678940" y="4686645"/>
                  </a:lnTo>
                  <a:close/>
                  <a:moveTo>
                    <a:pt x="586740" y="4207220"/>
                  </a:moveTo>
                  <a:lnTo>
                    <a:pt x="97790" y="4311995"/>
                  </a:lnTo>
                  <a:lnTo>
                    <a:pt x="789940" y="4556470"/>
                  </a:lnTo>
                  <a:lnTo>
                    <a:pt x="789940" y="4508845"/>
                  </a:lnTo>
                  <a:lnTo>
                    <a:pt x="945515" y="4461220"/>
                  </a:lnTo>
                  <a:lnTo>
                    <a:pt x="945515" y="4365970"/>
                  </a:lnTo>
                  <a:lnTo>
                    <a:pt x="1069340" y="4331045"/>
                  </a:lnTo>
                  <a:close/>
                  <a:moveTo>
                    <a:pt x="3918109" y="3795264"/>
                  </a:moveTo>
                  <a:lnTo>
                    <a:pt x="3587115" y="3809551"/>
                  </a:lnTo>
                  <a:lnTo>
                    <a:pt x="3587115" y="3864320"/>
                  </a:lnTo>
                  <a:lnTo>
                    <a:pt x="3872865" y="3847651"/>
                  </a:lnTo>
                  <a:lnTo>
                    <a:pt x="3872865" y="4278658"/>
                  </a:lnTo>
                  <a:lnTo>
                    <a:pt x="3920490" y="4269133"/>
                  </a:lnTo>
                  <a:cubicBezTo>
                    <a:pt x="3919696" y="4111177"/>
                    <a:pt x="3918903" y="3953220"/>
                    <a:pt x="3918109" y="3795264"/>
                  </a:cubicBezTo>
                  <a:close/>
                  <a:moveTo>
                    <a:pt x="4713446" y="3754783"/>
                  </a:moveTo>
                  <a:lnTo>
                    <a:pt x="4434840" y="3769070"/>
                  </a:lnTo>
                  <a:lnTo>
                    <a:pt x="4434840" y="3819076"/>
                  </a:lnTo>
                  <a:lnTo>
                    <a:pt x="4672965" y="3797645"/>
                  </a:lnTo>
                  <a:lnTo>
                    <a:pt x="4672965" y="4161976"/>
                  </a:lnTo>
                  <a:lnTo>
                    <a:pt x="4713446" y="4157214"/>
                  </a:lnTo>
                  <a:close/>
                  <a:moveTo>
                    <a:pt x="5356384" y="3719064"/>
                  </a:moveTo>
                  <a:lnTo>
                    <a:pt x="5120640" y="3730970"/>
                  </a:lnTo>
                  <a:lnTo>
                    <a:pt x="5120640" y="3766689"/>
                  </a:lnTo>
                  <a:lnTo>
                    <a:pt x="5327809" y="3761926"/>
                  </a:lnTo>
                  <a:lnTo>
                    <a:pt x="5342096" y="4064345"/>
                  </a:lnTo>
                  <a:lnTo>
                    <a:pt x="5370671" y="4059583"/>
                  </a:lnTo>
                  <a:close/>
                  <a:moveTo>
                    <a:pt x="5127784" y="3018976"/>
                  </a:moveTo>
                  <a:lnTo>
                    <a:pt x="5127784" y="3057076"/>
                  </a:lnTo>
                  <a:lnTo>
                    <a:pt x="5323046" y="3076126"/>
                  </a:lnTo>
                  <a:lnTo>
                    <a:pt x="5339715" y="3378545"/>
                  </a:lnTo>
                  <a:lnTo>
                    <a:pt x="5368290" y="3383307"/>
                  </a:lnTo>
                  <a:lnTo>
                    <a:pt x="5356384" y="3049933"/>
                  </a:lnTo>
                  <a:close/>
                  <a:moveTo>
                    <a:pt x="4434840" y="2952301"/>
                  </a:moveTo>
                  <a:lnTo>
                    <a:pt x="4437222" y="2995165"/>
                  </a:lnTo>
                  <a:cubicBezTo>
                    <a:pt x="4671378" y="3011833"/>
                    <a:pt x="4555490" y="3004690"/>
                    <a:pt x="4680109" y="3016595"/>
                  </a:cubicBezTo>
                  <a:lnTo>
                    <a:pt x="4680109" y="3376164"/>
                  </a:lnTo>
                  <a:lnTo>
                    <a:pt x="4718209" y="3380926"/>
                  </a:lnTo>
                  <a:cubicBezTo>
                    <a:pt x="4716621" y="3246782"/>
                    <a:pt x="4715034" y="3112639"/>
                    <a:pt x="4713446" y="2978495"/>
                  </a:cubicBezTo>
                  <a:close/>
                  <a:moveTo>
                    <a:pt x="1129665" y="2921345"/>
                  </a:moveTo>
                  <a:lnTo>
                    <a:pt x="656590" y="2994370"/>
                  </a:lnTo>
                  <a:lnTo>
                    <a:pt x="621665" y="4153245"/>
                  </a:lnTo>
                  <a:lnTo>
                    <a:pt x="1097915" y="4273895"/>
                  </a:lnTo>
                  <a:close/>
                  <a:moveTo>
                    <a:pt x="3589496" y="2868958"/>
                  </a:moveTo>
                  <a:lnTo>
                    <a:pt x="3589496" y="2918964"/>
                  </a:lnTo>
                  <a:lnTo>
                    <a:pt x="3875246" y="2949920"/>
                  </a:lnTo>
                  <a:lnTo>
                    <a:pt x="3875246" y="3380926"/>
                  </a:lnTo>
                  <a:lnTo>
                    <a:pt x="3920490" y="3380926"/>
                  </a:lnTo>
                  <a:lnTo>
                    <a:pt x="3920490" y="2902295"/>
                  </a:lnTo>
                  <a:close/>
                  <a:moveTo>
                    <a:pt x="1139190" y="2728464"/>
                  </a:moveTo>
                  <a:lnTo>
                    <a:pt x="605790" y="2838001"/>
                  </a:lnTo>
                  <a:lnTo>
                    <a:pt x="605790" y="2888008"/>
                  </a:lnTo>
                  <a:lnTo>
                    <a:pt x="1139190" y="2778470"/>
                  </a:lnTo>
                  <a:close/>
                  <a:moveTo>
                    <a:pt x="3048953" y="2621308"/>
                  </a:moveTo>
                  <a:lnTo>
                    <a:pt x="2220278" y="2749895"/>
                  </a:lnTo>
                  <a:lnTo>
                    <a:pt x="2205990" y="4531070"/>
                  </a:lnTo>
                  <a:lnTo>
                    <a:pt x="3029903" y="4731095"/>
                  </a:lnTo>
                  <a:close/>
                  <a:moveTo>
                    <a:pt x="1859915" y="2378420"/>
                  </a:moveTo>
                  <a:lnTo>
                    <a:pt x="1199515" y="2546695"/>
                  </a:lnTo>
                  <a:lnTo>
                    <a:pt x="1161415" y="4340570"/>
                  </a:lnTo>
                  <a:lnTo>
                    <a:pt x="1028065" y="4381845"/>
                  </a:lnTo>
                  <a:lnTo>
                    <a:pt x="1678940" y="4569170"/>
                  </a:lnTo>
                  <a:lnTo>
                    <a:pt x="1824990" y="4515195"/>
                  </a:lnTo>
                  <a:close/>
                  <a:moveTo>
                    <a:pt x="3082290" y="2321270"/>
                  </a:moveTo>
                  <a:lnTo>
                    <a:pt x="2225040" y="2499864"/>
                  </a:lnTo>
                  <a:lnTo>
                    <a:pt x="2225040" y="2571301"/>
                  </a:lnTo>
                  <a:lnTo>
                    <a:pt x="3082290" y="2395089"/>
                  </a:lnTo>
                  <a:close/>
                  <a:moveTo>
                    <a:pt x="3034665" y="1897408"/>
                  </a:moveTo>
                  <a:lnTo>
                    <a:pt x="853440" y="2540345"/>
                  </a:lnTo>
                  <a:lnTo>
                    <a:pt x="853440" y="2716558"/>
                  </a:lnTo>
                  <a:lnTo>
                    <a:pt x="1141571" y="2657026"/>
                  </a:lnTo>
                  <a:lnTo>
                    <a:pt x="1141571" y="2509389"/>
                  </a:lnTo>
                  <a:lnTo>
                    <a:pt x="1860709" y="2306983"/>
                  </a:lnTo>
                  <a:lnTo>
                    <a:pt x="2196465" y="2418901"/>
                  </a:lnTo>
                  <a:lnTo>
                    <a:pt x="3034665" y="2230783"/>
                  </a:lnTo>
                  <a:close/>
                  <a:moveTo>
                    <a:pt x="2139315" y="1759295"/>
                  </a:moveTo>
                  <a:lnTo>
                    <a:pt x="1482090" y="2016470"/>
                  </a:lnTo>
                  <a:lnTo>
                    <a:pt x="1482090" y="2290314"/>
                  </a:lnTo>
                  <a:lnTo>
                    <a:pt x="2139315" y="2095051"/>
                  </a:lnTo>
                  <a:close/>
                  <a:moveTo>
                    <a:pt x="3960971" y="1437826"/>
                  </a:moveTo>
                  <a:lnTo>
                    <a:pt x="2675096" y="1864070"/>
                  </a:lnTo>
                  <a:lnTo>
                    <a:pt x="2675096" y="1937889"/>
                  </a:lnTo>
                  <a:lnTo>
                    <a:pt x="3034665" y="1833114"/>
                  </a:lnTo>
                  <a:lnTo>
                    <a:pt x="3253740" y="1890264"/>
                  </a:lnTo>
                  <a:lnTo>
                    <a:pt x="3844290" y="1721195"/>
                  </a:lnTo>
                  <a:lnTo>
                    <a:pt x="3844290" y="1809301"/>
                  </a:lnTo>
                  <a:lnTo>
                    <a:pt x="3429953" y="1930745"/>
                  </a:lnTo>
                  <a:lnTo>
                    <a:pt x="3960971" y="2080764"/>
                  </a:lnTo>
                  <a:close/>
                  <a:moveTo>
                    <a:pt x="4450467" y="798721"/>
                  </a:moveTo>
                  <a:cubicBezTo>
                    <a:pt x="4330363" y="791764"/>
                    <a:pt x="4200883" y="824655"/>
                    <a:pt x="4170521" y="840133"/>
                  </a:cubicBezTo>
                  <a:lnTo>
                    <a:pt x="4156234" y="1447351"/>
                  </a:lnTo>
                  <a:lnTo>
                    <a:pt x="4603909" y="1623564"/>
                  </a:lnTo>
                  <a:lnTo>
                    <a:pt x="4563428" y="821083"/>
                  </a:lnTo>
                  <a:cubicBezTo>
                    <a:pt x="4529495" y="807788"/>
                    <a:pt x="4490502" y="801041"/>
                    <a:pt x="4450467" y="798721"/>
                  </a:cubicBezTo>
                  <a:close/>
                  <a:moveTo>
                    <a:pt x="2501265" y="767802"/>
                  </a:moveTo>
                  <a:cubicBezTo>
                    <a:pt x="2490351" y="763138"/>
                    <a:pt x="2477056" y="767107"/>
                    <a:pt x="2463165" y="794888"/>
                  </a:cubicBezTo>
                  <a:lnTo>
                    <a:pt x="2434590" y="1761675"/>
                  </a:lnTo>
                  <a:lnTo>
                    <a:pt x="2536984" y="1787869"/>
                  </a:lnTo>
                  <a:lnTo>
                    <a:pt x="2525078" y="792507"/>
                  </a:lnTo>
                  <a:cubicBezTo>
                    <a:pt x="2520712" y="785761"/>
                    <a:pt x="2512179" y="772465"/>
                    <a:pt x="2501265" y="767802"/>
                  </a:cubicBezTo>
                  <a:close/>
                  <a:moveTo>
                    <a:pt x="4302793" y="558846"/>
                  </a:moveTo>
                  <a:cubicBezTo>
                    <a:pt x="4256396" y="562269"/>
                    <a:pt x="4216361" y="576408"/>
                    <a:pt x="4177665" y="597243"/>
                  </a:cubicBezTo>
                  <a:lnTo>
                    <a:pt x="4170521" y="780600"/>
                  </a:lnTo>
                  <a:cubicBezTo>
                    <a:pt x="4199096" y="769488"/>
                    <a:pt x="4272915" y="739325"/>
                    <a:pt x="4349115" y="747262"/>
                  </a:cubicBezTo>
                  <a:lnTo>
                    <a:pt x="4351497" y="559144"/>
                  </a:lnTo>
                  <a:cubicBezTo>
                    <a:pt x="4334431" y="557755"/>
                    <a:pt x="4318259" y="557705"/>
                    <a:pt x="4302793" y="558846"/>
                  </a:cubicBezTo>
                  <a:close/>
                  <a:moveTo>
                    <a:pt x="3202810" y="335363"/>
                  </a:moveTo>
                  <a:cubicBezTo>
                    <a:pt x="3126836" y="339232"/>
                    <a:pt x="3059668" y="355250"/>
                    <a:pt x="3020378" y="375788"/>
                  </a:cubicBezTo>
                  <a:lnTo>
                    <a:pt x="2987040" y="1687857"/>
                  </a:lnTo>
                  <a:lnTo>
                    <a:pt x="3449003" y="1528313"/>
                  </a:lnTo>
                  <a:lnTo>
                    <a:pt x="3387090" y="351975"/>
                  </a:lnTo>
                  <a:cubicBezTo>
                    <a:pt x="3352364" y="343244"/>
                    <a:pt x="3316447" y="338084"/>
                    <a:pt x="3281013" y="335827"/>
                  </a:cubicBezTo>
                  <a:cubicBezTo>
                    <a:pt x="3254438" y="334134"/>
                    <a:pt x="3228135" y="334074"/>
                    <a:pt x="3202810" y="335363"/>
                  </a:cubicBezTo>
                  <a:close/>
                  <a:moveTo>
                    <a:pt x="3210878" y="80513"/>
                  </a:moveTo>
                  <a:cubicBezTo>
                    <a:pt x="3142615" y="74956"/>
                    <a:pt x="3086259" y="86070"/>
                    <a:pt x="3034665" y="113850"/>
                  </a:cubicBezTo>
                  <a:lnTo>
                    <a:pt x="3027521" y="297207"/>
                  </a:lnTo>
                  <a:cubicBezTo>
                    <a:pt x="3056096" y="286095"/>
                    <a:pt x="3129915" y="263076"/>
                    <a:pt x="3206115" y="271013"/>
                  </a:cubicBezTo>
                  <a:close/>
                  <a:moveTo>
                    <a:pt x="3339623" y="1383"/>
                  </a:moveTo>
                  <a:cubicBezTo>
                    <a:pt x="3446502" y="8108"/>
                    <a:pt x="3543419" y="40032"/>
                    <a:pt x="3581400" y="111469"/>
                  </a:cubicBezTo>
                  <a:lnTo>
                    <a:pt x="3672840" y="1460209"/>
                  </a:lnTo>
                  <a:lnTo>
                    <a:pt x="3947160" y="1368769"/>
                  </a:lnTo>
                  <a:lnTo>
                    <a:pt x="4091940" y="1429729"/>
                  </a:lnTo>
                  <a:lnTo>
                    <a:pt x="4130040" y="561049"/>
                  </a:lnTo>
                  <a:cubicBezTo>
                    <a:pt x="4317048" y="361024"/>
                    <a:pt x="4746943" y="489611"/>
                    <a:pt x="4762500" y="561049"/>
                  </a:cubicBezTo>
                  <a:lnTo>
                    <a:pt x="4892040" y="2328889"/>
                  </a:lnTo>
                  <a:lnTo>
                    <a:pt x="5433060" y="2466049"/>
                  </a:lnTo>
                  <a:lnTo>
                    <a:pt x="5448300" y="2793709"/>
                  </a:lnTo>
                  <a:lnTo>
                    <a:pt x="5692140" y="2862289"/>
                  </a:lnTo>
                  <a:lnTo>
                    <a:pt x="5692140" y="3113749"/>
                  </a:lnTo>
                  <a:lnTo>
                    <a:pt x="5631180" y="3128989"/>
                  </a:lnTo>
                  <a:lnTo>
                    <a:pt x="5646420" y="4142449"/>
                  </a:lnTo>
                  <a:lnTo>
                    <a:pt x="6103620" y="4256749"/>
                  </a:lnTo>
                  <a:lnTo>
                    <a:pt x="6141720" y="4462489"/>
                  </a:lnTo>
                  <a:lnTo>
                    <a:pt x="3048000" y="5514049"/>
                  </a:lnTo>
                  <a:lnTo>
                    <a:pt x="0" y="4401529"/>
                  </a:lnTo>
                  <a:lnTo>
                    <a:pt x="0" y="4271989"/>
                  </a:lnTo>
                  <a:lnTo>
                    <a:pt x="556260" y="4165309"/>
                  </a:lnTo>
                  <a:lnTo>
                    <a:pt x="601980" y="3022309"/>
                  </a:lnTo>
                  <a:lnTo>
                    <a:pt x="556260" y="3007069"/>
                  </a:lnTo>
                  <a:lnTo>
                    <a:pt x="556260" y="2786089"/>
                  </a:lnTo>
                  <a:lnTo>
                    <a:pt x="792480" y="2732749"/>
                  </a:lnTo>
                  <a:lnTo>
                    <a:pt x="792480" y="2481289"/>
                  </a:lnTo>
                  <a:lnTo>
                    <a:pt x="1424940" y="2298409"/>
                  </a:lnTo>
                  <a:lnTo>
                    <a:pt x="1424940" y="1970749"/>
                  </a:lnTo>
                  <a:lnTo>
                    <a:pt x="2141220" y="1681189"/>
                  </a:lnTo>
                  <a:lnTo>
                    <a:pt x="2392680" y="1757389"/>
                  </a:lnTo>
                  <a:lnTo>
                    <a:pt x="2423637" y="751549"/>
                  </a:lnTo>
                  <a:cubicBezTo>
                    <a:pt x="2433321" y="709957"/>
                    <a:pt x="2595403" y="687414"/>
                    <a:pt x="2631281" y="748215"/>
                  </a:cubicBezTo>
                  <a:lnTo>
                    <a:pt x="2682240" y="1795489"/>
                  </a:lnTo>
                  <a:lnTo>
                    <a:pt x="2872740" y="1726909"/>
                  </a:lnTo>
                  <a:lnTo>
                    <a:pt x="2948940" y="111469"/>
                  </a:lnTo>
                  <a:cubicBezTo>
                    <a:pt x="2955687" y="48961"/>
                    <a:pt x="3161491" y="-9826"/>
                    <a:pt x="3339623" y="1383"/>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61" name="Freeform 396">
              <a:extLst>
                <a:ext uri="{FF2B5EF4-FFF2-40B4-BE49-F238E27FC236}">
                  <a16:creationId xmlns:a16="http://schemas.microsoft.com/office/drawing/2014/main" id="{57732C01-2476-4AAC-957D-708CAA71C5C1}"/>
                </a:ext>
              </a:extLst>
            </p:cNvPr>
            <p:cNvSpPr/>
            <p:nvPr/>
          </p:nvSpPr>
          <p:spPr>
            <a:xfrm>
              <a:off x="708875" y="2380432"/>
              <a:ext cx="32051" cy="40983"/>
            </a:xfrm>
            <a:custGeom>
              <a:avLst/>
              <a:gdLst>
                <a:gd name="connsiteX0" fmla="*/ 435768 w 435768"/>
                <a:gd name="connsiteY0" fmla="*/ 76200 h 557212"/>
                <a:gd name="connsiteX1" fmla="*/ 435768 w 435768"/>
                <a:gd name="connsiteY1" fmla="*/ 0 h 557212"/>
                <a:gd name="connsiteX2" fmla="*/ 4762 w 435768"/>
                <a:gd name="connsiteY2" fmla="*/ 45244 h 557212"/>
                <a:gd name="connsiteX3" fmla="*/ 0 w 435768"/>
                <a:gd name="connsiteY3" fmla="*/ 557212 h 557212"/>
                <a:gd name="connsiteX4" fmla="*/ 64293 w 435768"/>
                <a:gd name="connsiteY4" fmla="*/ 557212 h 557212"/>
                <a:gd name="connsiteX5" fmla="*/ 66675 w 435768"/>
                <a:gd name="connsiteY5" fmla="*/ 104775 h 557212"/>
                <a:gd name="connsiteX6" fmla="*/ 435768 w 435768"/>
                <a:gd name="connsiteY6" fmla="*/ 76200 h 557212"/>
                <a:gd name="connsiteX0" fmla="*/ 435768 w 435768"/>
                <a:gd name="connsiteY0" fmla="*/ 76200 h 557212"/>
                <a:gd name="connsiteX1" fmla="*/ 435768 w 435768"/>
                <a:gd name="connsiteY1" fmla="*/ 0 h 557212"/>
                <a:gd name="connsiteX2" fmla="*/ 4762 w 435768"/>
                <a:gd name="connsiteY2" fmla="*/ 45244 h 557212"/>
                <a:gd name="connsiteX3" fmla="*/ 0 w 435768"/>
                <a:gd name="connsiteY3" fmla="*/ 557212 h 557212"/>
                <a:gd name="connsiteX4" fmla="*/ 64293 w 435768"/>
                <a:gd name="connsiteY4" fmla="*/ 557212 h 557212"/>
                <a:gd name="connsiteX5" fmla="*/ 66675 w 435768"/>
                <a:gd name="connsiteY5" fmla="*/ 109537 h 557212"/>
                <a:gd name="connsiteX6" fmla="*/ 435768 w 435768"/>
                <a:gd name="connsiteY6" fmla="*/ 76200 h 557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768" h="557212">
                  <a:moveTo>
                    <a:pt x="435768" y="76200"/>
                  </a:moveTo>
                  <a:lnTo>
                    <a:pt x="435768" y="0"/>
                  </a:lnTo>
                  <a:lnTo>
                    <a:pt x="4762" y="45244"/>
                  </a:lnTo>
                  <a:cubicBezTo>
                    <a:pt x="3175" y="215900"/>
                    <a:pt x="1587" y="386556"/>
                    <a:pt x="0" y="557212"/>
                  </a:cubicBezTo>
                  <a:lnTo>
                    <a:pt x="64293" y="557212"/>
                  </a:lnTo>
                  <a:lnTo>
                    <a:pt x="66675" y="109537"/>
                  </a:lnTo>
                  <a:lnTo>
                    <a:pt x="435768" y="76200"/>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62" name="Freeform 397">
              <a:extLst>
                <a:ext uri="{FF2B5EF4-FFF2-40B4-BE49-F238E27FC236}">
                  <a16:creationId xmlns:a16="http://schemas.microsoft.com/office/drawing/2014/main" id="{0578D5CE-C888-4B16-B224-B9F41F01D5D7}"/>
                </a:ext>
              </a:extLst>
            </p:cNvPr>
            <p:cNvSpPr/>
            <p:nvPr/>
          </p:nvSpPr>
          <p:spPr>
            <a:xfrm>
              <a:off x="708875" y="2443483"/>
              <a:ext cx="32226" cy="40457"/>
            </a:xfrm>
            <a:custGeom>
              <a:avLst/>
              <a:gdLst>
                <a:gd name="connsiteX0" fmla="*/ 435768 w 435768"/>
                <a:gd name="connsiteY0" fmla="*/ 76200 h 557212"/>
                <a:gd name="connsiteX1" fmla="*/ 435768 w 435768"/>
                <a:gd name="connsiteY1" fmla="*/ 0 h 557212"/>
                <a:gd name="connsiteX2" fmla="*/ 4762 w 435768"/>
                <a:gd name="connsiteY2" fmla="*/ 45244 h 557212"/>
                <a:gd name="connsiteX3" fmla="*/ 0 w 435768"/>
                <a:gd name="connsiteY3" fmla="*/ 557212 h 557212"/>
                <a:gd name="connsiteX4" fmla="*/ 64293 w 435768"/>
                <a:gd name="connsiteY4" fmla="*/ 557212 h 557212"/>
                <a:gd name="connsiteX5" fmla="*/ 66675 w 435768"/>
                <a:gd name="connsiteY5" fmla="*/ 104775 h 557212"/>
                <a:gd name="connsiteX6" fmla="*/ 435768 w 435768"/>
                <a:gd name="connsiteY6" fmla="*/ 76200 h 557212"/>
                <a:gd name="connsiteX0" fmla="*/ 435768 w 435768"/>
                <a:gd name="connsiteY0" fmla="*/ 76200 h 557212"/>
                <a:gd name="connsiteX1" fmla="*/ 435768 w 435768"/>
                <a:gd name="connsiteY1" fmla="*/ 0 h 557212"/>
                <a:gd name="connsiteX2" fmla="*/ 4762 w 435768"/>
                <a:gd name="connsiteY2" fmla="*/ 45244 h 557212"/>
                <a:gd name="connsiteX3" fmla="*/ 0 w 435768"/>
                <a:gd name="connsiteY3" fmla="*/ 557212 h 557212"/>
                <a:gd name="connsiteX4" fmla="*/ 64293 w 435768"/>
                <a:gd name="connsiteY4" fmla="*/ 557212 h 557212"/>
                <a:gd name="connsiteX5" fmla="*/ 66675 w 435768"/>
                <a:gd name="connsiteY5" fmla="*/ 109537 h 557212"/>
                <a:gd name="connsiteX6" fmla="*/ 435768 w 435768"/>
                <a:gd name="connsiteY6" fmla="*/ 76200 h 557212"/>
                <a:gd name="connsiteX0" fmla="*/ 435768 w 435768"/>
                <a:gd name="connsiteY0" fmla="*/ 76200 h 585787"/>
                <a:gd name="connsiteX1" fmla="*/ 435768 w 435768"/>
                <a:gd name="connsiteY1" fmla="*/ 0 h 585787"/>
                <a:gd name="connsiteX2" fmla="*/ 4762 w 435768"/>
                <a:gd name="connsiteY2" fmla="*/ 45244 h 585787"/>
                <a:gd name="connsiteX3" fmla="*/ 0 w 435768"/>
                <a:gd name="connsiteY3" fmla="*/ 585787 h 585787"/>
                <a:gd name="connsiteX4" fmla="*/ 64293 w 435768"/>
                <a:gd name="connsiteY4" fmla="*/ 557212 h 585787"/>
                <a:gd name="connsiteX5" fmla="*/ 66675 w 435768"/>
                <a:gd name="connsiteY5" fmla="*/ 109537 h 585787"/>
                <a:gd name="connsiteX6" fmla="*/ 435768 w 435768"/>
                <a:gd name="connsiteY6" fmla="*/ 76200 h 585787"/>
                <a:gd name="connsiteX0" fmla="*/ 435768 w 435768"/>
                <a:gd name="connsiteY0" fmla="*/ 76200 h 595312"/>
                <a:gd name="connsiteX1" fmla="*/ 435768 w 435768"/>
                <a:gd name="connsiteY1" fmla="*/ 0 h 595312"/>
                <a:gd name="connsiteX2" fmla="*/ 4762 w 435768"/>
                <a:gd name="connsiteY2" fmla="*/ 45244 h 595312"/>
                <a:gd name="connsiteX3" fmla="*/ 0 w 435768"/>
                <a:gd name="connsiteY3" fmla="*/ 585787 h 595312"/>
                <a:gd name="connsiteX4" fmla="*/ 54768 w 435768"/>
                <a:gd name="connsiteY4" fmla="*/ 595312 h 595312"/>
                <a:gd name="connsiteX5" fmla="*/ 66675 w 435768"/>
                <a:gd name="connsiteY5" fmla="*/ 109537 h 595312"/>
                <a:gd name="connsiteX6" fmla="*/ 435768 w 435768"/>
                <a:gd name="connsiteY6" fmla="*/ 76200 h 595312"/>
                <a:gd name="connsiteX0" fmla="*/ 433387 w 435768"/>
                <a:gd name="connsiteY0" fmla="*/ 128588 h 595312"/>
                <a:gd name="connsiteX1" fmla="*/ 435768 w 435768"/>
                <a:gd name="connsiteY1" fmla="*/ 0 h 595312"/>
                <a:gd name="connsiteX2" fmla="*/ 4762 w 435768"/>
                <a:gd name="connsiteY2" fmla="*/ 45244 h 595312"/>
                <a:gd name="connsiteX3" fmla="*/ 0 w 435768"/>
                <a:gd name="connsiteY3" fmla="*/ 585787 h 595312"/>
                <a:gd name="connsiteX4" fmla="*/ 54768 w 435768"/>
                <a:gd name="connsiteY4" fmla="*/ 595312 h 595312"/>
                <a:gd name="connsiteX5" fmla="*/ 66675 w 435768"/>
                <a:gd name="connsiteY5" fmla="*/ 109537 h 595312"/>
                <a:gd name="connsiteX6" fmla="*/ 433387 w 435768"/>
                <a:gd name="connsiteY6" fmla="*/ 128588 h 595312"/>
                <a:gd name="connsiteX0" fmla="*/ 433387 w 438149"/>
                <a:gd name="connsiteY0" fmla="*/ 83344 h 550068"/>
                <a:gd name="connsiteX1" fmla="*/ 438149 w 438149"/>
                <a:gd name="connsiteY1" fmla="*/ 21431 h 550068"/>
                <a:gd name="connsiteX2" fmla="*/ 4762 w 438149"/>
                <a:gd name="connsiteY2" fmla="*/ 0 h 550068"/>
                <a:gd name="connsiteX3" fmla="*/ 0 w 438149"/>
                <a:gd name="connsiteY3" fmla="*/ 540543 h 550068"/>
                <a:gd name="connsiteX4" fmla="*/ 54768 w 438149"/>
                <a:gd name="connsiteY4" fmla="*/ 550068 h 550068"/>
                <a:gd name="connsiteX5" fmla="*/ 66675 w 438149"/>
                <a:gd name="connsiteY5" fmla="*/ 64293 h 550068"/>
                <a:gd name="connsiteX6" fmla="*/ 433387 w 438149"/>
                <a:gd name="connsiteY6" fmla="*/ 83344 h 550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149" h="550068">
                  <a:moveTo>
                    <a:pt x="433387" y="83344"/>
                  </a:moveTo>
                  <a:cubicBezTo>
                    <a:pt x="434181" y="40481"/>
                    <a:pt x="437355" y="64294"/>
                    <a:pt x="438149" y="21431"/>
                  </a:cubicBezTo>
                  <a:lnTo>
                    <a:pt x="4762" y="0"/>
                  </a:lnTo>
                  <a:cubicBezTo>
                    <a:pt x="3175" y="170656"/>
                    <a:pt x="1587" y="369887"/>
                    <a:pt x="0" y="540543"/>
                  </a:cubicBezTo>
                  <a:lnTo>
                    <a:pt x="54768" y="550068"/>
                  </a:lnTo>
                  <a:lnTo>
                    <a:pt x="66675" y="64293"/>
                  </a:lnTo>
                  <a:lnTo>
                    <a:pt x="433387" y="83344"/>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63" name="Freeform 398">
              <a:extLst>
                <a:ext uri="{FF2B5EF4-FFF2-40B4-BE49-F238E27FC236}">
                  <a16:creationId xmlns:a16="http://schemas.microsoft.com/office/drawing/2014/main" id="{1756BB1E-1C8A-43DE-ACCA-4038E73239E8}"/>
                </a:ext>
              </a:extLst>
            </p:cNvPr>
            <p:cNvSpPr/>
            <p:nvPr/>
          </p:nvSpPr>
          <p:spPr>
            <a:xfrm>
              <a:off x="708350" y="2380257"/>
              <a:ext cx="33102" cy="41333"/>
            </a:xfrm>
            <a:custGeom>
              <a:avLst/>
              <a:gdLst>
                <a:gd name="connsiteX0" fmla="*/ 0 w 450056"/>
                <a:gd name="connsiteY0" fmla="*/ 561975 h 561975"/>
                <a:gd name="connsiteX1" fmla="*/ 73819 w 450056"/>
                <a:gd name="connsiteY1" fmla="*/ 561975 h 561975"/>
                <a:gd name="connsiteX2" fmla="*/ 73819 w 450056"/>
                <a:gd name="connsiteY2" fmla="*/ 116681 h 561975"/>
                <a:gd name="connsiteX3" fmla="*/ 450056 w 450056"/>
                <a:gd name="connsiteY3" fmla="*/ 73818 h 561975"/>
                <a:gd name="connsiteX4" fmla="*/ 450056 w 450056"/>
                <a:gd name="connsiteY4" fmla="*/ 0 h 561975"/>
                <a:gd name="connsiteX5" fmla="*/ 7144 w 450056"/>
                <a:gd name="connsiteY5" fmla="*/ 47625 h 561975"/>
                <a:gd name="connsiteX6" fmla="*/ 0 w 450056"/>
                <a:gd name="connsiteY6" fmla="*/ 561975 h 561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056" h="561975">
                  <a:moveTo>
                    <a:pt x="0" y="561975"/>
                  </a:moveTo>
                  <a:lnTo>
                    <a:pt x="73819" y="561975"/>
                  </a:lnTo>
                  <a:lnTo>
                    <a:pt x="73819" y="116681"/>
                  </a:lnTo>
                  <a:lnTo>
                    <a:pt x="450056" y="73818"/>
                  </a:lnTo>
                  <a:lnTo>
                    <a:pt x="450056" y="0"/>
                  </a:lnTo>
                  <a:lnTo>
                    <a:pt x="7144" y="47625"/>
                  </a:lnTo>
                  <a:cubicBezTo>
                    <a:pt x="4763" y="219075"/>
                    <a:pt x="2381" y="390525"/>
                    <a:pt x="0" y="561975"/>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64" name="Freeform 399">
              <a:extLst>
                <a:ext uri="{FF2B5EF4-FFF2-40B4-BE49-F238E27FC236}">
                  <a16:creationId xmlns:a16="http://schemas.microsoft.com/office/drawing/2014/main" id="{8F6BA4C0-282B-414F-8091-352FE52D3F44}"/>
                </a:ext>
              </a:extLst>
            </p:cNvPr>
            <p:cNvSpPr/>
            <p:nvPr/>
          </p:nvSpPr>
          <p:spPr>
            <a:xfrm>
              <a:off x="708350" y="2443308"/>
              <a:ext cx="33102" cy="41158"/>
            </a:xfrm>
            <a:custGeom>
              <a:avLst/>
              <a:gdLst>
                <a:gd name="connsiteX0" fmla="*/ 0 w 450056"/>
                <a:gd name="connsiteY0" fmla="*/ 561975 h 561975"/>
                <a:gd name="connsiteX1" fmla="*/ 73819 w 450056"/>
                <a:gd name="connsiteY1" fmla="*/ 561975 h 561975"/>
                <a:gd name="connsiteX2" fmla="*/ 73819 w 450056"/>
                <a:gd name="connsiteY2" fmla="*/ 116681 h 561975"/>
                <a:gd name="connsiteX3" fmla="*/ 450056 w 450056"/>
                <a:gd name="connsiteY3" fmla="*/ 73818 h 561975"/>
                <a:gd name="connsiteX4" fmla="*/ 450056 w 450056"/>
                <a:gd name="connsiteY4" fmla="*/ 0 h 561975"/>
                <a:gd name="connsiteX5" fmla="*/ 7144 w 450056"/>
                <a:gd name="connsiteY5" fmla="*/ 47625 h 561975"/>
                <a:gd name="connsiteX6" fmla="*/ 0 w 450056"/>
                <a:gd name="connsiteY6" fmla="*/ 561975 h 561975"/>
                <a:gd name="connsiteX0" fmla="*/ 0 w 450056"/>
                <a:gd name="connsiteY0" fmla="*/ 561975 h 576262"/>
                <a:gd name="connsiteX1" fmla="*/ 71438 w 450056"/>
                <a:gd name="connsiteY1" fmla="*/ 576262 h 576262"/>
                <a:gd name="connsiteX2" fmla="*/ 73819 w 450056"/>
                <a:gd name="connsiteY2" fmla="*/ 116681 h 576262"/>
                <a:gd name="connsiteX3" fmla="*/ 450056 w 450056"/>
                <a:gd name="connsiteY3" fmla="*/ 73818 h 576262"/>
                <a:gd name="connsiteX4" fmla="*/ 450056 w 450056"/>
                <a:gd name="connsiteY4" fmla="*/ 0 h 576262"/>
                <a:gd name="connsiteX5" fmla="*/ 7144 w 450056"/>
                <a:gd name="connsiteY5" fmla="*/ 47625 h 576262"/>
                <a:gd name="connsiteX6" fmla="*/ 0 w 450056"/>
                <a:gd name="connsiteY6" fmla="*/ 561975 h 576262"/>
                <a:gd name="connsiteX0" fmla="*/ 0 w 450056"/>
                <a:gd name="connsiteY0" fmla="*/ 561975 h 576262"/>
                <a:gd name="connsiteX1" fmla="*/ 71438 w 450056"/>
                <a:gd name="connsiteY1" fmla="*/ 576262 h 576262"/>
                <a:gd name="connsiteX2" fmla="*/ 73819 w 450056"/>
                <a:gd name="connsiteY2" fmla="*/ 116681 h 576262"/>
                <a:gd name="connsiteX3" fmla="*/ 450056 w 450056"/>
                <a:gd name="connsiteY3" fmla="*/ 73818 h 576262"/>
                <a:gd name="connsiteX4" fmla="*/ 450056 w 450056"/>
                <a:gd name="connsiteY4" fmla="*/ 0 h 576262"/>
                <a:gd name="connsiteX5" fmla="*/ 7144 w 450056"/>
                <a:gd name="connsiteY5" fmla="*/ 16668 h 576262"/>
                <a:gd name="connsiteX6" fmla="*/ 0 w 450056"/>
                <a:gd name="connsiteY6" fmla="*/ 561975 h 576262"/>
                <a:gd name="connsiteX0" fmla="*/ 0 w 450056"/>
                <a:gd name="connsiteY0" fmla="*/ 561975 h 576262"/>
                <a:gd name="connsiteX1" fmla="*/ 71438 w 450056"/>
                <a:gd name="connsiteY1" fmla="*/ 576262 h 576262"/>
                <a:gd name="connsiteX2" fmla="*/ 73819 w 450056"/>
                <a:gd name="connsiteY2" fmla="*/ 116681 h 576262"/>
                <a:gd name="connsiteX3" fmla="*/ 450056 w 450056"/>
                <a:gd name="connsiteY3" fmla="*/ 104775 h 576262"/>
                <a:gd name="connsiteX4" fmla="*/ 450056 w 450056"/>
                <a:gd name="connsiteY4" fmla="*/ 0 h 576262"/>
                <a:gd name="connsiteX5" fmla="*/ 7144 w 450056"/>
                <a:gd name="connsiteY5" fmla="*/ 16668 h 576262"/>
                <a:gd name="connsiteX6" fmla="*/ 0 w 450056"/>
                <a:gd name="connsiteY6" fmla="*/ 561975 h 576262"/>
                <a:gd name="connsiteX0" fmla="*/ 0 w 450056"/>
                <a:gd name="connsiteY0" fmla="*/ 545307 h 559594"/>
                <a:gd name="connsiteX1" fmla="*/ 71438 w 450056"/>
                <a:gd name="connsiteY1" fmla="*/ 559594 h 559594"/>
                <a:gd name="connsiteX2" fmla="*/ 73819 w 450056"/>
                <a:gd name="connsiteY2" fmla="*/ 100013 h 559594"/>
                <a:gd name="connsiteX3" fmla="*/ 450056 w 450056"/>
                <a:gd name="connsiteY3" fmla="*/ 88107 h 559594"/>
                <a:gd name="connsiteX4" fmla="*/ 450056 w 450056"/>
                <a:gd name="connsiteY4" fmla="*/ 21432 h 559594"/>
                <a:gd name="connsiteX5" fmla="*/ 7144 w 450056"/>
                <a:gd name="connsiteY5" fmla="*/ 0 h 559594"/>
                <a:gd name="connsiteX6" fmla="*/ 0 w 450056"/>
                <a:gd name="connsiteY6" fmla="*/ 545307 h 559594"/>
                <a:gd name="connsiteX0" fmla="*/ 0 w 450056"/>
                <a:gd name="connsiteY0" fmla="*/ 545307 h 559594"/>
                <a:gd name="connsiteX1" fmla="*/ 71438 w 450056"/>
                <a:gd name="connsiteY1" fmla="*/ 559594 h 559594"/>
                <a:gd name="connsiteX2" fmla="*/ 76200 w 450056"/>
                <a:gd name="connsiteY2" fmla="*/ 71438 h 559594"/>
                <a:gd name="connsiteX3" fmla="*/ 450056 w 450056"/>
                <a:gd name="connsiteY3" fmla="*/ 88107 h 559594"/>
                <a:gd name="connsiteX4" fmla="*/ 450056 w 450056"/>
                <a:gd name="connsiteY4" fmla="*/ 21432 h 559594"/>
                <a:gd name="connsiteX5" fmla="*/ 7144 w 450056"/>
                <a:gd name="connsiteY5" fmla="*/ 0 h 559594"/>
                <a:gd name="connsiteX6" fmla="*/ 0 w 450056"/>
                <a:gd name="connsiteY6" fmla="*/ 545307 h 559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056" h="559594">
                  <a:moveTo>
                    <a:pt x="0" y="545307"/>
                  </a:moveTo>
                  <a:lnTo>
                    <a:pt x="71438" y="559594"/>
                  </a:lnTo>
                  <a:cubicBezTo>
                    <a:pt x="72232" y="406400"/>
                    <a:pt x="75406" y="224632"/>
                    <a:pt x="76200" y="71438"/>
                  </a:cubicBezTo>
                  <a:lnTo>
                    <a:pt x="450056" y="88107"/>
                  </a:lnTo>
                  <a:lnTo>
                    <a:pt x="450056" y="21432"/>
                  </a:lnTo>
                  <a:lnTo>
                    <a:pt x="7144" y="0"/>
                  </a:lnTo>
                  <a:cubicBezTo>
                    <a:pt x="4763" y="171450"/>
                    <a:pt x="2381" y="373857"/>
                    <a:pt x="0" y="545307"/>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65" name="Freeform 400">
              <a:extLst>
                <a:ext uri="{FF2B5EF4-FFF2-40B4-BE49-F238E27FC236}">
                  <a16:creationId xmlns:a16="http://schemas.microsoft.com/office/drawing/2014/main" id="{2C5C198B-A2E5-4DEB-BB10-950A794A9BB9}"/>
                </a:ext>
              </a:extLst>
            </p:cNvPr>
            <p:cNvSpPr/>
            <p:nvPr/>
          </p:nvSpPr>
          <p:spPr>
            <a:xfrm>
              <a:off x="629536" y="2377980"/>
              <a:ext cx="23644" cy="36079"/>
            </a:xfrm>
            <a:custGeom>
              <a:avLst/>
              <a:gdLst>
                <a:gd name="connsiteX0" fmla="*/ 0 w 321469"/>
                <a:gd name="connsiteY0" fmla="*/ 490538 h 490538"/>
                <a:gd name="connsiteX1" fmla="*/ 11907 w 321469"/>
                <a:gd name="connsiteY1" fmla="*/ 47625 h 490538"/>
                <a:gd name="connsiteX2" fmla="*/ 321469 w 321469"/>
                <a:gd name="connsiteY2" fmla="*/ 0 h 490538"/>
                <a:gd name="connsiteX3" fmla="*/ 316707 w 321469"/>
                <a:gd name="connsiteY3" fmla="*/ 80963 h 490538"/>
                <a:gd name="connsiteX4" fmla="*/ 80963 w 321469"/>
                <a:gd name="connsiteY4" fmla="*/ 109538 h 490538"/>
                <a:gd name="connsiteX5" fmla="*/ 66675 w 321469"/>
                <a:gd name="connsiteY5" fmla="*/ 490538 h 490538"/>
                <a:gd name="connsiteX6" fmla="*/ 0 w 321469"/>
                <a:gd name="connsiteY6" fmla="*/ 490538 h 490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1469" h="490538">
                  <a:moveTo>
                    <a:pt x="0" y="490538"/>
                  </a:moveTo>
                  <a:lnTo>
                    <a:pt x="11907" y="47625"/>
                  </a:lnTo>
                  <a:lnTo>
                    <a:pt x="321469" y="0"/>
                  </a:lnTo>
                  <a:lnTo>
                    <a:pt x="316707" y="80963"/>
                  </a:lnTo>
                  <a:lnTo>
                    <a:pt x="80963" y="109538"/>
                  </a:lnTo>
                  <a:lnTo>
                    <a:pt x="66675" y="490538"/>
                  </a:lnTo>
                  <a:lnTo>
                    <a:pt x="0" y="490538"/>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66" name="Freeform 401">
              <a:extLst>
                <a:ext uri="{FF2B5EF4-FFF2-40B4-BE49-F238E27FC236}">
                  <a16:creationId xmlns:a16="http://schemas.microsoft.com/office/drawing/2014/main" id="{A7725C1A-5438-4EAA-9DF3-FC31D0D726CA}"/>
                </a:ext>
              </a:extLst>
            </p:cNvPr>
            <p:cNvSpPr/>
            <p:nvPr/>
          </p:nvSpPr>
          <p:spPr>
            <a:xfrm>
              <a:off x="588379" y="2394619"/>
              <a:ext cx="20491" cy="26796"/>
            </a:xfrm>
            <a:custGeom>
              <a:avLst/>
              <a:gdLst>
                <a:gd name="connsiteX0" fmla="*/ 11906 w 278606"/>
                <a:gd name="connsiteY0" fmla="*/ 26194 h 364331"/>
                <a:gd name="connsiteX1" fmla="*/ 0 w 278606"/>
                <a:gd name="connsiteY1" fmla="*/ 361950 h 364331"/>
                <a:gd name="connsiteX2" fmla="*/ 64293 w 278606"/>
                <a:gd name="connsiteY2" fmla="*/ 364331 h 364331"/>
                <a:gd name="connsiteX3" fmla="*/ 71437 w 278606"/>
                <a:gd name="connsiteY3" fmla="*/ 95250 h 364331"/>
                <a:gd name="connsiteX4" fmla="*/ 276225 w 278606"/>
                <a:gd name="connsiteY4" fmla="*/ 73819 h 364331"/>
                <a:gd name="connsiteX5" fmla="*/ 278606 w 278606"/>
                <a:gd name="connsiteY5" fmla="*/ 0 h 364331"/>
                <a:gd name="connsiteX6" fmla="*/ 11906 w 278606"/>
                <a:gd name="connsiteY6" fmla="*/ 26194 h 364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8606" h="364331">
                  <a:moveTo>
                    <a:pt x="11906" y="26194"/>
                  </a:moveTo>
                  <a:lnTo>
                    <a:pt x="0" y="361950"/>
                  </a:lnTo>
                  <a:lnTo>
                    <a:pt x="64293" y="364331"/>
                  </a:lnTo>
                  <a:lnTo>
                    <a:pt x="71437" y="95250"/>
                  </a:lnTo>
                  <a:lnTo>
                    <a:pt x="276225" y="73819"/>
                  </a:lnTo>
                  <a:cubicBezTo>
                    <a:pt x="277019" y="49213"/>
                    <a:pt x="277812" y="24606"/>
                    <a:pt x="278606" y="0"/>
                  </a:cubicBezTo>
                  <a:lnTo>
                    <a:pt x="11906" y="26194"/>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67" name="Freeform 402">
              <a:extLst>
                <a:ext uri="{FF2B5EF4-FFF2-40B4-BE49-F238E27FC236}">
                  <a16:creationId xmlns:a16="http://schemas.microsoft.com/office/drawing/2014/main" id="{CB119227-E7BD-446D-8E8F-60DEBB2EF842}"/>
                </a:ext>
              </a:extLst>
            </p:cNvPr>
            <p:cNvSpPr/>
            <p:nvPr/>
          </p:nvSpPr>
          <p:spPr>
            <a:xfrm>
              <a:off x="586977" y="2435952"/>
              <a:ext cx="21017" cy="26972"/>
            </a:xfrm>
            <a:custGeom>
              <a:avLst/>
              <a:gdLst>
                <a:gd name="connsiteX0" fmla="*/ 0 w 285750"/>
                <a:gd name="connsiteY0" fmla="*/ 354806 h 366713"/>
                <a:gd name="connsiteX1" fmla="*/ 19050 w 285750"/>
                <a:gd name="connsiteY1" fmla="*/ 0 h 366713"/>
                <a:gd name="connsiteX2" fmla="*/ 285750 w 285750"/>
                <a:gd name="connsiteY2" fmla="*/ 16669 h 366713"/>
                <a:gd name="connsiteX3" fmla="*/ 280987 w 285750"/>
                <a:gd name="connsiteY3" fmla="*/ 80963 h 366713"/>
                <a:gd name="connsiteX4" fmla="*/ 80962 w 285750"/>
                <a:gd name="connsiteY4" fmla="*/ 71438 h 366713"/>
                <a:gd name="connsiteX5" fmla="*/ 66675 w 285750"/>
                <a:gd name="connsiteY5" fmla="*/ 366713 h 366713"/>
                <a:gd name="connsiteX6" fmla="*/ 0 w 285750"/>
                <a:gd name="connsiteY6" fmla="*/ 354806 h 366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50" h="366713">
                  <a:moveTo>
                    <a:pt x="0" y="354806"/>
                  </a:moveTo>
                  <a:lnTo>
                    <a:pt x="19050" y="0"/>
                  </a:lnTo>
                  <a:lnTo>
                    <a:pt x="285750" y="16669"/>
                  </a:lnTo>
                  <a:lnTo>
                    <a:pt x="280987" y="80963"/>
                  </a:lnTo>
                  <a:lnTo>
                    <a:pt x="80962" y="71438"/>
                  </a:lnTo>
                  <a:lnTo>
                    <a:pt x="66675" y="366713"/>
                  </a:lnTo>
                  <a:lnTo>
                    <a:pt x="0" y="354806"/>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68" name="Freeform 403">
              <a:extLst>
                <a:ext uri="{FF2B5EF4-FFF2-40B4-BE49-F238E27FC236}">
                  <a16:creationId xmlns:a16="http://schemas.microsoft.com/office/drawing/2014/main" id="{627996F0-F1CE-4501-8F00-064FC93812C7}"/>
                </a:ext>
              </a:extLst>
            </p:cNvPr>
            <p:cNvSpPr/>
            <p:nvPr/>
          </p:nvSpPr>
          <p:spPr>
            <a:xfrm>
              <a:off x="626559" y="2439104"/>
              <a:ext cx="28898" cy="59197"/>
            </a:xfrm>
            <a:custGeom>
              <a:avLst/>
              <a:gdLst>
                <a:gd name="connsiteX0" fmla="*/ 85725 w 392906"/>
                <a:gd name="connsiteY0" fmla="*/ 685800 h 804862"/>
                <a:gd name="connsiteX1" fmla="*/ 0 w 392906"/>
                <a:gd name="connsiteY1" fmla="*/ 707231 h 804862"/>
                <a:gd name="connsiteX2" fmla="*/ 23813 w 392906"/>
                <a:gd name="connsiteY2" fmla="*/ 0 h 804862"/>
                <a:gd name="connsiteX3" fmla="*/ 392906 w 392906"/>
                <a:gd name="connsiteY3" fmla="*/ 19050 h 804862"/>
                <a:gd name="connsiteX4" fmla="*/ 376238 w 392906"/>
                <a:gd name="connsiteY4" fmla="*/ 804862 h 804862"/>
                <a:gd name="connsiteX5" fmla="*/ 347663 w 392906"/>
                <a:gd name="connsiteY5" fmla="*/ 792956 h 804862"/>
                <a:gd name="connsiteX6" fmla="*/ 364331 w 392906"/>
                <a:gd name="connsiteY6" fmla="*/ 76200 h 804862"/>
                <a:gd name="connsiteX7" fmla="*/ 252413 w 392906"/>
                <a:gd name="connsiteY7" fmla="*/ 71437 h 804862"/>
                <a:gd name="connsiteX8" fmla="*/ 235744 w 392906"/>
                <a:gd name="connsiteY8" fmla="*/ 700087 h 804862"/>
                <a:gd name="connsiteX9" fmla="*/ 197644 w 392906"/>
                <a:gd name="connsiteY9" fmla="*/ 690562 h 804862"/>
                <a:gd name="connsiteX10" fmla="*/ 211931 w 392906"/>
                <a:gd name="connsiteY10" fmla="*/ 69056 h 804862"/>
                <a:gd name="connsiteX11" fmla="*/ 100013 w 392906"/>
                <a:gd name="connsiteY11" fmla="*/ 59531 h 804862"/>
                <a:gd name="connsiteX12" fmla="*/ 85725 w 392906"/>
                <a:gd name="connsiteY12" fmla="*/ 685800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2906" h="804862">
                  <a:moveTo>
                    <a:pt x="85725" y="685800"/>
                  </a:moveTo>
                  <a:lnTo>
                    <a:pt x="0" y="707231"/>
                  </a:lnTo>
                  <a:lnTo>
                    <a:pt x="23813" y="0"/>
                  </a:lnTo>
                  <a:lnTo>
                    <a:pt x="392906" y="19050"/>
                  </a:lnTo>
                  <a:lnTo>
                    <a:pt x="376238" y="804862"/>
                  </a:lnTo>
                  <a:lnTo>
                    <a:pt x="347663" y="792956"/>
                  </a:lnTo>
                  <a:lnTo>
                    <a:pt x="364331" y="76200"/>
                  </a:lnTo>
                  <a:lnTo>
                    <a:pt x="252413" y="71437"/>
                  </a:lnTo>
                  <a:lnTo>
                    <a:pt x="235744" y="700087"/>
                  </a:lnTo>
                  <a:lnTo>
                    <a:pt x="197644" y="690562"/>
                  </a:lnTo>
                  <a:lnTo>
                    <a:pt x="211931" y="69056"/>
                  </a:lnTo>
                  <a:lnTo>
                    <a:pt x="100013" y="59531"/>
                  </a:lnTo>
                  <a:lnTo>
                    <a:pt x="85725" y="685800"/>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69" name="Freeform 404">
              <a:extLst>
                <a:ext uri="{FF2B5EF4-FFF2-40B4-BE49-F238E27FC236}">
                  <a16:creationId xmlns:a16="http://schemas.microsoft.com/office/drawing/2014/main" id="{2D2C2A26-E43F-466A-A788-1F649B93BF0E}"/>
                </a:ext>
              </a:extLst>
            </p:cNvPr>
            <p:cNvSpPr/>
            <p:nvPr/>
          </p:nvSpPr>
          <p:spPr>
            <a:xfrm>
              <a:off x="715863" y="2201006"/>
              <a:ext cx="122266" cy="22905"/>
            </a:xfrm>
            <a:custGeom>
              <a:avLst/>
              <a:gdLst>
                <a:gd name="connsiteX0" fmla="*/ 0 w 1654175"/>
                <a:gd name="connsiteY0" fmla="*/ 158750 h 276225"/>
                <a:gd name="connsiteX1" fmla="*/ 311150 w 1654175"/>
                <a:gd name="connsiteY1" fmla="*/ 76200 h 276225"/>
                <a:gd name="connsiteX2" fmla="*/ 1136650 w 1654175"/>
                <a:gd name="connsiteY2" fmla="*/ 238125 h 276225"/>
                <a:gd name="connsiteX3" fmla="*/ 1654175 w 1654175"/>
                <a:gd name="connsiteY3" fmla="*/ 276225 h 276225"/>
                <a:gd name="connsiteX4" fmla="*/ 1177925 w 1654175"/>
                <a:gd name="connsiteY4" fmla="*/ 165100 h 276225"/>
                <a:gd name="connsiteX5" fmla="*/ 238125 w 1654175"/>
                <a:gd name="connsiteY5" fmla="*/ 0 h 276225"/>
                <a:gd name="connsiteX6" fmla="*/ 0 w 1654175"/>
                <a:gd name="connsiteY6" fmla="*/ 158750 h 276225"/>
                <a:gd name="connsiteX0" fmla="*/ 8663 w 1662838"/>
                <a:gd name="connsiteY0" fmla="*/ 158750 h 276225"/>
                <a:gd name="connsiteX1" fmla="*/ 319813 w 1662838"/>
                <a:gd name="connsiteY1" fmla="*/ 76200 h 276225"/>
                <a:gd name="connsiteX2" fmla="*/ 1145313 w 1662838"/>
                <a:gd name="connsiteY2" fmla="*/ 238125 h 276225"/>
                <a:gd name="connsiteX3" fmla="*/ 1662838 w 1662838"/>
                <a:gd name="connsiteY3" fmla="*/ 276225 h 276225"/>
                <a:gd name="connsiteX4" fmla="*/ 1186588 w 1662838"/>
                <a:gd name="connsiteY4" fmla="*/ 165100 h 276225"/>
                <a:gd name="connsiteX5" fmla="*/ 246788 w 1662838"/>
                <a:gd name="connsiteY5" fmla="*/ 0 h 276225"/>
                <a:gd name="connsiteX6" fmla="*/ 8663 w 1662838"/>
                <a:gd name="connsiteY6" fmla="*/ 158750 h 276225"/>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528"/>
                <a:gd name="connsiteX1" fmla="*/ 319612 w 1662637"/>
                <a:gd name="connsiteY1" fmla="*/ 104203 h 304528"/>
                <a:gd name="connsiteX2" fmla="*/ 1145112 w 1662637"/>
                <a:gd name="connsiteY2" fmla="*/ 266128 h 304528"/>
                <a:gd name="connsiteX3" fmla="*/ 1662637 w 1662637"/>
                <a:gd name="connsiteY3" fmla="*/ 304228 h 304528"/>
                <a:gd name="connsiteX4" fmla="*/ 1186387 w 1662637"/>
                <a:gd name="connsiteY4" fmla="*/ 193103 h 304528"/>
                <a:gd name="connsiteX5" fmla="*/ 246587 w 1662637"/>
                <a:gd name="connsiteY5" fmla="*/ 28003 h 304528"/>
                <a:gd name="connsiteX6" fmla="*/ 8462 w 1662637"/>
                <a:gd name="connsiteY6" fmla="*/ 186753 h 304528"/>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2350" h="311416">
                  <a:moveTo>
                    <a:pt x="8175" y="190827"/>
                  </a:moveTo>
                  <a:cubicBezTo>
                    <a:pt x="26167" y="172835"/>
                    <a:pt x="-51092" y="-64231"/>
                    <a:pt x="319325" y="108277"/>
                  </a:cubicBezTo>
                  <a:cubicBezTo>
                    <a:pt x="470667" y="187652"/>
                    <a:pt x="733133" y="400377"/>
                    <a:pt x="1144825" y="270202"/>
                  </a:cubicBezTo>
                  <a:cubicBezTo>
                    <a:pt x="1307808" y="200352"/>
                    <a:pt x="1461267" y="200352"/>
                    <a:pt x="1662350" y="308302"/>
                  </a:cubicBezTo>
                  <a:cubicBezTo>
                    <a:pt x="1592500" y="258560"/>
                    <a:pt x="1405175" y="151669"/>
                    <a:pt x="1186100" y="197177"/>
                  </a:cubicBezTo>
                  <a:cubicBezTo>
                    <a:pt x="720433" y="345344"/>
                    <a:pt x="623067" y="188710"/>
                    <a:pt x="246300" y="32077"/>
                  </a:cubicBezTo>
                  <a:cubicBezTo>
                    <a:pt x="182800" y="-731"/>
                    <a:pt x="-45800" y="-65290"/>
                    <a:pt x="8175" y="190827"/>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dirty="0">
                <a:solidFill>
                  <a:prstClr val="white"/>
                </a:solidFill>
                <a:latin typeface="Segoe UI"/>
              </a:endParaRPr>
            </a:p>
          </p:txBody>
        </p:sp>
        <p:sp>
          <p:nvSpPr>
            <p:cNvPr id="470" name="Freeform 405">
              <a:extLst>
                <a:ext uri="{FF2B5EF4-FFF2-40B4-BE49-F238E27FC236}">
                  <a16:creationId xmlns:a16="http://schemas.microsoft.com/office/drawing/2014/main" id="{6FA89D90-E227-4679-8799-5CFA39C5155B}"/>
                </a:ext>
              </a:extLst>
            </p:cNvPr>
            <p:cNvSpPr/>
            <p:nvPr/>
          </p:nvSpPr>
          <p:spPr>
            <a:xfrm>
              <a:off x="772360" y="2134657"/>
              <a:ext cx="215223" cy="43420"/>
            </a:xfrm>
            <a:custGeom>
              <a:avLst/>
              <a:gdLst>
                <a:gd name="connsiteX0" fmla="*/ 0 w 1654175"/>
                <a:gd name="connsiteY0" fmla="*/ 158750 h 276225"/>
                <a:gd name="connsiteX1" fmla="*/ 311150 w 1654175"/>
                <a:gd name="connsiteY1" fmla="*/ 76200 h 276225"/>
                <a:gd name="connsiteX2" fmla="*/ 1136650 w 1654175"/>
                <a:gd name="connsiteY2" fmla="*/ 238125 h 276225"/>
                <a:gd name="connsiteX3" fmla="*/ 1654175 w 1654175"/>
                <a:gd name="connsiteY3" fmla="*/ 276225 h 276225"/>
                <a:gd name="connsiteX4" fmla="*/ 1177925 w 1654175"/>
                <a:gd name="connsiteY4" fmla="*/ 165100 h 276225"/>
                <a:gd name="connsiteX5" fmla="*/ 238125 w 1654175"/>
                <a:gd name="connsiteY5" fmla="*/ 0 h 276225"/>
                <a:gd name="connsiteX6" fmla="*/ 0 w 1654175"/>
                <a:gd name="connsiteY6" fmla="*/ 158750 h 276225"/>
                <a:gd name="connsiteX0" fmla="*/ 8663 w 1662838"/>
                <a:gd name="connsiteY0" fmla="*/ 158750 h 276225"/>
                <a:gd name="connsiteX1" fmla="*/ 319813 w 1662838"/>
                <a:gd name="connsiteY1" fmla="*/ 76200 h 276225"/>
                <a:gd name="connsiteX2" fmla="*/ 1145313 w 1662838"/>
                <a:gd name="connsiteY2" fmla="*/ 238125 h 276225"/>
                <a:gd name="connsiteX3" fmla="*/ 1662838 w 1662838"/>
                <a:gd name="connsiteY3" fmla="*/ 276225 h 276225"/>
                <a:gd name="connsiteX4" fmla="*/ 1186588 w 1662838"/>
                <a:gd name="connsiteY4" fmla="*/ 165100 h 276225"/>
                <a:gd name="connsiteX5" fmla="*/ 246788 w 1662838"/>
                <a:gd name="connsiteY5" fmla="*/ 0 h 276225"/>
                <a:gd name="connsiteX6" fmla="*/ 8663 w 1662838"/>
                <a:gd name="connsiteY6" fmla="*/ 158750 h 276225"/>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528"/>
                <a:gd name="connsiteX1" fmla="*/ 319612 w 1662637"/>
                <a:gd name="connsiteY1" fmla="*/ 104203 h 304528"/>
                <a:gd name="connsiteX2" fmla="*/ 1145112 w 1662637"/>
                <a:gd name="connsiteY2" fmla="*/ 266128 h 304528"/>
                <a:gd name="connsiteX3" fmla="*/ 1662637 w 1662637"/>
                <a:gd name="connsiteY3" fmla="*/ 304228 h 304528"/>
                <a:gd name="connsiteX4" fmla="*/ 1186387 w 1662637"/>
                <a:gd name="connsiteY4" fmla="*/ 193103 h 304528"/>
                <a:gd name="connsiteX5" fmla="*/ 246587 w 1662637"/>
                <a:gd name="connsiteY5" fmla="*/ 28003 h 304528"/>
                <a:gd name="connsiteX6" fmla="*/ 8462 w 1662637"/>
                <a:gd name="connsiteY6" fmla="*/ 186753 h 304528"/>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 name="connsiteX0" fmla="*/ 8175 w 1646273"/>
                <a:gd name="connsiteY0" fmla="*/ 190827 h 445287"/>
                <a:gd name="connsiteX1" fmla="*/ 319325 w 1646273"/>
                <a:gd name="connsiteY1" fmla="*/ 108277 h 445287"/>
                <a:gd name="connsiteX2" fmla="*/ 1144825 w 1646273"/>
                <a:gd name="connsiteY2" fmla="*/ 2702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9325 w 1646273"/>
                <a:gd name="connsiteY1" fmla="*/ 108277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9325 w 1646273"/>
                <a:gd name="connsiteY1" fmla="*/ 108277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2180 w 1646273"/>
                <a:gd name="connsiteY1" fmla="*/ 125400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2180 w 1646273"/>
                <a:gd name="connsiteY1" fmla="*/ 125400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2180 w 1646273"/>
                <a:gd name="connsiteY1" fmla="*/ 125400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7914 w 1646012"/>
                <a:gd name="connsiteY0" fmla="*/ 189281 h 443741"/>
                <a:gd name="connsiteX1" fmla="*/ 311919 w 1646012"/>
                <a:gd name="connsiteY1" fmla="*/ 123854 h 443741"/>
                <a:gd name="connsiteX2" fmla="*/ 1144564 w 1646012"/>
                <a:gd name="connsiteY2" fmla="*/ 300456 h 443741"/>
                <a:gd name="connsiteX3" fmla="*/ 1646012 w 1646012"/>
                <a:gd name="connsiteY3" fmla="*/ 443741 h 443741"/>
                <a:gd name="connsiteX4" fmla="*/ 1185839 w 1646012"/>
                <a:gd name="connsiteY4" fmla="*/ 195631 h 443741"/>
                <a:gd name="connsiteX5" fmla="*/ 254971 w 1646012"/>
                <a:gd name="connsiteY5" fmla="*/ 32977 h 443741"/>
                <a:gd name="connsiteX6" fmla="*/ 7914 w 1646012"/>
                <a:gd name="connsiteY6" fmla="*/ 189281 h 443741"/>
                <a:gd name="connsiteX0" fmla="*/ 8487 w 1646585"/>
                <a:gd name="connsiteY0" fmla="*/ 212527 h 466987"/>
                <a:gd name="connsiteX1" fmla="*/ 312492 w 1646585"/>
                <a:gd name="connsiteY1" fmla="*/ 147100 h 466987"/>
                <a:gd name="connsiteX2" fmla="*/ 1145137 w 1646585"/>
                <a:gd name="connsiteY2" fmla="*/ 323702 h 466987"/>
                <a:gd name="connsiteX3" fmla="*/ 1646585 w 1646585"/>
                <a:gd name="connsiteY3" fmla="*/ 466987 h 466987"/>
                <a:gd name="connsiteX4" fmla="*/ 1186412 w 1646585"/>
                <a:gd name="connsiteY4" fmla="*/ 218877 h 466987"/>
                <a:gd name="connsiteX5" fmla="*/ 255544 w 1646585"/>
                <a:gd name="connsiteY5" fmla="*/ 56223 h 466987"/>
                <a:gd name="connsiteX6" fmla="*/ 8487 w 1646585"/>
                <a:gd name="connsiteY6" fmla="*/ 212527 h 466987"/>
                <a:gd name="connsiteX0" fmla="*/ 8487 w 1646585"/>
                <a:gd name="connsiteY0" fmla="*/ 212527 h 466987"/>
                <a:gd name="connsiteX1" fmla="*/ 312492 w 1646585"/>
                <a:gd name="connsiteY1" fmla="*/ 147100 h 466987"/>
                <a:gd name="connsiteX2" fmla="*/ 1145137 w 1646585"/>
                <a:gd name="connsiteY2" fmla="*/ 323702 h 466987"/>
                <a:gd name="connsiteX3" fmla="*/ 1646585 w 1646585"/>
                <a:gd name="connsiteY3" fmla="*/ 466987 h 466987"/>
                <a:gd name="connsiteX4" fmla="*/ 1186412 w 1646585"/>
                <a:gd name="connsiteY4" fmla="*/ 218877 h 466987"/>
                <a:gd name="connsiteX5" fmla="*/ 255544 w 1646585"/>
                <a:gd name="connsiteY5" fmla="*/ 56223 h 466987"/>
                <a:gd name="connsiteX6" fmla="*/ 8487 w 1646585"/>
                <a:gd name="connsiteY6" fmla="*/ 212527 h 466987"/>
                <a:gd name="connsiteX0" fmla="*/ 8487 w 1646585"/>
                <a:gd name="connsiteY0" fmla="*/ 212527 h 466987"/>
                <a:gd name="connsiteX1" fmla="*/ 312492 w 1646585"/>
                <a:gd name="connsiteY1" fmla="*/ 147100 h 466987"/>
                <a:gd name="connsiteX2" fmla="*/ 1145137 w 1646585"/>
                <a:gd name="connsiteY2" fmla="*/ 323702 h 466987"/>
                <a:gd name="connsiteX3" fmla="*/ 1646585 w 1646585"/>
                <a:gd name="connsiteY3" fmla="*/ 466987 h 466987"/>
                <a:gd name="connsiteX4" fmla="*/ 1186412 w 1646585"/>
                <a:gd name="connsiteY4" fmla="*/ 218877 h 466987"/>
                <a:gd name="connsiteX5" fmla="*/ 255544 w 1646585"/>
                <a:gd name="connsiteY5" fmla="*/ 56223 h 466987"/>
                <a:gd name="connsiteX6" fmla="*/ 8487 w 1646585"/>
                <a:gd name="connsiteY6" fmla="*/ 212527 h 466987"/>
                <a:gd name="connsiteX0" fmla="*/ 7122 w 1645220"/>
                <a:gd name="connsiteY0" fmla="*/ 195482 h 449942"/>
                <a:gd name="connsiteX1" fmla="*/ 311127 w 1645220"/>
                <a:gd name="connsiteY1" fmla="*/ 130055 h 449942"/>
                <a:gd name="connsiteX2" fmla="*/ 1143772 w 1645220"/>
                <a:gd name="connsiteY2" fmla="*/ 306657 h 449942"/>
                <a:gd name="connsiteX3" fmla="*/ 1645220 w 1645220"/>
                <a:gd name="connsiteY3" fmla="*/ 449942 h 449942"/>
                <a:gd name="connsiteX4" fmla="*/ 1185047 w 1645220"/>
                <a:gd name="connsiteY4" fmla="*/ 201832 h 449942"/>
                <a:gd name="connsiteX5" fmla="*/ 304198 w 1645220"/>
                <a:gd name="connsiteY5" fmla="*/ 66086 h 449942"/>
                <a:gd name="connsiteX6" fmla="*/ 7122 w 1645220"/>
                <a:gd name="connsiteY6" fmla="*/ 195482 h 449942"/>
                <a:gd name="connsiteX0" fmla="*/ 8480 w 1646578"/>
                <a:gd name="connsiteY0" fmla="*/ 207867 h 462327"/>
                <a:gd name="connsiteX1" fmla="*/ 312485 w 1646578"/>
                <a:gd name="connsiteY1" fmla="*/ 142440 h 462327"/>
                <a:gd name="connsiteX2" fmla="*/ 1145130 w 1646578"/>
                <a:gd name="connsiteY2" fmla="*/ 319042 h 462327"/>
                <a:gd name="connsiteX3" fmla="*/ 1646578 w 1646578"/>
                <a:gd name="connsiteY3" fmla="*/ 462327 h 462327"/>
                <a:gd name="connsiteX4" fmla="*/ 1186405 w 1646578"/>
                <a:gd name="connsiteY4" fmla="*/ 214217 h 462327"/>
                <a:gd name="connsiteX5" fmla="*/ 305556 w 1646578"/>
                <a:gd name="connsiteY5" fmla="*/ 78471 h 462327"/>
                <a:gd name="connsiteX6" fmla="*/ 8480 w 1646578"/>
                <a:gd name="connsiteY6" fmla="*/ 207867 h 462327"/>
                <a:gd name="connsiteX0" fmla="*/ 8480 w 1646578"/>
                <a:gd name="connsiteY0" fmla="*/ 207867 h 462327"/>
                <a:gd name="connsiteX1" fmla="*/ 312485 w 1646578"/>
                <a:gd name="connsiteY1" fmla="*/ 142440 h 462327"/>
                <a:gd name="connsiteX2" fmla="*/ 1145130 w 1646578"/>
                <a:gd name="connsiteY2" fmla="*/ 319042 h 462327"/>
                <a:gd name="connsiteX3" fmla="*/ 1646578 w 1646578"/>
                <a:gd name="connsiteY3" fmla="*/ 462327 h 462327"/>
                <a:gd name="connsiteX4" fmla="*/ 1198909 w 1646578"/>
                <a:gd name="connsiteY4" fmla="*/ 238679 h 462327"/>
                <a:gd name="connsiteX5" fmla="*/ 305556 w 1646578"/>
                <a:gd name="connsiteY5" fmla="*/ 78471 h 462327"/>
                <a:gd name="connsiteX6" fmla="*/ 8480 w 1646578"/>
                <a:gd name="connsiteY6" fmla="*/ 207867 h 462327"/>
                <a:gd name="connsiteX0" fmla="*/ 7917 w 1646015"/>
                <a:gd name="connsiteY0" fmla="*/ 201136 h 455596"/>
                <a:gd name="connsiteX1" fmla="*/ 311922 w 1646015"/>
                <a:gd name="connsiteY1" fmla="*/ 135709 h 455596"/>
                <a:gd name="connsiteX2" fmla="*/ 1144567 w 1646015"/>
                <a:gd name="connsiteY2" fmla="*/ 312311 h 455596"/>
                <a:gd name="connsiteX3" fmla="*/ 1646015 w 1646015"/>
                <a:gd name="connsiteY3" fmla="*/ 455596 h 455596"/>
                <a:gd name="connsiteX4" fmla="*/ 1198346 w 1646015"/>
                <a:gd name="connsiteY4" fmla="*/ 231948 h 455596"/>
                <a:gd name="connsiteX5" fmla="*/ 323750 w 1646015"/>
                <a:gd name="connsiteY5" fmla="*/ 82748 h 455596"/>
                <a:gd name="connsiteX6" fmla="*/ 7917 w 1646015"/>
                <a:gd name="connsiteY6" fmla="*/ 201136 h 455596"/>
                <a:gd name="connsiteX0" fmla="*/ 8295 w 1646393"/>
                <a:gd name="connsiteY0" fmla="*/ 200370 h 454830"/>
                <a:gd name="connsiteX1" fmla="*/ 312300 w 1646393"/>
                <a:gd name="connsiteY1" fmla="*/ 134943 h 454830"/>
                <a:gd name="connsiteX2" fmla="*/ 1144945 w 1646393"/>
                <a:gd name="connsiteY2" fmla="*/ 311545 h 454830"/>
                <a:gd name="connsiteX3" fmla="*/ 1646393 w 1646393"/>
                <a:gd name="connsiteY3" fmla="*/ 454830 h 454830"/>
                <a:gd name="connsiteX4" fmla="*/ 1198724 w 1646393"/>
                <a:gd name="connsiteY4" fmla="*/ 231182 h 454830"/>
                <a:gd name="connsiteX5" fmla="*/ 324128 w 1646393"/>
                <a:gd name="connsiteY5" fmla="*/ 81982 h 454830"/>
                <a:gd name="connsiteX6" fmla="*/ 8295 w 1646393"/>
                <a:gd name="connsiteY6" fmla="*/ 200370 h 454830"/>
                <a:gd name="connsiteX0" fmla="*/ 8295 w 1646393"/>
                <a:gd name="connsiteY0" fmla="*/ 200370 h 454830"/>
                <a:gd name="connsiteX1" fmla="*/ 312300 w 1646393"/>
                <a:gd name="connsiteY1" fmla="*/ 134943 h 454830"/>
                <a:gd name="connsiteX2" fmla="*/ 1144945 w 1646393"/>
                <a:gd name="connsiteY2" fmla="*/ 311545 h 454830"/>
                <a:gd name="connsiteX3" fmla="*/ 1646393 w 1646393"/>
                <a:gd name="connsiteY3" fmla="*/ 454830 h 454830"/>
                <a:gd name="connsiteX4" fmla="*/ 1198724 w 1646393"/>
                <a:gd name="connsiteY4" fmla="*/ 231182 h 454830"/>
                <a:gd name="connsiteX5" fmla="*/ 324128 w 1646393"/>
                <a:gd name="connsiteY5" fmla="*/ 81982 h 454830"/>
                <a:gd name="connsiteX6" fmla="*/ 8295 w 1646393"/>
                <a:gd name="connsiteY6" fmla="*/ 200370 h 454830"/>
                <a:gd name="connsiteX0" fmla="*/ 8295 w 1646393"/>
                <a:gd name="connsiteY0" fmla="*/ 200370 h 454830"/>
                <a:gd name="connsiteX1" fmla="*/ 312300 w 1646393"/>
                <a:gd name="connsiteY1" fmla="*/ 134943 h 454830"/>
                <a:gd name="connsiteX2" fmla="*/ 1144945 w 1646393"/>
                <a:gd name="connsiteY2" fmla="*/ 311545 h 454830"/>
                <a:gd name="connsiteX3" fmla="*/ 1646393 w 1646393"/>
                <a:gd name="connsiteY3" fmla="*/ 454830 h 454830"/>
                <a:gd name="connsiteX4" fmla="*/ 1198724 w 1646393"/>
                <a:gd name="connsiteY4" fmla="*/ 231182 h 454830"/>
                <a:gd name="connsiteX5" fmla="*/ 324128 w 1646393"/>
                <a:gd name="connsiteY5" fmla="*/ 81982 h 454830"/>
                <a:gd name="connsiteX6" fmla="*/ 8295 w 1646393"/>
                <a:gd name="connsiteY6" fmla="*/ 200370 h 454830"/>
                <a:gd name="connsiteX0" fmla="*/ 8295 w 1646393"/>
                <a:gd name="connsiteY0" fmla="*/ 200370 h 454830"/>
                <a:gd name="connsiteX1" fmla="*/ 312300 w 1646393"/>
                <a:gd name="connsiteY1" fmla="*/ 134943 h 454830"/>
                <a:gd name="connsiteX2" fmla="*/ 1144945 w 1646393"/>
                <a:gd name="connsiteY2" fmla="*/ 311545 h 454830"/>
                <a:gd name="connsiteX3" fmla="*/ 1646393 w 1646393"/>
                <a:gd name="connsiteY3" fmla="*/ 454830 h 454830"/>
                <a:gd name="connsiteX4" fmla="*/ 1198724 w 1646393"/>
                <a:gd name="connsiteY4" fmla="*/ 231182 h 454830"/>
                <a:gd name="connsiteX5" fmla="*/ 324128 w 1646393"/>
                <a:gd name="connsiteY5" fmla="*/ 81982 h 454830"/>
                <a:gd name="connsiteX6" fmla="*/ 8295 w 1646393"/>
                <a:gd name="connsiteY6" fmla="*/ 200370 h 454830"/>
                <a:gd name="connsiteX0" fmla="*/ 8295 w 1646393"/>
                <a:gd name="connsiteY0" fmla="*/ 200370 h 454830"/>
                <a:gd name="connsiteX1" fmla="*/ 312300 w 1646393"/>
                <a:gd name="connsiteY1" fmla="*/ 134943 h 454830"/>
                <a:gd name="connsiteX2" fmla="*/ 547329 w 1646393"/>
                <a:gd name="connsiteY2" fmla="*/ 306941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47329 w 1646393"/>
                <a:gd name="connsiteY2" fmla="*/ 306941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47329 w 1646393"/>
                <a:gd name="connsiteY2" fmla="*/ 306941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47329 w 1646393"/>
                <a:gd name="connsiteY2" fmla="*/ 306941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83503 w 1646393"/>
                <a:gd name="connsiteY2" fmla="*/ 316114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83503 w 1646393"/>
                <a:gd name="connsiteY2" fmla="*/ 316114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83503 w 1646393"/>
                <a:gd name="connsiteY2" fmla="*/ 316114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83503 w 1646393"/>
                <a:gd name="connsiteY2" fmla="*/ 316114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46393" h="454830">
                  <a:moveTo>
                    <a:pt x="8295" y="200370"/>
                  </a:moveTo>
                  <a:cubicBezTo>
                    <a:pt x="26287" y="182378"/>
                    <a:pt x="-22389" y="-76704"/>
                    <a:pt x="312300" y="134943"/>
                  </a:cubicBezTo>
                  <a:cubicBezTo>
                    <a:pt x="413304" y="203768"/>
                    <a:pt x="460807" y="246318"/>
                    <a:pt x="583503" y="316114"/>
                  </a:cubicBezTo>
                  <a:cubicBezTo>
                    <a:pt x="840177" y="475806"/>
                    <a:pt x="1022504" y="350802"/>
                    <a:pt x="1144945" y="311545"/>
                  </a:cubicBezTo>
                  <a:cubicBezTo>
                    <a:pt x="1307928" y="241695"/>
                    <a:pt x="1469426" y="330368"/>
                    <a:pt x="1646393" y="454830"/>
                  </a:cubicBezTo>
                  <a:cubicBezTo>
                    <a:pt x="1576543" y="405088"/>
                    <a:pt x="1417799" y="185674"/>
                    <a:pt x="1198724" y="231182"/>
                  </a:cubicBezTo>
                  <a:cubicBezTo>
                    <a:pt x="733057" y="379349"/>
                    <a:pt x="817456" y="395171"/>
                    <a:pt x="324128" y="81982"/>
                  </a:cubicBezTo>
                  <a:cubicBezTo>
                    <a:pt x="175775" y="-32162"/>
                    <a:pt x="-45680" y="-55747"/>
                    <a:pt x="8295" y="200370"/>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dirty="0">
                <a:solidFill>
                  <a:prstClr val="white"/>
                </a:solidFill>
                <a:latin typeface="Segoe UI"/>
              </a:endParaRPr>
            </a:p>
          </p:txBody>
        </p:sp>
        <p:sp>
          <p:nvSpPr>
            <p:cNvPr id="471" name="Freeform 406">
              <a:extLst>
                <a:ext uri="{FF2B5EF4-FFF2-40B4-BE49-F238E27FC236}">
                  <a16:creationId xmlns:a16="http://schemas.microsoft.com/office/drawing/2014/main" id="{F3BA9ED3-F890-4A87-8A1E-B5105C98FC47}"/>
                </a:ext>
              </a:extLst>
            </p:cNvPr>
            <p:cNvSpPr/>
            <p:nvPr/>
          </p:nvSpPr>
          <p:spPr>
            <a:xfrm>
              <a:off x="873723" y="2182791"/>
              <a:ext cx="122266" cy="22905"/>
            </a:xfrm>
            <a:custGeom>
              <a:avLst/>
              <a:gdLst>
                <a:gd name="connsiteX0" fmla="*/ 0 w 1654175"/>
                <a:gd name="connsiteY0" fmla="*/ 158750 h 276225"/>
                <a:gd name="connsiteX1" fmla="*/ 311150 w 1654175"/>
                <a:gd name="connsiteY1" fmla="*/ 76200 h 276225"/>
                <a:gd name="connsiteX2" fmla="*/ 1136650 w 1654175"/>
                <a:gd name="connsiteY2" fmla="*/ 238125 h 276225"/>
                <a:gd name="connsiteX3" fmla="*/ 1654175 w 1654175"/>
                <a:gd name="connsiteY3" fmla="*/ 276225 h 276225"/>
                <a:gd name="connsiteX4" fmla="*/ 1177925 w 1654175"/>
                <a:gd name="connsiteY4" fmla="*/ 165100 h 276225"/>
                <a:gd name="connsiteX5" fmla="*/ 238125 w 1654175"/>
                <a:gd name="connsiteY5" fmla="*/ 0 h 276225"/>
                <a:gd name="connsiteX6" fmla="*/ 0 w 1654175"/>
                <a:gd name="connsiteY6" fmla="*/ 158750 h 276225"/>
                <a:gd name="connsiteX0" fmla="*/ 8663 w 1662838"/>
                <a:gd name="connsiteY0" fmla="*/ 158750 h 276225"/>
                <a:gd name="connsiteX1" fmla="*/ 319813 w 1662838"/>
                <a:gd name="connsiteY1" fmla="*/ 76200 h 276225"/>
                <a:gd name="connsiteX2" fmla="*/ 1145313 w 1662838"/>
                <a:gd name="connsiteY2" fmla="*/ 238125 h 276225"/>
                <a:gd name="connsiteX3" fmla="*/ 1662838 w 1662838"/>
                <a:gd name="connsiteY3" fmla="*/ 276225 h 276225"/>
                <a:gd name="connsiteX4" fmla="*/ 1186588 w 1662838"/>
                <a:gd name="connsiteY4" fmla="*/ 165100 h 276225"/>
                <a:gd name="connsiteX5" fmla="*/ 246788 w 1662838"/>
                <a:gd name="connsiteY5" fmla="*/ 0 h 276225"/>
                <a:gd name="connsiteX6" fmla="*/ 8663 w 1662838"/>
                <a:gd name="connsiteY6" fmla="*/ 158750 h 276225"/>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528"/>
                <a:gd name="connsiteX1" fmla="*/ 319612 w 1662637"/>
                <a:gd name="connsiteY1" fmla="*/ 104203 h 304528"/>
                <a:gd name="connsiteX2" fmla="*/ 1145112 w 1662637"/>
                <a:gd name="connsiteY2" fmla="*/ 266128 h 304528"/>
                <a:gd name="connsiteX3" fmla="*/ 1662637 w 1662637"/>
                <a:gd name="connsiteY3" fmla="*/ 304228 h 304528"/>
                <a:gd name="connsiteX4" fmla="*/ 1186387 w 1662637"/>
                <a:gd name="connsiteY4" fmla="*/ 193103 h 304528"/>
                <a:gd name="connsiteX5" fmla="*/ 246587 w 1662637"/>
                <a:gd name="connsiteY5" fmla="*/ 28003 h 304528"/>
                <a:gd name="connsiteX6" fmla="*/ 8462 w 1662637"/>
                <a:gd name="connsiteY6" fmla="*/ 186753 h 304528"/>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2350" h="311416">
                  <a:moveTo>
                    <a:pt x="8175" y="190827"/>
                  </a:moveTo>
                  <a:cubicBezTo>
                    <a:pt x="26167" y="172835"/>
                    <a:pt x="-51092" y="-64231"/>
                    <a:pt x="319325" y="108277"/>
                  </a:cubicBezTo>
                  <a:cubicBezTo>
                    <a:pt x="470667" y="187652"/>
                    <a:pt x="733133" y="400377"/>
                    <a:pt x="1144825" y="270202"/>
                  </a:cubicBezTo>
                  <a:cubicBezTo>
                    <a:pt x="1307808" y="200352"/>
                    <a:pt x="1461267" y="200352"/>
                    <a:pt x="1662350" y="308302"/>
                  </a:cubicBezTo>
                  <a:cubicBezTo>
                    <a:pt x="1592500" y="258560"/>
                    <a:pt x="1405175" y="151669"/>
                    <a:pt x="1186100" y="197177"/>
                  </a:cubicBezTo>
                  <a:cubicBezTo>
                    <a:pt x="720433" y="345344"/>
                    <a:pt x="623067" y="188710"/>
                    <a:pt x="246300" y="32077"/>
                  </a:cubicBezTo>
                  <a:cubicBezTo>
                    <a:pt x="182800" y="-731"/>
                    <a:pt x="-45800" y="-65290"/>
                    <a:pt x="8175" y="190827"/>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dirty="0">
                <a:solidFill>
                  <a:prstClr val="white"/>
                </a:solidFill>
                <a:latin typeface="Segoe UI"/>
              </a:endParaRPr>
            </a:p>
          </p:txBody>
        </p:sp>
        <p:sp>
          <p:nvSpPr>
            <p:cNvPr id="472" name="Freeform 407">
              <a:extLst>
                <a:ext uri="{FF2B5EF4-FFF2-40B4-BE49-F238E27FC236}">
                  <a16:creationId xmlns:a16="http://schemas.microsoft.com/office/drawing/2014/main" id="{9A35E928-47B1-419B-B72C-4E66F2377533}"/>
                </a:ext>
              </a:extLst>
            </p:cNvPr>
            <p:cNvSpPr/>
            <p:nvPr/>
          </p:nvSpPr>
          <p:spPr>
            <a:xfrm>
              <a:off x="1249879" y="2466110"/>
              <a:ext cx="451723" cy="405557"/>
            </a:xfrm>
            <a:custGeom>
              <a:avLst/>
              <a:gdLst/>
              <a:ahLst/>
              <a:cxnLst/>
              <a:rect l="l" t="t" r="r" b="b"/>
              <a:pathLst>
                <a:path w="6141720" h="5514049">
                  <a:moveTo>
                    <a:pt x="2437765" y="4651720"/>
                  </a:moveTo>
                  <a:lnTo>
                    <a:pt x="1748790" y="4880320"/>
                  </a:lnTo>
                  <a:lnTo>
                    <a:pt x="3021965" y="5321645"/>
                  </a:lnTo>
                  <a:lnTo>
                    <a:pt x="4457065" y="4893020"/>
                  </a:lnTo>
                  <a:lnTo>
                    <a:pt x="3041015" y="4800945"/>
                  </a:lnTo>
                  <a:close/>
                  <a:moveTo>
                    <a:pt x="1005840" y="4480270"/>
                  </a:moveTo>
                  <a:lnTo>
                    <a:pt x="878840" y="4524720"/>
                  </a:lnTo>
                  <a:lnTo>
                    <a:pt x="1551940" y="4731095"/>
                  </a:lnTo>
                  <a:lnTo>
                    <a:pt x="1678940" y="4686645"/>
                  </a:lnTo>
                  <a:close/>
                  <a:moveTo>
                    <a:pt x="586740" y="4207220"/>
                  </a:moveTo>
                  <a:lnTo>
                    <a:pt x="97790" y="4311995"/>
                  </a:lnTo>
                  <a:lnTo>
                    <a:pt x="789940" y="4556470"/>
                  </a:lnTo>
                  <a:lnTo>
                    <a:pt x="789940" y="4508845"/>
                  </a:lnTo>
                  <a:lnTo>
                    <a:pt x="945515" y="4461220"/>
                  </a:lnTo>
                  <a:lnTo>
                    <a:pt x="945515" y="4365970"/>
                  </a:lnTo>
                  <a:lnTo>
                    <a:pt x="1069340" y="4331045"/>
                  </a:lnTo>
                  <a:close/>
                  <a:moveTo>
                    <a:pt x="3918109" y="3795264"/>
                  </a:moveTo>
                  <a:lnTo>
                    <a:pt x="3587115" y="3809551"/>
                  </a:lnTo>
                  <a:lnTo>
                    <a:pt x="3587115" y="3864320"/>
                  </a:lnTo>
                  <a:lnTo>
                    <a:pt x="3872865" y="3847651"/>
                  </a:lnTo>
                  <a:lnTo>
                    <a:pt x="3872865" y="4278658"/>
                  </a:lnTo>
                  <a:lnTo>
                    <a:pt x="3920490" y="4269133"/>
                  </a:lnTo>
                  <a:cubicBezTo>
                    <a:pt x="3919696" y="4111177"/>
                    <a:pt x="3918903" y="3953220"/>
                    <a:pt x="3918109" y="3795264"/>
                  </a:cubicBezTo>
                  <a:close/>
                  <a:moveTo>
                    <a:pt x="4713446" y="3754783"/>
                  </a:moveTo>
                  <a:lnTo>
                    <a:pt x="4434840" y="3769070"/>
                  </a:lnTo>
                  <a:lnTo>
                    <a:pt x="4434840" y="3819076"/>
                  </a:lnTo>
                  <a:lnTo>
                    <a:pt x="4672965" y="3797645"/>
                  </a:lnTo>
                  <a:lnTo>
                    <a:pt x="4672965" y="4161976"/>
                  </a:lnTo>
                  <a:lnTo>
                    <a:pt x="4713446" y="4157214"/>
                  </a:lnTo>
                  <a:close/>
                  <a:moveTo>
                    <a:pt x="5356384" y="3719064"/>
                  </a:moveTo>
                  <a:lnTo>
                    <a:pt x="5120640" y="3730970"/>
                  </a:lnTo>
                  <a:lnTo>
                    <a:pt x="5120640" y="3766689"/>
                  </a:lnTo>
                  <a:lnTo>
                    <a:pt x="5327809" y="3761926"/>
                  </a:lnTo>
                  <a:lnTo>
                    <a:pt x="5342096" y="4064345"/>
                  </a:lnTo>
                  <a:lnTo>
                    <a:pt x="5370671" y="4059583"/>
                  </a:lnTo>
                  <a:close/>
                  <a:moveTo>
                    <a:pt x="5127784" y="3018976"/>
                  </a:moveTo>
                  <a:lnTo>
                    <a:pt x="5127784" y="3057076"/>
                  </a:lnTo>
                  <a:lnTo>
                    <a:pt x="5323046" y="3076126"/>
                  </a:lnTo>
                  <a:lnTo>
                    <a:pt x="5339715" y="3378545"/>
                  </a:lnTo>
                  <a:lnTo>
                    <a:pt x="5368290" y="3383307"/>
                  </a:lnTo>
                  <a:lnTo>
                    <a:pt x="5356384" y="3049933"/>
                  </a:lnTo>
                  <a:close/>
                  <a:moveTo>
                    <a:pt x="4434840" y="2952301"/>
                  </a:moveTo>
                  <a:lnTo>
                    <a:pt x="4437222" y="2995165"/>
                  </a:lnTo>
                  <a:cubicBezTo>
                    <a:pt x="4671378" y="3011833"/>
                    <a:pt x="4555490" y="3004690"/>
                    <a:pt x="4680109" y="3016595"/>
                  </a:cubicBezTo>
                  <a:lnTo>
                    <a:pt x="4680109" y="3376164"/>
                  </a:lnTo>
                  <a:lnTo>
                    <a:pt x="4718209" y="3380926"/>
                  </a:lnTo>
                  <a:cubicBezTo>
                    <a:pt x="4716621" y="3246782"/>
                    <a:pt x="4715034" y="3112639"/>
                    <a:pt x="4713446" y="2978495"/>
                  </a:cubicBezTo>
                  <a:close/>
                  <a:moveTo>
                    <a:pt x="1129665" y="2921345"/>
                  </a:moveTo>
                  <a:lnTo>
                    <a:pt x="656590" y="2994370"/>
                  </a:lnTo>
                  <a:lnTo>
                    <a:pt x="621665" y="4153245"/>
                  </a:lnTo>
                  <a:lnTo>
                    <a:pt x="1097915" y="4273895"/>
                  </a:lnTo>
                  <a:close/>
                  <a:moveTo>
                    <a:pt x="3589496" y="2868958"/>
                  </a:moveTo>
                  <a:lnTo>
                    <a:pt x="3589496" y="2918964"/>
                  </a:lnTo>
                  <a:lnTo>
                    <a:pt x="3875246" y="2949920"/>
                  </a:lnTo>
                  <a:lnTo>
                    <a:pt x="3875246" y="3380926"/>
                  </a:lnTo>
                  <a:lnTo>
                    <a:pt x="3920490" y="3380926"/>
                  </a:lnTo>
                  <a:lnTo>
                    <a:pt x="3920490" y="2902295"/>
                  </a:lnTo>
                  <a:close/>
                  <a:moveTo>
                    <a:pt x="1139190" y="2728464"/>
                  </a:moveTo>
                  <a:lnTo>
                    <a:pt x="605790" y="2838001"/>
                  </a:lnTo>
                  <a:lnTo>
                    <a:pt x="605790" y="2888008"/>
                  </a:lnTo>
                  <a:lnTo>
                    <a:pt x="1139190" y="2778470"/>
                  </a:lnTo>
                  <a:close/>
                  <a:moveTo>
                    <a:pt x="3048953" y="2621308"/>
                  </a:moveTo>
                  <a:lnTo>
                    <a:pt x="2220278" y="2749895"/>
                  </a:lnTo>
                  <a:lnTo>
                    <a:pt x="2205990" y="4531070"/>
                  </a:lnTo>
                  <a:lnTo>
                    <a:pt x="3029903" y="4731095"/>
                  </a:lnTo>
                  <a:close/>
                  <a:moveTo>
                    <a:pt x="1859915" y="2378420"/>
                  </a:moveTo>
                  <a:lnTo>
                    <a:pt x="1199515" y="2546695"/>
                  </a:lnTo>
                  <a:lnTo>
                    <a:pt x="1161415" y="4340570"/>
                  </a:lnTo>
                  <a:lnTo>
                    <a:pt x="1028065" y="4381845"/>
                  </a:lnTo>
                  <a:lnTo>
                    <a:pt x="1678940" y="4569170"/>
                  </a:lnTo>
                  <a:lnTo>
                    <a:pt x="1824990" y="4515195"/>
                  </a:lnTo>
                  <a:close/>
                  <a:moveTo>
                    <a:pt x="3082290" y="2321270"/>
                  </a:moveTo>
                  <a:lnTo>
                    <a:pt x="2225040" y="2499864"/>
                  </a:lnTo>
                  <a:lnTo>
                    <a:pt x="2225040" y="2571301"/>
                  </a:lnTo>
                  <a:lnTo>
                    <a:pt x="3082290" y="2395089"/>
                  </a:lnTo>
                  <a:close/>
                  <a:moveTo>
                    <a:pt x="3034665" y="1897408"/>
                  </a:moveTo>
                  <a:lnTo>
                    <a:pt x="853440" y="2540345"/>
                  </a:lnTo>
                  <a:lnTo>
                    <a:pt x="853440" y="2716558"/>
                  </a:lnTo>
                  <a:lnTo>
                    <a:pt x="1141571" y="2657026"/>
                  </a:lnTo>
                  <a:lnTo>
                    <a:pt x="1141571" y="2509389"/>
                  </a:lnTo>
                  <a:lnTo>
                    <a:pt x="1860709" y="2306983"/>
                  </a:lnTo>
                  <a:lnTo>
                    <a:pt x="2196465" y="2418901"/>
                  </a:lnTo>
                  <a:lnTo>
                    <a:pt x="3034665" y="2230783"/>
                  </a:lnTo>
                  <a:close/>
                  <a:moveTo>
                    <a:pt x="2139315" y="1759295"/>
                  </a:moveTo>
                  <a:lnTo>
                    <a:pt x="1482090" y="2016470"/>
                  </a:lnTo>
                  <a:lnTo>
                    <a:pt x="1482090" y="2290314"/>
                  </a:lnTo>
                  <a:lnTo>
                    <a:pt x="2139315" y="2095051"/>
                  </a:lnTo>
                  <a:close/>
                  <a:moveTo>
                    <a:pt x="3960971" y="1437826"/>
                  </a:moveTo>
                  <a:lnTo>
                    <a:pt x="2675096" y="1864070"/>
                  </a:lnTo>
                  <a:lnTo>
                    <a:pt x="2675096" y="1937889"/>
                  </a:lnTo>
                  <a:lnTo>
                    <a:pt x="3034665" y="1833114"/>
                  </a:lnTo>
                  <a:lnTo>
                    <a:pt x="3253740" y="1890264"/>
                  </a:lnTo>
                  <a:lnTo>
                    <a:pt x="3844290" y="1721195"/>
                  </a:lnTo>
                  <a:lnTo>
                    <a:pt x="3844290" y="1809301"/>
                  </a:lnTo>
                  <a:lnTo>
                    <a:pt x="3429953" y="1930745"/>
                  </a:lnTo>
                  <a:lnTo>
                    <a:pt x="3960971" y="2080764"/>
                  </a:lnTo>
                  <a:close/>
                  <a:moveTo>
                    <a:pt x="4450467" y="798721"/>
                  </a:moveTo>
                  <a:cubicBezTo>
                    <a:pt x="4330363" y="791764"/>
                    <a:pt x="4200883" y="824655"/>
                    <a:pt x="4170521" y="840133"/>
                  </a:cubicBezTo>
                  <a:lnTo>
                    <a:pt x="4156234" y="1447351"/>
                  </a:lnTo>
                  <a:lnTo>
                    <a:pt x="4603909" y="1623564"/>
                  </a:lnTo>
                  <a:lnTo>
                    <a:pt x="4563428" y="821083"/>
                  </a:lnTo>
                  <a:cubicBezTo>
                    <a:pt x="4529495" y="807788"/>
                    <a:pt x="4490502" y="801041"/>
                    <a:pt x="4450467" y="798721"/>
                  </a:cubicBezTo>
                  <a:close/>
                  <a:moveTo>
                    <a:pt x="2501265" y="767802"/>
                  </a:moveTo>
                  <a:cubicBezTo>
                    <a:pt x="2490351" y="763138"/>
                    <a:pt x="2477056" y="767107"/>
                    <a:pt x="2463165" y="794888"/>
                  </a:cubicBezTo>
                  <a:lnTo>
                    <a:pt x="2434590" y="1761675"/>
                  </a:lnTo>
                  <a:lnTo>
                    <a:pt x="2536984" y="1787869"/>
                  </a:lnTo>
                  <a:lnTo>
                    <a:pt x="2525078" y="792507"/>
                  </a:lnTo>
                  <a:cubicBezTo>
                    <a:pt x="2520712" y="785761"/>
                    <a:pt x="2512179" y="772465"/>
                    <a:pt x="2501265" y="767802"/>
                  </a:cubicBezTo>
                  <a:close/>
                  <a:moveTo>
                    <a:pt x="4302793" y="558846"/>
                  </a:moveTo>
                  <a:cubicBezTo>
                    <a:pt x="4256396" y="562269"/>
                    <a:pt x="4216361" y="576408"/>
                    <a:pt x="4177665" y="597243"/>
                  </a:cubicBezTo>
                  <a:lnTo>
                    <a:pt x="4170521" y="780600"/>
                  </a:lnTo>
                  <a:cubicBezTo>
                    <a:pt x="4199096" y="769488"/>
                    <a:pt x="4272915" y="739325"/>
                    <a:pt x="4349115" y="747262"/>
                  </a:cubicBezTo>
                  <a:lnTo>
                    <a:pt x="4351497" y="559144"/>
                  </a:lnTo>
                  <a:cubicBezTo>
                    <a:pt x="4334431" y="557755"/>
                    <a:pt x="4318259" y="557705"/>
                    <a:pt x="4302793" y="558846"/>
                  </a:cubicBezTo>
                  <a:close/>
                  <a:moveTo>
                    <a:pt x="3202810" y="335363"/>
                  </a:moveTo>
                  <a:cubicBezTo>
                    <a:pt x="3126836" y="339232"/>
                    <a:pt x="3059668" y="355250"/>
                    <a:pt x="3020378" y="375788"/>
                  </a:cubicBezTo>
                  <a:lnTo>
                    <a:pt x="2987040" y="1687857"/>
                  </a:lnTo>
                  <a:lnTo>
                    <a:pt x="3449003" y="1528313"/>
                  </a:lnTo>
                  <a:lnTo>
                    <a:pt x="3387090" y="351975"/>
                  </a:lnTo>
                  <a:cubicBezTo>
                    <a:pt x="3352364" y="343244"/>
                    <a:pt x="3316447" y="338084"/>
                    <a:pt x="3281013" y="335827"/>
                  </a:cubicBezTo>
                  <a:cubicBezTo>
                    <a:pt x="3254438" y="334134"/>
                    <a:pt x="3228135" y="334074"/>
                    <a:pt x="3202810" y="335363"/>
                  </a:cubicBezTo>
                  <a:close/>
                  <a:moveTo>
                    <a:pt x="3210878" y="80513"/>
                  </a:moveTo>
                  <a:cubicBezTo>
                    <a:pt x="3142615" y="74956"/>
                    <a:pt x="3086259" y="86070"/>
                    <a:pt x="3034665" y="113850"/>
                  </a:cubicBezTo>
                  <a:lnTo>
                    <a:pt x="3027521" y="297207"/>
                  </a:lnTo>
                  <a:cubicBezTo>
                    <a:pt x="3056096" y="286095"/>
                    <a:pt x="3129915" y="263076"/>
                    <a:pt x="3206115" y="271013"/>
                  </a:cubicBezTo>
                  <a:close/>
                  <a:moveTo>
                    <a:pt x="3339623" y="1383"/>
                  </a:moveTo>
                  <a:cubicBezTo>
                    <a:pt x="3446502" y="8108"/>
                    <a:pt x="3543419" y="40032"/>
                    <a:pt x="3581400" y="111469"/>
                  </a:cubicBezTo>
                  <a:lnTo>
                    <a:pt x="3672840" y="1460209"/>
                  </a:lnTo>
                  <a:lnTo>
                    <a:pt x="3947160" y="1368769"/>
                  </a:lnTo>
                  <a:lnTo>
                    <a:pt x="4091940" y="1429729"/>
                  </a:lnTo>
                  <a:lnTo>
                    <a:pt x="4130040" y="561049"/>
                  </a:lnTo>
                  <a:cubicBezTo>
                    <a:pt x="4317048" y="361024"/>
                    <a:pt x="4746943" y="489611"/>
                    <a:pt x="4762500" y="561049"/>
                  </a:cubicBezTo>
                  <a:lnTo>
                    <a:pt x="4892040" y="2328889"/>
                  </a:lnTo>
                  <a:lnTo>
                    <a:pt x="5433060" y="2466049"/>
                  </a:lnTo>
                  <a:lnTo>
                    <a:pt x="5448300" y="2793709"/>
                  </a:lnTo>
                  <a:lnTo>
                    <a:pt x="5692140" y="2862289"/>
                  </a:lnTo>
                  <a:lnTo>
                    <a:pt x="5692140" y="3113749"/>
                  </a:lnTo>
                  <a:lnTo>
                    <a:pt x="5631180" y="3128989"/>
                  </a:lnTo>
                  <a:lnTo>
                    <a:pt x="5646420" y="4142449"/>
                  </a:lnTo>
                  <a:lnTo>
                    <a:pt x="6103620" y="4256749"/>
                  </a:lnTo>
                  <a:lnTo>
                    <a:pt x="6141720" y="4462489"/>
                  </a:lnTo>
                  <a:lnTo>
                    <a:pt x="3048000" y="5514049"/>
                  </a:lnTo>
                  <a:lnTo>
                    <a:pt x="0" y="4401529"/>
                  </a:lnTo>
                  <a:lnTo>
                    <a:pt x="0" y="4271989"/>
                  </a:lnTo>
                  <a:lnTo>
                    <a:pt x="556260" y="4165309"/>
                  </a:lnTo>
                  <a:lnTo>
                    <a:pt x="601980" y="3022309"/>
                  </a:lnTo>
                  <a:lnTo>
                    <a:pt x="556260" y="3007069"/>
                  </a:lnTo>
                  <a:lnTo>
                    <a:pt x="556260" y="2786089"/>
                  </a:lnTo>
                  <a:lnTo>
                    <a:pt x="792480" y="2732749"/>
                  </a:lnTo>
                  <a:lnTo>
                    <a:pt x="792480" y="2481289"/>
                  </a:lnTo>
                  <a:lnTo>
                    <a:pt x="1424940" y="2298409"/>
                  </a:lnTo>
                  <a:lnTo>
                    <a:pt x="1424940" y="1970749"/>
                  </a:lnTo>
                  <a:lnTo>
                    <a:pt x="2141220" y="1681189"/>
                  </a:lnTo>
                  <a:lnTo>
                    <a:pt x="2392680" y="1757389"/>
                  </a:lnTo>
                  <a:lnTo>
                    <a:pt x="2423637" y="751549"/>
                  </a:lnTo>
                  <a:cubicBezTo>
                    <a:pt x="2433321" y="709957"/>
                    <a:pt x="2595403" y="687414"/>
                    <a:pt x="2631281" y="748215"/>
                  </a:cubicBezTo>
                  <a:lnTo>
                    <a:pt x="2682240" y="1795489"/>
                  </a:lnTo>
                  <a:lnTo>
                    <a:pt x="2872740" y="1726909"/>
                  </a:lnTo>
                  <a:lnTo>
                    <a:pt x="2948940" y="111469"/>
                  </a:lnTo>
                  <a:cubicBezTo>
                    <a:pt x="2955687" y="48961"/>
                    <a:pt x="3161491" y="-9826"/>
                    <a:pt x="3339623" y="1383"/>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73" name="Freeform 408">
              <a:extLst>
                <a:ext uri="{FF2B5EF4-FFF2-40B4-BE49-F238E27FC236}">
                  <a16:creationId xmlns:a16="http://schemas.microsoft.com/office/drawing/2014/main" id="{3FB4C216-F7C0-4610-847F-ACE6A32352EB}"/>
                </a:ext>
              </a:extLst>
            </p:cNvPr>
            <p:cNvSpPr/>
            <p:nvPr/>
          </p:nvSpPr>
          <p:spPr>
            <a:xfrm>
              <a:off x="1425790" y="2677296"/>
              <a:ext cx="32051" cy="40983"/>
            </a:xfrm>
            <a:custGeom>
              <a:avLst/>
              <a:gdLst>
                <a:gd name="connsiteX0" fmla="*/ 435768 w 435768"/>
                <a:gd name="connsiteY0" fmla="*/ 76200 h 557212"/>
                <a:gd name="connsiteX1" fmla="*/ 435768 w 435768"/>
                <a:gd name="connsiteY1" fmla="*/ 0 h 557212"/>
                <a:gd name="connsiteX2" fmla="*/ 4762 w 435768"/>
                <a:gd name="connsiteY2" fmla="*/ 45244 h 557212"/>
                <a:gd name="connsiteX3" fmla="*/ 0 w 435768"/>
                <a:gd name="connsiteY3" fmla="*/ 557212 h 557212"/>
                <a:gd name="connsiteX4" fmla="*/ 64293 w 435768"/>
                <a:gd name="connsiteY4" fmla="*/ 557212 h 557212"/>
                <a:gd name="connsiteX5" fmla="*/ 66675 w 435768"/>
                <a:gd name="connsiteY5" fmla="*/ 104775 h 557212"/>
                <a:gd name="connsiteX6" fmla="*/ 435768 w 435768"/>
                <a:gd name="connsiteY6" fmla="*/ 76200 h 557212"/>
                <a:gd name="connsiteX0" fmla="*/ 435768 w 435768"/>
                <a:gd name="connsiteY0" fmla="*/ 76200 h 557212"/>
                <a:gd name="connsiteX1" fmla="*/ 435768 w 435768"/>
                <a:gd name="connsiteY1" fmla="*/ 0 h 557212"/>
                <a:gd name="connsiteX2" fmla="*/ 4762 w 435768"/>
                <a:gd name="connsiteY2" fmla="*/ 45244 h 557212"/>
                <a:gd name="connsiteX3" fmla="*/ 0 w 435768"/>
                <a:gd name="connsiteY3" fmla="*/ 557212 h 557212"/>
                <a:gd name="connsiteX4" fmla="*/ 64293 w 435768"/>
                <a:gd name="connsiteY4" fmla="*/ 557212 h 557212"/>
                <a:gd name="connsiteX5" fmla="*/ 66675 w 435768"/>
                <a:gd name="connsiteY5" fmla="*/ 109537 h 557212"/>
                <a:gd name="connsiteX6" fmla="*/ 435768 w 435768"/>
                <a:gd name="connsiteY6" fmla="*/ 76200 h 557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768" h="557212">
                  <a:moveTo>
                    <a:pt x="435768" y="76200"/>
                  </a:moveTo>
                  <a:lnTo>
                    <a:pt x="435768" y="0"/>
                  </a:lnTo>
                  <a:lnTo>
                    <a:pt x="4762" y="45244"/>
                  </a:lnTo>
                  <a:cubicBezTo>
                    <a:pt x="3175" y="215900"/>
                    <a:pt x="1587" y="386556"/>
                    <a:pt x="0" y="557212"/>
                  </a:cubicBezTo>
                  <a:lnTo>
                    <a:pt x="64293" y="557212"/>
                  </a:lnTo>
                  <a:lnTo>
                    <a:pt x="66675" y="109537"/>
                  </a:lnTo>
                  <a:lnTo>
                    <a:pt x="435768" y="76200"/>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74" name="Freeform 409">
              <a:extLst>
                <a:ext uri="{FF2B5EF4-FFF2-40B4-BE49-F238E27FC236}">
                  <a16:creationId xmlns:a16="http://schemas.microsoft.com/office/drawing/2014/main" id="{ED291EB0-B92C-44C4-9FF1-D87F26D98A75}"/>
                </a:ext>
              </a:extLst>
            </p:cNvPr>
            <p:cNvSpPr/>
            <p:nvPr/>
          </p:nvSpPr>
          <p:spPr>
            <a:xfrm>
              <a:off x="1425790" y="2740347"/>
              <a:ext cx="32226" cy="40457"/>
            </a:xfrm>
            <a:custGeom>
              <a:avLst/>
              <a:gdLst>
                <a:gd name="connsiteX0" fmla="*/ 435768 w 435768"/>
                <a:gd name="connsiteY0" fmla="*/ 76200 h 557212"/>
                <a:gd name="connsiteX1" fmla="*/ 435768 w 435768"/>
                <a:gd name="connsiteY1" fmla="*/ 0 h 557212"/>
                <a:gd name="connsiteX2" fmla="*/ 4762 w 435768"/>
                <a:gd name="connsiteY2" fmla="*/ 45244 h 557212"/>
                <a:gd name="connsiteX3" fmla="*/ 0 w 435768"/>
                <a:gd name="connsiteY3" fmla="*/ 557212 h 557212"/>
                <a:gd name="connsiteX4" fmla="*/ 64293 w 435768"/>
                <a:gd name="connsiteY4" fmla="*/ 557212 h 557212"/>
                <a:gd name="connsiteX5" fmla="*/ 66675 w 435768"/>
                <a:gd name="connsiteY5" fmla="*/ 104775 h 557212"/>
                <a:gd name="connsiteX6" fmla="*/ 435768 w 435768"/>
                <a:gd name="connsiteY6" fmla="*/ 76200 h 557212"/>
                <a:gd name="connsiteX0" fmla="*/ 435768 w 435768"/>
                <a:gd name="connsiteY0" fmla="*/ 76200 h 557212"/>
                <a:gd name="connsiteX1" fmla="*/ 435768 w 435768"/>
                <a:gd name="connsiteY1" fmla="*/ 0 h 557212"/>
                <a:gd name="connsiteX2" fmla="*/ 4762 w 435768"/>
                <a:gd name="connsiteY2" fmla="*/ 45244 h 557212"/>
                <a:gd name="connsiteX3" fmla="*/ 0 w 435768"/>
                <a:gd name="connsiteY3" fmla="*/ 557212 h 557212"/>
                <a:gd name="connsiteX4" fmla="*/ 64293 w 435768"/>
                <a:gd name="connsiteY4" fmla="*/ 557212 h 557212"/>
                <a:gd name="connsiteX5" fmla="*/ 66675 w 435768"/>
                <a:gd name="connsiteY5" fmla="*/ 109537 h 557212"/>
                <a:gd name="connsiteX6" fmla="*/ 435768 w 435768"/>
                <a:gd name="connsiteY6" fmla="*/ 76200 h 557212"/>
                <a:gd name="connsiteX0" fmla="*/ 435768 w 435768"/>
                <a:gd name="connsiteY0" fmla="*/ 76200 h 585787"/>
                <a:gd name="connsiteX1" fmla="*/ 435768 w 435768"/>
                <a:gd name="connsiteY1" fmla="*/ 0 h 585787"/>
                <a:gd name="connsiteX2" fmla="*/ 4762 w 435768"/>
                <a:gd name="connsiteY2" fmla="*/ 45244 h 585787"/>
                <a:gd name="connsiteX3" fmla="*/ 0 w 435768"/>
                <a:gd name="connsiteY3" fmla="*/ 585787 h 585787"/>
                <a:gd name="connsiteX4" fmla="*/ 64293 w 435768"/>
                <a:gd name="connsiteY4" fmla="*/ 557212 h 585787"/>
                <a:gd name="connsiteX5" fmla="*/ 66675 w 435768"/>
                <a:gd name="connsiteY5" fmla="*/ 109537 h 585787"/>
                <a:gd name="connsiteX6" fmla="*/ 435768 w 435768"/>
                <a:gd name="connsiteY6" fmla="*/ 76200 h 585787"/>
                <a:gd name="connsiteX0" fmla="*/ 435768 w 435768"/>
                <a:gd name="connsiteY0" fmla="*/ 76200 h 595312"/>
                <a:gd name="connsiteX1" fmla="*/ 435768 w 435768"/>
                <a:gd name="connsiteY1" fmla="*/ 0 h 595312"/>
                <a:gd name="connsiteX2" fmla="*/ 4762 w 435768"/>
                <a:gd name="connsiteY2" fmla="*/ 45244 h 595312"/>
                <a:gd name="connsiteX3" fmla="*/ 0 w 435768"/>
                <a:gd name="connsiteY3" fmla="*/ 585787 h 595312"/>
                <a:gd name="connsiteX4" fmla="*/ 54768 w 435768"/>
                <a:gd name="connsiteY4" fmla="*/ 595312 h 595312"/>
                <a:gd name="connsiteX5" fmla="*/ 66675 w 435768"/>
                <a:gd name="connsiteY5" fmla="*/ 109537 h 595312"/>
                <a:gd name="connsiteX6" fmla="*/ 435768 w 435768"/>
                <a:gd name="connsiteY6" fmla="*/ 76200 h 595312"/>
                <a:gd name="connsiteX0" fmla="*/ 433387 w 435768"/>
                <a:gd name="connsiteY0" fmla="*/ 128588 h 595312"/>
                <a:gd name="connsiteX1" fmla="*/ 435768 w 435768"/>
                <a:gd name="connsiteY1" fmla="*/ 0 h 595312"/>
                <a:gd name="connsiteX2" fmla="*/ 4762 w 435768"/>
                <a:gd name="connsiteY2" fmla="*/ 45244 h 595312"/>
                <a:gd name="connsiteX3" fmla="*/ 0 w 435768"/>
                <a:gd name="connsiteY3" fmla="*/ 585787 h 595312"/>
                <a:gd name="connsiteX4" fmla="*/ 54768 w 435768"/>
                <a:gd name="connsiteY4" fmla="*/ 595312 h 595312"/>
                <a:gd name="connsiteX5" fmla="*/ 66675 w 435768"/>
                <a:gd name="connsiteY5" fmla="*/ 109537 h 595312"/>
                <a:gd name="connsiteX6" fmla="*/ 433387 w 435768"/>
                <a:gd name="connsiteY6" fmla="*/ 128588 h 595312"/>
                <a:gd name="connsiteX0" fmla="*/ 433387 w 438149"/>
                <a:gd name="connsiteY0" fmla="*/ 83344 h 550068"/>
                <a:gd name="connsiteX1" fmla="*/ 438149 w 438149"/>
                <a:gd name="connsiteY1" fmla="*/ 21431 h 550068"/>
                <a:gd name="connsiteX2" fmla="*/ 4762 w 438149"/>
                <a:gd name="connsiteY2" fmla="*/ 0 h 550068"/>
                <a:gd name="connsiteX3" fmla="*/ 0 w 438149"/>
                <a:gd name="connsiteY3" fmla="*/ 540543 h 550068"/>
                <a:gd name="connsiteX4" fmla="*/ 54768 w 438149"/>
                <a:gd name="connsiteY4" fmla="*/ 550068 h 550068"/>
                <a:gd name="connsiteX5" fmla="*/ 66675 w 438149"/>
                <a:gd name="connsiteY5" fmla="*/ 64293 h 550068"/>
                <a:gd name="connsiteX6" fmla="*/ 433387 w 438149"/>
                <a:gd name="connsiteY6" fmla="*/ 83344 h 550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149" h="550068">
                  <a:moveTo>
                    <a:pt x="433387" y="83344"/>
                  </a:moveTo>
                  <a:cubicBezTo>
                    <a:pt x="434181" y="40481"/>
                    <a:pt x="437355" y="64294"/>
                    <a:pt x="438149" y="21431"/>
                  </a:cubicBezTo>
                  <a:lnTo>
                    <a:pt x="4762" y="0"/>
                  </a:lnTo>
                  <a:cubicBezTo>
                    <a:pt x="3175" y="170656"/>
                    <a:pt x="1587" y="369887"/>
                    <a:pt x="0" y="540543"/>
                  </a:cubicBezTo>
                  <a:lnTo>
                    <a:pt x="54768" y="550068"/>
                  </a:lnTo>
                  <a:lnTo>
                    <a:pt x="66675" y="64293"/>
                  </a:lnTo>
                  <a:lnTo>
                    <a:pt x="433387" y="83344"/>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75" name="Freeform 410">
              <a:extLst>
                <a:ext uri="{FF2B5EF4-FFF2-40B4-BE49-F238E27FC236}">
                  <a16:creationId xmlns:a16="http://schemas.microsoft.com/office/drawing/2014/main" id="{600C7E2A-5999-4B84-AF88-1E58F6D1A766}"/>
                </a:ext>
              </a:extLst>
            </p:cNvPr>
            <p:cNvSpPr/>
            <p:nvPr/>
          </p:nvSpPr>
          <p:spPr>
            <a:xfrm>
              <a:off x="1425265" y="2677121"/>
              <a:ext cx="33102" cy="41333"/>
            </a:xfrm>
            <a:custGeom>
              <a:avLst/>
              <a:gdLst>
                <a:gd name="connsiteX0" fmla="*/ 0 w 450056"/>
                <a:gd name="connsiteY0" fmla="*/ 561975 h 561975"/>
                <a:gd name="connsiteX1" fmla="*/ 73819 w 450056"/>
                <a:gd name="connsiteY1" fmla="*/ 561975 h 561975"/>
                <a:gd name="connsiteX2" fmla="*/ 73819 w 450056"/>
                <a:gd name="connsiteY2" fmla="*/ 116681 h 561975"/>
                <a:gd name="connsiteX3" fmla="*/ 450056 w 450056"/>
                <a:gd name="connsiteY3" fmla="*/ 73818 h 561975"/>
                <a:gd name="connsiteX4" fmla="*/ 450056 w 450056"/>
                <a:gd name="connsiteY4" fmla="*/ 0 h 561975"/>
                <a:gd name="connsiteX5" fmla="*/ 7144 w 450056"/>
                <a:gd name="connsiteY5" fmla="*/ 47625 h 561975"/>
                <a:gd name="connsiteX6" fmla="*/ 0 w 450056"/>
                <a:gd name="connsiteY6" fmla="*/ 561975 h 561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056" h="561975">
                  <a:moveTo>
                    <a:pt x="0" y="561975"/>
                  </a:moveTo>
                  <a:lnTo>
                    <a:pt x="73819" y="561975"/>
                  </a:lnTo>
                  <a:lnTo>
                    <a:pt x="73819" y="116681"/>
                  </a:lnTo>
                  <a:lnTo>
                    <a:pt x="450056" y="73818"/>
                  </a:lnTo>
                  <a:lnTo>
                    <a:pt x="450056" y="0"/>
                  </a:lnTo>
                  <a:lnTo>
                    <a:pt x="7144" y="47625"/>
                  </a:lnTo>
                  <a:cubicBezTo>
                    <a:pt x="4763" y="219075"/>
                    <a:pt x="2381" y="390525"/>
                    <a:pt x="0" y="561975"/>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76" name="Freeform 411">
              <a:extLst>
                <a:ext uri="{FF2B5EF4-FFF2-40B4-BE49-F238E27FC236}">
                  <a16:creationId xmlns:a16="http://schemas.microsoft.com/office/drawing/2014/main" id="{02ACCADA-30F8-4263-9DFE-782ADB783CBB}"/>
                </a:ext>
              </a:extLst>
            </p:cNvPr>
            <p:cNvSpPr/>
            <p:nvPr/>
          </p:nvSpPr>
          <p:spPr>
            <a:xfrm>
              <a:off x="1425265" y="2740172"/>
              <a:ext cx="33102" cy="41158"/>
            </a:xfrm>
            <a:custGeom>
              <a:avLst/>
              <a:gdLst>
                <a:gd name="connsiteX0" fmla="*/ 0 w 450056"/>
                <a:gd name="connsiteY0" fmla="*/ 561975 h 561975"/>
                <a:gd name="connsiteX1" fmla="*/ 73819 w 450056"/>
                <a:gd name="connsiteY1" fmla="*/ 561975 h 561975"/>
                <a:gd name="connsiteX2" fmla="*/ 73819 w 450056"/>
                <a:gd name="connsiteY2" fmla="*/ 116681 h 561975"/>
                <a:gd name="connsiteX3" fmla="*/ 450056 w 450056"/>
                <a:gd name="connsiteY3" fmla="*/ 73818 h 561975"/>
                <a:gd name="connsiteX4" fmla="*/ 450056 w 450056"/>
                <a:gd name="connsiteY4" fmla="*/ 0 h 561975"/>
                <a:gd name="connsiteX5" fmla="*/ 7144 w 450056"/>
                <a:gd name="connsiteY5" fmla="*/ 47625 h 561975"/>
                <a:gd name="connsiteX6" fmla="*/ 0 w 450056"/>
                <a:gd name="connsiteY6" fmla="*/ 561975 h 561975"/>
                <a:gd name="connsiteX0" fmla="*/ 0 w 450056"/>
                <a:gd name="connsiteY0" fmla="*/ 561975 h 576262"/>
                <a:gd name="connsiteX1" fmla="*/ 71438 w 450056"/>
                <a:gd name="connsiteY1" fmla="*/ 576262 h 576262"/>
                <a:gd name="connsiteX2" fmla="*/ 73819 w 450056"/>
                <a:gd name="connsiteY2" fmla="*/ 116681 h 576262"/>
                <a:gd name="connsiteX3" fmla="*/ 450056 w 450056"/>
                <a:gd name="connsiteY3" fmla="*/ 73818 h 576262"/>
                <a:gd name="connsiteX4" fmla="*/ 450056 w 450056"/>
                <a:gd name="connsiteY4" fmla="*/ 0 h 576262"/>
                <a:gd name="connsiteX5" fmla="*/ 7144 w 450056"/>
                <a:gd name="connsiteY5" fmla="*/ 47625 h 576262"/>
                <a:gd name="connsiteX6" fmla="*/ 0 w 450056"/>
                <a:gd name="connsiteY6" fmla="*/ 561975 h 576262"/>
                <a:gd name="connsiteX0" fmla="*/ 0 w 450056"/>
                <a:gd name="connsiteY0" fmla="*/ 561975 h 576262"/>
                <a:gd name="connsiteX1" fmla="*/ 71438 w 450056"/>
                <a:gd name="connsiteY1" fmla="*/ 576262 h 576262"/>
                <a:gd name="connsiteX2" fmla="*/ 73819 w 450056"/>
                <a:gd name="connsiteY2" fmla="*/ 116681 h 576262"/>
                <a:gd name="connsiteX3" fmla="*/ 450056 w 450056"/>
                <a:gd name="connsiteY3" fmla="*/ 73818 h 576262"/>
                <a:gd name="connsiteX4" fmla="*/ 450056 w 450056"/>
                <a:gd name="connsiteY4" fmla="*/ 0 h 576262"/>
                <a:gd name="connsiteX5" fmla="*/ 7144 w 450056"/>
                <a:gd name="connsiteY5" fmla="*/ 16668 h 576262"/>
                <a:gd name="connsiteX6" fmla="*/ 0 w 450056"/>
                <a:gd name="connsiteY6" fmla="*/ 561975 h 576262"/>
                <a:gd name="connsiteX0" fmla="*/ 0 w 450056"/>
                <a:gd name="connsiteY0" fmla="*/ 561975 h 576262"/>
                <a:gd name="connsiteX1" fmla="*/ 71438 w 450056"/>
                <a:gd name="connsiteY1" fmla="*/ 576262 h 576262"/>
                <a:gd name="connsiteX2" fmla="*/ 73819 w 450056"/>
                <a:gd name="connsiteY2" fmla="*/ 116681 h 576262"/>
                <a:gd name="connsiteX3" fmla="*/ 450056 w 450056"/>
                <a:gd name="connsiteY3" fmla="*/ 104775 h 576262"/>
                <a:gd name="connsiteX4" fmla="*/ 450056 w 450056"/>
                <a:gd name="connsiteY4" fmla="*/ 0 h 576262"/>
                <a:gd name="connsiteX5" fmla="*/ 7144 w 450056"/>
                <a:gd name="connsiteY5" fmla="*/ 16668 h 576262"/>
                <a:gd name="connsiteX6" fmla="*/ 0 w 450056"/>
                <a:gd name="connsiteY6" fmla="*/ 561975 h 576262"/>
                <a:gd name="connsiteX0" fmla="*/ 0 w 450056"/>
                <a:gd name="connsiteY0" fmla="*/ 545307 h 559594"/>
                <a:gd name="connsiteX1" fmla="*/ 71438 w 450056"/>
                <a:gd name="connsiteY1" fmla="*/ 559594 h 559594"/>
                <a:gd name="connsiteX2" fmla="*/ 73819 w 450056"/>
                <a:gd name="connsiteY2" fmla="*/ 100013 h 559594"/>
                <a:gd name="connsiteX3" fmla="*/ 450056 w 450056"/>
                <a:gd name="connsiteY3" fmla="*/ 88107 h 559594"/>
                <a:gd name="connsiteX4" fmla="*/ 450056 w 450056"/>
                <a:gd name="connsiteY4" fmla="*/ 21432 h 559594"/>
                <a:gd name="connsiteX5" fmla="*/ 7144 w 450056"/>
                <a:gd name="connsiteY5" fmla="*/ 0 h 559594"/>
                <a:gd name="connsiteX6" fmla="*/ 0 w 450056"/>
                <a:gd name="connsiteY6" fmla="*/ 545307 h 559594"/>
                <a:gd name="connsiteX0" fmla="*/ 0 w 450056"/>
                <a:gd name="connsiteY0" fmla="*/ 545307 h 559594"/>
                <a:gd name="connsiteX1" fmla="*/ 71438 w 450056"/>
                <a:gd name="connsiteY1" fmla="*/ 559594 h 559594"/>
                <a:gd name="connsiteX2" fmla="*/ 76200 w 450056"/>
                <a:gd name="connsiteY2" fmla="*/ 71438 h 559594"/>
                <a:gd name="connsiteX3" fmla="*/ 450056 w 450056"/>
                <a:gd name="connsiteY3" fmla="*/ 88107 h 559594"/>
                <a:gd name="connsiteX4" fmla="*/ 450056 w 450056"/>
                <a:gd name="connsiteY4" fmla="*/ 21432 h 559594"/>
                <a:gd name="connsiteX5" fmla="*/ 7144 w 450056"/>
                <a:gd name="connsiteY5" fmla="*/ 0 h 559594"/>
                <a:gd name="connsiteX6" fmla="*/ 0 w 450056"/>
                <a:gd name="connsiteY6" fmla="*/ 545307 h 559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056" h="559594">
                  <a:moveTo>
                    <a:pt x="0" y="545307"/>
                  </a:moveTo>
                  <a:lnTo>
                    <a:pt x="71438" y="559594"/>
                  </a:lnTo>
                  <a:cubicBezTo>
                    <a:pt x="72232" y="406400"/>
                    <a:pt x="75406" y="224632"/>
                    <a:pt x="76200" y="71438"/>
                  </a:cubicBezTo>
                  <a:lnTo>
                    <a:pt x="450056" y="88107"/>
                  </a:lnTo>
                  <a:lnTo>
                    <a:pt x="450056" y="21432"/>
                  </a:lnTo>
                  <a:lnTo>
                    <a:pt x="7144" y="0"/>
                  </a:lnTo>
                  <a:cubicBezTo>
                    <a:pt x="4763" y="171450"/>
                    <a:pt x="2381" y="373857"/>
                    <a:pt x="0" y="545307"/>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77" name="Freeform 412">
              <a:extLst>
                <a:ext uri="{FF2B5EF4-FFF2-40B4-BE49-F238E27FC236}">
                  <a16:creationId xmlns:a16="http://schemas.microsoft.com/office/drawing/2014/main" id="{BE33C673-281A-4ACB-A114-CDE9188847F5}"/>
                </a:ext>
              </a:extLst>
            </p:cNvPr>
            <p:cNvSpPr/>
            <p:nvPr/>
          </p:nvSpPr>
          <p:spPr>
            <a:xfrm>
              <a:off x="1346451" y="2674844"/>
              <a:ext cx="23644" cy="36079"/>
            </a:xfrm>
            <a:custGeom>
              <a:avLst/>
              <a:gdLst>
                <a:gd name="connsiteX0" fmla="*/ 0 w 321469"/>
                <a:gd name="connsiteY0" fmla="*/ 490538 h 490538"/>
                <a:gd name="connsiteX1" fmla="*/ 11907 w 321469"/>
                <a:gd name="connsiteY1" fmla="*/ 47625 h 490538"/>
                <a:gd name="connsiteX2" fmla="*/ 321469 w 321469"/>
                <a:gd name="connsiteY2" fmla="*/ 0 h 490538"/>
                <a:gd name="connsiteX3" fmla="*/ 316707 w 321469"/>
                <a:gd name="connsiteY3" fmla="*/ 80963 h 490538"/>
                <a:gd name="connsiteX4" fmla="*/ 80963 w 321469"/>
                <a:gd name="connsiteY4" fmla="*/ 109538 h 490538"/>
                <a:gd name="connsiteX5" fmla="*/ 66675 w 321469"/>
                <a:gd name="connsiteY5" fmla="*/ 490538 h 490538"/>
                <a:gd name="connsiteX6" fmla="*/ 0 w 321469"/>
                <a:gd name="connsiteY6" fmla="*/ 490538 h 490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1469" h="490538">
                  <a:moveTo>
                    <a:pt x="0" y="490538"/>
                  </a:moveTo>
                  <a:lnTo>
                    <a:pt x="11907" y="47625"/>
                  </a:lnTo>
                  <a:lnTo>
                    <a:pt x="321469" y="0"/>
                  </a:lnTo>
                  <a:lnTo>
                    <a:pt x="316707" y="80963"/>
                  </a:lnTo>
                  <a:lnTo>
                    <a:pt x="80963" y="109538"/>
                  </a:lnTo>
                  <a:lnTo>
                    <a:pt x="66675" y="490538"/>
                  </a:lnTo>
                  <a:lnTo>
                    <a:pt x="0" y="490538"/>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78" name="Freeform 413">
              <a:extLst>
                <a:ext uri="{FF2B5EF4-FFF2-40B4-BE49-F238E27FC236}">
                  <a16:creationId xmlns:a16="http://schemas.microsoft.com/office/drawing/2014/main" id="{09912B14-8FEE-4CC8-9A03-FCA400A21B3E}"/>
                </a:ext>
              </a:extLst>
            </p:cNvPr>
            <p:cNvSpPr/>
            <p:nvPr/>
          </p:nvSpPr>
          <p:spPr>
            <a:xfrm>
              <a:off x="1305294" y="2691483"/>
              <a:ext cx="20491" cy="26796"/>
            </a:xfrm>
            <a:custGeom>
              <a:avLst/>
              <a:gdLst>
                <a:gd name="connsiteX0" fmla="*/ 11906 w 278606"/>
                <a:gd name="connsiteY0" fmla="*/ 26194 h 364331"/>
                <a:gd name="connsiteX1" fmla="*/ 0 w 278606"/>
                <a:gd name="connsiteY1" fmla="*/ 361950 h 364331"/>
                <a:gd name="connsiteX2" fmla="*/ 64293 w 278606"/>
                <a:gd name="connsiteY2" fmla="*/ 364331 h 364331"/>
                <a:gd name="connsiteX3" fmla="*/ 71437 w 278606"/>
                <a:gd name="connsiteY3" fmla="*/ 95250 h 364331"/>
                <a:gd name="connsiteX4" fmla="*/ 276225 w 278606"/>
                <a:gd name="connsiteY4" fmla="*/ 73819 h 364331"/>
                <a:gd name="connsiteX5" fmla="*/ 278606 w 278606"/>
                <a:gd name="connsiteY5" fmla="*/ 0 h 364331"/>
                <a:gd name="connsiteX6" fmla="*/ 11906 w 278606"/>
                <a:gd name="connsiteY6" fmla="*/ 26194 h 364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8606" h="364331">
                  <a:moveTo>
                    <a:pt x="11906" y="26194"/>
                  </a:moveTo>
                  <a:lnTo>
                    <a:pt x="0" y="361950"/>
                  </a:lnTo>
                  <a:lnTo>
                    <a:pt x="64293" y="364331"/>
                  </a:lnTo>
                  <a:lnTo>
                    <a:pt x="71437" y="95250"/>
                  </a:lnTo>
                  <a:lnTo>
                    <a:pt x="276225" y="73819"/>
                  </a:lnTo>
                  <a:cubicBezTo>
                    <a:pt x="277019" y="49213"/>
                    <a:pt x="277812" y="24606"/>
                    <a:pt x="278606" y="0"/>
                  </a:cubicBezTo>
                  <a:lnTo>
                    <a:pt x="11906" y="26194"/>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79" name="Freeform 414">
              <a:extLst>
                <a:ext uri="{FF2B5EF4-FFF2-40B4-BE49-F238E27FC236}">
                  <a16:creationId xmlns:a16="http://schemas.microsoft.com/office/drawing/2014/main" id="{6C4B7F9F-8094-4019-B64A-8E5DFF285917}"/>
                </a:ext>
              </a:extLst>
            </p:cNvPr>
            <p:cNvSpPr/>
            <p:nvPr/>
          </p:nvSpPr>
          <p:spPr>
            <a:xfrm>
              <a:off x="1303892" y="2732816"/>
              <a:ext cx="21017" cy="26972"/>
            </a:xfrm>
            <a:custGeom>
              <a:avLst/>
              <a:gdLst>
                <a:gd name="connsiteX0" fmla="*/ 0 w 285750"/>
                <a:gd name="connsiteY0" fmla="*/ 354806 h 366713"/>
                <a:gd name="connsiteX1" fmla="*/ 19050 w 285750"/>
                <a:gd name="connsiteY1" fmla="*/ 0 h 366713"/>
                <a:gd name="connsiteX2" fmla="*/ 285750 w 285750"/>
                <a:gd name="connsiteY2" fmla="*/ 16669 h 366713"/>
                <a:gd name="connsiteX3" fmla="*/ 280987 w 285750"/>
                <a:gd name="connsiteY3" fmla="*/ 80963 h 366713"/>
                <a:gd name="connsiteX4" fmla="*/ 80962 w 285750"/>
                <a:gd name="connsiteY4" fmla="*/ 71438 h 366713"/>
                <a:gd name="connsiteX5" fmla="*/ 66675 w 285750"/>
                <a:gd name="connsiteY5" fmla="*/ 366713 h 366713"/>
                <a:gd name="connsiteX6" fmla="*/ 0 w 285750"/>
                <a:gd name="connsiteY6" fmla="*/ 354806 h 366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50" h="366713">
                  <a:moveTo>
                    <a:pt x="0" y="354806"/>
                  </a:moveTo>
                  <a:lnTo>
                    <a:pt x="19050" y="0"/>
                  </a:lnTo>
                  <a:lnTo>
                    <a:pt x="285750" y="16669"/>
                  </a:lnTo>
                  <a:lnTo>
                    <a:pt x="280987" y="80963"/>
                  </a:lnTo>
                  <a:lnTo>
                    <a:pt x="80962" y="71438"/>
                  </a:lnTo>
                  <a:lnTo>
                    <a:pt x="66675" y="366713"/>
                  </a:lnTo>
                  <a:lnTo>
                    <a:pt x="0" y="354806"/>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80" name="Freeform 415">
              <a:extLst>
                <a:ext uri="{FF2B5EF4-FFF2-40B4-BE49-F238E27FC236}">
                  <a16:creationId xmlns:a16="http://schemas.microsoft.com/office/drawing/2014/main" id="{13500227-C813-43AA-A223-BEC851B44076}"/>
                </a:ext>
              </a:extLst>
            </p:cNvPr>
            <p:cNvSpPr/>
            <p:nvPr/>
          </p:nvSpPr>
          <p:spPr>
            <a:xfrm>
              <a:off x="1343474" y="2735968"/>
              <a:ext cx="28898" cy="59197"/>
            </a:xfrm>
            <a:custGeom>
              <a:avLst/>
              <a:gdLst>
                <a:gd name="connsiteX0" fmla="*/ 85725 w 392906"/>
                <a:gd name="connsiteY0" fmla="*/ 685800 h 804862"/>
                <a:gd name="connsiteX1" fmla="*/ 0 w 392906"/>
                <a:gd name="connsiteY1" fmla="*/ 707231 h 804862"/>
                <a:gd name="connsiteX2" fmla="*/ 23813 w 392906"/>
                <a:gd name="connsiteY2" fmla="*/ 0 h 804862"/>
                <a:gd name="connsiteX3" fmla="*/ 392906 w 392906"/>
                <a:gd name="connsiteY3" fmla="*/ 19050 h 804862"/>
                <a:gd name="connsiteX4" fmla="*/ 376238 w 392906"/>
                <a:gd name="connsiteY4" fmla="*/ 804862 h 804862"/>
                <a:gd name="connsiteX5" fmla="*/ 347663 w 392906"/>
                <a:gd name="connsiteY5" fmla="*/ 792956 h 804862"/>
                <a:gd name="connsiteX6" fmla="*/ 364331 w 392906"/>
                <a:gd name="connsiteY6" fmla="*/ 76200 h 804862"/>
                <a:gd name="connsiteX7" fmla="*/ 252413 w 392906"/>
                <a:gd name="connsiteY7" fmla="*/ 71437 h 804862"/>
                <a:gd name="connsiteX8" fmla="*/ 235744 w 392906"/>
                <a:gd name="connsiteY8" fmla="*/ 700087 h 804862"/>
                <a:gd name="connsiteX9" fmla="*/ 197644 w 392906"/>
                <a:gd name="connsiteY9" fmla="*/ 690562 h 804862"/>
                <a:gd name="connsiteX10" fmla="*/ 211931 w 392906"/>
                <a:gd name="connsiteY10" fmla="*/ 69056 h 804862"/>
                <a:gd name="connsiteX11" fmla="*/ 100013 w 392906"/>
                <a:gd name="connsiteY11" fmla="*/ 59531 h 804862"/>
                <a:gd name="connsiteX12" fmla="*/ 85725 w 392906"/>
                <a:gd name="connsiteY12" fmla="*/ 685800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2906" h="804862">
                  <a:moveTo>
                    <a:pt x="85725" y="685800"/>
                  </a:moveTo>
                  <a:lnTo>
                    <a:pt x="0" y="707231"/>
                  </a:lnTo>
                  <a:lnTo>
                    <a:pt x="23813" y="0"/>
                  </a:lnTo>
                  <a:lnTo>
                    <a:pt x="392906" y="19050"/>
                  </a:lnTo>
                  <a:lnTo>
                    <a:pt x="376238" y="804862"/>
                  </a:lnTo>
                  <a:lnTo>
                    <a:pt x="347663" y="792956"/>
                  </a:lnTo>
                  <a:lnTo>
                    <a:pt x="364331" y="76200"/>
                  </a:lnTo>
                  <a:lnTo>
                    <a:pt x="252413" y="71437"/>
                  </a:lnTo>
                  <a:lnTo>
                    <a:pt x="235744" y="700087"/>
                  </a:lnTo>
                  <a:lnTo>
                    <a:pt x="197644" y="690562"/>
                  </a:lnTo>
                  <a:lnTo>
                    <a:pt x="211931" y="69056"/>
                  </a:lnTo>
                  <a:lnTo>
                    <a:pt x="100013" y="59531"/>
                  </a:lnTo>
                  <a:lnTo>
                    <a:pt x="85725" y="685800"/>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81" name="Freeform 416">
              <a:extLst>
                <a:ext uri="{FF2B5EF4-FFF2-40B4-BE49-F238E27FC236}">
                  <a16:creationId xmlns:a16="http://schemas.microsoft.com/office/drawing/2014/main" id="{50CE5DE0-FFF2-4B78-AD49-2EF900F58CD8}"/>
                </a:ext>
              </a:extLst>
            </p:cNvPr>
            <p:cNvSpPr/>
            <p:nvPr/>
          </p:nvSpPr>
          <p:spPr>
            <a:xfrm>
              <a:off x="1432778" y="2497870"/>
              <a:ext cx="122266" cy="22905"/>
            </a:xfrm>
            <a:custGeom>
              <a:avLst/>
              <a:gdLst>
                <a:gd name="connsiteX0" fmla="*/ 0 w 1654175"/>
                <a:gd name="connsiteY0" fmla="*/ 158750 h 276225"/>
                <a:gd name="connsiteX1" fmla="*/ 311150 w 1654175"/>
                <a:gd name="connsiteY1" fmla="*/ 76200 h 276225"/>
                <a:gd name="connsiteX2" fmla="*/ 1136650 w 1654175"/>
                <a:gd name="connsiteY2" fmla="*/ 238125 h 276225"/>
                <a:gd name="connsiteX3" fmla="*/ 1654175 w 1654175"/>
                <a:gd name="connsiteY3" fmla="*/ 276225 h 276225"/>
                <a:gd name="connsiteX4" fmla="*/ 1177925 w 1654175"/>
                <a:gd name="connsiteY4" fmla="*/ 165100 h 276225"/>
                <a:gd name="connsiteX5" fmla="*/ 238125 w 1654175"/>
                <a:gd name="connsiteY5" fmla="*/ 0 h 276225"/>
                <a:gd name="connsiteX6" fmla="*/ 0 w 1654175"/>
                <a:gd name="connsiteY6" fmla="*/ 158750 h 276225"/>
                <a:gd name="connsiteX0" fmla="*/ 8663 w 1662838"/>
                <a:gd name="connsiteY0" fmla="*/ 158750 h 276225"/>
                <a:gd name="connsiteX1" fmla="*/ 319813 w 1662838"/>
                <a:gd name="connsiteY1" fmla="*/ 76200 h 276225"/>
                <a:gd name="connsiteX2" fmla="*/ 1145313 w 1662838"/>
                <a:gd name="connsiteY2" fmla="*/ 238125 h 276225"/>
                <a:gd name="connsiteX3" fmla="*/ 1662838 w 1662838"/>
                <a:gd name="connsiteY3" fmla="*/ 276225 h 276225"/>
                <a:gd name="connsiteX4" fmla="*/ 1186588 w 1662838"/>
                <a:gd name="connsiteY4" fmla="*/ 165100 h 276225"/>
                <a:gd name="connsiteX5" fmla="*/ 246788 w 1662838"/>
                <a:gd name="connsiteY5" fmla="*/ 0 h 276225"/>
                <a:gd name="connsiteX6" fmla="*/ 8663 w 1662838"/>
                <a:gd name="connsiteY6" fmla="*/ 158750 h 276225"/>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528"/>
                <a:gd name="connsiteX1" fmla="*/ 319612 w 1662637"/>
                <a:gd name="connsiteY1" fmla="*/ 104203 h 304528"/>
                <a:gd name="connsiteX2" fmla="*/ 1145112 w 1662637"/>
                <a:gd name="connsiteY2" fmla="*/ 266128 h 304528"/>
                <a:gd name="connsiteX3" fmla="*/ 1662637 w 1662637"/>
                <a:gd name="connsiteY3" fmla="*/ 304228 h 304528"/>
                <a:gd name="connsiteX4" fmla="*/ 1186387 w 1662637"/>
                <a:gd name="connsiteY4" fmla="*/ 193103 h 304528"/>
                <a:gd name="connsiteX5" fmla="*/ 246587 w 1662637"/>
                <a:gd name="connsiteY5" fmla="*/ 28003 h 304528"/>
                <a:gd name="connsiteX6" fmla="*/ 8462 w 1662637"/>
                <a:gd name="connsiteY6" fmla="*/ 186753 h 304528"/>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2350" h="311416">
                  <a:moveTo>
                    <a:pt x="8175" y="190827"/>
                  </a:moveTo>
                  <a:cubicBezTo>
                    <a:pt x="26167" y="172835"/>
                    <a:pt x="-51092" y="-64231"/>
                    <a:pt x="319325" y="108277"/>
                  </a:cubicBezTo>
                  <a:cubicBezTo>
                    <a:pt x="470667" y="187652"/>
                    <a:pt x="733133" y="400377"/>
                    <a:pt x="1144825" y="270202"/>
                  </a:cubicBezTo>
                  <a:cubicBezTo>
                    <a:pt x="1307808" y="200352"/>
                    <a:pt x="1461267" y="200352"/>
                    <a:pt x="1662350" y="308302"/>
                  </a:cubicBezTo>
                  <a:cubicBezTo>
                    <a:pt x="1592500" y="258560"/>
                    <a:pt x="1405175" y="151669"/>
                    <a:pt x="1186100" y="197177"/>
                  </a:cubicBezTo>
                  <a:cubicBezTo>
                    <a:pt x="720433" y="345344"/>
                    <a:pt x="623067" y="188710"/>
                    <a:pt x="246300" y="32077"/>
                  </a:cubicBezTo>
                  <a:cubicBezTo>
                    <a:pt x="182800" y="-731"/>
                    <a:pt x="-45800" y="-65290"/>
                    <a:pt x="8175" y="190827"/>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dirty="0">
                <a:solidFill>
                  <a:prstClr val="white"/>
                </a:solidFill>
                <a:latin typeface="Segoe UI"/>
              </a:endParaRPr>
            </a:p>
          </p:txBody>
        </p:sp>
        <p:sp>
          <p:nvSpPr>
            <p:cNvPr id="482" name="Freeform 417">
              <a:extLst>
                <a:ext uri="{FF2B5EF4-FFF2-40B4-BE49-F238E27FC236}">
                  <a16:creationId xmlns:a16="http://schemas.microsoft.com/office/drawing/2014/main" id="{67755C7E-D0E7-47C3-A575-1CEA19FCEDF5}"/>
                </a:ext>
              </a:extLst>
            </p:cNvPr>
            <p:cNvSpPr/>
            <p:nvPr/>
          </p:nvSpPr>
          <p:spPr>
            <a:xfrm>
              <a:off x="1489275" y="2431521"/>
              <a:ext cx="215223" cy="43420"/>
            </a:xfrm>
            <a:custGeom>
              <a:avLst/>
              <a:gdLst>
                <a:gd name="connsiteX0" fmla="*/ 0 w 1654175"/>
                <a:gd name="connsiteY0" fmla="*/ 158750 h 276225"/>
                <a:gd name="connsiteX1" fmla="*/ 311150 w 1654175"/>
                <a:gd name="connsiteY1" fmla="*/ 76200 h 276225"/>
                <a:gd name="connsiteX2" fmla="*/ 1136650 w 1654175"/>
                <a:gd name="connsiteY2" fmla="*/ 238125 h 276225"/>
                <a:gd name="connsiteX3" fmla="*/ 1654175 w 1654175"/>
                <a:gd name="connsiteY3" fmla="*/ 276225 h 276225"/>
                <a:gd name="connsiteX4" fmla="*/ 1177925 w 1654175"/>
                <a:gd name="connsiteY4" fmla="*/ 165100 h 276225"/>
                <a:gd name="connsiteX5" fmla="*/ 238125 w 1654175"/>
                <a:gd name="connsiteY5" fmla="*/ 0 h 276225"/>
                <a:gd name="connsiteX6" fmla="*/ 0 w 1654175"/>
                <a:gd name="connsiteY6" fmla="*/ 158750 h 276225"/>
                <a:gd name="connsiteX0" fmla="*/ 8663 w 1662838"/>
                <a:gd name="connsiteY0" fmla="*/ 158750 h 276225"/>
                <a:gd name="connsiteX1" fmla="*/ 319813 w 1662838"/>
                <a:gd name="connsiteY1" fmla="*/ 76200 h 276225"/>
                <a:gd name="connsiteX2" fmla="*/ 1145313 w 1662838"/>
                <a:gd name="connsiteY2" fmla="*/ 238125 h 276225"/>
                <a:gd name="connsiteX3" fmla="*/ 1662838 w 1662838"/>
                <a:gd name="connsiteY3" fmla="*/ 276225 h 276225"/>
                <a:gd name="connsiteX4" fmla="*/ 1186588 w 1662838"/>
                <a:gd name="connsiteY4" fmla="*/ 165100 h 276225"/>
                <a:gd name="connsiteX5" fmla="*/ 246788 w 1662838"/>
                <a:gd name="connsiteY5" fmla="*/ 0 h 276225"/>
                <a:gd name="connsiteX6" fmla="*/ 8663 w 1662838"/>
                <a:gd name="connsiteY6" fmla="*/ 158750 h 276225"/>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528"/>
                <a:gd name="connsiteX1" fmla="*/ 319612 w 1662637"/>
                <a:gd name="connsiteY1" fmla="*/ 104203 h 304528"/>
                <a:gd name="connsiteX2" fmla="*/ 1145112 w 1662637"/>
                <a:gd name="connsiteY2" fmla="*/ 266128 h 304528"/>
                <a:gd name="connsiteX3" fmla="*/ 1662637 w 1662637"/>
                <a:gd name="connsiteY3" fmla="*/ 304228 h 304528"/>
                <a:gd name="connsiteX4" fmla="*/ 1186387 w 1662637"/>
                <a:gd name="connsiteY4" fmla="*/ 193103 h 304528"/>
                <a:gd name="connsiteX5" fmla="*/ 246587 w 1662637"/>
                <a:gd name="connsiteY5" fmla="*/ 28003 h 304528"/>
                <a:gd name="connsiteX6" fmla="*/ 8462 w 1662637"/>
                <a:gd name="connsiteY6" fmla="*/ 186753 h 304528"/>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 name="connsiteX0" fmla="*/ 8175 w 1646273"/>
                <a:gd name="connsiteY0" fmla="*/ 190827 h 445287"/>
                <a:gd name="connsiteX1" fmla="*/ 319325 w 1646273"/>
                <a:gd name="connsiteY1" fmla="*/ 108277 h 445287"/>
                <a:gd name="connsiteX2" fmla="*/ 1144825 w 1646273"/>
                <a:gd name="connsiteY2" fmla="*/ 2702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9325 w 1646273"/>
                <a:gd name="connsiteY1" fmla="*/ 108277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9325 w 1646273"/>
                <a:gd name="connsiteY1" fmla="*/ 108277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2180 w 1646273"/>
                <a:gd name="connsiteY1" fmla="*/ 125400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2180 w 1646273"/>
                <a:gd name="connsiteY1" fmla="*/ 125400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2180 w 1646273"/>
                <a:gd name="connsiteY1" fmla="*/ 125400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7914 w 1646012"/>
                <a:gd name="connsiteY0" fmla="*/ 189281 h 443741"/>
                <a:gd name="connsiteX1" fmla="*/ 311919 w 1646012"/>
                <a:gd name="connsiteY1" fmla="*/ 123854 h 443741"/>
                <a:gd name="connsiteX2" fmla="*/ 1144564 w 1646012"/>
                <a:gd name="connsiteY2" fmla="*/ 300456 h 443741"/>
                <a:gd name="connsiteX3" fmla="*/ 1646012 w 1646012"/>
                <a:gd name="connsiteY3" fmla="*/ 443741 h 443741"/>
                <a:gd name="connsiteX4" fmla="*/ 1185839 w 1646012"/>
                <a:gd name="connsiteY4" fmla="*/ 195631 h 443741"/>
                <a:gd name="connsiteX5" fmla="*/ 254971 w 1646012"/>
                <a:gd name="connsiteY5" fmla="*/ 32977 h 443741"/>
                <a:gd name="connsiteX6" fmla="*/ 7914 w 1646012"/>
                <a:gd name="connsiteY6" fmla="*/ 189281 h 443741"/>
                <a:gd name="connsiteX0" fmla="*/ 8487 w 1646585"/>
                <a:gd name="connsiteY0" fmla="*/ 212527 h 466987"/>
                <a:gd name="connsiteX1" fmla="*/ 312492 w 1646585"/>
                <a:gd name="connsiteY1" fmla="*/ 147100 h 466987"/>
                <a:gd name="connsiteX2" fmla="*/ 1145137 w 1646585"/>
                <a:gd name="connsiteY2" fmla="*/ 323702 h 466987"/>
                <a:gd name="connsiteX3" fmla="*/ 1646585 w 1646585"/>
                <a:gd name="connsiteY3" fmla="*/ 466987 h 466987"/>
                <a:gd name="connsiteX4" fmla="*/ 1186412 w 1646585"/>
                <a:gd name="connsiteY4" fmla="*/ 218877 h 466987"/>
                <a:gd name="connsiteX5" fmla="*/ 255544 w 1646585"/>
                <a:gd name="connsiteY5" fmla="*/ 56223 h 466987"/>
                <a:gd name="connsiteX6" fmla="*/ 8487 w 1646585"/>
                <a:gd name="connsiteY6" fmla="*/ 212527 h 466987"/>
                <a:gd name="connsiteX0" fmla="*/ 8487 w 1646585"/>
                <a:gd name="connsiteY0" fmla="*/ 212527 h 466987"/>
                <a:gd name="connsiteX1" fmla="*/ 312492 w 1646585"/>
                <a:gd name="connsiteY1" fmla="*/ 147100 h 466987"/>
                <a:gd name="connsiteX2" fmla="*/ 1145137 w 1646585"/>
                <a:gd name="connsiteY2" fmla="*/ 323702 h 466987"/>
                <a:gd name="connsiteX3" fmla="*/ 1646585 w 1646585"/>
                <a:gd name="connsiteY3" fmla="*/ 466987 h 466987"/>
                <a:gd name="connsiteX4" fmla="*/ 1186412 w 1646585"/>
                <a:gd name="connsiteY4" fmla="*/ 218877 h 466987"/>
                <a:gd name="connsiteX5" fmla="*/ 255544 w 1646585"/>
                <a:gd name="connsiteY5" fmla="*/ 56223 h 466987"/>
                <a:gd name="connsiteX6" fmla="*/ 8487 w 1646585"/>
                <a:gd name="connsiteY6" fmla="*/ 212527 h 466987"/>
                <a:gd name="connsiteX0" fmla="*/ 8487 w 1646585"/>
                <a:gd name="connsiteY0" fmla="*/ 212527 h 466987"/>
                <a:gd name="connsiteX1" fmla="*/ 312492 w 1646585"/>
                <a:gd name="connsiteY1" fmla="*/ 147100 h 466987"/>
                <a:gd name="connsiteX2" fmla="*/ 1145137 w 1646585"/>
                <a:gd name="connsiteY2" fmla="*/ 323702 h 466987"/>
                <a:gd name="connsiteX3" fmla="*/ 1646585 w 1646585"/>
                <a:gd name="connsiteY3" fmla="*/ 466987 h 466987"/>
                <a:gd name="connsiteX4" fmla="*/ 1186412 w 1646585"/>
                <a:gd name="connsiteY4" fmla="*/ 218877 h 466987"/>
                <a:gd name="connsiteX5" fmla="*/ 255544 w 1646585"/>
                <a:gd name="connsiteY5" fmla="*/ 56223 h 466987"/>
                <a:gd name="connsiteX6" fmla="*/ 8487 w 1646585"/>
                <a:gd name="connsiteY6" fmla="*/ 212527 h 466987"/>
                <a:gd name="connsiteX0" fmla="*/ 7122 w 1645220"/>
                <a:gd name="connsiteY0" fmla="*/ 195482 h 449942"/>
                <a:gd name="connsiteX1" fmla="*/ 311127 w 1645220"/>
                <a:gd name="connsiteY1" fmla="*/ 130055 h 449942"/>
                <a:gd name="connsiteX2" fmla="*/ 1143772 w 1645220"/>
                <a:gd name="connsiteY2" fmla="*/ 306657 h 449942"/>
                <a:gd name="connsiteX3" fmla="*/ 1645220 w 1645220"/>
                <a:gd name="connsiteY3" fmla="*/ 449942 h 449942"/>
                <a:gd name="connsiteX4" fmla="*/ 1185047 w 1645220"/>
                <a:gd name="connsiteY4" fmla="*/ 201832 h 449942"/>
                <a:gd name="connsiteX5" fmla="*/ 304198 w 1645220"/>
                <a:gd name="connsiteY5" fmla="*/ 66086 h 449942"/>
                <a:gd name="connsiteX6" fmla="*/ 7122 w 1645220"/>
                <a:gd name="connsiteY6" fmla="*/ 195482 h 449942"/>
                <a:gd name="connsiteX0" fmla="*/ 8480 w 1646578"/>
                <a:gd name="connsiteY0" fmla="*/ 207867 h 462327"/>
                <a:gd name="connsiteX1" fmla="*/ 312485 w 1646578"/>
                <a:gd name="connsiteY1" fmla="*/ 142440 h 462327"/>
                <a:gd name="connsiteX2" fmla="*/ 1145130 w 1646578"/>
                <a:gd name="connsiteY2" fmla="*/ 319042 h 462327"/>
                <a:gd name="connsiteX3" fmla="*/ 1646578 w 1646578"/>
                <a:gd name="connsiteY3" fmla="*/ 462327 h 462327"/>
                <a:gd name="connsiteX4" fmla="*/ 1186405 w 1646578"/>
                <a:gd name="connsiteY4" fmla="*/ 214217 h 462327"/>
                <a:gd name="connsiteX5" fmla="*/ 305556 w 1646578"/>
                <a:gd name="connsiteY5" fmla="*/ 78471 h 462327"/>
                <a:gd name="connsiteX6" fmla="*/ 8480 w 1646578"/>
                <a:gd name="connsiteY6" fmla="*/ 207867 h 462327"/>
                <a:gd name="connsiteX0" fmla="*/ 8480 w 1646578"/>
                <a:gd name="connsiteY0" fmla="*/ 207867 h 462327"/>
                <a:gd name="connsiteX1" fmla="*/ 312485 w 1646578"/>
                <a:gd name="connsiteY1" fmla="*/ 142440 h 462327"/>
                <a:gd name="connsiteX2" fmla="*/ 1145130 w 1646578"/>
                <a:gd name="connsiteY2" fmla="*/ 319042 h 462327"/>
                <a:gd name="connsiteX3" fmla="*/ 1646578 w 1646578"/>
                <a:gd name="connsiteY3" fmla="*/ 462327 h 462327"/>
                <a:gd name="connsiteX4" fmla="*/ 1198909 w 1646578"/>
                <a:gd name="connsiteY4" fmla="*/ 238679 h 462327"/>
                <a:gd name="connsiteX5" fmla="*/ 305556 w 1646578"/>
                <a:gd name="connsiteY5" fmla="*/ 78471 h 462327"/>
                <a:gd name="connsiteX6" fmla="*/ 8480 w 1646578"/>
                <a:gd name="connsiteY6" fmla="*/ 207867 h 462327"/>
                <a:gd name="connsiteX0" fmla="*/ 7917 w 1646015"/>
                <a:gd name="connsiteY0" fmla="*/ 201136 h 455596"/>
                <a:gd name="connsiteX1" fmla="*/ 311922 w 1646015"/>
                <a:gd name="connsiteY1" fmla="*/ 135709 h 455596"/>
                <a:gd name="connsiteX2" fmla="*/ 1144567 w 1646015"/>
                <a:gd name="connsiteY2" fmla="*/ 312311 h 455596"/>
                <a:gd name="connsiteX3" fmla="*/ 1646015 w 1646015"/>
                <a:gd name="connsiteY3" fmla="*/ 455596 h 455596"/>
                <a:gd name="connsiteX4" fmla="*/ 1198346 w 1646015"/>
                <a:gd name="connsiteY4" fmla="*/ 231948 h 455596"/>
                <a:gd name="connsiteX5" fmla="*/ 323750 w 1646015"/>
                <a:gd name="connsiteY5" fmla="*/ 82748 h 455596"/>
                <a:gd name="connsiteX6" fmla="*/ 7917 w 1646015"/>
                <a:gd name="connsiteY6" fmla="*/ 201136 h 455596"/>
                <a:gd name="connsiteX0" fmla="*/ 8295 w 1646393"/>
                <a:gd name="connsiteY0" fmla="*/ 200370 h 454830"/>
                <a:gd name="connsiteX1" fmla="*/ 312300 w 1646393"/>
                <a:gd name="connsiteY1" fmla="*/ 134943 h 454830"/>
                <a:gd name="connsiteX2" fmla="*/ 1144945 w 1646393"/>
                <a:gd name="connsiteY2" fmla="*/ 311545 h 454830"/>
                <a:gd name="connsiteX3" fmla="*/ 1646393 w 1646393"/>
                <a:gd name="connsiteY3" fmla="*/ 454830 h 454830"/>
                <a:gd name="connsiteX4" fmla="*/ 1198724 w 1646393"/>
                <a:gd name="connsiteY4" fmla="*/ 231182 h 454830"/>
                <a:gd name="connsiteX5" fmla="*/ 324128 w 1646393"/>
                <a:gd name="connsiteY5" fmla="*/ 81982 h 454830"/>
                <a:gd name="connsiteX6" fmla="*/ 8295 w 1646393"/>
                <a:gd name="connsiteY6" fmla="*/ 200370 h 454830"/>
                <a:gd name="connsiteX0" fmla="*/ 8295 w 1646393"/>
                <a:gd name="connsiteY0" fmla="*/ 200370 h 454830"/>
                <a:gd name="connsiteX1" fmla="*/ 312300 w 1646393"/>
                <a:gd name="connsiteY1" fmla="*/ 134943 h 454830"/>
                <a:gd name="connsiteX2" fmla="*/ 1144945 w 1646393"/>
                <a:gd name="connsiteY2" fmla="*/ 311545 h 454830"/>
                <a:gd name="connsiteX3" fmla="*/ 1646393 w 1646393"/>
                <a:gd name="connsiteY3" fmla="*/ 454830 h 454830"/>
                <a:gd name="connsiteX4" fmla="*/ 1198724 w 1646393"/>
                <a:gd name="connsiteY4" fmla="*/ 231182 h 454830"/>
                <a:gd name="connsiteX5" fmla="*/ 324128 w 1646393"/>
                <a:gd name="connsiteY5" fmla="*/ 81982 h 454830"/>
                <a:gd name="connsiteX6" fmla="*/ 8295 w 1646393"/>
                <a:gd name="connsiteY6" fmla="*/ 200370 h 454830"/>
                <a:gd name="connsiteX0" fmla="*/ 8295 w 1646393"/>
                <a:gd name="connsiteY0" fmla="*/ 200370 h 454830"/>
                <a:gd name="connsiteX1" fmla="*/ 312300 w 1646393"/>
                <a:gd name="connsiteY1" fmla="*/ 134943 h 454830"/>
                <a:gd name="connsiteX2" fmla="*/ 1144945 w 1646393"/>
                <a:gd name="connsiteY2" fmla="*/ 311545 h 454830"/>
                <a:gd name="connsiteX3" fmla="*/ 1646393 w 1646393"/>
                <a:gd name="connsiteY3" fmla="*/ 454830 h 454830"/>
                <a:gd name="connsiteX4" fmla="*/ 1198724 w 1646393"/>
                <a:gd name="connsiteY4" fmla="*/ 231182 h 454830"/>
                <a:gd name="connsiteX5" fmla="*/ 324128 w 1646393"/>
                <a:gd name="connsiteY5" fmla="*/ 81982 h 454830"/>
                <a:gd name="connsiteX6" fmla="*/ 8295 w 1646393"/>
                <a:gd name="connsiteY6" fmla="*/ 200370 h 454830"/>
                <a:gd name="connsiteX0" fmla="*/ 8295 w 1646393"/>
                <a:gd name="connsiteY0" fmla="*/ 200370 h 454830"/>
                <a:gd name="connsiteX1" fmla="*/ 312300 w 1646393"/>
                <a:gd name="connsiteY1" fmla="*/ 134943 h 454830"/>
                <a:gd name="connsiteX2" fmla="*/ 1144945 w 1646393"/>
                <a:gd name="connsiteY2" fmla="*/ 311545 h 454830"/>
                <a:gd name="connsiteX3" fmla="*/ 1646393 w 1646393"/>
                <a:gd name="connsiteY3" fmla="*/ 454830 h 454830"/>
                <a:gd name="connsiteX4" fmla="*/ 1198724 w 1646393"/>
                <a:gd name="connsiteY4" fmla="*/ 231182 h 454830"/>
                <a:gd name="connsiteX5" fmla="*/ 324128 w 1646393"/>
                <a:gd name="connsiteY5" fmla="*/ 81982 h 454830"/>
                <a:gd name="connsiteX6" fmla="*/ 8295 w 1646393"/>
                <a:gd name="connsiteY6" fmla="*/ 200370 h 454830"/>
                <a:gd name="connsiteX0" fmla="*/ 8295 w 1646393"/>
                <a:gd name="connsiteY0" fmla="*/ 200370 h 454830"/>
                <a:gd name="connsiteX1" fmla="*/ 312300 w 1646393"/>
                <a:gd name="connsiteY1" fmla="*/ 134943 h 454830"/>
                <a:gd name="connsiteX2" fmla="*/ 547329 w 1646393"/>
                <a:gd name="connsiteY2" fmla="*/ 306941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47329 w 1646393"/>
                <a:gd name="connsiteY2" fmla="*/ 306941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47329 w 1646393"/>
                <a:gd name="connsiteY2" fmla="*/ 306941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47329 w 1646393"/>
                <a:gd name="connsiteY2" fmla="*/ 306941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83503 w 1646393"/>
                <a:gd name="connsiteY2" fmla="*/ 316114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83503 w 1646393"/>
                <a:gd name="connsiteY2" fmla="*/ 316114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83503 w 1646393"/>
                <a:gd name="connsiteY2" fmla="*/ 316114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83503 w 1646393"/>
                <a:gd name="connsiteY2" fmla="*/ 316114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46393" h="454830">
                  <a:moveTo>
                    <a:pt x="8295" y="200370"/>
                  </a:moveTo>
                  <a:cubicBezTo>
                    <a:pt x="26287" y="182378"/>
                    <a:pt x="-22389" y="-76704"/>
                    <a:pt x="312300" y="134943"/>
                  </a:cubicBezTo>
                  <a:cubicBezTo>
                    <a:pt x="413304" y="203768"/>
                    <a:pt x="460807" y="246318"/>
                    <a:pt x="583503" y="316114"/>
                  </a:cubicBezTo>
                  <a:cubicBezTo>
                    <a:pt x="840177" y="475806"/>
                    <a:pt x="1022504" y="350802"/>
                    <a:pt x="1144945" y="311545"/>
                  </a:cubicBezTo>
                  <a:cubicBezTo>
                    <a:pt x="1307928" y="241695"/>
                    <a:pt x="1469426" y="330368"/>
                    <a:pt x="1646393" y="454830"/>
                  </a:cubicBezTo>
                  <a:cubicBezTo>
                    <a:pt x="1576543" y="405088"/>
                    <a:pt x="1417799" y="185674"/>
                    <a:pt x="1198724" y="231182"/>
                  </a:cubicBezTo>
                  <a:cubicBezTo>
                    <a:pt x="733057" y="379349"/>
                    <a:pt x="817456" y="395171"/>
                    <a:pt x="324128" y="81982"/>
                  </a:cubicBezTo>
                  <a:cubicBezTo>
                    <a:pt x="175775" y="-32162"/>
                    <a:pt x="-45680" y="-55747"/>
                    <a:pt x="8295" y="200370"/>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dirty="0">
                <a:solidFill>
                  <a:prstClr val="white"/>
                </a:solidFill>
                <a:latin typeface="Segoe UI"/>
              </a:endParaRPr>
            </a:p>
          </p:txBody>
        </p:sp>
        <p:sp>
          <p:nvSpPr>
            <p:cNvPr id="483" name="Freeform 418">
              <a:extLst>
                <a:ext uri="{FF2B5EF4-FFF2-40B4-BE49-F238E27FC236}">
                  <a16:creationId xmlns:a16="http://schemas.microsoft.com/office/drawing/2014/main" id="{61FCC130-847D-4902-95D7-DE359436665D}"/>
                </a:ext>
              </a:extLst>
            </p:cNvPr>
            <p:cNvSpPr/>
            <p:nvPr/>
          </p:nvSpPr>
          <p:spPr>
            <a:xfrm>
              <a:off x="1590638" y="2479655"/>
              <a:ext cx="122266" cy="22905"/>
            </a:xfrm>
            <a:custGeom>
              <a:avLst/>
              <a:gdLst>
                <a:gd name="connsiteX0" fmla="*/ 0 w 1654175"/>
                <a:gd name="connsiteY0" fmla="*/ 158750 h 276225"/>
                <a:gd name="connsiteX1" fmla="*/ 311150 w 1654175"/>
                <a:gd name="connsiteY1" fmla="*/ 76200 h 276225"/>
                <a:gd name="connsiteX2" fmla="*/ 1136650 w 1654175"/>
                <a:gd name="connsiteY2" fmla="*/ 238125 h 276225"/>
                <a:gd name="connsiteX3" fmla="*/ 1654175 w 1654175"/>
                <a:gd name="connsiteY3" fmla="*/ 276225 h 276225"/>
                <a:gd name="connsiteX4" fmla="*/ 1177925 w 1654175"/>
                <a:gd name="connsiteY4" fmla="*/ 165100 h 276225"/>
                <a:gd name="connsiteX5" fmla="*/ 238125 w 1654175"/>
                <a:gd name="connsiteY5" fmla="*/ 0 h 276225"/>
                <a:gd name="connsiteX6" fmla="*/ 0 w 1654175"/>
                <a:gd name="connsiteY6" fmla="*/ 158750 h 276225"/>
                <a:gd name="connsiteX0" fmla="*/ 8663 w 1662838"/>
                <a:gd name="connsiteY0" fmla="*/ 158750 h 276225"/>
                <a:gd name="connsiteX1" fmla="*/ 319813 w 1662838"/>
                <a:gd name="connsiteY1" fmla="*/ 76200 h 276225"/>
                <a:gd name="connsiteX2" fmla="*/ 1145313 w 1662838"/>
                <a:gd name="connsiteY2" fmla="*/ 238125 h 276225"/>
                <a:gd name="connsiteX3" fmla="*/ 1662838 w 1662838"/>
                <a:gd name="connsiteY3" fmla="*/ 276225 h 276225"/>
                <a:gd name="connsiteX4" fmla="*/ 1186588 w 1662838"/>
                <a:gd name="connsiteY4" fmla="*/ 165100 h 276225"/>
                <a:gd name="connsiteX5" fmla="*/ 246788 w 1662838"/>
                <a:gd name="connsiteY5" fmla="*/ 0 h 276225"/>
                <a:gd name="connsiteX6" fmla="*/ 8663 w 1662838"/>
                <a:gd name="connsiteY6" fmla="*/ 158750 h 276225"/>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528"/>
                <a:gd name="connsiteX1" fmla="*/ 319612 w 1662637"/>
                <a:gd name="connsiteY1" fmla="*/ 104203 h 304528"/>
                <a:gd name="connsiteX2" fmla="*/ 1145112 w 1662637"/>
                <a:gd name="connsiteY2" fmla="*/ 266128 h 304528"/>
                <a:gd name="connsiteX3" fmla="*/ 1662637 w 1662637"/>
                <a:gd name="connsiteY3" fmla="*/ 304228 h 304528"/>
                <a:gd name="connsiteX4" fmla="*/ 1186387 w 1662637"/>
                <a:gd name="connsiteY4" fmla="*/ 193103 h 304528"/>
                <a:gd name="connsiteX5" fmla="*/ 246587 w 1662637"/>
                <a:gd name="connsiteY5" fmla="*/ 28003 h 304528"/>
                <a:gd name="connsiteX6" fmla="*/ 8462 w 1662637"/>
                <a:gd name="connsiteY6" fmla="*/ 186753 h 304528"/>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2350" h="311416">
                  <a:moveTo>
                    <a:pt x="8175" y="190827"/>
                  </a:moveTo>
                  <a:cubicBezTo>
                    <a:pt x="26167" y="172835"/>
                    <a:pt x="-51092" y="-64231"/>
                    <a:pt x="319325" y="108277"/>
                  </a:cubicBezTo>
                  <a:cubicBezTo>
                    <a:pt x="470667" y="187652"/>
                    <a:pt x="733133" y="400377"/>
                    <a:pt x="1144825" y="270202"/>
                  </a:cubicBezTo>
                  <a:cubicBezTo>
                    <a:pt x="1307808" y="200352"/>
                    <a:pt x="1461267" y="200352"/>
                    <a:pt x="1662350" y="308302"/>
                  </a:cubicBezTo>
                  <a:cubicBezTo>
                    <a:pt x="1592500" y="258560"/>
                    <a:pt x="1405175" y="151669"/>
                    <a:pt x="1186100" y="197177"/>
                  </a:cubicBezTo>
                  <a:cubicBezTo>
                    <a:pt x="720433" y="345344"/>
                    <a:pt x="623067" y="188710"/>
                    <a:pt x="246300" y="32077"/>
                  </a:cubicBezTo>
                  <a:cubicBezTo>
                    <a:pt x="182800" y="-731"/>
                    <a:pt x="-45800" y="-65290"/>
                    <a:pt x="8175" y="190827"/>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dirty="0">
                <a:solidFill>
                  <a:prstClr val="white"/>
                </a:solidFill>
                <a:latin typeface="Segoe UI"/>
              </a:endParaRPr>
            </a:p>
          </p:txBody>
        </p:sp>
        <p:sp>
          <p:nvSpPr>
            <p:cNvPr id="484" name="TextBox 483">
              <a:extLst>
                <a:ext uri="{FF2B5EF4-FFF2-40B4-BE49-F238E27FC236}">
                  <a16:creationId xmlns:a16="http://schemas.microsoft.com/office/drawing/2014/main" id="{5993B749-B1FF-49B4-9DE9-56BB58532991}"/>
                </a:ext>
              </a:extLst>
            </p:cNvPr>
            <p:cNvSpPr txBox="1"/>
            <p:nvPr/>
          </p:nvSpPr>
          <p:spPr>
            <a:xfrm>
              <a:off x="1745630" y="2583866"/>
              <a:ext cx="853221" cy="169653"/>
            </a:xfrm>
            <a:prstGeom prst="rect">
              <a:avLst/>
            </a:prstGeom>
          </p:spPr>
          <p:txBody>
            <a:bodyPr vert="horz" wrap="square" lIns="0" tIns="0" rIns="0" bIns="0" rtlCol="0" anchor="t">
              <a:noAutofit/>
            </a:bodyPr>
            <a:lstStyle/>
            <a:p>
              <a:pPr algn="ctr" defTabSz="913852">
                <a:defRPr/>
              </a:pPr>
              <a:r>
                <a:rPr lang="en-US" sz="1050" dirty="0">
                  <a:solidFill>
                    <a:srgbClr val="505050"/>
                  </a:solidFill>
                  <a:latin typeface="Segoe UI"/>
                  <a:ea typeface="Segoe UI" pitchFamily="34" charset="0"/>
                  <a:cs typeface="Segoe UI" pitchFamily="34" charset="0"/>
                </a:rPr>
                <a:t>Factory</a:t>
              </a:r>
            </a:p>
          </p:txBody>
        </p:sp>
        <p:sp>
          <p:nvSpPr>
            <p:cNvPr id="485" name="TextBox 484">
              <a:extLst>
                <a:ext uri="{FF2B5EF4-FFF2-40B4-BE49-F238E27FC236}">
                  <a16:creationId xmlns:a16="http://schemas.microsoft.com/office/drawing/2014/main" id="{E0C6C1D8-59EE-4D68-B181-236BD56CBE98}"/>
                </a:ext>
              </a:extLst>
            </p:cNvPr>
            <p:cNvSpPr txBox="1"/>
            <p:nvPr/>
          </p:nvSpPr>
          <p:spPr>
            <a:xfrm>
              <a:off x="404510" y="2583866"/>
              <a:ext cx="853221" cy="169653"/>
            </a:xfrm>
            <a:prstGeom prst="rect">
              <a:avLst/>
            </a:prstGeom>
          </p:spPr>
          <p:txBody>
            <a:bodyPr vert="horz" wrap="square" lIns="0" tIns="0" rIns="0" bIns="0" rtlCol="0" anchor="t">
              <a:noAutofit/>
            </a:bodyPr>
            <a:lstStyle/>
            <a:p>
              <a:pPr algn="ctr" defTabSz="913852">
                <a:defRPr/>
              </a:pPr>
              <a:r>
                <a:rPr lang="en-US" sz="1050" dirty="0">
                  <a:solidFill>
                    <a:srgbClr val="505050"/>
                  </a:solidFill>
                  <a:latin typeface="Segoe UI"/>
                  <a:ea typeface="Segoe UI" pitchFamily="34" charset="0"/>
                  <a:cs typeface="Segoe UI" pitchFamily="34" charset="0"/>
                </a:rPr>
                <a:t>Factory</a:t>
              </a:r>
            </a:p>
          </p:txBody>
        </p:sp>
        <p:sp>
          <p:nvSpPr>
            <p:cNvPr id="486" name="TextBox 485">
              <a:extLst>
                <a:ext uri="{FF2B5EF4-FFF2-40B4-BE49-F238E27FC236}">
                  <a16:creationId xmlns:a16="http://schemas.microsoft.com/office/drawing/2014/main" id="{3F4B653E-CC6E-42EF-866F-5869A8CBF5F3}"/>
                </a:ext>
              </a:extLst>
            </p:cNvPr>
            <p:cNvSpPr txBox="1"/>
            <p:nvPr/>
          </p:nvSpPr>
          <p:spPr>
            <a:xfrm>
              <a:off x="1044251" y="2857514"/>
              <a:ext cx="853221" cy="169653"/>
            </a:xfrm>
            <a:prstGeom prst="rect">
              <a:avLst/>
            </a:prstGeom>
          </p:spPr>
          <p:txBody>
            <a:bodyPr vert="horz" wrap="square" lIns="0" tIns="0" rIns="0" bIns="0" rtlCol="0" anchor="t">
              <a:noAutofit/>
            </a:bodyPr>
            <a:lstStyle/>
            <a:p>
              <a:pPr algn="ctr" defTabSz="913852">
                <a:defRPr/>
              </a:pPr>
              <a:r>
                <a:rPr lang="en-US" sz="1050" dirty="0">
                  <a:solidFill>
                    <a:srgbClr val="505050"/>
                  </a:solidFill>
                  <a:latin typeface="Segoe UI"/>
                  <a:ea typeface="Segoe UI" pitchFamily="34" charset="0"/>
                  <a:cs typeface="Segoe UI" pitchFamily="34" charset="0"/>
                </a:rPr>
                <a:t>Factory</a:t>
              </a:r>
            </a:p>
          </p:txBody>
        </p:sp>
      </p:grpSp>
      <p:grpSp>
        <p:nvGrpSpPr>
          <p:cNvPr id="11" name="Group 10">
            <a:extLst>
              <a:ext uri="{FF2B5EF4-FFF2-40B4-BE49-F238E27FC236}">
                <a16:creationId xmlns:a16="http://schemas.microsoft.com/office/drawing/2014/main" id="{A93D7A3E-4E70-4929-A311-CF0749F59C15}"/>
              </a:ext>
            </a:extLst>
          </p:cNvPr>
          <p:cNvGrpSpPr/>
          <p:nvPr/>
        </p:nvGrpSpPr>
        <p:grpSpPr>
          <a:xfrm>
            <a:off x="699152" y="3830450"/>
            <a:ext cx="945270" cy="678440"/>
            <a:chOff x="940156" y="4035082"/>
            <a:chExt cx="945516" cy="678617"/>
          </a:xfrm>
        </p:grpSpPr>
        <p:sp>
          <p:nvSpPr>
            <p:cNvPr id="489" name="TextBox 488">
              <a:extLst>
                <a:ext uri="{FF2B5EF4-FFF2-40B4-BE49-F238E27FC236}">
                  <a16:creationId xmlns:a16="http://schemas.microsoft.com/office/drawing/2014/main" id="{F801D9F7-F550-41DA-B91E-72EB3248547E}"/>
                </a:ext>
              </a:extLst>
            </p:cNvPr>
            <p:cNvSpPr txBox="1"/>
            <p:nvPr/>
          </p:nvSpPr>
          <p:spPr>
            <a:xfrm>
              <a:off x="940156" y="4344367"/>
              <a:ext cx="945516" cy="369332"/>
            </a:xfrm>
            <a:prstGeom prst="rect">
              <a:avLst/>
            </a:prstGeom>
          </p:spPr>
          <p:txBody>
            <a:bodyPr vert="horz" wrap="none" lIns="0" tIns="0" rIns="0" bIns="0" rtlCol="0" anchor="t">
              <a:spAutoFit/>
            </a:bodyPr>
            <a:lstStyle>
              <a:defPPr>
                <a:defRPr lang="en-US"/>
              </a:defPPr>
              <a:lvl1pPr algn="ctr" defTabSz="1088105">
                <a:defRPr sz="1200">
                  <a:solidFill>
                    <a:srgbClr val="505050"/>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dirty="0"/>
                <a:t>Other Service</a:t>
              </a:r>
              <a:br>
                <a:rPr lang="en-US" dirty="0"/>
              </a:br>
              <a:r>
                <a:rPr lang="en-US" dirty="0"/>
                <a:t> providers</a:t>
              </a:r>
            </a:p>
          </p:txBody>
        </p:sp>
        <p:grpSp>
          <p:nvGrpSpPr>
            <p:cNvPr id="490" name="Group 489">
              <a:extLst>
                <a:ext uri="{FF2B5EF4-FFF2-40B4-BE49-F238E27FC236}">
                  <a16:creationId xmlns:a16="http://schemas.microsoft.com/office/drawing/2014/main" id="{2C1E2C92-370D-4FC4-A554-8D961F696A6B}"/>
                </a:ext>
              </a:extLst>
            </p:cNvPr>
            <p:cNvGrpSpPr>
              <a:grpSpLocks noChangeAspect="1"/>
            </p:cNvGrpSpPr>
            <p:nvPr/>
          </p:nvGrpSpPr>
          <p:grpSpPr>
            <a:xfrm>
              <a:off x="1117207" y="4035082"/>
              <a:ext cx="504247" cy="247157"/>
              <a:chOff x="335107" y="1984056"/>
              <a:chExt cx="8623119" cy="4119564"/>
            </a:xfrm>
            <a:solidFill>
              <a:srgbClr val="7F7F7F"/>
            </a:solidFill>
          </p:grpSpPr>
          <p:sp>
            <p:nvSpPr>
              <p:cNvPr id="498" name="Freeform 485">
                <a:extLst>
                  <a:ext uri="{FF2B5EF4-FFF2-40B4-BE49-F238E27FC236}">
                    <a16:creationId xmlns:a16="http://schemas.microsoft.com/office/drawing/2014/main" id="{06968A7A-9922-4101-85F5-00C63D46909C}"/>
                  </a:ext>
                </a:extLst>
              </p:cNvPr>
              <p:cNvSpPr/>
              <p:nvPr/>
            </p:nvSpPr>
            <p:spPr>
              <a:xfrm>
                <a:off x="5423935" y="2187537"/>
                <a:ext cx="1275676" cy="3054785"/>
              </a:xfrm>
              <a:custGeom>
                <a:avLst/>
                <a:gdLst/>
                <a:ahLst/>
                <a:cxnLst/>
                <a:rect l="l" t="t" r="r" b="b"/>
                <a:pathLst>
                  <a:path w="1275676" h="3054785">
                    <a:moveTo>
                      <a:pt x="909893" y="2571265"/>
                    </a:moveTo>
                    <a:cubicBezTo>
                      <a:pt x="927578" y="2591556"/>
                      <a:pt x="943146" y="2624131"/>
                      <a:pt x="953053" y="2679738"/>
                    </a:cubicBezTo>
                    <a:cubicBezTo>
                      <a:pt x="966614" y="2755857"/>
                      <a:pt x="1015135" y="2902136"/>
                      <a:pt x="1032104" y="3045768"/>
                    </a:cubicBezTo>
                    <a:lnTo>
                      <a:pt x="926033" y="3054785"/>
                    </a:lnTo>
                    <a:lnTo>
                      <a:pt x="843515" y="2994064"/>
                    </a:lnTo>
                    <a:lnTo>
                      <a:pt x="791128" y="2951202"/>
                    </a:lnTo>
                    <a:lnTo>
                      <a:pt x="789242" y="2950511"/>
                    </a:lnTo>
                    <a:cubicBezTo>
                      <a:pt x="821800" y="2828680"/>
                      <a:pt x="864407" y="2700040"/>
                      <a:pt x="909893" y="2571265"/>
                    </a:cubicBezTo>
                    <a:close/>
                    <a:moveTo>
                      <a:pt x="810922" y="2515507"/>
                    </a:moveTo>
                    <a:cubicBezTo>
                      <a:pt x="813163" y="2515338"/>
                      <a:pt x="815461" y="2515417"/>
                      <a:pt x="817564" y="2517542"/>
                    </a:cubicBezTo>
                    <a:cubicBezTo>
                      <a:pt x="792015" y="2589329"/>
                      <a:pt x="769100" y="2660102"/>
                      <a:pt x="749052" y="2731145"/>
                    </a:cubicBezTo>
                    <a:cubicBezTo>
                      <a:pt x="728674" y="2665687"/>
                      <a:pt x="718117" y="2603286"/>
                      <a:pt x="714164" y="2542305"/>
                    </a:cubicBezTo>
                    <a:cubicBezTo>
                      <a:pt x="724867" y="2542383"/>
                      <a:pt x="734802" y="2542128"/>
                      <a:pt x="743503" y="2541626"/>
                    </a:cubicBezTo>
                    <a:cubicBezTo>
                      <a:pt x="774459" y="2539840"/>
                      <a:pt x="790235" y="2517070"/>
                      <a:pt x="810922" y="2515507"/>
                    </a:cubicBezTo>
                    <a:close/>
                    <a:moveTo>
                      <a:pt x="396204" y="2451912"/>
                    </a:moveTo>
                    <a:cubicBezTo>
                      <a:pt x="411647" y="2483872"/>
                      <a:pt x="433855" y="2503483"/>
                      <a:pt x="462515" y="2517813"/>
                    </a:cubicBezTo>
                    <a:cubicBezTo>
                      <a:pt x="495852" y="2534482"/>
                      <a:pt x="539509" y="2532894"/>
                      <a:pt x="586340" y="2536863"/>
                    </a:cubicBezTo>
                    <a:cubicBezTo>
                      <a:pt x="606520" y="2538574"/>
                      <a:pt x="630828" y="2540136"/>
                      <a:pt x="655265" y="2541066"/>
                    </a:cubicBezTo>
                    <a:cubicBezTo>
                      <a:pt x="657458" y="2571620"/>
                      <a:pt x="660070" y="2600527"/>
                      <a:pt x="663066" y="2624898"/>
                    </a:cubicBezTo>
                    <a:cubicBezTo>
                      <a:pt x="668463" y="2668822"/>
                      <a:pt x="677606" y="2707999"/>
                      <a:pt x="686242" y="2744162"/>
                    </a:cubicBezTo>
                    <a:cubicBezTo>
                      <a:pt x="632838" y="2717984"/>
                      <a:pt x="514903" y="2670213"/>
                      <a:pt x="514903" y="2670213"/>
                    </a:cubicBezTo>
                    <a:lnTo>
                      <a:pt x="333928" y="2589251"/>
                    </a:lnTo>
                    <a:lnTo>
                      <a:pt x="323202" y="2584990"/>
                    </a:lnTo>
                    <a:lnTo>
                      <a:pt x="327453" y="2567034"/>
                    </a:lnTo>
                    <a:cubicBezTo>
                      <a:pt x="340667" y="2528713"/>
                      <a:pt x="369951" y="2489259"/>
                      <a:pt x="396204" y="2451912"/>
                    </a:cubicBezTo>
                    <a:close/>
                    <a:moveTo>
                      <a:pt x="356384" y="1755197"/>
                    </a:moveTo>
                    <a:lnTo>
                      <a:pt x="361013" y="1949619"/>
                    </a:lnTo>
                    <a:cubicBezTo>
                      <a:pt x="293278" y="2065222"/>
                      <a:pt x="276288" y="2307687"/>
                      <a:pt x="265731" y="2563792"/>
                    </a:cubicBezTo>
                    <a:cubicBezTo>
                      <a:pt x="245616" y="2556203"/>
                      <a:pt x="227467" y="2546676"/>
                      <a:pt x="210103" y="2527338"/>
                    </a:cubicBezTo>
                    <a:cubicBezTo>
                      <a:pt x="175178" y="2488444"/>
                      <a:pt x="152159" y="2401925"/>
                      <a:pt x="124378" y="2355888"/>
                    </a:cubicBezTo>
                    <a:cubicBezTo>
                      <a:pt x="96597" y="2309851"/>
                      <a:pt x="64052" y="2271750"/>
                      <a:pt x="43415" y="2251113"/>
                    </a:cubicBezTo>
                    <a:cubicBezTo>
                      <a:pt x="22778" y="2230476"/>
                      <a:pt x="-4209" y="2253494"/>
                      <a:pt x="553" y="2232063"/>
                    </a:cubicBezTo>
                    <a:cubicBezTo>
                      <a:pt x="5315" y="2210632"/>
                      <a:pt x="48177" y="2180470"/>
                      <a:pt x="71990" y="2122526"/>
                    </a:cubicBezTo>
                    <a:cubicBezTo>
                      <a:pt x="90351" y="2077850"/>
                      <a:pt x="107767" y="1994009"/>
                      <a:pt x="126665" y="1932199"/>
                    </a:cubicBezTo>
                    <a:lnTo>
                      <a:pt x="273061" y="1880184"/>
                    </a:lnTo>
                    <a:cubicBezTo>
                      <a:pt x="305463" y="1861666"/>
                      <a:pt x="310089" y="1787599"/>
                      <a:pt x="356384" y="1755197"/>
                    </a:cubicBezTo>
                    <a:close/>
                    <a:moveTo>
                      <a:pt x="537693" y="744"/>
                    </a:moveTo>
                    <a:cubicBezTo>
                      <a:pt x="581411" y="-1830"/>
                      <a:pt x="633485" y="2027"/>
                      <a:pt x="695853" y="16174"/>
                    </a:cubicBezTo>
                    <a:cubicBezTo>
                      <a:pt x="758217" y="30318"/>
                      <a:pt x="852732" y="64395"/>
                      <a:pt x="911876" y="85609"/>
                    </a:cubicBezTo>
                    <a:cubicBezTo>
                      <a:pt x="971031" y="106829"/>
                      <a:pt x="1018605" y="128046"/>
                      <a:pt x="1050752" y="143477"/>
                    </a:cubicBezTo>
                    <a:cubicBezTo>
                      <a:pt x="1082899" y="158907"/>
                      <a:pt x="1079686" y="149264"/>
                      <a:pt x="1104760" y="178194"/>
                    </a:cubicBezTo>
                    <a:cubicBezTo>
                      <a:pt x="1129837" y="207128"/>
                      <a:pt x="1173554" y="261132"/>
                      <a:pt x="1201202" y="317070"/>
                    </a:cubicBezTo>
                    <a:cubicBezTo>
                      <a:pt x="1228849" y="373008"/>
                      <a:pt x="1259066" y="453372"/>
                      <a:pt x="1270636" y="513810"/>
                    </a:cubicBezTo>
                    <a:cubicBezTo>
                      <a:pt x="1275863" y="541109"/>
                      <a:pt x="1276368" y="577588"/>
                      <a:pt x="1275078" y="609376"/>
                    </a:cubicBezTo>
                    <a:cubicBezTo>
                      <a:pt x="1207919" y="610739"/>
                      <a:pt x="1256062" y="594379"/>
                      <a:pt x="1219753" y="593763"/>
                    </a:cubicBezTo>
                    <a:cubicBezTo>
                      <a:pt x="1172922" y="592969"/>
                      <a:pt x="1123709" y="585032"/>
                      <a:pt x="1086403" y="598526"/>
                    </a:cubicBezTo>
                    <a:cubicBezTo>
                      <a:pt x="1049097" y="612020"/>
                      <a:pt x="1027665" y="660439"/>
                      <a:pt x="995915" y="674726"/>
                    </a:cubicBezTo>
                    <a:cubicBezTo>
                      <a:pt x="964165" y="689014"/>
                      <a:pt x="933209" y="669964"/>
                      <a:pt x="895903" y="684251"/>
                    </a:cubicBezTo>
                    <a:cubicBezTo>
                      <a:pt x="858597" y="698539"/>
                      <a:pt x="813353" y="722351"/>
                      <a:pt x="772078" y="760451"/>
                    </a:cubicBezTo>
                    <a:cubicBezTo>
                      <a:pt x="730803" y="798551"/>
                      <a:pt x="685559" y="851732"/>
                      <a:pt x="648253" y="912851"/>
                    </a:cubicBezTo>
                    <a:cubicBezTo>
                      <a:pt x="610947" y="973970"/>
                      <a:pt x="579196" y="1048582"/>
                      <a:pt x="548240" y="1127163"/>
                    </a:cubicBezTo>
                    <a:cubicBezTo>
                      <a:pt x="517284" y="1205744"/>
                      <a:pt x="486327" y="1295438"/>
                      <a:pt x="462515" y="1384338"/>
                    </a:cubicBezTo>
                    <a:cubicBezTo>
                      <a:pt x="438702" y="1473238"/>
                      <a:pt x="418065" y="1592300"/>
                      <a:pt x="405365" y="1660563"/>
                    </a:cubicBezTo>
                    <a:cubicBezTo>
                      <a:pt x="401622" y="1680683"/>
                      <a:pt x="398982" y="1695769"/>
                      <a:pt x="397031" y="1708455"/>
                    </a:cubicBezTo>
                    <a:lnTo>
                      <a:pt x="379531" y="1681708"/>
                    </a:lnTo>
                    <a:cubicBezTo>
                      <a:pt x="365064" y="1654708"/>
                      <a:pt x="382424" y="1649399"/>
                      <a:pt x="362170" y="1615163"/>
                    </a:cubicBezTo>
                    <a:cubicBezTo>
                      <a:pt x="346337" y="1588394"/>
                      <a:pt x="308388" y="1553075"/>
                      <a:pt x="279806" y="1511723"/>
                    </a:cubicBezTo>
                    <a:cubicBezTo>
                      <a:pt x="283185" y="1487626"/>
                      <a:pt x="285447" y="1466602"/>
                      <a:pt x="286303" y="1451013"/>
                    </a:cubicBezTo>
                    <a:cubicBezTo>
                      <a:pt x="290272" y="1378782"/>
                      <a:pt x="259315" y="1385926"/>
                      <a:pt x="248203" y="1351001"/>
                    </a:cubicBezTo>
                    <a:cubicBezTo>
                      <a:pt x="237090" y="1316076"/>
                      <a:pt x="217247" y="1279563"/>
                      <a:pt x="219628" y="1241463"/>
                    </a:cubicBezTo>
                    <a:cubicBezTo>
                      <a:pt x="222009" y="1203363"/>
                      <a:pt x="252171" y="1173995"/>
                      <a:pt x="262490" y="1122401"/>
                    </a:cubicBezTo>
                    <a:cubicBezTo>
                      <a:pt x="272809" y="1070807"/>
                      <a:pt x="281540" y="992226"/>
                      <a:pt x="281540" y="931901"/>
                    </a:cubicBezTo>
                    <a:cubicBezTo>
                      <a:pt x="281540" y="871576"/>
                      <a:pt x="281540" y="816807"/>
                      <a:pt x="262490" y="760451"/>
                    </a:cubicBezTo>
                    <a:cubicBezTo>
                      <a:pt x="251559" y="728114"/>
                      <a:pt x="235402" y="693947"/>
                      <a:pt x="214848" y="662136"/>
                    </a:cubicBezTo>
                    <a:lnTo>
                      <a:pt x="267253" y="612813"/>
                    </a:lnTo>
                    <a:lnTo>
                      <a:pt x="500615" y="488988"/>
                    </a:lnTo>
                    <a:lnTo>
                      <a:pt x="786365" y="479463"/>
                    </a:lnTo>
                    <a:lnTo>
                      <a:pt x="486328" y="446126"/>
                    </a:lnTo>
                    <a:lnTo>
                      <a:pt x="286303" y="531851"/>
                    </a:lnTo>
                    <a:lnTo>
                      <a:pt x="188793" y="624717"/>
                    </a:lnTo>
                    <a:cubicBezTo>
                      <a:pt x="183072" y="613128"/>
                      <a:pt x="175276" y="603190"/>
                      <a:pt x="167240" y="593763"/>
                    </a:cubicBezTo>
                    <a:cubicBezTo>
                      <a:pt x="128567" y="548397"/>
                      <a:pt x="168636" y="489094"/>
                      <a:pt x="42501" y="473501"/>
                    </a:cubicBezTo>
                    <a:cubicBezTo>
                      <a:pt x="46825" y="429492"/>
                      <a:pt x="64428" y="405518"/>
                      <a:pt x="82492" y="363364"/>
                    </a:cubicBezTo>
                    <a:cubicBezTo>
                      <a:pt x="103709" y="313853"/>
                      <a:pt x="135213" y="245058"/>
                      <a:pt x="167360" y="201341"/>
                    </a:cubicBezTo>
                    <a:cubicBezTo>
                      <a:pt x="199507" y="157620"/>
                      <a:pt x="231011" y="129333"/>
                      <a:pt x="275376" y="101043"/>
                    </a:cubicBezTo>
                    <a:cubicBezTo>
                      <a:pt x="319733" y="72752"/>
                      <a:pt x="389818" y="48322"/>
                      <a:pt x="433535" y="31608"/>
                    </a:cubicBezTo>
                    <a:cubicBezTo>
                      <a:pt x="477256" y="14888"/>
                      <a:pt x="493969" y="3314"/>
                      <a:pt x="537693" y="74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2">
                  <a:defRPr/>
                </a:pPr>
                <a:endParaRPr lang="en-US" sz="1798">
                  <a:solidFill>
                    <a:prstClr val="white"/>
                  </a:solidFill>
                  <a:latin typeface="Segoe UI"/>
                </a:endParaRPr>
              </a:p>
            </p:txBody>
          </p:sp>
          <p:sp>
            <p:nvSpPr>
              <p:cNvPr id="499" name="Man's Body">
                <a:extLst>
                  <a:ext uri="{FF2B5EF4-FFF2-40B4-BE49-F238E27FC236}">
                    <a16:creationId xmlns:a16="http://schemas.microsoft.com/office/drawing/2014/main" id="{FA02605B-5E43-4288-87F0-2542B6C08803}"/>
                  </a:ext>
                </a:extLst>
              </p:cNvPr>
              <p:cNvSpPr>
                <a:spLocks/>
              </p:cNvSpPr>
              <p:nvPr/>
            </p:nvSpPr>
            <p:spPr bwMode="auto">
              <a:xfrm>
                <a:off x="4286421" y="1984056"/>
                <a:ext cx="1109019" cy="638618"/>
              </a:xfrm>
              <a:custGeom>
                <a:avLst/>
                <a:gdLst/>
                <a:ahLst/>
                <a:cxnLst/>
                <a:rect l="l" t="t" r="r" b="b"/>
                <a:pathLst>
                  <a:path w="1109019" h="638618">
                    <a:moveTo>
                      <a:pt x="527057" y="506"/>
                    </a:moveTo>
                    <a:cubicBezTo>
                      <a:pt x="648121" y="6732"/>
                      <a:pt x="780445" y="70158"/>
                      <a:pt x="889294" y="181665"/>
                    </a:cubicBezTo>
                    <a:cubicBezTo>
                      <a:pt x="1063451" y="360077"/>
                      <a:pt x="1112509" y="452740"/>
                      <a:pt x="1108830" y="488699"/>
                    </a:cubicBezTo>
                    <a:cubicBezTo>
                      <a:pt x="1105150" y="523275"/>
                      <a:pt x="1069584" y="571681"/>
                      <a:pt x="1038921" y="564767"/>
                    </a:cubicBezTo>
                    <a:cubicBezTo>
                      <a:pt x="1007034" y="557851"/>
                      <a:pt x="1003354" y="527424"/>
                      <a:pt x="986183" y="510828"/>
                    </a:cubicBezTo>
                    <a:cubicBezTo>
                      <a:pt x="782591" y="317203"/>
                      <a:pt x="618246" y="347629"/>
                      <a:pt x="550790" y="371142"/>
                    </a:cubicBezTo>
                    <a:cubicBezTo>
                      <a:pt x="760068" y="390992"/>
                      <a:pt x="912422" y="533945"/>
                      <a:pt x="972020" y="608911"/>
                    </a:cubicBezTo>
                    <a:cubicBezTo>
                      <a:pt x="891545" y="581606"/>
                      <a:pt x="869616" y="586916"/>
                      <a:pt x="814218" y="578169"/>
                    </a:cubicBezTo>
                    <a:cubicBezTo>
                      <a:pt x="753893" y="568644"/>
                      <a:pt x="686424" y="559913"/>
                      <a:pt x="633243" y="559119"/>
                    </a:cubicBezTo>
                    <a:cubicBezTo>
                      <a:pt x="580062" y="558325"/>
                      <a:pt x="534818" y="561501"/>
                      <a:pt x="495131" y="573407"/>
                    </a:cubicBezTo>
                    <a:cubicBezTo>
                      <a:pt x="455444" y="585313"/>
                      <a:pt x="430837" y="621032"/>
                      <a:pt x="395118" y="630557"/>
                    </a:cubicBezTo>
                    <a:cubicBezTo>
                      <a:pt x="359399" y="640082"/>
                      <a:pt x="312568" y="642463"/>
                      <a:pt x="280818" y="630557"/>
                    </a:cubicBezTo>
                    <a:cubicBezTo>
                      <a:pt x="249068" y="618651"/>
                      <a:pt x="230812" y="588488"/>
                      <a:pt x="204618" y="559119"/>
                    </a:cubicBezTo>
                    <a:cubicBezTo>
                      <a:pt x="178424" y="529750"/>
                      <a:pt x="156200" y="486888"/>
                      <a:pt x="123656" y="454344"/>
                    </a:cubicBezTo>
                    <a:cubicBezTo>
                      <a:pt x="91112" y="421800"/>
                      <a:pt x="52218" y="394019"/>
                      <a:pt x="9356" y="363857"/>
                    </a:cubicBezTo>
                    <a:cubicBezTo>
                      <a:pt x="6109" y="361572"/>
                      <a:pt x="2861" y="359100"/>
                      <a:pt x="0" y="355996"/>
                    </a:cubicBezTo>
                    <a:cubicBezTo>
                      <a:pt x="20998" y="211335"/>
                      <a:pt x="96747" y="42345"/>
                      <a:pt x="328801" y="53043"/>
                    </a:cubicBezTo>
                    <a:cubicBezTo>
                      <a:pt x="385831" y="13626"/>
                      <a:pt x="454418" y="-3230"/>
                      <a:pt x="527057" y="50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70" tIns="54836" rIns="109670" bIns="54836" numCol="1" rtlCol="0" anchor="ctr" anchorCtr="0" compatLnSpc="1">
                <a:prstTxWarp prst="textNoShape">
                  <a:avLst/>
                </a:prstTxWarp>
              </a:bodyPr>
              <a:lstStyle/>
              <a:p>
                <a:pPr algn="ctr" defTabSz="1096261" fontAlgn="base">
                  <a:lnSpc>
                    <a:spcPct val="70000"/>
                  </a:lnSpc>
                  <a:spcBef>
                    <a:spcPct val="0"/>
                  </a:spcBef>
                  <a:spcAft>
                    <a:spcPct val="0"/>
                  </a:spcAft>
                  <a:defRPr/>
                </a:pPr>
                <a:endParaRPr lang="en-US" sz="2798">
                  <a:solidFill>
                    <a:srgbClr val="FFFFFF"/>
                  </a:solidFill>
                  <a:effectLst>
                    <a:outerShdw blurRad="38100" dist="38100" dir="2700000" algn="tl">
                      <a:srgbClr val="000000">
                        <a:alpha val="43137"/>
                      </a:srgbClr>
                    </a:outerShdw>
                  </a:effectLst>
                  <a:latin typeface="Segoe UI"/>
                </a:endParaRPr>
              </a:p>
            </p:txBody>
          </p:sp>
          <p:sp>
            <p:nvSpPr>
              <p:cNvPr id="500" name="Man's Body">
                <a:extLst>
                  <a:ext uri="{FF2B5EF4-FFF2-40B4-BE49-F238E27FC236}">
                    <a16:creationId xmlns:a16="http://schemas.microsoft.com/office/drawing/2014/main" id="{30B84F5E-5046-40F7-B59E-D933D88C80A4}"/>
                  </a:ext>
                </a:extLst>
              </p:cNvPr>
              <p:cNvSpPr>
                <a:spLocks/>
              </p:cNvSpPr>
              <p:nvPr/>
            </p:nvSpPr>
            <p:spPr bwMode="auto">
              <a:xfrm>
                <a:off x="1933544" y="2281603"/>
                <a:ext cx="1087125" cy="2339128"/>
              </a:xfrm>
              <a:custGeom>
                <a:avLst/>
                <a:gdLst/>
                <a:ahLst/>
                <a:cxnLst/>
                <a:rect l="l" t="t" r="r" b="b"/>
                <a:pathLst>
                  <a:path w="1087125" h="2339128">
                    <a:moveTo>
                      <a:pt x="148114" y="1900284"/>
                    </a:moveTo>
                    <a:cubicBezTo>
                      <a:pt x="220874" y="1957568"/>
                      <a:pt x="348888" y="2049369"/>
                      <a:pt x="516243" y="2068258"/>
                    </a:cubicBezTo>
                    <a:lnTo>
                      <a:pt x="495331" y="2090372"/>
                    </a:lnTo>
                    <a:cubicBezTo>
                      <a:pt x="449294" y="2138791"/>
                      <a:pt x="388175" y="2211022"/>
                      <a:pt x="338169" y="2252297"/>
                    </a:cubicBezTo>
                    <a:cubicBezTo>
                      <a:pt x="288163" y="2293572"/>
                      <a:pt x="225456" y="2347547"/>
                      <a:pt x="195294" y="2338022"/>
                    </a:cubicBezTo>
                    <a:cubicBezTo>
                      <a:pt x="165132" y="2328497"/>
                      <a:pt x="175450" y="2234834"/>
                      <a:pt x="157194" y="2195147"/>
                    </a:cubicBezTo>
                    <a:cubicBezTo>
                      <a:pt x="138938" y="2155460"/>
                      <a:pt x="111950" y="2112597"/>
                      <a:pt x="85756" y="2099897"/>
                    </a:cubicBezTo>
                    <a:cubicBezTo>
                      <a:pt x="59562" y="2087197"/>
                      <a:pt x="-1556" y="2133234"/>
                      <a:pt x="31" y="2118947"/>
                    </a:cubicBezTo>
                    <a:cubicBezTo>
                      <a:pt x="1618" y="2104660"/>
                      <a:pt x="65912" y="2063384"/>
                      <a:pt x="95281" y="2014172"/>
                    </a:cubicBezTo>
                    <a:cubicBezTo>
                      <a:pt x="112544" y="1985245"/>
                      <a:pt x="132002" y="1941507"/>
                      <a:pt x="148114" y="1900284"/>
                    </a:cubicBezTo>
                    <a:close/>
                    <a:moveTo>
                      <a:pt x="300366" y="1598710"/>
                    </a:moveTo>
                    <a:cubicBezTo>
                      <a:pt x="322928" y="1593356"/>
                      <a:pt x="499132" y="1755026"/>
                      <a:pt x="596386" y="1777949"/>
                    </a:cubicBezTo>
                    <a:lnTo>
                      <a:pt x="614394" y="1795097"/>
                    </a:lnTo>
                    <a:cubicBezTo>
                      <a:pt x="638206" y="1830816"/>
                      <a:pt x="647731" y="1881616"/>
                      <a:pt x="647731" y="1909397"/>
                    </a:cubicBezTo>
                    <a:cubicBezTo>
                      <a:pt x="647731" y="1937178"/>
                      <a:pt x="639794" y="1931622"/>
                      <a:pt x="614394" y="1961785"/>
                    </a:cubicBezTo>
                    <a:cubicBezTo>
                      <a:pt x="607207" y="1970320"/>
                      <a:pt x="598240" y="1980444"/>
                      <a:pt x="588003" y="1991644"/>
                    </a:cubicBezTo>
                    <a:cubicBezTo>
                      <a:pt x="401521" y="1979273"/>
                      <a:pt x="213522" y="1820684"/>
                      <a:pt x="209777" y="1788323"/>
                    </a:cubicBezTo>
                    <a:cubicBezTo>
                      <a:pt x="205894" y="1753317"/>
                      <a:pt x="274484" y="1603086"/>
                      <a:pt x="300366" y="1598710"/>
                    </a:cubicBezTo>
                    <a:close/>
                    <a:moveTo>
                      <a:pt x="594957" y="534"/>
                    </a:moveTo>
                    <a:cubicBezTo>
                      <a:pt x="722687" y="7103"/>
                      <a:pt x="862297" y="74022"/>
                      <a:pt x="977139" y="191669"/>
                    </a:cubicBezTo>
                    <a:cubicBezTo>
                      <a:pt x="1021009" y="236610"/>
                      <a:pt x="1057355" y="276395"/>
                      <a:pt x="1087125" y="311518"/>
                    </a:cubicBezTo>
                    <a:cubicBezTo>
                      <a:pt x="1049367" y="328933"/>
                      <a:pt x="1022410" y="352709"/>
                      <a:pt x="981106" y="366347"/>
                    </a:cubicBezTo>
                    <a:cubicBezTo>
                      <a:pt x="944893" y="378304"/>
                      <a:pt x="910738" y="390997"/>
                      <a:pt x="878907" y="405059"/>
                    </a:cubicBezTo>
                    <a:cubicBezTo>
                      <a:pt x="759679" y="355398"/>
                      <a:pt x="667278" y="375098"/>
                      <a:pt x="619996" y="391578"/>
                    </a:cubicBezTo>
                    <a:cubicBezTo>
                      <a:pt x="686882" y="397922"/>
                      <a:pt x="748256" y="416185"/>
                      <a:pt x="802895" y="441165"/>
                    </a:cubicBezTo>
                    <a:lnTo>
                      <a:pt x="762031" y="461597"/>
                    </a:lnTo>
                    <a:cubicBezTo>
                      <a:pt x="700119" y="497316"/>
                      <a:pt x="650112" y="528273"/>
                      <a:pt x="609631" y="580660"/>
                    </a:cubicBezTo>
                    <a:cubicBezTo>
                      <a:pt x="569150" y="633047"/>
                      <a:pt x="541369" y="702897"/>
                      <a:pt x="519144" y="775922"/>
                    </a:cubicBezTo>
                    <a:cubicBezTo>
                      <a:pt x="496919" y="848947"/>
                      <a:pt x="482631" y="944991"/>
                      <a:pt x="476281" y="1018810"/>
                    </a:cubicBezTo>
                    <a:cubicBezTo>
                      <a:pt x="469931" y="1092629"/>
                      <a:pt x="479457" y="1144223"/>
                      <a:pt x="481044" y="1218835"/>
                    </a:cubicBezTo>
                    <a:cubicBezTo>
                      <a:pt x="482631" y="1293447"/>
                      <a:pt x="481837" y="1387110"/>
                      <a:pt x="485806" y="1466485"/>
                    </a:cubicBezTo>
                    <a:cubicBezTo>
                      <a:pt x="488264" y="1515644"/>
                      <a:pt x="486764" y="1570588"/>
                      <a:pt x="491052" y="1618253"/>
                    </a:cubicBezTo>
                    <a:cubicBezTo>
                      <a:pt x="410332" y="1566195"/>
                      <a:pt x="328150" y="1493901"/>
                      <a:pt x="318496" y="1475757"/>
                    </a:cubicBezTo>
                    <a:cubicBezTo>
                      <a:pt x="315899" y="1471251"/>
                      <a:pt x="311051" y="1464346"/>
                      <a:pt x="304709" y="1455294"/>
                    </a:cubicBezTo>
                    <a:cubicBezTo>
                      <a:pt x="315763" y="1411159"/>
                      <a:pt x="324775" y="1369039"/>
                      <a:pt x="328644" y="1342660"/>
                    </a:cubicBezTo>
                    <a:cubicBezTo>
                      <a:pt x="337375" y="1283129"/>
                      <a:pt x="327056" y="1275191"/>
                      <a:pt x="314356" y="1247410"/>
                    </a:cubicBezTo>
                    <a:cubicBezTo>
                      <a:pt x="301656" y="1219629"/>
                      <a:pt x="261969" y="1202959"/>
                      <a:pt x="252444" y="1175972"/>
                    </a:cubicBezTo>
                    <a:cubicBezTo>
                      <a:pt x="242919" y="1148985"/>
                      <a:pt x="260381" y="1112473"/>
                      <a:pt x="257206" y="1085485"/>
                    </a:cubicBezTo>
                    <a:cubicBezTo>
                      <a:pt x="254031" y="1058497"/>
                      <a:pt x="224663" y="1025953"/>
                      <a:pt x="233394" y="1014047"/>
                    </a:cubicBezTo>
                    <a:cubicBezTo>
                      <a:pt x="242125" y="1002141"/>
                      <a:pt x="284194" y="1028334"/>
                      <a:pt x="309594" y="1014047"/>
                    </a:cubicBezTo>
                    <a:cubicBezTo>
                      <a:pt x="334994" y="999760"/>
                      <a:pt x="373888" y="964834"/>
                      <a:pt x="385794" y="928322"/>
                    </a:cubicBezTo>
                    <a:cubicBezTo>
                      <a:pt x="397700" y="891810"/>
                      <a:pt x="396112" y="839422"/>
                      <a:pt x="381031" y="794972"/>
                    </a:cubicBezTo>
                    <a:cubicBezTo>
                      <a:pt x="365950" y="750522"/>
                      <a:pt x="332612" y="708453"/>
                      <a:pt x="295306" y="661622"/>
                    </a:cubicBezTo>
                    <a:cubicBezTo>
                      <a:pt x="258000" y="614791"/>
                      <a:pt x="208788" y="566372"/>
                      <a:pt x="157194" y="513985"/>
                    </a:cubicBezTo>
                    <a:cubicBezTo>
                      <a:pt x="115841" y="471996"/>
                      <a:pt x="97944" y="422357"/>
                      <a:pt x="38211" y="378976"/>
                    </a:cubicBezTo>
                    <a:cubicBezTo>
                      <a:pt x="59848" y="225643"/>
                      <a:pt x="139125" y="44593"/>
                      <a:pt x="385784" y="55964"/>
                    </a:cubicBezTo>
                    <a:cubicBezTo>
                      <a:pt x="445955" y="14377"/>
                      <a:pt x="518318" y="-3408"/>
                      <a:pt x="594957" y="534"/>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70" tIns="54836" rIns="109670" bIns="54836" numCol="1" rtlCol="0" anchor="ctr" anchorCtr="0" compatLnSpc="1">
                <a:prstTxWarp prst="textNoShape">
                  <a:avLst/>
                </a:prstTxWarp>
              </a:bodyPr>
              <a:lstStyle/>
              <a:p>
                <a:pPr algn="ctr" defTabSz="1096261" fontAlgn="base">
                  <a:lnSpc>
                    <a:spcPct val="70000"/>
                  </a:lnSpc>
                  <a:spcBef>
                    <a:spcPct val="0"/>
                  </a:spcBef>
                  <a:spcAft>
                    <a:spcPct val="0"/>
                  </a:spcAft>
                  <a:defRPr/>
                </a:pPr>
                <a:endParaRPr lang="en-US" sz="2798">
                  <a:solidFill>
                    <a:srgbClr val="FFFFFF"/>
                  </a:solidFill>
                  <a:effectLst>
                    <a:outerShdw blurRad="38100" dist="38100" dir="2700000" algn="tl">
                      <a:srgbClr val="000000">
                        <a:alpha val="43137"/>
                      </a:srgbClr>
                    </a:outerShdw>
                  </a:effectLst>
                  <a:latin typeface="Segoe UI"/>
                </a:endParaRPr>
              </a:p>
            </p:txBody>
          </p:sp>
          <p:sp>
            <p:nvSpPr>
              <p:cNvPr id="501" name="Man's Body">
                <a:extLst>
                  <a:ext uri="{FF2B5EF4-FFF2-40B4-BE49-F238E27FC236}">
                    <a16:creationId xmlns:a16="http://schemas.microsoft.com/office/drawing/2014/main" id="{D4E3EE2C-2B49-4898-9DF1-0071592B3F2F}"/>
                  </a:ext>
                </a:extLst>
              </p:cNvPr>
              <p:cNvSpPr>
                <a:spLocks/>
              </p:cNvSpPr>
              <p:nvPr/>
            </p:nvSpPr>
            <p:spPr bwMode="auto">
              <a:xfrm>
                <a:off x="7167183" y="2655935"/>
                <a:ext cx="1791043" cy="3077332"/>
              </a:xfrm>
              <a:custGeom>
                <a:avLst/>
                <a:gdLst/>
                <a:ahLst/>
                <a:cxnLst/>
                <a:rect l="l" t="t" r="r" b="b"/>
                <a:pathLst>
                  <a:path w="1791043" h="3077332">
                    <a:moveTo>
                      <a:pt x="1025015" y="1789010"/>
                    </a:moveTo>
                    <a:cubicBezTo>
                      <a:pt x="1052456" y="1797149"/>
                      <a:pt x="1104448" y="2023401"/>
                      <a:pt x="1163660" y="2039679"/>
                    </a:cubicBezTo>
                    <a:cubicBezTo>
                      <a:pt x="1305194" y="2077117"/>
                      <a:pt x="1705242" y="2228494"/>
                      <a:pt x="1763012" y="2334297"/>
                    </a:cubicBezTo>
                    <a:cubicBezTo>
                      <a:pt x="1819336" y="2441727"/>
                      <a:pt x="1797673" y="2617520"/>
                      <a:pt x="1634476" y="2912138"/>
                    </a:cubicBezTo>
                    <a:cubicBezTo>
                      <a:pt x="1581040" y="2785176"/>
                      <a:pt x="1492942" y="2694024"/>
                      <a:pt x="1466947" y="2677746"/>
                    </a:cubicBezTo>
                    <a:cubicBezTo>
                      <a:pt x="1510273" y="2767271"/>
                      <a:pt x="1536270" y="2931671"/>
                      <a:pt x="1550711" y="3037473"/>
                    </a:cubicBezTo>
                    <a:cubicBezTo>
                      <a:pt x="1272518" y="3065184"/>
                      <a:pt x="1017016" y="3074577"/>
                      <a:pt x="836493" y="3077332"/>
                    </a:cubicBezTo>
                    <a:cubicBezTo>
                      <a:pt x="905753" y="2981037"/>
                      <a:pt x="872415" y="2957070"/>
                      <a:pt x="886206" y="2901903"/>
                    </a:cubicBezTo>
                    <a:cubicBezTo>
                      <a:pt x="901287" y="2841578"/>
                      <a:pt x="906844" y="2798715"/>
                      <a:pt x="905256" y="2744740"/>
                    </a:cubicBezTo>
                    <a:cubicBezTo>
                      <a:pt x="903669" y="2690765"/>
                      <a:pt x="915575" y="2629647"/>
                      <a:pt x="876681" y="2578053"/>
                    </a:cubicBezTo>
                    <a:cubicBezTo>
                      <a:pt x="837787" y="2526459"/>
                      <a:pt x="764762" y="2482009"/>
                      <a:pt x="671893" y="2435178"/>
                    </a:cubicBezTo>
                    <a:cubicBezTo>
                      <a:pt x="579024" y="2388347"/>
                      <a:pt x="408368" y="2336753"/>
                      <a:pt x="319468" y="2297065"/>
                    </a:cubicBezTo>
                    <a:cubicBezTo>
                      <a:pt x="230568" y="2257378"/>
                      <a:pt x="183737" y="2238328"/>
                      <a:pt x="138493" y="2197053"/>
                    </a:cubicBezTo>
                    <a:cubicBezTo>
                      <a:pt x="114008" y="2174716"/>
                      <a:pt x="89523" y="2140522"/>
                      <a:pt x="72566" y="2109744"/>
                    </a:cubicBezTo>
                    <a:cubicBezTo>
                      <a:pt x="161803" y="2180615"/>
                      <a:pt x="342491" y="2318445"/>
                      <a:pt x="583084" y="2314764"/>
                    </a:cubicBezTo>
                    <a:cubicBezTo>
                      <a:pt x="894952" y="2309883"/>
                      <a:pt x="961434" y="2134181"/>
                      <a:pt x="961470" y="2134087"/>
                    </a:cubicBezTo>
                    <a:cubicBezTo>
                      <a:pt x="961431" y="2134155"/>
                      <a:pt x="905040" y="2231748"/>
                      <a:pt x="600415" y="2225240"/>
                    </a:cubicBezTo>
                    <a:cubicBezTo>
                      <a:pt x="448124" y="2222935"/>
                      <a:pt x="290769" y="2127693"/>
                      <a:pt x="210656" y="2058477"/>
                    </a:cubicBezTo>
                    <a:cubicBezTo>
                      <a:pt x="247111" y="2063660"/>
                      <a:pt x="286103" y="2068919"/>
                      <a:pt x="314706" y="2068465"/>
                    </a:cubicBezTo>
                    <a:cubicBezTo>
                      <a:pt x="364712" y="2067671"/>
                      <a:pt x="409162" y="2072434"/>
                      <a:pt x="438531" y="2044653"/>
                    </a:cubicBezTo>
                    <a:cubicBezTo>
                      <a:pt x="462255" y="2022212"/>
                      <a:pt x="476137" y="1982161"/>
                      <a:pt x="483486" y="1935462"/>
                    </a:cubicBezTo>
                    <a:cubicBezTo>
                      <a:pt x="533060" y="1967097"/>
                      <a:pt x="580637" y="1990306"/>
                      <a:pt x="613413" y="1989219"/>
                    </a:cubicBezTo>
                    <a:cubicBezTo>
                      <a:pt x="877705" y="1977826"/>
                      <a:pt x="999020" y="1779243"/>
                      <a:pt x="1025015" y="1789010"/>
                    </a:cubicBezTo>
                    <a:close/>
                    <a:moveTo>
                      <a:pt x="585448" y="596"/>
                    </a:moveTo>
                    <a:cubicBezTo>
                      <a:pt x="727992" y="7927"/>
                      <a:pt x="935211" y="76180"/>
                      <a:pt x="1038898" y="151026"/>
                    </a:cubicBezTo>
                    <a:cubicBezTo>
                      <a:pt x="1142584" y="225871"/>
                      <a:pt x="1211900" y="407326"/>
                      <a:pt x="1207568" y="449665"/>
                    </a:cubicBezTo>
                    <a:cubicBezTo>
                      <a:pt x="1203236" y="490376"/>
                      <a:pt x="1199071" y="612532"/>
                      <a:pt x="1188131" y="664973"/>
                    </a:cubicBezTo>
                    <a:cubicBezTo>
                      <a:pt x="1177190" y="717413"/>
                      <a:pt x="1149623" y="723595"/>
                      <a:pt x="1141921" y="764306"/>
                    </a:cubicBezTo>
                    <a:cubicBezTo>
                      <a:pt x="1157802" y="803380"/>
                      <a:pt x="1141928" y="909191"/>
                      <a:pt x="1141921" y="909236"/>
                    </a:cubicBezTo>
                    <a:cubicBezTo>
                      <a:pt x="1141991" y="909241"/>
                      <a:pt x="1208348" y="914147"/>
                      <a:pt x="1208348" y="962974"/>
                    </a:cubicBezTo>
                    <a:cubicBezTo>
                      <a:pt x="1208348" y="1011818"/>
                      <a:pt x="1137615" y="1280417"/>
                      <a:pt x="1137589" y="1280518"/>
                    </a:cubicBezTo>
                    <a:cubicBezTo>
                      <a:pt x="1137566" y="1280557"/>
                      <a:pt x="1118803" y="1313084"/>
                      <a:pt x="1097155" y="1308200"/>
                    </a:cubicBezTo>
                    <a:cubicBezTo>
                      <a:pt x="1074050" y="1506868"/>
                      <a:pt x="994626" y="1630630"/>
                      <a:pt x="926755" y="1690881"/>
                    </a:cubicBezTo>
                    <a:cubicBezTo>
                      <a:pt x="860327" y="1749505"/>
                      <a:pt x="705811" y="1868380"/>
                      <a:pt x="613391" y="1868380"/>
                    </a:cubicBezTo>
                    <a:cubicBezTo>
                      <a:pt x="583727" y="1868380"/>
                      <a:pt x="540227" y="1848919"/>
                      <a:pt x="494585" y="1820862"/>
                    </a:cubicBezTo>
                    <a:cubicBezTo>
                      <a:pt x="495428" y="1780245"/>
                      <a:pt x="492769" y="1734980"/>
                      <a:pt x="490918" y="1682703"/>
                    </a:cubicBezTo>
                    <a:cubicBezTo>
                      <a:pt x="487743" y="1593009"/>
                      <a:pt x="490124" y="1492202"/>
                      <a:pt x="471868" y="1363615"/>
                    </a:cubicBezTo>
                    <a:cubicBezTo>
                      <a:pt x="453612" y="1235028"/>
                      <a:pt x="405987" y="1022303"/>
                      <a:pt x="381381" y="911178"/>
                    </a:cubicBezTo>
                    <a:cubicBezTo>
                      <a:pt x="356775" y="800053"/>
                      <a:pt x="352806" y="754809"/>
                      <a:pt x="324231" y="696865"/>
                    </a:cubicBezTo>
                    <a:cubicBezTo>
                      <a:pt x="295656" y="638921"/>
                      <a:pt x="255968" y="620665"/>
                      <a:pt x="209931" y="563515"/>
                    </a:cubicBezTo>
                    <a:cubicBezTo>
                      <a:pt x="163894" y="506365"/>
                      <a:pt x="103569" y="415084"/>
                      <a:pt x="48006" y="353965"/>
                    </a:cubicBezTo>
                    <a:cubicBezTo>
                      <a:pt x="28279" y="332265"/>
                      <a:pt x="14655" y="310564"/>
                      <a:pt x="0" y="290327"/>
                    </a:cubicBezTo>
                    <a:cubicBezTo>
                      <a:pt x="45987" y="162254"/>
                      <a:pt x="147389" y="53021"/>
                      <a:pt x="352016" y="62454"/>
                    </a:cubicBezTo>
                    <a:cubicBezTo>
                      <a:pt x="419165" y="16044"/>
                      <a:pt x="499920" y="-3803"/>
                      <a:pt x="585448" y="59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70" tIns="54836" rIns="109670" bIns="54836" numCol="1" rtlCol="0" anchor="ctr" anchorCtr="0" compatLnSpc="1">
                <a:prstTxWarp prst="textNoShape">
                  <a:avLst/>
                </a:prstTxWarp>
              </a:bodyPr>
              <a:lstStyle/>
              <a:p>
                <a:pPr algn="ctr" defTabSz="1096261" fontAlgn="base">
                  <a:lnSpc>
                    <a:spcPct val="70000"/>
                  </a:lnSpc>
                  <a:spcBef>
                    <a:spcPct val="0"/>
                  </a:spcBef>
                  <a:spcAft>
                    <a:spcPct val="0"/>
                  </a:spcAft>
                  <a:defRPr/>
                </a:pPr>
                <a:endParaRPr lang="en-US" sz="2798">
                  <a:solidFill>
                    <a:srgbClr val="FFFFFF"/>
                  </a:solidFill>
                  <a:effectLst>
                    <a:outerShdw blurRad="38100" dist="38100" dir="2700000" algn="tl">
                      <a:srgbClr val="000000">
                        <a:alpha val="43137"/>
                      </a:srgbClr>
                    </a:outerShdw>
                  </a:effectLst>
                  <a:latin typeface="Segoe UI"/>
                </a:endParaRPr>
              </a:p>
            </p:txBody>
          </p:sp>
          <p:sp>
            <p:nvSpPr>
              <p:cNvPr id="502" name="Man's Body">
                <a:extLst>
                  <a:ext uri="{FF2B5EF4-FFF2-40B4-BE49-F238E27FC236}">
                    <a16:creationId xmlns:a16="http://schemas.microsoft.com/office/drawing/2014/main" id="{6FCB417D-0BF2-4CE6-9A17-DD0A2B0A9F02}"/>
                  </a:ext>
                </a:extLst>
              </p:cNvPr>
              <p:cNvSpPr>
                <a:spLocks/>
              </p:cNvSpPr>
              <p:nvPr/>
            </p:nvSpPr>
            <p:spPr bwMode="auto">
              <a:xfrm>
                <a:off x="3394954" y="2270725"/>
                <a:ext cx="1220879" cy="2577721"/>
              </a:xfrm>
              <a:custGeom>
                <a:avLst/>
                <a:gdLst/>
                <a:ahLst/>
                <a:cxnLst/>
                <a:rect l="l" t="t" r="r" b="b"/>
                <a:pathLst>
                  <a:path w="1220879" h="2577721">
                    <a:moveTo>
                      <a:pt x="1000694" y="1726538"/>
                    </a:moveTo>
                    <a:cubicBezTo>
                      <a:pt x="1015159" y="1730828"/>
                      <a:pt x="1036692" y="1797918"/>
                      <a:pt x="1062780" y="1860398"/>
                    </a:cubicBezTo>
                    <a:lnTo>
                      <a:pt x="1072271" y="1886939"/>
                    </a:lnTo>
                    <a:cubicBezTo>
                      <a:pt x="1100846" y="1947264"/>
                      <a:pt x="1157203" y="2022670"/>
                      <a:pt x="1181809" y="2063151"/>
                    </a:cubicBezTo>
                    <a:cubicBezTo>
                      <a:pt x="1206415" y="2103632"/>
                      <a:pt x="1225465" y="2098076"/>
                      <a:pt x="1219909" y="2129826"/>
                    </a:cubicBezTo>
                    <a:cubicBezTo>
                      <a:pt x="1214353" y="2161576"/>
                      <a:pt x="1178633" y="2203645"/>
                      <a:pt x="1148471" y="2253651"/>
                    </a:cubicBezTo>
                    <a:cubicBezTo>
                      <a:pt x="1118309" y="2303657"/>
                      <a:pt x="1085765" y="2388589"/>
                      <a:pt x="1038934" y="2429864"/>
                    </a:cubicBezTo>
                    <a:cubicBezTo>
                      <a:pt x="992103" y="2471139"/>
                      <a:pt x="926222" y="2476695"/>
                      <a:pt x="867484" y="2501301"/>
                    </a:cubicBezTo>
                    <a:cubicBezTo>
                      <a:pt x="867484" y="2501301"/>
                      <a:pt x="738896" y="2574326"/>
                      <a:pt x="686509" y="2577501"/>
                    </a:cubicBezTo>
                    <a:cubicBezTo>
                      <a:pt x="634122" y="2580676"/>
                      <a:pt x="626184" y="2548926"/>
                      <a:pt x="553159" y="2520351"/>
                    </a:cubicBezTo>
                    <a:cubicBezTo>
                      <a:pt x="480134" y="2491776"/>
                      <a:pt x="311859" y="2440182"/>
                      <a:pt x="248359" y="2406051"/>
                    </a:cubicBezTo>
                    <a:cubicBezTo>
                      <a:pt x="184859" y="2371920"/>
                      <a:pt x="187240" y="2346520"/>
                      <a:pt x="172159" y="2315564"/>
                    </a:cubicBezTo>
                    <a:cubicBezTo>
                      <a:pt x="157078" y="2284608"/>
                      <a:pt x="140409" y="2261589"/>
                      <a:pt x="157871" y="2220314"/>
                    </a:cubicBezTo>
                    <a:cubicBezTo>
                      <a:pt x="168198" y="2195906"/>
                      <a:pt x="198233" y="2167333"/>
                      <a:pt x="226485" y="2135786"/>
                    </a:cubicBezTo>
                    <a:cubicBezTo>
                      <a:pt x="316982" y="2189270"/>
                      <a:pt x="435235" y="2236059"/>
                      <a:pt x="574195" y="2233933"/>
                    </a:cubicBezTo>
                    <a:cubicBezTo>
                      <a:pt x="875173" y="2229222"/>
                      <a:pt x="939333" y="2059656"/>
                      <a:pt x="939368" y="2059565"/>
                    </a:cubicBezTo>
                    <a:cubicBezTo>
                      <a:pt x="939349" y="2059598"/>
                      <a:pt x="884958" y="2153817"/>
                      <a:pt x="590920" y="2147535"/>
                    </a:cubicBezTo>
                    <a:cubicBezTo>
                      <a:pt x="481175" y="2145874"/>
                      <a:pt x="368705" y="2094204"/>
                      <a:pt x="286708" y="2040070"/>
                    </a:cubicBezTo>
                    <a:cubicBezTo>
                      <a:pt x="307092" y="1982179"/>
                      <a:pt x="314374" y="1903887"/>
                      <a:pt x="324559" y="1872651"/>
                    </a:cubicBezTo>
                    <a:cubicBezTo>
                      <a:pt x="333489" y="1845267"/>
                      <a:pt x="333488" y="1864317"/>
                      <a:pt x="339628" y="1861489"/>
                    </a:cubicBezTo>
                    <a:lnTo>
                      <a:pt x="348371" y="1848839"/>
                    </a:lnTo>
                    <a:cubicBezTo>
                      <a:pt x="354151" y="1836701"/>
                      <a:pt x="363405" y="1817932"/>
                      <a:pt x="373314" y="1796017"/>
                    </a:cubicBezTo>
                    <a:cubicBezTo>
                      <a:pt x="451017" y="1853032"/>
                      <a:pt x="548670" y="1921572"/>
                      <a:pt x="603465" y="1919756"/>
                    </a:cubicBezTo>
                    <a:cubicBezTo>
                      <a:pt x="858528" y="1908760"/>
                      <a:pt x="975606" y="1717113"/>
                      <a:pt x="1000694" y="1726538"/>
                    </a:cubicBezTo>
                    <a:close/>
                    <a:moveTo>
                      <a:pt x="576476" y="576"/>
                    </a:moveTo>
                    <a:cubicBezTo>
                      <a:pt x="714043" y="7650"/>
                      <a:pt x="864404" y="79722"/>
                      <a:pt x="988090" y="206429"/>
                    </a:cubicBezTo>
                    <a:cubicBezTo>
                      <a:pt x="1037022" y="256557"/>
                      <a:pt x="1077264" y="300727"/>
                      <a:pt x="1110031" y="339462"/>
                    </a:cubicBezTo>
                    <a:cubicBezTo>
                      <a:pt x="1051415" y="362041"/>
                      <a:pt x="1030281" y="393446"/>
                      <a:pt x="996071" y="424851"/>
                    </a:cubicBezTo>
                    <a:cubicBezTo>
                      <a:pt x="979245" y="440298"/>
                      <a:pt x="967211" y="456704"/>
                      <a:pt x="958497" y="474522"/>
                    </a:cubicBezTo>
                    <a:cubicBezTo>
                      <a:pt x="793415" y="374586"/>
                      <a:pt x="664033" y="400614"/>
                      <a:pt x="603444" y="421733"/>
                    </a:cubicBezTo>
                    <a:cubicBezTo>
                      <a:pt x="733011" y="434023"/>
                      <a:pt x="843377" y="487838"/>
                      <a:pt x="927312" y="549009"/>
                    </a:cubicBezTo>
                    <a:lnTo>
                      <a:pt x="915109" y="582014"/>
                    </a:lnTo>
                    <a:cubicBezTo>
                      <a:pt x="891297" y="642339"/>
                      <a:pt x="862721" y="710601"/>
                      <a:pt x="853196" y="786801"/>
                    </a:cubicBezTo>
                    <a:cubicBezTo>
                      <a:pt x="843671" y="863001"/>
                      <a:pt x="847640" y="966983"/>
                      <a:pt x="857959" y="1039214"/>
                    </a:cubicBezTo>
                    <a:cubicBezTo>
                      <a:pt x="868278" y="1111445"/>
                      <a:pt x="900028" y="1178120"/>
                      <a:pt x="915109" y="1220189"/>
                    </a:cubicBezTo>
                    <a:cubicBezTo>
                      <a:pt x="930190" y="1262258"/>
                      <a:pt x="946859" y="1272576"/>
                      <a:pt x="948446" y="1291626"/>
                    </a:cubicBezTo>
                    <a:cubicBezTo>
                      <a:pt x="950033" y="1310676"/>
                      <a:pt x="930984" y="1315439"/>
                      <a:pt x="924634" y="1334489"/>
                    </a:cubicBezTo>
                    <a:cubicBezTo>
                      <a:pt x="918284" y="1353539"/>
                      <a:pt x="907171" y="1371001"/>
                      <a:pt x="910346" y="1405926"/>
                    </a:cubicBezTo>
                    <a:cubicBezTo>
                      <a:pt x="913521" y="1440851"/>
                      <a:pt x="927015" y="1494827"/>
                      <a:pt x="943684" y="1544039"/>
                    </a:cubicBezTo>
                    <a:cubicBezTo>
                      <a:pt x="947240" y="1554538"/>
                      <a:pt x="951338" y="1565109"/>
                      <a:pt x="956769" y="1575392"/>
                    </a:cubicBezTo>
                    <a:cubicBezTo>
                      <a:pt x="939866" y="1598334"/>
                      <a:pt x="922505" y="1617063"/>
                      <a:pt x="905864" y="1631836"/>
                    </a:cubicBezTo>
                    <a:cubicBezTo>
                      <a:pt x="841757" y="1688412"/>
                      <a:pt x="692637" y="1803136"/>
                      <a:pt x="603444" y="1803136"/>
                    </a:cubicBezTo>
                    <a:cubicBezTo>
                      <a:pt x="557961" y="1803136"/>
                      <a:pt x="478776" y="1755732"/>
                      <a:pt x="409934" y="1705014"/>
                    </a:cubicBezTo>
                    <a:lnTo>
                      <a:pt x="419809" y="1672626"/>
                    </a:lnTo>
                    <a:cubicBezTo>
                      <a:pt x="433303" y="1613095"/>
                      <a:pt x="419809" y="1540070"/>
                      <a:pt x="429334" y="1491651"/>
                    </a:cubicBezTo>
                    <a:cubicBezTo>
                      <a:pt x="438859" y="1443232"/>
                      <a:pt x="464259" y="1418627"/>
                      <a:pt x="476959" y="1382114"/>
                    </a:cubicBezTo>
                    <a:cubicBezTo>
                      <a:pt x="489659" y="1345602"/>
                      <a:pt x="506328" y="1301151"/>
                      <a:pt x="505534" y="1272576"/>
                    </a:cubicBezTo>
                    <a:cubicBezTo>
                      <a:pt x="504740" y="1244001"/>
                      <a:pt x="472990" y="1247177"/>
                      <a:pt x="472196" y="1210664"/>
                    </a:cubicBezTo>
                    <a:cubicBezTo>
                      <a:pt x="471402" y="1174152"/>
                      <a:pt x="493627" y="1105095"/>
                      <a:pt x="500771" y="1053501"/>
                    </a:cubicBezTo>
                    <a:cubicBezTo>
                      <a:pt x="507915" y="1001907"/>
                      <a:pt x="519028" y="948726"/>
                      <a:pt x="515059" y="901101"/>
                    </a:cubicBezTo>
                    <a:cubicBezTo>
                      <a:pt x="511090" y="853476"/>
                      <a:pt x="496009" y="818551"/>
                      <a:pt x="476959" y="767751"/>
                    </a:cubicBezTo>
                    <a:cubicBezTo>
                      <a:pt x="457909" y="716951"/>
                      <a:pt x="430128" y="646307"/>
                      <a:pt x="400759" y="596301"/>
                    </a:cubicBezTo>
                    <a:cubicBezTo>
                      <a:pt x="371390" y="546295"/>
                      <a:pt x="342021" y="502639"/>
                      <a:pt x="300746" y="467714"/>
                    </a:cubicBezTo>
                    <a:cubicBezTo>
                      <a:pt x="259471" y="432789"/>
                      <a:pt x="207878" y="412151"/>
                      <a:pt x="153109" y="386751"/>
                    </a:cubicBezTo>
                    <a:cubicBezTo>
                      <a:pt x="102114" y="363101"/>
                      <a:pt x="114428" y="279585"/>
                      <a:pt x="0" y="308275"/>
                    </a:cubicBezTo>
                    <a:cubicBezTo>
                      <a:pt x="41291" y="173605"/>
                      <a:pt x="138419" y="50464"/>
                      <a:pt x="351195" y="60273"/>
                    </a:cubicBezTo>
                    <a:cubicBezTo>
                      <a:pt x="415999" y="15484"/>
                      <a:pt x="493935" y="-3670"/>
                      <a:pt x="576476" y="57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70" tIns="54836" rIns="109670" bIns="54836" numCol="1" rtlCol="0" anchor="ctr" anchorCtr="0" compatLnSpc="1">
                <a:prstTxWarp prst="textNoShape">
                  <a:avLst/>
                </a:prstTxWarp>
              </a:bodyPr>
              <a:lstStyle/>
              <a:p>
                <a:pPr algn="ctr" defTabSz="1096261" fontAlgn="base">
                  <a:lnSpc>
                    <a:spcPct val="70000"/>
                  </a:lnSpc>
                  <a:spcBef>
                    <a:spcPct val="0"/>
                  </a:spcBef>
                  <a:spcAft>
                    <a:spcPct val="0"/>
                  </a:spcAft>
                  <a:defRPr/>
                </a:pPr>
                <a:endParaRPr lang="en-US" sz="2798">
                  <a:solidFill>
                    <a:srgbClr val="FFFFFF"/>
                  </a:solidFill>
                  <a:effectLst>
                    <a:outerShdw blurRad="38100" dist="38100" dir="2700000" algn="tl">
                      <a:srgbClr val="000000">
                        <a:alpha val="43137"/>
                      </a:srgbClr>
                    </a:outerShdw>
                  </a:effectLst>
                  <a:latin typeface="Segoe UI"/>
                </a:endParaRPr>
              </a:p>
            </p:txBody>
          </p:sp>
          <p:sp>
            <p:nvSpPr>
              <p:cNvPr id="503" name="Man's Body">
                <a:extLst>
                  <a:ext uri="{FF2B5EF4-FFF2-40B4-BE49-F238E27FC236}">
                    <a16:creationId xmlns:a16="http://schemas.microsoft.com/office/drawing/2014/main" id="{1E812B87-E1CB-4C47-B758-B209D2C8F177}"/>
                  </a:ext>
                </a:extLst>
              </p:cNvPr>
              <p:cNvSpPr>
                <a:spLocks/>
              </p:cNvSpPr>
              <p:nvPr/>
            </p:nvSpPr>
            <p:spPr bwMode="auto">
              <a:xfrm>
                <a:off x="4129215" y="2588754"/>
                <a:ext cx="1942154" cy="3289752"/>
              </a:xfrm>
              <a:custGeom>
                <a:avLst/>
                <a:gdLst/>
                <a:ahLst/>
                <a:cxnLst/>
                <a:rect l="l" t="t" r="r" b="b"/>
                <a:pathLst>
                  <a:path w="1942154" h="3289752">
                    <a:moveTo>
                      <a:pt x="501915" y="1906497"/>
                    </a:moveTo>
                    <a:cubicBezTo>
                      <a:pt x="531238" y="1899539"/>
                      <a:pt x="778162" y="2129136"/>
                      <a:pt x="883105" y="2125656"/>
                    </a:cubicBezTo>
                    <a:cubicBezTo>
                      <a:pt x="1165524" y="2113482"/>
                      <a:pt x="1295160" y="1901279"/>
                      <a:pt x="1322938" y="1911715"/>
                    </a:cubicBezTo>
                    <a:cubicBezTo>
                      <a:pt x="1352261" y="1920412"/>
                      <a:pt x="1407819" y="2162183"/>
                      <a:pt x="1471092" y="2179577"/>
                    </a:cubicBezTo>
                    <a:cubicBezTo>
                      <a:pt x="1569955" y="2205728"/>
                      <a:pt x="1786855" y="2283903"/>
                      <a:pt x="1942154" y="2367099"/>
                    </a:cubicBezTo>
                    <a:lnTo>
                      <a:pt x="1623885" y="2492834"/>
                    </a:lnTo>
                    <a:cubicBezTo>
                      <a:pt x="1505616" y="2541253"/>
                      <a:pt x="1369885" y="2582527"/>
                      <a:pt x="1300035" y="2630946"/>
                    </a:cubicBezTo>
                    <a:cubicBezTo>
                      <a:pt x="1230185" y="2679365"/>
                      <a:pt x="1216691" y="2727784"/>
                      <a:pt x="1204785" y="2783346"/>
                    </a:cubicBezTo>
                    <a:cubicBezTo>
                      <a:pt x="1192879" y="2838909"/>
                      <a:pt x="1211929" y="2896059"/>
                      <a:pt x="1228598" y="2964321"/>
                    </a:cubicBezTo>
                    <a:cubicBezTo>
                      <a:pt x="1245267" y="3032583"/>
                      <a:pt x="1281779" y="3120690"/>
                      <a:pt x="1304798" y="3192921"/>
                    </a:cubicBezTo>
                    <a:cubicBezTo>
                      <a:pt x="1314321" y="3222803"/>
                      <a:pt x="1341505" y="3252414"/>
                      <a:pt x="1363493" y="3281583"/>
                    </a:cubicBezTo>
                    <a:cubicBezTo>
                      <a:pt x="1152486" y="3290141"/>
                      <a:pt x="985631" y="3290297"/>
                      <a:pt x="900081" y="3289292"/>
                    </a:cubicBezTo>
                    <a:cubicBezTo>
                      <a:pt x="817878" y="3290370"/>
                      <a:pt x="658124" y="3290113"/>
                      <a:pt x="456018" y="3282293"/>
                    </a:cubicBezTo>
                    <a:cubicBezTo>
                      <a:pt x="462393" y="3274575"/>
                      <a:pt x="465552" y="3265168"/>
                      <a:pt x="466598" y="3254834"/>
                    </a:cubicBezTo>
                    <a:cubicBezTo>
                      <a:pt x="472948" y="3192128"/>
                      <a:pt x="470567" y="3114340"/>
                      <a:pt x="466598" y="3021471"/>
                    </a:cubicBezTo>
                    <a:cubicBezTo>
                      <a:pt x="462629" y="2928602"/>
                      <a:pt x="461835" y="2782552"/>
                      <a:pt x="442785" y="2697621"/>
                    </a:cubicBezTo>
                    <a:cubicBezTo>
                      <a:pt x="423735" y="2612690"/>
                      <a:pt x="407860" y="2565859"/>
                      <a:pt x="352298" y="2511884"/>
                    </a:cubicBezTo>
                    <a:cubicBezTo>
                      <a:pt x="296736" y="2457909"/>
                      <a:pt x="186404" y="2415046"/>
                      <a:pt x="109410" y="2373771"/>
                    </a:cubicBezTo>
                    <a:cubicBezTo>
                      <a:pt x="63909" y="2349379"/>
                      <a:pt x="39200" y="2319443"/>
                      <a:pt x="0" y="2298223"/>
                    </a:cubicBezTo>
                    <a:cubicBezTo>
                      <a:pt x="117461" y="2244929"/>
                      <a:pt x="226792" y="2206801"/>
                      <a:pt x="244189" y="2210886"/>
                    </a:cubicBezTo>
                    <a:cubicBezTo>
                      <a:pt x="281228" y="2217843"/>
                      <a:pt x="509632" y="2478748"/>
                      <a:pt x="850696" y="2473530"/>
                    </a:cubicBezTo>
                    <a:cubicBezTo>
                      <a:pt x="1183954" y="2468314"/>
                      <a:pt x="1254996" y="2280562"/>
                      <a:pt x="1255035" y="2280461"/>
                    </a:cubicBezTo>
                    <a:cubicBezTo>
                      <a:pt x="1255005" y="2280512"/>
                      <a:pt x="1194766" y="2384821"/>
                      <a:pt x="869215" y="2377865"/>
                    </a:cubicBezTo>
                    <a:cubicBezTo>
                      <a:pt x="639268" y="2374386"/>
                      <a:pt x="398517" y="2172620"/>
                      <a:pt x="393887" y="2132615"/>
                    </a:cubicBezTo>
                    <a:cubicBezTo>
                      <a:pt x="389256" y="2090869"/>
                      <a:pt x="471051" y="1911715"/>
                      <a:pt x="501915" y="1906497"/>
                    </a:cubicBezTo>
                    <a:close/>
                    <a:moveTo>
                      <a:pt x="853221" y="637"/>
                    </a:moveTo>
                    <a:cubicBezTo>
                      <a:pt x="1005543" y="8471"/>
                      <a:pt x="1226975" y="81406"/>
                      <a:pt x="1337772" y="161384"/>
                    </a:cubicBezTo>
                    <a:cubicBezTo>
                      <a:pt x="1448570" y="241363"/>
                      <a:pt x="1522641" y="435263"/>
                      <a:pt x="1518012" y="480506"/>
                    </a:cubicBezTo>
                    <a:cubicBezTo>
                      <a:pt x="1513382" y="524010"/>
                      <a:pt x="1508932" y="654545"/>
                      <a:pt x="1497241" y="710582"/>
                    </a:cubicBezTo>
                    <a:cubicBezTo>
                      <a:pt x="1485550" y="766620"/>
                      <a:pt x="1456092" y="773225"/>
                      <a:pt x="1447862" y="816729"/>
                    </a:cubicBezTo>
                    <a:cubicBezTo>
                      <a:pt x="1464832" y="858482"/>
                      <a:pt x="1447870" y="971551"/>
                      <a:pt x="1447862" y="971599"/>
                    </a:cubicBezTo>
                    <a:cubicBezTo>
                      <a:pt x="1447887" y="971601"/>
                      <a:pt x="1518845" y="976828"/>
                      <a:pt x="1518845" y="1029023"/>
                    </a:cubicBezTo>
                    <a:cubicBezTo>
                      <a:pt x="1518845" y="1081217"/>
                      <a:pt x="1443261" y="1368239"/>
                      <a:pt x="1443233" y="1368346"/>
                    </a:cubicBezTo>
                    <a:cubicBezTo>
                      <a:pt x="1443216" y="1368375"/>
                      <a:pt x="1423163" y="1403147"/>
                      <a:pt x="1400025" y="1397928"/>
                    </a:cubicBezTo>
                    <a:cubicBezTo>
                      <a:pt x="1375336" y="1610222"/>
                      <a:pt x="1290464" y="1742472"/>
                      <a:pt x="1217938" y="1806856"/>
                    </a:cubicBezTo>
                    <a:cubicBezTo>
                      <a:pt x="1146955" y="1869501"/>
                      <a:pt x="981841" y="1996529"/>
                      <a:pt x="883082" y="1996529"/>
                    </a:cubicBezTo>
                    <a:cubicBezTo>
                      <a:pt x="784323" y="1996529"/>
                      <a:pt x="542053" y="1794675"/>
                      <a:pt x="523537" y="1759872"/>
                    </a:cubicBezTo>
                    <a:cubicBezTo>
                      <a:pt x="503477" y="1725071"/>
                      <a:pt x="370768" y="1570199"/>
                      <a:pt x="366139" y="1380528"/>
                    </a:cubicBezTo>
                    <a:cubicBezTo>
                      <a:pt x="301328" y="1375306"/>
                      <a:pt x="264293" y="1183894"/>
                      <a:pt x="239604" y="1082967"/>
                    </a:cubicBezTo>
                    <a:cubicBezTo>
                      <a:pt x="219550" y="997735"/>
                      <a:pt x="288930" y="999439"/>
                      <a:pt x="288983" y="999441"/>
                    </a:cubicBezTo>
                    <a:cubicBezTo>
                      <a:pt x="288957" y="999371"/>
                      <a:pt x="191766" y="731458"/>
                      <a:pt x="184051" y="694921"/>
                    </a:cubicBezTo>
                    <a:cubicBezTo>
                      <a:pt x="177878" y="660118"/>
                      <a:pt x="113068" y="44116"/>
                      <a:pt x="603779" y="66738"/>
                    </a:cubicBezTo>
                    <a:cubicBezTo>
                      <a:pt x="675533" y="17144"/>
                      <a:pt x="761828" y="-4064"/>
                      <a:pt x="853221" y="63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70" tIns="54836" rIns="109670" bIns="54836" numCol="1" rtlCol="0" anchor="ctr" anchorCtr="0" compatLnSpc="1">
                <a:prstTxWarp prst="textNoShape">
                  <a:avLst/>
                </a:prstTxWarp>
              </a:bodyPr>
              <a:lstStyle/>
              <a:p>
                <a:pPr algn="ctr" defTabSz="1096261" fontAlgn="base">
                  <a:lnSpc>
                    <a:spcPct val="70000"/>
                  </a:lnSpc>
                  <a:spcBef>
                    <a:spcPct val="0"/>
                  </a:spcBef>
                  <a:spcAft>
                    <a:spcPct val="0"/>
                  </a:spcAft>
                  <a:defRPr/>
                </a:pPr>
                <a:endParaRPr lang="en-US" sz="2798">
                  <a:solidFill>
                    <a:srgbClr val="FFFFFF"/>
                  </a:solidFill>
                  <a:effectLst>
                    <a:outerShdw blurRad="38100" dist="38100" dir="2700000" algn="tl">
                      <a:srgbClr val="000000">
                        <a:alpha val="43137"/>
                      </a:srgbClr>
                    </a:outerShdw>
                  </a:effectLst>
                  <a:latin typeface="Segoe UI"/>
                </a:endParaRPr>
              </a:p>
            </p:txBody>
          </p:sp>
          <p:sp>
            <p:nvSpPr>
              <p:cNvPr id="504" name="Man's Body">
                <a:extLst>
                  <a:ext uri="{FF2B5EF4-FFF2-40B4-BE49-F238E27FC236}">
                    <a16:creationId xmlns:a16="http://schemas.microsoft.com/office/drawing/2014/main" id="{9126D322-DFA2-4BFA-8306-3E4FC36FD7A6}"/>
                  </a:ext>
                </a:extLst>
              </p:cNvPr>
              <p:cNvSpPr>
                <a:spLocks/>
              </p:cNvSpPr>
              <p:nvPr/>
            </p:nvSpPr>
            <p:spPr bwMode="auto">
              <a:xfrm>
                <a:off x="335107" y="2540761"/>
                <a:ext cx="1927374" cy="3278271"/>
              </a:xfrm>
              <a:custGeom>
                <a:avLst/>
                <a:gdLst/>
                <a:ahLst/>
                <a:cxnLst/>
                <a:rect l="l" t="t" r="r" b="b"/>
                <a:pathLst>
                  <a:path w="1927374" h="3278271">
                    <a:moveTo>
                      <a:pt x="586126" y="2210886"/>
                    </a:moveTo>
                    <a:cubicBezTo>
                      <a:pt x="616330" y="2216559"/>
                      <a:pt x="773790" y="2391106"/>
                      <a:pt x="1016388" y="2450287"/>
                    </a:cubicBezTo>
                    <a:cubicBezTo>
                      <a:pt x="976291" y="2480726"/>
                      <a:pt x="940784" y="2511617"/>
                      <a:pt x="912668" y="2540828"/>
                    </a:cubicBezTo>
                    <a:cubicBezTo>
                      <a:pt x="851549" y="2604328"/>
                      <a:pt x="830912" y="2661478"/>
                      <a:pt x="803131" y="2726565"/>
                    </a:cubicBezTo>
                    <a:cubicBezTo>
                      <a:pt x="775350" y="2791652"/>
                      <a:pt x="757093" y="2855947"/>
                      <a:pt x="745981" y="2931353"/>
                    </a:cubicBezTo>
                    <a:cubicBezTo>
                      <a:pt x="734869" y="3006759"/>
                      <a:pt x="738837" y="3105978"/>
                      <a:pt x="736456" y="3179003"/>
                    </a:cubicBezTo>
                    <a:cubicBezTo>
                      <a:pt x="735337" y="3213335"/>
                      <a:pt x="717901" y="3247141"/>
                      <a:pt x="707639" y="3278271"/>
                    </a:cubicBezTo>
                    <a:cubicBezTo>
                      <a:pt x="607261" y="3273701"/>
                      <a:pt x="498668" y="3267095"/>
                      <a:pt x="385500" y="3257984"/>
                    </a:cubicBezTo>
                    <a:cubicBezTo>
                      <a:pt x="387043" y="3144926"/>
                      <a:pt x="428711" y="2960553"/>
                      <a:pt x="475010" y="2861409"/>
                    </a:cubicBezTo>
                    <a:cubicBezTo>
                      <a:pt x="439515" y="2884020"/>
                      <a:pt x="288274" y="3042302"/>
                      <a:pt x="258951" y="3247548"/>
                    </a:cubicBezTo>
                    <a:cubicBezTo>
                      <a:pt x="-18839" y="2890978"/>
                      <a:pt x="-32728" y="2605722"/>
                      <a:pt x="32090" y="2494403"/>
                    </a:cubicBezTo>
                    <a:cubicBezTo>
                      <a:pt x="95364" y="2384822"/>
                      <a:pt x="549088" y="2202189"/>
                      <a:pt x="586126" y="2210886"/>
                    </a:cubicBezTo>
                    <a:close/>
                    <a:moveTo>
                      <a:pt x="843852" y="1906497"/>
                    </a:moveTo>
                    <a:cubicBezTo>
                      <a:pt x="873175" y="1899539"/>
                      <a:pt x="1120099" y="2129136"/>
                      <a:pt x="1225042" y="2125656"/>
                    </a:cubicBezTo>
                    <a:cubicBezTo>
                      <a:pt x="1507461" y="2113482"/>
                      <a:pt x="1637096" y="1901279"/>
                      <a:pt x="1664875" y="1911715"/>
                    </a:cubicBezTo>
                    <a:cubicBezTo>
                      <a:pt x="1681451" y="1916632"/>
                      <a:pt x="1706410" y="1996028"/>
                      <a:pt x="1736668" y="2067160"/>
                    </a:cubicBezTo>
                    <a:cubicBezTo>
                      <a:pt x="1645277" y="2089552"/>
                      <a:pt x="1598007" y="2141189"/>
                      <a:pt x="1512743" y="2178878"/>
                    </a:cubicBezTo>
                    <a:cubicBezTo>
                      <a:pt x="1403206" y="2227297"/>
                      <a:pt x="1269855" y="2285240"/>
                      <a:pt x="1169843" y="2345565"/>
                    </a:cubicBezTo>
                    <a:lnTo>
                      <a:pt x="1134882" y="2369115"/>
                    </a:lnTo>
                    <a:cubicBezTo>
                      <a:pt x="930801" y="2331702"/>
                      <a:pt x="739941" y="2168192"/>
                      <a:pt x="735824" y="2132615"/>
                    </a:cubicBezTo>
                    <a:cubicBezTo>
                      <a:pt x="731193" y="2090869"/>
                      <a:pt x="812988" y="1911715"/>
                      <a:pt x="843852" y="1906497"/>
                    </a:cubicBezTo>
                    <a:close/>
                    <a:moveTo>
                      <a:pt x="1195158" y="637"/>
                    </a:moveTo>
                    <a:cubicBezTo>
                      <a:pt x="1347480" y="8471"/>
                      <a:pt x="1513967" y="88272"/>
                      <a:pt x="1650919" y="228569"/>
                    </a:cubicBezTo>
                    <a:cubicBezTo>
                      <a:pt x="1870041" y="453045"/>
                      <a:pt x="1931766" y="569632"/>
                      <a:pt x="1927136" y="614875"/>
                    </a:cubicBezTo>
                    <a:cubicBezTo>
                      <a:pt x="1922506" y="658378"/>
                      <a:pt x="1877757" y="719282"/>
                      <a:pt x="1839178" y="710582"/>
                    </a:cubicBezTo>
                    <a:cubicBezTo>
                      <a:pt x="1799058" y="701882"/>
                      <a:pt x="1794429" y="663598"/>
                      <a:pt x="1772824" y="642718"/>
                    </a:cubicBezTo>
                    <a:cubicBezTo>
                      <a:pt x="1516667" y="399101"/>
                      <a:pt x="1309890" y="437383"/>
                      <a:pt x="1225019" y="466966"/>
                    </a:cubicBezTo>
                    <a:cubicBezTo>
                      <a:pt x="1555245" y="498288"/>
                      <a:pt x="1772824" y="773225"/>
                      <a:pt x="1789799" y="816729"/>
                    </a:cubicBezTo>
                    <a:cubicBezTo>
                      <a:pt x="1806769" y="858482"/>
                      <a:pt x="1789807" y="971551"/>
                      <a:pt x="1789799" y="971599"/>
                    </a:cubicBezTo>
                    <a:cubicBezTo>
                      <a:pt x="1789819" y="971601"/>
                      <a:pt x="1860782" y="976826"/>
                      <a:pt x="1860782" y="1029023"/>
                    </a:cubicBezTo>
                    <a:cubicBezTo>
                      <a:pt x="1860782" y="1081217"/>
                      <a:pt x="1785198" y="1368239"/>
                      <a:pt x="1785170" y="1368346"/>
                    </a:cubicBezTo>
                    <a:cubicBezTo>
                      <a:pt x="1785153" y="1368375"/>
                      <a:pt x="1765100" y="1403147"/>
                      <a:pt x="1741962" y="1397928"/>
                    </a:cubicBezTo>
                    <a:cubicBezTo>
                      <a:pt x="1717273" y="1610222"/>
                      <a:pt x="1632401" y="1742472"/>
                      <a:pt x="1559875" y="1806856"/>
                    </a:cubicBezTo>
                    <a:cubicBezTo>
                      <a:pt x="1488892" y="1869501"/>
                      <a:pt x="1323778" y="1996529"/>
                      <a:pt x="1225019" y="1996529"/>
                    </a:cubicBezTo>
                    <a:cubicBezTo>
                      <a:pt x="1126260" y="1996529"/>
                      <a:pt x="883990" y="1794675"/>
                      <a:pt x="865473" y="1759872"/>
                    </a:cubicBezTo>
                    <a:cubicBezTo>
                      <a:pt x="845414" y="1725071"/>
                      <a:pt x="712705" y="1570199"/>
                      <a:pt x="708075" y="1380528"/>
                    </a:cubicBezTo>
                    <a:cubicBezTo>
                      <a:pt x="643265" y="1375306"/>
                      <a:pt x="606230" y="1183894"/>
                      <a:pt x="581541" y="1082967"/>
                    </a:cubicBezTo>
                    <a:cubicBezTo>
                      <a:pt x="561487" y="997735"/>
                      <a:pt x="630866" y="999439"/>
                      <a:pt x="630919" y="999441"/>
                    </a:cubicBezTo>
                    <a:cubicBezTo>
                      <a:pt x="630881" y="999337"/>
                      <a:pt x="533702" y="731455"/>
                      <a:pt x="525988" y="694921"/>
                    </a:cubicBezTo>
                    <a:cubicBezTo>
                      <a:pt x="519815" y="660118"/>
                      <a:pt x="455005" y="44116"/>
                      <a:pt x="945716" y="66738"/>
                    </a:cubicBezTo>
                    <a:cubicBezTo>
                      <a:pt x="1017470" y="17144"/>
                      <a:pt x="1103765" y="-4064"/>
                      <a:pt x="1195158" y="63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70" tIns="54836" rIns="109670" bIns="54836" numCol="1" rtlCol="0" anchor="ctr" anchorCtr="0" compatLnSpc="1">
                <a:prstTxWarp prst="textNoShape">
                  <a:avLst/>
                </a:prstTxWarp>
              </a:bodyPr>
              <a:lstStyle/>
              <a:p>
                <a:pPr algn="ctr" defTabSz="1096261" fontAlgn="base">
                  <a:lnSpc>
                    <a:spcPct val="70000"/>
                  </a:lnSpc>
                  <a:spcBef>
                    <a:spcPct val="0"/>
                  </a:spcBef>
                  <a:spcAft>
                    <a:spcPct val="0"/>
                  </a:spcAft>
                  <a:defRPr/>
                </a:pPr>
                <a:endParaRPr lang="en-US" sz="2798">
                  <a:solidFill>
                    <a:srgbClr val="FFFFFF"/>
                  </a:solidFill>
                  <a:effectLst>
                    <a:outerShdw blurRad="38100" dist="38100" dir="2700000" algn="tl">
                      <a:srgbClr val="000000">
                        <a:alpha val="43137"/>
                      </a:srgbClr>
                    </a:outerShdw>
                  </a:effectLst>
                  <a:latin typeface="Segoe UI"/>
                </a:endParaRPr>
              </a:p>
            </p:txBody>
          </p:sp>
          <p:sp>
            <p:nvSpPr>
              <p:cNvPr id="505" name="Freeform 492">
                <a:extLst>
                  <a:ext uri="{FF2B5EF4-FFF2-40B4-BE49-F238E27FC236}">
                    <a16:creationId xmlns:a16="http://schemas.microsoft.com/office/drawing/2014/main" id="{3CFE1784-A7A1-4D5B-9557-10A94532A5C2}"/>
                  </a:ext>
                </a:extLst>
              </p:cNvPr>
              <p:cNvSpPr/>
              <p:nvPr/>
            </p:nvSpPr>
            <p:spPr>
              <a:xfrm flipH="1">
                <a:off x="1116816" y="2629054"/>
                <a:ext cx="3436629" cy="3474566"/>
              </a:xfrm>
              <a:custGeom>
                <a:avLst/>
                <a:gdLst/>
                <a:ahLst/>
                <a:cxnLst/>
                <a:rect l="l" t="t" r="r" b="b"/>
                <a:pathLst>
                  <a:path w="852601" h="862013">
                    <a:moveTo>
                      <a:pt x="339688" y="551599"/>
                    </a:moveTo>
                    <a:cubicBezTo>
                      <a:pt x="336200" y="550660"/>
                      <a:pt x="332712" y="552270"/>
                      <a:pt x="329224" y="555624"/>
                    </a:cubicBezTo>
                    <a:lnTo>
                      <a:pt x="318760" y="571723"/>
                    </a:lnTo>
                    <a:cubicBezTo>
                      <a:pt x="317687" y="576955"/>
                      <a:pt x="320907" y="582723"/>
                      <a:pt x="322785" y="587017"/>
                    </a:cubicBezTo>
                    <a:cubicBezTo>
                      <a:pt x="324663" y="591310"/>
                      <a:pt x="331370" y="593322"/>
                      <a:pt x="330029" y="597481"/>
                    </a:cubicBezTo>
                    <a:cubicBezTo>
                      <a:pt x="328687" y="601641"/>
                      <a:pt x="318894" y="606739"/>
                      <a:pt x="314735" y="611971"/>
                    </a:cubicBezTo>
                    <a:cubicBezTo>
                      <a:pt x="310576" y="617202"/>
                      <a:pt x="308563" y="620288"/>
                      <a:pt x="303465" y="629679"/>
                    </a:cubicBezTo>
                    <a:cubicBezTo>
                      <a:pt x="298368" y="639070"/>
                      <a:pt x="292062" y="654230"/>
                      <a:pt x="284147" y="668317"/>
                    </a:cubicBezTo>
                    <a:cubicBezTo>
                      <a:pt x="276232" y="682403"/>
                      <a:pt x="261340" y="698637"/>
                      <a:pt x="255974" y="714199"/>
                    </a:cubicBezTo>
                    <a:cubicBezTo>
                      <a:pt x="250607" y="729762"/>
                      <a:pt x="252754" y="745727"/>
                      <a:pt x="251949" y="761691"/>
                    </a:cubicBezTo>
                    <a:cubicBezTo>
                      <a:pt x="251144" y="777656"/>
                      <a:pt x="252351" y="796036"/>
                      <a:pt x="251143" y="809989"/>
                    </a:cubicBezTo>
                    <a:cubicBezTo>
                      <a:pt x="249937" y="823941"/>
                      <a:pt x="245778" y="837357"/>
                      <a:pt x="244705" y="845406"/>
                    </a:cubicBezTo>
                    <a:cubicBezTo>
                      <a:pt x="243631" y="853456"/>
                      <a:pt x="243095" y="855603"/>
                      <a:pt x="244705" y="858286"/>
                    </a:cubicBezTo>
                    <a:cubicBezTo>
                      <a:pt x="245509" y="859627"/>
                      <a:pt x="245945" y="860298"/>
                      <a:pt x="247169" y="860701"/>
                    </a:cubicBezTo>
                    <a:lnTo>
                      <a:pt x="254364" y="861506"/>
                    </a:lnTo>
                    <a:cubicBezTo>
                      <a:pt x="262279" y="862042"/>
                      <a:pt x="277305" y="862310"/>
                      <a:pt x="292196" y="861506"/>
                    </a:cubicBezTo>
                    <a:cubicBezTo>
                      <a:pt x="307088" y="860701"/>
                      <a:pt x="333115" y="857749"/>
                      <a:pt x="343713" y="856676"/>
                    </a:cubicBezTo>
                    <a:cubicBezTo>
                      <a:pt x="343747" y="856684"/>
                      <a:pt x="352708" y="858681"/>
                      <a:pt x="355787" y="855066"/>
                    </a:cubicBezTo>
                    <a:cubicBezTo>
                      <a:pt x="358873" y="851443"/>
                      <a:pt x="361288" y="845675"/>
                      <a:pt x="362227" y="834943"/>
                    </a:cubicBezTo>
                    <a:cubicBezTo>
                      <a:pt x="363166" y="824210"/>
                      <a:pt x="363568" y="808110"/>
                      <a:pt x="361422" y="790670"/>
                    </a:cubicBezTo>
                    <a:cubicBezTo>
                      <a:pt x="359275" y="773229"/>
                      <a:pt x="352299" y="754313"/>
                      <a:pt x="349348" y="730298"/>
                    </a:cubicBezTo>
                    <a:cubicBezTo>
                      <a:pt x="346396" y="706284"/>
                      <a:pt x="344786" y="666439"/>
                      <a:pt x="343713" y="646584"/>
                    </a:cubicBezTo>
                    <a:cubicBezTo>
                      <a:pt x="342640" y="626728"/>
                      <a:pt x="342505" y="619886"/>
                      <a:pt x="342908" y="611166"/>
                    </a:cubicBezTo>
                    <a:cubicBezTo>
                      <a:pt x="343310" y="602446"/>
                      <a:pt x="343713" y="600299"/>
                      <a:pt x="346128" y="594262"/>
                    </a:cubicBezTo>
                    <a:cubicBezTo>
                      <a:pt x="348543" y="588224"/>
                      <a:pt x="356727" y="580443"/>
                      <a:pt x="357397" y="574942"/>
                    </a:cubicBezTo>
                    <a:cubicBezTo>
                      <a:pt x="358068" y="569442"/>
                      <a:pt x="353104" y="565149"/>
                      <a:pt x="350153" y="561258"/>
                    </a:cubicBezTo>
                    <a:close/>
                    <a:moveTo>
                      <a:pt x="287206" y="507649"/>
                    </a:moveTo>
                    <a:cubicBezTo>
                      <a:pt x="299226" y="561742"/>
                      <a:pt x="284201" y="574621"/>
                      <a:pt x="274326" y="617123"/>
                    </a:cubicBezTo>
                    <a:cubicBezTo>
                      <a:pt x="272445" y="626330"/>
                      <a:pt x="270907" y="639718"/>
                      <a:pt x="269556" y="655910"/>
                    </a:cubicBezTo>
                    <a:cubicBezTo>
                      <a:pt x="284442" y="632717"/>
                      <a:pt x="299146" y="601494"/>
                      <a:pt x="316184" y="596515"/>
                    </a:cubicBezTo>
                    <a:cubicBezTo>
                      <a:pt x="314038" y="589217"/>
                      <a:pt x="305451" y="583528"/>
                      <a:pt x="306524" y="574621"/>
                    </a:cubicBezTo>
                    <a:cubicBezTo>
                      <a:pt x="307147" y="563679"/>
                      <a:pt x="314405" y="554950"/>
                      <a:pt x="319949" y="545622"/>
                    </a:cubicBezTo>
                    <a:cubicBezTo>
                      <a:pt x="307786" y="539695"/>
                      <a:pt x="298568" y="525281"/>
                      <a:pt x="287206" y="507649"/>
                    </a:cubicBezTo>
                    <a:close/>
                    <a:moveTo>
                      <a:pt x="264023" y="488330"/>
                    </a:moveTo>
                    <a:cubicBezTo>
                      <a:pt x="251143" y="497345"/>
                      <a:pt x="249856" y="517952"/>
                      <a:pt x="240841" y="523104"/>
                    </a:cubicBezTo>
                    <a:cubicBezTo>
                      <a:pt x="177304" y="542852"/>
                      <a:pt x="103463" y="578055"/>
                      <a:pt x="46365" y="613259"/>
                    </a:cubicBezTo>
                    <a:cubicBezTo>
                      <a:pt x="17601" y="630002"/>
                      <a:pt x="12021" y="649320"/>
                      <a:pt x="6440" y="682806"/>
                    </a:cubicBezTo>
                    <a:lnTo>
                      <a:pt x="0" y="793568"/>
                    </a:lnTo>
                    <a:cubicBezTo>
                      <a:pt x="60532" y="849807"/>
                      <a:pt x="154551" y="840362"/>
                      <a:pt x="230537" y="859252"/>
                    </a:cubicBezTo>
                    <a:cubicBezTo>
                      <a:pt x="242128" y="755359"/>
                      <a:pt x="233113" y="597374"/>
                      <a:pt x="265311" y="542422"/>
                    </a:cubicBezTo>
                    <a:close/>
                    <a:moveTo>
                      <a:pt x="473953" y="438101"/>
                    </a:moveTo>
                    <a:cubicBezTo>
                      <a:pt x="449999" y="476765"/>
                      <a:pt x="395188" y="525303"/>
                      <a:pt x="351750" y="542487"/>
                    </a:cubicBezTo>
                    <a:cubicBezTo>
                      <a:pt x="364570" y="553524"/>
                      <a:pt x="369815" y="566569"/>
                      <a:pt x="371564" y="577519"/>
                    </a:cubicBezTo>
                    <a:cubicBezTo>
                      <a:pt x="371510" y="588305"/>
                      <a:pt x="363407" y="591042"/>
                      <a:pt x="359329" y="597803"/>
                    </a:cubicBezTo>
                    <a:cubicBezTo>
                      <a:pt x="364928" y="652187"/>
                      <a:pt x="355161" y="701683"/>
                      <a:pt x="373271" y="759858"/>
                    </a:cubicBezTo>
                    <a:cubicBezTo>
                      <a:pt x="382583" y="726860"/>
                      <a:pt x="394118" y="694072"/>
                      <a:pt x="406981" y="659624"/>
                    </a:cubicBezTo>
                    <a:cubicBezTo>
                      <a:pt x="434458" y="598661"/>
                      <a:pt x="476100" y="510653"/>
                      <a:pt x="473953" y="438101"/>
                    </a:cubicBezTo>
                    <a:close/>
                    <a:moveTo>
                      <a:pt x="444331" y="425221"/>
                    </a:moveTo>
                    <a:cubicBezTo>
                      <a:pt x="417365" y="457420"/>
                      <a:pt x="365446" y="490423"/>
                      <a:pt x="342908" y="490423"/>
                    </a:cubicBezTo>
                    <a:cubicBezTo>
                      <a:pt x="312722" y="489752"/>
                      <a:pt x="309100" y="473787"/>
                      <a:pt x="292196" y="465469"/>
                    </a:cubicBezTo>
                    <a:cubicBezTo>
                      <a:pt x="308026" y="468152"/>
                      <a:pt x="323455" y="474056"/>
                      <a:pt x="339687" y="473519"/>
                    </a:cubicBezTo>
                    <a:cubicBezTo>
                      <a:pt x="376180" y="473116"/>
                      <a:pt x="416695" y="446955"/>
                      <a:pt x="444331" y="425221"/>
                    </a:cubicBezTo>
                    <a:close/>
                    <a:moveTo>
                      <a:pt x="488121" y="409767"/>
                    </a:moveTo>
                    <a:cubicBezTo>
                      <a:pt x="533198" y="465576"/>
                      <a:pt x="410846" y="692681"/>
                      <a:pt x="376072" y="855388"/>
                    </a:cubicBezTo>
                    <a:cubicBezTo>
                      <a:pt x="489409" y="838216"/>
                      <a:pt x="600169" y="850665"/>
                      <a:pt x="716082" y="803871"/>
                    </a:cubicBezTo>
                    <a:cubicBezTo>
                      <a:pt x="761588" y="800437"/>
                      <a:pt x="808382" y="816321"/>
                      <a:pt x="852601" y="793568"/>
                    </a:cubicBezTo>
                    <a:cubicBezTo>
                      <a:pt x="845303" y="743338"/>
                      <a:pt x="867627" y="646745"/>
                      <a:pt x="772750" y="588788"/>
                    </a:cubicBezTo>
                    <a:cubicBezTo>
                      <a:pt x="729391" y="552726"/>
                      <a:pt x="648681" y="519241"/>
                      <a:pt x="565395" y="492193"/>
                    </a:cubicBezTo>
                    <a:cubicBezTo>
                      <a:pt x="534486" y="468582"/>
                      <a:pt x="515167" y="433379"/>
                      <a:pt x="488121" y="409767"/>
                    </a:cubicBezTo>
                    <a:close/>
                    <a:moveTo>
                      <a:pt x="314467" y="207"/>
                    </a:moveTo>
                    <a:cubicBezTo>
                      <a:pt x="302302" y="922"/>
                      <a:pt x="297652" y="4142"/>
                      <a:pt x="285488" y="8794"/>
                    </a:cubicBezTo>
                    <a:cubicBezTo>
                      <a:pt x="273325" y="13444"/>
                      <a:pt x="253826" y="20241"/>
                      <a:pt x="241485" y="28112"/>
                    </a:cubicBezTo>
                    <a:cubicBezTo>
                      <a:pt x="229142" y="35983"/>
                      <a:pt x="220377" y="43853"/>
                      <a:pt x="211433" y="56017"/>
                    </a:cubicBezTo>
                    <a:cubicBezTo>
                      <a:pt x="202489" y="68180"/>
                      <a:pt x="193724" y="87320"/>
                      <a:pt x="187821" y="101095"/>
                    </a:cubicBezTo>
                    <a:cubicBezTo>
                      <a:pt x="181919" y="114868"/>
                      <a:pt x="176194" y="121665"/>
                      <a:pt x="176015" y="138658"/>
                    </a:cubicBezTo>
                    <a:cubicBezTo>
                      <a:pt x="175837" y="155652"/>
                      <a:pt x="182813" y="191249"/>
                      <a:pt x="186748" y="203055"/>
                    </a:cubicBezTo>
                    <a:lnTo>
                      <a:pt x="187520" y="204007"/>
                    </a:lnTo>
                    <a:lnTo>
                      <a:pt x="191027" y="223887"/>
                    </a:lnTo>
                    <a:cubicBezTo>
                      <a:pt x="185407" y="222374"/>
                      <a:pt x="182724" y="232570"/>
                      <a:pt x="184333" y="241693"/>
                    </a:cubicBezTo>
                    <a:cubicBezTo>
                      <a:pt x="185943" y="250815"/>
                      <a:pt x="196139" y="265841"/>
                      <a:pt x="198822" y="277111"/>
                    </a:cubicBezTo>
                    <a:cubicBezTo>
                      <a:pt x="201505" y="288380"/>
                      <a:pt x="200298" y="299113"/>
                      <a:pt x="200432" y="309308"/>
                    </a:cubicBezTo>
                    <a:cubicBezTo>
                      <a:pt x="200566" y="319505"/>
                      <a:pt x="198285" y="331579"/>
                      <a:pt x="199627" y="338286"/>
                    </a:cubicBezTo>
                    <a:cubicBezTo>
                      <a:pt x="200969" y="344995"/>
                      <a:pt x="205128" y="346739"/>
                      <a:pt x="208482" y="349556"/>
                    </a:cubicBezTo>
                    <a:cubicBezTo>
                      <a:pt x="211836" y="352373"/>
                      <a:pt x="218275" y="343385"/>
                      <a:pt x="219751" y="355191"/>
                    </a:cubicBezTo>
                    <a:cubicBezTo>
                      <a:pt x="221227" y="366997"/>
                      <a:pt x="229008" y="395036"/>
                      <a:pt x="236655" y="410733"/>
                    </a:cubicBezTo>
                    <a:cubicBezTo>
                      <a:pt x="244301" y="426429"/>
                      <a:pt x="259999" y="439845"/>
                      <a:pt x="265633" y="449370"/>
                    </a:cubicBezTo>
                    <a:cubicBezTo>
                      <a:pt x="271268" y="458895"/>
                      <a:pt x="266438" y="460372"/>
                      <a:pt x="270463" y="467884"/>
                    </a:cubicBezTo>
                    <a:cubicBezTo>
                      <a:pt x="274487" y="475397"/>
                      <a:pt x="281330" y="484118"/>
                      <a:pt x="289781" y="494447"/>
                    </a:cubicBezTo>
                    <a:cubicBezTo>
                      <a:pt x="298233" y="504778"/>
                      <a:pt x="311246" y="524097"/>
                      <a:pt x="321175" y="529866"/>
                    </a:cubicBezTo>
                    <a:cubicBezTo>
                      <a:pt x="331102" y="535634"/>
                      <a:pt x="333383" y="536305"/>
                      <a:pt x="349348" y="529061"/>
                    </a:cubicBezTo>
                    <a:cubicBezTo>
                      <a:pt x="365312" y="521816"/>
                      <a:pt x="399657" y="499680"/>
                      <a:pt x="416963" y="486398"/>
                    </a:cubicBezTo>
                    <a:cubicBezTo>
                      <a:pt x="434270" y="473116"/>
                      <a:pt x="444331" y="459298"/>
                      <a:pt x="453186" y="449370"/>
                    </a:cubicBezTo>
                    <a:cubicBezTo>
                      <a:pt x="462041" y="439443"/>
                      <a:pt x="466601" y="434746"/>
                      <a:pt x="470089" y="426831"/>
                    </a:cubicBezTo>
                    <a:cubicBezTo>
                      <a:pt x="473577" y="418917"/>
                      <a:pt x="471968" y="409526"/>
                      <a:pt x="474115" y="401878"/>
                    </a:cubicBezTo>
                    <a:cubicBezTo>
                      <a:pt x="476261" y="394231"/>
                      <a:pt x="480688" y="390341"/>
                      <a:pt x="482969" y="380949"/>
                    </a:cubicBezTo>
                    <a:cubicBezTo>
                      <a:pt x="485249" y="371558"/>
                      <a:pt x="484847" y="352373"/>
                      <a:pt x="487799" y="345532"/>
                    </a:cubicBezTo>
                    <a:cubicBezTo>
                      <a:pt x="490750" y="338689"/>
                      <a:pt x="496788" y="343787"/>
                      <a:pt x="500678" y="339897"/>
                    </a:cubicBezTo>
                    <a:cubicBezTo>
                      <a:pt x="504569" y="336006"/>
                      <a:pt x="508996" y="331177"/>
                      <a:pt x="511142" y="322188"/>
                    </a:cubicBezTo>
                    <a:cubicBezTo>
                      <a:pt x="513289" y="313199"/>
                      <a:pt x="511947" y="299515"/>
                      <a:pt x="513557" y="285965"/>
                    </a:cubicBezTo>
                    <a:cubicBezTo>
                      <a:pt x="515167" y="272415"/>
                      <a:pt x="520131" y="252425"/>
                      <a:pt x="520801" y="240888"/>
                    </a:cubicBezTo>
                    <a:cubicBezTo>
                      <a:pt x="521473" y="229350"/>
                      <a:pt x="520131" y="222508"/>
                      <a:pt x="517582" y="216739"/>
                    </a:cubicBezTo>
                    <a:lnTo>
                      <a:pt x="505508" y="206274"/>
                    </a:lnTo>
                    <a:cubicBezTo>
                      <a:pt x="501482" y="205872"/>
                      <a:pt x="496788" y="209897"/>
                      <a:pt x="493433" y="214324"/>
                    </a:cubicBezTo>
                    <a:cubicBezTo>
                      <a:pt x="490893" y="217677"/>
                      <a:pt x="489661" y="229032"/>
                      <a:pt x="487525" y="232413"/>
                    </a:cubicBezTo>
                    <a:lnTo>
                      <a:pt x="486770" y="223363"/>
                    </a:lnTo>
                    <a:lnTo>
                      <a:pt x="488165" y="195462"/>
                    </a:lnTo>
                    <a:lnTo>
                      <a:pt x="490482" y="198762"/>
                    </a:lnTo>
                    <a:cubicBezTo>
                      <a:pt x="492986" y="200550"/>
                      <a:pt x="494238" y="195185"/>
                      <a:pt x="496921" y="194469"/>
                    </a:cubicBezTo>
                    <a:cubicBezTo>
                      <a:pt x="499604" y="193754"/>
                      <a:pt x="503002" y="193217"/>
                      <a:pt x="506581" y="194469"/>
                    </a:cubicBezTo>
                    <a:cubicBezTo>
                      <a:pt x="510158" y="195721"/>
                      <a:pt x="516419" y="202876"/>
                      <a:pt x="518386" y="201981"/>
                    </a:cubicBezTo>
                    <a:cubicBezTo>
                      <a:pt x="519370" y="201534"/>
                      <a:pt x="519370" y="200774"/>
                      <a:pt x="519124" y="198896"/>
                    </a:cubicBezTo>
                    <a:lnTo>
                      <a:pt x="518386" y="189102"/>
                    </a:lnTo>
                    <a:cubicBezTo>
                      <a:pt x="518391" y="189053"/>
                      <a:pt x="521603" y="159753"/>
                      <a:pt x="518386" y="142952"/>
                    </a:cubicBezTo>
                    <a:cubicBezTo>
                      <a:pt x="515167" y="126137"/>
                      <a:pt x="506760" y="103778"/>
                      <a:pt x="499068" y="88215"/>
                    </a:cubicBezTo>
                    <a:cubicBezTo>
                      <a:pt x="491376" y="72652"/>
                      <a:pt x="479213" y="57627"/>
                      <a:pt x="472236" y="49577"/>
                    </a:cubicBezTo>
                    <a:cubicBezTo>
                      <a:pt x="465260" y="41528"/>
                      <a:pt x="466154" y="44211"/>
                      <a:pt x="457210" y="39918"/>
                    </a:cubicBezTo>
                    <a:cubicBezTo>
                      <a:pt x="448266" y="35625"/>
                      <a:pt x="435030" y="29722"/>
                      <a:pt x="418572" y="23818"/>
                    </a:cubicBezTo>
                    <a:cubicBezTo>
                      <a:pt x="402117" y="17916"/>
                      <a:pt x="375821" y="8435"/>
                      <a:pt x="358470" y="4500"/>
                    </a:cubicBezTo>
                    <a:cubicBezTo>
                      <a:pt x="341118" y="564"/>
                      <a:pt x="326630" y="-509"/>
                      <a:pt x="314467" y="20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2">
                  <a:defRPr/>
                </a:pPr>
                <a:endParaRPr lang="en-US" sz="1798">
                  <a:solidFill>
                    <a:prstClr val="white"/>
                  </a:solidFill>
                  <a:latin typeface="Segoe UI"/>
                </a:endParaRPr>
              </a:p>
            </p:txBody>
          </p:sp>
          <p:sp>
            <p:nvSpPr>
              <p:cNvPr id="506" name="Freeform 493">
                <a:extLst>
                  <a:ext uri="{FF2B5EF4-FFF2-40B4-BE49-F238E27FC236}">
                    <a16:creationId xmlns:a16="http://schemas.microsoft.com/office/drawing/2014/main" id="{FB87BD17-0AC2-4081-AAF6-21242967F894}"/>
                  </a:ext>
                </a:extLst>
              </p:cNvPr>
              <p:cNvSpPr/>
              <p:nvPr/>
            </p:nvSpPr>
            <p:spPr>
              <a:xfrm>
                <a:off x="5391990" y="2823081"/>
                <a:ext cx="2628060" cy="3263867"/>
              </a:xfrm>
              <a:custGeom>
                <a:avLst/>
                <a:gdLst>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338138 w 3900488"/>
                  <a:gd name="connsiteY63" fmla="*/ 4760516 h 4808141"/>
                  <a:gd name="connsiteX64" fmla="*/ 161925 w 3900488"/>
                  <a:gd name="connsiteY64" fmla="*/ 4436666 h 4808141"/>
                  <a:gd name="connsiteX65" fmla="*/ 57150 w 3900488"/>
                  <a:gd name="connsiteY65" fmla="*/ 4141391 h 4808141"/>
                  <a:gd name="connsiteX66" fmla="*/ 0 w 3900488"/>
                  <a:gd name="connsiteY66" fmla="*/ 3855641 h 4808141"/>
                  <a:gd name="connsiteX67" fmla="*/ 23813 w 3900488"/>
                  <a:gd name="connsiteY67" fmla="*/ 3703241 h 4808141"/>
                  <a:gd name="connsiteX68" fmla="*/ 219075 w 3900488"/>
                  <a:gd name="connsiteY68" fmla="*/ 3584179 h 4808141"/>
                  <a:gd name="connsiteX69" fmla="*/ 533400 w 3900488"/>
                  <a:gd name="connsiteY69" fmla="*/ 3450829 h 4808141"/>
                  <a:gd name="connsiteX70" fmla="*/ 933450 w 3900488"/>
                  <a:gd name="connsiteY70" fmla="*/ 3293666 h 4808141"/>
                  <a:gd name="connsiteX71" fmla="*/ 1133475 w 3900488"/>
                  <a:gd name="connsiteY71" fmla="*/ 3217466 h 4808141"/>
                  <a:gd name="connsiteX72" fmla="*/ 1276350 w 3900488"/>
                  <a:gd name="connsiteY72" fmla="*/ 2950766 h 4808141"/>
                  <a:gd name="connsiteX73" fmla="*/ 1371600 w 3900488"/>
                  <a:gd name="connsiteY73" fmla="*/ 2888854 h 4808141"/>
                  <a:gd name="connsiteX74" fmla="*/ 1443038 w 3900488"/>
                  <a:gd name="connsiteY74" fmla="*/ 2750741 h 4808141"/>
                  <a:gd name="connsiteX75" fmla="*/ 1428750 w 3900488"/>
                  <a:gd name="connsiteY75" fmla="*/ 2665016 h 4808141"/>
                  <a:gd name="connsiteX76" fmla="*/ 1432339 w 3900488"/>
                  <a:gd name="connsiteY76" fmla="*/ 2655556 h 4808141"/>
                  <a:gd name="connsiteX77" fmla="*/ 1411332 w 3900488"/>
                  <a:gd name="connsiteY77" fmla="*/ 2630242 h 4808141"/>
                  <a:gd name="connsiteX78" fmla="*/ 1169833 w 3900488"/>
                  <a:gd name="connsiteY78" fmla="*/ 2059985 h 4808141"/>
                  <a:gd name="connsiteX79" fmla="*/ 975688 w 3900488"/>
                  <a:gd name="connsiteY79" fmla="*/ 1612672 h 4808141"/>
                  <a:gd name="connsiteX80" fmla="*/ 1051451 w 3900488"/>
                  <a:gd name="connsiteY80" fmla="*/ 1487109 h 4808141"/>
                  <a:gd name="connsiteX81" fmla="*/ 1016847 w 3900488"/>
                  <a:gd name="connsiteY81" fmla="*/ 1277790 h 4808141"/>
                  <a:gd name="connsiteX82" fmla="*/ 933449 w 3900488"/>
                  <a:gd name="connsiteY82" fmla="*/ 1341041 h 4808141"/>
                  <a:gd name="connsiteX83" fmla="*/ 882649 w 3900488"/>
                  <a:gd name="connsiteY83" fmla="*/ 1404541 h 4808141"/>
                  <a:gd name="connsiteX84" fmla="*/ 838199 w 3900488"/>
                  <a:gd name="connsiteY84" fmla="*/ 1525191 h 4808141"/>
                  <a:gd name="connsiteX85" fmla="*/ 857249 w 3900488"/>
                  <a:gd name="connsiteY85" fmla="*/ 1645841 h 4808141"/>
                  <a:gd name="connsiteX86" fmla="*/ 888999 w 3900488"/>
                  <a:gd name="connsiteY86" fmla="*/ 1829991 h 4808141"/>
                  <a:gd name="connsiteX87" fmla="*/ 965199 w 3900488"/>
                  <a:gd name="connsiteY87" fmla="*/ 2128441 h 4808141"/>
                  <a:gd name="connsiteX88" fmla="*/ 1047749 w 3900488"/>
                  <a:gd name="connsiteY88" fmla="*/ 2198291 h 4808141"/>
                  <a:gd name="connsiteX89" fmla="*/ 1098549 w 3900488"/>
                  <a:gd name="connsiteY89" fmla="*/ 2331641 h 4808141"/>
                  <a:gd name="connsiteX90" fmla="*/ 1219199 w 3900488"/>
                  <a:gd name="connsiteY90" fmla="*/ 2566591 h 4808141"/>
                  <a:gd name="connsiteX91" fmla="*/ 1269999 w 3900488"/>
                  <a:gd name="connsiteY91" fmla="*/ 2712641 h 4808141"/>
                  <a:gd name="connsiteX92" fmla="*/ 1130299 w 3900488"/>
                  <a:gd name="connsiteY92" fmla="*/ 2750741 h 4808141"/>
                  <a:gd name="connsiteX93" fmla="*/ 927099 w 3900488"/>
                  <a:gd name="connsiteY93" fmla="*/ 2776141 h 4808141"/>
                  <a:gd name="connsiteX94" fmla="*/ 742949 w 3900488"/>
                  <a:gd name="connsiteY94" fmla="*/ 2731691 h 4808141"/>
                  <a:gd name="connsiteX95" fmla="*/ 660399 w 3900488"/>
                  <a:gd name="connsiteY95" fmla="*/ 2591991 h 4808141"/>
                  <a:gd name="connsiteX96" fmla="*/ 622299 w 3900488"/>
                  <a:gd name="connsiteY96" fmla="*/ 2344341 h 4808141"/>
                  <a:gd name="connsiteX97" fmla="*/ 634999 w 3900488"/>
                  <a:gd name="connsiteY97" fmla="*/ 2020491 h 4808141"/>
                  <a:gd name="connsiteX98" fmla="*/ 736599 w 3900488"/>
                  <a:gd name="connsiteY98" fmla="*/ 1328341 h 4808141"/>
                  <a:gd name="connsiteX99" fmla="*/ 971549 w 3900488"/>
                  <a:gd name="connsiteY99" fmla="*/ 623491 h 4808141"/>
                  <a:gd name="connsiteX100" fmla="*/ 1168399 w 3900488"/>
                  <a:gd name="connsiteY100" fmla="*/ 299641 h 4808141"/>
                  <a:gd name="connsiteX101" fmla="*/ 1358899 w 3900488"/>
                  <a:gd name="connsiteY101" fmla="*/ 140891 h 4808141"/>
                  <a:gd name="connsiteX102" fmla="*/ 1530349 w 3900488"/>
                  <a:gd name="connsiteY102" fmla="*/ 115491 h 4808141"/>
                  <a:gd name="connsiteX103" fmla="*/ 1676399 w 3900488"/>
                  <a:gd name="connsiteY103" fmla="*/ 13891 h 4808141"/>
                  <a:gd name="connsiteX104" fmla="*/ 1813321 w 3900488"/>
                  <a:gd name="connsiteY104" fmla="*/ 0 h 4808141"/>
                  <a:gd name="connsiteX0" fmla="*/ 3060949 w 3900488"/>
                  <a:gd name="connsiteY0" fmla="*/ 1005769 h 4760516"/>
                  <a:gd name="connsiteX1" fmla="*/ 3081338 w 3900488"/>
                  <a:gd name="connsiteY1" fmla="*/ 1026716 h 4760516"/>
                  <a:gd name="connsiteX2" fmla="*/ 3167063 w 3900488"/>
                  <a:gd name="connsiteY2" fmla="*/ 1369616 h 4760516"/>
                  <a:gd name="connsiteX3" fmla="*/ 3252788 w 3900488"/>
                  <a:gd name="connsiteY3" fmla="*/ 1822054 h 4760516"/>
                  <a:gd name="connsiteX4" fmla="*/ 3281363 w 3900488"/>
                  <a:gd name="connsiteY4" fmla="*/ 2255441 h 4760516"/>
                  <a:gd name="connsiteX5" fmla="*/ 3271838 w 3900488"/>
                  <a:gd name="connsiteY5" fmla="*/ 2526904 h 4760516"/>
                  <a:gd name="connsiteX6" fmla="*/ 3190875 w 3900488"/>
                  <a:gd name="connsiteY6" fmla="*/ 2722166 h 4760516"/>
                  <a:gd name="connsiteX7" fmla="*/ 3043238 w 3900488"/>
                  <a:gd name="connsiteY7" fmla="*/ 2750741 h 4760516"/>
                  <a:gd name="connsiteX8" fmla="*/ 2809875 w 3900488"/>
                  <a:gd name="connsiteY8" fmla="*/ 2731691 h 4760516"/>
                  <a:gd name="connsiteX9" fmla="*/ 2633663 w 3900488"/>
                  <a:gd name="connsiteY9" fmla="*/ 2669779 h 4760516"/>
                  <a:gd name="connsiteX10" fmla="*/ 2657475 w 3900488"/>
                  <a:gd name="connsiteY10" fmla="*/ 2603104 h 4760516"/>
                  <a:gd name="connsiteX11" fmla="*/ 2752725 w 3900488"/>
                  <a:gd name="connsiteY11" fmla="*/ 2474516 h 4760516"/>
                  <a:gd name="connsiteX12" fmla="*/ 2843213 w 3900488"/>
                  <a:gd name="connsiteY12" fmla="*/ 2255441 h 4760516"/>
                  <a:gd name="connsiteX13" fmla="*/ 2862263 w 3900488"/>
                  <a:gd name="connsiteY13" fmla="*/ 2160191 h 4760516"/>
                  <a:gd name="connsiteX14" fmla="*/ 2919413 w 3900488"/>
                  <a:gd name="connsiteY14" fmla="*/ 2098279 h 4760516"/>
                  <a:gd name="connsiteX15" fmla="*/ 3000375 w 3900488"/>
                  <a:gd name="connsiteY15" fmla="*/ 1855391 h 4760516"/>
                  <a:gd name="connsiteX16" fmla="*/ 3057525 w 3900488"/>
                  <a:gd name="connsiteY16" fmla="*/ 1598216 h 4760516"/>
                  <a:gd name="connsiteX17" fmla="*/ 3062288 w 3900488"/>
                  <a:gd name="connsiteY17" fmla="*/ 1483916 h 4760516"/>
                  <a:gd name="connsiteX18" fmla="*/ 3009900 w 3900488"/>
                  <a:gd name="connsiteY18" fmla="*/ 1379141 h 4760516"/>
                  <a:gd name="connsiteX19" fmla="*/ 2957513 w 3900488"/>
                  <a:gd name="connsiteY19" fmla="*/ 1331516 h 4760516"/>
                  <a:gd name="connsiteX20" fmla="*/ 2947988 w 3900488"/>
                  <a:gd name="connsiteY20" fmla="*/ 1236266 h 4760516"/>
                  <a:gd name="connsiteX21" fmla="*/ 2957513 w 3900488"/>
                  <a:gd name="connsiteY21" fmla="*/ 1121966 h 4760516"/>
                  <a:gd name="connsiteX22" fmla="*/ 3005138 w 3900488"/>
                  <a:gd name="connsiteY22" fmla="*/ 1050529 h 4760516"/>
                  <a:gd name="connsiteX23" fmla="*/ 3060949 w 3900488"/>
                  <a:gd name="connsiteY23" fmla="*/ 1005769 h 4760516"/>
                  <a:gd name="connsiteX24" fmla="*/ 1813321 w 3900488"/>
                  <a:gd name="connsiteY24" fmla="*/ 0 h 4760516"/>
                  <a:gd name="connsiteX25" fmla="*/ 1955799 w 3900488"/>
                  <a:gd name="connsiteY25" fmla="*/ 1191 h 4760516"/>
                  <a:gd name="connsiteX26" fmla="*/ 2152649 w 3900488"/>
                  <a:gd name="connsiteY26" fmla="*/ 20241 h 4760516"/>
                  <a:gd name="connsiteX27" fmla="*/ 2381249 w 3900488"/>
                  <a:gd name="connsiteY27" fmla="*/ 121841 h 4760516"/>
                  <a:gd name="connsiteX28" fmla="*/ 2641599 w 3900488"/>
                  <a:gd name="connsiteY28" fmla="*/ 331391 h 4760516"/>
                  <a:gd name="connsiteX29" fmla="*/ 2946399 w 3900488"/>
                  <a:gd name="connsiteY29" fmla="*/ 693341 h 4760516"/>
                  <a:gd name="connsiteX30" fmla="*/ 3060699 w 3900488"/>
                  <a:gd name="connsiteY30" fmla="*/ 883841 h 4760516"/>
                  <a:gd name="connsiteX31" fmla="*/ 3009899 w 3900488"/>
                  <a:gd name="connsiteY31" fmla="*/ 1004491 h 4760516"/>
                  <a:gd name="connsiteX32" fmla="*/ 2901949 w 3900488"/>
                  <a:gd name="connsiteY32" fmla="*/ 1061641 h 4760516"/>
                  <a:gd name="connsiteX33" fmla="*/ 2825749 w 3900488"/>
                  <a:gd name="connsiteY33" fmla="*/ 998141 h 4760516"/>
                  <a:gd name="connsiteX34" fmla="*/ 2654299 w 3900488"/>
                  <a:gd name="connsiteY34" fmla="*/ 820341 h 4760516"/>
                  <a:gd name="connsiteX35" fmla="*/ 2349499 w 3900488"/>
                  <a:gd name="connsiteY35" fmla="*/ 674291 h 4760516"/>
                  <a:gd name="connsiteX36" fmla="*/ 2019299 w 3900488"/>
                  <a:gd name="connsiteY36" fmla="*/ 674291 h 4760516"/>
                  <a:gd name="connsiteX37" fmla="*/ 2343149 w 3900488"/>
                  <a:gd name="connsiteY37" fmla="*/ 769541 h 4760516"/>
                  <a:gd name="connsiteX38" fmla="*/ 2552699 w 3900488"/>
                  <a:gd name="connsiteY38" fmla="*/ 909241 h 4760516"/>
                  <a:gd name="connsiteX39" fmla="*/ 2629040 w 3900488"/>
                  <a:gd name="connsiteY39" fmla="*/ 973620 h 4760516"/>
                  <a:gd name="connsiteX40" fmla="*/ 2900212 w 3900488"/>
                  <a:gd name="connsiteY40" fmla="*/ 1067700 h 4760516"/>
                  <a:gd name="connsiteX41" fmla="*/ 2829545 w 3900488"/>
                  <a:gd name="connsiteY41" fmla="*/ 1212445 h 4760516"/>
                  <a:gd name="connsiteX42" fmla="*/ 2829545 w 3900488"/>
                  <a:gd name="connsiteY42" fmla="*/ 1445256 h 4760516"/>
                  <a:gd name="connsiteX43" fmla="*/ 2938456 w 3900488"/>
                  <a:gd name="connsiteY43" fmla="*/ 1531580 h 4760516"/>
                  <a:gd name="connsiteX44" fmla="*/ 2822442 w 3900488"/>
                  <a:gd name="connsiteY44" fmla="*/ 2041674 h 4760516"/>
                  <a:gd name="connsiteX45" fmla="*/ 2756148 w 3900488"/>
                  <a:gd name="connsiteY45" fmla="*/ 2086142 h 4760516"/>
                  <a:gd name="connsiteX46" fmla="*/ 2479547 w 3900488"/>
                  <a:gd name="connsiteY46" fmla="*/ 2698176 h 4760516"/>
                  <a:gd name="connsiteX47" fmla="*/ 2528888 w 3900488"/>
                  <a:gd name="connsiteY47" fmla="*/ 2817416 h 4760516"/>
                  <a:gd name="connsiteX48" fmla="*/ 2590800 w 3900488"/>
                  <a:gd name="connsiteY48" fmla="*/ 2874566 h 4760516"/>
                  <a:gd name="connsiteX49" fmla="*/ 2657475 w 3900488"/>
                  <a:gd name="connsiteY49" fmla="*/ 2884091 h 4760516"/>
                  <a:gd name="connsiteX50" fmla="*/ 2681288 w 3900488"/>
                  <a:gd name="connsiteY50" fmla="*/ 2912666 h 4760516"/>
                  <a:gd name="connsiteX51" fmla="*/ 2747963 w 3900488"/>
                  <a:gd name="connsiteY51" fmla="*/ 3079354 h 4760516"/>
                  <a:gd name="connsiteX52" fmla="*/ 2843213 w 3900488"/>
                  <a:gd name="connsiteY52" fmla="*/ 3174604 h 4760516"/>
                  <a:gd name="connsiteX53" fmla="*/ 2938463 w 3900488"/>
                  <a:gd name="connsiteY53" fmla="*/ 3207941 h 4760516"/>
                  <a:gd name="connsiteX54" fmla="*/ 3281363 w 3900488"/>
                  <a:gd name="connsiteY54" fmla="*/ 3317479 h 4760516"/>
                  <a:gd name="connsiteX55" fmla="*/ 3657600 w 3900488"/>
                  <a:gd name="connsiteY55" fmla="*/ 3493691 h 4760516"/>
                  <a:gd name="connsiteX56" fmla="*/ 3867150 w 3900488"/>
                  <a:gd name="connsiteY56" fmla="*/ 3641329 h 4760516"/>
                  <a:gd name="connsiteX57" fmla="*/ 3900488 w 3900488"/>
                  <a:gd name="connsiteY57" fmla="*/ 3769916 h 4760516"/>
                  <a:gd name="connsiteX58" fmla="*/ 3876675 w 3900488"/>
                  <a:gd name="connsiteY58" fmla="*/ 4027091 h 4760516"/>
                  <a:gd name="connsiteX59" fmla="*/ 3790950 w 3900488"/>
                  <a:gd name="connsiteY59" fmla="*/ 4236641 h 4760516"/>
                  <a:gd name="connsiteX60" fmla="*/ 3619500 w 3900488"/>
                  <a:gd name="connsiteY60" fmla="*/ 4598591 h 4760516"/>
                  <a:gd name="connsiteX61" fmla="*/ 3471863 w 3900488"/>
                  <a:gd name="connsiteY61" fmla="*/ 4760516 h 4760516"/>
                  <a:gd name="connsiteX62" fmla="*/ 338138 w 3900488"/>
                  <a:gd name="connsiteY62" fmla="*/ 4760516 h 4760516"/>
                  <a:gd name="connsiteX63" fmla="*/ 161925 w 3900488"/>
                  <a:gd name="connsiteY63" fmla="*/ 4436666 h 4760516"/>
                  <a:gd name="connsiteX64" fmla="*/ 57150 w 3900488"/>
                  <a:gd name="connsiteY64" fmla="*/ 4141391 h 4760516"/>
                  <a:gd name="connsiteX65" fmla="*/ 0 w 3900488"/>
                  <a:gd name="connsiteY65" fmla="*/ 3855641 h 4760516"/>
                  <a:gd name="connsiteX66" fmla="*/ 23813 w 3900488"/>
                  <a:gd name="connsiteY66" fmla="*/ 3703241 h 4760516"/>
                  <a:gd name="connsiteX67" fmla="*/ 219075 w 3900488"/>
                  <a:gd name="connsiteY67" fmla="*/ 3584179 h 4760516"/>
                  <a:gd name="connsiteX68" fmla="*/ 533400 w 3900488"/>
                  <a:gd name="connsiteY68" fmla="*/ 3450829 h 4760516"/>
                  <a:gd name="connsiteX69" fmla="*/ 933450 w 3900488"/>
                  <a:gd name="connsiteY69" fmla="*/ 3293666 h 4760516"/>
                  <a:gd name="connsiteX70" fmla="*/ 1133475 w 3900488"/>
                  <a:gd name="connsiteY70" fmla="*/ 3217466 h 4760516"/>
                  <a:gd name="connsiteX71" fmla="*/ 1276350 w 3900488"/>
                  <a:gd name="connsiteY71" fmla="*/ 2950766 h 4760516"/>
                  <a:gd name="connsiteX72" fmla="*/ 1371600 w 3900488"/>
                  <a:gd name="connsiteY72" fmla="*/ 2888854 h 4760516"/>
                  <a:gd name="connsiteX73" fmla="*/ 1443038 w 3900488"/>
                  <a:gd name="connsiteY73" fmla="*/ 2750741 h 4760516"/>
                  <a:gd name="connsiteX74" fmla="*/ 1428750 w 3900488"/>
                  <a:gd name="connsiteY74" fmla="*/ 2665016 h 4760516"/>
                  <a:gd name="connsiteX75" fmla="*/ 1432339 w 3900488"/>
                  <a:gd name="connsiteY75" fmla="*/ 2655556 h 4760516"/>
                  <a:gd name="connsiteX76" fmla="*/ 1411332 w 3900488"/>
                  <a:gd name="connsiteY76" fmla="*/ 2630242 h 4760516"/>
                  <a:gd name="connsiteX77" fmla="*/ 1169833 w 3900488"/>
                  <a:gd name="connsiteY77" fmla="*/ 2059985 h 4760516"/>
                  <a:gd name="connsiteX78" fmla="*/ 975688 w 3900488"/>
                  <a:gd name="connsiteY78" fmla="*/ 1612672 h 4760516"/>
                  <a:gd name="connsiteX79" fmla="*/ 1051451 w 3900488"/>
                  <a:gd name="connsiteY79" fmla="*/ 1487109 h 4760516"/>
                  <a:gd name="connsiteX80" fmla="*/ 1016847 w 3900488"/>
                  <a:gd name="connsiteY80" fmla="*/ 1277790 h 4760516"/>
                  <a:gd name="connsiteX81" fmla="*/ 933449 w 3900488"/>
                  <a:gd name="connsiteY81" fmla="*/ 1341041 h 4760516"/>
                  <a:gd name="connsiteX82" fmla="*/ 882649 w 3900488"/>
                  <a:gd name="connsiteY82" fmla="*/ 1404541 h 4760516"/>
                  <a:gd name="connsiteX83" fmla="*/ 838199 w 3900488"/>
                  <a:gd name="connsiteY83" fmla="*/ 1525191 h 4760516"/>
                  <a:gd name="connsiteX84" fmla="*/ 857249 w 3900488"/>
                  <a:gd name="connsiteY84" fmla="*/ 1645841 h 4760516"/>
                  <a:gd name="connsiteX85" fmla="*/ 888999 w 3900488"/>
                  <a:gd name="connsiteY85" fmla="*/ 1829991 h 4760516"/>
                  <a:gd name="connsiteX86" fmla="*/ 965199 w 3900488"/>
                  <a:gd name="connsiteY86" fmla="*/ 2128441 h 4760516"/>
                  <a:gd name="connsiteX87" fmla="*/ 1047749 w 3900488"/>
                  <a:gd name="connsiteY87" fmla="*/ 2198291 h 4760516"/>
                  <a:gd name="connsiteX88" fmla="*/ 1098549 w 3900488"/>
                  <a:gd name="connsiteY88" fmla="*/ 2331641 h 4760516"/>
                  <a:gd name="connsiteX89" fmla="*/ 1219199 w 3900488"/>
                  <a:gd name="connsiteY89" fmla="*/ 2566591 h 4760516"/>
                  <a:gd name="connsiteX90" fmla="*/ 1269999 w 3900488"/>
                  <a:gd name="connsiteY90" fmla="*/ 2712641 h 4760516"/>
                  <a:gd name="connsiteX91" fmla="*/ 1130299 w 3900488"/>
                  <a:gd name="connsiteY91" fmla="*/ 2750741 h 4760516"/>
                  <a:gd name="connsiteX92" fmla="*/ 927099 w 3900488"/>
                  <a:gd name="connsiteY92" fmla="*/ 2776141 h 4760516"/>
                  <a:gd name="connsiteX93" fmla="*/ 742949 w 3900488"/>
                  <a:gd name="connsiteY93" fmla="*/ 2731691 h 4760516"/>
                  <a:gd name="connsiteX94" fmla="*/ 660399 w 3900488"/>
                  <a:gd name="connsiteY94" fmla="*/ 2591991 h 4760516"/>
                  <a:gd name="connsiteX95" fmla="*/ 622299 w 3900488"/>
                  <a:gd name="connsiteY95" fmla="*/ 2344341 h 4760516"/>
                  <a:gd name="connsiteX96" fmla="*/ 634999 w 3900488"/>
                  <a:gd name="connsiteY96" fmla="*/ 2020491 h 4760516"/>
                  <a:gd name="connsiteX97" fmla="*/ 736599 w 3900488"/>
                  <a:gd name="connsiteY97" fmla="*/ 1328341 h 4760516"/>
                  <a:gd name="connsiteX98" fmla="*/ 971549 w 3900488"/>
                  <a:gd name="connsiteY98" fmla="*/ 623491 h 4760516"/>
                  <a:gd name="connsiteX99" fmla="*/ 1168399 w 3900488"/>
                  <a:gd name="connsiteY99" fmla="*/ 299641 h 4760516"/>
                  <a:gd name="connsiteX100" fmla="*/ 1358899 w 3900488"/>
                  <a:gd name="connsiteY100" fmla="*/ 140891 h 4760516"/>
                  <a:gd name="connsiteX101" fmla="*/ 1530349 w 3900488"/>
                  <a:gd name="connsiteY101" fmla="*/ 115491 h 4760516"/>
                  <a:gd name="connsiteX102" fmla="*/ 1676399 w 3900488"/>
                  <a:gd name="connsiteY102" fmla="*/ 13891 h 4760516"/>
                  <a:gd name="connsiteX103" fmla="*/ 1813321 w 3900488"/>
                  <a:gd name="connsiteY103" fmla="*/ 0 h 4760516"/>
                  <a:gd name="connsiteX0" fmla="*/ 3061653 w 3901192"/>
                  <a:gd name="connsiteY0" fmla="*/ 1005769 h 4760516"/>
                  <a:gd name="connsiteX1" fmla="*/ 3082042 w 3901192"/>
                  <a:gd name="connsiteY1" fmla="*/ 1026716 h 4760516"/>
                  <a:gd name="connsiteX2" fmla="*/ 3167767 w 3901192"/>
                  <a:gd name="connsiteY2" fmla="*/ 1369616 h 4760516"/>
                  <a:gd name="connsiteX3" fmla="*/ 3253492 w 3901192"/>
                  <a:gd name="connsiteY3" fmla="*/ 1822054 h 4760516"/>
                  <a:gd name="connsiteX4" fmla="*/ 3282067 w 3901192"/>
                  <a:gd name="connsiteY4" fmla="*/ 2255441 h 4760516"/>
                  <a:gd name="connsiteX5" fmla="*/ 3272542 w 3901192"/>
                  <a:gd name="connsiteY5" fmla="*/ 2526904 h 4760516"/>
                  <a:gd name="connsiteX6" fmla="*/ 3191579 w 3901192"/>
                  <a:gd name="connsiteY6" fmla="*/ 2722166 h 4760516"/>
                  <a:gd name="connsiteX7" fmla="*/ 3043942 w 3901192"/>
                  <a:gd name="connsiteY7" fmla="*/ 2750741 h 4760516"/>
                  <a:gd name="connsiteX8" fmla="*/ 2810579 w 3901192"/>
                  <a:gd name="connsiteY8" fmla="*/ 2731691 h 4760516"/>
                  <a:gd name="connsiteX9" fmla="*/ 2634367 w 3901192"/>
                  <a:gd name="connsiteY9" fmla="*/ 2669779 h 4760516"/>
                  <a:gd name="connsiteX10" fmla="*/ 2658179 w 3901192"/>
                  <a:gd name="connsiteY10" fmla="*/ 2603104 h 4760516"/>
                  <a:gd name="connsiteX11" fmla="*/ 2753429 w 3901192"/>
                  <a:gd name="connsiteY11" fmla="*/ 2474516 h 4760516"/>
                  <a:gd name="connsiteX12" fmla="*/ 2843917 w 3901192"/>
                  <a:gd name="connsiteY12" fmla="*/ 2255441 h 4760516"/>
                  <a:gd name="connsiteX13" fmla="*/ 2862967 w 3901192"/>
                  <a:gd name="connsiteY13" fmla="*/ 2160191 h 4760516"/>
                  <a:gd name="connsiteX14" fmla="*/ 2920117 w 3901192"/>
                  <a:gd name="connsiteY14" fmla="*/ 2098279 h 4760516"/>
                  <a:gd name="connsiteX15" fmla="*/ 3001079 w 3901192"/>
                  <a:gd name="connsiteY15" fmla="*/ 1855391 h 4760516"/>
                  <a:gd name="connsiteX16" fmla="*/ 3058229 w 3901192"/>
                  <a:gd name="connsiteY16" fmla="*/ 1598216 h 4760516"/>
                  <a:gd name="connsiteX17" fmla="*/ 3062992 w 3901192"/>
                  <a:gd name="connsiteY17" fmla="*/ 1483916 h 4760516"/>
                  <a:gd name="connsiteX18" fmla="*/ 3010604 w 3901192"/>
                  <a:gd name="connsiteY18" fmla="*/ 1379141 h 4760516"/>
                  <a:gd name="connsiteX19" fmla="*/ 2958217 w 3901192"/>
                  <a:gd name="connsiteY19" fmla="*/ 1331516 h 4760516"/>
                  <a:gd name="connsiteX20" fmla="*/ 2948692 w 3901192"/>
                  <a:gd name="connsiteY20" fmla="*/ 1236266 h 4760516"/>
                  <a:gd name="connsiteX21" fmla="*/ 2958217 w 3901192"/>
                  <a:gd name="connsiteY21" fmla="*/ 1121966 h 4760516"/>
                  <a:gd name="connsiteX22" fmla="*/ 3005842 w 3901192"/>
                  <a:gd name="connsiteY22" fmla="*/ 1050529 h 4760516"/>
                  <a:gd name="connsiteX23" fmla="*/ 3061653 w 3901192"/>
                  <a:gd name="connsiteY23" fmla="*/ 1005769 h 4760516"/>
                  <a:gd name="connsiteX24" fmla="*/ 1814025 w 3901192"/>
                  <a:gd name="connsiteY24" fmla="*/ 0 h 4760516"/>
                  <a:gd name="connsiteX25" fmla="*/ 1956503 w 3901192"/>
                  <a:gd name="connsiteY25" fmla="*/ 1191 h 4760516"/>
                  <a:gd name="connsiteX26" fmla="*/ 2153353 w 3901192"/>
                  <a:gd name="connsiteY26" fmla="*/ 20241 h 4760516"/>
                  <a:gd name="connsiteX27" fmla="*/ 2381953 w 3901192"/>
                  <a:gd name="connsiteY27" fmla="*/ 121841 h 4760516"/>
                  <a:gd name="connsiteX28" fmla="*/ 2642303 w 3901192"/>
                  <a:gd name="connsiteY28" fmla="*/ 331391 h 4760516"/>
                  <a:gd name="connsiteX29" fmla="*/ 2947103 w 3901192"/>
                  <a:gd name="connsiteY29" fmla="*/ 693341 h 4760516"/>
                  <a:gd name="connsiteX30" fmla="*/ 3061403 w 3901192"/>
                  <a:gd name="connsiteY30" fmla="*/ 883841 h 4760516"/>
                  <a:gd name="connsiteX31" fmla="*/ 3010603 w 3901192"/>
                  <a:gd name="connsiteY31" fmla="*/ 1004491 h 4760516"/>
                  <a:gd name="connsiteX32" fmla="*/ 2902653 w 3901192"/>
                  <a:gd name="connsiteY32" fmla="*/ 1061641 h 4760516"/>
                  <a:gd name="connsiteX33" fmla="*/ 2826453 w 3901192"/>
                  <a:gd name="connsiteY33" fmla="*/ 998141 h 4760516"/>
                  <a:gd name="connsiteX34" fmla="*/ 2655003 w 3901192"/>
                  <a:gd name="connsiteY34" fmla="*/ 820341 h 4760516"/>
                  <a:gd name="connsiteX35" fmla="*/ 2350203 w 3901192"/>
                  <a:gd name="connsiteY35" fmla="*/ 674291 h 4760516"/>
                  <a:gd name="connsiteX36" fmla="*/ 2020003 w 3901192"/>
                  <a:gd name="connsiteY36" fmla="*/ 674291 h 4760516"/>
                  <a:gd name="connsiteX37" fmla="*/ 2343853 w 3901192"/>
                  <a:gd name="connsiteY37" fmla="*/ 769541 h 4760516"/>
                  <a:gd name="connsiteX38" fmla="*/ 2553403 w 3901192"/>
                  <a:gd name="connsiteY38" fmla="*/ 909241 h 4760516"/>
                  <a:gd name="connsiteX39" fmla="*/ 2629744 w 3901192"/>
                  <a:gd name="connsiteY39" fmla="*/ 973620 h 4760516"/>
                  <a:gd name="connsiteX40" fmla="*/ 2900916 w 3901192"/>
                  <a:gd name="connsiteY40" fmla="*/ 1067700 h 4760516"/>
                  <a:gd name="connsiteX41" fmla="*/ 2830249 w 3901192"/>
                  <a:gd name="connsiteY41" fmla="*/ 1212445 h 4760516"/>
                  <a:gd name="connsiteX42" fmla="*/ 2830249 w 3901192"/>
                  <a:gd name="connsiteY42" fmla="*/ 1445256 h 4760516"/>
                  <a:gd name="connsiteX43" fmla="*/ 2939160 w 3901192"/>
                  <a:gd name="connsiteY43" fmla="*/ 1531580 h 4760516"/>
                  <a:gd name="connsiteX44" fmla="*/ 2823146 w 3901192"/>
                  <a:gd name="connsiteY44" fmla="*/ 2041674 h 4760516"/>
                  <a:gd name="connsiteX45" fmla="*/ 2756852 w 3901192"/>
                  <a:gd name="connsiteY45" fmla="*/ 2086142 h 4760516"/>
                  <a:gd name="connsiteX46" fmla="*/ 2480251 w 3901192"/>
                  <a:gd name="connsiteY46" fmla="*/ 2698176 h 4760516"/>
                  <a:gd name="connsiteX47" fmla="*/ 2529592 w 3901192"/>
                  <a:gd name="connsiteY47" fmla="*/ 2817416 h 4760516"/>
                  <a:gd name="connsiteX48" fmla="*/ 2591504 w 3901192"/>
                  <a:gd name="connsiteY48" fmla="*/ 2874566 h 4760516"/>
                  <a:gd name="connsiteX49" fmla="*/ 2658179 w 3901192"/>
                  <a:gd name="connsiteY49" fmla="*/ 2884091 h 4760516"/>
                  <a:gd name="connsiteX50" fmla="*/ 2681992 w 3901192"/>
                  <a:gd name="connsiteY50" fmla="*/ 2912666 h 4760516"/>
                  <a:gd name="connsiteX51" fmla="*/ 2748667 w 3901192"/>
                  <a:gd name="connsiteY51" fmla="*/ 3079354 h 4760516"/>
                  <a:gd name="connsiteX52" fmla="*/ 2843917 w 3901192"/>
                  <a:gd name="connsiteY52" fmla="*/ 3174604 h 4760516"/>
                  <a:gd name="connsiteX53" fmla="*/ 2939167 w 3901192"/>
                  <a:gd name="connsiteY53" fmla="*/ 3207941 h 4760516"/>
                  <a:gd name="connsiteX54" fmla="*/ 3282067 w 3901192"/>
                  <a:gd name="connsiteY54" fmla="*/ 3317479 h 4760516"/>
                  <a:gd name="connsiteX55" fmla="*/ 3658304 w 3901192"/>
                  <a:gd name="connsiteY55" fmla="*/ 3493691 h 4760516"/>
                  <a:gd name="connsiteX56" fmla="*/ 3867854 w 3901192"/>
                  <a:gd name="connsiteY56" fmla="*/ 3641329 h 4760516"/>
                  <a:gd name="connsiteX57" fmla="*/ 3901192 w 3901192"/>
                  <a:gd name="connsiteY57" fmla="*/ 3769916 h 4760516"/>
                  <a:gd name="connsiteX58" fmla="*/ 3877379 w 3901192"/>
                  <a:gd name="connsiteY58" fmla="*/ 4027091 h 4760516"/>
                  <a:gd name="connsiteX59" fmla="*/ 3791654 w 3901192"/>
                  <a:gd name="connsiteY59" fmla="*/ 4236641 h 4760516"/>
                  <a:gd name="connsiteX60" fmla="*/ 3620204 w 3901192"/>
                  <a:gd name="connsiteY60" fmla="*/ 4598591 h 4760516"/>
                  <a:gd name="connsiteX61" fmla="*/ 3472567 w 3901192"/>
                  <a:gd name="connsiteY61" fmla="*/ 4760516 h 4760516"/>
                  <a:gd name="connsiteX62" fmla="*/ 338842 w 3901192"/>
                  <a:gd name="connsiteY62" fmla="*/ 4760516 h 4760516"/>
                  <a:gd name="connsiteX63" fmla="*/ 162629 w 3901192"/>
                  <a:gd name="connsiteY63" fmla="*/ 4436666 h 4760516"/>
                  <a:gd name="connsiteX64" fmla="*/ 57854 w 3901192"/>
                  <a:gd name="connsiteY64" fmla="*/ 4141391 h 4760516"/>
                  <a:gd name="connsiteX65" fmla="*/ 704 w 3901192"/>
                  <a:gd name="connsiteY65" fmla="*/ 3855641 h 4760516"/>
                  <a:gd name="connsiteX66" fmla="*/ 24517 w 3901192"/>
                  <a:gd name="connsiteY66" fmla="*/ 3703241 h 4760516"/>
                  <a:gd name="connsiteX67" fmla="*/ 219779 w 3901192"/>
                  <a:gd name="connsiteY67" fmla="*/ 3584179 h 4760516"/>
                  <a:gd name="connsiteX68" fmla="*/ 534104 w 3901192"/>
                  <a:gd name="connsiteY68" fmla="*/ 3450829 h 4760516"/>
                  <a:gd name="connsiteX69" fmla="*/ 934154 w 3901192"/>
                  <a:gd name="connsiteY69" fmla="*/ 3293666 h 4760516"/>
                  <a:gd name="connsiteX70" fmla="*/ 1134179 w 3901192"/>
                  <a:gd name="connsiteY70" fmla="*/ 3217466 h 4760516"/>
                  <a:gd name="connsiteX71" fmla="*/ 1277054 w 3901192"/>
                  <a:gd name="connsiteY71" fmla="*/ 2950766 h 4760516"/>
                  <a:gd name="connsiteX72" fmla="*/ 1372304 w 3901192"/>
                  <a:gd name="connsiteY72" fmla="*/ 2888854 h 4760516"/>
                  <a:gd name="connsiteX73" fmla="*/ 1443742 w 3901192"/>
                  <a:gd name="connsiteY73" fmla="*/ 2750741 h 4760516"/>
                  <a:gd name="connsiteX74" fmla="*/ 1429454 w 3901192"/>
                  <a:gd name="connsiteY74" fmla="*/ 2665016 h 4760516"/>
                  <a:gd name="connsiteX75" fmla="*/ 1433043 w 3901192"/>
                  <a:gd name="connsiteY75" fmla="*/ 2655556 h 4760516"/>
                  <a:gd name="connsiteX76" fmla="*/ 1412036 w 3901192"/>
                  <a:gd name="connsiteY76" fmla="*/ 2630242 h 4760516"/>
                  <a:gd name="connsiteX77" fmla="*/ 1170537 w 3901192"/>
                  <a:gd name="connsiteY77" fmla="*/ 2059985 h 4760516"/>
                  <a:gd name="connsiteX78" fmla="*/ 976392 w 3901192"/>
                  <a:gd name="connsiteY78" fmla="*/ 1612672 h 4760516"/>
                  <a:gd name="connsiteX79" fmla="*/ 1052155 w 3901192"/>
                  <a:gd name="connsiteY79" fmla="*/ 1487109 h 4760516"/>
                  <a:gd name="connsiteX80" fmla="*/ 1017551 w 3901192"/>
                  <a:gd name="connsiteY80" fmla="*/ 1277790 h 4760516"/>
                  <a:gd name="connsiteX81" fmla="*/ 934153 w 3901192"/>
                  <a:gd name="connsiteY81" fmla="*/ 1341041 h 4760516"/>
                  <a:gd name="connsiteX82" fmla="*/ 883353 w 3901192"/>
                  <a:gd name="connsiteY82" fmla="*/ 1404541 h 4760516"/>
                  <a:gd name="connsiteX83" fmla="*/ 838903 w 3901192"/>
                  <a:gd name="connsiteY83" fmla="*/ 1525191 h 4760516"/>
                  <a:gd name="connsiteX84" fmla="*/ 857953 w 3901192"/>
                  <a:gd name="connsiteY84" fmla="*/ 1645841 h 4760516"/>
                  <a:gd name="connsiteX85" fmla="*/ 889703 w 3901192"/>
                  <a:gd name="connsiteY85" fmla="*/ 1829991 h 4760516"/>
                  <a:gd name="connsiteX86" fmla="*/ 965903 w 3901192"/>
                  <a:gd name="connsiteY86" fmla="*/ 2128441 h 4760516"/>
                  <a:gd name="connsiteX87" fmla="*/ 1048453 w 3901192"/>
                  <a:gd name="connsiteY87" fmla="*/ 2198291 h 4760516"/>
                  <a:gd name="connsiteX88" fmla="*/ 1099253 w 3901192"/>
                  <a:gd name="connsiteY88" fmla="*/ 2331641 h 4760516"/>
                  <a:gd name="connsiteX89" fmla="*/ 1219903 w 3901192"/>
                  <a:gd name="connsiteY89" fmla="*/ 2566591 h 4760516"/>
                  <a:gd name="connsiteX90" fmla="*/ 1270703 w 3901192"/>
                  <a:gd name="connsiteY90" fmla="*/ 2712641 h 4760516"/>
                  <a:gd name="connsiteX91" fmla="*/ 1131003 w 3901192"/>
                  <a:gd name="connsiteY91" fmla="*/ 2750741 h 4760516"/>
                  <a:gd name="connsiteX92" fmla="*/ 927803 w 3901192"/>
                  <a:gd name="connsiteY92" fmla="*/ 2776141 h 4760516"/>
                  <a:gd name="connsiteX93" fmla="*/ 743653 w 3901192"/>
                  <a:gd name="connsiteY93" fmla="*/ 2731691 h 4760516"/>
                  <a:gd name="connsiteX94" fmla="*/ 661103 w 3901192"/>
                  <a:gd name="connsiteY94" fmla="*/ 2591991 h 4760516"/>
                  <a:gd name="connsiteX95" fmla="*/ 623003 w 3901192"/>
                  <a:gd name="connsiteY95" fmla="*/ 2344341 h 4760516"/>
                  <a:gd name="connsiteX96" fmla="*/ 635703 w 3901192"/>
                  <a:gd name="connsiteY96" fmla="*/ 2020491 h 4760516"/>
                  <a:gd name="connsiteX97" fmla="*/ 737303 w 3901192"/>
                  <a:gd name="connsiteY97" fmla="*/ 1328341 h 4760516"/>
                  <a:gd name="connsiteX98" fmla="*/ 972253 w 3901192"/>
                  <a:gd name="connsiteY98" fmla="*/ 623491 h 4760516"/>
                  <a:gd name="connsiteX99" fmla="*/ 1169103 w 3901192"/>
                  <a:gd name="connsiteY99" fmla="*/ 299641 h 4760516"/>
                  <a:gd name="connsiteX100" fmla="*/ 1359603 w 3901192"/>
                  <a:gd name="connsiteY100" fmla="*/ 140891 h 4760516"/>
                  <a:gd name="connsiteX101" fmla="*/ 1531053 w 3901192"/>
                  <a:gd name="connsiteY101" fmla="*/ 115491 h 4760516"/>
                  <a:gd name="connsiteX102" fmla="*/ 1677103 w 3901192"/>
                  <a:gd name="connsiteY102" fmla="*/ 13891 h 4760516"/>
                  <a:gd name="connsiteX103" fmla="*/ 1814025 w 3901192"/>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2384"/>
                  <a:gd name="connsiteY0" fmla="*/ 1005769 h 4760516"/>
                  <a:gd name="connsiteX1" fmla="*/ 3082677 w 3902384"/>
                  <a:gd name="connsiteY1" fmla="*/ 1026716 h 4760516"/>
                  <a:gd name="connsiteX2" fmla="*/ 3168402 w 3902384"/>
                  <a:gd name="connsiteY2" fmla="*/ 1369616 h 4760516"/>
                  <a:gd name="connsiteX3" fmla="*/ 3254127 w 3902384"/>
                  <a:gd name="connsiteY3" fmla="*/ 1822054 h 4760516"/>
                  <a:gd name="connsiteX4" fmla="*/ 3282702 w 3902384"/>
                  <a:gd name="connsiteY4" fmla="*/ 2255441 h 4760516"/>
                  <a:gd name="connsiteX5" fmla="*/ 3273177 w 3902384"/>
                  <a:gd name="connsiteY5" fmla="*/ 2526904 h 4760516"/>
                  <a:gd name="connsiteX6" fmla="*/ 3192214 w 3902384"/>
                  <a:gd name="connsiteY6" fmla="*/ 2722166 h 4760516"/>
                  <a:gd name="connsiteX7" fmla="*/ 3044577 w 3902384"/>
                  <a:gd name="connsiteY7" fmla="*/ 2750741 h 4760516"/>
                  <a:gd name="connsiteX8" fmla="*/ 2811214 w 3902384"/>
                  <a:gd name="connsiteY8" fmla="*/ 2731691 h 4760516"/>
                  <a:gd name="connsiteX9" fmla="*/ 2635002 w 3902384"/>
                  <a:gd name="connsiteY9" fmla="*/ 2669779 h 4760516"/>
                  <a:gd name="connsiteX10" fmla="*/ 2658814 w 3902384"/>
                  <a:gd name="connsiteY10" fmla="*/ 2603104 h 4760516"/>
                  <a:gd name="connsiteX11" fmla="*/ 2754064 w 3902384"/>
                  <a:gd name="connsiteY11" fmla="*/ 2474516 h 4760516"/>
                  <a:gd name="connsiteX12" fmla="*/ 2844552 w 3902384"/>
                  <a:gd name="connsiteY12" fmla="*/ 2255441 h 4760516"/>
                  <a:gd name="connsiteX13" fmla="*/ 2863602 w 3902384"/>
                  <a:gd name="connsiteY13" fmla="*/ 2160191 h 4760516"/>
                  <a:gd name="connsiteX14" fmla="*/ 2920752 w 3902384"/>
                  <a:gd name="connsiteY14" fmla="*/ 2098279 h 4760516"/>
                  <a:gd name="connsiteX15" fmla="*/ 3001714 w 3902384"/>
                  <a:gd name="connsiteY15" fmla="*/ 1855391 h 4760516"/>
                  <a:gd name="connsiteX16" fmla="*/ 3058864 w 3902384"/>
                  <a:gd name="connsiteY16" fmla="*/ 1598216 h 4760516"/>
                  <a:gd name="connsiteX17" fmla="*/ 3063627 w 3902384"/>
                  <a:gd name="connsiteY17" fmla="*/ 1483916 h 4760516"/>
                  <a:gd name="connsiteX18" fmla="*/ 3011239 w 3902384"/>
                  <a:gd name="connsiteY18" fmla="*/ 1379141 h 4760516"/>
                  <a:gd name="connsiteX19" fmla="*/ 2958852 w 3902384"/>
                  <a:gd name="connsiteY19" fmla="*/ 1331516 h 4760516"/>
                  <a:gd name="connsiteX20" fmla="*/ 2949327 w 3902384"/>
                  <a:gd name="connsiteY20" fmla="*/ 1236266 h 4760516"/>
                  <a:gd name="connsiteX21" fmla="*/ 2958852 w 3902384"/>
                  <a:gd name="connsiteY21" fmla="*/ 1121966 h 4760516"/>
                  <a:gd name="connsiteX22" fmla="*/ 3006477 w 3902384"/>
                  <a:gd name="connsiteY22" fmla="*/ 1050529 h 4760516"/>
                  <a:gd name="connsiteX23" fmla="*/ 3062288 w 3902384"/>
                  <a:gd name="connsiteY23" fmla="*/ 1005769 h 4760516"/>
                  <a:gd name="connsiteX24" fmla="*/ 1814660 w 3902384"/>
                  <a:gd name="connsiteY24" fmla="*/ 0 h 4760516"/>
                  <a:gd name="connsiteX25" fmla="*/ 1957138 w 3902384"/>
                  <a:gd name="connsiteY25" fmla="*/ 1191 h 4760516"/>
                  <a:gd name="connsiteX26" fmla="*/ 2153988 w 3902384"/>
                  <a:gd name="connsiteY26" fmla="*/ 20241 h 4760516"/>
                  <a:gd name="connsiteX27" fmla="*/ 2382588 w 3902384"/>
                  <a:gd name="connsiteY27" fmla="*/ 121841 h 4760516"/>
                  <a:gd name="connsiteX28" fmla="*/ 2642938 w 3902384"/>
                  <a:gd name="connsiteY28" fmla="*/ 331391 h 4760516"/>
                  <a:gd name="connsiteX29" fmla="*/ 2947738 w 3902384"/>
                  <a:gd name="connsiteY29" fmla="*/ 693341 h 4760516"/>
                  <a:gd name="connsiteX30" fmla="*/ 3062038 w 3902384"/>
                  <a:gd name="connsiteY30" fmla="*/ 883841 h 4760516"/>
                  <a:gd name="connsiteX31" fmla="*/ 3011238 w 3902384"/>
                  <a:gd name="connsiteY31" fmla="*/ 1004491 h 4760516"/>
                  <a:gd name="connsiteX32" fmla="*/ 2903288 w 3902384"/>
                  <a:gd name="connsiteY32" fmla="*/ 1061641 h 4760516"/>
                  <a:gd name="connsiteX33" fmla="*/ 2827088 w 3902384"/>
                  <a:gd name="connsiteY33" fmla="*/ 998141 h 4760516"/>
                  <a:gd name="connsiteX34" fmla="*/ 2655638 w 3902384"/>
                  <a:gd name="connsiteY34" fmla="*/ 820341 h 4760516"/>
                  <a:gd name="connsiteX35" fmla="*/ 2350838 w 3902384"/>
                  <a:gd name="connsiteY35" fmla="*/ 674291 h 4760516"/>
                  <a:gd name="connsiteX36" fmla="*/ 2020638 w 3902384"/>
                  <a:gd name="connsiteY36" fmla="*/ 674291 h 4760516"/>
                  <a:gd name="connsiteX37" fmla="*/ 2344488 w 3902384"/>
                  <a:gd name="connsiteY37" fmla="*/ 769541 h 4760516"/>
                  <a:gd name="connsiteX38" fmla="*/ 2554038 w 3902384"/>
                  <a:gd name="connsiteY38" fmla="*/ 909241 h 4760516"/>
                  <a:gd name="connsiteX39" fmla="*/ 2630379 w 3902384"/>
                  <a:gd name="connsiteY39" fmla="*/ 973620 h 4760516"/>
                  <a:gd name="connsiteX40" fmla="*/ 2901551 w 3902384"/>
                  <a:gd name="connsiteY40" fmla="*/ 1067700 h 4760516"/>
                  <a:gd name="connsiteX41" fmla="*/ 2830884 w 3902384"/>
                  <a:gd name="connsiteY41" fmla="*/ 1212445 h 4760516"/>
                  <a:gd name="connsiteX42" fmla="*/ 2830884 w 3902384"/>
                  <a:gd name="connsiteY42" fmla="*/ 1445256 h 4760516"/>
                  <a:gd name="connsiteX43" fmla="*/ 2939795 w 3902384"/>
                  <a:gd name="connsiteY43" fmla="*/ 1531580 h 4760516"/>
                  <a:gd name="connsiteX44" fmla="*/ 2823781 w 3902384"/>
                  <a:gd name="connsiteY44" fmla="*/ 2041674 h 4760516"/>
                  <a:gd name="connsiteX45" fmla="*/ 2757487 w 3902384"/>
                  <a:gd name="connsiteY45" fmla="*/ 2086142 h 4760516"/>
                  <a:gd name="connsiteX46" fmla="*/ 2480886 w 3902384"/>
                  <a:gd name="connsiteY46" fmla="*/ 2698176 h 4760516"/>
                  <a:gd name="connsiteX47" fmla="*/ 2530227 w 3902384"/>
                  <a:gd name="connsiteY47" fmla="*/ 2817416 h 4760516"/>
                  <a:gd name="connsiteX48" fmla="*/ 2592139 w 3902384"/>
                  <a:gd name="connsiteY48" fmla="*/ 2874566 h 4760516"/>
                  <a:gd name="connsiteX49" fmla="*/ 2658814 w 3902384"/>
                  <a:gd name="connsiteY49" fmla="*/ 2884091 h 4760516"/>
                  <a:gd name="connsiteX50" fmla="*/ 2682627 w 3902384"/>
                  <a:gd name="connsiteY50" fmla="*/ 2912666 h 4760516"/>
                  <a:gd name="connsiteX51" fmla="*/ 2749302 w 3902384"/>
                  <a:gd name="connsiteY51" fmla="*/ 3079354 h 4760516"/>
                  <a:gd name="connsiteX52" fmla="*/ 2844552 w 3902384"/>
                  <a:gd name="connsiteY52" fmla="*/ 3174604 h 4760516"/>
                  <a:gd name="connsiteX53" fmla="*/ 2939802 w 3902384"/>
                  <a:gd name="connsiteY53" fmla="*/ 3207941 h 4760516"/>
                  <a:gd name="connsiteX54" fmla="*/ 3282702 w 3902384"/>
                  <a:gd name="connsiteY54" fmla="*/ 3317479 h 4760516"/>
                  <a:gd name="connsiteX55" fmla="*/ 3658939 w 3902384"/>
                  <a:gd name="connsiteY55" fmla="*/ 3493691 h 4760516"/>
                  <a:gd name="connsiteX56" fmla="*/ 3868489 w 3902384"/>
                  <a:gd name="connsiteY56" fmla="*/ 3641329 h 4760516"/>
                  <a:gd name="connsiteX57" fmla="*/ 3901827 w 3902384"/>
                  <a:gd name="connsiteY57" fmla="*/ 3769916 h 4760516"/>
                  <a:gd name="connsiteX58" fmla="*/ 3878014 w 3902384"/>
                  <a:gd name="connsiteY58" fmla="*/ 4027091 h 4760516"/>
                  <a:gd name="connsiteX59" fmla="*/ 3792289 w 3902384"/>
                  <a:gd name="connsiteY59" fmla="*/ 4236641 h 4760516"/>
                  <a:gd name="connsiteX60" fmla="*/ 3620839 w 3902384"/>
                  <a:gd name="connsiteY60" fmla="*/ 4598591 h 4760516"/>
                  <a:gd name="connsiteX61" fmla="*/ 3473202 w 3902384"/>
                  <a:gd name="connsiteY61" fmla="*/ 4760516 h 4760516"/>
                  <a:gd name="connsiteX62" fmla="*/ 339477 w 3902384"/>
                  <a:gd name="connsiteY62" fmla="*/ 4760516 h 4760516"/>
                  <a:gd name="connsiteX63" fmla="*/ 163264 w 3902384"/>
                  <a:gd name="connsiteY63" fmla="*/ 4436666 h 4760516"/>
                  <a:gd name="connsiteX64" fmla="*/ 58489 w 3902384"/>
                  <a:gd name="connsiteY64" fmla="*/ 4141391 h 4760516"/>
                  <a:gd name="connsiteX65" fmla="*/ 1339 w 3902384"/>
                  <a:gd name="connsiteY65" fmla="*/ 3855641 h 4760516"/>
                  <a:gd name="connsiteX66" fmla="*/ 25152 w 3902384"/>
                  <a:gd name="connsiteY66" fmla="*/ 3703241 h 4760516"/>
                  <a:gd name="connsiteX67" fmla="*/ 220414 w 3902384"/>
                  <a:gd name="connsiteY67" fmla="*/ 3584179 h 4760516"/>
                  <a:gd name="connsiteX68" fmla="*/ 534739 w 3902384"/>
                  <a:gd name="connsiteY68" fmla="*/ 3450829 h 4760516"/>
                  <a:gd name="connsiteX69" fmla="*/ 934789 w 3902384"/>
                  <a:gd name="connsiteY69" fmla="*/ 3293666 h 4760516"/>
                  <a:gd name="connsiteX70" fmla="*/ 1134814 w 3902384"/>
                  <a:gd name="connsiteY70" fmla="*/ 3217466 h 4760516"/>
                  <a:gd name="connsiteX71" fmla="*/ 1277689 w 3902384"/>
                  <a:gd name="connsiteY71" fmla="*/ 2950766 h 4760516"/>
                  <a:gd name="connsiteX72" fmla="*/ 1372939 w 3902384"/>
                  <a:gd name="connsiteY72" fmla="*/ 2888854 h 4760516"/>
                  <a:gd name="connsiteX73" fmla="*/ 1444377 w 3902384"/>
                  <a:gd name="connsiteY73" fmla="*/ 2750741 h 4760516"/>
                  <a:gd name="connsiteX74" fmla="*/ 1430089 w 3902384"/>
                  <a:gd name="connsiteY74" fmla="*/ 2665016 h 4760516"/>
                  <a:gd name="connsiteX75" fmla="*/ 1433678 w 3902384"/>
                  <a:gd name="connsiteY75" fmla="*/ 2655556 h 4760516"/>
                  <a:gd name="connsiteX76" fmla="*/ 1412671 w 3902384"/>
                  <a:gd name="connsiteY76" fmla="*/ 2630242 h 4760516"/>
                  <a:gd name="connsiteX77" fmla="*/ 1171172 w 3902384"/>
                  <a:gd name="connsiteY77" fmla="*/ 2059985 h 4760516"/>
                  <a:gd name="connsiteX78" fmla="*/ 977027 w 3902384"/>
                  <a:gd name="connsiteY78" fmla="*/ 1612672 h 4760516"/>
                  <a:gd name="connsiteX79" fmla="*/ 1052790 w 3902384"/>
                  <a:gd name="connsiteY79" fmla="*/ 1487109 h 4760516"/>
                  <a:gd name="connsiteX80" fmla="*/ 1018186 w 3902384"/>
                  <a:gd name="connsiteY80" fmla="*/ 1277790 h 4760516"/>
                  <a:gd name="connsiteX81" fmla="*/ 934788 w 3902384"/>
                  <a:gd name="connsiteY81" fmla="*/ 1341041 h 4760516"/>
                  <a:gd name="connsiteX82" fmla="*/ 883988 w 3902384"/>
                  <a:gd name="connsiteY82" fmla="*/ 1404541 h 4760516"/>
                  <a:gd name="connsiteX83" fmla="*/ 839538 w 3902384"/>
                  <a:gd name="connsiteY83" fmla="*/ 1525191 h 4760516"/>
                  <a:gd name="connsiteX84" fmla="*/ 858588 w 3902384"/>
                  <a:gd name="connsiteY84" fmla="*/ 1645841 h 4760516"/>
                  <a:gd name="connsiteX85" fmla="*/ 890338 w 3902384"/>
                  <a:gd name="connsiteY85" fmla="*/ 1829991 h 4760516"/>
                  <a:gd name="connsiteX86" fmla="*/ 966538 w 3902384"/>
                  <a:gd name="connsiteY86" fmla="*/ 2128441 h 4760516"/>
                  <a:gd name="connsiteX87" fmla="*/ 1049088 w 3902384"/>
                  <a:gd name="connsiteY87" fmla="*/ 2198291 h 4760516"/>
                  <a:gd name="connsiteX88" fmla="*/ 1099888 w 3902384"/>
                  <a:gd name="connsiteY88" fmla="*/ 2331641 h 4760516"/>
                  <a:gd name="connsiteX89" fmla="*/ 1220538 w 3902384"/>
                  <a:gd name="connsiteY89" fmla="*/ 2566591 h 4760516"/>
                  <a:gd name="connsiteX90" fmla="*/ 1271338 w 3902384"/>
                  <a:gd name="connsiteY90" fmla="*/ 2712641 h 4760516"/>
                  <a:gd name="connsiteX91" fmla="*/ 1131638 w 3902384"/>
                  <a:gd name="connsiteY91" fmla="*/ 2750741 h 4760516"/>
                  <a:gd name="connsiteX92" fmla="*/ 928438 w 3902384"/>
                  <a:gd name="connsiteY92" fmla="*/ 2776141 h 4760516"/>
                  <a:gd name="connsiteX93" fmla="*/ 744288 w 3902384"/>
                  <a:gd name="connsiteY93" fmla="*/ 2731691 h 4760516"/>
                  <a:gd name="connsiteX94" fmla="*/ 661738 w 3902384"/>
                  <a:gd name="connsiteY94" fmla="*/ 2591991 h 4760516"/>
                  <a:gd name="connsiteX95" fmla="*/ 623638 w 3902384"/>
                  <a:gd name="connsiteY95" fmla="*/ 2344341 h 4760516"/>
                  <a:gd name="connsiteX96" fmla="*/ 636338 w 3902384"/>
                  <a:gd name="connsiteY96" fmla="*/ 2020491 h 4760516"/>
                  <a:gd name="connsiteX97" fmla="*/ 737938 w 3902384"/>
                  <a:gd name="connsiteY97" fmla="*/ 1328341 h 4760516"/>
                  <a:gd name="connsiteX98" fmla="*/ 972888 w 3902384"/>
                  <a:gd name="connsiteY98" fmla="*/ 623491 h 4760516"/>
                  <a:gd name="connsiteX99" fmla="*/ 1169738 w 3902384"/>
                  <a:gd name="connsiteY99" fmla="*/ 299641 h 4760516"/>
                  <a:gd name="connsiteX100" fmla="*/ 1360238 w 3902384"/>
                  <a:gd name="connsiteY100" fmla="*/ 140891 h 4760516"/>
                  <a:gd name="connsiteX101" fmla="*/ 1531688 w 3902384"/>
                  <a:gd name="connsiteY101" fmla="*/ 115491 h 4760516"/>
                  <a:gd name="connsiteX102" fmla="*/ 1677738 w 3902384"/>
                  <a:gd name="connsiteY102" fmla="*/ 13891 h 4760516"/>
                  <a:gd name="connsiteX103" fmla="*/ 1814660 w 3902384"/>
                  <a:gd name="connsiteY103" fmla="*/ 0 h 4760516"/>
                  <a:gd name="connsiteX0" fmla="*/ 3062288 w 3903424"/>
                  <a:gd name="connsiteY0" fmla="*/ 1005769 h 4760516"/>
                  <a:gd name="connsiteX1" fmla="*/ 3082677 w 3903424"/>
                  <a:gd name="connsiteY1" fmla="*/ 1026716 h 4760516"/>
                  <a:gd name="connsiteX2" fmla="*/ 3168402 w 3903424"/>
                  <a:gd name="connsiteY2" fmla="*/ 1369616 h 4760516"/>
                  <a:gd name="connsiteX3" fmla="*/ 3254127 w 3903424"/>
                  <a:gd name="connsiteY3" fmla="*/ 1822054 h 4760516"/>
                  <a:gd name="connsiteX4" fmla="*/ 3282702 w 3903424"/>
                  <a:gd name="connsiteY4" fmla="*/ 2255441 h 4760516"/>
                  <a:gd name="connsiteX5" fmla="*/ 3273177 w 3903424"/>
                  <a:gd name="connsiteY5" fmla="*/ 2526904 h 4760516"/>
                  <a:gd name="connsiteX6" fmla="*/ 3192214 w 3903424"/>
                  <a:gd name="connsiteY6" fmla="*/ 2722166 h 4760516"/>
                  <a:gd name="connsiteX7" fmla="*/ 3044577 w 3903424"/>
                  <a:gd name="connsiteY7" fmla="*/ 2750741 h 4760516"/>
                  <a:gd name="connsiteX8" fmla="*/ 2811214 w 3903424"/>
                  <a:gd name="connsiteY8" fmla="*/ 2731691 h 4760516"/>
                  <a:gd name="connsiteX9" fmla="*/ 2635002 w 3903424"/>
                  <a:gd name="connsiteY9" fmla="*/ 2669779 h 4760516"/>
                  <a:gd name="connsiteX10" fmla="*/ 2658814 w 3903424"/>
                  <a:gd name="connsiteY10" fmla="*/ 2603104 h 4760516"/>
                  <a:gd name="connsiteX11" fmla="*/ 2754064 w 3903424"/>
                  <a:gd name="connsiteY11" fmla="*/ 2474516 h 4760516"/>
                  <a:gd name="connsiteX12" fmla="*/ 2844552 w 3903424"/>
                  <a:gd name="connsiteY12" fmla="*/ 2255441 h 4760516"/>
                  <a:gd name="connsiteX13" fmla="*/ 2863602 w 3903424"/>
                  <a:gd name="connsiteY13" fmla="*/ 2160191 h 4760516"/>
                  <a:gd name="connsiteX14" fmla="*/ 2920752 w 3903424"/>
                  <a:gd name="connsiteY14" fmla="*/ 2098279 h 4760516"/>
                  <a:gd name="connsiteX15" fmla="*/ 3001714 w 3903424"/>
                  <a:gd name="connsiteY15" fmla="*/ 1855391 h 4760516"/>
                  <a:gd name="connsiteX16" fmla="*/ 3058864 w 3903424"/>
                  <a:gd name="connsiteY16" fmla="*/ 1598216 h 4760516"/>
                  <a:gd name="connsiteX17" fmla="*/ 3063627 w 3903424"/>
                  <a:gd name="connsiteY17" fmla="*/ 1483916 h 4760516"/>
                  <a:gd name="connsiteX18" fmla="*/ 3011239 w 3903424"/>
                  <a:gd name="connsiteY18" fmla="*/ 1379141 h 4760516"/>
                  <a:gd name="connsiteX19" fmla="*/ 2958852 w 3903424"/>
                  <a:gd name="connsiteY19" fmla="*/ 1331516 h 4760516"/>
                  <a:gd name="connsiteX20" fmla="*/ 2949327 w 3903424"/>
                  <a:gd name="connsiteY20" fmla="*/ 1236266 h 4760516"/>
                  <a:gd name="connsiteX21" fmla="*/ 2958852 w 3903424"/>
                  <a:gd name="connsiteY21" fmla="*/ 1121966 h 4760516"/>
                  <a:gd name="connsiteX22" fmla="*/ 3006477 w 3903424"/>
                  <a:gd name="connsiteY22" fmla="*/ 1050529 h 4760516"/>
                  <a:gd name="connsiteX23" fmla="*/ 3062288 w 3903424"/>
                  <a:gd name="connsiteY23" fmla="*/ 1005769 h 4760516"/>
                  <a:gd name="connsiteX24" fmla="*/ 1814660 w 3903424"/>
                  <a:gd name="connsiteY24" fmla="*/ 0 h 4760516"/>
                  <a:gd name="connsiteX25" fmla="*/ 1957138 w 3903424"/>
                  <a:gd name="connsiteY25" fmla="*/ 1191 h 4760516"/>
                  <a:gd name="connsiteX26" fmla="*/ 2153988 w 3903424"/>
                  <a:gd name="connsiteY26" fmla="*/ 20241 h 4760516"/>
                  <a:gd name="connsiteX27" fmla="*/ 2382588 w 3903424"/>
                  <a:gd name="connsiteY27" fmla="*/ 121841 h 4760516"/>
                  <a:gd name="connsiteX28" fmla="*/ 2642938 w 3903424"/>
                  <a:gd name="connsiteY28" fmla="*/ 331391 h 4760516"/>
                  <a:gd name="connsiteX29" fmla="*/ 2947738 w 3903424"/>
                  <a:gd name="connsiteY29" fmla="*/ 693341 h 4760516"/>
                  <a:gd name="connsiteX30" fmla="*/ 3062038 w 3903424"/>
                  <a:gd name="connsiteY30" fmla="*/ 883841 h 4760516"/>
                  <a:gd name="connsiteX31" fmla="*/ 3011238 w 3903424"/>
                  <a:gd name="connsiteY31" fmla="*/ 1004491 h 4760516"/>
                  <a:gd name="connsiteX32" fmla="*/ 2903288 w 3903424"/>
                  <a:gd name="connsiteY32" fmla="*/ 1061641 h 4760516"/>
                  <a:gd name="connsiteX33" fmla="*/ 2827088 w 3903424"/>
                  <a:gd name="connsiteY33" fmla="*/ 998141 h 4760516"/>
                  <a:gd name="connsiteX34" fmla="*/ 2655638 w 3903424"/>
                  <a:gd name="connsiteY34" fmla="*/ 820341 h 4760516"/>
                  <a:gd name="connsiteX35" fmla="*/ 2350838 w 3903424"/>
                  <a:gd name="connsiteY35" fmla="*/ 674291 h 4760516"/>
                  <a:gd name="connsiteX36" fmla="*/ 2020638 w 3903424"/>
                  <a:gd name="connsiteY36" fmla="*/ 674291 h 4760516"/>
                  <a:gd name="connsiteX37" fmla="*/ 2344488 w 3903424"/>
                  <a:gd name="connsiteY37" fmla="*/ 769541 h 4760516"/>
                  <a:gd name="connsiteX38" fmla="*/ 2554038 w 3903424"/>
                  <a:gd name="connsiteY38" fmla="*/ 909241 h 4760516"/>
                  <a:gd name="connsiteX39" fmla="*/ 2630379 w 3903424"/>
                  <a:gd name="connsiteY39" fmla="*/ 973620 h 4760516"/>
                  <a:gd name="connsiteX40" fmla="*/ 2901551 w 3903424"/>
                  <a:gd name="connsiteY40" fmla="*/ 1067700 h 4760516"/>
                  <a:gd name="connsiteX41" fmla="*/ 2830884 w 3903424"/>
                  <a:gd name="connsiteY41" fmla="*/ 1212445 h 4760516"/>
                  <a:gd name="connsiteX42" fmla="*/ 2830884 w 3903424"/>
                  <a:gd name="connsiteY42" fmla="*/ 1445256 h 4760516"/>
                  <a:gd name="connsiteX43" fmla="*/ 2939795 w 3903424"/>
                  <a:gd name="connsiteY43" fmla="*/ 1531580 h 4760516"/>
                  <a:gd name="connsiteX44" fmla="*/ 2823781 w 3903424"/>
                  <a:gd name="connsiteY44" fmla="*/ 2041674 h 4760516"/>
                  <a:gd name="connsiteX45" fmla="*/ 2757487 w 3903424"/>
                  <a:gd name="connsiteY45" fmla="*/ 2086142 h 4760516"/>
                  <a:gd name="connsiteX46" fmla="*/ 2480886 w 3903424"/>
                  <a:gd name="connsiteY46" fmla="*/ 2698176 h 4760516"/>
                  <a:gd name="connsiteX47" fmla="*/ 2530227 w 3903424"/>
                  <a:gd name="connsiteY47" fmla="*/ 2817416 h 4760516"/>
                  <a:gd name="connsiteX48" fmla="*/ 2592139 w 3903424"/>
                  <a:gd name="connsiteY48" fmla="*/ 2874566 h 4760516"/>
                  <a:gd name="connsiteX49" fmla="*/ 2658814 w 3903424"/>
                  <a:gd name="connsiteY49" fmla="*/ 2884091 h 4760516"/>
                  <a:gd name="connsiteX50" fmla="*/ 2682627 w 3903424"/>
                  <a:gd name="connsiteY50" fmla="*/ 2912666 h 4760516"/>
                  <a:gd name="connsiteX51" fmla="*/ 2749302 w 3903424"/>
                  <a:gd name="connsiteY51" fmla="*/ 3079354 h 4760516"/>
                  <a:gd name="connsiteX52" fmla="*/ 2844552 w 3903424"/>
                  <a:gd name="connsiteY52" fmla="*/ 3174604 h 4760516"/>
                  <a:gd name="connsiteX53" fmla="*/ 2939802 w 3903424"/>
                  <a:gd name="connsiteY53" fmla="*/ 3207941 h 4760516"/>
                  <a:gd name="connsiteX54" fmla="*/ 3282702 w 3903424"/>
                  <a:gd name="connsiteY54" fmla="*/ 3317479 h 4760516"/>
                  <a:gd name="connsiteX55" fmla="*/ 3658939 w 3903424"/>
                  <a:gd name="connsiteY55" fmla="*/ 3493691 h 4760516"/>
                  <a:gd name="connsiteX56" fmla="*/ 3868489 w 3903424"/>
                  <a:gd name="connsiteY56" fmla="*/ 3641329 h 4760516"/>
                  <a:gd name="connsiteX57" fmla="*/ 3901827 w 3903424"/>
                  <a:gd name="connsiteY57" fmla="*/ 3769916 h 4760516"/>
                  <a:gd name="connsiteX58" fmla="*/ 3878014 w 3903424"/>
                  <a:gd name="connsiteY58" fmla="*/ 4027091 h 4760516"/>
                  <a:gd name="connsiteX59" fmla="*/ 3792289 w 3903424"/>
                  <a:gd name="connsiteY59" fmla="*/ 4236641 h 4760516"/>
                  <a:gd name="connsiteX60" fmla="*/ 3620839 w 3903424"/>
                  <a:gd name="connsiteY60" fmla="*/ 4598591 h 4760516"/>
                  <a:gd name="connsiteX61" fmla="*/ 3473202 w 3903424"/>
                  <a:gd name="connsiteY61" fmla="*/ 4760516 h 4760516"/>
                  <a:gd name="connsiteX62" fmla="*/ 339477 w 3903424"/>
                  <a:gd name="connsiteY62" fmla="*/ 4760516 h 4760516"/>
                  <a:gd name="connsiteX63" fmla="*/ 163264 w 3903424"/>
                  <a:gd name="connsiteY63" fmla="*/ 4436666 h 4760516"/>
                  <a:gd name="connsiteX64" fmla="*/ 58489 w 3903424"/>
                  <a:gd name="connsiteY64" fmla="*/ 4141391 h 4760516"/>
                  <a:gd name="connsiteX65" fmla="*/ 1339 w 3903424"/>
                  <a:gd name="connsiteY65" fmla="*/ 3855641 h 4760516"/>
                  <a:gd name="connsiteX66" fmla="*/ 25152 w 3903424"/>
                  <a:gd name="connsiteY66" fmla="*/ 3703241 h 4760516"/>
                  <a:gd name="connsiteX67" fmla="*/ 220414 w 3903424"/>
                  <a:gd name="connsiteY67" fmla="*/ 3584179 h 4760516"/>
                  <a:gd name="connsiteX68" fmla="*/ 534739 w 3903424"/>
                  <a:gd name="connsiteY68" fmla="*/ 3450829 h 4760516"/>
                  <a:gd name="connsiteX69" fmla="*/ 934789 w 3903424"/>
                  <a:gd name="connsiteY69" fmla="*/ 3293666 h 4760516"/>
                  <a:gd name="connsiteX70" fmla="*/ 1134814 w 3903424"/>
                  <a:gd name="connsiteY70" fmla="*/ 3217466 h 4760516"/>
                  <a:gd name="connsiteX71" fmla="*/ 1277689 w 3903424"/>
                  <a:gd name="connsiteY71" fmla="*/ 2950766 h 4760516"/>
                  <a:gd name="connsiteX72" fmla="*/ 1372939 w 3903424"/>
                  <a:gd name="connsiteY72" fmla="*/ 2888854 h 4760516"/>
                  <a:gd name="connsiteX73" fmla="*/ 1444377 w 3903424"/>
                  <a:gd name="connsiteY73" fmla="*/ 2750741 h 4760516"/>
                  <a:gd name="connsiteX74" fmla="*/ 1430089 w 3903424"/>
                  <a:gd name="connsiteY74" fmla="*/ 2665016 h 4760516"/>
                  <a:gd name="connsiteX75" fmla="*/ 1433678 w 3903424"/>
                  <a:gd name="connsiteY75" fmla="*/ 2655556 h 4760516"/>
                  <a:gd name="connsiteX76" fmla="*/ 1412671 w 3903424"/>
                  <a:gd name="connsiteY76" fmla="*/ 2630242 h 4760516"/>
                  <a:gd name="connsiteX77" fmla="*/ 1171172 w 3903424"/>
                  <a:gd name="connsiteY77" fmla="*/ 2059985 h 4760516"/>
                  <a:gd name="connsiteX78" fmla="*/ 977027 w 3903424"/>
                  <a:gd name="connsiteY78" fmla="*/ 1612672 h 4760516"/>
                  <a:gd name="connsiteX79" fmla="*/ 1052790 w 3903424"/>
                  <a:gd name="connsiteY79" fmla="*/ 1487109 h 4760516"/>
                  <a:gd name="connsiteX80" fmla="*/ 1018186 w 3903424"/>
                  <a:gd name="connsiteY80" fmla="*/ 1277790 h 4760516"/>
                  <a:gd name="connsiteX81" fmla="*/ 934788 w 3903424"/>
                  <a:gd name="connsiteY81" fmla="*/ 1341041 h 4760516"/>
                  <a:gd name="connsiteX82" fmla="*/ 883988 w 3903424"/>
                  <a:gd name="connsiteY82" fmla="*/ 1404541 h 4760516"/>
                  <a:gd name="connsiteX83" fmla="*/ 839538 w 3903424"/>
                  <a:gd name="connsiteY83" fmla="*/ 1525191 h 4760516"/>
                  <a:gd name="connsiteX84" fmla="*/ 858588 w 3903424"/>
                  <a:gd name="connsiteY84" fmla="*/ 1645841 h 4760516"/>
                  <a:gd name="connsiteX85" fmla="*/ 890338 w 3903424"/>
                  <a:gd name="connsiteY85" fmla="*/ 1829991 h 4760516"/>
                  <a:gd name="connsiteX86" fmla="*/ 966538 w 3903424"/>
                  <a:gd name="connsiteY86" fmla="*/ 2128441 h 4760516"/>
                  <a:gd name="connsiteX87" fmla="*/ 1049088 w 3903424"/>
                  <a:gd name="connsiteY87" fmla="*/ 2198291 h 4760516"/>
                  <a:gd name="connsiteX88" fmla="*/ 1099888 w 3903424"/>
                  <a:gd name="connsiteY88" fmla="*/ 2331641 h 4760516"/>
                  <a:gd name="connsiteX89" fmla="*/ 1220538 w 3903424"/>
                  <a:gd name="connsiteY89" fmla="*/ 2566591 h 4760516"/>
                  <a:gd name="connsiteX90" fmla="*/ 1271338 w 3903424"/>
                  <a:gd name="connsiteY90" fmla="*/ 2712641 h 4760516"/>
                  <a:gd name="connsiteX91" fmla="*/ 1131638 w 3903424"/>
                  <a:gd name="connsiteY91" fmla="*/ 2750741 h 4760516"/>
                  <a:gd name="connsiteX92" fmla="*/ 928438 w 3903424"/>
                  <a:gd name="connsiteY92" fmla="*/ 2776141 h 4760516"/>
                  <a:gd name="connsiteX93" fmla="*/ 744288 w 3903424"/>
                  <a:gd name="connsiteY93" fmla="*/ 2731691 h 4760516"/>
                  <a:gd name="connsiteX94" fmla="*/ 661738 w 3903424"/>
                  <a:gd name="connsiteY94" fmla="*/ 2591991 h 4760516"/>
                  <a:gd name="connsiteX95" fmla="*/ 623638 w 3903424"/>
                  <a:gd name="connsiteY95" fmla="*/ 2344341 h 4760516"/>
                  <a:gd name="connsiteX96" fmla="*/ 636338 w 3903424"/>
                  <a:gd name="connsiteY96" fmla="*/ 2020491 h 4760516"/>
                  <a:gd name="connsiteX97" fmla="*/ 737938 w 3903424"/>
                  <a:gd name="connsiteY97" fmla="*/ 1328341 h 4760516"/>
                  <a:gd name="connsiteX98" fmla="*/ 972888 w 3903424"/>
                  <a:gd name="connsiteY98" fmla="*/ 623491 h 4760516"/>
                  <a:gd name="connsiteX99" fmla="*/ 1169738 w 3903424"/>
                  <a:gd name="connsiteY99" fmla="*/ 299641 h 4760516"/>
                  <a:gd name="connsiteX100" fmla="*/ 1360238 w 3903424"/>
                  <a:gd name="connsiteY100" fmla="*/ 140891 h 4760516"/>
                  <a:gd name="connsiteX101" fmla="*/ 1531688 w 3903424"/>
                  <a:gd name="connsiteY101" fmla="*/ 115491 h 4760516"/>
                  <a:gd name="connsiteX102" fmla="*/ 1677738 w 3903424"/>
                  <a:gd name="connsiteY102" fmla="*/ 13891 h 4760516"/>
                  <a:gd name="connsiteX103" fmla="*/ 1814660 w 3903424"/>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810829"/>
                  <a:gd name="connsiteX1" fmla="*/ 3082677 w 3904400"/>
                  <a:gd name="connsiteY1" fmla="*/ 1026716 h 4810829"/>
                  <a:gd name="connsiteX2" fmla="*/ 3168402 w 3904400"/>
                  <a:gd name="connsiteY2" fmla="*/ 1369616 h 4810829"/>
                  <a:gd name="connsiteX3" fmla="*/ 3254127 w 3904400"/>
                  <a:gd name="connsiteY3" fmla="*/ 1822054 h 4810829"/>
                  <a:gd name="connsiteX4" fmla="*/ 3282702 w 3904400"/>
                  <a:gd name="connsiteY4" fmla="*/ 2255441 h 4810829"/>
                  <a:gd name="connsiteX5" fmla="*/ 3273177 w 3904400"/>
                  <a:gd name="connsiteY5" fmla="*/ 2526904 h 4810829"/>
                  <a:gd name="connsiteX6" fmla="*/ 3192214 w 3904400"/>
                  <a:gd name="connsiteY6" fmla="*/ 2722166 h 4810829"/>
                  <a:gd name="connsiteX7" fmla="*/ 3044577 w 3904400"/>
                  <a:gd name="connsiteY7" fmla="*/ 2750741 h 4810829"/>
                  <a:gd name="connsiteX8" fmla="*/ 2811214 w 3904400"/>
                  <a:gd name="connsiteY8" fmla="*/ 2731691 h 4810829"/>
                  <a:gd name="connsiteX9" fmla="*/ 2635002 w 3904400"/>
                  <a:gd name="connsiteY9" fmla="*/ 2669779 h 4810829"/>
                  <a:gd name="connsiteX10" fmla="*/ 2658814 w 3904400"/>
                  <a:gd name="connsiteY10" fmla="*/ 2603104 h 4810829"/>
                  <a:gd name="connsiteX11" fmla="*/ 2754064 w 3904400"/>
                  <a:gd name="connsiteY11" fmla="*/ 2474516 h 4810829"/>
                  <a:gd name="connsiteX12" fmla="*/ 2844552 w 3904400"/>
                  <a:gd name="connsiteY12" fmla="*/ 2255441 h 4810829"/>
                  <a:gd name="connsiteX13" fmla="*/ 2863602 w 3904400"/>
                  <a:gd name="connsiteY13" fmla="*/ 2160191 h 4810829"/>
                  <a:gd name="connsiteX14" fmla="*/ 2920752 w 3904400"/>
                  <a:gd name="connsiteY14" fmla="*/ 2098279 h 4810829"/>
                  <a:gd name="connsiteX15" fmla="*/ 3001714 w 3904400"/>
                  <a:gd name="connsiteY15" fmla="*/ 1855391 h 4810829"/>
                  <a:gd name="connsiteX16" fmla="*/ 3058864 w 3904400"/>
                  <a:gd name="connsiteY16" fmla="*/ 1598216 h 4810829"/>
                  <a:gd name="connsiteX17" fmla="*/ 3063627 w 3904400"/>
                  <a:gd name="connsiteY17" fmla="*/ 1483916 h 4810829"/>
                  <a:gd name="connsiteX18" fmla="*/ 3011239 w 3904400"/>
                  <a:gd name="connsiteY18" fmla="*/ 1379141 h 4810829"/>
                  <a:gd name="connsiteX19" fmla="*/ 2958852 w 3904400"/>
                  <a:gd name="connsiteY19" fmla="*/ 1331516 h 4810829"/>
                  <a:gd name="connsiteX20" fmla="*/ 2949327 w 3904400"/>
                  <a:gd name="connsiteY20" fmla="*/ 1236266 h 4810829"/>
                  <a:gd name="connsiteX21" fmla="*/ 2958852 w 3904400"/>
                  <a:gd name="connsiteY21" fmla="*/ 1121966 h 4810829"/>
                  <a:gd name="connsiteX22" fmla="*/ 3006477 w 3904400"/>
                  <a:gd name="connsiteY22" fmla="*/ 1050529 h 4810829"/>
                  <a:gd name="connsiteX23" fmla="*/ 3062288 w 3904400"/>
                  <a:gd name="connsiteY23" fmla="*/ 1005769 h 4810829"/>
                  <a:gd name="connsiteX24" fmla="*/ 1814660 w 3904400"/>
                  <a:gd name="connsiteY24" fmla="*/ 0 h 4810829"/>
                  <a:gd name="connsiteX25" fmla="*/ 1957138 w 3904400"/>
                  <a:gd name="connsiteY25" fmla="*/ 1191 h 4810829"/>
                  <a:gd name="connsiteX26" fmla="*/ 2153988 w 3904400"/>
                  <a:gd name="connsiteY26" fmla="*/ 20241 h 4810829"/>
                  <a:gd name="connsiteX27" fmla="*/ 2382588 w 3904400"/>
                  <a:gd name="connsiteY27" fmla="*/ 121841 h 4810829"/>
                  <a:gd name="connsiteX28" fmla="*/ 2642938 w 3904400"/>
                  <a:gd name="connsiteY28" fmla="*/ 331391 h 4810829"/>
                  <a:gd name="connsiteX29" fmla="*/ 2947738 w 3904400"/>
                  <a:gd name="connsiteY29" fmla="*/ 693341 h 4810829"/>
                  <a:gd name="connsiteX30" fmla="*/ 3062038 w 3904400"/>
                  <a:gd name="connsiteY30" fmla="*/ 883841 h 4810829"/>
                  <a:gd name="connsiteX31" fmla="*/ 3011238 w 3904400"/>
                  <a:gd name="connsiteY31" fmla="*/ 1004491 h 4810829"/>
                  <a:gd name="connsiteX32" fmla="*/ 2903288 w 3904400"/>
                  <a:gd name="connsiteY32" fmla="*/ 1061641 h 4810829"/>
                  <a:gd name="connsiteX33" fmla="*/ 2827088 w 3904400"/>
                  <a:gd name="connsiteY33" fmla="*/ 998141 h 4810829"/>
                  <a:gd name="connsiteX34" fmla="*/ 2655638 w 3904400"/>
                  <a:gd name="connsiteY34" fmla="*/ 820341 h 4810829"/>
                  <a:gd name="connsiteX35" fmla="*/ 2350838 w 3904400"/>
                  <a:gd name="connsiteY35" fmla="*/ 674291 h 4810829"/>
                  <a:gd name="connsiteX36" fmla="*/ 2020638 w 3904400"/>
                  <a:gd name="connsiteY36" fmla="*/ 674291 h 4810829"/>
                  <a:gd name="connsiteX37" fmla="*/ 2344488 w 3904400"/>
                  <a:gd name="connsiteY37" fmla="*/ 769541 h 4810829"/>
                  <a:gd name="connsiteX38" fmla="*/ 2554038 w 3904400"/>
                  <a:gd name="connsiteY38" fmla="*/ 909241 h 4810829"/>
                  <a:gd name="connsiteX39" fmla="*/ 2630379 w 3904400"/>
                  <a:gd name="connsiteY39" fmla="*/ 973620 h 4810829"/>
                  <a:gd name="connsiteX40" fmla="*/ 2901551 w 3904400"/>
                  <a:gd name="connsiteY40" fmla="*/ 1067700 h 4810829"/>
                  <a:gd name="connsiteX41" fmla="*/ 2830884 w 3904400"/>
                  <a:gd name="connsiteY41" fmla="*/ 1212445 h 4810829"/>
                  <a:gd name="connsiteX42" fmla="*/ 2830884 w 3904400"/>
                  <a:gd name="connsiteY42" fmla="*/ 1445256 h 4810829"/>
                  <a:gd name="connsiteX43" fmla="*/ 2939795 w 3904400"/>
                  <a:gd name="connsiteY43" fmla="*/ 1531580 h 4810829"/>
                  <a:gd name="connsiteX44" fmla="*/ 2823781 w 3904400"/>
                  <a:gd name="connsiteY44" fmla="*/ 2041674 h 4810829"/>
                  <a:gd name="connsiteX45" fmla="*/ 2757487 w 3904400"/>
                  <a:gd name="connsiteY45" fmla="*/ 2086142 h 4810829"/>
                  <a:gd name="connsiteX46" fmla="*/ 2480886 w 3904400"/>
                  <a:gd name="connsiteY46" fmla="*/ 2698176 h 4810829"/>
                  <a:gd name="connsiteX47" fmla="*/ 2530227 w 3904400"/>
                  <a:gd name="connsiteY47" fmla="*/ 2817416 h 4810829"/>
                  <a:gd name="connsiteX48" fmla="*/ 2592139 w 3904400"/>
                  <a:gd name="connsiteY48" fmla="*/ 2874566 h 4810829"/>
                  <a:gd name="connsiteX49" fmla="*/ 2658814 w 3904400"/>
                  <a:gd name="connsiteY49" fmla="*/ 2884091 h 4810829"/>
                  <a:gd name="connsiteX50" fmla="*/ 2682627 w 3904400"/>
                  <a:gd name="connsiteY50" fmla="*/ 2912666 h 4810829"/>
                  <a:gd name="connsiteX51" fmla="*/ 2749302 w 3904400"/>
                  <a:gd name="connsiteY51" fmla="*/ 3079354 h 4810829"/>
                  <a:gd name="connsiteX52" fmla="*/ 2844552 w 3904400"/>
                  <a:gd name="connsiteY52" fmla="*/ 3174604 h 4810829"/>
                  <a:gd name="connsiteX53" fmla="*/ 2939802 w 3904400"/>
                  <a:gd name="connsiteY53" fmla="*/ 3207941 h 4810829"/>
                  <a:gd name="connsiteX54" fmla="*/ 3282702 w 3904400"/>
                  <a:gd name="connsiteY54" fmla="*/ 3317479 h 4810829"/>
                  <a:gd name="connsiteX55" fmla="*/ 3658939 w 3904400"/>
                  <a:gd name="connsiteY55" fmla="*/ 3493691 h 4810829"/>
                  <a:gd name="connsiteX56" fmla="*/ 3868489 w 3904400"/>
                  <a:gd name="connsiteY56" fmla="*/ 3641329 h 4810829"/>
                  <a:gd name="connsiteX57" fmla="*/ 3901827 w 3904400"/>
                  <a:gd name="connsiteY57" fmla="*/ 3769916 h 4810829"/>
                  <a:gd name="connsiteX58" fmla="*/ 3878014 w 3904400"/>
                  <a:gd name="connsiteY58" fmla="*/ 4027091 h 4810829"/>
                  <a:gd name="connsiteX59" fmla="*/ 3792289 w 3904400"/>
                  <a:gd name="connsiteY59" fmla="*/ 4236641 h 4810829"/>
                  <a:gd name="connsiteX60" fmla="*/ 3620839 w 3904400"/>
                  <a:gd name="connsiteY60" fmla="*/ 4598591 h 4810829"/>
                  <a:gd name="connsiteX61" fmla="*/ 3473202 w 3904400"/>
                  <a:gd name="connsiteY61" fmla="*/ 4760516 h 4810829"/>
                  <a:gd name="connsiteX62" fmla="*/ 339477 w 3904400"/>
                  <a:gd name="connsiteY62" fmla="*/ 4760516 h 4810829"/>
                  <a:gd name="connsiteX63" fmla="*/ 163264 w 3904400"/>
                  <a:gd name="connsiteY63" fmla="*/ 4436666 h 4810829"/>
                  <a:gd name="connsiteX64" fmla="*/ 58489 w 3904400"/>
                  <a:gd name="connsiteY64" fmla="*/ 4141391 h 4810829"/>
                  <a:gd name="connsiteX65" fmla="*/ 1339 w 3904400"/>
                  <a:gd name="connsiteY65" fmla="*/ 3855641 h 4810829"/>
                  <a:gd name="connsiteX66" fmla="*/ 25152 w 3904400"/>
                  <a:gd name="connsiteY66" fmla="*/ 3703241 h 4810829"/>
                  <a:gd name="connsiteX67" fmla="*/ 220414 w 3904400"/>
                  <a:gd name="connsiteY67" fmla="*/ 3584179 h 4810829"/>
                  <a:gd name="connsiteX68" fmla="*/ 534739 w 3904400"/>
                  <a:gd name="connsiteY68" fmla="*/ 3450829 h 4810829"/>
                  <a:gd name="connsiteX69" fmla="*/ 934789 w 3904400"/>
                  <a:gd name="connsiteY69" fmla="*/ 3293666 h 4810829"/>
                  <a:gd name="connsiteX70" fmla="*/ 1134814 w 3904400"/>
                  <a:gd name="connsiteY70" fmla="*/ 3217466 h 4810829"/>
                  <a:gd name="connsiteX71" fmla="*/ 1277689 w 3904400"/>
                  <a:gd name="connsiteY71" fmla="*/ 2950766 h 4810829"/>
                  <a:gd name="connsiteX72" fmla="*/ 1372939 w 3904400"/>
                  <a:gd name="connsiteY72" fmla="*/ 2888854 h 4810829"/>
                  <a:gd name="connsiteX73" fmla="*/ 1444377 w 3904400"/>
                  <a:gd name="connsiteY73" fmla="*/ 2750741 h 4810829"/>
                  <a:gd name="connsiteX74" fmla="*/ 1430089 w 3904400"/>
                  <a:gd name="connsiteY74" fmla="*/ 2665016 h 4810829"/>
                  <a:gd name="connsiteX75" fmla="*/ 1433678 w 3904400"/>
                  <a:gd name="connsiteY75" fmla="*/ 2655556 h 4810829"/>
                  <a:gd name="connsiteX76" fmla="*/ 1412671 w 3904400"/>
                  <a:gd name="connsiteY76" fmla="*/ 2630242 h 4810829"/>
                  <a:gd name="connsiteX77" fmla="*/ 1171172 w 3904400"/>
                  <a:gd name="connsiteY77" fmla="*/ 2059985 h 4810829"/>
                  <a:gd name="connsiteX78" fmla="*/ 977027 w 3904400"/>
                  <a:gd name="connsiteY78" fmla="*/ 1612672 h 4810829"/>
                  <a:gd name="connsiteX79" fmla="*/ 1052790 w 3904400"/>
                  <a:gd name="connsiteY79" fmla="*/ 1487109 h 4810829"/>
                  <a:gd name="connsiteX80" fmla="*/ 1018186 w 3904400"/>
                  <a:gd name="connsiteY80" fmla="*/ 1277790 h 4810829"/>
                  <a:gd name="connsiteX81" fmla="*/ 934788 w 3904400"/>
                  <a:gd name="connsiteY81" fmla="*/ 1341041 h 4810829"/>
                  <a:gd name="connsiteX82" fmla="*/ 883988 w 3904400"/>
                  <a:gd name="connsiteY82" fmla="*/ 1404541 h 4810829"/>
                  <a:gd name="connsiteX83" fmla="*/ 839538 w 3904400"/>
                  <a:gd name="connsiteY83" fmla="*/ 1525191 h 4810829"/>
                  <a:gd name="connsiteX84" fmla="*/ 858588 w 3904400"/>
                  <a:gd name="connsiteY84" fmla="*/ 1645841 h 4810829"/>
                  <a:gd name="connsiteX85" fmla="*/ 890338 w 3904400"/>
                  <a:gd name="connsiteY85" fmla="*/ 1829991 h 4810829"/>
                  <a:gd name="connsiteX86" fmla="*/ 966538 w 3904400"/>
                  <a:gd name="connsiteY86" fmla="*/ 2128441 h 4810829"/>
                  <a:gd name="connsiteX87" fmla="*/ 1049088 w 3904400"/>
                  <a:gd name="connsiteY87" fmla="*/ 2198291 h 4810829"/>
                  <a:gd name="connsiteX88" fmla="*/ 1099888 w 3904400"/>
                  <a:gd name="connsiteY88" fmla="*/ 2331641 h 4810829"/>
                  <a:gd name="connsiteX89" fmla="*/ 1220538 w 3904400"/>
                  <a:gd name="connsiteY89" fmla="*/ 2566591 h 4810829"/>
                  <a:gd name="connsiteX90" fmla="*/ 1271338 w 3904400"/>
                  <a:gd name="connsiteY90" fmla="*/ 2712641 h 4810829"/>
                  <a:gd name="connsiteX91" fmla="*/ 1131638 w 3904400"/>
                  <a:gd name="connsiteY91" fmla="*/ 2750741 h 4810829"/>
                  <a:gd name="connsiteX92" fmla="*/ 928438 w 3904400"/>
                  <a:gd name="connsiteY92" fmla="*/ 2776141 h 4810829"/>
                  <a:gd name="connsiteX93" fmla="*/ 744288 w 3904400"/>
                  <a:gd name="connsiteY93" fmla="*/ 2731691 h 4810829"/>
                  <a:gd name="connsiteX94" fmla="*/ 661738 w 3904400"/>
                  <a:gd name="connsiteY94" fmla="*/ 2591991 h 4810829"/>
                  <a:gd name="connsiteX95" fmla="*/ 623638 w 3904400"/>
                  <a:gd name="connsiteY95" fmla="*/ 2344341 h 4810829"/>
                  <a:gd name="connsiteX96" fmla="*/ 636338 w 3904400"/>
                  <a:gd name="connsiteY96" fmla="*/ 2020491 h 4810829"/>
                  <a:gd name="connsiteX97" fmla="*/ 737938 w 3904400"/>
                  <a:gd name="connsiteY97" fmla="*/ 1328341 h 4810829"/>
                  <a:gd name="connsiteX98" fmla="*/ 972888 w 3904400"/>
                  <a:gd name="connsiteY98" fmla="*/ 623491 h 4810829"/>
                  <a:gd name="connsiteX99" fmla="*/ 1169738 w 3904400"/>
                  <a:gd name="connsiteY99" fmla="*/ 299641 h 4810829"/>
                  <a:gd name="connsiteX100" fmla="*/ 1360238 w 3904400"/>
                  <a:gd name="connsiteY100" fmla="*/ 140891 h 4810829"/>
                  <a:gd name="connsiteX101" fmla="*/ 1531688 w 3904400"/>
                  <a:gd name="connsiteY101" fmla="*/ 115491 h 4810829"/>
                  <a:gd name="connsiteX102" fmla="*/ 1677738 w 3904400"/>
                  <a:gd name="connsiteY102" fmla="*/ 13891 h 4810829"/>
                  <a:gd name="connsiteX103" fmla="*/ 1814660 w 3904400"/>
                  <a:gd name="connsiteY103" fmla="*/ 0 h 4810829"/>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630379 w 3904400"/>
                  <a:gd name="connsiteY39" fmla="*/ 973620 h 4848994"/>
                  <a:gd name="connsiteX40" fmla="*/ 2901551 w 3904400"/>
                  <a:gd name="connsiteY40" fmla="*/ 1067700 h 4848994"/>
                  <a:gd name="connsiteX41" fmla="*/ 2830884 w 3904400"/>
                  <a:gd name="connsiteY41" fmla="*/ 1212445 h 4848994"/>
                  <a:gd name="connsiteX42" fmla="*/ 2830884 w 3904400"/>
                  <a:gd name="connsiteY42" fmla="*/ 1445256 h 4848994"/>
                  <a:gd name="connsiteX43" fmla="*/ 2939795 w 3904400"/>
                  <a:gd name="connsiteY43" fmla="*/ 1531580 h 4848994"/>
                  <a:gd name="connsiteX44" fmla="*/ 2823781 w 3904400"/>
                  <a:gd name="connsiteY44" fmla="*/ 2041674 h 4848994"/>
                  <a:gd name="connsiteX45" fmla="*/ 2757487 w 3904400"/>
                  <a:gd name="connsiteY45" fmla="*/ 2086142 h 4848994"/>
                  <a:gd name="connsiteX46" fmla="*/ 2480886 w 3904400"/>
                  <a:gd name="connsiteY46" fmla="*/ 2698176 h 4848994"/>
                  <a:gd name="connsiteX47" fmla="*/ 2530227 w 3904400"/>
                  <a:gd name="connsiteY47" fmla="*/ 2817416 h 4848994"/>
                  <a:gd name="connsiteX48" fmla="*/ 2592139 w 3904400"/>
                  <a:gd name="connsiteY48" fmla="*/ 2874566 h 4848994"/>
                  <a:gd name="connsiteX49" fmla="*/ 2658814 w 3904400"/>
                  <a:gd name="connsiteY49" fmla="*/ 2884091 h 4848994"/>
                  <a:gd name="connsiteX50" fmla="*/ 2682627 w 3904400"/>
                  <a:gd name="connsiteY50" fmla="*/ 2912666 h 4848994"/>
                  <a:gd name="connsiteX51" fmla="*/ 2749302 w 3904400"/>
                  <a:gd name="connsiteY51" fmla="*/ 3079354 h 4848994"/>
                  <a:gd name="connsiteX52" fmla="*/ 2844552 w 3904400"/>
                  <a:gd name="connsiteY52" fmla="*/ 3174604 h 4848994"/>
                  <a:gd name="connsiteX53" fmla="*/ 2939802 w 3904400"/>
                  <a:gd name="connsiteY53" fmla="*/ 3207941 h 4848994"/>
                  <a:gd name="connsiteX54" fmla="*/ 3282702 w 3904400"/>
                  <a:gd name="connsiteY54" fmla="*/ 3317479 h 4848994"/>
                  <a:gd name="connsiteX55" fmla="*/ 3658939 w 3904400"/>
                  <a:gd name="connsiteY55" fmla="*/ 3493691 h 4848994"/>
                  <a:gd name="connsiteX56" fmla="*/ 3868489 w 3904400"/>
                  <a:gd name="connsiteY56" fmla="*/ 3641329 h 4848994"/>
                  <a:gd name="connsiteX57" fmla="*/ 3901827 w 3904400"/>
                  <a:gd name="connsiteY57" fmla="*/ 3769916 h 4848994"/>
                  <a:gd name="connsiteX58" fmla="*/ 3878014 w 3904400"/>
                  <a:gd name="connsiteY58" fmla="*/ 4027091 h 4848994"/>
                  <a:gd name="connsiteX59" fmla="*/ 3792289 w 3904400"/>
                  <a:gd name="connsiteY59" fmla="*/ 4236641 h 4848994"/>
                  <a:gd name="connsiteX60" fmla="*/ 3620839 w 3904400"/>
                  <a:gd name="connsiteY60" fmla="*/ 4598591 h 4848994"/>
                  <a:gd name="connsiteX61" fmla="*/ 3473202 w 3904400"/>
                  <a:gd name="connsiteY61" fmla="*/ 4760516 h 4848994"/>
                  <a:gd name="connsiteX62" fmla="*/ 339477 w 3904400"/>
                  <a:gd name="connsiteY62" fmla="*/ 4760516 h 4848994"/>
                  <a:gd name="connsiteX63" fmla="*/ 163264 w 3904400"/>
                  <a:gd name="connsiteY63" fmla="*/ 4436666 h 4848994"/>
                  <a:gd name="connsiteX64" fmla="*/ 58489 w 3904400"/>
                  <a:gd name="connsiteY64" fmla="*/ 4141391 h 4848994"/>
                  <a:gd name="connsiteX65" fmla="*/ 1339 w 3904400"/>
                  <a:gd name="connsiteY65" fmla="*/ 3855641 h 4848994"/>
                  <a:gd name="connsiteX66" fmla="*/ 25152 w 3904400"/>
                  <a:gd name="connsiteY66" fmla="*/ 3703241 h 4848994"/>
                  <a:gd name="connsiteX67" fmla="*/ 220414 w 3904400"/>
                  <a:gd name="connsiteY67" fmla="*/ 3584179 h 4848994"/>
                  <a:gd name="connsiteX68" fmla="*/ 534739 w 3904400"/>
                  <a:gd name="connsiteY68" fmla="*/ 3450829 h 4848994"/>
                  <a:gd name="connsiteX69" fmla="*/ 934789 w 3904400"/>
                  <a:gd name="connsiteY69" fmla="*/ 3293666 h 4848994"/>
                  <a:gd name="connsiteX70" fmla="*/ 1134814 w 3904400"/>
                  <a:gd name="connsiteY70" fmla="*/ 3217466 h 4848994"/>
                  <a:gd name="connsiteX71" fmla="*/ 1277689 w 3904400"/>
                  <a:gd name="connsiteY71" fmla="*/ 2950766 h 4848994"/>
                  <a:gd name="connsiteX72" fmla="*/ 1372939 w 3904400"/>
                  <a:gd name="connsiteY72" fmla="*/ 2888854 h 4848994"/>
                  <a:gd name="connsiteX73" fmla="*/ 1444377 w 3904400"/>
                  <a:gd name="connsiteY73" fmla="*/ 2750741 h 4848994"/>
                  <a:gd name="connsiteX74" fmla="*/ 1430089 w 3904400"/>
                  <a:gd name="connsiteY74" fmla="*/ 2665016 h 4848994"/>
                  <a:gd name="connsiteX75" fmla="*/ 1433678 w 3904400"/>
                  <a:gd name="connsiteY75" fmla="*/ 2655556 h 4848994"/>
                  <a:gd name="connsiteX76" fmla="*/ 1412671 w 3904400"/>
                  <a:gd name="connsiteY76" fmla="*/ 2630242 h 4848994"/>
                  <a:gd name="connsiteX77" fmla="*/ 1171172 w 3904400"/>
                  <a:gd name="connsiteY77" fmla="*/ 2059985 h 4848994"/>
                  <a:gd name="connsiteX78" fmla="*/ 977027 w 3904400"/>
                  <a:gd name="connsiteY78" fmla="*/ 1612672 h 4848994"/>
                  <a:gd name="connsiteX79" fmla="*/ 1052790 w 3904400"/>
                  <a:gd name="connsiteY79" fmla="*/ 1487109 h 4848994"/>
                  <a:gd name="connsiteX80" fmla="*/ 1018186 w 3904400"/>
                  <a:gd name="connsiteY80" fmla="*/ 1277790 h 4848994"/>
                  <a:gd name="connsiteX81" fmla="*/ 934788 w 3904400"/>
                  <a:gd name="connsiteY81" fmla="*/ 1341041 h 4848994"/>
                  <a:gd name="connsiteX82" fmla="*/ 883988 w 3904400"/>
                  <a:gd name="connsiteY82" fmla="*/ 1404541 h 4848994"/>
                  <a:gd name="connsiteX83" fmla="*/ 839538 w 3904400"/>
                  <a:gd name="connsiteY83" fmla="*/ 1525191 h 4848994"/>
                  <a:gd name="connsiteX84" fmla="*/ 858588 w 3904400"/>
                  <a:gd name="connsiteY84" fmla="*/ 1645841 h 4848994"/>
                  <a:gd name="connsiteX85" fmla="*/ 890338 w 3904400"/>
                  <a:gd name="connsiteY85" fmla="*/ 1829991 h 4848994"/>
                  <a:gd name="connsiteX86" fmla="*/ 966538 w 3904400"/>
                  <a:gd name="connsiteY86" fmla="*/ 2128441 h 4848994"/>
                  <a:gd name="connsiteX87" fmla="*/ 1049088 w 3904400"/>
                  <a:gd name="connsiteY87" fmla="*/ 2198291 h 4848994"/>
                  <a:gd name="connsiteX88" fmla="*/ 1099888 w 3904400"/>
                  <a:gd name="connsiteY88" fmla="*/ 2331641 h 4848994"/>
                  <a:gd name="connsiteX89" fmla="*/ 1220538 w 3904400"/>
                  <a:gd name="connsiteY89" fmla="*/ 2566591 h 4848994"/>
                  <a:gd name="connsiteX90" fmla="*/ 1271338 w 3904400"/>
                  <a:gd name="connsiteY90" fmla="*/ 2712641 h 4848994"/>
                  <a:gd name="connsiteX91" fmla="*/ 1131638 w 3904400"/>
                  <a:gd name="connsiteY91" fmla="*/ 2750741 h 4848994"/>
                  <a:gd name="connsiteX92" fmla="*/ 928438 w 3904400"/>
                  <a:gd name="connsiteY92" fmla="*/ 2776141 h 4848994"/>
                  <a:gd name="connsiteX93" fmla="*/ 744288 w 3904400"/>
                  <a:gd name="connsiteY93" fmla="*/ 2731691 h 4848994"/>
                  <a:gd name="connsiteX94" fmla="*/ 661738 w 3904400"/>
                  <a:gd name="connsiteY94" fmla="*/ 2591991 h 4848994"/>
                  <a:gd name="connsiteX95" fmla="*/ 623638 w 3904400"/>
                  <a:gd name="connsiteY95" fmla="*/ 2344341 h 4848994"/>
                  <a:gd name="connsiteX96" fmla="*/ 636338 w 3904400"/>
                  <a:gd name="connsiteY96" fmla="*/ 2020491 h 4848994"/>
                  <a:gd name="connsiteX97" fmla="*/ 737938 w 3904400"/>
                  <a:gd name="connsiteY97" fmla="*/ 1328341 h 4848994"/>
                  <a:gd name="connsiteX98" fmla="*/ 972888 w 3904400"/>
                  <a:gd name="connsiteY98" fmla="*/ 623491 h 4848994"/>
                  <a:gd name="connsiteX99" fmla="*/ 1169738 w 3904400"/>
                  <a:gd name="connsiteY99" fmla="*/ 299641 h 4848994"/>
                  <a:gd name="connsiteX100" fmla="*/ 1360238 w 3904400"/>
                  <a:gd name="connsiteY100" fmla="*/ 140891 h 4848994"/>
                  <a:gd name="connsiteX101" fmla="*/ 1531688 w 3904400"/>
                  <a:gd name="connsiteY101" fmla="*/ 115491 h 4848994"/>
                  <a:gd name="connsiteX102" fmla="*/ 1677738 w 3904400"/>
                  <a:gd name="connsiteY102" fmla="*/ 13891 h 4848994"/>
                  <a:gd name="connsiteX103" fmla="*/ 1814660 w 3904400"/>
                  <a:gd name="connsiteY103"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859098 w 3904400"/>
                  <a:gd name="connsiteY39" fmla="*/ 1103077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904400" h="4848994">
                    <a:moveTo>
                      <a:pt x="3062288" y="1005769"/>
                    </a:moveTo>
                    <a:lnTo>
                      <a:pt x="3082677" y="1026716"/>
                    </a:lnTo>
                    <a:cubicBezTo>
                      <a:pt x="3109664" y="1079897"/>
                      <a:pt x="3139827" y="1237060"/>
                      <a:pt x="3168402" y="1369616"/>
                    </a:cubicBezTo>
                    <a:cubicBezTo>
                      <a:pt x="3196977" y="1502172"/>
                      <a:pt x="3235077" y="1674417"/>
                      <a:pt x="3254127" y="1822054"/>
                    </a:cubicBezTo>
                    <a:cubicBezTo>
                      <a:pt x="3273177" y="1969691"/>
                      <a:pt x="3279527" y="2137966"/>
                      <a:pt x="3282702" y="2255441"/>
                    </a:cubicBezTo>
                    <a:cubicBezTo>
                      <a:pt x="3285877" y="2372916"/>
                      <a:pt x="3288258" y="2449116"/>
                      <a:pt x="3273177" y="2526904"/>
                    </a:cubicBezTo>
                    <a:cubicBezTo>
                      <a:pt x="3258096" y="2604692"/>
                      <a:pt x="3230314" y="2684860"/>
                      <a:pt x="3192214" y="2722166"/>
                    </a:cubicBezTo>
                    <a:cubicBezTo>
                      <a:pt x="3154114" y="2759472"/>
                      <a:pt x="3108077" y="2749154"/>
                      <a:pt x="3044577" y="2750741"/>
                    </a:cubicBezTo>
                    <a:cubicBezTo>
                      <a:pt x="2981077" y="2752328"/>
                      <a:pt x="2879476" y="2745185"/>
                      <a:pt x="2811214" y="2731691"/>
                    </a:cubicBezTo>
                    <a:cubicBezTo>
                      <a:pt x="2742952" y="2718197"/>
                      <a:pt x="2660402" y="2691210"/>
                      <a:pt x="2635002" y="2669779"/>
                    </a:cubicBezTo>
                    <a:cubicBezTo>
                      <a:pt x="2609602" y="2648348"/>
                      <a:pt x="2638970" y="2635648"/>
                      <a:pt x="2658814" y="2603104"/>
                    </a:cubicBezTo>
                    <a:cubicBezTo>
                      <a:pt x="2678658" y="2570560"/>
                      <a:pt x="2723108" y="2532460"/>
                      <a:pt x="2754064" y="2474516"/>
                    </a:cubicBezTo>
                    <a:cubicBezTo>
                      <a:pt x="2785020" y="2416572"/>
                      <a:pt x="2826296" y="2307828"/>
                      <a:pt x="2844552" y="2255441"/>
                    </a:cubicBezTo>
                    <a:cubicBezTo>
                      <a:pt x="2862808" y="2203054"/>
                      <a:pt x="2850902" y="2186385"/>
                      <a:pt x="2863602" y="2160191"/>
                    </a:cubicBezTo>
                    <a:cubicBezTo>
                      <a:pt x="2876302" y="2133997"/>
                      <a:pt x="2897733" y="2149079"/>
                      <a:pt x="2920752" y="2098279"/>
                    </a:cubicBezTo>
                    <a:cubicBezTo>
                      <a:pt x="2943771" y="2047479"/>
                      <a:pt x="2978695" y="1938735"/>
                      <a:pt x="3001714" y="1855391"/>
                    </a:cubicBezTo>
                    <a:cubicBezTo>
                      <a:pt x="3024733" y="1772047"/>
                      <a:pt x="3048545" y="1660129"/>
                      <a:pt x="3058864" y="1598216"/>
                    </a:cubicBezTo>
                    <a:cubicBezTo>
                      <a:pt x="3069183" y="1536303"/>
                      <a:pt x="3071564" y="1520428"/>
                      <a:pt x="3063627" y="1483916"/>
                    </a:cubicBezTo>
                    <a:cubicBezTo>
                      <a:pt x="3055690" y="1447404"/>
                      <a:pt x="3028702" y="1404541"/>
                      <a:pt x="3011239" y="1379141"/>
                    </a:cubicBezTo>
                    <a:cubicBezTo>
                      <a:pt x="2993776" y="1353741"/>
                      <a:pt x="2969171" y="1355329"/>
                      <a:pt x="2958852" y="1331516"/>
                    </a:cubicBezTo>
                    <a:cubicBezTo>
                      <a:pt x="2948533" y="1307704"/>
                      <a:pt x="2949327" y="1271191"/>
                      <a:pt x="2949327" y="1236266"/>
                    </a:cubicBezTo>
                    <a:cubicBezTo>
                      <a:pt x="2949327" y="1201341"/>
                      <a:pt x="2949327" y="1152922"/>
                      <a:pt x="2958852" y="1121966"/>
                    </a:cubicBezTo>
                    <a:cubicBezTo>
                      <a:pt x="2968377" y="1091010"/>
                      <a:pt x="2985839" y="1066404"/>
                      <a:pt x="3006477" y="1050529"/>
                    </a:cubicBezTo>
                    <a:cubicBezTo>
                      <a:pt x="3021955" y="1038623"/>
                      <a:pt x="3041898" y="1001267"/>
                      <a:pt x="3062288" y="1005769"/>
                    </a:cubicBezTo>
                    <a:close/>
                    <a:moveTo>
                      <a:pt x="1814660" y="0"/>
                    </a:moveTo>
                    <a:lnTo>
                      <a:pt x="1957138" y="1191"/>
                    </a:lnTo>
                    <a:cubicBezTo>
                      <a:pt x="2036513" y="2249"/>
                      <a:pt x="2083080" y="133"/>
                      <a:pt x="2153988" y="20241"/>
                    </a:cubicBezTo>
                    <a:cubicBezTo>
                      <a:pt x="2224896" y="40349"/>
                      <a:pt x="2301096" y="69983"/>
                      <a:pt x="2382588" y="121841"/>
                    </a:cubicBezTo>
                    <a:cubicBezTo>
                      <a:pt x="2464080" y="173699"/>
                      <a:pt x="2548747" y="236141"/>
                      <a:pt x="2642938" y="331391"/>
                    </a:cubicBezTo>
                    <a:cubicBezTo>
                      <a:pt x="2737129" y="426641"/>
                      <a:pt x="2877888" y="601266"/>
                      <a:pt x="2947738" y="693341"/>
                    </a:cubicBezTo>
                    <a:cubicBezTo>
                      <a:pt x="3017588" y="785416"/>
                      <a:pt x="3051455" y="831983"/>
                      <a:pt x="3062038" y="883841"/>
                    </a:cubicBezTo>
                    <a:cubicBezTo>
                      <a:pt x="3072621" y="935699"/>
                      <a:pt x="3037696" y="974858"/>
                      <a:pt x="3011238" y="1004491"/>
                    </a:cubicBezTo>
                    <a:cubicBezTo>
                      <a:pt x="2984780" y="1034124"/>
                      <a:pt x="2933980" y="1062699"/>
                      <a:pt x="2903288" y="1061641"/>
                    </a:cubicBezTo>
                    <a:cubicBezTo>
                      <a:pt x="2872596" y="1060583"/>
                      <a:pt x="2868363" y="1038358"/>
                      <a:pt x="2827088" y="998141"/>
                    </a:cubicBezTo>
                    <a:cubicBezTo>
                      <a:pt x="2785813" y="957924"/>
                      <a:pt x="2735013" y="874316"/>
                      <a:pt x="2655638" y="820341"/>
                    </a:cubicBezTo>
                    <a:cubicBezTo>
                      <a:pt x="2576263" y="766366"/>
                      <a:pt x="2456671" y="698633"/>
                      <a:pt x="2350838" y="674291"/>
                    </a:cubicBezTo>
                    <a:cubicBezTo>
                      <a:pt x="2245005" y="649949"/>
                      <a:pt x="2004008" y="658416"/>
                      <a:pt x="2020638" y="674291"/>
                    </a:cubicBezTo>
                    <a:cubicBezTo>
                      <a:pt x="2037268" y="690166"/>
                      <a:pt x="2322805" y="697365"/>
                      <a:pt x="2450619" y="769542"/>
                    </a:cubicBezTo>
                    <a:cubicBezTo>
                      <a:pt x="2578433" y="841719"/>
                      <a:pt x="2592091" y="839501"/>
                      <a:pt x="2660171" y="895090"/>
                    </a:cubicBezTo>
                    <a:cubicBezTo>
                      <a:pt x="2728251" y="950679"/>
                      <a:pt x="2812957" y="1052543"/>
                      <a:pt x="2859098" y="1103077"/>
                    </a:cubicBezTo>
                    <a:cubicBezTo>
                      <a:pt x="2840639" y="1173982"/>
                      <a:pt x="2842709" y="1151206"/>
                      <a:pt x="2830884" y="1212445"/>
                    </a:cubicBezTo>
                    <a:cubicBezTo>
                      <a:pt x="2856921" y="1275211"/>
                      <a:pt x="2830896" y="1445184"/>
                      <a:pt x="2830884" y="1445256"/>
                    </a:cubicBezTo>
                    <a:cubicBezTo>
                      <a:pt x="2830987" y="1445263"/>
                      <a:pt x="2939795" y="1453141"/>
                      <a:pt x="2939795" y="1531580"/>
                    </a:cubicBezTo>
                    <a:cubicBezTo>
                      <a:pt x="2939795" y="1610041"/>
                      <a:pt x="2823824" y="2041512"/>
                      <a:pt x="2823781" y="2041674"/>
                    </a:cubicBezTo>
                    <a:cubicBezTo>
                      <a:pt x="2823748" y="2041731"/>
                      <a:pt x="2792983" y="2093987"/>
                      <a:pt x="2757487" y="2086142"/>
                    </a:cubicBezTo>
                    <a:cubicBezTo>
                      <a:pt x="2719935" y="2402501"/>
                      <a:pt x="2591644" y="2600616"/>
                      <a:pt x="2480886" y="2698176"/>
                    </a:cubicBezTo>
                    <a:cubicBezTo>
                      <a:pt x="2497333" y="2737923"/>
                      <a:pt x="2509017" y="2787194"/>
                      <a:pt x="2530227" y="2817416"/>
                    </a:cubicBezTo>
                    <a:lnTo>
                      <a:pt x="2592139" y="2874566"/>
                    </a:lnTo>
                    <a:lnTo>
                      <a:pt x="2658814" y="2884091"/>
                    </a:lnTo>
                    <a:lnTo>
                      <a:pt x="2682627" y="2912666"/>
                    </a:lnTo>
                    <a:lnTo>
                      <a:pt x="2749302" y="3079354"/>
                    </a:lnTo>
                    <a:lnTo>
                      <a:pt x="2844552" y="3174604"/>
                    </a:lnTo>
                    <a:lnTo>
                      <a:pt x="2939802" y="3207941"/>
                    </a:lnTo>
                    <a:lnTo>
                      <a:pt x="3282702" y="3317479"/>
                    </a:lnTo>
                    <a:lnTo>
                      <a:pt x="3658939" y="3493691"/>
                    </a:lnTo>
                    <a:lnTo>
                      <a:pt x="3868489" y="3641329"/>
                    </a:lnTo>
                    <a:cubicBezTo>
                      <a:pt x="3879602" y="3684191"/>
                      <a:pt x="3906589" y="3708004"/>
                      <a:pt x="3901827" y="3769916"/>
                    </a:cubicBezTo>
                    <a:cubicBezTo>
                      <a:pt x="3909764" y="3830241"/>
                      <a:pt x="3898652" y="3938191"/>
                      <a:pt x="3878014" y="4027091"/>
                    </a:cubicBezTo>
                    <a:cubicBezTo>
                      <a:pt x="3855789" y="4119166"/>
                      <a:pt x="3820864" y="4166791"/>
                      <a:pt x="3792289" y="4236641"/>
                    </a:cubicBezTo>
                    <a:lnTo>
                      <a:pt x="3620839" y="4598591"/>
                    </a:lnTo>
                    <a:lnTo>
                      <a:pt x="3473202" y="4760516"/>
                    </a:lnTo>
                    <a:cubicBezTo>
                      <a:pt x="2419193" y="4883157"/>
                      <a:pt x="1553862" y="4873723"/>
                      <a:pt x="339477" y="4760516"/>
                    </a:cubicBezTo>
                    <a:lnTo>
                      <a:pt x="163264" y="4436666"/>
                    </a:lnTo>
                    <a:lnTo>
                      <a:pt x="58489" y="4141391"/>
                    </a:lnTo>
                    <a:cubicBezTo>
                      <a:pt x="39439" y="4046141"/>
                      <a:pt x="14039" y="3992166"/>
                      <a:pt x="1339" y="3855641"/>
                    </a:cubicBezTo>
                    <a:cubicBezTo>
                      <a:pt x="-3423" y="3795316"/>
                      <a:pt x="4514" y="3744516"/>
                      <a:pt x="25152" y="3703241"/>
                    </a:cubicBezTo>
                    <a:lnTo>
                      <a:pt x="220414" y="3584179"/>
                    </a:lnTo>
                    <a:lnTo>
                      <a:pt x="534739" y="3450829"/>
                    </a:lnTo>
                    <a:lnTo>
                      <a:pt x="934789" y="3293666"/>
                    </a:lnTo>
                    <a:lnTo>
                      <a:pt x="1134814" y="3217466"/>
                    </a:lnTo>
                    <a:cubicBezTo>
                      <a:pt x="1234827" y="3090466"/>
                      <a:pt x="1241971" y="3068241"/>
                      <a:pt x="1277689" y="2950766"/>
                    </a:cubicBezTo>
                    <a:lnTo>
                      <a:pt x="1372939" y="2888854"/>
                    </a:lnTo>
                    <a:lnTo>
                      <a:pt x="1444377" y="2750741"/>
                    </a:lnTo>
                    <a:lnTo>
                      <a:pt x="1430089" y="2665016"/>
                    </a:lnTo>
                    <a:lnTo>
                      <a:pt x="1433678" y="2655556"/>
                    </a:lnTo>
                    <a:cubicBezTo>
                      <a:pt x="1422983" y="2644679"/>
                      <a:pt x="1415776" y="2635961"/>
                      <a:pt x="1412671" y="2630242"/>
                    </a:cubicBezTo>
                    <a:cubicBezTo>
                      <a:pt x="1381893" y="2577926"/>
                      <a:pt x="1178275" y="2345112"/>
                      <a:pt x="1171172" y="2059985"/>
                    </a:cubicBezTo>
                    <a:cubicBezTo>
                      <a:pt x="1071731" y="2052136"/>
                      <a:pt x="1014908" y="1764391"/>
                      <a:pt x="977027" y="1612672"/>
                    </a:cubicBezTo>
                    <a:cubicBezTo>
                      <a:pt x="946258" y="1484545"/>
                      <a:pt x="1052708" y="1487108"/>
                      <a:pt x="1052790" y="1487109"/>
                    </a:cubicBezTo>
                    <a:cubicBezTo>
                      <a:pt x="1052758" y="1487025"/>
                      <a:pt x="992834" y="1362590"/>
                      <a:pt x="1018186" y="1277790"/>
                    </a:cubicBezTo>
                    <a:cubicBezTo>
                      <a:pt x="962383" y="1308036"/>
                      <a:pt x="957154" y="1319916"/>
                      <a:pt x="934788" y="1341041"/>
                    </a:cubicBezTo>
                    <a:cubicBezTo>
                      <a:pt x="912422" y="1362166"/>
                      <a:pt x="899863" y="1373849"/>
                      <a:pt x="883988" y="1404541"/>
                    </a:cubicBezTo>
                    <a:cubicBezTo>
                      <a:pt x="868113" y="1435233"/>
                      <a:pt x="843771" y="1484974"/>
                      <a:pt x="839538" y="1525191"/>
                    </a:cubicBezTo>
                    <a:cubicBezTo>
                      <a:pt x="835305" y="1565408"/>
                      <a:pt x="850121" y="1595041"/>
                      <a:pt x="858588" y="1645841"/>
                    </a:cubicBezTo>
                    <a:cubicBezTo>
                      <a:pt x="867055" y="1696641"/>
                      <a:pt x="872346" y="1749558"/>
                      <a:pt x="890338" y="1829991"/>
                    </a:cubicBezTo>
                    <a:cubicBezTo>
                      <a:pt x="908330" y="1910424"/>
                      <a:pt x="940080" y="2067058"/>
                      <a:pt x="966538" y="2128441"/>
                    </a:cubicBezTo>
                    <a:cubicBezTo>
                      <a:pt x="992996" y="2189824"/>
                      <a:pt x="1026863" y="2164424"/>
                      <a:pt x="1049088" y="2198291"/>
                    </a:cubicBezTo>
                    <a:cubicBezTo>
                      <a:pt x="1071313" y="2232158"/>
                      <a:pt x="1071313" y="2270258"/>
                      <a:pt x="1099888" y="2331641"/>
                    </a:cubicBezTo>
                    <a:cubicBezTo>
                      <a:pt x="1128463" y="2393024"/>
                      <a:pt x="1191963" y="2503091"/>
                      <a:pt x="1220538" y="2566591"/>
                    </a:cubicBezTo>
                    <a:cubicBezTo>
                      <a:pt x="1249113" y="2630091"/>
                      <a:pt x="1286155" y="2681949"/>
                      <a:pt x="1271338" y="2712641"/>
                    </a:cubicBezTo>
                    <a:cubicBezTo>
                      <a:pt x="1256521" y="2743333"/>
                      <a:pt x="1188788" y="2740158"/>
                      <a:pt x="1131638" y="2750741"/>
                    </a:cubicBezTo>
                    <a:cubicBezTo>
                      <a:pt x="1074488" y="2761324"/>
                      <a:pt x="992996" y="2779316"/>
                      <a:pt x="928438" y="2776141"/>
                    </a:cubicBezTo>
                    <a:cubicBezTo>
                      <a:pt x="863880" y="2772966"/>
                      <a:pt x="788738" y="2762383"/>
                      <a:pt x="744288" y="2731691"/>
                    </a:cubicBezTo>
                    <a:cubicBezTo>
                      <a:pt x="699838" y="2700999"/>
                      <a:pt x="681846" y="2656549"/>
                      <a:pt x="661738" y="2591991"/>
                    </a:cubicBezTo>
                    <a:cubicBezTo>
                      <a:pt x="641630" y="2527433"/>
                      <a:pt x="627871" y="2439591"/>
                      <a:pt x="623638" y="2344341"/>
                    </a:cubicBezTo>
                    <a:cubicBezTo>
                      <a:pt x="619405" y="2249091"/>
                      <a:pt x="617288" y="2189824"/>
                      <a:pt x="636338" y="2020491"/>
                    </a:cubicBezTo>
                    <a:cubicBezTo>
                      <a:pt x="655388" y="1851158"/>
                      <a:pt x="681846" y="1561174"/>
                      <a:pt x="737938" y="1328341"/>
                    </a:cubicBezTo>
                    <a:cubicBezTo>
                      <a:pt x="794030" y="1095508"/>
                      <a:pt x="900921" y="794941"/>
                      <a:pt x="972888" y="623491"/>
                    </a:cubicBezTo>
                    <a:cubicBezTo>
                      <a:pt x="1044855" y="452041"/>
                      <a:pt x="1105180" y="380074"/>
                      <a:pt x="1169738" y="299641"/>
                    </a:cubicBezTo>
                    <a:cubicBezTo>
                      <a:pt x="1234296" y="219208"/>
                      <a:pt x="1299913" y="171583"/>
                      <a:pt x="1360238" y="140891"/>
                    </a:cubicBezTo>
                    <a:cubicBezTo>
                      <a:pt x="1420563" y="110199"/>
                      <a:pt x="1478771" y="136658"/>
                      <a:pt x="1531688" y="115491"/>
                    </a:cubicBezTo>
                    <a:cubicBezTo>
                      <a:pt x="1584605" y="94324"/>
                      <a:pt x="1605771" y="32941"/>
                      <a:pt x="1677738" y="13891"/>
                    </a:cubicBezTo>
                    <a:cubicBezTo>
                      <a:pt x="1713722" y="4366"/>
                      <a:pt x="1763728" y="926"/>
                      <a:pt x="181466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2">
                  <a:defRPr/>
                </a:pPr>
                <a:endParaRPr lang="en-US" sz="1798" dirty="0">
                  <a:solidFill>
                    <a:prstClr val="white"/>
                  </a:solidFill>
                  <a:latin typeface="Segoe UI"/>
                </a:endParaRPr>
              </a:p>
            </p:txBody>
          </p:sp>
        </p:grpSp>
      </p:grpSp>
      <p:grpSp>
        <p:nvGrpSpPr>
          <p:cNvPr id="12" name="Group 11">
            <a:extLst>
              <a:ext uri="{FF2B5EF4-FFF2-40B4-BE49-F238E27FC236}">
                <a16:creationId xmlns:a16="http://schemas.microsoft.com/office/drawing/2014/main" id="{1BBC40FA-307C-4442-9D9F-80030F864C26}"/>
              </a:ext>
            </a:extLst>
          </p:cNvPr>
          <p:cNvGrpSpPr/>
          <p:nvPr/>
        </p:nvGrpSpPr>
        <p:grpSpPr>
          <a:xfrm>
            <a:off x="775478" y="4473983"/>
            <a:ext cx="581483" cy="680787"/>
            <a:chOff x="258040" y="4059843"/>
            <a:chExt cx="581634" cy="680964"/>
          </a:xfrm>
        </p:grpSpPr>
        <p:sp>
          <p:nvSpPr>
            <p:cNvPr id="492" name="TextBox 491">
              <a:extLst>
                <a:ext uri="{FF2B5EF4-FFF2-40B4-BE49-F238E27FC236}">
                  <a16:creationId xmlns:a16="http://schemas.microsoft.com/office/drawing/2014/main" id="{3EFE4ABF-21FC-4E2F-A90A-DB2BAD4D9841}"/>
                </a:ext>
              </a:extLst>
            </p:cNvPr>
            <p:cNvSpPr txBox="1"/>
            <p:nvPr/>
          </p:nvSpPr>
          <p:spPr>
            <a:xfrm>
              <a:off x="258040" y="4371475"/>
              <a:ext cx="581634" cy="369332"/>
            </a:xfrm>
            <a:prstGeom prst="rect">
              <a:avLst/>
            </a:prstGeom>
          </p:spPr>
          <p:txBody>
            <a:bodyPr vert="horz" wrap="none" lIns="0" tIns="0" rIns="0" bIns="0" rtlCol="0" anchor="t">
              <a:spAutoFit/>
            </a:bodyPr>
            <a:lstStyle>
              <a:defPPr>
                <a:defRPr lang="en-US"/>
              </a:defPPr>
              <a:lvl1pPr algn="ctr" defTabSz="1088105">
                <a:defRPr sz="1200">
                  <a:solidFill>
                    <a:srgbClr val="505050"/>
                  </a:solidFill>
                  <a:ea typeface="Segoe UI" pitchFamily="34" charset="0"/>
                  <a:cs typeface="Segoe UI" pitchFamily="34" charset="0"/>
                </a:defRPr>
              </a:lvl1pPr>
            </a:lstStyle>
            <a:p>
              <a:pPr defTabSz="1087779">
                <a:defRPr/>
              </a:pPr>
              <a:r>
                <a:rPr lang="en-US" dirty="0">
                  <a:latin typeface="Segoe UI Semibold" panose="020B0702040204020203" pitchFamily="34" charset="0"/>
                  <a:cs typeface="Segoe UI Semibold" panose="020B0702040204020203" pitchFamily="34" charset="0"/>
                </a:rPr>
                <a:t>Industry</a:t>
              </a:r>
            </a:p>
            <a:p>
              <a:pPr defTabSz="1087779">
                <a:defRPr/>
              </a:pPr>
              <a:r>
                <a:rPr lang="en-US" dirty="0">
                  <a:latin typeface="Segoe UI Semibold" panose="020B0702040204020203" pitchFamily="34" charset="0"/>
                  <a:cs typeface="Segoe UI Semibold" panose="020B0702040204020203" pitchFamily="34" charset="0"/>
                </a:rPr>
                <a:t>Experts</a:t>
              </a:r>
            </a:p>
          </p:txBody>
        </p:sp>
        <p:grpSp>
          <p:nvGrpSpPr>
            <p:cNvPr id="493" name="Group 492">
              <a:extLst>
                <a:ext uri="{FF2B5EF4-FFF2-40B4-BE49-F238E27FC236}">
                  <a16:creationId xmlns:a16="http://schemas.microsoft.com/office/drawing/2014/main" id="{613E98D3-F325-4C65-B46B-DD867A74FE6C}"/>
                </a:ext>
              </a:extLst>
            </p:cNvPr>
            <p:cNvGrpSpPr/>
            <p:nvPr/>
          </p:nvGrpSpPr>
          <p:grpSpPr>
            <a:xfrm>
              <a:off x="338214" y="4059843"/>
              <a:ext cx="426126" cy="278360"/>
              <a:chOff x="467453" y="4530166"/>
              <a:chExt cx="676876" cy="471041"/>
            </a:xfrm>
          </p:grpSpPr>
          <p:sp>
            <p:nvSpPr>
              <p:cNvPr id="494" name="Freeform 494">
                <a:extLst>
                  <a:ext uri="{FF2B5EF4-FFF2-40B4-BE49-F238E27FC236}">
                    <a16:creationId xmlns:a16="http://schemas.microsoft.com/office/drawing/2014/main" id="{15B9764E-566E-4DC0-87A9-A90E0025864E}"/>
                  </a:ext>
                </a:extLst>
              </p:cNvPr>
              <p:cNvSpPr/>
              <p:nvPr/>
            </p:nvSpPr>
            <p:spPr>
              <a:xfrm>
                <a:off x="749128" y="4530166"/>
                <a:ext cx="395201" cy="444944"/>
              </a:xfrm>
              <a:custGeom>
                <a:avLst/>
                <a:gdLst/>
                <a:ahLst/>
                <a:cxnLst/>
                <a:rect l="l" t="t" r="r" b="b"/>
                <a:pathLst>
                  <a:path w="607369" h="683818">
                    <a:moveTo>
                      <a:pt x="195512" y="442921"/>
                    </a:moveTo>
                    <a:lnTo>
                      <a:pt x="203915" y="450677"/>
                    </a:lnTo>
                    <a:cubicBezTo>
                      <a:pt x="206284" y="453801"/>
                      <a:pt x="210270" y="457249"/>
                      <a:pt x="209732" y="461665"/>
                    </a:cubicBezTo>
                    <a:cubicBezTo>
                      <a:pt x="209194" y="466082"/>
                      <a:pt x="202622" y="472330"/>
                      <a:pt x="200683" y="477178"/>
                    </a:cubicBezTo>
                    <a:cubicBezTo>
                      <a:pt x="198744" y="482026"/>
                      <a:pt x="198420" y="483750"/>
                      <a:pt x="198097" y="490752"/>
                    </a:cubicBezTo>
                    <a:cubicBezTo>
                      <a:pt x="197774" y="497754"/>
                      <a:pt x="197882" y="503248"/>
                      <a:pt x="198744" y="519192"/>
                    </a:cubicBezTo>
                    <a:cubicBezTo>
                      <a:pt x="199605" y="535135"/>
                      <a:pt x="200898" y="567129"/>
                      <a:pt x="203268" y="586412"/>
                    </a:cubicBezTo>
                    <a:cubicBezTo>
                      <a:pt x="203305" y="586709"/>
                      <a:pt x="203342" y="587004"/>
                      <a:pt x="203444" y="587291"/>
                    </a:cubicBezTo>
                    <a:cubicBezTo>
                      <a:pt x="198951" y="579212"/>
                      <a:pt x="195079" y="572241"/>
                      <a:pt x="192120" y="566747"/>
                    </a:cubicBezTo>
                    <a:cubicBezTo>
                      <a:pt x="169895" y="525472"/>
                      <a:pt x="178230" y="546903"/>
                      <a:pt x="156402" y="535791"/>
                    </a:cubicBezTo>
                    <a:lnTo>
                      <a:pt x="152203" y="534063"/>
                    </a:lnTo>
                    <a:lnTo>
                      <a:pt x="166425" y="505617"/>
                    </a:lnTo>
                    <a:cubicBezTo>
                      <a:pt x="170519" y="498077"/>
                      <a:pt x="172135" y="495599"/>
                      <a:pt x="175475" y="491398"/>
                    </a:cubicBezTo>
                    <a:cubicBezTo>
                      <a:pt x="178815" y="487197"/>
                      <a:pt x="186678" y="483104"/>
                      <a:pt x="187756" y="479763"/>
                    </a:cubicBezTo>
                    <a:cubicBezTo>
                      <a:pt x="188833" y="476424"/>
                      <a:pt x="183447" y="474808"/>
                      <a:pt x="181939" y="471361"/>
                    </a:cubicBezTo>
                    <a:cubicBezTo>
                      <a:pt x="180431" y="467913"/>
                      <a:pt x="177845" y="463281"/>
                      <a:pt x="178707" y="459080"/>
                    </a:cubicBezTo>
                    <a:lnTo>
                      <a:pt x="187109" y="446153"/>
                    </a:lnTo>
                    <a:cubicBezTo>
                      <a:pt x="189910" y="443460"/>
                      <a:pt x="192711" y="442167"/>
                      <a:pt x="195512" y="442921"/>
                    </a:cubicBezTo>
                    <a:close/>
                    <a:moveTo>
                      <a:pt x="153370" y="407630"/>
                    </a:moveTo>
                    <a:cubicBezTo>
                      <a:pt x="162493" y="421788"/>
                      <a:pt x="169895" y="433362"/>
                      <a:pt x="179662" y="438122"/>
                    </a:cubicBezTo>
                    <a:cubicBezTo>
                      <a:pt x="175210" y="445612"/>
                      <a:pt x="169382" y="452621"/>
                      <a:pt x="168882" y="461407"/>
                    </a:cubicBezTo>
                    <a:cubicBezTo>
                      <a:pt x="168020" y="468559"/>
                      <a:pt x="174915" y="473127"/>
                      <a:pt x="176639" y="478987"/>
                    </a:cubicBezTo>
                    <a:cubicBezTo>
                      <a:pt x="162957" y="482986"/>
                      <a:pt x="151150" y="508057"/>
                      <a:pt x="139197" y="526680"/>
                    </a:cubicBezTo>
                    <a:cubicBezTo>
                      <a:pt x="140282" y="513678"/>
                      <a:pt x="141517" y="502928"/>
                      <a:pt x="143028" y="495535"/>
                    </a:cubicBezTo>
                    <a:cubicBezTo>
                      <a:pt x="150957" y="461407"/>
                      <a:pt x="163022" y="451066"/>
                      <a:pt x="153370" y="407630"/>
                    </a:cubicBezTo>
                    <a:close/>
                    <a:moveTo>
                      <a:pt x="134754" y="392117"/>
                    </a:moveTo>
                    <a:lnTo>
                      <a:pt x="135789" y="435552"/>
                    </a:lnTo>
                    <a:cubicBezTo>
                      <a:pt x="125458" y="453184"/>
                      <a:pt x="120411" y="484026"/>
                      <a:pt x="118255" y="520091"/>
                    </a:cubicBezTo>
                    <a:cubicBezTo>
                      <a:pt x="99728" y="512972"/>
                      <a:pt x="79029" y="506031"/>
                      <a:pt x="61152" y="500072"/>
                    </a:cubicBezTo>
                    <a:cubicBezTo>
                      <a:pt x="36628" y="491897"/>
                      <a:pt x="30350" y="474715"/>
                      <a:pt x="0" y="470962"/>
                    </a:cubicBezTo>
                    <a:cubicBezTo>
                      <a:pt x="37094" y="449870"/>
                      <a:pt x="78830" y="431637"/>
                      <a:pt x="116140" y="420040"/>
                    </a:cubicBezTo>
                    <a:cubicBezTo>
                      <a:pt x="123379" y="415903"/>
                      <a:pt x="124412" y="399356"/>
                      <a:pt x="134754" y="392117"/>
                    </a:cubicBezTo>
                    <a:close/>
                    <a:moveTo>
                      <a:pt x="303324" y="351785"/>
                    </a:moveTo>
                    <a:cubicBezTo>
                      <a:pt x="305048" y="410042"/>
                      <a:pt x="271610" y="480711"/>
                      <a:pt x="249547" y="529663"/>
                    </a:cubicBezTo>
                    <a:cubicBezTo>
                      <a:pt x="239218" y="557323"/>
                      <a:pt x="229955" y="583651"/>
                      <a:pt x="222478" y="610148"/>
                    </a:cubicBezTo>
                    <a:cubicBezTo>
                      <a:pt x="207936" y="563435"/>
                      <a:pt x="215779" y="523691"/>
                      <a:pt x="211283" y="480022"/>
                    </a:cubicBezTo>
                    <a:cubicBezTo>
                      <a:pt x="214558" y="474593"/>
                      <a:pt x="221064" y="472395"/>
                      <a:pt x="221107" y="463734"/>
                    </a:cubicBezTo>
                    <a:cubicBezTo>
                      <a:pt x="219703" y="454942"/>
                      <a:pt x="215491" y="444467"/>
                      <a:pt x="205197" y="435604"/>
                    </a:cubicBezTo>
                    <a:cubicBezTo>
                      <a:pt x="240077" y="421806"/>
                      <a:pt x="284089" y="382831"/>
                      <a:pt x="303324" y="351785"/>
                    </a:cubicBezTo>
                    <a:close/>
                    <a:moveTo>
                      <a:pt x="279538" y="341442"/>
                    </a:moveTo>
                    <a:cubicBezTo>
                      <a:pt x="257347" y="358894"/>
                      <a:pt x="224814" y="379901"/>
                      <a:pt x="195511" y="380225"/>
                    </a:cubicBezTo>
                    <a:cubicBezTo>
                      <a:pt x="182477" y="380656"/>
                      <a:pt x="170088" y="375915"/>
                      <a:pt x="157377" y="373761"/>
                    </a:cubicBezTo>
                    <a:cubicBezTo>
                      <a:pt x="170950" y="380440"/>
                      <a:pt x="173859" y="393259"/>
                      <a:pt x="198097" y="393798"/>
                    </a:cubicBezTo>
                    <a:cubicBezTo>
                      <a:pt x="216195" y="393798"/>
                      <a:pt x="257885" y="367298"/>
                      <a:pt x="279538" y="341442"/>
                    </a:cubicBezTo>
                    <a:close/>
                    <a:moveTo>
                      <a:pt x="314700" y="329033"/>
                    </a:moveTo>
                    <a:cubicBezTo>
                      <a:pt x="336417" y="347993"/>
                      <a:pt x="351930" y="376260"/>
                      <a:pt x="376749" y="395219"/>
                    </a:cubicBezTo>
                    <a:cubicBezTo>
                      <a:pt x="443626" y="416938"/>
                      <a:pt x="508434" y="443826"/>
                      <a:pt x="543251" y="472783"/>
                    </a:cubicBezTo>
                    <a:cubicBezTo>
                      <a:pt x="619435" y="519321"/>
                      <a:pt x="601509" y="596883"/>
                      <a:pt x="607369" y="637216"/>
                    </a:cubicBezTo>
                    <a:cubicBezTo>
                      <a:pt x="571862" y="655487"/>
                      <a:pt x="534288" y="642732"/>
                      <a:pt x="497748" y="645489"/>
                    </a:cubicBezTo>
                    <a:cubicBezTo>
                      <a:pt x="414732" y="679003"/>
                      <a:pt x="335008" y="674673"/>
                      <a:pt x="254244" y="683818"/>
                    </a:cubicBezTo>
                    <a:cubicBezTo>
                      <a:pt x="248807" y="671599"/>
                      <a:pt x="242634" y="659530"/>
                      <a:pt x="236204" y="647995"/>
                    </a:cubicBezTo>
                    <a:cubicBezTo>
                      <a:pt x="270444" y="522124"/>
                      <a:pt x="347385" y="369500"/>
                      <a:pt x="314700" y="329033"/>
                    </a:cubicBezTo>
                    <a:close/>
                    <a:moveTo>
                      <a:pt x="175260" y="166"/>
                    </a:moveTo>
                    <a:cubicBezTo>
                      <a:pt x="185026" y="-409"/>
                      <a:pt x="196660" y="453"/>
                      <a:pt x="210593" y="3613"/>
                    </a:cubicBezTo>
                    <a:cubicBezTo>
                      <a:pt x="224526" y="6773"/>
                      <a:pt x="245641" y="14386"/>
                      <a:pt x="258854" y="19125"/>
                    </a:cubicBezTo>
                    <a:cubicBezTo>
                      <a:pt x="272069" y="23866"/>
                      <a:pt x="282697" y="28606"/>
                      <a:pt x="289879" y="32053"/>
                    </a:cubicBezTo>
                    <a:cubicBezTo>
                      <a:pt x="297061" y="35500"/>
                      <a:pt x="296343" y="33346"/>
                      <a:pt x="301945" y="39809"/>
                    </a:cubicBezTo>
                    <a:cubicBezTo>
                      <a:pt x="307547" y="46273"/>
                      <a:pt x="317314" y="58338"/>
                      <a:pt x="323490" y="70835"/>
                    </a:cubicBezTo>
                    <a:cubicBezTo>
                      <a:pt x="329667" y="83331"/>
                      <a:pt x="336417" y="101285"/>
                      <a:pt x="339002" y="114787"/>
                    </a:cubicBezTo>
                    <a:cubicBezTo>
                      <a:pt x="341585" y="128277"/>
                      <a:pt x="339007" y="151802"/>
                      <a:pt x="339002" y="151844"/>
                    </a:cubicBezTo>
                    <a:lnTo>
                      <a:pt x="339595" y="159709"/>
                    </a:lnTo>
                    <a:cubicBezTo>
                      <a:pt x="339792" y="161217"/>
                      <a:pt x="339792" y="161827"/>
                      <a:pt x="339002" y="162186"/>
                    </a:cubicBezTo>
                    <a:cubicBezTo>
                      <a:pt x="337423" y="162905"/>
                      <a:pt x="332395" y="157159"/>
                      <a:pt x="329523" y="156154"/>
                    </a:cubicBezTo>
                    <a:cubicBezTo>
                      <a:pt x="326649" y="155149"/>
                      <a:pt x="323921" y="155580"/>
                      <a:pt x="321766" y="156154"/>
                    </a:cubicBezTo>
                    <a:cubicBezTo>
                      <a:pt x="319612" y="156729"/>
                      <a:pt x="318607" y="161037"/>
                      <a:pt x="316596" y="159601"/>
                    </a:cubicBezTo>
                    <a:lnTo>
                      <a:pt x="314735" y="156951"/>
                    </a:lnTo>
                    <a:lnTo>
                      <a:pt x="313615" y="179355"/>
                    </a:lnTo>
                    <a:lnTo>
                      <a:pt x="314222" y="186622"/>
                    </a:lnTo>
                    <a:cubicBezTo>
                      <a:pt x="315937" y="183907"/>
                      <a:pt x="316926" y="174790"/>
                      <a:pt x="318966" y="172097"/>
                    </a:cubicBezTo>
                    <a:cubicBezTo>
                      <a:pt x="321659" y="168542"/>
                      <a:pt x="325429" y="165310"/>
                      <a:pt x="328661" y="165633"/>
                    </a:cubicBezTo>
                    <a:lnTo>
                      <a:pt x="338357" y="174036"/>
                    </a:lnTo>
                    <a:cubicBezTo>
                      <a:pt x="340403" y="178669"/>
                      <a:pt x="341481" y="184163"/>
                      <a:pt x="340941" y="193427"/>
                    </a:cubicBezTo>
                    <a:cubicBezTo>
                      <a:pt x="340403" y="202691"/>
                      <a:pt x="336417" y="218743"/>
                      <a:pt x="335125" y="229623"/>
                    </a:cubicBezTo>
                    <a:cubicBezTo>
                      <a:pt x="333832" y="240504"/>
                      <a:pt x="334909" y="251491"/>
                      <a:pt x="333185" y="258709"/>
                    </a:cubicBezTo>
                    <a:cubicBezTo>
                      <a:pt x="331462" y="265927"/>
                      <a:pt x="327907" y="269805"/>
                      <a:pt x="324783" y="272929"/>
                    </a:cubicBezTo>
                    <a:cubicBezTo>
                      <a:pt x="321659" y="276053"/>
                      <a:pt x="316811" y="271959"/>
                      <a:pt x="314442" y="277454"/>
                    </a:cubicBezTo>
                    <a:cubicBezTo>
                      <a:pt x="312071" y="282947"/>
                      <a:pt x="312394" y="298352"/>
                      <a:pt x="310563" y="305893"/>
                    </a:cubicBezTo>
                    <a:cubicBezTo>
                      <a:pt x="308732" y="313435"/>
                      <a:pt x="305177" y="316558"/>
                      <a:pt x="303454" y="322699"/>
                    </a:cubicBezTo>
                    <a:cubicBezTo>
                      <a:pt x="301730" y="328840"/>
                      <a:pt x="303022" y="336381"/>
                      <a:pt x="300221" y="342735"/>
                    </a:cubicBezTo>
                    <a:cubicBezTo>
                      <a:pt x="297420" y="349091"/>
                      <a:pt x="293758" y="352862"/>
                      <a:pt x="286648" y="360834"/>
                    </a:cubicBezTo>
                    <a:cubicBezTo>
                      <a:pt x="279538" y="368805"/>
                      <a:pt x="271459" y="379901"/>
                      <a:pt x="257562" y="390566"/>
                    </a:cubicBezTo>
                    <a:cubicBezTo>
                      <a:pt x="243665" y="401231"/>
                      <a:pt x="216087" y="419006"/>
                      <a:pt x="203268" y="424824"/>
                    </a:cubicBezTo>
                    <a:cubicBezTo>
                      <a:pt x="190449" y="430640"/>
                      <a:pt x="188617" y="430101"/>
                      <a:pt x="180646" y="425470"/>
                    </a:cubicBezTo>
                    <a:cubicBezTo>
                      <a:pt x="172673" y="420838"/>
                      <a:pt x="162224" y="405325"/>
                      <a:pt x="155438" y="397029"/>
                    </a:cubicBezTo>
                    <a:cubicBezTo>
                      <a:pt x="148652" y="388735"/>
                      <a:pt x="143157" y="381733"/>
                      <a:pt x="139926" y="375700"/>
                    </a:cubicBezTo>
                    <a:cubicBezTo>
                      <a:pt x="136694" y="369668"/>
                      <a:pt x="140572" y="368482"/>
                      <a:pt x="136047" y="360834"/>
                    </a:cubicBezTo>
                    <a:cubicBezTo>
                      <a:pt x="131523" y="353185"/>
                      <a:pt x="118918" y="342412"/>
                      <a:pt x="112779" y="329809"/>
                    </a:cubicBezTo>
                    <a:cubicBezTo>
                      <a:pt x="106638" y="317205"/>
                      <a:pt x="100390" y="294690"/>
                      <a:pt x="99205" y="285210"/>
                    </a:cubicBezTo>
                    <a:cubicBezTo>
                      <a:pt x="98020" y="275730"/>
                      <a:pt x="92850" y="282947"/>
                      <a:pt x="90156" y="280685"/>
                    </a:cubicBezTo>
                    <a:cubicBezTo>
                      <a:pt x="87463" y="278423"/>
                      <a:pt x="84124" y="277023"/>
                      <a:pt x="83046" y="271636"/>
                    </a:cubicBezTo>
                    <a:lnTo>
                      <a:pt x="83692" y="248367"/>
                    </a:lnTo>
                    <a:cubicBezTo>
                      <a:pt x="83585" y="240181"/>
                      <a:pt x="84554" y="231562"/>
                      <a:pt x="82400" y="222514"/>
                    </a:cubicBezTo>
                    <a:cubicBezTo>
                      <a:pt x="80245" y="213464"/>
                      <a:pt x="72058" y="201399"/>
                      <a:pt x="70765" y="194074"/>
                    </a:cubicBezTo>
                    <a:cubicBezTo>
                      <a:pt x="69473" y="186748"/>
                      <a:pt x="71628" y="178561"/>
                      <a:pt x="76140" y="179776"/>
                    </a:cubicBezTo>
                    <a:lnTo>
                      <a:pt x="73324" y="163813"/>
                    </a:lnTo>
                    <a:lnTo>
                      <a:pt x="72704" y="163048"/>
                    </a:lnTo>
                    <a:cubicBezTo>
                      <a:pt x="69545" y="153568"/>
                      <a:pt x="63943" y="124985"/>
                      <a:pt x="64086" y="111339"/>
                    </a:cubicBezTo>
                    <a:cubicBezTo>
                      <a:pt x="64230" y="97694"/>
                      <a:pt x="68827" y="92236"/>
                      <a:pt x="73566" y="81177"/>
                    </a:cubicBezTo>
                    <a:cubicBezTo>
                      <a:pt x="78306" y="70116"/>
                      <a:pt x="85344" y="54747"/>
                      <a:pt x="92526" y="44980"/>
                    </a:cubicBezTo>
                    <a:cubicBezTo>
                      <a:pt x="99708" y="35213"/>
                      <a:pt x="106746" y="28894"/>
                      <a:pt x="116657" y="22573"/>
                    </a:cubicBezTo>
                    <a:cubicBezTo>
                      <a:pt x="126567" y="16253"/>
                      <a:pt x="142224" y="10795"/>
                      <a:pt x="151990" y="7061"/>
                    </a:cubicBezTo>
                    <a:cubicBezTo>
                      <a:pt x="161758" y="3326"/>
                      <a:pt x="165492" y="740"/>
                      <a:pt x="175260" y="166"/>
                    </a:cubicBezTo>
                    <a:close/>
                  </a:path>
                </a:pathLst>
              </a:custGeom>
              <a:solidFill>
                <a:srgbClr val="7F7F7F"/>
              </a:solidFill>
              <a:ln w="25400" cap="flat" cmpd="sng" algn="ctr">
                <a:noFill/>
                <a:prstDash val="solid"/>
              </a:ln>
              <a:effectLst/>
            </p:spPr>
            <p:txBody>
              <a:bodyPr rtlCol="0" anchor="ctr"/>
              <a:lstStyle/>
              <a:p>
                <a:pPr algn="ctr" defTabSz="913693">
                  <a:defRPr/>
                </a:pPr>
                <a:endParaRPr lang="en-US" sz="1898" kern="0">
                  <a:solidFill>
                    <a:srgbClr val="FFFFFF"/>
                  </a:solidFill>
                  <a:latin typeface="Segoe UI"/>
                </a:endParaRPr>
              </a:p>
            </p:txBody>
          </p:sp>
          <p:sp>
            <p:nvSpPr>
              <p:cNvPr id="495" name="Freeform 495">
                <a:extLst>
                  <a:ext uri="{FF2B5EF4-FFF2-40B4-BE49-F238E27FC236}">
                    <a16:creationId xmlns:a16="http://schemas.microsoft.com/office/drawing/2014/main" id="{55C4020B-4C70-4EFD-9EC0-242E712E75EA}"/>
                  </a:ext>
                </a:extLst>
              </p:cNvPr>
              <p:cNvSpPr/>
              <p:nvPr/>
            </p:nvSpPr>
            <p:spPr>
              <a:xfrm>
                <a:off x="467453" y="4586468"/>
                <a:ext cx="422570" cy="414739"/>
              </a:xfrm>
              <a:custGeom>
                <a:avLst/>
                <a:gdLst>
                  <a:gd name="connsiteX0" fmla="*/ 992965 w 1413367"/>
                  <a:gd name="connsiteY0" fmla="*/ 998817 h 1522526"/>
                  <a:gd name="connsiteX1" fmla="*/ 1003490 w 1413367"/>
                  <a:gd name="connsiteY1" fmla="*/ 1002500 h 1522526"/>
                  <a:gd name="connsiteX2" fmla="*/ 1110648 w 1413367"/>
                  <a:gd name="connsiteY2" fmla="*/ 1036732 h 1522526"/>
                  <a:gd name="connsiteX3" fmla="*/ 1228224 w 1413367"/>
                  <a:gd name="connsiteY3" fmla="*/ 1091799 h 1522526"/>
                  <a:gd name="connsiteX4" fmla="*/ 1293710 w 1413367"/>
                  <a:gd name="connsiteY4" fmla="*/ 1137937 h 1522526"/>
                  <a:gd name="connsiteX5" fmla="*/ 1323178 w 1413367"/>
                  <a:gd name="connsiteY5" fmla="*/ 1187646 h 1522526"/>
                  <a:gd name="connsiteX6" fmla="*/ 1340257 w 1413367"/>
                  <a:gd name="connsiteY6" fmla="*/ 1220010 h 1522526"/>
                  <a:gd name="connsiteX7" fmla="*/ 1413367 w 1413367"/>
                  <a:gd name="connsiteY7" fmla="*/ 1463277 h 1522526"/>
                  <a:gd name="connsiteX8" fmla="*/ 1177029 w 1413367"/>
                  <a:gd name="connsiteY8" fmla="*/ 1493045 h 1522526"/>
                  <a:gd name="connsiteX9" fmla="*/ 1132974 w 1413367"/>
                  <a:gd name="connsiteY9" fmla="*/ 1439469 h 1522526"/>
                  <a:gd name="connsiteX10" fmla="*/ 1151130 w 1413367"/>
                  <a:gd name="connsiteY10" fmla="*/ 1492451 h 1522526"/>
                  <a:gd name="connsiteX11" fmla="*/ 267073 w 1413367"/>
                  <a:gd name="connsiteY11" fmla="*/ 1497214 h 1522526"/>
                  <a:gd name="connsiteX12" fmla="*/ 250922 w 1413367"/>
                  <a:gd name="connsiteY12" fmla="*/ 1492951 h 1522526"/>
                  <a:gd name="connsiteX13" fmla="*/ 273457 w 1413367"/>
                  <a:gd name="connsiteY13" fmla="*/ 1446229 h 1522526"/>
                  <a:gd name="connsiteX14" fmla="*/ 221069 w 1413367"/>
                  <a:gd name="connsiteY14" fmla="*/ 1493854 h 1522526"/>
                  <a:gd name="connsiteX15" fmla="*/ 668 w 1413367"/>
                  <a:gd name="connsiteY15" fmla="*/ 1482327 h 1522526"/>
                  <a:gd name="connsiteX16" fmla="*/ 61391 w 1413367"/>
                  <a:gd name="connsiteY16" fmla="*/ 1223961 h 1522526"/>
                  <a:gd name="connsiteX17" fmla="*/ 92644 w 1413367"/>
                  <a:gd name="connsiteY17" fmla="*/ 1157285 h 1522526"/>
                  <a:gd name="connsiteX18" fmla="*/ 153665 w 1413367"/>
                  <a:gd name="connsiteY18" fmla="*/ 1120077 h 1522526"/>
                  <a:gd name="connsiteX19" fmla="*/ 251893 w 1413367"/>
                  <a:gd name="connsiteY19" fmla="*/ 1078404 h 1522526"/>
                  <a:gd name="connsiteX20" fmla="*/ 376911 w 1413367"/>
                  <a:gd name="connsiteY20" fmla="*/ 1029290 h 1522526"/>
                  <a:gd name="connsiteX21" fmla="*/ 410479 w 1413367"/>
                  <a:gd name="connsiteY21" fmla="*/ 1016502 h 1522526"/>
                  <a:gd name="connsiteX22" fmla="*/ 592543 w 1413367"/>
                  <a:gd name="connsiteY22" fmla="*/ 1272398 h 1522526"/>
                  <a:gd name="connsiteX23" fmla="*/ 763993 w 1413367"/>
                  <a:gd name="connsiteY23" fmla="*/ 1379555 h 1522526"/>
                  <a:gd name="connsiteX24" fmla="*/ 883056 w 1413367"/>
                  <a:gd name="connsiteY24" fmla="*/ 1243823 h 1522526"/>
                  <a:gd name="connsiteX25" fmla="*/ 992965 w 1413367"/>
                  <a:gd name="connsiteY25" fmla="*/ 998817 h 1522526"/>
                  <a:gd name="connsiteX26" fmla="*/ 856178 w 1413367"/>
                  <a:gd name="connsiteY26" fmla="*/ 852696 h 1522526"/>
                  <a:gd name="connsiteX27" fmla="*/ 851682 w 1413367"/>
                  <a:gd name="connsiteY27" fmla="*/ 923321 h 1522526"/>
                  <a:gd name="connsiteX28" fmla="*/ 959840 w 1413367"/>
                  <a:gd name="connsiteY28" fmla="*/ 978198 h 1522526"/>
                  <a:gd name="connsiteX29" fmla="*/ 885437 w 1413367"/>
                  <a:gd name="connsiteY29" fmla="*/ 1177148 h 1522526"/>
                  <a:gd name="connsiteX30" fmla="*/ 747325 w 1413367"/>
                  <a:gd name="connsiteY30" fmla="*/ 1341455 h 1522526"/>
                  <a:gd name="connsiteX31" fmla="*/ 556825 w 1413367"/>
                  <a:gd name="connsiteY31" fmla="*/ 1191436 h 1522526"/>
                  <a:gd name="connsiteX32" fmla="*/ 439913 w 1413367"/>
                  <a:gd name="connsiteY32" fmla="*/ 1004825 h 1522526"/>
                  <a:gd name="connsiteX33" fmla="*/ 551936 w 1413367"/>
                  <a:gd name="connsiteY33" fmla="*/ 931359 h 1522526"/>
                  <a:gd name="connsiteX34" fmla="*/ 550504 w 1413367"/>
                  <a:gd name="connsiteY34" fmla="*/ 858311 h 1522526"/>
                  <a:gd name="connsiteX35" fmla="*/ 621119 w 1413367"/>
                  <a:gd name="connsiteY35" fmla="*/ 900922 h 1522526"/>
                  <a:gd name="connsiteX36" fmla="*/ 728276 w 1413367"/>
                  <a:gd name="connsiteY36" fmla="*/ 915210 h 1522526"/>
                  <a:gd name="connsiteX37" fmla="*/ 821144 w 1413367"/>
                  <a:gd name="connsiteY37" fmla="*/ 874729 h 1522526"/>
                  <a:gd name="connsiteX38" fmla="*/ 856178 w 1413367"/>
                  <a:gd name="connsiteY38" fmla="*/ 852696 h 1522526"/>
                  <a:gd name="connsiteX39" fmla="*/ 1041767 w 1413367"/>
                  <a:gd name="connsiteY39" fmla="*/ 314309 h 1522526"/>
                  <a:gd name="connsiteX40" fmla="*/ 1048139 w 1413367"/>
                  <a:gd name="connsiteY40" fmla="*/ 320855 h 1522526"/>
                  <a:gd name="connsiteX41" fmla="*/ 1074929 w 1413367"/>
                  <a:gd name="connsiteY41" fmla="*/ 428013 h 1522526"/>
                  <a:gd name="connsiteX42" fmla="*/ 1101718 w 1413367"/>
                  <a:gd name="connsiteY42" fmla="*/ 569403 h 1522526"/>
                  <a:gd name="connsiteX43" fmla="*/ 1110648 w 1413367"/>
                  <a:gd name="connsiteY43" fmla="*/ 704839 h 1522526"/>
                  <a:gd name="connsiteX44" fmla="*/ 1107671 w 1413367"/>
                  <a:gd name="connsiteY44" fmla="*/ 789672 h 1522526"/>
                  <a:gd name="connsiteX45" fmla="*/ 1082370 w 1413367"/>
                  <a:gd name="connsiteY45" fmla="*/ 850693 h 1522526"/>
                  <a:gd name="connsiteX46" fmla="*/ 1036232 w 1413367"/>
                  <a:gd name="connsiteY46" fmla="*/ 859623 h 1522526"/>
                  <a:gd name="connsiteX47" fmla="*/ 963305 w 1413367"/>
                  <a:gd name="connsiteY47" fmla="*/ 853670 h 1522526"/>
                  <a:gd name="connsiteX48" fmla="*/ 908238 w 1413367"/>
                  <a:gd name="connsiteY48" fmla="*/ 834322 h 1522526"/>
                  <a:gd name="connsiteX49" fmla="*/ 915679 w 1413367"/>
                  <a:gd name="connsiteY49" fmla="*/ 813485 h 1522526"/>
                  <a:gd name="connsiteX50" fmla="*/ 945445 w 1413367"/>
                  <a:gd name="connsiteY50" fmla="*/ 773301 h 1522526"/>
                  <a:gd name="connsiteX51" fmla="*/ 973724 w 1413367"/>
                  <a:gd name="connsiteY51" fmla="*/ 704839 h 1522526"/>
                  <a:gd name="connsiteX52" fmla="*/ 979677 w 1413367"/>
                  <a:gd name="connsiteY52" fmla="*/ 675072 h 1522526"/>
                  <a:gd name="connsiteX53" fmla="*/ 997536 w 1413367"/>
                  <a:gd name="connsiteY53" fmla="*/ 655725 h 1522526"/>
                  <a:gd name="connsiteX54" fmla="*/ 1022838 w 1413367"/>
                  <a:gd name="connsiteY54" fmla="*/ 579821 h 1522526"/>
                  <a:gd name="connsiteX55" fmla="*/ 1040697 w 1413367"/>
                  <a:gd name="connsiteY55" fmla="*/ 499452 h 1522526"/>
                  <a:gd name="connsiteX56" fmla="*/ 1042186 w 1413367"/>
                  <a:gd name="connsiteY56" fmla="*/ 463733 h 1522526"/>
                  <a:gd name="connsiteX57" fmla="*/ 1025814 w 1413367"/>
                  <a:gd name="connsiteY57" fmla="*/ 430990 h 1522526"/>
                  <a:gd name="connsiteX58" fmla="*/ 1009443 w 1413367"/>
                  <a:gd name="connsiteY58" fmla="*/ 416107 h 1522526"/>
                  <a:gd name="connsiteX59" fmla="*/ 1006466 w 1413367"/>
                  <a:gd name="connsiteY59" fmla="*/ 386340 h 1522526"/>
                  <a:gd name="connsiteX60" fmla="*/ 1009443 w 1413367"/>
                  <a:gd name="connsiteY60" fmla="*/ 350621 h 1522526"/>
                  <a:gd name="connsiteX61" fmla="*/ 1024326 w 1413367"/>
                  <a:gd name="connsiteY61" fmla="*/ 328297 h 1522526"/>
                  <a:gd name="connsiteX62" fmla="*/ 1041767 w 1413367"/>
                  <a:gd name="connsiteY62" fmla="*/ 314309 h 1522526"/>
                  <a:gd name="connsiteX63" fmla="*/ 616358 w 1413367"/>
                  <a:gd name="connsiteY63" fmla="*/ 96060 h 1522526"/>
                  <a:gd name="connsiteX64" fmla="*/ 509202 w 1413367"/>
                  <a:gd name="connsiteY64" fmla="*/ 431816 h 1522526"/>
                  <a:gd name="connsiteX65" fmla="*/ 654458 w 1413367"/>
                  <a:gd name="connsiteY65" fmla="*/ 184165 h 1522526"/>
                  <a:gd name="connsiteX66" fmla="*/ 616358 w 1413367"/>
                  <a:gd name="connsiteY66" fmla="*/ 96060 h 1522526"/>
                  <a:gd name="connsiteX67" fmla="*/ 651876 w 1413367"/>
                  <a:gd name="connsiteY67" fmla="*/ 0 h 1522526"/>
                  <a:gd name="connsiteX68" fmla="*/ 696401 w 1413367"/>
                  <a:gd name="connsiteY68" fmla="*/ 372 h 1522526"/>
                  <a:gd name="connsiteX69" fmla="*/ 757918 w 1413367"/>
                  <a:gd name="connsiteY69" fmla="*/ 6326 h 1522526"/>
                  <a:gd name="connsiteX70" fmla="*/ 829357 w 1413367"/>
                  <a:gd name="connsiteY70" fmla="*/ 38076 h 1522526"/>
                  <a:gd name="connsiteX71" fmla="*/ 910718 w 1413367"/>
                  <a:gd name="connsiteY71" fmla="*/ 103562 h 1522526"/>
                  <a:gd name="connsiteX72" fmla="*/ 1005970 w 1413367"/>
                  <a:gd name="connsiteY72" fmla="*/ 216673 h 1522526"/>
                  <a:gd name="connsiteX73" fmla="*/ 1041689 w 1413367"/>
                  <a:gd name="connsiteY73" fmla="*/ 276206 h 1522526"/>
                  <a:gd name="connsiteX74" fmla="*/ 1025814 w 1413367"/>
                  <a:gd name="connsiteY74" fmla="*/ 313909 h 1522526"/>
                  <a:gd name="connsiteX75" fmla="*/ 992079 w 1413367"/>
                  <a:gd name="connsiteY75" fmla="*/ 331769 h 1522526"/>
                  <a:gd name="connsiteX76" fmla="*/ 968266 w 1413367"/>
                  <a:gd name="connsiteY76" fmla="*/ 311925 h 1522526"/>
                  <a:gd name="connsiteX77" fmla="*/ 914687 w 1413367"/>
                  <a:gd name="connsiteY77" fmla="*/ 256361 h 1522526"/>
                  <a:gd name="connsiteX78" fmla="*/ 819435 w 1413367"/>
                  <a:gd name="connsiteY78" fmla="*/ 210720 h 1522526"/>
                  <a:gd name="connsiteX79" fmla="*/ 716246 w 1413367"/>
                  <a:gd name="connsiteY79" fmla="*/ 210720 h 1522526"/>
                  <a:gd name="connsiteX80" fmla="*/ 850617 w 1413367"/>
                  <a:gd name="connsiteY80" fmla="*/ 240487 h 1522526"/>
                  <a:gd name="connsiteX81" fmla="*/ 916103 w 1413367"/>
                  <a:gd name="connsiteY81" fmla="*/ 279721 h 1522526"/>
                  <a:gd name="connsiteX82" fmla="*/ 978269 w 1413367"/>
                  <a:gd name="connsiteY82" fmla="*/ 344718 h 1522526"/>
                  <a:gd name="connsiteX83" fmla="*/ 969452 w 1413367"/>
                  <a:gd name="connsiteY83" fmla="*/ 378896 h 1522526"/>
                  <a:gd name="connsiteX84" fmla="*/ 969452 w 1413367"/>
                  <a:gd name="connsiteY84" fmla="*/ 451651 h 1522526"/>
                  <a:gd name="connsiteX85" fmla="*/ 1003488 w 1413367"/>
                  <a:gd name="connsiteY85" fmla="*/ 478628 h 1522526"/>
                  <a:gd name="connsiteX86" fmla="*/ 967232 w 1413367"/>
                  <a:gd name="connsiteY86" fmla="*/ 638035 h 1522526"/>
                  <a:gd name="connsiteX87" fmla="*/ 946515 w 1413367"/>
                  <a:gd name="connsiteY87" fmla="*/ 651932 h 1522526"/>
                  <a:gd name="connsiteX88" fmla="*/ 838644 w 1413367"/>
                  <a:gd name="connsiteY88" fmla="*/ 831290 h 1522526"/>
                  <a:gd name="connsiteX89" fmla="*/ 749707 w 1413367"/>
                  <a:gd name="connsiteY89" fmla="*/ 893779 h 1522526"/>
                  <a:gd name="connsiteX90" fmla="*/ 663982 w 1413367"/>
                  <a:gd name="connsiteY90" fmla="*/ 893779 h 1522526"/>
                  <a:gd name="connsiteX91" fmla="*/ 542921 w 1413367"/>
                  <a:gd name="connsiteY91" fmla="*/ 821966 h 1522526"/>
                  <a:gd name="connsiteX92" fmla="*/ 450782 w 1413367"/>
                  <a:gd name="connsiteY92" fmla="*/ 643758 h 1522526"/>
                  <a:gd name="connsiteX93" fmla="*/ 390111 w 1413367"/>
                  <a:gd name="connsiteY93" fmla="*/ 503970 h 1522526"/>
                  <a:gd name="connsiteX94" fmla="*/ 413787 w 1413367"/>
                  <a:gd name="connsiteY94" fmla="*/ 464730 h 1522526"/>
                  <a:gd name="connsiteX95" fmla="*/ 402973 w 1413367"/>
                  <a:gd name="connsiteY95" fmla="*/ 399317 h 1522526"/>
                  <a:gd name="connsiteX96" fmla="*/ 376911 w 1413367"/>
                  <a:gd name="connsiteY96" fmla="*/ 419083 h 1522526"/>
                  <a:gd name="connsiteX97" fmla="*/ 361036 w 1413367"/>
                  <a:gd name="connsiteY97" fmla="*/ 438927 h 1522526"/>
                  <a:gd name="connsiteX98" fmla="*/ 347145 w 1413367"/>
                  <a:gd name="connsiteY98" fmla="*/ 476631 h 1522526"/>
                  <a:gd name="connsiteX99" fmla="*/ 353098 w 1413367"/>
                  <a:gd name="connsiteY99" fmla="*/ 514335 h 1522526"/>
                  <a:gd name="connsiteX100" fmla="*/ 363020 w 1413367"/>
                  <a:gd name="connsiteY100" fmla="*/ 571883 h 1522526"/>
                  <a:gd name="connsiteX101" fmla="*/ 386833 w 1413367"/>
                  <a:gd name="connsiteY101" fmla="*/ 665150 h 1522526"/>
                  <a:gd name="connsiteX102" fmla="*/ 412630 w 1413367"/>
                  <a:gd name="connsiteY102" fmla="*/ 686979 h 1522526"/>
                  <a:gd name="connsiteX103" fmla="*/ 428506 w 1413367"/>
                  <a:gd name="connsiteY103" fmla="*/ 728652 h 1522526"/>
                  <a:gd name="connsiteX104" fmla="*/ 466210 w 1413367"/>
                  <a:gd name="connsiteY104" fmla="*/ 802075 h 1522526"/>
                  <a:gd name="connsiteX105" fmla="*/ 482085 w 1413367"/>
                  <a:gd name="connsiteY105" fmla="*/ 847716 h 1522526"/>
                  <a:gd name="connsiteX106" fmla="*/ 438428 w 1413367"/>
                  <a:gd name="connsiteY106" fmla="*/ 859623 h 1522526"/>
                  <a:gd name="connsiteX107" fmla="*/ 374927 w 1413367"/>
                  <a:gd name="connsiteY107" fmla="*/ 867560 h 1522526"/>
                  <a:gd name="connsiteX108" fmla="*/ 317379 w 1413367"/>
                  <a:gd name="connsiteY108" fmla="*/ 853670 h 1522526"/>
                  <a:gd name="connsiteX109" fmla="*/ 291581 w 1413367"/>
                  <a:gd name="connsiteY109" fmla="*/ 810012 h 1522526"/>
                  <a:gd name="connsiteX110" fmla="*/ 279675 w 1413367"/>
                  <a:gd name="connsiteY110" fmla="*/ 732620 h 1522526"/>
                  <a:gd name="connsiteX111" fmla="*/ 283644 w 1413367"/>
                  <a:gd name="connsiteY111" fmla="*/ 631415 h 1522526"/>
                  <a:gd name="connsiteX112" fmla="*/ 315394 w 1413367"/>
                  <a:gd name="connsiteY112" fmla="*/ 415114 h 1522526"/>
                  <a:gd name="connsiteX113" fmla="*/ 388817 w 1413367"/>
                  <a:gd name="connsiteY113" fmla="*/ 194845 h 1522526"/>
                  <a:gd name="connsiteX114" fmla="*/ 450334 w 1413367"/>
                  <a:gd name="connsiteY114" fmla="*/ 93640 h 1522526"/>
                  <a:gd name="connsiteX115" fmla="*/ 509867 w 1413367"/>
                  <a:gd name="connsiteY115" fmla="*/ 44029 h 1522526"/>
                  <a:gd name="connsiteX116" fmla="*/ 563446 w 1413367"/>
                  <a:gd name="connsiteY116" fmla="*/ 36092 h 1522526"/>
                  <a:gd name="connsiteX117" fmla="*/ 609087 w 1413367"/>
                  <a:gd name="connsiteY117" fmla="*/ 4341 h 1522526"/>
                  <a:gd name="connsiteX118" fmla="*/ 651876 w 1413367"/>
                  <a:gd name="connsiteY118" fmla="*/ 0 h 1522526"/>
                  <a:gd name="connsiteX0" fmla="*/ 992965 w 1487186"/>
                  <a:gd name="connsiteY0" fmla="*/ 998817 h 1522526"/>
                  <a:gd name="connsiteX1" fmla="*/ 1003490 w 1487186"/>
                  <a:gd name="connsiteY1" fmla="*/ 1002500 h 1522526"/>
                  <a:gd name="connsiteX2" fmla="*/ 1110648 w 1487186"/>
                  <a:gd name="connsiteY2" fmla="*/ 1036732 h 1522526"/>
                  <a:gd name="connsiteX3" fmla="*/ 1228224 w 1487186"/>
                  <a:gd name="connsiteY3" fmla="*/ 1091799 h 1522526"/>
                  <a:gd name="connsiteX4" fmla="*/ 1293710 w 1487186"/>
                  <a:gd name="connsiteY4" fmla="*/ 1137937 h 1522526"/>
                  <a:gd name="connsiteX5" fmla="*/ 1323178 w 1487186"/>
                  <a:gd name="connsiteY5" fmla="*/ 1187646 h 1522526"/>
                  <a:gd name="connsiteX6" fmla="*/ 1340257 w 1487186"/>
                  <a:gd name="connsiteY6" fmla="*/ 1220010 h 1522526"/>
                  <a:gd name="connsiteX7" fmla="*/ 1487186 w 1487186"/>
                  <a:gd name="connsiteY7" fmla="*/ 1448990 h 1522526"/>
                  <a:gd name="connsiteX8" fmla="*/ 1177029 w 1487186"/>
                  <a:gd name="connsiteY8" fmla="*/ 1493045 h 1522526"/>
                  <a:gd name="connsiteX9" fmla="*/ 1132974 w 1487186"/>
                  <a:gd name="connsiteY9" fmla="*/ 1439469 h 1522526"/>
                  <a:gd name="connsiteX10" fmla="*/ 1151130 w 1487186"/>
                  <a:gd name="connsiteY10" fmla="*/ 1492451 h 1522526"/>
                  <a:gd name="connsiteX11" fmla="*/ 267073 w 1487186"/>
                  <a:gd name="connsiteY11" fmla="*/ 1497214 h 1522526"/>
                  <a:gd name="connsiteX12" fmla="*/ 250922 w 1487186"/>
                  <a:gd name="connsiteY12" fmla="*/ 1492951 h 1522526"/>
                  <a:gd name="connsiteX13" fmla="*/ 273457 w 1487186"/>
                  <a:gd name="connsiteY13" fmla="*/ 1446229 h 1522526"/>
                  <a:gd name="connsiteX14" fmla="*/ 221069 w 1487186"/>
                  <a:gd name="connsiteY14" fmla="*/ 1493854 h 1522526"/>
                  <a:gd name="connsiteX15" fmla="*/ 668 w 1487186"/>
                  <a:gd name="connsiteY15" fmla="*/ 1482327 h 1522526"/>
                  <a:gd name="connsiteX16" fmla="*/ 61391 w 1487186"/>
                  <a:gd name="connsiteY16" fmla="*/ 1223961 h 1522526"/>
                  <a:gd name="connsiteX17" fmla="*/ 92644 w 1487186"/>
                  <a:gd name="connsiteY17" fmla="*/ 1157285 h 1522526"/>
                  <a:gd name="connsiteX18" fmla="*/ 153665 w 1487186"/>
                  <a:gd name="connsiteY18" fmla="*/ 1120077 h 1522526"/>
                  <a:gd name="connsiteX19" fmla="*/ 251893 w 1487186"/>
                  <a:gd name="connsiteY19" fmla="*/ 1078404 h 1522526"/>
                  <a:gd name="connsiteX20" fmla="*/ 376911 w 1487186"/>
                  <a:gd name="connsiteY20" fmla="*/ 1029290 h 1522526"/>
                  <a:gd name="connsiteX21" fmla="*/ 410479 w 1487186"/>
                  <a:gd name="connsiteY21" fmla="*/ 1016502 h 1522526"/>
                  <a:gd name="connsiteX22" fmla="*/ 592543 w 1487186"/>
                  <a:gd name="connsiteY22" fmla="*/ 1272398 h 1522526"/>
                  <a:gd name="connsiteX23" fmla="*/ 763993 w 1487186"/>
                  <a:gd name="connsiteY23" fmla="*/ 1379555 h 1522526"/>
                  <a:gd name="connsiteX24" fmla="*/ 883056 w 1487186"/>
                  <a:gd name="connsiteY24" fmla="*/ 1243823 h 1522526"/>
                  <a:gd name="connsiteX25" fmla="*/ 992965 w 1487186"/>
                  <a:gd name="connsiteY25" fmla="*/ 998817 h 1522526"/>
                  <a:gd name="connsiteX26" fmla="*/ 856178 w 1487186"/>
                  <a:gd name="connsiteY26" fmla="*/ 852696 h 1522526"/>
                  <a:gd name="connsiteX27" fmla="*/ 851682 w 1487186"/>
                  <a:gd name="connsiteY27" fmla="*/ 923321 h 1522526"/>
                  <a:gd name="connsiteX28" fmla="*/ 959840 w 1487186"/>
                  <a:gd name="connsiteY28" fmla="*/ 978198 h 1522526"/>
                  <a:gd name="connsiteX29" fmla="*/ 885437 w 1487186"/>
                  <a:gd name="connsiteY29" fmla="*/ 1177148 h 1522526"/>
                  <a:gd name="connsiteX30" fmla="*/ 747325 w 1487186"/>
                  <a:gd name="connsiteY30" fmla="*/ 1341455 h 1522526"/>
                  <a:gd name="connsiteX31" fmla="*/ 556825 w 1487186"/>
                  <a:gd name="connsiteY31" fmla="*/ 1191436 h 1522526"/>
                  <a:gd name="connsiteX32" fmla="*/ 439913 w 1487186"/>
                  <a:gd name="connsiteY32" fmla="*/ 1004825 h 1522526"/>
                  <a:gd name="connsiteX33" fmla="*/ 551936 w 1487186"/>
                  <a:gd name="connsiteY33" fmla="*/ 931359 h 1522526"/>
                  <a:gd name="connsiteX34" fmla="*/ 550504 w 1487186"/>
                  <a:gd name="connsiteY34" fmla="*/ 858311 h 1522526"/>
                  <a:gd name="connsiteX35" fmla="*/ 621119 w 1487186"/>
                  <a:gd name="connsiteY35" fmla="*/ 900922 h 1522526"/>
                  <a:gd name="connsiteX36" fmla="*/ 728276 w 1487186"/>
                  <a:gd name="connsiteY36" fmla="*/ 915210 h 1522526"/>
                  <a:gd name="connsiteX37" fmla="*/ 821144 w 1487186"/>
                  <a:gd name="connsiteY37" fmla="*/ 874729 h 1522526"/>
                  <a:gd name="connsiteX38" fmla="*/ 856178 w 1487186"/>
                  <a:gd name="connsiteY38" fmla="*/ 852696 h 1522526"/>
                  <a:gd name="connsiteX39" fmla="*/ 1041767 w 1487186"/>
                  <a:gd name="connsiteY39" fmla="*/ 314309 h 1522526"/>
                  <a:gd name="connsiteX40" fmla="*/ 1048139 w 1487186"/>
                  <a:gd name="connsiteY40" fmla="*/ 320855 h 1522526"/>
                  <a:gd name="connsiteX41" fmla="*/ 1074929 w 1487186"/>
                  <a:gd name="connsiteY41" fmla="*/ 428013 h 1522526"/>
                  <a:gd name="connsiteX42" fmla="*/ 1101718 w 1487186"/>
                  <a:gd name="connsiteY42" fmla="*/ 569403 h 1522526"/>
                  <a:gd name="connsiteX43" fmla="*/ 1110648 w 1487186"/>
                  <a:gd name="connsiteY43" fmla="*/ 704839 h 1522526"/>
                  <a:gd name="connsiteX44" fmla="*/ 1107671 w 1487186"/>
                  <a:gd name="connsiteY44" fmla="*/ 789672 h 1522526"/>
                  <a:gd name="connsiteX45" fmla="*/ 1082370 w 1487186"/>
                  <a:gd name="connsiteY45" fmla="*/ 850693 h 1522526"/>
                  <a:gd name="connsiteX46" fmla="*/ 1036232 w 1487186"/>
                  <a:gd name="connsiteY46" fmla="*/ 859623 h 1522526"/>
                  <a:gd name="connsiteX47" fmla="*/ 963305 w 1487186"/>
                  <a:gd name="connsiteY47" fmla="*/ 853670 h 1522526"/>
                  <a:gd name="connsiteX48" fmla="*/ 908238 w 1487186"/>
                  <a:gd name="connsiteY48" fmla="*/ 834322 h 1522526"/>
                  <a:gd name="connsiteX49" fmla="*/ 915679 w 1487186"/>
                  <a:gd name="connsiteY49" fmla="*/ 813485 h 1522526"/>
                  <a:gd name="connsiteX50" fmla="*/ 945445 w 1487186"/>
                  <a:gd name="connsiteY50" fmla="*/ 773301 h 1522526"/>
                  <a:gd name="connsiteX51" fmla="*/ 973724 w 1487186"/>
                  <a:gd name="connsiteY51" fmla="*/ 704839 h 1522526"/>
                  <a:gd name="connsiteX52" fmla="*/ 979677 w 1487186"/>
                  <a:gd name="connsiteY52" fmla="*/ 675072 h 1522526"/>
                  <a:gd name="connsiteX53" fmla="*/ 997536 w 1487186"/>
                  <a:gd name="connsiteY53" fmla="*/ 655725 h 1522526"/>
                  <a:gd name="connsiteX54" fmla="*/ 1022838 w 1487186"/>
                  <a:gd name="connsiteY54" fmla="*/ 579821 h 1522526"/>
                  <a:gd name="connsiteX55" fmla="*/ 1040697 w 1487186"/>
                  <a:gd name="connsiteY55" fmla="*/ 499452 h 1522526"/>
                  <a:gd name="connsiteX56" fmla="*/ 1042186 w 1487186"/>
                  <a:gd name="connsiteY56" fmla="*/ 463733 h 1522526"/>
                  <a:gd name="connsiteX57" fmla="*/ 1025814 w 1487186"/>
                  <a:gd name="connsiteY57" fmla="*/ 430990 h 1522526"/>
                  <a:gd name="connsiteX58" fmla="*/ 1009443 w 1487186"/>
                  <a:gd name="connsiteY58" fmla="*/ 416107 h 1522526"/>
                  <a:gd name="connsiteX59" fmla="*/ 1006466 w 1487186"/>
                  <a:gd name="connsiteY59" fmla="*/ 386340 h 1522526"/>
                  <a:gd name="connsiteX60" fmla="*/ 1009443 w 1487186"/>
                  <a:gd name="connsiteY60" fmla="*/ 350621 h 1522526"/>
                  <a:gd name="connsiteX61" fmla="*/ 1024326 w 1487186"/>
                  <a:gd name="connsiteY61" fmla="*/ 328297 h 1522526"/>
                  <a:gd name="connsiteX62" fmla="*/ 1041767 w 1487186"/>
                  <a:gd name="connsiteY62" fmla="*/ 314309 h 1522526"/>
                  <a:gd name="connsiteX63" fmla="*/ 616358 w 1487186"/>
                  <a:gd name="connsiteY63" fmla="*/ 96060 h 1522526"/>
                  <a:gd name="connsiteX64" fmla="*/ 509202 w 1487186"/>
                  <a:gd name="connsiteY64" fmla="*/ 431816 h 1522526"/>
                  <a:gd name="connsiteX65" fmla="*/ 654458 w 1487186"/>
                  <a:gd name="connsiteY65" fmla="*/ 184165 h 1522526"/>
                  <a:gd name="connsiteX66" fmla="*/ 616358 w 1487186"/>
                  <a:gd name="connsiteY66" fmla="*/ 96060 h 1522526"/>
                  <a:gd name="connsiteX67" fmla="*/ 651876 w 1487186"/>
                  <a:gd name="connsiteY67" fmla="*/ 0 h 1522526"/>
                  <a:gd name="connsiteX68" fmla="*/ 696401 w 1487186"/>
                  <a:gd name="connsiteY68" fmla="*/ 372 h 1522526"/>
                  <a:gd name="connsiteX69" fmla="*/ 757918 w 1487186"/>
                  <a:gd name="connsiteY69" fmla="*/ 6326 h 1522526"/>
                  <a:gd name="connsiteX70" fmla="*/ 829357 w 1487186"/>
                  <a:gd name="connsiteY70" fmla="*/ 38076 h 1522526"/>
                  <a:gd name="connsiteX71" fmla="*/ 910718 w 1487186"/>
                  <a:gd name="connsiteY71" fmla="*/ 103562 h 1522526"/>
                  <a:gd name="connsiteX72" fmla="*/ 1005970 w 1487186"/>
                  <a:gd name="connsiteY72" fmla="*/ 216673 h 1522526"/>
                  <a:gd name="connsiteX73" fmla="*/ 1041689 w 1487186"/>
                  <a:gd name="connsiteY73" fmla="*/ 276206 h 1522526"/>
                  <a:gd name="connsiteX74" fmla="*/ 1025814 w 1487186"/>
                  <a:gd name="connsiteY74" fmla="*/ 313909 h 1522526"/>
                  <a:gd name="connsiteX75" fmla="*/ 992079 w 1487186"/>
                  <a:gd name="connsiteY75" fmla="*/ 331769 h 1522526"/>
                  <a:gd name="connsiteX76" fmla="*/ 968266 w 1487186"/>
                  <a:gd name="connsiteY76" fmla="*/ 311925 h 1522526"/>
                  <a:gd name="connsiteX77" fmla="*/ 914687 w 1487186"/>
                  <a:gd name="connsiteY77" fmla="*/ 256361 h 1522526"/>
                  <a:gd name="connsiteX78" fmla="*/ 819435 w 1487186"/>
                  <a:gd name="connsiteY78" fmla="*/ 210720 h 1522526"/>
                  <a:gd name="connsiteX79" fmla="*/ 716246 w 1487186"/>
                  <a:gd name="connsiteY79" fmla="*/ 210720 h 1522526"/>
                  <a:gd name="connsiteX80" fmla="*/ 850617 w 1487186"/>
                  <a:gd name="connsiteY80" fmla="*/ 240487 h 1522526"/>
                  <a:gd name="connsiteX81" fmla="*/ 916103 w 1487186"/>
                  <a:gd name="connsiteY81" fmla="*/ 279721 h 1522526"/>
                  <a:gd name="connsiteX82" fmla="*/ 978269 w 1487186"/>
                  <a:gd name="connsiteY82" fmla="*/ 344718 h 1522526"/>
                  <a:gd name="connsiteX83" fmla="*/ 969452 w 1487186"/>
                  <a:gd name="connsiteY83" fmla="*/ 378896 h 1522526"/>
                  <a:gd name="connsiteX84" fmla="*/ 969452 w 1487186"/>
                  <a:gd name="connsiteY84" fmla="*/ 451651 h 1522526"/>
                  <a:gd name="connsiteX85" fmla="*/ 1003488 w 1487186"/>
                  <a:gd name="connsiteY85" fmla="*/ 478628 h 1522526"/>
                  <a:gd name="connsiteX86" fmla="*/ 967232 w 1487186"/>
                  <a:gd name="connsiteY86" fmla="*/ 638035 h 1522526"/>
                  <a:gd name="connsiteX87" fmla="*/ 946515 w 1487186"/>
                  <a:gd name="connsiteY87" fmla="*/ 651932 h 1522526"/>
                  <a:gd name="connsiteX88" fmla="*/ 838644 w 1487186"/>
                  <a:gd name="connsiteY88" fmla="*/ 831290 h 1522526"/>
                  <a:gd name="connsiteX89" fmla="*/ 749707 w 1487186"/>
                  <a:gd name="connsiteY89" fmla="*/ 893779 h 1522526"/>
                  <a:gd name="connsiteX90" fmla="*/ 663982 w 1487186"/>
                  <a:gd name="connsiteY90" fmla="*/ 893779 h 1522526"/>
                  <a:gd name="connsiteX91" fmla="*/ 542921 w 1487186"/>
                  <a:gd name="connsiteY91" fmla="*/ 821966 h 1522526"/>
                  <a:gd name="connsiteX92" fmla="*/ 450782 w 1487186"/>
                  <a:gd name="connsiteY92" fmla="*/ 643758 h 1522526"/>
                  <a:gd name="connsiteX93" fmla="*/ 390111 w 1487186"/>
                  <a:gd name="connsiteY93" fmla="*/ 503970 h 1522526"/>
                  <a:gd name="connsiteX94" fmla="*/ 413787 w 1487186"/>
                  <a:gd name="connsiteY94" fmla="*/ 464730 h 1522526"/>
                  <a:gd name="connsiteX95" fmla="*/ 402973 w 1487186"/>
                  <a:gd name="connsiteY95" fmla="*/ 399317 h 1522526"/>
                  <a:gd name="connsiteX96" fmla="*/ 376911 w 1487186"/>
                  <a:gd name="connsiteY96" fmla="*/ 419083 h 1522526"/>
                  <a:gd name="connsiteX97" fmla="*/ 361036 w 1487186"/>
                  <a:gd name="connsiteY97" fmla="*/ 438927 h 1522526"/>
                  <a:gd name="connsiteX98" fmla="*/ 347145 w 1487186"/>
                  <a:gd name="connsiteY98" fmla="*/ 476631 h 1522526"/>
                  <a:gd name="connsiteX99" fmla="*/ 353098 w 1487186"/>
                  <a:gd name="connsiteY99" fmla="*/ 514335 h 1522526"/>
                  <a:gd name="connsiteX100" fmla="*/ 363020 w 1487186"/>
                  <a:gd name="connsiteY100" fmla="*/ 571883 h 1522526"/>
                  <a:gd name="connsiteX101" fmla="*/ 386833 w 1487186"/>
                  <a:gd name="connsiteY101" fmla="*/ 665150 h 1522526"/>
                  <a:gd name="connsiteX102" fmla="*/ 412630 w 1487186"/>
                  <a:gd name="connsiteY102" fmla="*/ 686979 h 1522526"/>
                  <a:gd name="connsiteX103" fmla="*/ 428506 w 1487186"/>
                  <a:gd name="connsiteY103" fmla="*/ 728652 h 1522526"/>
                  <a:gd name="connsiteX104" fmla="*/ 466210 w 1487186"/>
                  <a:gd name="connsiteY104" fmla="*/ 802075 h 1522526"/>
                  <a:gd name="connsiteX105" fmla="*/ 482085 w 1487186"/>
                  <a:gd name="connsiteY105" fmla="*/ 847716 h 1522526"/>
                  <a:gd name="connsiteX106" fmla="*/ 438428 w 1487186"/>
                  <a:gd name="connsiteY106" fmla="*/ 859623 h 1522526"/>
                  <a:gd name="connsiteX107" fmla="*/ 374927 w 1487186"/>
                  <a:gd name="connsiteY107" fmla="*/ 867560 h 1522526"/>
                  <a:gd name="connsiteX108" fmla="*/ 317379 w 1487186"/>
                  <a:gd name="connsiteY108" fmla="*/ 853670 h 1522526"/>
                  <a:gd name="connsiteX109" fmla="*/ 291581 w 1487186"/>
                  <a:gd name="connsiteY109" fmla="*/ 810012 h 1522526"/>
                  <a:gd name="connsiteX110" fmla="*/ 279675 w 1487186"/>
                  <a:gd name="connsiteY110" fmla="*/ 732620 h 1522526"/>
                  <a:gd name="connsiteX111" fmla="*/ 283644 w 1487186"/>
                  <a:gd name="connsiteY111" fmla="*/ 631415 h 1522526"/>
                  <a:gd name="connsiteX112" fmla="*/ 315394 w 1487186"/>
                  <a:gd name="connsiteY112" fmla="*/ 415114 h 1522526"/>
                  <a:gd name="connsiteX113" fmla="*/ 388817 w 1487186"/>
                  <a:gd name="connsiteY113" fmla="*/ 194845 h 1522526"/>
                  <a:gd name="connsiteX114" fmla="*/ 450334 w 1487186"/>
                  <a:gd name="connsiteY114" fmla="*/ 93640 h 1522526"/>
                  <a:gd name="connsiteX115" fmla="*/ 509867 w 1487186"/>
                  <a:gd name="connsiteY115" fmla="*/ 44029 h 1522526"/>
                  <a:gd name="connsiteX116" fmla="*/ 563446 w 1487186"/>
                  <a:gd name="connsiteY116" fmla="*/ 36092 h 1522526"/>
                  <a:gd name="connsiteX117" fmla="*/ 609087 w 1487186"/>
                  <a:gd name="connsiteY117" fmla="*/ 4341 h 1522526"/>
                  <a:gd name="connsiteX118" fmla="*/ 651876 w 1487186"/>
                  <a:gd name="connsiteY118" fmla="*/ 0 h 1522526"/>
                  <a:gd name="connsiteX0" fmla="*/ 992965 w 1489754"/>
                  <a:gd name="connsiteY0" fmla="*/ 998817 h 1522526"/>
                  <a:gd name="connsiteX1" fmla="*/ 1003490 w 1489754"/>
                  <a:gd name="connsiteY1" fmla="*/ 1002500 h 1522526"/>
                  <a:gd name="connsiteX2" fmla="*/ 1110648 w 1489754"/>
                  <a:gd name="connsiteY2" fmla="*/ 1036732 h 1522526"/>
                  <a:gd name="connsiteX3" fmla="*/ 1228224 w 1489754"/>
                  <a:gd name="connsiteY3" fmla="*/ 1091799 h 1522526"/>
                  <a:gd name="connsiteX4" fmla="*/ 1293710 w 1489754"/>
                  <a:gd name="connsiteY4" fmla="*/ 1137937 h 1522526"/>
                  <a:gd name="connsiteX5" fmla="*/ 1323178 w 1489754"/>
                  <a:gd name="connsiteY5" fmla="*/ 1187646 h 1522526"/>
                  <a:gd name="connsiteX6" fmla="*/ 1487186 w 1489754"/>
                  <a:gd name="connsiteY6" fmla="*/ 1448990 h 1522526"/>
                  <a:gd name="connsiteX7" fmla="*/ 1177029 w 1489754"/>
                  <a:gd name="connsiteY7" fmla="*/ 1493045 h 1522526"/>
                  <a:gd name="connsiteX8" fmla="*/ 1132974 w 1489754"/>
                  <a:gd name="connsiteY8" fmla="*/ 1439469 h 1522526"/>
                  <a:gd name="connsiteX9" fmla="*/ 1151130 w 1489754"/>
                  <a:gd name="connsiteY9" fmla="*/ 1492451 h 1522526"/>
                  <a:gd name="connsiteX10" fmla="*/ 267073 w 1489754"/>
                  <a:gd name="connsiteY10" fmla="*/ 1497214 h 1522526"/>
                  <a:gd name="connsiteX11" fmla="*/ 250922 w 1489754"/>
                  <a:gd name="connsiteY11" fmla="*/ 1492951 h 1522526"/>
                  <a:gd name="connsiteX12" fmla="*/ 273457 w 1489754"/>
                  <a:gd name="connsiteY12" fmla="*/ 1446229 h 1522526"/>
                  <a:gd name="connsiteX13" fmla="*/ 221069 w 1489754"/>
                  <a:gd name="connsiteY13" fmla="*/ 1493854 h 1522526"/>
                  <a:gd name="connsiteX14" fmla="*/ 668 w 1489754"/>
                  <a:gd name="connsiteY14" fmla="*/ 1482327 h 1522526"/>
                  <a:gd name="connsiteX15" fmla="*/ 61391 w 1489754"/>
                  <a:gd name="connsiteY15" fmla="*/ 1223961 h 1522526"/>
                  <a:gd name="connsiteX16" fmla="*/ 92644 w 1489754"/>
                  <a:gd name="connsiteY16" fmla="*/ 1157285 h 1522526"/>
                  <a:gd name="connsiteX17" fmla="*/ 153665 w 1489754"/>
                  <a:gd name="connsiteY17" fmla="*/ 1120077 h 1522526"/>
                  <a:gd name="connsiteX18" fmla="*/ 251893 w 1489754"/>
                  <a:gd name="connsiteY18" fmla="*/ 1078404 h 1522526"/>
                  <a:gd name="connsiteX19" fmla="*/ 376911 w 1489754"/>
                  <a:gd name="connsiteY19" fmla="*/ 1029290 h 1522526"/>
                  <a:gd name="connsiteX20" fmla="*/ 410479 w 1489754"/>
                  <a:gd name="connsiteY20" fmla="*/ 1016502 h 1522526"/>
                  <a:gd name="connsiteX21" fmla="*/ 592543 w 1489754"/>
                  <a:gd name="connsiteY21" fmla="*/ 1272398 h 1522526"/>
                  <a:gd name="connsiteX22" fmla="*/ 763993 w 1489754"/>
                  <a:gd name="connsiteY22" fmla="*/ 1379555 h 1522526"/>
                  <a:gd name="connsiteX23" fmla="*/ 883056 w 1489754"/>
                  <a:gd name="connsiteY23" fmla="*/ 1243823 h 1522526"/>
                  <a:gd name="connsiteX24" fmla="*/ 992965 w 1489754"/>
                  <a:gd name="connsiteY24" fmla="*/ 998817 h 1522526"/>
                  <a:gd name="connsiteX25" fmla="*/ 856178 w 1489754"/>
                  <a:gd name="connsiteY25" fmla="*/ 852696 h 1522526"/>
                  <a:gd name="connsiteX26" fmla="*/ 851682 w 1489754"/>
                  <a:gd name="connsiteY26" fmla="*/ 923321 h 1522526"/>
                  <a:gd name="connsiteX27" fmla="*/ 959840 w 1489754"/>
                  <a:gd name="connsiteY27" fmla="*/ 978198 h 1522526"/>
                  <a:gd name="connsiteX28" fmla="*/ 885437 w 1489754"/>
                  <a:gd name="connsiteY28" fmla="*/ 1177148 h 1522526"/>
                  <a:gd name="connsiteX29" fmla="*/ 747325 w 1489754"/>
                  <a:gd name="connsiteY29" fmla="*/ 1341455 h 1522526"/>
                  <a:gd name="connsiteX30" fmla="*/ 556825 w 1489754"/>
                  <a:gd name="connsiteY30" fmla="*/ 1191436 h 1522526"/>
                  <a:gd name="connsiteX31" fmla="*/ 439913 w 1489754"/>
                  <a:gd name="connsiteY31" fmla="*/ 1004825 h 1522526"/>
                  <a:gd name="connsiteX32" fmla="*/ 551936 w 1489754"/>
                  <a:gd name="connsiteY32" fmla="*/ 931359 h 1522526"/>
                  <a:gd name="connsiteX33" fmla="*/ 550504 w 1489754"/>
                  <a:gd name="connsiteY33" fmla="*/ 858311 h 1522526"/>
                  <a:gd name="connsiteX34" fmla="*/ 621119 w 1489754"/>
                  <a:gd name="connsiteY34" fmla="*/ 900922 h 1522526"/>
                  <a:gd name="connsiteX35" fmla="*/ 728276 w 1489754"/>
                  <a:gd name="connsiteY35" fmla="*/ 915210 h 1522526"/>
                  <a:gd name="connsiteX36" fmla="*/ 821144 w 1489754"/>
                  <a:gd name="connsiteY36" fmla="*/ 874729 h 1522526"/>
                  <a:gd name="connsiteX37" fmla="*/ 856178 w 1489754"/>
                  <a:gd name="connsiteY37" fmla="*/ 852696 h 1522526"/>
                  <a:gd name="connsiteX38" fmla="*/ 1041767 w 1489754"/>
                  <a:gd name="connsiteY38" fmla="*/ 314309 h 1522526"/>
                  <a:gd name="connsiteX39" fmla="*/ 1048139 w 1489754"/>
                  <a:gd name="connsiteY39" fmla="*/ 320855 h 1522526"/>
                  <a:gd name="connsiteX40" fmla="*/ 1074929 w 1489754"/>
                  <a:gd name="connsiteY40" fmla="*/ 428013 h 1522526"/>
                  <a:gd name="connsiteX41" fmla="*/ 1101718 w 1489754"/>
                  <a:gd name="connsiteY41" fmla="*/ 569403 h 1522526"/>
                  <a:gd name="connsiteX42" fmla="*/ 1110648 w 1489754"/>
                  <a:gd name="connsiteY42" fmla="*/ 704839 h 1522526"/>
                  <a:gd name="connsiteX43" fmla="*/ 1107671 w 1489754"/>
                  <a:gd name="connsiteY43" fmla="*/ 789672 h 1522526"/>
                  <a:gd name="connsiteX44" fmla="*/ 1082370 w 1489754"/>
                  <a:gd name="connsiteY44" fmla="*/ 850693 h 1522526"/>
                  <a:gd name="connsiteX45" fmla="*/ 1036232 w 1489754"/>
                  <a:gd name="connsiteY45" fmla="*/ 859623 h 1522526"/>
                  <a:gd name="connsiteX46" fmla="*/ 963305 w 1489754"/>
                  <a:gd name="connsiteY46" fmla="*/ 853670 h 1522526"/>
                  <a:gd name="connsiteX47" fmla="*/ 908238 w 1489754"/>
                  <a:gd name="connsiteY47" fmla="*/ 834322 h 1522526"/>
                  <a:gd name="connsiteX48" fmla="*/ 915679 w 1489754"/>
                  <a:gd name="connsiteY48" fmla="*/ 813485 h 1522526"/>
                  <a:gd name="connsiteX49" fmla="*/ 945445 w 1489754"/>
                  <a:gd name="connsiteY49" fmla="*/ 773301 h 1522526"/>
                  <a:gd name="connsiteX50" fmla="*/ 973724 w 1489754"/>
                  <a:gd name="connsiteY50" fmla="*/ 704839 h 1522526"/>
                  <a:gd name="connsiteX51" fmla="*/ 979677 w 1489754"/>
                  <a:gd name="connsiteY51" fmla="*/ 675072 h 1522526"/>
                  <a:gd name="connsiteX52" fmla="*/ 997536 w 1489754"/>
                  <a:gd name="connsiteY52" fmla="*/ 655725 h 1522526"/>
                  <a:gd name="connsiteX53" fmla="*/ 1022838 w 1489754"/>
                  <a:gd name="connsiteY53" fmla="*/ 579821 h 1522526"/>
                  <a:gd name="connsiteX54" fmla="*/ 1040697 w 1489754"/>
                  <a:gd name="connsiteY54" fmla="*/ 499452 h 1522526"/>
                  <a:gd name="connsiteX55" fmla="*/ 1042186 w 1489754"/>
                  <a:gd name="connsiteY55" fmla="*/ 463733 h 1522526"/>
                  <a:gd name="connsiteX56" fmla="*/ 1025814 w 1489754"/>
                  <a:gd name="connsiteY56" fmla="*/ 430990 h 1522526"/>
                  <a:gd name="connsiteX57" fmla="*/ 1009443 w 1489754"/>
                  <a:gd name="connsiteY57" fmla="*/ 416107 h 1522526"/>
                  <a:gd name="connsiteX58" fmla="*/ 1006466 w 1489754"/>
                  <a:gd name="connsiteY58" fmla="*/ 386340 h 1522526"/>
                  <a:gd name="connsiteX59" fmla="*/ 1009443 w 1489754"/>
                  <a:gd name="connsiteY59" fmla="*/ 350621 h 1522526"/>
                  <a:gd name="connsiteX60" fmla="*/ 1024326 w 1489754"/>
                  <a:gd name="connsiteY60" fmla="*/ 328297 h 1522526"/>
                  <a:gd name="connsiteX61" fmla="*/ 1041767 w 1489754"/>
                  <a:gd name="connsiteY61" fmla="*/ 314309 h 1522526"/>
                  <a:gd name="connsiteX62" fmla="*/ 616358 w 1489754"/>
                  <a:gd name="connsiteY62" fmla="*/ 96060 h 1522526"/>
                  <a:gd name="connsiteX63" fmla="*/ 509202 w 1489754"/>
                  <a:gd name="connsiteY63" fmla="*/ 431816 h 1522526"/>
                  <a:gd name="connsiteX64" fmla="*/ 654458 w 1489754"/>
                  <a:gd name="connsiteY64" fmla="*/ 184165 h 1522526"/>
                  <a:gd name="connsiteX65" fmla="*/ 616358 w 1489754"/>
                  <a:gd name="connsiteY65" fmla="*/ 96060 h 1522526"/>
                  <a:gd name="connsiteX66" fmla="*/ 651876 w 1489754"/>
                  <a:gd name="connsiteY66" fmla="*/ 0 h 1522526"/>
                  <a:gd name="connsiteX67" fmla="*/ 696401 w 1489754"/>
                  <a:gd name="connsiteY67" fmla="*/ 372 h 1522526"/>
                  <a:gd name="connsiteX68" fmla="*/ 757918 w 1489754"/>
                  <a:gd name="connsiteY68" fmla="*/ 6326 h 1522526"/>
                  <a:gd name="connsiteX69" fmla="*/ 829357 w 1489754"/>
                  <a:gd name="connsiteY69" fmla="*/ 38076 h 1522526"/>
                  <a:gd name="connsiteX70" fmla="*/ 910718 w 1489754"/>
                  <a:gd name="connsiteY70" fmla="*/ 103562 h 1522526"/>
                  <a:gd name="connsiteX71" fmla="*/ 1005970 w 1489754"/>
                  <a:gd name="connsiteY71" fmla="*/ 216673 h 1522526"/>
                  <a:gd name="connsiteX72" fmla="*/ 1041689 w 1489754"/>
                  <a:gd name="connsiteY72" fmla="*/ 276206 h 1522526"/>
                  <a:gd name="connsiteX73" fmla="*/ 1025814 w 1489754"/>
                  <a:gd name="connsiteY73" fmla="*/ 313909 h 1522526"/>
                  <a:gd name="connsiteX74" fmla="*/ 992079 w 1489754"/>
                  <a:gd name="connsiteY74" fmla="*/ 331769 h 1522526"/>
                  <a:gd name="connsiteX75" fmla="*/ 968266 w 1489754"/>
                  <a:gd name="connsiteY75" fmla="*/ 311925 h 1522526"/>
                  <a:gd name="connsiteX76" fmla="*/ 914687 w 1489754"/>
                  <a:gd name="connsiteY76" fmla="*/ 256361 h 1522526"/>
                  <a:gd name="connsiteX77" fmla="*/ 819435 w 1489754"/>
                  <a:gd name="connsiteY77" fmla="*/ 210720 h 1522526"/>
                  <a:gd name="connsiteX78" fmla="*/ 716246 w 1489754"/>
                  <a:gd name="connsiteY78" fmla="*/ 210720 h 1522526"/>
                  <a:gd name="connsiteX79" fmla="*/ 850617 w 1489754"/>
                  <a:gd name="connsiteY79" fmla="*/ 240487 h 1522526"/>
                  <a:gd name="connsiteX80" fmla="*/ 916103 w 1489754"/>
                  <a:gd name="connsiteY80" fmla="*/ 279721 h 1522526"/>
                  <a:gd name="connsiteX81" fmla="*/ 978269 w 1489754"/>
                  <a:gd name="connsiteY81" fmla="*/ 344718 h 1522526"/>
                  <a:gd name="connsiteX82" fmla="*/ 969452 w 1489754"/>
                  <a:gd name="connsiteY82" fmla="*/ 378896 h 1522526"/>
                  <a:gd name="connsiteX83" fmla="*/ 969452 w 1489754"/>
                  <a:gd name="connsiteY83" fmla="*/ 451651 h 1522526"/>
                  <a:gd name="connsiteX84" fmla="*/ 1003488 w 1489754"/>
                  <a:gd name="connsiteY84" fmla="*/ 478628 h 1522526"/>
                  <a:gd name="connsiteX85" fmla="*/ 967232 w 1489754"/>
                  <a:gd name="connsiteY85" fmla="*/ 638035 h 1522526"/>
                  <a:gd name="connsiteX86" fmla="*/ 946515 w 1489754"/>
                  <a:gd name="connsiteY86" fmla="*/ 651932 h 1522526"/>
                  <a:gd name="connsiteX87" fmla="*/ 838644 w 1489754"/>
                  <a:gd name="connsiteY87" fmla="*/ 831290 h 1522526"/>
                  <a:gd name="connsiteX88" fmla="*/ 749707 w 1489754"/>
                  <a:gd name="connsiteY88" fmla="*/ 893779 h 1522526"/>
                  <a:gd name="connsiteX89" fmla="*/ 663982 w 1489754"/>
                  <a:gd name="connsiteY89" fmla="*/ 893779 h 1522526"/>
                  <a:gd name="connsiteX90" fmla="*/ 542921 w 1489754"/>
                  <a:gd name="connsiteY90" fmla="*/ 821966 h 1522526"/>
                  <a:gd name="connsiteX91" fmla="*/ 450782 w 1489754"/>
                  <a:gd name="connsiteY91" fmla="*/ 643758 h 1522526"/>
                  <a:gd name="connsiteX92" fmla="*/ 390111 w 1489754"/>
                  <a:gd name="connsiteY92" fmla="*/ 503970 h 1522526"/>
                  <a:gd name="connsiteX93" fmla="*/ 413787 w 1489754"/>
                  <a:gd name="connsiteY93" fmla="*/ 464730 h 1522526"/>
                  <a:gd name="connsiteX94" fmla="*/ 402973 w 1489754"/>
                  <a:gd name="connsiteY94" fmla="*/ 399317 h 1522526"/>
                  <a:gd name="connsiteX95" fmla="*/ 376911 w 1489754"/>
                  <a:gd name="connsiteY95" fmla="*/ 419083 h 1522526"/>
                  <a:gd name="connsiteX96" fmla="*/ 361036 w 1489754"/>
                  <a:gd name="connsiteY96" fmla="*/ 438927 h 1522526"/>
                  <a:gd name="connsiteX97" fmla="*/ 347145 w 1489754"/>
                  <a:gd name="connsiteY97" fmla="*/ 476631 h 1522526"/>
                  <a:gd name="connsiteX98" fmla="*/ 353098 w 1489754"/>
                  <a:gd name="connsiteY98" fmla="*/ 514335 h 1522526"/>
                  <a:gd name="connsiteX99" fmla="*/ 363020 w 1489754"/>
                  <a:gd name="connsiteY99" fmla="*/ 571883 h 1522526"/>
                  <a:gd name="connsiteX100" fmla="*/ 386833 w 1489754"/>
                  <a:gd name="connsiteY100" fmla="*/ 665150 h 1522526"/>
                  <a:gd name="connsiteX101" fmla="*/ 412630 w 1489754"/>
                  <a:gd name="connsiteY101" fmla="*/ 686979 h 1522526"/>
                  <a:gd name="connsiteX102" fmla="*/ 428506 w 1489754"/>
                  <a:gd name="connsiteY102" fmla="*/ 728652 h 1522526"/>
                  <a:gd name="connsiteX103" fmla="*/ 466210 w 1489754"/>
                  <a:gd name="connsiteY103" fmla="*/ 802075 h 1522526"/>
                  <a:gd name="connsiteX104" fmla="*/ 482085 w 1489754"/>
                  <a:gd name="connsiteY104" fmla="*/ 847716 h 1522526"/>
                  <a:gd name="connsiteX105" fmla="*/ 438428 w 1489754"/>
                  <a:gd name="connsiteY105" fmla="*/ 859623 h 1522526"/>
                  <a:gd name="connsiteX106" fmla="*/ 374927 w 1489754"/>
                  <a:gd name="connsiteY106" fmla="*/ 867560 h 1522526"/>
                  <a:gd name="connsiteX107" fmla="*/ 317379 w 1489754"/>
                  <a:gd name="connsiteY107" fmla="*/ 853670 h 1522526"/>
                  <a:gd name="connsiteX108" fmla="*/ 291581 w 1489754"/>
                  <a:gd name="connsiteY108" fmla="*/ 810012 h 1522526"/>
                  <a:gd name="connsiteX109" fmla="*/ 279675 w 1489754"/>
                  <a:gd name="connsiteY109" fmla="*/ 732620 h 1522526"/>
                  <a:gd name="connsiteX110" fmla="*/ 283644 w 1489754"/>
                  <a:gd name="connsiteY110" fmla="*/ 631415 h 1522526"/>
                  <a:gd name="connsiteX111" fmla="*/ 315394 w 1489754"/>
                  <a:gd name="connsiteY111" fmla="*/ 415114 h 1522526"/>
                  <a:gd name="connsiteX112" fmla="*/ 388817 w 1489754"/>
                  <a:gd name="connsiteY112" fmla="*/ 194845 h 1522526"/>
                  <a:gd name="connsiteX113" fmla="*/ 450334 w 1489754"/>
                  <a:gd name="connsiteY113" fmla="*/ 93640 h 1522526"/>
                  <a:gd name="connsiteX114" fmla="*/ 509867 w 1489754"/>
                  <a:gd name="connsiteY114" fmla="*/ 44029 h 1522526"/>
                  <a:gd name="connsiteX115" fmla="*/ 563446 w 1489754"/>
                  <a:gd name="connsiteY115" fmla="*/ 36092 h 1522526"/>
                  <a:gd name="connsiteX116" fmla="*/ 609087 w 1489754"/>
                  <a:gd name="connsiteY116" fmla="*/ 4341 h 1522526"/>
                  <a:gd name="connsiteX117" fmla="*/ 651876 w 1489754"/>
                  <a:gd name="connsiteY117" fmla="*/ 0 h 1522526"/>
                  <a:gd name="connsiteX0" fmla="*/ 992965 w 1490589"/>
                  <a:gd name="connsiteY0" fmla="*/ 998817 h 1522526"/>
                  <a:gd name="connsiteX1" fmla="*/ 1003490 w 1490589"/>
                  <a:gd name="connsiteY1" fmla="*/ 1002500 h 1522526"/>
                  <a:gd name="connsiteX2" fmla="*/ 1110648 w 1490589"/>
                  <a:gd name="connsiteY2" fmla="*/ 1036732 h 1522526"/>
                  <a:gd name="connsiteX3" fmla="*/ 1228224 w 1490589"/>
                  <a:gd name="connsiteY3" fmla="*/ 1091799 h 1522526"/>
                  <a:gd name="connsiteX4" fmla="*/ 1293710 w 1490589"/>
                  <a:gd name="connsiteY4" fmla="*/ 1137937 h 1522526"/>
                  <a:gd name="connsiteX5" fmla="*/ 1366040 w 1490589"/>
                  <a:gd name="connsiteY5" fmla="*/ 1185265 h 1522526"/>
                  <a:gd name="connsiteX6" fmla="*/ 1487186 w 1490589"/>
                  <a:gd name="connsiteY6" fmla="*/ 1448990 h 1522526"/>
                  <a:gd name="connsiteX7" fmla="*/ 1177029 w 1490589"/>
                  <a:gd name="connsiteY7" fmla="*/ 1493045 h 1522526"/>
                  <a:gd name="connsiteX8" fmla="*/ 1132974 w 1490589"/>
                  <a:gd name="connsiteY8" fmla="*/ 1439469 h 1522526"/>
                  <a:gd name="connsiteX9" fmla="*/ 1151130 w 1490589"/>
                  <a:gd name="connsiteY9" fmla="*/ 1492451 h 1522526"/>
                  <a:gd name="connsiteX10" fmla="*/ 267073 w 1490589"/>
                  <a:gd name="connsiteY10" fmla="*/ 1497214 h 1522526"/>
                  <a:gd name="connsiteX11" fmla="*/ 250922 w 1490589"/>
                  <a:gd name="connsiteY11" fmla="*/ 1492951 h 1522526"/>
                  <a:gd name="connsiteX12" fmla="*/ 273457 w 1490589"/>
                  <a:gd name="connsiteY12" fmla="*/ 1446229 h 1522526"/>
                  <a:gd name="connsiteX13" fmla="*/ 221069 w 1490589"/>
                  <a:gd name="connsiteY13" fmla="*/ 1493854 h 1522526"/>
                  <a:gd name="connsiteX14" fmla="*/ 668 w 1490589"/>
                  <a:gd name="connsiteY14" fmla="*/ 1482327 h 1522526"/>
                  <a:gd name="connsiteX15" fmla="*/ 61391 w 1490589"/>
                  <a:gd name="connsiteY15" fmla="*/ 1223961 h 1522526"/>
                  <a:gd name="connsiteX16" fmla="*/ 92644 w 1490589"/>
                  <a:gd name="connsiteY16" fmla="*/ 1157285 h 1522526"/>
                  <a:gd name="connsiteX17" fmla="*/ 153665 w 1490589"/>
                  <a:gd name="connsiteY17" fmla="*/ 1120077 h 1522526"/>
                  <a:gd name="connsiteX18" fmla="*/ 251893 w 1490589"/>
                  <a:gd name="connsiteY18" fmla="*/ 1078404 h 1522526"/>
                  <a:gd name="connsiteX19" fmla="*/ 376911 w 1490589"/>
                  <a:gd name="connsiteY19" fmla="*/ 1029290 h 1522526"/>
                  <a:gd name="connsiteX20" fmla="*/ 410479 w 1490589"/>
                  <a:gd name="connsiteY20" fmla="*/ 1016502 h 1522526"/>
                  <a:gd name="connsiteX21" fmla="*/ 592543 w 1490589"/>
                  <a:gd name="connsiteY21" fmla="*/ 1272398 h 1522526"/>
                  <a:gd name="connsiteX22" fmla="*/ 763993 w 1490589"/>
                  <a:gd name="connsiteY22" fmla="*/ 1379555 h 1522526"/>
                  <a:gd name="connsiteX23" fmla="*/ 883056 w 1490589"/>
                  <a:gd name="connsiteY23" fmla="*/ 1243823 h 1522526"/>
                  <a:gd name="connsiteX24" fmla="*/ 992965 w 1490589"/>
                  <a:gd name="connsiteY24" fmla="*/ 998817 h 1522526"/>
                  <a:gd name="connsiteX25" fmla="*/ 856178 w 1490589"/>
                  <a:gd name="connsiteY25" fmla="*/ 852696 h 1522526"/>
                  <a:gd name="connsiteX26" fmla="*/ 851682 w 1490589"/>
                  <a:gd name="connsiteY26" fmla="*/ 923321 h 1522526"/>
                  <a:gd name="connsiteX27" fmla="*/ 959840 w 1490589"/>
                  <a:gd name="connsiteY27" fmla="*/ 978198 h 1522526"/>
                  <a:gd name="connsiteX28" fmla="*/ 885437 w 1490589"/>
                  <a:gd name="connsiteY28" fmla="*/ 1177148 h 1522526"/>
                  <a:gd name="connsiteX29" fmla="*/ 747325 w 1490589"/>
                  <a:gd name="connsiteY29" fmla="*/ 1341455 h 1522526"/>
                  <a:gd name="connsiteX30" fmla="*/ 556825 w 1490589"/>
                  <a:gd name="connsiteY30" fmla="*/ 1191436 h 1522526"/>
                  <a:gd name="connsiteX31" fmla="*/ 439913 w 1490589"/>
                  <a:gd name="connsiteY31" fmla="*/ 1004825 h 1522526"/>
                  <a:gd name="connsiteX32" fmla="*/ 551936 w 1490589"/>
                  <a:gd name="connsiteY32" fmla="*/ 931359 h 1522526"/>
                  <a:gd name="connsiteX33" fmla="*/ 550504 w 1490589"/>
                  <a:gd name="connsiteY33" fmla="*/ 858311 h 1522526"/>
                  <a:gd name="connsiteX34" fmla="*/ 621119 w 1490589"/>
                  <a:gd name="connsiteY34" fmla="*/ 900922 h 1522526"/>
                  <a:gd name="connsiteX35" fmla="*/ 728276 w 1490589"/>
                  <a:gd name="connsiteY35" fmla="*/ 915210 h 1522526"/>
                  <a:gd name="connsiteX36" fmla="*/ 821144 w 1490589"/>
                  <a:gd name="connsiteY36" fmla="*/ 874729 h 1522526"/>
                  <a:gd name="connsiteX37" fmla="*/ 856178 w 1490589"/>
                  <a:gd name="connsiteY37" fmla="*/ 852696 h 1522526"/>
                  <a:gd name="connsiteX38" fmla="*/ 1041767 w 1490589"/>
                  <a:gd name="connsiteY38" fmla="*/ 314309 h 1522526"/>
                  <a:gd name="connsiteX39" fmla="*/ 1048139 w 1490589"/>
                  <a:gd name="connsiteY39" fmla="*/ 320855 h 1522526"/>
                  <a:gd name="connsiteX40" fmla="*/ 1074929 w 1490589"/>
                  <a:gd name="connsiteY40" fmla="*/ 428013 h 1522526"/>
                  <a:gd name="connsiteX41" fmla="*/ 1101718 w 1490589"/>
                  <a:gd name="connsiteY41" fmla="*/ 569403 h 1522526"/>
                  <a:gd name="connsiteX42" fmla="*/ 1110648 w 1490589"/>
                  <a:gd name="connsiteY42" fmla="*/ 704839 h 1522526"/>
                  <a:gd name="connsiteX43" fmla="*/ 1107671 w 1490589"/>
                  <a:gd name="connsiteY43" fmla="*/ 789672 h 1522526"/>
                  <a:gd name="connsiteX44" fmla="*/ 1082370 w 1490589"/>
                  <a:gd name="connsiteY44" fmla="*/ 850693 h 1522526"/>
                  <a:gd name="connsiteX45" fmla="*/ 1036232 w 1490589"/>
                  <a:gd name="connsiteY45" fmla="*/ 859623 h 1522526"/>
                  <a:gd name="connsiteX46" fmla="*/ 963305 w 1490589"/>
                  <a:gd name="connsiteY46" fmla="*/ 853670 h 1522526"/>
                  <a:gd name="connsiteX47" fmla="*/ 908238 w 1490589"/>
                  <a:gd name="connsiteY47" fmla="*/ 834322 h 1522526"/>
                  <a:gd name="connsiteX48" fmla="*/ 915679 w 1490589"/>
                  <a:gd name="connsiteY48" fmla="*/ 813485 h 1522526"/>
                  <a:gd name="connsiteX49" fmla="*/ 945445 w 1490589"/>
                  <a:gd name="connsiteY49" fmla="*/ 773301 h 1522526"/>
                  <a:gd name="connsiteX50" fmla="*/ 973724 w 1490589"/>
                  <a:gd name="connsiteY50" fmla="*/ 704839 h 1522526"/>
                  <a:gd name="connsiteX51" fmla="*/ 979677 w 1490589"/>
                  <a:gd name="connsiteY51" fmla="*/ 675072 h 1522526"/>
                  <a:gd name="connsiteX52" fmla="*/ 997536 w 1490589"/>
                  <a:gd name="connsiteY52" fmla="*/ 655725 h 1522526"/>
                  <a:gd name="connsiteX53" fmla="*/ 1022838 w 1490589"/>
                  <a:gd name="connsiteY53" fmla="*/ 579821 h 1522526"/>
                  <a:gd name="connsiteX54" fmla="*/ 1040697 w 1490589"/>
                  <a:gd name="connsiteY54" fmla="*/ 499452 h 1522526"/>
                  <a:gd name="connsiteX55" fmla="*/ 1042186 w 1490589"/>
                  <a:gd name="connsiteY55" fmla="*/ 463733 h 1522526"/>
                  <a:gd name="connsiteX56" fmla="*/ 1025814 w 1490589"/>
                  <a:gd name="connsiteY56" fmla="*/ 430990 h 1522526"/>
                  <a:gd name="connsiteX57" fmla="*/ 1009443 w 1490589"/>
                  <a:gd name="connsiteY57" fmla="*/ 416107 h 1522526"/>
                  <a:gd name="connsiteX58" fmla="*/ 1006466 w 1490589"/>
                  <a:gd name="connsiteY58" fmla="*/ 386340 h 1522526"/>
                  <a:gd name="connsiteX59" fmla="*/ 1009443 w 1490589"/>
                  <a:gd name="connsiteY59" fmla="*/ 350621 h 1522526"/>
                  <a:gd name="connsiteX60" fmla="*/ 1024326 w 1490589"/>
                  <a:gd name="connsiteY60" fmla="*/ 328297 h 1522526"/>
                  <a:gd name="connsiteX61" fmla="*/ 1041767 w 1490589"/>
                  <a:gd name="connsiteY61" fmla="*/ 314309 h 1522526"/>
                  <a:gd name="connsiteX62" fmla="*/ 616358 w 1490589"/>
                  <a:gd name="connsiteY62" fmla="*/ 96060 h 1522526"/>
                  <a:gd name="connsiteX63" fmla="*/ 509202 w 1490589"/>
                  <a:gd name="connsiteY63" fmla="*/ 431816 h 1522526"/>
                  <a:gd name="connsiteX64" fmla="*/ 654458 w 1490589"/>
                  <a:gd name="connsiteY64" fmla="*/ 184165 h 1522526"/>
                  <a:gd name="connsiteX65" fmla="*/ 616358 w 1490589"/>
                  <a:gd name="connsiteY65" fmla="*/ 96060 h 1522526"/>
                  <a:gd name="connsiteX66" fmla="*/ 651876 w 1490589"/>
                  <a:gd name="connsiteY66" fmla="*/ 0 h 1522526"/>
                  <a:gd name="connsiteX67" fmla="*/ 696401 w 1490589"/>
                  <a:gd name="connsiteY67" fmla="*/ 372 h 1522526"/>
                  <a:gd name="connsiteX68" fmla="*/ 757918 w 1490589"/>
                  <a:gd name="connsiteY68" fmla="*/ 6326 h 1522526"/>
                  <a:gd name="connsiteX69" fmla="*/ 829357 w 1490589"/>
                  <a:gd name="connsiteY69" fmla="*/ 38076 h 1522526"/>
                  <a:gd name="connsiteX70" fmla="*/ 910718 w 1490589"/>
                  <a:gd name="connsiteY70" fmla="*/ 103562 h 1522526"/>
                  <a:gd name="connsiteX71" fmla="*/ 1005970 w 1490589"/>
                  <a:gd name="connsiteY71" fmla="*/ 216673 h 1522526"/>
                  <a:gd name="connsiteX72" fmla="*/ 1041689 w 1490589"/>
                  <a:gd name="connsiteY72" fmla="*/ 276206 h 1522526"/>
                  <a:gd name="connsiteX73" fmla="*/ 1025814 w 1490589"/>
                  <a:gd name="connsiteY73" fmla="*/ 313909 h 1522526"/>
                  <a:gd name="connsiteX74" fmla="*/ 992079 w 1490589"/>
                  <a:gd name="connsiteY74" fmla="*/ 331769 h 1522526"/>
                  <a:gd name="connsiteX75" fmla="*/ 968266 w 1490589"/>
                  <a:gd name="connsiteY75" fmla="*/ 311925 h 1522526"/>
                  <a:gd name="connsiteX76" fmla="*/ 914687 w 1490589"/>
                  <a:gd name="connsiteY76" fmla="*/ 256361 h 1522526"/>
                  <a:gd name="connsiteX77" fmla="*/ 819435 w 1490589"/>
                  <a:gd name="connsiteY77" fmla="*/ 210720 h 1522526"/>
                  <a:gd name="connsiteX78" fmla="*/ 716246 w 1490589"/>
                  <a:gd name="connsiteY78" fmla="*/ 210720 h 1522526"/>
                  <a:gd name="connsiteX79" fmla="*/ 850617 w 1490589"/>
                  <a:gd name="connsiteY79" fmla="*/ 240487 h 1522526"/>
                  <a:gd name="connsiteX80" fmla="*/ 916103 w 1490589"/>
                  <a:gd name="connsiteY80" fmla="*/ 279721 h 1522526"/>
                  <a:gd name="connsiteX81" fmla="*/ 978269 w 1490589"/>
                  <a:gd name="connsiteY81" fmla="*/ 344718 h 1522526"/>
                  <a:gd name="connsiteX82" fmla="*/ 969452 w 1490589"/>
                  <a:gd name="connsiteY82" fmla="*/ 378896 h 1522526"/>
                  <a:gd name="connsiteX83" fmla="*/ 969452 w 1490589"/>
                  <a:gd name="connsiteY83" fmla="*/ 451651 h 1522526"/>
                  <a:gd name="connsiteX84" fmla="*/ 1003488 w 1490589"/>
                  <a:gd name="connsiteY84" fmla="*/ 478628 h 1522526"/>
                  <a:gd name="connsiteX85" fmla="*/ 967232 w 1490589"/>
                  <a:gd name="connsiteY85" fmla="*/ 638035 h 1522526"/>
                  <a:gd name="connsiteX86" fmla="*/ 946515 w 1490589"/>
                  <a:gd name="connsiteY86" fmla="*/ 651932 h 1522526"/>
                  <a:gd name="connsiteX87" fmla="*/ 838644 w 1490589"/>
                  <a:gd name="connsiteY87" fmla="*/ 831290 h 1522526"/>
                  <a:gd name="connsiteX88" fmla="*/ 749707 w 1490589"/>
                  <a:gd name="connsiteY88" fmla="*/ 893779 h 1522526"/>
                  <a:gd name="connsiteX89" fmla="*/ 663982 w 1490589"/>
                  <a:gd name="connsiteY89" fmla="*/ 893779 h 1522526"/>
                  <a:gd name="connsiteX90" fmla="*/ 542921 w 1490589"/>
                  <a:gd name="connsiteY90" fmla="*/ 821966 h 1522526"/>
                  <a:gd name="connsiteX91" fmla="*/ 450782 w 1490589"/>
                  <a:gd name="connsiteY91" fmla="*/ 643758 h 1522526"/>
                  <a:gd name="connsiteX92" fmla="*/ 390111 w 1490589"/>
                  <a:gd name="connsiteY92" fmla="*/ 503970 h 1522526"/>
                  <a:gd name="connsiteX93" fmla="*/ 413787 w 1490589"/>
                  <a:gd name="connsiteY93" fmla="*/ 464730 h 1522526"/>
                  <a:gd name="connsiteX94" fmla="*/ 402973 w 1490589"/>
                  <a:gd name="connsiteY94" fmla="*/ 399317 h 1522526"/>
                  <a:gd name="connsiteX95" fmla="*/ 376911 w 1490589"/>
                  <a:gd name="connsiteY95" fmla="*/ 419083 h 1522526"/>
                  <a:gd name="connsiteX96" fmla="*/ 361036 w 1490589"/>
                  <a:gd name="connsiteY96" fmla="*/ 438927 h 1522526"/>
                  <a:gd name="connsiteX97" fmla="*/ 347145 w 1490589"/>
                  <a:gd name="connsiteY97" fmla="*/ 476631 h 1522526"/>
                  <a:gd name="connsiteX98" fmla="*/ 353098 w 1490589"/>
                  <a:gd name="connsiteY98" fmla="*/ 514335 h 1522526"/>
                  <a:gd name="connsiteX99" fmla="*/ 363020 w 1490589"/>
                  <a:gd name="connsiteY99" fmla="*/ 571883 h 1522526"/>
                  <a:gd name="connsiteX100" fmla="*/ 386833 w 1490589"/>
                  <a:gd name="connsiteY100" fmla="*/ 665150 h 1522526"/>
                  <a:gd name="connsiteX101" fmla="*/ 412630 w 1490589"/>
                  <a:gd name="connsiteY101" fmla="*/ 686979 h 1522526"/>
                  <a:gd name="connsiteX102" fmla="*/ 428506 w 1490589"/>
                  <a:gd name="connsiteY102" fmla="*/ 728652 h 1522526"/>
                  <a:gd name="connsiteX103" fmla="*/ 466210 w 1490589"/>
                  <a:gd name="connsiteY103" fmla="*/ 802075 h 1522526"/>
                  <a:gd name="connsiteX104" fmla="*/ 482085 w 1490589"/>
                  <a:gd name="connsiteY104" fmla="*/ 847716 h 1522526"/>
                  <a:gd name="connsiteX105" fmla="*/ 438428 w 1490589"/>
                  <a:gd name="connsiteY105" fmla="*/ 859623 h 1522526"/>
                  <a:gd name="connsiteX106" fmla="*/ 374927 w 1490589"/>
                  <a:gd name="connsiteY106" fmla="*/ 867560 h 1522526"/>
                  <a:gd name="connsiteX107" fmla="*/ 317379 w 1490589"/>
                  <a:gd name="connsiteY107" fmla="*/ 853670 h 1522526"/>
                  <a:gd name="connsiteX108" fmla="*/ 291581 w 1490589"/>
                  <a:gd name="connsiteY108" fmla="*/ 810012 h 1522526"/>
                  <a:gd name="connsiteX109" fmla="*/ 279675 w 1490589"/>
                  <a:gd name="connsiteY109" fmla="*/ 732620 h 1522526"/>
                  <a:gd name="connsiteX110" fmla="*/ 283644 w 1490589"/>
                  <a:gd name="connsiteY110" fmla="*/ 631415 h 1522526"/>
                  <a:gd name="connsiteX111" fmla="*/ 315394 w 1490589"/>
                  <a:gd name="connsiteY111" fmla="*/ 415114 h 1522526"/>
                  <a:gd name="connsiteX112" fmla="*/ 388817 w 1490589"/>
                  <a:gd name="connsiteY112" fmla="*/ 194845 h 1522526"/>
                  <a:gd name="connsiteX113" fmla="*/ 450334 w 1490589"/>
                  <a:gd name="connsiteY113" fmla="*/ 93640 h 1522526"/>
                  <a:gd name="connsiteX114" fmla="*/ 509867 w 1490589"/>
                  <a:gd name="connsiteY114" fmla="*/ 44029 h 1522526"/>
                  <a:gd name="connsiteX115" fmla="*/ 563446 w 1490589"/>
                  <a:gd name="connsiteY115" fmla="*/ 36092 h 1522526"/>
                  <a:gd name="connsiteX116" fmla="*/ 609087 w 1490589"/>
                  <a:gd name="connsiteY116" fmla="*/ 4341 h 1522526"/>
                  <a:gd name="connsiteX117" fmla="*/ 651876 w 1490589"/>
                  <a:gd name="connsiteY117" fmla="*/ 0 h 1522526"/>
                  <a:gd name="connsiteX0" fmla="*/ 992965 w 1490589"/>
                  <a:gd name="connsiteY0" fmla="*/ 998817 h 1522526"/>
                  <a:gd name="connsiteX1" fmla="*/ 1003490 w 1490589"/>
                  <a:gd name="connsiteY1" fmla="*/ 1002500 h 1522526"/>
                  <a:gd name="connsiteX2" fmla="*/ 1110648 w 1490589"/>
                  <a:gd name="connsiteY2" fmla="*/ 1036732 h 1522526"/>
                  <a:gd name="connsiteX3" fmla="*/ 1228224 w 1490589"/>
                  <a:gd name="connsiteY3" fmla="*/ 1091799 h 1522526"/>
                  <a:gd name="connsiteX4" fmla="*/ 1319904 w 1490589"/>
                  <a:gd name="connsiteY4" fmla="*/ 1106981 h 1522526"/>
                  <a:gd name="connsiteX5" fmla="*/ 1366040 w 1490589"/>
                  <a:gd name="connsiteY5" fmla="*/ 1185265 h 1522526"/>
                  <a:gd name="connsiteX6" fmla="*/ 1487186 w 1490589"/>
                  <a:gd name="connsiteY6" fmla="*/ 1448990 h 1522526"/>
                  <a:gd name="connsiteX7" fmla="*/ 1177029 w 1490589"/>
                  <a:gd name="connsiteY7" fmla="*/ 1493045 h 1522526"/>
                  <a:gd name="connsiteX8" fmla="*/ 1132974 w 1490589"/>
                  <a:gd name="connsiteY8" fmla="*/ 1439469 h 1522526"/>
                  <a:gd name="connsiteX9" fmla="*/ 1151130 w 1490589"/>
                  <a:gd name="connsiteY9" fmla="*/ 1492451 h 1522526"/>
                  <a:gd name="connsiteX10" fmla="*/ 267073 w 1490589"/>
                  <a:gd name="connsiteY10" fmla="*/ 1497214 h 1522526"/>
                  <a:gd name="connsiteX11" fmla="*/ 250922 w 1490589"/>
                  <a:gd name="connsiteY11" fmla="*/ 1492951 h 1522526"/>
                  <a:gd name="connsiteX12" fmla="*/ 273457 w 1490589"/>
                  <a:gd name="connsiteY12" fmla="*/ 1446229 h 1522526"/>
                  <a:gd name="connsiteX13" fmla="*/ 221069 w 1490589"/>
                  <a:gd name="connsiteY13" fmla="*/ 1493854 h 1522526"/>
                  <a:gd name="connsiteX14" fmla="*/ 668 w 1490589"/>
                  <a:gd name="connsiteY14" fmla="*/ 1482327 h 1522526"/>
                  <a:gd name="connsiteX15" fmla="*/ 61391 w 1490589"/>
                  <a:gd name="connsiteY15" fmla="*/ 1223961 h 1522526"/>
                  <a:gd name="connsiteX16" fmla="*/ 92644 w 1490589"/>
                  <a:gd name="connsiteY16" fmla="*/ 1157285 h 1522526"/>
                  <a:gd name="connsiteX17" fmla="*/ 153665 w 1490589"/>
                  <a:gd name="connsiteY17" fmla="*/ 1120077 h 1522526"/>
                  <a:gd name="connsiteX18" fmla="*/ 251893 w 1490589"/>
                  <a:gd name="connsiteY18" fmla="*/ 1078404 h 1522526"/>
                  <a:gd name="connsiteX19" fmla="*/ 376911 w 1490589"/>
                  <a:gd name="connsiteY19" fmla="*/ 1029290 h 1522526"/>
                  <a:gd name="connsiteX20" fmla="*/ 410479 w 1490589"/>
                  <a:gd name="connsiteY20" fmla="*/ 1016502 h 1522526"/>
                  <a:gd name="connsiteX21" fmla="*/ 592543 w 1490589"/>
                  <a:gd name="connsiteY21" fmla="*/ 1272398 h 1522526"/>
                  <a:gd name="connsiteX22" fmla="*/ 763993 w 1490589"/>
                  <a:gd name="connsiteY22" fmla="*/ 1379555 h 1522526"/>
                  <a:gd name="connsiteX23" fmla="*/ 883056 w 1490589"/>
                  <a:gd name="connsiteY23" fmla="*/ 1243823 h 1522526"/>
                  <a:gd name="connsiteX24" fmla="*/ 992965 w 1490589"/>
                  <a:gd name="connsiteY24" fmla="*/ 998817 h 1522526"/>
                  <a:gd name="connsiteX25" fmla="*/ 856178 w 1490589"/>
                  <a:gd name="connsiteY25" fmla="*/ 852696 h 1522526"/>
                  <a:gd name="connsiteX26" fmla="*/ 851682 w 1490589"/>
                  <a:gd name="connsiteY26" fmla="*/ 923321 h 1522526"/>
                  <a:gd name="connsiteX27" fmla="*/ 959840 w 1490589"/>
                  <a:gd name="connsiteY27" fmla="*/ 978198 h 1522526"/>
                  <a:gd name="connsiteX28" fmla="*/ 885437 w 1490589"/>
                  <a:gd name="connsiteY28" fmla="*/ 1177148 h 1522526"/>
                  <a:gd name="connsiteX29" fmla="*/ 747325 w 1490589"/>
                  <a:gd name="connsiteY29" fmla="*/ 1341455 h 1522526"/>
                  <a:gd name="connsiteX30" fmla="*/ 556825 w 1490589"/>
                  <a:gd name="connsiteY30" fmla="*/ 1191436 h 1522526"/>
                  <a:gd name="connsiteX31" fmla="*/ 439913 w 1490589"/>
                  <a:gd name="connsiteY31" fmla="*/ 1004825 h 1522526"/>
                  <a:gd name="connsiteX32" fmla="*/ 551936 w 1490589"/>
                  <a:gd name="connsiteY32" fmla="*/ 931359 h 1522526"/>
                  <a:gd name="connsiteX33" fmla="*/ 550504 w 1490589"/>
                  <a:gd name="connsiteY33" fmla="*/ 858311 h 1522526"/>
                  <a:gd name="connsiteX34" fmla="*/ 621119 w 1490589"/>
                  <a:gd name="connsiteY34" fmla="*/ 900922 h 1522526"/>
                  <a:gd name="connsiteX35" fmla="*/ 728276 w 1490589"/>
                  <a:gd name="connsiteY35" fmla="*/ 915210 h 1522526"/>
                  <a:gd name="connsiteX36" fmla="*/ 821144 w 1490589"/>
                  <a:gd name="connsiteY36" fmla="*/ 874729 h 1522526"/>
                  <a:gd name="connsiteX37" fmla="*/ 856178 w 1490589"/>
                  <a:gd name="connsiteY37" fmla="*/ 852696 h 1522526"/>
                  <a:gd name="connsiteX38" fmla="*/ 1041767 w 1490589"/>
                  <a:gd name="connsiteY38" fmla="*/ 314309 h 1522526"/>
                  <a:gd name="connsiteX39" fmla="*/ 1048139 w 1490589"/>
                  <a:gd name="connsiteY39" fmla="*/ 320855 h 1522526"/>
                  <a:gd name="connsiteX40" fmla="*/ 1074929 w 1490589"/>
                  <a:gd name="connsiteY40" fmla="*/ 428013 h 1522526"/>
                  <a:gd name="connsiteX41" fmla="*/ 1101718 w 1490589"/>
                  <a:gd name="connsiteY41" fmla="*/ 569403 h 1522526"/>
                  <a:gd name="connsiteX42" fmla="*/ 1110648 w 1490589"/>
                  <a:gd name="connsiteY42" fmla="*/ 704839 h 1522526"/>
                  <a:gd name="connsiteX43" fmla="*/ 1107671 w 1490589"/>
                  <a:gd name="connsiteY43" fmla="*/ 789672 h 1522526"/>
                  <a:gd name="connsiteX44" fmla="*/ 1082370 w 1490589"/>
                  <a:gd name="connsiteY44" fmla="*/ 850693 h 1522526"/>
                  <a:gd name="connsiteX45" fmla="*/ 1036232 w 1490589"/>
                  <a:gd name="connsiteY45" fmla="*/ 859623 h 1522526"/>
                  <a:gd name="connsiteX46" fmla="*/ 963305 w 1490589"/>
                  <a:gd name="connsiteY46" fmla="*/ 853670 h 1522526"/>
                  <a:gd name="connsiteX47" fmla="*/ 908238 w 1490589"/>
                  <a:gd name="connsiteY47" fmla="*/ 834322 h 1522526"/>
                  <a:gd name="connsiteX48" fmla="*/ 915679 w 1490589"/>
                  <a:gd name="connsiteY48" fmla="*/ 813485 h 1522526"/>
                  <a:gd name="connsiteX49" fmla="*/ 945445 w 1490589"/>
                  <a:gd name="connsiteY49" fmla="*/ 773301 h 1522526"/>
                  <a:gd name="connsiteX50" fmla="*/ 973724 w 1490589"/>
                  <a:gd name="connsiteY50" fmla="*/ 704839 h 1522526"/>
                  <a:gd name="connsiteX51" fmla="*/ 979677 w 1490589"/>
                  <a:gd name="connsiteY51" fmla="*/ 675072 h 1522526"/>
                  <a:gd name="connsiteX52" fmla="*/ 997536 w 1490589"/>
                  <a:gd name="connsiteY52" fmla="*/ 655725 h 1522526"/>
                  <a:gd name="connsiteX53" fmla="*/ 1022838 w 1490589"/>
                  <a:gd name="connsiteY53" fmla="*/ 579821 h 1522526"/>
                  <a:gd name="connsiteX54" fmla="*/ 1040697 w 1490589"/>
                  <a:gd name="connsiteY54" fmla="*/ 499452 h 1522526"/>
                  <a:gd name="connsiteX55" fmla="*/ 1042186 w 1490589"/>
                  <a:gd name="connsiteY55" fmla="*/ 463733 h 1522526"/>
                  <a:gd name="connsiteX56" fmla="*/ 1025814 w 1490589"/>
                  <a:gd name="connsiteY56" fmla="*/ 430990 h 1522526"/>
                  <a:gd name="connsiteX57" fmla="*/ 1009443 w 1490589"/>
                  <a:gd name="connsiteY57" fmla="*/ 416107 h 1522526"/>
                  <a:gd name="connsiteX58" fmla="*/ 1006466 w 1490589"/>
                  <a:gd name="connsiteY58" fmla="*/ 386340 h 1522526"/>
                  <a:gd name="connsiteX59" fmla="*/ 1009443 w 1490589"/>
                  <a:gd name="connsiteY59" fmla="*/ 350621 h 1522526"/>
                  <a:gd name="connsiteX60" fmla="*/ 1024326 w 1490589"/>
                  <a:gd name="connsiteY60" fmla="*/ 328297 h 1522526"/>
                  <a:gd name="connsiteX61" fmla="*/ 1041767 w 1490589"/>
                  <a:gd name="connsiteY61" fmla="*/ 314309 h 1522526"/>
                  <a:gd name="connsiteX62" fmla="*/ 616358 w 1490589"/>
                  <a:gd name="connsiteY62" fmla="*/ 96060 h 1522526"/>
                  <a:gd name="connsiteX63" fmla="*/ 509202 w 1490589"/>
                  <a:gd name="connsiteY63" fmla="*/ 431816 h 1522526"/>
                  <a:gd name="connsiteX64" fmla="*/ 654458 w 1490589"/>
                  <a:gd name="connsiteY64" fmla="*/ 184165 h 1522526"/>
                  <a:gd name="connsiteX65" fmla="*/ 616358 w 1490589"/>
                  <a:gd name="connsiteY65" fmla="*/ 96060 h 1522526"/>
                  <a:gd name="connsiteX66" fmla="*/ 651876 w 1490589"/>
                  <a:gd name="connsiteY66" fmla="*/ 0 h 1522526"/>
                  <a:gd name="connsiteX67" fmla="*/ 696401 w 1490589"/>
                  <a:gd name="connsiteY67" fmla="*/ 372 h 1522526"/>
                  <a:gd name="connsiteX68" fmla="*/ 757918 w 1490589"/>
                  <a:gd name="connsiteY68" fmla="*/ 6326 h 1522526"/>
                  <a:gd name="connsiteX69" fmla="*/ 829357 w 1490589"/>
                  <a:gd name="connsiteY69" fmla="*/ 38076 h 1522526"/>
                  <a:gd name="connsiteX70" fmla="*/ 910718 w 1490589"/>
                  <a:gd name="connsiteY70" fmla="*/ 103562 h 1522526"/>
                  <a:gd name="connsiteX71" fmla="*/ 1005970 w 1490589"/>
                  <a:gd name="connsiteY71" fmla="*/ 216673 h 1522526"/>
                  <a:gd name="connsiteX72" fmla="*/ 1041689 w 1490589"/>
                  <a:gd name="connsiteY72" fmla="*/ 276206 h 1522526"/>
                  <a:gd name="connsiteX73" fmla="*/ 1025814 w 1490589"/>
                  <a:gd name="connsiteY73" fmla="*/ 313909 h 1522526"/>
                  <a:gd name="connsiteX74" fmla="*/ 992079 w 1490589"/>
                  <a:gd name="connsiteY74" fmla="*/ 331769 h 1522526"/>
                  <a:gd name="connsiteX75" fmla="*/ 968266 w 1490589"/>
                  <a:gd name="connsiteY75" fmla="*/ 311925 h 1522526"/>
                  <a:gd name="connsiteX76" fmla="*/ 914687 w 1490589"/>
                  <a:gd name="connsiteY76" fmla="*/ 256361 h 1522526"/>
                  <a:gd name="connsiteX77" fmla="*/ 819435 w 1490589"/>
                  <a:gd name="connsiteY77" fmla="*/ 210720 h 1522526"/>
                  <a:gd name="connsiteX78" fmla="*/ 716246 w 1490589"/>
                  <a:gd name="connsiteY78" fmla="*/ 210720 h 1522526"/>
                  <a:gd name="connsiteX79" fmla="*/ 850617 w 1490589"/>
                  <a:gd name="connsiteY79" fmla="*/ 240487 h 1522526"/>
                  <a:gd name="connsiteX80" fmla="*/ 916103 w 1490589"/>
                  <a:gd name="connsiteY80" fmla="*/ 279721 h 1522526"/>
                  <a:gd name="connsiteX81" fmla="*/ 978269 w 1490589"/>
                  <a:gd name="connsiteY81" fmla="*/ 344718 h 1522526"/>
                  <a:gd name="connsiteX82" fmla="*/ 969452 w 1490589"/>
                  <a:gd name="connsiteY82" fmla="*/ 378896 h 1522526"/>
                  <a:gd name="connsiteX83" fmla="*/ 969452 w 1490589"/>
                  <a:gd name="connsiteY83" fmla="*/ 451651 h 1522526"/>
                  <a:gd name="connsiteX84" fmla="*/ 1003488 w 1490589"/>
                  <a:gd name="connsiteY84" fmla="*/ 478628 h 1522526"/>
                  <a:gd name="connsiteX85" fmla="*/ 967232 w 1490589"/>
                  <a:gd name="connsiteY85" fmla="*/ 638035 h 1522526"/>
                  <a:gd name="connsiteX86" fmla="*/ 946515 w 1490589"/>
                  <a:gd name="connsiteY86" fmla="*/ 651932 h 1522526"/>
                  <a:gd name="connsiteX87" fmla="*/ 838644 w 1490589"/>
                  <a:gd name="connsiteY87" fmla="*/ 831290 h 1522526"/>
                  <a:gd name="connsiteX88" fmla="*/ 749707 w 1490589"/>
                  <a:gd name="connsiteY88" fmla="*/ 893779 h 1522526"/>
                  <a:gd name="connsiteX89" fmla="*/ 663982 w 1490589"/>
                  <a:gd name="connsiteY89" fmla="*/ 893779 h 1522526"/>
                  <a:gd name="connsiteX90" fmla="*/ 542921 w 1490589"/>
                  <a:gd name="connsiteY90" fmla="*/ 821966 h 1522526"/>
                  <a:gd name="connsiteX91" fmla="*/ 450782 w 1490589"/>
                  <a:gd name="connsiteY91" fmla="*/ 643758 h 1522526"/>
                  <a:gd name="connsiteX92" fmla="*/ 390111 w 1490589"/>
                  <a:gd name="connsiteY92" fmla="*/ 503970 h 1522526"/>
                  <a:gd name="connsiteX93" fmla="*/ 413787 w 1490589"/>
                  <a:gd name="connsiteY93" fmla="*/ 464730 h 1522526"/>
                  <a:gd name="connsiteX94" fmla="*/ 402973 w 1490589"/>
                  <a:gd name="connsiteY94" fmla="*/ 399317 h 1522526"/>
                  <a:gd name="connsiteX95" fmla="*/ 376911 w 1490589"/>
                  <a:gd name="connsiteY95" fmla="*/ 419083 h 1522526"/>
                  <a:gd name="connsiteX96" fmla="*/ 361036 w 1490589"/>
                  <a:gd name="connsiteY96" fmla="*/ 438927 h 1522526"/>
                  <a:gd name="connsiteX97" fmla="*/ 347145 w 1490589"/>
                  <a:gd name="connsiteY97" fmla="*/ 476631 h 1522526"/>
                  <a:gd name="connsiteX98" fmla="*/ 353098 w 1490589"/>
                  <a:gd name="connsiteY98" fmla="*/ 514335 h 1522526"/>
                  <a:gd name="connsiteX99" fmla="*/ 363020 w 1490589"/>
                  <a:gd name="connsiteY99" fmla="*/ 571883 h 1522526"/>
                  <a:gd name="connsiteX100" fmla="*/ 386833 w 1490589"/>
                  <a:gd name="connsiteY100" fmla="*/ 665150 h 1522526"/>
                  <a:gd name="connsiteX101" fmla="*/ 412630 w 1490589"/>
                  <a:gd name="connsiteY101" fmla="*/ 686979 h 1522526"/>
                  <a:gd name="connsiteX102" fmla="*/ 428506 w 1490589"/>
                  <a:gd name="connsiteY102" fmla="*/ 728652 h 1522526"/>
                  <a:gd name="connsiteX103" fmla="*/ 466210 w 1490589"/>
                  <a:gd name="connsiteY103" fmla="*/ 802075 h 1522526"/>
                  <a:gd name="connsiteX104" fmla="*/ 482085 w 1490589"/>
                  <a:gd name="connsiteY104" fmla="*/ 847716 h 1522526"/>
                  <a:gd name="connsiteX105" fmla="*/ 438428 w 1490589"/>
                  <a:gd name="connsiteY105" fmla="*/ 859623 h 1522526"/>
                  <a:gd name="connsiteX106" fmla="*/ 374927 w 1490589"/>
                  <a:gd name="connsiteY106" fmla="*/ 867560 h 1522526"/>
                  <a:gd name="connsiteX107" fmla="*/ 317379 w 1490589"/>
                  <a:gd name="connsiteY107" fmla="*/ 853670 h 1522526"/>
                  <a:gd name="connsiteX108" fmla="*/ 291581 w 1490589"/>
                  <a:gd name="connsiteY108" fmla="*/ 810012 h 1522526"/>
                  <a:gd name="connsiteX109" fmla="*/ 279675 w 1490589"/>
                  <a:gd name="connsiteY109" fmla="*/ 732620 h 1522526"/>
                  <a:gd name="connsiteX110" fmla="*/ 283644 w 1490589"/>
                  <a:gd name="connsiteY110" fmla="*/ 631415 h 1522526"/>
                  <a:gd name="connsiteX111" fmla="*/ 315394 w 1490589"/>
                  <a:gd name="connsiteY111" fmla="*/ 415114 h 1522526"/>
                  <a:gd name="connsiteX112" fmla="*/ 388817 w 1490589"/>
                  <a:gd name="connsiteY112" fmla="*/ 194845 h 1522526"/>
                  <a:gd name="connsiteX113" fmla="*/ 450334 w 1490589"/>
                  <a:gd name="connsiteY113" fmla="*/ 93640 h 1522526"/>
                  <a:gd name="connsiteX114" fmla="*/ 509867 w 1490589"/>
                  <a:gd name="connsiteY114" fmla="*/ 44029 h 1522526"/>
                  <a:gd name="connsiteX115" fmla="*/ 563446 w 1490589"/>
                  <a:gd name="connsiteY115" fmla="*/ 36092 h 1522526"/>
                  <a:gd name="connsiteX116" fmla="*/ 609087 w 1490589"/>
                  <a:gd name="connsiteY116" fmla="*/ 4341 h 1522526"/>
                  <a:gd name="connsiteX117" fmla="*/ 651876 w 1490589"/>
                  <a:gd name="connsiteY117" fmla="*/ 0 h 1522526"/>
                  <a:gd name="connsiteX0" fmla="*/ 992965 w 1490589"/>
                  <a:gd name="connsiteY0" fmla="*/ 998817 h 1522526"/>
                  <a:gd name="connsiteX1" fmla="*/ 1003490 w 1490589"/>
                  <a:gd name="connsiteY1" fmla="*/ 1002500 h 1522526"/>
                  <a:gd name="connsiteX2" fmla="*/ 1110648 w 1490589"/>
                  <a:gd name="connsiteY2" fmla="*/ 1036732 h 1522526"/>
                  <a:gd name="connsiteX3" fmla="*/ 1319904 w 1490589"/>
                  <a:gd name="connsiteY3" fmla="*/ 1106981 h 1522526"/>
                  <a:gd name="connsiteX4" fmla="*/ 1366040 w 1490589"/>
                  <a:gd name="connsiteY4" fmla="*/ 1185265 h 1522526"/>
                  <a:gd name="connsiteX5" fmla="*/ 1487186 w 1490589"/>
                  <a:gd name="connsiteY5" fmla="*/ 1448990 h 1522526"/>
                  <a:gd name="connsiteX6" fmla="*/ 1177029 w 1490589"/>
                  <a:gd name="connsiteY6" fmla="*/ 1493045 h 1522526"/>
                  <a:gd name="connsiteX7" fmla="*/ 1132974 w 1490589"/>
                  <a:gd name="connsiteY7" fmla="*/ 1439469 h 1522526"/>
                  <a:gd name="connsiteX8" fmla="*/ 1151130 w 1490589"/>
                  <a:gd name="connsiteY8" fmla="*/ 1492451 h 1522526"/>
                  <a:gd name="connsiteX9" fmla="*/ 267073 w 1490589"/>
                  <a:gd name="connsiteY9" fmla="*/ 1497214 h 1522526"/>
                  <a:gd name="connsiteX10" fmla="*/ 250922 w 1490589"/>
                  <a:gd name="connsiteY10" fmla="*/ 1492951 h 1522526"/>
                  <a:gd name="connsiteX11" fmla="*/ 273457 w 1490589"/>
                  <a:gd name="connsiteY11" fmla="*/ 1446229 h 1522526"/>
                  <a:gd name="connsiteX12" fmla="*/ 221069 w 1490589"/>
                  <a:gd name="connsiteY12" fmla="*/ 1493854 h 1522526"/>
                  <a:gd name="connsiteX13" fmla="*/ 668 w 1490589"/>
                  <a:gd name="connsiteY13" fmla="*/ 1482327 h 1522526"/>
                  <a:gd name="connsiteX14" fmla="*/ 61391 w 1490589"/>
                  <a:gd name="connsiteY14" fmla="*/ 1223961 h 1522526"/>
                  <a:gd name="connsiteX15" fmla="*/ 92644 w 1490589"/>
                  <a:gd name="connsiteY15" fmla="*/ 1157285 h 1522526"/>
                  <a:gd name="connsiteX16" fmla="*/ 153665 w 1490589"/>
                  <a:gd name="connsiteY16" fmla="*/ 1120077 h 1522526"/>
                  <a:gd name="connsiteX17" fmla="*/ 251893 w 1490589"/>
                  <a:gd name="connsiteY17" fmla="*/ 1078404 h 1522526"/>
                  <a:gd name="connsiteX18" fmla="*/ 376911 w 1490589"/>
                  <a:gd name="connsiteY18" fmla="*/ 1029290 h 1522526"/>
                  <a:gd name="connsiteX19" fmla="*/ 410479 w 1490589"/>
                  <a:gd name="connsiteY19" fmla="*/ 1016502 h 1522526"/>
                  <a:gd name="connsiteX20" fmla="*/ 592543 w 1490589"/>
                  <a:gd name="connsiteY20" fmla="*/ 1272398 h 1522526"/>
                  <a:gd name="connsiteX21" fmla="*/ 763993 w 1490589"/>
                  <a:gd name="connsiteY21" fmla="*/ 1379555 h 1522526"/>
                  <a:gd name="connsiteX22" fmla="*/ 883056 w 1490589"/>
                  <a:gd name="connsiteY22" fmla="*/ 1243823 h 1522526"/>
                  <a:gd name="connsiteX23" fmla="*/ 992965 w 1490589"/>
                  <a:gd name="connsiteY23" fmla="*/ 998817 h 1522526"/>
                  <a:gd name="connsiteX24" fmla="*/ 856178 w 1490589"/>
                  <a:gd name="connsiteY24" fmla="*/ 852696 h 1522526"/>
                  <a:gd name="connsiteX25" fmla="*/ 851682 w 1490589"/>
                  <a:gd name="connsiteY25" fmla="*/ 923321 h 1522526"/>
                  <a:gd name="connsiteX26" fmla="*/ 959840 w 1490589"/>
                  <a:gd name="connsiteY26" fmla="*/ 978198 h 1522526"/>
                  <a:gd name="connsiteX27" fmla="*/ 885437 w 1490589"/>
                  <a:gd name="connsiteY27" fmla="*/ 1177148 h 1522526"/>
                  <a:gd name="connsiteX28" fmla="*/ 747325 w 1490589"/>
                  <a:gd name="connsiteY28" fmla="*/ 1341455 h 1522526"/>
                  <a:gd name="connsiteX29" fmla="*/ 556825 w 1490589"/>
                  <a:gd name="connsiteY29" fmla="*/ 1191436 h 1522526"/>
                  <a:gd name="connsiteX30" fmla="*/ 439913 w 1490589"/>
                  <a:gd name="connsiteY30" fmla="*/ 1004825 h 1522526"/>
                  <a:gd name="connsiteX31" fmla="*/ 551936 w 1490589"/>
                  <a:gd name="connsiteY31" fmla="*/ 931359 h 1522526"/>
                  <a:gd name="connsiteX32" fmla="*/ 550504 w 1490589"/>
                  <a:gd name="connsiteY32" fmla="*/ 858311 h 1522526"/>
                  <a:gd name="connsiteX33" fmla="*/ 621119 w 1490589"/>
                  <a:gd name="connsiteY33" fmla="*/ 900922 h 1522526"/>
                  <a:gd name="connsiteX34" fmla="*/ 728276 w 1490589"/>
                  <a:gd name="connsiteY34" fmla="*/ 915210 h 1522526"/>
                  <a:gd name="connsiteX35" fmla="*/ 821144 w 1490589"/>
                  <a:gd name="connsiteY35" fmla="*/ 874729 h 1522526"/>
                  <a:gd name="connsiteX36" fmla="*/ 856178 w 1490589"/>
                  <a:gd name="connsiteY36" fmla="*/ 852696 h 1522526"/>
                  <a:gd name="connsiteX37" fmla="*/ 1041767 w 1490589"/>
                  <a:gd name="connsiteY37" fmla="*/ 314309 h 1522526"/>
                  <a:gd name="connsiteX38" fmla="*/ 1048139 w 1490589"/>
                  <a:gd name="connsiteY38" fmla="*/ 320855 h 1522526"/>
                  <a:gd name="connsiteX39" fmla="*/ 1074929 w 1490589"/>
                  <a:gd name="connsiteY39" fmla="*/ 428013 h 1522526"/>
                  <a:gd name="connsiteX40" fmla="*/ 1101718 w 1490589"/>
                  <a:gd name="connsiteY40" fmla="*/ 569403 h 1522526"/>
                  <a:gd name="connsiteX41" fmla="*/ 1110648 w 1490589"/>
                  <a:gd name="connsiteY41" fmla="*/ 704839 h 1522526"/>
                  <a:gd name="connsiteX42" fmla="*/ 1107671 w 1490589"/>
                  <a:gd name="connsiteY42" fmla="*/ 789672 h 1522526"/>
                  <a:gd name="connsiteX43" fmla="*/ 1082370 w 1490589"/>
                  <a:gd name="connsiteY43" fmla="*/ 850693 h 1522526"/>
                  <a:gd name="connsiteX44" fmla="*/ 1036232 w 1490589"/>
                  <a:gd name="connsiteY44" fmla="*/ 859623 h 1522526"/>
                  <a:gd name="connsiteX45" fmla="*/ 963305 w 1490589"/>
                  <a:gd name="connsiteY45" fmla="*/ 853670 h 1522526"/>
                  <a:gd name="connsiteX46" fmla="*/ 908238 w 1490589"/>
                  <a:gd name="connsiteY46" fmla="*/ 834322 h 1522526"/>
                  <a:gd name="connsiteX47" fmla="*/ 915679 w 1490589"/>
                  <a:gd name="connsiteY47" fmla="*/ 813485 h 1522526"/>
                  <a:gd name="connsiteX48" fmla="*/ 945445 w 1490589"/>
                  <a:gd name="connsiteY48" fmla="*/ 773301 h 1522526"/>
                  <a:gd name="connsiteX49" fmla="*/ 973724 w 1490589"/>
                  <a:gd name="connsiteY49" fmla="*/ 704839 h 1522526"/>
                  <a:gd name="connsiteX50" fmla="*/ 979677 w 1490589"/>
                  <a:gd name="connsiteY50" fmla="*/ 675072 h 1522526"/>
                  <a:gd name="connsiteX51" fmla="*/ 997536 w 1490589"/>
                  <a:gd name="connsiteY51" fmla="*/ 655725 h 1522526"/>
                  <a:gd name="connsiteX52" fmla="*/ 1022838 w 1490589"/>
                  <a:gd name="connsiteY52" fmla="*/ 579821 h 1522526"/>
                  <a:gd name="connsiteX53" fmla="*/ 1040697 w 1490589"/>
                  <a:gd name="connsiteY53" fmla="*/ 499452 h 1522526"/>
                  <a:gd name="connsiteX54" fmla="*/ 1042186 w 1490589"/>
                  <a:gd name="connsiteY54" fmla="*/ 463733 h 1522526"/>
                  <a:gd name="connsiteX55" fmla="*/ 1025814 w 1490589"/>
                  <a:gd name="connsiteY55" fmla="*/ 430990 h 1522526"/>
                  <a:gd name="connsiteX56" fmla="*/ 1009443 w 1490589"/>
                  <a:gd name="connsiteY56" fmla="*/ 416107 h 1522526"/>
                  <a:gd name="connsiteX57" fmla="*/ 1006466 w 1490589"/>
                  <a:gd name="connsiteY57" fmla="*/ 386340 h 1522526"/>
                  <a:gd name="connsiteX58" fmla="*/ 1009443 w 1490589"/>
                  <a:gd name="connsiteY58" fmla="*/ 350621 h 1522526"/>
                  <a:gd name="connsiteX59" fmla="*/ 1024326 w 1490589"/>
                  <a:gd name="connsiteY59" fmla="*/ 328297 h 1522526"/>
                  <a:gd name="connsiteX60" fmla="*/ 1041767 w 1490589"/>
                  <a:gd name="connsiteY60" fmla="*/ 314309 h 1522526"/>
                  <a:gd name="connsiteX61" fmla="*/ 616358 w 1490589"/>
                  <a:gd name="connsiteY61" fmla="*/ 96060 h 1522526"/>
                  <a:gd name="connsiteX62" fmla="*/ 509202 w 1490589"/>
                  <a:gd name="connsiteY62" fmla="*/ 431816 h 1522526"/>
                  <a:gd name="connsiteX63" fmla="*/ 654458 w 1490589"/>
                  <a:gd name="connsiteY63" fmla="*/ 184165 h 1522526"/>
                  <a:gd name="connsiteX64" fmla="*/ 616358 w 1490589"/>
                  <a:gd name="connsiteY64" fmla="*/ 96060 h 1522526"/>
                  <a:gd name="connsiteX65" fmla="*/ 651876 w 1490589"/>
                  <a:gd name="connsiteY65" fmla="*/ 0 h 1522526"/>
                  <a:gd name="connsiteX66" fmla="*/ 696401 w 1490589"/>
                  <a:gd name="connsiteY66" fmla="*/ 372 h 1522526"/>
                  <a:gd name="connsiteX67" fmla="*/ 757918 w 1490589"/>
                  <a:gd name="connsiteY67" fmla="*/ 6326 h 1522526"/>
                  <a:gd name="connsiteX68" fmla="*/ 829357 w 1490589"/>
                  <a:gd name="connsiteY68" fmla="*/ 38076 h 1522526"/>
                  <a:gd name="connsiteX69" fmla="*/ 910718 w 1490589"/>
                  <a:gd name="connsiteY69" fmla="*/ 103562 h 1522526"/>
                  <a:gd name="connsiteX70" fmla="*/ 1005970 w 1490589"/>
                  <a:gd name="connsiteY70" fmla="*/ 216673 h 1522526"/>
                  <a:gd name="connsiteX71" fmla="*/ 1041689 w 1490589"/>
                  <a:gd name="connsiteY71" fmla="*/ 276206 h 1522526"/>
                  <a:gd name="connsiteX72" fmla="*/ 1025814 w 1490589"/>
                  <a:gd name="connsiteY72" fmla="*/ 313909 h 1522526"/>
                  <a:gd name="connsiteX73" fmla="*/ 992079 w 1490589"/>
                  <a:gd name="connsiteY73" fmla="*/ 331769 h 1522526"/>
                  <a:gd name="connsiteX74" fmla="*/ 968266 w 1490589"/>
                  <a:gd name="connsiteY74" fmla="*/ 311925 h 1522526"/>
                  <a:gd name="connsiteX75" fmla="*/ 914687 w 1490589"/>
                  <a:gd name="connsiteY75" fmla="*/ 256361 h 1522526"/>
                  <a:gd name="connsiteX76" fmla="*/ 819435 w 1490589"/>
                  <a:gd name="connsiteY76" fmla="*/ 210720 h 1522526"/>
                  <a:gd name="connsiteX77" fmla="*/ 716246 w 1490589"/>
                  <a:gd name="connsiteY77" fmla="*/ 210720 h 1522526"/>
                  <a:gd name="connsiteX78" fmla="*/ 850617 w 1490589"/>
                  <a:gd name="connsiteY78" fmla="*/ 240487 h 1522526"/>
                  <a:gd name="connsiteX79" fmla="*/ 916103 w 1490589"/>
                  <a:gd name="connsiteY79" fmla="*/ 279721 h 1522526"/>
                  <a:gd name="connsiteX80" fmla="*/ 978269 w 1490589"/>
                  <a:gd name="connsiteY80" fmla="*/ 344718 h 1522526"/>
                  <a:gd name="connsiteX81" fmla="*/ 969452 w 1490589"/>
                  <a:gd name="connsiteY81" fmla="*/ 378896 h 1522526"/>
                  <a:gd name="connsiteX82" fmla="*/ 969452 w 1490589"/>
                  <a:gd name="connsiteY82" fmla="*/ 451651 h 1522526"/>
                  <a:gd name="connsiteX83" fmla="*/ 1003488 w 1490589"/>
                  <a:gd name="connsiteY83" fmla="*/ 478628 h 1522526"/>
                  <a:gd name="connsiteX84" fmla="*/ 967232 w 1490589"/>
                  <a:gd name="connsiteY84" fmla="*/ 638035 h 1522526"/>
                  <a:gd name="connsiteX85" fmla="*/ 946515 w 1490589"/>
                  <a:gd name="connsiteY85" fmla="*/ 651932 h 1522526"/>
                  <a:gd name="connsiteX86" fmla="*/ 838644 w 1490589"/>
                  <a:gd name="connsiteY86" fmla="*/ 831290 h 1522526"/>
                  <a:gd name="connsiteX87" fmla="*/ 749707 w 1490589"/>
                  <a:gd name="connsiteY87" fmla="*/ 893779 h 1522526"/>
                  <a:gd name="connsiteX88" fmla="*/ 663982 w 1490589"/>
                  <a:gd name="connsiteY88" fmla="*/ 893779 h 1522526"/>
                  <a:gd name="connsiteX89" fmla="*/ 542921 w 1490589"/>
                  <a:gd name="connsiteY89" fmla="*/ 821966 h 1522526"/>
                  <a:gd name="connsiteX90" fmla="*/ 450782 w 1490589"/>
                  <a:gd name="connsiteY90" fmla="*/ 643758 h 1522526"/>
                  <a:gd name="connsiteX91" fmla="*/ 390111 w 1490589"/>
                  <a:gd name="connsiteY91" fmla="*/ 503970 h 1522526"/>
                  <a:gd name="connsiteX92" fmla="*/ 413787 w 1490589"/>
                  <a:gd name="connsiteY92" fmla="*/ 464730 h 1522526"/>
                  <a:gd name="connsiteX93" fmla="*/ 402973 w 1490589"/>
                  <a:gd name="connsiteY93" fmla="*/ 399317 h 1522526"/>
                  <a:gd name="connsiteX94" fmla="*/ 376911 w 1490589"/>
                  <a:gd name="connsiteY94" fmla="*/ 419083 h 1522526"/>
                  <a:gd name="connsiteX95" fmla="*/ 361036 w 1490589"/>
                  <a:gd name="connsiteY95" fmla="*/ 438927 h 1522526"/>
                  <a:gd name="connsiteX96" fmla="*/ 347145 w 1490589"/>
                  <a:gd name="connsiteY96" fmla="*/ 476631 h 1522526"/>
                  <a:gd name="connsiteX97" fmla="*/ 353098 w 1490589"/>
                  <a:gd name="connsiteY97" fmla="*/ 514335 h 1522526"/>
                  <a:gd name="connsiteX98" fmla="*/ 363020 w 1490589"/>
                  <a:gd name="connsiteY98" fmla="*/ 571883 h 1522526"/>
                  <a:gd name="connsiteX99" fmla="*/ 386833 w 1490589"/>
                  <a:gd name="connsiteY99" fmla="*/ 665150 h 1522526"/>
                  <a:gd name="connsiteX100" fmla="*/ 412630 w 1490589"/>
                  <a:gd name="connsiteY100" fmla="*/ 686979 h 1522526"/>
                  <a:gd name="connsiteX101" fmla="*/ 428506 w 1490589"/>
                  <a:gd name="connsiteY101" fmla="*/ 728652 h 1522526"/>
                  <a:gd name="connsiteX102" fmla="*/ 466210 w 1490589"/>
                  <a:gd name="connsiteY102" fmla="*/ 802075 h 1522526"/>
                  <a:gd name="connsiteX103" fmla="*/ 482085 w 1490589"/>
                  <a:gd name="connsiteY103" fmla="*/ 847716 h 1522526"/>
                  <a:gd name="connsiteX104" fmla="*/ 438428 w 1490589"/>
                  <a:gd name="connsiteY104" fmla="*/ 859623 h 1522526"/>
                  <a:gd name="connsiteX105" fmla="*/ 374927 w 1490589"/>
                  <a:gd name="connsiteY105" fmla="*/ 867560 h 1522526"/>
                  <a:gd name="connsiteX106" fmla="*/ 317379 w 1490589"/>
                  <a:gd name="connsiteY106" fmla="*/ 853670 h 1522526"/>
                  <a:gd name="connsiteX107" fmla="*/ 291581 w 1490589"/>
                  <a:gd name="connsiteY107" fmla="*/ 810012 h 1522526"/>
                  <a:gd name="connsiteX108" fmla="*/ 279675 w 1490589"/>
                  <a:gd name="connsiteY108" fmla="*/ 732620 h 1522526"/>
                  <a:gd name="connsiteX109" fmla="*/ 283644 w 1490589"/>
                  <a:gd name="connsiteY109" fmla="*/ 631415 h 1522526"/>
                  <a:gd name="connsiteX110" fmla="*/ 315394 w 1490589"/>
                  <a:gd name="connsiteY110" fmla="*/ 415114 h 1522526"/>
                  <a:gd name="connsiteX111" fmla="*/ 388817 w 1490589"/>
                  <a:gd name="connsiteY111" fmla="*/ 194845 h 1522526"/>
                  <a:gd name="connsiteX112" fmla="*/ 450334 w 1490589"/>
                  <a:gd name="connsiteY112" fmla="*/ 93640 h 1522526"/>
                  <a:gd name="connsiteX113" fmla="*/ 509867 w 1490589"/>
                  <a:gd name="connsiteY113" fmla="*/ 44029 h 1522526"/>
                  <a:gd name="connsiteX114" fmla="*/ 563446 w 1490589"/>
                  <a:gd name="connsiteY114" fmla="*/ 36092 h 1522526"/>
                  <a:gd name="connsiteX115" fmla="*/ 609087 w 1490589"/>
                  <a:gd name="connsiteY115" fmla="*/ 4341 h 1522526"/>
                  <a:gd name="connsiteX116" fmla="*/ 651876 w 1490589"/>
                  <a:gd name="connsiteY116" fmla="*/ 0 h 1522526"/>
                  <a:gd name="connsiteX0" fmla="*/ 992965 w 1491247"/>
                  <a:gd name="connsiteY0" fmla="*/ 998817 h 1522526"/>
                  <a:gd name="connsiteX1" fmla="*/ 1003490 w 1491247"/>
                  <a:gd name="connsiteY1" fmla="*/ 1002500 h 1522526"/>
                  <a:gd name="connsiteX2" fmla="*/ 1110648 w 1491247"/>
                  <a:gd name="connsiteY2" fmla="*/ 1036732 h 1522526"/>
                  <a:gd name="connsiteX3" fmla="*/ 1319904 w 1491247"/>
                  <a:gd name="connsiteY3" fmla="*/ 1106981 h 1522526"/>
                  <a:gd name="connsiteX4" fmla="*/ 1387472 w 1491247"/>
                  <a:gd name="connsiteY4" fmla="*/ 1185265 h 1522526"/>
                  <a:gd name="connsiteX5" fmla="*/ 1487186 w 1491247"/>
                  <a:gd name="connsiteY5" fmla="*/ 1448990 h 1522526"/>
                  <a:gd name="connsiteX6" fmla="*/ 1177029 w 1491247"/>
                  <a:gd name="connsiteY6" fmla="*/ 1493045 h 1522526"/>
                  <a:gd name="connsiteX7" fmla="*/ 1132974 w 1491247"/>
                  <a:gd name="connsiteY7" fmla="*/ 1439469 h 1522526"/>
                  <a:gd name="connsiteX8" fmla="*/ 1151130 w 1491247"/>
                  <a:gd name="connsiteY8" fmla="*/ 1492451 h 1522526"/>
                  <a:gd name="connsiteX9" fmla="*/ 267073 w 1491247"/>
                  <a:gd name="connsiteY9" fmla="*/ 1497214 h 1522526"/>
                  <a:gd name="connsiteX10" fmla="*/ 250922 w 1491247"/>
                  <a:gd name="connsiteY10" fmla="*/ 1492951 h 1522526"/>
                  <a:gd name="connsiteX11" fmla="*/ 273457 w 1491247"/>
                  <a:gd name="connsiteY11" fmla="*/ 1446229 h 1522526"/>
                  <a:gd name="connsiteX12" fmla="*/ 221069 w 1491247"/>
                  <a:gd name="connsiteY12" fmla="*/ 1493854 h 1522526"/>
                  <a:gd name="connsiteX13" fmla="*/ 668 w 1491247"/>
                  <a:gd name="connsiteY13" fmla="*/ 1482327 h 1522526"/>
                  <a:gd name="connsiteX14" fmla="*/ 61391 w 1491247"/>
                  <a:gd name="connsiteY14" fmla="*/ 1223961 h 1522526"/>
                  <a:gd name="connsiteX15" fmla="*/ 92644 w 1491247"/>
                  <a:gd name="connsiteY15" fmla="*/ 1157285 h 1522526"/>
                  <a:gd name="connsiteX16" fmla="*/ 153665 w 1491247"/>
                  <a:gd name="connsiteY16" fmla="*/ 1120077 h 1522526"/>
                  <a:gd name="connsiteX17" fmla="*/ 251893 w 1491247"/>
                  <a:gd name="connsiteY17" fmla="*/ 1078404 h 1522526"/>
                  <a:gd name="connsiteX18" fmla="*/ 376911 w 1491247"/>
                  <a:gd name="connsiteY18" fmla="*/ 1029290 h 1522526"/>
                  <a:gd name="connsiteX19" fmla="*/ 410479 w 1491247"/>
                  <a:gd name="connsiteY19" fmla="*/ 1016502 h 1522526"/>
                  <a:gd name="connsiteX20" fmla="*/ 592543 w 1491247"/>
                  <a:gd name="connsiteY20" fmla="*/ 1272398 h 1522526"/>
                  <a:gd name="connsiteX21" fmla="*/ 763993 w 1491247"/>
                  <a:gd name="connsiteY21" fmla="*/ 1379555 h 1522526"/>
                  <a:gd name="connsiteX22" fmla="*/ 883056 w 1491247"/>
                  <a:gd name="connsiteY22" fmla="*/ 1243823 h 1522526"/>
                  <a:gd name="connsiteX23" fmla="*/ 992965 w 1491247"/>
                  <a:gd name="connsiteY23" fmla="*/ 998817 h 1522526"/>
                  <a:gd name="connsiteX24" fmla="*/ 856178 w 1491247"/>
                  <a:gd name="connsiteY24" fmla="*/ 852696 h 1522526"/>
                  <a:gd name="connsiteX25" fmla="*/ 851682 w 1491247"/>
                  <a:gd name="connsiteY25" fmla="*/ 923321 h 1522526"/>
                  <a:gd name="connsiteX26" fmla="*/ 959840 w 1491247"/>
                  <a:gd name="connsiteY26" fmla="*/ 978198 h 1522526"/>
                  <a:gd name="connsiteX27" fmla="*/ 885437 w 1491247"/>
                  <a:gd name="connsiteY27" fmla="*/ 1177148 h 1522526"/>
                  <a:gd name="connsiteX28" fmla="*/ 747325 w 1491247"/>
                  <a:gd name="connsiteY28" fmla="*/ 1341455 h 1522526"/>
                  <a:gd name="connsiteX29" fmla="*/ 556825 w 1491247"/>
                  <a:gd name="connsiteY29" fmla="*/ 1191436 h 1522526"/>
                  <a:gd name="connsiteX30" fmla="*/ 439913 w 1491247"/>
                  <a:gd name="connsiteY30" fmla="*/ 1004825 h 1522526"/>
                  <a:gd name="connsiteX31" fmla="*/ 551936 w 1491247"/>
                  <a:gd name="connsiteY31" fmla="*/ 931359 h 1522526"/>
                  <a:gd name="connsiteX32" fmla="*/ 550504 w 1491247"/>
                  <a:gd name="connsiteY32" fmla="*/ 858311 h 1522526"/>
                  <a:gd name="connsiteX33" fmla="*/ 621119 w 1491247"/>
                  <a:gd name="connsiteY33" fmla="*/ 900922 h 1522526"/>
                  <a:gd name="connsiteX34" fmla="*/ 728276 w 1491247"/>
                  <a:gd name="connsiteY34" fmla="*/ 915210 h 1522526"/>
                  <a:gd name="connsiteX35" fmla="*/ 821144 w 1491247"/>
                  <a:gd name="connsiteY35" fmla="*/ 874729 h 1522526"/>
                  <a:gd name="connsiteX36" fmla="*/ 856178 w 1491247"/>
                  <a:gd name="connsiteY36" fmla="*/ 852696 h 1522526"/>
                  <a:gd name="connsiteX37" fmla="*/ 1041767 w 1491247"/>
                  <a:gd name="connsiteY37" fmla="*/ 314309 h 1522526"/>
                  <a:gd name="connsiteX38" fmla="*/ 1048139 w 1491247"/>
                  <a:gd name="connsiteY38" fmla="*/ 320855 h 1522526"/>
                  <a:gd name="connsiteX39" fmla="*/ 1074929 w 1491247"/>
                  <a:gd name="connsiteY39" fmla="*/ 428013 h 1522526"/>
                  <a:gd name="connsiteX40" fmla="*/ 1101718 w 1491247"/>
                  <a:gd name="connsiteY40" fmla="*/ 569403 h 1522526"/>
                  <a:gd name="connsiteX41" fmla="*/ 1110648 w 1491247"/>
                  <a:gd name="connsiteY41" fmla="*/ 704839 h 1522526"/>
                  <a:gd name="connsiteX42" fmla="*/ 1107671 w 1491247"/>
                  <a:gd name="connsiteY42" fmla="*/ 789672 h 1522526"/>
                  <a:gd name="connsiteX43" fmla="*/ 1082370 w 1491247"/>
                  <a:gd name="connsiteY43" fmla="*/ 850693 h 1522526"/>
                  <a:gd name="connsiteX44" fmla="*/ 1036232 w 1491247"/>
                  <a:gd name="connsiteY44" fmla="*/ 859623 h 1522526"/>
                  <a:gd name="connsiteX45" fmla="*/ 963305 w 1491247"/>
                  <a:gd name="connsiteY45" fmla="*/ 853670 h 1522526"/>
                  <a:gd name="connsiteX46" fmla="*/ 908238 w 1491247"/>
                  <a:gd name="connsiteY46" fmla="*/ 834322 h 1522526"/>
                  <a:gd name="connsiteX47" fmla="*/ 915679 w 1491247"/>
                  <a:gd name="connsiteY47" fmla="*/ 813485 h 1522526"/>
                  <a:gd name="connsiteX48" fmla="*/ 945445 w 1491247"/>
                  <a:gd name="connsiteY48" fmla="*/ 773301 h 1522526"/>
                  <a:gd name="connsiteX49" fmla="*/ 973724 w 1491247"/>
                  <a:gd name="connsiteY49" fmla="*/ 704839 h 1522526"/>
                  <a:gd name="connsiteX50" fmla="*/ 979677 w 1491247"/>
                  <a:gd name="connsiteY50" fmla="*/ 675072 h 1522526"/>
                  <a:gd name="connsiteX51" fmla="*/ 997536 w 1491247"/>
                  <a:gd name="connsiteY51" fmla="*/ 655725 h 1522526"/>
                  <a:gd name="connsiteX52" fmla="*/ 1022838 w 1491247"/>
                  <a:gd name="connsiteY52" fmla="*/ 579821 h 1522526"/>
                  <a:gd name="connsiteX53" fmla="*/ 1040697 w 1491247"/>
                  <a:gd name="connsiteY53" fmla="*/ 499452 h 1522526"/>
                  <a:gd name="connsiteX54" fmla="*/ 1042186 w 1491247"/>
                  <a:gd name="connsiteY54" fmla="*/ 463733 h 1522526"/>
                  <a:gd name="connsiteX55" fmla="*/ 1025814 w 1491247"/>
                  <a:gd name="connsiteY55" fmla="*/ 430990 h 1522526"/>
                  <a:gd name="connsiteX56" fmla="*/ 1009443 w 1491247"/>
                  <a:gd name="connsiteY56" fmla="*/ 416107 h 1522526"/>
                  <a:gd name="connsiteX57" fmla="*/ 1006466 w 1491247"/>
                  <a:gd name="connsiteY57" fmla="*/ 386340 h 1522526"/>
                  <a:gd name="connsiteX58" fmla="*/ 1009443 w 1491247"/>
                  <a:gd name="connsiteY58" fmla="*/ 350621 h 1522526"/>
                  <a:gd name="connsiteX59" fmla="*/ 1024326 w 1491247"/>
                  <a:gd name="connsiteY59" fmla="*/ 328297 h 1522526"/>
                  <a:gd name="connsiteX60" fmla="*/ 1041767 w 1491247"/>
                  <a:gd name="connsiteY60" fmla="*/ 314309 h 1522526"/>
                  <a:gd name="connsiteX61" fmla="*/ 616358 w 1491247"/>
                  <a:gd name="connsiteY61" fmla="*/ 96060 h 1522526"/>
                  <a:gd name="connsiteX62" fmla="*/ 509202 w 1491247"/>
                  <a:gd name="connsiteY62" fmla="*/ 431816 h 1522526"/>
                  <a:gd name="connsiteX63" fmla="*/ 654458 w 1491247"/>
                  <a:gd name="connsiteY63" fmla="*/ 184165 h 1522526"/>
                  <a:gd name="connsiteX64" fmla="*/ 616358 w 1491247"/>
                  <a:gd name="connsiteY64" fmla="*/ 96060 h 1522526"/>
                  <a:gd name="connsiteX65" fmla="*/ 651876 w 1491247"/>
                  <a:gd name="connsiteY65" fmla="*/ 0 h 1522526"/>
                  <a:gd name="connsiteX66" fmla="*/ 696401 w 1491247"/>
                  <a:gd name="connsiteY66" fmla="*/ 372 h 1522526"/>
                  <a:gd name="connsiteX67" fmla="*/ 757918 w 1491247"/>
                  <a:gd name="connsiteY67" fmla="*/ 6326 h 1522526"/>
                  <a:gd name="connsiteX68" fmla="*/ 829357 w 1491247"/>
                  <a:gd name="connsiteY68" fmla="*/ 38076 h 1522526"/>
                  <a:gd name="connsiteX69" fmla="*/ 910718 w 1491247"/>
                  <a:gd name="connsiteY69" fmla="*/ 103562 h 1522526"/>
                  <a:gd name="connsiteX70" fmla="*/ 1005970 w 1491247"/>
                  <a:gd name="connsiteY70" fmla="*/ 216673 h 1522526"/>
                  <a:gd name="connsiteX71" fmla="*/ 1041689 w 1491247"/>
                  <a:gd name="connsiteY71" fmla="*/ 276206 h 1522526"/>
                  <a:gd name="connsiteX72" fmla="*/ 1025814 w 1491247"/>
                  <a:gd name="connsiteY72" fmla="*/ 313909 h 1522526"/>
                  <a:gd name="connsiteX73" fmla="*/ 992079 w 1491247"/>
                  <a:gd name="connsiteY73" fmla="*/ 331769 h 1522526"/>
                  <a:gd name="connsiteX74" fmla="*/ 968266 w 1491247"/>
                  <a:gd name="connsiteY74" fmla="*/ 311925 h 1522526"/>
                  <a:gd name="connsiteX75" fmla="*/ 914687 w 1491247"/>
                  <a:gd name="connsiteY75" fmla="*/ 256361 h 1522526"/>
                  <a:gd name="connsiteX76" fmla="*/ 819435 w 1491247"/>
                  <a:gd name="connsiteY76" fmla="*/ 210720 h 1522526"/>
                  <a:gd name="connsiteX77" fmla="*/ 716246 w 1491247"/>
                  <a:gd name="connsiteY77" fmla="*/ 210720 h 1522526"/>
                  <a:gd name="connsiteX78" fmla="*/ 850617 w 1491247"/>
                  <a:gd name="connsiteY78" fmla="*/ 240487 h 1522526"/>
                  <a:gd name="connsiteX79" fmla="*/ 916103 w 1491247"/>
                  <a:gd name="connsiteY79" fmla="*/ 279721 h 1522526"/>
                  <a:gd name="connsiteX80" fmla="*/ 978269 w 1491247"/>
                  <a:gd name="connsiteY80" fmla="*/ 344718 h 1522526"/>
                  <a:gd name="connsiteX81" fmla="*/ 969452 w 1491247"/>
                  <a:gd name="connsiteY81" fmla="*/ 378896 h 1522526"/>
                  <a:gd name="connsiteX82" fmla="*/ 969452 w 1491247"/>
                  <a:gd name="connsiteY82" fmla="*/ 451651 h 1522526"/>
                  <a:gd name="connsiteX83" fmla="*/ 1003488 w 1491247"/>
                  <a:gd name="connsiteY83" fmla="*/ 478628 h 1522526"/>
                  <a:gd name="connsiteX84" fmla="*/ 967232 w 1491247"/>
                  <a:gd name="connsiteY84" fmla="*/ 638035 h 1522526"/>
                  <a:gd name="connsiteX85" fmla="*/ 946515 w 1491247"/>
                  <a:gd name="connsiteY85" fmla="*/ 651932 h 1522526"/>
                  <a:gd name="connsiteX86" fmla="*/ 838644 w 1491247"/>
                  <a:gd name="connsiteY86" fmla="*/ 831290 h 1522526"/>
                  <a:gd name="connsiteX87" fmla="*/ 749707 w 1491247"/>
                  <a:gd name="connsiteY87" fmla="*/ 893779 h 1522526"/>
                  <a:gd name="connsiteX88" fmla="*/ 663982 w 1491247"/>
                  <a:gd name="connsiteY88" fmla="*/ 893779 h 1522526"/>
                  <a:gd name="connsiteX89" fmla="*/ 542921 w 1491247"/>
                  <a:gd name="connsiteY89" fmla="*/ 821966 h 1522526"/>
                  <a:gd name="connsiteX90" fmla="*/ 450782 w 1491247"/>
                  <a:gd name="connsiteY90" fmla="*/ 643758 h 1522526"/>
                  <a:gd name="connsiteX91" fmla="*/ 390111 w 1491247"/>
                  <a:gd name="connsiteY91" fmla="*/ 503970 h 1522526"/>
                  <a:gd name="connsiteX92" fmla="*/ 413787 w 1491247"/>
                  <a:gd name="connsiteY92" fmla="*/ 464730 h 1522526"/>
                  <a:gd name="connsiteX93" fmla="*/ 402973 w 1491247"/>
                  <a:gd name="connsiteY93" fmla="*/ 399317 h 1522526"/>
                  <a:gd name="connsiteX94" fmla="*/ 376911 w 1491247"/>
                  <a:gd name="connsiteY94" fmla="*/ 419083 h 1522526"/>
                  <a:gd name="connsiteX95" fmla="*/ 361036 w 1491247"/>
                  <a:gd name="connsiteY95" fmla="*/ 438927 h 1522526"/>
                  <a:gd name="connsiteX96" fmla="*/ 347145 w 1491247"/>
                  <a:gd name="connsiteY96" fmla="*/ 476631 h 1522526"/>
                  <a:gd name="connsiteX97" fmla="*/ 353098 w 1491247"/>
                  <a:gd name="connsiteY97" fmla="*/ 514335 h 1522526"/>
                  <a:gd name="connsiteX98" fmla="*/ 363020 w 1491247"/>
                  <a:gd name="connsiteY98" fmla="*/ 571883 h 1522526"/>
                  <a:gd name="connsiteX99" fmla="*/ 386833 w 1491247"/>
                  <a:gd name="connsiteY99" fmla="*/ 665150 h 1522526"/>
                  <a:gd name="connsiteX100" fmla="*/ 412630 w 1491247"/>
                  <a:gd name="connsiteY100" fmla="*/ 686979 h 1522526"/>
                  <a:gd name="connsiteX101" fmla="*/ 428506 w 1491247"/>
                  <a:gd name="connsiteY101" fmla="*/ 728652 h 1522526"/>
                  <a:gd name="connsiteX102" fmla="*/ 466210 w 1491247"/>
                  <a:gd name="connsiteY102" fmla="*/ 802075 h 1522526"/>
                  <a:gd name="connsiteX103" fmla="*/ 482085 w 1491247"/>
                  <a:gd name="connsiteY103" fmla="*/ 847716 h 1522526"/>
                  <a:gd name="connsiteX104" fmla="*/ 438428 w 1491247"/>
                  <a:gd name="connsiteY104" fmla="*/ 859623 h 1522526"/>
                  <a:gd name="connsiteX105" fmla="*/ 374927 w 1491247"/>
                  <a:gd name="connsiteY105" fmla="*/ 867560 h 1522526"/>
                  <a:gd name="connsiteX106" fmla="*/ 317379 w 1491247"/>
                  <a:gd name="connsiteY106" fmla="*/ 853670 h 1522526"/>
                  <a:gd name="connsiteX107" fmla="*/ 291581 w 1491247"/>
                  <a:gd name="connsiteY107" fmla="*/ 810012 h 1522526"/>
                  <a:gd name="connsiteX108" fmla="*/ 279675 w 1491247"/>
                  <a:gd name="connsiteY108" fmla="*/ 732620 h 1522526"/>
                  <a:gd name="connsiteX109" fmla="*/ 283644 w 1491247"/>
                  <a:gd name="connsiteY109" fmla="*/ 631415 h 1522526"/>
                  <a:gd name="connsiteX110" fmla="*/ 315394 w 1491247"/>
                  <a:gd name="connsiteY110" fmla="*/ 415114 h 1522526"/>
                  <a:gd name="connsiteX111" fmla="*/ 388817 w 1491247"/>
                  <a:gd name="connsiteY111" fmla="*/ 194845 h 1522526"/>
                  <a:gd name="connsiteX112" fmla="*/ 450334 w 1491247"/>
                  <a:gd name="connsiteY112" fmla="*/ 93640 h 1522526"/>
                  <a:gd name="connsiteX113" fmla="*/ 509867 w 1491247"/>
                  <a:gd name="connsiteY113" fmla="*/ 44029 h 1522526"/>
                  <a:gd name="connsiteX114" fmla="*/ 563446 w 1491247"/>
                  <a:gd name="connsiteY114" fmla="*/ 36092 h 1522526"/>
                  <a:gd name="connsiteX115" fmla="*/ 609087 w 1491247"/>
                  <a:gd name="connsiteY115" fmla="*/ 4341 h 1522526"/>
                  <a:gd name="connsiteX116" fmla="*/ 651876 w 1491247"/>
                  <a:gd name="connsiteY116" fmla="*/ 0 h 1522526"/>
                  <a:gd name="connsiteX0" fmla="*/ 992965 w 1487186"/>
                  <a:gd name="connsiteY0" fmla="*/ 998817 h 1522526"/>
                  <a:gd name="connsiteX1" fmla="*/ 1003490 w 1487186"/>
                  <a:gd name="connsiteY1" fmla="*/ 1002500 h 1522526"/>
                  <a:gd name="connsiteX2" fmla="*/ 1110648 w 1487186"/>
                  <a:gd name="connsiteY2" fmla="*/ 1036732 h 1522526"/>
                  <a:gd name="connsiteX3" fmla="*/ 1319904 w 1487186"/>
                  <a:gd name="connsiteY3" fmla="*/ 1106981 h 1522526"/>
                  <a:gd name="connsiteX4" fmla="*/ 1387472 w 1487186"/>
                  <a:gd name="connsiteY4" fmla="*/ 1185265 h 1522526"/>
                  <a:gd name="connsiteX5" fmla="*/ 1487186 w 1487186"/>
                  <a:gd name="connsiteY5" fmla="*/ 1448990 h 1522526"/>
                  <a:gd name="connsiteX6" fmla="*/ 1177029 w 1487186"/>
                  <a:gd name="connsiteY6" fmla="*/ 1493045 h 1522526"/>
                  <a:gd name="connsiteX7" fmla="*/ 1132974 w 1487186"/>
                  <a:gd name="connsiteY7" fmla="*/ 1439469 h 1522526"/>
                  <a:gd name="connsiteX8" fmla="*/ 1151130 w 1487186"/>
                  <a:gd name="connsiteY8" fmla="*/ 1492451 h 1522526"/>
                  <a:gd name="connsiteX9" fmla="*/ 267073 w 1487186"/>
                  <a:gd name="connsiteY9" fmla="*/ 1497214 h 1522526"/>
                  <a:gd name="connsiteX10" fmla="*/ 250922 w 1487186"/>
                  <a:gd name="connsiteY10" fmla="*/ 1492951 h 1522526"/>
                  <a:gd name="connsiteX11" fmla="*/ 273457 w 1487186"/>
                  <a:gd name="connsiteY11" fmla="*/ 1446229 h 1522526"/>
                  <a:gd name="connsiteX12" fmla="*/ 221069 w 1487186"/>
                  <a:gd name="connsiteY12" fmla="*/ 1493854 h 1522526"/>
                  <a:gd name="connsiteX13" fmla="*/ 668 w 1487186"/>
                  <a:gd name="connsiteY13" fmla="*/ 1482327 h 1522526"/>
                  <a:gd name="connsiteX14" fmla="*/ 61391 w 1487186"/>
                  <a:gd name="connsiteY14" fmla="*/ 1223961 h 1522526"/>
                  <a:gd name="connsiteX15" fmla="*/ 92644 w 1487186"/>
                  <a:gd name="connsiteY15" fmla="*/ 1157285 h 1522526"/>
                  <a:gd name="connsiteX16" fmla="*/ 153665 w 1487186"/>
                  <a:gd name="connsiteY16" fmla="*/ 1120077 h 1522526"/>
                  <a:gd name="connsiteX17" fmla="*/ 251893 w 1487186"/>
                  <a:gd name="connsiteY17" fmla="*/ 1078404 h 1522526"/>
                  <a:gd name="connsiteX18" fmla="*/ 376911 w 1487186"/>
                  <a:gd name="connsiteY18" fmla="*/ 1029290 h 1522526"/>
                  <a:gd name="connsiteX19" fmla="*/ 410479 w 1487186"/>
                  <a:gd name="connsiteY19" fmla="*/ 1016502 h 1522526"/>
                  <a:gd name="connsiteX20" fmla="*/ 592543 w 1487186"/>
                  <a:gd name="connsiteY20" fmla="*/ 1272398 h 1522526"/>
                  <a:gd name="connsiteX21" fmla="*/ 763993 w 1487186"/>
                  <a:gd name="connsiteY21" fmla="*/ 1379555 h 1522526"/>
                  <a:gd name="connsiteX22" fmla="*/ 883056 w 1487186"/>
                  <a:gd name="connsiteY22" fmla="*/ 1243823 h 1522526"/>
                  <a:gd name="connsiteX23" fmla="*/ 992965 w 1487186"/>
                  <a:gd name="connsiteY23" fmla="*/ 998817 h 1522526"/>
                  <a:gd name="connsiteX24" fmla="*/ 856178 w 1487186"/>
                  <a:gd name="connsiteY24" fmla="*/ 852696 h 1522526"/>
                  <a:gd name="connsiteX25" fmla="*/ 851682 w 1487186"/>
                  <a:gd name="connsiteY25" fmla="*/ 923321 h 1522526"/>
                  <a:gd name="connsiteX26" fmla="*/ 959840 w 1487186"/>
                  <a:gd name="connsiteY26" fmla="*/ 978198 h 1522526"/>
                  <a:gd name="connsiteX27" fmla="*/ 885437 w 1487186"/>
                  <a:gd name="connsiteY27" fmla="*/ 1177148 h 1522526"/>
                  <a:gd name="connsiteX28" fmla="*/ 747325 w 1487186"/>
                  <a:gd name="connsiteY28" fmla="*/ 1341455 h 1522526"/>
                  <a:gd name="connsiteX29" fmla="*/ 556825 w 1487186"/>
                  <a:gd name="connsiteY29" fmla="*/ 1191436 h 1522526"/>
                  <a:gd name="connsiteX30" fmla="*/ 439913 w 1487186"/>
                  <a:gd name="connsiteY30" fmla="*/ 1004825 h 1522526"/>
                  <a:gd name="connsiteX31" fmla="*/ 551936 w 1487186"/>
                  <a:gd name="connsiteY31" fmla="*/ 931359 h 1522526"/>
                  <a:gd name="connsiteX32" fmla="*/ 550504 w 1487186"/>
                  <a:gd name="connsiteY32" fmla="*/ 858311 h 1522526"/>
                  <a:gd name="connsiteX33" fmla="*/ 621119 w 1487186"/>
                  <a:gd name="connsiteY33" fmla="*/ 900922 h 1522526"/>
                  <a:gd name="connsiteX34" fmla="*/ 728276 w 1487186"/>
                  <a:gd name="connsiteY34" fmla="*/ 915210 h 1522526"/>
                  <a:gd name="connsiteX35" fmla="*/ 821144 w 1487186"/>
                  <a:gd name="connsiteY35" fmla="*/ 874729 h 1522526"/>
                  <a:gd name="connsiteX36" fmla="*/ 856178 w 1487186"/>
                  <a:gd name="connsiteY36" fmla="*/ 852696 h 1522526"/>
                  <a:gd name="connsiteX37" fmla="*/ 1041767 w 1487186"/>
                  <a:gd name="connsiteY37" fmla="*/ 314309 h 1522526"/>
                  <a:gd name="connsiteX38" fmla="*/ 1048139 w 1487186"/>
                  <a:gd name="connsiteY38" fmla="*/ 320855 h 1522526"/>
                  <a:gd name="connsiteX39" fmla="*/ 1074929 w 1487186"/>
                  <a:gd name="connsiteY39" fmla="*/ 428013 h 1522526"/>
                  <a:gd name="connsiteX40" fmla="*/ 1101718 w 1487186"/>
                  <a:gd name="connsiteY40" fmla="*/ 569403 h 1522526"/>
                  <a:gd name="connsiteX41" fmla="*/ 1110648 w 1487186"/>
                  <a:gd name="connsiteY41" fmla="*/ 704839 h 1522526"/>
                  <a:gd name="connsiteX42" fmla="*/ 1107671 w 1487186"/>
                  <a:gd name="connsiteY42" fmla="*/ 789672 h 1522526"/>
                  <a:gd name="connsiteX43" fmla="*/ 1082370 w 1487186"/>
                  <a:gd name="connsiteY43" fmla="*/ 850693 h 1522526"/>
                  <a:gd name="connsiteX44" fmla="*/ 1036232 w 1487186"/>
                  <a:gd name="connsiteY44" fmla="*/ 859623 h 1522526"/>
                  <a:gd name="connsiteX45" fmla="*/ 963305 w 1487186"/>
                  <a:gd name="connsiteY45" fmla="*/ 853670 h 1522526"/>
                  <a:gd name="connsiteX46" fmla="*/ 908238 w 1487186"/>
                  <a:gd name="connsiteY46" fmla="*/ 834322 h 1522526"/>
                  <a:gd name="connsiteX47" fmla="*/ 915679 w 1487186"/>
                  <a:gd name="connsiteY47" fmla="*/ 813485 h 1522526"/>
                  <a:gd name="connsiteX48" fmla="*/ 945445 w 1487186"/>
                  <a:gd name="connsiteY48" fmla="*/ 773301 h 1522526"/>
                  <a:gd name="connsiteX49" fmla="*/ 973724 w 1487186"/>
                  <a:gd name="connsiteY49" fmla="*/ 704839 h 1522526"/>
                  <a:gd name="connsiteX50" fmla="*/ 979677 w 1487186"/>
                  <a:gd name="connsiteY50" fmla="*/ 675072 h 1522526"/>
                  <a:gd name="connsiteX51" fmla="*/ 997536 w 1487186"/>
                  <a:gd name="connsiteY51" fmla="*/ 655725 h 1522526"/>
                  <a:gd name="connsiteX52" fmla="*/ 1022838 w 1487186"/>
                  <a:gd name="connsiteY52" fmla="*/ 579821 h 1522526"/>
                  <a:gd name="connsiteX53" fmla="*/ 1040697 w 1487186"/>
                  <a:gd name="connsiteY53" fmla="*/ 499452 h 1522526"/>
                  <a:gd name="connsiteX54" fmla="*/ 1042186 w 1487186"/>
                  <a:gd name="connsiteY54" fmla="*/ 463733 h 1522526"/>
                  <a:gd name="connsiteX55" fmla="*/ 1025814 w 1487186"/>
                  <a:gd name="connsiteY55" fmla="*/ 430990 h 1522526"/>
                  <a:gd name="connsiteX56" fmla="*/ 1009443 w 1487186"/>
                  <a:gd name="connsiteY56" fmla="*/ 416107 h 1522526"/>
                  <a:gd name="connsiteX57" fmla="*/ 1006466 w 1487186"/>
                  <a:gd name="connsiteY57" fmla="*/ 386340 h 1522526"/>
                  <a:gd name="connsiteX58" fmla="*/ 1009443 w 1487186"/>
                  <a:gd name="connsiteY58" fmla="*/ 350621 h 1522526"/>
                  <a:gd name="connsiteX59" fmla="*/ 1024326 w 1487186"/>
                  <a:gd name="connsiteY59" fmla="*/ 328297 h 1522526"/>
                  <a:gd name="connsiteX60" fmla="*/ 1041767 w 1487186"/>
                  <a:gd name="connsiteY60" fmla="*/ 314309 h 1522526"/>
                  <a:gd name="connsiteX61" fmla="*/ 616358 w 1487186"/>
                  <a:gd name="connsiteY61" fmla="*/ 96060 h 1522526"/>
                  <a:gd name="connsiteX62" fmla="*/ 509202 w 1487186"/>
                  <a:gd name="connsiteY62" fmla="*/ 431816 h 1522526"/>
                  <a:gd name="connsiteX63" fmla="*/ 654458 w 1487186"/>
                  <a:gd name="connsiteY63" fmla="*/ 184165 h 1522526"/>
                  <a:gd name="connsiteX64" fmla="*/ 616358 w 1487186"/>
                  <a:gd name="connsiteY64" fmla="*/ 96060 h 1522526"/>
                  <a:gd name="connsiteX65" fmla="*/ 651876 w 1487186"/>
                  <a:gd name="connsiteY65" fmla="*/ 0 h 1522526"/>
                  <a:gd name="connsiteX66" fmla="*/ 696401 w 1487186"/>
                  <a:gd name="connsiteY66" fmla="*/ 372 h 1522526"/>
                  <a:gd name="connsiteX67" fmla="*/ 757918 w 1487186"/>
                  <a:gd name="connsiteY67" fmla="*/ 6326 h 1522526"/>
                  <a:gd name="connsiteX68" fmla="*/ 829357 w 1487186"/>
                  <a:gd name="connsiteY68" fmla="*/ 38076 h 1522526"/>
                  <a:gd name="connsiteX69" fmla="*/ 910718 w 1487186"/>
                  <a:gd name="connsiteY69" fmla="*/ 103562 h 1522526"/>
                  <a:gd name="connsiteX70" fmla="*/ 1005970 w 1487186"/>
                  <a:gd name="connsiteY70" fmla="*/ 216673 h 1522526"/>
                  <a:gd name="connsiteX71" fmla="*/ 1041689 w 1487186"/>
                  <a:gd name="connsiteY71" fmla="*/ 276206 h 1522526"/>
                  <a:gd name="connsiteX72" fmla="*/ 1025814 w 1487186"/>
                  <a:gd name="connsiteY72" fmla="*/ 313909 h 1522526"/>
                  <a:gd name="connsiteX73" fmla="*/ 992079 w 1487186"/>
                  <a:gd name="connsiteY73" fmla="*/ 331769 h 1522526"/>
                  <a:gd name="connsiteX74" fmla="*/ 968266 w 1487186"/>
                  <a:gd name="connsiteY74" fmla="*/ 311925 h 1522526"/>
                  <a:gd name="connsiteX75" fmla="*/ 914687 w 1487186"/>
                  <a:gd name="connsiteY75" fmla="*/ 256361 h 1522526"/>
                  <a:gd name="connsiteX76" fmla="*/ 819435 w 1487186"/>
                  <a:gd name="connsiteY76" fmla="*/ 210720 h 1522526"/>
                  <a:gd name="connsiteX77" fmla="*/ 716246 w 1487186"/>
                  <a:gd name="connsiteY77" fmla="*/ 210720 h 1522526"/>
                  <a:gd name="connsiteX78" fmla="*/ 850617 w 1487186"/>
                  <a:gd name="connsiteY78" fmla="*/ 240487 h 1522526"/>
                  <a:gd name="connsiteX79" fmla="*/ 916103 w 1487186"/>
                  <a:gd name="connsiteY79" fmla="*/ 279721 h 1522526"/>
                  <a:gd name="connsiteX80" fmla="*/ 978269 w 1487186"/>
                  <a:gd name="connsiteY80" fmla="*/ 344718 h 1522526"/>
                  <a:gd name="connsiteX81" fmla="*/ 969452 w 1487186"/>
                  <a:gd name="connsiteY81" fmla="*/ 378896 h 1522526"/>
                  <a:gd name="connsiteX82" fmla="*/ 969452 w 1487186"/>
                  <a:gd name="connsiteY82" fmla="*/ 451651 h 1522526"/>
                  <a:gd name="connsiteX83" fmla="*/ 1003488 w 1487186"/>
                  <a:gd name="connsiteY83" fmla="*/ 478628 h 1522526"/>
                  <a:gd name="connsiteX84" fmla="*/ 967232 w 1487186"/>
                  <a:gd name="connsiteY84" fmla="*/ 638035 h 1522526"/>
                  <a:gd name="connsiteX85" fmla="*/ 946515 w 1487186"/>
                  <a:gd name="connsiteY85" fmla="*/ 651932 h 1522526"/>
                  <a:gd name="connsiteX86" fmla="*/ 838644 w 1487186"/>
                  <a:gd name="connsiteY86" fmla="*/ 831290 h 1522526"/>
                  <a:gd name="connsiteX87" fmla="*/ 749707 w 1487186"/>
                  <a:gd name="connsiteY87" fmla="*/ 893779 h 1522526"/>
                  <a:gd name="connsiteX88" fmla="*/ 663982 w 1487186"/>
                  <a:gd name="connsiteY88" fmla="*/ 893779 h 1522526"/>
                  <a:gd name="connsiteX89" fmla="*/ 542921 w 1487186"/>
                  <a:gd name="connsiteY89" fmla="*/ 821966 h 1522526"/>
                  <a:gd name="connsiteX90" fmla="*/ 450782 w 1487186"/>
                  <a:gd name="connsiteY90" fmla="*/ 643758 h 1522526"/>
                  <a:gd name="connsiteX91" fmla="*/ 390111 w 1487186"/>
                  <a:gd name="connsiteY91" fmla="*/ 503970 h 1522526"/>
                  <a:gd name="connsiteX92" fmla="*/ 413787 w 1487186"/>
                  <a:gd name="connsiteY92" fmla="*/ 464730 h 1522526"/>
                  <a:gd name="connsiteX93" fmla="*/ 402973 w 1487186"/>
                  <a:gd name="connsiteY93" fmla="*/ 399317 h 1522526"/>
                  <a:gd name="connsiteX94" fmla="*/ 376911 w 1487186"/>
                  <a:gd name="connsiteY94" fmla="*/ 419083 h 1522526"/>
                  <a:gd name="connsiteX95" fmla="*/ 361036 w 1487186"/>
                  <a:gd name="connsiteY95" fmla="*/ 438927 h 1522526"/>
                  <a:gd name="connsiteX96" fmla="*/ 347145 w 1487186"/>
                  <a:gd name="connsiteY96" fmla="*/ 476631 h 1522526"/>
                  <a:gd name="connsiteX97" fmla="*/ 353098 w 1487186"/>
                  <a:gd name="connsiteY97" fmla="*/ 514335 h 1522526"/>
                  <a:gd name="connsiteX98" fmla="*/ 363020 w 1487186"/>
                  <a:gd name="connsiteY98" fmla="*/ 571883 h 1522526"/>
                  <a:gd name="connsiteX99" fmla="*/ 386833 w 1487186"/>
                  <a:gd name="connsiteY99" fmla="*/ 665150 h 1522526"/>
                  <a:gd name="connsiteX100" fmla="*/ 412630 w 1487186"/>
                  <a:gd name="connsiteY100" fmla="*/ 686979 h 1522526"/>
                  <a:gd name="connsiteX101" fmla="*/ 428506 w 1487186"/>
                  <a:gd name="connsiteY101" fmla="*/ 728652 h 1522526"/>
                  <a:gd name="connsiteX102" fmla="*/ 466210 w 1487186"/>
                  <a:gd name="connsiteY102" fmla="*/ 802075 h 1522526"/>
                  <a:gd name="connsiteX103" fmla="*/ 482085 w 1487186"/>
                  <a:gd name="connsiteY103" fmla="*/ 847716 h 1522526"/>
                  <a:gd name="connsiteX104" fmla="*/ 438428 w 1487186"/>
                  <a:gd name="connsiteY104" fmla="*/ 859623 h 1522526"/>
                  <a:gd name="connsiteX105" fmla="*/ 374927 w 1487186"/>
                  <a:gd name="connsiteY105" fmla="*/ 867560 h 1522526"/>
                  <a:gd name="connsiteX106" fmla="*/ 317379 w 1487186"/>
                  <a:gd name="connsiteY106" fmla="*/ 853670 h 1522526"/>
                  <a:gd name="connsiteX107" fmla="*/ 291581 w 1487186"/>
                  <a:gd name="connsiteY107" fmla="*/ 810012 h 1522526"/>
                  <a:gd name="connsiteX108" fmla="*/ 279675 w 1487186"/>
                  <a:gd name="connsiteY108" fmla="*/ 732620 h 1522526"/>
                  <a:gd name="connsiteX109" fmla="*/ 283644 w 1487186"/>
                  <a:gd name="connsiteY109" fmla="*/ 631415 h 1522526"/>
                  <a:gd name="connsiteX110" fmla="*/ 315394 w 1487186"/>
                  <a:gd name="connsiteY110" fmla="*/ 415114 h 1522526"/>
                  <a:gd name="connsiteX111" fmla="*/ 388817 w 1487186"/>
                  <a:gd name="connsiteY111" fmla="*/ 194845 h 1522526"/>
                  <a:gd name="connsiteX112" fmla="*/ 450334 w 1487186"/>
                  <a:gd name="connsiteY112" fmla="*/ 93640 h 1522526"/>
                  <a:gd name="connsiteX113" fmla="*/ 509867 w 1487186"/>
                  <a:gd name="connsiteY113" fmla="*/ 44029 h 1522526"/>
                  <a:gd name="connsiteX114" fmla="*/ 563446 w 1487186"/>
                  <a:gd name="connsiteY114" fmla="*/ 36092 h 1522526"/>
                  <a:gd name="connsiteX115" fmla="*/ 609087 w 1487186"/>
                  <a:gd name="connsiteY115" fmla="*/ 4341 h 1522526"/>
                  <a:gd name="connsiteX116" fmla="*/ 651876 w 1487186"/>
                  <a:gd name="connsiteY116" fmla="*/ 0 h 1522526"/>
                  <a:gd name="connsiteX0" fmla="*/ 1056847 w 1551068"/>
                  <a:gd name="connsiteY0" fmla="*/ 998817 h 1522526"/>
                  <a:gd name="connsiteX1" fmla="*/ 1067372 w 1551068"/>
                  <a:gd name="connsiteY1" fmla="*/ 1002500 h 1522526"/>
                  <a:gd name="connsiteX2" fmla="*/ 1174530 w 1551068"/>
                  <a:gd name="connsiteY2" fmla="*/ 1036732 h 1522526"/>
                  <a:gd name="connsiteX3" fmla="*/ 1383786 w 1551068"/>
                  <a:gd name="connsiteY3" fmla="*/ 1106981 h 1522526"/>
                  <a:gd name="connsiteX4" fmla="*/ 1451354 w 1551068"/>
                  <a:gd name="connsiteY4" fmla="*/ 1185265 h 1522526"/>
                  <a:gd name="connsiteX5" fmla="*/ 1551068 w 1551068"/>
                  <a:gd name="connsiteY5" fmla="*/ 1448990 h 1522526"/>
                  <a:gd name="connsiteX6" fmla="*/ 1240911 w 1551068"/>
                  <a:gd name="connsiteY6" fmla="*/ 1493045 h 1522526"/>
                  <a:gd name="connsiteX7" fmla="*/ 1196856 w 1551068"/>
                  <a:gd name="connsiteY7" fmla="*/ 1439469 h 1522526"/>
                  <a:gd name="connsiteX8" fmla="*/ 1215012 w 1551068"/>
                  <a:gd name="connsiteY8" fmla="*/ 1492451 h 1522526"/>
                  <a:gd name="connsiteX9" fmla="*/ 330955 w 1551068"/>
                  <a:gd name="connsiteY9" fmla="*/ 1497214 h 1522526"/>
                  <a:gd name="connsiteX10" fmla="*/ 314804 w 1551068"/>
                  <a:gd name="connsiteY10" fmla="*/ 1492951 h 1522526"/>
                  <a:gd name="connsiteX11" fmla="*/ 337339 w 1551068"/>
                  <a:gd name="connsiteY11" fmla="*/ 1446229 h 1522526"/>
                  <a:gd name="connsiteX12" fmla="*/ 284951 w 1551068"/>
                  <a:gd name="connsiteY12" fmla="*/ 1493854 h 1522526"/>
                  <a:gd name="connsiteX13" fmla="*/ 256 w 1551068"/>
                  <a:gd name="connsiteY13" fmla="*/ 1482327 h 1522526"/>
                  <a:gd name="connsiteX14" fmla="*/ 125273 w 1551068"/>
                  <a:gd name="connsiteY14" fmla="*/ 1223961 h 1522526"/>
                  <a:gd name="connsiteX15" fmla="*/ 156526 w 1551068"/>
                  <a:gd name="connsiteY15" fmla="*/ 1157285 h 1522526"/>
                  <a:gd name="connsiteX16" fmla="*/ 217547 w 1551068"/>
                  <a:gd name="connsiteY16" fmla="*/ 1120077 h 1522526"/>
                  <a:gd name="connsiteX17" fmla="*/ 315775 w 1551068"/>
                  <a:gd name="connsiteY17" fmla="*/ 1078404 h 1522526"/>
                  <a:gd name="connsiteX18" fmla="*/ 440793 w 1551068"/>
                  <a:gd name="connsiteY18" fmla="*/ 1029290 h 1522526"/>
                  <a:gd name="connsiteX19" fmla="*/ 474361 w 1551068"/>
                  <a:gd name="connsiteY19" fmla="*/ 1016502 h 1522526"/>
                  <a:gd name="connsiteX20" fmla="*/ 656425 w 1551068"/>
                  <a:gd name="connsiteY20" fmla="*/ 1272398 h 1522526"/>
                  <a:gd name="connsiteX21" fmla="*/ 827875 w 1551068"/>
                  <a:gd name="connsiteY21" fmla="*/ 1379555 h 1522526"/>
                  <a:gd name="connsiteX22" fmla="*/ 946938 w 1551068"/>
                  <a:gd name="connsiteY22" fmla="*/ 1243823 h 1522526"/>
                  <a:gd name="connsiteX23" fmla="*/ 1056847 w 1551068"/>
                  <a:gd name="connsiteY23" fmla="*/ 998817 h 1522526"/>
                  <a:gd name="connsiteX24" fmla="*/ 920060 w 1551068"/>
                  <a:gd name="connsiteY24" fmla="*/ 852696 h 1522526"/>
                  <a:gd name="connsiteX25" fmla="*/ 915564 w 1551068"/>
                  <a:gd name="connsiteY25" fmla="*/ 923321 h 1522526"/>
                  <a:gd name="connsiteX26" fmla="*/ 1023722 w 1551068"/>
                  <a:gd name="connsiteY26" fmla="*/ 978198 h 1522526"/>
                  <a:gd name="connsiteX27" fmla="*/ 949319 w 1551068"/>
                  <a:gd name="connsiteY27" fmla="*/ 1177148 h 1522526"/>
                  <a:gd name="connsiteX28" fmla="*/ 811207 w 1551068"/>
                  <a:gd name="connsiteY28" fmla="*/ 1341455 h 1522526"/>
                  <a:gd name="connsiteX29" fmla="*/ 620707 w 1551068"/>
                  <a:gd name="connsiteY29" fmla="*/ 1191436 h 1522526"/>
                  <a:gd name="connsiteX30" fmla="*/ 503795 w 1551068"/>
                  <a:gd name="connsiteY30" fmla="*/ 1004825 h 1522526"/>
                  <a:gd name="connsiteX31" fmla="*/ 615818 w 1551068"/>
                  <a:gd name="connsiteY31" fmla="*/ 931359 h 1522526"/>
                  <a:gd name="connsiteX32" fmla="*/ 614386 w 1551068"/>
                  <a:gd name="connsiteY32" fmla="*/ 858311 h 1522526"/>
                  <a:gd name="connsiteX33" fmla="*/ 685001 w 1551068"/>
                  <a:gd name="connsiteY33" fmla="*/ 900922 h 1522526"/>
                  <a:gd name="connsiteX34" fmla="*/ 792158 w 1551068"/>
                  <a:gd name="connsiteY34" fmla="*/ 915210 h 1522526"/>
                  <a:gd name="connsiteX35" fmla="*/ 885026 w 1551068"/>
                  <a:gd name="connsiteY35" fmla="*/ 874729 h 1522526"/>
                  <a:gd name="connsiteX36" fmla="*/ 920060 w 1551068"/>
                  <a:gd name="connsiteY36" fmla="*/ 852696 h 1522526"/>
                  <a:gd name="connsiteX37" fmla="*/ 1105649 w 1551068"/>
                  <a:gd name="connsiteY37" fmla="*/ 314309 h 1522526"/>
                  <a:gd name="connsiteX38" fmla="*/ 1112021 w 1551068"/>
                  <a:gd name="connsiteY38" fmla="*/ 320855 h 1522526"/>
                  <a:gd name="connsiteX39" fmla="*/ 1138811 w 1551068"/>
                  <a:gd name="connsiteY39" fmla="*/ 428013 h 1522526"/>
                  <a:gd name="connsiteX40" fmla="*/ 1165600 w 1551068"/>
                  <a:gd name="connsiteY40" fmla="*/ 569403 h 1522526"/>
                  <a:gd name="connsiteX41" fmla="*/ 1174530 w 1551068"/>
                  <a:gd name="connsiteY41" fmla="*/ 704839 h 1522526"/>
                  <a:gd name="connsiteX42" fmla="*/ 1171553 w 1551068"/>
                  <a:gd name="connsiteY42" fmla="*/ 789672 h 1522526"/>
                  <a:gd name="connsiteX43" fmla="*/ 1146252 w 1551068"/>
                  <a:gd name="connsiteY43" fmla="*/ 850693 h 1522526"/>
                  <a:gd name="connsiteX44" fmla="*/ 1100114 w 1551068"/>
                  <a:gd name="connsiteY44" fmla="*/ 859623 h 1522526"/>
                  <a:gd name="connsiteX45" fmla="*/ 1027187 w 1551068"/>
                  <a:gd name="connsiteY45" fmla="*/ 853670 h 1522526"/>
                  <a:gd name="connsiteX46" fmla="*/ 972120 w 1551068"/>
                  <a:gd name="connsiteY46" fmla="*/ 834322 h 1522526"/>
                  <a:gd name="connsiteX47" fmla="*/ 979561 w 1551068"/>
                  <a:gd name="connsiteY47" fmla="*/ 813485 h 1522526"/>
                  <a:gd name="connsiteX48" fmla="*/ 1009327 w 1551068"/>
                  <a:gd name="connsiteY48" fmla="*/ 773301 h 1522526"/>
                  <a:gd name="connsiteX49" fmla="*/ 1037606 w 1551068"/>
                  <a:gd name="connsiteY49" fmla="*/ 704839 h 1522526"/>
                  <a:gd name="connsiteX50" fmla="*/ 1043559 w 1551068"/>
                  <a:gd name="connsiteY50" fmla="*/ 675072 h 1522526"/>
                  <a:gd name="connsiteX51" fmla="*/ 1061418 w 1551068"/>
                  <a:gd name="connsiteY51" fmla="*/ 655725 h 1522526"/>
                  <a:gd name="connsiteX52" fmla="*/ 1086720 w 1551068"/>
                  <a:gd name="connsiteY52" fmla="*/ 579821 h 1522526"/>
                  <a:gd name="connsiteX53" fmla="*/ 1104579 w 1551068"/>
                  <a:gd name="connsiteY53" fmla="*/ 499452 h 1522526"/>
                  <a:gd name="connsiteX54" fmla="*/ 1106068 w 1551068"/>
                  <a:gd name="connsiteY54" fmla="*/ 463733 h 1522526"/>
                  <a:gd name="connsiteX55" fmla="*/ 1089696 w 1551068"/>
                  <a:gd name="connsiteY55" fmla="*/ 430990 h 1522526"/>
                  <a:gd name="connsiteX56" fmla="*/ 1073325 w 1551068"/>
                  <a:gd name="connsiteY56" fmla="*/ 416107 h 1522526"/>
                  <a:gd name="connsiteX57" fmla="*/ 1070348 w 1551068"/>
                  <a:gd name="connsiteY57" fmla="*/ 386340 h 1522526"/>
                  <a:gd name="connsiteX58" fmla="*/ 1073325 w 1551068"/>
                  <a:gd name="connsiteY58" fmla="*/ 350621 h 1522526"/>
                  <a:gd name="connsiteX59" fmla="*/ 1088208 w 1551068"/>
                  <a:gd name="connsiteY59" fmla="*/ 328297 h 1522526"/>
                  <a:gd name="connsiteX60" fmla="*/ 1105649 w 1551068"/>
                  <a:gd name="connsiteY60" fmla="*/ 314309 h 1522526"/>
                  <a:gd name="connsiteX61" fmla="*/ 680240 w 1551068"/>
                  <a:gd name="connsiteY61" fmla="*/ 96060 h 1522526"/>
                  <a:gd name="connsiteX62" fmla="*/ 573084 w 1551068"/>
                  <a:gd name="connsiteY62" fmla="*/ 431816 h 1522526"/>
                  <a:gd name="connsiteX63" fmla="*/ 718340 w 1551068"/>
                  <a:gd name="connsiteY63" fmla="*/ 184165 h 1522526"/>
                  <a:gd name="connsiteX64" fmla="*/ 680240 w 1551068"/>
                  <a:gd name="connsiteY64" fmla="*/ 96060 h 1522526"/>
                  <a:gd name="connsiteX65" fmla="*/ 715758 w 1551068"/>
                  <a:gd name="connsiteY65" fmla="*/ 0 h 1522526"/>
                  <a:gd name="connsiteX66" fmla="*/ 760283 w 1551068"/>
                  <a:gd name="connsiteY66" fmla="*/ 372 h 1522526"/>
                  <a:gd name="connsiteX67" fmla="*/ 821800 w 1551068"/>
                  <a:gd name="connsiteY67" fmla="*/ 6326 h 1522526"/>
                  <a:gd name="connsiteX68" fmla="*/ 893239 w 1551068"/>
                  <a:gd name="connsiteY68" fmla="*/ 38076 h 1522526"/>
                  <a:gd name="connsiteX69" fmla="*/ 974600 w 1551068"/>
                  <a:gd name="connsiteY69" fmla="*/ 103562 h 1522526"/>
                  <a:gd name="connsiteX70" fmla="*/ 1069852 w 1551068"/>
                  <a:gd name="connsiteY70" fmla="*/ 216673 h 1522526"/>
                  <a:gd name="connsiteX71" fmla="*/ 1105571 w 1551068"/>
                  <a:gd name="connsiteY71" fmla="*/ 276206 h 1522526"/>
                  <a:gd name="connsiteX72" fmla="*/ 1089696 w 1551068"/>
                  <a:gd name="connsiteY72" fmla="*/ 313909 h 1522526"/>
                  <a:gd name="connsiteX73" fmla="*/ 1055961 w 1551068"/>
                  <a:gd name="connsiteY73" fmla="*/ 331769 h 1522526"/>
                  <a:gd name="connsiteX74" fmla="*/ 1032148 w 1551068"/>
                  <a:gd name="connsiteY74" fmla="*/ 311925 h 1522526"/>
                  <a:gd name="connsiteX75" fmla="*/ 978569 w 1551068"/>
                  <a:gd name="connsiteY75" fmla="*/ 256361 h 1522526"/>
                  <a:gd name="connsiteX76" fmla="*/ 883317 w 1551068"/>
                  <a:gd name="connsiteY76" fmla="*/ 210720 h 1522526"/>
                  <a:gd name="connsiteX77" fmla="*/ 780128 w 1551068"/>
                  <a:gd name="connsiteY77" fmla="*/ 210720 h 1522526"/>
                  <a:gd name="connsiteX78" fmla="*/ 914499 w 1551068"/>
                  <a:gd name="connsiteY78" fmla="*/ 240487 h 1522526"/>
                  <a:gd name="connsiteX79" fmla="*/ 979985 w 1551068"/>
                  <a:gd name="connsiteY79" fmla="*/ 279721 h 1522526"/>
                  <a:gd name="connsiteX80" fmla="*/ 1042151 w 1551068"/>
                  <a:gd name="connsiteY80" fmla="*/ 344718 h 1522526"/>
                  <a:gd name="connsiteX81" fmla="*/ 1033334 w 1551068"/>
                  <a:gd name="connsiteY81" fmla="*/ 378896 h 1522526"/>
                  <a:gd name="connsiteX82" fmla="*/ 1033334 w 1551068"/>
                  <a:gd name="connsiteY82" fmla="*/ 451651 h 1522526"/>
                  <a:gd name="connsiteX83" fmla="*/ 1067370 w 1551068"/>
                  <a:gd name="connsiteY83" fmla="*/ 478628 h 1522526"/>
                  <a:gd name="connsiteX84" fmla="*/ 1031114 w 1551068"/>
                  <a:gd name="connsiteY84" fmla="*/ 638035 h 1522526"/>
                  <a:gd name="connsiteX85" fmla="*/ 1010397 w 1551068"/>
                  <a:gd name="connsiteY85" fmla="*/ 651932 h 1522526"/>
                  <a:gd name="connsiteX86" fmla="*/ 902526 w 1551068"/>
                  <a:gd name="connsiteY86" fmla="*/ 831290 h 1522526"/>
                  <a:gd name="connsiteX87" fmla="*/ 813589 w 1551068"/>
                  <a:gd name="connsiteY87" fmla="*/ 893779 h 1522526"/>
                  <a:gd name="connsiteX88" fmla="*/ 727864 w 1551068"/>
                  <a:gd name="connsiteY88" fmla="*/ 893779 h 1522526"/>
                  <a:gd name="connsiteX89" fmla="*/ 606803 w 1551068"/>
                  <a:gd name="connsiteY89" fmla="*/ 821966 h 1522526"/>
                  <a:gd name="connsiteX90" fmla="*/ 514664 w 1551068"/>
                  <a:gd name="connsiteY90" fmla="*/ 643758 h 1522526"/>
                  <a:gd name="connsiteX91" fmla="*/ 453993 w 1551068"/>
                  <a:gd name="connsiteY91" fmla="*/ 503970 h 1522526"/>
                  <a:gd name="connsiteX92" fmla="*/ 477669 w 1551068"/>
                  <a:gd name="connsiteY92" fmla="*/ 464730 h 1522526"/>
                  <a:gd name="connsiteX93" fmla="*/ 466855 w 1551068"/>
                  <a:gd name="connsiteY93" fmla="*/ 399317 h 1522526"/>
                  <a:gd name="connsiteX94" fmla="*/ 440793 w 1551068"/>
                  <a:gd name="connsiteY94" fmla="*/ 419083 h 1522526"/>
                  <a:gd name="connsiteX95" fmla="*/ 424918 w 1551068"/>
                  <a:gd name="connsiteY95" fmla="*/ 438927 h 1522526"/>
                  <a:gd name="connsiteX96" fmla="*/ 411027 w 1551068"/>
                  <a:gd name="connsiteY96" fmla="*/ 476631 h 1522526"/>
                  <a:gd name="connsiteX97" fmla="*/ 416980 w 1551068"/>
                  <a:gd name="connsiteY97" fmla="*/ 514335 h 1522526"/>
                  <a:gd name="connsiteX98" fmla="*/ 426902 w 1551068"/>
                  <a:gd name="connsiteY98" fmla="*/ 571883 h 1522526"/>
                  <a:gd name="connsiteX99" fmla="*/ 450715 w 1551068"/>
                  <a:gd name="connsiteY99" fmla="*/ 665150 h 1522526"/>
                  <a:gd name="connsiteX100" fmla="*/ 476512 w 1551068"/>
                  <a:gd name="connsiteY100" fmla="*/ 686979 h 1522526"/>
                  <a:gd name="connsiteX101" fmla="*/ 492388 w 1551068"/>
                  <a:gd name="connsiteY101" fmla="*/ 728652 h 1522526"/>
                  <a:gd name="connsiteX102" fmla="*/ 530092 w 1551068"/>
                  <a:gd name="connsiteY102" fmla="*/ 802075 h 1522526"/>
                  <a:gd name="connsiteX103" fmla="*/ 545967 w 1551068"/>
                  <a:gd name="connsiteY103" fmla="*/ 847716 h 1522526"/>
                  <a:gd name="connsiteX104" fmla="*/ 502310 w 1551068"/>
                  <a:gd name="connsiteY104" fmla="*/ 859623 h 1522526"/>
                  <a:gd name="connsiteX105" fmla="*/ 438809 w 1551068"/>
                  <a:gd name="connsiteY105" fmla="*/ 867560 h 1522526"/>
                  <a:gd name="connsiteX106" fmla="*/ 381261 w 1551068"/>
                  <a:gd name="connsiteY106" fmla="*/ 853670 h 1522526"/>
                  <a:gd name="connsiteX107" fmla="*/ 355463 w 1551068"/>
                  <a:gd name="connsiteY107" fmla="*/ 810012 h 1522526"/>
                  <a:gd name="connsiteX108" fmla="*/ 343557 w 1551068"/>
                  <a:gd name="connsiteY108" fmla="*/ 732620 h 1522526"/>
                  <a:gd name="connsiteX109" fmla="*/ 347526 w 1551068"/>
                  <a:gd name="connsiteY109" fmla="*/ 631415 h 1522526"/>
                  <a:gd name="connsiteX110" fmla="*/ 379276 w 1551068"/>
                  <a:gd name="connsiteY110" fmla="*/ 415114 h 1522526"/>
                  <a:gd name="connsiteX111" fmla="*/ 452699 w 1551068"/>
                  <a:gd name="connsiteY111" fmla="*/ 194845 h 1522526"/>
                  <a:gd name="connsiteX112" fmla="*/ 514216 w 1551068"/>
                  <a:gd name="connsiteY112" fmla="*/ 93640 h 1522526"/>
                  <a:gd name="connsiteX113" fmla="*/ 573749 w 1551068"/>
                  <a:gd name="connsiteY113" fmla="*/ 44029 h 1522526"/>
                  <a:gd name="connsiteX114" fmla="*/ 627328 w 1551068"/>
                  <a:gd name="connsiteY114" fmla="*/ 36092 h 1522526"/>
                  <a:gd name="connsiteX115" fmla="*/ 672969 w 1551068"/>
                  <a:gd name="connsiteY115" fmla="*/ 4341 h 1522526"/>
                  <a:gd name="connsiteX116" fmla="*/ 715758 w 1551068"/>
                  <a:gd name="connsiteY116" fmla="*/ 0 h 1522526"/>
                  <a:gd name="connsiteX0" fmla="*/ 1056956 w 1551177"/>
                  <a:gd name="connsiteY0" fmla="*/ 998817 h 1522526"/>
                  <a:gd name="connsiteX1" fmla="*/ 1067481 w 1551177"/>
                  <a:gd name="connsiteY1" fmla="*/ 1002500 h 1522526"/>
                  <a:gd name="connsiteX2" fmla="*/ 1174639 w 1551177"/>
                  <a:gd name="connsiteY2" fmla="*/ 1036732 h 1522526"/>
                  <a:gd name="connsiteX3" fmla="*/ 1383895 w 1551177"/>
                  <a:gd name="connsiteY3" fmla="*/ 1106981 h 1522526"/>
                  <a:gd name="connsiteX4" fmla="*/ 1451463 w 1551177"/>
                  <a:gd name="connsiteY4" fmla="*/ 1185265 h 1522526"/>
                  <a:gd name="connsiteX5" fmla="*/ 1551177 w 1551177"/>
                  <a:gd name="connsiteY5" fmla="*/ 1448990 h 1522526"/>
                  <a:gd name="connsiteX6" fmla="*/ 1241020 w 1551177"/>
                  <a:gd name="connsiteY6" fmla="*/ 1493045 h 1522526"/>
                  <a:gd name="connsiteX7" fmla="*/ 1196965 w 1551177"/>
                  <a:gd name="connsiteY7" fmla="*/ 1439469 h 1522526"/>
                  <a:gd name="connsiteX8" fmla="*/ 1215121 w 1551177"/>
                  <a:gd name="connsiteY8" fmla="*/ 1492451 h 1522526"/>
                  <a:gd name="connsiteX9" fmla="*/ 331064 w 1551177"/>
                  <a:gd name="connsiteY9" fmla="*/ 1497214 h 1522526"/>
                  <a:gd name="connsiteX10" fmla="*/ 314913 w 1551177"/>
                  <a:gd name="connsiteY10" fmla="*/ 1492951 h 1522526"/>
                  <a:gd name="connsiteX11" fmla="*/ 337448 w 1551177"/>
                  <a:gd name="connsiteY11" fmla="*/ 1446229 h 1522526"/>
                  <a:gd name="connsiteX12" fmla="*/ 285060 w 1551177"/>
                  <a:gd name="connsiteY12" fmla="*/ 1493854 h 1522526"/>
                  <a:gd name="connsiteX13" fmla="*/ 365 w 1551177"/>
                  <a:gd name="connsiteY13" fmla="*/ 1482327 h 1522526"/>
                  <a:gd name="connsiteX14" fmla="*/ 94425 w 1551177"/>
                  <a:gd name="connsiteY14" fmla="*/ 1219199 h 1522526"/>
                  <a:gd name="connsiteX15" fmla="*/ 156635 w 1551177"/>
                  <a:gd name="connsiteY15" fmla="*/ 1157285 h 1522526"/>
                  <a:gd name="connsiteX16" fmla="*/ 217656 w 1551177"/>
                  <a:gd name="connsiteY16" fmla="*/ 1120077 h 1522526"/>
                  <a:gd name="connsiteX17" fmla="*/ 315884 w 1551177"/>
                  <a:gd name="connsiteY17" fmla="*/ 1078404 h 1522526"/>
                  <a:gd name="connsiteX18" fmla="*/ 440902 w 1551177"/>
                  <a:gd name="connsiteY18" fmla="*/ 1029290 h 1522526"/>
                  <a:gd name="connsiteX19" fmla="*/ 474470 w 1551177"/>
                  <a:gd name="connsiteY19" fmla="*/ 1016502 h 1522526"/>
                  <a:gd name="connsiteX20" fmla="*/ 656534 w 1551177"/>
                  <a:gd name="connsiteY20" fmla="*/ 1272398 h 1522526"/>
                  <a:gd name="connsiteX21" fmla="*/ 827984 w 1551177"/>
                  <a:gd name="connsiteY21" fmla="*/ 1379555 h 1522526"/>
                  <a:gd name="connsiteX22" fmla="*/ 947047 w 1551177"/>
                  <a:gd name="connsiteY22" fmla="*/ 1243823 h 1522526"/>
                  <a:gd name="connsiteX23" fmla="*/ 1056956 w 1551177"/>
                  <a:gd name="connsiteY23" fmla="*/ 998817 h 1522526"/>
                  <a:gd name="connsiteX24" fmla="*/ 920169 w 1551177"/>
                  <a:gd name="connsiteY24" fmla="*/ 852696 h 1522526"/>
                  <a:gd name="connsiteX25" fmla="*/ 915673 w 1551177"/>
                  <a:gd name="connsiteY25" fmla="*/ 923321 h 1522526"/>
                  <a:gd name="connsiteX26" fmla="*/ 1023831 w 1551177"/>
                  <a:gd name="connsiteY26" fmla="*/ 978198 h 1522526"/>
                  <a:gd name="connsiteX27" fmla="*/ 949428 w 1551177"/>
                  <a:gd name="connsiteY27" fmla="*/ 1177148 h 1522526"/>
                  <a:gd name="connsiteX28" fmla="*/ 811316 w 1551177"/>
                  <a:gd name="connsiteY28" fmla="*/ 1341455 h 1522526"/>
                  <a:gd name="connsiteX29" fmla="*/ 620816 w 1551177"/>
                  <a:gd name="connsiteY29" fmla="*/ 1191436 h 1522526"/>
                  <a:gd name="connsiteX30" fmla="*/ 503904 w 1551177"/>
                  <a:gd name="connsiteY30" fmla="*/ 1004825 h 1522526"/>
                  <a:gd name="connsiteX31" fmla="*/ 615927 w 1551177"/>
                  <a:gd name="connsiteY31" fmla="*/ 931359 h 1522526"/>
                  <a:gd name="connsiteX32" fmla="*/ 614495 w 1551177"/>
                  <a:gd name="connsiteY32" fmla="*/ 858311 h 1522526"/>
                  <a:gd name="connsiteX33" fmla="*/ 685110 w 1551177"/>
                  <a:gd name="connsiteY33" fmla="*/ 900922 h 1522526"/>
                  <a:gd name="connsiteX34" fmla="*/ 792267 w 1551177"/>
                  <a:gd name="connsiteY34" fmla="*/ 915210 h 1522526"/>
                  <a:gd name="connsiteX35" fmla="*/ 885135 w 1551177"/>
                  <a:gd name="connsiteY35" fmla="*/ 874729 h 1522526"/>
                  <a:gd name="connsiteX36" fmla="*/ 920169 w 1551177"/>
                  <a:gd name="connsiteY36" fmla="*/ 852696 h 1522526"/>
                  <a:gd name="connsiteX37" fmla="*/ 1105758 w 1551177"/>
                  <a:gd name="connsiteY37" fmla="*/ 314309 h 1522526"/>
                  <a:gd name="connsiteX38" fmla="*/ 1112130 w 1551177"/>
                  <a:gd name="connsiteY38" fmla="*/ 320855 h 1522526"/>
                  <a:gd name="connsiteX39" fmla="*/ 1138920 w 1551177"/>
                  <a:gd name="connsiteY39" fmla="*/ 428013 h 1522526"/>
                  <a:gd name="connsiteX40" fmla="*/ 1165709 w 1551177"/>
                  <a:gd name="connsiteY40" fmla="*/ 569403 h 1522526"/>
                  <a:gd name="connsiteX41" fmla="*/ 1174639 w 1551177"/>
                  <a:gd name="connsiteY41" fmla="*/ 704839 h 1522526"/>
                  <a:gd name="connsiteX42" fmla="*/ 1171662 w 1551177"/>
                  <a:gd name="connsiteY42" fmla="*/ 789672 h 1522526"/>
                  <a:gd name="connsiteX43" fmla="*/ 1146361 w 1551177"/>
                  <a:gd name="connsiteY43" fmla="*/ 850693 h 1522526"/>
                  <a:gd name="connsiteX44" fmla="*/ 1100223 w 1551177"/>
                  <a:gd name="connsiteY44" fmla="*/ 859623 h 1522526"/>
                  <a:gd name="connsiteX45" fmla="*/ 1027296 w 1551177"/>
                  <a:gd name="connsiteY45" fmla="*/ 853670 h 1522526"/>
                  <a:gd name="connsiteX46" fmla="*/ 972229 w 1551177"/>
                  <a:gd name="connsiteY46" fmla="*/ 834322 h 1522526"/>
                  <a:gd name="connsiteX47" fmla="*/ 979670 w 1551177"/>
                  <a:gd name="connsiteY47" fmla="*/ 813485 h 1522526"/>
                  <a:gd name="connsiteX48" fmla="*/ 1009436 w 1551177"/>
                  <a:gd name="connsiteY48" fmla="*/ 773301 h 1522526"/>
                  <a:gd name="connsiteX49" fmla="*/ 1037715 w 1551177"/>
                  <a:gd name="connsiteY49" fmla="*/ 704839 h 1522526"/>
                  <a:gd name="connsiteX50" fmla="*/ 1043668 w 1551177"/>
                  <a:gd name="connsiteY50" fmla="*/ 675072 h 1522526"/>
                  <a:gd name="connsiteX51" fmla="*/ 1061527 w 1551177"/>
                  <a:gd name="connsiteY51" fmla="*/ 655725 h 1522526"/>
                  <a:gd name="connsiteX52" fmla="*/ 1086829 w 1551177"/>
                  <a:gd name="connsiteY52" fmla="*/ 579821 h 1522526"/>
                  <a:gd name="connsiteX53" fmla="*/ 1104688 w 1551177"/>
                  <a:gd name="connsiteY53" fmla="*/ 499452 h 1522526"/>
                  <a:gd name="connsiteX54" fmla="*/ 1106177 w 1551177"/>
                  <a:gd name="connsiteY54" fmla="*/ 463733 h 1522526"/>
                  <a:gd name="connsiteX55" fmla="*/ 1089805 w 1551177"/>
                  <a:gd name="connsiteY55" fmla="*/ 430990 h 1522526"/>
                  <a:gd name="connsiteX56" fmla="*/ 1073434 w 1551177"/>
                  <a:gd name="connsiteY56" fmla="*/ 416107 h 1522526"/>
                  <a:gd name="connsiteX57" fmla="*/ 1070457 w 1551177"/>
                  <a:gd name="connsiteY57" fmla="*/ 386340 h 1522526"/>
                  <a:gd name="connsiteX58" fmla="*/ 1073434 w 1551177"/>
                  <a:gd name="connsiteY58" fmla="*/ 350621 h 1522526"/>
                  <a:gd name="connsiteX59" fmla="*/ 1088317 w 1551177"/>
                  <a:gd name="connsiteY59" fmla="*/ 328297 h 1522526"/>
                  <a:gd name="connsiteX60" fmla="*/ 1105758 w 1551177"/>
                  <a:gd name="connsiteY60" fmla="*/ 314309 h 1522526"/>
                  <a:gd name="connsiteX61" fmla="*/ 680349 w 1551177"/>
                  <a:gd name="connsiteY61" fmla="*/ 96060 h 1522526"/>
                  <a:gd name="connsiteX62" fmla="*/ 573193 w 1551177"/>
                  <a:gd name="connsiteY62" fmla="*/ 431816 h 1522526"/>
                  <a:gd name="connsiteX63" fmla="*/ 718449 w 1551177"/>
                  <a:gd name="connsiteY63" fmla="*/ 184165 h 1522526"/>
                  <a:gd name="connsiteX64" fmla="*/ 680349 w 1551177"/>
                  <a:gd name="connsiteY64" fmla="*/ 96060 h 1522526"/>
                  <a:gd name="connsiteX65" fmla="*/ 715867 w 1551177"/>
                  <a:gd name="connsiteY65" fmla="*/ 0 h 1522526"/>
                  <a:gd name="connsiteX66" fmla="*/ 760392 w 1551177"/>
                  <a:gd name="connsiteY66" fmla="*/ 372 h 1522526"/>
                  <a:gd name="connsiteX67" fmla="*/ 821909 w 1551177"/>
                  <a:gd name="connsiteY67" fmla="*/ 6326 h 1522526"/>
                  <a:gd name="connsiteX68" fmla="*/ 893348 w 1551177"/>
                  <a:gd name="connsiteY68" fmla="*/ 38076 h 1522526"/>
                  <a:gd name="connsiteX69" fmla="*/ 974709 w 1551177"/>
                  <a:gd name="connsiteY69" fmla="*/ 103562 h 1522526"/>
                  <a:gd name="connsiteX70" fmla="*/ 1069961 w 1551177"/>
                  <a:gd name="connsiteY70" fmla="*/ 216673 h 1522526"/>
                  <a:gd name="connsiteX71" fmla="*/ 1105680 w 1551177"/>
                  <a:gd name="connsiteY71" fmla="*/ 276206 h 1522526"/>
                  <a:gd name="connsiteX72" fmla="*/ 1089805 w 1551177"/>
                  <a:gd name="connsiteY72" fmla="*/ 313909 h 1522526"/>
                  <a:gd name="connsiteX73" fmla="*/ 1056070 w 1551177"/>
                  <a:gd name="connsiteY73" fmla="*/ 331769 h 1522526"/>
                  <a:gd name="connsiteX74" fmla="*/ 1032257 w 1551177"/>
                  <a:gd name="connsiteY74" fmla="*/ 311925 h 1522526"/>
                  <a:gd name="connsiteX75" fmla="*/ 978678 w 1551177"/>
                  <a:gd name="connsiteY75" fmla="*/ 256361 h 1522526"/>
                  <a:gd name="connsiteX76" fmla="*/ 883426 w 1551177"/>
                  <a:gd name="connsiteY76" fmla="*/ 210720 h 1522526"/>
                  <a:gd name="connsiteX77" fmla="*/ 780237 w 1551177"/>
                  <a:gd name="connsiteY77" fmla="*/ 210720 h 1522526"/>
                  <a:gd name="connsiteX78" fmla="*/ 914608 w 1551177"/>
                  <a:gd name="connsiteY78" fmla="*/ 240487 h 1522526"/>
                  <a:gd name="connsiteX79" fmla="*/ 980094 w 1551177"/>
                  <a:gd name="connsiteY79" fmla="*/ 279721 h 1522526"/>
                  <a:gd name="connsiteX80" fmla="*/ 1042260 w 1551177"/>
                  <a:gd name="connsiteY80" fmla="*/ 344718 h 1522526"/>
                  <a:gd name="connsiteX81" fmla="*/ 1033443 w 1551177"/>
                  <a:gd name="connsiteY81" fmla="*/ 378896 h 1522526"/>
                  <a:gd name="connsiteX82" fmla="*/ 1033443 w 1551177"/>
                  <a:gd name="connsiteY82" fmla="*/ 451651 h 1522526"/>
                  <a:gd name="connsiteX83" fmla="*/ 1067479 w 1551177"/>
                  <a:gd name="connsiteY83" fmla="*/ 478628 h 1522526"/>
                  <a:gd name="connsiteX84" fmla="*/ 1031223 w 1551177"/>
                  <a:gd name="connsiteY84" fmla="*/ 638035 h 1522526"/>
                  <a:gd name="connsiteX85" fmla="*/ 1010506 w 1551177"/>
                  <a:gd name="connsiteY85" fmla="*/ 651932 h 1522526"/>
                  <a:gd name="connsiteX86" fmla="*/ 902635 w 1551177"/>
                  <a:gd name="connsiteY86" fmla="*/ 831290 h 1522526"/>
                  <a:gd name="connsiteX87" fmla="*/ 813698 w 1551177"/>
                  <a:gd name="connsiteY87" fmla="*/ 893779 h 1522526"/>
                  <a:gd name="connsiteX88" fmla="*/ 727973 w 1551177"/>
                  <a:gd name="connsiteY88" fmla="*/ 893779 h 1522526"/>
                  <a:gd name="connsiteX89" fmla="*/ 606912 w 1551177"/>
                  <a:gd name="connsiteY89" fmla="*/ 821966 h 1522526"/>
                  <a:gd name="connsiteX90" fmla="*/ 514773 w 1551177"/>
                  <a:gd name="connsiteY90" fmla="*/ 643758 h 1522526"/>
                  <a:gd name="connsiteX91" fmla="*/ 454102 w 1551177"/>
                  <a:gd name="connsiteY91" fmla="*/ 503970 h 1522526"/>
                  <a:gd name="connsiteX92" fmla="*/ 477778 w 1551177"/>
                  <a:gd name="connsiteY92" fmla="*/ 464730 h 1522526"/>
                  <a:gd name="connsiteX93" fmla="*/ 466964 w 1551177"/>
                  <a:gd name="connsiteY93" fmla="*/ 399317 h 1522526"/>
                  <a:gd name="connsiteX94" fmla="*/ 440902 w 1551177"/>
                  <a:gd name="connsiteY94" fmla="*/ 419083 h 1522526"/>
                  <a:gd name="connsiteX95" fmla="*/ 425027 w 1551177"/>
                  <a:gd name="connsiteY95" fmla="*/ 438927 h 1522526"/>
                  <a:gd name="connsiteX96" fmla="*/ 411136 w 1551177"/>
                  <a:gd name="connsiteY96" fmla="*/ 476631 h 1522526"/>
                  <a:gd name="connsiteX97" fmla="*/ 417089 w 1551177"/>
                  <a:gd name="connsiteY97" fmla="*/ 514335 h 1522526"/>
                  <a:gd name="connsiteX98" fmla="*/ 427011 w 1551177"/>
                  <a:gd name="connsiteY98" fmla="*/ 571883 h 1522526"/>
                  <a:gd name="connsiteX99" fmla="*/ 450824 w 1551177"/>
                  <a:gd name="connsiteY99" fmla="*/ 665150 h 1522526"/>
                  <a:gd name="connsiteX100" fmla="*/ 476621 w 1551177"/>
                  <a:gd name="connsiteY100" fmla="*/ 686979 h 1522526"/>
                  <a:gd name="connsiteX101" fmla="*/ 492497 w 1551177"/>
                  <a:gd name="connsiteY101" fmla="*/ 728652 h 1522526"/>
                  <a:gd name="connsiteX102" fmla="*/ 530201 w 1551177"/>
                  <a:gd name="connsiteY102" fmla="*/ 802075 h 1522526"/>
                  <a:gd name="connsiteX103" fmla="*/ 546076 w 1551177"/>
                  <a:gd name="connsiteY103" fmla="*/ 847716 h 1522526"/>
                  <a:gd name="connsiteX104" fmla="*/ 502419 w 1551177"/>
                  <a:gd name="connsiteY104" fmla="*/ 859623 h 1522526"/>
                  <a:gd name="connsiteX105" fmla="*/ 438918 w 1551177"/>
                  <a:gd name="connsiteY105" fmla="*/ 867560 h 1522526"/>
                  <a:gd name="connsiteX106" fmla="*/ 381370 w 1551177"/>
                  <a:gd name="connsiteY106" fmla="*/ 853670 h 1522526"/>
                  <a:gd name="connsiteX107" fmla="*/ 355572 w 1551177"/>
                  <a:gd name="connsiteY107" fmla="*/ 810012 h 1522526"/>
                  <a:gd name="connsiteX108" fmla="*/ 343666 w 1551177"/>
                  <a:gd name="connsiteY108" fmla="*/ 732620 h 1522526"/>
                  <a:gd name="connsiteX109" fmla="*/ 347635 w 1551177"/>
                  <a:gd name="connsiteY109" fmla="*/ 631415 h 1522526"/>
                  <a:gd name="connsiteX110" fmla="*/ 379385 w 1551177"/>
                  <a:gd name="connsiteY110" fmla="*/ 415114 h 1522526"/>
                  <a:gd name="connsiteX111" fmla="*/ 452808 w 1551177"/>
                  <a:gd name="connsiteY111" fmla="*/ 194845 h 1522526"/>
                  <a:gd name="connsiteX112" fmla="*/ 514325 w 1551177"/>
                  <a:gd name="connsiteY112" fmla="*/ 93640 h 1522526"/>
                  <a:gd name="connsiteX113" fmla="*/ 573858 w 1551177"/>
                  <a:gd name="connsiteY113" fmla="*/ 44029 h 1522526"/>
                  <a:gd name="connsiteX114" fmla="*/ 627437 w 1551177"/>
                  <a:gd name="connsiteY114" fmla="*/ 36092 h 1522526"/>
                  <a:gd name="connsiteX115" fmla="*/ 673078 w 1551177"/>
                  <a:gd name="connsiteY115" fmla="*/ 4341 h 1522526"/>
                  <a:gd name="connsiteX116" fmla="*/ 715867 w 1551177"/>
                  <a:gd name="connsiteY116" fmla="*/ 0 h 1522526"/>
                  <a:gd name="connsiteX0" fmla="*/ 1056956 w 1551177"/>
                  <a:gd name="connsiteY0" fmla="*/ 998817 h 1522526"/>
                  <a:gd name="connsiteX1" fmla="*/ 1067481 w 1551177"/>
                  <a:gd name="connsiteY1" fmla="*/ 1002500 h 1522526"/>
                  <a:gd name="connsiteX2" fmla="*/ 1174639 w 1551177"/>
                  <a:gd name="connsiteY2" fmla="*/ 1036732 h 1522526"/>
                  <a:gd name="connsiteX3" fmla="*/ 1383895 w 1551177"/>
                  <a:gd name="connsiteY3" fmla="*/ 1106981 h 1522526"/>
                  <a:gd name="connsiteX4" fmla="*/ 1451463 w 1551177"/>
                  <a:gd name="connsiteY4" fmla="*/ 1185265 h 1522526"/>
                  <a:gd name="connsiteX5" fmla="*/ 1551177 w 1551177"/>
                  <a:gd name="connsiteY5" fmla="*/ 1448990 h 1522526"/>
                  <a:gd name="connsiteX6" fmla="*/ 1241020 w 1551177"/>
                  <a:gd name="connsiteY6" fmla="*/ 1493045 h 1522526"/>
                  <a:gd name="connsiteX7" fmla="*/ 1196965 w 1551177"/>
                  <a:gd name="connsiteY7" fmla="*/ 1439469 h 1522526"/>
                  <a:gd name="connsiteX8" fmla="*/ 1215121 w 1551177"/>
                  <a:gd name="connsiteY8" fmla="*/ 1492451 h 1522526"/>
                  <a:gd name="connsiteX9" fmla="*/ 331064 w 1551177"/>
                  <a:gd name="connsiteY9" fmla="*/ 1497214 h 1522526"/>
                  <a:gd name="connsiteX10" fmla="*/ 314913 w 1551177"/>
                  <a:gd name="connsiteY10" fmla="*/ 1492951 h 1522526"/>
                  <a:gd name="connsiteX11" fmla="*/ 337448 w 1551177"/>
                  <a:gd name="connsiteY11" fmla="*/ 1446229 h 1522526"/>
                  <a:gd name="connsiteX12" fmla="*/ 285060 w 1551177"/>
                  <a:gd name="connsiteY12" fmla="*/ 1493854 h 1522526"/>
                  <a:gd name="connsiteX13" fmla="*/ 365 w 1551177"/>
                  <a:gd name="connsiteY13" fmla="*/ 1482327 h 1522526"/>
                  <a:gd name="connsiteX14" fmla="*/ 94425 w 1551177"/>
                  <a:gd name="connsiteY14" fmla="*/ 1219199 h 1522526"/>
                  <a:gd name="connsiteX15" fmla="*/ 132823 w 1551177"/>
                  <a:gd name="connsiteY15" fmla="*/ 1150141 h 1522526"/>
                  <a:gd name="connsiteX16" fmla="*/ 217656 w 1551177"/>
                  <a:gd name="connsiteY16" fmla="*/ 1120077 h 1522526"/>
                  <a:gd name="connsiteX17" fmla="*/ 315884 w 1551177"/>
                  <a:gd name="connsiteY17" fmla="*/ 1078404 h 1522526"/>
                  <a:gd name="connsiteX18" fmla="*/ 440902 w 1551177"/>
                  <a:gd name="connsiteY18" fmla="*/ 1029290 h 1522526"/>
                  <a:gd name="connsiteX19" fmla="*/ 474470 w 1551177"/>
                  <a:gd name="connsiteY19" fmla="*/ 1016502 h 1522526"/>
                  <a:gd name="connsiteX20" fmla="*/ 656534 w 1551177"/>
                  <a:gd name="connsiteY20" fmla="*/ 1272398 h 1522526"/>
                  <a:gd name="connsiteX21" fmla="*/ 827984 w 1551177"/>
                  <a:gd name="connsiteY21" fmla="*/ 1379555 h 1522526"/>
                  <a:gd name="connsiteX22" fmla="*/ 947047 w 1551177"/>
                  <a:gd name="connsiteY22" fmla="*/ 1243823 h 1522526"/>
                  <a:gd name="connsiteX23" fmla="*/ 1056956 w 1551177"/>
                  <a:gd name="connsiteY23" fmla="*/ 998817 h 1522526"/>
                  <a:gd name="connsiteX24" fmla="*/ 920169 w 1551177"/>
                  <a:gd name="connsiteY24" fmla="*/ 852696 h 1522526"/>
                  <a:gd name="connsiteX25" fmla="*/ 915673 w 1551177"/>
                  <a:gd name="connsiteY25" fmla="*/ 923321 h 1522526"/>
                  <a:gd name="connsiteX26" fmla="*/ 1023831 w 1551177"/>
                  <a:gd name="connsiteY26" fmla="*/ 978198 h 1522526"/>
                  <a:gd name="connsiteX27" fmla="*/ 949428 w 1551177"/>
                  <a:gd name="connsiteY27" fmla="*/ 1177148 h 1522526"/>
                  <a:gd name="connsiteX28" fmla="*/ 811316 w 1551177"/>
                  <a:gd name="connsiteY28" fmla="*/ 1341455 h 1522526"/>
                  <a:gd name="connsiteX29" fmla="*/ 620816 w 1551177"/>
                  <a:gd name="connsiteY29" fmla="*/ 1191436 h 1522526"/>
                  <a:gd name="connsiteX30" fmla="*/ 503904 w 1551177"/>
                  <a:gd name="connsiteY30" fmla="*/ 1004825 h 1522526"/>
                  <a:gd name="connsiteX31" fmla="*/ 615927 w 1551177"/>
                  <a:gd name="connsiteY31" fmla="*/ 931359 h 1522526"/>
                  <a:gd name="connsiteX32" fmla="*/ 614495 w 1551177"/>
                  <a:gd name="connsiteY32" fmla="*/ 858311 h 1522526"/>
                  <a:gd name="connsiteX33" fmla="*/ 685110 w 1551177"/>
                  <a:gd name="connsiteY33" fmla="*/ 900922 h 1522526"/>
                  <a:gd name="connsiteX34" fmla="*/ 792267 w 1551177"/>
                  <a:gd name="connsiteY34" fmla="*/ 915210 h 1522526"/>
                  <a:gd name="connsiteX35" fmla="*/ 885135 w 1551177"/>
                  <a:gd name="connsiteY35" fmla="*/ 874729 h 1522526"/>
                  <a:gd name="connsiteX36" fmla="*/ 920169 w 1551177"/>
                  <a:gd name="connsiteY36" fmla="*/ 852696 h 1522526"/>
                  <a:gd name="connsiteX37" fmla="*/ 1105758 w 1551177"/>
                  <a:gd name="connsiteY37" fmla="*/ 314309 h 1522526"/>
                  <a:gd name="connsiteX38" fmla="*/ 1112130 w 1551177"/>
                  <a:gd name="connsiteY38" fmla="*/ 320855 h 1522526"/>
                  <a:gd name="connsiteX39" fmla="*/ 1138920 w 1551177"/>
                  <a:gd name="connsiteY39" fmla="*/ 428013 h 1522526"/>
                  <a:gd name="connsiteX40" fmla="*/ 1165709 w 1551177"/>
                  <a:gd name="connsiteY40" fmla="*/ 569403 h 1522526"/>
                  <a:gd name="connsiteX41" fmla="*/ 1174639 w 1551177"/>
                  <a:gd name="connsiteY41" fmla="*/ 704839 h 1522526"/>
                  <a:gd name="connsiteX42" fmla="*/ 1171662 w 1551177"/>
                  <a:gd name="connsiteY42" fmla="*/ 789672 h 1522526"/>
                  <a:gd name="connsiteX43" fmla="*/ 1146361 w 1551177"/>
                  <a:gd name="connsiteY43" fmla="*/ 850693 h 1522526"/>
                  <a:gd name="connsiteX44" fmla="*/ 1100223 w 1551177"/>
                  <a:gd name="connsiteY44" fmla="*/ 859623 h 1522526"/>
                  <a:gd name="connsiteX45" fmla="*/ 1027296 w 1551177"/>
                  <a:gd name="connsiteY45" fmla="*/ 853670 h 1522526"/>
                  <a:gd name="connsiteX46" fmla="*/ 972229 w 1551177"/>
                  <a:gd name="connsiteY46" fmla="*/ 834322 h 1522526"/>
                  <a:gd name="connsiteX47" fmla="*/ 979670 w 1551177"/>
                  <a:gd name="connsiteY47" fmla="*/ 813485 h 1522526"/>
                  <a:gd name="connsiteX48" fmla="*/ 1009436 w 1551177"/>
                  <a:gd name="connsiteY48" fmla="*/ 773301 h 1522526"/>
                  <a:gd name="connsiteX49" fmla="*/ 1037715 w 1551177"/>
                  <a:gd name="connsiteY49" fmla="*/ 704839 h 1522526"/>
                  <a:gd name="connsiteX50" fmla="*/ 1043668 w 1551177"/>
                  <a:gd name="connsiteY50" fmla="*/ 675072 h 1522526"/>
                  <a:gd name="connsiteX51" fmla="*/ 1061527 w 1551177"/>
                  <a:gd name="connsiteY51" fmla="*/ 655725 h 1522526"/>
                  <a:gd name="connsiteX52" fmla="*/ 1086829 w 1551177"/>
                  <a:gd name="connsiteY52" fmla="*/ 579821 h 1522526"/>
                  <a:gd name="connsiteX53" fmla="*/ 1104688 w 1551177"/>
                  <a:gd name="connsiteY53" fmla="*/ 499452 h 1522526"/>
                  <a:gd name="connsiteX54" fmla="*/ 1106177 w 1551177"/>
                  <a:gd name="connsiteY54" fmla="*/ 463733 h 1522526"/>
                  <a:gd name="connsiteX55" fmla="*/ 1089805 w 1551177"/>
                  <a:gd name="connsiteY55" fmla="*/ 430990 h 1522526"/>
                  <a:gd name="connsiteX56" fmla="*/ 1073434 w 1551177"/>
                  <a:gd name="connsiteY56" fmla="*/ 416107 h 1522526"/>
                  <a:gd name="connsiteX57" fmla="*/ 1070457 w 1551177"/>
                  <a:gd name="connsiteY57" fmla="*/ 386340 h 1522526"/>
                  <a:gd name="connsiteX58" fmla="*/ 1073434 w 1551177"/>
                  <a:gd name="connsiteY58" fmla="*/ 350621 h 1522526"/>
                  <a:gd name="connsiteX59" fmla="*/ 1088317 w 1551177"/>
                  <a:gd name="connsiteY59" fmla="*/ 328297 h 1522526"/>
                  <a:gd name="connsiteX60" fmla="*/ 1105758 w 1551177"/>
                  <a:gd name="connsiteY60" fmla="*/ 314309 h 1522526"/>
                  <a:gd name="connsiteX61" fmla="*/ 680349 w 1551177"/>
                  <a:gd name="connsiteY61" fmla="*/ 96060 h 1522526"/>
                  <a:gd name="connsiteX62" fmla="*/ 573193 w 1551177"/>
                  <a:gd name="connsiteY62" fmla="*/ 431816 h 1522526"/>
                  <a:gd name="connsiteX63" fmla="*/ 718449 w 1551177"/>
                  <a:gd name="connsiteY63" fmla="*/ 184165 h 1522526"/>
                  <a:gd name="connsiteX64" fmla="*/ 680349 w 1551177"/>
                  <a:gd name="connsiteY64" fmla="*/ 96060 h 1522526"/>
                  <a:gd name="connsiteX65" fmla="*/ 715867 w 1551177"/>
                  <a:gd name="connsiteY65" fmla="*/ 0 h 1522526"/>
                  <a:gd name="connsiteX66" fmla="*/ 760392 w 1551177"/>
                  <a:gd name="connsiteY66" fmla="*/ 372 h 1522526"/>
                  <a:gd name="connsiteX67" fmla="*/ 821909 w 1551177"/>
                  <a:gd name="connsiteY67" fmla="*/ 6326 h 1522526"/>
                  <a:gd name="connsiteX68" fmla="*/ 893348 w 1551177"/>
                  <a:gd name="connsiteY68" fmla="*/ 38076 h 1522526"/>
                  <a:gd name="connsiteX69" fmla="*/ 974709 w 1551177"/>
                  <a:gd name="connsiteY69" fmla="*/ 103562 h 1522526"/>
                  <a:gd name="connsiteX70" fmla="*/ 1069961 w 1551177"/>
                  <a:gd name="connsiteY70" fmla="*/ 216673 h 1522526"/>
                  <a:gd name="connsiteX71" fmla="*/ 1105680 w 1551177"/>
                  <a:gd name="connsiteY71" fmla="*/ 276206 h 1522526"/>
                  <a:gd name="connsiteX72" fmla="*/ 1089805 w 1551177"/>
                  <a:gd name="connsiteY72" fmla="*/ 313909 h 1522526"/>
                  <a:gd name="connsiteX73" fmla="*/ 1056070 w 1551177"/>
                  <a:gd name="connsiteY73" fmla="*/ 331769 h 1522526"/>
                  <a:gd name="connsiteX74" fmla="*/ 1032257 w 1551177"/>
                  <a:gd name="connsiteY74" fmla="*/ 311925 h 1522526"/>
                  <a:gd name="connsiteX75" fmla="*/ 978678 w 1551177"/>
                  <a:gd name="connsiteY75" fmla="*/ 256361 h 1522526"/>
                  <a:gd name="connsiteX76" fmla="*/ 883426 w 1551177"/>
                  <a:gd name="connsiteY76" fmla="*/ 210720 h 1522526"/>
                  <a:gd name="connsiteX77" fmla="*/ 780237 w 1551177"/>
                  <a:gd name="connsiteY77" fmla="*/ 210720 h 1522526"/>
                  <a:gd name="connsiteX78" fmla="*/ 914608 w 1551177"/>
                  <a:gd name="connsiteY78" fmla="*/ 240487 h 1522526"/>
                  <a:gd name="connsiteX79" fmla="*/ 980094 w 1551177"/>
                  <a:gd name="connsiteY79" fmla="*/ 279721 h 1522526"/>
                  <a:gd name="connsiteX80" fmla="*/ 1042260 w 1551177"/>
                  <a:gd name="connsiteY80" fmla="*/ 344718 h 1522526"/>
                  <a:gd name="connsiteX81" fmla="*/ 1033443 w 1551177"/>
                  <a:gd name="connsiteY81" fmla="*/ 378896 h 1522526"/>
                  <a:gd name="connsiteX82" fmla="*/ 1033443 w 1551177"/>
                  <a:gd name="connsiteY82" fmla="*/ 451651 h 1522526"/>
                  <a:gd name="connsiteX83" fmla="*/ 1067479 w 1551177"/>
                  <a:gd name="connsiteY83" fmla="*/ 478628 h 1522526"/>
                  <a:gd name="connsiteX84" fmla="*/ 1031223 w 1551177"/>
                  <a:gd name="connsiteY84" fmla="*/ 638035 h 1522526"/>
                  <a:gd name="connsiteX85" fmla="*/ 1010506 w 1551177"/>
                  <a:gd name="connsiteY85" fmla="*/ 651932 h 1522526"/>
                  <a:gd name="connsiteX86" fmla="*/ 902635 w 1551177"/>
                  <a:gd name="connsiteY86" fmla="*/ 831290 h 1522526"/>
                  <a:gd name="connsiteX87" fmla="*/ 813698 w 1551177"/>
                  <a:gd name="connsiteY87" fmla="*/ 893779 h 1522526"/>
                  <a:gd name="connsiteX88" fmla="*/ 727973 w 1551177"/>
                  <a:gd name="connsiteY88" fmla="*/ 893779 h 1522526"/>
                  <a:gd name="connsiteX89" fmla="*/ 606912 w 1551177"/>
                  <a:gd name="connsiteY89" fmla="*/ 821966 h 1522526"/>
                  <a:gd name="connsiteX90" fmla="*/ 514773 w 1551177"/>
                  <a:gd name="connsiteY90" fmla="*/ 643758 h 1522526"/>
                  <a:gd name="connsiteX91" fmla="*/ 454102 w 1551177"/>
                  <a:gd name="connsiteY91" fmla="*/ 503970 h 1522526"/>
                  <a:gd name="connsiteX92" fmla="*/ 477778 w 1551177"/>
                  <a:gd name="connsiteY92" fmla="*/ 464730 h 1522526"/>
                  <a:gd name="connsiteX93" fmla="*/ 466964 w 1551177"/>
                  <a:gd name="connsiteY93" fmla="*/ 399317 h 1522526"/>
                  <a:gd name="connsiteX94" fmla="*/ 440902 w 1551177"/>
                  <a:gd name="connsiteY94" fmla="*/ 419083 h 1522526"/>
                  <a:gd name="connsiteX95" fmla="*/ 425027 w 1551177"/>
                  <a:gd name="connsiteY95" fmla="*/ 438927 h 1522526"/>
                  <a:gd name="connsiteX96" fmla="*/ 411136 w 1551177"/>
                  <a:gd name="connsiteY96" fmla="*/ 476631 h 1522526"/>
                  <a:gd name="connsiteX97" fmla="*/ 417089 w 1551177"/>
                  <a:gd name="connsiteY97" fmla="*/ 514335 h 1522526"/>
                  <a:gd name="connsiteX98" fmla="*/ 427011 w 1551177"/>
                  <a:gd name="connsiteY98" fmla="*/ 571883 h 1522526"/>
                  <a:gd name="connsiteX99" fmla="*/ 450824 w 1551177"/>
                  <a:gd name="connsiteY99" fmla="*/ 665150 h 1522526"/>
                  <a:gd name="connsiteX100" fmla="*/ 476621 w 1551177"/>
                  <a:gd name="connsiteY100" fmla="*/ 686979 h 1522526"/>
                  <a:gd name="connsiteX101" fmla="*/ 492497 w 1551177"/>
                  <a:gd name="connsiteY101" fmla="*/ 728652 h 1522526"/>
                  <a:gd name="connsiteX102" fmla="*/ 530201 w 1551177"/>
                  <a:gd name="connsiteY102" fmla="*/ 802075 h 1522526"/>
                  <a:gd name="connsiteX103" fmla="*/ 546076 w 1551177"/>
                  <a:gd name="connsiteY103" fmla="*/ 847716 h 1522526"/>
                  <a:gd name="connsiteX104" fmla="*/ 502419 w 1551177"/>
                  <a:gd name="connsiteY104" fmla="*/ 859623 h 1522526"/>
                  <a:gd name="connsiteX105" fmla="*/ 438918 w 1551177"/>
                  <a:gd name="connsiteY105" fmla="*/ 867560 h 1522526"/>
                  <a:gd name="connsiteX106" fmla="*/ 381370 w 1551177"/>
                  <a:gd name="connsiteY106" fmla="*/ 853670 h 1522526"/>
                  <a:gd name="connsiteX107" fmla="*/ 355572 w 1551177"/>
                  <a:gd name="connsiteY107" fmla="*/ 810012 h 1522526"/>
                  <a:gd name="connsiteX108" fmla="*/ 343666 w 1551177"/>
                  <a:gd name="connsiteY108" fmla="*/ 732620 h 1522526"/>
                  <a:gd name="connsiteX109" fmla="*/ 347635 w 1551177"/>
                  <a:gd name="connsiteY109" fmla="*/ 631415 h 1522526"/>
                  <a:gd name="connsiteX110" fmla="*/ 379385 w 1551177"/>
                  <a:gd name="connsiteY110" fmla="*/ 415114 h 1522526"/>
                  <a:gd name="connsiteX111" fmla="*/ 452808 w 1551177"/>
                  <a:gd name="connsiteY111" fmla="*/ 194845 h 1522526"/>
                  <a:gd name="connsiteX112" fmla="*/ 514325 w 1551177"/>
                  <a:gd name="connsiteY112" fmla="*/ 93640 h 1522526"/>
                  <a:gd name="connsiteX113" fmla="*/ 573858 w 1551177"/>
                  <a:gd name="connsiteY113" fmla="*/ 44029 h 1522526"/>
                  <a:gd name="connsiteX114" fmla="*/ 627437 w 1551177"/>
                  <a:gd name="connsiteY114" fmla="*/ 36092 h 1522526"/>
                  <a:gd name="connsiteX115" fmla="*/ 673078 w 1551177"/>
                  <a:gd name="connsiteY115" fmla="*/ 4341 h 1522526"/>
                  <a:gd name="connsiteX116" fmla="*/ 715867 w 1551177"/>
                  <a:gd name="connsiteY116" fmla="*/ 0 h 1522526"/>
                  <a:gd name="connsiteX0" fmla="*/ 1057045 w 1551266"/>
                  <a:gd name="connsiteY0" fmla="*/ 998817 h 1522526"/>
                  <a:gd name="connsiteX1" fmla="*/ 1067570 w 1551266"/>
                  <a:gd name="connsiteY1" fmla="*/ 1002500 h 1522526"/>
                  <a:gd name="connsiteX2" fmla="*/ 1174728 w 1551266"/>
                  <a:gd name="connsiteY2" fmla="*/ 1036732 h 1522526"/>
                  <a:gd name="connsiteX3" fmla="*/ 1383984 w 1551266"/>
                  <a:gd name="connsiteY3" fmla="*/ 1106981 h 1522526"/>
                  <a:gd name="connsiteX4" fmla="*/ 1451552 w 1551266"/>
                  <a:gd name="connsiteY4" fmla="*/ 1185265 h 1522526"/>
                  <a:gd name="connsiteX5" fmla="*/ 1551266 w 1551266"/>
                  <a:gd name="connsiteY5" fmla="*/ 1448990 h 1522526"/>
                  <a:gd name="connsiteX6" fmla="*/ 1241109 w 1551266"/>
                  <a:gd name="connsiteY6" fmla="*/ 1493045 h 1522526"/>
                  <a:gd name="connsiteX7" fmla="*/ 1197054 w 1551266"/>
                  <a:gd name="connsiteY7" fmla="*/ 1439469 h 1522526"/>
                  <a:gd name="connsiteX8" fmla="*/ 1215210 w 1551266"/>
                  <a:gd name="connsiteY8" fmla="*/ 1492451 h 1522526"/>
                  <a:gd name="connsiteX9" fmla="*/ 331153 w 1551266"/>
                  <a:gd name="connsiteY9" fmla="*/ 1497214 h 1522526"/>
                  <a:gd name="connsiteX10" fmla="*/ 315002 w 1551266"/>
                  <a:gd name="connsiteY10" fmla="*/ 1492951 h 1522526"/>
                  <a:gd name="connsiteX11" fmla="*/ 337537 w 1551266"/>
                  <a:gd name="connsiteY11" fmla="*/ 1446229 h 1522526"/>
                  <a:gd name="connsiteX12" fmla="*/ 285149 w 1551266"/>
                  <a:gd name="connsiteY12" fmla="*/ 1493854 h 1522526"/>
                  <a:gd name="connsiteX13" fmla="*/ 454 w 1551266"/>
                  <a:gd name="connsiteY13" fmla="*/ 1482327 h 1522526"/>
                  <a:gd name="connsiteX14" fmla="*/ 80227 w 1551266"/>
                  <a:gd name="connsiteY14" fmla="*/ 1223961 h 1522526"/>
                  <a:gd name="connsiteX15" fmla="*/ 132912 w 1551266"/>
                  <a:gd name="connsiteY15" fmla="*/ 1150141 h 1522526"/>
                  <a:gd name="connsiteX16" fmla="*/ 217745 w 1551266"/>
                  <a:gd name="connsiteY16" fmla="*/ 1120077 h 1522526"/>
                  <a:gd name="connsiteX17" fmla="*/ 315973 w 1551266"/>
                  <a:gd name="connsiteY17" fmla="*/ 1078404 h 1522526"/>
                  <a:gd name="connsiteX18" fmla="*/ 440991 w 1551266"/>
                  <a:gd name="connsiteY18" fmla="*/ 1029290 h 1522526"/>
                  <a:gd name="connsiteX19" fmla="*/ 474559 w 1551266"/>
                  <a:gd name="connsiteY19" fmla="*/ 1016502 h 1522526"/>
                  <a:gd name="connsiteX20" fmla="*/ 656623 w 1551266"/>
                  <a:gd name="connsiteY20" fmla="*/ 1272398 h 1522526"/>
                  <a:gd name="connsiteX21" fmla="*/ 828073 w 1551266"/>
                  <a:gd name="connsiteY21" fmla="*/ 1379555 h 1522526"/>
                  <a:gd name="connsiteX22" fmla="*/ 947136 w 1551266"/>
                  <a:gd name="connsiteY22" fmla="*/ 1243823 h 1522526"/>
                  <a:gd name="connsiteX23" fmla="*/ 1057045 w 1551266"/>
                  <a:gd name="connsiteY23" fmla="*/ 998817 h 1522526"/>
                  <a:gd name="connsiteX24" fmla="*/ 920258 w 1551266"/>
                  <a:gd name="connsiteY24" fmla="*/ 852696 h 1522526"/>
                  <a:gd name="connsiteX25" fmla="*/ 915762 w 1551266"/>
                  <a:gd name="connsiteY25" fmla="*/ 923321 h 1522526"/>
                  <a:gd name="connsiteX26" fmla="*/ 1023920 w 1551266"/>
                  <a:gd name="connsiteY26" fmla="*/ 978198 h 1522526"/>
                  <a:gd name="connsiteX27" fmla="*/ 949517 w 1551266"/>
                  <a:gd name="connsiteY27" fmla="*/ 1177148 h 1522526"/>
                  <a:gd name="connsiteX28" fmla="*/ 811405 w 1551266"/>
                  <a:gd name="connsiteY28" fmla="*/ 1341455 h 1522526"/>
                  <a:gd name="connsiteX29" fmla="*/ 620905 w 1551266"/>
                  <a:gd name="connsiteY29" fmla="*/ 1191436 h 1522526"/>
                  <a:gd name="connsiteX30" fmla="*/ 503993 w 1551266"/>
                  <a:gd name="connsiteY30" fmla="*/ 1004825 h 1522526"/>
                  <a:gd name="connsiteX31" fmla="*/ 616016 w 1551266"/>
                  <a:gd name="connsiteY31" fmla="*/ 931359 h 1522526"/>
                  <a:gd name="connsiteX32" fmla="*/ 614584 w 1551266"/>
                  <a:gd name="connsiteY32" fmla="*/ 858311 h 1522526"/>
                  <a:gd name="connsiteX33" fmla="*/ 685199 w 1551266"/>
                  <a:gd name="connsiteY33" fmla="*/ 900922 h 1522526"/>
                  <a:gd name="connsiteX34" fmla="*/ 792356 w 1551266"/>
                  <a:gd name="connsiteY34" fmla="*/ 915210 h 1522526"/>
                  <a:gd name="connsiteX35" fmla="*/ 885224 w 1551266"/>
                  <a:gd name="connsiteY35" fmla="*/ 874729 h 1522526"/>
                  <a:gd name="connsiteX36" fmla="*/ 920258 w 1551266"/>
                  <a:gd name="connsiteY36" fmla="*/ 852696 h 1522526"/>
                  <a:gd name="connsiteX37" fmla="*/ 1105847 w 1551266"/>
                  <a:gd name="connsiteY37" fmla="*/ 314309 h 1522526"/>
                  <a:gd name="connsiteX38" fmla="*/ 1112219 w 1551266"/>
                  <a:gd name="connsiteY38" fmla="*/ 320855 h 1522526"/>
                  <a:gd name="connsiteX39" fmla="*/ 1139009 w 1551266"/>
                  <a:gd name="connsiteY39" fmla="*/ 428013 h 1522526"/>
                  <a:gd name="connsiteX40" fmla="*/ 1165798 w 1551266"/>
                  <a:gd name="connsiteY40" fmla="*/ 569403 h 1522526"/>
                  <a:gd name="connsiteX41" fmla="*/ 1174728 w 1551266"/>
                  <a:gd name="connsiteY41" fmla="*/ 704839 h 1522526"/>
                  <a:gd name="connsiteX42" fmla="*/ 1171751 w 1551266"/>
                  <a:gd name="connsiteY42" fmla="*/ 789672 h 1522526"/>
                  <a:gd name="connsiteX43" fmla="*/ 1146450 w 1551266"/>
                  <a:gd name="connsiteY43" fmla="*/ 850693 h 1522526"/>
                  <a:gd name="connsiteX44" fmla="*/ 1100312 w 1551266"/>
                  <a:gd name="connsiteY44" fmla="*/ 859623 h 1522526"/>
                  <a:gd name="connsiteX45" fmla="*/ 1027385 w 1551266"/>
                  <a:gd name="connsiteY45" fmla="*/ 853670 h 1522526"/>
                  <a:gd name="connsiteX46" fmla="*/ 972318 w 1551266"/>
                  <a:gd name="connsiteY46" fmla="*/ 834322 h 1522526"/>
                  <a:gd name="connsiteX47" fmla="*/ 979759 w 1551266"/>
                  <a:gd name="connsiteY47" fmla="*/ 813485 h 1522526"/>
                  <a:gd name="connsiteX48" fmla="*/ 1009525 w 1551266"/>
                  <a:gd name="connsiteY48" fmla="*/ 773301 h 1522526"/>
                  <a:gd name="connsiteX49" fmla="*/ 1037804 w 1551266"/>
                  <a:gd name="connsiteY49" fmla="*/ 704839 h 1522526"/>
                  <a:gd name="connsiteX50" fmla="*/ 1043757 w 1551266"/>
                  <a:gd name="connsiteY50" fmla="*/ 675072 h 1522526"/>
                  <a:gd name="connsiteX51" fmla="*/ 1061616 w 1551266"/>
                  <a:gd name="connsiteY51" fmla="*/ 655725 h 1522526"/>
                  <a:gd name="connsiteX52" fmla="*/ 1086918 w 1551266"/>
                  <a:gd name="connsiteY52" fmla="*/ 579821 h 1522526"/>
                  <a:gd name="connsiteX53" fmla="*/ 1104777 w 1551266"/>
                  <a:gd name="connsiteY53" fmla="*/ 499452 h 1522526"/>
                  <a:gd name="connsiteX54" fmla="*/ 1106266 w 1551266"/>
                  <a:gd name="connsiteY54" fmla="*/ 463733 h 1522526"/>
                  <a:gd name="connsiteX55" fmla="*/ 1089894 w 1551266"/>
                  <a:gd name="connsiteY55" fmla="*/ 430990 h 1522526"/>
                  <a:gd name="connsiteX56" fmla="*/ 1073523 w 1551266"/>
                  <a:gd name="connsiteY56" fmla="*/ 416107 h 1522526"/>
                  <a:gd name="connsiteX57" fmla="*/ 1070546 w 1551266"/>
                  <a:gd name="connsiteY57" fmla="*/ 386340 h 1522526"/>
                  <a:gd name="connsiteX58" fmla="*/ 1073523 w 1551266"/>
                  <a:gd name="connsiteY58" fmla="*/ 350621 h 1522526"/>
                  <a:gd name="connsiteX59" fmla="*/ 1088406 w 1551266"/>
                  <a:gd name="connsiteY59" fmla="*/ 328297 h 1522526"/>
                  <a:gd name="connsiteX60" fmla="*/ 1105847 w 1551266"/>
                  <a:gd name="connsiteY60" fmla="*/ 314309 h 1522526"/>
                  <a:gd name="connsiteX61" fmla="*/ 680438 w 1551266"/>
                  <a:gd name="connsiteY61" fmla="*/ 96060 h 1522526"/>
                  <a:gd name="connsiteX62" fmla="*/ 573282 w 1551266"/>
                  <a:gd name="connsiteY62" fmla="*/ 431816 h 1522526"/>
                  <a:gd name="connsiteX63" fmla="*/ 718538 w 1551266"/>
                  <a:gd name="connsiteY63" fmla="*/ 184165 h 1522526"/>
                  <a:gd name="connsiteX64" fmla="*/ 680438 w 1551266"/>
                  <a:gd name="connsiteY64" fmla="*/ 96060 h 1522526"/>
                  <a:gd name="connsiteX65" fmla="*/ 715956 w 1551266"/>
                  <a:gd name="connsiteY65" fmla="*/ 0 h 1522526"/>
                  <a:gd name="connsiteX66" fmla="*/ 760481 w 1551266"/>
                  <a:gd name="connsiteY66" fmla="*/ 372 h 1522526"/>
                  <a:gd name="connsiteX67" fmla="*/ 821998 w 1551266"/>
                  <a:gd name="connsiteY67" fmla="*/ 6326 h 1522526"/>
                  <a:gd name="connsiteX68" fmla="*/ 893437 w 1551266"/>
                  <a:gd name="connsiteY68" fmla="*/ 38076 h 1522526"/>
                  <a:gd name="connsiteX69" fmla="*/ 974798 w 1551266"/>
                  <a:gd name="connsiteY69" fmla="*/ 103562 h 1522526"/>
                  <a:gd name="connsiteX70" fmla="*/ 1070050 w 1551266"/>
                  <a:gd name="connsiteY70" fmla="*/ 216673 h 1522526"/>
                  <a:gd name="connsiteX71" fmla="*/ 1105769 w 1551266"/>
                  <a:gd name="connsiteY71" fmla="*/ 276206 h 1522526"/>
                  <a:gd name="connsiteX72" fmla="*/ 1089894 w 1551266"/>
                  <a:gd name="connsiteY72" fmla="*/ 313909 h 1522526"/>
                  <a:gd name="connsiteX73" fmla="*/ 1056159 w 1551266"/>
                  <a:gd name="connsiteY73" fmla="*/ 331769 h 1522526"/>
                  <a:gd name="connsiteX74" fmla="*/ 1032346 w 1551266"/>
                  <a:gd name="connsiteY74" fmla="*/ 311925 h 1522526"/>
                  <a:gd name="connsiteX75" fmla="*/ 978767 w 1551266"/>
                  <a:gd name="connsiteY75" fmla="*/ 256361 h 1522526"/>
                  <a:gd name="connsiteX76" fmla="*/ 883515 w 1551266"/>
                  <a:gd name="connsiteY76" fmla="*/ 210720 h 1522526"/>
                  <a:gd name="connsiteX77" fmla="*/ 780326 w 1551266"/>
                  <a:gd name="connsiteY77" fmla="*/ 210720 h 1522526"/>
                  <a:gd name="connsiteX78" fmla="*/ 914697 w 1551266"/>
                  <a:gd name="connsiteY78" fmla="*/ 240487 h 1522526"/>
                  <a:gd name="connsiteX79" fmla="*/ 980183 w 1551266"/>
                  <a:gd name="connsiteY79" fmla="*/ 279721 h 1522526"/>
                  <a:gd name="connsiteX80" fmla="*/ 1042349 w 1551266"/>
                  <a:gd name="connsiteY80" fmla="*/ 344718 h 1522526"/>
                  <a:gd name="connsiteX81" fmla="*/ 1033532 w 1551266"/>
                  <a:gd name="connsiteY81" fmla="*/ 378896 h 1522526"/>
                  <a:gd name="connsiteX82" fmla="*/ 1033532 w 1551266"/>
                  <a:gd name="connsiteY82" fmla="*/ 451651 h 1522526"/>
                  <a:gd name="connsiteX83" fmla="*/ 1067568 w 1551266"/>
                  <a:gd name="connsiteY83" fmla="*/ 478628 h 1522526"/>
                  <a:gd name="connsiteX84" fmla="*/ 1031312 w 1551266"/>
                  <a:gd name="connsiteY84" fmla="*/ 638035 h 1522526"/>
                  <a:gd name="connsiteX85" fmla="*/ 1010595 w 1551266"/>
                  <a:gd name="connsiteY85" fmla="*/ 651932 h 1522526"/>
                  <a:gd name="connsiteX86" fmla="*/ 902724 w 1551266"/>
                  <a:gd name="connsiteY86" fmla="*/ 831290 h 1522526"/>
                  <a:gd name="connsiteX87" fmla="*/ 813787 w 1551266"/>
                  <a:gd name="connsiteY87" fmla="*/ 893779 h 1522526"/>
                  <a:gd name="connsiteX88" fmla="*/ 728062 w 1551266"/>
                  <a:gd name="connsiteY88" fmla="*/ 893779 h 1522526"/>
                  <a:gd name="connsiteX89" fmla="*/ 607001 w 1551266"/>
                  <a:gd name="connsiteY89" fmla="*/ 821966 h 1522526"/>
                  <a:gd name="connsiteX90" fmla="*/ 514862 w 1551266"/>
                  <a:gd name="connsiteY90" fmla="*/ 643758 h 1522526"/>
                  <a:gd name="connsiteX91" fmla="*/ 454191 w 1551266"/>
                  <a:gd name="connsiteY91" fmla="*/ 503970 h 1522526"/>
                  <a:gd name="connsiteX92" fmla="*/ 477867 w 1551266"/>
                  <a:gd name="connsiteY92" fmla="*/ 464730 h 1522526"/>
                  <a:gd name="connsiteX93" fmla="*/ 467053 w 1551266"/>
                  <a:gd name="connsiteY93" fmla="*/ 399317 h 1522526"/>
                  <a:gd name="connsiteX94" fmla="*/ 440991 w 1551266"/>
                  <a:gd name="connsiteY94" fmla="*/ 419083 h 1522526"/>
                  <a:gd name="connsiteX95" fmla="*/ 425116 w 1551266"/>
                  <a:gd name="connsiteY95" fmla="*/ 438927 h 1522526"/>
                  <a:gd name="connsiteX96" fmla="*/ 411225 w 1551266"/>
                  <a:gd name="connsiteY96" fmla="*/ 476631 h 1522526"/>
                  <a:gd name="connsiteX97" fmla="*/ 417178 w 1551266"/>
                  <a:gd name="connsiteY97" fmla="*/ 514335 h 1522526"/>
                  <a:gd name="connsiteX98" fmla="*/ 427100 w 1551266"/>
                  <a:gd name="connsiteY98" fmla="*/ 571883 h 1522526"/>
                  <a:gd name="connsiteX99" fmla="*/ 450913 w 1551266"/>
                  <a:gd name="connsiteY99" fmla="*/ 665150 h 1522526"/>
                  <a:gd name="connsiteX100" fmla="*/ 476710 w 1551266"/>
                  <a:gd name="connsiteY100" fmla="*/ 686979 h 1522526"/>
                  <a:gd name="connsiteX101" fmla="*/ 492586 w 1551266"/>
                  <a:gd name="connsiteY101" fmla="*/ 728652 h 1522526"/>
                  <a:gd name="connsiteX102" fmla="*/ 530290 w 1551266"/>
                  <a:gd name="connsiteY102" fmla="*/ 802075 h 1522526"/>
                  <a:gd name="connsiteX103" fmla="*/ 546165 w 1551266"/>
                  <a:gd name="connsiteY103" fmla="*/ 847716 h 1522526"/>
                  <a:gd name="connsiteX104" fmla="*/ 502508 w 1551266"/>
                  <a:gd name="connsiteY104" fmla="*/ 859623 h 1522526"/>
                  <a:gd name="connsiteX105" fmla="*/ 439007 w 1551266"/>
                  <a:gd name="connsiteY105" fmla="*/ 867560 h 1522526"/>
                  <a:gd name="connsiteX106" fmla="*/ 381459 w 1551266"/>
                  <a:gd name="connsiteY106" fmla="*/ 853670 h 1522526"/>
                  <a:gd name="connsiteX107" fmla="*/ 355661 w 1551266"/>
                  <a:gd name="connsiteY107" fmla="*/ 810012 h 1522526"/>
                  <a:gd name="connsiteX108" fmla="*/ 343755 w 1551266"/>
                  <a:gd name="connsiteY108" fmla="*/ 732620 h 1522526"/>
                  <a:gd name="connsiteX109" fmla="*/ 347724 w 1551266"/>
                  <a:gd name="connsiteY109" fmla="*/ 631415 h 1522526"/>
                  <a:gd name="connsiteX110" fmla="*/ 379474 w 1551266"/>
                  <a:gd name="connsiteY110" fmla="*/ 415114 h 1522526"/>
                  <a:gd name="connsiteX111" fmla="*/ 452897 w 1551266"/>
                  <a:gd name="connsiteY111" fmla="*/ 194845 h 1522526"/>
                  <a:gd name="connsiteX112" fmla="*/ 514414 w 1551266"/>
                  <a:gd name="connsiteY112" fmla="*/ 93640 h 1522526"/>
                  <a:gd name="connsiteX113" fmla="*/ 573947 w 1551266"/>
                  <a:gd name="connsiteY113" fmla="*/ 44029 h 1522526"/>
                  <a:gd name="connsiteX114" fmla="*/ 627526 w 1551266"/>
                  <a:gd name="connsiteY114" fmla="*/ 36092 h 1522526"/>
                  <a:gd name="connsiteX115" fmla="*/ 673167 w 1551266"/>
                  <a:gd name="connsiteY115" fmla="*/ 4341 h 1522526"/>
                  <a:gd name="connsiteX116" fmla="*/ 715956 w 1551266"/>
                  <a:gd name="connsiteY116" fmla="*/ 0 h 1522526"/>
                  <a:gd name="connsiteX0" fmla="*/ 1057045 w 1551266"/>
                  <a:gd name="connsiteY0" fmla="*/ 998817 h 1522526"/>
                  <a:gd name="connsiteX1" fmla="*/ 1067570 w 1551266"/>
                  <a:gd name="connsiteY1" fmla="*/ 1002500 h 1522526"/>
                  <a:gd name="connsiteX2" fmla="*/ 1174728 w 1551266"/>
                  <a:gd name="connsiteY2" fmla="*/ 1036732 h 1522526"/>
                  <a:gd name="connsiteX3" fmla="*/ 1383984 w 1551266"/>
                  <a:gd name="connsiteY3" fmla="*/ 1106981 h 1522526"/>
                  <a:gd name="connsiteX4" fmla="*/ 1451552 w 1551266"/>
                  <a:gd name="connsiteY4" fmla="*/ 1185265 h 1522526"/>
                  <a:gd name="connsiteX5" fmla="*/ 1551266 w 1551266"/>
                  <a:gd name="connsiteY5" fmla="*/ 1448990 h 1522526"/>
                  <a:gd name="connsiteX6" fmla="*/ 1241109 w 1551266"/>
                  <a:gd name="connsiteY6" fmla="*/ 1493045 h 1522526"/>
                  <a:gd name="connsiteX7" fmla="*/ 1197054 w 1551266"/>
                  <a:gd name="connsiteY7" fmla="*/ 1439469 h 1522526"/>
                  <a:gd name="connsiteX8" fmla="*/ 1215210 w 1551266"/>
                  <a:gd name="connsiteY8" fmla="*/ 1492451 h 1522526"/>
                  <a:gd name="connsiteX9" fmla="*/ 331153 w 1551266"/>
                  <a:gd name="connsiteY9" fmla="*/ 1497214 h 1522526"/>
                  <a:gd name="connsiteX10" fmla="*/ 315002 w 1551266"/>
                  <a:gd name="connsiteY10" fmla="*/ 1492951 h 1522526"/>
                  <a:gd name="connsiteX11" fmla="*/ 337537 w 1551266"/>
                  <a:gd name="connsiteY11" fmla="*/ 1446229 h 1522526"/>
                  <a:gd name="connsiteX12" fmla="*/ 285149 w 1551266"/>
                  <a:gd name="connsiteY12" fmla="*/ 1493854 h 1522526"/>
                  <a:gd name="connsiteX13" fmla="*/ 454 w 1551266"/>
                  <a:gd name="connsiteY13" fmla="*/ 1482327 h 1522526"/>
                  <a:gd name="connsiteX14" fmla="*/ 80227 w 1551266"/>
                  <a:gd name="connsiteY14" fmla="*/ 1223961 h 1522526"/>
                  <a:gd name="connsiteX15" fmla="*/ 132912 w 1551266"/>
                  <a:gd name="connsiteY15" fmla="*/ 1150141 h 1522526"/>
                  <a:gd name="connsiteX16" fmla="*/ 222508 w 1551266"/>
                  <a:gd name="connsiteY16" fmla="*/ 1108171 h 1522526"/>
                  <a:gd name="connsiteX17" fmla="*/ 315973 w 1551266"/>
                  <a:gd name="connsiteY17" fmla="*/ 1078404 h 1522526"/>
                  <a:gd name="connsiteX18" fmla="*/ 440991 w 1551266"/>
                  <a:gd name="connsiteY18" fmla="*/ 1029290 h 1522526"/>
                  <a:gd name="connsiteX19" fmla="*/ 474559 w 1551266"/>
                  <a:gd name="connsiteY19" fmla="*/ 1016502 h 1522526"/>
                  <a:gd name="connsiteX20" fmla="*/ 656623 w 1551266"/>
                  <a:gd name="connsiteY20" fmla="*/ 1272398 h 1522526"/>
                  <a:gd name="connsiteX21" fmla="*/ 828073 w 1551266"/>
                  <a:gd name="connsiteY21" fmla="*/ 1379555 h 1522526"/>
                  <a:gd name="connsiteX22" fmla="*/ 947136 w 1551266"/>
                  <a:gd name="connsiteY22" fmla="*/ 1243823 h 1522526"/>
                  <a:gd name="connsiteX23" fmla="*/ 1057045 w 1551266"/>
                  <a:gd name="connsiteY23" fmla="*/ 998817 h 1522526"/>
                  <a:gd name="connsiteX24" fmla="*/ 920258 w 1551266"/>
                  <a:gd name="connsiteY24" fmla="*/ 852696 h 1522526"/>
                  <a:gd name="connsiteX25" fmla="*/ 915762 w 1551266"/>
                  <a:gd name="connsiteY25" fmla="*/ 923321 h 1522526"/>
                  <a:gd name="connsiteX26" fmla="*/ 1023920 w 1551266"/>
                  <a:gd name="connsiteY26" fmla="*/ 978198 h 1522526"/>
                  <a:gd name="connsiteX27" fmla="*/ 949517 w 1551266"/>
                  <a:gd name="connsiteY27" fmla="*/ 1177148 h 1522526"/>
                  <a:gd name="connsiteX28" fmla="*/ 811405 w 1551266"/>
                  <a:gd name="connsiteY28" fmla="*/ 1341455 h 1522526"/>
                  <a:gd name="connsiteX29" fmla="*/ 620905 w 1551266"/>
                  <a:gd name="connsiteY29" fmla="*/ 1191436 h 1522526"/>
                  <a:gd name="connsiteX30" fmla="*/ 503993 w 1551266"/>
                  <a:gd name="connsiteY30" fmla="*/ 1004825 h 1522526"/>
                  <a:gd name="connsiteX31" fmla="*/ 616016 w 1551266"/>
                  <a:gd name="connsiteY31" fmla="*/ 931359 h 1522526"/>
                  <a:gd name="connsiteX32" fmla="*/ 614584 w 1551266"/>
                  <a:gd name="connsiteY32" fmla="*/ 858311 h 1522526"/>
                  <a:gd name="connsiteX33" fmla="*/ 685199 w 1551266"/>
                  <a:gd name="connsiteY33" fmla="*/ 900922 h 1522526"/>
                  <a:gd name="connsiteX34" fmla="*/ 792356 w 1551266"/>
                  <a:gd name="connsiteY34" fmla="*/ 915210 h 1522526"/>
                  <a:gd name="connsiteX35" fmla="*/ 885224 w 1551266"/>
                  <a:gd name="connsiteY35" fmla="*/ 874729 h 1522526"/>
                  <a:gd name="connsiteX36" fmla="*/ 920258 w 1551266"/>
                  <a:gd name="connsiteY36" fmla="*/ 852696 h 1522526"/>
                  <a:gd name="connsiteX37" fmla="*/ 1105847 w 1551266"/>
                  <a:gd name="connsiteY37" fmla="*/ 314309 h 1522526"/>
                  <a:gd name="connsiteX38" fmla="*/ 1112219 w 1551266"/>
                  <a:gd name="connsiteY38" fmla="*/ 320855 h 1522526"/>
                  <a:gd name="connsiteX39" fmla="*/ 1139009 w 1551266"/>
                  <a:gd name="connsiteY39" fmla="*/ 428013 h 1522526"/>
                  <a:gd name="connsiteX40" fmla="*/ 1165798 w 1551266"/>
                  <a:gd name="connsiteY40" fmla="*/ 569403 h 1522526"/>
                  <a:gd name="connsiteX41" fmla="*/ 1174728 w 1551266"/>
                  <a:gd name="connsiteY41" fmla="*/ 704839 h 1522526"/>
                  <a:gd name="connsiteX42" fmla="*/ 1171751 w 1551266"/>
                  <a:gd name="connsiteY42" fmla="*/ 789672 h 1522526"/>
                  <a:gd name="connsiteX43" fmla="*/ 1146450 w 1551266"/>
                  <a:gd name="connsiteY43" fmla="*/ 850693 h 1522526"/>
                  <a:gd name="connsiteX44" fmla="*/ 1100312 w 1551266"/>
                  <a:gd name="connsiteY44" fmla="*/ 859623 h 1522526"/>
                  <a:gd name="connsiteX45" fmla="*/ 1027385 w 1551266"/>
                  <a:gd name="connsiteY45" fmla="*/ 853670 h 1522526"/>
                  <a:gd name="connsiteX46" fmla="*/ 972318 w 1551266"/>
                  <a:gd name="connsiteY46" fmla="*/ 834322 h 1522526"/>
                  <a:gd name="connsiteX47" fmla="*/ 979759 w 1551266"/>
                  <a:gd name="connsiteY47" fmla="*/ 813485 h 1522526"/>
                  <a:gd name="connsiteX48" fmla="*/ 1009525 w 1551266"/>
                  <a:gd name="connsiteY48" fmla="*/ 773301 h 1522526"/>
                  <a:gd name="connsiteX49" fmla="*/ 1037804 w 1551266"/>
                  <a:gd name="connsiteY49" fmla="*/ 704839 h 1522526"/>
                  <a:gd name="connsiteX50" fmla="*/ 1043757 w 1551266"/>
                  <a:gd name="connsiteY50" fmla="*/ 675072 h 1522526"/>
                  <a:gd name="connsiteX51" fmla="*/ 1061616 w 1551266"/>
                  <a:gd name="connsiteY51" fmla="*/ 655725 h 1522526"/>
                  <a:gd name="connsiteX52" fmla="*/ 1086918 w 1551266"/>
                  <a:gd name="connsiteY52" fmla="*/ 579821 h 1522526"/>
                  <a:gd name="connsiteX53" fmla="*/ 1104777 w 1551266"/>
                  <a:gd name="connsiteY53" fmla="*/ 499452 h 1522526"/>
                  <a:gd name="connsiteX54" fmla="*/ 1106266 w 1551266"/>
                  <a:gd name="connsiteY54" fmla="*/ 463733 h 1522526"/>
                  <a:gd name="connsiteX55" fmla="*/ 1089894 w 1551266"/>
                  <a:gd name="connsiteY55" fmla="*/ 430990 h 1522526"/>
                  <a:gd name="connsiteX56" fmla="*/ 1073523 w 1551266"/>
                  <a:gd name="connsiteY56" fmla="*/ 416107 h 1522526"/>
                  <a:gd name="connsiteX57" fmla="*/ 1070546 w 1551266"/>
                  <a:gd name="connsiteY57" fmla="*/ 386340 h 1522526"/>
                  <a:gd name="connsiteX58" fmla="*/ 1073523 w 1551266"/>
                  <a:gd name="connsiteY58" fmla="*/ 350621 h 1522526"/>
                  <a:gd name="connsiteX59" fmla="*/ 1088406 w 1551266"/>
                  <a:gd name="connsiteY59" fmla="*/ 328297 h 1522526"/>
                  <a:gd name="connsiteX60" fmla="*/ 1105847 w 1551266"/>
                  <a:gd name="connsiteY60" fmla="*/ 314309 h 1522526"/>
                  <a:gd name="connsiteX61" fmla="*/ 680438 w 1551266"/>
                  <a:gd name="connsiteY61" fmla="*/ 96060 h 1522526"/>
                  <a:gd name="connsiteX62" fmla="*/ 573282 w 1551266"/>
                  <a:gd name="connsiteY62" fmla="*/ 431816 h 1522526"/>
                  <a:gd name="connsiteX63" fmla="*/ 718538 w 1551266"/>
                  <a:gd name="connsiteY63" fmla="*/ 184165 h 1522526"/>
                  <a:gd name="connsiteX64" fmla="*/ 680438 w 1551266"/>
                  <a:gd name="connsiteY64" fmla="*/ 96060 h 1522526"/>
                  <a:gd name="connsiteX65" fmla="*/ 715956 w 1551266"/>
                  <a:gd name="connsiteY65" fmla="*/ 0 h 1522526"/>
                  <a:gd name="connsiteX66" fmla="*/ 760481 w 1551266"/>
                  <a:gd name="connsiteY66" fmla="*/ 372 h 1522526"/>
                  <a:gd name="connsiteX67" fmla="*/ 821998 w 1551266"/>
                  <a:gd name="connsiteY67" fmla="*/ 6326 h 1522526"/>
                  <a:gd name="connsiteX68" fmla="*/ 893437 w 1551266"/>
                  <a:gd name="connsiteY68" fmla="*/ 38076 h 1522526"/>
                  <a:gd name="connsiteX69" fmla="*/ 974798 w 1551266"/>
                  <a:gd name="connsiteY69" fmla="*/ 103562 h 1522526"/>
                  <a:gd name="connsiteX70" fmla="*/ 1070050 w 1551266"/>
                  <a:gd name="connsiteY70" fmla="*/ 216673 h 1522526"/>
                  <a:gd name="connsiteX71" fmla="*/ 1105769 w 1551266"/>
                  <a:gd name="connsiteY71" fmla="*/ 276206 h 1522526"/>
                  <a:gd name="connsiteX72" fmla="*/ 1089894 w 1551266"/>
                  <a:gd name="connsiteY72" fmla="*/ 313909 h 1522526"/>
                  <a:gd name="connsiteX73" fmla="*/ 1056159 w 1551266"/>
                  <a:gd name="connsiteY73" fmla="*/ 331769 h 1522526"/>
                  <a:gd name="connsiteX74" fmla="*/ 1032346 w 1551266"/>
                  <a:gd name="connsiteY74" fmla="*/ 311925 h 1522526"/>
                  <a:gd name="connsiteX75" fmla="*/ 978767 w 1551266"/>
                  <a:gd name="connsiteY75" fmla="*/ 256361 h 1522526"/>
                  <a:gd name="connsiteX76" fmla="*/ 883515 w 1551266"/>
                  <a:gd name="connsiteY76" fmla="*/ 210720 h 1522526"/>
                  <a:gd name="connsiteX77" fmla="*/ 780326 w 1551266"/>
                  <a:gd name="connsiteY77" fmla="*/ 210720 h 1522526"/>
                  <a:gd name="connsiteX78" fmla="*/ 914697 w 1551266"/>
                  <a:gd name="connsiteY78" fmla="*/ 240487 h 1522526"/>
                  <a:gd name="connsiteX79" fmla="*/ 980183 w 1551266"/>
                  <a:gd name="connsiteY79" fmla="*/ 279721 h 1522526"/>
                  <a:gd name="connsiteX80" fmla="*/ 1042349 w 1551266"/>
                  <a:gd name="connsiteY80" fmla="*/ 344718 h 1522526"/>
                  <a:gd name="connsiteX81" fmla="*/ 1033532 w 1551266"/>
                  <a:gd name="connsiteY81" fmla="*/ 378896 h 1522526"/>
                  <a:gd name="connsiteX82" fmla="*/ 1033532 w 1551266"/>
                  <a:gd name="connsiteY82" fmla="*/ 451651 h 1522526"/>
                  <a:gd name="connsiteX83" fmla="*/ 1067568 w 1551266"/>
                  <a:gd name="connsiteY83" fmla="*/ 478628 h 1522526"/>
                  <a:gd name="connsiteX84" fmla="*/ 1031312 w 1551266"/>
                  <a:gd name="connsiteY84" fmla="*/ 638035 h 1522526"/>
                  <a:gd name="connsiteX85" fmla="*/ 1010595 w 1551266"/>
                  <a:gd name="connsiteY85" fmla="*/ 651932 h 1522526"/>
                  <a:gd name="connsiteX86" fmla="*/ 902724 w 1551266"/>
                  <a:gd name="connsiteY86" fmla="*/ 831290 h 1522526"/>
                  <a:gd name="connsiteX87" fmla="*/ 813787 w 1551266"/>
                  <a:gd name="connsiteY87" fmla="*/ 893779 h 1522526"/>
                  <a:gd name="connsiteX88" fmla="*/ 728062 w 1551266"/>
                  <a:gd name="connsiteY88" fmla="*/ 893779 h 1522526"/>
                  <a:gd name="connsiteX89" fmla="*/ 607001 w 1551266"/>
                  <a:gd name="connsiteY89" fmla="*/ 821966 h 1522526"/>
                  <a:gd name="connsiteX90" fmla="*/ 514862 w 1551266"/>
                  <a:gd name="connsiteY90" fmla="*/ 643758 h 1522526"/>
                  <a:gd name="connsiteX91" fmla="*/ 454191 w 1551266"/>
                  <a:gd name="connsiteY91" fmla="*/ 503970 h 1522526"/>
                  <a:gd name="connsiteX92" fmla="*/ 477867 w 1551266"/>
                  <a:gd name="connsiteY92" fmla="*/ 464730 h 1522526"/>
                  <a:gd name="connsiteX93" fmla="*/ 467053 w 1551266"/>
                  <a:gd name="connsiteY93" fmla="*/ 399317 h 1522526"/>
                  <a:gd name="connsiteX94" fmla="*/ 440991 w 1551266"/>
                  <a:gd name="connsiteY94" fmla="*/ 419083 h 1522526"/>
                  <a:gd name="connsiteX95" fmla="*/ 425116 w 1551266"/>
                  <a:gd name="connsiteY95" fmla="*/ 438927 h 1522526"/>
                  <a:gd name="connsiteX96" fmla="*/ 411225 w 1551266"/>
                  <a:gd name="connsiteY96" fmla="*/ 476631 h 1522526"/>
                  <a:gd name="connsiteX97" fmla="*/ 417178 w 1551266"/>
                  <a:gd name="connsiteY97" fmla="*/ 514335 h 1522526"/>
                  <a:gd name="connsiteX98" fmla="*/ 427100 w 1551266"/>
                  <a:gd name="connsiteY98" fmla="*/ 571883 h 1522526"/>
                  <a:gd name="connsiteX99" fmla="*/ 450913 w 1551266"/>
                  <a:gd name="connsiteY99" fmla="*/ 665150 h 1522526"/>
                  <a:gd name="connsiteX100" fmla="*/ 476710 w 1551266"/>
                  <a:gd name="connsiteY100" fmla="*/ 686979 h 1522526"/>
                  <a:gd name="connsiteX101" fmla="*/ 492586 w 1551266"/>
                  <a:gd name="connsiteY101" fmla="*/ 728652 h 1522526"/>
                  <a:gd name="connsiteX102" fmla="*/ 530290 w 1551266"/>
                  <a:gd name="connsiteY102" fmla="*/ 802075 h 1522526"/>
                  <a:gd name="connsiteX103" fmla="*/ 546165 w 1551266"/>
                  <a:gd name="connsiteY103" fmla="*/ 847716 h 1522526"/>
                  <a:gd name="connsiteX104" fmla="*/ 502508 w 1551266"/>
                  <a:gd name="connsiteY104" fmla="*/ 859623 h 1522526"/>
                  <a:gd name="connsiteX105" fmla="*/ 439007 w 1551266"/>
                  <a:gd name="connsiteY105" fmla="*/ 867560 h 1522526"/>
                  <a:gd name="connsiteX106" fmla="*/ 381459 w 1551266"/>
                  <a:gd name="connsiteY106" fmla="*/ 853670 h 1522526"/>
                  <a:gd name="connsiteX107" fmla="*/ 355661 w 1551266"/>
                  <a:gd name="connsiteY107" fmla="*/ 810012 h 1522526"/>
                  <a:gd name="connsiteX108" fmla="*/ 343755 w 1551266"/>
                  <a:gd name="connsiteY108" fmla="*/ 732620 h 1522526"/>
                  <a:gd name="connsiteX109" fmla="*/ 347724 w 1551266"/>
                  <a:gd name="connsiteY109" fmla="*/ 631415 h 1522526"/>
                  <a:gd name="connsiteX110" fmla="*/ 379474 w 1551266"/>
                  <a:gd name="connsiteY110" fmla="*/ 415114 h 1522526"/>
                  <a:gd name="connsiteX111" fmla="*/ 452897 w 1551266"/>
                  <a:gd name="connsiteY111" fmla="*/ 194845 h 1522526"/>
                  <a:gd name="connsiteX112" fmla="*/ 514414 w 1551266"/>
                  <a:gd name="connsiteY112" fmla="*/ 93640 h 1522526"/>
                  <a:gd name="connsiteX113" fmla="*/ 573947 w 1551266"/>
                  <a:gd name="connsiteY113" fmla="*/ 44029 h 1522526"/>
                  <a:gd name="connsiteX114" fmla="*/ 627526 w 1551266"/>
                  <a:gd name="connsiteY114" fmla="*/ 36092 h 1522526"/>
                  <a:gd name="connsiteX115" fmla="*/ 673167 w 1551266"/>
                  <a:gd name="connsiteY115" fmla="*/ 4341 h 1522526"/>
                  <a:gd name="connsiteX116" fmla="*/ 715956 w 1551266"/>
                  <a:gd name="connsiteY116" fmla="*/ 0 h 1522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1551266" h="1522526">
                    <a:moveTo>
                      <a:pt x="1057045" y="998817"/>
                    </a:moveTo>
                    <a:lnTo>
                      <a:pt x="1067570" y="1002500"/>
                    </a:lnTo>
                    <a:lnTo>
                      <a:pt x="1174728" y="1036732"/>
                    </a:lnTo>
                    <a:lnTo>
                      <a:pt x="1383984" y="1106981"/>
                    </a:lnTo>
                    <a:cubicBezTo>
                      <a:pt x="1387457" y="1120375"/>
                      <a:pt x="1443515" y="1151630"/>
                      <a:pt x="1451552" y="1185265"/>
                    </a:cubicBezTo>
                    <a:cubicBezTo>
                      <a:pt x="1483798" y="1237107"/>
                      <a:pt x="1504186" y="1331415"/>
                      <a:pt x="1551266" y="1448990"/>
                    </a:cubicBezTo>
                    <a:cubicBezTo>
                      <a:pt x="1544321" y="1477764"/>
                      <a:pt x="1250039" y="1471217"/>
                      <a:pt x="1241109" y="1493045"/>
                    </a:cubicBezTo>
                    <a:cubicBezTo>
                      <a:pt x="1226424" y="1475186"/>
                      <a:pt x="1221264" y="1443041"/>
                      <a:pt x="1197054" y="1439469"/>
                    </a:cubicBezTo>
                    <a:lnTo>
                      <a:pt x="1215210" y="1492451"/>
                    </a:lnTo>
                    <a:cubicBezTo>
                      <a:pt x="885826" y="1530777"/>
                      <a:pt x="710655" y="1532592"/>
                      <a:pt x="331153" y="1497214"/>
                    </a:cubicBezTo>
                    <a:lnTo>
                      <a:pt x="315002" y="1492951"/>
                    </a:lnTo>
                    <a:cubicBezTo>
                      <a:pt x="308449" y="1486754"/>
                      <a:pt x="327012" y="1473858"/>
                      <a:pt x="337537" y="1446229"/>
                    </a:cubicBezTo>
                    <a:cubicBezTo>
                      <a:pt x="297056" y="1451785"/>
                      <a:pt x="311343" y="1478773"/>
                      <a:pt x="285149" y="1493854"/>
                    </a:cubicBezTo>
                    <a:lnTo>
                      <a:pt x="454" y="1482327"/>
                    </a:lnTo>
                    <a:cubicBezTo>
                      <a:pt x="-5499" y="1452561"/>
                      <a:pt x="48477" y="1321393"/>
                      <a:pt x="80227" y="1223961"/>
                    </a:cubicBezTo>
                    <a:cubicBezTo>
                      <a:pt x="78738" y="1205109"/>
                      <a:pt x="126463" y="1163039"/>
                      <a:pt x="132912" y="1150141"/>
                    </a:cubicBezTo>
                    <a:lnTo>
                      <a:pt x="222508" y="1108171"/>
                    </a:lnTo>
                    <a:lnTo>
                      <a:pt x="315973" y="1078404"/>
                    </a:lnTo>
                    <a:lnTo>
                      <a:pt x="440991" y="1029290"/>
                    </a:lnTo>
                    <a:lnTo>
                      <a:pt x="474559" y="1016502"/>
                    </a:lnTo>
                    <a:cubicBezTo>
                      <a:pt x="516350" y="1085393"/>
                      <a:pt x="601200" y="1214439"/>
                      <a:pt x="656623" y="1272398"/>
                    </a:cubicBezTo>
                    <a:cubicBezTo>
                      <a:pt x="717345" y="1335898"/>
                      <a:pt x="779654" y="1384317"/>
                      <a:pt x="828073" y="1379555"/>
                    </a:cubicBezTo>
                    <a:cubicBezTo>
                      <a:pt x="876492" y="1374793"/>
                      <a:pt x="903480" y="1322007"/>
                      <a:pt x="947136" y="1243823"/>
                    </a:cubicBezTo>
                    <a:cubicBezTo>
                      <a:pt x="977066" y="1190222"/>
                      <a:pt x="1024529" y="1081221"/>
                      <a:pt x="1057045" y="998817"/>
                    </a:cubicBezTo>
                    <a:close/>
                    <a:moveTo>
                      <a:pt x="920258" y="852696"/>
                    </a:moveTo>
                    <a:cubicBezTo>
                      <a:pt x="921010" y="872436"/>
                      <a:pt x="911945" y="917882"/>
                      <a:pt x="915762" y="923321"/>
                    </a:cubicBezTo>
                    <a:cubicBezTo>
                      <a:pt x="941496" y="957488"/>
                      <a:pt x="993424" y="955937"/>
                      <a:pt x="1023920" y="978198"/>
                    </a:cubicBezTo>
                    <a:cubicBezTo>
                      <a:pt x="1001831" y="1045214"/>
                      <a:pt x="975280" y="1129625"/>
                      <a:pt x="949517" y="1177148"/>
                    </a:cubicBezTo>
                    <a:cubicBezTo>
                      <a:pt x="908639" y="1252554"/>
                      <a:pt x="866174" y="1339074"/>
                      <a:pt x="811405" y="1341455"/>
                    </a:cubicBezTo>
                    <a:cubicBezTo>
                      <a:pt x="756636" y="1343836"/>
                      <a:pt x="682818" y="1265652"/>
                      <a:pt x="620905" y="1191436"/>
                    </a:cubicBezTo>
                    <a:cubicBezTo>
                      <a:pt x="585938" y="1149521"/>
                      <a:pt x="541097" y="1071020"/>
                      <a:pt x="503993" y="1004825"/>
                    </a:cubicBezTo>
                    <a:cubicBezTo>
                      <a:pt x="515878" y="994816"/>
                      <a:pt x="599975" y="955559"/>
                      <a:pt x="616016" y="931359"/>
                    </a:cubicBezTo>
                    <a:cubicBezTo>
                      <a:pt x="617098" y="908462"/>
                      <a:pt x="618089" y="894817"/>
                      <a:pt x="614584" y="858311"/>
                    </a:cubicBezTo>
                    <a:cubicBezTo>
                      <a:pt x="638122" y="872515"/>
                      <a:pt x="655570" y="891439"/>
                      <a:pt x="685199" y="900922"/>
                    </a:cubicBezTo>
                    <a:cubicBezTo>
                      <a:pt x="714828" y="910405"/>
                      <a:pt x="759019" y="919575"/>
                      <a:pt x="792356" y="915210"/>
                    </a:cubicBezTo>
                    <a:cubicBezTo>
                      <a:pt x="825693" y="910845"/>
                      <a:pt x="863907" y="885148"/>
                      <a:pt x="885224" y="874729"/>
                    </a:cubicBezTo>
                    <a:cubicBezTo>
                      <a:pt x="906541" y="864310"/>
                      <a:pt x="909433" y="855230"/>
                      <a:pt x="920258" y="852696"/>
                    </a:cubicBezTo>
                    <a:close/>
                    <a:moveTo>
                      <a:pt x="1105847" y="314309"/>
                    </a:moveTo>
                    <a:lnTo>
                      <a:pt x="1112219" y="320855"/>
                    </a:lnTo>
                    <a:cubicBezTo>
                      <a:pt x="1120653" y="337474"/>
                      <a:pt x="1130079" y="386589"/>
                      <a:pt x="1139009" y="428013"/>
                    </a:cubicBezTo>
                    <a:cubicBezTo>
                      <a:pt x="1147938" y="469438"/>
                      <a:pt x="1159845" y="523265"/>
                      <a:pt x="1165798" y="569403"/>
                    </a:cubicBezTo>
                    <a:cubicBezTo>
                      <a:pt x="1171751" y="615540"/>
                      <a:pt x="1173736" y="668127"/>
                      <a:pt x="1174728" y="704839"/>
                    </a:cubicBezTo>
                    <a:cubicBezTo>
                      <a:pt x="1175720" y="741550"/>
                      <a:pt x="1176464" y="765363"/>
                      <a:pt x="1171751" y="789672"/>
                    </a:cubicBezTo>
                    <a:cubicBezTo>
                      <a:pt x="1167038" y="813982"/>
                      <a:pt x="1158356" y="839035"/>
                      <a:pt x="1146450" y="850693"/>
                    </a:cubicBezTo>
                    <a:cubicBezTo>
                      <a:pt x="1134543" y="862351"/>
                      <a:pt x="1120157" y="859127"/>
                      <a:pt x="1100312" y="859623"/>
                    </a:cubicBezTo>
                    <a:cubicBezTo>
                      <a:pt x="1080468" y="860119"/>
                      <a:pt x="1048717" y="857887"/>
                      <a:pt x="1027385" y="853670"/>
                    </a:cubicBezTo>
                    <a:cubicBezTo>
                      <a:pt x="1006053" y="849453"/>
                      <a:pt x="980256" y="841019"/>
                      <a:pt x="972318" y="834322"/>
                    </a:cubicBezTo>
                    <a:cubicBezTo>
                      <a:pt x="964380" y="827624"/>
                      <a:pt x="973558" y="823656"/>
                      <a:pt x="979759" y="813485"/>
                    </a:cubicBezTo>
                    <a:cubicBezTo>
                      <a:pt x="985961" y="803315"/>
                      <a:pt x="999852" y="791409"/>
                      <a:pt x="1009525" y="773301"/>
                    </a:cubicBezTo>
                    <a:cubicBezTo>
                      <a:pt x="1019199" y="755193"/>
                      <a:pt x="1032098" y="721210"/>
                      <a:pt x="1037804" y="704839"/>
                    </a:cubicBezTo>
                    <a:cubicBezTo>
                      <a:pt x="1043509" y="688467"/>
                      <a:pt x="1039788" y="683258"/>
                      <a:pt x="1043757" y="675072"/>
                    </a:cubicBezTo>
                    <a:cubicBezTo>
                      <a:pt x="1047726" y="666887"/>
                      <a:pt x="1054423" y="671600"/>
                      <a:pt x="1061616" y="655725"/>
                    </a:cubicBezTo>
                    <a:cubicBezTo>
                      <a:pt x="1068810" y="639849"/>
                      <a:pt x="1079724" y="605866"/>
                      <a:pt x="1086918" y="579821"/>
                    </a:cubicBezTo>
                    <a:cubicBezTo>
                      <a:pt x="1094111" y="553775"/>
                      <a:pt x="1101553" y="518800"/>
                      <a:pt x="1104777" y="499452"/>
                    </a:cubicBezTo>
                    <a:cubicBezTo>
                      <a:pt x="1108002" y="480104"/>
                      <a:pt x="1108746" y="475143"/>
                      <a:pt x="1106266" y="463733"/>
                    </a:cubicBezTo>
                    <a:cubicBezTo>
                      <a:pt x="1103785" y="452322"/>
                      <a:pt x="1095351" y="438927"/>
                      <a:pt x="1089894" y="430990"/>
                    </a:cubicBezTo>
                    <a:cubicBezTo>
                      <a:pt x="1084437" y="423052"/>
                      <a:pt x="1076748" y="423548"/>
                      <a:pt x="1073523" y="416107"/>
                    </a:cubicBezTo>
                    <a:cubicBezTo>
                      <a:pt x="1070298" y="408665"/>
                      <a:pt x="1070546" y="397255"/>
                      <a:pt x="1070546" y="386340"/>
                    </a:cubicBezTo>
                    <a:cubicBezTo>
                      <a:pt x="1070546" y="375426"/>
                      <a:pt x="1070546" y="360295"/>
                      <a:pt x="1073523" y="350621"/>
                    </a:cubicBezTo>
                    <a:cubicBezTo>
                      <a:pt x="1076500" y="340947"/>
                      <a:pt x="1081957" y="333258"/>
                      <a:pt x="1088406" y="328297"/>
                    </a:cubicBezTo>
                    <a:cubicBezTo>
                      <a:pt x="1093243" y="324576"/>
                      <a:pt x="1099475" y="312902"/>
                      <a:pt x="1105847" y="314309"/>
                    </a:cubicBezTo>
                    <a:close/>
                    <a:moveTo>
                      <a:pt x="680438" y="96060"/>
                    </a:moveTo>
                    <a:cubicBezTo>
                      <a:pt x="756637" y="286559"/>
                      <a:pt x="570901" y="331804"/>
                      <a:pt x="573282" y="431816"/>
                    </a:cubicBezTo>
                    <a:cubicBezTo>
                      <a:pt x="599476" y="307992"/>
                      <a:pt x="747113" y="298465"/>
                      <a:pt x="718538" y="184165"/>
                    </a:cubicBezTo>
                    <a:lnTo>
                      <a:pt x="680438" y="96060"/>
                    </a:lnTo>
                    <a:close/>
                    <a:moveTo>
                      <a:pt x="715956" y="0"/>
                    </a:moveTo>
                    <a:lnTo>
                      <a:pt x="760481" y="372"/>
                    </a:lnTo>
                    <a:cubicBezTo>
                      <a:pt x="785287" y="703"/>
                      <a:pt x="799839" y="42"/>
                      <a:pt x="821998" y="6326"/>
                    </a:cubicBezTo>
                    <a:cubicBezTo>
                      <a:pt x="844157" y="12609"/>
                      <a:pt x="867970" y="21870"/>
                      <a:pt x="893437" y="38076"/>
                    </a:cubicBezTo>
                    <a:cubicBezTo>
                      <a:pt x="918904" y="54282"/>
                      <a:pt x="945363" y="73796"/>
                      <a:pt x="974798" y="103562"/>
                    </a:cubicBezTo>
                    <a:cubicBezTo>
                      <a:pt x="1004233" y="133328"/>
                      <a:pt x="1048221" y="187899"/>
                      <a:pt x="1070050" y="216673"/>
                    </a:cubicBezTo>
                    <a:cubicBezTo>
                      <a:pt x="1091878" y="245447"/>
                      <a:pt x="1102462" y="260000"/>
                      <a:pt x="1105769" y="276206"/>
                    </a:cubicBezTo>
                    <a:cubicBezTo>
                      <a:pt x="1109076" y="292412"/>
                      <a:pt x="1098162" y="304649"/>
                      <a:pt x="1089894" y="313909"/>
                    </a:cubicBezTo>
                    <a:cubicBezTo>
                      <a:pt x="1081626" y="323170"/>
                      <a:pt x="1065750" y="332100"/>
                      <a:pt x="1056159" y="331769"/>
                    </a:cubicBezTo>
                    <a:cubicBezTo>
                      <a:pt x="1046567" y="331439"/>
                      <a:pt x="1045245" y="324493"/>
                      <a:pt x="1032346" y="311925"/>
                    </a:cubicBezTo>
                    <a:cubicBezTo>
                      <a:pt x="1019447" y="299357"/>
                      <a:pt x="1003572" y="273229"/>
                      <a:pt x="978767" y="256361"/>
                    </a:cubicBezTo>
                    <a:cubicBezTo>
                      <a:pt x="953962" y="239494"/>
                      <a:pt x="916588" y="218327"/>
                      <a:pt x="883515" y="210720"/>
                    </a:cubicBezTo>
                    <a:cubicBezTo>
                      <a:pt x="850442" y="203113"/>
                      <a:pt x="775129" y="205759"/>
                      <a:pt x="780326" y="210720"/>
                    </a:cubicBezTo>
                    <a:cubicBezTo>
                      <a:pt x="785522" y="215681"/>
                      <a:pt x="874754" y="217931"/>
                      <a:pt x="914697" y="240487"/>
                    </a:cubicBezTo>
                    <a:cubicBezTo>
                      <a:pt x="954640" y="263042"/>
                      <a:pt x="958908" y="262349"/>
                      <a:pt x="980183" y="279721"/>
                    </a:cubicBezTo>
                    <a:cubicBezTo>
                      <a:pt x="1001459" y="297093"/>
                      <a:pt x="1027930" y="328926"/>
                      <a:pt x="1042349" y="344718"/>
                    </a:cubicBezTo>
                    <a:cubicBezTo>
                      <a:pt x="1036581" y="366876"/>
                      <a:pt x="1037228" y="359759"/>
                      <a:pt x="1033532" y="378896"/>
                    </a:cubicBezTo>
                    <a:cubicBezTo>
                      <a:pt x="1041669" y="398511"/>
                      <a:pt x="1033536" y="451629"/>
                      <a:pt x="1033532" y="451651"/>
                    </a:cubicBezTo>
                    <a:cubicBezTo>
                      <a:pt x="1033584" y="451655"/>
                      <a:pt x="1067568" y="454123"/>
                      <a:pt x="1067568" y="478628"/>
                    </a:cubicBezTo>
                    <a:cubicBezTo>
                      <a:pt x="1067568" y="503147"/>
                      <a:pt x="1031326" y="637985"/>
                      <a:pt x="1031312" y="638035"/>
                    </a:cubicBezTo>
                    <a:cubicBezTo>
                      <a:pt x="1031294" y="638069"/>
                      <a:pt x="1021683" y="654383"/>
                      <a:pt x="1010595" y="651932"/>
                    </a:cubicBezTo>
                    <a:cubicBezTo>
                      <a:pt x="998860" y="750796"/>
                      <a:pt x="937336" y="800802"/>
                      <a:pt x="902724" y="831290"/>
                    </a:cubicBezTo>
                    <a:cubicBezTo>
                      <a:pt x="870320" y="870407"/>
                      <a:pt x="842897" y="883364"/>
                      <a:pt x="813787" y="893779"/>
                    </a:cubicBezTo>
                    <a:cubicBezTo>
                      <a:pt x="784677" y="904194"/>
                      <a:pt x="762526" y="905748"/>
                      <a:pt x="728062" y="893779"/>
                    </a:cubicBezTo>
                    <a:cubicBezTo>
                      <a:pt x="693598" y="881810"/>
                      <a:pt x="642534" y="863636"/>
                      <a:pt x="607001" y="821966"/>
                    </a:cubicBezTo>
                    <a:cubicBezTo>
                      <a:pt x="597383" y="805617"/>
                      <a:pt x="517082" y="732861"/>
                      <a:pt x="514862" y="643758"/>
                    </a:cubicBezTo>
                    <a:cubicBezTo>
                      <a:pt x="483786" y="641305"/>
                      <a:pt x="466029" y="551383"/>
                      <a:pt x="454191" y="503970"/>
                    </a:cubicBezTo>
                    <a:cubicBezTo>
                      <a:pt x="444575" y="463929"/>
                      <a:pt x="477842" y="464730"/>
                      <a:pt x="477867" y="464730"/>
                    </a:cubicBezTo>
                    <a:cubicBezTo>
                      <a:pt x="477845" y="464677"/>
                      <a:pt x="459134" y="425808"/>
                      <a:pt x="467053" y="399317"/>
                    </a:cubicBezTo>
                    <a:cubicBezTo>
                      <a:pt x="449615" y="408769"/>
                      <a:pt x="447981" y="412482"/>
                      <a:pt x="440991" y="419083"/>
                    </a:cubicBezTo>
                    <a:cubicBezTo>
                      <a:pt x="434001" y="425685"/>
                      <a:pt x="430077" y="429336"/>
                      <a:pt x="425116" y="438927"/>
                    </a:cubicBezTo>
                    <a:cubicBezTo>
                      <a:pt x="420155" y="448519"/>
                      <a:pt x="412548" y="464063"/>
                      <a:pt x="411225" y="476631"/>
                    </a:cubicBezTo>
                    <a:cubicBezTo>
                      <a:pt x="409902" y="489199"/>
                      <a:pt x="414532" y="498460"/>
                      <a:pt x="417178" y="514335"/>
                    </a:cubicBezTo>
                    <a:cubicBezTo>
                      <a:pt x="419824" y="530210"/>
                      <a:pt x="421478" y="546747"/>
                      <a:pt x="427100" y="571883"/>
                    </a:cubicBezTo>
                    <a:cubicBezTo>
                      <a:pt x="432723" y="597019"/>
                      <a:pt x="442645" y="645968"/>
                      <a:pt x="450913" y="665150"/>
                    </a:cubicBezTo>
                    <a:cubicBezTo>
                      <a:pt x="459181" y="684333"/>
                      <a:pt x="469765" y="676395"/>
                      <a:pt x="476710" y="686979"/>
                    </a:cubicBezTo>
                    <a:cubicBezTo>
                      <a:pt x="483656" y="697563"/>
                      <a:pt x="483656" y="709469"/>
                      <a:pt x="492586" y="728652"/>
                    </a:cubicBezTo>
                    <a:cubicBezTo>
                      <a:pt x="501516" y="747834"/>
                      <a:pt x="521360" y="782231"/>
                      <a:pt x="530290" y="802075"/>
                    </a:cubicBezTo>
                    <a:cubicBezTo>
                      <a:pt x="539219" y="821919"/>
                      <a:pt x="550795" y="838125"/>
                      <a:pt x="546165" y="847716"/>
                    </a:cubicBezTo>
                    <a:cubicBezTo>
                      <a:pt x="541534" y="857308"/>
                      <a:pt x="520367" y="856316"/>
                      <a:pt x="502508" y="859623"/>
                    </a:cubicBezTo>
                    <a:cubicBezTo>
                      <a:pt x="484648" y="862930"/>
                      <a:pt x="459181" y="868553"/>
                      <a:pt x="439007" y="867560"/>
                    </a:cubicBezTo>
                    <a:cubicBezTo>
                      <a:pt x="418832" y="866568"/>
                      <a:pt x="395350" y="863261"/>
                      <a:pt x="381459" y="853670"/>
                    </a:cubicBezTo>
                    <a:cubicBezTo>
                      <a:pt x="367568" y="844078"/>
                      <a:pt x="361945" y="830187"/>
                      <a:pt x="355661" y="810012"/>
                    </a:cubicBezTo>
                    <a:cubicBezTo>
                      <a:pt x="349377" y="789838"/>
                      <a:pt x="345078" y="762387"/>
                      <a:pt x="343755" y="732620"/>
                    </a:cubicBezTo>
                    <a:cubicBezTo>
                      <a:pt x="342432" y="702854"/>
                      <a:pt x="341770" y="684333"/>
                      <a:pt x="347724" y="631415"/>
                    </a:cubicBezTo>
                    <a:cubicBezTo>
                      <a:pt x="353677" y="578498"/>
                      <a:pt x="361945" y="487876"/>
                      <a:pt x="379474" y="415114"/>
                    </a:cubicBezTo>
                    <a:cubicBezTo>
                      <a:pt x="397003" y="342353"/>
                      <a:pt x="430407" y="248424"/>
                      <a:pt x="452897" y="194845"/>
                    </a:cubicBezTo>
                    <a:cubicBezTo>
                      <a:pt x="475388" y="141266"/>
                      <a:pt x="494240" y="118775"/>
                      <a:pt x="514414" y="93640"/>
                    </a:cubicBezTo>
                    <a:cubicBezTo>
                      <a:pt x="534589" y="68504"/>
                      <a:pt x="555095" y="53621"/>
                      <a:pt x="573947" y="44029"/>
                    </a:cubicBezTo>
                    <a:cubicBezTo>
                      <a:pt x="592799" y="34438"/>
                      <a:pt x="610989" y="42707"/>
                      <a:pt x="627526" y="36092"/>
                    </a:cubicBezTo>
                    <a:cubicBezTo>
                      <a:pt x="644063" y="29477"/>
                      <a:pt x="650677" y="10294"/>
                      <a:pt x="673167" y="4341"/>
                    </a:cubicBezTo>
                    <a:cubicBezTo>
                      <a:pt x="684412" y="1365"/>
                      <a:pt x="700040" y="290"/>
                      <a:pt x="715956" y="0"/>
                    </a:cubicBezTo>
                    <a:close/>
                  </a:path>
                </a:pathLst>
              </a:custGeom>
              <a:solidFill>
                <a:srgbClr val="7F7F7F"/>
              </a:solidFill>
              <a:ln w="25400" cap="flat" cmpd="sng" algn="ctr">
                <a:noFill/>
                <a:prstDash val="solid"/>
              </a:ln>
              <a:effectLst/>
            </p:spPr>
            <p:txBody>
              <a:bodyPr rtlCol="0" anchor="ctr"/>
              <a:lstStyle/>
              <a:p>
                <a:pPr algn="ctr" defTabSz="913693">
                  <a:defRPr/>
                </a:pPr>
                <a:endParaRPr lang="en-US" sz="1898" kern="0" dirty="0">
                  <a:solidFill>
                    <a:srgbClr val="FFFFFF"/>
                  </a:solidFill>
                  <a:latin typeface="Segoe UI"/>
                </a:endParaRPr>
              </a:p>
            </p:txBody>
          </p:sp>
        </p:grpSp>
      </p:grpSp>
      <p:grpSp>
        <p:nvGrpSpPr>
          <p:cNvPr id="510" name="Group 509">
            <a:extLst>
              <a:ext uri="{FF2B5EF4-FFF2-40B4-BE49-F238E27FC236}">
                <a16:creationId xmlns:a16="http://schemas.microsoft.com/office/drawing/2014/main" id="{0B38AA37-498D-43C9-A85A-9A5731BA1A6D}"/>
              </a:ext>
            </a:extLst>
          </p:cNvPr>
          <p:cNvGrpSpPr/>
          <p:nvPr/>
        </p:nvGrpSpPr>
        <p:grpSpPr>
          <a:xfrm>
            <a:off x="2094321" y="2228226"/>
            <a:ext cx="2489046" cy="552227"/>
            <a:chOff x="2634419" y="2113009"/>
            <a:chExt cx="2031967" cy="552371"/>
          </a:xfrm>
        </p:grpSpPr>
        <p:sp>
          <p:nvSpPr>
            <p:cNvPr id="511" name="Arrow: Left-Right 510">
              <a:extLst>
                <a:ext uri="{FF2B5EF4-FFF2-40B4-BE49-F238E27FC236}">
                  <a16:creationId xmlns:a16="http://schemas.microsoft.com/office/drawing/2014/main" id="{475DB2B8-7262-48D4-833A-EBBD53DEAAF1}"/>
                </a:ext>
              </a:extLst>
            </p:cNvPr>
            <p:cNvSpPr/>
            <p:nvPr/>
          </p:nvSpPr>
          <p:spPr>
            <a:xfrm>
              <a:off x="2634419" y="2113009"/>
              <a:ext cx="2031967" cy="552371"/>
            </a:xfrm>
            <a:prstGeom prst="lef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914126">
                <a:defRPr/>
              </a:pPr>
              <a:endParaRPr lang="en-US" sz="1200" dirty="0" err="1">
                <a:solidFill>
                  <a:prstClr val="white"/>
                </a:solidFill>
                <a:latin typeface="Segoe UI"/>
              </a:endParaRPr>
            </a:p>
          </p:txBody>
        </p:sp>
        <p:sp>
          <p:nvSpPr>
            <p:cNvPr id="512" name="TextBox 511">
              <a:extLst>
                <a:ext uri="{FF2B5EF4-FFF2-40B4-BE49-F238E27FC236}">
                  <a16:creationId xmlns:a16="http://schemas.microsoft.com/office/drawing/2014/main" id="{AB351555-25E4-4A28-AA00-6E2294739EDE}"/>
                </a:ext>
              </a:extLst>
            </p:cNvPr>
            <p:cNvSpPr txBox="1"/>
            <p:nvPr/>
          </p:nvSpPr>
          <p:spPr>
            <a:xfrm>
              <a:off x="2807276" y="2265490"/>
              <a:ext cx="1546396" cy="216177"/>
            </a:xfrm>
            <a:prstGeom prst="rect">
              <a:avLst/>
            </a:prstGeom>
          </p:spPr>
          <p:txBody>
            <a:bodyPr vert="horz" wrap="none" lIns="0" tIns="0" rIns="0" bIns="0" rtlCol="0" anchor="ctr">
              <a:noAutofit/>
            </a:bodyPr>
            <a:lstStyle>
              <a:defPPr>
                <a:defRPr lang="en-US"/>
              </a:defPPr>
              <a:lvl1pPr algn="ctr" defTabSz="1088105">
                <a:defRPr sz="1200">
                  <a:solidFill>
                    <a:srgbClr val="505050"/>
                  </a:solidFill>
                  <a:latin typeface="Segoe UI Semibold" panose="020B0702040204020203" pitchFamily="34" charset="0"/>
                  <a:ea typeface="Segoe UI" pitchFamily="34" charset="0"/>
                  <a:cs typeface="Segoe UI Semibold" panose="020B0702040204020203" pitchFamily="34" charset="0"/>
                </a:defRPr>
              </a:lvl1pPr>
            </a:lstStyle>
            <a:p>
              <a:pPr algn="l" defTabSz="1087779">
                <a:defRPr/>
              </a:pPr>
              <a:r>
                <a:rPr lang="en-US" kern="0" dirty="0">
                  <a:solidFill>
                    <a:prstClr val="white"/>
                  </a:solidFill>
                </a:rPr>
                <a:t>Alerts &amp; Enabling Information</a:t>
              </a:r>
            </a:p>
          </p:txBody>
        </p:sp>
      </p:grpSp>
      <p:sp>
        <p:nvSpPr>
          <p:cNvPr id="537" name="TextBox 536">
            <a:extLst>
              <a:ext uri="{FF2B5EF4-FFF2-40B4-BE49-F238E27FC236}">
                <a16:creationId xmlns:a16="http://schemas.microsoft.com/office/drawing/2014/main" id="{89FB6665-6262-449E-B763-97A4AE6E1EED}"/>
              </a:ext>
            </a:extLst>
          </p:cNvPr>
          <p:cNvSpPr txBox="1"/>
          <p:nvPr/>
        </p:nvSpPr>
        <p:spPr>
          <a:xfrm rot="18885851">
            <a:off x="9783935" y="3381298"/>
            <a:ext cx="946711" cy="253512"/>
          </a:xfrm>
          <a:prstGeom prst="rect">
            <a:avLst/>
          </a:prstGeom>
        </p:spPr>
        <p:txBody>
          <a:bodyPr vert="horz" wrap="square" lIns="45696" tIns="45696" rIns="45696" bIns="45696" rtlCol="0" anchor="ctr">
            <a:noAutofit/>
          </a:bodyPr>
          <a:lstStyle/>
          <a:p>
            <a:pPr algn="ctr" defTabSz="913852">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Customer</a:t>
            </a:r>
            <a:b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b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Experiences</a:t>
            </a:r>
          </a:p>
        </p:txBody>
      </p:sp>
      <p:grpSp>
        <p:nvGrpSpPr>
          <p:cNvPr id="539" name="Group 538">
            <a:extLst>
              <a:ext uri="{FF2B5EF4-FFF2-40B4-BE49-F238E27FC236}">
                <a16:creationId xmlns:a16="http://schemas.microsoft.com/office/drawing/2014/main" id="{939A1661-6A9A-49B5-85DC-8D6426CC9BCA}"/>
              </a:ext>
            </a:extLst>
          </p:cNvPr>
          <p:cNvGrpSpPr/>
          <p:nvPr/>
        </p:nvGrpSpPr>
        <p:grpSpPr>
          <a:xfrm>
            <a:off x="10048680" y="1990929"/>
            <a:ext cx="1124458" cy="994747"/>
            <a:chOff x="401810" y="2316345"/>
            <a:chExt cx="1125044" cy="995265"/>
          </a:xfrm>
        </p:grpSpPr>
        <p:sp>
          <p:nvSpPr>
            <p:cNvPr id="540" name="TextBox 539">
              <a:extLst>
                <a:ext uri="{FF2B5EF4-FFF2-40B4-BE49-F238E27FC236}">
                  <a16:creationId xmlns:a16="http://schemas.microsoft.com/office/drawing/2014/main" id="{DA8E9ACD-9C43-4FB8-838C-9585AF99F8BA}"/>
                </a:ext>
              </a:extLst>
            </p:cNvPr>
            <p:cNvSpPr txBox="1"/>
            <p:nvPr/>
          </p:nvSpPr>
          <p:spPr>
            <a:xfrm>
              <a:off x="401810" y="3022942"/>
              <a:ext cx="1125044" cy="288668"/>
            </a:xfrm>
            <a:prstGeom prst="rect">
              <a:avLst/>
            </a:prstGeom>
          </p:spPr>
          <p:txBody>
            <a:bodyPr vert="horz" wrap="square" lIns="45696" tIns="45696" rIns="45696" bIns="45696" rtlCol="0" anchor="ctr">
              <a:noAutofit/>
            </a:bodyPr>
            <a:lstStyle/>
            <a:p>
              <a:pPr algn="ctr" defTabSz="1087779">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Customers</a:t>
              </a:r>
            </a:p>
          </p:txBody>
        </p:sp>
        <p:pic>
          <p:nvPicPr>
            <p:cNvPr id="541" name="Picture 3" descr="\\MAGNUM\Projects\Microsoft\Cloud Power FY12\Design\ICONS_PNG\Iaas.png">
              <a:extLst>
                <a:ext uri="{FF2B5EF4-FFF2-40B4-BE49-F238E27FC236}">
                  <a16:creationId xmlns:a16="http://schemas.microsoft.com/office/drawing/2014/main" id="{53577ECF-9903-493D-8D91-C8F8B6559B88}"/>
                </a:ext>
              </a:extLst>
            </p:cNvPr>
            <p:cNvPicPr>
              <a:picLocks noChangeAspect="1" noChangeArrowheads="1"/>
            </p:cNvPicPr>
            <p:nvPr/>
          </p:nvPicPr>
          <p:blipFill>
            <a:blip r:embed="rId27" cstate="print">
              <a:biLevel thresh="75000"/>
            </a:blip>
            <a:stretch>
              <a:fillRect/>
            </a:stretch>
          </p:blipFill>
          <p:spPr bwMode="auto">
            <a:xfrm>
              <a:off x="544662" y="2316345"/>
              <a:ext cx="812223" cy="812223"/>
            </a:xfrm>
            <a:prstGeom prst="rect">
              <a:avLst/>
            </a:prstGeom>
            <a:noFill/>
          </p:spPr>
        </p:pic>
      </p:grpSp>
      <p:pic>
        <p:nvPicPr>
          <p:cNvPr id="542" name="Picture 541">
            <a:extLst>
              <a:ext uri="{FF2B5EF4-FFF2-40B4-BE49-F238E27FC236}">
                <a16:creationId xmlns:a16="http://schemas.microsoft.com/office/drawing/2014/main" id="{895D8C3C-990D-442C-9105-B6D51455A226}"/>
              </a:ext>
            </a:extLst>
          </p:cNvPr>
          <p:cNvPicPr>
            <a:picLocks noChangeAspect="1"/>
          </p:cNvPicPr>
          <p:nvPr/>
        </p:nvPicPr>
        <p:blipFill>
          <a:blip r:embed="rId28"/>
          <a:stretch>
            <a:fillRect/>
          </a:stretch>
        </p:blipFill>
        <p:spPr>
          <a:xfrm>
            <a:off x="8332167" y="604841"/>
            <a:ext cx="1590228" cy="877275"/>
          </a:xfrm>
          <a:prstGeom prst="rect">
            <a:avLst/>
          </a:prstGeom>
        </p:spPr>
      </p:pic>
      <p:cxnSp>
        <p:nvCxnSpPr>
          <p:cNvPr id="543" name="Straight Arrow Connector 542">
            <a:extLst>
              <a:ext uri="{FF2B5EF4-FFF2-40B4-BE49-F238E27FC236}">
                <a16:creationId xmlns:a16="http://schemas.microsoft.com/office/drawing/2014/main" id="{89343FDA-9634-49F8-A1E5-E4976AF309C0}"/>
              </a:ext>
            </a:extLst>
          </p:cNvPr>
          <p:cNvCxnSpPr>
            <a:cxnSpLocks/>
          </p:cNvCxnSpPr>
          <p:nvPr/>
        </p:nvCxnSpPr>
        <p:spPr>
          <a:xfrm flipH="1" flipV="1">
            <a:off x="9668637" y="1527404"/>
            <a:ext cx="522820" cy="58196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44" name="TextBox 543">
            <a:extLst>
              <a:ext uri="{FF2B5EF4-FFF2-40B4-BE49-F238E27FC236}">
                <a16:creationId xmlns:a16="http://schemas.microsoft.com/office/drawing/2014/main" id="{E645C49F-BA65-4D1E-978B-5F6C1BA51135}"/>
              </a:ext>
            </a:extLst>
          </p:cNvPr>
          <p:cNvSpPr txBox="1"/>
          <p:nvPr/>
        </p:nvSpPr>
        <p:spPr>
          <a:xfrm>
            <a:off x="10010431" y="1594962"/>
            <a:ext cx="732347" cy="307697"/>
          </a:xfrm>
          <a:prstGeom prst="rect">
            <a:avLst/>
          </a:prstGeom>
        </p:spPr>
        <p:txBody>
          <a:bodyPr vert="horz" wrap="square" lIns="45696" tIns="45696" rIns="45696" bIns="45696" rtlCol="0" anchor="ctr">
            <a:noAutofit/>
          </a:bodyPr>
          <a:lstStyle/>
          <a:p>
            <a:pPr algn="ctr" defTabSz="913852">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Use or Hire</a:t>
            </a:r>
          </a:p>
        </p:txBody>
      </p:sp>
      <p:sp>
        <p:nvSpPr>
          <p:cNvPr id="545" name="Rectangle 544">
            <a:extLst>
              <a:ext uri="{FF2B5EF4-FFF2-40B4-BE49-F238E27FC236}">
                <a16:creationId xmlns:a16="http://schemas.microsoft.com/office/drawing/2014/main" id="{BA859945-AC05-4C81-A3B6-629026F9F857}"/>
              </a:ext>
            </a:extLst>
          </p:cNvPr>
          <p:cNvSpPr/>
          <p:nvPr/>
        </p:nvSpPr>
        <p:spPr>
          <a:xfrm>
            <a:off x="8673947" y="1509426"/>
            <a:ext cx="925165" cy="398392"/>
          </a:xfrm>
          <a:prstGeom prst="rect">
            <a:avLst/>
          </a:prstGeom>
          <a:noFill/>
          <a:effectLst/>
        </p:spPr>
        <p:txBody>
          <a:bodyPr wrap="square" lIns="0" tIns="0" rIns="0" bIns="0" anchor="ctr" anchorCtr="0">
            <a:noAutofit/>
          </a:bodyPr>
          <a:lstStyle/>
          <a:p>
            <a:pPr algn="ctr" defTabSz="913852">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Intelligent</a:t>
            </a:r>
            <a:b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b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Vehicle</a:t>
            </a:r>
          </a:p>
        </p:txBody>
      </p:sp>
      <p:grpSp>
        <p:nvGrpSpPr>
          <p:cNvPr id="546" name="Group 545">
            <a:extLst>
              <a:ext uri="{FF2B5EF4-FFF2-40B4-BE49-F238E27FC236}">
                <a16:creationId xmlns:a16="http://schemas.microsoft.com/office/drawing/2014/main" id="{9E13514A-E6E0-48CF-B438-E5141432363F}"/>
              </a:ext>
            </a:extLst>
          </p:cNvPr>
          <p:cNvGrpSpPr/>
          <p:nvPr/>
        </p:nvGrpSpPr>
        <p:grpSpPr>
          <a:xfrm>
            <a:off x="10696949" y="5270170"/>
            <a:ext cx="549930" cy="852870"/>
            <a:chOff x="9573063" y="4421708"/>
            <a:chExt cx="550216" cy="853314"/>
          </a:xfrm>
        </p:grpSpPr>
        <p:sp>
          <p:nvSpPr>
            <p:cNvPr id="547" name="Freeform 73">
              <a:extLst>
                <a:ext uri="{FF2B5EF4-FFF2-40B4-BE49-F238E27FC236}">
                  <a16:creationId xmlns:a16="http://schemas.microsoft.com/office/drawing/2014/main" id="{33061F7A-3F02-40B2-BCC9-2ADBDF8F5760}"/>
                </a:ext>
              </a:extLst>
            </p:cNvPr>
            <p:cNvSpPr>
              <a:spLocks noChangeAspect="1" noEditPoints="1"/>
            </p:cNvSpPr>
            <p:nvPr/>
          </p:nvSpPr>
          <p:spPr bwMode="black">
            <a:xfrm>
              <a:off x="9613789" y="4421708"/>
              <a:ext cx="426242" cy="411480"/>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7F7F7F"/>
            </a:solidFill>
            <a:ln>
              <a:noFill/>
            </a:ln>
          </p:spPr>
          <p:txBody>
            <a:bodyPr vert="horz" wrap="square" lIns="82263" tIns="41131" rIns="82263" bIns="41131" numCol="1" anchor="t" anchorCtr="0" compatLnSpc="1">
              <a:prstTxWarp prst="textNoShape">
                <a:avLst/>
              </a:prstTxWarp>
            </a:bodyPr>
            <a:lstStyle/>
            <a:p>
              <a:pPr defTabSz="913693">
                <a:defRPr/>
              </a:pPr>
              <a:endParaRPr lang="en-US" sz="1600">
                <a:solidFill>
                  <a:srgbClr val="FFFFFF"/>
                </a:solidFill>
                <a:latin typeface="Segoe UI"/>
              </a:endParaRPr>
            </a:p>
          </p:txBody>
        </p:sp>
        <p:sp>
          <p:nvSpPr>
            <p:cNvPr id="548" name="TextBox 547">
              <a:extLst>
                <a:ext uri="{FF2B5EF4-FFF2-40B4-BE49-F238E27FC236}">
                  <a16:creationId xmlns:a16="http://schemas.microsoft.com/office/drawing/2014/main" id="{8728A2DB-733C-4F0A-9B07-70A569286DC3}"/>
                </a:ext>
              </a:extLst>
            </p:cNvPr>
            <p:cNvSpPr txBox="1"/>
            <p:nvPr/>
          </p:nvSpPr>
          <p:spPr>
            <a:xfrm>
              <a:off x="9573063" y="4905690"/>
              <a:ext cx="550216" cy="369332"/>
            </a:xfrm>
            <a:prstGeom prst="rect">
              <a:avLst/>
            </a:prstGeom>
          </p:spPr>
          <p:txBody>
            <a:bodyPr vert="horz" wrap="square" lIns="0" tIns="0" rIns="0" bIns="0" rtlCol="0" anchor="t">
              <a:spAutoFit/>
            </a:bodyPr>
            <a:lstStyle/>
            <a:p>
              <a:pPr algn="ctr" defTabSz="1087779">
                <a:defRPr/>
              </a:pPr>
              <a:r>
                <a:rPr lang="en-US" sz="1200" dirty="0">
                  <a:solidFill>
                    <a:srgbClr val="505050"/>
                  </a:solidFill>
                  <a:latin typeface="Segoe UI Semibold" panose="020B0702040204020203" pitchFamily="34" charset="0"/>
                  <a:ea typeface="Segoe UI" pitchFamily="34" charset="0"/>
                  <a:cs typeface="Segoe UI Semibold" panose="020B0702040204020203" pitchFamily="34" charset="0"/>
                </a:rPr>
                <a:t>Supply Chain</a:t>
              </a:r>
            </a:p>
          </p:txBody>
        </p:sp>
      </p:grpSp>
      <p:grpSp>
        <p:nvGrpSpPr>
          <p:cNvPr id="549" name="Group 548">
            <a:extLst>
              <a:ext uri="{FF2B5EF4-FFF2-40B4-BE49-F238E27FC236}">
                <a16:creationId xmlns:a16="http://schemas.microsoft.com/office/drawing/2014/main" id="{8D1F9541-B66B-4389-9F4C-7A0199D0AF78}"/>
              </a:ext>
            </a:extLst>
          </p:cNvPr>
          <p:cNvGrpSpPr/>
          <p:nvPr/>
        </p:nvGrpSpPr>
        <p:grpSpPr>
          <a:xfrm>
            <a:off x="11330449" y="4787950"/>
            <a:ext cx="591862" cy="710125"/>
            <a:chOff x="521560" y="2948186"/>
            <a:chExt cx="592170" cy="710495"/>
          </a:xfrm>
        </p:grpSpPr>
        <p:sp>
          <p:nvSpPr>
            <p:cNvPr id="550" name="TextBox 549">
              <a:extLst>
                <a:ext uri="{FF2B5EF4-FFF2-40B4-BE49-F238E27FC236}">
                  <a16:creationId xmlns:a16="http://schemas.microsoft.com/office/drawing/2014/main" id="{0AEFDF66-C3B8-40B0-9644-6C5B9F23B4C6}"/>
                </a:ext>
              </a:extLst>
            </p:cNvPr>
            <p:cNvSpPr txBox="1"/>
            <p:nvPr/>
          </p:nvSpPr>
          <p:spPr>
            <a:xfrm>
              <a:off x="528304" y="3474015"/>
              <a:ext cx="578685" cy="184666"/>
            </a:xfrm>
            <a:prstGeom prst="rect">
              <a:avLst/>
            </a:prstGeom>
          </p:spPr>
          <p:txBody>
            <a:bodyPr vert="horz" wrap="none" lIns="0" tIns="0" rIns="0" bIns="0" rtlCol="0" anchor="t">
              <a:spAutoFit/>
            </a:bodyPr>
            <a:lstStyle/>
            <a:p>
              <a:pPr algn="ctr" defTabSz="1087779">
                <a:defRPr/>
              </a:pPr>
              <a:r>
                <a:rPr lang="en-US" sz="1200" dirty="0">
                  <a:solidFill>
                    <a:srgbClr val="505050"/>
                  </a:solidFill>
                  <a:latin typeface="Segoe UI Semibold" panose="020B0702040204020203" pitchFamily="34" charset="0"/>
                  <a:ea typeface="Segoe UI" pitchFamily="34" charset="0"/>
                  <a:cs typeface="Segoe UI Semibold" panose="020B0702040204020203" pitchFamily="34" charset="0"/>
                </a:rPr>
                <a:t>Supplier</a:t>
              </a:r>
            </a:p>
          </p:txBody>
        </p:sp>
        <p:sp>
          <p:nvSpPr>
            <p:cNvPr id="551" name="Freeform 445">
              <a:extLst>
                <a:ext uri="{FF2B5EF4-FFF2-40B4-BE49-F238E27FC236}">
                  <a16:creationId xmlns:a16="http://schemas.microsoft.com/office/drawing/2014/main" id="{7563E6F6-A9CB-4301-A101-D0A10037F421}"/>
                </a:ext>
              </a:extLst>
            </p:cNvPr>
            <p:cNvSpPr/>
            <p:nvPr/>
          </p:nvSpPr>
          <p:spPr>
            <a:xfrm>
              <a:off x="521560" y="2948186"/>
              <a:ext cx="592170" cy="470906"/>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lumMod val="50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368" tIns="45684" rIns="45684" bIns="91368"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277" fontAlgn="base">
                <a:spcBef>
                  <a:spcPct val="0"/>
                </a:spcBef>
                <a:spcAft>
                  <a:spcPct val="0"/>
                </a:spcAft>
                <a:defRPr/>
              </a:pPr>
              <a:endParaRPr lang="en-US" sz="1797"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552" name="Group 551">
            <a:extLst>
              <a:ext uri="{FF2B5EF4-FFF2-40B4-BE49-F238E27FC236}">
                <a16:creationId xmlns:a16="http://schemas.microsoft.com/office/drawing/2014/main" id="{525B1688-A1C6-4000-BE29-FCDA5E55EF64}"/>
              </a:ext>
            </a:extLst>
          </p:cNvPr>
          <p:cNvGrpSpPr/>
          <p:nvPr/>
        </p:nvGrpSpPr>
        <p:grpSpPr>
          <a:xfrm>
            <a:off x="11358114" y="6026772"/>
            <a:ext cx="591862" cy="710125"/>
            <a:chOff x="521560" y="2948186"/>
            <a:chExt cx="592170" cy="710495"/>
          </a:xfrm>
        </p:grpSpPr>
        <p:sp>
          <p:nvSpPr>
            <p:cNvPr id="553" name="TextBox 552">
              <a:extLst>
                <a:ext uri="{FF2B5EF4-FFF2-40B4-BE49-F238E27FC236}">
                  <a16:creationId xmlns:a16="http://schemas.microsoft.com/office/drawing/2014/main" id="{3C10AF98-D9AF-4F6D-A77F-15A34DA331F2}"/>
                </a:ext>
              </a:extLst>
            </p:cNvPr>
            <p:cNvSpPr txBox="1"/>
            <p:nvPr/>
          </p:nvSpPr>
          <p:spPr>
            <a:xfrm>
              <a:off x="528304" y="3474015"/>
              <a:ext cx="578685" cy="184666"/>
            </a:xfrm>
            <a:prstGeom prst="rect">
              <a:avLst/>
            </a:prstGeom>
          </p:spPr>
          <p:txBody>
            <a:bodyPr vert="horz" wrap="none" lIns="0" tIns="0" rIns="0" bIns="0" rtlCol="0" anchor="t">
              <a:spAutoFit/>
            </a:bodyPr>
            <a:lstStyle/>
            <a:p>
              <a:pPr algn="ctr" defTabSz="1087779">
                <a:defRPr/>
              </a:pPr>
              <a:r>
                <a:rPr lang="en-US" sz="1200" dirty="0">
                  <a:solidFill>
                    <a:srgbClr val="505050"/>
                  </a:solidFill>
                  <a:latin typeface="Segoe UI Semibold" panose="020B0702040204020203" pitchFamily="34" charset="0"/>
                  <a:ea typeface="Segoe UI" pitchFamily="34" charset="0"/>
                  <a:cs typeface="Segoe UI Semibold" panose="020B0702040204020203" pitchFamily="34" charset="0"/>
                </a:rPr>
                <a:t>Supplier</a:t>
              </a:r>
            </a:p>
          </p:txBody>
        </p:sp>
        <p:sp>
          <p:nvSpPr>
            <p:cNvPr id="554" name="Freeform 451">
              <a:extLst>
                <a:ext uri="{FF2B5EF4-FFF2-40B4-BE49-F238E27FC236}">
                  <a16:creationId xmlns:a16="http://schemas.microsoft.com/office/drawing/2014/main" id="{6BCAB95C-1246-4634-8EC1-5B953C246503}"/>
                </a:ext>
              </a:extLst>
            </p:cNvPr>
            <p:cNvSpPr/>
            <p:nvPr/>
          </p:nvSpPr>
          <p:spPr>
            <a:xfrm>
              <a:off x="521560" y="2948186"/>
              <a:ext cx="592170" cy="470906"/>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lumMod val="50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368" tIns="45684" rIns="45684" bIns="91368"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277" fontAlgn="base">
                <a:spcBef>
                  <a:spcPct val="0"/>
                </a:spcBef>
                <a:spcAft>
                  <a:spcPct val="0"/>
                </a:spcAft>
                <a:defRPr/>
              </a:pPr>
              <a:endParaRPr lang="en-US" sz="1797"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555" name="Group 554">
            <a:extLst>
              <a:ext uri="{FF2B5EF4-FFF2-40B4-BE49-F238E27FC236}">
                <a16:creationId xmlns:a16="http://schemas.microsoft.com/office/drawing/2014/main" id="{EFB451DE-D1A8-4E96-A8C7-9925A92A80EE}"/>
              </a:ext>
            </a:extLst>
          </p:cNvPr>
          <p:cNvGrpSpPr/>
          <p:nvPr/>
        </p:nvGrpSpPr>
        <p:grpSpPr>
          <a:xfrm>
            <a:off x="1840832" y="6058868"/>
            <a:ext cx="1561059" cy="552227"/>
            <a:chOff x="3013512" y="1616132"/>
            <a:chExt cx="1165746" cy="552371"/>
          </a:xfrm>
        </p:grpSpPr>
        <p:sp>
          <p:nvSpPr>
            <p:cNvPr id="556" name="Arrow: Left-Right 555">
              <a:extLst>
                <a:ext uri="{FF2B5EF4-FFF2-40B4-BE49-F238E27FC236}">
                  <a16:creationId xmlns:a16="http://schemas.microsoft.com/office/drawing/2014/main" id="{A0A377DD-DB4D-42D8-9FA5-51363D3C9F93}"/>
                </a:ext>
              </a:extLst>
            </p:cNvPr>
            <p:cNvSpPr/>
            <p:nvPr/>
          </p:nvSpPr>
          <p:spPr>
            <a:xfrm>
              <a:off x="3013512" y="1616132"/>
              <a:ext cx="1165746" cy="552371"/>
            </a:xfrm>
            <a:prstGeom prst="lef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914126">
                <a:defRPr/>
              </a:pPr>
              <a:endParaRPr lang="en-US" sz="1200" dirty="0" err="1">
                <a:solidFill>
                  <a:prstClr val="white"/>
                </a:solidFill>
                <a:latin typeface="Segoe UI"/>
              </a:endParaRPr>
            </a:p>
          </p:txBody>
        </p:sp>
        <p:sp>
          <p:nvSpPr>
            <p:cNvPr id="557" name="TextBox 556">
              <a:extLst>
                <a:ext uri="{FF2B5EF4-FFF2-40B4-BE49-F238E27FC236}">
                  <a16:creationId xmlns:a16="http://schemas.microsoft.com/office/drawing/2014/main" id="{7E7D477D-40BD-484F-921D-CB2B0FCDAED6}"/>
                </a:ext>
              </a:extLst>
            </p:cNvPr>
            <p:cNvSpPr txBox="1"/>
            <p:nvPr/>
          </p:nvSpPr>
          <p:spPr>
            <a:xfrm>
              <a:off x="3284058" y="1774778"/>
              <a:ext cx="744682" cy="212603"/>
            </a:xfrm>
            <a:prstGeom prst="rect">
              <a:avLst/>
            </a:prstGeom>
          </p:spPr>
          <p:txBody>
            <a:bodyPr vert="horz" wrap="none" lIns="0" tIns="0" rIns="0" bIns="0" rtlCol="0" anchor="ctr">
              <a:noAutofit/>
            </a:bodyPr>
            <a:lstStyle>
              <a:defPPr>
                <a:defRPr lang="en-US"/>
              </a:defPPr>
              <a:lvl1pPr algn="ctr" defTabSz="1088105">
                <a:defRPr sz="1200">
                  <a:solidFill>
                    <a:srgbClr val="505050"/>
                  </a:solidFill>
                  <a:latin typeface="Segoe UI Semibold" panose="020B0702040204020203" pitchFamily="34" charset="0"/>
                  <a:ea typeface="Segoe UI" pitchFamily="34" charset="0"/>
                  <a:cs typeface="Segoe UI Semibold" panose="020B0702040204020203" pitchFamily="34" charset="0"/>
                </a:defRPr>
              </a:lvl1pPr>
            </a:lstStyle>
            <a:p>
              <a:pPr algn="l" defTabSz="1087779">
                <a:defRPr/>
              </a:pPr>
              <a:r>
                <a:rPr lang="en-US" kern="0" dirty="0">
                  <a:solidFill>
                    <a:prstClr val="white"/>
                  </a:solidFill>
                </a:rPr>
                <a:t>Observations</a:t>
              </a:r>
            </a:p>
          </p:txBody>
        </p:sp>
      </p:grpSp>
    </p:spTree>
    <p:extLst>
      <p:ext uri="{BB962C8B-B14F-4D97-AF65-F5344CB8AC3E}">
        <p14:creationId xmlns:p14="http://schemas.microsoft.com/office/powerpoint/2010/main" val="8640668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Rectangle 119"/>
          <p:cNvSpPr/>
          <p:nvPr>
            <p:custDataLst>
              <p:tags r:id="rId1"/>
            </p:custDataLst>
          </p:nvPr>
        </p:nvSpPr>
        <p:spPr>
          <a:xfrm>
            <a:off x="2303919" y="2012230"/>
            <a:ext cx="1578877" cy="4389444"/>
          </a:xfrm>
          <a:prstGeom prst="rect">
            <a:avLst/>
          </a:prstGeom>
          <a:solidFill>
            <a:schemeClr val="bg1">
              <a:lumMod val="95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7693" rtl="0" eaLnBrk="1" fontAlgn="auto" latinLnBrk="0" hangingPunct="1">
              <a:lnSpc>
                <a:spcPct val="100000"/>
              </a:lnSpc>
              <a:spcBef>
                <a:spcPts val="0"/>
              </a:spcBef>
              <a:spcAft>
                <a:spcPts val="0"/>
              </a:spcAft>
              <a:buClrTx/>
              <a:buSzTx/>
              <a:buFontTx/>
              <a:buNone/>
              <a:tabLst/>
              <a:defRPr/>
            </a:pPr>
            <a:endParaRPr kumimoji="0" lang="en-US" sz="1899" b="0" i="0" u="none" strike="noStrike" kern="0" cap="none" spc="0" normalizeH="0" baseline="0" noProof="0" err="1">
              <a:ln>
                <a:solidFill>
                  <a:srgbClr val="FFFFFF">
                    <a:alpha val="0"/>
                  </a:srgbClr>
                </a:solidFill>
              </a:ln>
              <a:solidFill>
                <a:prstClr val="white"/>
              </a:solidFill>
              <a:effectLst/>
              <a:uLnTx/>
              <a:uFillTx/>
              <a:latin typeface="Segoe UI"/>
              <a:ea typeface="+mn-ea"/>
              <a:cs typeface="+mn-cs"/>
            </a:endParaRPr>
          </a:p>
        </p:txBody>
      </p:sp>
      <p:grpSp>
        <p:nvGrpSpPr>
          <p:cNvPr id="290" name="Group 289"/>
          <p:cNvGrpSpPr/>
          <p:nvPr/>
        </p:nvGrpSpPr>
        <p:grpSpPr>
          <a:xfrm>
            <a:off x="2303919" y="1463590"/>
            <a:ext cx="1578877" cy="4312521"/>
            <a:chOff x="2304537" y="1463590"/>
            <a:chExt cx="1837130" cy="4312521"/>
          </a:xfrm>
          <a:solidFill>
            <a:schemeClr val="accent1"/>
          </a:solidFill>
        </p:grpSpPr>
        <p:sp>
          <p:nvSpPr>
            <p:cNvPr id="291" name="Rectangle 290"/>
            <p:cNvSpPr/>
            <p:nvPr/>
          </p:nvSpPr>
          <p:spPr bwMode="auto">
            <a:xfrm>
              <a:off x="2304537" y="1463590"/>
              <a:ext cx="1837130" cy="54864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51946"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Enabling Changes</a:t>
              </a:r>
            </a:p>
          </p:txBody>
        </p:sp>
        <p:sp>
          <p:nvSpPr>
            <p:cNvPr id="295" name="Rectangle 294"/>
            <p:cNvSpPr/>
            <p:nvPr/>
          </p:nvSpPr>
          <p:spPr bwMode="auto">
            <a:xfrm>
              <a:off x="2304537" y="2091640"/>
              <a:ext cx="1837130" cy="47539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51946"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a:ln>
                    <a:noFill/>
                  </a:ln>
                  <a:solidFill>
                    <a:prstClr val="white"/>
                  </a:solidFill>
                  <a:effectLst/>
                  <a:uLnTx/>
                  <a:uFillTx/>
                  <a:latin typeface="Segoe UI"/>
                  <a:ea typeface="+mn-ea"/>
                  <a:cs typeface="Segoe UI Semibold" panose="020B0702040204020203" pitchFamily="34" charset="0"/>
                </a:rPr>
                <a:t>Integrated channels strategy</a:t>
              </a:r>
            </a:p>
          </p:txBody>
        </p:sp>
        <p:sp>
          <p:nvSpPr>
            <p:cNvPr id="296" name="Rectangle 295"/>
            <p:cNvSpPr/>
            <p:nvPr/>
          </p:nvSpPr>
          <p:spPr bwMode="auto">
            <a:xfrm>
              <a:off x="2304537" y="2790499"/>
              <a:ext cx="1837130" cy="75504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 tIns="45720" rIns="36576" bIns="45720" numCol="1" spcCol="0" rtlCol="0" fromWordArt="0" anchor="ctr" anchorCtr="0" forceAA="0" compatLnSpc="1">
              <a:prstTxWarp prst="textNoShape">
                <a:avLst/>
              </a:prstTxWarp>
              <a:noAutofit/>
            </a:bodyPr>
            <a:lstStyle/>
            <a:p>
              <a:pPr marL="0" marR="0" lvl="0" indent="0" algn="ctr" defTabSz="1051946" rtl="0" eaLnBrk="1" fontAlgn="auto" latinLnBrk="0" hangingPunct="1">
                <a:lnSpc>
                  <a:spcPct val="100000"/>
                </a:lnSpc>
                <a:spcBef>
                  <a:spcPts val="0"/>
                </a:spcBef>
                <a:spcAft>
                  <a:spcPts val="0"/>
                </a:spcAft>
                <a:buClrTx/>
                <a:buSzTx/>
                <a:buFontTx/>
                <a:buNone/>
                <a:tabLst/>
                <a:defRPr/>
              </a:pPr>
              <a:r>
                <a:rPr kumimoji="0" lang="en-IN" sz="1100" b="0" i="0" u="none" strike="noStrike" kern="0" cap="none" spc="0" normalizeH="0" baseline="0" noProof="0" dirty="0">
                  <a:ln>
                    <a:noFill/>
                  </a:ln>
                  <a:solidFill>
                    <a:prstClr val="white"/>
                  </a:solidFill>
                  <a:effectLst/>
                  <a:uLnTx/>
                  <a:uFillTx/>
                  <a:latin typeface="Segoe UI"/>
                  <a:ea typeface="+mn-ea"/>
                  <a:cs typeface="Segoe UI Semibold" panose="020B0702040204020203" pitchFamily="34" charset="0"/>
                </a:rPr>
                <a:t>Rationalized, standardized, and integrated service management</a:t>
              </a:r>
            </a:p>
          </p:txBody>
        </p:sp>
        <p:sp>
          <p:nvSpPr>
            <p:cNvPr id="298" name="Rectangle 297"/>
            <p:cNvSpPr/>
            <p:nvPr/>
          </p:nvSpPr>
          <p:spPr bwMode="auto">
            <a:xfrm>
              <a:off x="2304537" y="3769002"/>
              <a:ext cx="1837130" cy="83015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defTabSz="1051946">
                <a:defRPr/>
              </a:pPr>
              <a:r>
                <a:rPr lang="en-US" sz="1100" kern="0" dirty="0">
                  <a:solidFill>
                    <a:prstClr val="white"/>
                  </a:solidFill>
                  <a:cs typeface="Segoe UI Semibold" panose="020B0702040204020203" pitchFamily="34" charset="0"/>
                </a:rPr>
                <a:t> Need to reevaluate their recall management practices</a:t>
              </a:r>
              <a:endParaRPr kumimoji="0" lang="en-IN" sz="1100" b="0" i="0" u="none" strike="noStrike" kern="0" cap="none" spc="0" normalizeH="0" baseline="0" noProof="0" dirty="0">
                <a:ln>
                  <a:noFill/>
                </a:ln>
                <a:solidFill>
                  <a:prstClr val="white"/>
                </a:solidFill>
                <a:effectLst/>
                <a:uLnTx/>
                <a:uFillTx/>
                <a:latin typeface="Segoe UI"/>
                <a:ea typeface="+mn-ea"/>
                <a:cs typeface="Segoe UI Semibold" panose="020B0702040204020203" pitchFamily="34" charset="0"/>
              </a:endParaRPr>
            </a:p>
          </p:txBody>
        </p:sp>
        <p:sp>
          <p:nvSpPr>
            <p:cNvPr id="299" name="Rectangle 298"/>
            <p:cNvSpPr/>
            <p:nvPr/>
          </p:nvSpPr>
          <p:spPr bwMode="auto">
            <a:xfrm>
              <a:off x="2304537" y="4789467"/>
              <a:ext cx="1837130" cy="98664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51946" rtl="0" eaLnBrk="1" fontAlgn="auto" latinLnBrk="0" hangingPunct="1">
                <a:lnSpc>
                  <a:spcPct val="100000"/>
                </a:lnSpc>
                <a:spcBef>
                  <a:spcPts val="0"/>
                </a:spcBef>
                <a:spcAft>
                  <a:spcPts val="0"/>
                </a:spcAft>
                <a:buClrTx/>
                <a:buSzTx/>
                <a:buFontTx/>
                <a:buNone/>
                <a:tabLst/>
                <a:defRPr/>
              </a:pPr>
              <a:r>
                <a:rPr kumimoji="0" lang="en-IN" sz="1100" b="0" i="0" u="none" strike="noStrike" kern="0" cap="none" spc="0" normalizeH="0" baseline="0" noProof="0" dirty="0">
                  <a:ln>
                    <a:noFill/>
                  </a:ln>
                  <a:solidFill>
                    <a:prstClr val="white"/>
                  </a:solidFill>
                  <a:effectLst/>
                  <a:uLnTx/>
                  <a:uFillTx/>
                  <a:latin typeface="Segoe UI"/>
                  <a:ea typeface="+mn-ea"/>
                  <a:cs typeface="Segoe UI Semibold" panose="020B0702040204020203" pitchFamily="34" charset="0"/>
                </a:rPr>
                <a:t>Agile systems to </a:t>
              </a:r>
              <a:br>
                <a:rPr kumimoji="0" lang="en-IN" sz="1100" b="0" i="0" u="none" strike="noStrike" kern="0" cap="none" spc="0" normalizeH="0" baseline="0" noProof="0" dirty="0">
                  <a:ln>
                    <a:noFill/>
                  </a:ln>
                  <a:solidFill>
                    <a:prstClr val="white"/>
                  </a:solidFill>
                  <a:effectLst/>
                  <a:uLnTx/>
                  <a:uFillTx/>
                  <a:latin typeface="Segoe UI"/>
                  <a:ea typeface="+mn-ea"/>
                  <a:cs typeface="Segoe UI Semibold" panose="020B0702040204020203" pitchFamily="34" charset="0"/>
                </a:rPr>
              </a:br>
              <a:r>
                <a:rPr kumimoji="0" lang="en-IN" sz="1100" b="0" i="0" u="none" strike="noStrike" kern="0" cap="none" spc="0" normalizeH="0" baseline="0" noProof="0" dirty="0">
                  <a:ln>
                    <a:noFill/>
                  </a:ln>
                  <a:solidFill>
                    <a:prstClr val="white"/>
                  </a:solidFill>
                  <a:effectLst/>
                  <a:uLnTx/>
                  <a:uFillTx/>
                  <a:latin typeface="Segoe UI"/>
                  <a:ea typeface="+mn-ea"/>
                  <a:cs typeface="Segoe UI Semibold" panose="020B0702040204020203" pitchFamily="34" charset="0"/>
                </a:rPr>
                <a:t>quickly adhere to new </a:t>
              </a:r>
              <a:br>
                <a:rPr kumimoji="0" lang="en-IN" sz="1100" b="0" i="0" u="none" strike="noStrike" kern="0" cap="none" spc="0" normalizeH="0" baseline="0" noProof="0" dirty="0">
                  <a:ln>
                    <a:noFill/>
                  </a:ln>
                  <a:solidFill>
                    <a:prstClr val="white"/>
                  </a:solidFill>
                  <a:effectLst/>
                  <a:uLnTx/>
                  <a:uFillTx/>
                  <a:latin typeface="Segoe UI"/>
                  <a:ea typeface="+mn-ea"/>
                  <a:cs typeface="Segoe UI Semibold" panose="020B0702040204020203" pitchFamily="34" charset="0"/>
                </a:rPr>
              </a:br>
              <a:r>
                <a:rPr kumimoji="0" lang="en-IN" sz="1100" b="0" i="0" u="none" strike="noStrike" kern="0" cap="none" spc="0" normalizeH="0" baseline="0" noProof="0" dirty="0">
                  <a:ln>
                    <a:noFill/>
                  </a:ln>
                  <a:solidFill>
                    <a:prstClr val="white"/>
                  </a:solidFill>
                  <a:effectLst/>
                  <a:uLnTx/>
                  <a:uFillTx/>
                  <a:latin typeface="Segoe UI"/>
                  <a:ea typeface="+mn-ea"/>
                  <a:cs typeface="Segoe UI Semibold" panose="020B0702040204020203" pitchFamily="34" charset="0"/>
                </a:rPr>
                <a:t>requirements, analyse, plan, monitor and report</a:t>
              </a:r>
            </a:p>
          </p:txBody>
        </p:sp>
      </p:grpSp>
      <p:sp>
        <p:nvSpPr>
          <p:cNvPr id="2" name="Title 1"/>
          <p:cNvSpPr>
            <a:spLocks noGrp="1"/>
          </p:cNvSpPr>
          <p:nvPr>
            <p:ph type="title"/>
          </p:nvPr>
        </p:nvSpPr>
        <p:spPr/>
        <p:txBody>
          <a:bodyPr/>
          <a:lstStyle/>
          <a:p>
            <a:r>
              <a:rPr lang="en-IN" dirty="0"/>
              <a:t>Integrated Supply Chain</a:t>
            </a:r>
          </a:p>
        </p:txBody>
      </p:sp>
      <p:sp>
        <p:nvSpPr>
          <p:cNvPr id="3" name="Slide Number Placeholder 2"/>
          <p:cNvSpPr>
            <a:spLocks noGrp="1"/>
          </p:cNvSpPr>
          <p:nvPr>
            <p:ph type="sldNum" sz="quarter" idx="14"/>
          </p:nvPr>
        </p:nvSpPr>
        <p:spPr/>
        <p:txBody>
          <a:bodyPr/>
          <a:lstStyle/>
          <a:p>
            <a:pPr marL="0" marR="0" lvl="0" indent="0" algn="r" defTabSz="1088105"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1088105" rtl="0" eaLnBrk="1" fontAlgn="auto" latinLnBrk="0" hangingPunct="1">
                <a:lnSpc>
                  <a:spcPct val="100000"/>
                </a:lnSpc>
                <a:spcBef>
                  <a:spcPts val="0"/>
                </a:spcBef>
                <a:spcAft>
                  <a:spcPts val="0"/>
                </a:spcAft>
                <a:buClrTx/>
                <a:buSzTx/>
                <a:buFontTx/>
                <a:buNone/>
                <a:tabLst/>
                <a:defRPr/>
              </a:pPr>
              <a:t>41</a:t>
            </a:fld>
            <a:endParaRPr kumimoji="0" lang="en-US" sz="800" b="0" i="0" u="none" strike="noStrike" kern="1200" cap="none" spc="0" normalizeH="0" baseline="0" noProof="0">
              <a:ln>
                <a:noFill/>
              </a:ln>
              <a:solidFill>
                <a:srgbClr val="505050"/>
              </a:solidFill>
              <a:effectLst/>
              <a:uLnTx/>
              <a:uFillTx/>
              <a:latin typeface="Segoe UI" pitchFamily="34" charset="0"/>
              <a:cs typeface="Segoe UI" pitchFamily="34" charset="0"/>
            </a:endParaRPr>
          </a:p>
        </p:txBody>
      </p:sp>
      <p:sp>
        <p:nvSpPr>
          <p:cNvPr id="116" name="Rectangle 115"/>
          <p:cNvSpPr/>
          <p:nvPr>
            <p:custDataLst>
              <p:tags r:id="rId2"/>
            </p:custDataLst>
          </p:nvPr>
        </p:nvSpPr>
        <p:spPr>
          <a:xfrm>
            <a:off x="4304623" y="2012230"/>
            <a:ext cx="1578877" cy="4389444"/>
          </a:xfrm>
          <a:prstGeom prst="rect">
            <a:avLst/>
          </a:prstGeom>
          <a:solidFill>
            <a:schemeClr val="bg1">
              <a:lumMod val="95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7693" rtl="0" eaLnBrk="1" fontAlgn="auto" latinLnBrk="0" hangingPunct="1">
              <a:lnSpc>
                <a:spcPct val="100000"/>
              </a:lnSpc>
              <a:spcBef>
                <a:spcPts val="0"/>
              </a:spcBef>
              <a:spcAft>
                <a:spcPts val="0"/>
              </a:spcAft>
              <a:buClrTx/>
              <a:buSzTx/>
              <a:buFontTx/>
              <a:buNone/>
              <a:tabLst/>
              <a:defRPr/>
            </a:pPr>
            <a:endParaRPr kumimoji="0" lang="en-US" sz="1899" b="0" i="0" u="none" strike="noStrike" kern="0" cap="none" spc="0" normalizeH="0" baseline="0" noProof="0" err="1">
              <a:ln>
                <a:solidFill>
                  <a:srgbClr val="FFFFFF">
                    <a:alpha val="0"/>
                  </a:srgbClr>
                </a:solidFill>
              </a:ln>
              <a:solidFill>
                <a:prstClr val="white"/>
              </a:solidFill>
              <a:effectLst/>
              <a:uLnTx/>
              <a:uFillTx/>
              <a:latin typeface="Segoe UI"/>
              <a:ea typeface="+mn-ea"/>
              <a:cs typeface="+mn-cs"/>
            </a:endParaRPr>
          </a:p>
        </p:txBody>
      </p:sp>
      <p:sp>
        <p:nvSpPr>
          <p:cNvPr id="117" name="Rectangle 116"/>
          <p:cNvSpPr/>
          <p:nvPr>
            <p:custDataLst>
              <p:tags r:id="rId3"/>
            </p:custDataLst>
          </p:nvPr>
        </p:nvSpPr>
        <p:spPr>
          <a:xfrm>
            <a:off x="6305329" y="2012230"/>
            <a:ext cx="1578877" cy="4389444"/>
          </a:xfrm>
          <a:prstGeom prst="rect">
            <a:avLst/>
          </a:prstGeom>
          <a:solidFill>
            <a:schemeClr val="bg1">
              <a:lumMod val="95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7693" rtl="0" eaLnBrk="1" fontAlgn="auto" latinLnBrk="0" hangingPunct="1">
              <a:lnSpc>
                <a:spcPct val="100000"/>
              </a:lnSpc>
              <a:spcBef>
                <a:spcPts val="0"/>
              </a:spcBef>
              <a:spcAft>
                <a:spcPts val="0"/>
              </a:spcAft>
              <a:buClrTx/>
              <a:buSzTx/>
              <a:buFontTx/>
              <a:buNone/>
              <a:tabLst/>
              <a:defRPr/>
            </a:pPr>
            <a:endParaRPr kumimoji="0" lang="en-US" sz="1899" b="0" i="0" u="none" strike="noStrike" kern="0" cap="none" spc="0" normalizeH="0" baseline="0" noProof="0" err="1">
              <a:ln>
                <a:solidFill>
                  <a:srgbClr val="FFFFFF">
                    <a:alpha val="0"/>
                  </a:srgbClr>
                </a:solidFill>
              </a:ln>
              <a:solidFill>
                <a:prstClr val="white"/>
              </a:solidFill>
              <a:effectLst/>
              <a:uLnTx/>
              <a:uFillTx/>
              <a:latin typeface="Segoe UI"/>
              <a:ea typeface="+mn-ea"/>
              <a:cs typeface="+mn-cs"/>
            </a:endParaRPr>
          </a:p>
        </p:txBody>
      </p:sp>
      <p:sp>
        <p:nvSpPr>
          <p:cNvPr id="118" name="Rectangle 117"/>
          <p:cNvSpPr/>
          <p:nvPr>
            <p:custDataLst>
              <p:tags r:id="rId4"/>
            </p:custDataLst>
          </p:nvPr>
        </p:nvSpPr>
        <p:spPr>
          <a:xfrm>
            <a:off x="8306033" y="2012230"/>
            <a:ext cx="1578877" cy="4389444"/>
          </a:xfrm>
          <a:prstGeom prst="rect">
            <a:avLst/>
          </a:prstGeom>
          <a:solidFill>
            <a:schemeClr val="bg1">
              <a:lumMod val="95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7693" rtl="0" eaLnBrk="1" fontAlgn="auto" latinLnBrk="0" hangingPunct="1">
              <a:lnSpc>
                <a:spcPct val="100000"/>
              </a:lnSpc>
              <a:spcBef>
                <a:spcPts val="0"/>
              </a:spcBef>
              <a:spcAft>
                <a:spcPts val="0"/>
              </a:spcAft>
              <a:buClrTx/>
              <a:buSzTx/>
              <a:buFontTx/>
              <a:buNone/>
              <a:tabLst/>
              <a:defRPr/>
            </a:pPr>
            <a:endParaRPr kumimoji="0" lang="en-US" sz="1899" b="0" i="0" u="none" strike="noStrike" kern="0" cap="none" spc="0" normalizeH="0" baseline="0" noProof="0" err="1">
              <a:ln>
                <a:solidFill>
                  <a:srgbClr val="FFFFFF">
                    <a:alpha val="0"/>
                  </a:srgbClr>
                </a:solidFill>
              </a:ln>
              <a:solidFill>
                <a:prstClr val="white"/>
              </a:solidFill>
              <a:effectLst/>
              <a:uLnTx/>
              <a:uFillTx/>
              <a:latin typeface="Segoe UI"/>
              <a:ea typeface="+mn-ea"/>
              <a:cs typeface="+mn-cs"/>
            </a:endParaRPr>
          </a:p>
        </p:txBody>
      </p:sp>
      <p:sp>
        <p:nvSpPr>
          <p:cNvPr id="119" name="Rectangle 118"/>
          <p:cNvSpPr/>
          <p:nvPr>
            <p:custDataLst>
              <p:tags r:id="rId5"/>
            </p:custDataLst>
          </p:nvPr>
        </p:nvSpPr>
        <p:spPr>
          <a:xfrm>
            <a:off x="10306736" y="2012230"/>
            <a:ext cx="1578877" cy="4389444"/>
          </a:xfrm>
          <a:prstGeom prst="rect">
            <a:avLst/>
          </a:prstGeom>
          <a:solidFill>
            <a:schemeClr val="bg1">
              <a:lumMod val="95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7693" rtl="0" eaLnBrk="1" fontAlgn="auto" latinLnBrk="0" hangingPunct="1">
              <a:lnSpc>
                <a:spcPct val="100000"/>
              </a:lnSpc>
              <a:spcBef>
                <a:spcPts val="0"/>
              </a:spcBef>
              <a:spcAft>
                <a:spcPts val="0"/>
              </a:spcAft>
              <a:buClrTx/>
              <a:buSzTx/>
              <a:buFontTx/>
              <a:buNone/>
              <a:tabLst/>
              <a:defRPr/>
            </a:pPr>
            <a:endParaRPr kumimoji="0" lang="en-US" sz="1899" b="0" i="0" u="none" strike="noStrike" kern="0" cap="none" spc="0" normalizeH="0" baseline="0" noProof="0" err="1">
              <a:ln>
                <a:solidFill>
                  <a:srgbClr val="FFFFFF">
                    <a:alpha val="0"/>
                  </a:srgbClr>
                </a:solidFill>
              </a:ln>
              <a:solidFill>
                <a:prstClr val="white"/>
              </a:solidFill>
              <a:effectLst/>
              <a:uLnTx/>
              <a:uFillTx/>
              <a:latin typeface="Segoe UI"/>
              <a:ea typeface="+mn-ea"/>
              <a:cs typeface="+mn-cs"/>
            </a:endParaRPr>
          </a:p>
        </p:txBody>
      </p:sp>
      <p:sp>
        <p:nvSpPr>
          <p:cNvPr id="115" name="Rectangle 114"/>
          <p:cNvSpPr/>
          <p:nvPr>
            <p:custDataLst>
              <p:tags r:id="rId6"/>
            </p:custDataLst>
          </p:nvPr>
        </p:nvSpPr>
        <p:spPr>
          <a:xfrm>
            <a:off x="303213" y="2012230"/>
            <a:ext cx="1578877" cy="4389444"/>
          </a:xfrm>
          <a:prstGeom prst="rect">
            <a:avLst/>
          </a:prstGeom>
          <a:solidFill>
            <a:schemeClr val="bg1">
              <a:lumMod val="95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7693" rtl="0" eaLnBrk="1" fontAlgn="auto" latinLnBrk="0" hangingPunct="1">
              <a:lnSpc>
                <a:spcPct val="100000"/>
              </a:lnSpc>
              <a:spcBef>
                <a:spcPts val="0"/>
              </a:spcBef>
              <a:spcAft>
                <a:spcPts val="0"/>
              </a:spcAft>
              <a:buClrTx/>
              <a:buSzTx/>
              <a:buFontTx/>
              <a:buNone/>
              <a:tabLst/>
              <a:defRPr/>
            </a:pPr>
            <a:endParaRPr kumimoji="0" lang="en-US" sz="1899" b="0" i="0" u="none" strike="noStrike" kern="0" cap="none" spc="0" normalizeH="0" baseline="0" noProof="0" err="1">
              <a:ln>
                <a:solidFill>
                  <a:srgbClr val="FFFFFF">
                    <a:alpha val="0"/>
                  </a:srgbClr>
                </a:solidFill>
              </a:ln>
              <a:solidFill>
                <a:prstClr val="white"/>
              </a:solidFill>
              <a:effectLst/>
              <a:uLnTx/>
              <a:uFillTx/>
              <a:latin typeface="Segoe UI"/>
              <a:ea typeface="+mn-ea"/>
              <a:cs typeface="+mn-cs"/>
            </a:endParaRPr>
          </a:p>
        </p:txBody>
      </p:sp>
      <p:grpSp>
        <p:nvGrpSpPr>
          <p:cNvPr id="91" name="Group 90"/>
          <p:cNvGrpSpPr/>
          <p:nvPr/>
        </p:nvGrpSpPr>
        <p:grpSpPr>
          <a:xfrm>
            <a:off x="303214" y="1463590"/>
            <a:ext cx="1578877" cy="3693499"/>
            <a:chOff x="389585" y="1463590"/>
            <a:chExt cx="1837130" cy="3693499"/>
          </a:xfrm>
          <a:solidFill>
            <a:schemeClr val="tx2"/>
          </a:solidFill>
        </p:grpSpPr>
        <p:sp>
          <p:nvSpPr>
            <p:cNvPr id="11" name="Rectangle 10"/>
            <p:cNvSpPr/>
            <p:nvPr/>
          </p:nvSpPr>
          <p:spPr bwMode="auto">
            <a:xfrm>
              <a:off x="389585" y="1463590"/>
              <a:ext cx="1837130" cy="54864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Semibold" panose="020B0702040204020203" pitchFamily="34" charset="0"/>
                  <a:ea typeface="Segoe UI" pitchFamily="34" charset="0"/>
                  <a:cs typeface="Segoe UI Semibold" panose="020B0702040204020203" pitchFamily="34" charset="0"/>
                </a:rPr>
                <a:t>Enabling Technologies</a:t>
              </a:r>
            </a:p>
          </p:txBody>
        </p:sp>
        <p:sp>
          <p:nvSpPr>
            <p:cNvPr id="18" name="Rectangle 17"/>
            <p:cNvSpPr/>
            <p:nvPr/>
          </p:nvSpPr>
          <p:spPr bwMode="auto">
            <a:xfrm>
              <a:off x="389585" y="2079957"/>
              <a:ext cx="1837130" cy="57066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egoe UI"/>
                  <a:ea typeface="Segoe UI" pitchFamily="34" charset="0"/>
                  <a:cs typeface="Segoe UI Semibold" panose="020B0702040204020203" pitchFamily="34" charset="0"/>
                </a:rPr>
                <a:t>Internet of Things</a:t>
              </a:r>
            </a:p>
          </p:txBody>
        </p:sp>
        <p:sp>
          <p:nvSpPr>
            <p:cNvPr id="33" name="Rectangle 32"/>
            <p:cNvSpPr/>
            <p:nvPr/>
          </p:nvSpPr>
          <p:spPr bwMode="auto">
            <a:xfrm>
              <a:off x="389585" y="2915446"/>
              <a:ext cx="1837130" cy="57066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Segoe UI"/>
                  <a:ea typeface="Segoe UI" pitchFamily="34" charset="0"/>
                  <a:cs typeface="Segoe UI Semibold" panose="020B0702040204020203" pitchFamily="34" charset="0"/>
                </a:rPr>
                <a:t>Smart Productivity  Applications</a:t>
              </a:r>
            </a:p>
          </p:txBody>
        </p:sp>
        <p:sp>
          <p:nvSpPr>
            <p:cNvPr id="40" name="Rectangle 39"/>
            <p:cNvSpPr/>
            <p:nvPr/>
          </p:nvSpPr>
          <p:spPr bwMode="auto">
            <a:xfrm>
              <a:off x="389585" y="3750935"/>
              <a:ext cx="1837130" cy="57066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a:ea typeface="Segoe UI" pitchFamily="34" charset="0"/>
                  <a:cs typeface="Segoe UI Semibold" panose="020B0702040204020203" pitchFamily="34" charset="0"/>
                </a:rPr>
                <a:t>Cloud and Mobile Services</a:t>
              </a:r>
            </a:p>
          </p:txBody>
        </p:sp>
        <p:sp>
          <p:nvSpPr>
            <p:cNvPr id="47" name="Rectangle 46"/>
            <p:cNvSpPr/>
            <p:nvPr/>
          </p:nvSpPr>
          <p:spPr bwMode="auto">
            <a:xfrm>
              <a:off x="389585" y="4586425"/>
              <a:ext cx="1837130" cy="57066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Segoe UI"/>
                  <a:ea typeface="Segoe UI" pitchFamily="34" charset="0"/>
                  <a:cs typeface="Segoe UI Semibold" panose="020B0702040204020203" pitchFamily="34" charset="0"/>
                </a:rPr>
                <a:t>Big Data and Analytics</a:t>
              </a:r>
            </a:p>
          </p:txBody>
        </p:sp>
      </p:grpSp>
      <p:grpSp>
        <p:nvGrpSpPr>
          <p:cNvPr id="281" name="Group 280"/>
          <p:cNvGrpSpPr/>
          <p:nvPr/>
        </p:nvGrpSpPr>
        <p:grpSpPr>
          <a:xfrm>
            <a:off x="4304623" y="1463590"/>
            <a:ext cx="1578877" cy="4946734"/>
            <a:chOff x="4219490" y="1463590"/>
            <a:chExt cx="1837130" cy="4946734"/>
          </a:xfrm>
          <a:solidFill>
            <a:schemeClr val="accent2"/>
          </a:solidFill>
        </p:grpSpPr>
        <p:sp>
          <p:nvSpPr>
            <p:cNvPr id="282" name="Rectangle 281"/>
            <p:cNvSpPr/>
            <p:nvPr/>
          </p:nvSpPr>
          <p:spPr bwMode="auto">
            <a:xfrm>
              <a:off x="4219490" y="1463590"/>
              <a:ext cx="1837130" cy="54864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52024"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Business Changes</a:t>
              </a:r>
            </a:p>
          </p:txBody>
        </p:sp>
        <p:sp>
          <p:nvSpPr>
            <p:cNvPr id="284" name="Rectangle 283"/>
            <p:cNvSpPr/>
            <p:nvPr/>
          </p:nvSpPr>
          <p:spPr bwMode="auto">
            <a:xfrm>
              <a:off x="4219490" y="2079956"/>
              <a:ext cx="1837130" cy="104139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052024"/>
              <a:r>
                <a:rPr lang="en-IN" sz="1100" kern="0" dirty="0">
                  <a:solidFill>
                    <a:srgbClr val="505050"/>
                  </a:solidFill>
                  <a:latin typeface="Segoe UI"/>
                  <a:cs typeface="Segoe UI Semibold" panose="020B0702040204020203" pitchFamily="34" charset="0"/>
                </a:rPr>
                <a:t>Pressure to lower costs through manufacturing process efficiencies</a:t>
              </a:r>
            </a:p>
          </p:txBody>
        </p:sp>
        <p:sp>
          <p:nvSpPr>
            <p:cNvPr id="285" name="Rectangle 284"/>
            <p:cNvSpPr/>
            <p:nvPr/>
          </p:nvSpPr>
          <p:spPr bwMode="auto">
            <a:xfrm>
              <a:off x="4219490" y="3176280"/>
              <a:ext cx="1837130" cy="104139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52024" rtl="0" eaLnBrk="1" fontAlgn="auto" latinLnBrk="0" hangingPunct="1">
                <a:lnSpc>
                  <a:spcPct val="100000"/>
                </a:lnSpc>
                <a:spcBef>
                  <a:spcPts val="0"/>
                </a:spcBef>
                <a:spcAft>
                  <a:spcPts val="0"/>
                </a:spcAft>
                <a:buClrTx/>
                <a:buSzTx/>
                <a:buFontTx/>
                <a:buNone/>
                <a:tabLst/>
                <a:defRPr/>
              </a:pPr>
              <a:r>
                <a:rPr kumimoji="0" lang="en-IN" sz="1100" b="0" i="0" u="none" strike="noStrike" kern="0" cap="none" spc="0" normalizeH="0" baseline="0" noProof="0" dirty="0">
                  <a:ln>
                    <a:noFill/>
                  </a:ln>
                  <a:solidFill>
                    <a:srgbClr val="505050"/>
                  </a:solidFill>
                  <a:effectLst/>
                  <a:uLnTx/>
                  <a:uFillTx/>
                  <a:latin typeface="Segoe UI"/>
                  <a:ea typeface="+mn-ea"/>
                  <a:cs typeface="Segoe UI Semibold" panose="020B0702040204020203" pitchFamily="34" charset="0"/>
                </a:rPr>
                <a:t>Connect with customer</a:t>
              </a:r>
            </a:p>
          </p:txBody>
        </p:sp>
        <p:sp>
          <p:nvSpPr>
            <p:cNvPr id="287" name="Rectangle 286"/>
            <p:cNvSpPr/>
            <p:nvPr/>
          </p:nvSpPr>
          <p:spPr bwMode="auto">
            <a:xfrm>
              <a:off x="4219490" y="4272604"/>
              <a:ext cx="1837130" cy="104139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52024" rtl="0" eaLnBrk="1" fontAlgn="auto" latinLnBrk="0" hangingPunct="1">
                <a:lnSpc>
                  <a:spcPct val="100000"/>
                </a:lnSpc>
                <a:spcBef>
                  <a:spcPts val="0"/>
                </a:spcBef>
                <a:spcAft>
                  <a:spcPts val="0"/>
                </a:spcAft>
                <a:buClrTx/>
                <a:buSzTx/>
                <a:buFontTx/>
                <a:buNone/>
                <a:tabLst/>
                <a:defRPr/>
              </a:pPr>
              <a:r>
                <a:rPr kumimoji="0" lang="en-IN" sz="1100" b="0" i="0" u="none" strike="noStrike" kern="0" cap="none" spc="0" normalizeH="0" baseline="0" noProof="0">
                  <a:ln>
                    <a:noFill/>
                  </a:ln>
                  <a:solidFill>
                    <a:srgbClr val="505050"/>
                  </a:solidFill>
                  <a:effectLst/>
                  <a:uLnTx/>
                  <a:uFillTx/>
                  <a:latin typeface="Segoe UI"/>
                  <a:ea typeface="+mn-ea"/>
                  <a:cs typeface="Segoe UI Semibold" panose="020B0702040204020203" pitchFamily="34" charset="0"/>
                </a:rPr>
                <a:t>Improve operational efficiencies through innovation</a:t>
              </a:r>
            </a:p>
          </p:txBody>
        </p:sp>
        <p:sp>
          <p:nvSpPr>
            <p:cNvPr id="288" name="Rectangle 287"/>
            <p:cNvSpPr/>
            <p:nvPr/>
          </p:nvSpPr>
          <p:spPr bwMode="auto">
            <a:xfrm>
              <a:off x="4219490" y="5368929"/>
              <a:ext cx="1837130" cy="104139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52024" rtl="0" eaLnBrk="1" fontAlgn="auto" latinLnBrk="0" hangingPunct="1">
                <a:lnSpc>
                  <a:spcPct val="100000"/>
                </a:lnSpc>
                <a:spcBef>
                  <a:spcPts val="0"/>
                </a:spcBef>
                <a:spcAft>
                  <a:spcPts val="0"/>
                </a:spcAft>
                <a:buClrTx/>
                <a:buSzTx/>
                <a:buFontTx/>
                <a:buNone/>
                <a:tabLst/>
                <a:defRPr/>
              </a:pPr>
              <a:r>
                <a:rPr kumimoji="0" lang="en-IN" sz="1100" b="0" i="0" u="none" strike="noStrike" kern="0" cap="none" spc="0" normalizeH="0" baseline="0" noProof="0" dirty="0">
                  <a:ln>
                    <a:noFill/>
                  </a:ln>
                  <a:solidFill>
                    <a:srgbClr val="505050"/>
                  </a:solidFill>
                  <a:effectLst/>
                  <a:uLnTx/>
                  <a:uFillTx/>
                  <a:latin typeface="Segoe UI"/>
                  <a:ea typeface="+mn-ea"/>
                  <a:cs typeface="Segoe UI Semibold" panose="020B0702040204020203" pitchFamily="34" charset="0"/>
                </a:rPr>
                <a:t>Accelerate collaboration across the value chain</a:t>
              </a:r>
            </a:p>
          </p:txBody>
        </p:sp>
      </p:grpSp>
      <p:grpSp>
        <p:nvGrpSpPr>
          <p:cNvPr id="300" name="Group 299"/>
          <p:cNvGrpSpPr/>
          <p:nvPr/>
        </p:nvGrpSpPr>
        <p:grpSpPr>
          <a:xfrm>
            <a:off x="10306736" y="1463590"/>
            <a:ext cx="1578877" cy="2440265"/>
            <a:chOff x="9964345" y="1463590"/>
            <a:chExt cx="1837130" cy="2440265"/>
          </a:xfrm>
          <a:solidFill>
            <a:schemeClr val="accent5"/>
          </a:solidFill>
        </p:grpSpPr>
        <p:sp>
          <p:nvSpPr>
            <p:cNvPr id="301" name="Rectangle 300"/>
            <p:cNvSpPr/>
            <p:nvPr/>
          </p:nvSpPr>
          <p:spPr bwMode="auto">
            <a:xfrm>
              <a:off x="9964345" y="1463590"/>
              <a:ext cx="1837130" cy="54864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52024"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Business Drivers</a:t>
              </a:r>
            </a:p>
          </p:txBody>
        </p:sp>
        <p:sp>
          <p:nvSpPr>
            <p:cNvPr id="302" name="Rectangle 301"/>
            <p:cNvSpPr/>
            <p:nvPr/>
          </p:nvSpPr>
          <p:spPr bwMode="auto">
            <a:xfrm>
              <a:off x="9964345" y="2079957"/>
              <a:ext cx="1837130" cy="57066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591836">
                <a:lnSpc>
                  <a:spcPct val="110000"/>
                </a:lnSpc>
                <a:spcBef>
                  <a:spcPts val="100"/>
                </a:spcBef>
                <a:defRPr/>
              </a:pPr>
              <a:r>
                <a:rPr lang="en-US" sz="1100" kern="0" dirty="0">
                  <a:solidFill>
                    <a:prstClr val="white"/>
                  </a:solidFill>
                </a:rPr>
                <a:t>Consumer demand</a:t>
              </a:r>
            </a:p>
          </p:txBody>
        </p:sp>
        <p:sp>
          <p:nvSpPr>
            <p:cNvPr id="303" name="Rectangle 302"/>
            <p:cNvSpPr/>
            <p:nvPr/>
          </p:nvSpPr>
          <p:spPr bwMode="auto">
            <a:xfrm>
              <a:off x="9964345" y="2706574"/>
              <a:ext cx="1837130" cy="57066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591836">
                <a:lnSpc>
                  <a:spcPct val="110000"/>
                </a:lnSpc>
                <a:spcBef>
                  <a:spcPts val="100"/>
                </a:spcBef>
                <a:defRPr/>
              </a:pPr>
              <a:r>
                <a:rPr lang="en-US" sz="1100" kern="0" dirty="0">
                  <a:solidFill>
                    <a:prstClr val="white"/>
                  </a:solidFill>
                </a:rPr>
                <a:t>Globalization</a:t>
              </a:r>
              <a:endParaRPr lang="en-GB" sz="1100" kern="0" dirty="0">
                <a:solidFill>
                  <a:prstClr val="white"/>
                </a:solidFill>
              </a:endParaRPr>
            </a:p>
          </p:txBody>
        </p:sp>
        <p:sp>
          <p:nvSpPr>
            <p:cNvPr id="304" name="Rectangle 303"/>
            <p:cNvSpPr/>
            <p:nvPr/>
          </p:nvSpPr>
          <p:spPr bwMode="auto">
            <a:xfrm>
              <a:off x="9964345" y="3333191"/>
              <a:ext cx="1837130" cy="570664"/>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591836">
                <a:lnSpc>
                  <a:spcPct val="110000"/>
                </a:lnSpc>
                <a:spcBef>
                  <a:spcPts val="100"/>
                </a:spcBef>
                <a:defRPr/>
              </a:pPr>
              <a:r>
                <a:rPr lang="en-US" sz="1100" kern="0" dirty="0">
                  <a:solidFill>
                    <a:prstClr val="white"/>
                  </a:solidFill>
                </a:rPr>
                <a:t>Information and communication</a:t>
              </a:r>
              <a:endParaRPr lang="en-GB" sz="1100" kern="0" dirty="0">
                <a:solidFill>
                  <a:prstClr val="white"/>
                </a:solidFill>
              </a:endParaRPr>
            </a:p>
          </p:txBody>
        </p:sp>
      </p:grpSp>
      <p:grpSp>
        <p:nvGrpSpPr>
          <p:cNvPr id="309" name="Group 308"/>
          <p:cNvGrpSpPr/>
          <p:nvPr/>
        </p:nvGrpSpPr>
        <p:grpSpPr>
          <a:xfrm>
            <a:off x="6305329" y="1463590"/>
            <a:ext cx="1578877" cy="4946734"/>
            <a:chOff x="6134442" y="1463590"/>
            <a:chExt cx="1837130" cy="4946734"/>
          </a:xfrm>
          <a:solidFill>
            <a:schemeClr val="accent3"/>
          </a:solidFill>
        </p:grpSpPr>
        <p:sp>
          <p:nvSpPr>
            <p:cNvPr id="310" name="Rectangle 309"/>
            <p:cNvSpPr/>
            <p:nvPr/>
          </p:nvSpPr>
          <p:spPr bwMode="auto">
            <a:xfrm>
              <a:off x="6134442" y="1463590"/>
              <a:ext cx="1837130" cy="54864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52024"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Benefits</a:t>
              </a:r>
            </a:p>
          </p:txBody>
        </p:sp>
        <p:sp>
          <p:nvSpPr>
            <p:cNvPr id="311" name="Rectangle 310"/>
            <p:cNvSpPr/>
            <p:nvPr/>
          </p:nvSpPr>
          <p:spPr bwMode="auto">
            <a:xfrm>
              <a:off x="6134442" y="2079956"/>
              <a:ext cx="1837130" cy="104139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defTabSz="914241">
                <a:lnSpc>
                  <a:spcPct val="110000"/>
                </a:lnSpc>
                <a:spcBef>
                  <a:spcPts val="267"/>
                </a:spcBef>
                <a:defRPr/>
              </a:pPr>
              <a:r>
                <a:rPr lang="en-US" sz="1100" kern="0" dirty="0">
                  <a:solidFill>
                    <a:schemeClr val="bg1"/>
                  </a:solidFill>
                </a:rPr>
                <a:t>Improved flexibility</a:t>
              </a:r>
            </a:p>
          </p:txBody>
        </p:sp>
        <p:sp>
          <p:nvSpPr>
            <p:cNvPr id="312" name="Rectangle 311"/>
            <p:cNvSpPr/>
            <p:nvPr/>
          </p:nvSpPr>
          <p:spPr bwMode="auto">
            <a:xfrm>
              <a:off x="6134442" y="3176280"/>
              <a:ext cx="1837130" cy="104139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defTabSz="914241">
                <a:lnSpc>
                  <a:spcPct val="110000"/>
                </a:lnSpc>
                <a:spcBef>
                  <a:spcPts val="267"/>
                </a:spcBef>
                <a:defRPr/>
              </a:pPr>
              <a:r>
                <a:rPr lang="en-US" sz="1100" kern="0" dirty="0">
                  <a:solidFill>
                    <a:schemeClr val="bg1"/>
                  </a:solidFill>
                </a:rPr>
                <a:t>Reduced time to market with products</a:t>
              </a:r>
            </a:p>
          </p:txBody>
        </p:sp>
        <p:sp>
          <p:nvSpPr>
            <p:cNvPr id="313" name="Rectangle 312"/>
            <p:cNvSpPr/>
            <p:nvPr/>
          </p:nvSpPr>
          <p:spPr bwMode="auto">
            <a:xfrm>
              <a:off x="6134442" y="4272604"/>
              <a:ext cx="1837130" cy="104139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defTabSz="914241">
                <a:lnSpc>
                  <a:spcPct val="110000"/>
                </a:lnSpc>
                <a:spcBef>
                  <a:spcPts val="267"/>
                </a:spcBef>
                <a:defRPr/>
              </a:pPr>
              <a:r>
                <a:rPr lang="en-US" sz="1100" kern="0" dirty="0">
                  <a:solidFill>
                    <a:schemeClr val="bg1"/>
                  </a:solidFill>
                </a:rPr>
                <a:t>Reduced wastage</a:t>
              </a:r>
            </a:p>
          </p:txBody>
        </p:sp>
        <p:sp>
          <p:nvSpPr>
            <p:cNvPr id="314" name="Rectangle 313"/>
            <p:cNvSpPr/>
            <p:nvPr/>
          </p:nvSpPr>
          <p:spPr bwMode="auto">
            <a:xfrm>
              <a:off x="6134442" y="5368929"/>
              <a:ext cx="1837130" cy="104139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defTabSz="914241">
                <a:lnSpc>
                  <a:spcPct val="110000"/>
                </a:lnSpc>
                <a:spcBef>
                  <a:spcPts val="267"/>
                </a:spcBef>
                <a:defRPr/>
              </a:pPr>
              <a:r>
                <a:rPr lang="en-GB" sz="1100" kern="0" dirty="0">
                  <a:solidFill>
                    <a:schemeClr val="bg1"/>
                  </a:solidFill>
                </a:rPr>
                <a:t>Higher profit margins</a:t>
              </a:r>
            </a:p>
          </p:txBody>
        </p:sp>
      </p:grpSp>
      <p:grpSp>
        <p:nvGrpSpPr>
          <p:cNvPr id="315" name="Group 314"/>
          <p:cNvGrpSpPr/>
          <p:nvPr/>
        </p:nvGrpSpPr>
        <p:grpSpPr>
          <a:xfrm>
            <a:off x="8306033" y="1463590"/>
            <a:ext cx="1578877" cy="3850409"/>
            <a:chOff x="8049393" y="1463590"/>
            <a:chExt cx="1837130" cy="3850409"/>
          </a:xfrm>
          <a:solidFill>
            <a:schemeClr val="accent4"/>
          </a:solidFill>
        </p:grpSpPr>
        <p:sp>
          <p:nvSpPr>
            <p:cNvPr id="316" name="Rectangle 315"/>
            <p:cNvSpPr/>
            <p:nvPr/>
          </p:nvSpPr>
          <p:spPr bwMode="auto">
            <a:xfrm>
              <a:off x="8049393" y="1463590"/>
              <a:ext cx="1837130" cy="54864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52024"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Investment Objectives</a:t>
              </a:r>
            </a:p>
          </p:txBody>
        </p:sp>
        <p:sp>
          <p:nvSpPr>
            <p:cNvPr id="317" name="Rectangle 316"/>
            <p:cNvSpPr/>
            <p:nvPr/>
          </p:nvSpPr>
          <p:spPr bwMode="auto">
            <a:xfrm>
              <a:off x="8049393" y="2079956"/>
              <a:ext cx="1837130" cy="104139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591836">
                <a:lnSpc>
                  <a:spcPct val="110000"/>
                </a:lnSpc>
                <a:spcBef>
                  <a:spcPts val="100"/>
                </a:spcBef>
                <a:defRPr/>
              </a:pPr>
              <a:r>
                <a:rPr lang="en-GB" sz="1100" kern="0" dirty="0">
                  <a:solidFill>
                    <a:prstClr val="white"/>
                  </a:solidFill>
                </a:rPr>
                <a:t>Build a centralised distribution strategy to better predict consumer demand</a:t>
              </a:r>
            </a:p>
          </p:txBody>
        </p:sp>
        <p:sp>
          <p:nvSpPr>
            <p:cNvPr id="318" name="Rectangle 317"/>
            <p:cNvSpPr/>
            <p:nvPr/>
          </p:nvSpPr>
          <p:spPr bwMode="auto">
            <a:xfrm>
              <a:off x="8049393" y="3176280"/>
              <a:ext cx="1837130" cy="104139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591836">
                <a:lnSpc>
                  <a:spcPct val="110000"/>
                </a:lnSpc>
                <a:spcBef>
                  <a:spcPts val="100"/>
                </a:spcBef>
                <a:defRPr/>
              </a:pPr>
              <a:r>
                <a:rPr lang="en-US" sz="1100" kern="0" dirty="0">
                  <a:solidFill>
                    <a:prstClr val="white"/>
                  </a:solidFill>
                </a:rPr>
                <a:t>Product design strategy</a:t>
              </a:r>
              <a:endParaRPr lang="en-GB" sz="1100" kern="0" dirty="0">
                <a:solidFill>
                  <a:prstClr val="white"/>
                </a:solidFill>
              </a:endParaRPr>
            </a:p>
          </p:txBody>
        </p:sp>
        <p:sp>
          <p:nvSpPr>
            <p:cNvPr id="319" name="Rectangle 318"/>
            <p:cNvSpPr/>
            <p:nvPr/>
          </p:nvSpPr>
          <p:spPr bwMode="auto">
            <a:xfrm>
              <a:off x="8049393" y="4272604"/>
              <a:ext cx="1837130" cy="104139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defTabSz="591836">
                <a:lnSpc>
                  <a:spcPct val="110000"/>
                </a:lnSpc>
                <a:spcBef>
                  <a:spcPts val="100"/>
                </a:spcBef>
                <a:defRPr/>
              </a:pPr>
              <a:r>
                <a:rPr lang="en-US" sz="1100" kern="0" dirty="0">
                  <a:solidFill>
                    <a:prstClr val="white"/>
                  </a:solidFill>
                </a:rPr>
                <a:t>Integrate systems and processes through the supply chain to share valuable information.</a:t>
              </a:r>
              <a:endParaRPr lang="en-GB" sz="1100" kern="0" dirty="0">
                <a:solidFill>
                  <a:prstClr val="white"/>
                </a:solidFill>
              </a:endParaRPr>
            </a:p>
          </p:txBody>
        </p:sp>
      </p:grpSp>
      <p:cxnSp>
        <p:nvCxnSpPr>
          <p:cNvPr id="171" name="Straight Connector 170"/>
          <p:cNvCxnSpPr>
            <a:cxnSpLocks/>
            <a:endCxn id="20" idx="1"/>
          </p:cNvCxnSpPr>
          <p:nvPr/>
        </p:nvCxnSpPr>
        <p:spPr>
          <a:xfrm>
            <a:off x="3882796" y="2294680"/>
            <a:ext cx="423194" cy="305974"/>
          </a:xfrm>
          <a:prstGeom prst="line">
            <a:avLst/>
          </a:prstGeom>
          <a:noFill/>
          <a:ln w="12700" cap="flat" cmpd="sng" algn="ctr">
            <a:solidFill>
              <a:srgbClr val="FFFFFF">
                <a:lumMod val="65000"/>
              </a:srgbClr>
            </a:solidFill>
            <a:prstDash val="solid"/>
            <a:headEnd type="none"/>
            <a:tailEnd type="triangle" w="med" len="med"/>
          </a:ln>
          <a:effectLst/>
        </p:spPr>
      </p:cxnSp>
      <p:cxnSp>
        <p:nvCxnSpPr>
          <p:cNvPr id="174" name="Straight Connector 173"/>
          <p:cNvCxnSpPr>
            <a:cxnSpLocks/>
            <a:endCxn id="28" idx="1"/>
          </p:cNvCxnSpPr>
          <p:nvPr/>
        </p:nvCxnSpPr>
        <p:spPr>
          <a:xfrm>
            <a:off x="3882796" y="2294680"/>
            <a:ext cx="423194" cy="1402298"/>
          </a:xfrm>
          <a:prstGeom prst="line">
            <a:avLst/>
          </a:prstGeom>
          <a:noFill/>
          <a:ln w="12700" cap="flat" cmpd="sng" algn="ctr">
            <a:solidFill>
              <a:srgbClr val="FFFFFF">
                <a:lumMod val="65000"/>
              </a:srgbClr>
            </a:solidFill>
            <a:prstDash val="solid"/>
            <a:headEnd type="none"/>
            <a:tailEnd type="triangle" w="med" len="med"/>
          </a:ln>
          <a:effectLst/>
        </p:spPr>
      </p:cxnSp>
      <p:cxnSp>
        <p:nvCxnSpPr>
          <p:cNvPr id="178" name="Straight Connector 177"/>
          <p:cNvCxnSpPr>
            <a:cxnSpLocks/>
            <a:stCxn id="296" idx="3"/>
            <a:endCxn id="287" idx="1"/>
          </p:cNvCxnSpPr>
          <p:nvPr/>
        </p:nvCxnSpPr>
        <p:spPr>
          <a:xfrm>
            <a:off x="3882796" y="3168019"/>
            <a:ext cx="421827" cy="1625283"/>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27" name="Straight Connector 226"/>
          <p:cNvCxnSpPr>
            <a:cxnSpLocks/>
            <a:endCxn id="313" idx="1"/>
          </p:cNvCxnSpPr>
          <p:nvPr/>
        </p:nvCxnSpPr>
        <p:spPr>
          <a:xfrm>
            <a:off x="5883500" y="2600654"/>
            <a:ext cx="421829" cy="2192648"/>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09" name="Straight Connector 208"/>
          <p:cNvCxnSpPr>
            <a:stCxn id="42" idx="3"/>
          </p:cNvCxnSpPr>
          <p:nvPr/>
        </p:nvCxnSpPr>
        <p:spPr>
          <a:xfrm>
            <a:off x="5883500" y="5889627"/>
            <a:ext cx="421826" cy="0"/>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12" name="Straight Connector 211"/>
          <p:cNvCxnSpPr>
            <a:stCxn id="42" idx="3"/>
            <a:endCxn id="84" idx="1"/>
          </p:cNvCxnSpPr>
          <p:nvPr/>
        </p:nvCxnSpPr>
        <p:spPr>
          <a:xfrm flipV="1">
            <a:off x="5883500" y="3696978"/>
            <a:ext cx="421828" cy="2192649"/>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15" name="Straight Connector 214"/>
          <p:cNvCxnSpPr>
            <a:cxnSpLocks/>
            <a:stCxn id="287" idx="3"/>
            <a:endCxn id="313" idx="1"/>
          </p:cNvCxnSpPr>
          <p:nvPr/>
        </p:nvCxnSpPr>
        <p:spPr>
          <a:xfrm>
            <a:off x="5883500" y="4793302"/>
            <a:ext cx="421829" cy="0"/>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18" name="Straight Connector 217"/>
          <p:cNvCxnSpPr>
            <a:cxnSpLocks/>
            <a:endCxn id="312" idx="1"/>
          </p:cNvCxnSpPr>
          <p:nvPr/>
        </p:nvCxnSpPr>
        <p:spPr>
          <a:xfrm>
            <a:off x="5883500" y="3696978"/>
            <a:ext cx="421829" cy="0"/>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21" name="Straight Connector 220"/>
          <p:cNvCxnSpPr>
            <a:cxnSpLocks/>
            <a:stCxn id="285" idx="3"/>
            <a:endCxn id="314" idx="1"/>
          </p:cNvCxnSpPr>
          <p:nvPr/>
        </p:nvCxnSpPr>
        <p:spPr>
          <a:xfrm>
            <a:off x="5883500" y="3696978"/>
            <a:ext cx="421829" cy="2192649"/>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24" name="Straight Connector 223"/>
          <p:cNvCxnSpPr>
            <a:cxnSpLocks/>
            <a:endCxn id="312" idx="1"/>
          </p:cNvCxnSpPr>
          <p:nvPr/>
        </p:nvCxnSpPr>
        <p:spPr>
          <a:xfrm>
            <a:off x="5883500" y="2600654"/>
            <a:ext cx="421829" cy="1096324"/>
          </a:xfrm>
          <a:prstGeom prst="line">
            <a:avLst/>
          </a:prstGeom>
          <a:noFill/>
          <a:ln w="12700" cap="flat" cmpd="sng" algn="ctr">
            <a:solidFill>
              <a:srgbClr val="FFFFFF">
                <a:lumMod val="65000"/>
              </a:srgbClr>
            </a:solidFill>
            <a:prstDash val="solid"/>
            <a:headEnd type="none"/>
            <a:tailEnd type="triangle" w="med" len="med"/>
          </a:ln>
          <a:effectLst/>
        </p:spPr>
      </p:cxnSp>
      <p:cxnSp>
        <p:nvCxnSpPr>
          <p:cNvPr id="286" name="Straight Connector 285"/>
          <p:cNvCxnSpPr>
            <a:cxnSpLocks/>
            <a:endCxn id="317" idx="3"/>
          </p:cNvCxnSpPr>
          <p:nvPr/>
        </p:nvCxnSpPr>
        <p:spPr>
          <a:xfrm flipH="1">
            <a:off x="9884910" y="2365289"/>
            <a:ext cx="421826" cy="235365"/>
          </a:xfrm>
          <a:prstGeom prst="line">
            <a:avLst/>
          </a:prstGeom>
          <a:noFill/>
          <a:ln w="12700" cap="flat" cmpd="sng" algn="ctr">
            <a:solidFill>
              <a:srgbClr val="FFFFFF">
                <a:lumMod val="65000"/>
              </a:srgbClr>
            </a:solidFill>
            <a:prstDash val="solid"/>
            <a:headEnd type="none"/>
            <a:tailEnd type="triangle" w="med" len="med"/>
          </a:ln>
          <a:effectLst/>
        </p:spPr>
      </p:cxnSp>
      <p:pic>
        <p:nvPicPr>
          <p:cNvPr id="108" name="Picture 2" descr="https://www.eiseverywhere.com/file_uploads/9385c12ce72fb040cefcd7089e87571c_CranfieldUni_logo.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370088" y="677100"/>
            <a:ext cx="1452172" cy="563443"/>
          </a:xfrm>
          <a:prstGeom prst="rect">
            <a:avLst/>
          </a:prstGeom>
          <a:noFill/>
          <a:extLst>
            <a:ext uri="{909E8E84-426E-40DD-AFC4-6F175D3DCCD1}">
              <a14:hiddenFill xmlns:a14="http://schemas.microsoft.com/office/drawing/2010/main">
                <a:solidFill>
                  <a:srgbClr val="FFFFFF"/>
                </a:solidFill>
              </a14:hiddenFill>
            </a:ext>
          </a:extLst>
        </p:spPr>
      </p:pic>
      <p:sp>
        <p:nvSpPr>
          <p:cNvPr id="109" name="Text Placeholder 6"/>
          <p:cNvSpPr txBox="1">
            <a:spLocks/>
          </p:cNvSpPr>
          <p:nvPr/>
        </p:nvSpPr>
        <p:spPr>
          <a:xfrm>
            <a:off x="6879771" y="142996"/>
            <a:ext cx="5005842" cy="456230"/>
          </a:xfrm>
          <a:prstGeom prst="rect">
            <a:avLst/>
          </a:prstGeom>
        </p:spPr>
        <p:txBody>
          <a:bodyPr vert="horz" lIns="320040" tIns="53325" rIns="53325" bIns="53325" rtlCol="0">
            <a:noAutofit/>
          </a:bodyPr>
          <a:lstStyle>
            <a:lvl1pPr marL="0" indent="0" algn="l" defTabSz="1088105" rtl="0" eaLnBrk="1" latinLnBrk="0" hangingPunct="1">
              <a:spcBef>
                <a:spcPts val="1800"/>
              </a:spcBef>
              <a:buClr>
                <a:srgbClr val="0072C6"/>
              </a:buClr>
              <a:buSzPct val="100000"/>
              <a:buFont typeface="Wingdings" pitchFamily="2" charset="2"/>
              <a:buNone/>
              <a:defRPr sz="2800" kern="1200">
                <a:solidFill>
                  <a:schemeClr val="tx1"/>
                </a:solidFill>
                <a:latin typeface="Segoe UI Light" pitchFamily="34" charset="0"/>
                <a:ea typeface="Segoe UI" pitchFamily="34" charset="0"/>
                <a:cs typeface="Segoe UI" pitchFamily="34" charset="0"/>
              </a:defRPr>
            </a:lvl1pPr>
            <a:lvl2pPr marL="281674" indent="0" algn="l" defTabSz="1088105" rtl="0" eaLnBrk="1" latinLnBrk="0" hangingPunct="1">
              <a:spcBef>
                <a:spcPct val="20000"/>
              </a:spcBef>
              <a:buFont typeface="Arial" pitchFamily="34" charset="0"/>
              <a:buNone/>
              <a:defRPr sz="1800" kern="1200">
                <a:solidFill>
                  <a:schemeClr val="tx1"/>
                </a:solidFill>
                <a:latin typeface="Segoe UI" pitchFamily="34" charset="0"/>
                <a:ea typeface="Segoe UI" pitchFamily="34" charset="0"/>
                <a:cs typeface="Segoe UI" pitchFamily="34" charset="0"/>
              </a:defRPr>
            </a:lvl2pPr>
            <a:lvl3pPr marL="588476" indent="0" algn="l" defTabSz="1088105" rtl="0" eaLnBrk="1" latinLnBrk="0" hangingPunct="1">
              <a:spcBef>
                <a:spcPct val="20000"/>
              </a:spcBef>
              <a:buFont typeface="Arial" pitchFamily="34" charset="0"/>
              <a:buNone/>
              <a:defRPr sz="1600" kern="1200">
                <a:solidFill>
                  <a:schemeClr val="tx1"/>
                </a:solidFill>
                <a:latin typeface="Segoe UI" pitchFamily="34" charset="0"/>
                <a:ea typeface="Segoe UI" pitchFamily="34" charset="0"/>
                <a:cs typeface="Segoe UI" pitchFamily="34" charset="0"/>
              </a:defRPr>
            </a:lvl3pPr>
            <a:lvl4pPr marL="87015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4pPr>
            <a:lvl5pPr marL="110554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marL="0" marR="0" lvl="0" indent="0" algn="l" defTabSz="1088105" rtl="0" eaLnBrk="1" fontAlgn="auto" latinLnBrk="0" hangingPunct="1">
              <a:lnSpc>
                <a:spcPct val="100000"/>
              </a:lnSpc>
              <a:spcBef>
                <a:spcPts val="1800"/>
              </a:spcBef>
              <a:spcAft>
                <a:spcPts val="0"/>
              </a:spcAft>
              <a:buClr>
                <a:srgbClr val="0072C6"/>
              </a:buClr>
              <a:buSzPct val="100000"/>
              <a:buFont typeface="Wingdings" pitchFamily="2" charset="2"/>
              <a:buNone/>
              <a:tabLst/>
              <a:defRPr/>
            </a:pPr>
            <a:r>
              <a:rPr kumimoji="0" lang="en-US" sz="2800" b="0" i="0" u="none" strike="noStrike" kern="1200" cap="none" spc="0" normalizeH="0" baseline="0" noProof="0">
                <a:ln>
                  <a:noFill/>
                </a:ln>
                <a:solidFill>
                  <a:srgbClr val="505050"/>
                </a:solidFill>
                <a:effectLst/>
                <a:uLnTx/>
                <a:uFillTx/>
                <a:latin typeface="Segoe UI Light" pitchFamily="34" charset="0"/>
                <a:ea typeface="Segoe UI" pitchFamily="34" charset="0"/>
                <a:cs typeface="Segoe UI" pitchFamily="34" charset="0"/>
              </a:rPr>
              <a:t>Benefits Dependency Network</a:t>
            </a:r>
          </a:p>
        </p:txBody>
      </p:sp>
      <p:cxnSp>
        <p:nvCxnSpPr>
          <p:cNvPr id="72" name="Straight Connector 71">
            <a:extLst>
              <a:ext uri="{FF2B5EF4-FFF2-40B4-BE49-F238E27FC236}">
                <a16:creationId xmlns:a16="http://schemas.microsoft.com/office/drawing/2014/main" id="{958FDA59-94B2-4357-B094-8480B1B7F159}"/>
              </a:ext>
            </a:extLst>
          </p:cNvPr>
          <p:cNvCxnSpPr>
            <a:cxnSpLocks/>
            <a:stCxn id="18" idx="3"/>
            <a:endCxn id="299" idx="1"/>
          </p:cNvCxnSpPr>
          <p:nvPr/>
        </p:nvCxnSpPr>
        <p:spPr>
          <a:xfrm>
            <a:off x="1882091" y="2365289"/>
            <a:ext cx="421828" cy="2917500"/>
          </a:xfrm>
          <a:prstGeom prst="line">
            <a:avLst/>
          </a:prstGeom>
          <a:noFill/>
          <a:ln w="12700" cap="flat" cmpd="sng" algn="ctr">
            <a:solidFill>
              <a:srgbClr val="FFFFFF">
                <a:lumMod val="65000"/>
              </a:srgbClr>
            </a:solidFill>
            <a:prstDash val="solid"/>
            <a:headEnd type="none"/>
            <a:tailEnd type="triangle" w="med" len="med"/>
          </a:ln>
          <a:effectLst/>
        </p:spPr>
      </p:cxnSp>
      <p:cxnSp>
        <p:nvCxnSpPr>
          <p:cNvPr id="75" name="Straight Connector 74">
            <a:extLst>
              <a:ext uri="{FF2B5EF4-FFF2-40B4-BE49-F238E27FC236}">
                <a16:creationId xmlns:a16="http://schemas.microsoft.com/office/drawing/2014/main" id="{504F2B34-BD74-43A9-9034-A701646D525B}"/>
              </a:ext>
            </a:extLst>
          </p:cNvPr>
          <p:cNvCxnSpPr>
            <a:cxnSpLocks/>
            <a:stCxn id="33" idx="3"/>
            <a:endCxn id="295" idx="1"/>
          </p:cNvCxnSpPr>
          <p:nvPr/>
        </p:nvCxnSpPr>
        <p:spPr>
          <a:xfrm flipV="1">
            <a:off x="1882091" y="2329338"/>
            <a:ext cx="421828" cy="871440"/>
          </a:xfrm>
          <a:prstGeom prst="line">
            <a:avLst/>
          </a:prstGeom>
          <a:noFill/>
          <a:ln w="12700" cap="flat" cmpd="sng" algn="ctr">
            <a:solidFill>
              <a:srgbClr val="FFFFFF">
                <a:lumMod val="65000"/>
              </a:srgbClr>
            </a:solidFill>
            <a:prstDash val="solid"/>
            <a:headEnd type="none"/>
            <a:tailEnd type="triangle" w="med" len="med"/>
          </a:ln>
          <a:effectLst/>
        </p:spPr>
      </p:cxnSp>
      <p:cxnSp>
        <p:nvCxnSpPr>
          <p:cNvPr id="78" name="Straight Connector 77">
            <a:extLst>
              <a:ext uri="{FF2B5EF4-FFF2-40B4-BE49-F238E27FC236}">
                <a16:creationId xmlns:a16="http://schemas.microsoft.com/office/drawing/2014/main" id="{E579856F-7D7C-493D-A350-8514F5F54BB0}"/>
              </a:ext>
            </a:extLst>
          </p:cNvPr>
          <p:cNvCxnSpPr>
            <a:cxnSpLocks/>
            <a:stCxn id="40" idx="3"/>
            <a:endCxn id="296" idx="1"/>
          </p:cNvCxnSpPr>
          <p:nvPr/>
        </p:nvCxnSpPr>
        <p:spPr>
          <a:xfrm flipV="1">
            <a:off x="1882091" y="3168019"/>
            <a:ext cx="421828" cy="868248"/>
          </a:xfrm>
          <a:prstGeom prst="line">
            <a:avLst/>
          </a:prstGeom>
          <a:noFill/>
          <a:ln w="12700" cap="flat" cmpd="sng" algn="ctr">
            <a:solidFill>
              <a:srgbClr val="FFFFFF">
                <a:lumMod val="65000"/>
              </a:srgbClr>
            </a:solidFill>
            <a:prstDash val="solid"/>
            <a:headEnd type="none"/>
            <a:tailEnd type="triangle" w="med" len="med"/>
          </a:ln>
          <a:effectLst/>
        </p:spPr>
      </p:cxnSp>
      <p:cxnSp>
        <p:nvCxnSpPr>
          <p:cNvPr id="320" name="Straight Connector 319">
            <a:extLst>
              <a:ext uri="{FF2B5EF4-FFF2-40B4-BE49-F238E27FC236}">
                <a16:creationId xmlns:a16="http://schemas.microsoft.com/office/drawing/2014/main" id="{B6148740-997A-4650-AFF0-03C14B6D345A}"/>
              </a:ext>
            </a:extLst>
          </p:cNvPr>
          <p:cNvCxnSpPr>
            <a:cxnSpLocks/>
            <a:stCxn id="47" idx="3"/>
          </p:cNvCxnSpPr>
          <p:nvPr/>
        </p:nvCxnSpPr>
        <p:spPr>
          <a:xfrm>
            <a:off x="1882091" y="4871757"/>
            <a:ext cx="517077" cy="478841"/>
          </a:xfrm>
          <a:prstGeom prst="line">
            <a:avLst/>
          </a:prstGeom>
          <a:noFill/>
          <a:ln w="12700" cap="flat" cmpd="sng" algn="ctr">
            <a:solidFill>
              <a:srgbClr val="FFFFFF">
                <a:lumMod val="65000"/>
              </a:srgbClr>
            </a:solidFill>
            <a:prstDash val="solid"/>
            <a:headEnd type="none"/>
            <a:tailEnd type="triangle" w="med" len="med"/>
          </a:ln>
          <a:effectLst/>
        </p:spPr>
      </p:cxnSp>
      <p:cxnSp>
        <p:nvCxnSpPr>
          <p:cNvPr id="321" name="Straight Connector 320">
            <a:extLst>
              <a:ext uri="{FF2B5EF4-FFF2-40B4-BE49-F238E27FC236}">
                <a16:creationId xmlns:a16="http://schemas.microsoft.com/office/drawing/2014/main" id="{CBE397FC-0B5C-46E8-ADBB-02ED93C75744}"/>
              </a:ext>
            </a:extLst>
          </p:cNvPr>
          <p:cNvCxnSpPr>
            <a:cxnSpLocks/>
            <a:stCxn id="47" idx="3"/>
            <a:endCxn id="298" idx="1"/>
          </p:cNvCxnSpPr>
          <p:nvPr/>
        </p:nvCxnSpPr>
        <p:spPr>
          <a:xfrm flipV="1">
            <a:off x="1882091" y="4184081"/>
            <a:ext cx="421828" cy="687676"/>
          </a:xfrm>
          <a:prstGeom prst="line">
            <a:avLst/>
          </a:prstGeom>
          <a:noFill/>
          <a:ln w="12700" cap="flat" cmpd="sng" algn="ctr">
            <a:solidFill>
              <a:srgbClr val="FFFFFF">
                <a:lumMod val="65000"/>
              </a:srgbClr>
            </a:solidFill>
            <a:prstDash val="solid"/>
            <a:headEnd type="none"/>
            <a:tailEnd type="triangle" w="med" len="med"/>
          </a:ln>
          <a:effectLst/>
        </p:spPr>
      </p:cxnSp>
      <p:cxnSp>
        <p:nvCxnSpPr>
          <p:cNvPr id="322" name="Straight Connector 321">
            <a:extLst>
              <a:ext uri="{FF2B5EF4-FFF2-40B4-BE49-F238E27FC236}">
                <a16:creationId xmlns:a16="http://schemas.microsoft.com/office/drawing/2014/main" id="{803AE69A-8558-4255-80D1-CB6F0EFDEC49}"/>
              </a:ext>
            </a:extLst>
          </p:cNvPr>
          <p:cNvCxnSpPr>
            <a:cxnSpLocks/>
            <a:stCxn id="18" idx="3"/>
            <a:endCxn id="298" idx="1"/>
          </p:cNvCxnSpPr>
          <p:nvPr/>
        </p:nvCxnSpPr>
        <p:spPr>
          <a:xfrm>
            <a:off x="1882091" y="2365289"/>
            <a:ext cx="421828" cy="1818792"/>
          </a:xfrm>
          <a:prstGeom prst="line">
            <a:avLst/>
          </a:prstGeom>
          <a:noFill/>
          <a:ln w="12700" cap="flat" cmpd="sng" algn="ctr">
            <a:solidFill>
              <a:srgbClr val="FFFFFF">
                <a:lumMod val="65000"/>
              </a:srgbClr>
            </a:solidFill>
            <a:prstDash val="solid"/>
            <a:headEnd type="none"/>
            <a:tailEnd type="triangle" w="med" len="med"/>
          </a:ln>
          <a:effectLst/>
        </p:spPr>
      </p:cxnSp>
      <p:cxnSp>
        <p:nvCxnSpPr>
          <p:cNvPr id="325" name="Straight Connector 324">
            <a:extLst>
              <a:ext uri="{FF2B5EF4-FFF2-40B4-BE49-F238E27FC236}">
                <a16:creationId xmlns:a16="http://schemas.microsoft.com/office/drawing/2014/main" id="{C16DB21C-B05C-4549-B0F7-01E1D9396D82}"/>
              </a:ext>
            </a:extLst>
          </p:cNvPr>
          <p:cNvCxnSpPr>
            <a:cxnSpLocks/>
            <a:stCxn id="18" idx="3"/>
            <a:endCxn id="295" idx="1"/>
          </p:cNvCxnSpPr>
          <p:nvPr/>
        </p:nvCxnSpPr>
        <p:spPr>
          <a:xfrm flipV="1">
            <a:off x="1882091" y="2329338"/>
            <a:ext cx="421828" cy="35951"/>
          </a:xfrm>
          <a:prstGeom prst="line">
            <a:avLst/>
          </a:prstGeom>
          <a:noFill/>
          <a:ln w="12700" cap="flat" cmpd="sng" algn="ctr">
            <a:solidFill>
              <a:srgbClr val="FFFFFF">
                <a:lumMod val="65000"/>
              </a:srgbClr>
            </a:solidFill>
            <a:prstDash val="solid"/>
            <a:headEnd type="none"/>
            <a:tailEnd type="triangle" w="med" len="med"/>
          </a:ln>
          <a:effectLst/>
        </p:spPr>
      </p:cxnSp>
      <p:cxnSp>
        <p:nvCxnSpPr>
          <p:cNvPr id="330" name="Straight Connector 329">
            <a:extLst>
              <a:ext uri="{FF2B5EF4-FFF2-40B4-BE49-F238E27FC236}">
                <a16:creationId xmlns:a16="http://schemas.microsoft.com/office/drawing/2014/main" id="{19127AC0-7C80-49FC-BF71-569499553AFC}"/>
              </a:ext>
            </a:extLst>
          </p:cNvPr>
          <p:cNvCxnSpPr>
            <a:cxnSpLocks/>
            <a:stCxn id="299" idx="3"/>
            <a:endCxn id="288" idx="1"/>
          </p:cNvCxnSpPr>
          <p:nvPr/>
        </p:nvCxnSpPr>
        <p:spPr>
          <a:xfrm>
            <a:off x="3882796" y="5282789"/>
            <a:ext cx="421827" cy="606838"/>
          </a:xfrm>
          <a:prstGeom prst="line">
            <a:avLst/>
          </a:prstGeom>
          <a:noFill/>
          <a:ln w="12700" cap="flat" cmpd="sng" algn="ctr">
            <a:solidFill>
              <a:srgbClr val="FFFFFF">
                <a:lumMod val="65000"/>
              </a:srgbClr>
            </a:solidFill>
            <a:prstDash val="solid"/>
            <a:headEnd type="none"/>
            <a:tailEnd type="triangle" w="med" len="med"/>
          </a:ln>
          <a:effectLst/>
        </p:spPr>
      </p:cxnSp>
      <p:cxnSp>
        <p:nvCxnSpPr>
          <p:cNvPr id="334" name="Straight Connector 333">
            <a:extLst>
              <a:ext uri="{FF2B5EF4-FFF2-40B4-BE49-F238E27FC236}">
                <a16:creationId xmlns:a16="http://schemas.microsoft.com/office/drawing/2014/main" id="{DF95E695-C368-457D-9520-E9887E20D7AE}"/>
              </a:ext>
            </a:extLst>
          </p:cNvPr>
          <p:cNvCxnSpPr>
            <a:cxnSpLocks/>
            <a:stCxn id="298" idx="3"/>
            <a:endCxn id="285" idx="1"/>
          </p:cNvCxnSpPr>
          <p:nvPr/>
        </p:nvCxnSpPr>
        <p:spPr>
          <a:xfrm flipV="1">
            <a:off x="3882796" y="3696978"/>
            <a:ext cx="421827" cy="487103"/>
          </a:xfrm>
          <a:prstGeom prst="line">
            <a:avLst/>
          </a:prstGeom>
          <a:noFill/>
          <a:ln w="12700" cap="flat" cmpd="sng" algn="ctr">
            <a:solidFill>
              <a:srgbClr val="FFFFFF">
                <a:lumMod val="65000"/>
              </a:srgbClr>
            </a:solidFill>
            <a:prstDash val="solid"/>
            <a:headEnd type="none"/>
            <a:tailEnd type="triangle" w="med" len="med"/>
          </a:ln>
          <a:effectLst/>
        </p:spPr>
      </p:cxnSp>
      <p:cxnSp>
        <p:nvCxnSpPr>
          <p:cNvPr id="337" name="Straight Connector 336">
            <a:extLst>
              <a:ext uri="{FF2B5EF4-FFF2-40B4-BE49-F238E27FC236}">
                <a16:creationId xmlns:a16="http://schemas.microsoft.com/office/drawing/2014/main" id="{7D362120-9CF7-4A62-92FD-F33C721FA858}"/>
              </a:ext>
            </a:extLst>
          </p:cNvPr>
          <p:cNvCxnSpPr>
            <a:cxnSpLocks/>
            <a:stCxn id="298" idx="3"/>
            <a:endCxn id="284" idx="1"/>
          </p:cNvCxnSpPr>
          <p:nvPr/>
        </p:nvCxnSpPr>
        <p:spPr>
          <a:xfrm flipV="1">
            <a:off x="3882796" y="2600654"/>
            <a:ext cx="421827" cy="1583427"/>
          </a:xfrm>
          <a:prstGeom prst="line">
            <a:avLst/>
          </a:prstGeom>
          <a:noFill/>
          <a:ln w="12700" cap="flat" cmpd="sng" algn="ctr">
            <a:solidFill>
              <a:srgbClr val="FFFFFF">
                <a:lumMod val="65000"/>
              </a:srgbClr>
            </a:solidFill>
            <a:prstDash val="solid"/>
            <a:headEnd type="none"/>
            <a:tailEnd type="triangle" w="med" len="med"/>
          </a:ln>
          <a:effectLst/>
        </p:spPr>
      </p:cxnSp>
      <p:cxnSp>
        <p:nvCxnSpPr>
          <p:cNvPr id="340" name="Straight Connector 339">
            <a:extLst>
              <a:ext uri="{FF2B5EF4-FFF2-40B4-BE49-F238E27FC236}">
                <a16:creationId xmlns:a16="http://schemas.microsoft.com/office/drawing/2014/main" id="{7E593E1D-B410-4AFC-AC73-90DA29FBB348}"/>
              </a:ext>
            </a:extLst>
          </p:cNvPr>
          <p:cNvCxnSpPr>
            <a:cxnSpLocks/>
            <a:stCxn id="298" idx="3"/>
            <a:endCxn id="287" idx="1"/>
          </p:cNvCxnSpPr>
          <p:nvPr/>
        </p:nvCxnSpPr>
        <p:spPr>
          <a:xfrm>
            <a:off x="3882796" y="4184081"/>
            <a:ext cx="421827" cy="609221"/>
          </a:xfrm>
          <a:prstGeom prst="line">
            <a:avLst/>
          </a:prstGeom>
          <a:noFill/>
          <a:ln w="12700" cap="flat" cmpd="sng" algn="ctr">
            <a:solidFill>
              <a:srgbClr val="FFFFFF">
                <a:lumMod val="65000"/>
              </a:srgbClr>
            </a:solidFill>
            <a:prstDash val="solid"/>
            <a:headEnd type="none"/>
            <a:tailEnd type="triangle" w="med" len="med"/>
          </a:ln>
          <a:effectLst/>
        </p:spPr>
      </p:cxnSp>
      <p:cxnSp>
        <p:nvCxnSpPr>
          <p:cNvPr id="343" name="Straight Connector 342">
            <a:extLst>
              <a:ext uri="{FF2B5EF4-FFF2-40B4-BE49-F238E27FC236}">
                <a16:creationId xmlns:a16="http://schemas.microsoft.com/office/drawing/2014/main" id="{EA746745-4896-4989-85D9-6A3A571BBE25}"/>
              </a:ext>
            </a:extLst>
          </p:cNvPr>
          <p:cNvCxnSpPr>
            <a:cxnSpLocks/>
            <a:stCxn id="298" idx="3"/>
            <a:endCxn id="288" idx="1"/>
          </p:cNvCxnSpPr>
          <p:nvPr/>
        </p:nvCxnSpPr>
        <p:spPr>
          <a:xfrm>
            <a:off x="3882796" y="4184081"/>
            <a:ext cx="421827" cy="1705546"/>
          </a:xfrm>
          <a:prstGeom prst="line">
            <a:avLst/>
          </a:prstGeom>
          <a:noFill/>
          <a:ln w="12700" cap="flat" cmpd="sng" algn="ctr">
            <a:solidFill>
              <a:srgbClr val="FFFFFF">
                <a:lumMod val="65000"/>
              </a:srgbClr>
            </a:solidFill>
            <a:prstDash val="solid"/>
            <a:headEnd type="none"/>
            <a:tailEnd type="triangle" w="med" len="med"/>
          </a:ln>
          <a:effectLst/>
        </p:spPr>
      </p:cxnSp>
      <p:cxnSp>
        <p:nvCxnSpPr>
          <p:cNvPr id="346" name="Straight Connector 345">
            <a:extLst>
              <a:ext uri="{FF2B5EF4-FFF2-40B4-BE49-F238E27FC236}">
                <a16:creationId xmlns:a16="http://schemas.microsoft.com/office/drawing/2014/main" id="{1F78DB1F-3E89-4AC2-9ED5-C9C16D685F0B}"/>
              </a:ext>
            </a:extLst>
          </p:cNvPr>
          <p:cNvCxnSpPr>
            <a:cxnSpLocks/>
            <a:stCxn id="296" idx="3"/>
            <a:endCxn id="284" idx="1"/>
          </p:cNvCxnSpPr>
          <p:nvPr/>
        </p:nvCxnSpPr>
        <p:spPr>
          <a:xfrm flipV="1">
            <a:off x="3882796" y="2600654"/>
            <a:ext cx="421827" cy="567365"/>
          </a:xfrm>
          <a:prstGeom prst="line">
            <a:avLst/>
          </a:prstGeom>
          <a:noFill/>
          <a:ln w="12700" cap="flat" cmpd="sng" algn="ctr">
            <a:solidFill>
              <a:srgbClr val="FFFFFF">
                <a:lumMod val="65000"/>
              </a:srgbClr>
            </a:solidFill>
            <a:prstDash val="solid"/>
            <a:headEnd type="none"/>
            <a:tailEnd type="triangle" w="med" len="med"/>
          </a:ln>
          <a:effectLst/>
        </p:spPr>
      </p:cxnSp>
      <p:cxnSp>
        <p:nvCxnSpPr>
          <p:cNvPr id="352" name="Straight Connector 351">
            <a:extLst>
              <a:ext uri="{FF2B5EF4-FFF2-40B4-BE49-F238E27FC236}">
                <a16:creationId xmlns:a16="http://schemas.microsoft.com/office/drawing/2014/main" id="{6963DB34-257F-408E-B0E8-9D48BB0C8DD1}"/>
              </a:ext>
            </a:extLst>
          </p:cNvPr>
          <p:cNvCxnSpPr>
            <a:cxnSpLocks/>
            <a:stCxn id="287" idx="3"/>
            <a:endCxn id="314" idx="1"/>
          </p:cNvCxnSpPr>
          <p:nvPr/>
        </p:nvCxnSpPr>
        <p:spPr>
          <a:xfrm>
            <a:off x="5883500" y="4793302"/>
            <a:ext cx="421829" cy="1096325"/>
          </a:xfrm>
          <a:prstGeom prst="line">
            <a:avLst/>
          </a:prstGeom>
          <a:noFill/>
          <a:ln w="12700" cap="flat" cmpd="sng" algn="ctr">
            <a:solidFill>
              <a:srgbClr val="FFFFFF">
                <a:lumMod val="65000"/>
              </a:srgbClr>
            </a:solidFill>
            <a:prstDash val="solid"/>
            <a:headEnd type="none"/>
            <a:tailEnd type="triangle" w="med" len="med"/>
          </a:ln>
          <a:effectLst/>
        </p:spPr>
      </p:cxnSp>
      <p:cxnSp>
        <p:nvCxnSpPr>
          <p:cNvPr id="353" name="Straight Connector 352">
            <a:extLst>
              <a:ext uri="{FF2B5EF4-FFF2-40B4-BE49-F238E27FC236}">
                <a16:creationId xmlns:a16="http://schemas.microsoft.com/office/drawing/2014/main" id="{35203D70-B1AE-4162-88B8-1CFA9E803372}"/>
              </a:ext>
            </a:extLst>
          </p:cNvPr>
          <p:cNvCxnSpPr>
            <a:cxnSpLocks/>
            <a:stCxn id="285" idx="3"/>
            <a:endCxn id="311" idx="1"/>
          </p:cNvCxnSpPr>
          <p:nvPr/>
        </p:nvCxnSpPr>
        <p:spPr>
          <a:xfrm flipV="1">
            <a:off x="5883500" y="2600654"/>
            <a:ext cx="421829" cy="1096324"/>
          </a:xfrm>
          <a:prstGeom prst="line">
            <a:avLst/>
          </a:prstGeom>
          <a:noFill/>
          <a:ln w="12700" cap="flat" cmpd="sng" algn="ctr">
            <a:solidFill>
              <a:srgbClr val="FFFFFF">
                <a:lumMod val="65000"/>
              </a:srgbClr>
            </a:solidFill>
            <a:prstDash val="solid"/>
            <a:headEnd type="none"/>
            <a:tailEnd type="triangle" w="med" len="med"/>
          </a:ln>
          <a:effectLst/>
        </p:spPr>
      </p:cxnSp>
      <p:cxnSp>
        <p:nvCxnSpPr>
          <p:cNvPr id="354" name="Straight Connector 353">
            <a:extLst>
              <a:ext uri="{FF2B5EF4-FFF2-40B4-BE49-F238E27FC236}">
                <a16:creationId xmlns:a16="http://schemas.microsoft.com/office/drawing/2014/main" id="{B7CB4804-6158-4F69-A36A-AC60709BB585}"/>
              </a:ext>
            </a:extLst>
          </p:cNvPr>
          <p:cNvCxnSpPr>
            <a:cxnSpLocks/>
            <a:stCxn id="287" idx="3"/>
            <a:endCxn id="311" idx="1"/>
          </p:cNvCxnSpPr>
          <p:nvPr/>
        </p:nvCxnSpPr>
        <p:spPr>
          <a:xfrm flipV="1">
            <a:off x="5883500" y="2600654"/>
            <a:ext cx="421829" cy="2192648"/>
          </a:xfrm>
          <a:prstGeom prst="line">
            <a:avLst/>
          </a:prstGeom>
          <a:noFill/>
          <a:ln w="12700" cap="flat" cmpd="sng" algn="ctr">
            <a:solidFill>
              <a:srgbClr val="FFFFFF">
                <a:lumMod val="65000"/>
              </a:srgbClr>
            </a:solidFill>
            <a:prstDash val="solid"/>
            <a:headEnd type="none"/>
            <a:tailEnd type="triangle" w="med" len="med"/>
          </a:ln>
          <a:effectLst/>
        </p:spPr>
      </p:cxnSp>
      <p:cxnSp>
        <p:nvCxnSpPr>
          <p:cNvPr id="355" name="Straight Connector 354">
            <a:extLst>
              <a:ext uri="{FF2B5EF4-FFF2-40B4-BE49-F238E27FC236}">
                <a16:creationId xmlns:a16="http://schemas.microsoft.com/office/drawing/2014/main" id="{2B43562D-CC51-4E01-A9A8-053978258C21}"/>
              </a:ext>
            </a:extLst>
          </p:cNvPr>
          <p:cNvCxnSpPr>
            <a:cxnSpLocks/>
            <a:stCxn id="288" idx="3"/>
            <a:endCxn id="311" idx="1"/>
          </p:cNvCxnSpPr>
          <p:nvPr/>
        </p:nvCxnSpPr>
        <p:spPr>
          <a:xfrm flipV="1">
            <a:off x="5883500" y="2600654"/>
            <a:ext cx="421829" cy="3288973"/>
          </a:xfrm>
          <a:prstGeom prst="line">
            <a:avLst/>
          </a:prstGeom>
          <a:noFill/>
          <a:ln w="12700" cap="flat" cmpd="sng" algn="ctr">
            <a:solidFill>
              <a:srgbClr val="FFFFFF">
                <a:lumMod val="65000"/>
              </a:srgbClr>
            </a:solidFill>
            <a:prstDash val="solid"/>
            <a:headEnd type="none"/>
            <a:tailEnd type="triangle" w="med" len="med"/>
          </a:ln>
          <a:effectLst/>
        </p:spPr>
      </p:cxnSp>
      <p:cxnSp>
        <p:nvCxnSpPr>
          <p:cNvPr id="356" name="Straight Connector 355">
            <a:extLst>
              <a:ext uri="{FF2B5EF4-FFF2-40B4-BE49-F238E27FC236}">
                <a16:creationId xmlns:a16="http://schemas.microsoft.com/office/drawing/2014/main" id="{49532780-CED9-4770-891E-488B14151B98}"/>
              </a:ext>
            </a:extLst>
          </p:cNvPr>
          <p:cNvCxnSpPr>
            <a:cxnSpLocks/>
            <a:stCxn id="317" idx="1"/>
            <a:endCxn id="311" idx="3"/>
          </p:cNvCxnSpPr>
          <p:nvPr/>
        </p:nvCxnSpPr>
        <p:spPr>
          <a:xfrm flipH="1">
            <a:off x="7884206" y="2600654"/>
            <a:ext cx="421827" cy="0"/>
          </a:xfrm>
          <a:prstGeom prst="line">
            <a:avLst/>
          </a:prstGeom>
          <a:noFill/>
          <a:ln w="12700" cap="flat" cmpd="sng" algn="ctr">
            <a:solidFill>
              <a:srgbClr val="FFFFFF">
                <a:lumMod val="65000"/>
              </a:srgbClr>
            </a:solidFill>
            <a:prstDash val="solid"/>
            <a:headEnd type="none"/>
            <a:tailEnd type="triangle" w="med" len="med"/>
          </a:ln>
          <a:effectLst/>
        </p:spPr>
      </p:cxnSp>
      <p:cxnSp>
        <p:nvCxnSpPr>
          <p:cNvPr id="357" name="Straight Connector 356">
            <a:extLst>
              <a:ext uri="{FF2B5EF4-FFF2-40B4-BE49-F238E27FC236}">
                <a16:creationId xmlns:a16="http://schemas.microsoft.com/office/drawing/2014/main" id="{FD13A750-0DC0-416C-941B-4360A5B8D10F}"/>
              </a:ext>
            </a:extLst>
          </p:cNvPr>
          <p:cNvCxnSpPr>
            <a:cxnSpLocks/>
            <a:stCxn id="318" idx="1"/>
            <a:endCxn id="312" idx="3"/>
          </p:cNvCxnSpPr>
          <p:nvPr/>
        </p:nvCxnSpPr>
        <p:spPr>
          <a:xfrm flipH="1">
            <a:off x="7884206" y="3696978"/>
            <a:ext cx="421827" cy="0"/>
          </a:xfrm>
          <a:prstGeom prst="line">
            <a:avLst/>
          </a:prstGeom>
          <a:noFill/>
          <a:ln w="12700" cap="flat" cmpd="sng" algn="ctr">
            <a:solidFill>
              <a:srgbClr val="FFFFFF">
                <a:lumMod val="65000"/>
              </a:srgbClr>
            </a:solidFill>
            <a:prstDash val="solid"/>
            <a:headEnd type="none"/>
            <a:tailEnd type="triangle" w="med" len="med"/>
          </a:ln>
          <a:effectLst/>
        </p:spPr>
      </p:cxnSp>
      <p:cxnSp>
        <p:nvCxnSpPr>
          <p:cNvPr id="358" name="Straight Connector 357">
            <a:extLst>
              <a:ext uri="{FF2B5EF4-FFF2-40B4-BE49-F238E27FC236}">
                <a16:creationId xmlns:a16="http://schemas.microsoft.com/office/drawing/2014/main" id="{B384BEAD-0683-4250-96A2-560431F02D7C}"/>
              </a:ext>
            </a:extLst>
          </p:cNvPr>
          <p:cNvCxnSpPr>
            <a:cxnSpLocks/>
            <a:stCxn id="319" idx="1"/>
            <a:endCxn id="311" idx="3"/>
          </p:cNvCxnSpPr>
          <p:nvPr/>
        </p:nvCxnSpPr>
        <p:spPr>
          <a:xfrm flipH="1" flipV="1">
            <a:off x="7884206" y="2600654"/>
            <a:ext cx="421827" cy="2192648"/>
          </a:xfrm>
          <a:prstGeom prst="line">
            <a:avLst/>
          </a:prstGeom>
          <a:noFill/>
          <a:ln w="12700" cap="flat" cmpd="sng" algn="ctr">
            <a:solidFill>
              <a:srgbClr val="FFFFFF">
                <a:lumMod val="65000"/>
              </a:srgbClr>
            </a:solidFill>
            <a:prstDash val="solid"/>
            <a:headEnd type="none"/>
            <a:tailEnd type="triangle" w="med" len="med"/>
          </a:ln>
          <a:effectLst/>
        </p:spPr>
      </p:cxnSp>
      <p:cxnSp>
        <p:nvCxnSpPr>
          <p:cNvPr id="359" name="Straight Connector 358">
            <a:extLst>
              <a:ext uri="{FF2B5EF4-FFF2-40B4-BE49-F238E27FC236}">
                <a16:creationId xmlns:a16="http://schemas.microsoft.com/office/drawing/2014/main" id="{D0CCA9C8-1306-4F59-8F57-8CD3CA85077C}"/>
              </a:ext>
            </a:extLst>
          </p:cNvPr>
          <p:cNvCxnSpPr>
            <a:cxnSpLocks/>
            <a:stCxn id="319" idx="1"/>
            <a:endCxn id="312" idx="3"/>
          </p:cNvCxnSpPr>
          <p:nvPr/>
        </p:nvCxnSpPr>
        <p:spPr>
          <a:xfrm flipH="1" flipV="1">
            <a:off x="7884206" y="3696978"/>
            <a:ext cx="421827" cy="1096324"/>
          </a:xfrm>
          <a:prstGeom prst="line">
            <a:avLst/>
          </a:prstGeom>
          <a:noFill/>
          <a:ln w="12700" cap="flat" cmpd="sng" algn="ctr">
            <a:solidFill>
              <a:srgbClr val="FFFFFF">
                <a:lumMod val="65000"/>
              </a:srgbClr>
            </a:solidFill>
            <a:prstDash val="solid"/>
            <a:headEnd type="none"/>
            <a:tailEnd type="triangle" w="med" len="med"/>
          </a:ln>
          <a:effectLst/>
        </p:spPr>
      </p:cxnSp>
      <p:cxnSp>
        <p:nvCxnSpPr>
          <p:cNvPr id="360" name="Straight Connector 359">
            <a:extLst>
              <a:ext uri="{FF2B5EF4-FFF2-40B4-BE49-F238E27FC236}">
                <a16:creationId xmlns:a16="http://schemas.microsoft.com/office/drawing/2014/main" id="{57530075-094D-4888-A278-E921200DDCD8}"/>
              </a:ext>
            </a:extLst>
          </p:cNvPr>
          <p:cNvCxnSpPr>
            <a:cxnSpLocks/>
            <a:stCxn id="318" idx="1"/>
            <a:endCxn id="313" idx="3"/>
          </p:cNvCxnSpPr>
          <p:nvPr/>
        </p:nvCxnSpPr>
        <p:spPr>
          <a:xfrm flipH="1">
            <a:off x="7884206" y="3696978"/>
            <a:ext cx="421827" cy="1096324"/>
          </a:xfrm>
          <a:prstGeom prst="line">
            <a:avLst/>
          </a:prstGeom>
          <a:noFill/>
          <a:ln w="12700" cap="flat" cmpd="sng" algn="ctr">
            <a:solidFill>
              <a:srgbClr val="FFFFFF">
                <a:lumMod val="65000"/>
              </a:srgbClr>
            </a:solidFill>
            <a:prstDash val="solid"/>
            <a:headEnd type="none"/>
            <a:tailEnd type="triangle" w="med" len="med"/>
          </a:ln>
          <a:effectLst/>
        </p:spPr>
      </p:cxnSp>
      <p:cxnSp>
        <p:nvCxnSpPr>
          <p:cNvPr id="361" name="Straight Connector 360">
            <a:extLst>
              <a:ext uri="{FF2B5EF4-FFF2-40B4-BE49-F238E27FC236}">
                <a16:creationId xmlns:a16="http://schemas.microsoft.com/office/drawing/2014/main" id="{151841DF-2C36-4DDA-B1E8-4EBA5EF5A7BB}"/>
              </a:ext>
            </a:extLst>
          </p:cNvPr>
          <p:cNvCxnSpPr>
            <a:cxnSpLocks/>
            <a:stCxn id="319" idx="1"/>
            <a:endCxn id="314" idx="3"/>
          </p:cNvCxnSpPr>
          <p:nvPr/>
        </p:nvCxnSpPr>
        <p:spPr>
          <a:xfrm flipH="1">
            <a:off x="7884206" y="4793302"/>
            <a:ext cx="421827" cy="1096325"/>
          </a:xfrm>
          <a:prstGeom prst="line">
            <a:avLst/>
          </a:prstGeom>
          <a:noFill/>
          <a:ln w="12700" cap="flat" cmpd="sng" algn="ctr">
            <a:solidFill>
              <a:srgbClr val="FFFFFF">
                <a:lumMod val="65000"/>
              </a:srgbClr>
            </a:solidFill>
            <a:prstDash val="solid"/>
            <a:headEnd type="none"/>
            <a:tailEnd type="triangle" w="med" len="med"/>
          </a:ln>
          <a:effectLst/>
        </p:spPr>
      </p:cxnSp>
      <p:cxnSp>
        <p:nvCxnSpPr>
          <p:cNvPr id="362" name="Straight Connector 361">
            <a:extLst>
              <a:ext uri="{FF2B5EF4-FFF2-40B4-BE49-F238E27FC236}">
                <a16:creationId xmlns:a16="http://schemas.microsoft.com/office/drawing/2014/main" id="{8F3A04DE-2F46-4B07-854F-BCA9ADC2392B}"/>
              </a:ext>
            </a:extLst>
          </p:cNvPr>
          <p:cNvCxnSpPr>
            <a:cxnSpLocks/>
            <a:stCxn id="319" idx="1"/>
            <a:endCxn id="313" idx="3"/>
          </p:cNvCxnSpPr>
          <p:nvPr/>
        </p:nvCxnSpPr>
        <p:spPr>
          <a:xfrm flipH="1">
            <a:off x="7884206" y="4793302"/>
            <a:ext cx="421827" cy="0"/>
          </a:xfrm>
          <a:prstGeom prst="line">
            <a:avLst/>
          </a:prstGeom>
          <a:noFill/>
          <a:ln w="12700" cap="flat" cmpd="sng" algn="ctr">
            <a:solidFill>
              <a:srgbClr val="FFFFFF">
                <a:lumMod val="65000"/>
              </a:srgbClr>
            </a:solidFill>
            <a:prstDash val="solid"/>
            <a:headEnd type="none"/>
            <a:tailEnd type="triangle" w="med" len="med"/>
          </a:ln>
          <a:effectLst/>
        </p:spPr>
      </p:cxnSp>
      <p:cxnSp>
        <p:nvCxnSpPr>
          <p:cNvPr id="363" name="Straight Connector 362">
            <a:extLst>
              <a:ext uri="{FF2B5EF4-FFF2-40B4-BE49-F238E27FC236}">
                <a16:creationId xmlns:a16="http://schemas.microsoft.com/office/drawing/2014/main" id="{32A9B73C-358A-4C02-9E29-8212A001F3AA}"/>
              </a:ext>
            </a:extLst>
          </p:cNvPr>
          <p:cNvCxnSpPr>
            <a:cxnSpLocks/>
            <a:stCxn id="302" idx="1"/>
            <a:endCxn id="319" idx="3"/>
          </p:cNvCxnSpPr>
          <p:nvPr/>
        </p:nvCxnSpPr>
        <p:spPr>
          <a:xfrm flipH="1">
            <a:off x="9884910" y="2365289"/>
            <a:ext cx="421826" cy="2428013"/>
          </a:xfrm>
          <a:prstGeom prst="line">
            <a:avLst/>
          </a:prstGeom>
          <a:noFill/>
          <a:ln w="12700" cap="flat" cmpd="sng" algn="ctr">
            <a:solidFill>
              <a:srgbClr val="FFFFFF">
                <a:lumMod val="65000"/>
              </a:srgbClr>
            </a:solidFill>
            <a:prstDash val="solid"/>
            <a:headEnd type="none"/>
            <a:tailEnd type="triangle" w="med" len="med"/>
          </a:ln>
          <a:effectLst/>
        </p:spPr>
      </p:cxnSp>
      <p:cxnSp>
        <p:nvCxnSpPr>
          <p:cNvPr id="364" name="Straight Connector 363">
            <a:extLst>
              <a:ext uri="{FF2B5EF4-FFF2-40B4-BE49-F238E27FC236}">
                <a16:creationId xmlns:a16="http://schemas.microsoft.com/office/drawing/2014/main" id="{FA087000-6960-48D9-B4FF-2FEA2C0E024E}"/>
              </a:ext>
            </a:extLst>
          </p:cNvPr>
          <p:cNvCxnSpPr>
            <a:cxnSpLocks/>
            <a:stCxn id="303" idx="1"/>
            <a:endCxn id="318" idx="3"/>
          </p:cNvCxnSpPr>
          <p:nvPr/>
        </p:nvCxnSpPr>
        <p:spPr>
          <a:xfrm flipH="1">
            <a:off x="9884910" y="2991906"/>
            <a:ext cx="421826" cy="705072"/>
          </a:xfrm>
          <a:prstGeom prst="line">
            <a:avLst/>
          </a:prstGeom>
          <a:noFill/>
          <a:ln w="12700" cap="flat" cmpd="sng" algn="ctr">
            <a:solidFill>
              <a:srgbClr val="FFFFFF">
                <a:lumMod val="65000"/>
              </a:srgbClr>
            </a:solidFill>
            <a:prstDash val="solid"/>
            <a:headEnd type="none"/>
            <a:tailEnd type="triangle" w="med" len="med"/>
          </a:ln>
          <a:effectLst/>
        </p:spPr>
      </p:cxnSp>
      <p:cxnSp>
        <p:nvCxnSpPr>
          <p:cNvPr id="365" name="Straight Connector 364">
            <a:extLst>
              <a:ext uri="{FF2B5EF4-FFF2-40B4-BE49-F238E27FC236}">
                <a16:creationId xmlns:a16="http://schemas.microsoft.com/office/drawing/2014/main" id="{9C941B2F-E528-4B01-ACDE-FC590D68C97E}"/>
              </a:ext>
            </a:extLst>
          </p:cNvPr>
          <p:cNvCxnSpPr>
            <a:cxnSpLocks/>
            <a:stCxn id="303" idx="1"/>
            <a:endCxn id="319" idx="3"/>
          </p:cNvCxnSpPr>
          <p:nvPr/>
        </p:nvCxnSpPr>
        <p:spPr>
          <a:xfrm flipH="1">
            <a:off x="9884910" y="2991906"/>
            <a:ext cx="421826" cy="1801396"/>
          </a:xfrm>
          <a:prstGeom prst="line">
            <a:avLst/>
          </a:prstGeom>
          <a:noFill/>
          <a:ln w="12700" cap="flat" cmpd="sng" algn="ctr">
            <a:solidFill>
              <a:srgbClr val="FFFFFF">
                <a:lumMod val="65000"/>
              </a:srgbClr>
            </a:solidFill>
            <a:prstDash val="solid"/>
            <a:headEnd type="none"/>
            <a:tailEnd type="triangle" w="med" len="med"/>
          </a:ln>
          <a:effectLst/>
        </p:spPr>
      </p:cxnSp>
      <p:cxnSp>
        <p:nvCxnSpPr>
          <p:cNvPr id="368" name="Straight Connector 367">
            <a:extLst>
              <a:ext uri="{FF2B5EF4-FFF2-40B4-BE49-F238E27FC236}">
                <a16:creationId xmlns:a16="http://schemas.microsoft.com/office/drawing/2014/main" id="{5BA1695B-CCD9-4EAD-A4D1-4FEAC833B867}"/>
              </a:ext>
            </a:extLst>
          </p:cNvPr>
          <p:cNvCxnSpPr>
            <a:cxnSpLocks/>
            <a:stCxn id="303" idx="1"/>
            <a:endCxn id="317" idx="3"/>
          </p:cNvCxnSpPr>
          <p:nvPr/>
        </p:nvCxnSpPr>
        <p:spPr>
          <a:xfrm flipH="1" flipV="1">
            <a:off x="9884910" y="2600654"/>
            <a:ext cx="421826" cy="391252"/>
          </a:xfrm>
          <a:prstGeom prst="line">
            <a:avLst/>
          </a:prstGeom>
          <a:noFill/>
          <a:ln w="12700" cap="flat" cmpd="sng" algn="ctr">
            <a:solidFill>
              <a:srgbClr val="FFFFFF">
                <a:lumMod val="65000"/>
              </a:srgbClr>
            </a:solidFill>
            <a:prstDash val="solid"/>
            <a:headEnd type="none"/>
            <a:tailEnd type="triangle" w="med" len="med"/>
          </a:ln>
          <a:effectLst/>
        </p:spPr>
      </p:cxnSp>
      <p:cxnSp>
        <p:nvCxnSpPr>
          <p:cNvPr id="374" name="Straight Connector 373">
            <a:extLst>
              <a:ext uri="{FF2B5EF4-FFF2-40B4-BE49-F238E27FC236}">
                <a16:creationId xmlns:a16="http://schemas.microsoft.com/office/drawing/2014/main" id="{F385D8F0-5BF5-4BC0-8EDD-D12DC65F80B4}"/>
              </a:ext>
            </a:extLst>
          </p:cNvPr>
          <p:cNvCxnSpPr>
            <a:cxnSpLocks/>
            <a:stCxn id="304" idx="1"/>
            <a:endCxn id="317" idx="3"/>
          </p:cNvCxnSpPr>
          <p:nvPr/>
        </p:nvCxnSpPr>
        <p:spPr>
          <a:xfrm flipH="1" flipV="1">
            <a:off x="9884910" y="2600654"/>
            <a:ext cx="421826" cy="1017869"/>
          </a:xfrm>
          <a:prstGeom prst="line">
            <a:avLst/>
          </a:prstGeom>
          <a:noFill/>
          <a:ln w="12700" cap="flat" cmpd="sng" algn="ctr">
            <a:solidFill>
              <a:srgbClr val="FFFFFF">
                <a:lumMod val="65000"/>
              </a:srgbClr>
            </a:solidFill>
            <a:prstDash val="solid"/>
            <a:headEnd type="none"/>
            <a:tailEnd type="triangle" w="med" len="med"/>
          </a:ln>
          <a:effectLst/>
        </p:spPr>
      </p:cxnSp>
      <p:cxnSp>
        <p:nvCxnSpPr>
          <p:cNvPr id="377" name="Straight Connector 376">
            <a:extLst>
              <a:ext uri="{FF2B5EF4-FFF2-40B4-BE49-F238E27FC236}">
                <a16:creationId xmlns:a16="http://schemas.microsoft.com/office/drawing/2014/main" id="{FEE1D34B-AE20-4900-8CEB-5CF54DAAF4E3}"/>
              </a:ext>
            </a:extLst>
          </p:cNvPr>
          <p:cNvCxnSpPr>
            <a:cxnSpLocks/>
            <a:stCxn id="304" idx="1"/>
            <a:endCxn id="319" idx="3"/>
          </p:cNvCxnSpPr>
          <p:nvPr/>
        </p:nvCxnSpPr>
        <p:spPr>
          <a:xfrm flipH="1">
            <a:off x="9884910" y="3618523"/>
            <a:ext cx="421826" cy="1174779"/>
          </a:xfrm>
          <a:prstGeom prst="line">
            <a:avLst/>
          </a:prstGeom>
          <a:noFill/>
          <a:ln w="12700" cap="flat" cmpd="sng" algn="ctr">
            <a:solidFill>
              <a:srgbClr val="FFFFFF">
                <a:lumMod val="65000"/>
              </a:srgbClr>
            </a:solidFill>
            <a:prstDash val="solid"/>
            <a:headEnd type="none"/>
            <a:tailEnd type="triangle" w="med" len="med"/>
          </a:ln>
          <a:effectLst/>
        </p:spPr>
      </p:cxnSp>
      <p:cxnSp>
        <p:nvCxnSpPr>
          <p:cNvPr id="381" name="Straight Connector 380">
            <a:extLst>
              <a:ext uri="{FF2B5EF4-FFF2-40B4-BE49-F238E27FC236}">
                <a16:creationId xmlns:a16="http://schemas.microsoft.com/office/drawing/2014/main" id="{12D416EE-7B03-4E87-A832-10C4E90D2525}"/>
              </a:ext>
            </a:extLst>
          </p:cNvPr>
          <p:cNvCxnSpPr>
            <a:cxnSpLocks/>
            <a:stCxn id="304" idx="1"/>
            <a:endCxn id="318" idx="3"/>
          </p:cNvCxnSpPr>
          <p:nvPr/>
        </p:nvCxnSpPr>
        <p:spPr>
          <a:xfrm flipH="1">
            <a:off x="9884910" y="3618523"/>
            <a:ext cx="421826" cy="78455"/>
          </a:xfrm>
          <a:prstGeom prst="line">
            <a:avLst/>
          </a:prstGeom>
          <a:noFill/>
          <a:ln w="12700" cap="flat" cmpd="sng" algn="ctr">
            <a:solidFill>
              <a:srgbClr val="FFFFFF">
                <a:lumMod val="65000"/>
              </a:srgbClr>
            </a:solidFill>
            <a:prstDash val="solid"/>
            <a:headEnd type="none"/>
            <a:tailEnd type="triangle" w="med" len="med"/>
          </a:ln>
          <a:effectLst/>
        </p:spPr>
      </p:cxnSp>
    </p:spTree>
    <p:extLst>
      <p:ext uri="{BB962C8B-B14F-4D97-AF65-F5344CB8AC3E}">
        <p14:creationId xmlns:p14="http://schemas.microsoft.com/office/powerpoint/2010/main" val="15000211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grated Supply Chain</a:t>
            </a:r>
            <a:endParaRPr lang="en-IN" dirty="0"/>
          </a:p>
        </p:txBody>
      </p:sp>
      <p:sp>
        <p:nvSpPr>
          <p:cNvPr id="4" name="Slide Number Placeholder 3"/>
          <p:cNvSpPr>
            <a:spLocks noGrp="1"/>
          </p:cNvSpPr>
          <p:nvPr>
            <p:ph type="sldNum" sz="quarter" idx="14"/>
          </p:nvPr>
        </p:nvSpPr>
        <p:spPr/>
        <p:txBody>
          <a:bodyPr/>
          <a:lstStyle/>
          <a:p>
            <a:pPr defTabSz="1087779">
              <a:defRPr/>
            </a:pPr>
            <a:fld id="{FAADACFB-7C71-4E89-89D2-7BBA40B7BFA9}" type="slidenum">
              <a:rPr lang="en-US">
                <a:solidFill>
                  <a:srgbClr val="505050"/>
                </a:solidFill>
              </a:rPr>
              <a:pPr defTabSz="1087779">
                <a:defRPr/>
              </a:pPr>
              <a:t>42</a:t>
            </a:fld>
            <a:endParaRPr lang="en-US">
              <a:solidFill>
                <a:srgbClr val="505050"/>
              </a:solidFill>
            </a:endParaRPr>
          </a:p>
        </p:txBody>
      </p:sp>
      <p:graphicFrame>
        <p:nvGraphicFramePr>
          <p:cNvPr id="5" name="Table 4"/>
          <p:cNvGraphicFramePr>
            <a:graphicFrameLocks noGrp="1"/>
          </p:cNvGraphicFramePr>
          <p:nvPr>
            <p:extLst/>
          </p:nvPr>
        </p:nvGraphicFramePr>
        <p:xfrm>
          <a:off x="304721" y="659776"/>
          <a:ext cx="11579383" cy="6134704"/>
        </p:xfrm>
        <a:graphic>
          <a:graphicData uri="http://schemas.openxmlformats.org/drawingml/2006/table">
            <a:tbl>
              <a:tblPr firstRow="1" firstCol="1" bandRow="1">
                <a:tableStyleId>{5C22544A-7EE6-4342-B048-85BDC9FD1C3A}</a:tableStyleId>
              </a:tblPr>
              <a:tblGrid>
                <a:gridCol w="1294243">
                  <a:extLst>
                    <a:ext uri="{9D8B030D-6E8A-4147-A177-3AD203B41FA5}">
                      <a16:colId xmlns:a16="http://schemas.microsoft.com/office/drawing/2014/main" val="20000"/>
                    </a:ext>
                  </a:extLst>
                </a:gridCol>
                <a:gridCol w="2602053">
                  <a:extLst>
                    <a:ext uri="{9D8B030D-6E8A-4147-A177-3AD203B41FA5}">
                      <a16:colId xmlns:a16="http://schemas.microsoft.com/office/drawing/2014/main" val="20001"/>
                    </a:ext>
                  </a:extLst>
                </a:gridCol>
                <a:gridCol w="3456675">
                  <a:extLst>
                    <a:ext uri="{9D8B030D-6E8A-4147-A177-3AD203B41FA5}">
                      <a16:colId xmlns:a16="http://schemas.microsoft.com/office/drawing/2014/main" val="20002"/>
                    </a:ext>
                  </a:extLst>
                </a:gridCol>
                <a:gridCol w="4226412">
                  <a:extLst>
                    <a:ext uri="{9D8B030D-6E8A-4147-A177-3AD203B41FA5}">
                      <a16:colId xmlns:a16="http://schemas.microsoft.com/office/drawing/2014/main" val="20003"/>
                    </a:ext>
                  </a:extLst>
                </a:gridCol>
              </a:tblGrid>
              <a:tr h="274249">
                <a:tc>
                  <a:txBody>
                    <a:bodyPr/>
                    <a:lstStyle/>
                    <a:p>
                      <a:pPr>
                        <a:lnSpc>
                          <a:spcPct val="100000"/>
                        </a:lnSpc>
                      </a:pPr>
                      <a:endParaRPr lang="en-US" sz="1000"/>
                    </a:p>
                  </a:txBody>
                  <a:tcPr marL="91416" marR="91416" marT="45708" marB="4570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a:latin typeface="Segoe UI Semibold" panose="020B0702040204020203" pitchFamily="34" charset="0"/>
                          <a:cs typeface="Segoe UI Semibold" panose="020B0702040204020203" pitchFamily="34" charset="0"/>
                        </a:rPr>
                        <a:t>Value for Customers</a:t>
                      </a:r>
                    </a:p>
                  </a:txBody>
                  <a:tcPr marL="91416" marR="91416" marT="45708" marB="4570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lnSpc>
                          <a:spcPct val="100000"/>
                        </a:lnSpc>
                      </a:pPr>
                      <a:r>
                        <a:rPr lang="en-US" sz="1200" b="0">
                          <a:latin typeface="Segoe UI Semibold" panose="020B0702040204020203" pitchFamily="34" charset="0"/>
                          <a:cs typeface="Segoe UI Semibold" panose="020B0702040204020203" pitchFamily="34" charset="0"/>
                        </a:rPr>
                        <a:t>Value for Business Leaders</a:t>
                      </a:r>
                    </a:p>
                  </a:txBody>
                  <a:tcPr marL="91416" marR="91416" marT="45708" marB="4570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lnSpc>
                          <a:spcPct val="100000"/>
                        </a:lnSpc>
                      </a:pPr>
                      <a:r>
                        <a:rPr lang="en-US" sz="1200" b="0" dirty="0">
                          <a:latin typeface="Segoe UI Semibold" panose="020B0702040204020203" pitchFamily="34" charset="0"/>
                          <a:cs typeface="Segoe UI Semibold" panose="020B0702040204020203" pitchFamily="34" charset="0"/>
                        </a:rPr>
                        <a:t>Value for IT Leaders</a:t>
                      </a:r>
                    </a:p>
                  </a:txBody>
                  <a:tcPr marL="91416" marR="91416" marT="45708" marB="45708"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1157874">
                <a:tc>
                  <a:txBody>
                    <a:bodyPr/>
                    <a:lstStyle/>
                    <a:p>
                      <a:pPr marL="0" algn="l" defTabSz="1088105" rtl="0" eaLnBrk="1" latinLnBrk="0" hangingPunct="1">
                        <a:lnSpc>
                          <a:spcPct val="100000"/>
                        </a:lnSpc>
                      </a:pPr>
                      <a:r>
                        <a:rPr lang="en-US" sz="1100" b="0" kern="1200">
                          <a:solidFill>
                            <a:schemeClr val="tx1"/>
                          </a:solidFill>
                          <a:latin typeface="Segoe UI Semibold" panose="020B0702040204020203" pitchFamily="34" charset="0"/>
                          <a:ea typeface="+mn-ea"/>
                          <a:cs typeface="Segoe UI Semibold" panose="020B0702040204020203" pitchFamily="34" charset="0"/>
                        </a:rPr>
                        <a:t>Strategic</a:t>
                      </a:r>
                    </a:p>
                  </a:txBody>
                  <a:tcPr marL="121824" marR="121824" marT="60912" marB="6091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lgn="l" defTabSz="1088105" rtl="0" eaLnBrk="1" latinLnBrk="0" hangingPunct="1">
                        <a:lnSpc>
                          <a:spcPct val="100000"/>
                        </a:lnSpc>
                        <a:spcBef>
                          <a:spcPts val="200"/>
                        </a:spcBef>
                        <a:buFont typeface="Arial" panose="020B0604020202020204" pitchFamily="34" charset="0"/>
                        <a:buChar char="•"/>
                      </a:pPr>
                      <a:r>
                        <a:rPr lang="en-US" sz="1000" kern="1200" dirty="0">
                          <a:solidFill>
                            <a:schemeClr val="tx1"/>
                          </a:solidFill>
                          <a:latin typeface="+mn-lt"/>
                          <a:ea typeface="+mn-ea"/>
                          <a:cs typeface="+mn-cs"/>
                        </a:rPr>
                        <a:t>Better expectations for product quality and delivery</a:t>
                      </a:r>
                    </a:p>
                    <a:p>
                      <a:pPr marL="171450" indent="-171450" algn="l" defTabSz="1088105" rtl="0" eaLnBrk="1" latinLnBrk="0" hangingPunct="1">
                        <a:lnSpc>
                          <a:spcPct val="100000"/>
                        </a:lnSpc>
                        <a:spcBef>
                          <a:spcPts val="200"/>
                        </a:spcBef>
                        <a:buFont typeface="Arial" panose="020B0604020202020204" pitchFamily="34" charset="0"/>
                        <a:buChar char="•"/>
                      </a:pPr>
                      <a:r>
                        <a:rPr lang="en-US" sz="1000" kern="1200" dirty="0">
                          <a:solidFill>
                            <a:schemeClr val="tx1"/>
                          </a:solidFill>
                          <a:latin typeface="+mn-lt"/>
                          <a:ea typeface="+mn-ea"/>
                          <a:cs typeface="+mn-cs"/>
                        </a:rPr>
                        <a:t>Better insight into product delivery</a:t>
                      </a:r>
                    </a:p>
                    <a:p>
                      <a:pPr marL="171450" indent="-171450" algn="l" defTabSz="1088105" rtl="0" eaLnBrk="1" latinLnBrk="0" hangingPunct="1">
                        <a:lnSpc>
                          <a:spcPct val="100000"/>
                        </a:lnSpc>
                        <a:spcBef>
                          <a:spcPts val="200"/>
                        </a:spcBef>
                        <a:buFont typeface="Arial" panose="020B0604020202020204" pitchFamily="34" charset="0"/>
                        <a:buChar char="•"/>
                      </a:pPr>
                      <a:r>
                        <a:rPr lang="en-US" sz="1000" kern="1200" dirty="0">
                          <a:solidFill>
                            <a:schemeClr val="tx1"/>
                          </a:solidFill>
                          <a:latin typeface="+mn-lt"/>
                          <a:ea typeface="+mn-ea"/>
                          <a:cs typeface="+mn-cs"/>
                        </a:rPr>
                        <a:t>Better able to make decisions</a:t>
                      </a:r>
                    </a:p>
                  </a:txBody>
                  <a:tcPr marL="121824" marR="121824" marT="60912" marB="6091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lvl="0" indent="-171450" algn="l" defTabSz="1088105"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kern="1200" dirty="0">
                          <a:solidFill>
                            <a:schemeClr val="tx1"/>
                          </a:solidFill>
                          <a:latin typeface="+mn-lt"/>
                          <a:ea typeface="+mn-ea"/>
                          <a:cs typeface="+mn-cs"/>
                        </a:rPr>
                        <a:t>Global operational view supports predicting problems before they escalate</a:t>
                      </a:r>
                    </a:p>
                    <a:p>
                      <a:pPr marL="171450" marR="0" lvl="0" indent="-171450" algn="l" defTabSz="1088105"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kern="1200" dirty="0">
                          <a:solidFill>
                            <a:schemeClr val="tx1"/>
                          </a:solidFill>
                          <a:latin typeface="+mn-lt"/>
                          <a:ea typeface="+mn-ea"/>
                          <a:cs typeface="+mn-cs"/>
                        </a:rPr>
                        <a:t>Predict and adapt to changing demand, supply, labor and facilities</a:t>
                      </a:r>
                    </a:p>
                    <a:p>
                      <a:pPr marL="171450" indent="-171450" algn="l" defTabSz="1088105" rtl="0" eaLnBrk="1" latinLnBrk="0" hangingPunct="1">
                        <a:lnSpc>
                          <a:spcPct val="100000"/>
                        </a:lnSpc>
                        <a:spcBef>
                          <a:spcPts val="200"/>
                        </a:spcBef>
                        <a:buFont typeface="Arial" panose="020B0604020202020204" pitchFamily="34" charset="0"/>
                        <a:buChar char="•"/>
                      </a:pPr>
                      <a:r>
                        <a:rPr lang="en-US" sz="1000" kern="1200" dirty="0">
                          <a:solidFill>
                            <a:schemeClr val="tx1"/>
                          </a:solidFill>
                          <a:latin typeface="+mn-lt"/>
                          <a:ea typeface="+mn-ea"/>
                          <a:cs typeface="+mn-cs"/>
                        </a:rPr>
                        <a:t>Optimum use of partners, vendors and facilities</a:t>
                      </a:r>
                    </a:p>
                    <a:p>
                      <a:pPr marL="171450" indent="-171450" algn="l" defTabSz="1088105" rtl="0" eaLnBrk="1" latinLnBrk="0" hangingPunct="1">
                        <a:lnSpc>
                          <a:spcPct val="100000"/>
                        </a:lnSpc>
                        <a:spcBef>
                          <a:spcPts val="200"/>
                        </a:spcBef>
                        <a:buFont typeface="Arial" panose="020B0604020202020204" pitchFamily="34" charset="0"/>
                        <a:buChar char="•"/>
                      </a:pPr>
                      <a:r>
                        <a:rPr lang="en-US" sz="1000" kern="1200" dirty="0">
                          <a:solidFill>
                            <a:schemeClr val="tx1"/>
                          </a:solidFill>
                          <a:latin typeface="+mn-lt"/>
                          <a:ea typeface="+mn-ea"/>
                          <a:cs typeface="+mn-cs"/>
                        </a:rPr>
                        <a:t>Reduction in carbon footprint</a:t>
                      </a:r>
                    </a:p>
                  </a:txBody>
                  <a:tcPr marL="121824" marR="121824" marT="60912" marB="6091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gn="l" defTabSz="1088105" rtl="0" eaLnBrk="1" latinLnBrk="0" hangingPunct="1">
                        <a:lnSpc>
                          <a:spcPct val="100000"/>
                        </a:lnSpc>
                        <a:spcBef>
                          <a:spcPts val="200"/>
                        </a:spcBef>
                        <a:buFont typeface="Arial" panose="020B0604020202020204" pitchFamily="34" charset="0"/>
                        <a:buChar char="•"/>
                      </a:pPr>
                      <a:r>
                        <a:rPr lang="en-US" sz="1000" kern="1200" dirty="0">
                          <a:solidFill>
                            <a:schemeClr val="tx1"/>
                          </a:solidFill>
                          <a:latin typeface="+mn-lt"/>
                          <a:ea typeface="+mn-ea"/>
                          <a:cs typeface="+mn-cs"/>
                        </a:rPr>
                        <a:t>Improved global preparedness, quality and decentralization of IT services</a:t>
                      </a:r>
                    </a:p>
                    <a:p>
                      <a:pPr marL="171450" indent="-171450" algn="l" defTabSz="1088105" rtl="0" eaLnBrk="1" latinLnBrk="0" hangingPunct="1">
                        <a:lnSpc>
                          <a:spcPct val="100000"/>
                        </a:lnSpc>
                        <a:spcBef>
                          <a:spcPts val="200"/>
                        </a:spcBef>
                        <a:buFont typeface="Arial" panose="020B0604020202020204" pitchFamily="34" charset="0"/>
                        <a:buChar char="•"/>
                      </a:pPr>
                      <a:r>
                        <a:rPr lang="en-US" sz="1000" kern="1200" dirty="0">
                          <a:solidFill>
                            <a:schemeClr val="tx1"/>
                          </a:solidFill>
                          <a:latin typeface="+mn-lt"/>
                          <a:ea typeface="+mn-ea"/>
                          <a:cs typeface="+mn-cs"/>
                        </a:rPr>
                        <a:t>Robust and sustainable connection to partners across boundaries</a:t>
                      </a:r>
                    </a:p>
                    <a:p>
                      <a:pPr marL="171450" indent="-171450" algn="l" defTabSz="1088105" rtl="0" eaLnBrk="1" latinLnBrk="0" hangingPunct="1">
                        <a:lnSpc>
                          <a:spcPct val="100000"/>
                        </a:lnSpc>
                        <a:spcBef>
                          <a:spcPts val="200"/>
                        </a:spcBef>
                        <a:buFont typeface="Arial" panose="020B0604020202020204" pitchFamily="34" charset="0"/>
                        <a:buChar char="•"/>
                      </a:pPr>
                      <a:r>
                        <a:rPr lang="en-US" sz="1000" kern="1200" dirty="0">
                          <a:solidFill>
                            <a:schemeClr val="tx1"/>
                          </a:solidFill>
                          <a:latin typeface="+mn-lt"/>
                          <a:ea typeface="+mn-ea"/>
                          <a:cs typeface="+mn-cs"/>
                        </a:rPr>
                        <a:t>Improved analytic capability</a:t>
                      </a:r>
                    </a:p>
                  </a:txBody>
                  <a:tcPr marL="121824" marR="121824" marT="60912" marB="6091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1157874">
                <a:tc>
                  <a:txBody>
                    <a:bodyPr/>
                    <a:lstStyle/>
                    <a:p>
                      <a:pPr marL="0" algn="l" defTabSz="1088105" rtl="0" eaLnBrk="1" latinLnBrk="0" hangingPunct="1">
                        <a:lnSpc>
                          <a:spcPct val="100000"/>
                        </a:lnSpc>
                      </a:pPr>
                      <a:r>
                        <a:rPr lang="en-US" sz="1100" b="0" kern="1200">
                          <a:solidFill>
                            <a:schemeClr val="tx1"/>
                          </a:solidFill>
                          <a:latin typeface="Segoe UI Semibold" panose="020B0702040204020203" pitchFamily="34" charset="0"/>
                          <a:ea typeface="+mn-ea"/>
                          <a:cs typeface="Segoe UI Semibold" panose="020B0702040204020203" pitchFamily="34" charset="0"/>
                        </a:rPr>
                        <a:t>Time to Value</a:t>
                      </a:r>
                    </a:p>
                  </a:txBody>
                  <a:tcPr marL="121824" marR="121824" marT="60912" marB="6091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lgn="l" defTabSz="1088105" rtl="0" eaLnBrk="1" latinLnBrk="0" hangingPunct="1">
                        <a:lnSpc>
                          <a:spcPct val="100000"/>
                        </a:lnSpc>
                        <a:spcBef>
                          <a:spcPts val="200"/>
                        </a:spcBef>
                        <a:buFont typeface="Arial" panose="020B0604020202020204" pitchFamily="34" charset="0"/>
                        <a:buChar char="•"/>
                      </a:pPr>
                      <a:r>
                        <a:rPr lang="en-US" sz="1000" kern="1200" dirty="0">
                          <a:solidFill>
                            <a:schemeClr val="tx1"/>
                          </a:solidFill>
                          <a:latin typeface="+mn-lt"/>
                          <a:ea typeface="+mn-ea"/>
                          <a:cs typeface="+mn-cs"/>
                        </a:rPr>
                        <a:t>On-time delivery </a:t>
                      </a:r>
                    </a:p>
                    <a:p>
                      <a:pPr marL="171450" indent="-171450" algn="l" defTabSz="1088105" rtl="0" eaLnBrk="1" latinLnBrk="0" hangingPunct="1">
                        <a:lnSpc>
                          <a:spcPct val="100000"/>
                        </a:lnSpc>
                        <a:spcBef>
                          <a:spcPts val="200"/>
                        </a:spcBef>
                        <a:buFont typeface="Arial" panose="020B0604020202020204" pitchFamily="34" charset="0"/>
                        <a:buChar char="•"/>
                      </a:pPr>
                      <a:r>
                        <a:rPr lang="en-US" sz="1000" kern="1200" dirty="0">
                          <a:solidFill>
                            <a:schemeClr val="tx1"/>
                          </a:solidFill>
                          <a:latin typeface="+mn-lt"/>
                          <a:ea typeface="+mn-ea"/>
                          <a:cs typeface="+mn-cs"/>
                        </a:rPr>
                        <a:t>Reduced shortage/outages</a:t>
                      </a:r>
                    </a:p>
                  </a:txBody>
                  <a:tcPr marL="121824" marR="121824" marT="60912" marB="6091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lvl="0" indent="-171450" algn="l" defTabSz="1088105"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kern="1200" dirty="0">
                          <a:solidFill>
                            <a:schemeClr val="tx1"/>
                          </a:solidFill>
                          <a:latin typeface="+mn-lt"/>
                          <a:ea typeface="+mn-ea"/>
                          <a:cs typeface="+mn-cs"/>
                        </a:rPr>
                        <a:t>Streamline shipping, marketing, and inventory management operations</a:t>
                      </a:r>
                    </a:p>
                    <a:p>
                      <a:pPr marL="171450" indent="-171450" algn="l" defTabSz="1088105" rtl="0" eaLnBrk="1" latinLnBrk="0" hangingPunct="1">
                        <a:lnSpc>
                          <a:spcPct val="100000"/>
                        </a:lnSpc>
                        <a:spcBef>
                          <a:spcPts val="200"/>
                        </a:spcBef>
                        <a:buFont typeface="Arial" panose="020B0604020202020204" pitchFamily="34" charset="0"/>
                        <a:buChar char="•"/>
                      </a:pPr>
                      <a:r>
                        <a:rPr lang="en-US" sz="1000" kern="1200" dirty="0">
                          <a:solidFill>
                            <a:schemeClr val="tx1"/>
                          </a:solidFill>
                          <a:latin typeface="+mn-lt"/>
                          <a:ea typeface="+mn-ea"/>
                          <a:cs typeface="+mn-cs"/>
                        </a:rPr>
                        <a:t>Streamline warehouse operations management</a:t>
                      </a:r>
                    </a:p>
                    <a:p>
                      <a:pPr marL="171450" indent="-171450" algn="l" defTabSz="1088105" rtl="0" eaLnBrk="1" latinLnBrk="0" hangingPunct="1">
                        <a:lnSpc>
                          <a:spcPct val="100000"/>
                        </a:lnSpc>
                        <a:spcBef>
                          <a:spcPts val="200"/>
                        </a:spcBef>
                        <a:buFont typeface="Arial" panose="020B0604020202020204" pitchFamily="34" charset="0"/>
                        <a:buChar char="•"/>
                      </a:pPr>
                      <a:r>
                        <a:rPr lang="en-US" sz="1000" kern="1200" dirty="0">
                          <a:solidFill>
                            <a:schemeClr val="tx1"/>
                          </a:solidFill>
                          <a:latin typeface="+mn-lt"/>
                          <a:ea typeface="+mn-ea"/>
                          <a:cs typeface="+mn-cs"/>
                        </a:rPr>
                        <a:t>Faster onboarding for additional supply chain partners</a:t>
                      </a:r>
                    </a:p>
                    <a:p>
                      <a:pPr marL="171450" indent="-171450" algn="l" defTabSz="1088105" rtl="0" eaLnBrk="1" latinLnBrk="0" hangingPunct="1">
                        <a:lnSpc>
                          <a:spcPct val="100000"/>
                        </a:lnSpc>
                        <a:spcBef>
                          <a:spcPts val="200"/>
                        </a:spcBef>
                        <a:buFont typeface="Arial" panose="020B0604020202020204" pitchFamily="34" charset="0"/>
                        <a:buChar char="•"/>
                      </a:pPr>
                      <a:r>
                        <a:rPr lang="en-US" sz="1000" kern="1200" dirty="0">
                          <a:solidFill>
                            <a:schemeClr val="tx1"/>
                          </a:solidFill>
                          <a:latin typeface="+mn-lt"/>
                          <a:ea typeface="+mn-ea"/>
                          <a:cs typeface="+mn-cs"/>
                        </a:rPr>
                        <a:t>Faster time to resolution provided by better insight</a:t>
                      </a:r>
                    </a:p>
                  </a:txBody>
                  <a:tcPr marL="121824" marR="121824" marT="60912" marB="6091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gn="l" defTabSz="1088105" rtl="0" eaLnBrk="1" latinLnBrk="0" hangingPunct="1">
                        <a:lnSpc>
                          <a:spcPct val="100000"/>
                        </a:lnSpc>
                        <a:spcBef>
                          <a:spcPts val="200"/>
                        </a:spcBef>
                        <a:buFont typeface="Arial" panose="020B0604020202020204" pitchFamily="34" charset="0"/>
                        <a:buChar char="•"/>
                      </a:pPr>
                      <a:r>
                        <a:rPr lang="en-US" sz="1000" kern="1200" dirty="0">
                          <a:solidFill>
                            <a:schemeClr val="tx1"/>
                          </a:solidFill>
                          <a:latin typeface="+mn-lt"/>
                          <a:ea typeface="+mn-ea"/>
                          <a:cs typeface="+mn-cs"/>
                        </a:rPr>
                        <a:t>Improved global response</a:t>
                      </a:r>
                    </a:p>
                    <a:p>
                      <a:pPr marL="171450" indent="-171450" algn="l" defTabSz="1088105" rtl="0" eaLnBrk="1" latinLnBrk="0" hangingPunct="1">
                        <a:lnSpc>
                          <a:spcPct val="100000"/>
                        </a:lnSpc>
                        <a:spcBef>
                          <a:spcPts val="200"/>
                        </a:spcBef>
                        <a:buFont typeface="Arial" panose="020B0604020202020204" pitchFamily="34" charset="0"/>
                        <a:buChar char="•"/>
                      </a:pPr>
                      <a:r>
                        <a:rPr lang="en-US" sz="1000" kern="1200" dirty="0">
                          <a:solidFill>
                            <a:schemeClr val="tx1"/>
                          </a:solidFill>
                          <a:latin typeface="+mn-lt"/>
                          <a:ea typeface="+mn-ea"/>
                          <a:cs typeface="+mn-cs"/>
                        </a:rPr>
                        <a:t>Improved ability to scale based on needs</a:t>
                      </a:r>
                    </a:p>
                    <a:p>
                      <a:pPr marL="171450" indent="-171450" algn="l" defTabSz="1088105" rtl="0" eaLnBrk="1" latinLnBrk="0" hangingPunct="1">
                        <a:lnSpc>
                          <a:spcPct val="100000"/>
                        </a:lnSpc>
                        <a:spcBef>
                          <a:spcPts val="200"/>
                        </a:spcBef>
                        <a:buFont typeface="Arial" panose="020B0604020202020204" pitchFamily="34" charset="0"/>
                        <a:buChar char="•"/>
                      </a:pPr>
                      <a:r>
                        <a:rPr lang="en-US" sz="1000" kern="1200" dirty="0">
                          <a:solidFill>
                            <a:schemeClr val="tx1"/>
                          </a:solidFill>
                          <a:latin typeface="+mn-lt"/>
                          <a:ea typeface="+mn-ea"/>
                          <a:cs typeface="+mn-cs"/>
                        </a:rPr>
                        <a:t>Instant authentication and provisioning</a:t>
                      </a:r>
                    </a:p>
                  </a:txBody>
                  <a:tcPr marL="121824" marR="121824" marT="60912" marB="6091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1023289">
                <a:tc>
                  <a:txBody>
                    <a:bodyPr/>
                    <a:lstStyle/>
                    <a:p>
                      <a:pPr marL="0" algn="l" defTabSz="1088105" rtl="0" eaLnBrk="1" latinLnBrk="0" hangingPunct="1">
                        <a:lnSpc>
                          <a:spcPct val="100000"/>
                        </a:lnSpc>
                      </a:pPr>
                      <a:r>
                        <a:rPr lang="en-US" sz="1100" b="0" kern="1200">
                          <a:solidFill>
                            <a:schemeClr val="tx1"/>
                          </a:solidFill>
                          <a:latin typeface="Segoe UI Semibold" panose="020B0702040204020203" pitchFamily="34" charset="0"/>
                          <a:ea typeface="+mn-ea"/>
                          <a:cs typeface="Segoe UI Semibold" panose="020B0702040204020203" pitchFamily="34" charset="0"/>
                        </a:rPr>
                        <a:t>Increase Revenue</a:t>
                      </a:r>
                    </a:p>
                  </a:txBody>
                  <a:tcPr marL="121824" marR="121824" marT="60912" marB="6091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lgn="l" defTabSz="1088105" rtl="0" eaLnBrk="1" latinLnBrk="0" hangingPunct="1">
                        <a:lnSpc>
                          <a:spcPct val="100000"/>
                        </a:lnSpc>
                        <a:spcBef>
                          <a:spcPts val="200"/>
                        </a:spcBef>
                        <a:buFont typeface="Arial" panose="020B0604020202020204" pitchFamily="34" charset="0"/>
                        <a:buChar char="•"/>
                      </a:pPr>
                      <a:endParaRPr lang="en-US" sz="1000" kern="1200" dirty="0">
                        <a:solidFill>
                          <a:schemeClr val="tx1"/>
                        </a:solidFill>
                        <a:latin typeface="+mn-lt"/>
                        <a:ea typeface="+mn-ea"/>
                        <a:cs typeface="+mn-cs"/>
                      </a:endParaRPr>
                    </a:p>
                  </a:txBody>
                  <a:tcPr marL="121824" marR="121824" marT="60912" marB="6091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gn="l" defTabSz="1088105" rtl="0" eaLnBrk="1" latinLnBrk="0" hangingPunct="1">
                        <a:lnSpc>
                          <a:spcPct val="100000"/>
                        </a:lnSpc>
                        <a:spcBef>
                          <a:spcPts val="200"/>
                        </a:spcBef>
                        <a:buFont typeface="Arial" panose="020B0604020202020204" pitchFamily="34" charset="0"/>
                        <a:buChar char="•"/>
                      </a:pPr>
                      <a:r>
                        <a:rPr lang="en-US" sz="1000" kern="1200" dirty="0">
                          <a:solidFill>
                            <a:schemeClr val="tx1"/>
                          </a:solidFill>
                          <a:latin typeface="+mn-lt"/>
                          <a:ea typeface="+mn-ea"/>
                          <a:cs typeface="+mn-cs"/>
                        </a:rPr>
                        <a:t>Improved product quality &amp; service delivered</a:t>
                      </a:r>
                    </a:p>
                    <a:p>
                      <a:pPr marL="171450" indent="-171450" algn="l" defTabSz="1088105" rtl="0" eaLnBrk="1" latinLnBrk="0" hangingPunct="1">
                        <a:lnSpc>
                          <a:spcPct val="100000"/>
                        </a:lnSpc>
                        <a:spcBef>
                          <a:spcPts val="200"/>
                        </a:spcBef>
                        <a:buFont typeface="Arial" panose="020B0604020202020204" pitchFamily="34" charset="0"/>
                        <a:buChar char="•"/>
                      </a:pPr>
                      <a:r>
                        <a:rPr lang="en-US" sz="1000" kern="1200" dirty="0">
                          <a:solidFill>
                            <a:schemeClr val="tx1"/>
                          </a:solidFill>
                          <a:latin typeface="+mn-lt"/>
                          <a:ea typeface="+mn-ea"/>
                          <a:cs typeface="+mn-cs"/>
                        </a:rPr>
                        <a:t>Enhanced brand &amp; customer experience</a:t>
                      </a:r>
                    </a:p>
                    <a:p>
                      <a:pPr marL="171450" indent="-171450" algn="l" defTabSz="1088105" rtl="0" eaLnBrk="1" latinLnBrk="0" hangingPunct="1">
                        <a:lnSpc>
                          <a:spcPct val="100000"/>
                        </a:lnSpc>
                        <a:spcBef>
                          <a:spcPts val="200"/>
                        </a:spcBef>
                        <a:buFont typeface="Arial" panose="020B0604020202020204" pitchFamily="34" charset="0"/>
                        <a:buChar char="•"/>
                      </a:pPr>
                      <a:r>
                        <a:rPr lang="en-US" sz="1000" kern="1200" dirty="0">
                          <a:solidFill>
                            <a:schemeClr val="tx1"/>
                          </a:solidFill>
                          <a:latin typeface="+mn-lt"/>
                          <a:ea typeface="+mn-ea"/>
                          <a:cs typeface="+mn-cs"/>
                        </a:rPr>
                        <a:t>Improved customer loyalty</a:t>
                      </a:r>
                    </a:p>
                    <a:p>
                      <a:pPr marL="171450" marR="0" lvl="0" indent="-171450" algn="l" defTabSz="1088105"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kern="1200" dirty="0">
                          <a:solidFill>
                            <a:schemeClr val="tx1"/>
                          </a:solidFill>
                          <a:latin typeface="+mn-lt"/>
                          <a:ea typeface="+mn-ea"/>
                          <a:cs typeface="+mn-cs"/>
                        </a:rPr>
                        <a:t>Selling Insights to partners</a:t>
                      </a:r>
                    </a:p>
                    <a:p>
                      <a:pPr marL="0" indent="0" algn="l" defTabSz="1088105" rtl="0" eaLnBrk="1" latinLnBrk="0" hangingPunct="1">
                        <a:lnSpc>
                          <a:spcPct val="100000"/>
                        </a:lnSpc>
                        <a:spcBef>
                          <a:spcPts val="200"/>
                        </a:spcBef>
                        <a:buFont typeface="Arial" panose="020B0604020202020204" pitchFamily="34" charset="0"/>
                        <a:buNone/>
                      </a:pPr>
                      <a:endParaRPr lang="en-US" sz="1000" kern="1200" dirty="0">
                        <a:solidFill>
                          <a:schemeClr val="tx1"/>
                        </a:solidFill>
                        <a:latin typeface="+mn-lt"/>
                        <a:ea typeface="+mn-ea"/>
                        <a:cs typeface="+mn-cs"/>
                      </a:endParaRPr>
                    </a:p>
                  </a:txBody>
                  <a:tcPr marL="121824" marR="121824" marT="60912" marB="6091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gn="l" defTabSz="1088105" rtl="0" eaLnBrk="1" latinLnBrk="0" hangingPunct="1">
                        <a:lnSpc>
                          <a:spcPct val="100000"/>
                        </a:lnSpc>
                        <a:spcBef>
                          <a:spcPts val="200"/>
                        </a:spcBef>
                        <a:buFont typeface="Arial" panose="020B0604020202020204" pitchFamily="34" charset="0"/>
                        <a:buChar char="•"/>
                      </a:pPr>
                      <a:endParaRPr lang="en-US" sz="1000" kern="1200">
                        <a:solidFill>
                          <a:schemeClr val="tx1"/>
                        </a:solidFill>
                        <a:latin typeface="+mn-lt"/>
                        <a:ea typeface="+mn-ea"/>
                        <a:cs typeface="+mn-cs"/>
                      </a:endParaRPr>
                    </a:p>
                  </a:txBody>
                  <a:tcPr marL="121824" marR="121824" marT="60912" marB="6091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947109">
                <a:tc>
                  <a:txBody>
                    <a:bodyPr/>
                    <a:lstStyle/>
                    <a:p>
                      <a:pPr marL="0" algn="l" defTabSz="1088105" rtl="0" eaLnBrk="1" latinLnBrk="0" hangingPunct="1">
                        <a:lnSpc>
                          <a:spcPct val="100000"/>
                        </a:lnSpc>
                      </a:pPr>
                      <a:r>
                        <a:rPr lang="en-US" sz="1100" b="0" kern="1200">
                          <a:solidFill>
                            <a:schemeClr val="tx1"/>
                          </a:solidFill>
                          <a:latin typeface="Segoe UI Semibold" panose="020B0702040204020203" pitchFamily="34" charset="0"/>
                          <a:ea typeface="+mn-ea"/>
                          <a:cs typeface="Segoe UI Semibold" panose="020B0702040204020203" pitchFamily="34" charset="0"/>
                        </a:rPr>
                        <a:t>Decrease Cost</a:t>
                      </a:r>
                    </a:p>
                  </a:txBody>
                  <a:tcPr marL="121824" marR="121824" marT="60912" marB="6091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lgn="l" defTabSz="1088105" rtl="0" eaLnBrk="1" latinLnBrk="0" hangingPunct="1">
                        <a:lnSpc>
                          <a:spcPct val="100000"/>
                        </a:lnSpc>
                        <a:spcBef>
                          <a:spcPts val="200"/>
                        </a:spcBef>
                        <a:buFont typeface="Arial" panose="020B0604020202020204" pitchFamily="34" charset="0"/>
                        <a:buChar char="•"/>
                      </a:pPr>
                      <a:r>
                        <a:rPr lang="en-US" sz="1000" kern="1200" dirty="0">
                          <a:solidFill>
                            <a:schemeClr val="tx1"/>
                          </a:solidFill>
                          <a:latin typeface="+mn-lt"/>
                          <a:ea typeface="+mn-ea"/>
                          <a:cs typeface="+mn-cs"/>
                        </a:rPr>
                        <a:t>Reduced loss of revenue caused by delays in supply chain</a:t>
                      </a:r>
                    </a:p>
                    <a:p>
                      <a:pPr marL="171450" indent="-171450" algn="l" defTabSz="1088105" rtl="0" eaLnBrk="1" latinLnBrk="0" hangingPunct="1">
                        <a:lnSpc>
                          <a:spcPct val="100000"/>
                        </a:lnSpc>
                        <a:spcBef>
                          <a:spcPts val="200"/>
                        </a:spcBef>
                        <a:buFont typeface="Arial" panose="020B0604020202020204" pitchFamily="34" charset="0"/>
                        <a:buChar char="•"/>
                      </a:pPr>
                      <a:r>
                        <a:rPr lang="en-US" sz="1000" kern="1200" dirty="0">
                          <a:solidFill>
                            <a:schemeClr val="tx1"/>
                          </a:solidFill>
                          <a:latin typeface="+mn-lt"/>
                          <a:ea typeface="+mn-ea"/>
                          <a:cs typeface="+mn-cs"/>
                        </a:rPr>
                        <a:t>Reduced loss of revenue due to downtime causes breakage/outage due to quality issues</a:t>
                      </a:r>
                    </a:p>
                  </a:txBody>
                  <a:tcPr marL="121824" marR="121824" marT="60912" marB="6091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gn="l" defTabSz="1088105" rtl="0" eaLnBrk="1" fontAlgn="t" latinLnBrk="0" hangingPunct="1">
                        <a:lnSpc>
                          <a:spcPct val="100000"/>
                        </a:lnSpc>
                        <a:spcBef>
                          <a:spcPts val="200"/>
                        </a:spcBef>
                        <a:buFont typeface="Arial" panose="020B0604020202020204" pitchFamily="34" charset="0"/>
                        <a:buChar char="•"/>
                      </a:pPr>
                      <a:r>
                        <a:rPr lang="en-US" sz="1000" kern="1200" dirty="0">
                          <a:solidFill>
                            <a:schemeClr val="tx1"/>
                          </a:solidFill>
                          <a:latin typeface="+mn-lt"/>
                          <a:ea typeface="+mn-ea"/>
                          <a:cs typeface="+mn-cs"/>
                        </a:rPr>
                        <a:t>Reduction in facilities management cost</a:t>
                      </a:r>
                    </a:p>
                    <a:p>
                      <a:pPr marL="171450" indent="-171450" algn="l" defTabSz="1088105" rtl="0" eaLnBrk="1" fontAlgn="t" latinLnBrk="0" hangingPunct="1">
                        <a:lnSpc>
                          <a:spcPct val="100000"/>
                        </a:lnSpc>
                        <a:spcBef>
                          <a:spcPts val="200"/>
                        </a:spcBef>
                        <a:buFont typeface="Arial" panose="020B0604020202020204" pitchFamily="34" charset="0"/>
                        <a:buChar char="•"/>
                      </a:pPr>
                      <a:r>
                        <a:rPr lang="en-US" sz="1000" kern="1200" dirty="0">
                          <a:solidFill>
                            <a:schemeClr val="tx1"/>
                          </a:solidFill>
                          <a:latin typeface="+mn-lt"/>
                          <a:ea typeface="+mn-ea"/>
                          <a:cs typeface="+mn-cs"/>
                        </a:rPr>
                        <a:t>Reduced inventory levels </a:t>
                      </a:r>
                    </a:p>
                    <a:p>
                      <a:pPr marL="171450" indent="-171450" algn="l" defTabSz="1088105" rtl="0" eaLnBrk="1" fontAlgn="t" latinLnBrk="0" hangingPunct="1">
                        <a:lnSpc>
                          <a:spcPct val="100000"/>
                        </a:lnSpc>
                        <a:spcBef>
                          <a:spcPts val="200"/>
                        </a:spcBef>
                        <a:buFont typeface="Arial" panose="020B0604020202020204" pitchFamily="34" charset="0"/>
                        <a:buChar char="•"/>
                      </a:pPr>
                      <a:r>
                        <a:rPr lang="en-US" sz="1000" kern="1200" dirty="0">
                          <a:solidFill>
                            <a:schemeClr val="tx1"/>
                          </a:solidFill>
                          <a:latin typeface="+mn-lt"/>
                          <a:ea typeface="+mn-ea"/>
                          <a:cs typeface="+mn-cs"/>
                        </a:rPr>
                        <a:t>Reduction in late delivery fines or cancelled orders</a:t>
                      </a:r>
                    </a:p>
                  </a:txBody>
                  <a:tcPr marL="121824" marR="121824" marT="60912" marB="6091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indent="-171450" algn="l" defTabSz="1088105"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kern="1200" dirty="0">
                          <a:solidFill>
                            <a:schemeClr val="tx1"/>
                          </a:solidFill>
                          <a:latin typeface="+mn-lt"/>
                          <a:ea typeface="+mn-ea"/>
                          <a:cs typeface="+mn-cs"/>
                        </a:rPr>
                        <a:t>Shift from costly legacy systems to usage or SaaS based cloud systems</a:t>
                      </a:r>
                    </a:p>
                    <a:p>
                      <a:pPr marL="171450" marR="0" indent="-171450" algn="l" defTabSz="1088105"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kern="1200" dirty="0">
                          <a:solidFill>
                            <a:schemeClr val="tx1"/>
                          </a:solidFill>
                          <a:latin typeface="+mn-lt"/>
                          <a:ea typeface="+mn-ea"/>
                          <a:cs typeface="+mn-cs"/>
                        </a:rPr>
                        <a:t>Lower cost of IT operations</a:t>
                      </a:r>
                    </a:p>
                    <a:p>
                      <a:pPr marL="171450" marR="0" indent="-171450" algn="l" defTabSz="1088105"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00" kern="1200" dirty="0">
                          <a:solidFill>
                            <a:schemeClr val="tx1"/>
                          </a:solidFill>
                          <a:latin typeface="+mn-lt"/>
                          <a:ea typeface="+mn-ea"/>
                          <a:cs typeface="+mn-cs"/>
                        </a:rPr>
                        <a:t>Reduced cost of data integration and sharing</a:t>
                      </a:r>
                    </a:p>
                  </a:txBody>
                  <a:tcPr marL="121824" marR="121824" marT="60912" marB="6091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972503">
                <a:tc>
                  <a:txBody>
                    <a:bodyPr/>
                    <a:lstStyle/>
                    <a:p>
                      <a:pPr marL="0" algn="l" defTabSz="1088105" rtl="0" eaLnBrk="1" latinLnBrk="0" hangingPunct="1">
                        <a:lnSpc>
                          <a:spcPct val="100000"/>
                        </a:lnSpc>
                      </a:pPr>
                      <a:r>
                        <a:rPr lang="en-US" sz="1100" b="0" kern="1200">
                          <a:solidFill>
                            <a:schemeClr val="tx1"/>
                          </a:solidFill>
                          <a:latin typeface="Segoe UI Semibold" panose="020B0702040204020203" pitchFamily="34" charset="0"/>
                          <a:ea typeface="+mn-ea"/>
                          <a:cs typeface="Segoe UI Semibold" panose="020B0702040204020203" pitchFamily="34" charset="0"/>
                        </a:rPr>
                        <a:t>Decrease Risk</a:t>
                      </a:r>
                    </a:p>
                  </a:txBody>
                  <a:tcPr marL="121824" marR="121824" marT="60912" marB="6091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lgn="l" defTabSz="1088105" rtl="0" eaLnBrk="1" latinLnBrk="0" hangingPunct="1">
                        <a:lnSpc>
                          <a:spcPct val="100000"/>
                        </a:lnSpc>
                        <a:spcBef>
                          <a:spcPts val="200"/>
                        </a:spcBef>
                        <a:buFont typeface="Arial" panose="020B0604020202020204" pitchFamily="34" charset="0"/>
                        <a:buChar char="•"/>
                      </a:pPr>
                      <a:r>
                        <a:rPr lang="en-US" sz="1000" kern="1200" dirty="0">
                          <a:solidFill>
                            <a:schemeClr val="tx1"/>
                          </a:solidFill>
                          <a:latin typeface="+mn-lt"/>
                          <a:ea typeface="+mn-ea"/>
                          <a:cs typeface="+mn-cs"/>
                        </a:rPr>
                        <a:t>Reduced downtime caused by delays in supply chain</a:t>
                      </a:r>
                    </a:p>
                    <a:p>
                      <a:pPr marL="171450" indent="-171450" algn="l" defTabSz="1088105" rtl="0" eaLnBrk="1" latinLnBrk="0" hangingPunct="1">
                        <a:lnSpc>
                          <a:spcPct val="100000"/>
                        </a:lnSpc>
                        <a:spcBef>
                          <a:spcPts val="200"/>
                        </a:spcBef>
                        <a:buFont typeface="Arial" panose="020B0604020202020204" pitchFamily="34" charset="0"/>
                        <a:buChar char="•"/>
                      </a:pPr>
                      <a:r>
                        <a:rPr lang="en-US" sz="1000" kern="1200" dirty="0">
                          <a:solidFill>
                            <a:schemeClr val="tx1"/>
                          </a:solidFill>
                          <a:latin typeface="+mn-lt"/>
                          <a:ea typeface="+mn-ea"/>
                          <a:cs typeface="+mn-cs"/>
                        </a:rPr>
                        <a:t>Reduced breakage/outage due to quality issues</a:t>
                      </a:r>
                    </a:p>
                    <a:p>
                      <a:pPr marL="0" indent="0" algn="l" defTabSz="1088105" rtl="0" eaLnBrk="1" latinLnBrk="0" hangingPunct="1">
                        <a:lnSpc>
                          <a:spcPct val="100000"/>
                        </a:lnSpc>
                        <a:spcBef>
                          <a:spcPts val="200"/>
                        </a:spcBef>
                        <a:buFont typeface="Arial" panose="020B0604020202020204" pitchFamily="34" charset="0"/>
                        <a:buNone/>
                      </a:pPr>
                      <a:endParaRPr lang="en-US" sz="1000" kern="1200" dirty="0">
                        <a:solidFill>
                          <a:schemeClr val="tx1"/>
                        </a:solidFill>
                        <a:latin typeface="+mn-lt"/>
                        <a:ea typeface="+mn-ea"/>
                        <a:cs typeface="+mn-cs"/>
                      </a:endParaRPr>
                    </a:p>
                  </a:txBody>
                  <a:tcPr marL="121824" marR="121824" marT="60912" marB="6091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gn="l" defTabSz="1088105" rtl="0" eaLnBrk="1" latinLnBrk="0" hangingPunct="1">
                        <a:lnSpc>
                          <a:spcPct val="100000"/>
                        </a:lnSpc>
                        <a:spcBef>
                          <a:spcPts val="200"/>
                        </a:spcBef>
                        <a:buFont typeface="Arial" panose="020B0604020202020204" pitchFamily="34" charset="0"/>
                        <a:buChar char="•"/>
                      </a:pPr>
                      <a:r>
                        <a:rPr lang="en-US" sz="1000" kern="1200" dirty="0">
                          <a:solidFill>
                            <a:schemeClr val="tx1"/>
                          </a:solidFill>
                          <a:latin typeface="+mn-lt"/>
                          <a:ea typeface="+mn-ea"/>
                          <a:cs typeface="+mn-cs"/>
                        </a:rPr>
                        <a:t>Minimization of business risks</a:t>
                      </a:r>
                    </a:p>
                    <a:p>
                      <a:pPr marL="171450" indent="-171450" algn="l" defTabSz="1088105" rtl="0" eaLnBrk="1" latinLnBrk="0" hangingPunct="1">
                        <a:lnSpc>
                          <a:spcPct val="100000"/>
                        </a:lnSpc>
                        <a:spcBef>
                          <a:spcPts val="200"/>
                        </a:spcBef>
                        <a:buFont typeface="Arial" panose="020B0604020202020204" pitchFamily="34" charset="0"/>
                        <a:buChar char="•"/>
                      </a:pPr>
                      <a:r>
                        <a:rPr lang="en-US" sz="1000" kern="1200" dirty="0">
                          <a:solidFill>
                            <a:schemeClr val="tx1"/>
                          </a:solidFill>
                          <a:latin typeface="+mn-lt"/>
                          <a:ea typeface="+mn-ea"/>
                          <a:cs typeface="+mn-cs"/>
                        </a:rPr>
                        <a:t>Avoid unexpected malfunctions</a:t>
                      </a:r>
                    </a:p>
                  </a:txBody>
                  <a:tcPr marL="121824" marR="121824" marT="60912" marB="6091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gn="l" defTabSz="1088105" rtl="0" eaLnBrk="1" latinLnBrk="0" hangingPunct="1">
                        <a:lnSpc>
                          <a:spcPct val="100000"/>
                        </a:lnSpc>
                        <a:spcBef>
                          <a:spcPts val="200"/>
                        </a:spcBef>
                        <a:buFont typeface="Arial" panose="020B0604020202020204" pitchFamily="34" charset="0"/>
                        <a:buChar char="•"/>
                      </a:pPr>
                      <a:endParaRPr lang="en-US" sz="1000" kern="1200">
                        <a:solidFill>
                          <a:schemeClr val="tx1"/>
                        </a:solidFill>
                        <a:latin typeface="+mn-lt"/>
                        <a:ea typeface="+mn-ea"/>
                        <a:cs typeface="+mn-cs"/>
                      </a:endParaRPr>
                    </a:p>
                  </a:txBody>
                  <a:tcPr marL="121824" marR="121824" marT="60912" marB="6091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r h="601759">
                <a:tc>
                  <a:txBody>
                    <a:bodyPr/>
                    <a:lstStyle/>
                    <a:p>
                      <a:pPr marL="0" algn="l" defTabSz="1088105" rtl="0" eaLnBrk="1" latinLnBrk="0" hangingPunct="1">
                        <a:lnSpc>
                          <a:spcPct val="100000"/>
                        </a:lnSpc>
                      </a:pPr>
                      <a:r>
                        <a:rPr lang="en-US" sz="1100" b="0" kern="1200">
                          <a:solidFill>
                            <a:schemeClr val="tx1"/>
                          </a:solidFill>
                          <a:latin typeface="Segoe UI Semibold" panose="020B0702040204020203" pitchFamily="34" charset="0"/>
                          <a:ea typeface="+mn-ea"/>
                          <a:cs typeface="Segoe UI Semibold" panose="020B0702040204020203" pitchFamily="34" charset="0"/>
                        </a:rPr>
                        <a:t>Option value</a:t>
                      </a:r>
                    </a:p>
                  </a:txBody>
                  <a:tcPr marL="121824" marR="121824" marT="60912" marB="6091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lgn="l" defTabSz="1088105" rtl="0" eaLnBrk="1" latinLnBrk="0" hangingPunct="1">
                        <a:lnSpc>
                          <a:spcPct val="100000"/>
                        </a:lnSpc>
                        <a:spcBef>
                          <a:spcPts val="200"/>
                        </a:spcBef>
                        <a:buFont typeface="Arial" panose="020B0604020202020204" pitchFamily="34" charset="0"/>
                        <a:buChar char="•"/>
                      </a:pPr>
                      <a:endParaRPr lang="en-US" sz="1000" kern="1200">
                        <a:solidFill>
                          <a:schemeClr val="tx1"/>
                        </a:solidFill>
                        <a:latin typeface="+mn-lt"/>
                        <a:ea typeface="+mn-ea"/>
                        <a:cs typeface="+mn-cs"/>
                      </a:endParaRPr>
                    </a:p>
                  </a:txBody>
                  <a:tcPr marL="121824" marR="121824" marT="60912" marB="6091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gn="l" defTabSz="1088105" rtl="0" eaLnBrk="1" latinLnBrk="0" hangingPunct="1">
                        <a:lnSpc>
                          <a:spcPct val="100000"/>
                        </a:lnSpc>
                        <a:spcBef>
                          <a:spcPts val="200"/>
                        </a:spcBef>
                        <a:buFont typeface="Arial" panose="020B0604020202020204" pitchFamily="34" charset="0"/>
                        <a:buChar char="•"/>
                      </a:pPr>
                      <a:r>
                        <a:rPr lang="en-US" sz="1000" kern="1200" dirty="0">
                          <a:solidFill>
                            <a:schemeClr val="tx1"/>
                          </a:solidFill>
                          <a:latin typeface="+mn-lt"/>
                          <a:ea typeface="+mn-ea"/>
                          <a:cs typeface="+mn-cs"/>
                        </a:rPr>
                        <a:t>Better able to evaluate any available options when issues are predicted or happen leading to more holistic and beneficial outcomes</a:t>
                      </a:r>
                    </a:p>
                  </a:txBody>
                  <a:tcPr marL="121824" marR="121824" marT="60912" marB="6091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gn="l" defTabSz="1088105" rtl="0" eaLnBrk="1" latinLnBrk="0" hangingPunct="1">
                        <a:lnSpc>
                          <a:spcPct val="100000"/>
                        </a:lnSpc>
                        <a:spcBef>
                          <a:spcPts val="200"/>
                        </a:spcBef>
                        <a:buFont typeface="Arial" panose="020B0604020202020204" pitchFamily="34" charset="0"/>
                        <a:buChar char="•"/>
                      </a:pPr>
                      <a:endParaRPr lang="en-US" sz="1000" kern="1200" dirty="0">
                        <a:solidFill>
                          <a:schemeClr val="tx1"/>
                        </a:solidFill>
                        <a:latin typeface="+mn-lt"/>
                        <a:ea typeface="+mn-ea"/>
                        <a:cs typeface="+mn-cs"/>
                      </a:endParaRPr>
                    </a:p>
                  </a:txBody>
                  <a:tcPr marL="121824" marR="121824" marT="60912" marB="60912">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bl>
          </a:graphicData>
        </a:graphic>
      </p:graphicFrame>
      <p:sp>
        <p:nvSpPr>
          <p:cNvPr id="7" name="Text Placeholder 6"/>
          <p:cNvSpPr txBox="1">
            <a:spLocks/>
          </p:cNvSpPr>
          <p:nvPr/>
        </p:nvSpPr>
        <p:spPr>
          <a:xfrm>
            <a:off x="8388963" y="143853"/>
            <a:ext cx="3360890" cy="372966"/>
          </a:xfrm>
          <a:prstGeom prst="rect">
            <a:avLst/>
          </a:prstGeom>
        </p:spPr>
        <p:txBody>
          <a:bodyPr vert="horz" lIns="319957" tIns="53311" rIns="53311" bIns="53311" rtlCol="0">
            <a:noAutofit/>
          </a:bodyPr>
          <a:lstStyle>
            <a:lvl1pPr marL="0" indent="0" algn="l" defTabSz="1088105" rtl="0" eaLnBrk="1" latinLnBrk="0" hangingPunct="1">
              <a:spcBef>
                <a:spcPts val="1800"/>
              </a:spcBef>
              <a:buClr>
                <a:srgbClr val="0072C6"/>
              </a:buClr>
              <a:buSzPct val="100000"/>
              <a:buFont typeface="Wingdings" pitchFamily="2" charset="2"/>
              <a:buNone/>
              <a:defRPr sz="2800" kern="1200">
                <a:solidFill>
                  <a:schemeClr val="tx1"/>
                </a:solidFill>
                <a:latin typeface="Segoe UI Light" pitchFamily="34" charset="0"/>
                <a:ea typeface="Segoe UI" pitchFamily="34" charset="0"/>
                <a:cs typeface="Segoe UI" pitchFamily="34" charset="0"/>
              </a:defRPr>
            </a:lvl1pPr>
            <a:lvl2pPr marL="281674" indent="0" algn="l" defTabSz="1088105" rtl="0" eaLnBrk="1" latinLnBrk="0" hangingPunct="1">
              <a:spcBef>
                <a:spcPct val="20000"/>
              </a:spcBef>
              <a:buFont typeface="Arial" pitchFamily="34" charset="0"/>
              <a:buNone/>
              <a:defRPr sz="1800" kern="1200">
                <a:solidFill>
                  <a:schemeClr val="tx1"/>
                </a:solidFill>
                <a:latin typeface="Segoe UI" pitchFamily="34" charset="0"/>
                <a:ea typeface="Segoe UI" pitchFamily="34" charset="0"/>
                <a:cs typeface="Segoe UI" pitchFamily="34" charset="0"/>
              </a:defRPr>
            </a:lvl2pPr>
            <a:lvl3pPr marL="588476" indent="0" algn="l" defTabSz="1088105" rtl="0" eaLnBrk="1" latinLnBrk="0" hangingPunct="1">
              <a:spcBef>
                <a:spcPct val="20000"/>
              </a:spcBef>
              <a:buFont typeface="Arial" pitchFamily="34" charset="0"/>
              <a:buNone/>
              <a:defRPr sz="1600" kern="1200">
                <a:solidFill>
                  <a:schemeClr val="tx1"/>
                </a:solidFill>
                <a:latin typeface="Segoe UI" pitchFamily="34" charset="0"/>
                <a:ea typeface="Segoe UI" pitchFamily="34" charset="0"/>
                <a:cs typeface="Segoe UI" pitchFamily="34" charset="0"/>
              </a:defRPr>
            </a:lvl3pPr>
            <a:lvl4pPr marL="87015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4pPr>
            <a:lvl5pPr marL="110554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defTabSz="1087779">
              <a:spcBef>
                <a:spcPts val="1799"/>
              </a:spcBef>
              <a:defRPr/>
            </a:pPr>
            <a:r>
              <a:rPr lang="en-US" sz="2799">
                <a:solidFill>
                  <a:srgbClr val="505050"/>
                </a:solidFill>
              </a:rPr>
              <a:t>Value Touch Points</a:t>
            </a:r>
          </a:p>
        </p:txBody>
      </p:sp>
    </p:spTree>
    <p:extLst>
      <p:ext uri="{BB962C8B-B14F-4D97-AF65-F5344CB8AC3E}">
        <p14:creationId xmlns:p14="http://schemas.microsoft.com/office/powerpoint/2010/main" val="38703784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Integrated Supply Chain</a:t>
            </a:r>
          </a:p>
        </p:txBody>
      </p:sp>
      <p:sp>
        <p:nvSpPr>
          <p:cNvPr id="3" name="Slide Number Placeholder 2"/>
          <p:cNvSpPr>
            <a:spLocks noGrp="1"/>
          </p:cNvSpPr>
          <p:nvPr>
            <p:ph type="sldNum" sz="quarter" idx="14"/>
          </p:nvPr>
        </p:nvSpPr>
        <p:spPr/>
        <p:txBody>
          <a:bodyPr/>
          <a:lstStyle/>
          <a:p>
            <a:pPr defTabSz="1087779">
              <a:defRPr/>
            </a:pPr>
            <a:fld id="{FAADACFB-7C71-4E89-89D2-7BBA40B7BFA9}" type="slidenum">
              <a:rPr lang="en-US">
                <a:solidFill>
                  <a:srgbClr val="505050"/>
                </a:solidFill>
              </a:rPr>
              <a:pPr defTabSz="1087779">
                <a:defRPr/>
              </a:pPr>
              <a:t>43</a:t>
            </a:fld>
            <a:endParaRPr lang="en-US">
              <a:solidFill>
                <a:srgbClr val="505050"/>
              </a:solidFill>
            </a:endParaRPr>
          </a:p>
        </p:txBody>
      </p:sp>
      <p:sp>
        <p:nvSpPr>
          <p:cNvPr id="26" name="Rectangle 25"/>
          <p:cNvSpPr/>
          <p:nvPr>
            <p:custDataLst>
              <p:tags r:id="rId1"/>
            </p:custDataLst>
          </p:nvPr>
        </p:nvSpPr>
        <p:spPr>
          <a:xfrm flipH="1">
            <a:off x="304722" y="1600676"/>
            <a:ext cx="6763483" cy="400006"/>
          </a:xfrm>
          <a:prstGeom prst="rect">
            <a:avLst/>
          </a:prstGeom>
          <a:solidFill>
            <a:schemeClr val="tx2"/>
          </a:solidFill>
          <a:ln w="6350">
            <a:noFill/>
          </a:ln>
          <a:effectLst/>
        </p:spPr>
        <p:txBody>
          <a:bodyPr vert="horz" wrap="square" lIns="91416" tIns="45708" rIns="91416" bIns="45708" numCol="1" rtlCol="0" anchor="ctr" anchorCtr="0" compatLnSpc="1">
            <a:prstTxWarp prst="textNoShape">
              <a:avLst/>
            </a:prstTxWarp>
            <a:spAutoFit/>
          </a:bodyPr>
          <a:lstStyle/>
          <a:p>
            <a:pPr marL="0" lvl="1" algn="ctr" defTabSz="1623532" fontAlgn="base">
              <a:buClr>
                <a:srgbClr val="FFFF99"/>
              </a:buClr>
              <a:buSzPct val="90000"/>
              <a:defRPr/>
            </a:pPr>
            <a:r>
              <a:rPr lang="en-IN" altLang="zh-CN" sz="1999" kern="0" dirty="0">
                <a:solidFill>
                  <a:srgbClr val="FFFFFF"/>
                </a:solidFill>
                <a:latin typeface="Segoe UI Semibold" panose="020B0702040204020203" pitchFamily="34" charset="0"/>
                <a:ea typeface="Segoe UI" pitchFamily="34" charset="0"/>
                <a:cs typeface="Segoe UI Semibold" panose="020B0702040204020203" pitchFamily="34" charset="0"/>
              </a:rPr>
              <a:t>Integrated Supply Chain</a:t>
            </a:r>
          </a:p>
        </p:txBody>
      </p:sp>
      <p:sp>
        <p:nvSpPr>
          <p:cNvPr id="28" name="Rectangle 27"/>
          <p:cNvSpPr/>
          <p:nvPr>
            <p:custDataLst>
              <p:tags r:id="rId2"/>
            </p:custDataLst>
          </p:nvPr>
        </p:nvSpPr>
        <p:spPr bwMode="auto">
          <a:xfrm>
            <a:off x="304722" y="4543135"/>
            <a:ext cx="6763483" cy="1933944"/>
          </a:xfrm>
          <a:prstGeom prst="rect">
            <a:avLst/>
          </a:prstGeom>
          <a:solidFill>
            <a:srgbClr val="FFFFFF">
              <a:lumMod val="95000"/>
            </a:srgbClr>
          </a:solidFill>
          <a:ln w="3175" cap="flat" cmpd="sng" algn="ctr">
            <a:noFill/>
            <a:prstDash val="solid"/>
            <a:round/>
            <a:headEnd type="none" w="med" len="med"/>
            <a:tailEnd type="none" w="med" len="med"/>
          </a:ln>
          <a:effectLst/>
        </p:spPr>
        <p:txBody>
          <a:bodyPr lIns="91416" tIns="45708" rIns="91416" bIns="45708" rtlCol="0" anchor="t" anchorCtr="0">
            <a:noAutofit/>
          </a:bodyPr>
          <a:lstStyle/>
          <a:p>
            <a:pPr marL="0" lvl="1" defTabSz="1623532">
              <a:spcBef>
                <a:spcPts val="600"/>
              </a:spcBef>
              <a:buClr>
                <a:srgbClr val="595959">
                  <a:lumMod val="75000"/>
                </a:srgbClr>
              </a:buClr>
              <a:defRPr/>
            </a:pPr>
            <a:r>
              <a:rPr lang="en-IN" altLang="zh-CN" sz="1600" kern="0" dirty="0">
                <a:solidFill>
                  <a:srgbClr val="0072C6"/>
                </a:solidFill>
                <a:latin typeface="Segoe UI Semibold" panose="020B0702040204020203" pitchFamily="34" charset="0"/>
                <a:ea typeface="Segoe UI" pitchFamily="34" charset="0"/>
                <a:cs typeface="Segoe UI Semibold" panose="020B0702040204020203" pitchFamily="34" charset="0"/>
              </a:rPr>
              <a:t>Information </a:t>
            </a:r>
          </a:p>
          <a:p>
            <a:pPr marL="292012" lvl="1" indent="-201553" defTabSz="1623532">
              <a:spcBef>
                <a:spcPts val="100"/>
              </a:spcBef>
              <a:spcAft>
                <a:spcPts val="300"/>
              </a:spcAft>
              <a:buClr>
                <a:srgbClr val="595959">
                  <a:lumMod val="75000"/>
                </a:srgbClr>
              </a:buClr>
              <a:buFont typeface="Arial" pitchFamily="34" charset="0"/>
              <a:buChar char="•"/>
              <a:defRPr/>
            </a:pPr>
            <a:r>
              <a:rPr lang="en-IN" altLang="zh-CN" sz="1600" kern="0" dirty="0">
                <a:solidFill>
                  <a:srgbClr val="505050"/>
                </a:solidFill>
                <a:latin typeface="Segoe UI"/>
                <a:ea typeface="Segoe UI" pitchFamily="34" charset="0"/>
                <a:cs typeface="Segoe UI" pitchFamily="34" charset="0"/>
              </a:rPr>
              <a:t>Provide advanced analytical and predictive capabilities</a:t>
            </a:r>
          </a:p>
          <a:p>
            <a:pPr marL="292012" lvl="1" indent="-201553" defTabSz="1623532">
              <a:spcBef>
                <a:spcPts val="100"/>
              </a:spcBef>
              <a:spcAft>
                <a:spcPts val="300"/>
              </a:spcAft>
              <a:buClr>
                <a:srgbClr val="595959">
                  <a:lumMod val="75000"/>
                </a:srgbClr>
              </a:buClr>
              <a:buFont typeface="Arial" pitchFamily="34" charset="0"/>
              <a:buChar char="•"/>
              <a:defRPr/>
            </a:pPr>
            <a:r>
              <a:rPr lang="en-IN" altLang="zh-CN" sz="1600" kern="0" dirty="0">
                <a:solidFill>
                  <a:srgbClr val="505050"/>
                </a:solidFill>
                <a:latin typeface="Segoe UI"/>
                <a:ea typeface="Segoe UI" pitchFamily="34" charset="0"/>
                <a:cs typeface="Segoe UI" pitchFamily="34" charset="0"/>
              </a:rPr>
              <a:t>Generate cross-boundary alerts</a:t>
            </a:r>
          </a:p>
          <a:p>
            <a:pPr marL="292012" lvl="1" indent="-201553" defTabSz="1623532">
              <a:spcBef>
                <a:spcPts val="100"/>
              </a:spcBef>
              <a:spcAft>
                <a:spcPts val="300"/>
              </a:spcAft>
              <a:buClr>
                <a:srgbClr val="595959">
                  <a:lumMod val="75000"/>
                </a:srgbClr>
              </a:buClr>
              <a:buFont typeface="Arial" pitchFamily="34" charset="0"/>
              <a:buChar char="•"/>
              <a:defRPr/>
            </a:pPr>
            <a:r>
              <a:rPr lang="en-IN" altLang="zh-CN" sz="1600" kern="0" dirty="0">
                <a:solidFill>
                  <a:srgbClr val="505050"/>
                </a:solidFill>
                <a:latin typeface="Segoe UI"/>
                <a:ea typeface="Segoe UI" pitchFamily="34" charset="0"/>
                <a:cs typeface="Segoe UI" pitchFamily="34" charset="0"/>
              </a:rPr>
              <a:t>Optimize supplier costs and intervention</a:t>
            </a:r>
          </a:p>
        </p:txBody>
      </p:sp>
      <p:sp>
        <p:nvSpPr>
          <p:cNvPr id="29" name="Rectangle 28"/>
          <p:cNvSpPr/>
          <p:nvPr>
            <p:custDataLst>
              <p:tags r:id="rId3"/>
            </p:custDataLst>
          </p:nvPr>
        </p:nvSpPr>
        <p:spPr bwMode="auto">
          <a:xfrm>
            <a:off x="291224" y="2057759"/>
            <a:ext cx="3519643" cy="2428242"/>
          </a:xfrm>
          <a:prstGeom prst="rect">
            <a:avLst/>
          </a:prstGeom>
          <a:solidFill>
            <a:srgbClr val="FFFFFF">
              <a:lumMod val="95000"/>
            </a:srgbClr>
          </a:solidFill>
          <a:ln w="3175" cap="flat" cmpd="sng" algn="ctr">
            <a:noFill/>
            <a:prstDash val="solid"/>
            <a:round/>
            <a:headEnd type="none" w="med" len="med"/>
            <a:tailEnd type="none" w="med" len="med"/>
          </a:ln>
          <a:effectLst/>
        </p:spPr>
        <p:txBody>
          <a:bodyPr lIns="91416" tIns="45708" rIns="91416" bIns="45708" rtlCol="0" anchor="t" anchorCtr="0">
            <a:noAutofit/>
          </a:bodyPr>
          <a:lstStyle/>
          <a:p>
            <a:pPr marL="0" lvl="1" defTabSz="1623532">
              <a:spcBef>
                <a:spcPts val="600"/>
              </a:spcBef>
              <a:buClr>
                <a:srgbClr val="595959">
                  <a:lumMod val="75000"/>
                </a:srgbClr>
              </a:buClr>
              <a:defRPr/>
            </a:pPr>
            <a:r>
              <a:rPr lang="en-IN" altLang="zh-CN" sz="1600" kern="0" dirty="0">
                <a:solidFill>
                  <a:srgbClr val="0072C6"/>
                </a:solidFill>
                <a:latin typeface="Segoe UI Semibold" panose="020B0702040204020203" pitchFamily="34" charset="0"/>
                <a:ea typeface="Segoe UI" pitchFamily="34" charset="0"/>
                <a:cs typeface="Segoe UI Semibold" panose="020B0702040204020203" pitchFamily="34" charset="0"/>
              </a:rPr>
              <a:t>Employees</a:t>
            </a:r>
          </a:p>
          <a:p>
            <a:pPr marL="292012" lvl="1" indent="-201553" defTabSz="1623532">
              <a:spcBef>
                <a:spcPts val="100"/>
              </a:spcBef>
              <a:spcAft>
                <a:spcPts val="300"/>
              </a:spcAft>
              <a:buClr>
                <a:srgbClr val="595959">
                  <a:lumMod val="75000"/>
                </a:srgbClr>
              </a:buClr>
              <a:buFont typeface="Arial" pitchFamily="34" charset="0"/>
              <a:buChar char="•"/>
              <a:defRPr/>
            </a:pPr>
            <a:r>
              <a:rPr lang="en-IN" altLang="zh-CN" sz="1600" kern="0" dirty="0">
                <a:solidFill>
                  <a:srgbClr val="505050"/>
                </a:solidFill>
                <a:latin typeface="Segoe UI"/>
                <a:ea typeface="Segoe UI" pitchFamily="34" charset="0"/>
                <a:cs typeface="Segoe UI" pitchFamily="34" charset="0"/>
              </a:rPr>
              <a:t>Improve decision making, planning, and flexibility</a:t>
            </a:r>
          </a:p>
          <a:p>
            <a:pPr marL="292012" lvl="1" indent="-201553" defTabSz="1623532">
              <a:spcBef>
                <a:spcPts val="100"/>
              </a:spcBef>
              <a:spcAft>
                <a:spcPts val="300"/>
              </a:spcAft>
              <a:buClr>
                <a:srgbClr val="595959">
                  <a:lumMod val="75000"/>
                </a:srgbClr>
              </a:buClr>
              <a:buFont typeface="Arial" pitchFamily="34" charset="0"/>
              <a:buChar char="•"/>
              <a:defRPr/>
            </a:pPr>
            <a:r>
              <a:rPr lang="en-IN" altLang="zh-CN" sz="1600" kern="0" dirty="0">
                <a:solidFill>
                  <a:srgbClr val="505050"/>
                </a:solidFill>
                <a:latin typeface="Segoe UI"/>
                <a:ea typeface="Segoe UI" pitchFamily="34" charset="0"/>
                <a:cs typeface="Segoe UI" pitchFamily="34" charset="0"/>
              </a:rPr>
              <a:t>Optimize manufacturing quality, yield &amp; operations</a:t>
            </a:r>
          </a:p>
          <a:p>
            <a:pPr marL="292012" lvl="1" indent="-201553" defTabSz="1623532">
              <a:spcBef>
                <a:spcPts val="100"/>
              </a:spcBef>
              <a:spcAft>
                <a:spcPts val="300"/>
              </a:spcAft>
              <a:buClr>
                <a:srgbClr val="595959">
                  <a:lumMod val="75000"/>
                </a:srgbClr>
              </a:buClr>
              <a:buFont typeface="Arial" pitchFamily="34" charset="0"/>
              <a:buChar char="•"/>
              <a:defRPr/>
            </a:pPr>
            <a:r>
              <a:rPr lang="en-IN" altLang="zh-CN" sz="1600" kern="0" dirty="0">
                <a:solidFill>
                  <a:srgbClr val="505050"/>
                </a:solidFill>
                <a:latin typeface="Segoe UI"/>
                <a:ea typeface="Segoe UI" pitchFamily="34" charset="0"/>
                <a:cs typeface="Segoe UI" pitchFamily="34" charset="0"/>
              </a:rPr>
              <a:t>Reduce overhead and waste</a:t>
            </a:r>
          </a:p>
          <a:p>
            <a:pPr marL="292012" lvl="1" indent="-201553" defTabSz="1623532">
              <a:spcBef>
                <a:spcPts val="100"/>
              </a:spcBef>
              <a:spcAft>
                <a:spcPts val="300"/>
              </a:spcAft>
              <a:buClr>
                <a:srgbClr val="595959">
                  <a:lumMod val="75000"/>
                </a:srgbClr>
              </a:buClr>
              <a:buFont typeface="Arial" pitchFamily="34" charset="0"/>
              <a:buChar char="•"/>
              <a:defRPr/>
            </a:pPr>
            <a:r>
              <a:rPr lang="en-IN" altLang="zh-CN" sz="1600" kern="0" dirty="0">
                <a:solidFill>
                  <a:srgbClr val="505050"/>
                </a:solidFill>
                <a:latin typeface="Segoe UI"/>
                <a:ea typeface="Segoe UI" pitchFamily="34" charset="0"/>
                <a:cs typeface="Segoe UI" pitchFamily="34" charset="0"/>
              </a:rPr>
              <a:t>Improve productivity and product development</a:t>
            </a:r>
          </a:p>
        </p:txBody>
      </p:sp>
      <p:sp>
        <p:nvSpPr>
          <p:cNvPr id="30" name="Rectangle 29"/>
          <p:cNvSpPr/>
          <p:nvPr>
            <p:custDataLst>
              <p:tags r:id="rId4"/>
            </p:custDataLst>
          </p:nvPr>
        </p:nvSpPr>
        <p:spPr bwMode="auto">
          <a:xfrm>
            <a:off x="3905320" y="2057757"/>
            <a:ext cx="3148423" cy="2425934"/>
          </a:xfrm>
          <a:prstGeom prst="rect">
            <a:avLst/>
          </a:prstGeom>
          <a:solidFill>
            <a:srgbClr val="FFFFFF">
              <a:lumMod val="95000"/>
            </a:srgbClr>
          </a:solidFill>
          <a:ln w="3175" cap="flat" cmpd="sng" algn="ctr">
            <a:noFill/>
            <a:prstDash val="solid"/>
            <a:round/>
            <a:headEnd type="none" w="med" len="med"/>
            <a:tailEnd type="none" w="med" len="med"/>
          </a:ln>
          <a:effectLst/>
        </p:spPr>
        <p:txBody>
          <a:bodyPr lIns="91416" tIns="45708" rIns="91416" bIns="45708" rtlCol="0" anchor="t" anchorCtr="0">
            <a:noAutofit/>
          </a:bodyPr>
          <a:lstStyle/>
          <a:p>
            <a:pPr marL="0" lvl="1" defTabSz="1623532">
              <a:spcBef>
                <a:spcPts val="600"/>
              </a:spcBef>
              <a:buClr>
                <a:srgbClr val="595959">
                  <a:lumMod val="75000"/>
                </a:srgbClr>
              </a:buClr>
              <a:defRPr/>
            </a:pPr>
            <a:r>
              <a:rPr lang="en-IN" altLang="zh-CN" sz="1600" kern="0" dirty="0">
                <a:solidFill>
                  <a:srgbClr val="0072C6"/>
                </a:solidFill>
                <a:latin typeface="Segoe UI Semibold" panose="020B0702040204020203" pitchFamily="34" charset="0"/>
                <a:ea typeface="Segoe UI" pitchFamily="34" charset="0"/>
                <a:cs typeface="Segoe UI Semibold" panose="020B0702040204020203" pitchFamily="34" charset="0"/>
              </a:rPr>
              <a:t>Partners</a:t>
            </a:r>
          </a:p>
          <a:p>
            <a:pPr marL="292012" lvl="1" indent="-201553" defTabSz="1623532">
              <a:spcBef>
                <a:spcPts val="100"/>
              </a:spcBef>
              <a:spcAft>
                <a:spcPts val="300"/>
              </a:spcAft>
              <a:buClr>
                <a:srgbClr val="595959">
                  <a:lumMod val="75000"/>
                </a:srgbClr>
              </a:buClr>
              <a:buFont typeface="Arial" pitchFamily="34" charset="0"/>
              <a:buChar char="•"/>
              <a:defRPr/>
            </a:pPr>
            <a:r>
              <a:rPr lang="en-IN" altLang="zh-CN" sz="1600" kern="0" dirty="0">
                <a:solidFill>
                  <a:srgbClr val="505050"/>
                </a:solidFill>
                <a:latin typeface="Segoe UI"/>
                <a:ea typeface="Segoe UI" pitchFamily="34" charset="0"/>
                <a:cs typeface="Segoe UI" pitchFamily="34" charset="0"/>
              </a:rPr>
              <a:t>Collaborate within supply chain</a:t>
            </a:r>
          </a:p>
          <a:p>
            <a:pPr marL="292012" lvl="1" indent="-201553" defTabSz="1623532">
              <a:spcBef>
                <a:spcPts val="100"/>
              </a:spcBef>
              <a:spcAft>
                <a:spcPts val="300"/>
              </a:spcAft>
              <a:buClr>
                <a:srgbClr val="595959">
                  <a:lumMod val="75000"/>
                </a:srgbClr>
              </a:buClr>
              <a:buFont typeface="Arial" pitchFamily="34" charset="0"/>
              <a:buChar char="•"/>
              <a:defRPr/>
            </a:pPr>
            <a:r>
              <a:rPr lang="en-IN" altLang="zh-CN" sz="1600" kern="0" dirty="0">
                <a:solidFill>
                  <a:srgbClr val="505050"/>
                </a:solidFill>
                <a:latin typeface="Segoe UI"/>
                <a:ea typeface="Segoe UI" pitchFamily="34" charset="0"/>
                <a:cs typeface="Segoe UI" pitchFamily="34" charset="0"/>
              </a:rPr>
              <a:t>Improve information sharing and decision making </a:t>
            </a:r>
          </a:p>
          <a:p>
            <a:pPr marL="292012" lvl="1" indent="-201553" defTabSz="1623532">
              <a:spcBef>
                <a:spcPts val="100"/>
              </a:spcBef>
              <a:spcAft>
                <a:spcPts val="300"/>
              </a:spcAft>
              <a:buClr>
                <a:srgbClr val="595959">
                  <a:lumMod val="75000"/>
                </a:srgbClr>
              </a:buClr>
              <a:buFont typeface="Arial" pitchFamily="34" charset="0"/>
              <a:buChar char="•"/>
              <a:defRPr/>
            </a:pPr>
            <a:r>
              <a:rPr lang="en-US" altLang="zh-CN" sz="1600" kern="0" dirty="0">
                <a:solidFill>
                  <a:srgbClr val="505050"/>
                </a:solidFill>
                <a:ea typeface="Segoe UI" pitchFamily="34" charset="0"/>
                <a:cs typeface="Segoe UI" pitchFamily="34" charset="0"/>
              </a:rPr>
              <a:t>Improve decision making, planning, and flexibility</a:t>
            </a:r>
            <a:endParaRPr lang="en-IN" altLang="zh-CN" sz="1600" kern="0" dirty="0">
              <a:solidFill>
                <a:srgbClr val="505050"/>
              </a:solidFill>
              <a:latin typeface="Segoe UI"/>
              <a:ea typeface="Segoe UI" pitchFamily="34" charset="0"/>
              <a:cs typeface="Segoe UI" pitchFamily="34" charset="0"/>
            </a:endParaRPr>
          </a:p>
          <a:p>
            <a:pPr marL="292012" lvl="1" indent="-201553" defTabSz="1623532">
              <a:spcBef>
                <a:spcPts val="100"/>
              </a:spcBef>
              <a:spcAft>
                <a:spcPts val="300"/>
              </a:spcAft>
              <a:buClr>
                <a:srgbClr val="595959">
                  <a:lumMod val="75000"/>
                </a:srgbClr>
              </a:buClr>
              <a:buFont typeface="Arial" pitchFamily="34" charset="0"/>
              <a:buChar char="•"/>
              <a:defRPr/>
            </a:pPr>
            <a:endParaRPr lang="en-IN" altLang="zh-CN" sz="1600" kern="0" dirty="0">
              <a:solidFill>
                <a:srgbClr val="505050"/>
              </a:solidFill>
              <a:latin typeface="Segoe UI"/>
              <a:ea typeface="Segoe UI" pitchFamily="34" charset="0"/>
              <a:cs typeface="Segoe UI" pitchFamily="34" charset="0"/>
            </a:endParaRPr>
          </a:p>
        </p:txBody>
      </p:sp>
      <p:sp>
        <p:nvSpPr>
          <p:cNvPr id="31" name="Rectangle 30"/>
          <p:cNvSpPr/>
          <p:nvPr>
            <p:custDataLst>
              <p:tags r:id="rId5"/>
            </p:custDataLst>
          </p:nvPr>
        </p:nvSpPr>
        <p:spPr bwMode="auto">
          <a:xfrm>
            <a:off x="7568817" y="2057757"/>
            <a:ext cx="4313780" cy="4419323"/>
          </a:xfrm>
          <a:prstGeom prst="rect">
            <a:avLst/>
          </a:prstGeom>
          <a:solidFill>
            <a:srgbClr val="FFFFFF">
              <a:lumMod val="95000"/>
            </a:srgbClr>
          </a:solidFill>
          <a:ln w="3175" cap="flat" cmpd="sng" algn="ctr">
            <a:noFill/>
            <a:prstDash val="solid"/>
            <a:round/>
            <a:headEnd type="none" w="med" len="med"/>
            <a:tailEnd type="none" w="med" len="med"/>
          </a:ln>
          <a:effectLst/>
        </p:spPr>
        <p:txBody>
          <a:bodyPr lIns="91416" tIns="45708" rIns="91416" bIns="45708" rtlCol="0" anchor="t" anchorCtr="0"/>
          <a:lstStyle/>
          <a:p>
            <a:pPr marL="201553" lvl="1" indent="-201553" defTabSz="1623532">
              <a:spcBef>
                <a:spcPts val="100"/>
              </a:spcBef>
              <a:spcAft>
                <a:spcPts val="300"/>
              </a:spcAft>
              <a:buClr>
                <a:srgbClr val="595959">
                  <a:lumMod val="75000"/>
                </a:srgbClr>
              </a:buClr>
              <a:buFont typeface="Arial" pitchFamily="34" charset="0"/>
              <a:buChar char="•"/>
              <a:defRPr/>
            </a:pPr>
            <a:r>
              <a:rPr lang="en-IN" altLang="zh-CN" sz="1600" kern="0" dirty="0">
                <a:solidFill>
                  <a:srgbClr val="505050"/>
                </a:solidFill>
                <a:latin typeface="Segoe UI"/>
                <a:ea typeface="Segoe UI" pitchFamily="34" charset="0"/>
                <a:cs typeface="Segoe UI" pitchFamily="34" charset="0"/>
              </a:rPr>
              <a:t>Reduced cost of inventory</a:t>
            </a:r>
          </a:p>
          <a:p>
            <a:pPr marL="201553" lvl="1" indent="-201553" defTabSz="1623532">
              <a:spcBef>
                <a:spcPts val="100"/>
              </a:spcBef>
              <a:spcAft>
                <a:spcPts val="300"/>
              </a:spcAft>
              <a:buClr>
                <a:srgbClr val="595959">
                  <a:lumMod val="75000"/>
                </a:srgbClr>
              </a:buClr>
              <a:buFont typeface="Arial" pitchFamily="34" charset="0"/>
              <a:buChar char="•"/>
              <a:defRPr/>
            </a:pPr>
            <a:r>
              <a:rPr lang="en-IN" altLang="zh-CN" sz="1600" kern="0" dirty="0">
                <a:solidFill>
                  <a:srgbClr val="505050"/>
                </a:solidFill>
                <a:latin typeface="Segoe UI"/>
                <a:ea typeface="Segoe UI" pitchFamily="34" charset="0"/>
                <a:cs typeface="Segoe UI" pitchFamily="34" charset="0"/>
              </a:rPr>
              <a:t>Reduced lost sales or late delivery fines</a:t>
            </a:r>
          </a:p>
          <a:p>
            <a:pPr marL="201553" lvl="1" indent="-201553" defTabSz="1623532">
              <a:spcBef>
                <a:spcPts val="100"/>
              </a:spcBef>
              <a:spcAft>
                <a:spcPts val="300"/>
              </a:spcAft>
              <a:buClr>
                <a:srgbClr val="595959">
                  <a:lumMod val="75000"/>
                </a:srgbClr>
              </a:buClr>
              <a:buFont typeface="Arial" pitchFamily="34" charset="0"/>
              <a:buChar char="•"/>
              <a:defRPr/>
            </a:pPr>
            <a:r>
              <a:rPr lang="en-IN" altLang="zh-CN" sz="1600" kern="0" dirty="0">
                <a:solidFill>
                  <a:srgbClr val="505050"/>
                </a:solidFill>
                <a:latin typeface="Segoe UI"/>
                <a:ea typeface="Segoe UI" pitchFamily="34" charset="0"/>
                <a:cs typeface="Segoe UI" pitchFamily="34" charset="0"/>
              </a:rPr>
              <a:t>Reduced cost of operations </a:t>
            </a:r>
          </a:p>
          <a:p>
            <a:pPr marL="201553" lvl="1" indent="-201553" defTabSz="1623532">
              <a:spcBef>
                <a:spcPts val="100"/>
              </a:spcBef>
              <a:spcAft>
                <a:spcPts val="300"/>
              </a:spcAft>
              <a:buClr>
                <a:srgbClr val="595959">
                  <a:lumMod val="75000"/>
                </a:srgbClr>
              </a:buClr>
              <a:buFont typeface="Arial" pitchFamily="34" charset="0"/>
              <a:buChar char="•"/>
              <a:defRPr/>
            </a:pPr>
            <a:r>
              <a:rPr lang="en-US" altLang="zh-CN" sz="1600" kern="0" dirty="0">
                <a:solidFill>
                  <a:srgbClr val="505050"/>
                </a:solidFill>
                <a:latin typeface="Segoe UI"/>
                <a:ea typeface="Segoe UI" pitchFamily="34" charset="0"/>
                <a:cs typeface="Segoe UI" pitchFamily="34" charset="0"/>
              </a:rPr>
              <a:t>Reduced need to discount excess inventory</a:t>
            </a:r>
            <a:endParaRPr lang="en-IN" altLang="zh-CN" sz="1600" kern="0" dirty="0">
              <a:solidFill>
                <a:srgbClr val="505050"/>
              </a:solidFill>
              <a:latin typeface="Segoe UI"/>
              <a:ea typeface="Segoe UI" pitchFamily="34" charset="0"/>
              <a:cs typeface="Segoe UI" pitchFamily="34" charset="0"/>
            </a:endParaRPr>
          </a:p>
        </p:txBody>
      </p:sp>
      <p:sp>
        <p:nvSpPr>
          <p:cNvPr id="32" name="Rectangle 31"/>
          <p:cNvSpPr/>
          <p:nvPr>
            <p:custDataLst>
              <p:tags r:id="rId6"/>
            </p:custDataLst>
          </p:nvPr>
        </p:nvSpPr>
        <p:spPr>
          <a:xfrm flipH="1">
            <a:off x="7568817" y="1600676"/>
            <a:ext cx="4313780" cy="400006"/>
          </a:xfrm>
          <a:prstGeom prst="rect">
            <a:avLst/>
          </a:prstGeom>
          <a:solidFill>
            <a:schemeClr val="accent1"/>
          </a:solidFill>
          <a:ln w="6350">
            <a:noFill/>
          </a:ln>
          <a:effectLst/>
        </p:spPr>
        <p:txBody>
          <a:bodyPr vert="horz" wrap="square" lIns="91416" tIns="45708" rIns="91416" bIns="45708" numCol="1" rtlCol="0" anchor="ctr" anchorCtr="0" compatLnSpc="1">
            <a:prstTxWarp prst="textNoShape">
              <a:avLst/>
            </a:prstTxWarp>
            <a:spAutoFit/>
          </a:bodyPr>
          <a:lstStyle/>
          <a:p>
            <a:pPr marL="0" lvl="1" algn="ctr" defTabSz="1623532" fontAlgn="base">
              <a:buClr>
                <a:srgbClr val="FFFF99"/>
              </a:buClr>
              <a:buSzPct val="90000"/>
              <a:defRPr/>
            </a:pPr>
            <a:r>
              <a:rPr lang="en-IN" altLang="zh-CN" sz="1999" kern="0">
                <a:solidFill>
                  <a:srgbClr val="FFFFFF"/>
                </a:solidFill>
                <a:latin typeface="Segoe UI Semibold" panose="020B0702040204020203" pitchFamily="34" charset="0"/>
                <a:ea typeface="Segoe UI" pitchFamily="34" charset="0"/>
                <a:cs typeface="Segoe UI Semibold" panose="020B0702040204020203" pitchFamily="34" charset="0"/>
              </a:rPr>
              <a:t>Business Outcomes/Results</a:t>
            </a:r>
          </a:p>
        </p:txBody>
      </p:sp>
      <p:grpSp>
        <p:nvGrpSpPr>
          <p:cNvPr id="33" name="Group 32"/>
          <p:cNvGrpSpPr/>
          <p:nvPr/>
        </p:nvGrpSpPr>
        <p:grpSpPr>
          <a:xfrm>
            <a:off x="7148195" y="2110163"/>
            <a:ext cx="321722" cy="4366043"/>
            <a:chOff x="7148469" y="2109820"/>
            <a:chExt cx="321806" cy="4367180"/>
          </a:xfrm>
        </p:grpSpPr>
        <p:sp>
          <p:nvSpPr>
            <p:cNvPr id="34" name="Right Bracket 33"/>
            <p:cNvSpPr/>
            <p:nvPr/>
          </p:nvSpPr>
          <p:spPr>
            <a:xfrm>
              <a:off x="7148469" y="2109820"/>
              <a:ext cx="164233" cy="4367180"/>
            </a:xfrm>
            <a:prstGeom prst="rightBracket">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1087779">
                <a:defRPr/>
              </a:pPr>
              <a:endParaRPr lang="en-IN" sz="2199">
                <a:solidFill>
                  <a:srgbClr val="505050"/>
                </a:solidFill>
                <a:latin typeface="Segoe UI"/>
              </a:endParaRPr>
            </a:p>
          </p:txBody>
        </p:sp>
        <p:grpSp>
          <p:nvGrpSpPr>
            <p:cNvPr id="35" name="Group 34"/>
            <p:cNvGrpSpPr/>
            <p:nvPr/>
          </p:nvGrpSpPr>
          <p:grpSpPr>
            <a:xfrm rot="16200000">
              <a:off x="7155128" y="4357278"/>
              <a:ext cx="315149" cy="315144"/>
              <a:chOff x="3676651" y="-638174"/>
              <a:chExt cx="247650" cy="247650"/>
            </a:xfrm>
            <a:effectLst/>
          </p:grpSpPr>
          <p:sp>
            <p:nvSpPr>
              <p:cNvPr id="36" name="Oval 35"/>
              <p:cNvSpPr/>
              <p:nvPr/>
            </p:nvSpPr>
            <p:spPr>
              <a:xfrm>
                <a:off x="3676651" y="-638174"/>
                <a:ext cx="247650" cy="247650"/>
              </a:xfrm>
              <a:prstGeom prst="ellipse">
                <a:avLst/>
              </a:prstGeom>
              <a:solidFill>
                <a:schemeClr val="bg1">
                  <a:lumMod val="75000"/>
                </a:schemeClr>
              </a:solidFill>
              <a:ln w="12700">
                <a:solidFill>
                  <a:schemeClr val="bg1"/>
                </a:solidFill>
              </a:ln>
              <a:effectLst/>
            </p:spPr>
            <p:txBody>
              <a:bodyPr vert="horz" wrap="square" lIns="0" tIns="45708" rIns="0" bIns="45708" rtlCol="0" anchor="ctr">
                <a:noAutofit/>
              </a:bodyPr>
              <a:lstStyle/>
              <a:p>
                <a:pPr algn="ctr" defTabSz="1087779">
                  <a:defRPr/>
                </a:pPr>
                <a:endParaRPr lang="en-IN" sz="2399">
                  <a:solidFill>
                    <a:prstClr val="white"/>
                  </a:solidFill>
                  <a:effectLst>
                    <a:outerShdw blurRad="38100" dist="25400" dir="2700000" algn="tl">
                      <a:srgbClr val="000000">
                        <a:alpha val="0"/>
                      </a:srgbClr>
                    </a:outerShdw>
                  </a:effectLst>
                  <a:latin typeface="Segoe UI Light"/>
                </a:endParaRPr>
              </a:p>
            </p:txBody>
          </p:sp>
          <p:grpSp>
            <p:nvGrpSpPr>
              <p:cNvPr id="37" name="Group 36"/>
              <p:cNvGrpSpPr/>
              <p:nvPr/>
            </p:nvGrpSpPr>
            <p:grpSpPr>
              <a:xfrm>
                <a:off x="3737720" y="-596214"/>
                <a:ext cx="125525" cy="163729"/>
                <a:chOff x="2624724" y="-933452"/>
                <a:chExt cx="289928" cy="378170"/>
              </a:xfrm>
              <a:solidFill>
                <a:schemeClr val="bg1"/>
              </a:solidFill>
            </p:grpSpPr>
            <p:sp>
              <p:nvSpPr>
                <p:cNvPr id="38" name="Rectangle 37"/>
                <p:cNvSpPr/>
                <p:nvPr/>
              </p:nvSpPr>
              <p:spPr>
                <a:xfrm>
                  <a:off x="2713628" y="-933452"/>
                  <a:ext cx="112098" cy="295273"/>
                </a:xfrm>
                <a:prstGeom prst="rect">
                  <a:avLst/>
                </a:prstGeom>
                <a:grpFill/>
                <a:ln>
                  <a:solidFill>
                    <a:schemeClr val="bg1"/>
                  </a:solidFill>
                </a:ln>
              </p:spPr>
              <p:txBody>
                <a:bodyPr vert="horz" wrap="square" lIns="0" tIns="45708" rIns="0" bIns="45708" rtlCol="0" anchor="ctr">
                  <a:noAutofit/>
                </a:bodyPr>
                <a:lstStyle/>
                <a:p>
                  <a:pPr algn="ctr" defTabSz="1087779">
                    <a:defRPr/>
                  </a:pPr>
                  <a:endParaRPr lang="en-IN" sz="2399">
                    <a:solidFill>
                      <a:prstClr val="white"/>
                    </a:solidFill>
                    <a:effectLst>
                      <a:outerShdw blurRad="38100" dist="25400" dir="2700000" algn="tl">
                        <a:srgbClr val="000000">
                          <a:alpha val="0"/>
                        </a:srgbClr>
                      </a:outerShdw>
                    </a:effectLst>
                    <a:latin typeface="Segoe UI Light"/>
                  </a:endParaRPr>
                </a:p>
              </p:txBody>
            </p:sp>
            <p:sp>
              <p:nvSpPr>
                <p:cNvPr id="39" name="Chevron 38"/>
                <p:cNvSpPr/>
                <p:nvPr/>
              </p:nvSpPr>
              <p:spPr>
                <a:xfrm rot="5400000">
                  <a:off x="2642809" y="-827125"/>
                  <a:ext cx="253758" cy="289928"/>
                </a:xfrm>
                <a:prstGeom prst="chevron">
                  <a:avLst>
                    <a:gd name="adj" fmla="val 59856"/>
                  </a:avLst>
                </a:prstGeom>
                <a:grpFill/>
                <a:ln>
                  <a:solidFill>
                    <a:schemeClr val="bg1"/>
                  </a:solidFill>
                </a:ln>
              </p:spPr>
              <p:txBody>
                <a:bodyPr vert="horz" wrap="square" lIns="0" tIns="45708" rIns="0" bIns="45708" rtlCol="0" anchor="ctr">
                  <a:noAutofit/>
                </a:bodyPr>
                <a:lstStyle/>
                <a:p>
                  <a:pPr algn="ctr" defTabSz="1087779">
                    <a:defRPr/>
                  </a:pPr>
                  <a:endParaRPr lang="en-IN" sz="2399">
                    <a:solidFill>
                      <a:prstClr val="white"/>
                    </a:solidFill>
                    <a:effectLst>
                      <a:outerShdw blurRad="38100" dist="25400" dir="2700000" algn="tl">
                        <a:srgbClr val="000000">
                          <a:alpha val="0"/>
                        </a:srgbClr>
                      </a:outerShdw>
                    </a:effectLst>
                    <a:latin typeface="Segoe UI Light"/>
                  </a:endParaRPr>
                </a:p>
              </p:txBody>
            </p:sp>
          </p:grpSp>
        </p:grpSp>
      </p:grpSp>
      <p:sp>
        <p:nvSpPr>
          <p:cNvPr id="20" name="Text Placeholder 6"/>
          <p:cNvSpPr>
            <a:spLocks noGrp="1"/>
          </p:cNvSpPr>
          <p:nvPr>
            <p:ph type="body" sz="quarter" idx="13"/>
          </p:nvPr>
        </p:nvSpPr>
        <p:spPr>
          <a:xfrm>
            <a:off x="1588" y="1045212"/>
            <a:ext cx="12185651" cy="372966"/>
          </a:xfrm>
        </p:spPr>
        <p:txBody>
          <a:bodyPr/>
          <a:lstStyle/>
          <a:p>
            <a:r>
              <a:rPr lang="en-US" sz="1999"/>
              <a:t>Continuously managing &amp; measuring clear value levers, success factors, and performance measure</a:t>
            </a:r>
          </a:p>
        </p:txBody>
      </p:sp>
      <p:sp>
        <p:nvSpPr>
          <p:cNvPr id="21" name="Text Placeholder 6"/>
          <p:cNvSpPr txBox="1">
            <a:spLocks/>
          </p:cNvSpPr>
          <p:nvPr/>
        </p:nvSpPr>
        <p:spPr>
          <a:xfrm>
            <a:off x="7350686" y="143852"/>
            <a:ext cx="4531913" cy="502917"/>
          </a:xfrm>
          <a:prstGeom prst="rect">
            <a:avLst/>
          </a:prstGeom>
        </p:spPr>
        <p:txBody>
          <a:bodyPr vert="horz" lIns="319957" tIns="53311" rIns="53311" bIns="53311" rtlCol="0">
            <a:noAutofit/>
          </a:bodyPr>
          <a:lstStyle>
            <a:lvl1pPr marL="0" indent="0" algn="l" defTabSz="1088105" rtl="0" eaLnBrk="1" latinLnBrk="0" hangingPunct="1">
              <a:spcBef>
                <a:spcPts val="1800"/>
              </a:spcBef>
              <a:buClr>
                <a:srgbClr val="0072C6"/>
              </a:buClr>
              <a:buSzPct val="100000"/>
              <a:buFont typeface="Wingdings" pitchFamily="2" charset="2"/>
              <a:buNone/>
              <a:defRPr sz="2800" kern="1200">
                <a:solidFill>
                  <a:schemeClr val="tx1"/>
                </a:solidFill>
                <a:latin typeface="Segoe UI Light" pitchFamily="34" charset="0"/>
                <a:ea typeface="Segoe UI" pitchFamily="34" charset="0"/>
                <a:cs typeface="Segoe UI" pitchFamily="34" charset="0"/>
              </a:defRPr>
            </a:lvl1pPr>
            <a:lvl2pPr marL="281674" indent="0" algn="l" defTabSz="1088105" rtl="0" eaLnBrk="1" latinLnBrk="0" hangingPunct="1">
              <a:spcBef>
                <a:spcPct val="20000"/>
              </a:spcBef>
              <a:buFont typeface="Arial" pitchFamily="34" charset="0"/>
              <a:buNone/>
              <a:defRPr sz="1800" kern="1200">
                <a:solidFill>
                  <a:schemeClr val="tx1"/>
                </a:solidFill>
                <a:latin typeface="Segoe UI" pitchFamily="34" charset="0"/>
                <a:ea typeface="Segoe UI" pitchFamily="34" charset="0"/>
                <a:cs typeface="Segoe UI" pitchFamily="34" charset="0"/>
              </a:defRPr>
            </a:lvl2pPr>
            <a:lvl3pPr marL="588476" indent="0" algn="l" defTabSz="1088105" rtl="0" eaLnBrk="1" latinLnBrk="0" hangingPunct="1">
              <a:spcBef>
                <a:spcPct val="20000"/>
              </a:spcBef>
              <a:buFont typeface="Arial" pitchFamily="34" charset="0"/>
              <a:buNone/>
              <a:defRPr sz="1600" kern="1200">
                <a:solidFill>
                  <a:schemeClr val="tx1"/>
                </a:solidFill>
                <a:latin typeface="Segoe UI" pitchFamily="34" charset="0"/>
                <a:ea typeface="Segoe UI" pitchFamily="34" charset="0"/>
                <a:cs typeface="Segoe UI" pitchFamily="34" charset="0"/>
              </a:defRPr>
            </a:lvl3pPr>
            <a:lvl4pPr marL="87015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4pPr>
            <a:lvl5pPr marL="110554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defTabSz="1087779">
              <a:spcBef>
                <a:spcPts val="1799"/>
              </a:spcBef>
              <a:defRPr/>
            </a:pPr>
            <a:r>
              <a:rPr lang="en-US" sz="2799">
                <a:solidFill>
                  <a:srgbClr val="505050"/>
                </a:solidFill>
              </a:rPr>
              <a:t>Value Realization Scorecard</a:t>
            </a:r>
          </a:p>
        </p:txBody>
      </p:sp>
    </p:spTree>
    <p:extLst>
      <p:ext uri="{BB962C8B-B14F-4D97-AF65-F5344CB8AC3E}">
        <p14:creationId xmlns:p14="http://schemas.microsoft.com/office/powerpoint/2010/main" val="16782203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204042"/>
            <a:ext cx="12188825" cy="645874"/>
          </a:xfrm>
        </p:spPr>
        <p:txBody>
          <a:bodyPr/>
          <a:lstStyle/>
          <a:p>
            <a:r>
              <a:rPr lang="en-US" dirty="0"/>
              <a:t>Integrated Supply Chain</a:t>
            </a:r>
          </a:p>
        </p:txBody>
      </p:sp>
      <p:sp>
        <p:nvSpPr>
          <p:cNvPr id="21" name="Rectangle 43"/>
          <p:cNvSpPr>
            <a:spLocks/>
          </p:cNvSpPr>
          <p:nvPr>
            <p:custDataLst>
              <p:tags r:id="rId1"/>
            </p:custDataLst>
          </p:nvPr>
        </p:nvSpPr>
        <p:spPr>
          <a:xfrm>
            <a:off x="8501032" y="1919310"/>
            <a:ext cx="2564174" cy="253850"/>
          </a:xfrm>
          <a:prstGeom prst="rect">
            <a:avLst/>
          </a:prstGeom>
        </p:spPr>
        <p:txBody>
          <a:bodyPr wrap="square">
            <a:spAutoFit/>
          </a:bodyPr>
          <a:lstStyle/>
          <a:p>
            <a:pPr marL="174922" lvl="1" indent="-128512" defTabSz="685405">
              <a:buClr>
                <a:srgbClr val="595959">
                  <a:lumMod val="75000"/>
                </a:srgbClr>
              </a:buClr>
              <a:buFont typeface="Arial" pitchFamily="34" charset="0"/>
              <a:buChar char="•"/>
              <a:defRPr/>
            </a:pPr>
            <a:endParaRPr lang="en-US" sz="1050" i="1" kern="0">
              <a:ln>
                <a:solidFill>
                  <a:srgbClr val="FFFFFF">
                    <a:alpha val="0"/>
                  </a:srgbClr>
                </a:solidFill>
              </a:ln>
              <a:solidFill>
                <a:srgbClr val="595959">
                  <a:lumMod val="75000"/>
                </a:srgbClr>
              </a:solidFill>
              <a:ea typeface="Segoe UI" pitchFamily="34" charset="0"/>
              <a:cs typeface="Segoe UI" pitchFamily="34" charset="0"/>
            </a:endParaRPr>
          </a:p>
        </p:txBody>
      </p:sp>
      <p:sp>
        <p:nvSpPr>
          <p:cNvPr id="23" name="Rectangle 45"/>
          <p:cNvSpPr/>
          <p:nvPr>
            <p:custDataLst>
              <p:tags r:id="rId2"/>
            </p:custDataLst>
          </p:nvPr>
        </p:nvSpPr>
        <p:spPr>
          <a:xfrm>
            <a:off x="9128799" y="3062027"/>
            <a:ext cx="2918879" cy="1053860"/>
          </a:xfrm>
          <a:prstGeom prst="rect">
            <a:avLst/>
          </a:prstGeom>
        </p:spPr>
        <p:txBody>
          <a:bodyPr wrap="square" lIns="0" rIns="0">
            <a:spAutoFit/>
          </a:bodyPr>
          <a:lstStyle/>
          <a:p>
            <a:pPr marL="174870" lvl="1" indent="-128473" defTabSz="685199">
              <a:spcBef>
                <a:spcPts val="100"/>
              </a:spcBef>
              <a:spcAft>
                <a:spcPts val="200"/>
              </a:spcAft>
              <a:buClr>
                <a:srgbClr val="595959">
                  <a:lumMod val="75000"/>
                </a:srgbClr>
              </a:buClr>
              <a:buFont typeface="Arial" pitchFamily="34" charset="0"/>
              <a:buChar char="•"/>
              <a:defRPr/>
            </a:pPr>
            <a:r>
              <a:rPr lang="en-IN" sz="1100" i="1" kern="0" dirty="0">
                <a:solidFill>
                  <a:srgbClr val="505050"/>
                </a:solidFill>
                <a:ea typeface="Segoe UI" pitchFamily="34" charset="0"/>
                <a:cs typeface="Segoe UI" pitchFamily="34" charset="0"/>
              </a:rPr>
              <a:t>Advanced Analytics and </a:t>
            </a:r>
            <a:br>
              <a:rPr lang="en-IN" sz="1100" i="1" kern="0" dirty="0">
                <a:solidFill>
                  <a:srgbClr val="505050"/>
                </a:solidFill>
                <a:ea typeface="Segoe UI" pitchFamily="34" charset="0"/>
                <a:cs typeface="Segoe UI" pitchFamily="34" charset="0"/>
              </a:rPr>
            </a:br>
            <a:r>
              <a:rPr lang="en-IN" sz="1100" i="1" kern="0" dirty="0">
                <a:solidFill>
                  <a:srgbClr val="505050"/>
                </a:solidFill>
                <a:ea typeface="Segoe UI" pitchFamily="34" charset="0"/>
                <a:cs typeface="Segoe UI" pitchFamily="34" charset="0"/>
              </a:rPr>
              <a:t>Machine Learning </a:t>
            </a:r>
          </a:p>
          <a:p>
            <a:pPr marL="174870" lvl="1" indent="-128473" defTabSz="685199">
              <a:spcBef>
                <a:spcPts val="100"/>
              </a:spcBef>
              <a:spcAft>
                <a:spcPts val="200"/>
              </a:spcAft>
              <a:buClr>
                <a:srgbClr val="595959">
                  <a:lumMod val="75000"/>
                </a:srgbClr>
              </a:buClr>
              <a:buFont typeface="Arial" pitchFamily="34" charset="0"/>
              <a:buChar char="•"/>
              <a:defRPr/>
            </a:pPr>
            <a:r>
              <a:rPr lang="en-IN" sz="1100" i="1" kern="0" dirty="0">
                <a:solidFill>
                  <a:srgbClr val="505050"/>
                </a:solidFill>
                <a:ea typeface="Segoe UI" pitchFamily="34" charset="0"/>
                <a:cs typeface="Segoe UI" pitchFamily="34" charset="0"/>
              </a:rPr>
              <a:t>Dashboards and visualization</a:t>
            </a:r>
          </a:p>
          <a:p>
            <a:pPr marL="174870" lvl="1" indent="-128473" defTabSz="685199">
              <a:spcBef>
                <a:spcPts val="100"/>
              </a:spcBef>
              <a:spcAft>
                <a:spcPts val="200"/>
              </a:spcAft>
              <a:buClr>
                <a:srgbClr val="595959">
                  <a:lumMod val="75000"/>
                </a:srgbClr>
              </a:buClr>
              <a:buFont typeface="Arial" pitchFamily="34" charset="0"/>
              <a:buChar char="•"/>
              <a:defRPr/>
            </a:pPr>
            <a:r>
              <a:rPr lang="en-IN" sz="1100" i="1" kern="0" dirty="0">
                <a:solidFill>
                  <a:srgbClr val="505050"/>
                </a:solidFill>
                <a:ea typeface="Segoe UI" pitchFamily="34" charset="0"/>
                <a:cs typeface="Segoe UI" pitchFamily="34" charset="0"/>
              </a:rPr>
              <a:t>Business Intelligence</a:t>
            </a:r>
          </a:p>
          <a:p>
            <a:pPr marL="174870" lvl="1" indent="-128473" defTabSz="685199">
              <a:spcBef>
                <a:spcPts val="100"/>
              </a:spcBef>
              <a:spcAft>
                <a:spcPts val="200"/>
              </a:spcAft>
              <a:buClr>
                <a:srgbClr val="595959">
                  <a:lumMod val="75000"/>
                </a:srgbClr>
              </a:buClr>
              <a:buFont typeface="Arial" pitchFamily="34" charset="0"/>
              <a:buChar char="•"/>
              <a:defRPr/>
            </a:pPr>
            <a:r>
              <a:rPr lang="en-IN" sz="1100" i="1" kern="0" dirty="0">
                <a:solidFill>
                  <a:srgbClr val="505050"/>
                </a:solidFill>
                <a:ea typeface="Segoe UI" pitchFamily="34" charset="0"/>
                <a:cs typeface="Segoe UI" pitchFamily="34" charset="0"/>
              </a:rPr>
              <a:t>Mobile apps</a:t>
            </a:r>
          </a:p>
        </p:txBody>
      </p:sp>
      <p:sp>
        <p:nvSpPr>
          <p:cNvPr id="25" name="Rectangle 47"/>
          <p:cNvSpPr/>
          <p:nvPr>
            <p:custDataLst>
              <p:tags r:id="rId3"/>
            </p:custDataLst>
          </p:nvPr>
        </p:nvSpPr>
        <p:spPr>
          <a:xfrm>
            <a:off x="9128799" y="4616930"/>
            <a:ext cx="2183069" cy="1143605"/>
          </a:xfrm>
          <a:prstGeom prst="rect">
            <a:avLst/>
          </a:prstGeom>
        </p:spPr>
        <p:txBody>
          <a:bodyPr wrap="square" lIns="0" rIns="0">
            <a:spAutoFit/>
          </a:bodyPr>
          <a:lstStyle/>
          <a:p>
            <a:pPr marL="174922" lvl="1" indent="-128512" defTabSz="685405">
              <a:spcBef>
                <a:spcPts val="100"/>
              </a:spcBef>
              <a:spcAft>
                <a:spcPts val="200"/>
              </a:spcAft>
              <a:buClr>
                <a:srgbClr val="595959">
                  <a:lumMod val="75000"/>
                </a:srgbClr>
              </a:buClr>
              <a:buFont typeface="Arial" pitchFamily="34" charset="0"/>
              <a:buChar char="•"/>
              <a:defRPr/>
            </a:pPr>
            <a:r>
              <a:rPr lang="en-IN" sz="1100" i="1" kern="0" dirty="0">
                <a:solidFill>
                  <a:srgbClr val="505050"/>
                </a:solidFill>
                <a:ea typeface="Segoe UI" pitchFamily="34" charset="0"/>
                <a:cs typeface="Segoe UI" pitchFamily="34" charset="0"/>
              </a:rPr>
              <a:t>Embedded IoT connectivity</a:t>
            </a:r>
          </a:p>
          <a:p>
            <a:pPr marL="174922" lvl="1" indent="-128512" defTabSz="685405">
              <a:spcBef>
                <a:spcPts val="100"/>
              </a:spcBef>
              <a:spcAft>
                <a:spcPts val="200"/>
              </a:spcAft>
              <a:buClr>
                <a:srgbClr val="595959">
                  <a:lumMod val="75000"/>
                </a:srgbClr>
              </a:buClr>
              <a:buFont typeface="Arial" pitchFamily="34" charset="0"/>
              <a:buChar char="•"/>
              <a:defRPr/>
            </a:pPr>
            <a:r>
              <a:rPr lang="en-IN" sz="1100" i="1" kern="0" dirty="0">
                <a:solidFill>
                  <a:srgbClr val="505050"/>
                </a:solidFill>
                <a:ea typeface="Segoe UI" pitchFamily="34" charset="0"/>
                <a:cs typeface="Segoe UI" pitchFamily="34" charset="0"/>
              </a:rPr>
              <a:t>Edge Computing</a:t>
            </a:r>
          </a:p>
          <a:p>
            <a:pPr marL="174922" lvl="1" indent="-128512" defTabSz="685405">
              <a:spcBef>
                <a:spcPts val="100"/>
              </a:spcBef>
              <a:spcAft>
                <a:spcPts val="200"/>
              </a:spcAft>
              <a:buClr>
                <a:srgbClr val="595959">
                  <a:lumMod val="75000"/>
                </a:srgbClr>
              </a:buClr>
              <a:buFont typeface="Arial" pitchFamily="34" charset="0"/>
              <a:buChar char="•"/>
              <a:defRPr/>
            </a:pPr>
            <a:r>
              <a:rPr lang="en-IN" sz="1100" i="1" kern="0" dirty="0">
                <a:solidFill>
                  <a:srgbClr val="505050"/>
                </a:solidFill>
                <a:ea typeface="Segoe UI" pitchFamily="34" charset="0"/>
                <a:cs typeface="Segoe UI" pitchFamily="34" charset="0"/>
              </a:rPr>
              <a:t>Dashboard and visualization</a:t>
            </a:r>
          </a:p>
          <a:p>
            <a:pPr marL="174922" lvl="1" indent="-128512" defTabSz="685405">
              <a:spcBef>
                <a:spcPts val="400"/>
              </a:spcBef>
              <a:buClr>
                <a:srgbClr val="595959">
                  <a:lumMod val="75000"/>
                </a:srgbClr>
              </a:buClr>
              <a:buFont typeface="Arial" pitchFamily="34" charset="0"/>
              <a:buChar char="•"/>
              <a:defRPr/>
            </a:pPr>
            <a:r>
              <a:rPr lang="en-US" sz="1100" i="1" dirty="0">
                <a:ea typeface="Segoe UI" pitchFamily="34" charset="0"/>
                <a:cs typeface="Segoe UI" pitchFamily="34" charset="0"/>
              </a:rPr>
              <a:t>Data Management</a:t>
            </a:r>
          </a:p>
          <a:p>
            <a:pPr marL="174922" lvl="1" indent="-128512" defTabSz="685405">
              <a:spcBef>
                <a:spcPts val="400"/>
              </a:spcBef>
              <a:buClr>
                <a:srgbClr val="595959">
                  <a:lumMod val="75000"/>
                </a:srgbClr>
              </a:buClr>
              <a:buFont typeface="Arial" pitchFamily="34" charset="0"/>
              <a:buChar char="•"/>
              <a:defRPr/>
            </a:pPr>
            <a:r>
              <a:rPr lang="en-US" sz="1100" i="1" dirty="0">
                <a:ea typeface="Segoe UI" pitchFamily="34" charset="0"/>
                <a:cs typeface="Segoe UI" pitchFamily="34" charset="0"/>
              </a:rPr>
              <a:t>Machine Learning</a:t>
            </a:r>
          </a:p>
        </p:txBody>
      </p:sp>
      <p:sp>
        <p:nvSpPr>
          <p:cNvPr id="26" name="Rectangle 48"/>
          <p:cNvSpPr/>
          <p:nvPr>
            <p:custDataLst>
              <p:tags r:id="rId4"/>
            </p:custDataLst>
          </p:nvPr>
        </p:nvSpPr>
        <p:spPr>
          <a:xfrm>
            <a:off x="327264" y="4563544"/>
            <a:ext cx="2280378" cy="907941"/>
          </a:xfrm>
          <a:prstGeom prst="rect">
            <a:avLst/>
          </a:prstGeom>
        </p:spPr>
        <p:txBody>
          <a:bodyPr wrap="square" lIns="0" rIns="0">
            <a:spAutoFit/>
          </a:bodyPr>
          <a:lstStyle/>
          <a:p>
            <a:pPr marL="122201" lvl="1" indent="-122201" defTabSz="456835">
              <a:spcBef>
                <a:spcPts val="100"/>
              </a:spcBef>
              <a:spcAft>
                <a:spcPts val="200"/>
              </a:spcAft>
              <a:buClr>
                <a:srgbClr val="595959">
                  <a:lumMod val="75000"/>
                </a:srgbClr>
              </a:buClr>
              <a:buFont typeface="Arial" panose="020B0604020202020204" pitchFamily="34" charset="0"/>
              <a:buChar char="•"/>
              <a:defRPr/>
            </a:pPr>
            <a:r>
              <a:rPr lang="en-IN" sz="1200" dirty="0">
                <a:ea typeface="Segoe UI" pitchFamily="34" charset="0"/>
                <a:cs typeface="Segoe UI Semibold" panose="020B0702040204020203" pitchFamily="34" charset="0"/>
              </a:rPr>
              <a:t>Reduce unplanned downtime</a:t>
            </a:r>
          </a:p>
          <a:p>
            <a:pPr marL="122201" lvl="1" indent="-122201" defTabSz="456835">
              <a:spcBef>
                <a:spcPts val="100"/>
              </a:spcBef>
              <a:spcAft>
                <a:spcPts val="200"/>
              </a:spcAft>
              <a:buClr>
                <a:srgbClr val="595959">
                  <a:lumMod val="75000"/>
                </a:srgbClr>
              </a:buClr>
              <a:buFont typeface="Arial" panose="020B0604020202020204" pitchFamily="34" charset="0"/>
              <a:buChar char="•"/>
              <a:defRPr/>
            </a:pPr>
            <a:r>
              <a:rPr lang="en-IN" sz="1200" dirty="0">
                <a:ea typeface="Segoe UI" pitchFamily="34" charset="0"/>
                <a:cs typeface="Segoe UI Semibold" panose="020B0702040204020203" pitchFamily="34" charset="0"/>
              </a:rPr>
              <a:t>Reduce maintenance costs</a:t>
            </a:r>
          </a:p>
          <a:p>
            <a:pPr marL="122201" lvl="1" indent="-122201" defTabSz="456835">
              <a:spcBef>
                <a:spcPts val="100"/>
              </a:spcBef>
              <a:spcAft>
                <a:spcPts val="200"/>
              </a:spcAft>
              <a:buClr>
                <a:srgbClr val="595959">
                  <a:lumMod val="75000"/>
                </a:srgbClr>
              </a:buClr>
              <a:buFont typeface="Arial" panose="020B0604020202020204" pitchFamily="34" charset="0"/>
              <a:buChar char="•"/>
              <a:defRPr/>
            </a:pPr>
            <a:r>
              <a:rPr lang="en-IN" sz="1200" dirty="0">
                <a:ea typeface="Segoe UI" pitchFamily="34" charset="0"/>
                <a:cs typeface="Segoe UI Semibold" panose="020B0702040204020203" pitchFamily="34" charset="0"/>
              </a:rPr>
              <a:t>Increase efficiency of </a:t>
            </a:r>
            <a:br>
              <a:rPr lang="en-IN" sz="1200" dirty="0">
                <a:ea typeface="Segoe UI" pitchFamily="34" charset="0"/>
                <a:cs typeface="Segoe UI Semibold" panose="020B0702040204020203" pitchFamily="34" charset="0"/>
              </a:rPr>
            </a:br>
            <a:r>
              <a:rPr lang="en-IN" sz="1200" dirty="0">
                <a:ea typeface="Segoe UI" pitchFamily="34" charset="0"/>
                <a:cs typeface="Segoe UI Semibold" panose="020B0702040204020203" pitchFamily="34" charset="0"/>
              </a:rPr>
              <a:t>supply chain</a:t>
            </a:r>
          </a:p>
        </p:txBody>
      </p:sp>
      <p:sp>
        <p:nvSpPr>
          <p:cNvPr id="29" name="Right Arrow 28"/>
          <p:cNvSpPr/>
          <p:nvPr/>
        </p:nvSpPr>
        <p:spPr>
          <a:xfrm rot="5400000" flipH="1">
            <a:off x="8960466" y="3317846"/>
            <a:ext cx="5114349" cy="487374"/>
          </a:xfrm>
          <a:prstGeom prst="rightArrow">
            <a:avLst/>
          </a:prstGeom>
          <a:solidFill>
            <a:schemeClr val="bg1">
              <a:lumMod val="75000"/>
            </a:schemeClr>
          </a:solidFill>
          <a:ln w="9525" cap="flat" cmpd="sng" algn="ctr">
            <a:noFill/>
            <a:prstDash val="solid"/>
          </a:ln>
          <a:effectLst/>
        </p:spPr>
        <p:txBody>
          <a:bodyPr rot="0" spcFirstLastPara="0" vertOverflow="overflow" horzOverflow="overflow" vert="horz" wrap="square" lIns="91416" tIns="45696" rIns="91416" bIns="45696" numCol="1" spcCol="0" rtlCol="0" fromWordArt="0" anchor="ctr" anchorCtr="0" forceAA="0" compatLnSpc="1">
            <a:prstTxWarp prst="textNoShape">
              <a:avLst/>
            </a:prstTxWarp>
            <a:noAutofit/>
          </a:bodyPr>
          <a:lstStyle/>
          <a:p>
            <a:pPr algn="ctr" defTabSz="609113">
              <a:defRPr/>
            </a:pPr>
            <a:r>
              <a:rPr lang="en-US" sz="1400" kern="0">
                <a:solidFill>
                  <a:srgbClr val="505050"/>
                </a:solidFill>
                <a:latin typeface="Segoe UI Semibold" panose="020B0702040204020203" pitchFamily="34" charset="0"/>
                <a:cs typeface="Segoe UI Semibold" panose="020B0702040204020203" pitchFamily="34" charset="0"/>
              </a:rPr>
              <a:t>Value</a:t>
            </a:r>
          </a:p>
        </p:txBody>
      </p:sp>
      <p:sp>
        <p:nvSpPr>
          <p:cNvPr id="31" name="TextBox 30"/>
          <p:cNvSpPr txBox="1"/>
          <p:nvPr/>
        </p:nvSpPr>
        <p:spPr>
          <a:xfrm>
            <a:off x="8813789" y="1185730"/>
            <a:ext cx="2332211" cy="399902"/>
          </a:xfrm>
          <a:prstGeom prst="rect">
            <a:avLst/>
          </a:prstGeom>
          <a:noFill/>
        </p:spPr>
        <p:txBody>
          <a:bodyPr wrap="square" lIns="0" rIns="0" rtlCol="0" anchor="ctr">
            <a:spAutoFit/>
          </a:bodyPr>
          <a:lstStyle/>
          <a:p>
            <a:pPr algn="ctr" defTabSz="609113">
              <a:defRPr/>
            </a:pPr>
            <a:r>
              <a:rPr lang="en-US" sz="1998" kern="0">
                <a:solidFill>
                  <a:srgbClr val="505050"/>
                </a:solidFill>
                <a:latin typeface="Segoe UI Semibold" panose="020B0702040204020203" pitchFamily="34" charset="0"/>
                <a:cs typeface="Segoe UI Semibold" panose="020B0702040204020203" pitchFamily="34" charset="0"/>
              </a:rPr>
              <a:t>IT Projects</a:t>
            </a:r>
          </a:p>
        </p:txBody>
      </p:sp>
      <p:sp>
        <p:nvSpPr>
          <p:cNvPr id="34" name="Rectangle 45"/>
          <p:cNvSpPr/>
          <p:nvPr>
            <p:custDataLst>
              <p:tags r:id="rId5"/>
            </p:custDataLst>
          </p:nvPr>
        </p:nvSpPr>
        <p:spPr>
          <a:xfrm>
            <a:off x="9090884" y="1646831"/>
            <a:ext cx="2332210" cy="1015399"/>
          </a:xfrm>
          <a:prstGeom prst="rect">
            <a:avLst/>
          </a:prstGeom>
        </p:spPr>
        <p:txBody>
          <a:bodyPr wrap="square" lIns="0" rIns="0">
            <a:spAutoFit/>
          </a:bodyPr>
          <a:lstStyle/>
          <a:p>
            <a:pPr marL="174870" lvl="1" indent="-128473" defTabSz="685199">
              <a:spcBef>
                <a:spcPts val="100"/>
              </a:spcBef>
              <a:spcAft>
                <a:spcPts val="200"/>
              </a:spcAft>
              <a:buClr>
                <a:srgbClr val="595959">
                  <a:lumMod val="75000"/>
                </a:srgbClr>
              </a:buClr>
              <a:buFont typeface="Arial" pitchFamily="34" charset="0"/>
              <a:buChar char="•"/>
              <a:defRPr/>
            </a:pPr>
            <a:r>
              <a:rPr lang="en-IN" sz="1100" i="1" kern="0" dirty="0">
                <a:solidFill>
                  <a:srgbClr val="505050"/>
                </a:solidFill>
                <a:ea typeface="Segoe UI" pitchFamily="34" charset="0"/>
                <a:cs typeface="Segoe UI" pitchFamily="34" charset="0"/>
              </a:rPr>
              <a:t>Dashboard controls and visualization</a:t>
            </a:r>
          </a:p>
          <a:p>
            <a:pPr marL="174870" lvl="1" indent="-128473" defTabSz="685199">
              <a:spcBef>
                <a:spcPts val="100"/>
              </a:spcBef>
              <a:spcAft>
                <a:spcPts val="200"/>
              </a:spcAft>
              <a:buClr>
                <a:srgbClr val="595959">
                  <a:lumMod val="75000"/>
                </a:srgbClr>
              </a:buClr>
              <a:buFont typeface="Arial" pitchFamily="34" charset="0"/>
              <a:buChar char="•"/>
              <a:defRPr/>
            </a:pPr>
            <a:r>
              <a:rPr lang="en-IN" sz="1100" i="1" kern="0" dirty="0">
                <a:solidFill>
                  <a:srgbClr val="505050"/>
                </a:solidFill>
                <a:ea typeface="Segoe UI" pitchFamily="34" charset="0"/>
                <a:cs typeface="Segoe UI" pitchFamily="34" charset="0"/>
              </a:rPr>
              <a:t>Advanced Analytics and Machine Learning </a:t>
            </a:r>
          </a:p>
          <a:p>
            <a:pPr marL="174870" lvl="1" indent="-128473" defTabSz="685199">
              <a:spcBef>
                <a:spcPts val="100"/>
              </a:spcBef>
              <a:spcAft>
                <a:spcPts val="200"/>
              </a:spcAft>
              <a:buClr>
                <a:srgbClr val="595959">
                  <a:lumMod val="75000"/>
                </a:srgbClr>
              </a:buClr>
              <a:buFont typeface="Arial" pitchFamily="34" charset="0"/>
              <a:buChar char="•"/>
              <a:defRPr/>
            </a:pPr>
            <a:r>
              <a:rPr lang="en-IN" sz="1100" i="1" kern="0" dirty="0">
                <a:solidFill>
                  <a:srgbClr val="505050"/>
                </a:solidFill>
                <a:ea typeface="Segoe UI" pitchFamily="34" charset="0"/>
                <a:cs typeface="Segoe UI" pitchFamily="34" charset="0"/>
              </a:rPr>
              <a:t>Bots &amp; Logic Apps</a:t>
            </a:r>
          </a:p>
        </p:txBody>
      </p:sp>
      <p:sp>
        <p:nvSpPr>
          <p:cNvPr id="35" name="Rectangle 50"/>
          <p:cNvSpPr/>
          <p:nvPr>
            <p:custDataLst>
              <p:tags r:id="rId6"/>
            </p:custDataLst>
          </p:nvPr>
        </p:nvSpPr>
        <p:spPr>
          <a:xfrm>
            <a:off x="303210" y="2985103"/>
            <a:ext cx="2524560" cy="1076937"/>
          </a:xfrm>
          <a:prstGeom prst="rect">
            <a:avLst/>
          </a:prstGeom>
        </p:spPr>
        <p:txBody>
          <a:bodyPr wrap="square" lIns="0" rIns="0">
            <a:spAutoFit/>
          </a:bodyPr>
          <a:lstStyle/>
          <a:p>
            <a:pPr marL="122201" indent="-122201" defTabSz="456835">
              <a:spcBef>
                <a:spcPts val="100"/>
              </a:spcBef>
              <a:spcAft>
                <a:spcPts val="200"/>
              </a:spcAft>
              <a:buFont typeface="Arial" panose="020B0604020202020204" pitchFamily="34" charset="0"/>
              <a:buChar char="•"/>
            </a:pPr>
            <a:r>
              <a:rPr lang="en-US" sz="1200" dirty="0">
                <a:ea typeface="Segoe UI" pitchFamily="34" charset="0"/>
                <a:cs typeface="Segoe UI Semibold" panose="020B0702040204020203" pitchFamily="34" charset="0"/>
              </a:rPr>
              <a:t>Better understand and serve customers, partners and market</a:t>
            </a:r>
          </a:p>
          <a:p>
            <a:pPr marL="122201" indent="-122201" defTabSz="456835">
              <a:spcBef>
                <a:spcPts val="100"/>
              </a:spcBef>
              <a:spcAft>
                <a:spcPts val="200"/>
              </a:spcAft>
              <a:buFont typeface="Arial" panose="020B0604020202020204" pitchFamily="34" charset="0"/>
              <a:buChar char="•"/>
            </a:pPr>
            <a:r>
              <a:rPr lang="en-US" sz="1200" dirty="0">
                <a:ea typeface="Segoe UI" pitchFamily="34" charset="0"/>
                <a:cs typeface="Segoe UI Semibold" panose="020B0702040204020203" pitchFamily="34" charset="0"/>
              </a:rPr>
              <a:t>Improve business insight and workflow</a:t>
            </a:r>
          </a:p>
          <a:p>
            <a:pPr marL="171399" lvl="1" indent="-171399" defTabSz="456835">
              <a:spcBef>
                <a:spcPts val="100"/>
              </a:spcBef>
              <a:spcAft>
                <a:spcPts val="200"/>
              </a:spcAft>
              <a:buClr>
                <a:srgbClr val="595959">
                  <a:lumMod val="75000"/>
                </a:srgbClr>
              </a:buClr>
              <a:buFont typeface="Arial" panose="020B0604020202020204" pitchFamily="34" charset="0"/>
              <a:buChar char="•"/>
              <a:defRPr/>
            </a:pPr>
            <a:endParaRPr lang="en-IN" sz="1100" kern="0" dirty="0">
              <a:solidFill>
                <a:srgbClr val="505050"/>
              </a:solidFill>
              <a:ea typeface="Segoe UI" pitchFamily="34" charset="0"/>
              <a:cs typeface="Segoe UI Semibold" panose="020B0702040204020203" pitchFamily="34" charset="0"/>
            </a:endParaRPr>
          </a:p>
        </p:txBody>
      </p:sp>
      <p:sp>
        <p:nvSpPr>
          <p:cNvPr id="36" name="TextBox 35"/>
          <p:cNvSpPr txBox="1"/>
          <p:nvPr/>
        </p:nvSpPr>
        <p:spPr>
          <a:xfrm>
            <a:off x="824080" y="1185730"/>
            <a:ext cx="2564175" cy="399902"/>
          </a:xfrm>
          <a:prstGeom prst="rect">
            <a:avLst/>
          </a:prstGeom>
          <a:noFill/>
        </p:spPr>
        <p:txBody>
          <a:bodyPr wrap="square" lIns="0" rIns="0" rtlCol="0" anchor="ctr">
            <a:spAutoFit/>
          </a:bodyPr>
          <a:lstStyle/>
          <a:p>
            <a:pPr algn="ctr" defTabSz="609113">
              <a:defRPr/>
            </a:pPr>
            <a:r>
              <a:rPr lang="en-US" sz="1998" kern="0">
                <a:solidFill>
                  <a:srgbClr val="505050"/>
                </a:solidFill>
                <a:latin typeface="Segoe UI Semibold" panose="020B0702040204020203" pitchFamily="34" charset="0"/>
                <a:cs typeface="Segoe UI Semibold" panose="020B0702040204020203" pitchFamily="34" charset="0"/>
              </a:rPr>
              <a:t>Business Benefits</a:t>
            </a:r>
          </a:p>
        </p:txBody>
      </p:sp>
      <p:sp>
        <p:nvSpPr>
          <p:cNvPr id="37" name="Rectangle 50"/>
          <p:cNvSpPr/>
          <p:nvPr>
            <p:custDataLst>
              <p:tags r:id="rId7"/>
            </p:custDataLst>
          </p:nvPr>
        </p:nvSpPr>
        <p:spPr>
          <a:xfrm>
            <a:off x="303210" y="1608630"/>
            <a:ext cx="3085045" cy="1169246"/>
          </a:xfrm>
          <a:prstGeom prst="rect">
            <a:avLst/>
          </a:prstGeom>
        </p:spPr>
        <p:txBody>
          <a:bodyPr wrap="square" lIns="0" rIns="0">
            <a:spAutoFit/>
          </a:bodyPr>
          <a:lstStyle/>
          <a:p>
            <a:pPr marL="122201" indent="-122201" defTabSz="456835">
              <a:spcBef>
                <a:spcPts val="100"/>
              </a:spcBef>
              <a:spcAft>
                <a:spcPts val="200"/>
              </a:spcAft>
              <a:buFont typeface="Arial" panose="020B0604020202020204" pitchFamily="34" charset="0"/>
              <a:buChar char="•"/>
            </a:pPr>
            <a:r>
              <a:rPr lang="en-US" sz="1200" dirty="0">
                <a:ea typeface="Segoe UI" pitchFamily="34" charset="0"/>
                <a:cs typeface="Segoe UI Semibold" panose="020B0702040204020203" pitchFamily="34" charset="0"/>
              </a:rPr>
              <a:t>Reduce operating costs </a:t>
            </a:r>
          </a:p>
          <a:p>
            <a:pPr marL="122201" indent="-122201" defTabSz="456835">
              <a:spcBef>
                <a:spcPts val="100"/>
              </a:spcBef>
              <a:spcAft>
                <a:spcPts val="200"/>
              </a:spcAft>
              <a:buFont typeface="Arial" panose="020B0604020202020204" pitchFamily="34" charset="0"/>
              <a:buChar char="•"/>
            </a:pPr>
            <a:r>
              <a:rPr lang="en-US" sz="1200" dirty="0">
                <a:ea typeface="Segoe UI" pitchFamily="34" charset="0"/>
                <a:cs typeface="Segoe UI Semibold" panose="020B0702040204020203" pitchFamily="34" charset="0"/>
              </a:rPr>
              <a:t>Optimize asset utilization</a:t>
            </a:r>
          </a:p>
          <a:p>
            <a:pPr marL="122201" indent="-122201" defTabSz="456835">
              <a:spcBef>
                <a:spcPts val="100"/>
              </a:spcBef>
              <a:spcAft>
                <a:spcPts val="200"/>
              </a:spcAft>
              <a:buFont typeface="Arial" panose="020B0604020202020204" pitchFamily="34" charset="0"/>
              <a:buChar char="•"/>
            </a:pPr>
            <a:r>
              <a:rPr lang="en-US" sz="1200" dirty="0">
                <a:ea typeface="Segoe UI" pitchFamily="34" charset="0"/>
                <a:cs typeface="Segoe UI Semibold" panose="020B0702040204020203" pitchFamily="34" charset="0"/>
              </a:rPr>
              <a:t>Reduced cancelled orders and late fees</a:t>
            </a:r>
          </a:p>
          <a:p>
            <a:pPr marL="122201" indent="-122201" defTabSz="456835">
              <a:spcBef>
                <a:spcPts val="100"/>
              </a:spcBef>
              <a:spcAft>
                <a:spcPts val="200"/>
              </a:spcAft>
              <a:buFont typeface="Arial" panose="020B0604020202020204" pitchFamily="34" charset="0"/>
              <a:buChar char="•"/>
            </a:pPr>
            <a:r>
              <a:rPr lang="en-US" sz="1200" dirty="0">
                <a:ea typeface="Segoe UI" pitchFamily="34" charset="0"/>
                <a:cs typeface="Segoe UI Semibold" panose="020B0702040204020203" pitchFamily="34" charset="0"/>
              </a:rPr>
              <a:t>Improve customer experience</a:t>
            </a:r>
          </a:p>
          <a:p>
            <a:pPr marL="122201" indent="-122201" defTabSz="456835">
              <a:spcBef>
                <a:spcPts val="100"/>
              </a:spcBef>
              <a:spcAft>
                <a:spcPts val="200"/>
              </a:spcAft>
              <a:buFont typeface="Arial" panose="020B0604020202020204" pitchFamily="34" charset="0"/>
              <a:buChar char="•"/>
            </a:pPr>
            <a:r>
              <a:rPr lang="en-US" sz="1200" dirty="0">
                <a:ea typeface="Segoe UI" pitchFamily="34" charset="0"/>
                <a:cs typeface="Segoe UI Semibold" panose="020B0702040204020203" pitchFamily="34" charset="0"/>
              </a:rPr>
              <a:t>Raise customer satisfaction</a:t>
            </a:r>
          </a:p>
        </p:txBody>
      </p:sp>
      <p:sp>
        <p:nvSpPr>
          <p:cNvPr id="38" name="Right Arrow 37"/>
          <p:cNvSpPr/>
          <p:nvPr/>
        </p:nvSpPr>
        <p:spPr>
          <a:xfrm>
            <a:off x="303685" y="5865057"/>
            <a:ext cx="11008184" cy="489769"/>
          </a:xfrm>
          <a:prstGeom prst="rightArrow">
            <a:avLst/>
          </a:prstGeom>
          <a:solidFill>
            <a:schemeClr val="bg1">
              <a:lumMod val="75000"/>
            </a:schemeClr>
          </a:solidFill>
          <a:ln w="9525" cap="flat" cmpd="sng" algn="ctr">
            <a:noFill/>
            <a:prstDash val="solid"/>
          </a:ln>
          <a:effectLst/>
        </p:spPr>
        <p:txBody>
          <a:bodyPr rot="0" spcFirstLastPara="0" vertOverflow="overflow" horzOverflow="overflow" vert="horz" wrap="square" lIns="91416" tIns="45696" rIns="91416" bIns="45696" numCol="1" spcCol="0" rtlCol="0" fromWordArt="0" anchor="ctr" anchorCtr="0" forceAA="0" compatLnSpc="1">
            <a:prstTxWarp prst="textNoShape">
              <a:avLst/>
            </a:prstTxWarp>
            <a:noAutofit/>
          </a:bodyPr>
          <a:lstStyle/>
          <a:p>
            <a:pPr algn="ctr" defTabSz="609113">
              <a:defRPr/>
            </a:pPr>
            <a:r>
              <a:rPr lang="en-US" sz="1400" kern="0">
                <a:solidFill>
                  <a:srgbClr val="505050"/>
                </a:solidFill>
                <a:latin typeface="Segoe UI Semibold" panose="020B0702040204020203" pitchFamily="34" charset="0"/>
                <a:cs typeface="Segoe UI Semibold" panose="020B0702040204020203" pitchFamily="34" charset="0"/>
              </a:rPr>
              <a:t>Time</a:t>
            </a:r>
          </a:p>
        </p:txBody>
      </p:sp>
      <p:sp>
        <p:nvSpPr>
          <p:cNvPr id="24" name="Pentagon 44"/>
          <p:cNvSpPr/>
          <p:nvPr>
            <p:custDataLst>
              <p:tags r:id="rId8"/>
            </p:custDataLst>
          </p:nvPr>
        </p:nvSpPr>
        <p:spPr>
          <a:xfrm>
            <a:off x="3388255" y="3053249"/>
            <a:ext cx="4987778" cy="1298110"/>
          </a:xfrm>
          <a:prstGeom prst="homePlate">
            <a:avLst>
              <a:gd name="adj" fmla="val 27053"/>
            </a:avLst>
          </a:prstGeom>
          <a:solidFill>
            <a:schemeClr val="tx2"/>
          </a:solidFill>
          <a:ln w="25400" cap="flat" cmpd="sng" algn="ctr">
            <a:noFill/>
            <a:prstDash val="solid"/>
          </a:ln>
          <a:effectLst/>
        </p:spPr>
        <p:txBody>
          <a:bodyPr rtlCol="0" anchor="t">
            <a:noAutofit/>
          </a:bodyPr>
          <a:lstStyle/>
          <a:p>
            <a:pPr marL="0" lvl="1" defTabSz="685405">
              <a:spcBef>
                <a:spcPts val="225"/>
              </a:spcBef>
              <a:buClr>
                <a:srgbClr val="595959">
                  <a:lumMod val="75000"/>
                </a:srgbClr>
              </a:buClr>
              <a:defRPr/>
            </a:pPr>
            <a:r>
              <a:rPr lang="en-IN" sz="1200" kern="0" dirty="0">
                <a:solidFill>
                  <a:prstClr val="white"/>
                </a:solidFill>
                <a:latin typeface="Segoe UI Semibold" panose="020B0702040204020203" pitchFamily="34" charset="0"/>
                <a:ea typeface="Segoe UI" pitchFamily="34" charset="0"/>
                <a:cs typeface="Segoe UI Semibold" panose="020B0702040204020203" pitchFamily="34" charset="0"/>
              </a:rPr>
              <a:t>Phase 2: Enable gathering and processing real-time market dynamics </a:t>
            </a:r>
          </a:p>
          <a:p>
            <a:pPr marL="228531" lvl="1" indent="-165050" defTabSz="685405">
              <a:spcAft>
                <a:spcPts val="300"/>
              </a:spcAft>
              <a:buFont typeface="Arial" pitchFamily="34" charset="0"/>
              <a:buChar char="•"/>
              <a:defRPr/>
            </a:pPr>
            <a:r>
              <a:rPr lang="en-US" sz="1200" i="1" dirty="0">
                <a:solidFill>
                  <a:schemeClr val="bg1"/>
                </a:solidFill>
                <a:ea typeface="Segoe UI" pitchFamily="34" charset="0"/>
                <a:cs typeface="Segoe UI" pitchFamily="34" charset="0"/>
              </a:rPr>
              <a:t>Gather external data about possible impacts on supply and demand</a:t>
            </a:r>
          </a:p>
          <a:p>
            <a:pPr marL="228531" lvl="1" indent="-165050" defTabSz="685405">
              <a:spcAft>
                <a:spcPts val="300"/>
              </a:spcAft>
              <a:buFont typeface="Arial" pitchFamily="34" charset="0"/>
              <a:buChar char="•"/>
              <a:defRPr/>
            </a:pPr>
            <a:r>
              <a:rPr lang="en-US" sz="1200" i="1" dirty="0">
                <a:solidFill>
                  <a:schemeClr val="bg1"/>
                </a:solidFill>
                <a:ea typeface="Segoe UI" pitchFamily="34" charset="0"/>
                <a:cs typeface="Segoe UI" pitchFamily="34" charset="0"/>
              </a:rPr>
              <a:t>Enable storage, processing and analysis of data in real time</a:t>
            </a:r>
          </a:p>
        </p:txBody>
      </p:sp>
      <p:sp>
        <p:nvSpPr>
          <p:cNvPr id="28" name="Pentagon 46"/>
          <p:cNvSpPr/>
          <p:nvPr>
            <p:custDataLst>
              <p:tags r:id="rId9"/>
            </p:custDataLst>
          </p:nvPr>
        </p:nvSpPr>
        <p:spPr>
          <a:xfrm>
            <a:off x="2712015" y="4506918"/>
            <a:ext cx="4961691" cy="1385368"/>
          </a:xfrm>
          <a:prstGeom prst="homePlate">
            <a:avLst>
              <a:gd name="adj" fmla="val 27016"/>
            </a:avLst>
          </a:prstGeom>
          <a:solidFill>
            <a:schemeClr val="tx2"/>
          </a:solidFill>
          <a:ln w="25400" cap="flat" cmpd="sng" algn="ctr">
            <a:noFill/>
            <a:prstDash val="solid"/>
          </a:ln>
          <a:effectLst/>
        </p:spPr>
        <p:txBody>
          <a:bodyPr rtlCol="0" anchor="t"/>
          <a:lstStyle/>
          <a:p>
            <a:pPr marL="0" lvl="1" defTabSz="685405">
              <a:spcBef>
                <a:spcPts val="225"/>
              </a:spcBef>
              <a:buClr>
                <a:srgbClr val="595959">
                  <a:lumMod val="75000"/>
                </a:srgbClr>
              </a:buClr>
              <a:defRPr/>
            </a:pPr>
            <a:r>
              <a:rPr lang="en-IN" sz="1200" kern="0" dirty="0">
                <a:solidFill>
                  <a:prstClr val="white"/>
                </a:solidFill>
                <a:latin typeface="Segoe UI Semibold" panose="020B0702040204020203" pitchFamily="34" charset="0"/>
                <a:ea typeface="Segoe UI" pitchFamily="34" charset="0"/>
                <a:cs typeface="Segoe UI Semibold" panose="020B0702040204020203" pitchFamily="34" charset="0"/>
              </a:rPr>
              <a:t>Phase 1: Integrate data and optimize existing analytics capabilities</a:t>
            </a:r>
          </a:p>
          <a:p>
            <a:pPr marL="171399" lvl="1" indent="-171399" defTabSz="685405">
              <a:spcBef>
                <a:spcPts val="225"/>
              </a:spcBef>
              <a:buClr>
                <a:srgbClr val="595959">
                  <a:lumMod val="75000"/>
                </a:srgbClr>
              </a:buClr>
              <a:buFont typeface="Arial" panose="020B0604020202020204" pitchFamily="34" charset="0"/>
              <a:buChar char="•"/>
              <a:defRPr/>
            </a:pPr>
            <a:r>
              <a:rPr lang="en-IN" sz="1200" i="1" kern="0" dirty="0">
                <a:solidFill>
                  <a:prstClr val="white"/>
                </a:solidFill>
                <a:ea typeface="Segoe UI" pitchFamily="34" charset="0"/>
                <a:cs typeface="Segoe UI" pitchFamily="34" charset="0"/>
              </a:rPr>
              <a:t>Embed IoT &amp; Analytics across the organization ecosystem</a:t>
            </a:r>
          </a:p>
          <a:p>
            <a:pPr marL="174573" lvl="1" indent="-115853" defTabSz="685405">
              <a:spcBef>
                <a:spcPts val="225"/>
              </a:spcBef>
              <a:spcAft>
                <a:spcPts val="200"/>
              </a:spcAft>
              <a:buClr>
                <a:prstClr val="white"/>
              </a:buClr>
              <a:buFont typeface="Arial" pitchFamily="34" charset="0"/>
              <a:buChar char="•"/>
              <a:defRPr/>
            </a:pPr>
            <a:r>
              <a:rPr lang="en-IN" sz="1200" i="1" kern="0" dirty="0">
                <a:solidFill>
                  <a:prstClr val="white"/>
                </a:solidFill>
                <a:ea typeface="Segoe UI" pitchFamily="34" charset="0"/>
                <a:cs typeface="Segoe UI" pitchFamily="34" charset="0"/>
              </a:rPr>
              <a:t>Integrate legacy and modern systems and use telemetry and machine learning in unified reporting and dashboard services</a:t>
            </a:r>
          </a:p>
          <a:p>
            <a:pPr marL="174573" lvl="1" indent="-115853" defTabSz="685405">
              <a:spcBef>
                <a:spcPts val="225"/>
              </a:spcBef>
              <a:spcAft>
                <a:spcPts val="200"/>
              </a:spcAft>
              <a:buClr>
                <a:prstClr val="white"/>
              </a:buClr>
              <a:buFont typeface="Arial" pitchFamily="34" charset="0"/>
              <a:buChar char="•"/>
              <a:defRPr/>
            </a:pPr>
            <a:r>
              <a:rPr lang="en-US" sz="1200" i="1" kern="0" dirty="0">
                <a:solidFill>
                  <a:prstClr val="white"/>
                </a:solidFill>
                <a:ea typeface="Segoe UI" pitchFamily="34" charset="0"/>
                <a:cs typeface="Segoe UI" pitchFamily="34" charset="0"/>
              </a:rPr>
              <a:t>Integrate data for customers, supply chain, and production </a:t>
            </a:r>
            <a:endParaRPr lang="en-IN" sz="1200" i="1" kern="0" dirty="0">
              <a:solidFill>
                <a:prstClr val="white"/>
              </a:solidFill>
              <a:ea typeface="Segoe UI" pitchFamily="34" charset="0"/>
              <a:cs typeface="Segoe UI" pitchFamily="34" charset="0"/>
            </a:endParaRPr>
          </a:p>
        </p:txBody>
      </p:sp>
      <p:sp>
        <p:nvSpPr>
          <p:cNvPr id="30" name="Pentagon 42"/>
          <p:cNvSpPr/>
          <p:nvPr>
            <p:custDataLst>
              <p:tags r:id="rId10"/>
            </p:custDataLst>
          </p:nvPr>
        </p:nvSpPr>
        <p:spPr>
          <a:xfrm>
            <a:off x="4082665" y="1617863"/>
            <a:ext cx="4818139" cy="1279827"/>
          </a:xfrm>
          <a:prstGeom prst="homePlate">
            <a:avLst>
              <a:gd name="adj" fmla="val 27528"/>
            </a:avLst>
          </a:prstGeom>
          <a:solidFill>
            <a:schemeClr val="tx2"/>
          </a:solidFill>
          <a:ln w="25400" cap="flat" cmpd="sng" algn="ctr">
            <a:noFill/>
            <a:prstDash val="solid"/>
          </a:ln>
          <a:effectLst/>
        </p:spPr>
        <p:txBody>
          <a:bodyPr rtlCol="0" anchor="t">
            <a:noAutofit/>
          </a:bodyPr>
          <a:lstStyle/>
          <a:p>
            <a:pPr marL="0" lvl="1" defTabSz="685405">
              <a:spcBef>
                <a:spcPts val="225"/>
              </a:spcBef>
              <a:buClr>
                <a:srgbClr val="595959">
                  <a:lumMod val="75000"/>
                </a:srgbClr>
              </a:buClr>
              <a:defRPr/>
            </a:pPr>
            <a:r>
              <a:rPr lang="en-IN" sz="1200" kern="0" dirty="0">
                <a:solidFill>
                  <a:prstClr val="white"/>
                </a:solidFill>
                <a:latin typeface="Segoe UI Semibold" panose="020B0702040204020203" pitchFamily="34" charset="0"/>
                <a:ea typeface="Segoe UI" pitchFamily="34" charset="0"/>
                <a:cs typeface="Segoe UI Semibold" panose="020B0702040204020203" pitchFamily="34" charset="0"/>
              </a:rPr>
              <a:t>Phase 3: Achieve intelligent operations</a:t>
            </a:r>
          </a:p>
          <a:p>
            <a:pPr marL="228531" lvl="1" indent="-165050" defTabSz="685405">
              <a:spcAft>
                <a:spcPts val="300"/>
              </a:spcAft>
              <a:buFont typeface="Arial" pitchFamily="34" charset="0"/>
              <a:buChar char="•"/>
              <a:defRPr/>
            </a:pPr>
            <a:r>
              <a:rPr lang="en-US" sz="1200" i="1" dirty="0">
                <a:solidFill>
                  <a:schemeClr val="bg1"/>
                </a:solidFill>
                <a:ea typeface="Segoe UI" pitchFamily="34" charset="0"/>
                <a:cs typeface="Segoe UI" pitchFamily="34" charset="0"/>
              </a:rPr>
              <a:t>Predictive and prescriptive modeling for decision making </a:t>
            </a:r>
          </a:p>
          <a:p>
            <a:pPr marL="228531" lvl="1" indent="-165050" defTabSz="685405">
              <a:spcAft>
                <a:spcPts val="300"/>
              </a:spcAft>
              <a:buFont typeface="Arial" pitchFamily="34" charset="0"/>
              <a:buChar char="•"/>
              <a:defRPr/>
            </a:pPr>
            <a:r>
              <a:rPr lang="en-US" sz="1200" i="1" dirty="0">
                <a:solidFill>
                  <a:schemeClr val="bg1"/>
                </a:solidFill>
                <a:ea typeface="Segoe UI" pitchFamily="34" charset="0"/>
                <a:cs typeface="Segoe UI" pitchFamily="34" charset="0"/>
              </a:rPr>
              <a:t>Real-time business and customer analytics, predictive models</a:t>
            </a:r>
          </a:p>
          <a:p>
            <a:pPr marL="228531" lvl="1" indent="-165050" defTabSz="685405">
              <a:spcAft>
                <a:spcPts val="300"/>
              </a:spcAft>
              <a:buFont typeface="Arial" pitchFamily="34" charset="0"/>
              <a:buChar char="•"/>
              <a:defRPr/>
            </a:pPr>
            <a:r>
              <a:rPr lang="en-US" sz="1200" i="1" dirty="0">
                <a:solidFill>
                  <a:schemeClr val="bg1"/>
                </a:solidFill>
                <a:ea typeface="Segoe UI" pitchFamily="34" charset="0"/>
                <a:cs typeface="Segoe UI" pitchFamily="34" charset="0"/>
              </a:rPr>
              <a:t>Use of AI and bots to provide better interfaces to insights</a:t>
            </a:r>
          </a:p>
          <a:p>
            <a:pPr marL="228531" lvl="1" indent="-165050" defTabSz="685405">
              <a:spcAft>
                <a:spcPts val="300"/>
              </a:spcAft>
              <a:buFont typeface="Arial" pitchFamily="34" charset="0"/>
              <a:buChar char="•"/>
              <a:defRPr/>
            </a:pPr>
            <a:endParaRPr lang="en-US" sz="1200" i="1" dirty="0">
              <a:solidFill>
                <a:schemeClr val="bg1"/>
              </a:solidFill>
              <a:ea typeface="Segoe UI" pitchFamily="34" charset="0"/>
              <a:cs typeface="Segoe UI" pitchFamily="34" charset="0"/>
            </a:endParaRPr>
          </a:p>
          <a:p>
            <a:pPr marL="174573" lvl="1" indent="-115853" defTabSz="685405">
              <a:spcBef>
                <a:spcPts val="225"/>
              </a:spcBef>
              <a:spcAft>
                <a:spcPts val="200"/>
              </a:spcAft>
              <a:buClr>
                <a:prstClr val="white"/>
              </a:buClr>
              <a:buFont typeface="Arial" pitchFamily="34" charset="0"/>
              <a:buChar char="•"/>
              <a:defRPr/>
            </a:pPr>
            <a:endParaRPr lang="en-IN" sz="1200" i="1" kern="0" dirty="0">
              <a:solidFill>
                <a:prstClr val="white"/>
              </a:solidFill>
              <a:ea typeface="Segoe UI" pitchFamily="34" charset="0"/>
              <a:cs typeface="Segoe UI" pitchFamily="34" charset="0"/>
            </a:endParaRPr>
          </a:p>
        </p:txBody>
      </p:sp>
      <p:sp>
        <p:nvSpPr>
          <p:cNvPr id="18" name="TextBox 17"/>
          <p:cNvSpPr txBox="1"/>
          <p:nvPr/>
        </p:nvSpPr>
        <p:spPr>
          <a:xfrm>
            <a:off x="5109531" y="1082651"/>
            <a:ext cx="2564175" cy="399902"/>
          </a:xfrm>
          <a:prstGeom prst="rect">
            <a:avLst/>
          </a:prstGeom>
          <a:noFill/>
        </p:spPr>
        <p:txBody>
          <a:bodyPr wrap="square" lIns="0" rIns="0" rtlCol="0" anchor="ctr">
            <a:spAutoFit/>
          </a:bodyPr>
          <a:lstStyle/>
          <a:p>
            <a:pPr algn="ctr" defTabSz="609113">
              <a:defRPr/>
            </a:pPr>
            <a:r>
              <a:rPr lang="en-US" sz="1998" kern="0">
                <a:solidFill>
                  <a:srgbClr val="505050"/>
                </a:solidFill>
                <a:latin typeface="Segoe UI Semibold" panose="020B0702040204020203" pitchFamily="34" charset="0"/>
                <a:cs typeface="Segoe UI Semibold" panose="020B0702040204020203" pitchFamily="34" charset="0"/>
              </a:rPr>
              <a:t>Journey</a:t>
            </a:r>
          </a:p>
        </p:txBody>
      </p:sp>
      <p:sp>
        <p:nvSpPr>
          <p:cNvPr id="19" name="Text Placeholder 6"/>
          <p:cNvSpPr txBox="1">
            <a:spLocks/>
          </p:cNvSpPr>
          <p:nvPr/>
        </p:nvSpPr>
        <p:spPr>
          <a:xfrm>
            <a:off x="9583463" y="143852"/>
            <a:ext cx="2390467" cy="372966"/>
          </a:xfrm>
          <a:prstGeom prst="rect">
            <a:avLst/>
          </a:prstGeom>
        </p:spPr>
        <p:txBody>
          <a:bodyPr vert="horz" lIns="319957" tIns="53311" rIns="53311" bIns="53311" rtlCol="0">
            <a:noAutofit/>
          </a:bodyPr>
          <a:lstStyle>
            <a:lvl1pPr marL="0" indent="0" algn="l" defTabSz="1088105" rtl="0" eaLnBrk="1" latinLnBrk="0" hangingPunct="1">
              <a:spcBef>
                <a:spcPts val="1800"/>
              </a:spcBef>
              <a:buClr>
                <a:srgbClr val="0072C6"/>
              </a:buClr>
              <a:buSzPct val="100000"/>
              <a:buFont typeface="Wingdings" pitchFamily="2" charset="2"/>
              <a:buNone/>
              <a:defRPr sz="2800" kern="1200">
                <a:solidFill>
                  <a:schemeClr val="tx1"/>
                </a:solidFill>
                <a:latin typeface="Segoe UI Light" pitchFamily="34" charset="0"/>
                <a:ea typeface="Segoe UI" pitchFamily="34" charset="0"/>
                <a:cs typeface="Segoe UI" pitchFamily="34" charset="0"/>
              </a:defRPr>
            </a:lvl1pPr>
            <a:lvl2pPr marL="281674" indent="0" algn="l" defTabSz="1088105" rtl="0" eaLnBrk="1" latinLnBrk="0" hangingPunct="1">
              <a:spcBef>
                <a:spcPct val="20000"/>
              </a:spcBef>
              <a:buFont typeface="Arial" pitchFamily="34" charset="0"/>
              <a:buNone/>
              <a:defRPr sz="1800" kern="1200">
                <a:solidFill>
                  <a:schemeClr val="tx1"/>
                </a:solidFill>
                <a:latin typeface="Segoe UI" pitchFamily="34" charset="0"/>
                <a:ea typeface="Segoe UI" pitchFamily="34" charset="0"/>
                <a:cs typeface="Segoe UI" pitchFamily="34" charset="0"/>
              </a:defRPr>
            </a:lvl2pPr>
            <a:lvl3pPr marL="588476" indent="0" algn="l" defTabSz="1088105" rtl="0" eaLnBrk="1" latinLnBrk="0" hangingPunct="1">
              <a:spcBef>
                <a:spcPct val="20000"/>
              </a:spcBef>
              <a:buFont typeface="Arial" pitchFamily="34" charset="0"/>
              <a:buNone/>
              <a:defRPr sz="1600" kern="1200">
                <a:solidFill>
                  <a:schemeClr val="tx1"/>
                </a:solidFill>
                <a:latin typeface="Segoe UI" pitchFamily="34" charset="0"/>
                <a:ea typeface="Segoe UI" pitchFamily="34" charset="0"/>
                <a:cs typeface="Segoe UI" pitchFamily="34" charset="0"/>
              </a:defRPr>
            </a:lvl3pPr>
            <a:lvl4pPr marL="87015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4pPr>
            <a:lvl5pPr marL="110554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defTabSz="1087779">
              <a:spcBef>
                <a:spcPts val="1799"/>
              </a:spcBef>
              <a:defRPr/>
            </a:pPr>
            <a:r>
              <a:rPr lang="en-US" sz="2799"/>
              <a:t>Roadmap</a:t>
            </a:r>
          </a:p>
        </p:txBody>
      </p:sp>
    </p:spTree>
    <p:extLst>
      <p:ext uri="{BB962C8B-B14F-4D97-AF65-F5344CB8AC3E}">
        <p14:creationId xmlns:p14="http://schemas.microsoft.com/office/powerpoint/2010/main" val="29675524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p:cNvSpPr/>
          <p:nvPr>
            <p:custDataLst>
              <p:tags r:id="rId1"/>
            </p:custDataLst>
          </p:nvPr>
        </p:nvSpPr>
        <p:spPr bwMode="auto">
          <a:xfrm>
            <a:off x="3140844" y="1287490"/>
            <a:ext cx="2897440" cy="3951048"/>
          </a:xfrm>
          <a:prstGeom prst="rect">
            <a:avLst/>
          </a:prstGeom>
          <a:solidFill>
            <a:schemeClr val="tx2"/>
          </a:solidFill>
          <a:ln w="3175" cap="flat" cmpd="sng" algn="ctr">
            <a:noFill/>
            <a:prstDash val="solid"/>
            <a:round/>
            <a:headEnd type="none" w="med" len="med"/>
            <a:tailEnd type="none" w="med" len="med"/>
          </a:ln>
          <a:effectLst/>
        </p:spPr>
        <p:txBody>
          <a:bodyPr lIns="91416" tIns="91416" rIns="91416" bIns="91416" rtlCol="0" anchor="t" anchorCtr="0"/>
          <a:lstStyle/>
          <a:p>
            <a:pPr marL="0" marR="0" lvl="0" indent="0" algn="l" defTabSz="932192" rtl="0" eaLnBrk="1" fontAlgn="base" latinLnBrk="0" hangingPunct="1">
              <a:lnSpc>
                <a:spcPct val="100000"/>
              </a:lnSpc>
              <a:spcBef>
                <a:spcPts val="600"/>
              </a:spcBef>
              <a:spcAft>
                <a:spcPts val="1200"/>
              </a:spcAft>
              <a:buClrTx/>
              <a:buSzTx/>
              <a:buFontTx/>
              <a:buNone/>
              <a:tabLst/>
              <a:defRPr/>
            </a:pPr>
            <a:r>
              <a:rPr kumimoji="0" lang="en-US" sz="2399" b="0" i="0" u="none" strike="noStrike" kern="0" cap="none" spc="0" normalizeH="0" baseline="0" noProof="0" dirty="0">
                <a:ln>
                  <a:noFill/>
                </a:ln>
                <a:solidFill>
                  <a:prstClr val="white"/>
                </a:solidFill>
                <a:effectLst/>
                <a:uLnTx/>
                <a:uFillTx/>
                <a:latin typeface="Segoe UI Light"/>
                <a:ea typeface="+mn-ea"/>
                <a:cs typeface="+mn-cs"/>
              </a:rPr>
              <a:t>Challenge</a:t>
            </a:r>
          </a:p>
          <a:p>
            <a:pPr marL="285750" lvl="0" indent="-285750" defTabSz="914126">
              <a:buFont typeface="Arial" panose="020B0604020202020204" pitchFamily="34" charset="0"/>
              <a:buChar char="•"/>
              <a:defRPr/>
            </a:pPr>
            <a:r>
              <a:rPr lang="en-US" sz="1600" kern="0" dirty="0">
                <a:solidFill>
                  <a:prstClr val="white"/>
                </a:solidFill>
              </a:rPr>
              <a:t>Sharing information between manufacturing sites.</a:t>
            </a:r>
          </a:p>
          <a:p>
            <a:pPr marL="285750" lvl="0" indent="-285750" defTabSz="914126">
              <a:buFont typeface="Arial" panose="020B0604020202020204" pitchFamily="34" charset="0"/>
              <a:buChar char="•"/>
              <a:defRPr/>
            </a:pPr>
            <a:r>
              <a:rPr lang="en-US" sz="1600" kern="0" dirty="0">
                <a:solidFill>
                  <a:prstClr val="white"/>
                </a:solidFill>
              </a:rPr>
              <a:t>Supporting global customers who need different products to be built at multiple locations, based on current market conditions. </a:t>
            </a:r>
          </a:p>
        </p:txBody>
      </p:sp>
      <p:sp>
        <p:nvSpPr>
          <p:cNvPr id="31" name="Rectangle 30"/>
          <p:cNvSpPr/>
          <p:nvPr>
            <p:custDataLst>
              <p:tags r:id="rId2"/>
            </p:custDataLst>
          </p:nvPr>
        </p:nvSpPr>
        <p:spPr bwMode="auto">
          <a:xfrm>
            <a:off x="6062961" y="1295955"/>
            <a:ext cx="2897440" cy="3951048"/>
          </a:xfrm>
          <a:prstGeom prst="rect">
            <a:avLst/>
          </a:prstGeom>
          <a:solidFill>
            <a:schemeClr val="accent1"/>
          </a:solidFill>
          <a:ln w="3175" cap="flat" cmpd="sng" algn="ctr">
            <a:noFill/>
            <a:prstDash val="solid"/>
            <a:round/>
            <a:headEnd type="none" w="med" len="med"/>
            <a:tailEnd type="none" w="med" len="med"/>
          </a:ln>
          <a:effectLst/>
        </p:spPr>
        <p:txBody>
          <a:bodyPr lIns="137124" tIns="91416" rIns="137124" bIns="91416" rtlCol="0" anchor="t" anchorCtr="0"/>
          <a:lstStyle/>
          <a:p>
            <a:pPr marL="0" marR="0" lvl="0" indent="0" algn="l" defTabSz="914126" rtl="0" eaLnBrk="1" fontAlgn="auto" latinLnBrk="0" hangingPunct="1">
              <a:lnSpc>
                <a:spcPct val="100000"/>
              </a:lnSpc>
              <a:spcBef>
                <a:spcPts val="600"/>
              </a:spcBef>
              <a:spcAft>
                <a:spcPts val="1200"/>
              </a:spcAft>
              <a:buClrTx/>
              <a:buSzTx/>
              <a:buFontTx/>
              <a:buNone/>
              <a:tabLst/>
              <a:defRPr/>
            </a:pPr>
            <a:r>
              <a:rPr kumimoji="0" lang="en-US" sz="2399" b="0" i="0" u="none" strike="noStrike" kern="0" cap="none" spc="0" normalizeH="0" baseline="0" noProof="0" dirty="0">
                <a:ln>
                  <a:noFill/>
                </a:ln>
                <a:solidFill>
                  <a:prstClr val="white"/>
                </a:solidFill>
                <a:effectLst/>
                <a:uLnTx/>
                <a:uFillTx/>
                <a:latin typeface="Segoe UI Light"/>
                <a:ea typeface="+mn-ea"/>
                <a:cs typeface="+mn-cs"/>
              </a:rPr>
              <a:t>Strategy</a:t>
            </a:r>
          </a:p>
          <a:p>
            <a:pPr lvl="0" defTabSz="914126">
              <a:defRPr/>
            </a:pPr>
            <a:r>
              <a:rPr lang="en-US" sz="1600" kern="0" dirty="0">
                <a:solidFill>
                  <a:prstClr val="white"/>
                </a:solidFill>
              </a:rPr>
              <a:t>The company adopted mobile-ready, cloud-based communication and collaboration tools to share expertise, design products, and maintain forecasts and delivery schedules. </a:t>
            </a:r>
          </a:p>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Segoe UI"/>
              <a:ea typeface="+mn-ea"/>
              <a:cs typeface="+mn-cs"/>
            </a:endParaRPr>
          </a:p>
        </p:txBody>
      </p:sp>
      <p:sp>
        <p:nvSpPr>
          <p:cNvPr id="32" name="Rectangle 31"/>
          <p:cNvSpPr/>
          <p:nvPr>
            <p:custDataLst>
              <p:tags r:id="rId3"/>
            </p:custDataLst>
          </p:nvPr>
        </p:nvSpPr>
        <p:spPr bwMode="auto">
          <a:xfrm>
            <a:off x="9027401" y="1287490"/>
            <a:ext cx="2897440" cy="3951048"/>
          </a:xfrm>
          <a:prstGeom prst="rect">
            <a:avLst/>
          </a:prstGeom>
          <a:solidFill>
            <a:schemeClr val="accent2"/>
          </a:solidFill>
          <a:ln w="3175" cap="flat" cmpd="sng" algn="ctr">
            <a:noFill/>
            <a:prstDash val="solid"/>
            <a:round/>
            <a:headEnd type="none" w="med" len="med"/>
            <a:tailEnd type="none" w="med" len="med"/>
          </a:ln>
          <a:effectLst/>
        </p:spPr>
        <p:txBody>
          <a:bodyPr lIns="137124" tIns="91416" rIns="137124" bIns="91416" rtlCol="0" anchor="t" anchorCtr="0"/>
          <a:lstStyle/>
          <a:p>
            <a:pPr marL="0" marR="0" lvl="0" indent="0" algn="l" defTabSz="932192" rtl="0" eaLnBrk="1" fontAlgn="base" latinLnBrk="0" hangingPunct="1">
              <a:lnSpc>
                <a:spcPct val="100000"/>
              </a:lnSpc>
              <a:spcBef>
                <a:spcPts val="600"/>
              </a:spcBef>
              <a:spcAft>
                <a:spcPts val="1200"/>
              </a:spcAft>
              <a:buClrTx/>
              <a:buSzTx/>
              <a:buFontTx/>
              <a:buNone/>
              <a:tabLst/>
              <a:defRPr/>
            </a:pPr>
            <a:r>
              <a:rPr kumimoji="0" lang="en-US" sz="2399" b="0" i="0" u="none" strike="noStrike" kern="0" cap="none" spc="0" normalizeH="0" baseline="0" noProof="0" dirty="0">
                <a:ln>
                  <a:noFill/>
                </a:ln>
                <a:solidFill>
                  <a:srgbClr val="000000"/>
                </a:solidFill>
                <a:effectLst/>
                <a:uLnTx/>
                <a:uFillTx/>
                <a:latin typeface="Segoe UI Light"/>
                <a:ea typeface="Segoe UI" pitchFamily="34" charset="0"/>
                <a:cs typeface="Segoe UI" pitchFamily="34" charset="0"/>
              </a:rPr>
              <a:t>Results</a:t>
            </a:r>
          </a:p>
          <a:p>
            <a:pPr marL="233149" indent="-173243" defTabSz="950846" fontAlgn="base">
              <a:spcAft>
                <a:spcPts val="306"/>
              </a:spcAft>
              <a:buFont typeface="Arial" panose="020B0604020202020204" pitchFamily="34" charset="0"/>
              <a:buChar char="•"/>
              <a:defRPr/>
            </a:pPr>
            <a:r>
              <a:rPr lang="en-US" sz="1600" kern="0" dirty="0">
                <a:solidFill>
                  <a:sysClr val="windowText" lastClr="000000"/>
                </a:solidFill>
                <a:latin typeface="Segoe UI" panose="020B0502040204020203" pitchFamily="34" charset="0"/>
                <a:cs typeface="Segoe UI" panose="020B0502040204020203" pitchFamily="34" charset="0"/>
              </a:rPr>
              <a:t>Improved communication and consistency</a:t>
            </a:r>
          </a:p>
          <a:p>
            <a:pPr marL="233149" indent="-173243" defTabSz="950846" fontAlgn="base">
              <a:spcAft>
                <a:spcPts val="306"/>
              </a:spcAft>
              <a:buFont typeface="Arial" panose="020B0604020202020204" pitchFamily="34" charset="0"/>
              <a:buChar char="•"/>
              <a:defRPr/>
            </a:pPr>
            <a:r>
              <a:rPr lang="en-US" sz="1600" kern="0" dirty="0">
                <a:solidFill>
                  <a:sysClr val="windowText" lastClr="000000"/>
                </a:solidFill>
                <a:latin typeface="Segoe UI" panose="020B0502040204020203" pitchFamily="34" charset="0"/>
                <a:cs typeface="Segoe UI" panose="020B0502040204020203" pitchFamily="34" charset="0"/>
              </a:rPr>
              <a:t>Secure access to documents and information</a:t>
            </a:r>
          </a:p>
          <a:p>
            <a:pPr marL="233149" indent="-173243" defTabSz="950846" fontAlgn="base">
              <a:spcAft>
                <a:spcPts val="306"/>
              </a:spcAft>
              <a:buFont typeface="Arial" panose="020B0604020202020204" pitchFamily="34" charset="0"/>
              <a:buChar char="•"/>
              <a:defRPr/>
            </a:pPr>
            <a:r>
              <a:rPr lang="en-US" sz="1600" kern="0" dirty="0">
                <a:solidFill>
                  <a:sysClr val="windowText" lastClr="000000"/>
                </a:solidFill>
                <a:latin typeface="Segoe UI" panose="020B0502040204020203" pitchFamily="34" charset="0"/>
                <a:cs typeface="Segoe UI" panose="020B0502040204020203" pitchFamily="34" charset="0"/>
              </a:rPr>
              <a:t>Increased efficiency</a:t>
            </a:r>
          </a:p>
          <a:p>
            <a:pPr marL="233149" indent="-173243" defTabSz="950846" fontAlgn="base">
              <a:spcAft>
                <a:spcPts val="306"/>
              </a:spcAft>
              <a:buFont typeface="Arial" panose="020B0604020202020204" pitchFamily="34" charset="0"/>
              <a:buChar char="•"/>
              <a:defRPr/>
            </a:pPr>
            <a:r>
              <a:rPr lang="en-US" sz="1600" kern="0" dirty="0">
                <a:solidFill>
                  <a:sysClr val="windowText" lastClr="000000"/>
                </a:solidFill>
                <a:latin typeface="Segoe UI" panose="020B0502040204020203" pitchFamily="34" charset="0"/>
                <a:cs typeface="Segoe UI" panose="020B0502040204020203" pitchFamily="34" charset="0"/>
              </a:rPr>
              <a:t>Increased unification of workforce</a:t>
            </a:r>
          </a:p>
          <a:p>
            <a:pPr marL="233149" indent="-173243" defTabSz="950846" fontAlgn="base">
              <a:spcAft>
                <a:spcPts val="306"/>
              </a:spcAft>
              <a:buFont typeface="Arial" panose="020B0604020202020204" pitchFamily="34" charset="0"/>
              <a:buChar char="•"/>
              <a:defRPr/>
            </a:pPr>
            <a:endParaRPr lang="en-US" sz="1600" kern="0" dirty="0">
              <a:solidFill>
                <a:sysClr val="windowText" lastClr="000000"/>
              </a:solidFill>
              <a:latin typeface="Segoe UI" panose="020B0502040204020203" pitchFamily="34" charset="0"/>
              <a:cs typeface="Segoe UI" panose="020B0502040204020203" pitchFamily="34" charset="0"/>
            </a:endParaRPr>
          </a:p>
        </p:txBody>
      </p:sp>
      <p:sp>
        <p:nvSpPr>
          <p:cNvPr id="33" name="Rectangle 32"/>
          <p:cNvSpPr/>
          <p:nvPr/>
        </p:nvSpPr>
        <p:spPr>
          <a:xfrm>
            <a:off x="303133" y="5247003"/>
            <a:ext cx="11579385" cy="122346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t" anchorCtr="0" forceAA="0" compatLnSpc="1">
            <a:prstTxWarp prst="textNoShape">
              <a:avLst/>
            </a:prstTxWarp>
            <a:no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05050"/>
              </a:solidFill>
              <a:effectLst/>
              <a:uLnTx/>
              <a:uFillTx/>
              <a:latin typeface="Segoe UI"/>
              <a:ea typeface="+mn-ea"/>
              <a:cs typeface="+mn-cs"/>
            </a:endParaRPr>
          </a:p>
        </p:txBody>
      </p:sp>
      <p:sp>
        <p:nvSpPr>
          <p:cNvPr id="34" name="Subtitle 2"/>
          <p:cNvSpPr txBox="1">
            <a:spLocks/>
          </p:cNvSpPr>
          <p:nvPr/>
        </p:nvSpPr>
        <p:spPr>
          <a:xfrm>
            <a:off x="303139" y="1295955"/>
            <a:ext cx="2742485" cy="3942583"/>
          </a:xfrm>
          <a:prstGeom prst="rect">
            <a:avLst/>
          </a:prstGeom>
          <a:solidFill>
            <a:schemeClr val="bg2"/>
          </a:solidFill>
        </p:spPr>
        <p:txBody>
          <a:bodyPr lIns="91416" tIns="45708" rIns="91416" bIns="45708">
            <a:noAutofit/>
          </a:bodyPr>
          <a:lstStyle>
            <a:lvl1pPr marL="0" indent="0" algn="l" defTabSz="1088105" rtl="0" eaLnBrk="1" latinLnBrk="0" hangingPunct="1">
              <a:lnSpc>
                <a:spcPct val="80000"/>
              </a:lnSpc>
              <a:spcBef>
                <a:spcPct val="20000"/>
              </a:spcBef>
              <a:buClr>
                <a:schemeClr val="tx1"/>
              </a:buClr>
              <a:buSzPct val="100000"/>
              <a:buFont typeface="Wingdings" pitchFamily="2" charset="2"/>
              <a:buNone/>
              <a:defRPr sz="1600" kern="1200">
                <a:solidFill>
                  <a:srgbClr val="FFFFFF"/>
                </a:solidFill>
                <a:latin typeface="Segoe UI" pitchFamily="34" charset="0"/>
                <a:ea typeface="Segoe UI" pitchFamily="34" charset="0"/>
                <a:cs typeface="Segoe UI" pitchFamily="34" charset="0"/>
              </a:defRPr>
            </a:lvl1pPr>
            <a:lvl2pPr marL="544053" indent="0" algn="ctr" defTabSz="1088105" rtl="0" eaLnBrk="1" latinLnBrk="0" hangingPunct="1">
              <a:spcBef>
                <a:spcPct val="20000"/>
              </a:spcBef>
              <a:buFont typeface="Arial" pitchFamily="34" charset="0"/>
              <a:buNone/>
              <a:defRPr sz="1400" kern="1200">
                <a:solidFill>
                  <a:schemeClr val="tx1">
                    <a:tint val="75000"/>
                  </a:schemeClr>
                </a:solidFill>
                <a:latin typeface="Segoe UI" pitchFamily="34" charset="0"/>
                <a:ea typeface="Segoe UI" pitchFamily="34" charset="0"/>
                <a:cs typeface="Segoe UI" pitchFamily="34" charset="0"/>
              </a:defRPr>
            </a:lvl2pPr>
            <a:lvl3pPr marL="1088105" indent="0" algn="ctr" defTabSz="1088105" rtl="0" eaLnBrk="1" latinLnBrk="0" hangingPunct="1">
              <a:spcBef>
                <a:spcPct val="20000"/>
              </a:spcBef>
              <a:buFont typeface="Arial" pitchFamily="34" charset="0"/>
              <a:buNone/>
              <a:defRPr sz="1200" kern="1200">
                <a:solidFill>
                  <a:schemeClr val="tx1">
                    <a:tint val="75000"/>
                  </a:schemeClr>
                </a:solidFill>
                <a:latin typeface="Segoe UI" pitchFamily="34" charset="0"/>
                <a:ea typeface="Segoe UI" pitchFamily="34" charset="0"/>
                <a:cs typeface="Segoe UI" pitchFamily="34" charset="0"/>
              </a:defRPr>
            </a:lvl3pPr>
            <a:lvl4pPr marL="1632159" indent="0" algn="ctr" defTabSz="1088105" rtl="0" eaLnBrk="1" latinLnBrk="0" hangingPunct="1">
              <a:spcBef>
                <a:spcPct val="20000"/>
              </a:spcBef>
              <a:buFont typeface="Arial" pitchFamily="34" charset="0"/>
              <a:buNone/>
              <a:defRPr sz="1100" kern="1200">
                <a:solidFill>
                  <a:schemeClr val="tx1">
                    <a:tint val="75000"/>
                  </a:schemeClr>
                </a:solidFill>
                <a:latin typeface="Segoe UI" pitchFamily="34" charset="0"/>
                <a:ea typeface="Segoe UI" pitchFamily="34" charset="0"/>
                <a:cs typeface="Segoe UI" pitchFamily="34" charset="0"/>
              </a:defRPr>
            </a:lvl4pPr>
            <a:lvl5pPr marL="2176211" indent="0" algn="ctr" defTabSz="1088105" rtl="0" eaLnBrk="1" latinLnBrk="0" hangingPunct="1">
              <a:spcBef>
                <a:spcPct val="20000"/>
              </a:spcBef>
              <a:buFont typeface="Arial" pitchFamily="34" charset="0"/>
              <a:buNone/>
              <a:defRPr sz="1100" kern="1200">
                <a:solidFill>
                  <a:schemeClr val="tx1">
                    <a:tint val="75000"/>
                  </a:schemeClr>
                </a:solidFill>
                <a:latin typeface="Segoe UI" pitchFamily="34" charset="0"/>
                <a:ea typeface="Segoe UI" pitchFamily="34" charset="0"/>
                <a:cs typeface="Segoe UI" pitchFamily="34" charset="0"/>
              </a:defRPr>
            </a:lvl5pPr>
            <a:lvl6pPr marL="2720264" indent="0" algn="ctr" defTabSz="1088105" rtl="0" eaLnBrk="1" latinLnBrk="0" hangingPunct="1">
              <a:spcBef>
                <a:spcPct val="20000"/>
              </a:spcBef>
              <a:buFont typeface="Arial" pitchFamily="34" charset="0"/>
              <a:buNone/>
              <a:defRPr sz="2500" kern="1200">
                <a:solidFill>
                  <a:schemeClr val="tx1">
                    <a:tint val="75000"/>
                  </a:schemeClr>
                </a:solidFill>
                <a:latin typeface="+mn-lt"/>
                <a:ea typeface="+mn-ea"/>
                <a:cs typeface="+mn-cs"/>
              </a:defRPr>
            </a:lvl6pPr>
            <a:lvl7pPr marL="3264316" indent="0" algn="ctr" defTabSz="1088105" rtl="0" eaLnBrk="1" latinLnBrk="0" hangingPunct="1">
              <a:spcBef>
                <a:spcPct val="20000"/>
              </a:spcBef>
              <a:buFont typeface="Arial" pitchFamily="34" charset="0"/>
              <a:buNone/>
              <a:defRPr sz="2500" kern="1200">
                <a:solidFill>
                  <a:schemeClr val="tx1">
                    <a:tint val="75000"/>
                  </a:schemeClr>
                </a:solidFill>
                <a:latin typeface="+mn-lt"/>
                <a:ea typeface="+mn-ea"/>
                <a:cs typeface="+mn-cs"/>
              </a:defRPr>
            </a:lvl7pPr>
            <a:lvl8pPr marL="3808369" indent="0" algn="ctr" defTabSz="1088105" rtl="0" eaLnBrk="1" latinLnBrk="0" hangingPunct="1">
              <a:spcBef>
                <a:spcPct val="20000"/>
              </a:spcBef>
              <a:buFont typeface="Arial" pitchFamily="34" charset="0"/>
              <a:buNone/>
              <a:defRPr sz="2500" kern="1200">
                <a:solidFill>
                  <a:schemeClr val="tx1">
                    <a:tint val="75000"/>
                  </a:schemeClr>
                </a:solidFill>
                <a:latin typeface="+mn-lt"/>
                <a:ea typeface="+mn-ea"/>
                <a:cs typeface="+mn-cs"/>
              </a:defRPr>
            </a:lvl8pPr>
            <a:lvl9pPr marL="4352422" indent="0" algn="ctr" defTabSz="1088105" rtl="0" eaLnBrk="1" latinLnBrk="0" hangingPunct="1">
              <a:spcBef>
                <a:spcPct val="20000"/>
              </a:spcBef>
              <a:buFont typeface="Arial" pitchFamily="34" charset="0"/>
              <a:buNone/>
              <a:defRPr sz="2500" kern="1200">
                <a:solidFill>
                  <a:schemeClr val="tx1">
                    <a:tint val="75000"/>
                  </a:schemeClr>
                </a:solidFill>
                <a:latin typeface="+mn-lt"/>
                <a:ea typeface="+mn-ea"/>
                <a:cs typeface="+mn-cs"/>
              </a:defRPr>
            </a:lvl9pPr>
          </a:lstStyle>
          <a:p>
            <a:pPr marL="0" marR="0" lvl="0" indent="0" algn="l" defTabSz="1087779" rtl="0" eaLnBrk="1" fontAlgn="auto" latinLnBrk="0" hangingPunct="1">
              <a:lnSpc>
                <a:spcPct val="100000"/>
              </a:lnSpc>
              <a:spcBef>
                <a:spcPts val="600"/>
              </a:spcBef>
              <a:spcAft>
                <a:spcPts val="0"/>
              </a:spcAft>
              <a:buClr>
                <a:srgbClr val="505050"/>
              </a:buClr>
              <a:buSzPct val="100000"/>
              <a:buFont typeface="Wingdings" pitchFamily="2" charset="2"/>
              <a:buNone/>
              <a:tabLst/>
              <a:defRPr/>
            </a:pPr>
            <a:r>
              <a:rPr kumimoji="0" lang="en-US" sz="2399" b="0" i="0" u="none" strike="noStrike" kern="1200" cap="none" spc="0" normalizeH="0" baseline="0" noProof="0" dirty="0">
                <a:ln>
                  <a:noFill/>
                </a:ln>
                <a:solidFill>
                  <a:srgbClr val="FFFFFF"/>
                </a:solidFill>
                <a:effectLst/>
                <a:uLnTx/>
                <a:uFillTx/>
                <a:latin typeface="Segoe UI Light" pitchFamily="34" charset="0"/>
                <a:cs typeface="Segoe UI" pitchFamily="34" charset="0"/>
              </a:rPr>
              <a:t>Integrated Supply Chain</a:t>
            </a:r>
          </a:p>
        </p:txBody>
      </p:sp>
      <p:sp>
        <p:nvSpPr>
          <p:cNvPr id="20" name="Title 1"/>
          <p:cNvSpPr>
            <a:spLocks noGrp="1"/>
          </p:cNvSpPr>
          <p:nvPr>
            <p:ph type="title"/>
          </p:nvPr>
        </p:nvSpPr>
        <p:spPr>
          <a:xfrm>
            <a:off x="0" y="895"/>
            <a:ext cx="12188825" cy="645874"/>
          </a:xfrm>
        </p:spPr>
        <p:txBody>
          <a:bodyPr/>
          <a:lstStyle/>
          <a:p>
            <a:r>
              <a:rPr lang="en-US" dirty="0"/>
              <a:t>A Manufacturing Solutions Company</a:t>
            </a:r>
          </a:p>
        </p:txBody>
      </p:sp>
      <p:sp>
        <p:nvSpPr>
          <p:cNvPr id="21" name="Text Placeholder 2"/>
          <p:cNvSpPr>
            <a:spLocks noGrp="1"/>
          </p:cNvSpPr>
          <p:nvPr>
            <p:ph type="body" sz="quarter" idx="13"/>
          </p:nvPr>
        </p:nvSpPr>
        <p:spPr>
          <a:xfrm>
            <a:off x="0" y="574349"/>
            <a:ext cx="12188825" cy="372966"/>
          </a:xfrm>
        </p:spPr>
        <p:txBody>
          <a:bodyPr/>
          <a:lstStyle/>
          <a:p>
            <a:r>
              <a:rPr lang="en-US" sz="2400" dirty="0"/>
              <a:t>Reducing costs and transforming services</a:t>
            </a:r>
            <a:endParaRPr lang="en-IN" sz="2399" i="1" dirty="0"/>
          </a:p>
        </p:txBody>
      </p:sp>
      <p:sp>
        <p:nvSpPr>
          <p:cNvPr id="24" name="Text Placeholder 6"/>
          <p:cNvSpPr txBox="1">
            <a:spLocks/>
          </p:cNvSpPr>
          <p:nvPr/>
        </p:nvSpPr>
        <p:spPr>
          <a:xfrm>
            <a:off x="9141618" y="143852"/>
            <a:ext cx="2832312" cy="372966"/>
          </a:xfrm>
          <a:prstGeom prst="rect">
            <a:avLst/>
          </a:prstGeom>
        </p:spPr>
        <p:txBody>
          <a:bodyPr vert="horz" lIns="319957" tIns="53311" rIns="53311" bIns="53311" rtlCol="0">
            <a:noAutofit/>
          </a:bodyPr>
          <a:lstStyle>
            <a:lvl1pPr marL="0" indent="0" algn="l" defTabSz="1088105" rtl="0" eaLnBrk="1" latinLnBrk="0" hangingPunct="1">
              <a:spcBef>
                <a:spcPts val="1800"/>
              </a:spcBef>
              <a:buClr>
                <a:srgbClr val="0072C6"/>
              </a:buClr>
              <a:buSzPct val="100000"/>
              <a:buFont typeface="Wingdings" pitchFamily="2" charset="2"/>
              <a:buNone/>
              <a:defRPr sz="2800" kern="1200">
                <a:solidFill>
                  <a:schemeClr val="tx1"/>
                </a:solidFill>
                <a:latin typeface="Segoe UI Light" pitchFamily="34" charset="0"/>
                <a:ea typeface="Segoe UI" pitchFamily="34" charset="0"/>
                <a:cs typeface="Segoe UI" pitchFamily="34" charset="0"/>
              </a:defRPr>
            </a:lvl1pPr>
            <a:lvl2pPr marL="281674" indent="0" algn="l" defTabSz="1088105" rtl="0" eaLnBrk="1" latinLnBrk="0" hangingPunct="1">
              <a:spcBef>
                <a:spcPct val="20000"/>
              </a:spcBef>
              <a:buFont typeface="Arial" pitchFamily="34" charset="0"/>
              <a:buNone/>
              <a:defRPr sz="1800" kern="1200">
                <a:solidFill>
                  <a:schemeClr val="tx1"/>
                </a:solidFill>
                <a:latin typeface="Segoe UI" pitchFamily="34" charset="0"/>
                <a:ea typeface="Segoe UI" pitchFamily="34" charset="0"/>
                <a:cs typeface="Segoe UI" pitchFamily="34" charset="0"/>
              </a:defRPr>
            </a:lvl2pPr>
            <a:lvl3pPr marL="588476" indent="0" algn="l" defTabSz="1088105" rtl="0" eaLnBrk="1" latinLnBrk="0" hangingPunct="1">
              <a:spcBef>
                <a:spcPct val="20000"/>
              </a:spcBef>
              <a:buFont typeface="Arial" pitchFamily="34" charset="0"/>
              <a:buNone/>
              <a:defRPr sz="1600" kern="1200">
                <a:solidFill>
                  <a:schemeClr val="tx1"/>
                </a:solidFill>
                <a:latin typeface="Segoe UI" pitchFamily="34" charset="0"/>
                <a:ea typeface="Segoe UI" pitchFamily="34" charset="0"/>
                <a:cs typeface="Segoe UI" pitchFamily="34" charset="0"/>
              </a:defRPr>
            </a:lvl3pPr>
            <a:lvl4pPr marL="87015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4pPr>
            <a:lvl5pPr marL="110554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marL="0" marR="0" lvl="0" indent="0" algn="l" defTabSz="1087779" rtl="0" eaLnBrk="1" fontAlgn="auto" latinLnBrk="0" hangingPunct="1">
              <a:lnSpc>
                <a:spcPct val="100000"/>
              </a:lnSpc>
              <a:spcBef>
                <a:spcPts val="1799"/>
              </a:spcBef>
              <a:spcAft>
                <a:spcPts val="0"/>
              </a:spcAft>
              <a:buClr>
                <a:srgbClr val="0072C6"/>
              </a:buClr>
              <a:buSzPct val="100000"/>
              <a:buFont typeface="Wingdings" pitchFamily="2" charset="2"/>
              <a:buNone/>
              <a:tabLst/>
              <a:defRPr/>
            </a:pPr>
            <a:r>
              <a:rPr kumimoji="0" lang="en-US" sz="2799" b="0" i="0" u="none" strike="noStrike" kern="1200" cap="none" spc="0" normalizeH="0" baseline="0" noProof="0" dirty="0">
                <a:ln>
                  <a:noFill/>
                </a:ln>
                <a:solidFill>
                  <a:srgbClr val="505050"/>
                </a:solidFill>
                <a:effectLst/>
                <a:uLnTx/>
                <a:uFillTx/>
                <a:latin typeface="Segoe UI Light" pitchFamily="34" charset="0"/>
                <a:cs typeface="Segoe UI" pitchFamily="34" charset="0"/>
              </a:rPr>
              <a:t>Customer Story</a:t>
            </a:r>
          </a:p>
        </p:txBody>
      </p:sp>
    </p:spTree>
    <p:extLst>
      <p:ext uri="{BB962C8B-B14F-4D97-AF65-F5344CB8AC3E}">
        <p14:creationId xmlns:p14="http://schemas.microsoft.com/office/powerpoint/2010/main" val="39158575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50813" y="1406237"/>
            <a:ext cx="11887200" cy="1822988"/>
          </a:xfrm>
        </p:spPr>
        <p:txBody>
          <a:bodyPr>
            <a:normAutofit/>
          </a:bodyPr>
          <a:lstStyle/>
          <a:p>
            <a:r>
              <a:rPr lang="en-US" sz="7200" dirty="0">
                <a:cs typeface="Segoe UI Light" panose="020B0502040204020203" pitchFamily="34" charset="0"/>
              </a:rPr>
              <a:t>Transform Products/ Services</a:t>
            </a:r>
          </a:p>
        </p:txBody>
      </p:sp>
      <p:sp>
        <p:nvSpPr>
          <p:cNvPr id="7" name="Freeform 73"/>
          <p:cNvSpPr>
            <a:spLocks noChangeAspect="1" noEditPoints="1"/>
          </p:cNvSpPr>
          <p:nvPr/>
        </p:nvSpPr>
        <p:spPr bwMode="black">
          <a:xfrm>
            <a:off x="10348022" y="5100991"/>
            <a:ext cx="1386777" cy="1338749"/>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tx1"/>
          </a:solidFill>
          <a:ln>
            <a:noFill/>
          </a:ln>
        </p:spPr>
        <p:txBody>
          <a:bodyPr vert="horz" wrap="square" lIns="82305" tIns="41153" rIns="82305" bIns="41153" numCol="1" anchor="t" anchorCtr="0" compatLnSpc="1">
            <a:prstTxWarp prst="textNoShape">
              <a:avLst/>
            </a:prstTxWarp>
          </a:bodyPr>
          <a:lstStyle/>
          <a:p>
            <a:pPr marL="0" marR="0" lvl="0" indent="0" algn="l" defTabSz="914241"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sp>
        <p:nvSpPr>
          <p:cNvPr id="5" name="Title 3"/>
          <p:cNvSpPr txBox="1">
            <a:spLocks/>
          </p:cNvSpPr>
          <p:nvPr/>
        </p:nvSpPr>
        <p:spPr>
          <a:xfrm>
            <a:off x="150853" y="215287"/>
            <a:ext cx="11890296" cy="1822988"/>
          </a:xfrm>
          <a:prstGeom prst="rect">
            <a:avLst/>
          </a:prstGeom>
          <a:noFill/>
        </p:spPr>
        <p:txBody>
          <a:bodyPr vert="horz" lIns="137160" tIns="137160" rIns="137160" bIns="137160" rtlCol="0" anchor="t" anchorCtr="0">
            <a:noAutofit/>
          </a:bodyPr>
          <a:lstStyle>
            <a:lvl1pPr marL="0" algn="l" defTabSz="1088105" rtl="0" eaLnBrk="1" latinLnBrk="0" hangingPunct="1">
              <a:lnSpc>
                <a:spcPct val="90000"/>
              </a:lnSpc>
              <a:spcBef>
                <a:spcPct val="0"/>
              </a:spcBef>
              <a:buNone/>
              <a:defRPr lang="en-US" sz="8600" kern="1200" spc="-98" baseline="0">
                <a:solidFill>
                  <a:schemeClr val="tx1"/>
                </a:solidFill>
                <a:latin typeface="Segoe UI Light" pitchFamily="34" charset="0"/>
                <a:ea typeface="Segoe UI" pitchFamily="34" charset="0"/>
                <a:cs typeface="Segoe UI" pitchFamily="34" charset="0"/>
              </a:defRPr>
            </a:lvl1pPr>
          </a:lstStyle>
          <a:p>
            <a:pPr marL="0" marR="0" lvl="0" indent="0" algn="l" defTabSz="1088105"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98" normalizeH="0" baseline="0" noProof="0">
                <a:ln>
                  <a:noFill/>
                </a:ln>
                <a:solidFill>
                  <a:prstClr val="white"/>
                </a:solidFill>
                <a:effectLst/>
                <a:uLnTx/>
                <a:uFillTx/>
                <a:latin typeface="Segoe UI Light" pitchFamily="34" charset="0"/>
                <a:cs typeface="Segoe UI" pitchFamily="34" charset="0"/>
              </a:rPr>
              <a:t>Automotive Book of Dreams</a:t>
            </a:r>
          </a:p>
        </p:txBody>
      </p:sp>
    </p:spTree>
    <p:extLst>
      <p:ext uri="{BB962C8B-B14F-4D97-AF65-F5344CB8AC3E}">
        <p14:creationId xmlns:p14="http://schemas.microsoft.com/office/powerpoint/2010/main" val="28918853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b="697"/>
          <a:stretch/>
        </p:blipFill>
        <p:spPr>
          <a:xfrm>
            <a:off x="1588" y="893"/>
            <a:ext cx="12185651" cy="6856214"/>
          </a:xfrm>
          <a:prstGeom prst="rect">
            <a:avLst/>
          </a:prstGeom>
          <a:noFill/>
          <a:ln>
            <a:noFill/>
          </a:ln>
        </p:spPr>
      </p:pic>
      <p:sp>
        <p:nvSpPr>
          <p:cNvPr id="2" name="Title 1"/>
          <p:cNvSpPr>
            <a:spLocks noGrp="1"/>
          </p:cNvSpPr>
          <p:nvPr>
            <p:ph type="title"/>
          </p:nvPr>
        </p:nvSpPr>
        <p:spPr/>
        <p:txBody>
          <a:bodyPr/>
          <a:lstStyle/>
          <a:p>
            <a:r>
              <a:rPr lang="en-US" dirty="0"/>
              <a:t>Imagine if…</a:t>
            </a:r>
          </a:p>
        </p:txBody>
      </p:sp>
      <p:sp>
        <p:nvSpPr>
          <p:cNvPr id="8" name="Rectangle 7"/>
          <p:cNvSpPr/>
          <p:nvPr/>
        </p:nvSpPr>
        <p:spPr>
          <a:xfrm>
            <a:off x="304722" y="1307984"/>
            <a:ext cx="5331023" cy="5180251"/>
          </a:xfrm>
          <a:prstGeom prst="rect">
            <a:avLst/>
          </a:prstGeom>
          <a:solidFill>
            <a:schemeClr val="tx2">
              <a:alpha val="89000"/>
            </a:schemeClr>
          </a:solidFill>
        </p:spPr>
        <p:txBody>
          <a:bodyPr wrap="square" lIns="137124" tIns="91416" rIns="137124" bIns="91416">
            <a:noAutofit/>
          </a:bodyPr>
          <a:lstStyle/>
          <a:p>
            <a:pPr lvl="0" defTabSz="1087779">
              <a:spcBef>
                <a:spcPts val="600"/>
              </a:spcBef>
              <a:defRPr/>
            </a:pPr>
            <a:r>
              <a:rPr lang="en-US" sz="2800" dirty="0">
                <a:solidFill>
                  <a:prstClr val="white"/>
                </a:solidFill>
              </a:rPr>
              <a:t>Imagine if you could seamlessly be a part of the touchpoints of your customers’ lifestyles with innovative products and services integrated from a broad digital ecosystem.</a:t>
            </a:r>
          </a:p>
        </p:txBody>
      </p:sp>
      <p:sp>
        <p:nvSpPr>
          <p:cNvPr id="3" name="Slide Number Placeholder 2"/>
          <p:cNvSpPr>
            <a:spLocks noGrp="1"/>
          </p:cNvSpPr>
          <p:nvPr>
            <p:ph type="sldNum" sz="quarter" idx="15"/>
          </p:nvPr>
        </p:nvSpPr>
        <p:spPr/>
        <p:txBody>
          <a:bodyPr/>
          <a:lstStyle/>
          <a:p>
            <a:pPr marL="0" marR="0" lvl="0" indent="0" algn="l" defTabSz="1087779" rtl="0" eaLnBrk="1" fontAlgn="auto" latinLnBrk="0" hangingPunct="1">
              <a:lnSpc>
                <a:spcPct val="100000"/>
              </a:lnSpc>
              <a:spcBef>
                <a:spcPts val="0"/>
              </a:spcBef>
              <a:spcAft>
                <a:spcPts val="0"/>
              </a:spcAft>
              <a:buClrTx/>
              <a:buSzTx/>
              <a:buFontTx/>
              <a:buNone/>
              <a:tabLst/>
              <a:defRPr/>
            </a:pPr>
            <a:r>
              <a:rPr kumimoji="0" lang="en-US" sz="1799" b="0" i="0" u="none" strike="noStrike" kern="1200" cap="none" spc="0" normalizeH="0" baseline="0" noProof="0" dirty="0">
                <a:ln>
                  <a:noFill/>
                </a:ln>
                <a:solidFill>
                  <a:prstClr val="white"/>
                </a:solidFill>
                <a:effectLst/>
                <a:uLnTx/>
                <a:uFillTx/>
                <a:latin typeface="Segoe UI"/>
                <a:ea typeface="+mn-ea"/>
                <a:cs typeface="+mn-cs"/>
              </a:rPr>
              <a:t> </a:t>
            </a:r>
          </a:p>
        </p:txBody>
      </p:sp>
    </p:spTree>
    <p:extLst>
      <p:ext uri="{BB962C8B-B14F-4D97-AF65-F5344CB8AC3E}">
        <p14:creationId xmlns:p14="http://schemas.microsoft.com/office/powerpoint/2010/main" val="2091484967"/>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71"/>
          <p:cNvSpPr/>
          <p:nvPr/>
        </p:nvSpPr>
        <p:spPr bwMode="auto">
          <a:xfrm>
            <a:off x="303216" y="2024295"/>
            <a:ext cx="2148840" cy="444754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71" name="Rectangle 70"/>
          <p:cNvSpPr/>
          <p:nvPr/>
        </p:nvSpPr>
        <p:spPr bwMode="auto">
          <a:xfrm>
            <a:off x="3441713" y="2024295"/>
            <a:ext cx="2148840" cy="444754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p>
            <a:r>
              <a:rPr lang="en-IN" dirty="0"/>
              <a:t>Open Innovation</a:t>
            </a:r>
          </a:p>
        </p:txBody>
      </p:sp>
      <p:sp>
        <p:nvSpPr>
          <p:cNvPr id="4" name="Text Placeholder 3"/>
          <p:cNvSpPr>
            <a:spLocks noGrp="1"/>
          </p:cNvSpPr>
          <p:nvPr>
            <p:ph type="body" sz="quarter" idx="13"/>
          </p:nvPr>
        </p:nvSpPr>
        <p:spPr/>
        <p:txBody>
          <a:bodyPr/>
          <a:lstStyle/>
          <a:p>
            <a:r>
              <a:rPr lang="en-IN" dirty="0"/>
              <a:t>Scenarios Mapped to Benefits</a:t>
            </a:r>
          </a:p>
        </p:txBody>
      </p:sp>
      <p:sp>
        <p:nvSpPr>
          <p:cNvPr id="3" name="Slide Number Placeholder 2"/>
          <p:cNvSpPr>
            <a:spLocks noGrp="1"/>
          </p:cNvSpPr>
          <p:nvPr>
            <p:ph type="sldNum" sz="quarter" idx="14"/>
          </p:nvPr>
        </p:nvSpPr>
        <p:spPr/>
        <p:txBody>
          <a:bodyPr/>
          <a:lstStyle/>
          <a:p>
            <a:pPr marL="0" marR="0" lvl="0" indent="0" algn="r" defTabSz="1088105"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1088105" rtl="0" eaLnBrk="1" fontAlgn="auto" latinLnBrk="0" hangingPunct="1">
                <a:lnSpc>
                  <a:spcPct val="100000"/>
                </a:lnSpc>
                <a:spcBef>
                  <a:spcPts val="0"/>
                </a:spcBef>
                <a:spcAft>
                  <a:spcPts val="0"/>
                </a:spcAft>
                <a:buClrTx/>
                <a:buSzTx/>
                <a:buFontTx/>
                <a:buNone/>
                <a:tabLst/>
                <a:defRPr/>
              </a:pPr>
              <a:t>48</a:t>
            </a:fld>
            <a:endParaRPr kumimoji="0" lang="en-US" sz="800" b="0" i="0" u="none" strike="noStrike" kern="1200" cap="none" spc="0" normalizeH="0" baseline="0" noProof="0">
              <a:ln>
                <a:noFill/>
              </a:ln>
              <a:solidFill>
                <a:srgbClr val="505050"/>
              </a:solidFill>
              <a:effectLst/>
              <a:uLnTx/>
              <a:uFillTx/>
              <a:latin typeface="Segoe UI" pitchFamily="34" charset="0"/>
              <a:cs typeface="Segoe UI" pitchFamily="34" charset="0"/>
            </a:endParaRPr>
          </a:p>
        </p:txBody>
      </p:sp>
      <p:sp>
        <p:nvSpPr>
          <p:cNvPr id="5" name="Rectangle 4"/>
          <p:cNvSpPr/>
          <p:nvPr/>
        </p:nvSpPr>
        <p:spPr bwMode="auto">
          <a:xfrm>
            <a:off x="9732090" y="1475655"/>
            <a:ext cx="2148840" cy="5486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52024"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Key Benefits</a:t>
            </a:r>
          </a:p>
        </p:txBody>
      </p:sp>
      <p:sp>
        <p:nvSpPr>
          <p:cNvPr id="6" name="Rectangle 5"/>
          <p:cNvSpPr/>
          <p:nvPr/>
        </p:nvSpPr>
        <p:spPr bwMode="auto">
          <a:xfrm>
            <a:off x="9732090" y="2030327"/>
            <a:ext cx="2148840" cy="42256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prstClr val="white"/>
              </a:solidFill>
              <a:effectLst/>
              <a:uLnTx/>
              <a:uFillTx/>
              <a:latin typeface="Segoe UI"/>
              <a:ea typeface="Segoe UI" pitchFamily="34" charset="0"/>
              <a:cs typeface="Segoe UI" pitchFamily="34" charset="0"/>
            </a:endParaRPr>
          </a:p>
        </p:txBody>
      </p:sp>
      <p:sp>
        <p:nvSpPr>
          <p:cNvPr id="7" name="Rectangle 25"/>
          <p:cNvSpPr/>
          <p:nvPr/>
        </p:nvSpPr>
        <p:spPr>
          <a:xfrm>
            <a:off x="9732090" y="2154566"/>
            <a:ext cx="2148840" cy="457200"/>
          </a:xfrm>
          <a:prstGeom prst="rect">
            <a:avLst/>
          </a:prstGeom>
          <a:solidFill>
            <a:schemeClr val="accent2"/>
          </a:solidFill>
          <a:ln w="25400" cap="flat" cmpd="sng" algn="ctr">
            <a:noFill/>
            <a:prstDash val="solid"/>
          </a:ln>
          <a:effectLst/>
        </p:spPr>
        <p:txBody>
          <a:bodyPr lIns="91440" tIns="45720" rIns="91440" bIns="45720" rtlCol="0" anchor="ctr">
            <a:noAutofit/>
          </a:bodyPr>
          <a:lstStyle/>
          <a:p>
            <a:pPr marL="0" marR="0" lvl="0" indent="0" algn="l" defTabSz="914241" rtl="0" eaLnBrk="1" fontAlgn="auto" latinLnBrk="0" hangingPunct="1">
              <a:lnSpc>
                <a:spcPct val="110000"/>
              </a:lnSpc>
              <a:spcBef>
                <a:spcPts val="267"/>
              </a:spcBef>
              <a:spcAft>
                <a:spcPts val="0"/>
              </a:spcAft>
              <a:buClrTx/>
              <a:buSzTx/>
              <a:buFontTx/>
              <a:buNone/>
              <a:tabLst/>
              <a:defRPr/>
            </a:pPr>
            <a:r>
              <a:rPr kumimoji="0" lang="en-US" sz="1100" b="0" i="0" u="none" strike="noStrike" kern="0" cap="none" spc="0" normalizeH="0" baseline="0" noProof="0">
                <a:ln>
                  <a:noFill/>
                </a:ln>
                <a:solidFill>
                  <a:srgbClr val="505050"/>
                </a:solidFill>
                <a:effectLst/>
                <a:uLnTx/>
                <a:uFillTx/>
                <a:latin typeface="Segoe UI"/>
                <a:ea typeface="+mn-ea"/>
                <a:cs typeface="+mn-cs"/>
              </a:rPr>
              <a:t>Growth in product pipeline</a:t>
            </a:r>
          </a:p>
        </p:txBody>
      </p:sp>
      <p:sp>
        <p:nvSpPr>
          <p:cNvPr id="11" name="Rectangle 10"/>
          <p:cNvSpPr/>
          <p:nvPr>
            <p:custDataLst>
              <p:tags r:id="rId1"/>
            </p:custDataLst>
          </p:nvPr>
        </p:nvSpPr>
        <p:spPr>
          <a:xfrm>
            <a:off x="9732090" y="2843734"/>
            <a:ext cx="2148840" cy="457200"/>
          </a:xfrm>
          <a:prstGeom prst="rect">
            <a:avLst/>
          </a:prstGeom>
          <a:solidFill>
            <a:schemeClr val="accent2"/>
          </a:solidFill>
          <a:ln w="25400" cap="flat" cmpd="sng" algn="ctr">
            <a:noFill/>
            <a:prstDash val="solid"/>
          </a:ln>
          <a:effectLst/>
        </p:spPr>
        <p:txBody>
          <a:bodyPr lIns="91440" tIns="45720" rIns="91440" bIns="45720" rtlCol="0" anchor="ctr">
            <a:noAutofit/>
          </a:bodyPr>
          <a:lstStyle/>
          <a:p>
            <a:pPr marL="0" marR="0" lvl="0" indent="0" algn="l" defTabSz="914241" rtl="0" eaLnBrk="1" fontAlgn="auto" latinLnBrk="0" hangingPunct="1">
              <a:lnSpc>
                <a:spcPct val="110000"/>
              </a:lnSpc>
              <a:spcBef>
                <a:spcPts val="267"/>
              </a:spcBef>
              <a:spcAft>
                <a:spcPts val="0"/>
              </a:spcAft>
              <a:buClrTx/>
              <a:buSzTx/>
              <a:buFontTx/>
              <a:buNone/>
              <a:tabLst/>
              <a:defRPr/>
            </a:pPr>
            <a:r>
              <a:rPr kumimoji="0" lang="en-US" sz="1100" b="0" i="0" u="none" strike="noStrike" kern="0" cap="none" spc="0" normalizeH="0" baseline="0" noProof="0">
                <a:ln>
                  <a:noFill/>
                </a:ln>
                <a:solidFill>
                  <a:srgbClr val="505050"/>
                </a:solidFill>
                <a:effectLst/>
                <a:uLnTx/>
                <a:uFillTx/>
                <a:latin typeface="Segoe UI"/>
                <a:ea typeface="+mn-ea"/>
                <a:cs typeface="+mn-cs"/>
              </a:rPr>
              <a:t>Reduced time to market for new products and services</a:t>
            </a:r>
          </a:p>
        </p:txBody>
      </p:sp>
      <p:sp>
        <p:nvSpPr>
          <p:cNvPr id="12" name="Rectangle 11"/>
          <p:cNvSpPr/>
          <p:nvPr>
            <p:custDataLst>
              <p:tags r:id="rId2"/>
            </p:custDataLst>
          </p:nvPr>
        </p:nvSpPr>
        <p:spPr>
          <a:xfrm>
            <a:off x="9732090" y="3532902"/>
            <a:ext cx="2148840" cy="457200"/>
          </a:xfrm>
          <a:prstGeom prst="rect">
            <a:avLst/>
          </a:prstGeom>
          <a:solidFill>
            <a:schemeClr val="accent2"/>
          </a:solidFill>
          <a:ln w="25400" cap="flat" cmpd="sng" algn="ctr">
            <a:noFill/>
            <a:prstDash val="solid"/>
          </a:ln>
          <a:effectLst/>
        </p:spPr>
        <p:txBody>
          <a:bodyPr lIns="91440" tIns="45720" rIns="91440" bIns="45720" rtlCol="0" anchor="ctr">
            <a:noAutofit/>
          </a:bodyPr>
          <a:lstStyle/>
          <a:p>
            <a:pPr marL="0" marR="0" lvl="0" indent="0" algn="l" defTabSz="914241" rtl="0" eaLnBrk="1" fontAlgn="auto" latinLnBrk="0" hangingPunct="1">
              <a:lnSpc>
                <a:spcPct val="110000"/>
              </a:lnSpc>
              <a:spcBef>
                <a:spcPts val="267"/>
              </a:spcBef>
              <a:spcAft>
                <a:spcPts val="0"/>
              </a:spcAft>
              <a:buClrTx/>
              <a:buSzTx/>
              <a:buFontTx/>
              <a:buNone/>
              <a:tabLst/>
              <a:defRPr/>
            </a:pPr>
            <a:r>
              <a:rPr kumimoji="0" lang="en-US" sz="1100" b="0" i="0" u="none" strike="noStrike" kern="0" cap="none" spc="0" normalizeH="0" baseline="0" noProof="0">
                <a:ln>
                  <a:noFill/>
                </a:ln>
                <a:solidFill>
                  <a:srgbClr val="505050"/>
                </a:solidFill>
                <a:effectLst/>
                <a:uLnTx/>
                <a:uFillTx/>
                <a:latin typeface="Segoe UI"/>
                <a:ea typeface="+mn-ea"/>
                <a:cs typeface="+mn-cs"/>
              </a:rPr>
              <a:t>Increased market relevance</a:t>
            </a:r>
          </a:p>
        </p:txBody>
      </p:sp>
      <p:sp>
        <p:nvSpPr>
          <p:cNvPr id="15" name="Rectangle 14"/>
          <p:cNvSpPr/>
          <p:nvPr>
            <p:custDataLst>
              <p:tags r:id="rId3"/>
            </p:custDataLst>
          </p:nvPr>
        </p:nvSpPr>
        <p:spPr>
          <a:xfrm>
            <a:off x="9732090" y="4911238"/>
            <a:ext cx="2148840" cy="457200"/>
          </a:xfrm>
          <a:prstGeom prst="rect">
            <a:avLst/>
          </a:prstGeom>
          <a:solidFill>
            <a:schemeClr val="accent2"/>
          </a:solidFill>
          <a:ln w="25400" cap="flat" cmpd="sng" algn="ctr">
            <a:noFill/>
            <a:prstDash val="solid"/>
          </a:ln>
          <a:effectLst/>
        </p:spPr>
        <p:txBody>
          <a:bodyPr lIns="91440" tIns="45720" rIns="91440" bIns="45720" rtlCol="0" anchor="ctr">
            <a:noAutofit/>
          </a:bodyPr>
          <a:lstStyle/>
          <a:p>
            <a:pPr marL="0" marR="0" lvl="0" indent="0" algn="l" defTabSz="914241" rtl="0" eaLnBrk="1" fontAlgn="auto" latinLnBrk="0" hangingPunct="1">
              <a:lnSpc>
                <a:spcPct val="110000"/>
              </a:lnSpc>
              <a:spcBef>
                <a:spcPts val="267"/>
              </a:spcBef>
              <a:spcAft>
                <a:spcPts val="0"/>
              </a:spcAft>
              <a:buClrTx/>
              <a:buSzTx/>
              <a:buFontTx/>
              <a:buNone/>
              <a:tabLst/>
              <a:defRPr/>
            </a:pPr>
            <a:r>
              <a:rPr kumimoji="0" lang="en-US" sz="1100" b="0" i="0" u="none" strike="noStrike" kern="0" cap="none" spc="0" normalizeH="0" baseline="0" noProof="0">
                <a:ln>
                  <a:noFill/>
                </a:ln>
                <a:solidFill>
                  <a:srgbClr val="505050"/>
                </a:solidFill>
                <a:effectLst/>
                <a:uLnTx/>
                <a:uFillTx/>
                <a:latin typeface="Segoe UI"/>
                <a:ea typeface="+mn-ea"/>
                <a:cs typeface="+mn-cs"/>
              </a:rPr>
              <a:t>Better retention of employees</a:t>
            </a:r>
            <a:endParaRPr kumimoji="0" lang="en-GB" sz="1100" b="0" i="0" u="none" strike="noStrike" kern="0" cap="none" spc="0" normalizeH="0" baseline="0" noProof="0">
              <a:ln>
                <a:noFill/>
              </a:ln>
              <a:solidFill>
                <a:srgbClr val="505050"/>
              </a:solidFill>
              <a:effectLst/>
              <a:uLnTx/>
              <a:uFillTx/>
              <a:latin typeface="Segoe UI"/>
              <a:ea typeface="+mn-ea"/>
              <a:cs typeface="+mn-cs"/>
            </a:endParaRPr>
          </a:p>
        </p:txBody>
      </p:sp>
      <p:sp>
        <p:nvSpPr>
          <p:cNvPr id="17" name="Rectangle 16"/>
          <p:cNvSpPr/>
          <p:nvPr/>
        </p:nvSpPr>
        <p:spPr bwMode="auto">
          <a:xfrm>
            <a:off x="303216" y="1475655"/>
            <a:ext cx="2148840" cy="54864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panose="020B0702040204020203" pitchFamily="34" charset="0"/>
                <a:ea typeface="Segoe UI" pitchFamily="34" charset="0"/>
                <a:cs typeface="Segoe UI Semibold" panose="020B0702040204020203" pitchFamily="34" charset="0"/>
              </a:rPr>
              <a:t>Business Drivers</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Segoe UI Semibold" panose="020B0702040204020203" pitchFamily="34" charset="0"/>
                <a:ea typeface="Segoe UI" pitchFamily="34" charset="0"/>
                <a:cs typeface="Segoe UI Semibold" panose="020B0702040204020203" pitchFamily="34" charset="0"/>
              </a:rPr>
              <a:t>[Business environment]</a:t>
            </a:r>
          </a:p>
        </p:txBody>
      </p:sp>
      <p:sp>
        <p:nvSpPr>
          <p:cNvPr id="18" name="Rectangle 17"/>
          <p:cNvSpPr/>
          <p:nvPr/>
        </p:nvSpPr>
        <p:spPr bwMode="auto">
          <a:xfrm>
            <a:off x="3441713" y="1475655"/>
            <a:ext cx="2148840" cy="5486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51946"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Investment Objectives</a:t>
            </a:r>
          </a:p>
          <a:p>
            <a:pPr marL="0" marR="0" lvl="0" indent="0" algn="ctr" defTabSz="1051946"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white"/>
                </a:solidFill>
                <a:effectLst/>
                <a:uLnTx/>
                <a:uFillTx/>
                <a:latin typeface="Segoe UI"/>
                <a:ea typeface="+mn-ea"/>
                <a:cs typeface="+mn-cs"/>
              </a:rPr>
              <a:t>[Strategic Options]</a:t>
            </a:r>
          </a:p>
        </p:txBody>
      </p:sp>
      <p:sp>
        <p:nvSpPr>
          <p:cNvPr id="19" name="Rectangle 18"/>
          <p:cNvSpPr/>
          <p:nvPr/>
        </p:nvSpPr>
        <p:spPr bwMode="auto">
          <a:xfrm>
            <a:off x="6580209" y="1475655"/>
            <a:ext cx="2148840" cy="54864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52024"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white"/>
                </a:solidFill>
                <a:effectLst/>
                <a:uLnTx/>
                <a:uFillTx/>
                <a:latin typeface="Segoe UI Semibold" panose="020B0702040204020203" pitchFamily="34" charset="0"/>
                <a:ea typeface="+mn-ea"/>
                <a:cs typeface="Segoe UI Semibold" panose="020B0702040204020203" pitchFamily="34" charset="0"/>
              </a:rPr>
              <a:t>Scenarios</a:t>
            </a:r>
          </a:p>
          <a:p>
            <a:pPr marL="0" marR="0" lvl="0" indent="0" algn="ctr" defTabSz="1052024"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white"/>
                </a:solidFill>
                <a:effectLst/>
                <a:uLnTx/>
                <a:uFillTx/>
                <a:latin typeface="Segoe UI"/>
                <a:ea typeface="+mn-ea"/>
                <a:cs typeface="+mn-cs"/>
              </a:rPr>
              <a:t>[Tactical Business Changes]</a:t>
            </a:r>
          </a:p>
        </p:txBody>
      </p:sp>
      <p:sp>
        <p:nvSpPr>
          <p:cNvPr id="21" name="Rectangle 20"/>
          <p:cNvSpPr/>
          <p:nvPr/>
        </p:nvSpPr>
        <p:spPr>
          <a:xfrm>
            <a:off x="303216" y="3696436"/>
            <a:ext cx="2148840" cy="820683"/>
          </a:xfrm>
          <a:prstGeom prst="rect">
            <a:avLst/>
          </a:prstGeom>
          <a:solidFill>
            <a:schemeClr val="tx2"/>
          </a:solidFill>
          <a:ln w="25400" cap="flat" cmpd="sng" algn="ctr">
            <a:noFill/>
            <a:prstDash val="solid"/>
          </a:ln>
          <a:effectLst/>
        </p:spPr>
        <p:txBody>
          <a:bodyPr wrap="square" lIns="91440" tIns="45720" rIns="91440" bIns="45720" rtlCol="0" anchor="ctr">
            <a:noAutofit/>
          </a:bodyPr>
          <a:lstStyle/>
          <a:p>
            <a:pPr marL="0" marR="0" lvl="0" indent="0" algn="l" defTabSz="591836" rtl="0" eaLnBrk="1" fontAlgn="auto" latinLnBrk="0" hangingPunct="1">
              <a:lnSpc>
                <a:spcPct val="110000"/>
              </a:lnSpc>
              <a:spcBef>
                <a:spcPts val="10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latin typeface="Segoe UI"/>
                <a:ea typeface="+mn-ea"/>
                <a:cs typeface="+mn-cs"/>
              </a:rPr>
              <a:t>Attract and retain key talent</a:t>
            </a:r>
          </a:p>
        </p:txBody>
      </p:sp>
      <p:sp>
        <p:nvSpPr>
          <p:cNvPr id="22" name="Rectangle 21"/>
          <p:cNvSpPr/>
          <p:nvPr/>
        </p:nvSpPr>
        <p:spPr>
          <a:xfrm>
            <a:off x="303216" y="2360363"/>
            <a:ext cx="2148840" cy="820683"/>
          </a:xfrm>
          <a:prstGeom prst="rect">
            <a:avLst/>
          </a:prstGeom>
          <a:solidFill>
            <a:schemeClr val="tx2"/>
          </a:solidFill>
          <a:ln w="25400" cap="flat" cmpd="sng" algn="ctr">
            <a:noFill/>
            <a:prstDash val="solid"/>
          </a:ln>
          <a:effectLst/>
        </p:spPr>
        <p:txBody>
          <a:bodyPr wrap="square" lIns="91440" tIns="45720" rIns="91440" bIns="45720" rtlCol="0" anchor="ctr">
            <a:noAutofit/>
          </a:bodyPr>
          <a:lstStyle/>
          <a:p>
            <a:pPr marL="0" marR="0" lvl="0" indent="0" algn="l" defTabSz="591836" rtl="0" eaLnBrk="1" fontAlgn="auto" latinLnBrk="0" hangingPunct="1">
              <a:lnSpc>
                <a:spcPct val="110000"/>
              </a:lnSpc>
              <a:spcBef>
                <a:spcPts val="10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latin typeface="Segoe UI"/>
                <a:ea typeface="+mn-ea"/>
                <a:cs typeface="+mn-cs"/>
              </a:rPr>
              <a:t>Stay ahead of customer and market changing trends</a:t>
            </a:r>
            <a:endParaRPr kumimoji="0" lang="en-GB" sz="1100" b="0" i="0" u="none" strike="noStrike" kern="0" cap="none" spc="0" normalizeH="0" baseline="0" noProof="0">
              <a:ln>
                <a:noFill/>
              </a:ln>
              <a:solidFill>
                <a:prstClr val="white"/>
              </a:solidFill>
              <a:effectLst/>
              <a:uLnTx/>
              <a:uFillTx/>
              <a:latin typeface="Segoe UI"/>
              <a:ea typeface="+mn-ea"/>
              <a:cs typeface="+mn-cs"/>
            </a:endParaRPr>
          </a:p>
        </p:txBody>
      </p:sp>
      <p:sp>
        <p:nvSpPr>
          <p:cNvPr id="25" name="Rectangle 24"/>
          <p:cNvSpPr/>
          <p:nvPr/>
        </p:nvSpPr>
        <p:spPr>
          <a:xfrm>
            <a:off x="303216" y="5032510"/>
            <a:ext cx="2148840" cy="820683"/>
          </a:xfrm>
          <a:prstGeom prst="rect">
            <a:avLst/>
          </a:prstGeom>
          <a:solidFill>
            <a:schemeClr val="tx2"/>
          </a:solidFill>
          <a:ln w="25400" cap="flat" cmpd="sng" algn="ctr">
            <a:noFill/>
            <a:prstDash val="solid"/>
          </a:ln>
          <a:effectLst/>
        </p:spPr>
        <p:txBody>
          <a:bodyPr wrap="square" lIns="91440" tIns="45720" rIns="91440" bIns="45720" rtlCol="0" anchor="ctr">
            <a:noAutofit/>
          </a:bodyPr>
          <a:lstStyle/>
          <a:p>
            <a:pPr marL="0" marR="0" lvl="0" indent="0" algn="l" defTabSz="591836" rtl="0" eaLnBrk="1" fontAlgn="auto" latinLnBrk="0" hangingPunct="1">
              <a:lnSpc>
                <a:spcPct val="110000"/>
              </a:lnSpc>
              <a:spcBef>
                <a:spcPts val="10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Segoe UI"/>
                <a:ea typeface="+mn-ea"/>
                <a:cs typeface="+mn-cs"/>
              </a:rPr>
              <a:t>Maintain and protect brand image</a:t>
            </a:r>
          </a:p>
        </p:txBody>
      </p:sp>
      <p:sp>
        <p:nvSpPr>
          <p:cNvPr id="27" name="Rectangle 26"/>
          <p:cNvSpPr/>
          <p:nvPr/>
        </p:nvSpPr>
        <p:spPr>
          <a:xfrm>
            <a:off x="3441713" y="2111999"/>
            <a:ext cx="2148840" cy="584610"/>
          </a:xfrm>
          <a:prstGeom prst="rect">
            <a:avLst/>
          </a:prstGeom>
          <a:solidFill>
            <a:schemeClr val="accent1"/>
          </a:solidFill>
          <a:ln w="25400" cap="flat" cmpd="sng" algn="ctr">
            <a:noFill/>
            <a:prstDash val="solid"/>
          </a:ln>
          <a:effectLst/>
        </p:spPr>
        <p:txBody>
          <a:bodyPr wrap="square" lIns="91440" tIns="45720" rIns="91440" bIns="45720" rtlCol="0" anchor="ctr">
            <a:noAutofit/>
          </a:bodyPr>
          <a:lstStyle/>
          <a:p>
            <a:pPr marL="0" marR="0" lvl="0" indent="0" algn="l" defTabSz="591836" rtl="0" eaLnBrk="1" fontAlgn="auto" latinLnBrk="0" hangingPunct="1">
              <a:lnSpc>
                <a:spcPct val="110000"/>
              </a:lnSpc>
              <a:spcBef>
                <a:spcPts val="10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latin typeface="Segoe UI"/>
                <a:ea typeface="+mn-ea"/>
                <a:cs typeface="+mn-cs"/>
              </a:rPr>
              <a:t>Increase customer input into Product/Service Development</a:t>
            </a:r>
            <a:endParaRPr kumimoji="0" lang="en-GB" sz="1100" b="0" i="0" u="none" strike="noStrike" kern="0" cap="none" spc="0" normalizeH="0" baseline="0" noProof="0">
              <a:ln>
                <a:noFill/>
              </a:ln>
              <a:solidFill>
                <a:prstClr val="white"/>
              </a:solidFill>
              <a:effectLst/>
              <a:uLnTx/>
              <a:uFillTx/>
              <a:latin typeface="Segoe UI"/>
              <a:ea typeface="+mn-ea"/>
              <a:cs typeface="+mn-cs"/>
            </a:endParaRPr>
          </a:p>
        </p:txBody>
      </p:sp>
      <p:sp>
        <p:nvSpPr>
          <p:cNvPr id="28" name="Rectangle 1"/>
          <p:cNvSpPr/>
          <p:nvPr/>
        </p:nvSpPr>
        <p:spPr>
          <a:xfrm>
            <a:off x="3441713" y="3232522"/>
            <a:ext cx="2148840" cy="584610"/>
          </a:xfrm>
          <a:prstGeom prst="rect">
            <a:avLst/>
          </a:prstGeom>
          <a:solidFill>
            <a:schemeClr val="accent1"/>
          </a:solidFill>
          <a:ln w="25400" cap="flat" cmpd="sng" algn="ctr">
            <a:noFill/>
            <a:prstDash val="solid"/>
          </a:ln>
          <a:effectLst/>
        </p:spPr>
        <p:txBody>
          <a:bodyPr wrap="square" lIns="91440" tIns="45720" rIns="91440" bIns="45720" rtlCol="0" anchor="ctr">
            <a:noAutofit/>
          </a:bodyPr>
          <a:lstStyle/>
          <a:p>
            <a:pPr marL="0" marR="0" lvl="0" indent="0" algn="l" defTabSz="591836" rtl="0" eaLnBrk="1" fontAlgn="auto" latinLnBrk="0" hangingPunct="1">
              <a:lnSpc>
                <a:spcPct val="110000"/>
              </a:lnSpc>
              <a:spcBef>
                <a:spcPts val="10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latin typeface="Segoe UI"/>
                <a:ea typeface="+mn-ea"/>
                <a:cs typeface="+mn-cs"/>
              </a:rPr>
              <a:t>Build a stronger product pipeline</a:t>
            </a:r>
            <a:endParaRPr kumimoji="0" lang="en-GB" sz="1100" b="0" i="0" u="none" strike="noStrike" kern="0" cap="none" spc="0" normalizeH="0" baseline="0" noProof="0">
              <a:ln>
                <a:noFill/>
              </a:ln>
              <a:solidFill>
                <a:prstClr val="white"/>
              </a:solidFill>
              <a:effectLst/>
              <a:uLnTx/>
              <a:uFillTx/>
              <a:latin typeface="Segoe UI"/>
              <a:ea typeface="+mn-ea"/>
              <a:cs typeface="+mn-cs"/>
            </a:endParaRPr>
          </a:p>
        </p:txBody>
      </p:sp>
      <p:sp>
        <p:nvSpPr>
          <p:cNvPr id="29" name="Rectangle 3"/>
          <p:cNvSpPr/>
          <p:nvPr/>
        </p:nvSpPr>
        <p:spPr>
          <a:xfrm>
            <a:off x="3441713" y="4353045"/>
            <a:ext cx="2148840" cy="584610"/>
          </a:xfrm>
          <a:prstGeom prst="rect">
            <a:avLst/>
          </a:prstGeom>
          <a:solidFill>
            <a:schemeClr val="accent1"/>
          </a:solidFill>
          <a:ln w="25400" cap="flat" cmpd="sng" algn="ctr">
            <a:noFill/>
            <a:prstDash val="solid"/>
          </a:ln>
          <a:effectLst/>
        </p:spPr>
        <p:txBody>
          <a:bodyPr wrap="square" lIns="91440" tIns="45720" rIns="91440" bIns="45720" rtlCol="0" anchor="ctr">
            <a:noAutofit/>
          </a:bodyPr>
          <a:lstStyle/>
          <a:p>
            <a:pPr marL="0" marR="0" lvl="0" indent="0" algn="l" defTabSz="591836" rtl="0" eaLnBrk="1" fontAlgn="auto" latinLnBrk="0" hangingPunct="1">
              <a:lnSpc>
                <a:spcPct val="110000"/>
              </a:lnSpc>
              <a:spcBef>
                <a:spcPts val="10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latin typeface="Segoe UI"/>
                <a:ea typeface="+mn-ea"/>
                <a:cs typeface="+mn-cs"/>
              </a:rPr>
              <a:t>Provide relevant products and services</a:t>
            </a:r>
            <a:endParaRPr kumimoji="0" lang="en-CA" sz="1100" b="0" i="0" u="none" strike="noStrike" kern="0" cap="none" spc="0" normalizeH="0" baseline="0" noProof="0">
              <a:ln>
                <a:noFill/>
              </a:ln>
              <a:solidFill>
                <a:prstClr val="white"/>
              </a:solidFill>
              <a:effectLst/>
              <a:uLnTx/>
              <a:uFillTx/>
              <a:latin typeface="Segoe UI"/>
              <a:ea typeface="+mn-ea"/>
              <a:cs typeface="+mn-cs"/>
            </a:endParaRPr>
          </a:p>
        </p:txBody>
      </p:sp>
      <p:sp>
        <p:nvSpPr>
          <p:cNvPr id="33" name="Rectangle 4"/>
          <p:cNvSpPr/>
          <p:nvPr/>
        </p:nvSpPr>
        <p:spPr>
          <a:xfrm>
            <a:off x="3441713" y="5473569"/>
            <a:ext cx="2148840" cy="584610"/>
          </a:xfrm>
          <a:prstGeom prst="rect">
            <a:avLst/>
          </a:prstGeom>
          <a:solidFill>
            <a:schemeClr val="accent1"/>
          </a:solidFill>
          <a:ln w="25400" cap="flat" cmpd="sng" algn="ctr">
            <a:noFill/>
            <a:prstDash val="solid"/>
          </a:ln>
          <a:effectLst/>
        </p:spPr>
        <p:txBody>
          <a:bodyPr wrap="square" lIns="91440" tIns="45720" rIns="91440" bIns="45720" rtlCol="0" anchor="ctr">
            <a:noAutofit/>
          </a:bodyPr>
          <a:lstStyle/>
          <a:p>
            <a:pPr marL="0" marR="0" lvl="0" indent="0" algn="l" defTabSz="591836" rtl="0" eaLnBrk="1" fontAlgn="auto" latinLnBrk="0" hangingPunct="1">
              <a:lnSpc>
                <a:spcPct val="110000"/>
              </a:lnSpc>
              <a:spcBef>
                <a:spcPts val="100"/>
              </a:spcBef>
              <a:spcAft>
                <a:spcPts val="0"/>
              </a:spcAft>
              <a:buClrTx/>
              <a:buSzTx/>
              <a:buFontTx/>
              <a:buNone/>
              <a:tabLst/>
              <a:defRPr/>
            </a:pPr>
            <a:r>
              <a:rPr kumimoji="0" lang="en-US" sz="1100" b="0" i="0" u="none" strike="noStrike" kern="0" cap="none" spc="0" normalizeH="0" baseline="0" noProof="0">
                <a:ln>
                  <a:noFill/>
                </a:ln>
                <a:solidFill>
                  <a:prstClr val="white"/>
                </a:solidFill>
                <a:effectLst/>
                <a:uLnTx/>
                <a:uFillTx/>
                <a:latin typeface="Segoe UI"/>
                <a:ea typeface="+mn-ea"/>
                <a:cs typeface="+mn-cs"/>
              </a:rPr>
              <a:t>Identify and attract the best employees</a:t>
            </a:r>
          </a:p>
        </p:txBody>
      </p:sp>
      <p:sp>
        <p:nvSpPr>
          <p:cNvPr id="43" name="Rectangle 42"/>
          <p:cNvSpPr/>
          <p:nvPr>
            <p:custDataLst>
              <p:tags r:id="rId4"/>
            </p:custDataLst>
          </p:nvPr>
        </p:nvSpPr>
        <p:spPr>
          <a:xfrm>
            <a:off x="9732090" y="4222070"/>
            <a:ext cx="2148840" cy="457200"/>
          </a:xfrm>
          <a:prstGeom prst="rect">
            <a:avLst/>
          </a:prstGeom>
          <a:solidFill>
            <a:schemeClr val="accent2"/>
          </a:solidFill>
          <a:ln w="25400" cap="flat" cmpd="sng" algn="ctr">
            <a:noFill/>
            <a:prstDash val="solid"/>
          </a:ln>
          <a:effectLst/>
        </p:spPr>
        <p:txBody>
          <a:bodyPr lIns="91440" tIns="45720" rIns="91440" bIns="45720" rtlCol="0" anchor="ctr">
            <a:noAutofit/>
          </a:bodyPr>
          <a:lstStyle/>
          <a:p>
            <a:pPr marL="0" marR="0" lvl="0" indent="0" algn="l" defTabSz="914241" rtl="0" eaLnBrk="1" fontAlgn="auto" latinLnBrk="0" hangingPunct="1">
              <a:lnSpc>
                <a:spcPct val="110000"/>
              </a:lnSpc>
              <a:spcBef>
                <a:spcPts val="267"/>
              </a:spcBef>
              <a:spcAft>
                <a:spcPts val="0"/>
              </a:spcAft>
              <a:buClrTx/>
              <a:buSzTx/>
              <a:buFontTx/>
              <a:buNone/>
              <a:tabLst/>
              <a:defRPr/>
            </a:pPr>
            <a:r>
              <a:rPr kumimoji="0" lang="en-US" sz="1100" b="0" i="0" u="none" strike="noStrike" kern="0" cap="none" spc="0" normalizeH="0" baseline="0" noProof="0" dirty="0">
                <a:ln>
                  <a:noFill/>
                </a:ln>
                <a:solidFill>
                  <a:srgbClr val="505050"/>
                </a:solidFill>
                <a:effectLst/>
                <a:uLnTx/>
                <a:uFillTx/>
                <a:latin typeface="Segoe UI"/>
                <a:ea typeface="+mn-ea"/>
                <a:cs typeface="+mn-cs"/>
              </a:rPr>
              <a:t>Reduced employee time to value</a:t>
            </a:r>
          </a:p>
        </p:txBody>
      </p:sp>
      <p:cxnSp>
        <p:nvCxnSpPr>
          <p:cNvPr id="44" name="Straight Connector 30"/>
          <p:cNvCxnSpPr>
            <a:cxnSpLocks/>
            <a:stCxn id="27" idx="3"/>
            <a:endCxn id="73" idx="1"/>
          </p:cNvCxnSpPr>
          <p:nvPr/>
        </p:nvCxnSpPr>
        <p:spPr>
          <a:xfrm>
            <a:off x="5590553" y="2404304"/>
            <a:ext cx="989435" cy="1141126"/>
          </a:xfrm>
          <a:prstGeom prst="line">
            <a:avLst/>
          </a:prstGeom>
          <a:noFill/>
          <a:ln w="9525" cap="flat" cmpd="sng" algn="ctr">
            <a:solidFill>
              <a:schemeClr val="bg1">
                <a:lumMod val="65000"/>
              </a:schemeClr>
            </a:solidFill>
            <a:prstDash val="solid"/>
            <a:headEnd type="oval" w="sm" len="sm"/>
            <a:tailEnd type="oval" w="sm" len="sm"/>
          </a:ln>
          <a:effectLst/>
        </p:spPr>
      </p:cxnSp>
      <p:cxnSp>
        <p:nvCxnSpPr>
          <p:cNvPr id="45" name="Straight Connector 44"/>
          <p:cNvCxnSpPr>
            <a:cxnSpLocks/>
            <a:stCxn id="29" idx="3"/>
            <a:endCxn id="73" idx="1"/>
          </p:cNvCxnSpPr>
          <p:nvPr/>
        </p:nvCxnSpPr>
        <p:spPr>
          <a:xfrm flipV="1">
            <a:off x="5590553" y="3545430"/>
            <a:ext cx="989435" cy="1099920"/>
          </a:xfrm>
          <a:prstGeom prst="line">
            <a:avLst/>
          </a:prstGeom>
          <a:noFill/>
          <a:ln w="9525" cap="flat" cmpd="sng" algn="ctr">
            <a:solidFill>
              <a:schemeClr val="bg1">
                <a:lumMod val="65000"/>
              </a:schemeClr>
            </a:solidFill>
            <a:prstDash val="solid"/>
            <a:headEnd type="oval" w="sm" len="sm"/>
            <a:tailEnd type="oval" w="sm" len="sm"/>
          </a:ln>
          <a:effectLst/>
        </p:spPr>
      </p:cxnSp>
      <p:cxnSp>
        <p:nvCxnSpPr>
          <p:cNvPr id="47" name="Straight Connector 33"/>
          <p:cNvCxnSpPr>
            <a:cxnSpLocks/>
            <a:stCxn id="28" idx="3"/>
            <a:endCxn id="73" idx="1"/>
          </p:cNvCxnSpPr>
          <p:nvPr/>
        </p:nvCxnSpPr>
        <p:spPr>
          <a:xfrm>
            <a:off x="5590553" y="3524827"/>
            <a:ext cx="989435" cy="20603"/>
          </a:xfrm>
          <a:prstGeom prst="line">
            <a:avLst/>
          </a:prstGeom>
          <a:noFill/>
          <a:ln w="9525" cap="flat" cmpd="sng" algn="ctr">
            <a:solidFill>
              <a:schemeClr val="bg1">
                <a:lumMod val="65000"/>
              </a:schemeClr>
            </a:solidFill>
            <a:prstDash val="solid"/>
            <a:headEnd type="oval" w="sm" len="sm"/>
            <a:tailEnd type="oval" w="sm" len="sm"/>
          </a:ln>
          <a:effectLst/>
        </p:spPr>
      </p:cxnSp>
      <p:cxnSp>
        <p:nvCxnSpPr>
          <p:cNvPr id="48" name="Straight Connector 33"/>
          <p:cNvCxnSpPr>
            <a:cxnSpLocks/>
            <a:stCxn id="33" idx="3"/>
            <a:endCxn id="73" idx="1"/>
          </p:cNvCxnSpPr>
          <p:nvPr/>
        </p:nvCxnSpPr>
        <p:spPr>
          <a:xfrm flipV="1">
            <a:off x="5590553" y="3545430"/>
            <a:ext cx="989435" cy="2220444"/>
          </a:xfrm>
          <a:prstGeom prst="line">
            <a:avLst/>
          </a:prstGeom>
          <a:noFill/>
          <a:ln w="9525" cap="flat" cmpd="sng" algn="ctr">
            <a:solidFill>
              <a:schemeClr val="bg1">
                <a:lumMod val="65000"/>
              </a:schemeClr>
            </a:solidFill>
            <a:prstDash val="solid"/>
            <a:headEnd type="oval" w="sm" len="sm"/>
            <a:tailEnd type="oval" w="sm" len="sm"/>
          </a:ln>
          <a:effectLst/>
        </p:spPr>
      </p:cxnSp>
      <p:cxnSp>
        <p:nvCxnSpPr>
          <p:cNvPr id="51" name="Straight Connector 236"/>
          <p:cNvCxnSpPr>
            <a:cxnSpLocks/>
            <a:stCxn id="73" idx="3"/>
            <a:endCxn id="12" idx="1"/>
          </p:cNvCxnSpPr>
          <p:nvPr/>
        </p:nvCxnSpPr>
        <p:spPr>
          <a:xfrm>
            <a:off x="8729049" y="3545430"/>
            <a:ext cx="1003041" cy="216072"/>
          </a:xfrm>
          <a:prstGeom prst="line">
            <a:avLst/>
          </a:prstGeom>
          <a:noFill/>
          <a:ln w="9525" cap="flat" cmpd="sng" algn="ctr">
            <a:solidFill>
              <a:schemeClr val="bg1">
                <a:lumMod val="65000"/>
              </a:schemeClr>
            </a:solidFill>
            <a:prstDash val="solid"/>
            <a:headEnd type="oval" w="sm" len="sm"/>
            <a:tailEnd type="oval" w="sm" len="sm"/>
          </a:ln>
          <a:effectLst/>
        </p:spPr>
      </p:cxnSp>
      <p:cxnSp>
        <p:nvCxnSpPr>
          <p:cNvPr id="52" name="Straight Connector 51"/>
          <p:cNvCxnSpPr>
            <a:cxnSpLocks/>
            <a:stCxn id="73" idx="3"/>
            <a:endCxn id="7" idx="1"/>
          </p:cNvCxnSpPr>
          <p:nvPr/>
        </p:nvCxnSpPr>
        <p:spPr>
          <a:xfrm flipV="1">
            <a:off x="8729049" y="2383166"/>
            <a:ext cx="1003041" cy="1162264"/>
          </a:xfrm>
          <a:prstGeom prst="line">
            <a:avLst/>
          </a:prstGeom>
          <a:noFill/>
          <a:ln w="9525" cap="flat" cmpd="sng" algn="ctr">
            <a:solidFill>
              <a:schemeClr val="bg1">
                <a:lumMod val="65000"/>
              </a:schemeClr>
            </a:solidFill>
            <a:prstDash val="solid"/>
            <a:headEnd type="oval" w="sm" len="sm"/>
            <a:tailEnd type="oval" w="sm" len="sm"/>
          </a:ln>
          <a:effectLst/>
        </p:spPr>
      </p:cxnSp>
      <p:cxnSp>
        <p:nvCxnSpPr>
          <p:cNvPr id="54" name="Straight Connector 30"/>
          <p:cNvCxnSpPr>
            <a:stCxn id="22" idx="3"/>
            <a:endCxn id="29" idx="1"/>
          </p:cNvCxnSpPr>
          <p:nvPr/>
        </p:nvCxnSpPr>
        <p:spPr>
          <a:xfrm>
            <a:off x="2452056" y="2770705"/>
            <a:ext cx="989657" cy="1874645"/>
          </a:xfrm>
          <a:prstGeom prst="line">
            <a:avLst/>
          </a:prstGeom>
          <a:noFill/>
          <a:ln w="9525" cap="flat" cmpd="sng" algn="ctr">
            <a:solidFill>
              <a:schemeClr val="bg1">
                <a:lumMod val="65000"/>
              </a:schemeClr>
            </a:solidFill>
            <a:prstDash val="solid"/>
            <a:headEnd type="oval" w="sm" len="sm"/>
            <a:tailEnd type="oval" w="sm" len="sm"/>
          </a:ln>
          <a:effectLst/>
        </p:spPr>
      </p:cxnSp>
      <p:cxnSp>
        <p:nvCxnSpPr>
          <p:cNvPr id="57" name="Straight Connector 56"/>
          <p:cNvCxnSpPr>
            <a:stCxn id="22" idx="3"/>
            <a:endCxn id="27" idx="1"/>
          </p:cNvCxnSpPr>
          <p:nvPr/>
        </p:nvCxnSpPr>
        <p:spPr>
          <a:xfrm flipV="1">
            <a:off x="2452056" y="2404304"/>
            <a:ext cx="989657" cy="366401"/>
          </a:xfrm>
          <a:prstGeom prst="line">
            <a:avLst/>
          </a:prstGeom>
          <a:noFill/>
          <a:ln w="9525" cap="flat" cmpd="sng" algn="ctr">
            <a:solidFill>
              <a:schemeClr val="bg1">
                <a:lumMod val="65000"/>
              </a:schemeClr>
            </a:solidFill>
            <a:prstDash val="solid"/>
            <a:headEnd type="oval" w="sm" len="sm"/>
            <a:tailEnd type="oval" w="sm" len="sm"/>
          </a:ln>
          <a:effectLst/>
        </p:spPr>
      </p:cxnSp>
      <p:cxnSp>
        <p:nvCxnSpPr>
          <p:cNvPr id="58" name="Straight Connector 57"/>
          <p:cNvCxnSpPr>
            <a:stCxn id="22" idx="3"/>
            <a:endCxn id="28" idx="1"/>
          </p:cNvCxnSpPr>
          <p:nvPr/>
        </p:nvCxnSpPr>
        <p:spPr>
          <a:xfrm>
            <a:off x="2452056" y="2770705"/>
            <a:ext cx="989657" cy="754122"/>
          </a:xfrm>
          <a:prstGeom prst="line">
            <a:avLst/>
          </a:prstGeom>
          <a:noFill/>
          <a:ln w="9525" cap="flat" cmpd="sng" algn="ctr">
            <a:solidFill>
              <a:schemeClr val="bg1">
                <a:lumMod val="65000"/>
              </a:schemeClr>
            </a:solidFill>
            <a:prstDash val="solid"/>
            <a:headEnd type="oval" w="sm" len="sm"/>
            <a:tailEnd type="oval" w="sm" len="sm"/>
          </a:ln>
          <a:effectLst/>
        </p:spPr>
      </p:cxnSp>
      <p:cxnSp>
        <p:nvCxnSpPr>
          <p:cNvPr id="61" name="Straight Connector 30"/>
          <p:cNvCxnSpPr>
            <a:stCxn id="21" idx="3"/>
            <a:endCxn id="33" idx="1"/>
          </p:cNvCxnSpPr>
          <p:nvPr/>
        </p:nvCxnSpPr>
        <p:spPr>
          <a:xfrm>
            <a:off x="2452056" y="4106778"/>
            <a:ext cx="989657" cy="1659096"/>
          </a:xfrm>
          <a:prstGeom prst="line">
            <a:avLst/>
          </a:prstGeom>
          <a:noFill/>
          <a:ln w="9525" cap="flat" cmpd="sng" algn="ctr">
            <a:solidFill>
              <a:schemeClr val="bg1">
                <a:lumMod val="65000"/>
              </a:schemeClr>
            </a:solidFill>
            <a:prstDash val="solid"/>
            <a:headEnd type="oval" w="sm" len="sm"/>
            <a:tailEnd type="oval" w="sm" len="sm"/>
          </a:ln>
          <a:effectLst/>
        </p:spPr>
      </p:cxnSp>
      <p:cxnSp>
        <p:nvCxnSpPr>
          <p:cNvPr id="62" name="Straight Connector 61"/>
          <p:cNvCxnSpPr>
            <a:cxnSpLocks/>
            <a:stCxn id="25" idx="3"/>
            <a:endCxn id="29" idx="1"/>
          </p:cNvCxnSpPr>
          <p:nvPr/>
        </p:nvCxnSpPr>
        <p:spPr>
          <a:xfrm flipV="1">
            <a:off x="2452056" y="4645350"/>
            <a:ext cx="989657" cy="797502"/>
          </a:xfrm>
          <a:prstGeom prst="line">
            <a:avLst/>
          </a:prstGeom>
          <a:noFill/>
          <a:ln w="9525" cap="flat" cmpd="sng" algn="ctr">
            <a:solidFill>
              <a:schemeClr val="bg1">
                <a:lumMod val="65000"/>
              </a:schemeClr>
            </a:solidFill>
            <a:prstDash val="solid"/>
            <a:headEnd type="oval" w="sm" len="sm"/>
            <a:tailEnd type="oval" w="sm" len="sm"/>
          </a:ln>
          <a:effectLst/>
        </p:spPr>
      </p:cxnSp>
      <p:cxnSp>
        <p:nvCxnSpPr>
          <p:cNvPr id="68" name="Straight Connector 236"/>
          <p:cNvCxnSpPr>
            <a:cxnSpLocks/>
            <a:stCxn id="73" idx="3"/>
            <a:endCxn id="11" idx="1"/>
          </p:cNvCxnSpPr>
          <p:nvPr/>
        </p:nvCxnSpPr>
        <p:spPr>
          <a:xfrm flipV="1">
            <a:off x="8729049" y="3072334"/>
            <a:ext cx="1003041" cy="473096"/>
          </a:xfrm>
          <a:prstGeom prst="line">
            <a:avLst/>
          </a:prstGeom>
          <a:noFill/>
          <a:ln w="9525" cap="flat" cmpd="sng" algn="ctr">
            <a:solidFill>
              <a:schemeClr val="bg1">
                <a:lumMod val="65000"/>
              </a:schemeClr>
            </a:solidFill>
            <a:prstDash val="solid"/>
            <a:headEnd type="oval" w="sm" len="sm"/>
            <a:tailEnd type="oval" w="sm" len="sm"/>
          </a:ln>
          <a:effectLst/>
        </p:spPr>
      </p:cxnSp>
      <p:cxnSp>
        <p:nvCxnSpPr>
          <p:cNvPr id="69" name="Straight Connector 236"/>
          <p:cNvCxnSpPr>
            <a:cxnSpLocks/>
            <a:stCxn id="73" idx="3"/>
            <a:endCxn id="43" idx="1"/>
          </p:cNvCxnSpPr>
          <p:nvPr/>
        </p:nvCxnSpPr>
        <p:spPr>
          <a:xfrm>
            <a:off x="8729049" y="3545430"/>
            <a:ext cx="1003041" cy="905240"/>
          </a:xfrm>
          <a:prstGeom prst="line">
            <a:avLst/>
          </a:prstGeom>
          <a:noFill/>
          <a:ln w="9525" cap="flat" cmpd="sng" algn="ctr">
            <a:solidFill>
              <a:schemeClr val="bg1">
                <a:lumMod val="65000"/>
              </a:schemeClr>
            </a:solidFill>
            <a:prstDash val="solid"/>
            <a:headEnd type="oval" w="sm" len="sm"/>
            <a:tailEnd type="oval" w="sm" len="sm"/>
          </a:ln>
          <a:effectLst/>
        </p:spPr>
      </p:cxnSp>
      <p:sp>
        <p:nvSpPr>
          <p:cNvPr id="67" name="Text Placeholder 6"/>
          <p:cNvSpPr txBox="1">
            <a:spLocks/>
          </p:cNvSpPr>
          <p:nvPr/>
        </p:nvSpPr>
        <p:spPr>
          <a:xfrm>
            <a:off x="9230569" y="142996"/>
            <a:ext cx="2746481" cy="456230"/>
          </a:xfrm>
          <a:prstGeom prst="rect">
            <a:avLst/>
          </a:prstGeom>
        </p:spPr>
        <p:txBody>
          <a:bodyPr vert="horz" lIns="320040" tIns="53325" rIns="53325" bIns="53325" rtlCol="0">
            <a:noAutofit/>
          </a:bodyPr>
          <a:lstStyle>
            <a:lvl1pPr marL="0" indent="0" algn="l" defTabSz="1088105" rtl="0" eaLnBrk="1" latinLnBrk="0" hangingPunct="1">
              <a:spcBef>
                <a:spcPts val="1800"/>
              </a:spcBef>
              <a:buClr>
                <a:srgbClr val="0072C6"/>
              </a:buClr>
              <a:buSzPct val="100000"/>
              <a:buFont typeface="Wingdings" pitchFamily="2" charset="2"/>
              <a:buNone/>
              <a:defRPr sz="2800" kern="1200">
                <a:solidFill>
                  <a:schemeClr val="tx1"/>
                </a:solidFill>
                <a:latin typeface="Segoe UI Light" pitchFamily="34" charset="0"/>
                <a:ea typeface="Segoe UI" pitchFamily="34" charset="0"/>
                <a:cs typeface="Segoe UI" pitchFamily="34" charset="0"/>
              </a:defRPr>
            </a:lvl1pPr>
            <a:lvl2pPr marL="281674" indent="0" algn="l" defTabSz="1088105" rtl="0" eaLnBrk="1" latinLnBrk="0" hangingPunct="1">
              <a:spcBef>
                <a:spcPct val="20000"/>
              </a:spcBef>
              <a:buFont typeface="Arial" pitchFamily="34" charset="0"/>
              <a:buNone/>
              <a:defRPr sz="1800" kern="1200">
                <a:solidFill>
                  <a:schemeClr val="tx1"/>
                </a:solidFill>
                <a:latin typeface="Segoe UI" pitchFamily="34" charset="0"/>
                <a:ea typeface="Segoe UI" pitchFamily="34" charset="0"/>
                <a:cs typeface="Segoe UI" pitchFamily="34" charset="0"/>
              </a:defRPr>
            </a:lvl2pPr>
            <a:lvl3pPr marL="588476" indent="0" algn="l" defTabSz="1088105" rtl="0" eaLnBrk="1" latinLnBrk="0" hangingPunct="1">
              <a:spcBef>
                <a:spcPct val="20000"/>
              </a:spcBef>
              <a:buFont typeface="Arial" pitchFamily="34" charset="0"/>
              <a:buNone/>
              <a:defRPr sz="1600" kern="1200">
                <a:solidFill>
                  <a:schemeClr val="tx1"/>
                </a:solidFill>
                <a:latin typeface="Segoe UI" pitchFamily="34" charset="0"/>
                <a:ea typeface="Segoe UI" pitchFamily="34" charset="0"/>
                <a:cs typeface="Segoe UI" pitchFamily="34" charset="0"/>
              </a:defRPr>
            </a:lvl3pPr>
            <a:lvl4pPr marL="87015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4pPr>
            <a:lvl5pPr marL="110554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marL="0" marR="0" lvl="0" indent="0" algn="l" defTabSz="1088105" rtl="0" eaLnBrk="1" fontAlgn="auto" latinLnBrk="0" hangingPunct="1">
              <a:lnSpc>
                <a:spcPct val="100000"/>
              </a:lnSpc>
              <a:spcBef>
                <a:spcPts val="1800"/>
              </a:spcBef>
              <a:spcAft>
                <a:spcPts val="0"/>
              </a:spcAft>
              <a:buClr>
                <a:srgbClr val="0072C6"/>
              </a:buClr>
              <a:buSzPct val="100000"/>
              <a:buFont typeface="Wingdings" pitchFamily="2" charset="2"/>
              <a:buNone/>
              <a:tabLst/>
              <a:defRPr/>
            </a:pPr>
            <a:r>
              <a:rPr kumimoji="0" lang="en-US" sz="2800" b="0" i="0" u="none" strike="noStrike" kern="1200" cap="none" spc="0" normalizeH="0" baseline="0" noProof="0">
                <a:ln>
                  <a:noFill/>
                </a:ln>
                <a:solidFill>
                  <a:srgbClr val="505050"/>
                </a:solidFill>
                <a:effectLst/>
                <a:uLnTx/>
                <a:uFillTx/>
                <a:latin typeface="Segoe UI Light" pitchFamily="34" charset="0"/>
                <a:cs typeface="Segoe UI" pitchFamily="34" charset="0"/>
              </a:rPr>
              <a:t>Scenario Chain</a:t>
            </a:r>
          </a:p>
        </p:txBody>
      </p:sp>
      <p:sp>
        <p:nvSpPr>
          <p:cNvPr id="73" name="Rectangle 11"/>
          <p:cNvSpPr/>
          <p:nvPr/>
        </p:nvSpPr>
        <p:spPr>
          <a:xfrm>
            <a:off x="6579988" y="3259652"/>
            <a:ext cx="2149061" cy="571555"/>
          </a:xfrm>
          <a:prstGeom prst="rect">
            <a:avLst/>
          </a:prstGeom>
          <a:solidFill>
            <a:schemeClr val="accent3"/>
          </a:solidFill>
          <a:ln w="25400" cap="flat" cmpd="sng" algn="ctr">
            <a:noFill/>
            <a:prstDash val="solid"/>
          </a:ln>
          <a:effectLst/>
        </p:spPr>
        <p:txBody>
          <a:bodyPr wrap="square" lIns="91440" tIns="45720" rIns="91440" bIns="45720" rtlCol="0" anchor="ctr"/>
          <a:lstStyle/>
          <a:p>
            <a:pPr marL="0" marR="0" lvl="0" indent="0" algn="l" defTabSz="591836" rtl="0" eaLnBrk="1" fontAlgn="auto" latinLnBrk="0" hangingPunct="1">
              <a:lnSpc>
                <a:spcPct val="110000"/>
              </a:lnSpc>
              <a:spcBef>
                <a:spcPts val="100"/>
              </a:spcBef>
              <a:spcAft>
                <a:spcPts val="0"/>
              </a:spcAft>
              <a:buClrTx/>
              <a:buSzTx/>
              <a:buFontTx/>
              <a:buNone/>
              <a:tabLst/>
              <a:defRPr/>
            </a:pPr>
            <a:r>
              <a:rPr kumimoji="0" lang="en-US" sz="1100" b="0" i="0" u="none" strike="noStrike" kern="0" cap="none" spc="0" normalizeH="0" baseline="0" noProof="0" dirty="0">
                <a:ln>
                  <a:noFill/>
                </a:ln>
                <a:solidFill>
                  <a:prstClr val="white"/>
                </a:solidFill>
                <a:effectLst/>
                <a:uLnTx/>
                <a:uFillTx/>
                <a:latin typeface="Segoe UI"/>
                <a:ea typeface="+mn-ea"/>
                <a:cs typeface="+mn-cs"/>
              </a:rPr>
              <a:t>Open Innovation</a:t>
            </a:r>
            <a:endParaRPr kumimoji="0" lang="en-US" sz="1100" b="0" i="1" u="none" strike="noStrike" kern="0" cap="none" spc="0" normalizeH="0" baseline="0" noProof="0" dirty="0">
              <a:ln>
                <a:noFill/>
              </a:ln>
              <a:solidFill>
                <a:prstClr val="white"/>
              </a:solidFill>
              <a:effectLst/>
              <a:uLnTx/>
              <a:uFillTx/>
              <a:latin typeface="Segoe UI"/>
              <a:ea typeface="+mn-ea"/>
              <a:cs typeface="+mn-cs"/>
            </a:endParaRPr>
          </a:p>
        </p:txBody>
      </p:sp>
      <p:cxnSp>
        <p:nvCxnSpPr>
          <p:cNvPr id="53" name="Straight Connector 52">
            <a:extLst>
              <a:ext uri="{FF2B5EF4-FFF2-40B4-BE49-F238E27FC236}">
                <a16:creationId xmlns:a16="http://schemas.microsoft.com/office/drawing/2014/main" id="{0830F9CA-6E9D-4C20-9AC0-78967D04323B}"/>
              </a:ext>
            </a:extLst>
          </p:cNvPr>
          <p:cNvCxnSpPr>
            <a:cxnSpLocks/>
            <a:stCxn id="25" idx="3"/>
            <a:endCxn id="28" idx="1"/>
          </p:cNvCxnSpPr>
          <p:nvPr/>
        </p:nvCxnSpPr>
        <p:spPr>
          <a:xfrm flipV="1">
            <a:off x="2452056" y="3524827"/>
            <a:ext cx="989657" cy="1918025"/>
          </a:xfrm>
          <a:prstGeom prst="line">
            <a:avLst/>
          </a:prstGeom>
          <a:noFill/>
          <a:ln w="9525" cap="flat" cmpd="sng" algn="ctr">
            <a:solidFill>
              <a:schemeClr val="bg1">
                <a:lumMod val="65000"/>
              </a:schemeClr>
            </a:solidFill>
            <a:prstDash val="solid"/>
            <a:headEnd type="oval" w="sm" len="sm"/>
            <a:tailEnd type="oval" w="sm" len="sm"/>
          </a:ln>
          <a:effectLst/>
        </p:spPr>
      </p:cxnSp>
      <p:cxnSp>
        <p:nvCxnSpPr>
          <p:cNvPr id="64" name="Straight Connector 236">
            <a:extLst>
              <a:ext uri="{FF2B5EF4-FFF2-40B4-BE49-F238E27FC236}">
                <a16:creationId xmlns:a16="http://schemas.microsoft.com/office/drawing/2014/main" id="{99910066-1583-459B-8324-6376312120A0}"/>
              </a:ext>
            </a:extLst>
          </p:cNvPr>
          <p:cNvCxnSpPr>
            <a:cxnSpLocks/>
            <a:stCxn id="73" idx="3"/>
            <a:endCxn id="15" idx="1"/>
          </p:cNvCxnSpPr>
          <p:nvPr/>
        </p:nvCxnSpPr>
        <p:spPr>
          <a:xfrm>
            <a:off x="8729049" y="3545430"/>
            <a:ext cx="1003041" cy="1594408"/>
          </a:xfrm>
          <a:prstGeom prst="line">
            <a:avLst/>
          </a:prstGeom>
          <a:noFill/>
          <a:ln w="9525" cap="flat" cmpd="sng" algn="ctr">
            <a:solidFill>
              <a:schemeClr val="bg1">
                <a:lumMod val="65000"/>
              </a:schemeClr>
            </a:solidFill>
            <a:prstDash val="solid"/>
            <a:headEnd type="oval" w="sm" len="sm"/>
            <a:tailEnd type="oval" w="sm" len="sm"/>
          </a:ln>
          <a:effectLst/>
        </p:spPr>
      </p:cxnSp>
    </p:spTree>
    <p:extLst>
      <p:ext uri="{BB962C8B-B14F-4D97-AF65-F5344CB8AC3E}">
        <p14:creationId xmlns:p14="http://schemas.microsoft.com/office/powerpoint/2010/main" val="35228427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Open Innovation</a:t>
            </a:r>
          </a:p>
        </p:txBody>
      </p:sp>
      <p:grpSp>
        <p:nvGrpSpPr>
          <p:cNvPr id="55" name="Group 54"/>
          <p:cNvGrpSpPr/>
          <p:nvPr/>
        </p:nvGrpSpPr>
        <p:grpSpPr>
          <a:xfrm>
            <a:off x="6208630" y="312999"/>
            <a:ext cx="367510" cy="477248"/>
            <a:chOff x="4929633" y="5106124"/>
            <a:chExt cx="493807" cy="641257"/>
          </a:xfrm>
          <a:solidFill>
            <a:schemeClr val="bg1"/>
          </a:solidFill>
        </p:grpSpPr>
        <p:sp>
          <p:nvSpPr>
            <p:cNvPr id="56" name="Oval 122"/>
            <p:cNvSpPr>
              <a:spLocks noChangeArrowheads="1"/>
            </p:cNvSpPr>
            <p:nvPr/>
          </p:nvSpPr>
          <p:spPr bwMode="auto">
            <a:xfrm>
              <a:off x="4938084" y="5106124"/>
              <a:ext cx="476911" cy="906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57" name="Freeform 123"/>
            <p:cNvSpPr>
              <a:spLocks noEditPoints="1"/>
            </p:cNvSpPr>
            <p:nvPr/>
          </p:nvSpPr>
          <p:spPr bwMode="auto">
            <a:xfrm>
              <a:off x="4929633" y="5169098"/>
              <a:ext cx="493807" cy="578283"/>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sp>
        <p:nvSpPr>
          <p:cNvPr id="181" name="Rectangle 180"/>
          <p:cNvSpPr/>
          <p:nvPr>
            <p:custDataLst>
              <p:tags r:id="rId1"/>
            </p:custDataLst>
          </p:nvPr>
        </p:nvSpPr>
        <p:spPr>
          <a:xfrm>
            <a:off x="5724525" y="3827460"/>
            <a:ext cx="6161088" cy="2386887"/>
          </a:xfrm>
          <a:prstGeom prst="rect">
            <a:avLst/>
          </a:prstGeom>
          <a:solidFill>
            <a:schemeClr val="bg1">
              <a:lumMod val="95000"/>
            </a:schemeClr>
          </a:solidFill>
          <a:ln w="6350">
            <a:solidFill>
              <a:schemeClr val="bg1">
                <a:lumMod val="95000"/>
              </a:schemeClr>
            </a:solidFill>
            <a:prstDash val="solid"/>
          </a:ln>
        </p:spPr>
        <p:txBody>
          <a:bodyPr wrap="square" lIns="72000" tIns="36000" rIns="72000" bIns="36000">
            <a:noAutofit/>
          </a:bodyPr>
          <a:lstStyle/>
          <a:p>
            <a:pPr marL="0" marR="0" lvl="0" indent="0" algn="l" defTabSz="1096730" rtl="0" eaLnBrk="1" fontAlgn="auto" latinLnBrk="0" hangingPunct="1">
              <a:lnSpc>
                <a:spcPct val="100000"/>
              </a:lnSpc>
              <a:spcBef>
                <a:spcPts val="0"/>
              </a:spcBef>
              <a:spcAft>
                <a:spcPts val="0"/>
              </a:spcAft>
              <a:buClrTx/>
              <a:buSzTx/>
              <a:buFontTx/>
              <a:buNone/>
              <a:tabLst/>
              <a:defRPr/>
            </a:pPr>
            <a:r>
              <a:rPr kumimoji="0" lang="en-IN" sz="1600" b="0" i="0" u="none" strike="noStrike" kern="0" cap="none" spc="0" normalizeH="0" baseline="0" noProof="0" dirty="0">
                <a:ln>
                  <a:solidFill>
                    <a:srgbClr val="FFFFFF">
                      <a:alpha val="0"/>
                    </a:srgbClr>
                  </a:solidFill>
                </a:ln>
                <a:solidFill>
                  <a:srgbClr val="505050"/>
                </a:solidFill>
                <a:effectLst/>
                <a:uLnTx/>
                <a:uFillTx/>
                <a:latin typeface="Segoe UI"/>
                <a:ea typeface="+mn-ea"/>
                <a:cs typeface="+mn-cs"/>
              </a:rPr>
              <a:t>We are always looking to…</a:t>
            </a:r>
          </a:p>
          <a:p>
            <a:pPr marL="0" marR="0" lvl="0" indent="0" algn="l" defTabSz="1096730" rtl="0" eaLnBrk="1" fontAlgn="auto" latinLnBrk="0" hangingPunct="1">
              <a:lnSpc>
                <a:spcPct val="100000"/>
              </a:lnSpc>
              <a:spcBef>
                <a:spcPts val="0"/>
              </a:spcBef>
              <a:spcAft>
                <a:spcPts val="0"/>
              </a:spcAft>
              <a:buClrTx/>
              <a:buSzTx/>
              <a:buFontTx/>
              <a:buNone/>
              <a:tabLst/>
              <a:defRPr/>
            </a:pPr>
            <a:endParaRPr lang="en-IN" sz="1600" kern="0" dirty="0">
              <a:ln>
                <a:solidFill>
                  <a:srgbClr val="FFFFFF">
                    <a:alpha val="0"/>
                  </a:srgbClr>
                </a:solidFill>
              </a:ln>
              <a:solidFill>
                <a:srgbClr val="505050"/>
              </a:solidFill>
              <a:latin typeface="Segoe UI"/>
            </a:endParaRPr>
          </a:p>
          <a:p>
            <a:pPr marL="285750" marR="0" lvl="0" indent="-285750" algn="l" defTabSz="109673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IN" sz="1600" kern="0" dirty="0">
                <a:ln>
                  <a:solidFill>
                    <a:srgbClr val="FFFFFF">
                      <a:alpha val="0"/>
                    </a:srgbClr>
                  </a:solidFill>
                </a:ln>
                <a:solidFill>
                  <a:srgbClr val="505050"/>
                </a:solidFill>
                <a:latin typeface="Segoe UI"/>
              </a:rPr>
              <a:t>Reduce time to market</a:t>
            </a:r>
          </a:p>
          <a:p>
            <a:pPr marL="285750" marR="0" lvl="0" indent="-285750" algn="l" defTabSz="109673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IN" sz="1600" b="0" i="0" u="none" strike="noStrike" kern="0" cap="none" spc="0" normalizeH="0" baseline="0" noProof="0" dirty="0">
                <a:ln>
                  <a:solidFill>
                    <a:srgbClr val="FFFFFF">
                      <a:alpha val="0"/>
                    </a:srgbClr>
                  </a:solidFill>
                </a:ln>
                <a:solidFill>
                  <a:srgbClr val="505050"/>
                </a:solidFill>
                <a:effectLst/>
                <a:uLnTx/>
                <a:uFillTx/>
                <a:latin typeface="Segoe UI"/>
                <a:ea typeface="+mn-ea"/>
                <a:cs typeface="+mn-cs"/>
              </a:rPr>
              <a:t>Tap and understand customer feedback for enhancing products and experiences</a:t>
            </a:r>
          </a:p>
          <a:p>
            <a:pPr marL="285750" marR="0" lvl="0" indent="-285750" algn="l" defTabSz="109673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0" dirty="0">
                <a:ln>
                  <a:solidFill>
                    <a:srgbClr val="FFFFFF">
                      <a:alpha val="0"/>
                    </a:srgbClr>
                  </a:solidFill>
                </a:ln>
                <a:solidFill>
                  <a:srgbClr val="505050"/>
                </a:solidFill>
                <a:latin typeface="Segoe UI"/>
              </a:rPr>
              <a:t>Improve </a:t>
            </a:r>
            <a:r>
              <a:rPr lang="en-US" sz="1600" kern="0" dirty="0">
                <a:ln>
                  <a:solidFill>
                    <a:srgbClr val="FFFFFF">
                      <a:alpha val="0"/>
                    </a:srgbClr>
                  </a:solidFill>
                </a:ln>
                <a:solidFill>
                  <a:srgbClr val="505050"/>
                </a:solidFill>
              </a:rPr>
              <a:t>R&amp;D productivity throughout our entire value chain</a:t>
            </a:r>
          </a:p>
          <a:p>
            <a:pPr marL="285750" lvl="0" indent="-285750" defTabSz="1096730">
              <a:buFont typeface="Arial" panose="020B0604020202020204" pitchFamily="34" charset="0"/>
              <a:buChar char="•"/>
              <a:defRPr/>
            </a:pPr>
            <a:r>
              <a:rPr lang="en-IN" sz="1600" kern="0" dirty="0">
                <a:ln>
                  <a:solidFill>
                    <a:srgbClr val="FFFFFF">
                      <a:alpha val="0"/>
                    </a:srgbClr>
                  </a:solidFill>
                </a:ln>
                <a:solidFill>
                  <a:srgbClr val="505050"/>
                </a:solidFill>
              </a:rPr>
              <a:t>Gain a competitive advantage</a:t>
            </a:r>
            <a:endParaRPr kumimoji="0" lang="en-IN" sz="1600" b="0" i="0" u="none" strike="noStrike" kern="0" cap="none" spc="0" normalizeH="0" baseline="0" noProof="0" dirty="0">
              <a:ln>
                <a:solidFill>
                  <a:srgbClr val="FFFFFF">
                    <a:alpha val="0"/>
                  </a:srgbClr>
                </a:solidFill>
              </a:ln>
              <a:solidFill>
                <a:srgbClr val="505050"/>
              </a:solidFill>
              <a:effectLst/>
              <a:uLnTx/>
              <a:uFillTx/>
              <a:latin typeface="Segoe UI"/>
              <a:ea typeface="+mn-ea"/>
              <a:cs typeface="+mn-cs"/>
            </a:endParaRPr>
          </a:p>
          <a:p>
            <a:pPr marL="0" marR="0" lvl="0" indent="0" algn="l" defTabSz="1096730" rtl="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dirty="0">
              <a:ln>
                <a:solidFill>
                  <a:srgbClr val="FFFFFF">
                    <a:alpha val="0"/>
                  </a:srgbClr>
                </a:solidFill>
              </a:ln>
              <a:solidFill>
                <a:srgbClr val="505050"/>
              </a:solidFill>
              <a:effectLst/>
              <a:uLnTx/>
              <a:uFillTx/>
              <a:latin typeface="Segoe UI"/>
              <a:ea typeface="+mn-ea"/>
              <a:cs typeface="+mn-cs"/>
            </a:endParaRPr>
          </a:p>
        </p:txBody>
      </p:sp>
      <p:pic>
        <p:nvPicPr>
          <p:cNvPr id="182" name="Picture 181"/>
          <p:cNvPicPr>
            <a:picLocks noChangeAspect="1"/>
          </p:cNvPicPr>
          <p:nvPr/>
        </p:nvPicPr>
        <p:blipFill rotWithShape="1">
          <a:blip r:embed="rId4">
            <a:extLst/>
          </a:blip>
          <a:srcRect l="-205" r="5981"/>
          <a:stretch/>
        </p:blipFill>
        <p:spPr>
          <a:xfrm>
            <a:off x="7645400" y="1851410"/>
            <a:ext cx="1587499" cy="946551"/>
          </a:xfrm>
          <a:prstGeom prst="rect">
            <a:avLst/>
          </a:prstGeom>
        </p:spPr>
      </p:pic>
      <p:sp>
        <p:nvSpPr>
          <p:cNvPr id="183" name="Rectangle 182"/>
          <p:cNvSpPr/>
          <p:nvPr/>
        </p:nvSpPr>
        <p:spPr>
          <a:xfrm>
            <a:off x="303213" y="909570"/>
            <a:ext cx="11582400" cy="33855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a:defRPr/>
            </a:pPr>
            <a:r>
              <a:rPr lang="en-IN" dirty="0">
                <a:solidFill>
                  <a:srgbClr val="505050"/>
                </a:solidFill>
                <a:latin typeface="Segoe UI Light"/>
                <a:cs typeface="Segoe UI Semibold" panose="020B0702040204020203" pitchFamily="34" charset="0"/>
              </a:rPr>
              <a:t>Innovate to </a:t>
            </a:r>
            <a:r>
              <a:rPr lang="en-US" dirty="0">
                <a:solidFill>
                  <a:srgbClr val="505050"/>
                </a:solidFill>
                <a:latin typeface="Segoe UI Light"/>
                <a:cs typeface="Segoe UI Semibold" panose="020B0702040204020203" pitchFamily="34" charset="0"/>
              </a:rPr>
              <a:t>improve R&amp;D productivity, manufacturing, sales, and customer experiences</a:t>
            </a:r>
          </a:p>
        </p:txBody>
      </p:sp>
      <p:sp>
        <p:nvSpPr>
          <p:cNvPr id="184" name="Rectangle 183"/>
          <p:cNvSpPr/>
          <p:nvPr/>
        </p:nvSpPr>
        <p:spPr>
          <a:xfrm>
            <a:off x="5724525" y="1336672"/>
            <a:ext cx="6161088" cy="514738"/>
          </a:xfrm>
          <a:prstGeom prst="rect">
            <a:avLst/>
          </a:prstGeom>
          <a:solidFill>
            <a:schemeClr val="bg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ctr" anchorCtr="0" forceAA="0" compatLnSpc="1">
            <a:prstTxWarp prst="textNoShape">
              <a:avLst/>
            </a:prstTxWarp>
            <a:spAutoFit/>
          </a:bodyPr>
          <a:lstStyle/>
          <a:p>
            <a:pPr marL="0" marR="0" lvl="0" indent="0" algn="ctr" defTabSz="1088105" rtl="0" eaLnBrk="1" fontAlgn="auto" latinLnBrk="0" hangingPunct="1">
              <a:lnSpc>
                <a:spcPct val="100000"/>
              </a:lnSpc>
              <a:spcBef>
                <a:spcPts val="180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Segoe UI Light"/>
                <a:ea typeface="+mn-ea"/>
                <a:cs typeface="Segoe UI Semibold" panose="020B0702040204020203" pitchFamily="34" charset="0"/>
              </a:rPr>
              <a:t>Chief Innovation Officer</a:t>
            </a:r>
          </a:p>
        </p:txBody>
      </p:sp>
      <p:sp>
        <p:nvSpPr>
          <p:cNvPr id="185" name="Rectangle 184"/>
          <p:cNvSpPr/>
          <p:nvPr/>
        </p:nvSpPr>
        <p:spPr>
          <a:xfrm>
            <a:off x="303213" y="1336672"/>
            <a:ext cx="5334000" cy="2379214"/>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088105" rtl="0" eaLnBrk="1" fontAlgn="auto" latinLnBrk="0" hangingPunct="1">
              <a:lnSpc>
                <a:spcPct val="100000"/>
              </a:lnSpc>
              <a:spcBef>
                <a:spcPts val="1800"/>
              </a:spcBef>
              <a:spcAft>
                <a:spcPts val="0"/>
              </a:spcAft>
              <a:buClrTx/>
              <a:buSzTx/>
              <a:buFontTx/>
              <a:buNone/>
              <a:tabLst/>
              <a:defRPr/>
            </a:pPr>
            <a:r>
              <a:rPr kumimoji="0" lang="en-US" sz="2400" b="0" i="0" u="none" strike="noStrike" kern="1200" cap="none" spc="0" normalizeH="0" baseline="0" noProof="0" dirty="0">
                <a:ln>
                  <a:noFill/>
                </a:ln>
                <a:solidFill>
                  <a:srgbClr val="002050"/>
                </a:solidFill>
                <a:effectLst/>
                <a:uLnTx/>
                <a:uFillTx/>
                <a:latin typeface="Segoe UI Light"/>
                <a:ea typeface="+mn-ea"/>
                <a:cs typeface="Segoe UI Semibold" panose="020B0702040204020203" pitchFamily="34" charset="0"/>
              </a:rPr>
              <a:t>Current State</a:t>
            </a:r>
          </a:p>
          <a:p>
            <a:pPr marL="0" marR="0" lvl="0" indent="0" algn="l" defTabSz="1088105" rtl="0" eaLnBrk="1" fontAlgn="auto" latinLnBrk="0" hangingPunct="1">
              <a:lnSpc>
                <a:spcPct val="100000"/>
              </a:lnSpc>
              <a:spcBef>
                <a:spcPts val="600"/>
              </a:spcBef>
              <a:spcAft>
                <a:spcPts val="0"/>
              </a:spcAft>
              <a:buClrTx/>
              <a:buSzTx/>
              <a:buFontTx/>
              <a:buNone/>
              <a:tabLst/>
              <a:defRPr/>
            </a:pPr>
            <a:r>
              <a:rPr lang="en-US" sz="1400" dirty="0">
                <a:solidFill>
                  <a:schemeClr val="tx1"/>
                </a:solidFill>
              </a:rPr>
              <a:t>We are unable to keep pace with the demands our customers have for new services, features, and experiences. </a:t>
            </a:r>
          </a:p>
          <a:p>
            <a:pPr marL="0" marR="0" lvl="0" indent="0" algn="l" defTabSz="1088105" rtl="0" eaLnBrk="1" fontAlgn="auto" latinLnBrk="0" hangingPunct="1">
              <a:lnSpc>
                <a:spcPct val="100000"/>
              </a:lnSpc>
              <a:spcBef>
                <a:spcPts val="600"/>
              </a:spcBef>
              <a:spcAft>
                <a:spcPts val="0"/>
              </a:spcAft>
              <a:buClrTx/>
              <a:buSzTx/>
              <a:buFontTx/>
              <a:buNone/>
              <a:tabLst/>
              <a:defRPr/>
            </a:pPr>
            <a:r>
              <a:rPr lang="en-US" sz="1400" dirty="0">
                <a:solidFill>
                  <a:schemeClr val="tx1"/>
                </a:solidFill>
              </a:rPr>
              <a:t>Our investments in automotive design capabilities are not resulting in the types of products that engage our existing customers or attract new customers. </a:t>
            </a:r>
          </a:p>
          <a:p>
            <a:pPr marL="0" marR="0" lvl="0" indent="0" algn="l" defTabSz="1088105" rtl="0" eaLnBrk="1" fontAlgn="auto" latinLnBrk="0" hangingPunct="1">
              <a:lnSpc>
                <a:spcPct val="100000"/>
              </a:lnSpc>
              <a:spcBef>
                <a:spcPts val="600"/>
              </a:spcBef>
              <a:spcAft>
                <a:spcPts val="0"/>
              </a:spcAft>
              <a:buClrTx/>
              <a:buSzTx/>
              <a:buFontTx/>
              <a:buNone/>
              <a:tabLst/>
              <a:defRPr/>
            </a:pPr>
            <a:r>
              <a:rPr lang="en-US" sz="1400" dirty="0">
                <a:solidFill>
                  <a:schemeClr val="tx1"/>
                </a:solidFill>
              </a:rPr>
              <a:t>Shorter product life-cycles require us to be more aggressive and dynamic in innovating and integrating new features.</a:t>
            </a:r>
          </a:p>
          <a:p>
            <a:pPr marL="0" marR="0" lvl="0" indent="0" algn="l" defTabSz="1088105" rtl="0" eaLnBrk="1" fontAlgn="auto" latinLnBrk="0" hangingPunct="1">
              <a:lnSpc>
                <a:spcPct val="100000"/>
              </a:lnSpc>
              <a:spcBef>
                <a:spcPts val="1800"/>
              </a:spcBef>
              <a:spcAft>
                <a:spcPts val="0"/>
              </a:spcAft>
              <a:buClrTx/>
              <a:buSzTx/>
              <a:buFontTx/>
              <a:buNone/>
              <a:tabLst/>
              <a:defRPr/>
            </a:pPr>
            <a:endParaRPr kumimoji="0" lang="en-US" sz="2400" b="0" i="0" u="none" strike="noStrike" kern="1200" cap="none" spc="0" normalizeH="0" baseline="0" noProof="0" dirty="0">
              <a:ln>
                <a:noFill/>
              </a:ln>
              <a:solidFill>
                <a:srgbClr val="002050"/>
              </a:solidFill>
              <a:effectLst/>
              <a:uLnTx/>
              <a:uFillTx/>
              <a:latin typeface="Segoe UI Light"/>
              <a:ea typeface="+mn-ea"/>
              <a:cs typeface="+mn-cs"/>
            </a:endParaRPr>
          </a:p>
        </p:txBody>
      </p:sp>
      <p:sp>
        <p:nvSpPr>
          <p:cNvPr id="186" name="Rectangle 185"/>
          <p:cNvSpPr/>
          <p:nvPr/>
        </p:nvSpPr>
        <p:spPr>
          <a:xfrm>
            <a:off x="303213" y="3715886"/>
            <a:ext cx="5334000" cy="2498462"/>
          </a:xfrm>
          <a:prstGeom prst="rect">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088105" rtl="0" eaLnBrk="1" fontAlgn="auto" latinLnBrk="0" hangingPunct="1">
              <a:lnSpc>
                <a:spcPct val="100000"/>
              </a:lnSpc>
              <a:spcBef>
                <a:spcPts val="1200"/>
              </a:spcBef>
              <a:spcAft>
                <a:spcPts val="0"/>
              </a:spcAft>
              <a:buClrTx/>
              <a:buSzTx/>
              <a:buFontTx/>
              <a:buNone/>
              <a:tabLst/>
              <a:defRPr/>
            </a:pPr>
            <a:r>
              <a:rPr kumimoji="0" lang="en-US" sz="2400" b="0" i="0" u="none" strike="noStrike" kern="1200" cap="none" spc="0" normalizeH="0" baseline="0" noProof="0" dirty="0">
                <a:ln>
                  <a:noFill/>
                </a:ln>
                <a:solidFill>
                  <a:srgbClr val="002050"/>
                </a:solidFill>
                <a:effectLst/>
                <a:uLnTx/>
                <a:uFillTx/>
                <a:latin typeface="Segoe UI Light"/>
                <a:ea typeface="+mn-ea"/>
                <a:cs typeface="Segoe UI Semibold" panose="020B0702040204020203" pitchFamily="34" charset="0"/>
              </a:rPr>
              <a:t>Desired Future State</a:t>
            </a:r>
          </a:p>
          <a:p>
            <a:pPr lvl="0">
              <a:spcBef>
                <a:spcPts val="1200"/>
              </a:spcBef>
              <a:defRPr/>
            </a:pPr>
            <a:r>
              <a:rPr lang="en-US" sz="1400" dirty="0">
                <a:solidFill>
                  <a:schemeClr val="tx1"/>
                </a:solidFill>
              </a:rPr>
              <a:t>We have created channels for customers, dealers, employees and suppliers to proactively engage in everything from interior design of vehicles to innovations in engineering. </a:t>
            </a:r>
          </a:p>
          <a:p>
            <a:pPr lvl="0">
              <a:spcBef>
                <a:spcPts val="1200"/>
              </a:spcBef>
              <a:defRPr/>
            </a:pPr>
            <a:r>
              <a:rPr lang="en-US" sz="1400" dirty="0">
                <a:solidFill>
                  <a:schemeClr val="tx1"/>
                </a:solidFill>
              </a:rPr>
              <a:t>We have developed strategic partnerships between industry players to drive innovation and deliver products and services. </a:t>
            </a:r>
          </a:p>
          <a:p>
            <a:pPr lvl="0">
              <a:spcBef>
                <a:spcPts val="1200"/>
              </a:spcBef>
              <a:defRPr/>
            </a:pPr>
            <a:r>
              <a:rPr lang="en-US" sz="1400" dirty="0">
                <a:solidFill>
                  <a:schemeClr val="tx1"/>
                </a:solidFill>
              </a:rPr>
              <a:t>We engage customers and partners using the collaborative power of co-creation.</a:t>
            </a:r>
            <a:endParaRPr kumimoji="0" lang="en-US" sz="2400" b="0" i="0" u="none" strike="noStrike" kern="1200" cap="none" spc="0" normalizeH="0" baseline="0" noProof="0" dirty="0">
              <a:ln>
                <a:noFill/>
              </a:ln>
              <a:solidFill>
                <a:srgbClr val="002050"/>
              </a:solidFill>
              <a:effectLst/>
              <a:uLnTx/>
              <a:uFillTx/>
              <a:latin typeface="Segoe UI Light"/>
              <a:ea typeface="+mn-ea"/>
              <a:cs typeface="Segoe UI Semibold" panose="020B0702040204020203" pitchFamily="34" charset="0"/>
            </a:endParaRPr>
          </a:p>
        </p:txBody>
      </p:sp>
      <p:pic>
        <p:nvPicPr>
          <p:cNvPr id="187" name="Picture 186"/>
          <p:cNvPicPr>
            <a:picLocks noChangeAspect="1"/>
          </p:cNvPicPr>
          <p:nvPr/>
        </p:nvPicPr>
        <p:blipFill rotWithShape="1">
          <a:blip r:embed="rId5" cstate="email">
            <a:extLst>
              <a:ext uri="{28A0092B-C50C-407E-A947-70E740481C1C}">
                <a14:useLocalDpi xmlns:a14="http://schemas.microsoft.com/office/drawing/2010/main" val="0"/>
              </a:ext>
            </a:extLst>
          </a:blip>
          <a:srcRect l="10825" r="34512"/>
          <a:stretch/>
        </p:blipFill>
        <p:spPr>
          <a:xfrm>
            <a:off x="5724525" y="1851410"/>
            <a:ext cx="1924051" cy="1976049"/>
          </a:xfrm>
          <a:prstGeom prst="rect">
            <a:avLst/>
          </a:prstGeom>
          <a:noFill/>
          <a:ln>
            <a:noFill/>
          </a:ln>
        </p:spPr>
      </p:pic>
      <p:grpSp>
        <p:nvGrpSpPr>
          <p:cNvPr id="188" name="Group 187"/>
          <p:cNvGrpSpPr/>
          <p:nvPr/>
        </p:nvGrpSpPr>
        <p:grpSpPr>
          <a:xfrm>
            <a:off x="7645399" y="2771772"/>
            <a:ext cx="1590077" cy="1055687"/>
            <a:chOff x="8093075" y="2943515"/>
            <a:chExt cx="1762595" cy="1170225"/>
          </a:xfrm>
        </p:grpSpPr>
        <p:pic>
          <p:nvPicPr>
            <p:cNvPr id="189" name="Picture 18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201390" y="3065704"/>
              <a:ext cx="1545965" cy="925846"/>
            </a:xfrm>
            <a:prstGeom prst="rect">
              <a:avLst/>
            </a:prstGeom>
            <a:noFill/>
            <a:ln>
              <a:noFill/>
            </a:ln>
          </p:spPr>
        </p:pic>
        <p:pic>
          <p:nvPicPr>
            <p:cNvPr id="190" name="tablet" descr="\\sfp\Work\White_Whale\1-30017_CorinnaCalhoun\art\tablet cutout.png"/>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8093075" y="2943515"/>
              <a:ext cx="1762595" cy="1170225"/>
            </a:xfrm>
            <a:prstGeom prst="rect">
              <a:avLst/>
            </a:prstGeom>
            <a:noFill/>
            <a:ln>
              <a:noFill/>
            </a:ln>
            <a:extLst>
              <a:ext uri="{909E8E84-426E-40DD-AFC4-6F175D3DCCD1}">
                <a14:hiddenFill xmlns:a14="http://schemas.microsoft.com/office/drawing/2010/main">
                  <a:solidFill>
                    <a:srgbClr val="FFFFFF"/>
                  </a:solidFill>
                </a14:hiddenFill>
              </a:ext>
            </a:extLst>
          </p:spPr>
        </p:pic>
      </p:grpSp>
      <p:pic>
        <p:nvPicPr>
          <p:cNvPr id="191" name="Picture 190"/>
          <p:cNvPicPr>
            <a:picLocks noChangeAspect="1"/>
          </p:cNvPicPr>
          <p:nvPr/>
        </p:nvPicPr>
        <p:blipFill rotWithShape="1">
          <a:blip r:embed="rId8" cstate="email">
            <a:extLst>
              <a:ext uri="{28A0092B-C50C-407E-A947-70E740481C1C}">
                <a14:useLocalDpi xmlns:a14="http://schemas.microsoft.com/office/drawing/2010/main" val="0"/>
              </a:ext>
            </a:extLst>
          </a:blip>
          <a:srcRect l="20026" r="4301"/>
          <a:stretch/>
        </p:blipFill>
        <p:spPr>
          <a:xfrm>
            <a:off x="9232900" y="1851411"/>
            <a:ext cx="2652713" cy="1976048"/>
          </a:xfrm>
          <a:prstGeom prst="rect">
            <a:avLst/>
          </a:prstGeom>
          <a:noFill/>
          <a:ln>
            <a:noFill/>
          </a:ln>
        </p:spPr>
      </p:pic>
      <p:sp>
        <p:nvSpPr>
          <p:cNvPr id="4" name="Slide Number Placeholder 3"/>
          <p:cNvSpPr>
            <a:spLocks noGrp="1"/>
          </p:cNvSpPr>
          <p:nvPr>
            <p:ph type="sldNum" sz="quarter" idx="14"/>
          </p:nvPr>
        </p:nvSpPr>
        <p:spPr/>
        <p:txBody>
          <a:bodyPr/>
          <a:lstStyle/>
          <a:p>
            <a:pPr marL="0" marR="0" lvl="0" indent="0" algn="r" defTabSz="1088105"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1088105" rtl="0" eaLnBrk="1" fontAlgn="auto" latinLnBrk="0" hangingPunct="1">
                <a:lnSpc>
                  <a:spcPct val="100000"/>
                </a:lnSpc>
                <a:spcBef>
                  <a:spcPts val="0"/>
                </a:spcBef>
                <a:spcAft>
                  <a:spcPts val="0"/>
                </a:spcAft>
                <a:buClrTx/>
                <a:buSzTx/>
                <a:buFontTx/>
                <a:buNone/>
                <a:tabLst/>
                <a:defRPr/>
              </a:pPr>
              <a:t>49</a:t>
            </a:fld>
            <a:endParaRPr kumimoji="0" lang="en-US" sz="800" b="0" i="0" u="none" strike="noStrike" kern="1200" cap="none" spc="0" normalizeH="0" baseline="0" noProof="0">
              <a:ln>
                <a:noFill/>
              </a:ln>
              <a:solidFill>
                <a:srgbClr val="505050"/>
              </a:solidFill>
              <a:effectLst/>
              <a:uLnTx/>
              <a:uFillTx/>
              <a:latin typeface="Segoe UI" pitchFamily="34" charset="0"/>
              <a:cs typeface="Segoe UI" pitchFamily="34" charset="0"/>
            </a:endParaRPr>
          </a:p>
        </p:txBody>
      </p:sp>
      <p:sp>
        <p:nvSpPr>
          <p:cNvPr id="19" name="Text Placeholder 6"/>
          <p:cNvSpPr txBox="1">
            <a:spLocks/>
          </p:cNvSpPr>
          <p:nvPr/>
        </p:nvSpPr>
        <p:spPr>
          <a:xfrm>
            <a:off x="8389559" y="142996"/>
            <a:ext cx="3361765" cy="373063"/>
          </a:xfrm>
          <a:prstGeom prst="rect">
            <a:avLst/>
          </a:prstGeom>
        </p:spPr>
        <p:txBody>
          <a:bodyPr vert="horz" lIns="320040" tIns="53325" rIns="53325" bIns="53325" rtlCol="0">
            <a:noAutofit/>
          </a:bodyPr>
          <a:lstStyle>
            <a:lvl1pPr marL="0" indent="0" algn="l" defTabSz="1088105" rtl="0" eaLnBrk="1" latinLnBrk="0" hangingPunct="1">
              <a:spcBef>
                <a:spcPts val="1800"/>
              </a:spcBef>
              <a:buClr>
                <a:srgbClr val="0072C6"/>
              </a:buClr>
              <a:buSzPct val="100000"/>
              <a:buFont typeface="Wingdings" pitchFamily="2" charset="2"/>
              <a:buNone/>
              <a:defRPr sz="2800" kern="1200">
                <a:solidFill>
                  <a:schemeClr val="tx1"/>
                </a:solidFill>
                <a:latin typeface="Segoe UI Light" pitchFamily="34" charset="0"/>
                <a:ea typeface="Segoe UI" pitchFamily="34" charset="0"/>
                <a:cs typeface="Segoe UI" pitchFamily="34" charset="0"/>
              </a:defRPr>
            </a:lvl1pPr>
            <a:lvl2pPr marL="281674" indent="0" algn="l" defTabSz="1088105" rtl="0" eaLnBrk="1" latinLnBrk="0" hangingPunct="1">
              <a:spcBef>
                <a:spcPct val="20000"/>
              </a:spcBef>
              <a:buFont typeface="Arial" pitchFamily="34" charset="0"/>
              <a:buNone/>
              <a:defRPr sz="1800" kern="1200">
                <a:solidFill>
                  <a:schemeClr val="tx1"/>
                </a:solidFill>
                <a:latin typeface="Segoe UI" pitchFamily="34" charset="0"/>
                <a:ea typeface="Segoe UI" pitchFamily="34" charset="0"/>
                <a:cs typeface="Segoe UI" pitchFamily="34" charset="0"/>
              </a:defRPr>
            </a:lvl2pPr>
            <a:lvl3pPr marL="588476" indent="0" algn="l" defTabSz="1088105" rtl="0" eaLnBrk="1" latinLnBrk="0" hangingPunct="1">
              <a:spcBef>
                <a:spcPct val="20000"/>
              </a:spcBef>
              <a:buFont typeface="Arial" pitchFamily="34" charset="0"/>
              <a:buNone/>
              <a:defRPr sz="1600" kern="1200">
                <a:solidFill>
                  <a:schemeClr val="tx1"/>
                </a:solidFill>
                <a:latin typeface="Segoe UI" pitchFamily="34" charset="0"/>
                <a:ea typeface="Segoe UI" pitchFamily="34" charset="0"/>
                <a:cs typeface="Segoe UI" pitchFamily="34" charset="0"/>
              </a:defRPr>
            </a:lvl3pPr>
            <a:lvl4pPr marL="87015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4pPr>
            <a:lvl5pPr marL="110554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marL="0" marR="0" lvl="0" indent="0" algn="l" defTabSz="1088105" rtl="0" eaLnBrk="1" fontAlgn="auto" latinLnBrk="0" hangingPunct="1">
              <a:lnSpc>
                <a:spcPct val="100000"/>
              </a:lnSpc>
              <a:spcBef>
                <a:spcPts val="1800"/>
              </a:spcBef>
              <a:spcAft>
                <a:spcPts val="0"/>
              </a:spcAft>
              <a:buClr>
                <a:srgbClr val="0072C6"/>
              </a:buClr>
              <a:buSzPct val="100000"/>
              <a:buFont typeface="Wingdings" pitchFamily="2" charset="2"/>
              <a:buNone/>
              <a:tabLst/>
              <a:defRPr/>
            </a:pPr>
            <a:r>
              <a:rPr kumimoji="0" lang="en-US" sz="2800" b="0" i="0" u="none" strike="noStrike" kern="1200" cap="none" spc="0" normalizeH="0" baseline="0" noProof="0">
                <a:ln>
                  <a:noFill/>
                </a:ln>
                <a:solidFill>
                  <a:srgbClr val="505050"/>
                </a:solidFill>
                <a:effectLst/>
                <a:uLnTx/>
                <a:uFillTx/>
                <a:latin typeface="Segoe UI Light" pitchFamily="34" charset="0"/>
                <a:cs typeface="Segoe UI" pitchFamily="34" charset="0"/>
              </a:rPr>
              <a:t>Scenario Narrative</a:t>
            </a:r>
          </a:p>
        </p:txBody>
      </p:sp>
    </p:spTree>
    <p:extLst>
      <p:ext uri="{BB962C8B-B14F-4D97-AF65-F5344CB8AC3E}">
        <p14:creationId xmlns:p14="http://schemas.microsoft.com/office/powerpoint/2010/main" val="32032341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Digitally Transforming the Automotive Industry</a:t>
            </a:r>
          </a:p>
        </p:txBody>
      </p:sp>
      <p:sp>
        <p:nvSpPr>
          <p:cNvPr id="2" name="Slide Number Placeholder 1"/>
          <p:cNvSpPr>
            <a:spLocks noGrp="1"/>
          </p:cNvSpPr>
          <p:nvPr>
            <p:ph type="sldNum" sz="quarter" idx="15"/>
          </p:nvPr>
        </p:nvSpPr>
        <p:spPr/>
        <p:txBody>
          <a:bodyPr/>
          <a:lstStyle/>
          <a:p>
            <a:pPr marL="0" marR="0" lvl="0" indent="0" algn="r" defTabSz="1087779" rtl="0" eaLnBrk="1" fontAlgn="auto" latinLnBrk="0" hangingPunct="1">
              <a:lnSpc>
                <a:spcPct val="100000"/>
              </a:lnSpc>
              <a:spcBef>
                <a:spcPts val="0"/>
              </a:spcBef>
              <a:spcAft>
                <a:spcPts val="0"/>
              </a:spcAft>
              <a:buClrTx/>
              <a:buSzTx/>
              <a:buFontTx/>
              <a:buNone/>
              <a:tabLst/>
              <a:defRPr/>
            </a:pPr>
            <a:fld id="{FAADACFB-7C71-4E89-89D2-7BBA40B7BFA9}" type="slidenum">
              <a:rPr kumimoji="0" lang="en-US" sz="1799" b="0" i="0" u="none" strike="noStrike" kern="0" cap="none" spc="0" normalizeH="0" baseline="0" noProof="0">
                <a:ln>
                  <a:noFill/>
                </a:ln>
                <a:solidFill>
                  <a:srgbClr val="505050"/>
                </a:solidFill>
                <a:effectLst/>
                <a:uLnTx/>
                <a:uFillTx/>
                <a:latin typeface="Segoe UI" pitchFamily="34" charset="0"/>
                <a:cs typeface="Segoe UI" pitchFamily="34" charset="0"/>
              </a:rPr>
              <a:pPr marL="0" marR="0" lvl="0" indent="0" algn="r" defTabSz="1087779" rtl="0" eaLnBrk="1" fontAlgn="auto" latinLnBrk="0" hangingPunct="1">
                <a:lnSpc>
                  <a:spcPct val="100000"/>
                </a:lnSpc>
                <a:spcBef>
                  <a:spcPts val="0"/>
                </a:spcBef>
                <a:spcAft>
                  <a:spcPts val="0"/>
                </a:spcAft>
                <a:buClrTx/>
                <a:buSzTx/>
                <a:buFontTx/>
                <a:buNone/>
                <a:tabLst/>
                <a:defRPr/>
              </a:pPr>
              <a:t>5</a:t>
            </a:fld>
            <a:endParaRPr kumimoji="0" lang="en-US" sz="1799" b="0" i="0" u="none" strike="noStrike" kern="0" cap="none" spc="0" normalizeH="0" baseline="0" noProof="0">
              <a:ln>
                <a:noFill/>
              </a:ln>
              <a:solidFill>
                <a:srgbClr val="505050"/>
              </a:solidFill>
              <a:effectLst/>
              <a:uLnTx/>
              <a:uFillTx/>
              <a:latin typeface="Segoe UI" pitchFamily="34" charset="0"/>
              <a:cs typeface="Segoe UI" pitchFamily="34" charset="0"/>
            </a:endParaRPr>
          </a:p>
        </p:txBody>
      </p:sp>
      <p:sp>
        <p:nvSpPr>
          <p:cNvPr id="14" name="Rectangle 25"/>
          <p:cNvSpPr/>
          <p:nvPr/>
        </p:nvSpPr>
        <p:spPr bwMode="auto">
          <a:xfrm>
            <a:off x="2967016" y="2370959"/>
            <a:ext cx="8676080" cy="92836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4" tIns="91416" rIns="137124" bIns="91416" numCol="1" spcCol="0" rtlCol="0" fromWordArt="0" anchor="t" anchorCtr="0" forceAA="0" compatLnSpc="1">
            <a:prstTxWarp prst="textNoShape">
              <a:avLst/>
            </a:prstTxWarp>
            <a:noAutofit/>
          </a:bodyPr>
          <a:lstStyle/>
          <a:p>
            <a:pPr marL="0" marR="0" lvl="0" indent="0" algn="l" defTabSz="913852" rtl="0" eaLnBrk="1" fontAlgn="auto" latinLnBrk="0" hangingPunct="1">
              <a:lnSpc>
                <a:spcPct val="100000"/>
              </a:lnSpc>
              <a:spcBef>
                <a:spcPts val="0"/>
              </a:spcBef>
              <a:spcAft>
                <a:spcPts val="588"/>
              </a:spcAft>
              <a:buClrTx/>
              <a:buSzTx/>
              <a:buFontTx/>
              <a:buNone/>
              <a:tabLst/>
              <a:defRPr/>
            </a:pPr>
            <a:r>
              <a:rPr kumimoji="0" lang="en-US" sz="1600" b="0" i="0" u="none" strike="noStrike" kern="0" cap="none" spc="0" normalizeH="0" baseline="0" noProof="0">
                <a:ln>
                  <a:noFill/>
                </a:ln>
                <a:solidFill>
                  <a:srgbClr val="000000"/>
                </a:solidFill>
                <a:effectLst/>
                <a:uLnTx/>
                <a:uFillTx/>
                <a:latin typeface="Segoe UI"/>
                <a:ea typeface="+mn-ea"/>
                <a:cs typeface="+mn-cs"/>
              </a:rPr>
              <a:t>Enable your employees to keep up with your fast-moving customers, efficiently collaborating to quickly meet customer needs with agility.</a:t>
            </a:r>
          </a:p>
        </p:txBody>
      </p:sp>
      <p:sp>
        <p:nvSpPr>
          <p:cNvPr id="15" name="Rectangle 25"/>
          <p:cNvSpPr/>
          <p:nvPr/>
        </p:nvSpPr>
        <p:spPr bwMode="auto">
          <a:xfrm>
            <a:off x="2967017" y="3381812"/>
            <a:ext cx="8676080" cy="9283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4" tIns="91416" rIns="137124" bIns="91416" numCol="1" spcCol="0" rtlCol="0" fromWordArt="0" anchor="t" anchorCtr="0" forceAA="0" compatLnSpc="1">
            <a:prstTxWarp prst="textNoShape">
              <a:avLst/>
            </a:prstTxWarp>
            <a:noAutofit/>
          </a:bodyPr>
          <a:lstStyle/>
          <a:p>
            <a:pPr marL="0" marR="0" lvl="0" indent="0" algn="l" defTabSz="913852" rtl="0" eaLnBrk="1" fontAlgn="auto" latinLnBrk="0" hangingPunct="1">
              <a:lnSpc>
                <a:spcPct val="100000"/>
              </a:lnSpc>
              <a:spcBef>
                <a:spcPts val="0"/>
              </a:spcBef>
              <a:spcAft>
                <a:spcPts val="588"/>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a:ea typeface="+mn-ea"/>
                <a:cs typeface="+mn-cs"/>
              </a:rPr>
              <a:t>Increase the flow of information across your entire business operations, keep your business processes synchronized, and improve your interaction with partners and your supply chain.</a:t>
            </a:r>
          </a:p>
        </p:txBody>
      </p:sp>
      <p:sp>
        <p:nvSpPr>
          <p:cNvPr id="16" name="Rectangle 25"/>
          <p:cNvSpPr/>
          <p:nvPr/>
        </p:nvSpPr>
        <p:spPr bwMode="auto">
          <a:xfrm>
            <a:off x="2967018" y="4392665"/>
            <a:ext cx="8676080" cy="92836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4" tIns="91416" rIns="137124" bIns="91416" numCol="1" spcCol="0" rtlCol="0" fromWordArt="0" anchor="t" anchorCtr="0" forceAA="0" compatLnSpc="1">
            <a:prstTxWarp prst="textNoShape">
              <a:avLst/>
            </a:prstTxWarp>
            <a:noAutofit/>
          </a:bodyPr>
          <a:lstStyle/>
          <a:p>
            <a:pPr marL="0" marR="0" lvl="0" indent="0" algn="l" defTabSz="913852" rtl="0" eaLnBrk="1" fontAlgn="auto" latinLnBrk="0" hangingPunct="1">
              <a:lnSpc>
                <a:spcPct val="100000"/>
              </a:lnSpc>
              <a:spcBef>
                <a:spcPts val="0"/>
              </a:spcBef>
              <a:spcAft>
                <a:spcPts val="588"/>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a:ea typeface="+mn-ea"/>
                <a:cs typeface="+mn-cs"/>
              </a:rPr>
              <a:t>Gather information about the use of your products, design innovative features, and work collaboratively with a development team to improve products and develop new ones.</a:t>
            </a:r>
          </a:p>
        </p:txBody>
      </p:sp>
      <p:sp>
        <p:nvSpPr>
          <p:cNvPr id="23" name="Rectangle 24"/>
          <p:cNvSpPr/>
          <p:nvPr/>
        </p:nvSpPr>
        <p:spPr bwMode="auto">
          <a:xfrm>
            <a:off x="2967012" y="1360107"/>
            <a:ext cx="8676080" cy="92836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4" tIns="91416" rIns="137124" bIns="91416" numCol="1" spcCol="0" rtlCol="0" fromWordArt="0" anchor="t" anchorCtr="0" forceAA="0" compatLnSpc="1">
            <a:prstTxWarp prst="textNoShape">
              <a:avLst/>
            </a:prstTxWarp>
            <a:noAutofit/>
          </a:bodyPr>
          <a:lstStyle/>
          <a:p>
            <a:pPr marL="0" marR="0" lvl="0" indent="0" algn="l" defTabSz="913852" rtl="0" eaLnBrk="1" fontAlgn="auto" latinLnBrk="0" hangingPunct="1">
              <a:lnSpc>
                <a:spcPct val="100000"/>
              </a:lnSpc>
              <a:spcBef>
                <a:spcPts val="0"/>
              </a:spcBef>
              <a:spcAft>
                <a:spcPts val="588"/>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a:ea typeface="+mn-ea"/>
                <a:cs typeface="+mn-cs"/>
              </a:rPr>
              <a:t>Deliver personalized, rich, connected experiences to your customers, inspiring loyalty along every step of the customer journey.</a:t>
            </a:r>
          </a:p>
        </p:txBody>
      </p:sp>
      <p:sp>
        <p:nvSpPr>
          <p:cNvPr id="26" name="Rectangle 24"/>
          <p:cNvSpPr/>
          <p:nvPr/>
        </p:nvSpPr>
        <p:spPr bwMode="auto">
          <a:xfrm>
            <a:off x="384910" y="1360107"/>
            <a:ext cx="2453804" cy="92836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4" tIns="91416" rIns="137124" bIns="91416" numCol="1" spcCol="0" rtlCol="0" fromWordArt="0" anchor="t" anchorCtr="0" forceAA="0" compatLnSpc="1">
            <a:prstTxWarp prst="textNoShape">
              <a:avLst/>
            </a:prstTxWarp>
            <a:noAutofit/>
          </a:bodyPr>
          <a:lstStyle/>
          <a:p>
            <a:pPr marL="0" marR="0" lvl="0" indent="0" algn="l" defTabSz="913852" rtl="0" eaLnBrk="1" fontAlgn="auto" latinLnBrk="0" hangingPunct="1">
              <a:lnSpc>
                <a:spcPct val="100000"/>
              </a:lnSpc>
              <a:spcBef>
                <a:spcPts val="0"/>
              </a:spcBef>
              <a:spcAft>
                <a:spcPts val="588"/>
              </a:spcAft>
              <a:buClrTx/>
              <a:buSzTx/>
              <a:buFontTx/>
              <a:buNone/>
              <a:tabLst/>
              <a:defRPr/>
            </a:pPr>
            <a:r>
              <a:rPr kumimoji="0" lang="en-US" sz="1600" b="0" i="0" u="none" strike="noStrike" kern="0" cap="none" spc="0" normalizeH="0" baseline="0" noProof="0">
                <a:ln>
                  <a:noFill/>
                </a:ln>
                <a:solidFill>
                  <a:prstClr val="white"/>
                </a:solidFill>
                <a:effectLst/>
                <a:uLnTx/>
                <a:uFillTx/>
                <a:latin typeface="Segoe UI"/>
                <a:ea typeface="+mn-ea"/>
                <a:cs typeface="+mn-cs"/>
              </a:rPr>
              <a:t>&lt;&gt;</a:t>
            </a:r>
          </a:p>
        </p:txBody>
      </p:sp>
      <p:sp>
        <p:nvSpPr>
          <p:cNvPr id="27" name="Rectangle 24"/>
          <p:cNvSpPr/>
          <p:nvPr/>
        </p:nvSpPr>
        <p:spPr bwMode="auto">
          <a:xfrm>
            <a:off x="449059" y="1360106"/>
            <a:ext cx="2453804" cy="92836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4" tIns="91416" rIns="137124" bIns="91416" numCol="1" spcCol="0" rtlCol="0" fromWordArt="0" anchor="t" anchorCtr="0" forceAA="0" compatLnSpc="1">
            <a:prstTxWarp prst="textNoShape">
              <a:avLst/>
            </a:prstTxWarp>
            <a:noAutofit/>
          </a:bodyPr>
          <a:lstStyle/>
          <a:p>
            <a:pPr marL="0" marR="0" lvl="0" indent="0" algn="l" defTabSz="913852" rtl="0" eaLnBrk="1" fontAlgn="auto" latinLnBrk="0" hangingPunct="1">
              <a:lnSpc>
                <a:spcPct val="100000"/>
              </a:lnSpc>
              <a:spcBef>
                <a:spcPts val="0"/>
              </a:spcBef>
              <a:spcAft>
                <a:spcPts val="588"/>
              </a:spcAft>
              <a:buClrTx/>
              <a:buSzTx/>
              <a:buFontTx/>
              <a:buNone/>
              <a:tabLst/>
              <a:defRPr/>
            </a:pPr>
            <a:r>
              <a:rPr kumimoji="0" lang="en-US" sz="1999" b="0" i="0" u="none" strike="noStrike" kern="0" cap="none" spc="0" normalizeH="0" baseline="0" noProof="0">
                <a:ln>
                  <a:noFill/>
                </a:ln>
                <a:solidFill>
                  <a:prstClr val="white"/>
                </a:solidFill>
                <a:effectLst/>
                <a:uLnTx/>
                <a:uFillTx/>
                <a:latin typeface="Segoe UI"/>
                <a:ea typeface="+mn-ea"/>
                <a:cs typeface="+mn-cs"/>
              </a:rPr>
              <a:t>Engage Your Customers</a:t>
            </a:r>
          </a:p>
        </p:txBody>
      </p:sp>
      <p:sp>
        <p:nvSpPr>
          <p:cNvPr id="36" name="Rectangle 25"/>
          <p:cNvSpPr/>
          <p:nvPr/>
        </p:nvSpPr>
        <p:spPr bwMode="auto">
          <a:xfrm>
            <a:off x="384910" y="2370959"/>
            <a:ext cx="2517953" cy="92836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4" tIns="91416" rIns="137124" bIns="91416" numCol="1" spcCol="0" rtlCol="0" fromWordArt="0" anchor="t" anchorCtr="0" forceAA="0" compatLnSpc="1">
            <a:prstTxWarp prst="textNoShape">
              <a:avLst/>
            </a:prstTxWarp>
            <a:noAutofit/>
          </a:bodyPr>
          <a:lstStyle/>
          <a:p>
            <a:pPr marL="0" marR="0" lvl="0" indent="0" algn="l" defTabSz="913852" rtl="0" eaLnBrk="1" fontAlgn="auto" latinLnBrk="0" hangingPunct="1">
              <a:lnSpc>
                <a:spcPct val="100000"/>
              </a:lnSpc>
              <a:spcBef>
                <a:spcPts val="0"/>
              </a:spcBef>
              <a:spcAft>
                <a:spcPts val="588"/>
              </a:spcAft>
              <a:buClrTx/>
              <a:buSzTx/>
              <a:buFontTx/>
              <a:buNone/>
              <a:tabLst/>
              <a:defRPr/>
            </a:pPr>
            <a:r>
              <a:rPr kumimoji="0" lang="en-US" sz="1999" b="0" i="0" u="none" strike="noStrike" kern="0" cap="none" spc="0" normalizeH="0" baseline="0" noProof="0">
                <a:ln>
                  <a:noFill/>
                </a:ln>
                <a:solidFill>
                  <a:srgbClr val="000000"/>
                </a:solidFill>
                <a:effectLst/>
                <a:uLnTx/>
                <a:uFillTx/>
                <a:latin typeface="Segoe UI"/>
                <a:ea typeface="+mn-ea"/>
                <a:cs typeface="+mn-cs"/>
              </a:rPr>
              <a:t>Empower Your Employees</a:t>
            </a:r>
          </a:p>
        </p:txBody>
      </p:sp>
      <p:sp>
        <p:nvSpPr>
          <p:cNvPr id="37" name="Rectangle 25"/>
          <p:cNvSpPr/>
          <p:nvPr/>
        </p:nvSpPr>
        <p:spPr bwMode="auto">
          <a:xfrm>
            <a:off x="384911" y="3381812"/>
            <a:ext cx="2517953" cy="9283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4" tIns="91416" rIns="137124" bIns="91416" numCol="1" spcCol="0" rtlCol="0" fromWordArt="0" anchor="t" anchorCtr="0" forceAA="0" compatLnSpc="1">
            <a:prstTxWarp prst="textNoShape">
              <a:avLst/>
            </a:prstTxWarp>
            <a:noAutofit/>
          </a:bodyPr>
          <a:lstStyle/>
          <a:p>
            <a:pPr marL="0" marR="0" lvl="0" indent="0" algn="l" defTabSz="913852" rtl="0" eaLnBrk="1" fontAlgn="auto" latinLnBrk="0" hangingPunct="1">
              <a:lnSpc>
                <a:spcPct val="100000"/>
              </a:lnSpc>
              <a:spcBef>
                <a:spcPts val="0"/>
              </a:spcBef>
              <a:spcAft>
                <a:spcPts val="588"/>
              </a:spcAft>
              <a:buClrTx/>
              <a:buSzTx/>
              <a:buFontTx/>
              <a:buNone/>
              <a:tabLst/>
              <a:defRPr/>
            </a:pPr>
            <a:r>
              <a:rPr kumimoji="0" lang="en-US" sz="1999" b="0" i="0" u="none" strike="noStrike" kern="0" cap="none" spc="0" normalizeH="0" baseline="0" noProof="0">
                <a:ln>
                  <a:noFill/>
                </a:ln>
                <a:solidFill>
                  <a:prstClr val="white"/>
                </a:solidFill>
                <a:effectLst/>
                <a:uLnTx/>
                <a:uFillTx/>
                <a:latin typeface="Segoe UI"/>
                <a:ea typeface="+mn-ea"/>
                <a:cs typeface="+mn-cs"/>
              </a:rPr>
              <a:t>Optimize Your Business</a:t>
            </a:r>
          </a:p>
        </p:txBody>
      </p:sp>
      <p:sp>
        <p:nvSpPr>
          <p:cNvPr id="38" name="Rectangle 25"/>
          <p:cNvSpPr/>
          <p:nvPr/>
        </p:nvSpPr>
        <p:spPr bwMode="auto">
          <a:xfrm>
            <a:off x="384912" y="4392665"/>
            <a:ext cx="2517953" cy="92836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24" tIns="91416" rIns="137124" bIns="91416" numCol="1" spcCol="0" rtlCol="0" fromWordArt="0" anchor="t" anchorCtr="0" forceAA="0" compatLnSpc="1">
            <a:prstTxWarp prst="textNoShape">
              <a:avLst/>
            </a:prstTxWarp>
            <a:noAutofit/>
          </a:bodyPr>
          <a:lstStyle/>
          <a:p>
            <a:pPr marL="0" marR="0" lvl="0" indent="0" algn="l" defTabSz="913852" rtl="0" eaLnBrk="1" fontAlgn="auto" latinLnBrk="0" hangingPunct="1">
              <a:lnSpc>
                <a:spcPct val="100000"/>
              </a:lnSpc>
              <a:spcBef>
                <a:spcPts val="0"/>
              </a:spcBef>
              <a:spcAft>
                <a:spcPts val="588"/>
              </a:spcAft>
              <a:buClrTx/>
              <a:buSzTx/>
              <a:buFontTx/>
              <a:buNone/>
              <a:tabLst/>
              <a:defRPr/>
            </a:pPr>
            <a:r>
              <a:rPr kumimoji="0" lang="en-US" sz="1999" b="0" i="0" u="none" strike="noStrike" kern="0" cap="none" spc="0" normalizeH="0" baseline="0" noProof="0">
                <a:ln>
                  <a:noFill/>
                </a:ln>
                <a:solidFill>
                  <a:prstClr val="white"/>
                </a:solidFill>
                <a:effectLst/>
                <a:uLnTx/>
                <a:uFillTx/>
                <a:latin typeface="Segoe UI"/>
                <a:ea typeface="+mn-ea"/>
                <a:cs typeface="+mn-cs"/>
              </a:rPr>
              <a:t>Transform Your Products</a:t>
            </a:r>
          </a:p>
        </p:txBody>
      </p:sp>
    </p:spTree>
    <p:extLst>
      <p:ext uri="{BB962C8B-B14F-4D97-AF65-F5344CB8AC3E}">
        <p14:creationId xmlns:p14="http://schemas.microsoft.com/office/powerpoint/2010/main" val="30928851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Open Innovation</a:t>
            </a:r>
          </a:p>
        </p:txBody>
      </p:sp>
      <p:sp>
        <p:nvSpPr>
          <p:cNvPr id="4" name="Slide Number Placeholder 3"/>
          <p:cNvSpPr>
            <a:spLocks noGrp="1"/>
          </p:cNvSpPr>
          <p:nvPr>
            <p:ph type="sldNum" sz="quarter" idx="14"/>
          </p:nvPr>
        </p:nvSpPr>
        <p:spPr/>
        <p:txBody>
          <a:bodyPr/>
          <a:lstStyle/>
          <a:p>
            <a:pPr marL="0" marR="0" lvl="0" indent="0" algn="r" defTabSz="1088105"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1088105" rtl="0" eaLnBrk="1" fontAlgn="auto" latinLnBrk="0" hangingPunct="1">
                <a:lnSpc>
                  <a:spcPct val="100000"/>
                </a:lnSpc>
                <a:spcBef>
                  <a:spcPts val="0"/>
                </a:spcBef>
                <a:spcAft>
                  <a:spcPts val="0"/>
                </a:spcAft>
                <a:buClrTx/>
                <a:buSzTx/>
                <a:buFontTx/>
                <a:buNone/>
                <a:tabLst/>
                <a:defRPr/>
              </a:pPr>
              <a:t>50</a:t>
            </a:fld>
            <a:endParaRPr kumimoji="0" lang="en-US" sz="800" b="0" i="0" u="none" strike="noStrike" kern="1200" cap="none" spc="0" normalizeH="0" baseline="0" noProof="0">
              <a:ln>
                <a:noFill/>
              </a:ln>
              <a:solidFill>
                <a:srgbClr val="505050"/>
              </a:solidFill>
              <a:effectLst/>
              <a:uLnTx/>
              <a:uFillTx/>
              <a:latin typeface="Segoe UI" pitchFamily="34" charset="0"/>
              <a:cs typeface="Segoe UI" pitchFamily="34" charset="0"/>
            </a:endParaRPr>
          </a:p>
        </p:txBody>
      </p:sp>
      <p:sp>
        <p:nvSpPr>
          <p:cNvPr id="6" name="Text Box 4"/>
          <p:cNvSpPr txBox="1">
            <a:spLocks noChangeArrowheads="1"/>
          </p:cNvSpPr>
          <p:nvPr/>
        </p:nvSpPr>
        <p:spPr bwMode="gray">
          <a:xfrm>
            <a:off x="3391166" y="1696923"/>
            <a:ext cx="5397016" cy="2551227"/>
          </a:xfrm>
          <a:prstGeom prst="rect">
            <a:avLst/>
          </a:prstGeom>
          <a:solidFill>
            <a:schemeClr val="bg1">
              <a:lumMod val="95000"/>
            </a:schemeClr>
          </a:solidFill>
          <a:ln w="3175" cap="flat" cmpd="sng" algn="ctr">
            <a:solidFill>
              <a:schemeClr val="bg1">
                <a:lumMod val="75000"/>
              </a:schemeClr>
            </a:solid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685645"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Collaborative development and validation</a:t>
            </a:r>
          </a:p>
        </p:txBody>
      </p:sp>
      <p:sp>
        <p:nvSpPr>
          <p:cNvPr id="122" name="Oval 121"/>
          <p:cNvSpPr/>
          <p:nvPr/>
        </p:nvSpPr>
        <p:spPr>
          <a:xfrm>
            <a:off x="3455919" y="1926732"/>
            <a:ext cx="2259883" cy="1882772"/>
          </a:xfrm>
          <a:prstGeom prst="ellipse">
            <a:avLst/>
          </a:prstGeom>
          <a:solidFill>
            <a:srgbClr val="E4E4E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505050"/>
              </a:solidFill>
              <a:effectLst/>
              <a:uLnTx/>
              <a:uFillTx/>
              <a:latin typeface="Segoe UI"/>
              <a:ea typeface="+mn-ea"/>
              <a:cs typeface="+mn-cs"/>
            </a:endParaRPr>
          </a:p>
        </p:txBody>
      </p:sp>
      <p:sp>
        <p:nvSpPr>
          <p:cNvPr id="7" name="Text Box 4"/>
          <p:cNvSpPr txBox="1">
            <a:spLocks noChangeArrowheads="1"/>
          </p:cNvSpPr>
          <p:nvPr/>
        </p:nvSpPr>
        <p:spPr bwMode="gray">
          <a:xfrm>
            <a:off x="303212" y="1696923"/>
            <a:ext cx="2858806" cy="2551227"/>
          </a:xfrm>
          <a:prstGeom prst="rect">
            <a:avLst/>
          </a:prstGeom>
          <a:solidFill>
            <a:schemeClr val="bg1"/>
          </a:solidFill>
          <a:ln w="3175" cap="flat" cmpd="sng" algn="ctr">
            <a:solidFill>
              <a:schemeClr val="bg1">
                <a:lumMod val="75000"/>
              </a:schemeClr>
            </a:solid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685645"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Collective and insightful ideation</a:t>
            </a:r>
          </a:p>
        </p:txBody>
      </p:sp>
      <p:sp>
        <p:nvSpPr>
          <p:cNvPr id="126" name="Oval 125"/>
          <p:cNvSpPr/>
          <p:nvPr/>
        </p:nvSpPr>
        <p:spPr>
          <a:xfrm>
            <a:off x="2053109" y="1994940"/>
            <a:ext cx="1037265" cy="724639"/>
          </a:xfrm>
          <a:prstGeom prst="ellipse">
            <a:avLst/>
          </a:prstGeom>
          <a:solidFill>
            <a:srgbClr val="E4E4E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505050"/>
              </a:solidFill>
              <a:effectLst/>
              <a:uLnTx/>
              <a:uFillTx/>
              <a:latin typeface="Segoe UI"/>
              <a:ea typeface="+mn-ea"/>
              <a:cs typeface="+mn-cs"/>
            </a:endParaRPr>
          </a:p>
        </p:txBody>
      </p:sp>
      <p:sp>
        <p:nvSpPr>
          <p:cNvPr id="125" name="Oval 124"/>
          <p:cNvSpPr/>
          <p:nvPr/>
        </p:nvSpPr>
        <p:spPr>
          <a:xfrm>
            <a:off x="357928" y="2001159"/>
            <a:ext cx="1037265" cy="724639"/>
          </a:xfrm>
          <a:prstGeom prst="ellipse">
            <a:avLst/>
          </a:prstGeom>
          <a:solidFill>
            <a:srgbClr val="E4E4E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505050"/>
              </a:solidFill>
              <a:effectLst/>
              <a:uLnTx/>
              <a:uFillTx/>
              <a:latin typeface="Segoe UI"/>
              <a:ea typeface="+mn-ea"/>
              <a:cs typeface="+mn-cs"/>
            </a:endParaRPr>
          </a:p>
        </p:txBody>
      </p:sp>
      <p:sp>
        <p:nvSpPr>
          <p:cNvPr id="124" name="Oval 123"/>
          <p:cNvSpPr/>
          <p:nvPr/>
        </p:nvSpPr>
        <p:spPr>
          <a:xfrm>
            <a:off x="378644" y="3125394"/>
            <a:ext cx="1037265" cy="724639"/>
          </a:xfrm>
          <a:prstGeom prst="ellipse">
            <a:avLst/>
          </a:prstGeom>
          <a:solidFill>
            <a:srgbClr val="E4E4E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505050"/>
              </a:solidFill>
              <a:effectLst/>
              <a:uLnTx/>
              <a:uFillTx/>
              <a:latin typeface="Segoe UI"/>
              <a:ea typeface="+mn-ea"/>
              <a:cs typeface="+mn-cs"/>
            </a:endParaRPr>
          </a:p>
        </p:txBody>
      </p:sp>
      <p:sp>
        <p:nvSpPr>
          <p:cNvPr id="123" name="Oval 122"/>
          <p:cNvSpPr/>
          <p:nvPr/>
        </p:nvSpPr>
        <p:spPr>
          <a:xfrm>
            <a:off x="2053927" y="3132932"/>
            <a:ext cx="1037265" cy="724639"/>
          </a:xfrm>
          <a:prstGeom prst="ellipse">
            <a:avLst/>
          </a:prstGeom>
          <a:solidFill>
            <a:srgbClr val="E4E4E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505050"/>
              </a:solidFill>
              <a:effectLst/>
              <a:uLnTx/>
              <a:uFillTx/>
              <a:latin typeface="Segoe UI"/>
              <a:ea typeface="+mn-ea"/>
              <a:cs typeface="+mn-cs"/>
            </a:endParaRPr>
          </a:p>
        </p:txBody>
      </p:sp>
      <p:sp>
        <p:nvSpPr>
          <p:cNvPr id="8" name="Text Box 4"/>
          <p:cNvSpPr txBox="1">
            <a:spLocks noChangeArrowheads="1"/>
          </p:cNvSpPr>
          <p:nvPr/>
        </p:nvSpPr>
        <p:spPr bwMode="gray">
          <a:xfrm>
            <a:off x="9023540" y="1696923"/>
            <a:ext cx="2862072" cy="2551227"/>
          </a:xfrm>
          <a:prstGeom prst="rect">
            <a:avLst/>
          </a:prstGeom>
          <a:solidFill>
            <a:schemeClr val="bg1"/>
          </a:solidFill>
          <a:ln w="3175" cap="flat" cmpd="sng" algn="ctr">
            <a:solidFill>
              <a:schemeClr val="bg1">
                <a:lumMod val="75000"/>
              </a:schemeClr>
            </a:solid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685645"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Innovative and fast-to-market products</a:t>
            </a:r>
          </a:p>
        </p:txBody>
      </p:sp>
      <p:sp>
        <p:nvSpPr>
          <p:cNvPr id="9" name="Rectangle 8"/>
          <p:cNvSpPr/>
          <p:nvPr/>
        </p:nvSpPr>
        <p:spPr>
          <a:xfrm>
            <a:off x="303212" y="1275415"/>
            <a:ext cx="11582400" cy="276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l" defTabSz="1088105" rtl="0" eaLnBrk="1" fontAlgn="auto" latinLnBrk="0" hangingPunct="1">
              <a:lnSpc>
                <a:spcPct val="100000"/>
              </a:lnSpc>
              <a:spcBef>
                <a:spcPts val="0"/>
              </a:spcBef>
              <a:spcAft>
                <a:spcPts val="0"/>
              </a:spcAft>
              <a:buClrTx/>
              <a:buSzTx/>
              <a:buFontTx/>
              <a:buNone/>
              <a:tabLst/>
              <a:defRPr/>
            </a:pPr>
            <a:r>
              <a:rPr kumimoji="0" lang="en-IN" sz="1200" b="0" i="0" u="none" strike="noStrike" kern="1200" cap="none" spc="0" normalizeH="0" baseline="0" noProof="0" dirty="0">
                <a:ln>
                  <a:noFill/>
                </a:ln>
                <a:solidFill>
                  <a:prstClr val="white"/>
                </a:solidFill>
                <a:effectLst/>
                <a:uLnTx/>
                <a:uFillTx/>
                <a:latin typeface="Segoe UI"/>
                <a:ea typeface="+mn-ea"/>
                <a:cs typeface="Segoe UI Semibold" panose="020B0702040204020203" pitchFamily="34" charset="0"/>
              </a:rPr>
              <a:t>Lead global and accelerated product development by enabling remote collaboration, virtual prototyping, testing, and insightful development and validation of concepts.</a:t>
            </a:r>
          </a:p>
        </p:txBody>
      </p:sp>
      <p:grpSp>
        <p:nvGrpSpPr>
          <p:cNvPr id="10" name="Group 9"/>
          <p:cNvGrpSpPr/>
          <p:nvPr/>
        </p:nvGrpSpPr>
        <p:grpSpPr>
          <a:xfrm>
            <a:off x="303212" y="4762175"/>
            <a:ext cx="11582400" cy="1717539"/>
            <a:chOff x="303212" y="4677426"/>
            <a:chExt cx="11243879" cy="1843336"/>
          </a:xfrm>
        </p:grpSpPr>
        <p:grpSp>
          <p:nvGrpSpPr>
            <p:cNvPr id="11" name="Group 10"/>
            <p:cNvGrpSpPr/>
            <p:nvPr/>
          </p:nvGrpSpPr>
          <p:grpSpPr>
            <a:xfrm>
              <a:off x="303212" y="4677426"/>
              <a:ext cx="2858806" cy="1840423"/>
              <a:chOff x="303212" y="4677426"/>
              <a:chExt cx="2858806" cy="1840423"/>
            </a:xfrm>
          </p:grpSpPr>
          <p:sp>
            <p:nvSpPr>
              <p:cNvPr id="21" name="Text Box 4"/>
              <p:cNvSpPr txBox="1">
                <a:spLocks noChangeArrowheads="1"/>
              </p:cNvSpPr>
              <p:nvPr/>
            </p:nvSpPr>
            <p:spPr bwMode="gray">
              <a:xfrm>
                <a:off x="303212" y="4951747"/>
                <a:ext cx="2858806" cy="1566102"/>
              </a:xfrm>
              <a:prstGeom prst="rect">
                <a:avLst/>
              </a:prstGeom>
              <a:solidFill>
                <a:schemeClr val="bg1">
                  <a:lumMod val="95000"/>
                </a:schemeClr>
              </a:solidFill>
              <a:ln w="3175" cap="flat" cmpd="sng" algn="ctr">
                <a:no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505050"/>
                    </a:solidFill>
                    <a:effectLst/>
                    <a:uLnTx/>
                    <a:uFillTx/>
                    <a:latin typeface="Segoe UI"/>
                    <a:ea typeface="+mn-ea"/>
                    <a:cs typeface="+mn-cs"/>
                  </a:rPr>
                  <a:t>Revenue from new, fast-to-market, and innovative products</a:t>
                </a:r>
              </a:p>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505050"/>
                    </a:solidFill>
                    <a:effectLst/>
                    <a:uLnTx/>
                    <a:uFillTx/>
                    <a:latin typeface="Segoe UI"/>
                    <a:ea typeface="+mn-ea"/>
                    <a:cs typeface="+mn-cs"/>
                  </a:rPr>
                  <a:t>Shortened development cycle for new vehicles</a:t>
                </a:r>
              </a:p>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505050"/>
                    </a:solidFill>
                    <a:effectLst/>
                    <a:uLnTx/>
                    <a:uFillTx/>
                    <a:latin typeface="Segoe UI"/>
                    <a:ea typeface="+mn-ea"/>
                    <a:cs typeface="+mn-cs"/>
                  </a:rPr>
                  <a:t>Lower product development cost</a:t>
                </a:r>
              </a:p>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505050"/>
                    </a:solidFill>
                    <a:effectLst/>
                    <a:uLnTx/>
                    <a:uFillTx/>
                    <a:latin typeface="Segoe UI"/>
                    <a:ea typeface="+mn-ea"/>
                    <a:cs typeface="+mn-cs"/>
                  </a:rPr>
                  <a:t>Improved quality rating of vehicle line (design robustness)</a:t>
                </a:r>
              </a:p>
            </p:txBody>
          </p:sp>
          <p:sp>
            <p:nvSpPr>
              <p:cNvPr id="22" name="Rectangle 21"/>
              <p:cNvSpPr/>
              <p:nvPr/>
            </p:nvSpPr>
            <p:spPr>
              <a:xfrm>
                <a:off x="303212" y="4677426"/>
                <a:ext cx="2858806" cy="274320"/>
              </a:xfrm>
              <a:prstGeom prst="rect">
                <a:avLst/>
              </a:prstGeom>
              <a:solidFill>
                <a:schemeClr val="bg2"/>
              </a:solidFill>
              <a:ln w="3175" cap="flat" cmpd="sng" algn="ctr">
                <a:noFill/>
                <a:prstDash val="solid"/>
              </a:ln>
              <a:effectLst/>
            </p:spPr>
            <p:txBody>
              <a:bodyPr wrap="square" lIns="91440" tIns="45720" rIns="91440" bIns="45720" rtlCol="0" anchor="ctr">
                <a:noAutofit/>
              </a:bodyPr>
              <a:lstStyle/>
              <a:p>
                <a:pPr marL="0" marR="0" lvl="1" indent="0" algn="ctr" defTabSz="1218106" rtl="0" eaLnBrk="1" fontAlgn="base" latinLnBrk="0" hangingPunct="1">
                  <a:lnSpc>
                    <a:spcPct val="100000"/>
                  </a:lnSpc>
                  <a:spcBef>
                    <a:spcPts val="0"/>
                  </a:spcBef>
                  <a:spcAft>
                    <a:spcPts val="0"/>
                  </a:spcAft>
                  <a:buClr>
                    <a:srgbClr val="FFFF99"/>
                  </a:buClr>
                  <a:buSzPct val="90000"/>
                  <a:buFontTx/>
                  <a:buNone/>
                  <a:tabLst/>
                  <a:defRPr/>
                </a:pPr>
                <a:r>
                  <a:rPr kumimoji="0" lang="en-US" sz="1200" b="0" i="0" u="none" strike="noStrike" kern="0" cap="none" spc="0" normalizeH="0" baseline="0" noProof="0">
                    <a:ln>
                      <a:noFill/>
                    </a:ln>
                    <a:solidFill>
                      <a:srgbClr val="FFFFFF"/>
                    </a:solidFill>
                    <a:effectLst/>
                    <a:uLnTx/>
                    <a:uFillTx/>
                    <a:latin typeface="Segoe UI Semibold" panose="020B0702040204020203" pitchFamily="34" charset="0"/>
                    <a:ea typeface="Segoe UI" pitchFamily="34" charset="0"/>
                    <a:cs typeface="Segoe UI" pitchFamily="34" charset="0"/>
                  </a:rPr>
                  <a:t>Benefits</a:t>
                </a:r>
              </a:p>
            </p:txBody>
          </p:sp>
        </p:grpSp>
        <p:grpSp>
          <p:nvGrpSpPr>
            <p:cNvPr id="12" name="Group 11"/>
            <p:cNvGrpSpPr/>
            <p:nvPr/>
          </p:nvGrpSpPr>
          <p:grpSpPr>
            <a:xfrm>
              <a:off x="3221455" y="4677426"/>
              <a:ext cx="2678716" cy="1843336"/>
              <a:chOff x="3391166" y="4677426"/>
              <a:chExt cx="2678716" cy="1843336"/>
            </a:xfrm>
          </p:grpSpPr>
          <p:sp>
            <p:nvSpPr>
              <p:cNvPr id="19" name="Text Box 4"/>
              <p:cNvSpPr txBox="1">
                <a:spLocks noChangeArrowheads="1"/>
              </p:cNvSpPr>
              <p:nvPr/>
            </p:nvSpPr>
            <p:spPr bwMode="gray">
              <a:xfrm>
                <a:off x="3391166" y="4951747"/>
                <a:ext cx="2678716" cy="1569015"/>
              </a:xfrm>
              <a:prstGeom prst="rect">
                <a:avLst/>
              </a:prstGeom>
              <a:solidFill>
                <a:schemeClr val="bg1">
                  <a:lumMod val="95000"/>
                </a:schemeClr>
              </a:solidFill>
              <a:ln w="3175" cap="flat" cmpd="sng" algn="ctr">
                <a:no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505050"/>
                    </a:solidFill>
                    <a:effectLst/>
                    <a:uLnTx/>
                    <a:uFillTx/>
                    <a:latin typeface="Segoe UI"/>
                    <a:ea typeface="+mn-ea"/>
                    <a:cs typeface="+mn-cs"/>
                  </a:rPr>
                  <a:t>Using collective and collaborative brain power of employees, customers, dealers, and suppliers</a:t>
                </a:r>
              </a:p>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505050"/>
                    </a:solidFill>
                    <a:effectLst/>
                    <a:uLnTx/>
                    <a:uFillTx/>
                    <a:latin typeface="Segoe UI"/>
                    <a:ea typeface="+mn-ea"/>
                    <a:cs typeface="+mn-cs"/>
                  </a:rPr>
                  <a:t>Promoting virtual product development techniques</a:t>
                </a:r>
              </a:p>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505050"/>
                    </a:solidFill>
                    <a:effectLst/>
                    <a:uLnTx/>
                    <a:uFillTx/>
                    <a:latin typeface="Segoe UI"/>
                    <a:ea typeface="+mn-ea"/>
                    <a:cs typeface="+mn-cs"/>
                  </a:rPr>
                  <a:t>Using tools and analytics to gain insight into customer behavior, needs, and desires</a:t>
                </a:r>
              </a:p>
            </p:txBody>
          </p:sp>
          <p:sp>
            <p:nvSpPr>
              <p:cNvPr id="20" name="Rectangle 19"/>
              <p:cNvSpPr/>
              <p:nvPr/>
            </p:nvSpPr>
            <p:spPr>
              <a:xfrm>
                <a:off x="3391166" y="4677426"/>
                <a:ext cx="2678716" cy="274320"/>
              </a:xfrm>
              <a:prstGeom prst="rect">
                <a:avLst/>
              </a:prstGeom>
              <a:solidFill>
                <a:schemeClr val="tx2"/>
              </a:solidFill>
              <a:ln w="3175" cap="flat" cmpd="sng" algn="ctr">
                <a:noFill/>
                <a:prstDash val="solid"/>
              </a:ln>
              <a:effectLst/>
            </p:spPr>
            <p:txBody>
              <a:bodyPr wrap="square" lIns="91440" tIns="45720" rIns="91440" bIns="45720" rtlCol="0" anchor="ctr">
                <a:noAutofit/>
              </a:bodyPr>
              <a:lstStyle/>
              <a:p>
                <a:pPr marL="0" marR="0" lvl="1" indent="0" algn="ctr" defTabSz="1218106" rtl="0" eaLnBrk="1" fontAlgn="base" latinLnBrk="0" hangingPunct="1">
                  <a:lnSpc>
                    <a:spcPct val="100000"/>
                  </a:lnSpc>
                  <a:spcBef>
                    <a:spcPts val="200"/>
                  </a:spcBef>
                  <a:spcAft>
                    <a:spcPts val="0"/>
                  </a:spcAft>
                  <a:buClr>
                    <a:srgbClr val="FFFF99"/>
                  </a:buClr>
                  <a:buSzPct val="90000"/>
                  <a:buFontTx/>
                  <a:buNone/>
                  <a:tabLst/>
                  <a:defRPr/>
                </a:pPr>
                <a:r>
                  <a:rPr kumimoji="0" lang="en-US" sz="1200" b="0" i="0" u="none" strike="noStrike" kern="0" cap="none" spc="0" normalizeH="0" baseline="0" noProof="0">
                    <a:ln>
                      <a:noFill/>
                    </a:ln>
                    <a:solidFill>
                      <a:srgbClr val="FFFFFF"/>
                    </a:solidFill>
                    <a:effectLst/>
                    <a:uLnTx/>
                    <a:uFillTx/>
                    <a:latin typeface="Segoe UI Semibold" panose="020B0702040204020203" pitchFamily="34" charset="0"/>
                    <a:ea typeface="Segoe UI" pitchFamily="34" charset="0"/>
                    <a:cs typeface="Segoe UI" pitchFamily="34" charset="0"/>
                  </a:rPr>
                  <a:t>Start </a:t>
                </a:r>
              </a:p>
            </p:txBody>
          </p:sp>
        </p:grpSp>
        <p:grpSp>
          <p:nvGrpSpPr>
            <p:cNvPr id="13" name="Group 12"/>
            <p:cNvGrpSpPr/>
            <p:nvPr/>
          </p:nvGrpSpPr>
          <p:grpSpPr>
            <a:xfrm>
              <a:off x="5959608" y="4677426"/>
              <a:ext cx="2669241" cy="1843336"/>
              <a:chOff x="6118941" y="4677426"/>
              <a:chExt cx="2669241" cy="1843336"/>
            </a:xfrm>
          </p:grpSpPr>
          <p:sp>
            <p:nvSpPr>
              <p:cNvPr id="17" name="Text Box 4"/>
              <p:cNvSpPr txBox="1">
                <a:spLocks noChangeArrowheads="1"/>
              </p:cNvSpPr>
              <p:nvPr/>
            </p:nvSpPr>
            <p:spPr bwMode="gray">
              <a:xfrm>
                <a:off x="6118941" y="4951747"/>
                <a:ext cx="2669241" cy="1569015"/>
              </a:xfrm>
              <a:prstGeom prst="rect">
                <a:avLst/>
              </a:prstGeom>
              <a:solidFill>
                <a:schemeClr val="bg1">
                  <a:lumMod val="95000"/>
                </a:schemeClr>
              </a:solidFill>
              <a:ln w="3175" cap="flat" cmpd="sng" algn="ctr">
                <a:no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505050"/>
                    </a:solidFill>
                    <a:effectLst/>
                    <a:uLnTx/>
                    <a:uFillTx/>
                    <a:latin typeface="Segoe UI"/>
                    <a:ea typeface="+mn-ea"/>
                    <a:cs typeface="+mn-cs"/>
                  </a:rPr>
                  <a:t>Costly, in person product development activities</a:t>
                </a:r>
              </a:p>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505050"/>
                    </a:solidFill>
                    <a:effectLst/>
                    <a:uLnTx/>
                    <a:uFillTx/>
                    <a:latin typeface="Segoe UI"/>
                    <a:ea typeface="+mn-ea"/>
                    <a:cs typeface="+mn-cs"/>
                  </a:rPr>
                  <a:t>Designing products in silos</a:t>
                </a:r>
              </a:p>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505050"/>
                    </a:solidFill>
                    <a:effectLst/>
                    <a:uLnTx/>
                    <a:uFillTx/>
                    <a:latin typeface="Segoe UI"/>
                    <a:ea typeface="+mn-ea"/>
                    <a:cs typeface="+mn-cs"/>
                  </a:rPr>
                  <a:t>Relying on conventional </a:t>
                </a:r>
                <a:r>
                  <a:rPr lang="en-US" sz="1000" kern="0" dirty="0">
                    <a:ln>
                      <a:noFill/>
                    </a:ln>
                    <a:solidFill>
                      <a:srgbClr val="505050"/>
                    </a:solidFill>
                    <a:latin typeface="Segoe UI"/>
                  </a:rPr>
                  <a:t>innovation </a:t>
                </a:r>
                <a:r>
                  <a:rPr kumimoji="0" lang="en-US" sz="1000" b="0" i="0" u="none" strike="noStrike" kern="0" cap="none" spc="0" normalizeH="0" baseline="0" noProof="0" dirty="0">
                    <a:ln>
                      <a:noFill/>
                    </a:ln>
                    <a:solidFill>
                      <a:srgbClr val="505050"/>
                    </a:solidFill>
                    <a:effectLst/>
                    <a:uLnTx/>
                    <a:uFillTx/>
                    <a:latin typeface="Segoe UI"/>
                    <a:ea typeface="+mn-ea"/>
                    <a:cs typeface="+mn-cs"/>
                  </a:rPr>
                  <a:t>activities</a:t>
                </a:r>
              </a:p>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505050"/>
                    </a:solidFill>
                    <a:effectLst/>
                    <a:uLnTx/>
                    <a:uFillTx/>
                    <a:latin typeface="Segoe UI"/>
                    <a:ea typeface="+mn-ea"/>
                    <a:cs typeface="+mn-cs"/>
                  </a:rPr>
                  <a:t>Expensive physical builds and validation of prototypes</a:t>
                </a:r>
              </a:p>
            </p:txBody>
          </p:sp>
          <p:sp>
            <p:nvSpPr>
              <p:cNvPr id="18" name="Rectangle 17"/>
              <p:cNvSpPr/>
              <p:nvPr/>
            </p:nvSpPr>
            <p:spPr>
              <a:xfrm>
                <a:off x="6118941" y="4677426"/>
                <a:ext cx="2669241" cy="274320"/>
              </a:xfrm>
              <a:prstGeom prst="rect">
                <a:avLst/>
              </a:prstGeom>
              <a:solidFill>
                <a:schemeClr val="accent1"/>
              </a:solidFill>
              <a:ln w="3175" cap="flat" cmpd="sng" algn="ctr">
                <a:noFill/>
                <a:prstDash val="solid"/>
              </a:ln>
              <a:effectLst/>
            </p:spPr>
            <p:txBody>
              <a:bodyPr wrap="square" lIns="91440" tIns="45720" rIns="91440" bIns="45720" rtlCol="0" anchor="ctr">
                <a:noAutofit/>
              </a:bodyPr>
              <a:lstStyle/>
              <a:p>
                <a:pPr marL="0" marR="0" lvl="1" indent="0" algn="ctr" defTabSz="1218106" rtl="0" eaLnBrk="1" fontAlgn="base" latinLnBrk="0" hangingPunct="1">
                  <a:lnSpc>
                    <a:spcPct val="100000"/>
                  </a:lnSpc>
                  <a:spcBef>
                    <a:spcPts val="200"/>
                  </a:spcBef>
                  <a:spcAft>
                    <a:spcPts val="0"/>
                  </a:spcAft>
                  <a:buClr>
                    <a:srgbClr val="FFFF99"/>
                  </a:buClr>
                  <a:buSzPct val="90000"/>
                  <a:buFontTx/>
                  <a:buNone/>
                  <a:tabLst/>
                  <a:defRPr/>
                </a:pPr>
                <a:r>
                  <a:rPr kumimoji="0" lang="en-US" sz="1200" b="0" i="0" u="none" strike="noStrike" kern="0" cap="none" spc="0" normalizeH="0" baseline="0" noProof="0">
                    <a:ln>
                      <a:noFill/>
                    </a:ln>
                    <a:solidFill>
                      <a:srgbClr val="FFFFFF"/>
                    </a:solidFill>
                    <a:effectLst/>
                    <a:uLnTx/>
                    <a:uFillTx/>
                    <a:latin typeface="Segoe UI Semibold" panose="020B0702040204020203" pitchFamily="34" charset="0"/>
                    <a:ea typeface="Segoe UI" pitchFamily="34" charset="0"/>
                    <a:cs typeface="Segoe UI" pitchFamily="34" charset="0"/>
                  </a:rPr>
                  <a:t>Stop</a:t>
                </a:r>
              </a:p>
            </p:txBody>
          </p:sp>
        </p:grpSp>
        <p:grpSp>
          <p:nvGrpSpPr>
            <p:cNvPr id="14" name="Group 13"/>
            <p:cNvGrpSpPr/>
            <p:nvPr/>
          </p:nvGrpSpPr>
          <p:grpSpPr>
            <a:xfrm>
              <a:off x="8688285" y="4677426"/>
              <a:ext cx="2858806" cy="1843336"/>
              <a:chOff x="9026806" y="4677426"/>
              <a:chExt cx="2858806" cy="1843336"/>
            </a:xfrm>
          </p:grpSpPr>
          <p:sp>
            <p:nvSpPr>
              <p:cNvPr id="15" name="Text Box 4"/>
              <p:cNvSpPr txBox="1">
                <a:spLocks noChangeArrowheads="1"/>
              </p:cNvSpPr>
              <p:nvPr/>
            </p:nvSpPr>
            <p:spPr bwMode="gray">
              <a:xfrm>
                <a:off x="9026806" y="4951747"/>
                <a:ext cx="2858806" cy="1569015"/>
              </a:xfrm>
              <a:prstGeom prst="rect">
                <a:avLst/>
              </a:prstGeom>
              <a:solidFill>
                <a:schemeClr val="bg1">
                  <a:lumMod val="95000"/>
                </a:schemeClr>
              </a:solidFill>
              <a:ln w="3175" cap="flat" cmpd="sng" algn="ctr">
                <a:noFill/>
                <a:prstDash val="solid"/>
              </a:ln>
              <a:effectLst/>
            </p:spPr>
            <p:txBody>
              <a:bodyPr lIns="91440" tIns="45720" rIns="91440" bIns="45720" rtlCol="0" anchor="t">
                <a:noAutofit/>
              </a:bodyPr>
              <a:lstStyle>
                <a:defPPr>
                  <a:defRPr lang="en-US"/>
                </a:defPPr>
                <a:lvl1pPr defTabSz="685645">
                  <a:defRPr sz="800">
                    <a:ln>
                      <a:solidFill>
                        <a:schemeClr val="bg1">
                          <a:alpha val="0"/>
                        </a:schemeClr>
                      </a:solidFill>
                    </a:ln>
                    <a:solidFill>
                      <a:schemeClr val="tx1">
                        <a:lumMod val="75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r>
                  <a:rPr lang="en-US" sz="1000" kern="0" dirty="0">
                    <a:ln>
                      <a:noFill/>
                    </a:ln>
                    <a:solidFill>
                      <a:srgbClr val="505050"/>
                    </a:solidFill>
                    <a:latin typeface="Segoe UI"/>
                  </a:rPr>
                  <a:t>Improving insights to drive innovation</a:t>
                </a:r>
                <a:endParaRPr kumimoji="0" lang="en-US" sz="1000" b="0" i="0" u="none" strike="noStrike" kern="0" cap="none" spc="0" normalizeH="0" baseline="0" noProof="0" dirty="0">
                  <a:ln>
                    <a:noFill/>
                  </a:ln>
                  <a:solidFill>
                    <a:srgbClr val="505050"/>
                  </a:solidFill>
                  <a:effectLst/>
                  <a:uLnTx/>
                  <a:uFillTx/>
                  <a:latin typeface="Segoe UI"/>
                  <a:ea typeface="+mn-ea"/>
                  <a:cs typeface="+mn-cs"/>
                </a:endParaRPr>
              </a:p>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505050"/>
                    </a:solidFill>
                    <a:effectLst/>
                    <a:uLnTx/>
                    <a:uFillTx/>
                    <a:latin typeface="Segoe UI"/>
                    <a:ea typeface="+mn-ea"/>
                    <a:cs typeface="+mn-cs"/>
                  </a:rPr>
                  <a:t>Prioritizing investments in innovation</a:t>
                </a:r>
              </a:p>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505050"/>
                    </a:solidFill>
                    <a:effectLst/>
                    <a:uLnTx/>
                    <a:uFillTx/>
                    <a:latin typeface="Segoe UI"/>
                    <a:ea typeface="+mn-ea"/>
                    <a:cs typeface="+mn-cs"/>
                  </a:rPr>
                  <a:t>Virtually developing concepts</a:t>
                </a:r>
              </a:p>
              <a:p>
                <a:pPr marL="137160" marR="0" lvl="0" indent="-137160" algn="l" defTabSz="685645" rtl="0" eaLnBrk="1" fontAlgn="auto" latinLnBrk="0" hangingPunct="1">
                  <a:lnSpc>
                    <a:spcPct val="100000"/>
                  </a:lnSpc>
                  <a:spcBef>
                    <a:spcPts val="100"/>
                  </a:spcBef>
                  <a:spcAft>
                    <a:spcPts val="100"/>
                  </a:spcAft>
                  <a:buClrTx/>
                  <a:buSzTx/>
                  <a:buFont typeface="Arial" panose="020B0604020202020204" pitchFamily="34" charset="0"/>
                  <a:buChar char="•"/>
                  <a:tabLst/>
                  <a:defRPr/>
                </a:pPr>
                <a:r>
                  <a:rPr kumimoji="0" lang="en-US" sz="1000" b="0" i="0" u="none" strike="noStrike" kern="0" cap="none" spc="0" normalizeH="0" baseline="0" noProof="0" dirty="0">
                    <a:ln>
                      <a:noFill/>
                    </a:ln>
                    <a:solidFill>
                      <a:srgbClr val="505050"/>
                    </a:solidFill>
                    <a:effectLst/>
                    <a:uLnTx/>
                    <a:uFillTx/>
                    <a:latin typeface="Segoe UI"/>
                    <a:ea typeface="+mn-ea"/>
                    <a:cs typeface="+mn-cs"/>
                  </a:rPr>
                  <a:t>Improving understand of customer feedback and sentiment</a:t>
                </a:r>
              </a:p>
            </p:txBody>
          </p:sp>
          <p:sp>
            <p:nvSpPr>
              <p:cNvPr id="16" name="Rectangle 15"/>
              <p:cNvSpPr/>
              <p:nvPr/>
            </p:nvSpPr>
            <p:spPr>
              <a:xfrm>
                <a:off x="9026806" y="4677426"/>
                <a:ext cx="2858806" cy="274320"/>
              </a:xfrm>
              <a:prstGeom prst="rect">
                <a:avLst/>
              </a:prstGeom>
              <a:solidFill>
                <a:schemeClr val="accent2"/>
              </a:solidFill>
              <a:ln w="3175" cap="flat" cmpd="sng" algn="ctr">
                <a:noFill/>
                <a:prstDash val="solid"/>
              </a:ln>
              <a:effectLst/>
            </p:spPr>
            <p:txBody>
              <a:bodyPr wrap="square" lIns="91440" tIns="45720" rIns="91440" bIns="45720" rtlCol="0" anchor="ctr">
                <a:noAutofit/>
              </a:bodyPr>
              <a:lstStyle/>
              <a:p>
                <a:pPr marL="0" marR="0" lvl="1" indent="0" algn="ctr" defTabSz="1218106" rtl="0" eaLnBrk="1" fontAlgn="base" latinLnBrk="0" hangingPunct="1">
                  <a:lnSpc>
                    <a:spcPct val="100000"/>
                  </a:lnSpc>
                  <a:spcBef>
                    <a:spcPts val="200"/>
                  </a:spcBef>
                  <a:spcAft>
                    <a:spcPts val="0"/>
                  </a:spcAft>
                  <a:buClr>
                    <a:srgbClr val="FFFF99"/>
                  </a:buClr>
                  <a:buSzPct val="90000"/>
                  <a:buFontTx/>
                  <a:buNone/>
                  <a:tabLst/>
                  <a:defRPr/>
                </a:pPr>
                <a:r>
                  <a:rPr kumimoji="0" lang="en-US" sz="1200" b="0" i="0" u="none" strike="noStrike" kern="0" cap="none" spc="0" normalizeH="0" baseline="0" noProof="0">
                    <a:ln>
                      <a:noFill/>
                    </a:ln>
                    <a:solidFill>
                      <a:srgbClr val="505050"/>
                    </a:solidFill>
                    <a:effectLst/>
                    <a:uLnTx/>
                    <a:uFillTx/>
                    <a:latin typeface="Segoe UI Semibold" panose="020B0702040204020203" pitchFamily="34" charset="0"/>
                    <a:ea typeface="Segoe UI" pitchFamily="34" charset="0"/>
                    <a:cs typeface="Segoe UI" pitchFamily="34" charset="0"/>
                  </a:rPr>
                  <a:t>Continue</a:t>
                </a:r>
              </a:p>
            </p:txBody>
          </p:sp>
        </p:grpSp>
      </p:grpSp>
      <p:sp>
        <p:nvSpPr>
          <p:cNvPr id="23" name="Rectangle 22"/>
          <p:cNvSpPr/>
          <p:nvPr/>
        </p:nvSpPr>
        <p:spPr>
          <a:xfrm>
            <a:off x="303212" y="4315367"/>
            <a:ext cx="11582400" cy="3795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608884" rtl="0" eaLnBrk="1" fontAlgn="auto" latinLnBrk="0" hangingPunct="1">
              <a:lnSpc>
                <a:spcPct val="100000"/>
              </a:lnSpc>
              <a:spcBef>
                <a:spcPts val="200"/>
              </a:spcBef>
              <a:spcAft>
                <a:spcPts val="0"/>
              </a:spcAft>
              <a:buClrTx/>
              <a:buSzTx/>
              <a:buFontTx/>
              <a:buNone/>
              <a:tabLst/>
              <a:defRPr/>
            </a:pPr>
            <a:r>
              <a:rPr kumimoji="0" lang="en-US" sz="12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Top-line Impact</a:t>
            </a:r>
          </a:p>
          <a:p>
            <a:pPr marL="0" marR="0" lvl="0" indent="0" algn="l" defTabSz="608884" rtl="0" eaLnBrk="1" fontAlgn="auto" latinLnBrk="0" hangingPunct="1">
              <a:lnSpc>
                <a:spcPct val="100000"/>
              </a:lnSpc>
              <a:spcBef>
                <a:spcPts val="20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UI"/>
                <a:ea typeface="+mn-ea"/>
                <a:cs typeface="Segoe UI Semibold" panose="020B0702040204020203" pitchFamily="34" charset="0"/>
              </a:rPr>
              <a:t>Innovative and differentiated products inspired by customers, created using collaborative development techniques, and continuously refined via a connected value chain. </a:t>
            </a:r>
          </a:p>
        </p:txBody>
      </p:sp>
      <p:sp>
        <p:nvSpPr>
          <p:cNvPr id="24" name="Isosceles Triangle 23"/>
          <p:cNvSpPr/>
          <p:nvPr/>
        </p:nvSpPr>
        <p:spPr>
          <a:xfrm rot="5400000">
            <a:off x="3078217" y="2894423"/>
            <a:ext cx="396749" cy="156227"/>
          </a:xfrm>
          <a:prstGeom prst="triangle">
            <a:avLst/>
          </a:prstGeom>
          <a:solidFill>
            <a:srgbClr val="5E83BD"/>
          </a:solidFill>
        </p:spPr>
        <p:txBody>
          <a:bodyPr vert="horz" lIns="137160" tIns="91440" rIns="91440" bIns="91440" rtlCol="0" anchor="t" anchorCtr="0">
            <a:noAutofit/>
          </a:bodyPr>
          <a:lstStyle/>
          <a:p>
            <a:pPr marL="0" marR="0" lvl="0" indent="0" algn="ctr" defTabSz="914241" rtl="0" eaLnBrk="1" fontAlgn="auto" latinLnBrk="0" hangingPunct="1">
              <a:lnSpc>
                <a:spcPct val="100000"/>
              </a:lnSpc>
              <a:spcBef>
                <a:spcPts val="0"/>
              </a:spcBef>
              <a:spcAft>
                <a:spcPts val="0"/>
              </a:spcAft>
              <a:buClrTx/>
              <a:buSzTx/>
              <a:buFontTx/>
              <a:buNone/>
              <a:tabLst/>
              <a:defRPr/>
            </a:pPr>
            <a:endParaRPr kumimoji="0" lang="en-US" sz="900" b="0" i="0" u="none" strike="noStrike" kern="800" cap="none" spc="0" normalizeH="0" baseline="0" noProof="0">
              <a:ln>
                <a:noFill/>
              </a:ln>
              <a:solidFill>
                <a:srgbClr val="FFFFFF"/>
              </a:solidFill>
              <a:effectLst/>
              <a:uLnTx/>
              <a:uFillTx/>
              <a:latin typeface="Segoe UI"/>
              <a:ea typeface="+mn-ea"/>
              <a:cs typeface="Segoe UI Light"/>
            </a:endParaRPr>
          </a:p>
        </p:txBody>
      </p:sp>
      <p:sp>
        <p:nvSpPr>
          <p:cNvPr id="25" name="Isosceles Triangle 24"/>
          <p:cNvSpPr/>
          <p:nvPr/>
        </p:nvSpPr>
        <p:spPr>
          <a:xfrm rot="5400000">
            <a:off x="8707486" y="2894423"/>
            <a:ext cx="396749" cy="156227"/>
          </a:xfrm>
          <a:prstGeom prst="triangle">
            <a:avLst/>
          </a:prstGeom>
          <a:solidFill>
            <a:srgbClr val="5E83BD"/>
          </a:solidFill>
        </p:spPr>
        <p:txBody>
          <a:bodyPr vert="horz" lIns="137160" tIns="91440" rIns="91440" bIns="91440" rtlCol="0" anchor="t" anchorCtr="0">
            <a:noAutofit/>
          </a:bodyPr>
          <a:lstStyle/>
          <a:p>
            <a:pPr marL="0" marR="0" lvl="0" indent="0" algn="ctr" defTabSz="914241" rtl="0" eaLnBrk="1" fontAlgn="auto" latinLnBrk="0" hangingPunct="1">
              <a:lnSpc>
                <a:spcPct val="100000"/>
              </a:lnSpc>
              <a:spcBef>
                <a:spcPts val="0"/>
              </a:spcBef>
              <a:spcAft>
                <a:spcPts val="0"/>
              </a:spcAft>
              <a:buClrTx/>
              <a:buSzTx/>
              <a:buFontTx/>
              <a:buNone/>
              <a:tabLst/>
              <a:defRPr/>
            </a:pPr>
            <a:endParaRPr kumimoji="0" lang="en-US" sz="900" b="0" i="0" u="none" strike="noStrike" kern="800" cap="none" spc="0" normalizeH="0" baseline="0" noProof="0">
              <a:ln>
                <a:noFill/>
              </a:ln>
              <a:solidFill>
                <a:srgbClr val="505050"/>
              </a:solidFill>
              <a:effectLst/>
              <a:uLnTx/>
              <a:uFillTx/>
              <a:latin typeface="Segoe UI"/>
              <a:ea typeface="+mn-ea"/>
              <a:cs typeface="Segoe UI Light"/>
            </a:endParaRPr>
          </a:p>
        </p:txBody>
      </p:sp>
      <p:sp>
        <p:nvSpPr>
          <p:cNvPr id="27" name="Rectangle 26"/>
          <p:cNvSpPr/>
          <p:nvPr/>
        </p:nvSpPr>
        <p:spPr bwMode="auto">
          <a:xfrm>
            <a:off x="2113513" y="3876121"/>
            <a:ext cx="932050" cy="369332"/>
          </a:xfrm>
          <a:prstGeom prst="rect">
            <a:avLst/>
          </a:prstGeom>
          <a:noFill/>
          <a:ln w="9525" cap="flat" cmpd="sng" algn="ctr">
            <a:noFill/>
            <a:prstDash val="sysDot"/>
            <a:headEnd type="none" w="med" len="med"/>
            <a:tailEnd type="none" w="med" len="med"/>
          </a:ln>
          <a:effectLst/>
        </p:spPr>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rPr>
              <a:t>Collaborative </a:t>
            </a:r>
            <a:br>
              <a:rPr kumimoji="0" lang="en-US" sz="1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rPr>
            </a:br>
            <a:r>
              <a:rPr kumimoji="0" lang="en-US" sz="1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rPr>
              <a:t>Ideation</a:t>
            </a:r>
          </a:p>
        </p:txBody>
      </p:sp>
      <p:grpSp>
        <p:nvGrpSpPr>
          <p:cNvPr id="28" name="Group 27"/>
          <p:cNvGrpSpPr/>
          <p:nvPr/>
        </p:nvGrpSpPr>
        <p:grpSpPr>
          <a:xfrm>
            <a:off x="2131064" y="3166272"/>
            <a:ext cx="896948" cy="587565"/>
            <a:chOff x="1752018" y="3100594"/>
            <a:chExt cx="896948" cy="587565"/>
          </a:xfrm>
          <a:solidFill>
            <a:srgbClr val="5E83BD"/>
          </a:solidFill>
        </p:grpSpPr>
        <p:sp>
          <p:nvSpPr>
            <p:cNvPr id="29" name="Freeform 95"/>
            <p:cNvSpPr>
              <a:spLocks/>
            </p:cNvSpPr>
            <p:nvPr/>
          </p:nvSpPr>
          <p:spPr bwMode="black">
            <a:xfrm>
              <a:off x="2220956" y="3100594"/>
              <a:ext cx="170750" cy="173919"/>
            </a:xfrm>
            <a:custGeom>
              <a:avLst/>
              <a:gdLst>
                <a:gd name="T0" fmla="*/ 59 w 67"/>
                <a:gd name="T1" fmla="*/ 0 h 67"/>
                <a:gd name="T2" fmla="*/ 9 w 67"/>
                <a:gd name="T3" fmla="*/ 0 h 67"/>
                <a:gd name="T4" fmla="*/ 0 w 67"/>
                <a:gd name="T5" fmla="*/ 9 h 67"/>
                <a:gd name="T6" fmla="*/ 0 w 67"/>
                <a:gd name="T7" fmla="*/ 41 h 67"/>
                <a:gd name="T8" fmla="*/ 9 w 67"/>
                <a:gd name="T9" fmla="*/ 50 h 67"/>
                <a:gd name="T10" fmla="*/ 21 w 67"/>
                <a:gd name="T11" fmla="*/ 50 h 67"/>
                <a:gd name="T12" fmla="*/ 47 w 67"/>
                <a:gd name="T13" fmla="*/ 67 h 67"/>
                <a:gd name="T14" fmla="*/ 41 w 67"/>
                <a:gd name="T15" fmla="*/ 50 h 67"/>
                <a:gd name="T16" fmla="*/ 59 w 67"/>
                <a:gd name="T17" fmla="*/ 50 h 67"/>
                <a:gd name="T18" fmla="*/ 67 w 67"/>
                <a:gd name="T19" fmla="*/ 41 h 67"/>
                <a:gd name="T20" fmla="*/ 67 w 67"/>
                <a:gd name="T21" fmla="*/ 9 h 67"/>
                <a:gd name="T22" fmla="*/ 59 w 67"/>
                <a:gd name="T2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67">
                  <a:moveTo>
                    <a:pt x="59" y="0"/>
                  </a:moveTo>
                  <a:cubicBezTo>
                    <a:pt x="9" y="0"/>
                    <a:pt x="9" y="0"/>
                    <a:pt x="9" y="0"/>
                  </a:cubicBezTo>
                  <a:cubicBezTo>
                    <a:pt x="4" y="0"/>
                    <a:pt x="0" y="4"/>
                    <a:pt x="0" y="9"/>
                  </a:cubicBezTo>
                  <a:cubicBezTo>
                    <a:pt x="0" y="41"/>
                    <a:pt x="0" y="41"/>
                    <a:pt x="0" y="41"/>
                  </a:cubicBezTo>
                  <a:cubicBezTo>
                    <a:pt x="0" y="46"/>
                    <a:pt x="4" y="50"/>
                    <a:pt x="9" y="50"/>
                  </a:cubicBezTo>
                  <a:cubicBezTo>
                    <a:pt x="21" y="50"/>
                    <a:pt x="21" y="50"/>
                    <a:pt x="21" y="50"/>
                  </a:cubicBezTo>
                  <a:cubicBezTo>
                    <a:pt x="47" y="67"/>
                    <a:pt x="47" y="67"/>
                    <a:pt x="47" y="67"/>
                  </a:cubicBezTo>
                  <a:cubicBezTo>
                    <a:pt x="41" y="50"/>
                    <a:pt x="41" y="50"/>
                    <a:pt x="41" y="50"/>
                  </a:cubicBezTo>
                  <a:cubicBezTo>
                    <a:pt x="59" y="50"/>
                    <a:pt x="59" y="50"/>
                    <a:pt x="59" y="50"/>
                  </a:cubicBezTo>
                  <a:cubicBezTo>
                    <a:pt x="63" y="50"/>
                    <a:pt x="67" y="46"/>
                    <a:pt x="67" y="41"/>
                  </a:cubicBezTo>
                  <a:cubicBezTo>
                    <a:pt x="67" y="9"/>
                    <a:pt x="67" y="9"/>
                    <a:pt x="67" y="9"/>
                  </a:cubicBezTo>
                  <a:cubicBezTo>
                    <a:pt x="67" y="4"/>
                    <a:pt x="63" y="0"/>
                    <a:pt x="59" y="0"/>
                  </a:cubicBezTo>
                </a:path>
              </a:pathLst>
            </a:custGeom>
            <a:grpFill/>
            <a:ln>
              <a:noFill/>
            </a:ln>
            <a:extLst/>
          </p:spPr>
          <p:txBody>
            <a:bodyPr lIns="121792" tIns="60896" rIns="121792" bIns="60896"/>
            <a:lstStyle/>
            <a:p>
              <a:pPr marL="0" marR="0" lvl="0" indent="0" algn="l" defTabSz="608899" rtl="0" eaLnBrk="1" fontAlgn="auto" latinLnBrk="0" hangingPunct="1">
                <a:lnSpc>
                  <a:spcPct val="100000"/>
                </a:lnSpc>
                <a:spcBef>
                  <a:spcPts val="0"/>
                </a:spcBef>
                <a:spcAft>
                  <a:spcPts val="0"/>
                </a:spcAft>
                <a:buClrTx/>
                <a:buSzTx/>
                <a:buFontTx/>
                <a:buNone/>
                <a:tabLst/>
                <a:defRPr/>
              </a:pPr>
              <a:endParaRPr kumimoji="0" lang="en-US" sz="2396" b="0" i="0" u="none" strike="noStrike" kern="1200" cap="none" spc="0" normalizeH="0" baseline="0" noProof="0">
                <a:ln>
                  <a:noFill/>
                </a:ln>
                <a:solidFill>
                  <a:srgbClr val="505050"/>
                </a:solidFill>
                <a:effectLst/>
                <a:uLnTx/>
                <a:uFillTx/>
                <a:latin typeface="Segoe UI"/>
                <a:ea typeface="+mn-ea"/>
                <a:cs typeface="+mn-cs"/>
              </a:endParaRPr>
            </a:p>
          </p:txBody>
        </p:sp>
        <p:sp>
          <p:nvSpPr>
            <p:cNvPr id="30" name="Freeform 694"/>
            <p:cNvSpPr/>
            <p:nvPr/>
          </p:nvSpPr>
          <p:spPr bwMode="auto">
            <a:xfrm>
              <a:off x="2483141" y="3305006"/>
              <a:ext cx="161212" cy="379901"/>
            </a:xfrm>
            <a:custGeom>
              <a:avLst/>
              <a:gdLst>
                <a:gd name="connsiteX0" fmla="*/ 1493818 w 2987636"/>
                <a:gd name="connsiteY0" fmla="*/ 1720401 h 6944407"/>
                <a:gd name="connsiteX1" fmla="*/ 2987636 w 2987636"/>
                <a:gd name="connsiteY1" fmla="*/ 3214219 h 6944407"/>
                <a:gd name="connsiteX2" fmla="*/ 2920477 w 2987636"/>
                <a:gd name="connsiteY2" fmla="*/ 3658435 h 6944407"/>
                <a:gd name="connsiteX3" fmla="*/ 2895229 w 2987636"/>
                <a:gd name="connsiteY3" fmla="*/ 3727419 h 6944407"/>
                <a:gd name="connsiteX4" fmla="*/ 2892060 w 2987636"/>
                <a:gd name="connsiteY4" fmla="*/ 3777386 h 6944407"/>
                <a:gd name="connsiteX5" fmla="*/ 2797911 w 2987636"/>
                <a:gd name="connsiteY5" fmla="*/ 4346993 h 6944407"/>
                <a:gd name="connsiteX6" fmla="*/ 2441889 w 2987636"/>
                <a:gd name="connsiteY6" fmla="*/ 4729802 h 6944407"/>
                <a:gd name="connsiteX7" fmla="*/ 2404407 w 2987636"/>
                <a:gd name="connsiteY7" fmla="*/ 4734977 h 6944407"/>
                <a:gd name="connsiteX8" fmla="*/ 1975658 w 2987636"/>
                <a:gd name="connsiteY8" fmla="*/ 6777550 h 6944407"/>
                <a:gd name="connsiteX9" fmla="*/ 1956147 w 2987636"/>
                <a:gd name="connsiteY9" fmla="*/ 6822919 h 6944407"/>
                <a:gd name="connsiteX10" fmla="*/ 1951059 w 2987636"/>
                <a:gd name="connsiteY10" fmla="*/ 6848128 h 6944407"/>
                <a:gd name="connsiteX11" fmla="*/ 1805808 w 2987636"/>
                <a:gd name="connsiteY11" fmla="*/ 6944407 h 6944407"/>
                <a:gd name="connsiteX12" fmla="*/ 1175273 w 2987636"/>
                <a:gd name="connsiteY12" fmla="*/ 6944406 h 6944407"/>
                <a:gd name="connsiteX13" fmla="*/ 1030024 w 2987636"/>
                <a:gd name="connsiteY13" fmla="*/ 6848128 h 6944407"/>
                <a:gd name="connsiteX14" fmla="*/ 1024933 w 2987636"/>
                <a:gd name="connsiteY14" fmla="*/ 6822919 h 6944407"/>
                <a:gd name="connsiteX15" fmla="*/ 1005424 w 2987636"/>
                <a:gd name="connsiteY15" fmla="*/ 6777550 h 6944407"/>
                <a:gd name="connsiteX16" fmla="*/ 575736 w 2987636"/>
                <a:gd name="connsiteY16" fmla="*/ 4730505 h 6944407"/>
                <a:gd name="connsiteX17" fmla="*/ 570642 w 2987636"/>
                <a:gd name="connsiteY17" fmla="*/ 4729802 h 6944407"/>
                <a:gd name="connsiteX18" fmla="*/ 214621 w 2987636"/>
                <a:gd name="connsiteY18" fmla="*/ 4346993 h 6944407"/>
                <a:gd name="connsiteX19" fmla="*/ 126684 w 2987636"/>
                <a:gd name="connsiteY19" fmla="*/ 3814969 h 6944407"/>
                <a:gd name="connsiteX20" fmla="*/ 117392 w 2987636"/>
                <a:gd name="connsiteY20" fmla="*/ 3795681 h 6944407"/>
                <a:gd name="connsiteX21" fmla="*/ 0 w 2987636"/>
                <a:gd name="connsiteY21" fmla="*/ 3214219 h 6944407"/>
                <a:gd name="connsiteX22" fmla="*/ 1493818 w 2987636"/>
                <a:gd name="connsiteY22" fmla="*/ 1720401 h 6944407"/>
                <a:gd name="connsiteX23" fmla="*/ 1493819 w 2987636"/>
                <a:gd name="connsiteY23" fmla="*/ 0 h 6944407"/>
                <a:gd name="connsiteX24" fmla="*/ 2252612 w 2987636"/>
                <a:gd name="connsiteY24" fmla="*/ 758793 h 6944407"/>
                <a:gd name="connsiteX25" fmla="*/ 1493819 w 2987636"/>
                <a:gd name="connsiteY25" fmla="*/ 1517586 h 6944407"/>
                <a:gd name="connsiteX26" fmla="*/ 735026 w 2987636"/>
                <a:gd name="connsiteY26" fmla="*/ 758793 h 6944407"/>
                <a:gd name="connsiteX27" fmla="*/ 1493819 w 2987636"/>
                <a:gd name="connsiteY27" fmla="*/ 0 h 6944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87636" h="6944407">
                  <a:moveTo>
                    <a:pt x="1493818" y="1720401"/>
                  </a:moveTo>
                  <a:cubicBezTo>
                    <a:pt x="2318831" y="1720401"/>
                    <a:pt x="2987636" y="2389206"/>
                    <a:pt x="2987636" y="3214219"/>
                  </a:cubicBezTo>
                  <a:cubicBezTo>
                    <a:pt x="2987636" y="3368909"/>
                    <a:pt x="2964124" y="3518107"/>
                    <a:pt x="2920477" y="3658435"/>
                  </a:cubicBezTo>
                  <a:lnTo>
                    <a:pt x="2895229" y="3727419"/>
                  </a:lnTo>
                  <a:lnTo>
                    <a:pt x="2892060" y="3777386"/>
                  </a:lnTo>
                  <a:cubicBezTo>
                    <a:pt x="2860677" y="3967255"/>
                    <a:pt x="2829293" y="4157124"/>
                    <a:pt x="2797911" y="4346993"/>
                  </a:cubicBezTo>
                  <a:cubicBezTo>
                    <a:pt x="2765967" y="4540255"/>
                    <a:pt x="2621057" y="4686651"/>
                    <a:pt x="2441889" y="4729802"/>
                  </a:cubicBezTo>
                  <a:lnTo>
                    <a:pt x="2404407" y="4734977"/>
                  </a:lnTo>
                  <a:lnTo>
                    <a:pt x="1975658" y="6777550"/>
                  </a:lnTo>
                  <a:lnTo>
                    <a:pt x="1956147" y="6822919"/>
                  </a:lnTo>
                  <a:lnTo>
                    <a:pt x="1951059" y="6848128"/>
                  </a:lnTo>
                  <a:cubicBezTo>
                    <a:pt x="1927128" y="6904706"/>
                    <a:pt x="1871104" y="6944406"/>
                    <a:pt x="1805808" y="6944407"/>
                  </a:cubicBezTo>
                  <a:lnTo>
                    <a:pt x="1175273" y="6944406"/>
                  </a:lnTo>
                  <a:cubicBezTo>
                    <a:pt x="1109978" y="6944406"/>
                    <a:pt x="1053954" y="6904707"/>
                    <a:pt x="1030024" y="6848128"/>
                  </a:cubicBezTo>
                  <a:lnTo>
                    <a:pt x="1024933" y="6822919"/>
                  </a:lnTo>
                  <a:lnTo>
                    <a:pt x="1005424" y="6777550"/>
                  </a:lnTo>
                  <a:lnTo>
                    <a:pt x="575736" y="4730505"/>
                  </a:lnTo>
                  <a:lnTo>
                    <a:pt x="570642" y="4729802"/>
                  </a:lnTo>
                  <a:cubicBezTo>
                    <a:pt x="391474" y="4686651"/>
                    <a:pt x="246565" y="4540255"/>
                    <a:pt x="214621" y="4346993"/>
                  </a:cubicBezTo>
                  <a:lnTo>
                    <a:pt x="126684" y="3814969"/>
                  </a:lnTo>
                  <a:lnTo>
                    <a:pt x="117392" y="3795681"/>
                  </a:lnTo>
                  <a:cubicBezTo>
                    <a:pt x="41801" y="3616963"/>
                    <a:pt x="0" y="3420472"/>
                    <a:pt x="0" y="3214219"/>
                  </a:cubicBezTo>
                  <a:cubicBezTo>
                    <a:pt x="0" y="2389206"/>
                    <a:pt x="668805" y="1720401"/>
                    <a:pt x="1493818" y="1720401"/>
                  </a:cubicBezTo>
                  <a:close/>
                  <a:moveTo>
                    <a:pt x="1493819" y="0"/>
                  </a:moveTo>
                  <a:cubicBezTo>
                    <a:pt x="1912889" y="0"/>
                    <a:pt x="2252612" y="339723"/>
                    <a:pt x="2252612" y="758793"/>
                  </a:cubicBezTo>
                  <a:cubicBezTo>
                    <a:pt x="2252612" y="1177863"/>
                    <a:pt x="1912889" y="1517586"/>
                    <a:pt x="1493819" y="1517586"/>
                  </a:cubicBezTo>
                  <a:cubicBezTo>
                    <a:pt x="1074749" y="1517586"/>
                    <a:pt x="735026" y="1177863"/>
                    <a:pt x="735026" y="758793"/>
                  </a:cubicBezTo>
                  <a:cubicBezTo>
                    <a:pt x="735026" y="339723"/>
                    <a:pt x="1074749" y="0"/>
                    <a:pt x="1493819"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Ins="45684" bIns="91368" anchor="b"/>
            <a:lstStyle/>
            <a:p>
              <a:pPr marL="0" marR="0" lvl="0" indent="0" algn="ctr" defTabSz="913277" rtl="0" eaLnBrk="1" fontAlgn="base" latinLnBrk="0" hangingPunct="1">
                <a:lnSpc>
                  <a:spcPct val="100000"/>
                </a:lnSpc>
                <a:spcBef>
                  <a:spcPct val="0"/>
                </a:spcBef>
                <a:spcAft>
                  <a:spcPct val="0"/>
                </a:spcAft>
                <a:buClrTx/>
                <a:buSzTx/>
                <a:buFontTx/>
                <a:buNone/>
                <a:tabLst/>
                <a:defRPr/>
              </a:pPr>
              <a:endParaRPr kumimoji="0" lang="en-US" sz="1797" b="0" i="0" u="none" strike="noStrike" kern="1200" cap="none" spc="-50" normalizeH="0" baseline="0" noProof="0" err="1">
                <a:ln>
                  <a:noFill/>
                </a:ln>
                <a:solidFill>
                  <a:srgbClr val="505050"/>
                </a:solidFill>
                <a:effectLst/>
                <a:uLnTx/>
                <a:uFillTx/>
                <a:latin typeface="Segoe UI"/>
                <a:ea typeface="Segoe UI" pitchFamily="34" charset="0"/>
                <a:cs typeface="Segoe UI" pitchFamily="34" charset="0"/>
              </a:endParaRPr>
            </a:p>
          </p:txBody>
        </p:sp>
        <p:sp>
          <p:nvSpPr>
            <p:cNvPr id="31" name="Freeform 695"/>
            <p:cNvSpPr/>
            <p:nvPr/>
          </p:nvSpPr>
          <p:spPr bwMode="auto">
            <a:xfrm>
              <a:off x="2285444" y="3308258"/>
              <a:ext cx="161212" cy="379901"/>
            </a:xfrm>
            <a:custGeom>
              <a:avLst/>
              <a:gdLst>
                <a:gd name="connsiteX0" fmla="*/ 1493818 w 2987636"/>
                <a:gd name="connsiteY0" fmla="*/ 1720401 h 6944407"/>
                <a:gd name="connsiteX1" fmla="*/ 2987636 w 2987636"/>
                <a:gd name="connsiteY1" fmla="*/ 3214219 h 6944407"/>
                <a:gd name="connsiteX2" fmla="*/ 2920477 w 2987636"/>
                <a:gd name="connsiteY2" fmla="*/ 3658435 h 6944407"/>
                <a:gd name="connsiteX3" fmla="*/ 2895229 w 2987636"/>
                <a:gd name="connsiteY3" fmla="*/ 3727419 h 6944407"/>
                <a:gd name="connsiteX4" fmla="*/ 2892060 w 2987636"/>
                <a:gd name="connsiteY4" fmla="*/ 3777386 h 6944407"/>
                <a:gd name="connsiteX5" fmla="*/ 2797911 w 2987636"/>
                <a:gd name="connsiteY5" fmla="*/ 4346993 h 6944407"/>
                <a:gd name="connsiteX6" fmla="*/ 2441889 w 2987636"/>
                <a:gd name="connsiteY6" fmla="*/ 4729802 h 6944407"/>
                <a:gd name="connsiteX7" fmla="*/ 2404407 w 2987636"/>
                <a:gd name="connsiteY7" fmla="*/ 4734977 h 6944407"/>
                <a:gd name="connsiteX8" fmla="*/ 1975658 w 2987636"/>
                <a:gd name="connsiteY8" fmla="*/ 6777550 h 6944407"/>
                <a:gd name="connsiteX9" fmla="*/ 1956147 w 2987636"/>
                <a:gd name="connsiteY9" fmla="*/ 6822919 h 6944407"/>
                <a:gd name="connsiteX10" fmla="*/ 1951059 w 2987636"/>
                <a:gd name="connsiteY10" fmla="*/ 6848128 h 6944407"/>
                <a:gd name="connsiteX11" fmla="*/ 1805808 w 2987636"/>
                <a:gd name="connsiteY11" fmla="*/ 6944407 h 6944407"/>
                <a:gd name="connsiteX12" fmla="*/ 1175273 w 2987636"/>
                <a:gd name="connsiteY12" fmla="*/ 6944406 h 6944407"/>
                <a:gd name="connsiteX13" fmla="*/ 1030024 w 2987636"/>
                <a:gd name="connsiteY13" fmla="*/ 6848128 h 6944407"/>
                <a:gd name="connsiteX14" fmla="*/ 1024933 w 2987636"/>
                <a:gd name="connsiteY14" fmla="*/ 6822919 h 6944407"/>
                <a:gd name="connsiteX15" fmla="*/ 1005424 w 2987636"/>
                <a:gd name="connsiteY15" fmla="*/ 6777550 h 6944407"/>
                <a:gd name="connsiteX16" fmla="*/ 575736 w 2987636"/>
                <a:gd name="connsiteY16" fmla="*/ 4730505 h 6944407"/>
                <a:gd name="connsiteX17" fmla="*/ 570642 w 2987636"/>
                <a:gd name="connsiteY17" fmla="*/ 4729802 h 6944407"/>
                <a:gd name="connsiteX18" fmla="*/ 214621 w 2987636"/>
                <a:gd name="connsiteY18" fmla="*/ 4346993 h 6944407"/>
                <a:gd name="connsiteX19" fmla="*/ 126684 w 2987636"/>
                <a:gd name="connsiteY19" fmla="*/ 3814969 h 6944407"/>
                <a:gd name="connsiteX20" fmla="*/ 117392 w 2987636"/>
                <a:gd name="connsiteY20" fmla="*/ 3795681 h 6944407"/>
                <a:gd name="connsiteX21" fmla="*/ 0 w 2987636"/>
                <a:gd name="connsiteY21" fmla="*/ 3214219 h 6944407"/>
                <a:gd name="connsiteX22" fmla="*/ 1493818 w 2987636"/>
                <a:gd name="connsiteY22" fmla="*/ 1720401 h 6944407"/>
                <a:gd name="connsiteX23" fmla="*/ 1493819 w 2987636"/>
                <a:gd name="connsiteY23" fmla="*/ 0 h 6944407"/>
                <a:gd name="connsiteX24" fmla="*/ 2252612 w 2987636"/>
                <a:gd name="connsiteY24" fmla="*/ 758793 h 6944407"/>
                <a:gd name="connsiteX25" fmla="*/ 1493819 w 2987636"/>
                <a:gd name="connsiteY25" fmla="*/ 1517586 h 6944407"/>
                <a:gd name="connsiteX26" fmla="*/ 735026 w 2987636"/>
                <a:gd name="connsiteY26" fmla="*/ 758793 h 6944407"/>
                <a:gd name="connsiteX27" fmla="*/ 1493819 w 2987636"/>
                <a:gd name="connsiteY27" fmla="*/ 0 h 6944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87636" h="6944407">
                  <a:moveTo>
                    <a:pt x="1493818" y="1720401"/>
                  </a:moveTo>
                  <a:cubicBezTo>
                    <a:pt x="2318831" y="1720401"/>
                    <a:pt x="2987636" y="2389206"/>
                    <a:pt x="2987636" y="3214219"/>
                  </a:cubicBezTo>
                  <a:cubicBezTo>
                    <a:pt x="2987636" y="3368909"/>
                    <a:pt x="2964124" y="3518107"/>
                    <a:pt x="2920477" y="3658435"/>
                  </a:cubicBezTo>
                  <a:lnTo>
                    <a:pt x="2895229" y="3727419"/>
                  </a:lnTo>
                  <a:lnTo>
                    <a:pt x="2892060" y="3777386"/>
                  </a:lnTo>
                  <a:cubicBezTo>
                    <a:pt x="2860677" y="3967255"/>
                    <a:pt x="2829293" y="4157124"/>
                    <a:pt x="2797911" y="4346993"/>
                  </a:cubicBezTo>
                  <a:cubicBezTo>
                    <a:pt x="2765967" y="4540255"/>
                    <a:pt x="2621057" y="4686651"/>
                    <a:pt x="2441889" y="4729802"/>
                  </a:cubicBezTo>
                  <a:lnTo>
                    <a:pt x="2404407" y="4734977"/>
                  </a:lnTo>
                  <a:lnTo>
                    <a:pt x="1975658" y="6777550"/>
                  </a:lnTo>
                  <a:lnTo>
                    <a:pt x="1956147" y="6822919"/>
                  </a:lnTo>
                  <a:lnTo>
                    <a:pt x="1951059" y="6848128"/>
                  </a:lnTo>
                  <a:cubicBezTo>
                    <a:pt x="1927128" y="6904706"/>
                    <a:pt x="1871104" y="6944406"/>
                    <a:pt x="1805808" y="6944407"/>
                  </a:cubicBezTo>
                  <a:lnTo>
                    <a:pt x="1175273" y="6944406"/>
                  </a:lnTo>
                  <a:cubicBezTo>
                    <a:pt x="1109978" y="6944406"/>
                    <a:pt x="1053954" y="6904707"/>
                    <a:pt x="1030024" y="6848128"/>
                  </a:cubicBezTo>
                  <a:lnTo>
                    <a:pt x="1024933" y="6822919"/>
                  </a:lnTo>
                  <a:lnTo>
                    <a:pt x="1005424" y="6777550"/>
                  </a:lnTo>
                  <a:lnTo>
                    <a:pt x="575736" y="4730505"/>
                  </a:lnTo>
                  <a:lnTo>
                    <a:pt x="570642" y="4729802"/>
                  </a:lnTo>
                  <a:cubicBezTo>
                    <a:pt x="391474" y="4686651"/>
                    <a:pt x="246565" y="4540255"/>
                    <a:pt x="214621" y="4346993"/>
                  </a:cubicBezTo>
                  <a:lnTo>
                    <a:pt x="126684" y="3814969"/>
                  </a:lnTo>
                  <a:lnTo>
                    <a:pt x="117392" y="3795681"/>
                  </a:lnTo>
                  <a:cubicBezTo>
                    <a:pt x="41801" y="3616963"/>
                    <a:pt x="0" y="3420472"/>
                    <a:pt x="0" y="3214219"/>
                  </a:cubicBezTo>
                  <a:cubicBezTo>
                    <a:pt x="0" y="2389206"/>
                    <a:pt x="668805" y="1720401"/>
                    <a:pt x="1493818" y="1720401"/>
                  </a:cubicBezTo>
                  <a:close/>
                  <a:moveTo>
                    <a:pt x="1493819" y="0"/>
                  </a:moveTo>
                  <a:cubicBezTo>
                    <a:pt x="1912889" y="0"/>
                    <a:pt x="2252612" y="339723"/>
                    <a:pt x="2252612" y="758793"/>
                  </a:cubicBezTo>
                  <a:cubicBezTo>
                    <a:pt x="2252612" y="1177863"/>
                    <a:pt x="1912889" y="1517586"/>
                    <a:pt x="1493819" y="1517586"/>
                  </a:cubicBezTo>
                  <a:cubicBezTo>
                    <a:pt x="1074749" y="1517586"/>
                    <a:pt x="735026" y="1177863"/>
                    <a:pt x="735026" y="758793"/>
                  </a:cubicBezTo>
                  <a:cubicBezTo>
                    <a:pt x="735026" y="339723"/>
                    <a:pt x="1074749" y="0"/>
                    <a:pt x="1493819"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Ins="45684" bIns="91368" anchor="b"/>
            <a:lstStyle/>
            <a:p>
              <a:pPr marL="0" marR="0" lvl="0" indent="0" algn="ctr" defTabSz="913277" rtl="0" eaLnBrk="1" fontAlgn="base" latinLnBrk="0" hangingPunct="1">
                <a:lnSpc>
                  <a:spcPct val="100000"/>
                </a:lnSpc>
                <a:spcBef>
                  <a:spcPct val="0"/>
                </a:spcBef>
                <a:spcAft>
                  <a:spcPct val="0"/>
                </a:spcAft>
                <a:buClrTx/>
                <a:buSzTx/>
                <a:buFontTx/>
                <a:buNone/>
                <a:tabLst/>
                <a:defRPr/>
              </a:pPr>
              <a:endParaRPr kumimoji="0" lang="en-US" sz="1797" b="0" i="0" u="none" strike="noStrike" kern="1200" cap="none" spc="-50" normalizeH="0" baseline="0" noProof="0" err="1">
                <a:ln>
                  <a:noFill/>
                </a:ln>
                <a:solidFill>
                  <a:srgbClr val="505050"/>
                </a:solidFill>
                <a:effectLst/>
                <a:uLnTx/>
                <a:uFillTx/>
                <a:latin typeface="Segoe UI"/>
                <a:ea typeface="Segoe UI" pitchFamily="34" charset="0"/>
                <a:cs typeface="Segoe UI" pitchFamily="34" charset="0"/>
              </a:endParaRPr>
            </a:p>
          </p:txBody>
        </p:sp>
        <p:sp>
          <p:nvSpPr>
            <p:cNvPr id="32" name="Freeform 14"/>
            <p:cNvSpPr>
              <a:spLocks noEditPoints="1"/>
            </p:cNvSpPr>
            <p:nvPr/>
          </p:nvSpPr>
          <p:spPr bwMode="black">
            <a:xfrm>
              <a:off x="2526865" y="3144800"/>
              <a:ext cx="122101" cy="132140"/>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lIns="109620" tIns="54812" rIns="109620" bIns="54812" anchor="ctr"/>
            <a:lstStyle/>
            <a:p>
              <a:pPr marL="0" marR="0" lvl="0" indent="0" algn="l" defTabSz="986518" rtl="0" eaLnBrk="1" fontAlgn="auto" latinLnBrk="0" hangingPunct="1">
                <a:lnSpc>
                  <a:spcPct val="100000"/>
                </a:lnSpc>
                <a:spcBef>
                  <a:spcPts val="0"/>
                </a:spcBef>
                <a:spcAft>
                  <a:spcPts val="0"/>
                </a:spcAft>
                <a:buClrTx/>
                <a:buSzTx/>
                <a:buFontTx/>
                <a:buNone/>
                <a:tabLst/>
                <a:defRPr/>
              </a:pPr>
              <a:endParaRPr kumimoji="0" lang="en-US" sz="2396" b="0" i="0" u="none" strike="noStrike" kern="1200" cap="none" spc="-163" normalizeH="0" baseline="0" noProof="0">
                <a:ln>
                  <a:noFill/>
                </a:ln>
                <a:solidFill>
                  <a:srgbClr val="505050"/>
                </a:solidFill>
                <a:effectLst/>
                <a:uLnTx/>
                <a:uFillTx/>
                <a:latin typeface="Segoe Light" pitchFamily="34" charset="0"/>
                <a:ea typeface="+mn-ea"/>
                <a:cs typeface="+mn-cs"/>
              </a:endParaRPr>
            </a:p>
          </p:txBody>
        </p:sp>
        <p:grpSp>
          <p:nvGrpSpPr>
            <p:cNvPr id="33" name="Group 32"/>
            <p:cNvGrpSpPr/>
            <p:nvPr/>
          </p:nvGrpSpPr>
          <p:grpSpPr>
            <a:xfrm>
              <a:off x="1752018" y="3352393"/>
              <a:ext cx="361165" cy="235243"/>
              <a:chOff x="1191830" y="2335708"/>
              <a:chExt cx="1205168" cy="748923"/>
            </a:xfrm>
            <a:grpFill/>
          </p:grpSpPr>
          <p:sp>
            <p:nvSpPr>
              <p:cNvPr id="34" name="Freeform 33"/>
              <p:cNvSpPr/>
              <p:nvPr/>
            </p:nvSpPr>
            <p:spPr>
              <a:xfrm>
                <a:off x="1607818" y="2491032"/>
                <a:ext cx="396413" cy="374428"/>
              </a:xfrm>
              <a:custGeom>
                <a:avLst/>
                <a:gdLst>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990798 h 1083469"/>
                  <a:gd name="connsiteX6" fmla="*/ 186985 w 1147085"/>
                  <a:gd name="connsiteY6" fmla="*/ 1011445 h 1083469"/>
                  <a:gd name="connsiteX7" fmla="*/ 977729 w 1147085"/>
                  <a:gd name="connsiteY7" fmla="*/ 857154 h 1083469"/>
                  <a:gd name="connsiteX8" fmla="*/ 977729 w 1147085"/>
                  <a:gd name="connsiteY8" fmla="*/ 916854 h 1083469"/>
                  <a:gd name="connsiteX9" fmla="*/ 123825 w 1147085"/>
                  <a:gd name="connsiteY9" fmla="*/ 1083469 h 1083469"/>
                  <a:gd name="connsiteX10" fmla="*/ 0 w 1147085"/>
                  <a:gd name="connsiteY10" fmla="*/ 114300 h 1083469"/>
                  <a:gd name="connsiteX11" fmla="*/ 1090612 w 1147085"/>
                  <a:gd name="connsiteY11" fmla="*/ 0 h 1083469"/>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1011445 h 1083469"/>
                  <a:gd name="connsiteX6" fmla="*/ 977729 w 1147085"/>
                  <a:gd name="connsiteY6" fmla="*/ 857154 h 1083469"/>
                  <a:gd name="connsiteX7" fmla="*/ 977729 w 1147085"/>
                  <a:gd name="connsiteY7" fmla="*/ 916854 h 1083469"/>
                  <a:gd name="connsiteX8" fmla="*/ 123825 w 1147085"/>
                  <a:gd name="connsiteY8" fmla="*/ 1083469 h 1083469"/>
                  <a:gd name="connsiteX9" fmla="*/ 0 w 1147085"/>
                  <a:gd name="connsiteY9" fmla="*/ 114300 h 1083469"/>
                  <a:gd name="connsiteX10" fmla="*/ 1090612 w 1147085"/>
                  <a:gd name="connsiteY10" fmla="*/ 0 h 108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7085" h="1083469">
                    <a:moveTo>
                      <a:pt x="1090612" y="0"/>
                    </a:moveTo>
                    <a:lnTo>
                      <a:pt x="1147085" y="460567"/>
                    </a:lnTo>
                    <a:cubicBezTo>
                      <a:pt x="1121629" y="471368"/>
                      <a:pt x="1098257" y="486098"/>
                      <a:pt x="1078295" y="504743"/>
                    </a:cubicBezTo>
                    <a:lnTo>
                      <a:pt x="1025237" y="72025"/>
                    </a:lnTo>
                    <a:lnTo>
                      <a:pt x="79622" y="171129"/>
                    </a:lnTo>
                    <a:lnTo>
                      <a:pt x="186985" y="1011445"/>
                    </a:lnTo>
                    <a:lnTo>
                      <a:pt x="977729" y="857154"/>
                    </a:lnTo>
                    <a:lnTo>
                      <a:pt x="977729" y="916854"/>
                    </a:lnTo>
                    <a:lnTo>
                      <a:pt x="123825" y="1083469"/>
                    </a:lnTo>
                    <a:lnTo>
                      <a:pt x="0" y="114300"/>
                    </a:lnTo>
                    <a:lnTo>
                      <a:pt x="1090612"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08" tIns="46604" rIns="93208" bIns="46604" numCol="1" rtlCol="0" anchor="ctr" anchorCtr="0" compatLnSpc="1">
                <a:prstTxWarp prst="textNoShape">
                  <a:avLst/>
                </a:prstTxWarp>
              </a:bodyPr>
              <a:lstStyle/>
              <a:p>
                <a:pPr marL="0" marR="0" lvl="0" indent="0" algn="ctr" defTabSz="93173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44546A"/>
                  </a:solidFill>
                  <a:effectLst/>
                  <a:uLnTx/>
                  <a:uFillTx/>
                  <a:latin typeface="Segoe UI Light" panose="020B0502040204020203" pitchFamily="34" charset="0"/>
                  <a:ea typeface="+mn-ea"/>
                  <a:cs typeface="Segoe UI Light" panose="020B0502040204020203" pitchFamily="34" charset="0"/>
                </a:endParaRPr>
              </a:p>
            </p:txBody>
          </p:sp>
          <p:sp>
            <p:nvSpPr>
              <p:cNvPr id="35" name="Oval 23"/>
              <p:cNvSpPr/>
              <p:nvPr/>
            </p:nvSpPr>
            <p:spPr bwMode="auto">
              <a:xfrm>
                <a:off x="1658313" y="2832482"/>
                <a:ext cx="287391" cy="178087"/>
              </a:xfrm>
              <a:custGeom>
                <a:avLst/>
                <a:gdLst/>
                <a:ahLst/>
                <a:cxnLst/>
                <a:rect l="l" t="t" r="r" b="b"/>
                <a:pathLst>
                  <a:path w="831613" h="515322">
                    <a:moveTo>
                      <a:pt x="656506" y="0"/>
                    </a:moveTo>
                    <a:cubicBezTo>
                      <a:pt x="722980" y="12459"/>
                      <a:pt x="782484" y="33487"/>
                      <a:pt x="831613" y="60220"/>
                    </a:cubicBezTo>
                    <a:lnTo>
                      <a:pt x="831613" y="156807"/>
                    </a:lnTo>
                    <a:lnTo>
                      <a:pt x="790343" y="156807"/>
                    </a:lnTo>
                    <a:cubicBezTo>
                      <a:pt x="689578" y="156807"/>
                      <a:pt x="607892" y="247187"/>
                      <a:pt x="607892" y="358678"/>
                    </a:cubicBezTo>
                    <a:cubicBezTo>
                      <a:pt x="607892" y="412735"/>
                      <a:pt x="627095" y="461830"/>
                      <a:pt x="658968" y="497546"/>
                    </a:cubicBezTo>
                    <a:cubicBezTo>
                      <a:pt x="605816" y="509342"/>
                      <a:pt x="548050" y="515322"/>
                      <a:pt x="487726" y="515322"/>
                    </a:cubicBezTo>
                    <a:cubicBezTo>
                      <a:pt x="218362" y="515322"/>
                      <a:pt x="0" y="396081"/>
                      <a:pt x="0" y="248990"/>
                    </a:cubicBezTo>
                    <a:cubicBezTo>
                      <a:pt x="0" y="198934"/>
                      <a:pt x="25288" y="152104"/>
                      <a:pt x="70263" y="113194"/>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08" tIns="46604" rIns="93208" bIns="46604" numCol="1" rtlCol="0" anchor="ctr" anchorCtr="0" compatLnSpc="1">
                <a:prstTxWarp prst="textNoShape">
                  <a:avLst/>
                </a:prstTxWarp>
              </a:bodyPr>
              <a:lstStyle/>
              <a:p>
                <a:pPr marL="0" marR="0" lvl="0" indent="0" algn="ctr" defTabSz="93173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44546A"/>
                  </a:solidFill>
                  <a:effectLst/>
                  <a:uLnTx/>
                  <a:uFillTx/>
                  <a:latin typeface="Segoe UI Light" panose="020B0502040204020203" pitchFamily="34" charset="0"/>
                  <a:ea typeface="+mn-ea"/>
                  <a:cs typeface="Segoe UI Light" panose="020B0502040204020203" pitchFamily="34" charset="0"/>
                </a:endParaRPr>
              </a:p>
            </p:txBody>
          </p:sp>
          <p:sp>
            <p:nvSpPr>
              <p:cNvPr id="36" name="Rounded Rectangle 13"/>
              <p:cNvSpPr/>
              <p:nvPr/>
            </p:nvSpPr>
            <p:spPr bwMode="auto">
              <a:xfrm>
                <a:off x="1884592" y="2655616"/>
                <a:ext cx="475356" cy="429015"/>
              </a:xfrm>
              <a:custGeom>
                <a:avLst/>
                <a:gdLst/>
                <a:ahLst/>
                <a:cxnLst/>
                <a:rect l="l" t="t" r="r" b="b"/>
                <a:pathLst>
                  <a:path w="1375518" h="1241425">
                    <a:moveTo>
                      <a:pt x="880211" y="0"/>
                    </a:moveTo>
                    <a:lnTo>
                      <a:pt x="1125002" y="0"/>
                    </a:lnTo>
                    <a:cubicBezTo>
                      <a:pt x="1202113" y="0"/>
                      <a:pt x="1271265" y="34077"/>
                      <a:pt x="1317403" y="88704"/>
                    </a:cubicBezTo>
                    <a:cubicBezTo>
                      <a:pt x="1244331" y="103169"/>
                      <a:pt x="1190628" y="168346"/>
                      <a:pt x="1190628" y="246066"/>
                    </a:cubicBezTo>
                    <a:lnTo>
                      <a:pt x="1190628" y="708029"/>
                    </a:lnTo>
                    <a:lnTo>
                      <a:pt x="929175" y="708029"/>
                    </a:lnTo>
                    <a:lnTo>
                      <a:pt x="803618" y="172438"/>
                    </a:lnTo>
                    <a:close/>
                    <a:moveTo>
                      <a:pt x="481554" y="0"/>
                    </a:moveTo>
                    <a:lnTo>
                      <a:pt x="726347" y="0"/>
                    </a:lnTo>
                    <a:lnTo>
                      <a:pt x="802940" y="172436"/>
                    </a:lnTo>
                    <a:lnTo>
                      <a:pt x="674361" y="720915"/>
                    </a:lnTo>
                    <a:cubicBezTo>
                      <a:pt x="614856" y="745801"/>
                      <a:pt x="573090" y="804586"/>
                      <a:pt x="573090" y="873128"/>
                    </a:cubicBezTo>
                    <a:cubicBezTo>
                      <a:pt x="573090" y="964310"/>
                      <a:pt x="647007" y="1038227"/>
                      <a:pt x="738189" y="1038227"/>
                    </a:cubicBezTo>
                    <a:lnTo>
                      <a:pt x="1375518" y="1038227"/>
                    </a:lnTo>
                    <a:cubicBezTo>
                      <a:pt x="1351252" y="1154299"/>
                      <a:pt x="1248302" y="1241425"/>
                      <a:pt x="1125002" y="1241425"/>
                    </a:cubicBezTo>
                    <a:lnTo>
                      <a:pt x="481554" y="1241425"/>
                    </a:lnTo>
                    <a:cubicBezTo>
                      <a:pt x="358254" y="1241425"/>
                      <a:pt x="255302" y="1154298"/>
                      <a:pt x="231037" y="1038224"/>
                    </a:cubicBezTo>
                    <a:lnTo>
                      <a:pt x="165099" y="1038224"/>
                    </a:lnTo>
                    <a:cubicBezTo>
                      <a:pt x="73917" y="1038224"/>
                      <a:pt x="0" y="964307"/>
                      <a:pt x="0" y="873125"/>
                    </a:cubicBezTo>
                    <a:cubicBezTo>
                      <a:pt x="0" y="781943"/>
                      <a:pt x="73917" y="708026"/>
                      <a:pt x="165099" y="708026"/>
                    </a:cubicBezTo>
                    <a:lnTo>
                      <a:pt x="225428" y="708026"/>
                    </a:lnTo>
                    <a:lnTo>
                      <a:pt x="225428" y="256126"/>
                    </a:lnTo>
                    <a:cubicBezTo>
                      <a:pt x="225428" y="114672"/>
                      <a:pt x="340100" y="0"/>
                      <a:pt x="481554"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08" tIns="46604" rIns="93208" bIns="46604" numCol="1" rtlCol="0" anchor="ctr" anchorCtr="0" compatLnSpc="1">
                <a:prstTxWarp prst="textNoShape">
                  <a:avLst/>
                </a:prstTxWarp>
              </a:bodyPr>
              <a:lstStyle/>
              <a:p>
                <a:pPr marL="0" marR="0" lvl="0" indent="0" algn="ctr" defTabSz="93173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44546A"/>
                  </a:solidFill>
                  <a:effectLst/>
                  <a:uLnTx/>
                  <a:uFillTx/>
                  <a:latin typeface="Segoe UI Light" panose="020B0502040204020203" pitchFamily="34" charset="0"/>
                  <a:ea typeface="+mn-ea"/>
                  <a:cs typeface="Segoe UI Light" panose="020B0502040204020203" pitchFamily="34" charset="0"/>
                </a:endParaRPr>
              </a:p>
            </p:txBody>
          </p:sp>
          <p:sp>
            <p:nvSpPr>
              <p:cNvPr id="37" name="Oval 36"/>
              <p:cNvSpPr/>
              <p:nvPr/>
            </p:nvSpPr>
            <p:spPr bwMode="auto">
              <a:xfrm>
                <a:off x="2021746" y="2335708"/>
                <a:ext cx="288570" cy="28857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08" tIns="46604" rIns="93208" bIns="46604" numCol="1" rtlCol="0" anchor="ctr" anchorCtr="0" compatLnSpc="1">
                <a:prstTxWarp prst="textNoShape">
                  <a:avLst/>
                </a:prstTxWarp>
              </a:bodyPr>
              <a:lstStyle/>
              <a:p>
                <a:pPr marL="0" marR="0" lvl="0" indent="0" algn="ctr" defTabSz="93173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44546A"/>
                  </a:solidFill>
                  <a:effectLst/>
                  <a:uLnTx/>
                  <a:uFillTx/>
                  <a:latin typeface="Segoe UI Light" panose="020B0502040204020203" pitchFamily="34" charset="0"/>
                  <a:ea typeface="+mn-ea"/>
                  <a:cs typeface="Segoe UI Light" panose="020B0502040204020203" pitchFamily="34" charset="0"/>
                </a:endParaRPr>
              </a:p>
            </p:txBody>
          </p:sp>
          <p:sp>
            <p:nvSpPr>
              <p:cNvPr id="38" name="Rounded Rectangle 14"/>
              <p:cNvSpPr/>
              <p:nvPr/>
            </p:nvSpPr>
            <p:spPr bwMode="auto">
              <a:xfrm>
                <a:off x="2096357" y="2698407"/>
                <a:ext cx="300641" cy="302286"/>
              </a:xfrm>
              <a:custGeom>
                <a:avLst/>
                <a:gdLst>
                  <a:gd name="connsiteX0" fmla="*/ 744540 w 869954"/>
                  <a:gd name="connsiteY0" fmla="*/ 0 h 874713"/>
                  <a:gd name="connsiteX1" fmla="*/ 869954 w 869954"/>
                  <a:gd name="connsiteY1" fmla="*/ 125414 h 874713"/>
                  <a:gd name="connsiteX2" fmla="*/ 869953 w 869954"/>
                  <a:gd name="connsiteY2" fmla="*/ 706437 h 874713"/>
                  <a:gd name="connsiteX3" fmla="*/ 869952 w 869954"/>
                  <a:gd name="connsiteY3" fmla="*/ 749299 h 874713"/>
                  <a:gd name="connsiteX4" fmla="*/ 744538 w 869954"/>
                  <a:gd name="connsiteY4" fmla="*/ 874713 h 874713"/>
                  <a:gd name="connsiteX5" fmla="*/ 125414 w 869954"/>
                  <a:gd name="connsiteY5" fmla="*/ 874712 h 874713"/>
                  <a:gd name="connsiteX6" fmla="*/ 0 w 869954"/>
                  <a:gd name="connsiteY6" fmla="*/ 749298 h 874713"/>
                  <a:gd name="connsiteX7" fmla="*/ 1 w 869954"/>
                  <a:gd name="connsiteY7" fmla="*/ 749299 h 874713"/>
                  <a:gd name="connsiteX8" fmla="*/ 125415 w 869954"/>
                  <a:gd name="connsiteY8" fmla="*/ 623885 h 874713"/>
                  <a:gd name="connsiteX9" fmla="*/ 619126 w 869954"/>
                  <a:gd name="connsiteY9" fmla="*/ 623885 h 874713"/>
                  <a:gd name="connsiteX10" fmla="*/ 619126 w 869954"/>
                  <a:gd name="connsiteY10" fmla="*/ 125414 h 874713"/>
                  <a:gd name="connsiteX11" fmla="*/ 744540 w 869954"/>
                  <a:gd name="connsiteY11" fmla="*/ 0 h 87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9954" h="874713">
                    <a:moveTo>
                      <a:pt x="744540" y="0"/>
                    </a:moveTo>
                    <a:cubicBezTo>
                      <a:pt x="813804" y="0"/>
                      <a:pt x="869954" y="56150"/>
                      <a:pt x="869954" y="125414"/>
                    </a:cubicBezTo>
                    <a:cubicBezTo>
                      <a:pt x="869954" y="319088"/>
                      <a:pt x="869953" y="512763"/>
                      <a:pt x="869953" y="706437"/>
                    </a:cubicBezTo>
                    <a:cubicBezTo>
                      <a:pt x="869953" y="720724"/>
                      <a:pt x="869952" y="735012"/>
                      <a:pt x="869952" y="749299"/>
                    </a:cubicBezTo>
                    <a:cubicBezTo>
                      <a:pt x="869952" y="818563"/>
                      <a:pt x="813802" y="874713"/>
                      <a:pt x="744538" y="874713"/>
                    </a:cubicBezTo>
                    <a:lnTo>
                      <a:pt x="125414" y="874712"/>
                    </a:lnTo>
                    <a:cubicBezTo>
                      <a:pt x="56150" y="874712"/>
                      <a:pt x="0" y="818562"/>
                      <a:pt x="0" y="749298"/>
                    </a:cubicBezTo>
                    <a:lnTo>
                      <a:pt x="1" y="749299"/>
                    </a:lnTo>
                    <a:cubicBezTo>
                      <a:pt x="1" y="680035"/>
                      <a:pt x="56151" y="623885"/>
                      <a:pt x="125415" y="623885"/>
                    </a:cubicBezTo>
                    <a:lnTo>
                      <a:pt x="619126" y="623885"/>
                    </a:lnTo>
                    <a:lnTo>
                      <a:pt x="619126" y="125414"/>
                    </a:lnTo>
                    <a:cubicBezTo>
                      <a:pt x="619126" y="56150"/>
                      <a:pt x="675276" y="0"/>
                      <a:pt x="74454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08" tIns="46604" rIns="93208" bIns="46604" numCol="1" rtlCol="0" anchor="ctr" anchorCtr="0" compatLnSpc="1">
                <a:prstTxWarp prst="textNoShape">
                  <a:avLst/>
                </a:prstTxWarp>
              </a:bodyPr>
              <a:lstStyle/>
              <a:p>
                <a:pPr marL="0" marR="0" lvl="0" indent="0" algn="ctr" defTabSz="93173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44546A"/>
                  </a:solidFill>
                  <a:effectLst/>
                  <a:uLnTx/>
                  <a:uFillTx/>
                  <a:latin typeface="Segoe UI Light" panose="020B0502040204020203" pitchFamily="34" charset="0"/>
                  <a:ea typeface="+mn-ea"/>
                  <a:cs typeface="Segoe UI Light" panose="020B0502040204020203" pitchFamily="34" charset="0"/>
                </a:endParaRPr>
              </a:p>
            </p:txBody>
          </p:sp>
          <p:sp>
            <p:nvSpPr>
              <p:cNvPr id="39" name="Freeform 38"/>
              <p:cNvSpPr/>
              <p:nvPr/>
            </p:nvSpPr>
            <p:spPr bwMode="auto">
              <a:xfrm flipH="1">
                <a:off x="1228880" y="2655616"/>
                <a:ext cx="459950" cy="429015"/>
              </a:xfrm>
              <a:custGeom>
                <a:avLst/>
                <a:gdLst>
                  <a:gd name="connsiteX0" fmla="*/ 235607 w 459950"/>
                  <a:gd name="connsiteY0" fmla="*/ 0 h 429015"/>
                  <a:gd name="connsiteX1" fmla="*/ 151011 w 459950"/>
                  <a:gd name="connsiteY1" fmla="*/ 0 h 429015"/>
                  <a:gd name="connsiteX2" fmla="*/ 62498 w 459950"/>
                  <a:gd name="connsiteY2" fmla="*/ 88513 h 429015"/>
                  <a:gd name="connsiteX3" fmla="*/ 62498 w 459950"/>
                  <a:gd name="connsiteY3" fmla="*/ 244682 h 429015"/>
                  <a:gd name="connsiteX4" fmla="*/ 46509 w 459950"/>
                  <a:gd name="connsiteY4" fmla="*/ 244682 h 429015"/>
                  <a:gd name="connsiteX5" fmla="*/ 51947 w 459950"/>
                  <a:gd name="connsiteY5" fmla="*/ 261089 h 429015"/>
                  <a:gd name="connsiteX6" fmla="*/ 37326 w 459950"/>
                  <a:gd name="connsiteY6" fmla="*/ 305205 h 429015"/>
                  <a:gd name="connsiteX7" fmla="*/ 0 w 459950"/>
                  <a:gd name="connsiteY7" fmla="*/ 338930 h 429015"/>
                  <a:gd name="connsiteX8" fmla="*/ 1305 w 459950"/>
                  <a:gd name="connsiteY8" fmla="*/ 342081 h 429015"/>
                  <a:gd name="connsiteX9" fmla="*/ 41650 w 459950"/>
                  <a:gd name="connsiteY9" fmla="*/ 358792 h 429015"/>
                  <a:gd name="connsiteX10" fmla="*/ 64437 w 459950"/>
                  <a:gd name="connsiteY10" fmla="*/ 358792 h 429015"/>
                  <a:gd name="connsiteX11" fmla="*/ 151011 w 459950"/>
                  <a:gd name="connsiteY11" fmla="*/ 429015 h 429015"/>
                  <a:gd name="connsiteX12" fmla="*/ 373376 w 459950"/>
                  <a:gd name="connsiteY12" fmla="*/ 429015 h 429015"/>
                  <a:gd name="connsiteX13" fmla="*/ 459950 w 459950"/>
                  <a:gd name="connsiteY13" fmla="*/ 358793 h 429015"/>
                  <a:gd name="connsiteX14" fmla="*/ 239700 w 459950"/>
                  <a:gd name="connsiteY14" fmla="*/ 358793 h 429015"/>
                  <a:gd name="connsiteX15" fmla="*/ 182644 w 459950"/>
                  <a:gd name="connsiteY15" fmla="*/ 301738 h 429015"/>
                  <a:gd name="connsiteX16" fmla="*/ 217642 w 459950"/>
                  <a:gd name="connsiteY16" fmla="*/ 249136 h 429015"/>
                  <a:gd name="connsiteX17" fmla="*/ 262077 w 459950"/>
                  <a:gd name="connsiteY17" fmla="*/ 59591 h 429015"/>
                  <a:gd name="connsiteX18" fmla="*/ 373376 w 459950"/>
                  <a:gd name="connsiteY18" fmla="*/ 0 h 429015"/>
                  <a:gd name="connsiteX19" fmla="*/ 288780 w 459950"/>
                  <a:gd name="connsiteY19" fmla="*/ 0 h 429015"/>
                  <a:gd name="connsiteX20" fmla="*/ 262311 w 459950"/>
                  <a:gd name="connsiteY20" fmla="*/ 59592 h 429015"/>
                  <a:gd name="connsiteX21" fmla="*/ 305701 w 459950"/>
                  <a:gd name="connsiteY21" fmla="*/ 244683 h 429015"/>
                  <a:gd name="connsiteX22" fmla="*/ 396055 w 459950"/>
                  <a:gd name="connsiteY22" fmla="*/ 244683 h 429015"/>
                  <a:gd name="connsiteX23" fmla="*/ 396055 w 459950"/>
                  <a:gd name="connsiteY23" fmla="*/ 85036 h 429015"/>
                  <a:gd name="connsiteX24" fmla="*/ 439867 w 459950"/>
                  <a:gd name="connsiteY24" fmla="*/ 30655 h 429015"/>
                  <a:gd name="connsiteX25" fmla="*/ 373376 w 459950"/>
                  <a:gd name="connsiteY25" fmla="*/ 0 h 42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59950" h="429015">
                    <a:moveTo>
                      <a:pt x="235607" y="0"/>
                    </a:moveTo>
                    <a:lnTo>
                      <a:pt x="151011" y="0"/>
                    </a:lnTo>
                    <a:cubicBezTo>
                      <a:pt x="102127" y="0"/>
                      <a:pt x="62498" y="39629"/>
                      <a:pt x="62498" y="88513"/>
                    </a:cubicBezTo>
                    <a:lnTo>
                      <a:pt x="62498" y="244682"/>
                    </a:lnTo>
                    <a:lnTo>
                      <a:pt x="46509" y="244682"/>
                    </a:lnTo>
                    <a:lnTo>
                      <a:pt x="51947" y="261089"/>
                    </a:lnTo>
                    <a:cubicBezTo>
                      <a:pt x="51947" y="276738"/>
                      <a:pt x="46741" y="291646"/>
                      <a:pt x="37326" y="305205"/>
                    </a:cubicBezTo>
                    <a:lnTo>
                      <a:pt x="0" y="338930"/>
                    </a:lnTo>
                    <a:lnTo>
                      <a:pt x="1305" y="342081"/>
                    </a:lnTo>
                    <a:cubicBezTo>
                      <a:pt x="11630" y="352406"/>
                      <a:pt x="25894" y="358792"/>
                      <a:pt x="41650" y="358792"/>
                    </a:cubicBezTo>
                    <a:lnTo>
                      <a:pt x="64437" y="358792"/>
                    </a:lnTo>
                    <a:cubicBezTo>
                      <a:pt x="72822" y="398906"/>
                      <a:pt x="108401" y="429015"/>
                      <a:pt x="151011" y="429015"/>
                    </a:cubicBezTo>
                    <a:lnTo>
                      <a:pt x="373376" y="429015"/>
                    </a:lnTo>
                    <a:cubicBezTo>
                      <a:pt x="415986" y="429015"/>
                      <a:pt x="451564" y="398906"/>
                      <a:pt x="459950" y="358793"/>
                    </a:cubicBezTo>
                    <a:lnTo>
                      <a:pt x="239700" y="358793"/>
                    </a:lnTo>
                    <a:cubicBezTo>
                      <a:pt x="208189" y="358793"/>
                      <a:pt x="182644" y="333249"/>
                      <a:pt x="182644" y="301738"/>
                    </a:cubicBezTo>
                    <a:cubicBezTo>
                      <a:pt x="182644" y="278051"/>
                      <a:pt x="197078" y="257736"/>
                      <a:pt x="217642" y="249136"/>
                    </a:cubicBezTo>
                    <a:lnTo>
                      <a:pt x="262077" y="59591"/>
                    </a:lnTo>
                    <a:close/>
                    <a:moveTo>
                      <a:pt x="373376" y="0"/>
                    </a:moveTo>
                    <a:lnTo>
                      <a:pt x="288780" y="0"/>
                    </a:lnTo>
                    <a:lnTo>
                      <a:pt x="262311" y="59592"/>
                    </a:lnTo>
                    <a:lnTo>
                      <a:pt x="305701" y="244683"/>
                    </a:lnTo>
                    <a:lnTo>
                      <a:pt x="396055" y="244683"/>
                    </a:lnTo>
                    <a:lnTo>
                      <a:pt x="396055" y="85036"/>
                    </a:lnTo>
                    <a:cubicBezTo>
                      <a:pt x="396055" y="58178"/>
                      <a:pt x="414614" y="35654"/>
                      <a:pt x="439867" y="30655"/>
                    </a:cubicBezTo>
                    <a:cubicBezTo>
                      <a:pt x="423922" y="11777"/>
                      <a:pt x="400024" y="0"/>
                      <a:pt x="373376"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08" tIns="46604" rIns="93208" bIns="46604" numCol="1" rtlCol="0" anchor="ctr" anchorCtr="0" compatLnSpc="1">
                <a:prstTxWarp prst="textNoShape">
                  <a:avLst/>
                </a:prstTxWarp>
                <a:noAutofit/>
              </a:bodyPr>
              <a:lstStyle/>
              <a:p>
                <a:pPr marL="0" marR="0" lvl="0" indent="0" algn="ctr" defTabSz="93173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44546A"/>
                  </a:solidFill>
                  <a:effectLst/>
                  <a:uLnTx/>
                  <a:uFillTx/>
                  <a:latin typeface="Segoe UI Light" panose="020B0502040204020203" pitchFamily="34" charset="0"/>
                  <a:ea typeface="+mn-ea"/>
                  <a:cs typeface="Segoe UI Light" panose="020B0502040204020203" pitchFamily="34" charset="0"/>
                </a:endParaRPr>
              </a:p>
            </p:txBody>
          </p:sp>
          <p:sp>
            <p:nvSpPr>
              <p:cNvPr id="40" name="Oval 39"/>
              <p:cNvSpPr/>
              <p:nvPr/>
            </p:nvSpPr>
            <p:spPr bwMode="auto">
              <a:xfrm flipH="1">
                <a:off x="1278512" y="2335708"/>
                <a:ext cx="288571" cy="28857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08" tIns="46604" rIns="93208" bIns="46604" numCol="1" rtlCol="0" anchor="ctr" anchorCtr="0" compatLnSpc="1">
                <a:prstTxWarp prst="textNoShape">
                  <a:avLst/>
                </a:prstTxWarp>
              </a:bodyPr>
              <a:lstStyle/>
              <a:p>
                <a:pPr marL="0" marR="0" lvl="0" indent="0" algn="ctr" defTabSz="93173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44546A"/>
                  </a:solidFill>
                  <a:effectLst/>
                  <a:uLnTx/>
                  <a:uFillTx/>
                  <a:latin typeface="Segoe UI Light" panose="020B0502040204020203" pitchFamily="34" charset="0"/>
                  <a:ea typeface="+mn-ea"/>
                  <a:cs typeface="Segoe UI Light" panose="020B0502040204020203" pitchFamily="34" charset="0"/>
                </a:endParaRPr>
              </a:p>
            </p:txBody>
          </p:sp>
          <p:sp>
            <p:nvSpPr>
              <p:cNvPr id="41" name="Rounded Rectangle 14"/>
              <p:cNvSpPr/>
              <p:nvPr/>
            </p:nvSpPr>
            <p:spPr bwMode="auto">
              <a:xfrm flipH="1">
                <a:off x="1191830" y="2698407"/>
                <a:ext cx="300642" cy="302286"/>
              </a:xfrm>
              <a:custGeom>
                <a:avLst/>
                <a:gdLst>
                  <a:gd name="connsiteX0" fmla="*/ 744540 w 869954"/>
                  <a:gd name="connsiteY0" fmla="*/ 0 h 874713"/>
                  <a:gd name="connsiteX1" fmla="*/ 869954 w 869954"/>
                  <a:gd name="connsiteY1" fmla="*/ 125414 h 874713"/>
                  <a:gd name="connsiteX2" fmla="*/ 869953 w 869954"/>
                  <a:gd name="connsiteY2" fmla="*/ 706437 h 874713"/>
                  <a:gd name="connsiteX3" fmla="*/ 869952 w 869954"/>
                  <a:gd name="connsiteY3" fmla="*/ 749299 h 874713"/>
                  <a:gd name="connsiteX4" fmla="*/ 744538 w 869954"/>
                  <a:gd name="connsiteY4" fmla="*/ 874713 h 874713"/>
                  <a:gd name="connsiteX5" fmla="*/ 125414 w 869954"/>
                  <a:gd name="connsiteY5" fmla="*/ 874712 h 874713"/>
                  <a:gd name="connsiteX6" fmla="*/ 0 w 869954"/>
                  <a:gd name="connsiteY6" fmla="*/ 749298 h 874713"/>
                  <a:gd name="connsiteX7" fmla="*/ 1 w 869954"/>
                  <a:gd name="connsiteY7" fmla="*/ 749299 h 874713"/>
                  <a:gd name="connsiteX8" fmla="*/ 125415 w 869954"/>
                  <a:gd name="connsiteY8" fmla="*/ 623885 h 874713"/>
                  <a:gd name="connsiteX9" fmla="*/ 619126 w 869954"/>
                  <a:gd name="connsiteY9" fmla="*/ 623885 h 874713"/>
                  <a:gd name="connsiteX10" fmla="*/ 619126 w 869954"/>
                  <a:gd name="connsiteY10" fmla="*/ 125414 h 874713"/>
                  <a:gd name="connsiteX11" fmla="*/ 744540 w 869954"/>
                  <a:gd name="connsiteY11" fmla="*/ 0 h 87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9954" h="874713">
                    <a:moveTo>
                      <a:pt x="744540" y="0"/>
                    </a:moveTo>
                    <a:cubicBezTo>
                      <a:pt x="813804" y="0"/>
                      <a:pt x="869954" y="56150"/>
                      <a:pt x="869954" y="125414"/>
                    </a:cubicBezTo>
                    <a:cubicBezTo>
                      <a:pt x="869954" y="319088"/>
                      <a:pt x="869953" y="512763"/>
                      <a:pt x="869953" y="706437"/>
                    </a:cubicBezTo>
                    <a:cubicBezTo>
                      <a:pt x="869953" y="720724"/>
                      <a:pt x="869952" y="735012"/>
                      <a:pt x="869952" y="749299"/>
                    </a:cubicBezTo>
                    <a:cubicBezTo>
                      <a:pt x="869952" y="818563"/>
                      <a:pt x="813802" y="874713"/>
                      <a:pt x="744538" y="874713"/>
                    </a:cubicBezTo>
                    <a:lnTo>
                      <a:pt x="125414" y="874712"/>
                    </a:lnTo>
                    <a:cubicBezTo>
                      <a:pt x="56150" y="874712"/>
                      <a:pt x="0" y="818562"/>
                      <a:pt x="0" y="749298"/>
                    </a:cubicBezTo>
                    <a:lnTo>
                      <a:pt x="1" y="749299"/>
                    </a:lnTo>
                    <a:cubicBezTo>
                      <a:pt x="1" y="680035"/>
                      <a:pt x="56151" y="623885"/>
                      <a:pt x="125415" y="623885"/>
                    </a:cubicBezTo>
                    <a:lnTo>
                      <a:pt x="619126" y="623885"/>
                    </a:lnTo>
                    <a:lnTo>
                      <a:pt x="619126" y="125414"/>
                    </a:lnTo>
                    <a:cubicBezTo>
                      <a:pt x="619126" y="56150"/>
                      <a:pt x="675276" y="0"/>
                      <a:pt x="74454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08" tIns="46604" rIns="93208" bIns="46604" numCol="1" rtlCol="0" anchor="ctr" anchorCtr="0" compatLnSpc="1">
                <a:prstTxWarp prst="textNoShape">
                  <a:avLst/>
                </a:prstTxWarp>
              </a:bodyPr>
              <a:lstStyle/>
              <a:p>
                <a:pPr marL="0" marR="0" lvl="0" indent="0" algn="ctr" defTabSz="93173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a:ln>
                    <a:noFill/>
                  </a:ln>
                  <a:solidFill>
                    <a:srgbClr val="44546A"/>
                  </a:solidFill>
                  <a:effectLst/>
                  <a:uLnTx/>
                  <a:uFillTx/>
                  <a:latin typeface="Segoe UI Light" panose="020B0502040204020203" pitchFamily="34" charset="0"/>
                  <a:ea typeface="+mn-ea"/>
                  <a:cs typeface="Segoe UI Light" panose="020B0502040204020203" pitchFamily="34" charset="0"/>
                </a:endParaRPr>
              </a:p>
            </p:txBody>
          </p:sp>
        </p:grpSp>
      </p:grpSp>
      <p:sp>
        <p:nvSpPr>
          <p:cNvPr id="42" name="Freeform 41"/>
          <p:cNvSpPr/>
          <p:nvPr/>
        </p:nvSpPr>
        <p:spPr>
          <a:xfrm>
            <a:off x="1417021" y="2788330"/>
            <a:ext cx="502330" cy="676928"/>
          </a:xfrm>
          <a:custGeom>
            <a:avLst/>
            <a:gdLst/>
            <a:ahLst/>
            <a:cxnLst/>
            <a:rect l="l" t="t" r="r" b="b"/>
            <a:pathLst>
              <a:path w="4113311" h="5696905">
                <a:moveTo>
                  <a:pt x="2085555" y="1762876"/>
                </a:moveTo>
                <a:cubicBezTo>
                  <a:pt x="2115521" y="1762876"/>
                  <a:pt x="2139813" y="1787167"/>
                  <a:pt x="2139813" y="1817133"/>
                </a:cubicBezTo>
                <a:cubicBezTo>
                  <a:pt x="2139813" y="1847098"/>
                  <a:pt x="2115521" y="1871390"/>
                  <a:pt x="2085555" y="1871390"/>
                </a:cubicBezTo>
                <a:cubicBezTo>
                  <a:pt x="2055590" y="1871390"/>
                  <a:pt x="2031298" y="1847098"/>
                  <a:pt x="2031298" y="1817133"/>
                </a:cubicBezTo>
                <a:cubicBezTo>
                  <a:pt x="2031298" y="1787167"/>
                  <a:pt x="2055590" y="1762876"/>
                  <a:pt x="2085555" y="1762876"/>
                </a:cubicBezTo>
                <a:close/>
                <a:moveTo>
                  <a:pt x="2085555" y="1730434"/>
                </a:moveTo>
                <a:cubicBezTo>
                  <a:pt x="2037673" y="1730434"/>
                  <a:pt x="1998857" y="1769250"/>
                  <a:pt x="1998857" y="1817133"/>
                </a:cubicBezTo>
                <a:cubicBezTo>
                  <a:pt x="1998857" y="1865015"/>
                  <a:pt x="2037673" y="1903831"/>
                  <a:pt x="2085555" y="1903831"/>
                </a:cubicBezTo>
                <a:cubicBezTo>
                  <a:pt x="2133438" y="1903831"/>
                  <a:pt x="2172254" y="1865015"/>
                  <a:pt x="2172254" y="1817133"/>
                </a:cubicBezTo>
                <a:cubicBezTo>
                  <a:pt x="2172254" y="1769250"/>
                  <a:pt x="2133438" y="1730434"/>
                  <a:pt x="2085555" y="1730434"/>
                </a:cubicBezTo>
                <a:close/>
                <a:moveTo>
                  <a:pt x="3113460" y="1725072"/>
                </a:moveTo>
                <a:cubicBezTo>
                  <a:pt x="3161959" y="1725072"/>
                  <a:pt x="3201276" y="1764388"/>
                  <a:pt x="3201276" y="1812887"/>
                </a:cubicBezTo>
                <a:cubicBezTo>
                  <a:pt x="3201276" y="1861386"/>
                  <a:pt x="3161959" y="1900703"/>
                  <a:pt x="3113460" y="1900703"/>
                </a:cubicBezTo>
                <a:cubicBezTo>
                  <a:pt x="3064961" y="1900703"/>
                  <a:pt x="3025645" y="1861386"/>
                  <a:pt x="3025645" y="1812887"/>
                </a:cubicBezTo>
                <a:cubicBezTo>
                  <a:pt x="3025645" y="1764388"/>
                  <a:pt x="3064961" y="1725072"/>
                  <a:pt x="3113460" y="1725072"/>
                </a:cubicBezTo>
                <a:close/>
                <a:moveTo>
                  <a:pt x="2085555" y="1697344"/>
                </a:moveTo>
                <a:cubicBezTo>
                  <a:pt x="2151713" y="1697344"/>
                  <a:pt x="2205344" y="1750975"/>
                  <a:pt x="2205344" y="1817133"/>
                </a:cubicBezTo>
                <a:cubicBezTo>
                  <a:pt x="2205344" y="1883290"/>
                  <a:pt x="2151713" y="1936922"/>
                  <a:pt x="2085555" y="1936922"/>
                </a:cubicBezTo>
                <a:cubicBezTo>
                  <a:pt x="2019398" y="1936922"/>
                  <a:pt x="1965766" y="1883290"/>
                  <a:pt x="1965766" y="1817133"/>
                </a:cubicBezTo>
                <a:cubicBezTo>
                  <a:pt x="1965766" y="1750975"/>
                  <a:pt x="2019398" y="1697344"/>
                  <a:pt x="2085555" y="1697344"/>
                </a:cubicBezTo>
                <a:close/>
                <a:moveTo>
                  <a:pt x="3113460" y="1672565"/>
                </a:moveTo>
                <a:cubicBezTo>
                  <a:pt x="3035962" y="1672565"/>
                  <a:pt x="2973138" y="1735389"/>
                  <a:pt x="2973138" y="1812887"/>
                </a:cubicBezTo>
                <a:cubicBezTo>
                  <a:pt x="2973138" y="1890385"/>
                  <a:pt x="3035962" y="1953209"/>
                  <a:pt x="3113460" y="1953209"/>
                </a:cubicBezTo>
                <a:cubicBezTo>
                  <a:pt x="3190958" y="1953209"/>
                  <a:pt x="3253782" y="1890385"/>
                  <a:pt x="3253782" y="1812887"/>
                </a:cubicBezTo>
                <a:cubicBezTo>
                  <a:pt x="3253782" y="1735389"/>
                  <a:pt x="3190958" y="1672565"/>
                  <a:pt x="3113460" y="1672565"/>
                </a:cubicBezTo>
                <a:close/>
                <a:moveTo>
                  <a:pt x="3113460" y="1619008"/>
                </a:moveTo>
                <a:cubicBezTo>
                  <a:pt x="3220536" y="1619008"/>
                  <a:pt x="3307339" y="1705811"/>
                  <a:pt x="3307339" y="1812887"/>
                </a:cubicBezTo>
                <a:cubicBezTo>
                  <a:pt x="3307339" y="1919963"/>
                  <a:pt x="3220536" y="2006766"/>
                  <a:pt x="3113460" y="2006766"/>
                </a:cubicBezTo>
                <a:cubicBezTo>
                  <a:pt x="3006384" y="2006766"/>
                  <a:pt x="2919581" y="1919963"/>
                  <a:pt x="2919581" y="1812887"/>
                </a:cubicBezTo>
                <a:cubicBezTo>
                  <a:pt x="2919581" y="1705811"/>
                  <a:pt x="3006384" y="1619008"/>
                  <a:pt x="3113460" y="1619008"/>
                </a:cubicBezTo>
                <a:close/>
                <a:moveTo>
                  <a:pt x="2032094" y="1611528"/>
                </a:moveTo>
                <a:cubicBezTo>
                  <a:pt x="2011771" y="1616567"/>
                  <a:pt x="1992743" y="1624869"/>
                  <a:pt x="1975466" y="1635758"/>
                </a:cubicBezTo>
                <a:cubicBezTo>
                  <a:pt x="1992885" y="1656424"/>
                  <a:pt x="1991680" y="1687250"/>
                  <a:pt x="1972334" y="1707168"/>
                </a:cubicBezTo>
                <a:cubicBezTo>
                  <a:pt x="1953107" y="1726963"/>
                  <a:pt x="1922590" y="1729162"/>
                  <a:pt x="1901460" y="1712647"/>
                </a:cubicBezTo>
                <a:cubicBezTo>
                  <a:pt x="1891894" y="1728283"/>
                  <a:pt x="1884959" y="1745550"/>
                  <a:pt x="1880397" y="1763770"/>
                </a:cubicBezTo>
                <a:cubicBezTo>
                  <a:pt x="1907202" y="1766530"/>
                  <a:pt x="1927717" y="1789439"/>
                  <a:pt x="1927717" y="1817140"/>
                </a:cubicBezTo>
                <a:cubicBezTo>
                  <a:pt x="1927717" y="1845019"/>
                  <a:pt x="1906937" y="1868044"/>
                  <a:pt x="1879895" y="1870611"/>
                </a:cubicBezTo>
                <a:cubicBezTo>
                  <a:pt x="1884447" y="1889071"/>
                  <a:pt x="1891687" y="1906474"/>
                  <a:pt x="1901042" y="1922506"/>
                </a:cubicBezTo>
                <a:cubicBezTo>
                  <a:pt x="1922187" y="1905467"/>
                  <a:pt x="1953130" y="1907435"/>
                  <a:pt x="1972598" y="1927382"/>
                </a:cubicBezTo>
                <a:cubicBezTo>
                  <a:pt x="1991917" y="1947178"/>
                  <a:pt x="1993260" y="1977842"/>
                  <a:pt x="1976073" y="1998533"/>
                </a:cubicBezTo>
                <a:cubicBezTo>
                  <a:pt x="1993132" y="2009339"/>
                  <a:pt x="2012079" y="2017264"/>
                  <a:pt x="2032186" y="2022298"/>
                </a:cubicBezTo>
                <a:cubicBezTo>
                  <a:pt x="2034946" y="1995493"/>
                  <a:pt x="2057854" y="1974978"/>
                  <a:pt x="2085555" y="1974978"/>
                </a:cubicBezTo>
                <a:cubicBezTo>
                  <a:pt x="2113412" y="1974978"/>
                  <a:pt x="2136423" y="1995724"/>
                  <a:pt x="2139014" y="2022737"/>
                </a:cubicBezTo>
                <a:cubicBezTo>
                  <a:pt x="2159316" y="2017685"/>
                  <a:pt x="2178319" y="2009355"/>
                  <a:pt x="2195560" y="1998398"/>
                </a:cubicBezTo>
                <a:cubicBezTo>
                  <a:pt x="2178231" y="1977740"/>
                  <a:pt x="2179468" y="1946991"/>
                  <a:pt x="2198777" y="1927110"/>
                </a:cubicBezTo>
                <a:cubicBezTo>
                  <a:pt x="2218037" y="1907282"/>
                  <a:pt x="2248625" y="1905109"/>
                  <a:pt x="2269765" y="1921706"/>
                </a:cubicBezTo>
                <a:cubicBezTo>
                  <a:pt x="2279283" y="1905972"/>
                  <a:pt x="2286570" y="1888821"/>
                  <a:pt x="2291179" y="1870603"/>
                </a:cubicBezTo>
                <a:cubicBezTo>
                  <a:pt x="2264154" y="1868021"/>
                  <a:pt x="2243393" y="1845005"/>
                  <a:pt x="2243393" y="1817140"/>
                </a:cubicBezTo>
                <a:cubicBezTo>
                  <a:pt x="2243393" y="1789261"/>
                  <a:pt x="2264174" y="1766235"/>
                  <a:pt x="2291216" y="1763668"/>
                </a:cubicBezTo>
                <a:cubicBezTo>
                  <a:pt x="2286664" y="1745207"/>
                  <a:pt x="2279423" y="1727804"/>
                  <a:pt x="2270068" y="1711773"/>
                </a:cubicBezTo>
                <a:cubicBezTo>
                  <a:pt x="2248923" y="1728812"/>
                  <a:pt x="2217980" y="1726844"/>
                  <a:pt x="2198513" y="1706897"/>
                </a:cubicBezTo>
                <a:cubicBezTo>
                  <a:pt x="2179194" y="1687102"/>
                  <a:pt x="2177850" y="1656438"/>
                  <a:pt x="2195037" y="1635747"/>
                </a:cubicBezTo>
                <a:cubicBezTo>
                  <a:pt x="2177979" y="1624941"/>
                  <a:pt x="2159032" y="1617016"/>
                  <a:pt x="2138925" y="1611982"/>
                </a:cubicBezTo>
                <a:cubicBezTo>
                  <a:pt x="2136165" y="1638787"/>
                  <a:pt x="2113256" y="1659302"/>
                  <a:pt x="2085555" y="1659302"/>
                </a:cubicBezTo>
                <a:cubicBezTo>
                  <a:pt x="2057694" y="1659302"/>
                  <a:pt x="2034680" y="1638547"/>
                  <a:pt x="2032094" y="1611528"/>
                </a:cubicBezTo>
                <a:close/>
                <a:moveTo>
                  <a:pt x="2444733" y="1542732"/>
                </a:moveTo>
                <a:cubicBezTo>
                  <a:pt x="2474699" y="1542732"/>
                  <a:pt x="2498991" y="1567024"/>
                  <a:pt x="2498991" y="1596989"/>
                </a:cubicBezTo>
                <a:cubicBezTo>
                  <a:pt x="2498991" y="1626955"/>
                  <a:pt x="2474699" y="1651247"/>
                  <a:pt x="2444733" y="1651247"/>
                </a:cubicBezTo>
                <a:cubicBezTo>
                  <a:pt x="2414768" y="1651247"/>
                  <a:pt x="2390476" y="1626955"/>
                  <a:pt x="2390476" y="1596989"/>
                </a:cubicBezTo>
                <a:cubicBezTo>
                  <a:pt x="2390476" y="1567024"/>
                  <a:pt x="2414768" y="1542732"/>
                  <a:pt x="2444733" y="1542732"/>
                </a:cubicBezTo>
                <a:close/>
                <a:moveTo>
                  <a:pt x="2444733" y="1510291"/>
                </a:moveTo>
                <a:cubicBezTo>
                  <a:pt x="2396851" y="1510291"/>
                  <a:pt x="2358035" y="1549107"/>
                  <a:pt x="2358035" y="1596989"/>
                </a:cubicBezTo>
                <a:cubicBezTo>
                  <a:pt x="2358035" y="1644872"/>
                  <a:pt x="2396851" y="1683688"/>
                  <a:pt x="2444733" y="1683688"/>
                </a:cubicBezTo>
                <a:cubicBezTo>
                  <a:pt x="2492616" y="1683688"/>
                  <a:pt x="2531432" y="1644872"/>
                  <a:pt x="2531432" y="1596989"/>
                </a:cubicBezTo>
                <a:cubicBezTo>
                  <a:pt x="2531432" y="1549107"/>
                  <a:pt x="2492616" y="1510291"/>
                  <a:pt x="2444733" y="1510291"/>
                </a:cubicBezTo>
                <a:close/>
                <a:moveTo>
                  <a:pt x="3199983" y="1480116"/>
                </a:moveTo>
                <a:cubicBezTo>
                  <a:pt x="3195790" y="1523836"/>
                  <a:pt x="3158547" y="1557415"/>
                  <a:pt x="3113460" y="1557415"/>
                </a:cubicBezTo>
                <a:cubicBezTo>
                  <a:pt x="3068626" y="1557415"/>
                  <a:pt x="3031549" y="1524211"/>
                  <a:pt x="3027081" y="1480827"/>
                </a:cubicBezTo>
                <a:cubicBezTo>
                  <a:pt x="2994538" y="1488974"/>
                  <a:pt x="2963872" y="1501801"/>
                  <a:pt x="2936263" y="1519290"/>
                </a:cubicBezTo>
                <a:cubicBezTo>
                  <a:pt x="2964081" y="1552779"/>
                  <a:pt x="2961907" y="1602409"/>
                  <a:pt x="2930638" y="1634449"/>
                </a:cubicBezTo>
                <a:cubicBezTo>
                  <a:pt x="2899130" y="1666733"/>
                  <a:pt x="2849048" y="1669918"/>
                  <a:pt x="2814825" y="1642340"/>
                </a:cubicBezTo>
                <a:cubicBezTo>
                  <a:pt x="2799685" y="1668288"/>
                  <a:pt x="2787965" y="1696454"/>
                  <a:pt x="2780598" y="1726333"/>
                </a:cubicBezTo>
                <a:cubicBezTo>
                  <a:pt x="2824366" y="1730488"/>
                  <a:pt x="2857999" y="1767754"/>
                  <a:pt x="2857999" y="1812876"/>
                </a:cubicBezTo>
                <a:cubicBezTo>
                  <a:pt x="2857999" y="1857710"/>
                  <a:pt x="2824795" y="1894788"/>
                  <a:pt x="2781412" y="1899256"/>
                </a:cubicBezTo>
                <a:cubicBezTo>
                  <a:pt x="2788794" y="1928744"/>
                  <a:pt x="2800019" y="1956691"/>
                  <a:pt x="2815501" y="1981998"/>
                </a:cubicBezTo>
                <a:cubicBezTo>
                  <a:pt x="2849701" y="1955268"/>
                  <a:pt x="2899093" y="1958828"/>
                  <a:pt x="2930211" y="1990865"/>
                </a:cubicBezTo>
                <a:cubicBezTo>
                  <a:pt x="2961522" y="2023103"/>
                  <a:pt x="2963473" y="2072994"/>
                  <a:pt x="2935281" y="2106443"/>
                </a:cubicBezTo>
                <a:cubicBezTo>
                  <a:pt x="2963243" y="2124067"/>
                  <a:pt x="2994040" y="2137503"/>
                  <a:pt x="3026933" y="2145659"/>
                </a:cubicBezTo>
                <a:cubicBezTo>
                  <a:pt x="3031118" y="2101929"/>
                  <a:pt x="3068366" y="2068338"/>
                  <a:pt x="3113460" y="2068338"/>
                </a:cubicBezTo>
                <a:cubicBezTo>
                  <a:pt x="3158293" y="2068338"/>
                  <a:pt x="3195372" y="2101541"/>
                  <a:pt x="3199839" y="2144925"/>
                </a:cubicBezTo>
                <a:cubicBezTo>
                  <a:pt x="3232382" y="2136777"/>
                  <a:pt x="3263048" y="2123950"/>
                  <a:pt x="3290656" y="2106462"/>
                </a:cubicBezTo>
                <a:cubicBezTo>
                  <a:pt x="3262840" y="2072972"/>
                  <a:pt x="3265014" y="2023343"/>
                  <a:pt x="3296282" y="1991304"/>
                </a:cubicBezTo>
                <a:cubicBezTo>
                  <a:pt x="3327790" y="1959020"/>
                  <a:pt x="3377871" y="1955835"/>
                  <a:pt x="3412094" y="1983412"/>
                </a:cubicBezTo>
                <a:cubicBezTo>
                  <a:pt x="3427236" y="1957466"/>
                  <a:pt x="3438955" y="1929299"/>
                  <a:pt x="3446322" y="1899420"/>
                </a:cubicBezTo>
                <a:cubicBezTo>
                  <a:pt x="3402554" y="1895265"/>
                  <a:pt x="3368922" y="1857998"/>
                  <a:pt x="3368922" y="1812876"/>
                </a:cubicBezTo>
                <a:cubicBezTo>
                  <a:pt x="3368922" y="1767776"/>
                  <a:pt x="3402522" y="1730524"/>
                  <a:pt x="3446262" y="1726345"/>
                </a:cubicBezTo>
                <a:cubicBezTo>
                  <a:pt x="3438803" y="1696859"/>
                  <a:pt x="3427009" y="1669100"/>
                  <a:pt x="3411605" y="1643635"/>
                </a:cubicBezTo>
                <a:cubicBezTo>
                  <a:pt x="3377390" y="1670497"/>
                  <a:pt x="3327882" y="1666981"/>
                  <a:pt x="3296711" y="1634888"/>
                </a:cubicBezTo>
                <a:cubicBezTo>
                  <a:pt x="3265458" y="1602711"/>
                  <a:pt x="3263456" y="1552945"/>
                  <a:pt x="3291503" y="1519509"/>
                </a:cubicBezTo>
                <a:cubicBezTo>
                  <a:pt x="3263599" y="1501775"/>
                  <a:pt x="3232843" y="1488292"/>
                  <a:pt x="3199983" y="1480116"/>
                </a:cubicBezTo>
                <a:close/>
                <a:moveTo>
                  <a:pt x="2444733" y="1477200"/>
                </a:moveTo>
                <a:cubicBezTo>
                  <a:pt x="2510891" y="1477200"/>
                  <a:pt x="2564522" y="1530832"/>
                  <a:pt x="2564522" y="1596989"/>
                </a:cubicBezTo>
                <a:cubicBezTo>
                  <a:pt x="2564522" y="1663147"/>
                  <a:pt x="2510891" y="1716778"/>
                  <a:pt x="2444733" y="1716778"/>
                </a:cubicBezTo>
                <a:cubicBezTo>
                  <a:pt x="2378576" y="1716778"/>
                  <a:pt x="2324944" y="1663147"/>
                  <a:pt x="2324944" y="1596989"/>
                </a:cubicBezTo>
                <a:cubicBezTo>
                  <a:pt x="2324944" y="1530832"/>
                  <a:pt x="2378576" y="1477200"/>
                  <a:pt x="2444733" y="1477200"/>
                </a:cubicBezTo>
                <a:close/>
                <a:moveTo>
                  <a:pt x="1387290" y="1469477"/>
                </a:moveTo>
                <a:cubicBezTo>
                  <a:pt x="1435789" y="1469477"/>
                  <a:pt x="1475105" y="1508794"/>
                  <a:pt x="1475105" y="1557293"/>
                </a:cubicBezTo>
                <a:cubicBezTo>
                  <a:pt x="1475105" y="1605792"/>
                  <a:pt x="1435789" y="1645109"/>
                  <a:pt x="1387290" y="1645109"/>
                </a:cubicBezTo>
                <a:cubicBezTo>
                  <a:pt x="1338791" y="1645109"/>
                  <a:pt x="1299474" y="1605792"/>
                  <a:pt x="1299474" y="1557293"/>
                </a:cubicBezTo>
                <a:cubicBezTo>
                  <a:pt x="1299474" y="1508794"/>
                  <a:pt x="1338791" y="1469477"/>
                  <a:pt x="1387290" y="1469477"/>
                </a:cubicBezTo>
                <a:close/>
                <a:moveTo>
                  <a:pt x="1387290" y="1416971"/>
                </a:moveTo>
                <a:cubicBezTo>
                  <a:pt x="1309792" y="1416971"/>
                  <a:pt x="1246968" y="1479795"/>
                  <a:pt x="1246968" y="1557293"/>
                </a:cubicBezTo>
                <a:cubicBezTo>
                  <a:pt x="1246968" y="1634791"/>
                  <a:pt x="1309792" y="1697615"/>
                  <a:pt x="1387290" y="1697615"/>
                </a:cubicBezTo>
                <a:cubicBezTo>
                  <a:pt x="1464788" y="1697615"/>
                  <a:pt x="1527612" y="1634791"/>
                  <a:pt x="1527612" y="1557293"/>
                </a:cubicBezTo>
                <a:cubicBezTo>
                  <a:pt x="1527612" y="1479795"/>
                  <a:pt x="1464788" y="1416971"/>
                  <a:pt x="1387290" y="1416971"/>
                </a:cubicBezTo>
                <a:close/>
                <a:moveTo>
                  <a:pt x="2498192" y="1391385"/>
                </a:moveTo>
                <a:cubicBezTo>
                  <a:pt x="2495601" y="1418398"/>
                  <a:pt x="2472590" y="1439144"/>
                  <a:pt x="2444733" y="1439144"/>
                </a:cubicBezTo>
                <a:cubicBezTo>
                  <a:pt x="2417032" y="1439144"/>
                  <a:pt x="2394124" y="1418630"/>
                  <a:pt x="2391364" y="1391824"/>
                </a:cubicBezTo>
                <a:cubicBezTo>
                  <a:pt x="2371257" y="1396858"/>
                  <a:pt x="2352310" y="1404783"/>
                  <a:pt x="2335251" y="1415589"/>
                </a:cubicBezTo>
                <a:cubicBezTo>
                  <a:pt x="2352438" y="1436280"/>
                  <a:pt x="2351095" y="1466944"/>
                  <a:pt x="2331776" y="1486740"/>
                </a:cubicBezTo>
                <a:cubicBezTo>
                  <a:pt x="2312308" y="1506687"/>
                  <a:pt x="2281365" y="1508655"/>
                  <a:pt x="2260220" y="1491616"/>
                </a:cubicBezTo>
                <a:cubicBezTo>
                  <a:pt x="2250865" y="1507648"/>
                  <a:pt x="2243625" y="1525051"/>
                  <a:pt x="2239073" y="1543511"/>
                </a:cubicBezTo>
                <a:cubicBezTo>
                  <a:pt x="2266115" y="1546079"/>
                  <a:pt x="2286895" y="1569104"/>
                  <a:pt x="2286895" y="1596983"/>
                </a:cubicBezTo>
                <a:cubicBezTo>
                  <a:pt x="2286895" y="1624683"/>
                  <a:pt x="2266380" y="1647592"/>
                  <a:pt x="2239575" y="1650353"/>
                </a:cubicBezTo>
                <a:cubicBezTo>
                  <a:pt x="2244137" y="1668572"/>
                  <a:pt x="2251072" y="1685839"/>
                  <a:pt x="2260638" y="1701476"/>
                </a:cubicBezTo>
                <a:cubicBezTo>
                  <a:pt x="2281768" y="1684960"/>
                  <a:pt x="2312285" y="1687159"/>
                  <a:pt x="2331512" y="1706954"/>
                </a:cubicBezTo>
                <a:cubicBezTo>
                  <a:pt x="2350858" y="1726872"/>
                  <a:pt x="2352063" y="1757698"/>
                  <a:pt x="2334644" y="1778364"/>
                </a:cubicBezTo>
                <a:cubicBezTo>
                  <a:pt x="2351921" y="1789253"/>
                  <a:pt x="2370949" y="1797555"/>
                  <a:pt x="2391272" y="1802594"/>
                </a:cubicBezTo>
                <a:cubicBezTo>
                  <a:pt x="2393858" y="1775575"/>
                  <a:pt x="2416872" y="1754821"/>
                  <a:pt x="2444733" y="1754821"/>
                </a:cubicBezTo>
                <a:cubicBezTo>
                  <a:pt x="2472434" y="1754821"/>
                  <a:pt x="2495343" y="1775336"/>
                  <a:pt x="2498103" y="1802140"/>
                </a:cubicBezTo>
                <a:cubicBezTo>
                  <a:pt x="2518210" y="1797106"/>
                  <a:pt x="2537157" y="1789181"/>
                  <a:pt x="2554215" y="1778376"/>
                </a:cubicBezTo>
                <a:cubicBezTo>
                  <a:pt x="2537028" y="1757684"/>
                  <a:pt x="2538372" y="1727021"/>
                  <a:pt x="2557691" y="1707225"/>
                </a:cubicBezTo>
                <a:cubicBezTo>
                  <a:pt x="2577158" y="1687278"/>
                  <a:pt x="2608101" y="1685310"/>
                  <a:pt x="2629246" y="1702349"/>
                </a:cubicBezTo>
                <a:cubicBezTo>
                  <a:pt x="2638601" y="1686318"/>
                  <a:pt x="2645842" y="1668915"/>
                  <a:pt x="2650394" y="1650454"/>
                </a:cubicBezTo>
                <a:cubicBezTo>
                  <a:pt x="2623352" y="1647887"/>
                  <a:pt x="2602571" y="1624862"/>
                  <a:pt x="2602571" y="1596983"/>
                </a:cubicBezTo>
                <a:cubicBezTo>
                  <a:pt x="2602571" y="1569117"/>
                  <a:pt x="2623332" y="1546101"/>
                  <a:pt x="2650357" y="1543519"/>
                </a:cubicBezTo>
                <a:cubicBezTo>
                  <a:pt x="2645748" y="1525301"/>
                  <a:pt x="2638461" y="1508150"/>
                  <a:pt x="2628943" y="1492416"/>
                </a:cubicBezTo>
                <a:cubicBezTo>
                  <a:pt x="2607803" y="1509013"/>
                  <a:pt x="2577215" y="1506840"/>
                  <a:pt x="2557955" y="1487012"/>
                </a:cubicBezTo>
                <a:cubicBezTo>
                  <a:pt x="2538646" y="1467131"/>
                  <a:pt x="2537409" y="1436383"/>
                  <a:pt x="2554738" y="1415724"/>
                </a:cubicBezTo>
                <a:cubicBezTo>
                  <a:pt x="2537497" y="1404767"/>
                  <a:pt x="2518494" y="1396437"/>
                  <a:pt x="2498192" y="1391385"/>
                </a:cubicBezTo>
                <a:close/>
                <a:moveTo>
                  <a:pt x="1387290" y="1363414"/>
                </a:moveTo>
                <a:cubicBezTo>
                  <a:pt x="1494366" y="1363414"/>
                  <a:pt x="1581169" y="1450217"/>
                  <a:pt x="1581169" y="1557293"/>
                </a:cubicBezTo>
                <a:cubicBezTo>
                  <a:pt x="1581169" y="1664369"/>
                  <a:pt x="1494366" y="1751172"/>
                  <a:pt x="1387290" y="1751172"/>
                </a:cubicBezTo>
                <a:cubicBezTo>
                  <a:pt x="1280214" y="1751172"/>
                  <a:pt x="1193411" y="1664369"/>
                  <a:pt x="1193411" y="1557293"/>
                </a:cubicBezTo>
                <a:cubicBezTo>
                  <a:pt x="1193411" y="1450217"/>
                  <a:pt x="1280214" y="1363414"/>
                  <a:pt x="1387290" y="1363414"/>
                </a:cubicBezTo>
                <a:close/>
                <a:moveTo>
                  <a:pt x="2767883" y="1332598"/>
                </a:moveTo>
                <a:cubicBezTo>
                  <a:pt x="2797849" y="1332598"/>
                  <a:pt x="2822141" y="1356890"/>
                  <a:pt x="2822141" y="1386855"/>
                </a:cubicBezTo>
                <a:cubicBezTo>
                  <a:pt x="2822141" y="1416821"/>
                  <a:pt x="2797849" y="1441112"/>
                  <a:pt x="2767883" y="1441112"/>
                </a:cubicBezTo>
                <a:cubicBezTo>
                  <a:pt x="2737918" y="1441112"/>
                  <a:pt x="2713626" y="1416821"/>
                  <a:pt x="2713626" y="1386855"/>
                </a:cubicBezTo>
                <a:cubicBezTo>
                  <a:pt x="2713626" y="1356890"/>
                  <a:pt x="2737918" y="1332598"/>
                  <a:pt x="2767883" y="1332598"/>
                </a:cubicBezTo>
                <a:close/>
                <a:moveTo>
                  <a:pt x="2085555" y="1315504"/>
                </a:moveTo>
                <a:cubicBezTo>
                  <a:pt x="2115521" y="1315504"/>
                  <a:pt x="2139813" y="1339796"/>
                  <a:pt x="2139813" y="1369762"/>
                </a:cubicBezTo>
                <a:cubicBezTo>
                  <a:pt x="2139813" y="1399727"/>
                  <a:pt x="2115521" y="1424019"/>
                  <a:pt x="2085555" y="1424019"/>
                </a:cubicBezTo>
                <a:cubicBezTo>
                  <a:pt x="2055590" y="1424019"/>
                  <a:pt x="2031298" y="1399727"/>
                  <a:pt x="2031298" y="1369762"/>
                </a:cubicBezTo>
                <a:cubicBezTo>
                  <a:pt x="2031298" y="1339796"/>
                  <a:pt x="2055590" y="1315504"/>
                  <a:pt x="2085555" y="1315504"/>
                </a:cubicBezTo>
                <a:close/>
                <a:moveTo>
                  <a:pt x="2767883" y="1300157"/>
                </a:moveTo>
                <a:cubicBezTo>
                  <a:pt x="2720001" y="1300157"/>
                  <a:pt x="2681185" y="1338973"/>
                  <a:pt x="2681185" y="1386855"/>
                </a:cubicBezTo>
                <a:cubicBezTo>
                  <a:pt x="2681185" y="1434738"/>
                  <a:pt x="2720001" y="1473554"/>
                  <a:pt x="2767883" y="1473554"/>
                </a:cubicBezTo>
                <a:cubicBezTo>
                  <a:pt x="2815766" y="1473554"/>
                  <a:pt x="2854582" y="1434738"/>
                  <a:pt x="2854582" y="1386855"/>
                </a:cubicBezTo>
                <a:cubicBezTo>
                  <a:pt x="2854582" y="1338973"/>
                  <a:pt x="2815766" y="1300157"/>
                  <a:pt x="2767883" y="1300157"/>
                </a:cubicBezTo>
                <a:close/>
                <a:moveTo>
                  <a:pt x="2085555" y="1283063"/>
                </a:moveTo>
                <a:cubicBezTo>
                  <a:pt x="2037673" y="1283063"/>
                  <a:pt x="1998857" y="1321879"/>
                  <a:pt x="1998857" y="1369762"/>
                </a:cubicBezTo>
                <a:cubicBezTo>
                  <a:pt x="1998857" y="1417644"/>
                  <a:pt x="2037673" y="1456460"/>
                  <a:pt x="2085555" y="1456460"/>
                </a:cubicBezTo>
                <a:cubicBezTo>
                  <a:pt x="2133438" y="1456460"/>
                  <a:pt x="2172254" y="1417644"/>
                  <a:pt x="2172254" y="1369762"/>
                </a:cubicBezTo>
                <a:cubicBezTo>
                  <a:pt x="2172254" y="1321879"/>
                  <a:pt x="2133438" y="1283063"/>
                  <a:pt x="2085555" y="1283063"/>
                </a:cubicBezTo>
                <a:close/>
                <a:moveTo>
                  <a:pt x="2767883" y="1267066"/>
                </a:moveTo>
                <a:cubicBezTo>
                  <a:pt x="2834041" y="1267066"/>
                  <a:pt x="2887673" y="1320698"/>
                  <a:pt x="2887673" y="1386855"/>
                </a:cubicBezTo>
                <a:cubicBezTo>
                  <a:pt x="2887673" y="1453013"/>
                  <a:pt x="2834041" y="1506644"/>
                  <a:pt x="2767883" y="1506644"/>
                </a:cubicBezTo>
                <a:cubicBezTo>
                  <a:pt x="2701726" y="1506644"/>
                  <a:pt x="2648094" y="1453013"/>
                  <a:pt x="2648094" y="1386855"/>
                </a:cubicBezTo>
                <a:cubicBezTo>
                  <a:pt x="2648094" y="1320698"/>
                  <a:pt x="2701726" y="1267066"/>
                  <a:pt x="2767883" y="1267066"/>
                </a:cubicBezTo>
                <a:close/>
                <a:moveTo>
                  <a:pt x="2085555" y="1249973"/>
                </a:moveTo>
                <a:cubicBezTo>
                  <a:pt x="2151713" y="1249973"/>
                  <a:pt x="2205344" y="1303604"/>
                  <a:pt x="2205344" y="1369762"/>
                </a:cubicBezTo>
                <a:cubicBezTo>
                  <a:pt x="2205344" y="1435919"/>
                  <a:pt x="2151713" y="1489551"/>
                  <a:pt x="2085555" y="1489551"/>
                </a:cubicBezTo>
                <a:cubicBezTo>
                  <a:pt x="2019398" y="1489551"/>
                  <a:pt x="1965766" y="1435919"/>
                  <a:pt x="1965766" y="1369762"/>
                </a:cubicBezTo>
                <a:cubicBezTo>
                  <a:pt x="1965766" y="1303604"/>
                  <a:pt x="2019398" y="1249973"/>
                  <a:pt x="2085555" y="1249973"/>
                </a:cubicBezTo>
                <a:close/>
                <a:moveTo>
                  <a:pt x="1300767" y="1224522"/>
                </a:moveTo>
                <a:cubicBezTo>
                  <a:pt x="1267907" y="1232698"/>
                  <a:pt x="1237151" y="1246181"/>
                  <a:pt x="1209247" y="1263915"/>
                </a:cubicBezTo>
                <a:cubicBezTo>
                  <a:pt x="1237294" y="1297350"/>
                  <a:pt x="1235292" y="1347117"/>
                  <a:pt x="1204039" y="1379294"/>
                </a:cubicBezTo>
                <a:cubicBezTo>
                  <a:pt x="1172868" y="1411387"/>
                  <a:pt x="1123360" y="1414903"/>
                  <a:pt x="1089145" y="1388041"/>
                </a:cubicBezTo>
                <a:cubicBezTo>
                  <a:pt x="1073741" y="1413506"/>
                  <a:pt x="1061947" y="1441265"/>
                  <a:pt x="1054488" y="1470751"/>
                </a:cubicBezTo>
                <a:cubicBezTo>
                  <a:pt x="1098228" y="1474930"/>
                  <a:pt x="1131828" y="1512182"/>
                  <a:pt x="1131828" y="1557282"/>
                </a:cubicBezTo>
                <a:cubicBezTo>
                  <a:pt x="1131828" y="1602404"/>
                  <a:pt x="1098196" y="1639671"/>
                  <a:pt x="1054428" y="1643826"/>
                </a:cubicBezTo>
                <a:cubicBezTo>
                  <a:pt x="1061795" y="1673705"/>
                  <a:pt x="1073514" y="1701872"/>
                  <a:pt x="1088656" y="1727818"/>
                </a:cubicBezTo>
                <a:cubicBezTo>
                  <a:pt x="1122879" y="1700241"/>
                  <a:pt x="1172960" y="1703426"/>
                  <a:pt x="1204468" y="1735710"/>
                </a:cubicBezTo>
                <a:cubicBezTo>
                  <a:pt x="1235736" y="1767749"/>
                  <a:pt x="1237910" y="1817378"/>
                  <a:pt x="1210094" y="1850868"/>
                </a:cubicBezTo>
                <a:cubicBezTo>
                  <a:pt x="1237702" y="1868356"/>
                  <a:pt x="1268368" y="1881183"/>
                  <a:pt x="1300911" y="1889331"/>
                </a:cubicBezTo>
                <a:cubicBezTo>
                  <a:pt x="1305378" y="1845947"/>
                  <a:pt x="1342457" y="1812744"/>
                  <a:pt x="1387290" y="1812744"/>
                </a:cubicBezTo>
                <a:cubicBezTo>
                  <a:pt x="1432384" y="1812744"/>
                  <a:pt x="1469632" y="1846335"/>
                  <a:pt x="1473817" y="1890065"/>
                </a:cubicBezTo>
                <a:cubicBezTo>
                  <a:pt x="1506710" y="1881909"/>
                  <a:pt x="1537507" y="1868473"/>
                  <a:pt x="1565469" y="1850849"/>
                </a:cubicBezTo>
                <a:cubicBezTo>
                  <a:pt x="1537277" y="1817400"/>
                  <a:pt x="1539228" y="1767509"/>
                  <a:pt x="1570539" y="1735271"/>
                </a:cubicBezTo>
                <a:cubicBezTo>
                  <a:pt x="1601657" y="1703234"/>
                  <a:pt x="1651049" y="1699674"/>
                  <a:pt x="1685249" y="1726404"/>
                </a:cubicBezTo>
                <a:cubicBezTo>
                  <a:pt x="1700731" y="1701097"/>
                  <a:pt x="1711956" y="1673150"/>
                  <a:pt x="1719338" y="1643662"/>
                </a:cubicBezTo>
                <a:cubicBezTo>
                  <a:pt x="1675955" y="1639194"/>
                  <a:pt x="1642751" y="1602116"/>
                  <a:pt x="1642751" y="1557282"/>
                </a:cubicBezTo>
                <a:cubicBezTo>
                  <a:pt x="1642751" y="1512160"/>
                  <a:pt x="1676384" y="1474894"/>
                  <a:pt x="1720152" y="1470739"/>
                </a:cubicBezTo>
                <a:cubicBezTo>
                  <a:pt x="1712785" y="1440860"/>
                  <a:pt x="1701065" y="1412693"/>
                  <a:pt x="1685925" y="1386746"/>
                </a:cubicBezTo>
                <a:cubicBezTo>
                  <a:pt x="1651702" y="1414324"/>
                  <a:pt x="1601620" y="1411139"/>
                  <a:pt x="1570112" y="1378855"/>
                </a:cubicBezTo>
                <a:cubicBezTo>
                  <a:pt x="1538843" y="1346815"/>
                  <a:pt x="1536669" y="1297185"/>
                  <a:pt x="1564487" y="1263696"/>
                </a:cubicBezTo>
                <a:cubicBezTo>
                  <a:pt x="1536878" y="1246207"/>
                  <a:pt x="1506212" y="1233380"/>
                  <a:pt x="1473669" y="1225233"/>
                </a:cubicBezTo>
                <a:cubicBezTo>
                  <a:pt x="1469201" y="1268617"/>
                  <a:pt x="1432124" y="1301821"/>
                  <a:pt x="1387290" y="1301821"/>
                </a:cubicBezTo>
                <a:cubicBezTo>
                  <a:pt x="1342203" y="1301821"/>
                  <a:pt x="1304960" y="1268242"/>
                  <a:pt x="1300767" y="1224522"/>
                </a:cubicBezTo>
                <a:close/>
                <a:moveTo>
                  <a:pt x="2821343" y="1181251"/>
                </a:moveTo>
                <a:cubicBezTo>
                  <a:pt x="2818751" y="1208264"/>
                  <a:pt x="2795741" y="1229010"/>
                  <a:pt x="2767883" y="1229010"/>
                </a:cubicBezTo>
                <a:cubicBezTo>
                  <a:pt x="2740182" y="1229010"/>
                  <a:pt x="2717274" y="1208495"/>
                  <a:pt x="2714514" y="1181690"/>
                </a:cubicBezTo>
                <a:cubicBezTo>
                  <a:pt x="2694407" y="1186724"/>
                  <a:pt x="2675460" y="1194649"/>
                  <a:pt x="2658401" y="1205455"/>
                </a:cubicBezTo>
                <a:cubicBezTo>
                  <a:pt x="2675588" y="1226146"/>
                  <a:pt x="2674245" y="1256810"/>
                  <a:pt x="2654926" y="1276606"/>
                </a:cubicBezTo>
                <a:cubicBezTo>
                  <a:pt x="2635458" y="1296553"/>
                  <a:pt x="2604515" y="1298521"/>
                  <a:pt x="2583370" y="1281482"/>
                </a:cubicBezTo>
                <a:cubicBezTo>
                  <a:pt x="2574015" y="1297514"/>
                  <a:pt x="2566775" y="1314917"/>
                  <a:pt x="2562223" y="1333377"/>
                </a:cubicBezTo>
                <a:cubicBezTo>
                  <a:pt x="2589265" y="1335945"/>
                  <a:pt x="2610045" y="1358969"/>
                  <a:pt x="2610045" y="1386848"/>
                </a:cubicBezTo>
                <a:cubicBezTo>
                  <a:pt x="2610045" y="1414549"/>
                  <a:pt x="2589530" y="1437458"/>
                  <a:pt x="2562725" y="1440219"/>
                </a:cubicBezTo>
                <a:cubicBezTo>
                  <a:pt x="2567287" y="1458438"/>
                  <a:pt x="2574222" y="1475705"/>
                  <a:pt x="2583788" y="1491342"/>
                </a:cubicBezTo>
                <a:cubicBezTo>
                  <a:pt x="2604918" y="1474826"/>
                  <a:pt x="2635435" y="1477025"/>
                  <a:pt x="2654662" y="1496820"/>
                </a:cubicBezTo>
                <a:cubicBezTo>
                  <a:pt x="2674008" y="1516738"/>
                  <a:pt x="2675213" y="1547564"/>
                  <a:pt x="2657794" y="1568230"/>
                </a:cubicBezTo>
                <a:cubicBezTo>
                  <a:pt x="2675071" y="1579119"/>
                  <a:pt x="2694099" y="1587421"/>
                  <a:pt x="2714422" y="1592460"/>
                </a:cubicBezTo>
                <a:cubicBezTo>
                  <a:pt x="2717008" y="1565441"/>
                  <a:pt x="2740022" y="1544687"/>
                  <a:pt x="2767883" y="1544687"/>
                </a:cubicBezTo>
                <a:cubicBezTo>
                  <a:pt x="2795584" y="1544687"/>
                  <a:pt x="2818493" y="1565202"/>
                  <a:pt x="2821253" y="1592006"/>
                </a:cubicBezTo>
                <a:cubicBezTo>
                  <a:pt x="2841360" y="1586972"/>
                  <a:pt x="2860307" y="1579047"/>
                  <a:pt x="2877365" y="1568242"/>
                </a:cubicBezTo>
                <a:cubicBezTo>
                  <a:pt x="2860179" y="1547550"/>
                  <a:pt x="2861522" y="1516887"/>
                  <a:pt x="2880841" y="1497091"/>
                </a:cubicBezTo>
                <a:cubicBezTo>
                  <a:pt x="2900309" y="1477144"/>
                  <a:pt x="2931252" y="1475176"/>
                  <a:pt x="2952396" y="1492215"/>
                </a:cubicBezTo>
                <a:cubicBezTo>
                  <a:pt x="2961751" y="1476184"/>
                  <a:pt x="2968992" y="1458781"/>
                  <a:pt x="2973544" y="1440320"/>
                </a:cubicBezTo>
                <a:cubicBezTo>
                  <a:pt x="2946502" y="1437753"/>
                  <a:pt x="2925722" y="1414727"/>
                  <a:pt x="2925722" y="1386848"/>
                </a:cubicBezTo>
                <a:cubicBezTo>
                  <a:pt x="2925722" y="1358983"/>
                  <a:pt x="2946482" y="1335967"/>
                  <a:pt x="2973507" y="1333385"/>
                </a:cubicBezTo>
                <a:cubicBezTo>
                  <a:pt x="2968899" y="1315167"/>
                  <a:pt x="2961612" y="1298016"/>
                  <a:pt x="2952094" y="1282282"/>
                </a:cubicBezTo>
                <a:cubicBezTo>
                  <a:pt x="2930954" y="1298879"/>
                  <a:pt x="2900365" y="1296706"/>
                  <a:pt x="2881106" y="1276878"/>
                </a:cubicBezTo>
                <a:cubicBezTo>
                  <a:pt x="2861796" y="1256997"/>
                  <a:pt x="2860559" y="1226248"/>
                  <a:pt x="2877889" y="1205590"/>
                </a:cubicBezTo>
                <a:cubicBezTo>
                  <a:pt x="2860647" y="1194633"/>
                  <a:pt x="2841645" y="1186303"/>
                  <a:pt x="2821343" y="1181251"/>
                </a:cubicBezTo>
                <a:close/>
                <a:moveTo>
                  <a:pt x="2032094" y="1164157"/>
                </a:moveTo>
                <a:cubicBezTo>
                  <a:pt x="2011771" y="1169196"/>
                  <a:pt x="1992743" y="1177498"/>
                  <a:pt x="1975466" y="1188387"/>
                </a:cubicBezTo>
                <a:cubicBezTo>
                  <a:pt x="1992885" y="1209053"/>
                  <a:pt x="1991680" y="1239879"/>
                  <a:pt x="1972334" y="1259797"/>
                </a:cubicBezTo>
                <a:cubicBezTo>
                  <a:pt x="1953107" y="1279592"/>
                  <a:pt x="1922590" y="1281791"/>
                  <a:pt x="1901460" y="1265275"/>
                </a:cubicBezTo>
                <a:cubicBezTo>
                  <a:pt x="1891894" y="1280912"/>
                  <a:pt x="1884959" y="1298179"/>
                  <a:pt x="1880397" y="1316398"/>
                </a:cubicBezTo>
                <a:cubicBezTo>
                  <a:pt x="1907202" y="1319159"/>
                  <a:pt x="1927717" y="1342068"/>
                  <a:pt x="1927717" y="1369768"/>
                </a:cubicBezTo>
                <a:cubicBezTo>
                  <a:pt x="1927717" y="1397647"/>
                  <a:pt x="1906937" y="1420672"/>
                  <a:pt x="1879895" y="1423240"/>
                </a:cubicBezTo>
                <a:cubicBezTo>
                  <a:pt x="1884447" y="1441700"/>
                  <a:pt x="1891687" y="1459103"/>
                  <a:pt x="1901042" y="1475135"/>
                </a:cubicBezTo>
                <a:cubicBezTo>
                  <a:pt x="1922187" y="1458096"/>
                  <a:pt x="1953130" y="1460064"/>
                  <a:pt x="1972598" y="1480011"/>
                </a:cubicBezTo>
                <a:cubicBezTo>
                  <a:pt x="1991917" y="1499807"/>
                  <a:pt x="1993260" y="1530471"/>
                  <a:pt x="1976073" y="1551162"/>
                </a:cubicBezTo>
                <a:cubicBezTo>
                  <a:pt x="1993132" y="1561968"/>
                  <a:pt x="2012079" y="1569893"/>
                  <a:pt x="2032186" y="1574927"/>
                </a:cubicBezTo>
                <a:cubicBezTo>
                  <a:pt x="2034946" y="1548122"/>
                  <a:pt x="2057854" y="1527607"/>
                  <a:pt x="2085555" y="1527607"/>
                </a:cubicBezTo>
                <a:cubicBezTo>
                  <a:pt x="2113412" y="1527607"/>
                  <a:pt x="2136423" y="1548353"/>
                  <a:pt x="2139014" y="1575366"/>
                </a:cubicBezTo>
                <a:cubicBezTo>
                  <a:pt x="2159316" y="1570314"/>
                  <a:pt x="2178319" y="1561984"/>
                  <a:pt x="2195560" y="1551027"/>
                </a:cubicBezTo>
                <a:cubicBezTo>
                  <a:pt x="2178231" y="1530369"/>
                  <a:pt x="2179468" y="1499620"/>
                  <a:pt x="2198777" y="1479739"/>
                </a:cubicBezTo>
                <a:cubicBezTo>
                  <a:pt x="2218037" y="1459911"/>
                  <a:pt x="2248625" y="1457738"/>
                  <a:pt x="2269765" y="1474335"/>
                </a:cubicBezTo>
                <a:cubicBezTo>
                  <a:pt x="2279283" y="1458601"/>
                  <a:pt x="2286570" y="1441450"/>
                  <a:pt x="2291179" y="1423232"/>
                </a:cubicBezTo>
                <a:cubicBezTo>
                  <a:pt x="2264154" y="1420650"/>
                  <a:pt x="2243393" y="1397634"/>
                  <a:pt x="2243393" y="1369768"/>
                </a:cubicBezTo>
                <a:cubicBezTo>
                  <a:pt x="2243393" y="1341890"/>
                  <a:pt x="2264174" y="1318864"/>
                  <a:pt x="2291216" y="1316297"/>
                </a:cubicBezTo>
                <a:cubicBezTo>
                  <a:pt x="2286664" y="1297836"/>
                  <a:pt x="2279423" y="1280433"/>
                  <a:pt x="2270068" y="1264402"/>
                </a:cubicBezTo>
                <a:cubicBezTo>
                  <a:pt x="2248923" y="1281441"/>
                  <a:pt x="2217980" y="1279473"/>
                  <a:pt x="2198513" y="1259526"/>
                </a:cubicBezTo>
                <a:cubicBezTo>
                  <a:pt x="2179194" y="1239730"/>
                  <a:pt x="2177850" y="1209067"/>
                  <a:pt x="2195037" y="1188375"/>
                </a:cubicBezTo>
                <a:cubicBezTo>
                  <a:pt x="2177979" y="1177570"/>
                  <a:pt x="2159032" y="1169645"/>
                  <a:pt x="2138925" y="1164611"/>
                </a:cubicBezTo>
                <a:cubicBezTo>
                  <a:pt x="2136165" y="1191415"/>
                  <a:pt x="2113256" y="1211930"/>
                  <a:pt x="2085555" y="1211930"/>
                </a:cubicBezTo>
                <a:cubicBezTo>
                  <a:pt x="2057694" y="1211930"/>
                  <a:pt x="2034680" y="1191176"/>
                  <a:pt x="2032094" y="1164157"/>
                </a:cubicBezTo>
                <a:close/>
                <a:moveTo>
                  <a:pt x="1732866" y="1077004"/>
                </a:moveTo>
                <a:cubicBezTo>
                  <a:pt x="1762832" y="1077004"/>
                  <a:pt x="1787124" y="1101296"/>
                  <a:pt x="1787124" y="1131261"/>
                </a:cubicBezTo>
                <a:cubicBezTo>
                  <a:pt x="1787124" y="1161227"/>
                  <a:pt x="1762832" y="1185518"/>
                  <a:pt x="1732866" y="1185518"/>
                </a:cubicBezTo>
                <a:cubicBezTo>
                  <a:pt x="1702901" y="1185518"/>
                  <a:pt x="1678609" y="1161227"/>
                  <a:pt x="1678609" y="1131261"/>
                </a:cubicBezTo>
                <a:cubicBezTo>
                  <a:pt x="1678609" y="1101296"/>
                  <a:pt x="1702901" y="1077004"/>
                  <a:pt x="1732866" y="1077004"/>
                </a:cubicBezTo>
                <a:close/>
                <a:moveTo>
                  <a:pt x="1732866" y="1044563"/>
                </a:moveTo>
                <a:cubicBezTo>
                  <a:pt x="1684984" y="1044563"/>
                  <a:pt x="1646168" y="1083379"/>
                  <a:pt x="1646168" y="1131261"/>
                </a:cubicBezTo>
                <a:cubicBezTo>
                  <a:pt x="1646168" y="1179144"/>
                  <a:pt x="1684984" y="1217960"/>
                  <a:pt x="1732866" y="1217960"/>
                </a:cubicBezTo>
                <a:cubicBezTo>
                  <a:pt x="1780749" y="1217960"/>
                  <a:pt x="1819565" y="1179144"/>
                  <a:pt x="1819565" y="1131261"/>
                </a:cubicBezTo>
                <a:cubicBezTo>
                  <a:pt x="1819565" y="1083379"/>
                  <a:pt x="1780749" y="1044563"/>
                  <a:pt x="1732866" y="1044563"/>
                </a:cubicBezTo>
                <a:close/>
                <a:moveTo>
                  <a:pt x="1732866" y="1011472"/>
                </a:moveTo>
                <a:cubicBezTo>
                  <a:pt x="1799024" y="1011472"/>
                  <a:pt x="1852655" y="1065104"/>
                  <a:pt x="1852655" y="1131261"/>
                </a:cubicBezTo>
                <a:cubicBezTo>
                  <a:pt x="1852655" y="1197419"/>
                  <a:pt x="1799024" y="1251050"/>
                  <a:pt x="1732866" y="1251050"/>
                </a:cubicBezTo>
                <a:cubicBezTo>
                  <a:pt x="1666709" y="1251050"/>
                  <a:pt x="1613077" y="1197419"/>
                  <a:pt x="1613077" y="1131261"/>
                </a:cubicBezTo>
                <a:cubicBezTo>
                  <a:pt x="1613077" y="1065104"/>
                  <a:pt x="1666709" y="1011472"/>
                  <a:pt x="1732866" y="1011472"/>
                </a:cubicBezTo>
                <a:close/>
                <a:moveTo>
                  <a:pt x="1679407" y="925657"/>
                </a:moveTo>
                <a:cubicBezTo>
                  <a:pt x="1659105" y="930709"/>
                  <a:pt x="1640103" y="939039"/>
                  <a:pt x="1622861" y="949996"/>
                </a:cubicBezTo>
                <a:cubicBezTo>
                  <a:pt x="1640191" y="970654"/>
                  <a:pt x="1638954" y="1001403"/>
                  <a:pt x="1619644" y="1021284"/>
                </a:cubicBezTo>
                <a:cubicBezTo>
                  <a:pt x="1600385" y="1041112"/>
                  <a:pt x="1569796" y="1043285"/>
                  <a:pt x="1548656" y="1026688"/>
                </a:cubicBezTo>
                <a:cubicBezTo>
                  <a:pt x="1539138" y="1042422"/>
                  <a:pt x="1531851" y="1059573"/>
                  <a:pt x="1527243" y="1077791"/>
                </a:cubicBezTo>
                <a:cubicBezTo>
                  <a:pt x="1554268" y="1080373"/>
                  <a:pt x="1575028" y="1103389"/>
                  <a:pt x="1575028" y="1131254"/>
                </a:cubicBezTo>
                <a:cubicBezTo>
                  <a:pt x="1575028" y="1159133"/>
                  <a:pt x="1554248" y="1182159"/>
                  <a:pt x="1527206" y="1184726"/>
                </a:cubicBezTo>
                <a:cubicBezTo>
                  <a:pt x="1531758" y="1203187"/>
                  <a:pt x="1538999" y="1220590"/>
                  <a:pt x="1548354" y="1236621"/>
                </a:cubicBezTo>
                <a:cubicBezTo>
                  <a:pt x="1569498" y="1219582"/>
                  <a:pt x="1600441" y="1221550"/>
                  <a:pt x="1619909" y="1241497"/>
                </a:cubicBezTo>
                <a:cubicBezTo>
                  <a:pt x="1639228" y="1261293"/>
                  <a:pt x="1640571" y="1291956"/>
                  <a:pt x="1623385" y="1312647"/>
                </a:cubicBezTo>
                <a:cubicBezTo>
                  <a:pt x="1640443" y="1323453"/>
                  <a:pt x="1659390" y="1331378"/>
                  <a:pt x="1679497" y="1336412"/>
                </a:cubicBezTo>
                <a:cubicBezTo>
                  <a:pt x="1682257" y="1309607"/>
                  <a:pt x="1705166" y="1289092"/>
                  <a:pt x="1732866" y="1289092"/>
                </a:cubicBezTo>
                <a:cubicBezTo>
                  <a:pt x="1760728" y="1289092"/>
                  <a:pt x="1783742" y="1309847"/>
                  <a:pt x="1786328" y="1336866"/>
                </a:cubicBezTo>
                <a:cubicBezTo>
                  <a:pt x="1806651" y="1331827"/>
                  <a:pt x="1825679" y="1323525"/>
                  <a:pt x="1842955" y="1312636"/>
                </a:cubicBezTo>
                <a:cubicBezTo>
                  <a:pt x="1825537" y="1291970"/>
                  <a:pt x="1826742" y="1261144"/>
                  <a:pt x="1846088" y="1241226"/>
                </a:cubicBezTo>
                <a:cubicBezTo>
                  <a:pt x="1865314" y="1221431"/>
                  <a:pt x="1895831" y="1219232"/>
                  <a:pt x="1916962" y="1235747"/>
                </a:cubicBezTo>
                <a:cubicBezTo>
                  <a:pt x="1926528" y="1220111"/>
                  <a:pt x="1933463" y="1202844"/>
                  <a:pt x="1938024" y="1184625"/>
                </a:cubicBezTo>
                <a:cubicBezTo>
                  <a:pt x="1911219" y="1181864"/>
                  <a:pt x="1890704" y="1158955"/>
                  <a:pt x="1890704" y="1131254"/>
                </a:cubicBezTo>
                <a:cubicBezTo>
                  <a:pt x="1890704" y="1103375"/>
                  <a:pt x="1911485" y="1080351"/>
                  <a:pt x="1938527" y="1077783"/>
                </a:cubicBezTo>
                <a:cubicBezTo>
                  <a:pt x="1933975" y="1059323"/>
                  <a:pt x="1926734" y="1041920"/>
                  <a:pt x="1917379" y="1025888"/>
                </a:cubicBezTo>
                <a:cubicBezTo>
                  <a:pt x="1896235" y="1042927"/>
                  <a:pt x="1865291" y="1040959"/>
                  <a:pt x="1845824" y="1021012"/>
                </a:cubicBezTo>
                <a:cubicBezTo>
                  <a:pt x="1826504" y="1001216"/>
                  <a:pt x="1825161" y="970552"/>
                  <a:pt x="1842348" y="949861"/>
                </a:cubicBezTo>
                <a:cubicBezTo>
                  <a:pt x="1825290" y="939055"/>
                  <a:pt x="1806343" y="931130"/>
                  <a:pt x="1786236" y="926096"/>
                </a:cubicBezTo>
                <a:cubicBezTo>
                  <a:pt x="1783476" y="952901"/>
                  <a:pt x="1760567" y="973416"/>
                  <a:pt x="1732866" y="973416"/>
                </a:cubicBezTo>
                <a:cubicBezTo>
                  <a:pt x="1705009" y="973416"/>
                  <a:pt x="1681999" y="952670"/>
                  <a:pt x="1679407" y="925657"/>
                </a:cubicBezTo>
                <a:close/>
                <a:moveTo>
                  <a:pt x="3142735" y="899575"/>
                </a:moveTo>
                <a:cubicBezTo>
                  <a:pt x="3191234" y="899575"/>
                  <a:pt x="3230551" y="938891"/>
                  <a:pt x="3230551" y="987390"/>
                </a:cubicBezTo>
                <a:cubicBezTo>
                  <a:pt x="3230551" y="1035889"/>
                  <a:pt x="3191234" y="1075206"/>
                  <a:pt x="3142735" y="1075206"/>
                </a:cubicBezTo>
                <a:cubicBezTo>
                  <a:pt x="3094236" y="1075206"/>
                  <a:pt x="3054920" y="1035889"/>
                  <a:pt x="3054920" y="987390"/>
                </a:cubicBezTo>
                <a:cubicBezTo>
                  <a:pt x="3054920" y="938891"/>
                  <a:pt x="3094236" y="899575"/>
                  <a:pt x="3142735" y="899575"/>
                </a:cubicBezTo>
                <a:close/>
                <a:moveTo>
                  <a:pt x="2431132" y="855914"/>
                </a:moveTo>
                <a:cubicBezTo>
                  <a:pt x="2479631" y="855914"/>
                  <a:pt x="2518947" y="895231"/>
                  <a:pt x="2518947" y="943730"/>
                </a:cubicBezTo>
                <a:cubicBezTo>
                  <a:pt x="2518947" y="992229"/>
                  <a:pt x="2479631" y="1031545"/>
                  <a:pt x="2431132" y="1031545"/>
                </a:cubicBezTo>
                <a:cubicBezTo>
                  <a:pt x="2382633" y="1031545"/>
                  <a:pt x="2343316" y="992229"/>
                  <a:pt x="2343316" y="943730"/>
                </a:cubicBezTo>
                <a:cubicBezTo>
                  <a:pt x="2343316" y="895231"/>
                  <a:pt x="2382633" y="855914"/>
                  <a:pt x="2431132" y="855914"/>
                </a:cubicBezTo>
                <a:close/>
                <a:moveTo>
                  <a:pt x="3142735" y="847068"/>
                </a:moveTo>
                <a:cubicBezTo>
                  <a:pt x="3065237" y="847068"/>
                  <a:pt x="3002413" y="909892"/>
                  <a:pt x="3002413" y="987390"/>
                </a:cubicBezTo>
                <a:cubicBezTo>
                  <a:pt x="3002413" y="1064888"/>
                  <a:pt x="3065237" y="1127712"/>
                  <a:pt x="3142735" y="1127712"/>
                </a:cubicBezTo>
                <a:cubicBezTo>
                  <a:pt x="3220233" y="1127712"/>
                  <a:pt x="3283057" y="1064888"/>
                  <a:pt x="3283057" y="987390"/>
                </a:cubicBezTo>
                <a:cubicBezTo>
                  <a:pt x="3283057" y="909892"/>
                  <a:pt x="3220233" y="847068"/>
                  <a:pt x="3142735" y="847068"/>
                </a:cubicBezTo>
                <a:close/>
                <a:moveTo>
                  <a:pt x="2431132" y="803408"/>
                </a:moveTo>
                <a:cubicBezTo>
                  <a:pt x="2353634" y="803408"/>
                  <a:pt x="2290810" y="866232"/>
                  <a:pt x="2290810" y="943730"/>
                </a:cubicBezTo>
                <a:cubicBezTo>
                  <a:pt x="2290810" y="1021228"/>
                  <a:pt x="2353634" y="1084052"/>
                  <a:pt x="2431132" y="1084052"/>
                </a:cubicBezTo>
                <a:cubicBezTo>
                  <a:pt x="2508630" y="1084052"/>
                  <a:pt x="2571454" y="1021228"/>
                  <a:pt x="2571454" y="943730"/>
                </a:cubicBezTo>
                <a:cubicBezTo>
                  <a:pt x="2571454" y="866232"/>
                  <a:pt x="2508630" y="803408"/>
                  <a:pt x="2431132" y="803408"/>
                </a:cubicBezTo>
                <a:close/>
                <a:moveTo>
                  <a:pt x="3142735" y="793511"/>
                </a:moveTo>
                <a:cubicBezTo>
                  <a:pt x="3249811" y="793511"/>
                  <a:pt x="3336614" y="880314"/>
                  <a:pt x="3336614" y="987390"/>
                </a:cubicBezTo>
                <a:cubicBezTo>
                  <a:pt x="3336614" y="1094466"/>
                  <a:pt x="3249811" y="1181269"/>
                  <a:pt x="3142735" y="1181269"/>
                </a:cubicBezTo>
                <a:cubicBezTo>
                  <a:pt x="3035659" y="1181269"/>
                  <a:pt x="2948856" y="1094466"/>
                  <a:pt x="2948856" y="987390"/>
                </a:cubicBezTo>
                <a:cubicBezTo>
                  <a:pt x="2948856" y="880314"/>
                  <a:pt x="3035659" y="793511"/>
                  <a:pt x="3142735" y="793511"/>
                </a:cubicBezTo>
                <a:close/>
                <a:moveTo>
                  <a:pt x="2431132" y="749851"/>
                </a:moveTo>
                <a:cubicBezTo>
                  <a:pt x="2538208" y="749851"/>
                  <a:pt x="2625011" y="836654"/>
                  <a:pt x="2625011" y="943730"/>
                </a:cubicBezTo>
                <a:cubicBezTo>
                  <a:pt x="2625011" y="1050806"/>
                  <a:pt x="2538208" y="1137609"/>
                  <a:pt x="2431132" y="1137609"/>
                </a:cubicBezTo>
                <a:cubicBezTo>
                  <a:pt x="2324056" y="1137609"/>
                  <a:pt x="2237253" y="1050806"/>
                  <a:pt x="2237253" y="943730"/>
                </a:cubicBezTo>
                <a:cubicBezTo>
                  <a:pt x="2237253" y="836654"/>
                  <a:pt x="2324056" y="749851"/>
                  <a:pt x="2431132" y="749851"/>
                </a:cubicBezTo>
                <a:close/>
                <a:moveTo>
                  <a:pt x="3229258" y="654619"/>
                </a:moveTo>
                <a:cubicBezTo>
                  <a:pt x="3225065" y="698339"/>
                  <a:pt x="3187822" y="731918"/>
                  <a:pt x="3142735" y="731918"/>
                </a:cubicBezTo>
                <a:cubicBezTo>
                  <a:pt x="3097901" y="731918"/>
                  <a:pt x="3060824" y="698714"/>
                  <a:pt x="3056356" y="655330"/>
                </a:cubicBezTo>
                <a:cubicBezTo>
                  <a:pt x="3023813" y="663477"/>
                  <a:pt x="2993147" y="676304"/>
                  <a:pt x="2965538" y="693793"/>
                </a:cubicBezTo>
                <a:cubicBezTo>
                  <a:pt x="2993356" y="727282"/>
                  <a:pt x="2991182" y="776912"/>
                  <a:pt x="2959913" y="808952"/>
                </a:cubicBezTo>
                <a:cubicBezTo>
                  <a:pt x="2928405" y="841236"/>
                  <a:pt x="2878323" y="844421"/>
                  <a:pt x="2844100" y="816843"/>
                </a:cubicBezTo>
                <a:cubicBezTo>
                  <a:pt x="2828960" y="842791"/>
                  <a:pt x="2817240" y="870957"/>
                  <a:pt x="2809873" y="900836"/>
                </a:cubicBezTo>
                <a:cubicBezTo>
                  <a:pt x="2853641" y="904991"/>
                  <a:pt x="2887274" y="942257"/>
                  <a:pt x="2887274" y="987379"/>
                </a:cubicBezTo>
                <a:cubicBezTo>
                  <a:pt x="2887274" y="1032213"/>
                  <a:pt x="2854070" y="1069290"/>
                  <a:pt x="2810687" y="1073759"/>
                </a:cubicBezTo>
                <a:cubicBezTo>
                  <a:pt x="2818069" y="1103247"/>
                  <a:pt x="2829294" y="1131194"/>
                  <a:pt x="2844776" y="1156501"/>
                </a:cubicBezTo>
                <a:cubicBezTo>
                  <a:pt x="2878976" y="1129771"/>
                  <a:pt x="2928368" y="1133331"/>
                  <a:pt x="2959486" y="1165368"/>
                </a:cubicBezTo>
                <a:cubicBezTo>
                  <a:pt x="2990797" y="1197605"/>
                  <a:pt x="2992748" y="1247497"/>
                  <a:pt x="2964556" y="1280946"/>
                </a:cubicBezTo>
                <a:cubicBezTo>
                  <a:pt x="2992518" y="1298569"/>
                  <a:pt x="3023315" y="1312006"/>
                  <a:pt x="3056208" y="1320162"/>
                </a:cubicBezTo>
                <a:cubicBezTo>
                  <a:pt x="3060393" y="1276432"/>
                  <a:pt x="3097641" y="1242840"/>
                  <a:pt x="3142735" y="1242840"/>
                </a:cubicBezTo>
                <a:cubicBezTo>
                  <a:pt x="3187568" y="1242840"/>
                  <a:pt x="3224647" y="1276044"/>
                  <a:pt x="3229114" y="1319428"/>
                </a:cubicBezTo>
                <a:cubicBezTo>
                  <a:pt x="3261657" y="1311280"/>
                  <a:pt x="3292323" y="1298453"/>
                  <a:pt x="3319931" y="1280964"/>
                </a:cubicBezTo>
                <a:cubicBezTo>
                  <a:pt x="3292115" y="1247475"/>
                  <a:pt x="3294289" y="1197846"/>
                  <a:pt x="3325557" y="1165807"/>
                </a:cubicBezTo>
                <a:cubicBezTo>
                  <a:pt x="3357065" y="1133523"/>
                  <a:pt x="3407146" y="1130338"/>
                  <a:pt x="3441369" y="1157915"/>
                </a:cubicBezTo>
                <a:cubicBezTo>
                  <a:pt x="3456511" y="1131969"/>
                  <a:pt x="3468230" y="1103802"/>
                  <a:pt x="3475597" y="1073923"/>
                </a:cubicBezTo>
                <a:cubicBezTo>
                  <a:pt x="3431829" y="1069768"/>
                  <a:pt x="3398197" y="1032501"/>
                  <a:pt x="3398197" y="987379"/>
                </a:cubicBezTo>
                <a:cubicBezTo>
                  <a:pt x="3398197" y="942279"/>
                  <a:pt x="3431797" y="905027"/>
                  <a:pt x="3475537" y="900848"/>
                </a:cubicBezTo>
                <a:cubicBezTo>
                  <a:pt x="3468078" y="871362"/>
                  <a:pt x="3456284" y="843603"/>
                  <a:pt x="3440880" y="818138"/>
                </a:cubicBezTo>
                <a:cubicBezTo>
                  <a:pt x="3406665" y="845000"/>
                  <a:pt x="3357157" y="841484"/>
                  <a:pt x="3325986" y="809391"/>
                </a:cubicBezTo>
                <a:cubicBezTo>
                  <a:pt x="3294733" y="777214"/>
                  <a:pt x="3292731" y="727448"/>
                  <a:pt x="3320778" y="694012"/>
                </a:cubicBezTo>
                <a:cubicBezTo>
                  <a:pt x="3292874" y="676278"/>
                  <a:pt x="3262118" y="662795"/>
                  <a:pt x="3229258" y="654619"/>
                </a:cubicBezTo>
                <a:close/>
                <a:moveTo>
                  <a:pt x="2344604" y="610958"/>
                </a:moveTo>
                <a:cubicBezTo>
                  <a:pt x="2311711" y="619114"/>
                  <a:pt x="2280915" y="632551"/>
                  <a:pt x="2252952" y="650174"/>
                </a:cubicBezTo>
                <a:cubicBezTo>
                  <a:pt x="2281144" y="683623"/>
                  <a:pt x="2279194" y="733515"/>
                  <a:pt x="2247882" y="765752"/>
                </a:cubicBezTo>
                <a:cubicBezTo>
                  <a:pt x="2216764" y="797789"/>
                  <a:pt x="2167373" y="801349"/>
                  <a:pt x="2133173" y="774619"/>
                </a:cubicBezTo>
                <a:cubicBezTo>
                  <a:pt x="2117690" y="799926"/>
                  <a:pt x="2106465" y="827873"/>
                  <a:pt x="2099083" y="857361"/>
                </a:cubicBezTo>
                <a:cubicBezTo>
                  <a:pt x="2142467" y="861830"/>
                  <a:pt x="2175670" y="898907"/>
                  <a:pt x="2175670" y="943741"/>
                </a:cubicBezTo>
                <a:cubicBezTo>
                  <a:pt x="2175670" y="988863"/>
                  <a:pt x="2142038" y="1026129"/>
                  <a:pt x="2098270" y="1030284"/>
                </a:cubicBezTo>
                <a:cubicBezTo>
                  <a:pt x="2105637" y="1060163"/>
                  <a:pt x="2117356" y="1088329"/>
                  <a:pt x="2132497" y="1114277"/>
                </a:cubicBezTo>
                <a:cubicBezTo>
                  <a:pt x="2166720" y="1086699"/>
                  <a:pt x="2216802" y="1089884"/>
                  <a:pt x="2248310" y="1122168"/>
                </a:cubicBezTo>
                <a:cubicBezTo>
                  <a:pt x="2279579" y="1154208"/>
                  <a:pt x="2281752" y="1203838"/>
                  <a:pt x="2253935" y="1237327"/>
                </a:cubicBezTo>
                <a:cubicBezTo>
                  <a:pt x="2281544" y="1254816"/>
                  <a:pt x="2312210" y="1267643"/>
                  <a:pt x="2344753" y="1275790"/>
                </a:cubicBezTo>
                <a:cubicBezTo>
                  <a:pt x="2349220" y="1232406"/>
                  <a:pt x="2386298" y="1199202"/>
                  <a:pt x="2431132" y="1199202"/>
                </a:cubicBezTo>
                <a:cubicBezTo>
                  <a:pt x="2476218" y="1199202"/>
                  <a:pt x="2513461" y="1232781"/>
                  <a:pt x="2517655" y="1276501"/>
                </a:cubicBezTo>
                <a:cubicBezTo>
                  <a:pt x="2550514" y="1268325"/>
                  <a:pt x="2581270" y="1254842"/>
                  <a:pt x="2609175" y="1237108"/>
                </a:cubicBezTo>
                <a:cubicBezTo>
                  <a:pt x="2581128" y="1203672"/>
                  <a:pt x="2583129" y="1153906"/>
                  <a:pt x="2614382" y="1121729"/>
                </a:cubicBezTo>
                <a:cubicBezTo>
                  <a:pt x="2645554" y="1089636"/>
                  <a:pt x="2695061" y="1086120"/>
                  <a:pt x="2729276" y="1112982"/>
                </a:cubicBezTo>
                <a:cubicBezTo>
                  <a:pt x="2744681" y="1087517"/>
                  <a:pt x="2756475" y="1059758"/>
                  <a:pt x="2763934" y="1030272"/>
                </a:cubicBezTo>
                <a:cubicBezTo>
                  <a:pt x="2720194" y="1026093"/>
                  <a:pt x="2686593" y="988841"/>
                  <a:pt x="2686593" y="943741"/>
                </a:cubicBezTo>
                <a:cubicBezTo>
                  <a:pt x="2686593" y="898619"/>
                  <a:pt x="2720226" y="861352"/>
                  <a:pt x="2763994" y="857197"/>
                </a:cubicBezTo>
                <a:cubicBezTo>
                  <a:pt x="2756627" y="827318"/>
                  <a:pt x="2744907" y="799151"/>
                  <a:pt x="2729766" y="773205"/>
                </a:cubicBezTo>
                <a:cubicBezTo>
                  <a:pt x="2695543" y="800782"/>
                  <a:pt x="2645462" y="797597"/>
                  <a:pt x="2613954" y="765313"/>
                </a:cubicBezTo>
                <a:cubicBezTo>
                  <a:pt x="2582686" y="733274"/>
                  <a:pt x="2580511" y="683645"/>
                  <a:pt x="2608328" y="650156"/>
                </a:cubicBezTo>
                <a:cubicBezTo>
                  <a:pt x="2580720" y="632667"/>
                  <a:pt x="2550054" y="619840"/>
                  <a:pt x="2517511" y="611692"/>
                </a:cubicBezTo>
                <a:cubicBezTo>
                  <a:pt x="2513043" y="655076"/>
                  <a:pt x="2475965" y="688280"/>
                  <a:pt x="2431132" y="688280"/>
                </a:cubicBezTo>
                <a:cubicBezTo>
                  <a:pt x="2386038" y="688280"/>
                  <a:pt x="2348790" y="654688"/>
                  <a:pt x="2344604" y="610958"/>
                </a:cubicBezTo>
                <a:close/>
                <a:moveTo>
                  <a:pt x="2311656" y="131"/>
                </a:moveTo>
                <a:cubicBezTo>
                  <a:pt x="3194306" y="-12569"/>
                  <a:pt x="4231473" y="906064"/>
                  <a:pt x="4102356" y="1968631"/>
                </a:cubicBezTo>
                <a:cubicBezTo>
                  <a:pt x="3973239" y="3031198"/>
                  <a:pt x="3448306" y="3547664"/>
                  <a:pt x="3441956" y="4165731"/>
                </a:cubicBezTo>
                <a:cubicBezTo>
                  <a:pt x="3435606" y="4783798"/>
                  <a:pt x="3916089" y="5221948"/>
                  <a:pt x="4064256" y="5677031"/>
                </a:cubicBezTo>
                <a:cubicBezTo>
                  <a:pt x="3450423" y="5725714"/>
                  <a:pt x="2047073" y="5668564"/>
                  <a:pt x="1321056" y="5677031"/>
                </a:cubicBezTo>
                <a:cubicBezTo>
                  <a:pt x="1826939" y="5050498"/>
                  <a:pt x="1687239" y="4673731"/>
                  <a:pt x="1575056" y="4457831"/>
                </a:cubicBezTo>
                <a:cubicBezTo>
                  <a:pt x="1462873" y="4241931"/>
                  <a:pt x="1001439" y="4514981"/>
                  <a:pt x="647956" y="4381631"/>
                </a:cubicBezTo>
                <a:cubicBezTo>
                  <a:pt x="294473" y="4248281"/>
                  <a:pt x="639489" y="3937131"/>
                  <a:pt x="597156" y="3810131"/>
                </a:cubicBezTo>
                <a:cubicBezTo>
                  <a:pt x="554823" y="3683131"/>
                  <a:pt x="421473" y="3661964"/>
                  <a:pt x="393956" y="3619631"/>
                </a:cubicBezTo>
                <a:cubicBezTo>
                  <a:pt x="366439" y="3577298"/>
                  <a:pt x="438406" y="3581531"/>
                  <a:pt x="432056" y="3556131"/>
                </a:cubicBezTo>
                <a:cubicBezTo>
                  <a:pt x="425706" y="3530731"/>
                  <a:pt x="366439" y="3532848"/>
                  <a:pt x="355856" y="3467231"/>
                </a:cubicBezTo>
                <a:cubicBezTo>
                  <a:pt x="345273" y="3401614"/>
                  <a:pt x="427823" y="3247098"/>
                  <a:pt x="368556" y="3162431"/>
                </a:cubicBezTo>
                <a:cubicBezTo>
                  <a:pt x="309289" y="3077764"/>
                  <a:pt x="-10327" y="3117981"/>
                  <a:pt x="256" y="2959231"/>
                </a:cubicBezTo>
                <a:cubicBezTo>
                  <a:pt x="10839" y="2800481"/>
                  <a:pt x="379139" y="2406781"/>
                  <a:pt x="432056" y="2209931"/>
                </a:cubicBezTo>
                <a:cubicBezTo>
                  <a:pt x="484973" y="2013081"/>
                  <a:pt x="288123" y="2051181"/>
                  <a:pt x="317756" y="1778131"/>
                </a:cubicBezTo>
                <a:cubicBezTo>
                  <a:pt x="563289" y="1136781"/>
                  <a:pt x="391839" y="1579164"/>
                  <a:pt x="559056" y="1054231"/>
                </a:cubicBezTo>
                <a:cubicBezTo>
                  <a:pt x="726273" y="529298"/>
                  <a:pt x="1429006" y="12831"/>
                  <a:pt x="2311656" y="131"/>
                </a:cubicBezTo>
                <a:close/>
              </a:path>
            </a:pathLst>
          </a:custGeom>
          <a:solidFill>
            <a:srgbClr val="5E83BD"/>
          </a:solidFill>
          <a:ln w="9525">
            <a:noFill/>
            <a:round/>
            <a:headEnd/>
            <a:tailEnd/>
          </a:ln>
        </p:spPr>
        <p:txBody>
          <a:bodyPr/>
          <a:lst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2199" b="0" i="0" u="none" strike="noStrike" kern="1200" cap="none" spc="0" normalizeH="0" baseline="0" noProof="0" err="1">
              <a:ln>
                <a:solidFill>
                  <a:srgbClr val="505050">
                    <a:alpha val="0"/>
                  </a:srgbClr>
                </a:solidFill>
              </a:ln>
              <a:solidFill>
                <a:srgbClr val="505050"/>
              </a:solidFill>
              <a:effectLst/>
              <a:uLnTx/>
              <a:uFillTx/>
              <a:latin typeface="Segoe UI"/>
              <a:ea typeface="+mn-ea"/>
              <a:cs typeface="+mn-cs"/>
            </a:endParaRPr>
          </a:p>
        </p:txBody>
      </p:sp>
      <p:sp>
        <p:nvSpPr>
          <p:cNvPr id="43" name="Rectangle 42"/>
          <p:cNvSpPr/>
          <p:nvPr/>
        </p:nvSpPr>
        <p:spPr bwMode="auto">
          <a:xfrm>
            <a:off x="626038" y="2725798"/>
            <a:ext cx="609141" cy="369332"/>
          </a:xfrm>
          <a:prstGeom prst="rect">
            <a:avLst/>
          </a:prstGeom>
          <a:noFill/>
          <a:ln w="9525" cap="flat" cmpd="sng" algn="ctr">
            <a:noFill/>
            <a:prstDash val="sysDot"/>
            <a:headEnd type="none" w="med" len="med"/>
            <a:tailEnd type="none" w="med" len="med"/>
          </a:ln>
          <a:effectLst/>
        </p:spPr>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marL="0" marR="0" lvl="0" indent="0" algn="ctr" defTabSz="60888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505050"/>
                </a:solidFill>
                <a:effectLst/>
                <a:uLnTx/>
                <a:uFillTx/>
                <a:latin typeface="Segoe UI"/>
                <a:ea typeface="+mn-ea"/>
                <a:cs typeface="+mn-cs"/>
              </a:rPr>
              <a:t>Social </a:t>
            </a:r>
            <a:br>
              <a:rPr kumimoji="0" lang="en-US" sz="1200" b="0" i="0" u="none" strike="noStrike" kern="0" cap="none" spc="0" normalizeH="0" baseline="0" noProof="0">
                <a:ln>
                  <a:noFill/>
                </a:ln>
                <a:solidFill>
                  <a:srgbClr val="505050"/>
                </a:solidFill>
                <a:effectLst/>
                <a:uLnTx/>
                <a:uFillTx/>
                <a:latin typeface="Segoe UI"/>
                <a:ea typeface="+mn-ea"/>
                <a:cs typeface="+mn-cs"/>
              </a:rPr>
            </a:br>
            <a:r>
              <a:rPr kumimoji="0" lang="en-US" sz="1200" b="0" i="0" u="none" strike="noStrike" kern="0" cap="none" spc="0" normalizeH="0" baseline="0" noProof="0">
                <a:ln>
                  <a:noFill/>
                </a:ln>
                <a:solidFill>
                  <a:srgbClr val="505050"/>
                </a:solidFill>
                <a:effectLst/>
                <a:uLnTx/>
                <a:uFillTx/>
                <a:latin typeface="Segoe UI"/>
                <a:ea typeface="+mn-ea"/>
                <a:cs typeface="+mn-cs"/>
              </a:rPr>
              <a:t>Listening</a:t>
            </a:r>
          </a:p>
        </p:txBody>
      </p:sp>
      <p:pic>
        <p:nvPicPr>
          <p:cNvPr id="44" name="Picture 43"/>
          <p:cNvPicPr>
            <a:picLocks noChangeAspect="1"/>
          </p:cNvPicPr>
          <p:nvPr/>
        </p:nvPicPr>
        <p:blipFill>
          <a:blip r:embed="rId3">
            <a:duotone>
              <a:prstClr val="black"/>
              <a:schemeClr val="tx2">
                <a:tint val="45000"/>
                <a:satMod val="400000"/>
              </a:schemeClr>
            </a:duotone>
            <a:lum bright="-20000" contrast="-20000"/>
            <a:extLst/>
          </a:blip>
          <a:stretch>
            <a:fillRect/>
          </a:stretch>
        </p:blipFill>
        <p:spPr>
          <a:xfrm>
            <a:off x="841992" y="3033490"/>
            <a:ext cx="584048" cy="634835"/>
          </a:xfrm>
          <a:prstGeom prst="rect">
            <a:avLst/>
          </a:prstGeom>
          <a:noFill/>
        </p:spPr>
      </p:pic>
      <p:sp>
        <p:nvSpPr>
          <p:cNvPr id="45" name="Rectangle 44"/>
          <p:cNvSpPr/>
          <p:nvPr/>
        </p:nvSpPr>
        <p:spPr bwMode="auto">
          <a:xfrm>
            <a:off x="570471" y="3876121"/>
            <a:ext cx="774251" cy="369332"/>
          </a:xfrm>
          <a:prstGeom prst="rect">
            <a:avLst/>
          </a:prstGeom>
          <a:noFill/>
          <a:ln w="9525" cap="flat" cmpd="sng" algn="ctr">
            <a:noFill/>
            <a:prstDash val="sysDot"/>
            <a:headEnd type="none" w="med" len="med"/>
            <a:tailEnd type="none" w="med" len="med"/>
          </a:ln>
          <a:effectLst/>
        </p:spPr>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marL="0" marR="0" lvl="0" indent="0" algn="ctr" defTabSz="60888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505050"/>
                </a:solidFill>
                <a:effectLst/>
                <a:uLnTx/>
                <a:uFillTx/>
                <a:latin typeface="Segoe UI"/>
                <a:ea typeface="+mn-ea"/>
                <a:cs typeface="+mn-cs"/>
              </a:rPr>
              <a:t>Connected </a:t>
            </a:r>
            <a:br>
              <a:rPr kumimoji="0" lang="en-US" sz="1200" b="0" i="0" u="none" strike="noStrike" kern="0" cap="none" spc="0" normalizeH="0" baseline="0" noProof="0">
                <a:ln>
                  <a:noFill/>
                </a:ln>
                <a:solidFill>
                  <a:srgbClr val="505050"/>
                </a:solidFill>
                <a:effectLst/>
                <a:uLnTx/>
                <a:uFillTx/>
                <a:latin typeface="Segoe UI"/>
                <a:ea typeface="+mn-ea"/>
                <a:cs typeface="+mn-cs"/>
              </a:rPr>
            </a:br>
            <a:r>
              <a:rPr kumimoji="0" lang="en-US" sz="1200" b="0" i="0" u="none" strike="noStrike" kern="0" cap="none" spc="0" normalizeH="0" baseline="0" noProof="0">
                <a:ln>
                  <a:noFill/>
                </a:ln>
                <a:solidFill>
                  <a:srgbClr val="505050"/>
                </a:solidFill>
                <a:effectLst/>
                <a:uLnTx/>
                <a:uFillTx/>
                <a:latin typeface="Segoe UI"/>
                <a:ea typeface="+mn-ea"/>
                <a:cs typeface="+mn-cs"/>
              </a:rPr>
              <a:t>Car</a:t>
            </a:r>
          </a:p>
        </p:txBody>
      </p:sp>
      <p:grpSp>
        <p:nvGrpSpPr>
          <p:cNvPr id="46" name="Group 45"/>
          <p:cNvGrpSpPr/>
          <p:nvPr/>
        </p:nvGrpSpPr>
        <p:grpSpPr>
          <a:xfrm>
            <a:off x="436608" y="3272838"/>
            <a:ext cx="899899" cy="605494"/>
            <a:chOff x="505151" y="2982142"/>
            <a:chExt cx="679324" cy="457081"/>
          </a:xfrm>
        </p:grpSpPr>
        <p:sp>
          <p:nvSpPr>
            <p:cNvPr id="47" name="Rounded Rectangle 41"/>
            <p:cNvSpPr>
              <a:spLocks noChangeAspect="1"/>
            </p:cNvSpPr>
            <p:nvPr/>
          </p:nvSpPr>
          <p:spPr>
            <a:xfrm flipH="1">
              <a:off x="1024988" y="3139459"/>
              <a:ext cx="159487" cy="183510"/>
            </a:xfrm>
            <a:custGeom>
              <a:avLst/>
              <a:gdLst/>
              <a:ahLst/>
              <a:cxnLst/>
              <a:rect l="l" t="t" r="r" b="b"/>
              <a:pathLst>
                <a:path w="3395325" h="3906767">
                  <a:moveTo>
                    <a:pt x="2109438" y="2964088"/>
                  </a:moveTo>
                  <a:lnTo>
                    <a:pt x="2204408" y="3359330"/>
                  </a:lnTo>
                  <a:lnTo>
                    <a:pt x="1190916" y="3359330"/>
                  </a:lnTo>
                  <a:lnTo>
                    <a:pt x="1285886" y="2964088"/>
                  </a:lnTo>
                  <a:close/>
                  <a:moveTo>
                    <a:pt x="1969776" y="2382850"/>
                  </a:moveTo>
                  <a:lnTo>
                    <a:pt x="2064746" y="2778092"/>
                  </a:lnTo>
                  <a:lnTo>
                    <a:pt x="1330578" y="2778092"/>
                  </a:lnTo>
                  <a:lnTo>
                    <a:pt x="1425547" y="2382850"/>
                  </a:lnTo>
                  <a:close/>
                  <a:moveTo>
                    <a:pt x="1790665" y="1637428"/>
                  </a:moveTo>
                  <a:lnTo>
                    <a:pt x="1925085" y="2196853"/>
                  </a:lnTo>
                  <a:lnTo>
                    <a:pt x="1470239" y="2196853"/>
                  </a:lnTo>
                  <a:lnTo>
                    <a:pt x="1604659" y="1637428"/>
                  </a:lnTo>
                  <a:cubicBezTo>
                    <a:pt x="1634698" y="1643588"/>
                    <a:pt x="1665803" y="1646819"/>
                    <a:pt x="1697663" y="1646819"/>
                  </a:cubicBezTo>
                  <a:cubicBezTo>
                    <a:pt x="1729522" y="1646819"/>
                    <a:pt x="1760626" y="1643588"/>
                    <a:pt x="1790665" y="1637428"/>
                  </a:cubicBezTo>
                  <a:close/>
                  <a:moveTo>
                    <a:pt x="1697663" y="724602"/>
                  </a:moveTo>
                  <a:cubicBezTo>
                    <a:pt x="1443000" y="724602"/>
                    <a:pt x="1236555" y="931048"/>
                    <a:pt x="1236555" y="1185710"/>
                  </a:cubicBezTo>
                  <a:cubicBezTo>
                    <a:pt x="1236555" y="1340123"/>
                    <a:pt x="1312453" y="1476808"/>
                    <a:pt x="1429610" y="1559618"/>
                  </a:cubicBezTo>
                  <a:lnTo>
                    <a:pt x="865631" y="3906767"/>
                  </a:lnTo>
                  <a:lnTo>
                    <a:pt x="1059377" y="3906767"/>
                  </a:lnTo>
                  <a:lnTo>
                    <a:pt x="1146225" y="3545326"/>
                  </a:lnTo>
                  <a:lnTo>
                    <a:pt x="2249099" y="3545326"/>
                  </a:lnTo>
                  <a:lnTo>
                    <a:pt x="2335948" y="3906767"/>
                  </a:lnTo>
                  <a:lnTo>
                    <a:pt x="2529694" y="3906767"/>
                  </a:lnTo>
                  <a:lnTo>
                    <a:pt x="1965714" y="1559618"/>
                  </a:lnTo>
                  <a:cubicBezTo>
                    <a:pt x="2082871" y="1476809"/>
                    <a:pt x="2158771" y="1340123"/>
                    <a:pt x="2158771" y="1185710"/>
                  </a:cubicBezTo>
                  <a:cubicBezTo>
                    <a:pt x="2158771" y="931048"/>
                    <a:pt x="1952325" y="724602"/>
                    <a:pt x="1697663" y="724602"/>
                  </a:cubicBezTo>
                  <a:close/>
                  <a:moveTo>
                    <a:pt x="1063715" y="545025"/>
                  </a:moveTo>
                  <a:cubicBezTo>
                    <a:pt x="1049345" y="544674"/>
                    <a:pt x="1034632" y="549414"/>
                    <a:pt x="1022713" y="560818"/>
                  </a:cubicBezTo>
                  <a:cubicBezTo>
                    <a:pt x="770813" y="802271"/>
                    <a:pt x="765578" y="1027305"/>
                    <a:pt x="747215" y="1173536"/>
                  </a:cubicBezTo>
                  <a:cubicBezTo>
                    <a:pt x="739801" y="1505952"/>
                    <a:pt x="857050" y="1694426"/>
                    <a:pt x="1000492" y="1840570"/>
                  </a:cubicBezTo>
                  <a:cubicBezTo>
                    <a:pt x="1054453" y="1891173"/>
                    <a:pt x="1140637" y="1815511"/>
                    <a:pt x="1085185" y="1760438"/>
                  </a:cubicBezTo>
                  <a:cubicBezTo>
                    <a:pt x="956796" y="1635789"/>
                    <a:pt x="856528" y="1399455"/>
                    <a:pt x="869039" y="1153582"/>
                  </a:cubicBezTo>
                  <a:cubicBezTo>
                    <a:pt x="890975" y="989410"/>
                    <a:pt x="930075" y="808796"/>
                    <a:pt x="1099057" y="643121"/>
                  </a:cubicBezTo>
                  <a:cubicBezTo>
                    <a:pt x="1130910" y="609668"/>
                    <a:pt x="1123743" y="577687"/>
                    <a:pt x="1102654" y="559774"/>
                  </a:cubicBezTo>
                  <a:cubicBezTo>
                    <a:pt x="1092110" y="550817"/>
                    <a:pt x="1078085" y="545376"/>
                    <a:pt x="1063715" y="545025"/>
                  </a:cubicBezTo>
                  <a:close/>
                  <a:moveTo>
                    <a:pt x="2331610" y="545025"/>
                  </a:moveTo>
                  <a:cubicBezTo>
                    <a:pt x="2317240" y="545376"/>
                    <a:pt x="2303215" y="550817"/>
                    <a:pt x="2292671" y="559774"/>
                  </a:cubicBezTo>
                  <a:cubicBezTo>
                    <a:pt x="2271582" y="577687"/>
                    <a:pt x="2264415" y="609668"/>
                    <a:pt x="2296268" y="643121"/>
                  </a:cubicBezTo>
                  <a:cubicBezTo>
                    <a:pt x="2465250" y="808796"/>
                    <a:pt x="2504350" y="989410"/>
                    <a:pt x="2526286" y="1153582"/>
                  </a:cubicBezTo>
                  <a:cubicBezTo>
                    <a:pt x="2538797" y="1399455"/>
                    <a:pt x="2438529" y="1635789"/>
                    <a:pt x="2310140" y="1760438"/>
                  </a:cubicBezTo>
                  <a:cubicBezTo>
                    <a:pt x="2254687" y="1815511"/>
                    <a:pt x="2340872" y="1891173"/>
                    <a:pt x="2394833" y="1840570"/>
                  </a:cubicBezTo>
                  <a:cubicBezTo>
                    <a:pt x="2538274" y="1694426"/>
                    <a:pt x="2655523" y="1505952"/>
                    <a:pt x="2648110" y="1173536"/>
                  </a:cubicBezTo>
                  <a:cubicBezTo>
                    <a:pt x="2629747" y="1027305"/>
                    <a:pt x="2624512" y="802271"/>
                    <a:pt x="2372611" y="560818"/>
                  </a:cubicBezTo>
                  <a:cubicBezTo>
                    <a:pt x="2360693" y="549414"/>
                    <a:pt x="2345980" y="544674"/>
                    <a:pt x="2331610" y="545025"/>
                  </a:cubicBezTo>
                  <a:close/>
                  <a:moveTo>
                    <a:pt x="828913" y="291673"/>
                  </a:moveTo>
                  <a:cubicBezTo>
                    <a:pt x="815989" y="289908"/>
                    <a:pt x="801211" y="293968"/>
                    <a:pt x="785915" y="306733"/>
                  </a:cubicBezTo>
                  <a:cubicBezTo>
                    <a:pt x="443781" y="634473"/>
                    <a:pt x="419033" y="940064"/>
                    <a:pt x="397689" y="1142305"/>
                  </a:cubicBezTo>
                  <a:cubicBezTo>
                    <a:pt x="382149" y="1609828"/>
                    <a:pt x="581083" y="1906565"/>
                    <a:pt x="761769" y="2090535"/>
                  </a:cubicBezTo>
                  <a:cubicBezTo>
                    <a:pt x="799346" y="2129829"/>
                    <a:pt x="887601" y="2062907"/>
                    <a:pt x="838637" y="2007924"/>
                  </a:cubicBezTo>
                  <a:cubicBezTo>
                    <a:pt x="657328" y="1831500"/>
                    <a:pt x="482441" y="1474423"/>
                    <a:pt x="512957" y="1129050"/>
                  </a:cubicBezTo>
                  <a:cubicBezTo>
                    <a:pt x="529646" y="907207"/>
                    <a:pt x="618660" y="615352"/>
                    <a:pt x="859009" y="387076"/>
                  </a:cubicBezTo>
                  <a:cubicBezTo>
                    <a:pt x="879513" y="365491"/>
                    <a:pt x="876535" y="332638"/>
                    <a:pt x="860783" y="311566"/>
                  </a:cubicBezTo>
                  <a:cubicBezTo>
                    <a:pt x="852906" y="301030"/>
                    <a:pt x="841837" y="293438"/>
                    <a:pt x="828913" y="291673"/>
                  </a:cubicBezTo>
                  <a:close/>
                  <a:moveTo>
                    <a:pt x="2566412" y="291673"/>
                  </a:moveTo>
                  <a:cubicBezTo>
                    <a:pt x="2553488" y="293438"/>
                    <a:pt x="2542419" y="301030"/>
                    <a:pt x="2534542" y="311566"/>
                  </a:cubicBezTo>
                  <a:cubicBezTo>
                    <a:pt x="2518790" y="332638"/>
                    <a:pt x="2515812" y="365491"/>
                    <a:pt x="2536315" y="387076"/>
                  </a:cubicBezTo>
                  <a:cubicBezTo>
                    <a:pt x="2776665" y="615352"/>
                    <a:pt x="2865679" y="907207"/>
                    <a:pt x="2882368" y="1129050"/>
                  </a:cubicBezTo>
                  <a:cubicBezTo>
                    <a:pt x="2912884" y="1474423"/>
                    <a:pt x="2737997" y="1831500"/>
                    <a:pt x="2556688" y="2007924"/>
                  </a:cubicBezTo>
                  <a:cubicBezTo>
                    <a:pt x="2507724" y="2062907"/>
                    <a:pt x="2595979" y="2129829"/>
                    <a:pt x="2633555" y="2090535"/>
                  </a:cubicBezTo>
                  <a:cubicBezTo>
                    <a:pt x="2814241" y="1906565"/>
                    <a:pt x="3013176" y="1609828"/>
                    <a:pt x="2997636" y="1142305"/>
                  </a:cubicBezTo>
                  <a:cubicBezTo>
                    <a:pt x="2976292" y="940064"/>
                    <a:pt x="2951543" y="634473"/>
                    <a:pt x="2609410" y="306733"/>
                  </a:cubicBezTo>
                  <a:cubicBezTo>
                    <a:pt x="2594114" y="293968"/>
                    <a:pt x="2579336" y="289908"/>
                    <a:pt x="2566412" y="291673"/>
                  </a:cubicBezTo>
                  <a:close/>
                  <a:moveTo>
                    <a:pt x="542960" y="680"/>
                  </a:moveTo>
                  <a:cubicBezTo>
                    <a:pt x="529483" y="-1611"/>
                    <a:pt x="515449" y="1702"/>
                    <a:pt x="503281" y="13328"/>
                  </a:cubicBezTo>
                  <a:cubicBezTo>
                    <a:pt x="87284" y="418153"/>
                    <a:pt x="24099" y="852514"/>
                    <a:pt x="1875" y="1112311"/>
                  </a:cubicBezTo>
                  <a:cubicBezTo>
                    <a:pt x="-24220" y="1721200"/>
                    <a:pt x="226644" y="2117183"/>
                    <a:pt x="463779" y="2358633"/>
                  </a:cubicBezTo>
                  <a:cubicBezTo>
                    <a:pt x="513095" y="2410202"/>
                    <a:pt x="607607" y="2339703"/>
                    <a:pt x="553496" y="2284989"/>
                  </a:cubicBezTo>
                  <a:cubicBezTo>
                    <a:pt x="315566" y="2053422"/>
                    <a:pt x="84225" y="1555798"/>
                    <a:pt x="123361" y="1103410"/>
                  </a:cubicBezTo>
                  <a:cubicBezTo>
                    <a:pt x="144685" y="812821"/>
                    <a:pt x="269608" y="397988"/>
                    <a:pt x="583897" y="99512"/>
                  </a:cubicBezTo>
                  <a:cubicBezTo>
                    <a:pt x="607187" y="76413"/>
                    <a:pt x="599201" y="43242"/>
                    <a:pt x="579308" y="21659"/>
                  </a:cubicBezTo>
                  <a:cubicBezTo>
                    <a:pt x="569362" y="10866"/>
                    <a:pt x="556439" y="2972"/>
                    <a:pt x="542960" y="680"/>
                  </a:cubicBezTo>
                  <a:close/>
                  <a:moveTo>
                    <a:pt x="2852365" y="680"/>
                  </a:moveTo>
                  <a:cubicBezTo>
                    <a:pt x="2838886" y="2972"/>
                    <a:pt x="2825963" y="10866"/>
                    <a:pt x="2816017" y="21659"/>
                  </a:cubicBezTo>
                  <a:cubicBezTo>
                    <a:pt x="2796124" y="43242"/>
                    <a:pt x="2788138" y="76413"/>
                    <a:pt x="2811427" y="99512"/>
                  </a:cubicBezTo>
                  <a:cubicBezTo>
                    <a:pt x="3125717" y="397988"/>
                    <a:pt x="3250640" y="812821"/>
                    <a:pt x="3271964" y="1103410"/>
                  </a:cubicBezTo>
                  <a:cubicBezTo>
                    <a:pt x="3311100" y="1555798"/>
                    <a:pt x="3079759" y="2053422"/>
                    <a:pt x="2841829" y="2284989"/>
                  </a:cubicBezTo>
                  <a:cubicBezTo>
                    <a:pt x="2787718" y="2339703"/>
                    <a:pt x="2882230" y="2410202"/>
                    <a:pt x="2931546" y="2358633"/>
                  </a:cubicBezTo>
                  <a:cubicBezTo>
                    <a:pt x="3168681" y="2117183"/>
                    <a:pt x="3419545" y="1721200"/>
                    <a:pt x="3393450" y="1112311"/>
                  </a:cubicBezTo>
                  <a:cubicBezTo>
                    <a:pt x="3371226" y="852514"/>
                    <a:pt x="3308041" y="418153"/>
                    <a:pt x="2892044" y="13328"/>
                  </a:cubicBezTo>
                  <a:cubicBezTo>
                    <a:pt x="2879876" y="1702"/>
                    <a:pt x="2865842" y="-1611"/>
                    <a:pt x="2852365" y="680"/>
                  </a:cubicBezTo>
                  <a:close/>
                </a:path>
              </a:pathLst>
            </a:custGeom>
            <a:solidFill>
              <a:srgbClr val="5E83BD"/>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62" rIns="68562" rtlCol="0" anchor="b"/>
            <a:lstStyle/>
            <a:p>
              <a:pPr marL="0" marR="0" lvl="0" indent="0" algn="l" defTabSz="108810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prstClr val="white"/>
                </a:solidFill>
                <a:effectLst/>
                <a:uLnTx/>
                <a:uFillTx/>
                <a:latin typeface="Segoe UI"/>
                <a:ea typeface="+mn-ea"/>
                <a:cs typeface="+mn-cs"/>
              </a:endParaRPr>
            </a:p>
          </p:txBody>
        </p:sp>
        <p:pic>
          <p:nvPicPr>
            <p:cNvPr id="48" name="Picture 5" descr="\\MAGNUM\Projects\Microsoft\Cloud Power FY12\Design\ICONS_PNG\Productivity.png"/>
            <p:cNvPicPr>
              <a:picLocks noChangeAspect="1" noChangeArrowheads="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brightnessContrast bright="20000" contrast="20000"/>
                      </a14:imgEffect>
                    </a14:imgLayer>
                  </a14:imgProps>
                </a:ext>
                <a:ext uri="{28A0092B-C50C-407E-A947-70E740481C1C}">
                  <a14:useLocalDpi xmlns:a14="http://schemas.microsoft.com/office/drawing/2010/main"/>
                </a:ext>
              </a:extLst>
            </a:blip>
            <a:srcRect/>
            <a:stretch>
              <a:fillRect/>
            </a:stretch>
          </p:blipFill>
          <p:spPr bwMode="auto">
            <a:xfrm>
              <a:off x="505151" y="2982142"/>
              <a:ext cx="457081" cy="457081"/>
            </a:xfrm>
            <a:prstGeom prst="rect">
              <a:avLst/>
            </a:prstGeom>
            <a:noFill/>
          </p:spPr>
        </p:pic>
      </p:grpSp>
      <p:grpSp>
        <p:nvGrpSpPr>
          <p:cNvPr id="49" name="Group 48"/>
          <p:cNvGrpSpPr/>
          <p:nvPr/>
        </p:nvGrpSpPr>
        <p:grpSpPr>
          <a:xfrm>
            <a:off x="436608" y="2148325"/>
            <a:ext cx="794250" cy="467301"/>
            <a:chOff x="606793" y="2171338"/>
            <a:chExt cx="794250" cy="467301"/>
          </a:xfrm>
          <a:solidFill>
            <a:srgbClr val="5E83BD"/>
          </a:solidFill>
        </p:grpSpPr>
        <p:sp>
          <p:nvSpPr>
            <p:cNvPr id="50" name="Freeform 14"/>
            <p:cNvSpPr>
              <a:spLocks noEditPoints="1"/>
            </p:cNvSpPr>
            <p:nvPr/>
          </p:nvSpPr>
          <p:spPr bwMode="black">
            <a:xfrm>
              <a:off x="870009" y="2528410"/>
              <a:ext cx="100919" cy="105915"/>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lIns="109620" tIns="54812" rIns="109620" bIns="54812" anchor="ctr"/>
            <a:lstStyle/>
            <a:p>
              <a:pPr marL="0" marR="0" lvl="0" indent="0" algn="l" defTabSz="986518" rtl="0" eaLnBrk="1" fontAlgn="auto" latinLnBrk="0" hangingPunct="1">
                <a:lnSpc>
                  <a:spcPct val="100000"/>
                </a:lnSpc>
                <a:spcBef>
                  <a:spcPts val="0"/>
                </a:spcBef>
                <a:spcAft>
                  <a:spcPts val="0"/>
                </a:spcAft>
                <a:buClrTx/>
                <a:buSzTx/>
                <a:buFontTx/>
                <a:buNone/>
                <a:tabLst/>
                <a:defRPr/>
              </a:pPr>
              <a:endParaRPr kumimoji="0" lang="en-US" sz="2396" b="0" i="0" u="none" strike="noStrike" kern="1200" cap="none" spc="-163" normalizeH="0" baseline="0" noProof="0">
                <a:ln>
                  <a:noFill/>
                </a:ln>
                <a:solidFill>
                  <a:srgbClr val="505050"/>
                </a:solidFill>
                <a:effectLst/>
                <a:uLnTx/>
                <a:uFillTx/>
                <a:latin typeface="Segoe Light" pitchFamily="34" charset="0"/>
                <a:ea typeface="+mn-ea"/>
                <a:cs typeface="+mn-cs"/>
              </a:endParaRPr>
            </a:p>
          </p:txBody>
        </p:sp>
        <p:sp>
          <p:nvSpPr>
            <p:cNvPr id="51" name="Rectangle 50"/>
            <p:cNvSpPr/>
            <p:nvPr/>
          </p:nvSpPr>
          <p:spPr>
            <a:xfrm>
              <a:off x="1021202" y="2524515"/>
              <a:ext cx="104670" cy="11317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505050"/>
                </a:solidFill>
                <a:effectLst/>
                <a:uLnTx/>
                <a:uFillTx/>
                <a:latin typeface="Segoe UI"/>
                <a:ea typeface="+mn-ea"/>
                <a:cs typeface="+mn-cs"/>
              </a:endParaRPr>
            </a:p>
          </p:txBody>
        </p:sp>
        <p:grpSp>
          <p:nvGrpSpPr>
            <p:cNvPr id="52" name="Group 51"/>
            <p:cNvGrpSpPr/>
            <p:nvPr/>
          </p:nvGrpSpPr>
          <p:grpSpPr>
            <a:xfrm>
              <a:off x="810448" y="2434212"/>
              <a:ext cx="86769" cy="130228"/>
              <a:chOff x="2143183" y="2709863"/>
              <a:chExt cx="738130" cy="1107819"/>
            </a:xfrm>
            <a:grpFill/>
          </p:grpSpPr>
          <p:sp>
            <p:nvSpPr>
              <p:cNvPr id="64" name="Rounded Rectangle 3"/>
              <p:cNvSpPr/>
              <p:nvPr/>
            </p:nvSpPr>
            <p:spPr>
              <a:xfrm rot="2656194">
                <a:off x="2143183" y="2772076"/>
                <a:ext cx="666768" cy="1045606"/>
              </a:xfrm>
              <a:custGeom>
                <a:avLst/>
                <a:gdLst/>
                <a:ahLst/>
                <a:cxnLst/>
                <a:rect l="l" t="t" r="r" b="b"/>
                <a:pathLst>
                  <a:path w="666768" h="1045606">
                    <a:moveTo>
                      <a:pt x="132289" y="17716"/>
                    </a:moveTo>
                    <a:cubicBezTo>
                      <a:pt x="141677" y="6760"/>
                      <a:pt x="149466" y="1014"/>
                      <a:pt x="155728" y="0"/>
                    </a:cubicBezTo>
                    <a:lnTo>
                      <a:pt x="252548" y="1354"/>
                    </a:lnTo>
                    <a:lnTo>
                      <a:pt x="251335" y="96569"/>
                    </a:lnTo>
                    <a:cubicBezTo>
                      <a:pt x="220495" y="135451"/>
                      <a:pt x="223550" y="191908"/>
                      <a:pt x="259325" y="228607"/>
                    </a:cubicBezTo>
                    <a:cubicBezTo>
                      <a:pt x="299259" y="269571"/>
                      <a:pt x="364840" y="270407"/>
                      <a:pt x="405805" y="230473"/>
                    </a:cubicBezTo>
                    <a:cubicBezTo>
                      <a:pt x="442907" y="194304"/>
                      <a:pt x="447091" y="137095"/>
                      <a:pt x="416285" y="97331"/>
                    </a:cubicBezTo>
                    <a:lnTo>
                      <a:pt x="417479" y="3661"/>
                    </a:lnTo>
                    <a:lnTo>
                      <a:pt x="498294" y="4792"/>
                    </a:lnTo>
                    <a:cubicBezTo>
                      <a:pt x="563688" y="32331"/>
                      <a:pt x="609300" y="162949"/>
                      <a:pt x="665257" y="290323"/>
                    </a:cubicBezTo>
                    <a:cubicBezTo>
                      <a:pt x="665561" y="542333"/>
                      <a:pt x="666464" y="747199"/>
                      <a:pt x="666768" y="999209"/>
                    </a:cubicBezTo>
                    <a:cubicBezTo>
                      <a:pt x="666768" y="1024833"/>
                      <a:pt x="651693" y="1045606"/>
                      <a:pt x="633099" y="1045606"/>
                    </a:cubicBezTo>
                    <a:cubicBezTo>
                      <a:pt x="434357" y="1045606"/>
                      <a:pt x="245485" y="1035676"/>
                      <a:pt x="46744" y="1035676"/>
                    </a:cubicBezTo>
                    <a:cubicBezTo>
                      <a:pt x="28149" y="1035676"/>
                      <a:pt x="3206" y="1024833"/>
                      <a:pt x="3206" y="999209"/>
                    </a:cubicBezTo>
                    <a:cubicBezTo>
                      <a:pt x="-3948" y="872998"/>
                      <a:pt x="3177" y="437212"/>
                      <a:pt x="2674" y="269971"/>
                    </a:cubicBezTo>
                    <a:cubicBezTo>
                      <a:pt x="61566" y="130353"/>
                      <a:pt x="104124" y="50586"/>
                      <a:pt x="132289" y="17716"/>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505050"/>
                  </a:solidFill>
                  <a:effectLst/>
                  <a:uLnTx/>
                  <a:uFillTx/>
                  <a:latin typeface="Segoe UI"/>
                  <a:ea typeface="+mn-ea"/>
                  <a:cs typeface="+mn-cs"/>
                </a:endParaRPr>
              </a:p>
            </p:txBody>
          </p:sp>
          <p:sp>
            <p:nvSpPr>
              <p:cNvPr id="65" name="Rounded Rectangle 64"/>
              <p:cNvSpPr/>
              <p:nvPr/>
            </p:nvSpPr>
            <p:spPr>
              <a:xfrm rot="2668288">
                <a:off x="2814638" y="2709863"/>
                <a:ext cx="66675" cy="407193"/>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505050"/>
                  </a:solidFill>
                  <a:effectLst/>
                  <a:uLnTx/>
                  <a:uFillTx/>
                  <a:latin typeface="Segoe UI"/>
                  <a:ea typeface="+mn-ea"/>
                  <a:cs typeface="+mn-cs"/>
                </a:endParaRPr>
              </a:p>
            </p:txBody>
          </p:sp>
        </p:grpSp>
        <p:sp>
          <p:nvSpPr>
            <p:cNvPr id="53" name="Rectangle 52"/>
            <p:cNvSpPr/>
            <p:nvPr/>
          </p:nvSpPr>
          <p:spPr>
            <a:xfrm>
              <a:off x="806914" y="2325905"/>
              <a:ext cx="90600" cy="9796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ADADAD"/>
                  </a:solidFill>
                  <a:effectLst/>
                  <a:uLnTx/>
                  <a:uFillTx/>
                  <a:latin typeface="Segoe UI"/>
                  <a:ea typeface="+mn-ea"/>
                  <a:cs typeface="+mn-cs"/>
                </a:rPr>
                <a:t>#</a:t>
              </a:r>
            </a:p>
          </p:txBody>
        </p:sp>
        <p:sp>
          <p:nvSpPr>
            <p:cNvPr id="54" name="Freeform 694"/>
            <p:cNvSpPr/>
            <p:nvPr/>
          </p:nvSpPr>
          <p:spPr bwMode="auto">
            <a:xfrm>
              <a:off x="606793" y="2203237"/>
              <a:ext cx="161212" cy="379901"/>
            </a:xfrm>
            <a:custGeom>
              <a:avLst/>
              <a:gdLst>
                <a:gd name="connsiteX0" fmla="*/ 1493818 w 2987636"/>
                <a:gd name="connsiteY0" fmla="*/ 1720401 h 6944407"/>
                <a:gd name="connsiteX1" fmla="*/ 2987636 w 2987636"/>
                <a:gd name="connsiteY1" fmla="*/ 3214219 h 6944407"/>
                <a:gd name="connsiteX2" fmla="*/ 2920477 w 2987636"/>
                <a:gd name="connsiteY2" fmla="*/ 3658435 h 6944407"/>
                <a:gd name="connsiteX3" fmla="*/ 2895229 w 2987636"/>
                <a:gd name="connsiteY3" fmla="*/ 3727419 h 6944407"/>
                <a:gd name="connsiteX4" fmla="*/ 2892060 w 2987636"/>
                <a:gd name="connsiteY4" fmla="*/ 3777386 h 6944407"/>
                <a:gd name="connsiteX5" fmla="*/ 2797911 w 2987636"/>
                <a:gd name="connsiteY5" fmla="*/ 4346993 h 6944407"/>
                <a:gd name="connsiteX6" fmla="*/ 2441889 w 2987636"/>
                <a:gd name="connsiteY6" fmla="*/ 4729802 h 6944407"/>
                <a:gd name="connsiteX7" fmla="*/ 2404407 w 2987636"/>
                <a:gd name="connsiteY7" fmla="*/ 4734977 h 6944407"/>
                <a:gd name="connsiteX8" fmla="*/ 1975658 w 2987636"/>
                <a:gd name="connsiteY8" fmla="*/ 6777550 h 6944407"/>
                <a:gd name="connsiteX9" fmla="*/ 1956147 w 2987636"/>
                <a:gd name="connsiteY9" fmla="*/ 6822919 h 6944407"/>
                <a:gd name="connsiteX10" fmla="*/ 1951059 w 2987636"/>
                <a:gd name="connsiteY10" fmla="*/ 6848128 h 6944407"/>
                <a:gd name="connsiteX11" fmla="*/ 1805808 w 2987636"/>
                <a:gd name="connsiteY11" fmla="*/ 6944407 h 6944407"/>
                <a:gd name="connsiteX12" fmla="*/ 1175273 w 2987636"/>
                <a:gd name="connsiteY12" fmla="*/ 6944406 h 6944407"/>
                <a:gd name="connsiteX13" fmla="*/ 1030024 w 2987636"/>
                <a:gd name="connsiteY13" fmla="*/ 6848128 h 6944407"/>
                <a:gd name="connsiteX14" fmla="*/ 1024933 w 2987636"/>
                <a:gd name="connsiteY14" fmla="*/ 6822919 h 6944407"/>
                <a:gd name="connsiteX15" fmla="*/ 1005424 w 2987636"/>
                <a:gd name="connsiteY15" fmla="*/ 6777550 h 6944407"/>
                <a:gd name="connsiteX16" fmla="*/ 575736 w 2987636"/>
                <a:gd name="connsiteY16" fmla="*/ 4730505 h 6944407"/>
                <a:gd name="connsiteX17" fmla="*/ 570642 w 2987636"/>
                <a:gd name="connsiteY17" fmla="*/ 4729802 h 6944407"/>
                <a:gd name="connsiteX18" fmla="*/ 214621 w 2987636"/>
                <a:gd name="connsiteY18" fmla="*/ 4346993 h 6944407"/>
                <a:gd name="connsiteX19" fmla="*/ 126684 w 2987636"/>
                <a:gd name="connsiteY19" fmla="*/ 3814969 h 6944407"/>
                <a:gd name="connsiteX20" fmla="*/ 117392 w 2987636"/>
                <a:gd name="connsiteY20" fmla="*/ 3795681 h 6944407"/>
                <a:gd name="connsiteX21" fmla="*/ 0 w 2987636"/>
                <a:gd name="connsiteY21" fmla="*/ 3214219 h 6944407"/>
                <a:gd name="connsiteX22" fmla="*/ 1493818 w 2987636"/>
                <a:gd name="connsiteY22" fmla="*/ 1720401 h 6944407"/>
                <a:gd name="connsiteX23" fmla="*/ 1493819 w 2987636"/>
                <a:gd name="connsiteY23" fmla="*/ 0 h 6944407"/>
                <a:gd name="connsiteX24" fmla="*/ 2252612 w 2987636"/>
                <a:gd name="connsiteY24" fmla="*/ 758793 h 6944407"/>
                <a:gd name="connsiteX25" fmla="*/ 1493819 w 2987636"/>
                <a:gd name="connsiteY25" fmla="*/ 1517586 h 6944407"/>
                <a:gd name="connsiteX26" fmla="*/ 735026 w 2987636"/>
                <a:gd name="connsiteY26" fmla="*/ 758793 h 6944407"/>
                <a:gd name="connsiteX27" fmla="*/ 1493819 w 2987636"/>
                <a:gd name="connsiteY27" fmla="*/ 0 h 6944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87636" h="6944407">
                  <a:moveTo>
                    <a:pt x="1493818" y="1720401"/>
                  </a:moveTo>
                  <a:cubicBezTo>
                    <a:pt x="2318831" y="1720401"/>
                    <a:pt x="2987636" y="2389206"/>
                    <a:pt x="2987636" y="3214219"/>
                  </a:cubicBezTo>
                  <a:cubicBezTo>
                    <a:pt x="2987636" y="3368909"/>
                    <a:pt x="2964124" y="3518107"/>
                    <a:pt x="2920477" y="3658435"/>
                  </a:cubicBezTo>
                  <a:lnTo>
                    <a:pt x="2895229" y="3727419"/>
                  </a:lnTo>
                  <a:lnTo>
                    <a:pt x="2892060" y="3777386"/>
                  </a:lnTo>
                  <a:cubicBezTo>
                    <a:pt x="2860677" y="3967255"/>
                    <a:pt x="2829293" y="4157124"/>
                    <a:pt x="2797911" y="4346993"/>
                  </a:cubicBezTo>
                  <a:cubicBezTo>
                    <a:pt x="2765967" y="4540255"/>
                    <a:pt x="2621057" y="4686651"/>
                    <a:pt x="2441889" y="4729802"/>
                  </a:cubicBezTo>
                  <a:lnTo>
                    <a:pt x="2404407" y="4734977"/>
                  </a:lnTo>
                  <a:lnTo>
                    <a:pt x="1975658" y="6777550"/>
                  </a:lnTo>
                  <a:lnTo>
                    <a:pt x="1956147" y="6822919"/>
                  </a:lnTo>
                  <a:lnTo>
                    <a:pt x="1951059" y="6848128"/>
                  </a:lnTo>
                  <a:cubicBezTo>
                    <a:pt x="1927128" y="6904706"/>
                    <a:pt x="1871104" y="6944406"/>
                    <a:pt x="1805808" y="6944407"/>
                  </a:cubicBezTo>
                  <a:lnTo>
                    <a:pt x="1175273" y="6944406"/>
                  </a:lnTo>
                  <a:cubicBezTo>
                    <a:pt x="1109978" y="6944406"/>
                    <a:pt x="1053954" y="6904707"/>
                    <a:pt x="1030024" y="6848128"/>
                  </a:cubicBezTo>
                  <a:lnTo>
                    <a:pt x="1024933" y="6822919"/>
                  </a:lnTo>
                  <a:lnTo>
                    <a:pt x="1005424" y="6777550"/>
                  </a:lnTo>
                  <a:lnTo>
                    <a:pt x="575736" y="4730505"/>
                  </a:lnTo>
                  <a:lnTo>
                    <a:pt x="570642" y="4729802"/>
                  </a:lnTo>
                  <a:cubicBezTo>
                    <a:pt x="391474" y="4686651"/>
                    <a:pt x="246565" y="4540255"/>
                    <a:pt x="214621" y="4346993"/>
                  </a:cubicBezTo>
                  <a:lnTo>
                    <a:pt x="126684" y="3814969"/>
                  </a:lnTo>
                  <a:lnTo>
                    <a:pt x="117392" y="3795681"/>
                  </a:lnTo>
                  <a:cubicBezTo>
                    <a:pt x="41801" y="3616963"/>
                    <a:pt x="0" y="3420472"/>
                    <a:pt x="0" y="3214219"/>
                  </a:cubicBezTo>
                  <a:cubicBezTo>
                    <a:pt x="0" y="2389206"/>
                    <a:pt x="668805" y="1720401"/>
                    <a:pt x="1493818" y="1720401"/>
                  </a:cubicBezTo>
                  <a:close/>
                  <a:moveTo>
                    <a:pt x="1493819" y="0"/>
                  </a:moveTo>
                  <a:cubicBezTo>
                    <a:pt x="1912889" y="0"/>
                    <a:pt x="2252612" y="339723"/>
                    <a:pt x="2252612" y="758793"/>
                  </a:cubicBezTo>
                  <a:cubicBezTo>
                    <a:pt x="2252612" y="1177863"/>
                    <a:pt x="1912889" y="1517586"/>
                    <a:pt x="1493819" y="1517586"/>
                  </a:cubicBezTo>
                  <a:cubicBezTo>
                    <a:pt x="1074749" y="1517586"/>
                    <a:pt x="735026" y="1177863"/>
                    <a:pt x="735026" y="758793"/>
                  </a:cubicBezTo>
                  <a:cubicBezTo>
                    <a:pt x="735026" y="339723"/>
                    <a:pt x="1074749" y="0"/>
                    <a:pt x="1493819"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Ins="45684" bIns="91368" anchor="b"/>
            <a:lstStyle/>
            <a:p>
              <a:pPr marL="0" marR="0" lvl="0" indent="0" algn="ctr" defTabSz="913277" rtl="0" eaLnBrk="1" fontAlgn="base" latinLnBrk="0" hangingPunct="1">
                <a:lnSpc>
                  <a:spcPct val="100000"/>
                </a:lnSpc>
                <a:spcBef>
                  <a:spcPct val="0"/>
                </a:spcBef>
                <a:spcAft>
                  <a:spcPct val="0"/>
                </a:spcAft>
                <a:buClrTx/>
                <a:buSzTx/>
                <a:buFontTx/>
                <a:buNone/>
                <a:tabLst/>
                <a:defRPr/>
              </a:pPr>
              <a:endParaRPr kumimoji="0" lang="en-US" sz="1797" b="0" i="0" u="none" strike="noStrike" kern="1200" cap="none" spc="-50" normalizeH="0" baseline="0" noProof="0" err="1">
                <a:ln>
                  <a:noFill/>
                </a:ln>
                <a:solidFill>
                  <a:srgbClr val="505050"/>
                </a:solidFill>
                <a:effectLst/>
                <a:uLnTx/>
                <a:uFillTx/>
                <a:latin typeface="Segoe UI"/>
                <a:ea typeface="Segoe UI" pitchFamily="34" charset="0"/>
                <a:cs typeface="Segoe UI" pitchFamily="34" charset="0"/>
              </a:endParaRPr>
            </a:p>
          </p:txBody>
        </p:sp>
        <p:grpSp>
          <p:nvGrpSpPr>
            <p:cNvPr id="55" name="Group 54"/>
            <p:cNvGrpSpPr/>
            <p:nvPr/>
          </p:nvGrpSpPr>
          <p:grpSpPr>
            <a:xfrm>
              <a:off x="1191424" y="2171338"/>
              <a:ext cx="184723" cy="86050"/>
              <a:chOff x="1145766" y="2425406"/>
              <a:chExt cx="205373" cy="95670"/>
            </a:xfrm>
            <a:grpFill/>
          </p:grpSpPr>
          <p:sp>
            <p:nvSpPr>
              <p:cNvPr id="61" name="Rounded Rectangle 60"/>
              <p:cNvSpPr/>
              <p:nvPr/>
            </p:nvSpPr>
            <p:spPr>
              <a:xfrm>
                <a:off x="1256370" y="2425406"/>
                <a:ext cx="17496" cy="81309"/>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505050"/>
                  </a:solidFill>
                  <a:effectLst/>
                  <a:uLnTx/>
                  <a:uFillTx/>
                  <a:latin typeface="Segoe UI"/>
                  <a:ea typeface="+mn-ea"/>
                  <a:cs typeface="+mn-cs"/>
                </a:endParaRPr>
              </a:p>
            </p:txBody>
          </p:sp>
          <p:sp>
            <p:nvSpPr>
              <p:cNvPr id="62" name="Rounded Rectangle 61"/>
              <p:cNvSpPr/>
              <p:nvPr/>
            </p:nvSpPr>
            <p:spPr>
              <a:xfrm rot="2514688">
                <a:off x="1333643" y="2439767"/>
                <a:ext cx="17496" cy="81309"/>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505050"/>
                  </a:solidFill>
                  <a:effectLst/>
                  <a:uLnTx/>
                  <a:uFillTx/>
                  <a:latin typeface="Segoe UI"/>
                  <a:ea typeface="+mn-ea"/>
                  <a:cs typeface="+mn-cs"/>
                </a:endParaRPr>
              </a:p>
            </p:txBody>
          </p:sp>
          <p:sp>
            <p:nvSpPr>
              <p:cNvPr id="63" name="Rounded Rectangle 62"/>
              <p:cNvSpPr/>
              <p:nvPr/>
            </p:nvSpPr>
            <p:spPr>
              <a:xfrm rot="18773539">
                <a:off x="1177277" y="2443458"/>
                <a:ext cx="18288" cy="81309"/>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marL="0" marR="0" lvl="0" indent="0" algn="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505050"/>
                  </a:solidFill>
                  <a:effectLst/>
                  <a:uLnTx/>
                  <a:uFillTx/>
                  <a:latin typeface="Segoe UI"/>
                  <a:ea typeface="+mn-ea"/>
                  <a:cs typeface="+mn-cs"/>
                </a:endParaRPr>
              </a:p>
            </p:txBody>
          </p:sp>
        </p:grpSp>
        <p:sp>
          <p:nvSpPr>
            <p:cNvPr id="56" name="Round Diagonal Corner Rectangle 53"/>
            <p:cNvSpPr/>
            <p:nvPr/>
          </p:nvSpPr>
          <p:spPr bwMode="auto">
            <a:xfrm flipH="1">
              <a:off x="911981" y="2177081"/>
              <a:ext cx="246924" cy="281064"/>
            </a:xfrm>
            <a:custGeom>
              <a:avLst/>
              <a:gdLst/>
              <a:ahLst/>
              <a:cxnLst/>
              <a:rect l="l" t="t" r="r" b="b"/>
              <a:pathLst>
                <a:path w="1069848" h="1217762">
                  <a:moveTo>
                    <a:pt x="859964" y="887952"/>
                  </a:moveTo>
                  <a:cubicBezTo>
                    <a:pt x="859964" y="887952"/>
                    <a:pt x="859964" y="887952"/>
                    <a:pt x="859964" y="887953"/>
                  </a:cubicBezTo>
                  <a:lnTo>
                    <a:pt x="859964" y="887953"/>
                  </a:lnTo>
                  <a:close/>
                  <a:moveTo>
                    <a:pt x="823054" y="851043"/>
                  </a:moveTo>
                  <a:lnTo>
                    <a:pt x="246792" y="851043"/>
                  </a:lnTo>
                  <a:cubicBezTo>
                    <a:pt x="226407" y="851043"/>
                    <a:pt x="209882" y="867568"/>
                    <a:pt x="209882" y="887953"/>
                  </a:cubicBezTo>
                  <a:lnTo>
                    <a:pt x="209883" y="887953"/>
                  </a:lnTo>
                  <a:cubicBezTo>
                    <a:pt x="209883" y="908338"/>
                    <a:pt x="226408" y="924863"/>
                    <a:pt x="246793" y="924863"/>
                  </a:cubicBezTo>
                  <a:lnTo>
                    <a:pt x="823054" y="924862"/>
                  </a:lnTo>
                  <a:cubicBezTo>
                    <a:pt x="843439" y="924862"/>
                    <a:pt x="859964" y="908337"/>
                    <a:pt x="859964" y="887953"/>
                  </a:cubicBezTo>
                  <a:cubicBezTo>
                    <a:pt x="859964" y="867568"/>
                    <a:pt x="843439" y="851043"/>
                    <a:pt x="823054" y="851043"/>
                  </a:cubicBezTo>
                  <a:close/>
                  <a:moveTo>
                    <a:pt x="859964" y="716502"/>
                  </a:moveTo>
                  <a:lnTo>
                    <a:pt x="859964" y="716503"/>
                  </a:lnTo>
                  <a:lnTo>
                    <a:pt x="859964" y="716503"/>
                  </a:lnTo>
                  <a:close/>
                  <a:moveTo>
                    <a:pt x="823054" y="679593"/>
                  </a:moveTo>
                  <a:lnTo>
                    <a:pt x="246792" y="679593"/>
                  </a:lnTo>
                  <a:cubicBezTo>
                    <a:pt x="226407" y="679593"/>
                    <a:pt x="209882" y="696118"/>
                    <a:pt x="209882" y="716503"/>
                  </a:cubicBezTo>
                  <a:lnTo>
                    <a:pt x="209883" y="716503"/>
                  </a:lnTo>
                  <a:cubicBezTo>
                    <a:pt x="209883" y="736888"/>
                    <a:pt x="226408" y="753413"/>
                    <a:pt x="246793" y="753413"/>
                  </a:cubicBezTo>
                  <a:lnTo>
                    <a:pt x="823054" y="753412"/>
                  </a:lnTo>
                  <a:cubicBezTo>
                    <a:pt x="843439" y="753412"/>
                    <a:pt x="859964" y="736887"/>
                    <a:pt x="859964" y="716503"/>
                  </a:cubicBezTo>
                  <a:cubicBezTo>
                    <a:pt x="859964" y="696118"/>
                    <a:pt x="843439" y="679593"/>
                    <a:pt x="823054" y="679593"/>
                  </a:cubicBezTo>
                  <a:close/>
                  <a:moveTo>
                    <a:pt x="859964" y="545051"/>
                  </a:moveTo>
                  <a:lnTo>
                    <a:pt x="859964" y="545052"/>
                  </a:lnTo>
                  <a:lnTo>
                    <a:pt x="859964" y="545052"/>
                  </a:lnTo>
                  <a:close/>
                  <a:moveTo>
                    <a:pt x="823054" y="508142"/>
                  </a:moveTo>
                  <a:lnTo>
                    <a:pt x="246792" y="508142"/>
                  </a:lnTo>
                  <a:cubicBezTo>
                    <a:pt x="226407" y="508142"/>
                    <a:pt x="209882" y="524667"/>
                    <a:pt x="209882" y="545052"/>
                  </a:cubicBezTo>
                  <a:lnTo>
                    <a:pt x="209883" y="545052"/>
                  </a:lnTo>
                  <a:cubicBezTo>
                    <a:pt x="209883" y="565437"/>
                    <a:pt x="226408" y="581962"/>
                    <a:pt x="246793" y="581962"/>
                  </a:cubicBezTo>
                  <a:lnTo>
                    <a:pt x="823054" y="581961"/>
                  </a:lnTo>
                  <a:cubicBezTo>
                    <a:pt x="843439" y="581961"/>
                    <a:pt x="859964" y="565436"/>
                    <a:pt x="859964" y="545052"/>
                  </a:cubicBezTo>
                  <a:cubicBezTo>
                    <a:pt x="859964" y="524667"/>
                    <a:pt x="843439" y="508142"/>
                    <a:pt x="823054" y="508142"/>
                  </a:cubicBezTo>
                  <a:close/>
                  <a:moveTo>
                    <a:pt x="607552" y="375982"/>
                  </a:moveTo>
                  <a:lnTo>
                    <a:pt x="607552" y="375983"/>
                  </a:lnTo>
                  <a:lnTo>
                    <a:pt x="607552" y="375983"/>
                  </a:lnTo>
                  <a:close/>
                  <a:moveTo>
                    <a:pt x="570642" y="339073"/>
                  </a:moveTo>
                  <a:lnTo>
                    <a:pt x="246792" y="339073"/>
                  </a:lnTo>
                  <a:cubicBezTo>
                    <a:pt x="226407" y="339073"/>
                    <a:pt x="209882" y="355598"/>
                    <a:pt x="209882" y="375983"/>
                  </a:cubicBezTo>
                  <a:lnTo>
                    <a:pt x="209883" y="375983"/>
                  </a:lnTo>
                  <a:cubicBezTo>
                    <a:pt x="209883" y="396368"/>
                    <a:pt x="226408" y="412893"/>
                    <a:pt x="246793" y="412893"/>
                  </a:cubicBezTo>
                  <a:lnTo>
                    <a:pt x="570642" y="412892"/>
                  </a:lnTo>
                  <a:cubicBezTo>
                    <a:pt x="591027" y="412892"/>
                    <a:pt x="607552" y="396367"/>
                    <a:pt x="607552" y="375983"/>
                  </a:cubicBezTo>
                  <a:cubicBezTo>
                    <a:pt x="607552" y="355598"/>
                    <a:pt x="591027" y="339073"/>
                    <a:pt x="570642" y="339073"/>
                  </a:cubicBezTo>
                  <a:close/>
                  <a:moveTo>
                    <a:pt x="679213" y="74747"/>
                  </a:moveTo>
                  <a:lnTo>
                    <a:pt x="679213" y="291168"/>
                  </a:lnTo>
                  <a:cubicBezTo>
                    <a:pt x="679213" y="325515"/>
                    <a:pt x="707057" y="353359"/>
                    <a:pt x="741404" y="353359"/>
                  </a:cubicBezTo>
                  <a:lnTo>
                    <a:pt x="992124" y="353359"/>
                  </a:lnTo>
                  <a:lnTo>
                    <a:pt x="992124" y="1044200"/>
                  </a:lnTo>
                  <a:cubicBezTo>
                    <a:pt x="992124" y="1097470"/>
                    <a:pt x="971294" y="1150179"/>
                    <a:pt x="897731" y="1140654"/>
                  </a:cubicBezTo>
                  <a:lnTo>
                    <a:pt x="77724" y="1140654"/>
                  </a:lnTo>
                  <a:lnTo>
                    <a:pt x="77724" y="173562"/>
                  </a:lnTo>
                  <a:cubicBezTo>
                    <a:pt x="80105" y="89336"/>
                    <a:pt x="119986" y="77108"/>
                    <a:pt x="172117" y="77108"/>
                  </a:cubicBezTo>
                  <a:close/>
                  <a:moveTo>
                    <a:pt x="733418" y="0"/>
                  </a:moveTo>
                  <a:lnTo>
                    <a:pt x="110440" y="0"/>
                  </a:lnTo>
                  <a:cubicBezTo>
                    <a:pt x="49446" y="0"/>
                    <a:pt x="0" y="49446"/>
                    <a:pt x="0" y="110440"/>
                  </a:cubicBezTo>
                  <a:lnTo>
                    <a:pt x="0" y="1217762"/>
                  </a:lnTo>
                  <a:lnTo>
                    <a:pt x="959408" y="1217762"/>
                  </a:lnTo>
                  <a:cubicBezTo>
                    <a:pt x="1020402" y="1217762"/>
                    <a:pt x="1069848" y="1168316"/>
                    <a:pt x="1069848" y="1107322"/>
                  </a:cubicBezTo>
                  <a:lnTo>
                    <a:pt x="1069848" y="31055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6" tIns="45708" rIns="45708" bIns="91416" numCol="1" spcCol="0" rtlCol="0" fromWordArt="0" anchor="b" anchorCtr="0" forceAA="0" compatLnSpc="1">
              <a:prstTxWarp prst="textNoShape">
                <a:avLst/>
              </a:prstTxWarp>
              <a:noAutofit/>
            </a:bodyPr>
            <a:lstStyle/>
            <a:p>
              <a:pPr marL="0" marR="0" lvl="0" indent="0" algn="ctr" defTabSz="913825"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50" normalizeH="0" baseline="0" noProof="0" err="1">
                <a:ln>
                  <a:noFill/>
                </a:ln>
                <a:solidFill>
                  <a:srgbClr val="505050"/>
                </a:solidFill>
                <a:effectLst/>
                <a:uLnTx/>
                <a:uFillTx/>
                <a:latin typeface="Segoe UI"/>
                <a:ea typeface="Segoe UI" pitchFamily="34" charset="0"/>
                <a:cs typeface="Segoe UI" pitchFamily="34" charset="0"/>
              </a:endParaRPr>
            </a:p>
          </p:txBody>
        </p:sp>
        <p:grpSp>
          <p:nvGrpSpPr>
            <p:cNvPr id="57" name="Group 56"/>
            <p:cNvGrpSpPr>
              <a:grpSpLocks noChangeAspect="1"/>
            </p:cNvGrpSpPr>
            <p:nvPr/>
          </p:nvGrpSpPr>
          <p:grpSpPr bwMode="black">
            <a:xfrm>
              <a:off x="1232701" y="2227266"/>
              <a:ext cx="168342" cy="411373"/>
              <a:chOff x="3233738" y="168276"/>
              <a:chExt cx="2651125" cy="6480174"/>
            </a:xfrm>
            <a:grpFill/>
          </p:grpSpPr>
          <p:sp>
            <p:nvSpPr>
              <p:cNvPr id="58" name="Freeform 212"/>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sp>
            <p:nvSpPr>
              <p:cNvPr id="59" name="Freeform 213"/>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sp>
            <p:nvSpPr>
              <p:cNvPr id="60" name="Freeform 214"/>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grpSp>
      </p:grpSp>
      <p:grpSp>
        <p:nvGrpSpPr>
          <p:cNvPr id="66" name="Group 65"/>
          <p:cNvGrpSpPr/>
          <p:nvPr/>
        </p:nvGrpSpPr>
        <p:grpSpPr>
          <a:xfrm>
            <a:off x="2080099" y="2149324"/>
            <a:ext cx="879798" cy="425190"/>
            <a:chOff x="2080099" y="2187562"/>
            <a:chExt cx="879798" cy="425190"/>
          </a:xfrm>
        </p:grpSpPr>
        <p:pic>
          <p:nvPicPr>
            <p:cNvPr id="67" name="Picture 66"/>
            <p:cNvPicPr>
              <a:picLocks noChangeAspect="1"/>
            </p:cNvPicPr>
            <p:nvPr/>
          </p:nvPicPr>
          <p:blipFill>
            <a:blip r:embed="rId6"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2517356" y="2193039"/>
              <a:ext cx="442541" cy="419713"/>
            </a:xfrm>
            <a:prstGeom prst="rect">
              <a:avLst/>
            </a:prstGeom>
            <a:noFill/>
            <a:ln>
              <a:noFill/>
              <a:headEnd type="none" w="med" len="med"/>
              <a:tailEnd type="none" w="med" len="med"/>
            </a:ln>
            <a:effectLst/>
          </p:spPr>
        </p:pic>
        <p:pic>
          <p:nvPicPr>
            <p:cNvPr id="68" name="Picture 67"/>
            <p:cNvPicPr>
              <a:picLocks noChangeAspect="1"/>
            </p:cNvPicPr>
            <p:nvPr/>
          </p:nvPicPr>
          <p:blipFill>
            <a:blip r:embed="rId7"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2080099" y="2187562"/>
              <a:ext cx="426069" cy="408171"/>
            </a:xfrm>
            <a:prstGeom prst="rect">
              <a:avLst/>
            </a:prstGeom>
            <a:noFill/>
            <a:ln>
              <a:noFill/>
              <a:headEnd type="none" w="med" len="med"/>
              <a:tailEnd type="none" w="med" len="med"/>
            </a:ln>
            <a:effectLst/>
          </p:spPr>
        </p:pic>
      </p:grpSp>
      <p:sp>
        <p:nvSpPr>
          <p:cNvPr id="69" name="Rectangle 68"/>
          <p:cNvSpPr/>
          <p:nvPr/>
        </p:nvSpPr>
        <p:spPr bwMode="auto">
          <a:xfrm>
            <a:off x="2105195" y="2725798"/>
            <a:ext cx="807913" cy="369332"/>
          </a:xfrm>
          <a:prstGeom prst="rect">
            <a:avLst/>
          </a:prstGeom>
          <a:noFill/>
          <a:ln w="9525" cap="flat" cmpd="sng" algn="ctr">
            <a:noFill/>
            <a:prstDash val="sysDot"/>
            <a:headEnd type="none" w="med" len="med"/>
            <a:tailEnd type="none" w="med" len="med"/>
          </a:ln>
          <a:effectLst/>
        </p:spPr>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marL="0" marR="0" lvl="0" indent="0" algn="ctr" defTabSz="60888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505050"/>
                </a:solidFill>
                <a:effectLst/>
                <a:uLnTx/>
                <a:uFillTx/>
                <a:latin typeface="Segoe UI"/>
                <a:ea typeface="+mn-ea"/>
                <a:cs typeface="+mn-cs"/>
              </a:rPr>
              <a:t>Engineering</a:t>
            </a:r>
          </a:p>
          <a:p>
            <a:pPr marL="0" marR="0" lvl="0" indent="0" algn="ctr" defTabSz="60888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505050"/>
                </a:solidFill>
                <a:effectLst/>
                <a:uLnTx/>
                <a:uFillTx/>
                <a:latin typeface="Segoe UI"/>
                <a:ea typeface="+mn-ea"/>
                <a:cs typeface="+mn-cs"/>
              </a:rPr>
              <a:t>R &amp; D</a:t>
            </a:r>
          </a:p>
        </p:txBody>
      </p:sp>
      <p:pic>
        <p:nvPicPr>
          <p:cNvPr id="71" name="Picture 3" descr="\\MAGNUM\Projects\Microsoft\Cloud Power FY12\Design\Icons\PNGs\Public_Cloud_Productivity.png"/>
          <p:cNvPicPr>
            <a:picLocks noChangeAspect="1" noChangeArrowheads="1"/>
          </p:cNvPicPr>
          <p:nvPr/>
        </p:nvPicPr>
        <p:blipFill>
          <a:blip r:embed="rId8" cstate="print">
            <a:duotone>
              <a:prstClr val="black"/>
              <a:schemeClr val="tx2">
                <a:tint val="45000"/>
                <a:satMod val="400000"/>
              </a:schemeClr>
            </a:duotone>
            <a:extLst>
              <a:ext uri="{BEBA8EAE-BF5A-486C-A8C5-ECC9F3942E4B}">
                <a14:imgProps xmlns:a14="http://schemas.microsoft.com/office/drawing/2010/main">
                  <a14:imgLayer r:embed="rId9">
                    <a14:imgEffect>
                      <a14:brightnessContrast bright="20000" contrast="20000"/>
                    </a14:imgEffect>
                  </a14:imgLayer>
                </a14:imgProps>
              </a:ext>
              <a:ext uri="{28A0092B-C50C-407E-A947-70E740481C1C}">
                <a14:useLocalDpi xmlns:a14="http://schemas.microsoft.com/office/drawing/2010/main"/>
              </a:ext>
            </a:extLst>
          </a:blip>
          <a:srcRect/>
          <a:stretch>
            <a:fillRect/>
          </a:stretch>
        </p:blipFill>
        <p:spPr bwMode="auto">
          <a:xfrm>
            <a:off x="5748919" y="2230185"/>
            <a:ext cx="1473072" cy="1473070"/>
          </a:xfrm>
          <a:prstGeom prst="rect">
            <a:avLst/>
          </a:prstGeom>
          <a:noFill/>
        </p:spPr>
      </p:pic>
      <p:sp>
        <p:nvSpPr>
          <p:cNvPr id="72" name="Rectangle 71"/>
          <p:cNvSpPr/>
          <p:nvPr/>
        </p:nvSpPr>
        <p:spPr bwMode="auto">
          <a:xfrm>
            <a:off x="3672919" y="3835592"/>
            <a:ext cx="1849866" cy="369332"/>
          </a:xfrm>
          <a:prstGeom prst="rect">
            <a:avLst/>
          </a:prstGeom>
          <a:noFill/>
          <a:ln w="9525" cap="flat" cmpd="sng" algn="ctr">
            <a:noFill/>
            <a:prstDash val="sysDot"/>
            <a:headEnd type="none" w="med" len="med"/>
            <a:tailEnd type="none" w="med" len="med"/>
          </a:ln>
          <a:effectLst/>
        </p:spPr>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marL="0" marR="0" lvl="0" indent="0" algn="ctr" defTabSz="60888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505050"/>
                </a:solidFill>
                <a:effectLst/>
                <a:uLnTx/>
                <a:uFillTx/>
                <a:latin typeface="Segoe UI"/>
                <a:ea typeface="+mn-ea"/>
                <a:cs typeface="+mn-cs"/>
              </a:rPr>
              <a:t>R&amp;D, suppliers, customers, </a:t>
            </a:r>
            <a:br>
              <a:rPr kumimoji="0" lang="en-US" sz="1200" b="0" i="0" u="none" strike="noStrike" kern="0" cap="none" spc="0" normalizeH="0" baseline="0" noProof="0" dirty="0">
                <a:ln>
                  <a:noFill/>
                </a:ln>
                <a:solidFill>
                  <a:srgbClr val="505050"/>
                </a:solidFill>
                <a:effectLst/>
                <a:uLnTx/>
                <a:uFillTx/>
                <a:latin typeface="Segoe UI"/>
                <a:ea typeface="+mn-ea"/>
                <a:cs typeface="+mn-cs"/>
              </a:rPr>
            </a:br>
            <a:r>
              <a:rPr kumimoji="0" lang="en-US" sz="1200" b="0" i="0" u="none" strike="noStrike" kern="0" cap="none" spc="0" normalizeH="0" baseline="0" noProof="0" dirty="0">
                <a:ln>
                  <a:noFill/>
                </a:ln>
                <a:solidFill>
                  <a:srgbClr val="505050"/>
                </a:solidFill>
                <a:effectLst/>
                <a:uLnTx/>
                <a:uFillTx/>
                <a:latin typeface="Segoe UI"/>
                <a:ea typeface="+mn-ea"/>
                <a:cs typeface="+mn-cs"/>
              </a:rPr>
              <a:t>OEMs</a:t>
            </a:r>
          </a:p>
        </p:txBody>
      </p:sp>
      <p:grpSp>
        <p:nvGrpSpPr>
          <p:cNvPr id="73" name="Group 72"/>
          <p:cNvGrpSpPr/>
          <p:nvPr/>
        </p:nvGrpSpPr>
        <p:grpSpPr>
          <a:xfrm>
            <a:off x="3512503" y="3004970"/>
            <a:ext cx="1891709" cy="707300"/>
            <a:chOff x="3146282" y="3210032"/>
            <a:chExt cx="2018459" cy="754691"/>
          </a:xfrm>
        </p:grpSpPr>
        <p:pic>
          <p:nvPicPr>
            <p:cNvPr id="74" name="Picture 446"/>
            <p:cNvPicPr>
              <a:picLocks noChangeAspect="1"/>
            </p:cNvPicPr>
            <p:nvPr/>
          </p:nvPicPr>
          <p:blipFill>
            <a:blip r:embed="rId10" cstate="screen">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4544086" y="3293546"/>
              <a:ext cx="620655" cy="620654"/>
            </a:xfrm>
            <a:prstGeom prst="rect">
              <a:avLst/>
            </a:prstGeom>
          </p:spPr>
        </p:pic>
        <p:pic>
          <p:nvPicPr>
            <p:cNvPr id="75" name="Picture 778"/>
            <p:cNvPicPr>
              <a:picLocks noChangeAspect="1"/>
            </p:cNvPicPr>
            <p:nvPr/>
          </p:nvPicPr>
          <p:blipFill>
            <a:blip r:embed="rId11">
              <a:duotone>
                <a:prstClr val="black"/>
                <a:schemeClr val="tx2">
                  <a:tint val="45000"/>
                  <a:satMod val="400000"/>
                </a:schemeClr>
              </a:duotone>
              <a:extLst/>
            </a:blip>
            <a:stretch>
              <a:fillRect/>
            </a:stretch>
          </p:blipFill>
          <p:spPr>
            <a:xfrm>
              <a:off x="3146282" y="3210032"/>
              <a:ext cx="571663" cy="460831"/>
            </a:xfrm>
            <a:prstGeom prst="rect">
              <a:avLst/>
            </a:prstGeom>
          </p:spPr>
        </p:pic>
        <p:sp>
          <p:nvSpPr>
            <p:cNvPr id="76" name="Freeform 773"/>
            <p:cNvSpPr/>
            <p:nvPr/>
          </p:nvSpPr>
          <p:spPr bwMode="auto">
            <a:xfrm>
              <a:off x="3977029" y="3541511"/>
              <a:ext cx="182080" cy="423212"/>
            </a:xfrm>
            <a:custGeom>
              <a:avLst/>
              <a:gdLst>
                <a:gd name="connsiteX0" fmla="*/ 1493818 w 2987636"/>
                <a:gd name="connsiteY0" fmla="*/ 1720401 h 6944407"/>
                <a:gd name="connsiteX1" fmla="*/ 2987636 w 2987636"/>
                <a:gd name="connsiteY1" fmla="*/ 3214219 h 6944407"/>
                <a:gd name="connsiteX2" fmla="*/ 2920477 w 2987636"/>
                <a:gd name="connsiteY2" fmla="*/ 3658435 h 6944407"/>
                <a:gd name="connsiteX3" fmla="*/ 2895229 w 2987636"/>
                <a:gd name="connsiteY3" fmla="*/ 3727419 h 6944407"/>
                <a:gd name="connsiteX4" fmla="*/ 2892060 w 2987636"/>
                <a:gd name="connsiteY4" fmla="*/ 3777386 h 6944407"/>
                <a:gd name="connsiteX5" fmla="*/ 2797911 w 2987636"/>
                <a:gd name="connsiteY5" fmla="*/ 4346993 h 6944407"/>
                <a:gd name="connsiteX6" fmla="*/ 2441889 w 2987636"/>
                <a:gd name="connsiteY6" fmla="*/ 4729802 h 6944407"/>
                <a:gd name="connsiteX7" fmla="*/ 2404407 w 2987636"/>
                <a:gd name="connsiteY7" fmla="*/ 4734977 h 6944407"/>
                <a:gd name="connsiteX8" fmla="*/ 1975658 w 2987636"/>
                <a:gd name="connsiteY8" fmla="*/ 6777550 h 6944407"/>
                <a:gd name="connsiteX9" fmla="*/ 1956147 w 2987636"/>
                <a:gd name="connsiteY9" fmla="*/ 6822919 h 6944407"/>
                <a:gd name="connsiteX10" fmla="*/ 1951059 w 2987636"/>
                <a:gd name="connsiteY10" fmla="*/ 6848128 h 6944407"/>
                <a:gd name="connsiteX11" fmla="*/ 1805808 w 2987636"/>
                <a:gd name="connsiteY11" fmla="*/ 6944407 h 6944407"/>
                <a:gd name="connsiteX12" fmla="*/ 1175273 w 2987636"/>
                <a:gd name="connsiteY12" fmla="*/ 6944406 h 6944407"/>
                <a:gd name="connsiteX13" fmla="*/ 1030024 w 2987636"/>
                <a:gd name="connsiteY13" fmla="*/ 6848128 h 6944407"/>
                <a:gd name="connsiteX14" fmla="*/ 1024933 w 2987636"/>
                <a:gd name="connsiteY14" fmla="*/ 6822919 h 6944407"/>
                <a:gd name="connsiteX15" fmla="*/ 1005424 w 2987636"/>
                <a:gd name="connsiteY15" fmla="*/ 6777550 h 6944407"/>
                <a:gd name="connsiteX16" fmla="*/ 575736 w 2987636"/>
                <a:gd name="connsiteY16" fmla="*/ 4730505 h 6944407"/>
                <a:gd name="connsiteX17" fmla="*/ 570642 w 2987636"/>
                <a:gd name="connsiteY17" fmla="*/ 4729802 h 6944407"/>
                <a:gd name="connsiteX18" fmla="*/ 214621 w 2987636"/>
                <a:gd name="connsiteY18" fmla="*/ 4346993 h 6944407"/>
                <a:gd name="connsiteX19" fmla="*/ 126684 w 2987636"/>
                <a:gd name="connsiteY19" fmla="*/ 3814969 h 6944407"/>
                <a:gd name="connsiteX20" fmla="*/ 117392 w 2987636"/>
                <a:gd name="connsiteY20" fmla="*/ 3795681 h 6944407"/>
                <a:gd name="connsiteX21" fmla="*/ 0 w 2987636"/>
                <a:gd name="connsiteY21" fmla="*/ 3214219 h 6944407"/>
                <a:gd name="connsiteX22" fmla="*/ 1493818 w 2987636"/>
                <a:gd name="connsiteY22" fmla="*/ 1720401 h 6944407"/>
                <a:gd name="connsiteX23" fmla="*/ 1493819 w 2987636"/>
                <a:gd name="connsiteY23" fmla="*/ 0 h 6944407"/>
                <a:gd name="connsiteX24" fmla="*/ 2252612 w 2987636"/>
                <a:gd name="connsiteY24" fmla="*/ 758793 h 6944407"/>
                <a:gd name="connsiteX25" fmla="*/ 1493819 w 2987636"/>
                <a:gd name="connsiteY25" fmla="*/ 1517586 h 6944407"/>
                <a:gd name="connsiteX26" fmla="*/ 735026 w 2987636"/>
                <a:gd name="connsiteY26" fmla="*/ 758793 h 6944407"/>
                <a:gd name="connsiteX27" fmla="*/ 1493819 w 2987636"/>
                <a:gd name="connsiteY27" fmla="*/ 0 h 6944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987636" h="6944407">
                  <a:moveTo>
                    <a:pt x="1493818" y="1720401"/>
                  </a:moveTo>
                  <a:cubicBezTo>
                    <a:pt x="2318831" y="1720401"/>
                    <a:pt x="2987636" y="2389206"/>
                    <a:pt x="2987636" y="3214219"/>
                  </a:cubicBezTo>
                  <a:cubicBezTo>
                    <a:pt x="2987636" y="3368909"/>
                    <a:pt x="2964124" y="3518107"/>
                    <a:pt x="2920477" y="3658435"/>
                  </a:cubicBezTo>
                  <a:lnTo>
                    <a:pt x="2895229" y="3727419"/>
                  </a:lnTo>
                  <a:lnTo>
                    <a:pt x="2892060" y="3777386"/>
                  </a:lnTo>
                  <a:cubicBezTo>
                    <a:pt x="2860677" y="3967255"/>
                    <a:pt x="2829293" y="4157124"/>
                    <a:pt x="2797911" y="4346993"/>
                  </a:cubicBezTo>
                  <a:cubicBezTo>
                    <a:pt x="2765967" y="4540255"/>
                    <a:pt x="2621057" y="4686651"/>
                    <a:pt x="2441889" y="4729802"/>
                  </a:cubicBezTo>
                  <a:lnTo>
                    <a:pt x="2404407" y="4734977"/>
                  </a:lnTo>
                  <a:lnTo>
                    <a:pt x="1975658" y="6777550"/>
                  </a:lnTo>
                  <a:lnTo>
                    <a:pt x="1956147" y="6822919"/>
                  </a:lnTo>
                  <a:lnTo>
                    <a:pt x="1951059" y="6848128"/>
                  </a:lnTo>
                  <a:cubicBezTo>
                    <a:pt x="1927128" y="6904706"/>
                    <a:pt x="1871104" y="6944406"/>
                    <a:pt x="1805808" y="6944407"/>
                  </a:cubicBezTo>
                  <a:lnTo>
                    <a:pt x="1175273" y="6944406"/>
                  </a:lnTo>
                  <a:cubicBezTo>
                    <a:pt x="1109978" y="6944406"/>
                    <a:pt x="1053954" y="6904707"/>
                    <a:pt x="1030024" y="6848128"/>
                  </a:cubicBezTo>
                  <a:lnTo>
                    <a:pt x="1024933" y="6822919"/>
                  </a:lnTo>
                  <a:lnTo>
                    <a:pt x="1005424" y="6777550"/>
                  </a:lnTo>
                  <a:lnTo>
                    <a:pt x="575736" y="4730505"/>
                  </a:lnTo>
                  <a:lnTo>
                    <a:pt x="570642" y="4729802"/>
                  </a:lnTo>
                  <a:cubicBezTo>
                    <a:pt x="391474" y="4686651"/>
                    <a:pt x="246565" y="4540255"/>
                    <a:pt x="214621" y="4346993"/>
                  </a:cubicBezTo>
                  <a:lnTo>
                    <a:pt x="126684" y="3814969"/>
                  </a:lnTo>
                  <a:lnTo>
                    <a:pt x="117392" y="3795681"/>
                  </a:lnTo>
                  <a:cubicBezTo>
                    <a:pt x="41801" y="3616963"/>
                    <a:pt x="0" y="3420472"/>
                    <a:pt x="0" y="3214219"/>
                  </a:cubicBezTo>
                  <a:cubicBezTo>
                    <a:pt x="0" y="2389206"/>
                    <a:pt x="668805" y="1720401"/>
                    <a:pt x="1493818" y="1720401"/>
                  </a:cubicBezTo>
                  <a:close/>
                  <a:moveTo>
                    <a:pt x="1493819" y="0"/>
                  </a:moveTo>
                  <a:cubicBezTo>
                    <a:pt x="1912889" y="0"/>
                    <a:pt x="2252612" y="339723"/>
                    <a:pt x="2252612" y="758793"/>
                  </a:cubicBezTo>
                  <a:cubicBezTo>
                    <a:pt x="2252612" y="1177863"/>
                    <a:pt x="1912889" y="1517586"/>
                    <a:pt x="1493819" y="1517586"/>
                  </a:cubicBezTo>
                  <a:cubicBezTo>
                    <a:pt x="1074749" y="1517586"/>
                    <a:pt x="735026" y="1177863"/>
                    <a:pt x="735026" y="758793"/>
                  </a:cubicBezTo>
                  <a:cubicBezTo>
                    <a:pt x="735026" y="339723"/>
                    <a:pt x="1074749" y="0"/>
                    <a:pt x="1493819" y="0"/>
                  </a:cubicBezTo>
                  <a:close/>
                </a:path>
              </a:pathLst>
            </a:custGeom>
            <a:solidFill>
              <a:srgbClr val="5E83B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Ins="45684" bIns="91368" anchor="b"/>
            <a:lstStyle/>
            <a:p>
              <a:pPr marL="0" marR="0" lvl="0" indent="0" algn="ctr" defTabSz="913277"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50" normalizeH="0" baseline="0" noProof="0" err="1">
                <a:ln>
                  <a:noFill/>
                </a:ln>
                <a:solidFill>
                  <a:srgbClr val="505050"/>
                </a:solidFill>
                <a:effectLst/>
                <a:uLnTx/>
                <a:uFillTx/>
                <a:latin typeface="Segoe UI"/>
                <a:ea typeface="Segoe UI" pitchFamily="34" charset="0"/>
                <a:cs typeface="Segoe UI" pitchFamily="34" charset="0"/>
              </a:endParaRPr>
            </a:p>
          </p:txBody>
        </p:sp>
        <p:sp>
          <p:nvSpPr>
            <p:cNvPr id="77" name="Freeform 18"/>
            <p:cNvSpPr>
              <a:spLocks noEditPoints="1"/>
            </p:cNvSpPr>
            <p:nvPr/>
          </p:nvSpPr>
          <p:spPr bwMode="black">
            <a:xfrm>
              <a:off x="4121862" y="3579149"/>
              <a:ext cx="186108" cy="226939"/>
            </a:xfrm>
            <a:custGeom>
              <a:avLst/>
              <a:gdLst>
                <a:gd name="T0" fmla="*/ 288835 w 246"/>
                <a:gd name="T1" fmla="*/ 430063 h 300"/>
                <a:gd name="T2" fmla="*/ 96278 w 246"/>
                <a:gd name="T3" fmla="*/ 452462 h 300"/>
                <a:gd name="T4" fmla="*/ 288835 w 246"/>
                <a:gd name="T5" fmla="*/ 282229 h 300"/>
                <a:gd name="T6" fmla="*/ 96278 w 246"/>
                <a:gd name="T7" fmla="*/ 302388 h 300"/>
                <a:gd name="T8" fmla="*/ 288835 w 246"/>
                <a:gd name="T9" fmla="*/ 282229 h 300"/>
                <a:gd name="T10" fmla="*/ 481392 w 246"/>
                <a:gd name="T11" fmla="*/ 226231 h 300"/>
                <a:gd name="T12" fmla="*/ 490348 w 246"/>
                <a:gd name="T13" fmla="*/ 201592 h 300"/>
                <a:gd name="T14" fmla="*/ 465719 w 246"/>
                <a:gd name="T15" fmla="*/ 248630 h 300"/>
                <a:gd name="T16" fmla="*/ 96278 w 246"/>
                <a:gd name="T17" fmla="*/ 206072 h 300"/>
                <a:gd name="T18" fmla="*/ 261967 w 246"/>
                <a:gd name="T19" fmla="*/ 228471 h 300"/>
                <a:gd name="T20" fmla="*/ 96278 w 246"/>
                <a:gd name="T21" fmla="*/ 526379 h 300"/>
                <a:gd name="T22" fmla="*/ 261967 w 246"/>
                <a:gd name="T23" fmla="*/ 506220 h 300"/>
                <a:gd name="T24" fmla="*/ 96278 w 246"/>
                <a:gd name="T25" fmla="*/ 526379 h 300"/>
                <a:gd name="T26" fmla="*/ 24629 w 246"/>
                <a:gd name="T27" fmla="*/ 642854 h 300"/>
                <a:gd name="T28" fmla="*/ 78366 w 246"/>
                <a:gd name="T29" fmla="*/ 80637 h 300"/>
                <a:gd name="T30" fmla="*/ 0 w 246"/>
                <a:gd name="T31" fmla="*/ 49278 h 300"/>
                <a:gd name="T32" fmla="*/ 490348 w 246"/>
                <a:gd name="T33" fmla="*/ 671973 h 300"/>
                <a:gd name="T34" fmla="*/ 465719 w 246"/>
                <a:gd name="T35" fmla="*/ 387504 h 300"/>
                <a:gd name="T36" fmla="*/ 261967 w 246"/>
                <a:gd name="T37" fmla="*/ 356146 h 300"/>
                <a:gd name="T38" fmla="*/ 96278 w 246"/>
                <a:gd name="T39" fmla="*/ 378545 h 300"/>
                <a:gd name="T40" fmla="*/ 261967 w 246"/>
                <a:gd name="T41" fmla="*/ 356146 h 300"/>
                <a:gd name="T42" fmla="*/ 127625 w 246"/>
                <a:gd name="T43" fmla="*/ 49278 h 300"/>
                <a:gd name="T44" fmla="*/ 192557 w 246"/>
                <a:gd name="T45" fmla="*/ 44798 h 300"/>
                <a:gd name="T46" fmla="*/ 246294 w 246"/>
                <a:gd name="T47" fmla="*/ 0 h 300"/>
                <a:gd name="T48" fmla="*/ 297791 w 246"/>
                <a:gd name="T49" fmla="*/ 44798 h 300"/>
                <a:gd name="T50" fmla="*/ 362723 w 246"/>
                <a:gd name="T51" fmla="*/ 49278 h 300"/>
                <a:gd name="T52" fmla="*/ 400787 w 246"/>
                <a:gd name="T53" fmla="*/ 96316 h 300"/>
                <a:gd name="T54" fmla="*/ 91800 w 246"/>
                <a:gd name="T55" fmla="*/ 80637 h 300"/>
                <a:gd name="T56" fmla="*/ 246294 w 246"/>
                <a:gd name="T57" fmla="*/ 44798 h 300"/>
                <a:gd name="T58" fmla="*/ 246294 w 246"/>
                <a:gd name="T59" fmla="*/ 24639 h 300"/>
                <a:gd name="T60" fmla="*/ 425416 w 246"/>
                <a:gd name="T61" fmla="*/ 602536 h 300"/>
                <a:gd name="T62" fmla="*/ 64932 w 246"/>
                <a:gd name="T63" fmla="*/ 132155 h 300"/>
                <a:gd name="T64" fmla="*/ 425416 w 246"/>
                <a:gd name="T65" fmla="*/ 159034 h 300"/>
                <a:gd name="T66" fmla="*/ 447807 w 246"/>
                <a:gd name="T67" fmla="*/ 109756 h 300"/>
                <a:gd name="T68" fmla="*/ 42542 w 246"/>
                <a:gd name="T69" fmla="*/ 622695 h 300"/>
                <a:gd name="T70" fmla="*/ 447807 w 246"/>
                <a:gd name="T71" fmla="*/ 414383 h 300"/>
                <a:gd name="T72" fmla="*/ 425416 w 246"/>
                <a:gd name="T73" fmla="*/ 602536 h 300"/>
                <a:gd name="T74" fmla="*/ 425416 w 246"/>
                <a:gd name="T75" fmla="*/ 297908 h 300"/>
                <a:gd name="T76" fmla="*/ 447807 w 246"/>
                <a:gd name="T77" fmla="*/ 277749 h 300"/>
                <a:gd name="T78" fmla="*/ 481392 w 246"/>
                <a:gd name="T79" fmla="*/ 78397 h 300"/>
                <a:gd name="T80" fmla="*/ 490348 w 246"/>
                <a:gd name="T81" fmla="*/ 49278 h 300"/>
                <a:gd name="T82" fmla="*/ 411982 w 246"/>
                <a:gd name="T83" fmla="*/ 80637 h 300"/>
                <a:gd name="T84" fmla="*/ 465719 w 246"/>
                <a:gd name="T85" fmla="*/ 98556 h 300"/>
                <a:gd name="T86" fmla="*/ 550802 w 246"/>
                <a:gd name="T87" fmla="*/ 91836 h 300"/>
                <a:gd name="T88" fmla="*/ 347050 w 246"/>
                <a:gd name="T89" fmla="*/ 300148 h 300"/>
                <a:gd name="T90" fmla="*/ 349289 w 246"/>
                <a:gd name="T91" fmla="*/ 206072 h 300"/>
                <a:gd name="T92" fmla="*/ 488109 w 246"/>
                <a:gd name="T93" fmla="*/ 91836 h 300"/>
                <a:gd name="T94" fmla="*/ 550802 w 246"/>
                <a:gd name="T95" fmla="*/ 239670 h 300"/>
                <a:gd name="T96" fmla="*/ 347050 w 246"/>
                <a:gd name="T97" fmla="*/ 450222 h 300"/>
                <a:gd name="T98" fmla="*/ 349289 w 246"/>
                <a:gd name="T99" fmla="*/ 356146 h 300"/>
                <a:gd name="T100" fmla="*/ 488109 w 246"/>
                <a:gd name="T101" fmla="*/ 239670 h 30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E83BD"/>
            </a:solidFill>
            <a:ln>
              <a:noFill/>
            </a:ln>
            <a:extLst/>
          </p:spPr>
          <p:txBody>
            <a:bodyPr lIns="82242" tIns="41120" rIns="82242" bIns="41120"/>
            <a:lstStyle/>
            <a:p>
              <a:pPr marL="0" marR="0" lvl="0" indent="0" algn="ctr" defTabSz="913578"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78" name="Rectangle 77"/>
          <p:cNvSpPr/>
          <p:nvPr/>
        </p:nvSpPr>
        <p:spPr bwMode="auto">
          <a:xfrm>
            <a:off x="5661818" y="3472625"/>
            <a:ext cx="1671974" cy="369332"/>
          </a:xfrm>
          <a:prstGeom prst="rect">
            <a:avLst/>
          </a:prstGeom>
          <a:noFill/>
          <a:ln w="9525" cap="flat" cmpd="sng" algn="ctr">
            <a:noFill/>
            <a:prstDash val="sysDot"/>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ctr" defTabSz="60888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505050"/>
                </a:solidFill>
                <a:effectLst/>
                <a:uLnTx/>
                <a:uFillTx/>
                <a:latin typeface="Segoe UI"/>
                <a:ea typeface="+mn-ea"/>
                <a:cs typeface="+mn-cs"/>
              </a:rPr>
              <a:t>Virtual </a:t>
            </a:r>
            <a:r>
              <a:rPr lang="en-US" sz="1200" kern="0" dirty="0">
                <a:solidFill>
                  <a:srgbClr val="505050"/>
                </a:solidFill>
                <a:latin typeface="Segoe UI"/>
              </a:rPr>
              <a:t>concept modeling and t</a:t>
            </a:r>
            <a:r>
              <a:rPr kumimoji="0" lang="en-US" sz="1200" b="0" i="0" u="none" strike="noStrike" kern="0" cap="none" spc="0" normalizeH="0" baseline="0" noProof="0" dirty="0" err="1">
                <a:ln>
                  <a:noFill/>
                </a:ln>
                <a:solidFill>
                  <a:srgbClr val="505050"/>
                </a:solidFill>
                <a:effectLst/>
                <a:uLnTx/>
                <a:uFillTx/>
                <a:latin typeface="Segoe UI"/>
                <a:ea typeface="+mn-ea"/>
                <a:cs typeface="+mn-cs"/>
              </a:rPr>
              <a:t>esting</a:t>
            </a:r>
            <a:r>
              <a:rPr kumimoji="0" lang="en-US" sz="1200" b="0" i="0" u="none" strike="noStrike" kern="0" cap="none" spc="0" normalizeH="0" baseline="0" noProof="0" dirty="0">
                <a:ln>
                  <a:noFill/>
                </a:ln>
                <a:solidFill>
                  <a:srgbClr val="505050"/>
                </a:solidFill>
                <a:effectLst/>
                <a:uLnTx/>
                <a:uFillTx/>
                <a:latin typeface="Segoe UI"/>
                <a:ea typeface="+mn-ea"/>
                <a:cs typeface="+mn-cs"/>
              </a:rPr>
              <a:t> </a:t>
            </a:r>
          </a:p>
        </p:txBody>
      </p:sp>
      <p:sp>
        <p:nvSpPr>
          <p:cNvPr id="79" name="Rectangle 78"/>
          <p:cNvSpPr/>
          <p:nvPr/>
        </p:nvSpPr>
        <p:spPr bwMode="auto">
          <a:xfrm>
            <a:off x="7377492" y="3460885"/>
            <a:ext cx="1410690" cy="369332"/>
          </a:xfrm>
          <a:prstGeom prst="rect">
            <a:avLst/>
          </a:prstGeom>
          <a:noFill/>
          <a:ln w="9525" cap="flat" cmpd="sng" algn="ctr">
            <a:noFill/>
            <a:prstDash val="sysDot"/>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ctr" defTabSz="60888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505050"/>
                </a:solidFill>
                <a:effectLst/>
                <a:uLnTx/>
                <a:uFillTx/>
                <a:latin typeface="Segoe UI"/>
                <a:ea typeface="+mn-ea"/>
                <a:cs typeface="+mn-cs"/>
              </a:rPr>
              <a:t>Predictive Design Prove out</a:t>
            </a:r>
          </a:p>
        </p:txBody>
      </p:sp>
      <p:sp>
        <p:nvSpPr>
          <p:cNvPr id="81" name="Freeform 80"/>
          <p:cNvSpPr>
            <a:spLocks noChangeAspect="1"/>
          </p:cNvSpPr>
          <p:nvPr/>
        </p:nvSpPr>
        <p:spPr bwMode="auto">
          <a:xfrm>
            <a:off x="3563571" y="2084322"/>
            <a:ext cx="355023" cy="411373"/>
          </a:xfrm>
          <a:custGeom>
            <a:avLst/>
            <a:gdLst/>
            <a:ahLst/>
            <a:cxnLst/>
            <a:rect l="l" t="t" r="r" b="b"/>
            <a:pathLst>
              <a:path w="1910303" h="2178730">
                <a:moveTo>
                  <a:pt x="454163" y="935841"/>
                </a:moveTo>
                <a:lnTo>
                  <a:pt x="454163" y="1475380"/>
                </a:lnTo>
                <a:lnTo>
                  <a:pt x="1456140" y="1475380"/>
                </a:lnTo>
                <a:lnTo>
                  <a:pt x="1456140" y="935841"/>
                </a:lnTo>
                <a:close/>
                <a:moveTo>
                  <a:pt x="336026" y="720629"/>
                </a:moveTo>
                <a:lnTo>
                  <a:pt x="1574276" y="720629"/>
                </a:lnTo>
                <a:lnTo>
                  <a:pt x="1574276" y="866679"/>
                </a:lnTo>
                <a:lnTo>
                  <a:pt x="1525302" y="866679"/>
                </a:lnTo>
                <a:lnTo>
                  <a:pt x="1525302" y="1544542"/>
                </a:lnTo>
                <a:lnTo>
                  <a:pt x="1025398" y="1544542"/>
                </a:lnTo>
                <a:lnTo>
                  <a:pt x="1025398" y="1621111"/>
                </a:lnTo>
                <a:lnTo>
                  <a:pt x="1255696" y="1914059"/>
                </a:lnTo>
                <a:cubicBezTo>
                  <a:pt x="1266802" y="1928187"/>
                  <a:pt x="1264353" y="1948641"/>
                  <a:pt x="1250226" y="1959747"/>
                </a:cubicBezTo>
                <a:lnTo>
                  <a:pt x="1240505" y="1967389"/>
                </a:lnTo>
                <a:cubicBezTo>
                  <a:pt x="1226377" y="1978495"/>
                  <a:pt x="1205923" y="1976046"/>
                  <a:pt x="1194817" y="1961919"/>
                </a:cubicBezTo>
                <a:lnTo>
                  <a:pt x="949760" y="1650197"/>
                </a:lnTo>
                <a:lnTo>
                  <a:pt x="946841" y="1639792"/>
                </a:lnTo>
                <a:lnTo>
                  <a:pt x="944896" y="1639792"/>
                </a:lnTo>
                <a:cubicBezTo>
                  <a:pt x="946201" y="1643809"/>
                  <a:pt x="944294" y="1647404"/>
                  <a:pt x="941659" y="1650644"/>
                </a:cubicBezTo>
                <a:lnTo>
                  <a:pt x="691507" y="1958367"/>
                </a:lnTo>
                <a:cubicBezTo>
                  <a:pt x="680182" y="1972298"/>
                  <a:pt x="659708" y="1974411"/>
                  <a:pt x="645777" y="1963086"/>
                </a:cubicBezTo>
                <a:lnTo>
                  <a:pt x="636190" y="1955293"/>
                </a:lnTo>
                <a:cubicBezTo>
                  <a:pt x="622258" y="1943967"/>
                  <a:pt x="620145" y="1923494"/>
                  <a:pt x="631470" y="1909562"/>
                </a:cubicBezTo>
                <a:lnTo>
                  <a:pt x="881623" y="1601840"/>
                </a:lnTo>
                <a:lnTo>
                  <a:pt x="884904" y="1600066"/>
                </a:lnTo>
                <a:lnTo>
                  <a:pt x="884904" y="1544542"/>
                </a:lnTo>
                <a:lnTo>
                  <a:pt x="385001" y="1544542"/>
                </a:lnTo>
                <a:lnTo>
                  <a:pt x="385001" y="866679"/>
                </a:lnTo>
                <a:lnTo>
                  <a:pt x="336026" y="866679"/>
                </a:lnTo>
                <a:close/>
                <a:moveTo>
                  <a:pt x="875180" y="620618"/>
                </a:moveTo>
                <a:lnTo>
                  <a:pt x="1035122" y="620618"/>
                </a:lnTo>
                <a:lnTo>
                  <a:pt x="1035122" y="692055"/>
                </a:lnTo>
                <a:lnTo>
                  <a:pt x="875180" y="692055"/>
                </a:lnTo>
                <a:close/>
                <a:moveTo>
                  <a:pt x="686689" y="129740"/>
                </a:moveTo>
                <a:cubicBezTo>
                  <a:pt x="685198" y="260971"/>
                  <a:pt x="689672" y="386236"/>
                  <a:pt x="682215" y="520450"/>
                </a:cubicBezTo>
                <a:cubicBezTo>
                  <a:pt x="667303" y="599486"/>
                  <a:pt x="638969" y="615890"/>
                  <a:pt x="540546" y="623347"/>
                </a:cubicBezTo>
                <a:lnTo>
                  <a:pt x="141634" y="622601"/>
                </a:lnTo>
                <a:cubicBezTo>
                  <a:pt x="140640" y="1052580"/>
                  <a:pt x="137409" y="1484798"/>
                  <a:pt x="136414" y="1914777"/>
                </a:cubicBezTo>
                <a:cubicBezTo>
                  <a:pt x="151327" y="1968463"/>
                  <a:pt x="152818" y="2026622"/>
                  <a:pt x="248259" y="2048991"/>
                </a:cubicBezTo>
                <a:lnTo>
                  <a:pt x="1773817" y="2040043"/>
                </a:lnTo>
                <a:lnTo>
                  <a:pt x="1773817" y="286322"/>
                </a:lnTo>
                <a:cubicBezTo>
                  <a:pt x="1775308" y="226672"/>
                  <a:pt x="1754431" y="131231"/>
                  <a:pt x="1639604" y="134213"/>
                </a:cubicBezTo>
                <a:close/>
                <a:moveTo>
                  <a:pt x="630803" y="0"/>
                </a:moveTo>
                <a:lnTo>
                  <a:pt x="1721510" y="1790"/>
                </a:lnTo>
                <a:cubicBezTo>
                  <a:pt x="1879583" y="21176"/>
                  <a:pt x="1905829" y="131231"/>
                  <a:pt x="1910303" y="214741"/>
                </a:cubicBezTo>
                <a:lnTo>
                  <a:pt x="1905829" y="2178730"/>
                </a:lnTo>
                <a:lnTo>
                  <a:pt x="170004" y="2178730"/>
                </a:lnTo>
                <a:cubicBezTo>
                  <a:pt x="65616" y="2172765"/>
                  <a:pt x="19386" y="2095220"/>
                  <a:pt x="4474" y="2013200"/>
                </a:cubicBezTo>
                <a:lnTo>
                  <a:pt x="0" y="559222"/>
                </a:lnTo>
                <a:close/>
              </a:path>
            </a:pathLst>
          </a:custGeom>
          <a:solidFill>
            <a:srgbClr val="5E83BD"/>
          </a:solidFill>
          <a:ln>
            <a:noFill/>
          </a:ln>
          <a:ex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05050"/>
              </a:solidFill>
              <a:effectLst/>
              <a:uLnTx/>
              <a:uFillTx/>
              <a:latin typeface="Segoe UI"/>
              <a:ea typeface="+mn-ea"/>
              <a:cs typeface="+mn-cs"/>
            </a:endParaRPr>
          </a:p>
        </p:txBody>
      </p:sp>
      <p:pic>
        <p:nvPicPr>
          <p:cNvPr id="82" name="Picture 81"/>
          <p:cNvPicPr>
            <a:picLocks noChangeAspect="1"/>
          </p:cNvPicPr>
          <p:nvPr/>
        </p:nvPicPr>
        <p:blipFill>
          <a:blip r:embed="rId12">
            <a:duotone>
              <a:prstClr val="black"/>
              <a:schemeClr val="tx2">
                <a:tint val="45000"/>
                <a:satMod val="400000"/>
              </a:schemeClr>
            </a:duotone>
          </a:blip>
          <a:stretch>
            <a:fillRect/>
          </a:stretch>
        </p:blipFill>
        <p:spPr>
          <a:xfrm>
            <a:off x="3476755" y="2692189"/>
            <a:ext cx="237170" cy="279611"/>
          </a:xfrm>
          <a:prstGeom prst="rect">
            <a:avLst/>
          </a:prstGeom>
        </p:spPr>
      </p:pic>
      <p:pic>
        <p:nvPicPr>
          <p:cNvPr id="83" name="Picture 3" descr="\\MAGNUM\Projects\Microsoft\Cloud Power FY12\Design\Icons\PNGs\Storefront.png"/>
          <p:cNvPicPr>
            <a:picLocks noChangeAspect="1" noChangeArrowheads="1"/>
          </p:cNvPicPr>
          <p:nvPr/>
        </p:nvPicPr>
        <p:blipFill>
          <a:blip r:embed="rId13" cstate="print">
            <a:duotone>
              <a:prstClr val="black"/>
              <a:schemeClr val="tx2">
                <a:tint val="45000"/>
                <a:satMod val="400000"/>
              </a:schemeClr>
            </a:duotone>
            <a:extLst>
              <a:ext uri="{BEBA8EAE-BF5A-486C-A8C5-ECC9F3942E4B}">
                <a14:imgProps xmlns:a14="http://schemas.microsoft.com/office/drawing/2010/main">
                  <a14:imgLayer r:embed="rId14">
                    <a14:imgEffect>
                      <a14:brightnessContrast bright="20000" contrast="20000"/>
                    </a14:imgEffect>
                  </a14:imgLayer>
                </a14:imgProps>
              </a:ext>
              <a:ext uri="{28A0092B-C50C-407E-A947-70E740481C1C}">
                <a14:useLocalDpi xmlns:a14="http://schemas.microsoft.com/office/drawing/2010/main"/>
              </a:ext>
            </a:extLst>
          </a:blip>
          <a:srcRect/>
          <a:stretch>
            <a:fillRect/>
          </a:stretch>
        </p:blipFill>
        <p:spPr bwMode="auto">
          <a:xfrm>
            <a:off x="5307542" y="2105249"/>
            <a:ext cx="669650" cy="669650"/>
          </a:xfrm>
          <a:prstGeom prst="rect">
            <a:avLst/>
          </a:prstGeom>
          <a:noFill/>
        </p:spPr>
      </p:pic>
      <p:pic>
        <p:nvPicPr>
          <p:cNvPr id="84" name="Picture 5" descr="\\MAGNUM\Projects\Microsoft\Cloud Power FY12\Design\Icons\PNGs\Truck.png"/>
          <p:cNvPicPr>
            <a:picLocks noChangeAspect="1" noChangeArrowheads="1"/>
          </p:cNvPicPr>
          <p:nvPr/>
        </p:nvPicPr>
        <p:blipFill>
          <a:blip r:embed="rId15" cstate="print">
            <a:duotone>
              <a:prstClr val="black"/>
              <a:schemeClr val="tx2">
                <a:tint val="45000"/>
                <a:satMod val="400000"/>
              </a:schemeClr>
            </a:duotone>
            <a:extLst>
              <a:ext uri="{BEBA8EAE-BF5A-486C-A8C5-ECC9F3942E4B}">
                <a14:imgProps xmlns:a14="http://schemas.microsoft.com/office/drawing/2010/main">
                  <a14:imgLayer r:embed="rId16">
                    <a14:imgEffect>
                      <a14:brightnessContrast bright="20000" contrast="20000"/>
                    </a14:imgEffect>
                  </a14:imgLayer>
                </a14:imgProps>
              </a:ext>
              <a:ext uri="{28A0092B-C50C-407E-A947-70E740481C1C}">
                <a14:useLocalDpi xmlns:a14="http://schemas.microsoft.com/office/drawing/2010/main"/>
              </a:ext>
            </a:extLst>
          </a:blip>
          <a:stretch>
            <a:fillRect/>
          </a:stretch>
        </p:blipFill>
        <p:spPr bwMode="auto">
          <a:xfrm>
            <a:off x="4931328" y="2384878"/>
            <a:ext cx="457081" cy="457081"/>
          </a:xfrm>
          <a:prstGeom prst="rect">
            <a:avLst/>
          </a:prstGeom>
          <a:noFill/>
        </p:spPr>
      </p:pic>
      <p:sp>
        <p:nvSpPr>
          <p:cNvPr id="85" name="Rectangle 84"/>
          <p:cNvSpPr/>
          <p:nvPr/>
        </p:nvSpPr>
        <p:spPr bwMode="auto">
          <a:xfrm>
            <a:off x="5183732" y="2710649"/>
            <a:ext cx="436017" cy="184666"/>
          </a:xfrm>
          <a:prstGeom prst="rect">
            <a:avLst/>
          </a:prstGeom>
          <a:noFill/>
          <a:ln w="9525" cap="flat" cmpd="sng" algn="ctr">
            <a:noFill/>
            <a:prstDash val="sysDot"/>
            <a:headEnd type="none" w="med" len="med"/>
            <a:tailEnd type="none" w="med" len="med"/>
          </a:ln>
          <a:effectLst/>
        </p:spPr>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marL="0" marR="0" lvl="0" indent="0" algn="ctr" defTabSz="60888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505050"/>
                </a:solidFill>
                <a:effectLst/>
                <a:uLnTx/>
                <a:uFillTx/>
                <a:latin typeface="Segoe UI"/>
                <a:ea typeface="+mn-ea"/>
                <a:cs typeface="+mn-cs"/>
              </a:rPr>
              <a:t>Dealer</a:t>
            </a:r>
          </a:p>
        </p:txBody>
      </p:sp>
      <p:sp>
        <p:nvSpPr>
          <p:cNvPr id="86" name="Rectangle 85"/>
          <p:cNvSpPr/>
          <p:nvPr/>
        </p:nvSpPr>
        <p:spPr bwMode="auto">
          <a:xfrm>
            <a:off x="4027592" y="2102933"/>
            <a:ext cx="1088438" cy="369332"/>
          </a:xfrm>
          <a:prstGeom prst="rect">
            <a:avLst/>
          </a:prstGeom>
          <a:noFill/>
          <a:ln w="9525" cap="flat" cmpd="sng" algn="ctr">
            <a:noFill/>
            <a:prstDash val="sysDot"/>
            <a:headEnd type="none" w="med" len="med"/>
            <a:tailEnd type="none" w="med" len="med"/>
          </a:ln>
          <a:effectLst/>
        </p:spPr>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marL="0" marR="0" lvl="0" indent="0" algn="ctr" defTabSz="60888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505050"/>
                </a:solidFill>
                <a:effectLst/>
                <a:uLnTx/>
                <a:uFillTx/>
                <a:latin typeface="Segoe UI"/>
                <a:ea typeface="+mn-ea"/>
                <a:cs typeface="+mn-cs"/>
              </a:rPr>
              <a:t>Virtual Concept </a:t>
            </a:r>
            <a:br>
              <a:rPr kumimoji="0" lang="en-US" sz="1200" b="0" i="0" u="none" strike="noStrike" kern="0" cap="none" spc="0" normalizeH="0" baseline="0" noProof="0" dirty="0">
                <a:ln>
                  <a:noFill/>
                </a:ln>
                <a:solidFill>
                  <a:srgbClr val="505050"/>
                </a:solidFill>
                <a:effectLst/>
                <a:uLnTx/>
                <a:uFillTx/>
                <a:latin typeface="Segoe UI"/>
                <a:ea typeface="+mn-ea"/>
                <a:cs typeface="+mn-cs"/>
              </a:rPr>
            </a:br>
            <a:r>
              <a:rPr kumimoji="0" lang="en-US" sz="1200" b="0" i="0" u="none" strike="noStrike" kern="0" cap="none" spc="0" normalizeH="0" baseline="0" noProof="0" dirty="0">
                <a:ln>
                  <a:noFill/>
                </a:ln>
                <a:solidFill>
                  <a:srgbClr val="505050"/>
                </a:solidFill>
                <a:effectLst/>
                <a:uLnTx/>
                <a:uFillTx/>
                <a:latin typeface="Segoe UI"/>
                <a:ea typeface="+mn-ea"/>
                <a:cs typeface="+mn-cs"/>
              </a:rPr>
              <a:t>Development</a:t>
            </a:r>
          </a:p>
        </p:txBody>
      </p:sp>
      <p:sp>
        <p:nvSpPr>
          <p:cNvPr id="87" name="Freeform 86"/>
          <p:cNvSpPr>
            <a:spLocks noChangeAspect="1"/>
          </p:cNvSpPr>
          <p:nvPr/>
        </p:nvSpPr>
        <p:spPr bwMode="auto">
          <a:xfrm>
            <a:off x="4229013" y="2642956"/>
            <a:ext cx="623476" cy="477968"/>
          </a:xfrm>
          <a:custGeom>
            <a:avLst/>
            <a:gdLst/>
            <a:ahLst/>
            <a:cxnLst/>
            <a:rect l="l" t="t" r="r" b="b"/>
            <a:pathLst>
              <a:path w="4271450" h="3274572">
                <a:moveTo>
                  <a:pt x="1559462" y="2547406"/>
                </a:moveTo>
                <a:lnTo>
                  <a:pt x="1470562" y="2953806"/>
                </a:lnTo>
                <a:lnTo>
                  <a:pt x="2851688" y="2953806"/>
                </a:lnTo>
                <a:lnTo>
                  <a:pt x="2762788" y="2547406"/>
                </a:lnTo>
                <a:close/>
                <a:moveTo>
                  <a:pt x="1618404" y="705217"/>
                </a:moveTo>
                <a:cubicBezTo>
                  <a:pt x="1654410" y="705661"/>
                  <a:pt x="1690924" y="719832"/>
                  <a:pt x="1719412" y="747626"/>
                </a:cubicBezTo>
                <a:cubicBezTo>
                  <a:pt x="1776388" y="803213"/>
                  <a:pt x="1779684" y="892239"/>
                  <a:pt x="1726775" y="946471"/>
                </a:cubicBezTo>
                <a:lnTo>
                  <a:pt x="1706375" y="967381"/>
                </a:lnTo>
                <a:cubicBezTo>
                  <a:pt x="1784384" y="967381"/>
                  <a:pt x="1810185" y="988984"/>
                  <a:pt x="1940402" y="967381"/>
                </a:cubicBezTo>
                <a:lnTo>
                  <a:pt x="1940402" y="1161765"/>
                </a:lnTo>
                <a:cubicBezTo>
                  <a:pt x="1947116" y="1200374"/>
                  <a:pt x="1951885" y="1231943"/>
                  <a:pt x="1985002" y="1224953"/>
                </a:cubicBezTo>
                <a:cubicBezTo>
                  <a:pt x="2282760" y="1122548"/>
                  <a:pt x="2283720" y="1561212"/>
                  <a:pt x="1970961" y="1372937"/>
                </a:cubicBezTo>
                <a:cubicBezTo>
                  <a:pt x="1964247" y="1447501"/>
                  <a:pt x="1988850" y="1605158"/>
                  <a:pt x="1940402" y="1646417"/>
                </a:cubicBezTo>
                <a:cubicBezTo>
                  <a:pt x="1847933" y="1646417"/>
                  <a:pt x="1784723" y="1592858"/>
                  <a:pt x="1646791" y="1654518"/>
                </a:cubicBezTo>
                <a:cubicBezTo>
                  <a:pt x="1636743" y="1671167"/>
                  <a:pt x="1660295" y="1686306"/>
                  <a:pt x="1673077" y="1703106"/>
                </a:cubicBezTo>
                <a:cubicBezTo>
                  <a:pt x="1859586" y="2032255"/>
                  <a:pt x="1301833" y="1987997"/>
                  <a:pt x="1514654" y="1692305"/>
                </a:cubicBezTo>
                <a:cubicBezTo>
                  <a:pt x="1498120" y="1690955"/>
                  <a:pt x="1583343" y="1653765"/>
                  <a:pt x="1547589" y="1646417"/>
                </a:cubicBezTo>
                <a:cubicBezTo>
                  <a:pt x="1475303" y="1603210"/>
                  <a:pt x="1370613" y="1646417"/>
                  <a:pt x="1282125" y="1646417"/>
                </a:cubicBezTo>
                <a:lnTo>
                  <a:pt x="1282125" y="1467649"/>
                </a:lnTo>
                <a:cubicBezTo>
                  <a:pt x="1319931" y="1343249"/>
                  <a:pt x="1447241" y="1455580"/>
                  <a:pt x="1469295" y="1454710"/>
                </a:cubicBezTo>
                <a:cubicBezTo>
                  <a:pt x="1559166" y="1422693"/>
                  <a:pt x="1534806" y="1247252"/>
                  <a:pt x="1440601" y="1256639"/>
                </a:cubicBezTo>
                <a:cubicBezTo>
                  <a:pt x="1413906" y="1240372"/>
                  <a:pt x="1338241" y="1315307"/>
                  <a:pt x="1309129" y="1259896"/>
                </a:cubicBezTo>
                <a:lnTo>
                  <a:pt x="1282125" y="967380"/>
                </a:lnTo>
                <a:cubicBezTo>
                  <a:pt x="1322563" y="918628"/>
                  <a:pt x="1491983" y="1016247"/>
                  <a:pt x="1551756" y="967381"/>
                </a:cubicBezTo>
                <a:cubicBezTo>
                  <a:pt x="1507113" y="898712"/>
                  <a:pt x="1439068" y="840845"/>
                  <a:pt x="1520445" y="745171"/>
                </a:cubicBezTo>
                <a:cubicBezTo>
                  <a:pt x="1546900" y="718055"/>
                  <a:pt x="1582398" y="704772"/>
                  <a:pt x="1618404" y="705217"/>
                </a:cubicBezTo>
                <a:close/>
                <a:moveTo>
                  <a:pt x="2394604" y="699400"/>
                </a:moveTo>
                <a:cubicBezTo>
                  <a:pt x="2496809" y="702715"/>
                  <a:pt x="2579112" y="823843"/>
                  <a:pt x="2519568" y="933119"/>
                </a:cubicBezTo>
                <a:cubicBezTo>
                  <a:pt x="2443237" y="991088"/>
                  <a:pt x="2479962" y="993728"/>
                  <a:pt x="2519568" y="1006570"/>
                </a:cubicBezTo>
                <a:cubicBezTo>
                  <a:pt x="2604541" y="1007169"/>
                  <a:pt x="2671511" y="961082"/>
                  <a:pt x="2748563" y="984246"/>
                </a:cubicBezTo>
                <a:cubicBezTo>
                  <a:pt x="2748563" y="1129948"/>
                  <a:pt x="2757204" y="1184919"/>
                  <a:pt x="2757204" y="1447278"/>
                </a:cubicBezTo>
                <a:cubicBezTo>
                  <a:pt x="2787449" y="1517249"/>
                  <a:pt x="2884303" y="1420634"/>
                  <a:pt x="2938671" y="1429995"/>
                </a:cubicBezTo>
                <a:cubicBezTo>
                  <a:pt x="3088454" y="1457720"/>
                  <a:pt x="3121218" y="1645668"/>
                  <a:pt x="2951633" y="1697876"/>
                </a:cubicBezTo>
                <a:cubicBezTo>
                  <a:pt x="2847937" y="1745523"/>
                  <a:pt x="2684713" y="1410311"/>
                  <a:pt x="2739921" y="1914627"/>
                </a:cubicBezTo>
                <a:lnTo>
                  <a:pt x="1998209" y="1911027"/>
                </a:lnTo>
                <a:cubicBezTo>
                  <a:pt x="2036719" y="1768748"/>
                  <a:pt x="1988023" y="1549255"/>
                  <a:pt x="1985872" y="1475736"/>
                </a:cubicBezTo>
                <a:cubicBezTo>
                  <a:pt x="1984364" y="1418386"/>
                  <a:pt x="1981056" y="1411443"/>
                  <a:pt x="1997552" y="1406300"/>
                </a:cubicBezTo>
                <a:cubicBezTo>
                  <a:pt x="2295784" y="1572040"/>
                  <a:pt x="2302862" y="1098215"/>
                  <a:pt x="2009730" y="1199030"/>
                </a:cubicBezTo>
                <a:cubicBezTo>
                  <a:pt x="1991811" y="1202811"/>
                  <a:pt x="1983456" y="1202895"/>
                  <a:pt x="1978899" y="1195767"/>
                </a:cubicBezTo>
                <a:cubicBezTo>
                  <a:pt x="1974693" y="1164528"/>
                  <a:pt x="1971095" y="1134232"/>
                  <a:pt x="1969450" y="1106883"/>
                </a:cubicBezTo>
                <a:lnTo>
                  <a:pt x="1969450" y="1044126"/>
                </a:lnTo>
                <a:cubicBezTo>
                  <a:pt x="1970966" y="1028764"/>
                  <a:pt x="1978494" y="985733"/>
                  <a:pt x="1983806" y="976324"/>
                </a:cubicBezTo>
                <a:lnTo>
                  <a:pt x="2247367" y="1006569"/>
                </a:lnTo>
                <a:cubicBezTo>
                  <a:pt x="2297775" y="995048"/>
                  <a:pt x="2361864" y="997209"/>
                  <a:pt x="2281932" y="937440"/>
                </a:cubicBezTo>
                <a:cubicBezTo>
                  <a:pt x="2216177" y="783472"/>
                  <a:pt x="2315111" y="696822"/>
                  <a:pt x="2394604" y="699400"/>
                </a:cubicBezTo>
                <a:close/>
                <a:moveTo>
                  <a:pt x="869264" y="397415"/>
                </a:moveTo>
                <a:cubicBezTo>
                  <a:pt x="783004" y="397415"/>
                  <a:pt x="713076" y="470535"/>
                  <a:pt x="713076" y="560732"/>
                </a:cubicBezTo>
                <a:lnTo>
                  <a:pt x="713076" y="2229907"/>
                </a:lnTo>
                <a:lnTo>
                  <a:pt x="3580101" y="2229907"/>
                </a:lnTo>
                <a:lnTo>
                  <a:pt x="3580101" y="560732"/>
                </a:lnTo>
                <a:cubicBezTo>
                  <a:pt x="3580101" y="470535"/>
                  <a:pt x="3510173" y="397415"/>
                  <a:pt x="3423913" y="397415"/>
                </a:cubicBezTo>
                <a:close/>
                <a:moveTo>
                  <a:pt x="617415" y="0"/>
                </a:moveTo>
                <a:lnTo>
                  <a:pt x="3647164" y="0"/>
                </a:lnTo>
                <a:cubicBezTo>
                  <a:pt x="3789278" y="0"/>
                  <a:pt x="3904484" y="115206"/>
                  <a:pt x="3904484" y="257320"/>
                </a:cubicBezTo>
                <a:lnTo>
                  <a:pt x="3904484" y="2172519"/>
                </a:lnTo>
                <a:lnTo>
                  <a:pt x="3900492" y="2212126"/>
                </a:lnTo>
                <a:lnTo>
                  <a:pt x="3930609" y="2499509"/>
                </a:lnTo>
                <a:lnTo>
                  <a:pt x="4270244" y="2987189"/>
                </a:lnTo>
                <a:cubicBezTo>
                  <a:pt x="4266366" y="3104415"/>
                  <a:pt x="4300588" y="3178777"/>
                  <a:pt x="4165741" y="3274572"/>
                </a:cubicBezTo>
                <a:lnTo>
                  <a:pt x="151089" y="3274572"/>
                </a:lnTo>
                <a:cubicBezTo>
                  <a:pt x="-30656" y="3267927"/>
                  <a:pt x="1706" y="3099358"/>
                  <a:pt x="3044" y="3004606"/>
                </a:cubicBezTo>
                <a:lnTo>
                  <a:pt x="360095" y="2490800"/>
                </a:lnTo>
                <a:lnTo>
                  <a:pt x="360095" y="2212126"/>
                </a:lnTo>
                <a:lnTo>
                  <a:pt x="364088" y="2212126"/>
                </a:lnTo>
                <a:cubicBezTo>
                  <a:pt x="361138" y="2199315"/>
                  <a:pt x="360095" y="2186039"/>
                  <a:pt x="360095" y="2172519"/>
                </a:cubicBezTo>
                <a:lnTo>
                  <a:pt x="360095" y="257320"/>
                </a:lnTo>
                <a:cubicBezTo>
                  <a:pt x="360095" y="115206"/>
                  <a:pt x="475301" y="0"/>
                  <a:pt x="617415" y="0"/>
                </a:cubicBezTo>
                <a:close/>
              </a:path>
            </a:pathLst>
          </a:custGeom>
          <a:solidFill>
            <a:srgbClr val="5E83BD"/>
          </a:solidFill>
          <a:ln>
            <a:noFill/>
          </a:ln>
          <a:ex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05050"/>
              </a:solidFill>
              <a:effectLst/>
              <a:uLnTx/>
              <a:uFillTx/>
              <a:latin typeface="Segoe UI"/>
              <a:ea typeface="+mn-ea"/>
              <a:cs typeface="+mn-cs"/>
            </a:endParaRPr>
          </a:p>
        </p:txBody>
      </p:sp>
      <p:pic>
        <p:nvPicPr>
          <p:cNvPr id="88" name="Picture 3" descr="\\MAGNUM\Projects\Microsoft\Cloud Power FY12\Design\Icons\PNGs\Scalable_Elastic_4.png"/>
          <p:cNvPicPr>
            <a:picLocks noChangeAspect="1" noChangeArrowheads="1"/>
          </p:cNvPicPr>
          <p:nvPr/>
        </p:nvPicPr>
        <p:blipFill>
          <a:blip r:embed="rId17" cstate="print">
            <a:biLevel thresh="25000"/>
            <a:extLst>
              <a:ext uri="{BEBA8EAE-BF5A-486C-A8C5-ECC9F3942E4B}">
                <a14:imgProps xmlns:a14="http://schemas.microsoft.com/office/drawing/2010/main">
                  <a14:imgLayer r:embed="rId18">
                    <a14:imgEffect>
                      <a14:brightnessContrast bright="-31000" contrast="-40000"/>
                    </a14:imgEffect>
                  </a14:imgLayer>
                </a14:imgProps>
              </a:ext>
              <a:ext uri="{28A0092B-C50C-407E-A947-70E740481C1C}">
                <a14:useLocalDpi xmlns:a14="http://schemas.microsoft.com/office/drawing/2010/main"/>
              </a:ext>
            </a:extLst>
          </a:blip>
          <a:srcRect/>
          <a:stretch>
            <a:fillRect/>
          </a:stretch>
        </p:blipFill>
        <p:spPr bwMode="auto">
          <a:xfrm>
            <a:off x="6008235" y="2827041"/>
            <a:ext cx="457081" cy="457081"/>
          </a:xfrm>
          <a:prstGeom prst="rect">
            <a:avLst/>
          </a:prstGeom>
          <a:noFill/>
        </p:spPr>
      </p:pic>
      <p:pic>
        <p:nvPicPr>
          <p:cNvPr id="89" name="Picture 7" descr="\\MAGNUM\Projects\Microsoft\Cloud Power FY12\Design\ICONS_PNG\Rich_user_experience.png"/>
          <p:cNvPicPr>
            <a:picLocks noChangeAspect="1" noChangeArrowheads="1"/>
          </p:cNvPicPr>
          <p:nvPr/>
        </p:nvPicPr>
        <p:blipFill>
          <a:blip r:embed="rId19" cstate="print">
            <a:duotone>
              <a:prstClr val="black"/>
              <a:schemeClr val="tx2">
                <a:tint val="45000"/>
                <a:satMod val="400000"/>
              </a:schemeClr>
            </a:duotone>
            <a:extLst>
              <a:ext uri="{BEBA8EAE-BF5A-486C-A8C5-ECC9F3942E4B}">
                <a14:imgProps xmlns:a14="http://schemas.microsoft.com/office/drawing/2010/main">
                  <a14:imgLayer r:embed="rId20">
                    <a14:imgEffect>
                      <a14:brightnessContrast bright="20000" contrast="20000"/>
                    </a14:imgEffect>
                  </a14:imgLayer>
                </a14:imgProps>
              </a:ext>
              <a:ext uri="{28A0092B-C50C-407E-A947-70E740481C1C}">
                <a14:useLocalDpi xmlns:a14="http://schemas.microsoft.com/office/drawing/2010/main"/>
              </a:ext>
            </a:extLst>
          </a:blip>
          <a:srcRect/>
          <a:stretch>
            <a:fillRect/>
          </a:stretch>
        </p:blipFill>
        <p:spPr bwMode="auto">
          <a:xfrm>
            <a:off x="7616041" y="2615320"/>
            <a:ext cx="850445" cy="850445"/>
          </a:xfrm>
          <a:prstGeom prst="rect">
            <a:avLst/>
          </a:prstGeom>
          <a:noFill/>
        </p:spPr>
      </p:pic>
      <p:grpSp>
        <p:nvGrpSpPr>
          <p:cNvPr id="90" name="Group 89"/>
          <p:cNvGrpSpPr/>
          <p:nvPr/>
        </p:nvGrpSpPr>
        <p:grpSpPr>
          <a:xfrm>
            <a:off x="6222065" y="2474859"/>
            <a:ext cx="638923" cy="366388"/>
            <a:chOff x="3540126" y="1920875"/>
            <a:chExt cx="5097463" cy="3013076"/>
          </a:xfrm>
        </p:grpSpPr>
        <p:sp>
          <p:nvSpPr>
            <p:cNvPr id="91" name="Freeform 90"/>
            <p:cNvSpPr>
              <a:spLocks/>
            </p:cNvSpPr>
            <p:nvPr/>
          </p:nvSpPr>
          <p:spPr bwMode="auto">
            <a:xfrm>
              <a:off x="7381876" y="3367088"/>
              <a:ext cx="71438" cy="266700"/>
            </a:xfrm>
            <a:custGeom>
              <a:avLst/>
              <a:gdLst>
                <a:gd name="T0" fmla="*/ 14 w 19"/>
                <a:gd name="T1" fmla="*/ 2 h 71"/>
                <a:gd name="T2" fmla="*/ 1 w 19"/>
                <a:gd name="T3" fmla="*/ 24 h 71"/>
                <a:gd name="T4" fmla="*/ 0 w 19"/>
                <a:gd name="T5" fmla="*/ 47 h 71"/>
                <a:gd name="T6" fmla="*/ 9 w 19"/>
                <a:gd name="T7" fmla="*/ 64 h 71"/>
                <a:gd name="T8" fmla="*/ 16 w 19"/>
                <a:gd name="T9" fmla="*/ 7 h 71"/>
                <a:gd name="T10" fmla="*/ 14 w 19"/>
                <a:gd name="T11" fmla="*/ 2 h 71"/>
              </a:gdLst>
              <a:ahLst/>
              <a:cxnLst>
                <a:cxn ang="0">
                  <a:pos x="T0" y="T1"/>
                </a:cxn>
                <a:cxn ang="0">
                  <a:pos x="T2" y="T3"/>
                </a:cxn>
                <a:cxn ang="0">
                  <a:pos x="T4" y="T5"/>
                </a:cxn>
                <a:cxn ang="0">
                  <a:pos x="T6" y="T7"/>
                </a:cxn>
                <a:cxn ang="0">
                  <a:pos x="T8" y="T9"/>
                </a:cxn>
                <a:cxn ang="0">
                  <a:pos x="T10" y="T11"/>
                </a:cxn>
              </a:cxnLst>
              <a:rect l="0" t="0" r="r" b="b"/>
              <a:pathLst>
                <a:path w="19" h="71">
                  <a:moveTo>
                    <a:pt x="14" y="2"/>
                  </a:moveTo>
                  <a:cubicBezTo>
                    <a:pt x="12" y="0"/>
                    <a:pt x="4" y="5"/>
                    <a:pt x="1" y="24"/>
                  </a:cubicBezTo>
                  <a:cubicBezTo>
                    <a:pt x="0" y="30"/>
                    <a:pt x="0" y="38"/>
                    <a:pt x="0" y="47"/>
                  </a:cubicBezTo>
                  <a:cubicBezTo>
                    <a:pt x="0" y="57"/>
                    <a:pt x="2" y="71"/>
                    <a:pt x="9" y="64"/>
                  </a:cubicBezTo>
                  <a:cubicBezTo>
                    <a:pt x="18" y="54"/>
                    <a:pt x="19" y="20"/>
                    <a:pt x="16" y="7"/>
                  </a:cubicBezTo>
                  <a:cubicBezTo>
                    <a:pt x="16" y="4"/>
                    <a:pt x="15" y="2"/>
                    <a:pt x="14"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sp>
          <p:nvSpPr>
            <p:cNvPr id="92" name="Freeform 91"/>
            <p:cNvSpPr>
              <a:spLocks noEditPoints="1"/>
            </p:cNvSpPr>
            <p:nvPr/>
          </p:nvSpPr>
          <p:spPr bwMode="auto">
            <a:xfrm>
              <a:off x="5273676" y="1920875"/>
              <a:ext cx="2146300" cy="1577975"/>
            </a:xfrm>
            <a:custGeom>
              <a:avLst/>
              <a:gdLst>
                <a:gd name="T0" fmla="*/ 485 w 571"/>
                <a:gd name="T1" fmla="*/ 95 h 419"/>
                <a:gd name="T2" fmla="*/ 51 w 571"/>
                <a:gd name="T3" fmla="*/ 79 h 419"/>
                <a:gd name="T4" fmla="*/ 76 w 571"/>
                <a:gd name="T5" fmla="*/ 162 h 419"/>
                <a:gd name="T6" fmla="*/ 99 w 571"/>
                <a:gd name="T7" fmla="*/ 116 h 419"/>
                <a:gd name="T8" fmla="*/ 117 w 571"/>
                <a:gd name="T9" fmla="*/ 141 h 419"/>
                <a:gd name="T10" fmla="*/ 88 w 571"/>
                <a:gd name="T11" fmla="*/ 168 h 419"/>
                <a:gd name="T12" fmla="*/ 116 w 571"/>
                <a:gd name="T13" fmla="*/ 168 h 419"/>
                <a:gd name="T14" fmla="*/ 126 w 571"/>
                <a:gd name="T15" fmla="*/ 193 h 419"/>
                <a:gd name="T16" fmla="*/ 249 w 571"/>
                <a:gd name="T17" fmla="*/ 244 h 419"/>
                <a:gd name="T18" fmla="*/ 226 w 571"/>
                <a:gd name="T19" fmla="*/ 399 h 419"/>
                <a:gd name="T20" fmla="*/ 337 w 571"/>
                <a:gd name="T21" fmla="*/ 414 h 419"/>
                <a:gd name="T22" fmla="*/ 418 w 571"/>
                <a:gd name="T23" fmla="*/ 395 h 419"/>
                <a:gd name="T24" fmla="*/ 560 w 571"/>
                <a:gd name="T25" fmla="*/ 294 h 419"/>
                <a:gd name="T26" fmla="*/ 571 w 571"/>
                <a:gd name="T27" fmla="*/ 266 h 419"/>
                <a:gd name="T28" fmla="*/ 104 w 571"/>
                <a:gd name="T29" fmla="*/ 92 h 419"/>
                <a:gd name="T30" fmla="*/ 111 w 571"/>
                <a:gd name="T31" fmla="*/ 72 h 419"/>
                <a:gd name="T32" fmla="*/ 194 w 571"/>
                <a:gd name="T33" fmla="*/ 65 h 419"/>
                <a:gd name="T34" fmla="*/ 154 w 571"/>
                <a:gd name="T35" fmla="*/ 45 h 419"/>
                <a:gd name="T36" fmla="*/ 220 w 571"/>
                <a:gd name="T37" fmla="*/ 48 h 419"/>
                <a:gd name="T38" fmla="*/ 178 w 571"/>
                <a:gd name="T39" fmla="*/ 210 h 419"/>
                <a:gd name="T40" fmla="*/ 249 w 571"/>
                <a:gd name="T41" fmla="*/ 220 h 419"/>
                <a:gd name="T42" fmla="*/ 251 w 571"/>
                <a:gd name="T43" fmla="*/ 19 h 419"/>
                <a:gd name="T44" fmla="*/ 452 w 571"/>
                <a:gd name="T45" fmla="*/ 93 h 419"/>
                <a:gd name="T46" fmla="*/ 391 w 571"/>
                <a:gd name="T47" fmla="*/ 82 h 419"/>
                <a:gd name="T48" fmla="*/ 384 w 571"/>
                <a:gd name="T49" fmla="*/ 66 h 419"/>
                <a:gd name="T50" fmla="*/ 403 w 571"/>
                <a:gd name="T51" fmla="*/ 168 h 419"/>
                <a:gd name="T52" fmla="*/ 361 w 571"/>
                <a:gd name="T53" fmla="*/ 205 h 419"/>
                <a:gd name="T54" fmla="*/ 270 w 571"/>
                <a:gd name="T55" fmla="*/ 220 h 419"/>
                <a:gd name="T56" fmla="*/ 341 w 571"/>
                <a:gd name="T57" fmla="*/ 210 h 419"/>
                <a:gd name="T58" fmla="*/ 398 w 571"/>
                <a:gd name="T59" fmla="*/ 106 h 419"/>
                <a:gd name="T60" fmla="*/ 455 w 571"/>
                <a:gd name="T61" fmla="*/ 146 h 419"/>
                <a:gd name="T62" fmla="*/ 421 w 571"/>
                <a:gd name="T63" fmla="*/ 157 h 419"/>
                <a:gd name="T64" fmla="*/ 366 w 571"/>
                <a:gd name="T65" fmla="*/ 45 h 419"/>
                <a:gd name="T66" fmla="*/ 339 w 571"/>
                <a:gd name="T67" fmla="*/ 36 h 419"/>
                <a:gd name="T68" fmla="*/ 306 w 571"/>
                <a:gd name="T69" fmla="*/ 23 h 419"/>
                <a:gd name="T70" fmla="*/ 270 w 571"/>
                <a:gd name="T71" fmla="*/ 397 h 419"/>
                <a:gd name="T72" fmla="*/ 369 w 571"/>
                <a:gd name="T73" fmla="*/ 279 h 419"/>
                <a:gd name="T74" fmla="*/ 395 w 571"/>
                <a:gd name="T75" fmla="*/ 377 h 419"/>
                <a:gd name="T76" fmla="*/ 401 w 571"/>
                <a:gd name="T77" fmla="*/ 315 h 419"/>
                <a:gd name="T78" fmla="*/ 370 w 571"/>
                <a:gd name="T79" fmla="*/ 226 h 419"/>
                <a:gd name="T80" fmla="*/ 505 w 571"/>
                <a:gd name="T81" fmla="*/ 326 h 419"/>
                <a:gd name="T82" fmla="*/ 510 w 571"/>
                <a:gd name="T83" fmla="*/ 284 h 419"/>
                <a:gd name="T84" fmla="*/ 478 w 571"/>
                <a:gd name="T85" fmla="*/ 154 h 419"/>
                <a:gd name="T86" fmla="*/ 549 w 571"/>
                <a:gd name="T87" fmla="*/ 255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71" h="419">
                  <a:moveTo>
                    <a:pt x="568" y="250"/>
                  </a:moveTo>
                  <a:cubicBezTo>
                    <a:pt x="558" y="197"/>
                    <a:pt x="533" y="149"/>
                    <a:pt x="499" y="110"/>
                  </a:cubicBezTo>
                  <a:cubicBezTo>
                    <a:pt x="494" y="104"/>
                    <a:pt x="490" y="99"/>
                    <a:pt x="485" y="95"/>
                  </a:cubicBezTo>
                  <a:cubicBezTo>
                    <a:pt x="483" y="93"/>
                    <a:pt x="468" y="79"/>
                    <a:pt x="468" y="79"/>
                  </a:cubicBezTo>
                  <a:cubicBezTo>
                    <a:pt x="413" y="31"/>
                    <a:pt x="340" y="1"/>
                    <a:pt x="260" y="0"/>
                  </a:cubicBezTo>
                  <a:cubicBezTo>
                    <a:pt x="180" y="1"/>
                    <a:pt x="107" y="31"/>
                    <a:pt x="51" y="79"/>
                  </a:cubicBezTo>
                  <a:cubicBezTo>
                    <a:pt x="51" y="79"/>
                    <a:pt x="34" y="93"/>
                    <a:pt x="21" y="110"/>
                  </a:cubicBezTo>
                  <a:cubicBezTo>
                    <a:pt x="14" y="118"/>
                    <a:pt x="7" y="127"/>
                    <a:pt x="0" y="137"/>
                  </a:cubicBezTo>
                  <a:cubicBezTo>
                    <a:pt x="27" y="141"/>
                    <a:pt x="53" y="150"/>
                    <a:pt x="76" y="162"/>
                  </a:cubicBezTo>
                  <a:cubicBezTo>
                    <a:pt x="71" y="157"/>
                    <a:pt x="67" y="152"/>
                    <a:pt x="64" y="146"/>
                  </a:cubicBezTo>
                  <a:cubicBezTo>
                    <a:pt x="63" y="144"/>
                    <a:pt x="62" y="141"/>
                    <a:pt x="61" y="139"/>
                  </a:cubicBezTo>
                  <a:cubicBezTo>
                    <a:pt x="73" y="130"/>
                    <a:pt x="86" y="123"/>
                    <a:pt x="99" y="116"/>
                  </a:cubicBezTo>
                  <a:cubicBezTo>
                    <a:pt x="106" y="112"/>
                    <a:pt x="114" y="109"/>
                    <a:pt x="121" y="106"/>
                  </a:cubicBezTo>
                  <a:cubicBezTo>
                    <a:pt x="146" y="95"/>
                    <a:pt x="173" y="87"/>
                    <a:pt x="202" y="83"/>
                  </a:cubicBezTo>
                  <a:cubicBezTo>
                    <a:pt x="172" y="98"/>
                    <a:pt x="143" y="118"/>
                    <a:pt x="117" y="141"/>
                  </a:cubicBezTo>
                  <a:cubicBezTo>
                    <a:pt x="111" y="146"/>
                    <a:pt x="105" y="152"/>
                    <a:pt x="99" y="157"/>
                  </a:cubicBezTo>
                  <a:cubicBezTo>
                    <a:pt x="98" y="158"/>
                    <a:pt x="97" y="159"/>
                    <a:pt x="96" y="160"/>
                  </a:cubicBezTo>
                  <a:cubicBezTo>
                    <a:pt x="93" y="163"/>
                    <a:pt x="91" y="165"/>
                    <a:pt x="88" y="168"/>
                  </a:cubicBezTo>
                  <a:cubicBezTo>
                    <a:pt x="94" y="171"/>
                    <a:pt x="100" y="175"/>
                    <a:pt x="106" y="178"/>
                  </a:cubicBezTo>
                  <a:cubicBezTo>
                    <a:pt x="108" y="176"/>
                    <a:pt x="111" y="173"/>
                    <a:pt x="113" y="171"/>
                  </a:cubicBezTo>
                  <a:cubicBezTo>
                    <a:pt x="114" y="170"/>
                    <a:pt x="115" y="169"/>
                    <a:pt x="116" y="168"/>
                  </a:cubicBezTo>
                  <a:cubicBezTo>
                    <a:pt x="149" y="137"/>
                    <a:pt x="187" y="111"/>
                    <a:pt x="226" y="93"/>
                  </a:cubicBezTo>
                  <a:cubicBezTo>
                    <a:pt x="202" y="123"/>
                    <a:pt x="179" y="161"/>
                    <a:pt x="159" y="205"/>
                  </a:cubicBezTo>
                  <a:cubicBezTo>
                    <a:pt x="147" y="202"/>
                    <a:pt x="136" y="198"/>
                    <a:pt x="126" y="193"/>
                  </a:cubicBezTo>
                  <a:cubicBezTo>
                    <a:pt x="141" y="206"/>
                    <a:pt x="155" y="219"/>
                    <a:pt x="167" y="235"/>
                  </a:cubicBezTo>
                  <a:cubicBezTo>
                    <a:pt x="168" y="234"/>
                    <a:pt x="168" y="233"/>
                    <a:pt x="169" y="232"/>
                  </a:cubicBezTo>
                  <a:cubicBezTo>
                    <a:pt x="198" y="239"/>
                    <a:pt x="225" y="243"/>
                    <a:pt x="249" y="244"/>
                  </a:cubicBezTo>
                  <a:cubicBezTo>
                    <a:pt x="249" y="397"/>
                    <a:pt x="249" y="397"/>
                    <a:pt x="249" y="397"/>
                  </a:cubicBezTo>
                  <a:cubicBezTo>
                    <a:pt x="242" y="396"/>
                    <a:pt x="234" y="396"/>
                    <a:pt x="226" y="395"/>
                  </a:cubicBezTo>
                  <a:cubicBezTo>
                    <a:pt x="226" y="397"/>
                    <a:pt x="226" y="398"/>
                    <a:pt x="226" y="399"/>
                  </a:cubicBezTo>
                  <a:cubicBezTo>
                    <a:pt x="226" y="405"/>
                    <a:pt x="226" y="412"/>
                    <a:pt x="225" y="418"/>
                  </a:cubicBezTo>
                  <a:cubicBezTo>
                    <a:pt x="237" y="418"/>
                    <a:pt x="248" y="419"/>
                    <a:pt x="260" y="419"/>
                  </a:cubicBezTo>
                  <a:cubicBezTo>
                    <a:pt x="286" y="419"/>
                    <a:pt x="312" y="417"/>
                    <a:pt x="337" y="414"/>
                  </a:cubicBezTo>
                  <a:cubicBezTo>
                    <a:pt x="358" y="410"/>
                    <a:pt x="378" y="406"/>
                    <a:pt x="399" y="400"/>
                  </a:cubicBezTo>
                  <a:cubicBezTo>
                    <a:pt x="399" y="401"/>
                    <a:pt x="399" y="401"/>
                    <a:pt x="399" y="401"/>
                  </a:cubicBezTo>
                  <a:cubicBezTo>
                    <a:pt x="405" y="399"/>
                    <a:pt x="412" y="397"/>
                    <a:pt x="418" y="395"/>
                  </a:cubicBezTo>
                  <a:cubicBezTo>
                    <a:pt x="418" y="395"/>
                    <a:pt x="418" y="395"/>
                    <a:pt x="418" y="394"/>
                  </a:cubicBezTo>
                  <a:cubicBezTo>
                    <a:pt x="428" y="391"/>
                    <a:pt x="437" y="388"/>
                    <a:pt x="446" y="385"/>
                  </a:cubicBezTo>
                  <a:cubicBezTo>
                    <a:pt x="492" y="364"/>
                    <a:pt x="532" y="334"/>
                    <a:pt x="560" y="294"/>
                  </a:cubicBezTo>
                  <a:cubicBezTo>
                    <a:pt x="560" y="294"/>
                    <a:pt x="561" y="293"/>
                    <a:pt x="561" y="292"/>
                  </a:cubicBezTo>
                  <a:cubicBezTo>
                    <a:pt x="562" y="289"/>
                    <a:pt x="564" y="286"/>
                    <a:pt x="565" y="282"/>
                  </a:cubicBezTo>
                  <a:cubicBezTo>
                    <a:pt x="571" y="266"/>
                    <a:pt x="571" y="266"/>
                    <a:pt x="571" y="266"/>
                  </a:cubicBezTo>
                  <a:cubicBezTo>
                    <a:pt x="570" y="261"/>
                    <a:pt x="569" y="253"/>
                    <a:pt x="568" y="250"/>
                  </a:cubicBezTo>
                  <a:close/>
                  <a:moveTo>
                    <a:pt x="128" y="82"/>
                  </a:moveTo>
                  <a:cubicBezTo>
                    <a:pt x="120" y="85"/>
                    <a:pt x="112" y="88"/>
                    <a:pt x="104" y="92"/>
                  </a:cubicBezTo>
                  <a:cubicBezTo>
                    <a:pt x="88" y="99"/>
                    <a:pt x="73" y="108"/>
                    <a:pt x="58" y="117"/>
                  </a:cubicBezTo>
                  <a:cubicBezTo>
                    <a:pt x="59" y="109"/>
                    <a:pt x="62" y="102"/>
                    <a:pt x="67" y="93"/>
                  </a:cubicBezTo>
                  <a:cubicBezTo>
                    <a:pt x="80" y="84"/>
                    <a:pt x="94" y="77"/>
                    <a:pt x="111" y="72"/>
                  </a:cubicBezTo>
                  <a:cubicBezTo>
                    <a:pt x="119" y="70"/>
                    <a:pt x="127" y="68"/>
                    <a:pt x="135" y="66"/>
                  </a:cubicBezTo>
                  <a:cubicBezTo>
                    <a:pt x="147" y="64"/>
                    <a:pt x="159" y="63"/>
                    <a:pt x="171" y="63"/>
                  </a:cubicBezTo>
                  <a:cubicBezTo>
                    <a:pt x="179" y="63"/>
                    <a:pt x="187" y="64"/>
                    <a:pt x="194" y="65"/>
                  </a:cubicBezTo>
                  <a:cubicBezTo>
                    <a:pt x="171" y="69"/>
                    <a:pt x="149" y="74"/>
                    <a:pt x="128" y="82"/>
                  </a:cubicBezTo>
                  <a:close/>
                  <a:moveTo>
                    <a:pt x="171" y="44"/>
                  </a:moveTo>
                  <a:cubicBezTo>
                    <a:pt x="165" y="44"/>
                    <a:pt x="159" y="44"/>
                    <a:pt x="154" y="45"/>
                  </a:cubicBezTo>
                  <a:cubicBezTo>
                    <a:pt x="158" y="42"/>
                    <a:pt x="162" y="39"/>
                    <a:pt x="166" y="38"/>
                  </a:cubicBezTo>
                  <a:cubicBezTo>
                    <a:pt x="171" y="36"/>
                    <a:pt x="175" y="36"/>
                    <a:pt x="180" y="36"/>
                  </a:cubicBezTo>
                  <a:cubicBezTo>
                    <a:pt x="192" y="36"/>
                    <a:pt x="206" y="40"/>
                    <a:pt x="220" y="48"/>
                  </a:cubicBezTo>
                  <a:cubicBezTo>
                    <a:pt x="203" y="45"/>
                    <a:pt x="187" y="44"/>
                    <a:pt x="171" y="44"/>
                  </a:cubicBezTo>
                  <a:close/>
                  <a:moveTo>
                    <a:pt x="249" y="220"/>
                  </a:moveTo>
                  <a:cubicBezTo>
                    <a:pt x="226" y="220"/>
                    <a:pt x="203" y="216"/>
                    <a:pt x="178" y="210"/>
                  </a:cubicBezTo>
                  <a:cubicBezTo>
                    <a:pt x="197" y="169"/>
                    <a:pt x="220" y="132"/>
                    <a:pt x="244" y="103"/>
                  </a:cubicBezTo>
                  <a:cubicBezTo>
                    <a:pt x="246" y="100"/>
                    <a:pt x="247" y="96"/>
                    <a:pt x="249" y="94"/>
                  </a:cubicBezTo>
                  <a:lnTo>
                    <a:pt x="249" y="220"/>
                  </a:lnTo>
                  <a:close/>
                  <a:moveTo>
                    <a:pt x="251" y="47"/>
                  </a:moveTo>
                  <a:cubicBezTo>
                    <a:pt x="238" y="36"/>
                    <a:pt x="226" y="28"/>
                    <a:pt x="213" y="23"/>
                  </a:cubicBezTo>
                  <a:cubicBezTo>
                    <a:pt x="226" y="21"/>
                    <a:pt x="238" y="20"/>
                    <a:pt x="251" y="19"/>
                  </a:cubicBezTo>
                  <a:cubicBezTo>
                    <a:pt x="251" y="47"/>
                    <a:pt x="251" y="47"/>
                    <a:pt x="251" y="47"/>
                  </a:cubicBezTo>
                  <a:close/>
                  <a:moveTo>
                    <a:pt x="409" y="72"/>
                  </a:moveTo>
                  <a:cubicBezTo>
                    <a:pt x="425" y="77"/>
                    <a:pt x="439" y="84"/>
                    <a:pt x="452" y="93"/>
                  </a:cubicBezTo>
                  <a:cubicBezTo>
                    <a:pt x="457" y="101"/>
                    <a:pt x="460" y="109"/>
                    <a:pt x="461" y="117"/>
                  </a:cubicBezTo>
                  <a:cubicBezTo>
                    <a:pt x="447" y="107"/>
                    <a:pt x="431" y="99"/>
                    <a:pt x="415" y="92"/>
                  </a:cubicBezTo>
                  <a:cubicBezTo>
                    <a:pt x="407" y="88"/>
                    <a:pt x="400" y="85"/>
                    <a:pt x="391" y="82"/>
                  </a:cubicBezTo>
                  <a:cubicBezTo>
                    <a:pt x="370" y="74"/>
                    <a:pt x="348" y="69"/>
                    <a:pt x="325" y="65"/>
                  </a:cubicBezTo>
                  <a:cubicBezTo>
                    <a:pt x="333" y="64"/>
                    <a:pt x="341" y="63"/>
                    <a:pt x="348" y="63"/>
                  </a:cubicBezTo>
                  <a:cubicBezTo>
                    <a:pt x="361" y="63"/>
                    <a:pt x="373" y="64"/>
                    <a:pt x="384" y="66"/>
                  </a:cubicBezTo>
                  <a:cubicBezTo>
                    <a:pt x="393" y="68"/>
                    <a:pt x="401" y="70"/>
                    <a:pt x="409" y="72"/>
                  </a:cubicBezTo>
                  <a:close/>
                  <a:moveTo>
                    <a:pt x="293" y="93"/>
                  </a:moveTo>
                  <a:cubicBezTo>
                    <a:pt x="332" y="111"/>
                    <a:pt x="370" y="137"/>
                    <a:pt x="403" y="168"/>
                  </a:cubicBezTo>
                  <a:cubicBezTo>
                    <a:pt x="404" y="169"/>
                    <a:pt x="405" y="170"/>
                    <a:pt x="406" y="171"/>
                  </a:cubicBezTo>
                  <a:cubicBezTo>
                    <a:pt x="410" y="174"/>
                    <a:pt x="413" y="178"/>
                    <a:pt x="417" y="181"/>
                  </a:cubicBezTo>
                  <a:cubicBezTo>
                    <a:pt x="401" y="191"/>
                    <a:pt x="381" y="199"/>
                    <a:pt x="361" y="205"/>
                  </a:cubicBezTo>
                  <a:cubicBezTo>
                    <a:pt x="341" y="161"/>
                    <a:pt x="318" y="123"/>
                    <a:pt x="293" y="93"/>
                  </a:cubicBezTo>
                  <a:close/>
                  <a:moveTo>
                    <a:pt x="341" y="210"/>
                  </a:moveTo>
                  <a:cubicBezTo>
                    <a:pt x="317" y="216"/>
                    <a:pt x="293" y="220"/>
                    <a:pt x="270" y="220"/>
                  </a:cubicBezTo>
                  <a:cubicBezTo>
                    <a:pt x="270" y="94"/>
                    <a:pt x="270" y="94"/>
                    <a:pt x="270" y="94"/>
                  </a:cubicBezTo>
                  <a:cubicBezTo>
                    <a:pt x="273" y="96"/>
                    <a:pt x="273" y="100"/>
                    <a:pt x="276" y="103"/>
                  </a:cubicBezTo>
                  <a:cubicBezTo>
                    <a:pt x="300" y="132"/>
                    <a:pt x="322" y="169"/>
                    <a:pt x="341" y="210"/>
                  </a:cubicBezTo>
                  <a:close/>
                  <a:moveTo>
                    <a:pt x="403" y="141"/>
                  </a:moveTo>
                  <a:cubicBezTo>
                    <a:pt x="376" y="118"/>
                    <a:pt x="347" y="98"/>
                    <a:pt x="318" y="83"/>
                  </a:cubicBezTo>
                  <a:cubicBezTo>
                    <a:pt x="346" y="87"/>
                    <a:pt x="373" y="95"/>
                    <a:pt x="398" y="106"/>
                  </a:cubicBezTo>
                  <a:cubicBezTo>
                    <a:pt x="406" y="109"/>
                    <a:pt x="413" y="112"/>
                    <a:pt x="420" y="116"/>
                  </a:cubicBezTo>
                  <a:cubicBezTo>
                    <a:pt x="434" y="123"/>
                    <a:pt x="447" y="130"/>
                    <a:pt x="459" y="139"/>
                  </a:cubicBezTo>
                  <a:cubicBezTo>
                    <a:pt x="458" y="141"/>
                    <a:pt x="457" y="144"/>
                    <a:pt x="455" y="146"/>
                  </a:cubicBezTo>
                  <a:cubicBezTo>
                    <a:pt x="450" y="155"/>
                    <a:pt x="443" y="163"/>
                    <a:pt x="433" y="170"/>
                  </a:cubicBezTo>
                  <a:cubicBezTo>
                    <a:pt x="430" y="167"/>
                    <a:pt x="427" y="163"/>
                    <a:pt x="423" y="160"/>
                  </a:cubicBezTo>
                  <a:cubicBezTo>
                    <a:pt x="422" y="159"/>
                    <a:pt x="422" y="158"/>
                    <a:pt x="421" y="157"/>
                  </a:cubicBezTo>
                  <a:cubicBezTo>
                    <a:pt x="415" y="152"/>
                    <a:pt x="409" y="146"/>
                    <a:pt x="403" y="141"/>
                  </a:cubicBezTo>
                  <a:close/>
                  <a:moveTo>
                    <a:pt x="353" y="38"/>
                  </a:moveTo>
                  <a:cubicBezTo>
                    <a:pt x="358" y="39"/>
                    <a:pt x="362" y="42"/>
                    <a:pt x="366" y="45"/>
                  </a:cubicBezTo>
                  <a:cubicBezTo>
                    <a:pt x="360" y="44"/>
                    <a:pt x="354" y="44"/>
                    <a:pt x="348" y="44"/>
                  </a:cubicBezTo>
                  <a:cubicBezTo>
                    <a:pt x="332" y="44"/>
                    <a:pt x="316" y="45"/>
                    <a:pt x="300" y="48"/>
                  </a:cubicBezTo>
                  <a:cubicBezTo>
                    <a:pt x="314" y="40"/>
                    <a:pt x="327" y="36"/>
                    <a:pt x="339" y="36"/>
                  </a:cubicBezTo>
                  <a:cubicBezTo>
                    <a:pt x="344" y="36"/>
                    <a:pt x="349" y="36"/>
                    <a:pt x="353" y="38"/>
                  </a:cubicBezTo>
                  <a:close/>
                  <a:moveTo>
                    <a:pt x="268" y="19"/>
                  </a:moveTo>
                  <a:cubicBezTo>
                    <a:pt x="281" y="20"/>
                    <a:pt x="294" y="21"/>
                    <a:pt x="306" y="23"/>
                  </a:cubicBezTo>
                  <a:cubicBezTo>
                    <a:pt x="294" y="28"/>
                    <a:pt x="281" y="36"/>
                    <a:pt x="268" y="47"/>
                  </a:cubicBezTo>
                  <a:lnTo>
                    <a:pt x="268" y="19"/>
                  </a:lnTo>
                  <a:close/>
                  <a:moveTo>
                    <a:pt x="270" y="397"/>
                  </a:moveTo>
                  <a:cubicBezTo>
                    <a:pt x="270" y="244"/>
                    <a:pt x="270" y="244"/>
                    <a:pt x="270" y="244"/>
                  </a:cubicBezTo>
                  <a:cubicBezTo>
                    <a:pt x="294" y="243"/>
                    <a:pt x="322" y="239"/>
                    <a:pt x="351" y="232"/>
                  </a:cubicBezTo>
                  <a:cubicBezTo>
                    <a:pt x="357" y="247"/>
                    <a:pt x="363" y="263"/>
                    <a:pt x="369" y="279"/>
                  </a:cubicBezTo>
                  <a:cubicBezTo>
                    <a:pt x="373" y="291"/>
                    <a:pt x="377" y="303"/>
                    <a:pt x="380" y="315"/>
                  </a:cubicBezTo>
                  <a:cubicBezTo>
                    <a:pt x="384" y="328"/>
                    <a:pt x="387" y="340"/>
                    <a:pt x="390" y="352"/>
                  </a:cubicBezTo>
                  <a:cubicBezTo>
                    <a:pt x="392" y="360"/>
                    <a:pt x="393" y="369"/>
                    <a:pt x="395" y="377"/>
                  </a:cubicBezTo>
                  <a:cubicBezTo>
                    <a:pt x="352" y="389"/>
                    <a:pt x="309" y="396"/>
                    <a:pt x="270" y="397"/>
                  </a:cubicBezTo>
                  <a:close/>
                  <a:moveTo>
                    <a:pt x="414" y="371"/>
                  </a:moveTo>
                  <a:cubicBezTo>
                    <a:pt x="411" y="353"/>
                    <a:pt x="406" y="334"/>
                    <a:pt x="401" y="315"/>
                  </a:cubicBezTo>
                  <a:cubicBezTo>
                    <a:pt x="397" y="303"/>
                    <a:pt x="394" y="291"/>
                    <a:pt x="390" y="278"/>
                  </a:cubicBezTo>
                  <a:cubicBezTo>
                    <a:pt x="389" y="276"/>
                    <a:pt x="389" y="275"/>
                    <a:pt x="388" y="273"/>
                  </a:cubicBezTo>
                  <a:cubicBezTo>
                    <a:pt x="382" y="257"/>
                    <a:pt x="376" y="241"/>
                    <a:pt x="370" y="226"/>
                  </a:cubicBezTo>
                  <a:cubicBezTo>
                    <a:pt x="393" y="219"/>
                    <a:pt x="414" y="210"/>
                    <a:pt x="433" y="199"/>
                  </a:cubicBezTo>
                  <a:cubicBezTo>
                    <a:pt x="464" y="235"/>
                    <a:pt x="487" y="274"/>
                    <a:pt x="501" y="315"/>
                  </a:cubicBezTo>
                  <a:cubicBezTo>
                    <a:pt x="503" y="319"/>
                    <a:pt x="504" y="323"/>
                    <a:pt x="505" y="326"/>
                  </a:cubicBezTo>
                  <a:cubicBezTo>
                    <a:pt x="481" y="344"/>
                    <a:pt x="449" y="360"/>
                    <a:pt x="414" y="371"/>
                  </a:cubicBezTo>
                  <a:close/>
                  <a:moveTo>
                    <a:pt x="521" y="312"/>
                  </a:moveTo>
                  <a:cubicBezTo>
                    <a:pt x="518" y="303"/>
                    <a:pt x="515" y="293"/>
                    <a:pt x="510" y="284"/>
                  </a:cubicBezTo>
                  <a:cubicBezTo>
                    <a:pt x="495" y="251"/>
                    <a:pt x="475" y="218"/>
                    <a:pt x="449" y="188"/>
                  </a:cubicBezTo>
                  <a:cubicBezTo>
                    <a:pt x="460" y="179"/>
                    <a:pt x="470" y="169"/>
                    <a:pt x="476" y="158"/>
                  </a:cubicBezTo>
                  <a:cubicBezTo>
                    <a:pt x="477" y="156"/>
                    <a:pt x="477" y="155"/>
                    <a:pt x="478" y="154"/>
                  </a:cubicBezTo>
                  <a:cubicBezTo>
                    <a:pt x="491" y="165"/>
                    <a:pt x="503" y="178"/>
                    <a:pt x="514" y="191"/>
                  </a:cubicBezTo>
                  <a:cubicBezTo>
                    <a:pt x="523" y="202"/>
                    <a:pt x="531" y="214"/>
                    <a:pt x="537" y="227"/>
                  </a:cubicBezTo>
                  <a:cubicBezTo>
                    <a:pt x="542" y="236"/>
                    <a:pt x="546" y="245"/>
                    <a:pt x="549" y="255"/>
                  </a:cubicBezTo>
                  <a:cubicBezTo>
                    <a:pt x="549" y="256"/>
                    <a:pt x="556" y="278"/>
                    <a:pt x="521" y="3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sp>
          <p:nvSpPr>
            <p:cNvPr id="93" name="Freeform 92"/>
            <p:cNvSpPr>
              <a:spLocks noEditPoints="1"/>
            </p:cNvSpPr>
            <p:nvPr/>
          </p:nvSpPr>
          <p:spPr bwMode="auto">
            <a:xfrm>
              <a:off x="5551488" y="4048125"/>
              <a:ext cx="1684338" cy="504825"/>
            </a:xfrm>
            <a:custGeom>
              <a:avLst/>
              <a:gdLst>
                <a:gd name="T0" fmla="*/ 186 w 448"/>
                <a:gd name="T1" fmla="*/ 65 h 134"/>
                <a:gd name="T2" fmla="*/ 42 w 448"/>
                <a:gd name="T3" fmla="*/ 48 h 134"/>
                <a:gd name="T4" fmla="*/ 0 w 448"/>
                <a:gd name="T5" fmla="*/ 73 h 134"/>
                <a:gd name="T6" fmla="*/ 12 w 448"/>
                <a:gd name="T7" fmla="*/ 82 h 134"/>
                <a:gd name="T8" fmla="*/ 58 w 448"/>
                <a:gd name="T9" fmla="*/ 106 h 134"/>
                <a:gd name="T10" fmla="*/ 114 w 448"/>
                <a:gd name="T11" fmla="*/ 125 h 134"/>
                <a:gd name="T12" fmla="*/ 187 w 448"/>
                <a:gd name="T13" fmla="*/ 134 h 134"/>
                <a:gd name="T14" fmla="*/ 260 w 448"/>
                <a:gd name="T15" fmla="*/ 125 h 134"/>
                <a:gd name="T16" fmla="*/ 315 w 448"/>
                <a:gd name="T17" fmla="*/ 106 h 134"/>
                <a:gd name="T18" fmla="*/ 361 w 448"/>
                <a:gd name="T19" fmla="*/ 82 h 134"/>
                <a:gd name="T20" fmla="*/ 448 w 448"/>
                <a:gd name="T21" fmla="*/ 0 h 134"/>
                <a:gd name="T22" fmla="*/ 343 w 448"/>
                <a:gd name="T23" fmla="*/ 44 h 134"/>
                <a:gd name="T24" fmla="*/ 186 w 448"/>
                <a:gd name="T25" fmla="*/ 65 h 134"/>
                <a:gd name="T26" fmla="*/ 176 w 448"/>
                <a:gd name="T27" fmla="*/ 114 h 134"/>
                <a:gd name="T28" fmla="*/ 153 w 448"/>
                <a:gd name="T29" fmla="*/ 112 h 134"/>
                <a:gd name="T30" fmla="*/ 115 w 448"/>
                <a:gd name="T31" fmla="*/ 105 h 134"/>
                <a:gd name="T32" fmla="*/ 90 w 448"/>
                <a:gd name="T33" fmla="*/ 97 h 134"/>
                <a:gd name="T34" fmla="*/ 70 w 448"/>
                <a:gd name="T35" fmla="*/ 90 h 134"/>
                <a:gd name="T36" fmla="*/ 59 w 448"/>
                <a:gd name="T37" fmla="*/ 74 h 134"/>
                <a:gd name="T38" fmla="*/ 57 w 448"/>
                <a:gd name="T39" fmla="*/ 70 h 134"/>
                <a:gd name="T40" fmla="*/ 176 w 448"/>
                <a:gd name="T41" fmla="*/ 89 h 134"/>
                <a:gd name="T42" fmla="*/ 176 w 448"/>
                <a:gd name="T43" fmla="*/ 114 h 134"/>
                <a:gd name="T44" fmla="*/ 314 w 448"/>
                <a:gd name="T45" fmla="*/ 74 h 134"/>
                <a:gd name="T46" fmla="*/ 303 w 448"/>
                <a:gd name="T47" fmla="*/ 90 h 134"/>
                <a:gd name="T48" fmla="*/ 284 w 448"/>
                <a:gd name="T49" fmla="*/ 97 h 134"/>
                <a:gd name="T50" fmla="*/ 259 w 448"/>
                <a:gd name="T51" fmla="*/ 105 h 134"/>
                <a:gd name="T52" fmla="*/ 221 w 448"/>
                <a:gd name="T53" fmla="*/ 112 h 134"/>
                <a:gd name="T54" fmla="*/ 198 w 448"/>
                <a:gd name="T55" fmla="*/ 114 h 134"/>
                <a:gd name="T56" fmla="*/ 198 w 448"/>
                <a:gd name="T57" fmla="*/ 89 h 134"/>
                <a:gd name="T58" fmla="*/ 316 w 448"/>
                <a:gd name="T59" fmla="*/ 70 h 134"/>
                <a:gd name="T60" fmla="*/ 314 w 448"/>
                <a:gd name="T61" fmla="*/ 7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48" h="134">
                  <a:moveTo>
                    <a:pt x="186" y="65"/>
                  </a:moveTo>
                  <a:cubicBezTo>
                    <a:pt x="136" y="65"/>
                    <a:pt x="87" y="59"/>
                    <a:pt x="42" y="48"/>
                  </a:cubicBezTo>
                  <a:cubicBezTo>
                    <a:pt x="29" y="57"/>
                    <a:pt x="15" y="66"/>
                    <a:pt x="0" y="73"/>
                  </a:cubicBezTo>
                  <a:cubicBezTo>
                    <a:pt x="4" y="76"/>
                    <a:pt x="8" y="79"/>
                    <a:pt x="12" y="82"/>
                  </a:cubicBezTo>
                  <a:cubicBezTo>
                    <a:pt x="27" y="91"/>
                    <a:pt x="42" y="99"/>
                    <a:pt x="58" y="106"/>
                  </a:cubicBezTo>
                  <a:cubicBezTo>
                    <a:pt x="76" y="114"/>
                    <a:pt x="95" y="120"/>
                    <a:pt x="114" y="125"/>
                  </a:cubicBezTo>
                  <a:cubicBezTo>
                    <a:pt x="137" y="131"/>
                    <a:pt x="162" y="134"/>
                    <a:pt x="187" y="134"/>
                  </a:cubicBezTo>
                  <a:cubicBezTo>
                    <a:pt x="212" y="134"/>
                    <a:pt x="236" y="131"/>
                    <a:pt x="260" y="125"/>
                  </a:cubicBezTo>
                  <a:cubicBezTo>
                    <a:pt x="279" y="120"/>
                    <a:pt x="298" y="114"/>
                    <a:pt x="315" y="106"/>
                  </a:cubicBezTo>
                  <a:cubicBezTo>
                    <a:pt x="331" y="99"/>
                    <a:pt x="347" y="91"/>
                    <a:pt x="361" y="82"/>
                  </a:cubicBezTo>
                  <a:cubicBezTo>
                    <a:pt x="395" y="60"/>
                    <a:pt x="425" y="32"/>
                    <a:pt x="448" y="0"/>
                  </a:cubicBezTo>
                  <a:cubicBezTo>
                    <a:pt x="417" y="19"/>
                    <a:pt x="381" y="33"/>
                    <a:pt x="343" y="44"/>
                  </a:cubicBezTo>
                  <a:cubicBezTo>
                    <a:pt x="293" y="58"/>
                    <a:pt x="240" y="65"/>
                    <a:pt x="186" y="65"/>
                  </a:cubicBezTo>
                  <a:close/>
                  <a:moveTo>
                    <a:pt x="176" y="114"/>
                  </a:moveTo>
                  <a:cubicBezTo>
                    <a:pt x="168" y="114"/>
                    <a:pt x="161" y="113"/>
                    <a:pt x="153" y="112"/>
                  </a:cubicBezTo>
                  <a:cubicBezTo>
                    <a:pt x="140" y="110"/>
                    <a:pt x="127" y="108"/>
                    <a:pt x="115" y="105"/>
                  </a:cubicBezTo>
                  <a:cubicBezTo>
                    <a:pt x="106" y="102"/>
                    <a:pt x="98" y="100"/>
                    <a:pt x="90" y="97"/>
                  </a:cubicBezTo>
                  <a:cubicBezTo>
                    <a:pt x="83" y="95"/>
                    <a:pt x="76" y="92"/>
                    <a:pt x="70" y="90"/>
                  </a:cubicBezTo>
                  <a:cubicBezTo>
                    <a:pt x="66" y="85"/>
                    <a:pt x="62" y="80"/>
                    <a:pt x="59" y="74"/>
                  </a:cubicBezTo>
                  <a:cubicBezTo>
                    <a:pt x="59" y="73"/>
                    <a:pt x="58" y="72"/>
                    <a:pt x="57" y="70"/>
                  </a:cubicBezTo>
                  <a:cubicBezTo>
                    <a:pt x="98" y="82"/>
                    <a:pt x="139" y="88"/>
                    <a:pt x="176" y="89"/>
                  </a:cubicBezTo>
                  <a:lnTo>
                    <a:pt x="176" y="114"/>
                  </a:lnTo>
                  <a:close/>
                  <a:moveTo>
                    <a:pt x="314" y="74"/>
                  </a:moveTo>
                  <a:cubicBezTo>
                    <a:pt x="311" y="80"/>
                    <a:pt x="307" y="85"/>
                    <a:pt x="303" y="90"/>
                  </a:cubicBezTo>
                  <a:cubicBezTo>
                    <a:pt x="297" y="92"/>
                    <a:pt x="290" y="95"/>
                    <a:pt x="284" y="97"/>
                  </a:cubicBezTo>
                  <a:cubicBezTo>
                    <a:pt x="276" y="100"/>
                    <a:pt x="267" y="102"/>
                    <a:pt x="259" y="105"/>
                  </a:cubicBezTo>
                  <a:cubicBezTo>
                    <a:pt x="246" y="108"/>
                    <a:pt x="234" y="110"/>
                    <a:pt x="221" y="112"/>
                  </a:cubicBezTo>
                  <a:cubicBezTo>
                    <a:pt x="213" y="113"/>
                    <a:pt x="206" y="114"/>
                    <a:pt x="198" y="114"/>
                  </a:cubicBezTo>
                  <a:cubicBezTo>
                    <a:pt x="198" y="89"/>
                    <a:pt x="198" y="89"/>
                    <a:pt x="198" y="89"/>
                  </a:cubicBezTo>
                  <a:cubicBezTo>
                    <a:pt x="234" y="88"/>
                    <a:pt x="275" y="82"/>
                    <a:pt x="316" y="70"/>
                  </a:cubicBezTo>
                  <a:cubicBezTo>
                    <a:pt x="316" y="72"/>
                    <a:pt x="315" y="73"/>
                    <a:pt x="314"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sp>
          <p:nvSpPr>
            <p:cNvPr id="94" name="Freeform 93"/>
            <p:cNvSpPr>
              <a:spLocks noEditPoints="1"/>
            </p:cNvSpPr>
            <p:nvPr/>
          </p:nvSpPr>
          <p:spPr bwMode="auto">
            <a:xfrm>
              <a:off x="3540126" y="2598738"/>
              <a:ext cx="2393950" cy="2335213"/>
            </a:xfrm>
            <a:custGeom>
              <a:avLst/>
              <a:gdLst>
                <a:gd name="T0" fmla="*/ 440 w 637"/>
                <a:gd name="T1" fmla="*/ 3 h 620"/>
                <a:gd name="T2" fmla="*/ 405 w 637"/>
                <a:gd name="T3" fmla="*/ 0 h 620"/>
                <a:gd name="T4" fmla="*/ 369 w 637"/>
                <a:gd name="T5" fmla="*/ 3 h 620"/>
                <a:gd name="T6" fmla="*/ 172 w 637"/>
                <a:gd name="T7" fmla="*/ 192 h 620"/>
                <a:gd name="T8" fmla="*/ 169 w 637"/>
                <a:gd name="T9" fmla="*/ 227 h 620"/>
                <a:gd name="T10" fmla="*/ 172 w 637"/>
                <a:gd name="T11" fmla="*/ 264 h 620"/>
                <a:gd name="T12" fmla="*/ 195 w 637"/>
                <a:gd name="T13" fmla="*/ 329 h 620"/>
                <a:gd name="T14" fmla="*/ 190 w 637"/>
                <a:gd name="T15" fmla="*/ 354 h 620"/>
                <a:gd name="T16" fmla="*/ 5 w 637"/>
                <a:gd name="T17" fmla="*/ 535 h 620"/>
                <a:gd name="T18" fmla="*/ 5 w 637"/>
                <a:gd name="T19" fmla="*/ 558 h 620"/>
                <a:gd name="T20" fmla="*/ 64 w 637"/>
                <a:gd name="T21" fmla="*/ 615 h 620"/>
                <a:gd name="T22" fmla="*/ 77 w 637"/>
                <a:gd name="T23" fmla="*/ 620 h 620"/>
                <a:gd name="T24" fmla="*/ 90 w 637"/>
                <a:gd name="T25" fmla="*/ 615 h 620"/>
                <a:gd name="T26" fmla="*/ 274 w 637"/>
                <a:gd name="T27" fmla="*/ 436 h 620"/>
                <a:gd name="T28" fmla="*/ 289 w 637"/>
                <a:gd name="T29" fmla="*/ 428 h 620"/>
                <a:gd name="T30" fmla="*/ 300 w 637"/>
                <a:gd name="T31" fmla="*/ 431 h 620"/>
                <a:gd name="T32" fmla="*/ 369 w 637"/>
                <a:gd name="T33" fmla="*/ 453 h 620"/>
                <a:gd name="T34" fmla="*/ 405 w 637"/>
                <a:gd name="T35" fmla="*/ 456 h 620"/>
                <a:gd name="T36" fmla="*/ 440 w 637"/>
                <a:gd name="T37" fmla="*/ 453 h 620"/>
                <a:gd name="T38" fmla="*/ 635 w 637"/>
                <a:gd name="T39" fmla="*/ 264 h 620"/>
                <a:gd name="T40" fmla="*/ 637 w 637"/>
                <a:gd name="T41" fmla="*/ 227 h 620"/>
                <a:gd name="T42" fmla="*/ 635 w 637"/>
                <a:gd name="T43" fmla="*/ 192 h 620"/>
                <a:gd name="T44" fmla="*/ 440 w 637"/>
                <a:gd name="T45" fmla="*/ 3 h 620"/>
                <a:gd name="T46" fmla="*/ 568 w 637"/>
                <a:gd name="T47" fmla="*/ 264 h 620"/>
                <a:gd name="T48" fmla="*/ 440 w 637"/>
                <a:gd name="T49" fmla="*/ 386 h 620"/>
                <a:gd name="T50" fmla="*/ 405 w 637"/>
                <a:gd name="T51" fmla="*/ 391 h 620"/>
                <a:gd name="T52" fmla="*/ 369 w 637"/>
                <a:gd name="T53" fmla="*/ 386 h 620"/>
                <a:gd name="T54" fmla="*/ 241 w 637"/>
                <a:gd name="T55" fmla="*/ 264 h 620"/>
                <a:gd name="T56" fmla="*/ 236 w 637"/>
                <a:gd name="T57" fmla="*/ 227 h 620"/>
                <a:gd name="T58" fmla="*/ 241 w 637"/>
                <a:gd name="T59" fmla="*/ 192 h 620"/>
                <a:gd name="T60" fmla="*/ 369 w 637"/>
                <a:gd name="T61" fmla="*/ 70 h 620"/>
                <a:gd name="T62" fmla="*/ 405 w 637"/>
                <a:gd name="T63" fmla="*/ 65 h 620"/>
                <a:gd name="T64" fmla="*/ 440 w 637"/>
                <a:gd name="T65" fmla="*/ 70 h 620"/>
                <a:gd name="T66" fmla="*/ 568 w 637"/>
                <a:gd name="T67" fmla="*/ 192 h 620"/>
                <a:gd name="T68" fmla="*/ 571 w 637"/>
                <a:gd name="T69" fmla="*/ 227 h 620"/>
                <a:gd name="T70" fmla="*/ 568 w 637"/>
                <a:gd name="T71" fmla="*/ 264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7" h="620">
                  <a:moveTo>
                    <a:pt x="440" y="3"/>
                  </a:moveTo>
                  <a:cubicBezTo>
                    <a:pt x="428" y="0"/>
                    <a:pt x="417" y="0"/>
                    <a:pt x="405" y="0"/>
                  </a:cubicBezTo>
                  <a:cubicBezTo>
                    <a:pt x="392" y="0"/>
                    <a:pt x="379" y="0"/>
                    <a:pt x="369" y="3"/>
                  </a:cubicBezTo>
                  <a:cubicBezTo>
                    <a:pt x="266" y="18"/>
                    <a:pt x="187" y="95"/>
                    <a:pt x="172" y="192"/>
                  </a:cubicBezTo>
                  <a:cubicBezTo>
                    <a:pt x="172" y="204"/>
                    <a:pt x="169" y="217"/>
                    <a:pt x="169" y="227"/>
                  </a:cubicBezTo>
                  <a:cubicBezTo>
                    <a:pt x="169" y="239"/>
                    <a:pt x="172" y="252"/>
                    <a:pt x="172" y="264"/>
                  </a:cubicBezTo>
                  <a:cubicBezTo>
                    <a:pt x="177" y="286"/>
                    <a:pt x="185" y="309"/>
                    <a:pt x="195" y="329"/>
                  </a:cubicBezTo>
                  <a:cubicBezTo>
                    <a:pt x="200" y="336"/>
                    <a:pt x="197" y="349"/>
                    <a:pt x="190" y="354"/>
                  </a:cubicBezTo>
                  <a:cubicBezTo>
                    <a:pt x="190" y="354"/>
                    <a:pt x="190" y="354"/>
                    <a:pt x="5" y="535"/>
                  </a:cubicBezTo>
                  <a:cubicBezTo>
                    <a:pt x="0" y="540"/>
                    <a:pt x="0" y="550"/>
                    <a:pt x="5" y="558"/>
                  </a:cubicBezTo>
                  <a:cubicBezTo>
                    <a:pt x="5" y="558"/>
                    <a:pt x="5" y="558"/>
                    <a:pt x="64" y="615"/>
                  </a:cubicBezTo>
                  <a:cubicBezTo>
                    <a:pt x="69" y="617"/>
                    <a:pt x="72" y="620"/>
                    <a:pt x="77" y="620"/>
                  </a:cubicBezTo>
                  <a:cubicBezTo>
                    <a:pt x="82" y="620"/>
                    <a:pt x="85" y="617"/>
                    <a:pt x="90" y="615"/>
                  </a:cubicBezTo>
                  <a:cubicBezTo>
                    <a:pt x="90" y="615"/>
                    <a:pt x="90" y="615"/>
                    <a:pt x="274" y="436"/>
                  </a:cubicBezTo>
                  <a:cubicBezTo>
                    <a:pt x="277" y="431"/>
                    <a:pt x="284" y="428"/>
                    <a:pt x="289" y="428"/>
                  </a:cubicBezTo>
                  <a:cubicBezTo>
                    <a:pt x="295" y="428"/>
                    <a:pt x="297" y="431"/>
                    <a:pt x="300" y="431"/>
                  </a:cubicBezTo>
                  <a:cubicBezTo>
                    <a:pt x="320" y="441"/>
                    <a:pt x="343" y="448"/>
                    <a:pt x="369" y="453"/>
                  </a:cubicBezTo>
                  <a:cubicBezTo>
                    <a:pt x="379" y="456"/>
                    <a:pt x="392" y="456"/>
                    <a:pt x="405" y="456"/>
                  </a:cubicBezTo>
                  <a:cubicBezTo>
                    <a:pt x="417" y="456"/>
                    <a:pt x="428" y="456"/>
                    <a:pt x="440" y="453"/>
                  </a:cubicBezTo>
                  <a:cubicBezTo>
                    <a:pt x="540" y="438"/>
                    <a:pt x="619" y="361"/>
                    <a:pt x="635" y="264"/>
                  </a:cubicBezTo>
                  <a:cubicBezTo>
                    <a:pt x="637" y="252"/>
                    <a:pt x="637" y="239"/>
                    <a:pt x="637" y="227"/>
                  </a:cubicBezTo>
                  <a:cubicBezTo>
                    <a:pt x="637" y="217"/>
                    <a:pt x="637" y="204"/>
                    <a:pt x="635" y="192"/>
                  </a:cubicBezTo>
                  <a:cubicBezTo>
                    <a:pt x="619" y="95"/>
                    <a:pt x="540" y="18"/>
                    <a:pt x="440" y="3"/>
                  </a:cubicBezTo>
                  <a:close/>
                  <a:moveTo>
                    <a:pt x="568" y="264"/>
                  </a:moveTo>
                  <a:cubicBezTo>
                    <a:pt x="553" y="324"/>
                    <a:pt x="504" y="374"/>
                    <a:pt x="440" y="386"/>
                  </a:cubicBezTo>
                  <a:cubicBezTo>
                    <a:pt x="428" y="388"/>
                    <a:pt x="417" y="391"/>
                    <a:pt x="405" y="391"/>
                  </a:cubicBezTo>
                  <a:cubicBezTo>
                    <a:pt x="392" y="391"/>
                    <a:pt x="379" y="388"/>
                    <a:pt x="369" y="386"/>
                  </a:cubicBezTo>
                  <a:cubicBezTo>
                    <a:pt x="305" y="374"/>
                    <a:pt x="254" y="324"/>
                    <a:pt x="241" y="264"/>
                  </a:cubicBezTo>
                  <a:cubicBezTo>
                    <a:pt x="238" y="252"/>
                    <a:pt x="236" y="239"/>
                    <a:pt x="236" y="227"/>
                  </a:cubicBezTo>
                  <a:cubicBezTo>
                    <a:pt x="236" y="217"/>
                    <a:pt x="238" y="204"/>
                    <a:pt x="241" y="192"/>
                  </a:cubicBezTo>
                  <a:cubicBezTo>
                    <a:pt x="254" y="130"/>
                    <a:pt x="305" y="82"/>
                    <a:pt x="369" y="70"/>
                  </a:cubicBezTo>
                  <a:cubicBezTo>
                    <a:pt x="379" y="67"/>
                    <a:pt x="392" y="65"/>
                    <a:pt x="405" y="65"/>
                  </a:cubicBezTo>
                  <a:cubicBezTo>
                    <a:pt x="417" y="65"/>
                    <a:pt x="428" y="67"/>
                    <a:pt x="440" y="70"/>
                  </a:cubicBezTo>
                  <a:cubicBezTo>
                    <a:pt x="504" y="82"/>
                    <a:pt x="553" y="130"/>
                    <a:pt x="568" y="192"/>
                  </a:cubicBezTo>
                  <a:cubicBezTo>
                    <a:pt x="571" y="204"/>
                    <a:pt x="571" y="217"/>
                    <a:pt x="571" y="227"/>
                  </a:cubicBezTo>
                  <a:cubicBezTo>
                    <a:pt x="571" y="239"/>
                    <a:pt x="571" y="252"/>
                    <a:pt x="568" y="26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sp>
          <p:nvSpPr>
            <p:cNvPr id="95" name="Freeform 94"/>
            <p:cNvSpPr>
              <a:spLocks/>
            </p:cNvSpPr>
            <p:nvPr/>
          </p:nvSpPr>
          <p:spPr bwMode="auto">
            <a:xfrm>
              <a:off x="4573588" y="3114675"/>
              <a:ext cx="593725" cy="708025"/>
            </a:xfrm>
            <a:custGeom>
              <a:avLst/>
              <a:gdLst>
                <a:gd name="T0" fmla="*/ 158 w 158"/>
                <a:gd name="T1" fmla="*/ 159 h 188"/>
                <a:gd name="T2" fmla="*/ 96 w 158"/>
                <a:gd name="T3" fmla="*/ 153 h 188"/>
                <a:gd name="T4" fmla="*/ 96 w 158"/>
                <a:gd name="T5" fmla="*/ 74 h 188"/>
                <a:gd name="T6" fmla="*/ 96 w 158"/>
                <a:gd name="T7" fmla="*/ 35 h 188"/>
                <a:gd name="T8" fmla="*/ 96 w 158"/>
                <a:gd name="T9" fmla="*/ 4 h 188"/>
                <a:gd name="T10" fmla="*/ 69 w 158"/>
                <a:gd name="T11" fmla="*/ 0 h 188"/>
                <a:gd name="T12" fmla="*/ 15 w 158"/>
                <a:gd name="T13" fmla="*/ 9 h 188"/>
                <a:gd name="T14" fmla="*/ 2 w 158"/>
                <a:gd name="T15" fmla="*/ 32 h 188"/>
                <a:gd name="T16" fmla="*/ 8 w 158"/>
                <a:gd name="T17" fmla="*/ 44 h 188"/>
                <a:gd name="T18" fmla="*/ 56 w 158"/>
                <a:gd name="T19" fmla="*/ 35 h 188"/>
                <a:gd name="T20" fmla="*/ 57 w 158"/>
                <a:gd name="T21" fmla="*/ 70 h 188"/>
                <a:gd name="T22" fmla="*/ 57 w 158"/>
                <a:gd name="T23" fmla="*/ 148 h 188"/>
                <a:gd name="T24" fmla="*/ 0 w 158"/>
                <a:gd name="T25" fmla="*/ 138 h 188"/>
                <a:gd name="T26" fmla="*/ 19 w 158"/>
                <a:gd name="T27" fmla="*/ 171 h 188"/>
                <a:gd name="T28" fmla="*/ 158 w 158"/>
                <a:gd name="T29" fmla="*/ 188 h 188"/>
                <a:gd name="T30" fmla="*/ 158 w 158"/>
                <a:gd name="T31" fmla="*/ 15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8" h="188">
                  <a:moveTo>
                    <a:pt x="158" y="159"/>
                  </a:moveTo>
                  <a:cubicBezTo>
                    <a:pt x="138" y="157"/>
                    <a:pt x="117" y="155"/>
                    <a:pt x="96" y="153"/>
                  </a:cubicBezTo>
                  <a:cubicBezTo>
                    <a:pt x="96" y="153"/>
                    <a:pt x="96" y="153"/>
                    <a:pt x="96" y="74"/>
                  </a:cubicBezTo>
                  <a:cubicBezTo>
                    <a:pt x="96" y="74"/>
                    <a:pt x="96" y="74"/>
                    <a:pt x="96" y="35"/>
                  </a:cubicBezTo>
                  <a:cubicBezTo>
                    <a:pt x="96" y="35"/>
                    <a:pt x="96" y="35"/>
                    <a:pt x="96" y="4"/>
                  </a:cubicBezTo>
                  <a:cubicBezTo>
                    <a:pt x="87" y="3"/>
                    <a:pt x="78" y="2"/>
                    <a:pt x="69" y="0"/>
                  </a:cubicBezTo>
                  <a:cubicBezTo>
                    <a:pt x="53" y="3"/>
                    <a:pt x="33" y="7"/>
                    <a:pt x="15" y="9"/>
                  </a:cubicBezTo>
                  <a:cubicBezTo>
                    <a:pt x="10" y="17"/>
                    <a:pt x="6" y="24"/>
                    <a:pt x="2" y="32"/>
                  </a:cubicBezTo>
                  <a:cubicBezTo>
                    <a:pt x="4" y="35"/>
                    <a:pt x="6" y="39"/>
                    <a:pt x="8" y="44"/>
                  </a:cubicBezTo>
                  <a:cubicBezTo>
                    <a:pt x="23" y="42"/>
                    <a:pt x="42" y="38"/>
                    <a:pt x="56" y="35"/>
                  </a:cubicBezTo>
                  <a:cubicBezTo>
                    <a:pt x="56" y="35"/>
                    <a:pt x="56" y="35"/>
                    <a:pt x="57" y="70"/>
                  </a:cubicBezTo>
                  <a:cubicBezTo>
                    <a:pt x="57" y="70"/>
                    <a:pt x="57" y="70"/>
                    <a:pt x="57" y="148"/>
                  </a:cubicBezTo>
                  <a:cubicBezTo>
                    <a:pt x="38" y="145"/>
                    <a:pt x="18" y="141"/>
                    <a:pt x="0" y="138"/>
                  </a:cubicBezTo>
                  <a:cubicBezTo>
                    <a:pt x="5" y="150"/>
                    <a:pt x="11" y="161"/>
                    <a:pt x="19" y="171"/>
                  </a:cubicBezTo>
                  <a:cubicBezTo>
                    <a:pt x="64" y="179"/>
                    <a:pt x="111" y="186"/>
                    <a:pt x="158" y="188"/>
                  </a:cubicBezTo>
                  <a:cubicBezTo>
                    <a:pt x="158" y="188"/>
                    <a:pt x="158" y="188"/>
                    <a:pt x="158" y="1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sp>
          <p:nvSpPr>
            <p:cNvPr id="96" name="Freeform 95"/>
            <p:cNvSpPr>
              <a:spLocks/>
            </p:cNvSpPr>
            <p:nvPr/>
          </p:nvSpPr>
          <p:spPr bwMode="auto">
            <a:xfrm>
              <a:off x="5172076" y="3128963"/>
              <a:ext cx="393700" cy="693738"/>
            </a:xfrm>
            <a:custGeom>
              <a:avLst/>
              <a:gdLst>
                <a:gd name="T0" fmla="*/ 17 w 105"/>
                <a:gd name="T1" fmla="*/ 31 h 184"/>
                <a:gd name="T2" fmla="*/ 7 w 105"/>
                <a:gd name="T3" fmla="*/ 54 h 184"/>
                <a:gd name="T4" fmla="*/ 4 w 105"/>
                <a:gd name="T5" fmla="*/ 69 h 184"/>
                <a:gd name="T6" fmla="*/ 30 w 105"/>
                <a:gd name="T7" fmla="*/ 169 h 184"/>
                <a:gd name="T8" fmla="*/ 33 w 105"/>
                <a:gd name="T9" fmla="*/ 172 h 184"/>
                <a:gd name="T10" fmla="*/ 68 w 105"/>
                <a:gd name="T11" fmla="*/ 184 h 184"/>
                <a:gd name="T12" fmla="*/ 95 w 105"/>
                <a:gd name="T13" fmla="*/ 150 h 184"/>
                <a:gd name="T14" fmla="*/ 82 w 105"/>
                <a:gd name="T15" fmla="*/ 154 h 184"/>
                <a:gd name="T16" fmla="*/ 46 w 105"/>
                <a:gd name="T17" fmla="*/ 69 h 184"/>
                <a:gd name="T18" fmla="*/ 57 w 105"/>
                <a:gd name="T19" fmla="*/ 42 h 184"/>
                <a:gd name="T20" fmla="*/ 105 w 105"/>
                <a:gd name="T21" fmla="*/ 39 h 184"/>
                <a:gd name="T22" fmla="*/ 84 w 105"/>
                <a:gd name="T23" fmla="*/ 0 h 184"/>
                <a:gd name="T24" fmla="*/ 82 w 105"/>
                <a:gd name="T25" fmla="*/ 0 h 184"/>
                <a:gd name="T26" fmla="*/ 17 w 105"/>
                <a:gd name="T27" fmla="*/ 3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5" h="184">
                  <a:moveTo>
                    <a:pt x="17" y="31"/>
                  </a:moveTo>
                  <a:cubicBezTo>
                    <a:pt x="13" y="38"/>
                    <a:pt x="9" y="45"/>
                    <a:pt x="7" y="54"/>
                  </a:cubicBezTo>
                  <a:cubicBezTo>
                    <a:pt x="6" y="59"/>
                    <a:pt x="4" y="64"/>
                    <a:pt x="4" y="69"/>
                  </a:cubicBezTo>
                  <a:cubicBezTo>
                    <a:pt x="0" y="99"/>
                    <a:pt x="2" y="145"/>
                    <a:pt x="30" y="169"/>
                  </a:cubicBezTo>
                  <a:cubicBezTo>
                    <a:pt x="31" y="170"/>
                    <a:pt x="32" y="171"/>
                    <a:pt x="33" y="172"/>
                  </a:cubicBezTo>
                  <a:cubicBezTo>
                    <a:pt x="43" y="179"/>
                    <a:pt x="55" y="183"/>
                    <a:pt x="68" y="184"/>
                  </a:cubicBezTo>
                  <a:cubicBezTo>
                    <a:pt x="78" y="174"/>
                    <a:pt x="88" y="163"/>
                    <a:pt x="95" y="150"/>
                  </a:cubicBezTo>
                  <a:cubicBezTo>
                    <a:pt x="91" y="152"/>
                    <a:pt x="87" y="154"/>
                    <a:pt x="82" y="154"/>
                  </a:cubicBezTo>
                  <a:cubicBezTo>
                    <a:pt x="45" y="155"/>
                    <a:pt x="39" y="104"/>
                    <a:pt x="46" y="69"/>
                  </a:cubicBezTo>
                  <a:cubicBezTo>
                    <a:pt x="49" y="57"/>
                    <a:pt x="53" y="47"/>
                    <a:pt x="57" y="42"/>
                  </a:cubicBezTo>
                  <a:cubicBezTo>
                    <a:pt x="66" y="32"/>
                    <a:pt x="90" y="23"/>
                    <a:pt x="105" y="39"/>
                  </a:cubicBezTo>
                  <a:cubicBezTo>
                    <a:pt x="100" y="25"/>
                    <a:pt x="93" y="12"/>
                    <a:pt x="84" y="0"/>
                  </a:cubicBezTo>
                  <a:cubicBezTo>
                    <a:pt x="83" y="1"/>
                    <a:pt x="83" y="0"/>
                    <a:pt x="82" y="0"/>
                  </a:cubicBezTo>
                  <a:cubicBezTo>
                    <a:pt x="66" y="2"/>
                    <a:pt x="35" y="4"/>
                    <a:pt x="17" y="3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sp>
          <p:nvSpPr>
            <p:cNvPr id="97" name="Freeform 96"/>
            <p:cNvSpPr>
              <a:spLocks/>
            </p:cNvSpPr>
            <p:nvPr/>
          </p:nvSpPr>
          <p:spPr bwMode="auto">
            <a:xfrm>
              <a:off x="6310313" y="3754438"/>
              <a:ext cx="153988" cy="252413"/>
            </a:xfrm>
            <a:custGeom>
              <a:avLst/>
              <a:gdLst>
                <a:gd name="T0" fmla="*/ 38 w 41"/>
                <a:gd name="T1" fmla="*/ 24 h 67"/>
                <a:gd name="T2" fmla="*/ 9 w 41"/>
                <a:gd name="T3" fmla="*/ 12 h 67"/>
                <a:gd name="T4" fmla="*/ 4 w 41"/>
                <a:gd name="T5" fmla="*/ 25 h 67"/>
                <a:gd name="T6" fmla="*/ 21 w 41"/>
                <a:gd name="T7" fmla="*/ 67 h 67"/>
                <a:gd name="T8" fmla="*/ 39 w 41"/>
                <a:gd name="T9" fmla="*/ 29 h 67"/>
                <a:gd name="T10" fmla="*/ 38 w 41"/>
                <a:gd name="T11" fmla="*/ 24 h 67"/>
              </a:gdLst>
              <a:ahLst/>
              <a:cxnLst>
                <a:cxn ang="0">
                  <a:pos x="T0" y="T1"/>
                </a:cxn>
                <a:cxn ang="0">
                  <a:pos x="T2" y="T3"/>
                </a:cxn>
                <a:cxn ang="0">
                  <a:pos x="T4" y="T5"/>
                </a:cxn>
                <a:cxn ang="0">
                  <a:pos x="T6" y="T7"/>
                </a:cxn>
                <a:cxn ang="0">
                  <a:pos x="T8" y="T9"/>
                </a:cxn>
                <a:cxn ang="0">
                  <a:pos x="T10" y="T11"/>
                </a:cxn>
              </a:cxnLst>
              <a:rect l="0" t="0" r="r" b="b"/>
              <a:pathLst>
                <a:path w="41" h="67">
                  <a:moveTo>
                    <a:pt x="38" y="24"/>
                  </a:moveTo>
                  <a:cubicBezTo>
                    <a:pt x="34" y="0"/>
                    <a:pt x="15" y="5"/>
                    <a:pt x="9" y="12"/>
                  </a:cubicBezTo>
                  <a:cubicBezTo>
                    <a:pt x="7" y="15"/>
                    <a:pt x="5" y="20"/>
                    <a:pt x="4" y="25"/>
                  </a:cubicBezTo>
                  <a:cubicBezTo>
                    <a:pt x="0" y="42"/>
                    <a:pt x="3" y="67"/>
                    <a:pt x="21" y="67"/>
                  </a:cubicBezTo>
                  <a:cubicBezTo>
                    <a:pt x="37" y="66"/>
                    <a:pt x="41" y="47"/>
                    <a:pt x="39" y="29"/>
                  </a:cubicBezTo>
                  <a:cubicBezTo>
                    <a:pt x="39" y="27"/>
                    <a:pt x="39" y="25"/>
                    <a:pt x="38"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sp>
          <p:nvSpPr>
            <p:cNvPr id="98" name="Freeform 97"/>
            <p:cNvSpPr>
              <a:spLocks/>
            </p:cNvSpPr>
            <p:nvPr/>
          </p:nvSpPr>
          <p:spPr bwMode="auto">
            <a:xfrm>
              <a:off x="5953126" y="3973513"/>
              <a:ext cx="4763" cy="3175"/>
            </a:xfrm>
            <a:custGeom>
              <a:avLst/>
              <a:gdLst>
                <a:gd name="T0" fmla="*/ 1 w 1"/>
                <a:gd name="T1" fmla="*/ 0 h 1"/>
                <a:gd name="T2" fmla="*/ 0 w 1"/>
                <a:gd name="T3" fmla="*/ 1 h 1"/>
                <a:gd name="T4" fmla="*/ 1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0" y="0"/>
                    <a:pt x="0" y="1"/>
                    <a:pt x="0" y="1"/>
                  </a:cubicBezTo>
                  <a:cubicBezTo>
                    <a:pt x="0" y="1"/>
                    <a:pt x="0" y="1"/>
                    <a:pt x="1" y="1"/>
                  </a:cubicBezTo>
                  <a:cubicBezTo>
                    <a:pt x="1" y="1"/>
                    <a:pt x="1" y="0"/>
                    <a:pt x="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sp>
          <p:nvSpPr>
            <p:cNvPr id="99" name="Freeform 98"/>
            <p:cNvSpPr>
              <a:spLocks/>
            </p:cNvSpPr>
            <p:nvPr/>
          </p:nvSpPr>
          <p:spPr bwMode="auto">
            <a:xfrm>
              <a:off x="7675563" y="3167063"/>
              <a:ext cx="96838" cy="203200"/>
            </a:xfrm>
            <a:custGeom>
              <a:avLst/>
              <a:gdLst>
                <a:gd name="T0" fmla="*/ 13 w 26"/>
                <a:gd name="T1" fmla="*/ 0 h 54"/>
                <a:gd name="T2" fmla="*/ 0 w 26"/>
                <a:gd name="T3" fmla="*/ 27 h 54"/>
                <a:gd name="T4" fmla="*/ 13 w 26"/>
                <a:gd name="T5" fmla="*/ 54 h 54"/>
                <a:gd name="T6" fmla="*/ 26 w 26"/>
                <a:gd name="T7" fmla="*/ 27 h 54"/>
                <a:gd name="T8" fmla="*/ 13 w 26"/>
                <a:gd name="T9" fmla="*/ 0 h 54"/>
              </a:gdLst>
              <a:ahLst/>
              <a:cxnLst>
                <a:cxn ang="0">
                  <a:pos x="T0" y="T1"/>
                </a:cxn>
                <a:cxn ang="0">
                  <a:pos x="T2" y="T3"/>
                </a:cxn>
                <a:cxn ang="0">
                  <a:pos x="T4" y="T5"/>
                </a:cxn>
                <a:cxn ang="0">
                  <a:pos x="T6" y="T7"/>
                </a:cxn>
                <a:cxn ang="0">
                  <a:pos x="T8" y="T9"/>
                </a:cxn>
              </a:cxnLst>
              <a:rect l="0" t="0" r="r" b="b"/>
              <a:pathLst>
                <a:path w="26" h="54">
                  <a:moveTo>
                    <a:pt x="13" y="0"/>
                  </a:moveTo>
                  <a:cubicBezTo>
                    <a:pt x="1" y="0"/>
                    <a:pt x="0" y="18"/>
                    <a:pt x="0" y="27"/>
                  </a:cubicBezTo>
                  <a:cubicBezTo>
                    <a:pt x="0" y="53"/>
                    <a:pt x="9" y="54"/>
                    <a:pt x="13" y="54"/>
                  </a:cubicBezTo>
                  <a:cubicBezTo>
                    <a:pt x="16" y="54"/>
                    <a:pt x="26" y="53"/>
                    <a:pt x="26" y="27"/>
                  </a:cubicBezTo>
                  <a:cubicBezTo>
                    <a:pt x="26" y="18"/>
                    <a:pt x="25" y="0"/>
                    <a:pt x="1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sp>
          <p:nvSpPr>
            <p:cNvPr id="100" name="Freeform 99"/>
            <p:cNvSpPr>
              <a:spLocks noEditPoints="1"/>
            </p:cNvSpPr>
            <p:nvPr/>
          </p:nvSpPr>
          <p:spPr bwMode="auto">
            <a:xfrm>
              <a:off x="5826126" y="2865438"/>
              <a:ext cx="2811463" cy="1306513"/>
            </a:xfrm>
            <a:custGeom>
              <a:avLst/>
              <a:gdLst>
                <a:gd name="T0" fmla="*/ 635 w 748"/>
                <a:gd name="T1" fmla="*/ 0 h 347"/>
                <a:gd name="T2" fmla="*/ 450 w 748"/>
                <a:gd name="T3" fmla="*/ 44 h 347"/>
                <a:gd name="T4" fmla="*/ 259 w 748"/>
                <a:gd name="T5" fmla="*/ 188 h 347"/>
                <a:gd name="T6" fmla="*/ 73 w 748"/>
                <a:gd name="T7" fmla="*/ 206 h 347"/>
                <a:gd name="T8" fmla="*/ 54 w 748"/>
                <a:gd name="T9" fmla="*/ 298 h 347"/>
                <a:gd name="T10" fmla="*/ 84 w 748"/>
                <a:gd name="T11" fmla="*/ 315 h 347"/>
                <a:gd name="T12" fmla="*/ 0 w 748"/>
                <a:gd name="T13" fmla="*/ 336 h 347"/>
                <a:gd name="T14" fmla="*/ 112 w 748"/>
                <a:gd name="T15" fmla="*/ 347 h 347"/>
                <a:gd name="T16" fmla="*/ 259 w 748"/>
                <a:gd name="T17" fmla="*/ 327 h 347"/>
                <a:gd name="T18" fmla="*/ 280 w 748"/>
                <a:gd name="T19" fmla="*/ 321 h 347"/>
                <a:gd name="T20" fmla="*/ 416 w 748"/>
                <a:gd name="T21" fmla="*/ 240 h 347"/>
                <a:gd name="T22" fmla="*/ 455 w 748"/>
                <a:gd name="T23" fmla="*/ 170 h 347"/>
                <a:gd name="T24" fmla="*/ 635 w 748"/>
                <a:gd name="T25" fmla="*/ 214 h 347"/>
                <a:gd name="T26" fmla="*/ 126 w 748"/>
                <a:gd name="T27" fmla="*/ 312 h 347"/>
                <a:gd name="T28" fmla="*/ 112 w 748"/>
                <a:gd name="T29" fmla="*/ 262 h 347"/>
                <a:gd name="T30" fmla="*/ 118 w 748"/>
                <a:gd name="T31" fmla="*/ 243 h 347"/>
                <a:gd name="T32" fmla="*/ 181 w 748"/>
                <a:gd name="T33" fmla="*/ 239 h 347"/>
                <a:gd name="T34" fmla="*/ 188 w 748"/>
                <a:gd name="T35" fmla="*/ 258 h 347"/>
                <a:gd name="T36" fmla="*/ 301 w 748"/>
                <a:gd name="T37" fmla="*/ 286 h 347"/>
                <a:gd name="T38" fmla="*/ 268 w 748"/>
                <a:gd name="T39" fmla="*/ 297 h 347"/>
                <a:gd name="T40" fmla="*/ 222 w 748"/>
                <a:gd name="T41" fmla="*/ 307 h 347"/>
                <a:gd name="T42" fmla="*/ 252 w 748"/>
                <a:gd name="T43" fmla="*/ 286 h 347"/>
                <a:gd name="T44" fmla="*/ 252 w 748"/>
                <a:gd name="T45" fmla="*/ 231 h 347"/>
                <a:gd name="T46" fmla="*/ 220 w 748"/>
                <a:gd name="T47" fmla="*/ 233 h 347"/>
                <a:gd name="T48" fmla="*/ 258 w 748"/>
                <a:gd name="T49" fmla="*/ 212 h 347"/>
                <a:gd name="T50" fmla="*/ 272 w 748"/>
                <a:gd name="T51" fmla="*/ 208 h 347"/>
                <a:gd name="T52" fmla="*/ 272 w 748"/>
                <a:gd name="T53" fmla="*/ 240 h 347"/>
                <a:gd name="T54" fmla="*/ 281 w 748"/>
                <a:gd name="T55" fmla="*/ 278 h 347"/>
                <a:gd name="T56" fmla="*/ 301 w 748"/>
                <a:gd name="T57" fmla="*/ 286 h 347"/>
                <a:gd name="T58" fmla="*/ 375 w 748"/>
                <a:gd name="T59" fmla="*/ 250 h 347"/>
                <a:gd name="T60" fmla="*/ 325 w 748"/>
                <a:gd name="T61" fmla="*/ 262 h 347"/>
                <a:gd name="T62" fmla="*/ 349 w 748"/>
                <a:gd name="T63" fmla="*/ 208 h 347"/>
                <a:gd name="T64" fmla="*/ 329 w 748"/>
                <a:gd name="T65" fmla="*/ 213 h 347"/>
                <a:gd name="T66" fmla="*/ 329 w 748"/>
                <a:gd name="T67" fmla="*/ 198 h 347"/>
                <a:gd name="T68" fmla="*/ 364 w 748"/>
                <a:gd name="T69" fmla="*/ 169 h 347"/>
                <a:gd name="T70" fmla="*/ 364 w 748"/>
                <a:gd name="T71" fmla="*/ 199 h 347"/>
                <a:gd name="T72" fmla="*/ 377 w 748"/>
                <a:gd name="T73" fmla="*/ 234 h 347"/>
                <a:gd name="T74" fmla="*/ 385 w 748"/>
                <a:gd name="T75" fmla="*/ 243 h 347"/>
                <a:gd name="T76" fmla="*/ 425 w 748"/>
                <a:gd name="T77" fmla="*/ 210 h 347"/>
                <a:gd name="T78" fmla="*/ 404 w 748"/>
                <a:gd name="T79" fmla="*/ 210 h 347"/>
                <a:gd name="T80" fmla="*/ 415 w 748"/>
                <a:gd name="T81" fmla="*/ 134 h 347"/>
                <a:gd name="T82" fmla="*/ 435 w 748"/>
                <a:gd name="T83" fmla="*/ 118 h 347"/>
                <a:gd name="T84" fmla="*/ 436 w 748"/>
                <a:gd name="T85" fmla="*/ 185 h 347"/>
                <a:gd name="T86" fmla="*/ 477 w 748"/>
                <a:gd name="T87" fmla="*/ 107 h 347"/>
                <a:gd name="T88" fmla="*/ 533 w 748"/>
                <a:gd name="T89" fmla="*/ 107 h 347"/>
                <a:gd name="T90" fmla="*/ 616 w 748"/>
                <a:gd name="T91" fmla="*/ 147 h 347"/>
                <a:gd name="T92" fmla="*/ 557 w 748"/>
                <a:gd name="T93" fmla="*/ 133 h 347"/>
                <a:gd name="T94" fmla="*/ 579 w 748"/>
                <a:gd name="T95" fmla="*/ 84 h 347"/>
                <a:gd name="T96" fmla="*/ 555 w 748"/>
                <a:gd name="T97" fmla="*/ 79 h 347"/>
                <a:gd name="T98" fmla="*/ 593 w 748"/>
                <a:gd name="T99" fmla="*/ 68 h 347"/>
                <a:gd name="T100" fmla="*/ 616 w 748"/>
                <a:gd name="T101" fmla="*/ 133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48" h="347">
                  <a:moveTo>
                    <a:pt x="748" y="107"/>
                  </a:moveTo>
                  <a:cubicBezTo>
                    <a:pt x="635" y="0"/>
                    <a:pt x="635" y="0"/>
                    <a:pt x="635" y="0"/>
                  </a:cubicBezTo>
                  <a:cubicBezTo>
                    <a:pt x="635" y="44"/>
                    <a:pt x="635" y="44"/>
                    <a:pt x="635" y="44"/>
                  </a:cubicBezTo>
                  <a:cubicBezTo>
                    <a:pt x="450" y="44"/>
                    <a:pt x="450" y="44"/>
                    <a:pt x="450" y="44"/>
                  </a:cubicBezTo>
                  <a:cubicBezTo>
                    <a:pt x="449" y="49"/>
                    <a:pt x="447" y="53"/>
                    <a:pt x="445" y="58"/>
                  </a:cubicBezTo>
                  <a:cubicBezTo>
                    <a:pt x="418" y="113"/>
                    <a:pt x="353" y="162"/>
                    <a:pt x="259" y="188"/>
                  </a:cubicBezTo>
                  <a:cubicBezTo>
                    <a:pt x="212" y="201"/>
                    <a:pt x="161" y="208"/>
                    <a:pt x="112" y="208"/>
                  </a:cubicBezTo>
                  <a:cubicBezTo>
                    <a:pt x="99" y="208"/>
                    <a:pt x="86" y="207"/>
                    <a:pt x="73" y="206"/>
                  </a:cubicBezTo>
                  <a:cubicBezTo>
                    <a:pt x="68" y="225"/>
                    <a:pt x="62" y="243"/>
                    <a:pt x="54" y="260"/>
                  </a:cubicBezTo>
                  <a:cubicBezTo>
                    <a:pt x="54" y="298"/>
                    <a:pt x="54" y="298"/>
                    <a:pt x="54" y="298"/>
                  </a:cubicBezTo>
                  <a:cubicBezTo>
                    <a:pt x="64" y="299"/>
                    <a:pt x="74" y="300"/>
                    <a:pt x="84" y="300"/>
                  </a:cubicBezTo>
                  <a:cubicBezTo>
                    <a:pt x="84" y="315"/>
                    <a:pt x="84" y="315"/>
                    <a:pt x="84" y="315"/>
                  </a:cubicBezTo>
                  <a:cubicBezTo>
                    <a:pt x="64" y="314"/>
                    <a:pt x="44" y="311"/>
                    <a:pt x="24" y="308"/>
                  </a:cubicBezTo>
                  <a:cubicBezTo>
                    <a:pt x="17" y="317"/>
                    <a:pt x="9" y="327"/>
                    <a:pt x="0" y="336"/>
                  </a:cubicBezTo>
                  <a:cubicBezTo>
                    <a:pt x="33" y="342"/>
                    <a:pt x="68" y="346"/>
                    <a:pt x="103" y="347"/>
                  </a:cubicBezTo>
                  <a:cubicBezTo>
                    <a:pt x="106" y="347"/>
                    <a:pt x="109" y="347"/>
                    <a:pt x="112" y="347"/>
                  </a:cubicBezTo>
                  <a:cubicBezTo>
                    <a:pt x="116" y="347"/>
                    <a:pt x="120" y="347"/>
                    <a:pt x="124" y="347"/>
                  </a:cubicBezTo>
                  <a:cubicBezTo>
                    <a:pt x="169" y="346"/>
                    <a:pt x="215" y="339"/>
                    <a:pt x="259" y="327"/>
                  </a:cubicBezTo>
                  <a:cubicBezTo>
                    <a:pt x="259" y="327"/>
                    <a:pt x="259" y="327"/>
                    <a:pt x="259" y="327"/>
                  </a:cubicBezTo>
                  <a:cubicBezTo>
                    <a:pt x="266" y="325"/>
                    <a:pt x="273" y="323"/>
                    <a:pt x="280" y="321"/>
                  </a:cubicBezTo>
                  <a:cubicBezTo>
                    <a:pt x="314" y="310"/>
                    <a:pt x="344" y="295"/>
                    <a:pt x="369" y="279"/>
                  </a:cubicBezTo>
                  <a:cubicBezTo>
                    <a:pt x="387" y="267"/>
                    <a:pt x="403" y="254"/>
                    <a:pt x="416" y="240"/>
                  </a:cubicBezTo>
                  <a:cubicBezTo>
                    <a:pt x="431" y="223"/>
                    <a:pt x="443" y="205"/>
                    <a:pt x="450" y="187"/>
                  </a:cubicBezTo>
                  <a:cubicBezTo>
                    <a:pt x="452" y="181"/>
                    <a:pt x="453" y="176"/>
                    <a:pt x="455" y="170"/>
                  </a:cubicBezTo>
                  <a:cubicBezTo>
                    <a:pt x="635" y="170"/>
                    <a:pt x="635" y="170"/>
                    <a:pt x="635" y="170"/>
                  </a:cubicBezTo>
                  <a:cubicBezTo>
                    <a:pt x="635" y="214"/>
                    <a:pt x="635" y="214"/>
                    <a:pt x="635" y="214"/>
                  </a:cubicBezTo>
                  <a:lnTo>
                    <a:pt x="748" y="107"/>
                  </a:lnTo>
                  <a:close/>
                  <a:moveTo>
                    <a:pt x="126" y="312"/>
                  </a:moveTo>
                  <a:cubicBezTo>
                    <a:pt x="125" y="311"/>
                    <a:pt x="125" y="311"/>
                    <a:pt x="124" y="310"/>
                  </a:cubicBezTo>
                  <a:cubicBezTo>
                    <a:pt x="111" y="299"/>
                    <a:pt x="110" y="276"/>
                    <a:pt x="112" y="262"/>
                  </a:cubicBezTo>
                  <a:cubicBezTo>
                    <a:pt x="112" y="259"/>
                    <a:pt x="113" y="256"/>
                    <a:pt x="113" y="254"/>
                  </a:cubicBezTo>
                  <a:cubicBezTo>
                    <a:pt x="115" y="250"/>
                    <a:pt x="116" y="246"/>
                    <a:pt x="118" y="243"/>
                  </a:cubicBezTo>
                  <a:cubicBezTo>
                    <a:pt x="127" y="230"/>
                    <a:pt x="142" y="229"/>
                    <a:pt x="150" y="228"/>
                  </a:cubicBezTo>
                  <a:cubicBezTo>
                    <a:pt x="164" y="227"/>
                    <a:pt x="175" y="231"/>
                    <a:pt x="181" y="239"/>
                  </a:cubicBezTo>
                  <a:cubicBezTo>
                    <a:pt x="185" y="244"/>
                    <a:pt x="187" y="250"/>
                    <a:pt x="188" y="258"/>
                  </a:cubicBezTo>
                  <a:cubicBezTo>
                    <a:pt x="188" y="258"/>
                    <a:pt x="188" y="258"/>
                    <a:pt x="188" y="258"/>
                  </a:cubicBezTo>
                  <a:cubicBezTo>
                    <a:pt x="197" y="316"/>
                    <a:pt x="148" y="327"/>
                    <a:pt x="126" y="312"/>
                  </a:cubicBezTo>
                  <a:close/>
                  <a:moveTo>
                    <a:pt x="301" y="286"/>
                  </a:moveTo>
                  <a:cubicBezTo>
                    <a:pt x="294" y="288"/>
                    <a:pt x="288" y="291"/>
                    <a:pt x="281" y="293"/>
                  </a:cubicBezTo>
                  <a:cubicBezTo>
                    <a:pt x="277" y="294"/>
                    <a:pt x="273" y="295"/>
                    <a:pt x="268" y="297"/>
                  </a:cubicBezTo>
                  <a:cubicBezTo>
                    <a:pt x="265" y="297"/>
                    <a:pt x="263" y="298"/>
                    <a:pt x="261" y="299"/>
                  </a:cubicBezTo>
                  <a:cubicBezTo>
                    <a:pt x="248" y="302"/>
                    <a:pt x="235" y="305"/>
                    <a:pt x="222" y="307"/>
                  </a:cubicBezTo>
                  <a:cubicBezTo>
                    <a:pt x="222" y="292"/>
                    <a:pt x="222" y="292"/>
                    <a:pt x="222" y="292"/>
                  </a:cubicBezTo>
                  <a:cubicBezTo>
                    <a:pt x="232" y="290"/>
                    <a:pt x="242" y="288"/>
                    <a:pt x="252" y="286"/>
                  </a:cubicBezTo>
                  <a:cubicBezTo>
                    <a:pt x="252" y="246"/>
                    <a:pt x="252" y="246"/>
                    <a:pt x="252" y="246"/>
                  </a:cubicBezTo>
                  <a:cubicBezTo>
                    <a:pt x="252" y="231"/>
                    <a:pt x="252" y="231"/>
                    <a:pt x="252" y="231"/>
                  </a:cubicBezTo>
                  <a:cubicBezTo>
                    <a:pt x="245" y="235"/>
                    <a:pt x="235" y="241"/>
                    <a:pt x="228" y="245"/>
                  </a:cubicBezTo>
                  <a:cubicBezTo>
                    <a:pt x="220" y="233"/>
                    <a:pt x="220" y="233"/>
                    <a:pt x="220" y="233"/>
                  </a:cubicBezTo>
                  <a:cubicBezTo>
                    <a:pt x="220" y="233"/>
                    <a:pt x="220" y="233"/>
                    <a:pt x="220" y="233"/>
                  </a:cubicBezTo>
                  <a:cubicBezTo>
                    <a:pt x="231" y="227"/>
                    <a:pt x="247" y="218"/>
                    <a:pt x="258" y="212"/>
                  </a:cubicBezTo>
                  <a:cubicBezTo>
                    <a:pt x="261" y="211"/>
                    <a:pt x="265" y="210"/>
                    <a:pt x="268" y="209"/>
                  </a:cubicBezTo>
                  <a:cubicBezTo>
                    <a:pt x="269" y="209"/>
                    <a:pt x="271" y="208"/>
                    <a:pt x="272" y="208"/>
                  </a:cubicBezTo>
                  <a:cubicBezTo>
                    <a:pt x="272" y="221"/>
                    <a:pt x="272" y="221"/>
                    <a:pt x="272" y="221"/>
                  </a:cubicBezTo>
                  <a:cubicBezTo>
                    <a:pt x="272" y="240"/>
                    <a:pt x="272" y="240"/>
                    <a:pt x="272" y="240"/>
                  </a:cubicBezTo>
                  <a:cubicBezTo>
                    <a:pt x="272" y="281"/>
                    <a:pt x="272" y="281"/>
                    <a:pt x="272" y="281"/>
                  </a:cubicBezTo>
                  <a:cubicBezTo>
                    <a:pt x="275" y="280"/>
                    <a:pt x="278" y="279"/>
                    <a:pt x="281" y="278"/>
                  </a:cubicBezTo>
                  <a:cubicBezTo>
                    <a:pt x="288" y="276"/>
                    <a:pt x="294" y="274"/>
                    <a:pt x="301" y="272"/>
                  </a:cubicBezTo>
                  <a:cubicBezTo>
                    <a:pt x="301" y="286"/>
                    <a:pt x="301" y="286"/>
                    <a:pt x="301" y="286"/>
                  </a:cubicBezTo>
                  <a:close/>
                  <a:moveTo>
                    <a:pt x="385" y="243"/>
                  </a:moveTo>
                  <a:cubicBezTo>
                    <a:pt x="382" y="245"/>
                    <a:pt x="379" y="248"/>
                    <a:pt x="375" y="250"/>
                  </a:cubicBezTo>
                  <a:cubicBezTo>
                    <a:pt x="360" y="260"/>
                    <a:pt x="343" y="269"/>
                    <a:pt x="325" y="277"/>
                  </a:cubicBezTo>
                  <a:cubicBezTo>
                    <a:pt x="325" y="262"/>
                    <a:pt x="325" y="262"/>
                    <a:pt x="325" y="262"/>
                  </a:cubicBezTo>
                  <a:cubicBezTo>
                    <a:pt x="333" y="258"/>
                    <a:pt x="341" y="254"/>
                    <a:pt x="349" y="250"/>
                  </a:cubicBezTo>
                  <a:cubicBezTo>
                    <a:pt x="349" y="208"/>
                    <a:pt x="349" y="208"/>
                    <a:pt x="349" y="208"/>
                  </a:cubicBezTo>
                  <a:cubicBezTo>
                    <a:pt x="349" y="195"/>
                    <a:pt x="349" y="195"/>
                    <a:pt x="349" y="195"/>
                  </a:cubicBezTo>
                  <a:cubicBezTo>
                    <a:pt x="343" y="201"/>
                    <a:pt x="335" y="208"/>
                    <a:pt x="329" y="213"/>
                  </a:cubicBezTo>
                  <a:cubicBezTo>
                    <a:pt x="323" y="203"/>
                    <a:pt x="323" y="203"/>
                    <a:pt x="323" y="203"/>
                  </a:cubicBezTo>
                  <a:cubicBezTo>
                    <a:pt x="325" y="201"/>
                    <a:pt x="327" y="199"/>
                    <a:pt x="329" y="198"/>
                  </a:cubicBezTo>
                  <a:cubicBezTo>
                    <a:pt x="337" y="190"/>
                    <a:pt x="346" y="182"/>
                    <a:pt x="354" y="175"/>
                  </a:cubicBezTo>
                  <a:cubicBezTo>
                    <a:pt x="357" y="173"/>
                    <a:pt x="361" y="171"/>
                    <a:pt x="364" y="169"/>
                  </a:cubicBezTo>
                  <a:cubicBezTo>
                    <a:pt x="364" y="176"/>
                    <a:pt x="364" y="176"/>
                    <a:pt x="364" y="176"/>
                  </a:cubicBezTo>
                  <a:cubicBezTo>
                    <a:pt x="364" y="199"/>
                    <a:pt x="364" y="199"/>
                    <a:pt x="364" y="199"/>
                  </a:cubicBezTo>
                  <a:cubicBezTo>
                    <a:pt x="364" y="242"/>
                    <a:pt x="364" y="242"/>
                    <a:pt x="364" y="242"/>
                  </a:cubicBezTo>
                  <a:cubicBezTo>
                    <a:pt x="369" y="239"/>
                    <a:pt x="373" y="237"/>
                    <a:pt x="377" y="234"/>
                  </a:cubicBezTo>
                  <a:cubicBezTo>
                    <a:pt x="380" y="232"/>
                    <a:pt x="383" y="231"/>
                    <a:pt x="385" y="229"/>
                  </a:cubicBezTo>
                  <a:cubicBezTo>
                    <a:pt x="385" y="243"/>
                    <a:pt x="385" y="243"/>
                    <a:pt x="385" y="243"/>
                  </a:cubicBezTo>
                  <a:close/>
                  <a:moveTo>
                    <a:pt x="436" y="185"/>
                  </a:moveTo>
                  <a:cubicBezTo>
                    <a:pt x="433" y="196"/>
                    <a:pt x="430" y="204"/>
                    <a:pt x="425" y="210"/>
                  </a:cubicBezTo>
                  <a:cubicBezTo>
                    <a:pt x="421" y="216"/>
                    <a:pt x="416" y="219"/>
                    <a:pt x="412" y="219"/>
                  </a:cubicBezTo>
                  <a:cubicBezTo>
                    <a:pt x="409" y="219"/>
                    <a:pt x="406" y="216"/>
                    <a:pt x="404" y="210"/>
                  </a:cubicBezTo>
                  <a:cubicBezTo>
                    <a:pt x="401" y="201"/>
                    <a:pt x="400" y="186"/>
                    <a:pt x="402" y="170"/>
                  </a:cubicBezTo>
                  <a:cubicBezTo>
                    <a:pt x="404" y="158"/>
                    <a:pt x="408" y="145"/>
                    <a:pt x="415" y="134"/>
                  </a:cubicBezTo>
                  <a:cubicBezTo>
                    <a:pt x="417" y="130"/>
                    <a:pt x="420" y="127"/>
                    <a:pt x="422" y="123"/>
                  </a:cubicBezTo>
                  <a:cubicBezTo>
                    <a:pt x="428" y="118"/>
                    <a:pt x="432" y="116"/>
                    <a:pt x="435" y="118"/>
                  </a:cubicBezTo>
                  <a:cubicBezTo>
                    <a:pt x="435" y="119"/>
                    <a:pt x="435" y="119"/>
                    <a:pt x="435" y="119"/>
                  </a:cubicBezTo>
                  <a:cubicBezTo>
                    <a:pt x="441" y="127"/>
                    <a:pt x="441" y="164"/>
                    <a:pt x="436" y="185"/>
                  </a:cubicBezTo>
                  <a:close/>
                  <a:moveTo>
                    <a:pt x="505" y="147"/>
                  </a:moveTo>
                  <a:cubicBezTo>
                    <a:pt x="481" y="147"/>
                    <a:pt x="477" y="124"/>
                    <a:pt x="477" y="107"/>
                  </a:cubicBezTo>
                  <a:cubicBezTo>
                    <a:pt x="477" y="89"/>
                    <a:pt x="481" y="67"/>
                    <a:pt x="505" y="67"/>
                  </a:cubicBezTo>
                  <a:cubicBezTo>
                    <a:pt x="528" y="67"/>
                    <a:pt x="533" y="89"/>
                    <a:pt x="533" y="107"/>
                  </a:cubicBezTo>
                  <a:cubicBezTo>
                    <a:pt x="533" y="124"/>
                    <a:pt x="529" y="147"/>
                    <a:pt x="505" y="147"/>
                  </a:cubicBezTo>
                  <a:close/>
                  <a:moveTo>
                    <a:pt x="616" y="147"/>
                  </a:moveTo>
                  <a:cubicBezTo>
                    <a:pt x="557" y="147"/>
                    <a:pt x="557" y="147"/>
                    <a:pt x="557" y="147"/>
                  </a:cubicBezTo>
                  <a:cubicBezTo>
                    <a:pt x="557" y="133"/>
                    <a:pt x="557" y="133"/>
                    <a:pt x="557" y="133"/>
                  </a:cubicBezTo>
                  <a:cubicBezTo>
                    <a:pt x="579" y="133"/>
                    <a:pt x="579" y="133"/>
                    <a:pt x="579" y="133"/>
                  </a:cubicBezTo>
                  <a:cubicBezTo>
                    <a:pt x="579" y="84"/>
                    <a:pt x="579" y="84"/>
                    <a:pt x="579" y="84"/>
                  </a:cubicBezTo>
                  <a:cubicBezTo>
                    <a:pt x="561" y="91"/>
                    <a:pt x="561" y="91"/>
                    <a:pt x="561" y="91"/>
                  </a:cubicBezTo>
                  <a:cubicBezTo>
                    <a:pt x="555" y="79"/>
                    <a:pt x="555" y="79"/>
                    <a:pt x="555" y="79"/>
                  </a:cubicBezTo>
                  <a:cubicBezTo>
                    <a:pt x="583" y="68"/>
                    <a:pt x="583" y="68"/>
                    <a:pt x="583" y="68"/>
                  </a:cubicBezTo>
                  <a:cubicBezTo>
                    <a:pt x="593" y="68"/>
                    <a:pt x="593" y="68"/>
                    <a:pt x="593" y="68"/>
                  </a:cubicBezTo>
                  <a:cubicBezTo>
                    <a:pt x="593" y="133"/>
                    <a:pt x="593" y="133"/>
                    <a:pt x="593" y="133"/>
                  </a:cubicBezTo>
                  <a:cubicBezTo>
                    <a:pt x="616" y="133"/>
                    <a:pt x="616" y="133"/>
                    <a:pt x="616" y="133"/>
                  </a:cubicBezTo>
                  <a:lnTo>
                    <a:pt x="616" y="1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sp>
          <p:nvSpPr>
            <p:cNvPr id="101" name="Freeform 100"/>
            <p:cNvSpPr>
              <a:spLocks/>
            </p:cNvSpPr>
            <p:nvPr/>
          </p:nvSpPr>
          <p:spPr bwMode="auto">
            <a:xfrm>
              <a:off x="7378701" y="3375025"/>
              <a:ext cx="74613" cy="266700"/>
            </a:xfrm>
            <a:custGeom>
              <a:avLst/>
              <a:gdLst>
                <a:gd name="T0" fmla="*/ 14 w 20"/>
                <a:gd name="T1" fmla="*/ 1 h 71"/>
                <a:gd name="T2" fmla="*/ 2 w 20"/>
                <a:gd name="T3" fmla="*/ 24 h 71"/>
                <a:gd name="T4" fmla="*/ 0 w 20"/>
                <a:gd name="T5" fmla="*/ 47 h 71"/>
                <a:gd name="T6" fmla="*/ 9 w 20"/>
                <a:gd name="T7" fmla="*/ 63 h 71"/>
                <a:gd name="T8" fmla="*/ 17 w 20"/>
                <a:gd name="T9" fmla="*/ 7 h 71"/>
                <a:gd name="T10" fmla="*/ 14 w 20"/>
                <a:gd name="T11" fmla="*/ 1 h 71"/>
              </a:gdLst>
              <a:ahLst/>
              <a:cxnLst>
                <a:cxn ang="0">
                  <a:pos x="T0" y="T1"/>
                </a:cxn>
                <a:cxn ang="0">
                  <a:pos x="T2" y="T3"/>
                </a:cxn>
                <a:cxn ang="0">
                  <a:pos x="T4" y="T5"/>
                </a:cxn>
                <a:cxn ang="0">
                  <a:pos x="T6" y="T7"/>
                </a:cxn>
                <a:cxn ang="0">
                  <a:pos x="T8" y="T9"/>
                </a:cxn>
                <a:cxn ang="0">
                  <a:pos x="T10" y="T11"/>
                </a:cxn>
              </a:cxnLst>
              <a:rect l="0" t="0" r="r" b="b"/>
              <a:pathLst>
                <a:path w="20" h="71">
                  <a:moveTo>
                    <a:pt x="14" y="1"/>
                  </a:moveTo>
                  <a:cubicBezTo>
                    <a:pt x="12" y="0"/>
                    <a:pt x="4" y="5"/>
                    <a:pt x="2" y="24"/>
                  </a:cubicBezTo>
                  <a:cubicBezTo>
                    <a:pt x="1" y="30"/>
                    <a:pt x="0" y="38"/>
                    <a:pt x="0" y="47"/>
                  </a:cubicBezTo>
                  <a:cubicBezTo>
                    <a:pt x="1" y="56"/>
                    <a:pt x="2" y="71"/>
                    <a:pt x="9" y="63"/>
                  </a:cubicBezTo>
                  <a:cubicBezTo>
                    <a:pt x="18" y="54"/>
                    <a:pt x="20" y="20"/>
                    <a:pt x="17" y="7"/>
                  </a:cubicBezTo>
                  <a:cubicBezTo>
                    <a:pt x="16" y="4"/>
                    <a:pt x="15" y="2"/>
                    <a:pt x="14"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105" name="Rectangle 104"/>
          <p:cNvSpPr/>
          <p:nvPr/>
        </p:nvSpPr>
        <p:spPr bwMode="auto">
          <a:xfrm>
            <a:off x="10432062" y="3448918"/>
            <a:ext cx="65" cy="184666"/>
          </a:xfrm>
          <a:prstGeom prst="rect">
            <a:avLst/>
          </a:prstGeom>
          <a:noFill/>
          <a:ln w="9525" cap="flat" cmpd="sng" algn="ctr">
            <a:noFill/>
            <a:prstDash val="sysDot"/>
            <a:headEnd type="none" w="med" len="med"/>
            <a:tailEnd type="none" w="med" len="med"/>
          </a:ln>
          <a:effectLst/>
        </p:spPr>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marL="0" marR="0" lvl="0" indent="0" algn="ctr" defTabSz="608884"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05050"/>
              </a:solidFill>
              <a:effectLst/>
              <a:uLnTx/>
              <a:uFillTx/>
              <a:latin typeface="Segoe UI"/>
              <a:ea typeface="+mn-ea"/>
              <a:cs typeface="+mn-cs"/>
            </a:endParaRPr>
          </a:p>
        </p:txBody>
      </p:sp>
      <p:grpSp>
        <p:nvGrpSpPr>
          <p:cNvPr id="106" name="Group 105"/>
          <p:cNvGrpSpPr/>
          <p:nvPr/>
        </p:nvGrpSpPr>
        <p:grpSpPr>
          <a:xfrm>
            <a:off x="9333823" y="2132468"/>
            <a:ext cx="906318" cy="808016"/>
            <a:chOff x="9571189" y="2306534"/>
            <a:chExt cx="906318" cy="808016"/>
          </a:xfrm>
        </p:grpSpPr>
        <p:sp>
          <p:nvSpPr>
            <p:cNvPr id="107" name="Rounded Rectangle 60"/>
            <p:cNvSpPr>
              <a:spLocks noChangeArrowheads="1"/>
            </p:cNvSpPr>
            <p:nvPr/>
          </p:nvSpPr>
          <p:spPr bwMode="auto">
            <a:xfrm rot="2643943">
              <a:off x="9571189" y="2386395"/>
              <a:ext cx="906318" cy="646158"/>
            </a:xfrm>
            <a:prstGeom prst="ellipse">
              <a:avLst/>
            </a:prstGeom>
            <a:solidFill>
              <a:schemeClr val="bg1">
                <a:alpha val="30196"/>
              </a:schemeClr>
            </a:solidFill>
            <a:ln w="3175">
              <a:solidFill>
                <a:schemeClr val="bg1">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p>
              <a:pPr marL="0" marR="0" lvl="0" indent="0" algn="ctr" defTabSz="91357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05050"/>
                </a:solidFill>
                <a:effectLst/>
                <a:uLnTx/>
                <a:uFillTx/>
                <a:latin typeface="Segoe UI"/>
                <a:ea typeface="+mn-ea"/>
                <a:cs typeface="+mn-cs"/>
              </a:endParaRPr>
            </a:p>
          </p:txBody>
        </p:sp>
        <p:grpSp>
          <p:nvGrpSpPr>
            <p:cNvPr id="108" name="Group 107"/>
            <p:cNvGrpSpPr/>
            <p:nvPr/>
          </p:nvGrpSpPr>
          <p:grpSpPr>
            <a:xfrm>
              <a:off x="9757136" y="2306534"/>
              <a:ext cx="574530" cy="808016"/>
              <a:chOff x="9757136" y="2306534"/>
              <a:chExt cx="574530" cy="808016"/>
            </a:xfrm>
          </p:grpSpPr>
          <p:pic>
            <p:nvPicPr>
              <p:cNvPr id="109" name="Picture 31"/>
              <p:cNvPicPr>
                <a:picLocks noChangeAspect="1"/>
              </p:cNvPicPr>
              <p:nvPr/>
            </p:nvPicPr>
            <p:blipFill>
              <a:blip r:embed="rId21" cstate="screen">
                <a:duotone>
                  <a:prstClr val="black"/>
                  <a:schemeClr val="tx2">
                    <a:tint val="45000"/>
                    <a:satMod val="400000"/>
                  </a:schemeClr>
                </a:duotone>
                <a:extLst>
                  <a:ext uri="{BEBA8EAE-BF5A-486C-A8C5-ECC9F3942E4B}">
                    <a14:imgProps xmlns:a14="http://schemas.microsoft.com/office/drawing/2010/main">
                      <a14:imgLayer r:embed="rId22">
                        <a14:imgEffect>
                          <a14:brightnessContrast bright="-20000" contrast="20000"/>
                        </a14:imgEffect>
                      </a14:imgLayer>
                    </a14:imgProps>
                  </a:ext>
                  <a:ext uri="{28A0092B-C50C-407E-A947-70E740481C1C}">
                    <a14:useLocalDpi xmlns:a14="http://schemas.microsoft.com/office/drawing/2010/main"/>
                  </a:ext>
                </a:extLst>
              </a:blip>
              <a:stretch>
                <a:fillRect/>
              </a:stretch>
            </p:blipFill>
            <p:spPr bwMode="auto">
              <a:xfrm>
                <a:off x="9938733" y="2306534"/>
                <a:ext cx="227411" cy="227394"/>
              </a:xfrm>
              <a:prstGeom prst="rect">
                <a:avLst/>
              </a:prstGeom>
            </p:spPr>
          </p:pic>
          <p:pic>
            <p:nvPicPr>
              <p:cNvPr id="110" name="Picture 590"/>
              <p:cNvPicPr>
                <a:picLocks noChangeAspect="1"/>
              </p:cNvPicPr>
              <p:nvPr/>
            </p:nvPicPr>
            <p:blipFill>
              <a:blip r:embed="rId23" cstate="screen">
                <a:duotone>
                  <a:prstClr val="black"/>
                  <a:schemeClr val="tx2">
                    <a:tint val="45000"/>
                    <a:satMod val="400000"/>
                  </a:schemeClr>
                </a:duotone>
                <a:extLst>
                  <a:ext uri="{BEBA8EAE-BF5A-486C-A8C5-ECC9F3942E4B}">
                    <a14:imgProps xmlns:a14="http://schemas.microsoft.com/office/drawing/2010/main">
                      <a14:imgLayer r:embed="rId24">
                        <a14:imgEffect>
                          <a14:brightnessContrast bright="-20000" contrast="-40000"/>
                        </a14:imgEffect>
                      </a14:imgLayer>
                    </a14:imgProps>
                  </a:ext>
                  <a:ext uri="{28A0092B-C50C-407E-A947-70E740481C1C}">
                    <a14:useLocalDpi xmlns:a14="http://schemas.microsoft.com/office/drawing/2010/main"/>
                  </a:ext>
                </a:extLst>
              </a:blip>
              <a:srcRect/>
              <a:stretch>
                <a:fillRect/>
              </a:stretch>
            </p:blipFill>
            <p:spPr bwMode="auto">
              <a:xfrm>
                <a:off x="9757136" y="2427019"/>
                <a:ext cx="314002" cy="317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1" name="Picture 31"/>
              <p:cNvPicPr>
                <a:picLocks noChangeAspect="1"/>
              </p:cNvPicPr>
              <p:nvPr/>
            </p:nvPicPr>
            <p:blipFill>
              <a:blip r:embed="rId21" cstate="screen">
                <a:duotone>
                  <a:prstClr val="black"/>
                  <a:schemeClr val="tx2">
                    <a:tint val="45000"/>
                    <a:satMod val="400000"/>
                  </a:schemeClr>
                </a:duotone>
                <a:extLst>
                  <a:ext uri="{BEBA8EAE-BF5A-486C-A8C5-ECC9F3942E4B}">
                    <a14:imgProps xmlns:a14="http://schemas.microsoft.com/office/drawing/2010/main">
                      <a14:imgLayer r:embed="rId22">
                        <a14:imgEffect>
                          <a14:brightnessContrast bright="-20000" contrast="20000"/>
                        </a14:imgEffect>
                      </a14:imgLayer>
                    </a14:imgProps>
                  </a:ext>
                  <a:ext uri="{28A0092B-C50C-407E-A947-70E740481C1C}">
                    <a14:useLocalDpi xmlns:a14="http://schemas.microsoft.com/office/drawing/2010/main"/>
                  </a:ext>
                </a:extLst>
              </a:blip>
              <a:stretch>
                <a:fillRect/>
              </a:stretch>
            </p:blipFill>
            <p:spPr bwMode="auto">
              <a:xfrm>
                <a:off x="10104255" y="2676162"/>
                <a:ext cx="227411" cy="227394"/>
              </a:xfrm>
              <a:prstGeom prst="rect">
                <a:avLst/>
              </a:prstGeom>
            </p:spPr>
          </p:pic>
          <p:pic>
            <p:nvPicPr>
              <p:cNvPr id="112" name="Picture 588"/>
              <p:cNvPicPr>
                <a:picLocks noChangeAspect="1"/>
              </p:cNvPicPr>
              <p:nvPr/>
            </p:nvPicPr>
            <p:blipFill>
              <a:blip r:embed="rId25" cstate="screen">
                <a:duotone>
                  <a:prstClr val="black"/>
                  <a:schemeClr val="tx2">
                    <a:tint val="45000"/>
                    <a:satMod val="400000"/>
                  </a:schemeClr>
                </a:duotone>
                <a:extLst>
                  <a:ext uri="{BEBA8EAE-BF5A-486C-A8C5-ECC9F3942E4B}">
                    <a14:imgProps xmlns:a14="http://schemas.microsoft.com/office/drawing/2010/main">
                      <a14:imgLayer r:embed="rId24">
                        <a14:imgEffect>
                          <a14:brightnessContrast bright="-20000" contrast="20000"/>
                        </a14:imgEffect>
                      </a14:imgLayer>
                    </a14:imgProps>
                  </a:ext>
                  <a:ext uri="{28A0092B-C50C-407E-A947-70E740481C1C}">
                    <a14:useLocalDpi xmlns:a14="http://schemas.microsoft.com/office/drawing/2010/main"/>
                  </a:ext>
                </a:extLst>
              </a:blip>
              <a:srcRect/>
              <a:stretch>
                <a:fillRect/>
              </a:stretch>
            </p:blipFill>
            <p:spPr bwMode="auto">
              <a:xfrm>
                <a:off x="9922658" y="2796649"/>
                <a:ext cx="314001" cy="317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13" name="TextBox 49"/>
          <p:cNvSpPr txBox="1">
            <a:spLocks noChangeArrowheads="1"/>
          </p:cNvSpPr>
          <p:nvPr/>
        </p:nvSpPr>
        <p:spPr bwMode="auto">
          <a:xfrm>
            <a:off x="9147473" y="3093415"/>
            <a:ext cx="1117025" cy="184666"/>
          </a:xfrm>
          <a:prstGeom prst="rect">
            <a:avLst/>
          </a:prstGeom>
          <a:noFill/>
          <a:ln w="9525" cap="flat" cmpd="sng" algn="ctr">
            <a:noFill/>
            <a:prstDash val="sysDot"/>
            <a:headEnd type="none" w="med" len="med"/>
            <a:tailEnd type="none" w="med" len="med"/>
          </a:ln>
          <a:effectLst/>
          <a:ex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defPPr>
              <a:defRPr lang="en-US"/>
            </a:defPPr>
            <a:lvl1pPr defTabSz="609067">
              <a:lnSpc>
                <a:spcPct val="120000"/>
              </a:lnSpc>
              <a:defRPr sz="900" kern="0">
                <a:solidFill>
                  <a:srgbClr val="000000"/>
                </a:solidFill>
              </a:defRPr>
            </a:lvl1pPr>
          </a:lstStyle>
          <a:p>
            <a:pPr marL="0" marR="0" lvl="0" indent="0" algn="ctr" defTabSz="60906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505050"/>
                </a:solidFill>
                <a:effectLst/>
                <a:uLnTx/>
                <a:uFillTx/>
                <a:latin typeface="Segoe UI"/>
                <a:ea typeface="+mn-ea"/>
                <a:cs typeface="+mn-cs"/>
              </a:rPr>
              <a:t>Fast to market</a:t>
            </a:r>
            <a:endParaRPr kumimoji="0" lang="nl-NL" sz="1200" b="0" i="0" u="none" strike="noStrike" kern="0" cap="none" spc="0" normalizeH="0" baseline="0" noProof="0">
              <a:ln>
                <a:noFill/>
              </a:ln>
              <a:solidFill>
                <a:srgbClr val="505050"/>
              </a:solidFill>
              <a:effectLst/>
              <a:uLnTx/>
              <a:uFillTx/>
              <a:latin typeface="Segoe UI"/>
              <a:ea typeface="+mn-ea"/>
              <a:cs typeface="+mn-cs"/>
            </a:endParaRPr>
          </a:p>
        </p:txBody>
      </p:sp>
      <p:pic>
        <p:nvPicPr>
          <p:cNvPr id="114" name="Picture 783"/>
          <p:cNvPicPr>
            <a:picLocks noChangeAspect="1"/>
          </p:cNvPicPr>
          <p:nvPr/>
        </p:nvPicPr>
        <p:blipFill>
          <a:blip r:embed="rId26">
            <a:duotone>
              <a:prstClr val="black"/>
              <a:schemeClr val="tx2">
                <a:tint val="45000"/>
                <a:satMod val="400000"/>
              </a:schemeClr>
            </a:duotone>
            <a:extLst>
              <a:ext uri="{28A0092B-C50C-407E-A947-70E740481C1C}">
                <a14:useLocalDpi xmlns:a14="http://schemas.microsoft.com/office/drawing/2010/main"/>
              </a:ext>
            </a:extLst>
          </a:blip>
          <a:stretch>
            <a:fillRect/>
          </a:stretch>
        </p:blipFill>
        <p:spPr bwMode="auto">
          <a:xfrm>
            <a:off x="9414186" y="3370444"/>
            <a:ext cx="583599" cy="583945"/>
          </a:xfrm>
          <a:prstGeom prst="rect">
            <a:avLst/>
          </a:prstGeom>
        </p:spPr>
      </p:pic>
      <p:sp>
        <p:nvSpPr>
          <p:cNvPr id="115" name="Rectangle 114"/>
          <p:cNvSpPr/>
          <p:nvPr/>
        </p:nvSpPr>
        <p:spPr bwMode="auto">
          <a:xfrm>
            <a:off x="10520722" y="4020258"/>
            <a:ext cx="1364890" cy="184666"/>
          </a:xfrm>
          <a:prstGeom prst="rect">
            <a:avLst/>
          </a:prstGeom>
          <a:noFill/>
          <a:ln w="9525" cap="flat" cmpd="sng" algn="ctr">
            <a:noFill/>
            <a:prstDash val="sysDot"/>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ctr" defTabSz="60888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505050"/>
                </a:solidFill>
                <a:effectLst/>
                <a:uLnTx/>
                <a:uFillTx/>
                <a:latin typeface="Segoe UI"/>
                <a:ea typeface="+mn-ea"/>
                <a:cs typeface="+mn-cs"/>
              </a:rPr>
              <a:t>Satisfied customers</a:t>
            </a:r>
          </a:p>
        </p:txBody>
      </p:sp>
      <p:grpSp>
        <p:nvGrpSpPr>
          <p:cNvPr id="116" name="Group 115"/>
          <p:cNvGrpSpPr/>
          <p:nvPr/>
        </p:nvGrpSpPr>
        <p:grpSpPr>
          <a:xfrm>
            <a:off x="10904677" y="3438014"/>
            <a:ext cx="596980" cy="448417"/>
            <a:chOff x="10731378" y="3360431"/>
            <a:chExt cx="596980" cy="448417"/>
          </a:xfrm>
          <a:solidFill>
            <a:srgbClr val="5E83BD"/>
          </a:solidFill>
        </p:grpSpPr>
        <p:sp>
          <p:nvSpPr>
            <p:cNvPr id="117" name="Trapezoid 3"/>
            <p:cNvSpPr>
              <a:spLocks noChangeAspect="1"/>
            </p:cNvSpPr>
            <p:nvPr/>
          </p:nvSpPr>
          <p:spPr>
            <a:xfrm>
              <a:off x="10731378" y="3385737"/>
              <a:ext cx="596980" cy="423111"/>
            </a:xfrm>
            <a:custGeom>
              <a:avLst/>
              <a:gdLst/>
              <a:ahLst/>
              <a:cxnLst/>
              <a:rect l="l" t="t" r="r" b="b"/>
              <a:pathLst>
                <a:path w="4936448" h="3498714">
                  <a:moveTo>
                    <a:pt x="2052754" y="2902312"/>
                  </a:moveTo>
                  <a:lnTo>
                    <a:pt x="4707054" y="2902312"/>
                  </a:lnTo>
                  <a:cubicBezTo>
                    <a:pt x="4768427" y="2902312"/>
                    <a:pt x="4818179" y="2952064"/>
                    <a:pt x="4818179" y="3013437"/>
                  </a:cubicBezTo>
                  <a:cubicBezTo>
                    <a:pt x="4818179" y="3074810"/>
                    <a:pt x="4768427" y="3124562"/>
                    <a:pt x="4707054" y="3124562"/>
                  </a:cubicBezTo>
                  <a:lnTo>
                    <a:pt x="4545125" y="3124562"/>
                  </a:lnTo>
                  <a:lnTo>
                    <a:pt x="4545125" y="3361625"/>
                  </a:lnTo>
                  <a:cubicBezTo>
                    <a:pt x="4545125" y="3421831"/>
                    <a:pt x="4496319" y="3470637"/>
                    <a:pt x="4436113" y="3470637"/>
                  </a:cubicBezTo>
                  <a:lnTo>
                    <a:pt x="4235039" y="3470637"/>
                  </a:lnTo>
                  <a:cubicBezTo>
                    <a:pt x="4174833" y="3470637"/>
                    <a:pt x="4126027" y="3421831"/>
                    <a:pt x="4126027" y="3361625"/>
                  </a:cubicBezTo>
                  <a:lnTo>
                    <a:pt x="4126027" y="3124562"/>
                  </a:lnTo>
                  <a:lnTo>
                    <a:pt x="2589325" y="3124562"/>
                  </a:lnTo>
                  <a:lnTo>
                    <a:pt x="2589325" y="3361625"/>
                  </a:lnTo>
                  <a:cubicBezTo>
                    <a:pt x="2589325" y="3421831"/>
                    <a:pt x="2540519" y="3470637"/>
                    <a:pt x="2480313" y="3470637"/>
                  </a:cubicBezTo>
                  <a:lnTo>
                    <a:pt x="2279239" y="3470637"/>
                  </a:lnTo>
                  <a:cubicBezTo>
                    <a:pt x="2219033" y="3470637"/>
                    <a:pt x="2170227" y="3421831"/>
                    <a:pt x="2170227" y="3361625"/>
                  </a:cubicBezTo>
                  <a:lnTo>
                    <a:pt x="2170227" y="3124562"/>
                  </a:lnTo>
                  <a:lnTo>
                    <a:pt x="2052754" y="3124562"/>
                  </a:lnTo>
                  <a:cubicBezTo>
                    <a:pt x="1991381" y="3124562"/>
                    <a:pt x="1941629" y="3074810"/>
                    <a:pt x="1941629" y="3013437"/>
                  </a:cubicBezTo>
                  <a:cubicBezTo>
                    <a:pt x="1941629" y="2952064"/>
                    <a:pt x="1991381" y="2902312"/>
                    <a:pt x="2052754" y="2902312"/>
                  </a:cubicBezTo>
                  <a:close/>
                  <a:moveTo>
                    <a:pt x="4492583" y="2089512"/>
                  </a:moveTo>
                  <a:cubicBezTo>
                    <a:pt x="4392633" y="2089512"/>
                    <a:pt x="4311608" y="2170537"/>
                    <a:pt x="4311608" y="2270487"/>
                  </a:cubicBezTo>
                  <a:cubicBezTo>
                    <a:pt x="4311608" y="2370437"/>
                    <a:pt x="4392633" y="2451462"/>
                    <a:pt x="4492583" y="2451462"/>
                  </a:cubicBezTo>
                  <a:cubicBezTo>
                    <a:pt x="4592533" y="2451462"/>
                    <a:pt x="4673558" y="2370437"/>
                    <a:pt x="4673558" y="2270487"/>
                  </a:cubicBezTo>
                  <a:cubicBezTo>
                    <a:pt x="4673558" y="2170537"/>
                    <a:pt x="4592533" y="2089512"/>
                    <a:pt x="4492583" y="2089512"/>
                  </a:cubicBezTo>
                  <a:close/>
                  <a:moveTo>
                    <a:pt x="2979061" y="2089512"/>
                  </a:moveTo>
                  <a:cubicBezTo>
                    <a:pt x="2808971" y="2089512"/>
                    <a:pt x="2671086" y="2227397"/>
                    <a:pt x="2671086" y="2397487"/>
                  </a:cubicBezTo>
                  <a:lnTo>
                    <a:pt x="2671086" y="2584811"/>
                  </a:lnTo>
                  <a:lnTo>
                    <a:pt x="4083961" y="2584811"/>
                  </a:lnTo>
                  <a:lnTo>
                    <a:pt x="4083961" y="2397487"/>
                  </a:lnTo>
                  <a:cubicBezTo>
                    <a:pt x="4083961" y="2227397"/>
                    <a:pt x="3946076" y="2089512"/>
                    <a:pt x="3775986" y="2089512"/>
                  </a:cubicBezTo>
                  <a:close/>
                  <a:moveTo>
                    <a:pt x="2251033" y="2089512"/>
                  </a:moveTo>
                  <a:cubicBezTo>
                    <a:pt x="2151083" y="2089512"/>
                    <a:pt x="2070058" y="2170537"/>
                    <a:pt x="2070058" y="2270487"/>
                  </a:cubicBezTo>
                  <a:cubicBezTo>
                    <a:pt x="2070058" y="2370437"/>
                    <a:pt x="2151083" y="2451462"/>
                    <a:pt x="2251033" y="2451462"/>
                  </a:cubicBezTo>
                  <a:cubicBezTo>
                    <a:pt x="2350983" y="2451462"/>
                    <a:pt x="2432008" y="2370437"/>
                    <a:pt x="2432008" y="2270487"/>
                  </a:cubicBezTo>
                  <a:cubicBezTo>
                    <a:pt x="2432008" y="2170537"/>
                    <a:pt x="2350983" y="2089512"/>
                    <a:pt x="2251033" y="2089512"/>
                  </a:cubicBezTo>
                  <a:close/>
                  <a:moveTo>
                    <a:pt x="2651061" y="1167548"/>
                  </a:moveTo>
                  <a:lnTo>
                    <a:pt x="2392797" y="1878907"/>
                  </a:lnTo>
                  <a:cubicBezTo>
                    <a:pt x="2423495" y="1888931"/>
                    <a:pt x="2452199" y="1903353"/>
                    <a:pt x="2478781" y="1920808"/>
                  </a:cubicBezTo>
                  <a:cubicBezTo>
                    <a:pt x="2564818" y="1815418"/>
                    <a:pt x="2696070" y="1749356"/>
                    <a:pt x="2842751" y="1749356"/>
                  </a:cubicBezTo>
                  <a:lnTo>
                    <a:pt x="3912296" y="1749356"/>
                  </a:lnTo>
                  <a:cubicBezTo>
                    <a:pt x="4059812" y="1749356"/>
                    <a:pt x="4191724" y="1816172"/>
                    <a:pt x="4277738" y="1922593"/>
                  </a:cubicBezTo>
                  <a:cubicBezTo>
                    <a:pt x="4306317" y="1903622"/>
                    <a:pt x="4337356" y="1888113"/>
                    <a:pt x="4370569" y="1877441"/>
                  </a:cubicBezTo>
                  <a:lnTo>
                    <a:pt x="4112835" y="1167548"/>
                  </a:lnTo>
                  <a:close/>
                  <a:moveTo>
                    <a:pt x="2534724" y="982297"/>
                  </a:moveTo>
                  <a:lnTo>
                    <a:pt x="4229172" y="982297"/>
                  </a:lnTo>
                  <a:lnTo>
                    <a:pt x="4546612" y="1856643"/>
                  </a:lnTo>
                  <a:cubicBezTo>
                    <a:pt x="4765072" y="1873078"/>
                    <a:pt x="4936448" y="2056134"/>
                    <a:pt x="4936448" y="2279217"/>
                  </a:cubicBezTo>
                  <a:cubicBezTo>
                    <a:pt x="4936448" y="2401342"/>
                    <a:pt x="4885088" y="2511471"/>
                    <a:pt x="4802103" y="2588456"/>
                  </a:cubicBezTo>
                  <a:cubicBezTo>
                    <a:pt x="4860348" y="2595065"/>
                    <a:pt x="4904699" y="2645084"/>
                    <a:pt x="4904699" y="2705462"/>
                  </a:cubicBezTo>
                  <a:lnTo>
                    <a:pt x="4904698" y="2705462"/>
                  </a:lnTo>
                  <a:cubicBezTo>
                    <a:pt x="4904698" y="2772096"/>
                    <a:pt x="4850681" y="2826113"/>
                    <a:pt x="4784047" y="2826113"/>
                  </a:cubicBezTo>
                  <a:lnTo>
                    <a:pt x="1970999" y="2826112"/>
                  </a:lnTo>
                  <a:cubicBezTo>
                    <a:pt x="1904365" y="2826112"/>
                    <a:pt x="1850349" y="2772096"/>
                    <a:pt x="1850348" y="2705462"/>
                  </a:cubicBezTo>
                  <a:cubicBezTo>
                    <a:pt x="1850348" y="2643725"/>
                    <a:pt x="1896717" y="2592819"/>
                    <a:pt x="1956769" y="2587684"/>
                  </a:cubicBezTo>
                  <a:cubicBezTo>
                    <a:pt x="1874354" y="2510684"/>
                    <a:pt x="1823360" y="2400906"/>
                    <a:pt x="1823360" y="2279217"/>
                  </a:cubicBezTo>
                  <a:cubicBezTo>
                    <a:pt x="1823360" y="2054681"/>
                    <a:pt x="1996975" y="1870696"/>
                    <a:pt x="2217440" y="1856216"/>
                  </a:cubicBezTo>
                  <a:close/>
                  <a:moveTo>
                    <a:pt x="358791" y="644545"/>
                  </a:moveTo>
                  <a:lnTo>
                    <a:pt x="1006774" y="644545"/>
                  </a:lnTo>
                  <a:cubicBezTo>
                    <a:pt x="1218838" y="701686"/>
                    <a:pt x="1428136" y="1033850"/>
                    <a:pt x="1542636" y="1193969"/>
                  </a:cubicBezTo>
                  <a:lnTo>
                    <a:pt x="1929878" y="1193970"/>
                  </a:lnTo>
                  <a:cubicBezTo>
                    <a:pt x="2007298" y="1193970"/>
                    <a:pt x="2070059" y="1256732"/>
                    <a:pt x="2070059" y="1334152"/>
                  </a:cubicBezTo>
                  <a:cubicBezTo>
                    <a:pt x="2070059" y="1411572"/>
                    <a:pt x="2021397" y="1451628"/>
                    <a:pt x="1929878" y="1474333"/>
                  </a:cubicBezTo>
                  <a:lnTo>
                    <a:pt x="1520943" y="1470388"/>
                  </a:lnTo>
                  <a:cubicBezTo>
                    <a:pt x="1397118" y="1474356"/>
                    <a:pt x="1368544" y="1410856"/>
                    <a:pt x="1332825" y="1367201"/>
                  </a:cubicBezTo>
                  <a:lnTo>
                    <a:pt x="1106501" y="1098289"/>
                  </a:lnTo>
                  <a:cubicBezTo>
                    <a:pt x="1106501" y="1095278"/>
                    <a:pt x="1104059" y="1092836"/>
                    <a:pt x="1101049" y="1092836"/>
                  </a:cubicBezTo>
                  <a:lnTo>
                    <a:pt x="1046523" y="1092836"/>
                  </a:lnTo>
                  <a:cubicBezTo>
                    <a:pt x="1043511" y="1092836"/>
                    <a:pt x="1041071" y="1095278"/>
                    <a:pt x="1041071" y="1098289"/>
                  </a:cubicBezTo>
                  <a:lnTo>
                    <a:pt x="1042136" y="1419754"/>
                  </a:lnTo>
                  <a:lnTo>
                    <a:pt x="1042136" y="3337652"/>
                  </a:lnTo>
                  <a:cubicBezTo>
                    <a:pt x="1042136" y="3426604"/>
                    <a:pt x="970027" y="3498714"/>
                    <a:pt x="881075" y="3498714"/>
                  </a:cubicBezTo>
                  <a:cubicBezTo>
                    <a:pt x="792123" y="3498714"/>
                    <a:pt x="720012" y="3426604"/>
                    <a:pt x="720012" y="3337652"/>
                  </a:cubicBezTo>
                  <a:lnTo>
                    <a:pt x="720012" y="2125717"/>
                  </a:lnTo>
                  <a:lnTo>
                    <a:pt x="718947" y="2033194"/>
                  </a:lnTo>
                  <a:cubicBezTo>
                    <a:pt x="718947" y="2030552"/>
                    <a:pt x="716805" y="2028410"/>
                    <a:pt x="714162" y="2028410"/>
                  </a:cubicBezTo>
                  <a:lnTo>
                    <a:pt x="654759" y="2028410"/>
                  </a:lnTo>
                  <a:cubicBezTo>
                    <a:pt x="652116" y="2028410"/>
                    <a:pt x="649974" y="2030552"/>
                    <a:pt x="649974" y="2033194"/>
                  </a:cubicBezTo>
                  <a:lnTo>
                    <a:pt x="649974" y="2125717"/>
                  </a:lnTo>
                  <a:lnTo>
                    <a:pt x="649574" y="3337652"/>
                  </a:lnTo>
                  <a:cubicBezTo>
                    <a:pt x="649574" y="3426604"/>
                    <a:pt x="577464" y="3498714"/>
                    <a:pt x="488511" y="3498714"/>
                  </a:cubicBezTo>
                  <a:cubicBezTo>
                    <a:pt x="399560" y="3498714"/>
                    <a:pt x="327450" y="3426604"/>
                    <a:pt x="327450" y="3337652"/>
                  </a:cubicBezTo>
                  <a:lnTo>
                    <a:pt x="327450" y="1458216"/>
                  </a:lnTo>
                  <a:cubicBezTo>
                    <a:pt x="325775" y="1338213"/>
                    <a:pt x="324101" y="1218209"/>
                    <a:pt x="322427" y="1098205"/>
                  </a:cubicBezTo>
                  <a:cubicBezTo>
                    <a:pt x="322427" y="1095240"/>
                    <a:pt x="320022" y="1092836"/>
                    <a:pt x="317058" y="1092836"/>
                  </a:cubicBezTo>
                  <a:lnTo>
                    <a:pt x="263371" y="1092836"/>
                  </a:lnTo>
                  <a:cubicBezTo>
                    <a:pt x="260405" y="1092836"/>
                    <a:pt x="258001" y="1095240"/>
                    <a:pt x="258001" y="1098205"/>
                  </a:cubicBezTo>
                  <a:lnTo>
                    <a:pt x="258001" y="1444446"/>
                  </a:lnTo>
                  <a:cubicBezTo>
                    <a:pt x="257895" y="1444438"/>
                    <a:pt x="257798" y="1444405"/>
                    <a:pt x="257700" y="1444370"/>
                  </a:cubicBezTo>
                  <a:lnTo>
                    <a:pt x="257700" y="1912573"/>
                  </a:lnTo>
                  <a:cubicBezTo>
                    <a:pt x="257700" y="1983734"/>
                    <a:pt x="200011" y="2041423"/>
                    <a:pt x="128850" y="2041423"/>
                  </a:cubicBezTo>
                  <a:cubicBezTo>
                    <a:pt x="57687" y="2041423"/>
                    <a:pt x="0" y="1983734"/>
                    <a:pt x="0" y="1912573"/>
                  </a:cubicBezTo>
                  <a:lnTo>
                    <a:pt x="0" y="1101802"/>
                  </a:lnTo>
                  <a:lnTo>
                    <a:pt x="0" y="1003338"/>
                  </a:lnTo>
                  <a:lnTo>
                    <a:pt x="0" y="982486"/>
                  </a:lnTo>
                  <a:cubicBezTo>
                    <a:pt x="0" y="952006"/>
                    <a:pt x="3965" y="922453"/>
                    <a:pt x="12733" y="894663"/>
                  </a:cubicBezTo>
                  <a:cubicBezTo>
                    <a:pt x="15126" y="886107"/>
                    <a:pt x="14856" y="875418"/>
                    <a:pt x="20539" y="868773"/>
                  </a:cubicBezTo>
                  <a:cubicBezTo>
                    <a:pt x="72281" y="735385"/>
                    <a:pt x="207053" y="644545"/>
                    <a:pt x="358791" y="644545"/>
                  </a:cubicBezTo>
                  <a:close/>
                  <a:moveTo>
                    <a:pt x="682782" y="0"/>
                  </a:moveTo>
                  <a:cubicBezTo>
                    <a:pt x="839708" y="0"/>
                    <a:pt x="966919" y="127213"/>
                    <a:pt x="966919" y="284138"/>
                  </a:cubicBezTo>
                  <a:cubicBezTo>
                    <a:pt x="966919" y="441063"/>
                    <a:pt x="839708" y="568275"/>
                    <a:pt x="682782" y="568275"/>
                  </a:cubicBezTo>
                  <a:cubicBezTo>
                    <a:pt x="525858" y="568275"/>
                    <a:pt x="398645" y="441063"/>
                    <a:pt x="398645" y="284138"/>
                  </a:cubicBezTo>
                  <a:cubicBezTo>
                    <a:pt x="398645" y="127213"/>
                    <a:pt x="525858" y="0"/>
                    <a:pt x="682782" y="0"/>
                  </a:cubicBezTo>
                  <a:close/>
                </a:path>
              </a:pathLst>
            </a:custGeom>
            <a:grpFill/>
            <a:ln w="19050">
              <a:noFill/>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505050"/>
                </a:solidFill>
                <a:effectLst/>
                <a:uLnTx/>
                <a:uFillTx/>
                <a:latin typeface="Segoe UI"/>
                <a:ea typeface="+mn-ea"/>
                <a:cs typeface="+mn-cs"/>
              </a:endParaRPr>
            </a:p>
          </p:txBody>
        </p:sp>
        <p:sp>
          <p:nvSpPr>
            <p:cNvPr id="118" name="Heart 117"/>
            <p:cNvSpPr/>
            <p:nvPr/>
          </p:nvSpPr>
          <p:spPr>
            <a:xfrm>
              <a:off x="10909963" y="3360431"/>
              <a:ext cx="116256" cy="114477"/>
            </a:xfrm>
            <a:prstGeom prst="hear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505050"/>
                </a:solidFill>
                <a:effectLst/>
                <a:uLnTx/>
                <a:uFillTx/>
                <a:latin typeface="Segoe UI"/>
                <a:ea typeface="+mn-ea"/>
                <a:cs typeface="+mn-cs"/>
              </a:endParaRPr>
            </a:p>
          </p:txBody>
        </p:sp>
      </p:grpSp>
      <p:sp>
        <p:nvSpPr>
          <p:cNvPr id="119" name="Freeform 118"/>
          <p:cNvSpPr>
            <a:spLocks noChangeAspect="1"/>
          </p:cNvSpPr>
          <p:nvPr/>
        </p:nvSpPr>
        <p:spPr>
          <a:xfrm>
            <a:off x="10951545" y="2340524"/>
            <a:ext cx="605674" cy="390674"/>
          </a:xfrm>
          <a:custGeom>
            <a:avLst/>
            <a:gdLst/>
            <a:ahLst/>
            <a:cxnLst/>
            <a:rect l="l" t="t" r="r" b="b"/>
            <a:pathLst>
              <a:path w="4369237" h="2818280">
                <a:moveTo>
                  <a:pt x="0" y="1653849"/>
                </a:moveTo>
                <a:lnTo>
                  <a:pt x="505854" y="1653849"/>
                </a:lnTo>
                <a:cubicBezTo>
                  <a:pt x="540151" y="1653849"/>
                  <a:pt x="567954" y="1681652"/>
                  <a:pt x="567954" y="1715949"/>
                </a:cubicBezTo>
                <a:lnTo>
                  <a:pt x="567954" y="2563099"/>
                </a:lnTo>
                <a:cubicBezTo>
                  <a:pt x="567954" y="2597396"/>
                  <a:pt x="540151" y="2625199"/>
                  <a:pt x="505854" y="2625199"/>
                </a:cubicBezTo>
                <a:lnTo>
                  <a:pt x="0" y="2625199"/>
                </a:lnTo>
                <a:close/>
                <a:moveTo>
                  <a:pt x="1471058" y="1564552"/>
                </a:moveTo>
                <a:cubicBezTo>
                  <a:pt x="1628088" y="1562633"/>
                  <a:pt x="1785714" y="1589291"/>
                  <a:pt x="1911787" y="1628449"/>
                </a:cubicBezTo>
                <a:cubicBezTo>
                  <a:pt x="2274001" y="1753861"/>
                  <a:pt x="2536204" y="1617337"/>
                  <a:pt x="2817456" y="1592731"/>
                </a:cubicBezTo>
                <a:cubicBezTo>
                  <a:pt x="3066032" y="1586248"/>
                  <a:pt x="3195281" y="1704650"/>
                  <a:pt x="3188931" y="1768150"/>
                </a:cubicBezTo>
                <a:cubicBezTo>
                  <a:pt x="3206393" y="1829269"/>
                  <a:pt x="3037720" y="2011170"/>
                  <a:pt x="2781737" y="1968968"/>
                </a:cubicBezTo>
                <a:cubicBezTo>
                  <a:pt x="2491226" y="1948595"/>
                  <a:pt x="2319775" y="1942510"/>
                  <a:pt x="2150706" y="2050724"/>
                </a:cubicBezTo>
                <a:lnTo>
                  <a:pt x="2098318" y="2072949"/>
                </a:lnTo>
                <a:cubicBezTo>
                  <a:pt x="2265271" y="2125337"/>
                  <a:pt x="2436985" y="2213443"/>
                  <a:pt x="2584887" y="2301549"/>
                </a:cubicBezTo>
                <a:cubicBezTo>
                  <a:pt x="2693101" y="2260538"/>
                  <a:pt x="3006103" y="2288585"/>
                  <a:pt x="3247668" y="2309487"/>
                </a:cubicBezTo>
                <a:cubicBezTo>
                  <a:pt x="3392130" y="2262920"/>
                  <a:pt x="3555644" y="2183015"/>
                  <a:pt x="3712012" y="2176930"/>
                </a:cubicBezTo>
                <a:cubicBezTo>
                  <a:pt x="3817580" y="2092528"/>
                  <a:pt x="3932674" y="1996220"/>
                  <a:pt x="4035862" y="1961824"/>
                </a:cubicBezTo>
                <a:cubicBezTo>
                  <a:pt x="4189055" y="1899911"/>
                  <a:pt x="4287481" y="1985636"/>
                  <a:pt x="4369237" y="2066599"/>
                </a:cubicBezTo>
                <a:lnTo>
                  <a:pt x="4185087" y="2199949"/>
                </a:lnTo>
                <a:cubicBezTo>
                  <a:pt x="4165507" y="2247838"/>
                  <a:pt x="4153073" y="2245722"/>
                  <a:pt x="4140637" y="2250749"/>
                </a:cubicBezTo>
                <a:cubicBezTo>
                  <a:pt x="4040095" y="2342294"/>
                  <a:pt x="3949079" y="2419553"/>
                  <a:pt x="3867587" y="2482524"/>
                </a:cubicBezTo>
                <a:cubicBezTo>
                  <a:pt x="3694550" y="2512686"/>
                  <a:pt x="3454837" y="2640480"/>
                  <a:pt x="3334187" y="2701599"/>
                </a:cubicBezTo>
                <a:cubicBezTo>
                  <a:pt x="3037589" y="2687312"/>
                  <a:pt x="2705273" y="2758748"/>
                  <a:pt x="2453918" y="2818280"/>
                </a:cubicBezTo>
                <a:cubicBezTo>
                  <a:pt x="2197933" y="2781768"/>
                  <a:pt x="1984416" y="2797776"/>
                  <a:pt x="1445856" y="2680169"/>
                </a:cubicBezTo>
                <a:cubicBezTo>
                  <a:pt x="1150184" y="2614950"/>
                  <a:pt x="861523" y="2543908"/>
                  <a:pt x="679887" y="2498399"/>
                </a:cubicBezTo>
                <a:lnTo>
                  <a:pt x="679887" y="1837999"/>
                </a:lnTo>
                <a:cubicBezTo>
                  <a:pt x="817735" y="1813657"/>
                  <a:pt x="922245" y="1736928"/>
                  <a:pt x="1033899" y="1672105"/>
                </a:cubicBezTo>
                <a:cubicBezTo>
                  <a:pt x="1157592" y="1596963"/>
                  <a:pt x="1314027" y="1566470"/>
                  <a:pt x="1471058" y="1564552"/>
                </a:cubicBezTo>
                <a:close/>
                <a:moveTo>
                  <a:pt x="2769181" y="0"/>
                </a:moveTo>
                <a:lnTo>
                  <a:pt x="2946494" y="0"/>
                </a:lnTo>
                <a:lnTo>
                  <a:pt x="2946494" y="143415"/>
                </a:lnTo>
                <a:cubicBezTo>
                  <a:pt x="3029067" y="145588"/>
                  <a:pt x="3090779" y="156887"/>
                  <a:pt x="3162921" y="177313"/>
                </a:cubicBezTo>
                <a:lnTo>
                  <a:pt x="3162921" y="445891"/>
                </a:lnTo>
                <a:cubicBezTo>
                  <a:pt x="3039932" y="380702"/>
                  <a:pt x="2886955" y="350715"/>
                  <a:pt x="2836977" y="383310"/>
                </a:cubicBezTo>
                <a:cubicBezTo>
                  <a:pt x="2787868" y="402867"/>
                  <a:pt x="2792214" y="469359"/>
                  <a:pt x="2826547" y="492827"/>
                </a:cubicBezTo>
                <a:cubicBezTo>
                  <a:pt x="2869572" y="553235"/>
                  <a:pt x="3243756" y="612339"/>
                  <a:pt x="3209857" y="896997"/>
                </a:cubicBezTo>
                <a:cubicBezTo>
                  <a:pt x="3193343" y="1095171"/>
                  <a:pt x="3017767" y="1159056"/>
                  <a:pt x="2949102" y="1178613"/>
                </a:cubicBezTo>
                <a:lnTo>
                  <a:pt x="2949102" y="1345496"/>
                </a:lnTo>
                <a:lnTo>
                  <a:pt x="2771788" y="1345496"/>
                </a:lnTo>
                <a:lnTo>
                  <a:pt x="2771788" y="1199473"/>
                </a:lnTo>
                <a:cubicBezTo>
                  <a:pt x="2667051" y="1196865"/>
                  <a:pt x="2540151" y="1168182"/>
                  <a:pt x="2492780" y="1136892"/>
                </a:cubicBezTo>
                <a:lnTo>
                  <a:pt x="2492780" y="857884"/>
                </a:lnTo>
                <a:cubicBezTo>
                  <a:pt x="2589694" y="941325"/>
                  <a:pt x="2732240" y="975224"/>
                  <a:pt x="2810901" y="967401"/>
                </a:cubicBezTo>
                <a:cubicBezTo>
                  <a:pt x="2887390" y="959144"/>
                  <a:pt x="2889563" y="876571"/>
                  <a:pt x="2852622" y="844846"/>
                </a:cubicBezTo>
                <a:cubicBezTo>
                  <a:pt x="2801341" y="772269"/>
                  <a:pt x="2418899" y="746628"/>
                  <a:pt x="2487565" y="396348"/>
                </a:cubicBezTo>
                <a:cubicBezTo>
                  <a:pt x="2518421" y="217730"/>
                  <a:pt x="2697907" y="160364"/>
                  <a:pt x="2771788" y="153845"/>
                </a:cubicBezTo>
                <a:close/>
              </a:path>
            </a:pathLst>
          </a:custGeom>
          <a:solidFill>
            <a:srgbClr val="5E83B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srgbClr val="505050"/>
              </a:solidFill>
              <a:effectLst/>
              <a:uLnTx/>
              <a:uFillTx/>
              <a:latin typeface="Segoe UI"/>
              <a:ea typeface="+mn-ea"/>
              <a:cs typeface="+mn-cs"/>
            </a:endParaRPr>
          </a:p>
        </p:txBody>
      </p:sp>
      <p:sp>
        <p:nvSpPr>
          <p:cNvPr id="120" name="Rectangle 119"/>
          <p:cNvSpPr/>
          <p:nvPr/>
        </p:nvSpPr>
        <p:spPr bwMode="auto">
          <a:xfrm>
            <a:off x="10623618" y="3093415"/>
            <a:ext cx="1159099" cy="184666"/>
          </a:xfrm>
          <a:prstGeom prst="rect">
            <a:avLst/>
          </a:prstGeom>
          <a:noFill/>
          <a:ln w="9525" cap="flat" cmpd="sng" algn="ctr">
            <a:noFill/>
            <a:prstDash val="sysDot"/>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ctr" defTabSz="60888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505050"/>
                </a:solidFill>
                <a:effectLst/>
                <a:uLnTx/>
                <a:uFillTx/>
                <a:latin typeface="Segoe UI"/>
                <a:ea typeface="+mn-ea"/>
                <a:cs typeface="+mn-cs"/>
              </a:rPr>
              <a:t>Cost effective</a:t>
            </a:r>
          </a:p>
        </p:txBody>
      </p:sp>
      <p:sp>
        <p:nvSpPr>
          <p:cNvPr id="121" name="Rectangle 120"/>
          <p:cNvSpPr/>
          <p:nvPr/>
        </p:nvSpPr>
        <p:spPr bwMode="auto">
          <a:xfrm>
            <a:off x="9023540" y="4020258"/>
            <a:ext cx="1364890" cy="184666"/>
          </a:xfrm>
          <a:prstGeom prst="rect">
            <a:avLst/>
          </a:prstGeom>
          <a:noFill/>
          <a:ln w="9525" cap="flat" cmpd="sng" algn="ctr">
            <a:noFill/>
            <a:prstDash val="sysDot"/>
            <a:headEnd type="none" w="med" len="med"/>
            <a:tailEnd type="none" w="med" len="med"/>
          </a:ln>
          <a:effectLst/>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0" indent="0" algn="ctr" defTabSz="608884"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505050"/>
                </a:solidFill>
                <a:effectLst/>
                <a:uLnTx/>
                <a:uFillTx/>
                <a:latin typeface="Segoe UI"/>
                <a:ea typeface="+mn-ea"/>
                <a:cs typeface="+mn-cs"/>
              </a:rPr>
              <a:t>Robust Designs</a:t>
            </a:r>
          </a:p>
        </p:txBody>
      </p:sp>
      <p:sp>
        <p:nvSpPr>
          <p:cNvPr id="127" name="Text Placeholder 6"/>
          <p:cNvSpPr txBox="1">
            <a:spLocks/>
          </p:cNvSpPr>
          <p:nvPr/>
        </p:nvSpPr>
        <p:spPr>
          <a:xfrm>
            <a:off x="8389559" y="142996"/>
            <a:ext cx="3361765" cy="373063"/>
          </a:xfrm>
          <a:prstGeom prst="rect">
            <a:avLst/>
          </a:prstGeom>
        </p:spPr>
        <p:txBody>
          <a:bodyPr vert="horz" lIns="320040" tIns="53325" rIns="53325" bIns="53325" rtlCol="0">
            <a:noAutofit/>
          </a:bodyPr>
          <a:lstStyle>
            <a:lvl1pPr marL="0" indent="0" algn="l" defTabSz="1088105" rtl="0" eaLnBrk="1" latinLnBrk="0" hangingPunct="1">
              <a:spcBef>
                <a:spcPts val="1800"/>
              </a:spcBef>
              <a:buClr>
                <a:srgbClr val="0072C6"/>
              </a:buClr>
              <a:buSzPct val="100000"/>
              <a:buFont typeface="Wingdings" pitchFamily="2" charset="2"/>
              <a:buNone/>
              <a:defRPr sz="2800" kern="1200">
                <a:solidFill>
                  <a:schemeClr val="tx1"/>
                </a:solidFill>
                <a:latin typeface="Segoe UI Light" pitchFamily="34" charset="0"/>
                <a:ea typeface="Segoe UI" pitchFamily="34" charset="0"/>
                <a:cs typeface="Segoe UI" pitchFamily="34" charset="0"/>
              </a:defRPr>
            </a:lvl1pPr>
            <a:lvl2pPr marL="281674" indent="0" algn="l" defTabSz="1088105" rtl="0" eaLnBrk="1" latinLnBrk="0" hangingPunct="1">
              <a:spcBef>
                <a:spcPct val="20000"/>
              </a:spcBef>
              <a:buFont typeface="Arial" pitchFamily="34" charset="0"/>
              <a:buNone/>
              <a:defRPr sz="1800" kern="1200">
                <a:solidFill>
                  <a:schemeClr val="tx1"/>
                </a:solidFill>
                <a:latin typeface="Segoe UI" pitchFamily="34" charset="0"/>
                <a:ea typeface="Segoe UI" pitchFamily="34" charset="0"/>
                <a:cs typeface="Segoe UI" pitchFamily="34" charset="0"/>
              </a:defRPr>
            </a:lvl2pPr>
            <a:lvl3pPr marL="588476" indent="0" algn="l" defTabSz="1088105" rtl="0" eaLnBrk="1" latinLnBrk="0" hangingPunct="1">
              <a:spcBef>
                <a:spcPct val="20000"/>
              </a:spcBef>
              <a:buFont typeface="Arial" pitchFamily="34" charset="0"/>
              <a:buNone/>
              <a:defRPr sz="1600" kern="1200">
                <a:solidFill>
                  <a:schemeClr val="tx1"/>
                </a:solidFill>
                <a:latin typeface="Segoe UI" pitchFamily="34" charset="0"/>
                <a:ea typeface="Segoe UI" pitchFamily="34" charset="0"/>
                <a:cs typeface="Segoe UI" pitchFamily="34" charset="0"/>
              </a:defRPr>
            </a:lvl3pPr>
            <a:lvl4pPr marL="87015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4pPr>
            <a:lvl5pPr marL="110554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marL="0" marR="0" lvl="0" indent="0" algn="l" defTabSz="1088105" rtl="0" eaLnBrk="1" fontAlgn="auto" latinLnBrk="0" hangingPunct="1">
              <a:lnSpc>
                <a:spcPct val="100000"/>
              </a:lnSpc>
              <a:spcBef>
                <a:spcPts val="1800"/>
              </a:spcBef>
              <a:spcAft>
                <a:spcPts val="0"/>
              </a:spcAft>
              <a:buClr>
                <a:srgbClr val="0072C6"/>
              </a:buClr>
              <a:buSzPct val="100000"/>
              <a:buFont typeface="Wingdings" pitchFamily="2" charset="2"/>
              <a:buNone/>
              <a:tabLst/>
              <a:defRPr/>
            </a:pPr>
            <a:r>
              <a:rPr kumimoji="0" lang="en-US" sz="2800" b="0" i="0" u="none" strike="noStrike" kern="1200" cap="none" spc="0" normalizeH="0" baseline="0" noProof="0">
                <a:ln>
                  <a:noFill/>
                </a:ln>
                <a:solidFill>
                  <a:srgbClr val="505050"/>
                </a:solidFill>
                <a:effectLst/>
                <a:uLnTx/>
                <a:uFillTx/>
                <a:latin typeface="Segoe UI Light" pitchFamily="34" charset="0"/>
                <a:cs typeface="Segoe UI" pitchFamily="34" charset="0"/>
              </a:rPr>
              <a:t>Solution Storyboard</a:t>
            </a:r>
          </a:p>
        </p:txBody>
      </p:sp>
    </p:spTree>
    <p:extLst>
      <p:ext uri="{BB962C8B-B14F-4D97-AF65-F5344CB8AC3E}">
        <p14:creationId xmlns:p14="http://schemas.microsoft.com/office/powerpoint/2010/main" val="15374682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Open Innovation</a:t>
            </a:r>
            <a:endParaRPr lang="en-IN" dirty="0"/>
          </a:p>
        </p:txBody>
      </p:sp>
      <p:sp>
        <p:nvSpPr>
          <p:cNvPr id="6" name="Text Placeholder 5"/>
          <p:cNvSpPr>
            <a:spLocks noGrp="1"/>
          </p:cNvSpPr>
          <p:nvPr>
            <p:ph type="body" sz="quarter" idx="13"/>
          </p:nvPr>
        </p:nvSpPr>
        <p:spPr>
          <a:xfrm>
            <a:off x="1588" y="613284"/>
            <a:ext cx="12185651" cy="372869"/>
          </a:xfrm>
        </p:spPr>
        <p:txBody>
          <a:bodyPr/>
          <a:lstStyle/>
          <a:p>
            <a:r>
              <a:rPr lang="en-US"/>
              <a:t>Technology Storyboard</a:t>
            </a:r>
            <a:endParaRPr lang="en-IN"/>
          </a:p>
        </p:txBody>
      </p:sp>
      <p:sp>
        <p:nvSpPr>
          <p:cNvPr id="5" name="Slide Number Placeholder 4"/>
          <p:cNvSpPr>
            <a:spLocks noGrp="1"/>
          </p:cNvSpPr>
          <p:nvPr>
            <p:ph type="sldNum" sz="quarter" idx="12"/>
          </p:nvPr>
        </p:nvSpPr>
        <p:spPr/>
        <p:txBody>
          <a:bodyPr/>
          <a:lstStyle/>
          <a:p>
            <a:pPr defTabSz="1087779">
              <a:defRPr/>
            </a:pPr>
            <a:fld id="{6A4C1A4A-E5E6-4CC1-B72C-A20A4EB3E2D2}" type="slidenum">
              <a:rPr lang="en-US" sz="1798" kern="0">
                <a:solidFill>
                  <a:srgbClr val="505050"/>
                </a:solidFill>
              </a:rPr>
              <a:pPr defTabSz="1087779">
                <a:defRPr/>
              </a:pPr>
              <a:t>51</a:t>
            </a:fld>
            <a:endParaRPr lang="en-US" sz="1798" kern="0">
              <a:solidFill>
                <a:srgbClr val="505050"/>
              </a:solidFill>
            </a:endParaRPr>
          </a:p>
        </p:txBody>
      </p:sp>
      <p:grpSp>
        <p:nvGrpSpPr>
          <p:cNvPr id="13" name="Group 12"/>
          <p:cNvGrpSpPr/>
          <p:nvPr/>
        </p:nvGrpSpPr>
        <p:grpSpPr>
          <a:xfrm>
            <a:off x="6625282" y="4524875"/>
            <a:ext cx="3903908" cy="2179299"/>
            <a:chOff x="6292473" y="4314189"/>
            <a:chExt cx="3905942" cy="2180435"/>
          </a:xfrm>
        </p:grpSpPr>
        <p:sp>
          <p:nvSpPr>
            <p:cNvPr id="122" name="Oval 209"/>
            <p:cNvSpPr/>
            <p:nvPr/>
          </p:nvSpPr>
          <p:spPr bwMode="auto">
            <a:xfrm>
              <a:off x="6292473" y="4314189"/>
              <a:ext cx="3905942" cy="2180435"/>
            </a:xfrm>
            <a:custGeom>
              <a:avLst/>
              <a:gdLst/>
              <a:ahLst/>
              <a:cxnLst/>
              <a:rect l="l" t="t" r="r" b="b"/>
              <a:pathLst>
                <a:path w="8803468" h="5170759">
                  <a:moveTo>
                    <a:pt x="4909183" y="0"/>
                  </a:moveTo>
                  <a:cubicBezTo>
                    <a:pt x="6195616" y="0"/>
                    <a:pt x="7238475" y="1021136"/>
                    <a:pt x="7238475" y="2280772"/>
                  </a:cubicBezTo>
                  <a:cubicBezTo>
                    <a:pt x="7238475" y="2369141"/>
                    <a:pt x="7233343" y="2456337"/>
                    <a:pt x="7222091" y="2541933"/>
                  </a:cubicBezTo>
                  <a:cubicBezTo>
                    <a:pt x="7294788" y="2525239"/>
                    <a:pt x="7370149" y="2518684"/>
                    <a:pt x="7447004" y="2518684"/>
                  </a:cubicBezTo>
                  <a:cubicBezTo>
                    <a:pt x="8196160" y="2518684"/>
                    <a:pt x="8803468" y="3141396"/>
                    <a:pt x="8803468" y="3909552"/>
                  </a:cubicBezTo>
                  <a:cubicBezTo>
                    <a:pt x="8803468" y="4469014"/>
                    <a:pt x="8481324" y="4951325"/>
                    <a:pt x="8016221" y="5170759"/>
                  </a:cubicBezTo>
                  <a:lnTo>
                    <a:pt x="895411" y="5170759"/>
                  </a:lnTo>
                  <a:cubicBezTo>
                    <a:pt x="372663" y="4963354"/>
                    <a:pt x="0" y="4399621"/>
                    <a:pt x="0" y="3737717"/>
                  </a:cubicBezTo>
                  <a:cubicBezTo>
                    <a:pt x="0" y="2972099"/>
                    <a:pt x="498598" y="2337829"/>
                    <a:pt x="1150481" y="2231184"/>
                  </a:cubicBezTo>
                  <a:cubicBezTo>
                    <a:pt x="1172083" y="1693806"/>
                    <a:pt x="1604866" y="1266237"/>
                    <a:pt x="2135045" y="1266237"/>
                  </a:cubicBezTo>
                  <a:cubicBezTo>
                    <a:pt x="2360210" y="1266237"/>
                    <a:pt x="2567805" y="1343357"/>
                    <a:pt x="2731785" y="1476336"/>
                  </a:cubicBezTo>
                  <a:cubicBezTo>
                    <a:pt x="3061724" y="613163"/>
                    <a:pt x="3912322" y="0"/>
                    <a:pt x="4909183" y="0"/>
                  </a:cubicBezTo>
                  <a:close/>
                </a:path>
              </a:pathLst>
            </a:cu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45696" tIns="45696" rIns="45696" bIns="45696" numCol="1" spcCol="0" rtlCol="0" fromWordArt="0" anchor="b" anchorCtr="0" forceAA="0" compatLnSpc="1">
              <a:prstTxWarp prst="textNoShape">
                <a:avLst/>
              </a:prstTxWarp>
              <a:noAutofit/>
            </a:bodyPr>
            <a:lstStyle/>
            <a:p>
              <a:pPr algn="ctr" defTabSz="850354">
                <a:defRPr/>
              </a:pPr>
              <a:endParaRPr lang="en-US" sz="1200" kern="0">
                <a:solidFill>
                  <a:srgbClr val="FFFFFF"/>
                </a:solidFill>
                <a:latin typeface="Segoe UI Semibold" panose="020B0702040204020203" pitchFamily="34" charset="0"/>
                <a:cs typeface="Segoe UI Semibold" panose="020B0702040204020203" pitchFamily="34" charset="0"/>
              </a:endParaRPr>
            </a:p>
          </p:txBody>
        </p:sp>
        <p:grpSp>
          <p:nvGrpSpPr>
            <p:cNvPr id="123" name="Group 122"/>
            <p:cNvGrpSpPr/>
            <p:nvPr/>
          </p:nvGrpSpPr>
          <p:grpSpPr>
            <a:xfrm>
              <a:off x="7101394" y="5871789"/>
              <a:ext cx="965696" cy="580539"/>
              <a:chOff x="5443447" y="4894807"/>
              <a:chExt cx="965696" cy="580539"/>
            </a:xfrm>
          </p:grpSpPr>
          <p:pic>
            <p:nvPicPr>
              <p:cNvPr id="144" name="Picture 143"/>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5736661" y="4894807"/>
                <a:ext cx="379268" cy="379268"/>
              </a:xfrm>
              <a:prstGeom prst="rect">
                <a:avLst/>
              </a:prstGeom>
            </p:spPr>
          </p:pic>
          <p:sp>
            <p:nvSpPr>
              <p:cNvPr id="145" name="TextBox 144"/>
              <p:cNvSpPr txBox="1"/>
              <p:nvPr/>
            </p:nvSpPr>
            <p:spPr>
              <a:xfrm>
                <a:off x="5443447" y="5221763"/>
                <a:ext cx="965696" cy="253583"/>
              </a:xfrm>
              <a:prstGeom prst="rect">
                <a:avLst/>
              </a:prstGeom>
            </p:spPr>
            <p:txBody>
              <a:bodyPr vert="horz" wrap="square" lIns="45696" tIns="45696" rIns="45696" bIns="45696"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kern="0">
                    <a:solidFill>
                      <a:prstClr val="white"/>
                    </a:solidFill>
                  </a:rPr>
                  <a:t>Azure Storage</a:t>
                </a:r>
              </a:p>
            </p:txBody>
          </p:sp>
        </p:grpSp>
        <p:grpSp>
          <p:nvGrpSpPr>
            <p:cNvPr id="124" name="Group 123"/>
            <p:cNvGrpSpPr/>
            <p:nvPr/>
          </p:nvGrpSpPr>
          <p:grpSpPr>
            <a:xfrm>
              <a:off x="8030764" y="5792252"/>
              <a:ext cx="1020867" cy="660110"/>
              <a:chOff x="6896622" y="4121051"/>
              <a:chExt cx="1020867" cy="660110"/>
            </a:xfrm>
          </p:grpSpPr>
          <p:sp>
            <p:nvSpPr>
              <p:cNvPr id="140" name="TextBox 139"/>
              <p:cNvSpPr txBox="1"/>
              <p:nvPr/>
            </p:nvSpPr>
            <p:spPr>
              <a:xfrm>
                <a:off x="6896622" y="4534940"/>
                <a:ext cx="1020867" cy="246221"/>
              </a:xfrm>
              <a:prstGeom prst="rect">
                <a:avLst/>
              </a:prstGeom>
            </p:spPr>
            <p:txBody>
              <a:bodyPr vert="horz" wrap="square" lIns="45696" tIns="45696" rIns="45696" bIns="45696"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kern="0">
                    <a:solidFill>
                      <a:prstClr val="white"/>
                    </a:solidFill>
                  </a:rPr>
                  <a:t>Azure SQL DB</a:t>
                </a:r>
              </a:p>
            </p:txBody>
          </p:sp>
          <p:pic>
            <p:nvPicPr>
              <p:cNvPr id="143" name="Picture 142"/>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7216722" y="4121051"/>
                <a:ext cx="380667" cy="380667"/>
              </a:xfrm>
              <a:prstGeom prst="rect">
                <a:avLst/>
              </a:prstGeom>
            </p:spPr>
          </p:pic>
        </p:grpSp>
        <p:grpSp>
          <p:nvGrpSpPr>
            <p:cNvPr id="125" name="Group 124"/>
            <p:cNvGrpSpPr/>
            <p:nvPr/>
          </p:nvGrpSpPr>
          <p:grpSpPr>
            <a:xfrm>
              <a:off x="7653731" y="5146204"/>
              <a:ext cx="837621" cy="580578"/>
              <a:chOff x="6577080" y="4861865"/>
              <a:chExt cx="837621" cy="580578"/>
            </a:xfrm>
          </p:grpSpPr>
          <p:sp>
            <p:nvSpPr>
              <p:cNvPr id="138" name="TextBox 137"/>
              <p:cNvSpPr txBox="1"/>
              <p:nvPr/>
            </p:nvSpPr>
            <p:spPr>
              <a:xfrm>
                <a:off x="6577080" y="5196222"/>
                <a:ext cx="837621" cy="246221"/>
              </a:xfrm>
              <a:prstGeom prst="rect">
                <a:avLst/>
              </a:prstGeom>
            </p:spPr>
            <p:txBody>
              <a:bodyPr vert="horz" wrap="square" lIns="45696" tIns="45696" rIns="45696" bIns="45696"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kern="0">
                    <a:solidFill>
                      <a:prstClr val="white"/>
                    </a:solidFill>
                  </a:rPr>
                  <a:t>Azure Files</a:t>
                </a:r>
              </a:p>
            </p:txBody>
          </p:sp>
          <p:pic>
            <p:nvPicPr>
              <p:cNvPr id="139" name="Picture 138"/>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6806328" y="4861865"/>
                <a:ext cx="379125" cy="379125"/>
              </a:xfrm>
              <a:prstGeom prst="rect">
                <a:avLst/>
              </a:prstGeom>
            </p:spPr>
          </p:pic>
        </p:grpSp>
        <p:grpSp>
          <p:nvGrpSpPr>
            <p:cNvPr id="128" name="Group 127"/>
            <p:cNvGrpSpPr/>
            <p:nvPr/>
          </p:nvGrpSpPr>
          <p:grpSpPr>
            <a:xfrm>
              <a:off x="6421142" y="5615672"/>
              <a:ext cx="681060" cy="613211"/>
              <a:chOff x="6920654" y="5464441"/>
              <a:chExt cx="681060" cy="613211"/>
            </a:xfrm>
          </p:grpSpPr>
          <p:pic>
            <p:nvPicPr>
              <p:cNvPr id="130" name="Picture 129"/>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7054408" y="5464441"/>
                <a:ext cx="413553" cy="413553"/>
              </a:xfrm>
              <a:prstGeom prst="rect">
                <a:avLst/>
              </a:prstGeom>
            </p:spPr>
          </p:pic>
          <p:sp>
            <p:nvSpPr>
              <p:cNvPr id="131" name="TextBox 130"/>
              <p:cNvSpPr txBox="1"/>
              <p:nvPr/>
            </p:nvSpPr>
            <p:spPr>
              <a:xfrm>
                <a:off x="6920654" y="5831431"/>
                <a:ext cx="681060" cy="246221"/>
              </a:xfrm>
              <a:prstGeom prst="rect">
                <a:avLst/>
              </a:prstGeom>
            </p:spPr>
            <p:txBody>
              <a:bodyPr vert="horz" wrap="square" lIns="45696" tIns="45696" rIns="45696" bIns="45696" rtlCol="0" anchor="ctr">
                <a:noAutofit/>
              </a:bodyPr>
              <a:lstStyle>
                <a:defPPr>
                  <a:defRPr lang="en-US"/>
                </a:defPPr>
                <a:lvl1pPr algn="ctr" defTabSz="1088105">
                  <a:defRPr sz="12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sz="1000" kern="0" err="1">
                    <a:solidFill>
                      <a:prstClr val="white"/>
                    </a:solidFill>
                  </a:rPr>
                  <a:t>HDInsight</a:t>
                </a:r>
                <a:endParaRPr lang="en-US" sz="1000" kern="0">
                  <a:solidFill>
                    <a:prstClr val="white"/>
                  </a:solidFill>
                </a:endParaRPr>
              </a:p>
            </p:txBody>
          </p:sp>
        </p:grpSp>
        <p:sp>
          <p:nvSpPr>
            <p:cNvPr id="129" name="Text Placeholder 5"/>
            <p:cNvSpPr txBox="1">
              <a:spLocks/>
            </p:cNvSpPr>
            <p:nvPr/>
          </p:nvSpPr>
          <p:spPr>
            <a:xfrm>
              <a:off x="7620968" y="4314189"/>
              <a:ext cx="1766289" cy="694017"/>
            </a:xfrm>
            <a:prstGeom prst="rect">
              <a:avLst/>
            </a:prstGeom>
          </p:spPr>
          <p:txBody>
            <a:bodyPr vert="horz" lIns="319874" tIns="53297" rIns="53297" bIns="53297" rtlCol="0">
              <a:noAutofit/>
            </a:bodyPr>
            <a:lstStyle>
              <a:lvl1pPr marL="0" indent="0" algn="l" defTabSz="1088105" rtl="0" eaLnBrk="1" latinLnBrk="0" hangingPunct="1">
                <a:spcBef>
                  <a:spcPts val="1800"/>
                </a:spcBef>
                <a:buClr>
                  <a:srgbClr val="0072C6"/>
                </a:buClr>
                <a:buSzPct val="100000"/>
                <a:buFont typeface="Wingdings" pitchFamily="2" charset="2"/>
                <a:buNone/>
                <a:defRPr sz="2800" kern="1200">
                  <a:solidFill>
                    <a:schemeClr val="tx1"/>
                  </a:solidFill>
                  <a:latin typeface="Segoe UI Light" pitchFamily="34" charset="0"/>
                  <a:ea typeface="Segoe UI" pitchFamily="34" charset="0"/>
                  <a:cs typeface="Segoe UI" pitchFamily="34" charset="0"/>
                </a:defRPr>
              </a:lvl1pPr>
              <a:lvl2pPr marL="281674" indent="0" algn="l" defTabSz="1088105" rtl="0" eaLnBrk="1" latinLnBrk="0" hangingPunct="1">
                <a:spcBef>
                  <a:spcPct val="20000"/>
                </a:spcBef>
                <a:buFont typeface="Arial" pitchFamily="34" charset="0"/>
                <a:buNone/>
                <a:defRPr sz="1800" kern="1200">
                  <a:solidFill>
                    <a:schemeClr val="tx1"/>
                  </a:solidFill>
                  <a:latin typeface="Segoe UI" pitchFamily="34" charset="0"/>
                  <a:ea typeface="Segoe UI" pitchFamily="34" charset="0"/>
                  <a:cs typeface="Segoe UI" pitchFamily="34" charset="0"/>
                </a:defRPr>
              </a:lvl2pPr>
              <a:lvl3pPr marL="588476" indent="0" algn="l" defTabSz="1088105" rtl="0" eaLnBrk="1" latinLnBrk="0" hangingPunct="1">
                <a:spcBef>
                  <a:spcPct val="20000"/>
                </a:spcBef>
                <a:buFont typeface="Arial" pitchFamily="34" charset="0"/>
                <a:buNone/>
                <a:defRPr sz="1600" kern="1200">
                  <a:solidFill>
                    <a:schemeClr val="tx1"/>
                  </a:solidFill>
                  <a:latin typeface="Segoe UI" pitchFamily="34" charset="0"/>
                  <a:ea typeface="Segoe UI" pitchFamily="34" charset="0"/>
                  <a:cs typeface="Segoe UI" pitchFamily="34" charset="0"/>
                </a:defRPr>
              </a:lvl3pPr>
              <a:lvl4pPr marL="87015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4pPr>
              <a:lvl5pPr marL="110554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defTabSz="1087779">
                <a:spcBef>
                  <a:spcPts val="1799"/>
                </a:spcBef>
                <a:defRPr/>
              </a:pPr>
              <a:r>
                <a:rPr lang="en-US" sz="2398" b="1">
                  <a:solidFill>
                    <a:prstClr val="white"/>
                  </a:solidFill>
                </a:rPr>
                <a:t>Cortana</a:t>
              </a:r>
              <a:br>
                <a:rPr lang="en-US" sz="2398" b="1">
                  <a:solidFill>
                    <a:prstClr val="white"/>
                  </a:solidFill>
                </a:rPr>
              </a:br>
              <a:r>
                <a:rPr lang="en-US" sz="2398" b="1">
                  <a:solidFill>
                    <a:prstClr val="white"/>
                  </a:solidFill>
                </a:rPr>
                <a:t>Analytics</a:t>
              </a:r>
            </a:p>
          </p:txBody>
        </p:sp>
        <p:grpSp>
          <p:nvGrpSpPr>
            <p:cNvPr id="156" name="Group 155"/>
            <p:cNvGrpSpPr/>
            <p:nvPr/>
          </p:nvGrpSpPr>
          <p:grpSpPr>
            <a:xfrm>
              <a:off x="8490217" y="5122332"/>
              <a:ext cx="1001236" cy="765406"/>
              <a:chOff x="10381995" y="5363022"/>
              <a:chExt cx="1001236" cy="765406"/>
            </a:xfrm>
          </p:grpSpPr>
          <p:pic>
            <p:nvPicPr>
              <p:cNvPr id="157" name="Picture 156"/>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10703105" y="5363022"/>
                <a:ext cx="359016" cy="359016"/>
              </a:xfrm>
              <a:prstGeom prst="rect">
                <a:avLst/>
              </a:prstGeom>
            </p:spPr>
          </p:pic>
          <p:sp>
            <p:nvSpPr>
              <p:cNvPr id="174" name="TextBox 173"/>
              <p:cNvSpPr txBox="1"/>
              <p:nvPr/>
            </p:nvSpPr>
            <p:spPr>
              <a:xfrm>
                <a:off x="10381995" y="5728318"/>
                <a:ext cx="1001236" cy="400110"/>
              </a:xfrm>
              <a:prstGeom prst="rect">
                <a:avLst/>
              </a:prstGeom>
            </p:spPr>
            <p:txBody>
              <a:bodyPr vert="horz" wrap="none" lIns="45696" tIns="45696" rIns="45696" bIns="45696" rtlCol="0" anchor="ctr">
                <a:spAutoFit/>
              </a:bodyPr>
              <a:lstStyle>
                <a:defPPr>
                  <a:defRPr lang="en-US"/>
                </a:defPPr>
                <a:lvl1pPr algn="ctr" defTabSz="1088105">
                  <a:defRPr sz="12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sz="1000" kern="0">
                    <a:solidFill>
                      <a:prstClr val="white"/>
                    </a:solidFill>
                  </a:rPr>
                  <a:t>Azure Machine </a:t>
                </a:r>
                <a:br>
                  <a:rPr lang="en-US" sz="1000" kern="0">
                    <a:solidFill>
                      <a:prstClr val="white"/>
                    </a:solidFill>
                  </a:rPr>
                </a:br>
                <a:r>
                  <a:rPr lang="en-US" sz="1000" kern="0">
                    <a:solidFill>
                      <a:prstClr val="white"/>
                    </a:solidFill>
                  </a:rPr>
                  <a:t>Learning</a:t>
                </a:r>
              </a:p>
            </p:txBody>
          </p:sp>
        </p:grpSp>
        <p:grpSp>
          <p:nvGrpSpPr>
            <p:cNvPr id="175" name="Group 174"/>
            <p:cNvGrpSpPr/>
            <p:nvPr/>
          </p:nvGrpSpPr>
          <p:grpSpPr>
            <a:xfrm>
              <a:off x="9407216" y="5781405"/>
              <a:ext cx="480901" cy="601769"/>
              <a:chOff x="4062348" y="228228"/>
              <a:chExt cx="480901" cy="601769"/>
            </a:xfrm>
          </p:grpSpPr>
          <p:sp>
            <p:nvSpPr>
              <p:cNvPr id="176" name="TextBox 175"/>
              <p:cNvSpPr txBox="1"/>
              <p:nvPr/>
            </p:nvSpPr>
            <p:spPr>
              <a:xfrm>
                <a:off x="4062348" y="676109"/>
                <a:ext cx="480901" cy="153888"/>
              </a:xfrm>
              <a:prstGeom prst="rect">
                <a:avLst/>
              </a:prstGeom>
            </p:spPr>
            <p:txBody>
              <a:bodyPr vert="horz" wrap="none" lIns="0" tIns="0" rIns="0" bIns="0" rtlCol="0" anchor="ctr">
                <a:spAutoFit/>
              </a:bodyPr>
              <a:lstStyle/>
              <a:p>
                <a:pPr algn="ctr" defTabSz="1087779">
                  <a:defRPr/>
                </a:pPr>
                <a:r>
                  <a:rPr lang="en-US" sz="1000" kern="0" err="1">
                    <a:solidFill>
                      <a:prstClr val="white"/>
                    </a:solidFill>
                    <a:latin typeface="Segoe UI Semibold" panose="020B0702040204020203" pitchFamily="34" charset="0"/>
                    <a:ea typeface="Segoe UI" pitchFamily="34" charset="0"/>
                    <a:cs typeface="Segoe UI Semibold" panose="020B0702040204020203" pitchFamily="34" charset="0"/>
                  </a:rPr>
                  <a:t>PowerBI</a:t>
                </a:r>
                <a:endParaRPr lang="en-US" sz="1000" kern="0">
                  <a:solidFill>
                    <a:prstClr val="white"/>
                  </a:solidFill>
                  <a:latin typeface="Segoe UI Semibold" panose="020B0702040204020203" pitchFamily="34" charset="0"/>
                  <a:ea typeface="Segoe UI" pitchFamily="34" charset="0"/>
                  <a:cs typeface="Segoe UI Semibold" panose="020B0702040204020203" pitchFamily="34" charset="0"/>
                </a:endParaRPr>
              </a:p>
            </p:txBody>
          </p:sp>
          <p:pic>
            <p:nvPicPr>
              <p:cNvPr id="177" name="Picture 176"/>
              <p:cNvPicPr>
                <a:picLocks noChangeAspect="1"/>
              </p:cNvPicPr>
              <p:nvPr/>
            </p:nvPicPr>
            <p:blipFill rotWithShape="1">
              <a:blip r:embed="rId8" cstate="print">
                <a:extLst>
                  <a:ext uri="{28A0092B-C50C-407E-A947-70E740481C1C}">
                    <a14:useLocalDpi xmlns:a14="http://schemas.microsoft.com/office/drawing/2010/main" val="0"/>
                  </a:ext>
                </a:extLst>
              </a:blip>
              <a:srcRect t="-1" r="-9452" b="-4026"/>
              <a:stretch/>
            </p:blipFill>
            <p:spPr>
              <a:xfrm>
                <a:off x="4109805" y="228228"/>
                <a:ext cx="423810" cy="411287"/>
              </a:xfrm>
              <a:prstGeom prst="rect">
                <a:avLst/>
              </a:prstGeom>
            </p:spPr>
          </p:pic>
        </p:grpSp>
        <p:grpSp>
          <p:nvGrpSpPr>
            <p:cNvPr id="179" name="Group 178"/>
            <p:cNvGrpSpPr/>
            <p:nvPr/>
          </p:nvGrpSpPr>
          <p:grpSpPr>
            <a:xfrm>
              <a:off x="6894108" y="4971336"/>
              <a:ext cx="737381" cy="573661"/>
              <a:chOff x="6069364" y="3999345"/>
              <a:chExt cx="737381" cy="573661"/>
            </a:xfrm>
          </p:grpSpPr>
          <p:pic>
            <p:nvPicPr>
              <p:cNvPr id="180" name="Picture 179"/>
              <p:cNvPicPr>
                <a:picLocks noChangeAspect="1"/>
              </p:cNvPicPr>
              <p:nvPr/>
            </p:nvPicPr>
            <p:blipFill>
              <a:blip r:embed="rId9" cstate="print">
                <a:biLevel thresh="25000"/>
                <a:extLst>
                  <a:ext uri="{28A0092B-C50C-407E-A947-70E740481C1C}">
                    <a14:useLocalDpi xmlns:a14="http://schemas.microsoft.com/office/drawing/2010/main" val="0"/>
                  </a:ext>
                </a:extLst>
              </a:blip>
              <a:stretch>
                <a:fillRect/>
              </a:stretch>
            </p:blipFill>
            <p:spPr>
              <a:xfrm>
                <a:off x="6230476" y="3999345"/>
                <a:ext cx="401119" cy="401119"/>
              </a:xfrm>
              <a:prstGeom prst="rect">
                <a:avLst/>
              </a:prstGeom>
            </p:spPr>
          </p:pic>
          <p:sp>
            <p:nvSpPr>
              <p:cNvPr id="181" name="TextBox 180"/>
              <p:cNvSpPr txBox="1"/>
              <p:nvPr/>
            </p:nvSpPr>
            <p:spPr>
              <a:xfrm>
                <a:off x="6069364" y="4419118"/>
                <a:ext cx="737381" cy="153888"/>
              </a:xfrm>
              <a:prstGeom prst="rect">
                <a:avLst/>
              </a:prstGeom>
            </p:spPr>
            <p:txBody>
              <a:bodyPr vert="horz" wrap="none" lIns="0" tIns="0" rIns="0" bIns="0" rtlCol="0" anchor="ctr">
                <a:spAutoFit/>
              </a:bodyPr>
              <a:lstStyle/>
              <a:p>
                <a:pPr algn="ctr" defTabSz="1087779">
                  <a:defRPr/>
                </a:pPr>
                <a:r>
                  <a:rPr lang="en-US" sz="1000" kern="0">
                    <a:solidFill>
                      <a:prstClr val="white"/>
                    </a:solidFill>
                    <a:latin typeface="Segoe UI Semibold" panose="020B0702040204020203" pitchFamily="34" charset="0"/>
                    <a:ea typeface="Segoe UI" pitchFamily="34" charset="0"/>
                    <a:cs typeface="Segoe UI Semibold" panose="020B0702040204020203" pitchFamily="34" charset="0"/>
                  </a:rPr>
                  <a:t>Data Factory</a:t>
                </a:r>
              </a:p>
            </p:txBody>
          </p:sp>
        </p:grpSp>
      </p:grpSp>
      <p:grpSp>
        <p:nvGrpSpPr>
          <p:cNvPr id="48" name="Group 47"/>
          <p:cNvGrpSpPr/>
          <p:nvPr/>
        </p:nvGrpSpPr>
        <p:grpSpPr>
          <a:xfrm>
            <a:off x="3425959" y="1014317"/>
            <a:ext cx="1315504" cy="1458876"/>
            <a:chOff x="2778534" y="1109333"/>
            <a:chExt cx="1316190" cy="1459636"/>
          </a:xfrm>
        </p:grpSpPr>
        <p:grpSp>
          <p:nvGrpSpPr>
            <p:cNvPr id="47" name="Group 46"/>
            <p:cNvGrpSpPr/>
            <p:nvPr/>
          </p:nvGrpSpPr>
          <p:grpSpPr>
            <a:xfrm>
              <a:off x="2778534" y="1109333"/>
              <a:ext cx="1316190" cy="1227994"/>
              <a:chOff x="2778534" y="1109333"/>
              <a:chExt cx="1316190" cy="1227994"/>
            </a:xfrm>
          </p:grpSpPr>
          <p:sp>
            <p:nvSpPr>
              <p:cNvPr id="230" name="Rounded Rectangle 60"/>
              <p:cNvSpPr>
                <a:spLocks noChangeArrowheads="1"/>
              </p:cNvSpPr>
              <p:nvPr/>
            </p:nvSpPr>
            <p:spPr bwMode="auto">
              <a:xfrm>
                <a:off x="2778534" y="1109333"/>
                <a:ext cx="1316190" cy="122799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91392" rIns="91392" bIns="91392" numCol="1" spcCol="0" rtlCol="0" fromWordArt="0" anchor="b" anchorCtr="0" forceAA="0" compatLnSpc="1">
                <a:prstTxWarp prst="textNoShape">
                  <a:avLst/>
                </a:prstTxWarp>
                <a:noAutofit/>
              </a:bodyPr>
              <a:lstStyle/>
              <a:p>
                <a:pPr algn="r" defTabSz="913852">
                  <a:defRPr/>
                </a:pPr>
                <a:endParaRPr lang="en-US" sz="1200" kern="0">
                  <a:solidFill>
                    <a:srgbClr val="505050"/>
                  </a:solidFill>
                  <a:latin typeface="Segoe UI"/>
                </a:endParaRPr>
              </a:p>
            </p:txBody>
          </p:sp>
          <p:sp>
            <p:nvSpPr>
              <p:cNvPr id="234" name="Freeform 14"/>
              <p:cNvSpPr>
                <a:spLocks noEditPoints="1"/>
              </p:cNvSpPr>
              <p:nvPr/>
            </p:nvSpPr>
            <p:spPr bwMode="black">
              <a:xfrm>
                <a:off x="3605880" y="1332556"/>
                <a:ext cx="126021" cy="159099"/>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chemeClr val="bg1">
                  <a:lumMod val="50000"/>
                </a:schemeClr>
              </a:solidFill>
              <a:ln w="10795" cap="flat" cmpd="sng" algn="ctr">
                <a:noFill/>
                <a:prstDash val="solid"/>
                <a:headEnd type="none" w="med" len="med"/>
                <a:tailEnd type="none" w="med" len="med"/>
              </a:ln>
              <a:effectLst/>
            </p:spPr>
            <p:txBody>
              <a:bodyPr lIns="109649" tIns="54826" rIns="109649" bIns="54826" anchor="ctr"/>
              <a:lstStyle/>
              <a:p>
                <a:pPr defTabSz="986814">
                  <a:defRPr/>
                </a:pPr>
                <a:endParaRPr lang="en-US" sz="2397" kern="0">
                  <a:solidFill>
                    <a:srgbClr val="505050"/>
                  </a:solidFill>
                  <a:latin typeface="Segoe Light" pitchFamily="34" charset="0"/>
                </a:endParaRPr>
              </a:p>
            </p:txBody>
          </p:sp>
          <p:pic>
            <p:nvPicPr>
              <p:cNvPr id="235" name="Picture 234"/>
              <p:cNvPicPr>
                <a:picLocks noChangeAspect="1"/>
              </p:cNvPicPr>
              <p:nvPr/>
            </p:nvPicPr>
            <p:blipFill>
              <a:blip r:embed="rId10" cstate="screen">
                <a:duotone>
                  <a:prstClr val="black"/>
                  <a:schemeClr val="accent5">
                    <a:tint val="45000"/>
                    <a:satMod val="400000"/>
                  </a:schemeClr>
                </a:duotone>
                <a:extLst>
                  <a:ext uri="{BEBA8EAE-BF5A-486C-A8C5-ECC9F3942E4B}">
                    <a14:imgProps xmlns:a14="http://schemas.microsoft.com/office/drawing/2010/main">
                      <a14:imgLayer r:embed="rId11">
                        <a14:imgEffect>
                          <a14:brightnessContrast bright="-20000" contrast="-20000"/>
                        </a14:imgEffect>
                      </a14:imgLayer>
                    </a14:imgProps>
                  </a:ext>
                  <a:ext uri="{28A0092B-C50C-407E-A947-70E740481C1C}">
                    <a14:useLocalDpi xmlns:a14="http://schemas.microsoft.com/office/drawing/2010/main"/>
                  </a:ext>
                </a:extLst>
              </a:blip>
              <a:stretch>
                <a:fillRect/>
              </a:stretch>
            </p:blipFill>
            <p:spPr bwMode="auto">
              <a:xfrm>
                <a:off x="3794817" y="1464041"/>
                <a:ext cx="106062" cy="144476"/>
              </a:xfrm>
              <a:prstGeom prst="rect">
                <a:avLst/>
              </a:prstGeom>
            </p:spPr>
          </p:pic>
          <p:sp>
            <p:nvSpPr>
              <p:cNvPr id="236" name="Freeform 13"/>
              <p:cNvSpPr>
                <a:spLocks noEditPoints="1"/>
              </p:cNvSpPr>
              <p:nvPr/>
            </p:nvSpPr>
            <p:spPr bwMode="black">
              <a:xfrm>
                <a:off x="2969727" y="1450769"/>
                <a:ext cx="184287" cy="186420"/>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bg1">
                  <a:lumMod val="50000"/>
                </a:schemeClr>
              </a:solidFill>
              <a:ln w="10795" cap="flat" cmpd="sng" algn="ctr">
                <a:noFill/>
                <a:prstDash val="solid"/>
                <a:headEnd type="none" w="med" len="med"/>
                <a:tailEnd type="none" w="med" len="med"/>
              </a:ln>
              <a:effectLst/>
            </p:spPr>
            <p:txBody>
              <a:bodyPr lIns="82260" tIns="41129" rIns="82260" bIns="41129" anchor="ctr"/>
              <a:lstStyle/>
              <a:p>
                <a:pPr defTabSz="740296">
                  <a:defRPr/>
                </a:pPr>
                <a:endParaRPr lang="en-US" sz="1798" kern="0">
                  <a:solidFill>
                    <a:srgbClr val="505050"/>
                  </a:solidFill>
                  <a:latin typeface="Segoe Light" pitchFamily="34" charset="0"/>
                </a:endParaRPr>
              </a:p>
            </p:txBody>
          </p:sp>
          <p:sp>
            <p:nvSpPr>
              <p:cNvPr id="237" name="Freeform 236"/>
              <p:cNvSpPr>
                <a:spLocks/>
              </p:cNvSpPr>
              <p:nvPr/>
            </p:nvSpPr>
            <p:spPr bwMode="black">
              <a:xfrm>
                <a:off x="3240014" y="1833253"/>
                <a:ext cx="134149" cy="159099"/>
              </a:xfrm>
              <a:custGeom>
                <a:avLst/>
                <a:gdLst>
                  <a:gd name="connsiteX0" fmla="*/ 276253 w 393142"/>
                  <a:gd name="connsiteY0" fmla="*/ 48406 h 393039"/>
                  <a:gd name="connsiteX1" fmla="*/ 213366 w 393142"/>
                  <a:gd name="connsiteY1" fmla="*/ 111283 h 393039"/>
                  <a:gd name="connsiteX2" fmla="*/ 213366 w 393142"/>
                  <a:gd name="connsiteY2" fmla="*/ 143229 h 393039"/>
                  <a:gd name="connsiteX3" fmla="*/ 168230 w 393142"/>
                  <a:gd name="connsiteY3" fmla="*/ 143229 h 393039"/>
                  <a:gd name="connsiteX4" fmla="*/ 168230 w 393142"/>
                  <a:gd name="connsiteY4" fmla="*/ 196725 h 393039"/>
                  <a:gd name="connsiteX5" fmla="*/ 213366 w 393142"/>
                  <a:gd name="connsiteY5" fmla="*/ 196725 h 393039"/>
                  <a:gd name="connsiteX6" fmla="*/ 213366 w 393142"/>
                  <a:gd name="connsiteY6" fmla="*/ 361270 h 393039"/>
                  <a:gd name="connsiteX7" fmla="*/ 283606 w 393142"/>
                  <a:gd name="connsiteY7" fmla="*/ 361270 h 393039"/>
                  <a:gd name="connsiteX8" fmla="*/ 283606 w 393142"/>
                  <a:gd name="connsiteY8" fmla="*/ 196725 h 393039"/>
                  <a:gd name="connsiteX9" fmla="*/ 333560 w 393142"/>
                  <a:gd name="connsiteY9" fmla="*/ 196725 h 393039"/>
                  <a:gd name="connsiteX10" fmla="*/ 333560 w 393142"/>
                  <a:gd name="connsiteY10" fmla="*/ 143229 h 393039"/>
                  <a:gd name="connsiteX11" fmla="*/ 283606 w 393142"/>
                  <a:gd name="connsiteY11" fmla="*/ 143229 h 393039"/>
                  <a:gd name="connsiteX12" fmla="*/ 283606 w 393142"/>
                  <a:gd name="connsiteY12" fmla="*/ 125481 h 393039"/>
                  <a:gd name="connsiteX13" fmla="*/ 307189 w 393142"/>
                  <a:gd name="connsiteY13" fmla="*/ 101902 h 393039"/>
                  <a:gd name="connsiteX14" fmla="*/ 333560 w 393142"/>
                  <a:gd name="connsiteY14" fmla="*/ 101902 h 393039"/>
                  <a:gd name="connsiteX15" fmla="*/ 333560 w 393142"/>
                  <a:gd name="connsiteY15" fmla="*/ 48406 h 393039"/>
                  <a:gd name="connsiteX16" fmla="*/ 276253 w 393142"/>
                  <a:gd name="connsiteY16" fmla="*/ 48406 h 393039"/>
                  <a:gd name="connsiteX17" fmla="*/ 70512 w 393142"/>
                  <a:gd name="connsiteY17" fmla="*/ 0 h 393039"/>
                  <a:gd name="connsiteX18" fmla="*/ 322630 w 393142"/>
                  <a:gd name="connsiteY18" fmla="*/ 0 h 393039"/>
                  <a:gd name="connsiteX19" fmla="*/ 393142 w 393142"/>
                  <a:gd name="connsiteY19" fmla="*/ 70494 h 393039"/>
                  <a:gd name="connsiteX20" fmla="*/ 393142 w 393142"/>
                  <a:gd name="connsiteY20" fmla="*/ 322546 h 393039"/>
                  <a:gd name="connsiteX21" fmla="*/ 322630 w 393142"/>
                  <a:gd name="connsiteY21" fmla="*/ 393039 h 393039"/>
                  <a:gd name="connsiteX22" fmla="*/ 70512 w 393142"/>
                  <a:gd name="connsiteY22" fmla="*/ 393039 h 393039"/>
                  <a:gd name="connsiteX23" fmla="*/ 0 w 393142"/>
                  <a:gd name="connsiteY23" fmla="*/ 322546 h 393039"/>
                  <a:gd name="connsiteX24" fmla="*/ 0 w 393142"/>
                  <a:gd name="connsiteY24" fmla="*/ 70494 h 393039"/>
                  <a:gd name="connsiteX25" fmla="*/ 70512 w 393142"/>
                  <a:gd name="connsiteY25" fmla="*/ 0 h 393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93142" h="393039">
                    <a:moveTo>
                      <a:pt x="276253" y="48406"/>
                    </a:moveTo>
                    <a:cubicBezTo>
                      <a:pt x="241513" y="48406"/>
                      <a:pt x="213366" y="76549"/>
                      <a:pt x="213366" y="111283"/>
                    </a:cubicBezTo>
                    <a:cubicBezTo>
                      <a:pt x="213366" y="143229"/>
                      <a:pt x="213366" y="143229"/>
                      <a:pt x="213366" y="143229"/>
                    </a:cubicBezTo>
                    <a:cubicBezTo>
                      <a:pt x="168230" y="143229"/>
                      <a:pt x="168230" y="143229"/>
                      <a:pt x="168230" y="143229"/>
                    </a:cubicBezTo>
                    <a:cubicBezTo>
                      <a:pt x="168230" y="196725"/>
                      <a:pt x="168230" y="196725"/>
                      <a:pt x="168230" y="196725"/>
                    </a:cubicBezTo>
                    <a:cubicBezTo>
                      <a:pt x="213366" y="196725"/>
                      <a:pt x="213366" y="196725"/>
                      <a:pt x="213366" y="196725"/>
                    </a:cubicBezTo>
                    <a:cubicBezTo>
                      <a:pt x="213366" y="361270"/>
                      <a:pt x="213366" y="361270"/>
                      <a:pt x="213366" y="361270"/>
                    </a:cubicBezTo>
                    <a:cubicBezTo>
                      <a:pt x="283606" y="361270"/>
                      <a:pt x="283606" y="361270"/>
                      <a:pt x="283606" y="361270"/>
                    </a:cubicBezTo>
                    <a:cubicBezTo>
                      <a:pt x="283606" y="196725"/>
                      <a:pt x="283606" y="196725"/>
                      <a:pt x="283606" y="196725"/>
                    </a:cubicBezTo>
                    <a:cubicBezTo>
                      <a:pt x="333560" y="196725"/>
                      <a:pt x="333560" y="196725"/>
                      <a:pt x="333560" y="196725"/>
                    </a:cubicBezTo>
                    <a:cubicBezTo>
                      <a:pt x="333560" y="143229"/>
                      <a:pt x="333560" y="143229"/>
                      <a:pt x="333560" y="143229"/>
                    </a:cubicBezTo>
                    <a:cubicBezTo>
                      <a:pt x="283606" y="143229"/>
                      <a:pt x="283606" y="143229"/>
                      <a:pt x="283606" y="143229"/>
                    </a:cubicBezTo>
                    <a:cubicBezTo>
                      <a:pt x="283606" y="125481"/>
                      <a:pt x="283606" y="125481"/>
                      <a:pt x="283606" y="125481"/>
                    </a:cubicBezTo>
                    <a:cubicBezTo>
                      <a:pt x="283606" y="112297"/>
                      <a:pt x="294003" y="101902"/>
                      <a:pt x="307189" y="101902"/>
                    </a:cubicBezTo>
                    <a:cubicBezTo>
                      <a:pt x="333560" y="101902"/>
                      <a:pt x="333560" y="101902"/>
                      <a:pt x="333560" y="101902"/>
                    </a:cubicBezTo>
                    <a:cubicBezTo>
                      <a:pt x="333560" y="48406"/>
                      <a:pt x="333560" y="48406"/>
                      <a:pt x="333560" y="48406"/>
                    </a:cubicBezTo>
                    <a:cubicBezTo>
                      <a:pt x="276253" y="48406"/>
                      <a:pt x="276253" y="48406"/>
                      <a:pt x="276253" y="48406"/>
                    </a:cubicBezTo>
                    <a:close/>
                    <a:moveTo>
                      <a:pt x="70512" y="0"/>
                    </a:moveTo>
                    <a:cubicBezTo>
                      <a:pt x="70512" y="0"/>
                      <a:pt x="70512" y="0"/>
                      <a:pt x="322630" y="0"/>
                    </a:cubicBezTo>
                    <a:cubicBezTo>
                      <a:pt x="361437" y="0"/>
                      <a:pt x="393142" y="31697"/>
                      <a:pt x="393142" y="70494"/>
                    </a:cubicBezTo>
                    <a:cubicBezTo>
                      <a:pt x="393142" y="70494"/>
                      <a:pt x="393142" y="70494"/>
                      <a:pt x="393142" y="322546"/>
                    </a:cubicBezTo>
                    <a:cubicBezTo>
                      <a:pt x="393142" y="361342"/>
                      <a:pt x="361437" y="393039"/>
                      <a:pt x="322630" y="393039"/>
                    </a:cubicBezTo>
                    <a:cubicBezTo>
                      <a:pt x="322630" y="393039"/>
                      <a:pt x="322630" y="393039"/>
                      <a:pt x="70512" y="393039"/>
                    </a:cubicBezTo>
                    <a:cubicBezTo>
                      <a:pt x="31705" y="393039"/>
                      <a:pt x="0" y="361342"/>
                      <a:pt x="0" y="322546"/>
                    </a:cubicBezTo>
                    <a:cubicBezTo>
                      <a:pt x="0" y="322546"/>
                      <a:pt x="0" y="322546"/>
                      <a:pt x="0" y="70494"/>
                    </a:cubicBezTo>
                    <a:cubicBezTo>
                      <a:pt x="0" y="31697"/>
                      <a:pt x="31705" y="0"/>
                      <a:pt x="70512" y="0"/>
                    </a:cubicBezTo>
                    <a:close/>
                  </a:path>
                </a:pathLst>
              </a:custGeom>
              <a:solidFill>
                <a:schemeClr val="bg1">
                  <a:lumMod val="50000"/>
                </a:schemeClr>
              </a:solidFill>
              <a:ln w="10795" cap="flat" cmpd="sng" algn="ctr">
                <a:noFill/>
                <a:prstDash val="solid"/>
                <a:headEnd type="none" w="med" len="med"/>
                <a:tailEnd type="none" w="med" len="med"/>
              </a:ln>
              <a:effectLst/>
              <a:extLst/>
            </p:spPr>
            <p:txBody>
              <a:bodyPr lIns="91388" tIns="45694" rIns="91388" bIns="45694" anchor="ctr"/>
              <a:lstStyle/>
              <a:p>
                <a:pPr defTabSz="740296">
                  <a:defRPr/>
                </a:pPr>
                <a:endParaRPr lang="en-US" sz="1798" kern="0">
                  <a:solidFill>
                    <a:srgbClr val="505050"/>
                  </a:solidFill>
                  <a:latin typeface="Segoe Light" pitchFamily="34" charset="0"/>
                </a:endParaRPr>
              </a:p>
            </p:txBody>
          </p:sp>
          <p:sp>
            <p:nvSpPr>
              <p:cNvPr id="240" name="Freeform 239"/>
              <p:cNvSpPr/>
              <p:nvPr/>
            </p:nvSpPr>
            <p:spPr>
              <a:xfrm>
                <a:off x="3635004" y="1655889"/>
                <a:ext cx="142911" cy="164355"/>
              </a:xfrm>
              <a:custGeom>
                <a:avLst/>
                <a:gdLst>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15888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622236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8502 w 4062047"/>
                  <a:gd name="connsiteY5" fmla="*/ 1619680 h 3938955"/>
                  <a:gd name="connsiteX6" fmla="*/ 2420651 w 4062047"/>
                  <a:gd name="connsiteY6" fmla="*/ 1739087 h 3938955"/>
                  <a:gd name="connsiteX7" fmla="*/ 3241046 w 4062047"/>
                  <a:gd name="connsiteY7" fmla="*/ 1879207 h 3938955"/>
                  <a:gd name="connsiteX8" fmla="*/ 3223454 w 4062047"/>
                  <a:gd name="connsiteY8" fmla="*/ 1598424 h 3938955"/>
                  <a:gd name="connsiteX9" fmla="*/ 3128502 w 4062047"/>
                  <a:gd name="connsiteY9" fmla="*/ 1619680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1358 w 4062047"/>
                  <a:gd name="connsiteY5" fmla="*/ 1576817 h 3938955"/>
                  <a:gd name="connsiteX6" fmla="*/ 2420651 w 4062047"/>
                  <a:gd name="connsiteY6" fmla="*/ 1739087 h 3938955"/>
                  <a:gd name="connsiteX7" fmla="*/ 3241046 w 4062047"/>
                  <a:gd name="connsiteY7" fmla="*/ 1879207 h 3938955"/>
                  <a:gd name="connsiteX8" fmla="*/ 3223454 w 4062047"/>
                  <a:gd name="connsiteY8" fmla="*/ 1598424 h 3938955"/>
                  <a:gd name="connsiteX9" fmla="*/ 3121358 w 4062047"/>
                  <a:gd name="connsiteY9" fmla="*/ 1576817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23739 w 4062047"/>
                  <a:gd name="connsiteY5" fmla="*/ 1610155 h 3938955"/>
                  <a:gd name="connsiteX6" fmla="*/ 2420651 w 4062047"/>
                  <a:gd name="connsiteY6" fmla="*/ 1739087 h 3938955"/>
                  <a:gd name="connsiteX7" fmla="*/ 3241046 w 4062047"/>
                  <a:gd name="connsiteY7" fmla="*/ 1879207 h 3938955"/>
                  <a:gd name="connsiteX8" fmla="*/ 3223454 w 4062047"/>
                  <a:gd name="connsiteY8" fmla="*/ 1598424 h 3938955"/>
                  <a:gd name="connsiteX9" fmla="*/ 3123739 w 4062047"/>
                  <a:gd name="connsiteY9" fmla="*/ 1610155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4214 w 4062047"/>
                  <a:gd name="connsiteY5" fmla="*/ 1610155 h 3938955"/>
                  <a:gd name="connsiteX6" fmla="*/ 2420651 w 4062047"/>
                  <a:gd name="connsiteY6" fmla="*/ 1739087 h 3938955"/>
                  <a:gd name="connsiteX7" fmla="*/ 3241046 w 4062047"/>
                  <a:gd name="connsiteY7" fmla="*/ 1879207 h 3938955"/>
                  <a:gd name="connsiteX8" fmla="*/ 3223454 w 4062047"/>
                  <a:gd name="connsiteY8" fmla="*/ 1598424 h 3938955"/>
                  <a:gd name="connsiteX9" fmla="*/ 3114214 w 4062047"/>
                  <a:gd name="connsiteY9" fmla="*/ 1610155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4214 w 4062047"/>
                  <a:gd name="connsiteY5" fmla="*/ 1610155 h 3938955"/>
                  <a:gd name="connsiteX6" fmla="*/ 2420651 w 4062047"/>
                  <a:gd name="connsiteY6" fmla="*/ 1739087 h 3938955"/>
                  <a:gd name="connsiteX7" fmla="*/ 3241046 w 4062047"/>
                  <a:gd name="connsiteY7" fmla="*/ 1879207 h 3938955"/>
                  <a:gd name="connsiteX8" fmla="*/ 3206785 w 4062047"/>
                  <a:gd name="connsiteY8" fmla="*/ 1600806 h 3938955"/>
                  <a:gd name="connsiteX9" fmla="*/ 3114214 w 4062047"/>
                  <a:gd name="connsiteY9" fmla="*/ 1610155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1832 w 4062047"/>
                  <a:gd name="connsiteY5" fmla="*/ 1605392 h 3938955"/>
                  <a:gd name="connsiteX6" fmla="*/ 2420651 w 4062047"/>
                  <a:gd name="connsiteY6" fmla="*/ 1739087 h 3938955"/>
                  <a:gd name="connsiteX7" fmla="*/ 3241046 w 4062047"/>
                  <a:gd name="connsiteY7" fmla="*/ 1879207 h 3938955"/>
                  <a:gd name="connsiteX8" fmla="*/ 3206785 w 4062047"/>
                  <a:gd name="connsiteY8" fmla="*/ 1600806 h 3938955"/>
                  <a:gd name="connsiteX9" fmla="*/ 3111832 w 4062047"/>
                  <a:gd name="connsiteY9" fmla="*/ 1605392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1832 w 4062047"/>
                  <a:gd name="connsiteY5" fmla="*/ 1605392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3111832 w 4062047"/>
                  <a:gd name="connsiteY9" fmla="*/ 1605392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1832 w 4062047"/>
                  <a:gd name="connsiteY5" fmla="*/ 1605392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3111832 w 4062047"/>
                  <a:gd name="connsiteY9" fmla="*/ 1605392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1832 w 4062047"/>
                  <a:gd name="connsiteY5" fmla="*/ 1605392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3111832 w 4062047"/>
                  <a:gd name="connsiteY9" fmla="*/ 1605392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111832 w 4062047"/>
                  <a:gd name="connsiteY5" fmla="*/ 1605392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3111832 w 4062047"/>
                  <a:gd name="connsiteY9" fmla="*/ 1605392 h 3938955"/>
                  <a:gd name="connsiteX10" fmla="*/ 2950677 w 4062047"/>
                  <a:gd name="connsiteY10" fmla="*/ 857698 h 3938955"/>
                  <a:gd name="connsiteX11" fmla="*/ 2870505 w 4062047"/>
                  <a:gd name="connsiteY11" fmla="*/ 878864 h 3938955"/>
                  <a:gd name="connsiteX12" fmla="*/ 2227569 w 4062047"/>
                  <a:gd name="connsiteY12" fmla="*/ 1381308 h 3938955"/>
                  <a:gd name="connsiteX13" fmla="*/ 3013380 w 4062047"/>
                  <a:gd name="connsiteY13" fmla="*/ 1093177 h 3938955"/>
                  <a:gd name="connsiteX14" fmla="*/ 2950677 w 4062047"/>
                  <a:gd name="connsiteY14" fmla="*/ 857698 h 3938955"/>
                  <a:gd name="connsiteX15" fmla="*/ 850835 w 4062047"/>
                  <a:gd name="connsiteY15" fmla="*/ 587237 h 3938955"/>
                  <a:gd name="connsiteX16" fmla="*/ 691663 w 4062047"/>
                  <a:gd name="connsiteY16" fmla="*/ 759803 h 3938955"/>
                  <a:gd name="connsiteX17" fmla="*/ 1286976 w 4062047"/>
                  <a:gd name="connsiteY17" fmla="*/ 2250466 h 3938955"/>
                  <a:gd name="connsiteX18" fmla="*/ 1072663 w 4062047"/>
                  <a:gd name="connsiteY18" fmla="*/ 2593366 h 3938955"/>
                  <a:gd name="connsiteX19" fmla="*/ 744051 w 4062047"/>
                  <a:gd name="connsiteY19" fmla="*/ 2731478 h 3938955"/>
                  <a:gd name="connsiteX20" fmla="*/ 1191726 w 4062047"/>
                  <a:gd name="connsiteY20" fmla="*/ 2836253 h 3938955"/>
                  <a:gd name="connsiteX21" fmla="*/ 1696551 w 4062047"/>
                  <a:gd name="connsiteY21" fmla="*/ 2036153 h 3938955"/>
                  <a:gd name="connsiteX22" fmla="*/ 2201376 w 4062047"/>
                  <a:gd name="connsiteY22" fmla="*/ 769328 h 3938955"/>
                  <a:gd name="connsiteX23" fmla="*/ 1929913 w 4062047"/>
                  <a:gd name="connsiteY23" fmla="*/ 683603 h 3938955"/>
                  <a:gd name="connsiteX24" fmla="*/ 1458426 w 4062047"/>
                  <a:gd name="connsiteY24" fmla="*/ 1855178 h 3938955"/>
                  <a:gd name="connsiteX25" fmla="*/ 972651 w 4062047"/>
                  <a:gd name="connsiteY25" fmla="*/ 650266 h 3938955"/>
                  <a:gd name="connsiteX26" fmla="*/ 850835 w 4062047"/>
                  <a:gd name="connsiteY26" fmla="*/ 587237 h 3938955"/>
                  <a:gd name="connsiteX27" fmla="*/ 540732 w 4062047"/>
                  <a:gd name="connsiteY27" fmla="*/ 0 h 3938955"/>
                  <a:gd name="connsiteX28" fmla="*/ 3521315 w 4062047"/>
                  <a:gd name="connsiteY28" fmla="*/ 0 h 3938955"/>
                  <a:gd name="connsiteX29" fmla="*/ 4062047 w 4062047"/>
                  <a:gd name="connsiteY29" fmla="*/ 540731 h 3938955"/>
                  <a:gd name="connsiteX30" fmla="*/ 4062047 w 4062047"/>
                  <a:gd name="connsiteY30" fmla="*/ 2914645 h 3938955"/>
                  <a:gd name="connsiteX31" fmla="*/ 3521315 w 4062047"/>
                  <a:gd name="connsiteY31" fmla="*/ 3455377 h 3938955"/>
                  <a:gd name="connsiteX32" fmla="*/ 1802912 w 4062047"/>
                  <a:gd name="connsiteY32" fmla="*/ 3455377 h 3938955"/>
                  <a:gd name="connsiteX33" fmla="*/ 1075041 w 4062047"/>
                  <a:gd name="connsiteY33" fmla="*/ 3938955 h 3938955"/>
                  <a:gd name="connsiteX34" fmla="*/ 1075041 w 4062047"/>
                  <a:gd name="connsiteY34" fmla="*/ 3455377 h 3938955"/>
                  <a:gd name="connsiteX35" fmla="*/ 540732 w 4062047"/>
                  <a:gd name="connsiteY35" fmla="*/ 3455377 h 3938955"/>
                  <a:gd name="connsiteX36" fmla="*/ 0 w 4062047"/>
                  <a:gd name="connsiteY36" fmla="*/ 2914645 h 3938955"/>
                  <a:gd name="connsiteX37" fmla="*/ 0 w 4062047"/>
                  <a:gd name="connsiteY37" fmla="*/ 540731 h 3938955"/>
                  <a:gd name="connsiteX38" fmla="*/ 540732 w 4062047"/>
                  <a:gd name="connsiteY38"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206785 w 4062047"/>
                  <a:gd name="connsiteY5" fmla="*/ 1603188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2950677 w 4062047"/>
                  <a:gd name="connsiteY9" fmla="*/ 857698 h 3938955"/>
                  <a:gd name="connsiteX10" fmla="*/ 2870505 w 4062047"/>
                  <a:gd name="connsiteY10" fmla="*/ 878864 h 3938955"/>
                  <a:gd name="connsiteX11" fmla="*/ 2227569 w 4062047"/>
                  <a:gd name="connsiteY11" fmla="*/ 1381308 h 3938955"/>
                  <a:gd name="connsiteX12" fmla="*/ 3013380 w 4062047"/>
                  <a:gd name="connsiteY12" fmla="*/ 1093177 h 3938955"/>
                  <a:gd name="connsiteX13" fmla="*/ 2950677 w 4062047"/>
                  <a:gd name="connsiteY13" fmla="*/ 857698 h 3938955"/>
                  <a:gd name="connsiteX14" fmla="*/ 850835 w 4062047"/>
                  <a:gd name="connsiteY14" fmla="*/ 587237 h 3938955"/>
                  <a:gd name="connsiteX15" fmla="*/ 691663 w 4062047"/>
                  <a:gd name="connsiteY15" fmla="*/ 759803 h 3938955"/>
                  <a:gd name="connsiteX16" fmla="*/ 1286976 w 4062047"/>
                  <a:gd name="connsiteY16" fmla="*/ 2250466 h 3938955"/>
                  <a:gd name="connsiteX17" fmla="*/ 1072663 w 4062047"/>
                  <a:gd name="connsiteY17" fmla="*/ 2593366 h 3938955"/>
                  <a:gd name="connsiteX18" fmla="*/ 744051 w 4062047"/>
                  <a:gd name="connsiteY18" fmla="*/ 2731478 h 3938955"/>
                  <a:gd name="connsiteX19" fmla="*/ 1191726 w 4062047"/>
                  <a:gd name="connsiteY19" fmla="*/ 2836253 h 3938955"/>
                  <a:gd name="connsiteX20" fmla="*/ 1696551 w 4062047"/>
                  <a:gd name="connsiteY20" fmla="*/ 2036153 h 3938955"/>
                  <a:gd name="connsiteX21" fmla="*/ 2201376 w 4062047"/>
                  <a:gd name="connsiteY21" fmla="*/ 769328 h 3938955"/>
                  <a:gd name="connsiteX22" fmla="*/ 1929913 w 4062047"/>
                  <a:gd name="connsiteY22" fmla="*/ 683603 h 3938955"/>
                  <a:gd name="connsiteX23" fmla="*/ 1458426 w 4062047"/>
                  <a:gd name="connsiteY23" fmla="*/ 1855178 h 3938955"/>
                  <a:gd name="connsiteX24" fmla="*/ 972651 w 4062047"/>
                  <a:gd name="connsiteY24" fmla="*/ 650266 h 3938955"/>
                  <a:gd name="connsiteX25" fmla="*/ 850835 w 4062047"/>
                  <a:gd name="connsiteY25" fmla="*/ 587237 h 3938955"/>
                  <a:gd name="connsiteX26" fmla="*/ 540732 w 4062047"/>
                  <a:gd name="connsiteY26" fmla="*/ 0 h 3938955"/>
                  <a:gd name="connsiteX27" fmla="*/ 3521315 w 4062047"/>
                  <a:gd name="connsiteY27" fmla="*/ 0 h 3938955"/>
                  <a:gd name="connsiteX28" fmla="*/ 4062047 w 4062047"/>
                  <a:gd name="connsiteY28" fmla="*/ 540731 h 3938955"/>
                  <a:gd name="connsiteX29" fmla="*/ 4062047 w 4062047"/>
                  <a:gd name="connsiteY29" fmla="*/ 2914645 h 3938955"/>
                  <a:gd name="connsiteX30" fmla="*/ 3521315 w 4062047"/>
                  <a:gd name="connsiteY30" fmla="*/ 3455377 h 3938955"/>
                  <a:gd name="connsiteX31" fmla="*/ 1802912 w 4062047"/>
                  <a:gd name="connsiteY31" fmla="*/ 3455377 h 3938955"/>
                  <a:gd name="connsiteX32" fmla="*/ 1075041 w 4062047"/>
                  <a:gd name="connsiteY32" fmla="*/ 3938955 h 3938955"/>
                  <a:gd name="connsiteX33" fmla="*/ 1075041 w 4062047"/>
                  <a:gd name="connsiteY33" fmla="*/ 3455377 h 3938955"/>
                  <a:gd name="connsiteX34" fmla="*/ 540732 w 4062047"/>
                  <a:gd name="connsiteY34" fmla="*/ 3455377 h 3938955"/>
                  <a:gd name="connsiteX35" fmla="*/ 0 w 4062047"/>
                  <a:gd name="connsiteY35" fmla="*/ 2914645 h 3938955"/>
                  <a:gd name="connsiteX36" fmla="*/ 0 w 4062047"/>
                  <a:gd name="connsiteY36" fmla="*/ 540731 h 3938955"/>
                  <a:gd name="connsiteX37" fmla="*/ 540732 w 4062047"/>
                  <a:gd name="connsiteY37"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206785 w 4062047"/>
                  <a:gd name="connsiteY5" fmla="*/ 1603188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2950677 w 4062047"/>
                  <a:gd name="connsiteY9" fmla="*/ 857698 h 3938955"/>
                  <a:gd name="connsiteX10" fmla="*/ 2870505 w 4062047"/>
                  <a:gd name="connsiteY10" fmla="*/ 878864 h 3938955"/>
                  <a:gd name="connsiteX11" fmla="*/ 2227569 w 4062047"/>
                  <a:gd name="connsiteY11" fmla="*/ 1381308 h 3938955"/>
                  <a:gd name="connsiteX12" fmla="*/ 3013380 w 4062047"/>
                  <a:gd name="connsiteY12" fmla="*/ 1093177 h 3938955"/>
                  <a:gd name="connsiteX13" fmla="*/ 2950677 w 4062047"/>
                  <a:gd name="connsiteY13" fmla="*/ 857698 h 3938955"/>
                  <a:gd name="connsiteX14" fmla="*/ 850835 w 4062047"/>
                  <a:gd name="connsiteY14" fmla="*/ 587237 h 3938955"/>
                  <a:gd name="connsiteX15" fmla="*/ 691663 w 4062047"/>
                  <a:gd name="connsiteY15" fmla="*/ 759803 h 3938955"/>
                  <a:gd name="connsiteX16" fmla="*/ 1286976 w 4062047"/>
                  <a:gd name="connsiteY16" fmla="*/ 2250466 h 3938955"/>
                  <a:gd name="connsiteX17" fmla="*/ 1072663 w 4062047"/>
                  <a:gd name="connsiteY17" fmla="*/ 2593366 h 3938955"/>
                  <a:gd name="connsiteX18" fmla="*/ 744051 w 4062047"/>
                  <a:gd name="connsiteY18" fmla="*/ 2731478 h 3938955"/>
                  <a:gd name="connsiteX19" fmla="*/ 1191726 w 4062047"/>
                  <a:gd name="connsiteY19" fmla="*/ 2836253 h 3938955"/>
                  <a:gd name="connsiteX20" fmla="*/ 1696551 w 4062047"/>
                  <a:gd name="connsiteY20" fmla="*/ 2036153 h 3938955"/>
                  <a:gd name="connsiteX21" fmla="*/ 2201376 w 4062047"/>
                  <a:gd name="connsiteY21" fmla="*/ 769328 h 3938955"/>
                  <a:gd name="connsiteX22" fmla="*/ 1929913 w 4062047"/>
                  <a:gd name="connsiteY22" fmla="*/ 683603 h 3938955"/>
                  <a:gd name="connsiteX23" fmla="*/ 1458426 w 4062047"/>
                  <a:gd name="connsiteY23" fmla="*/ 1855178 h 3938955"/>
                  <a:gd name="connsiteX24" fmla="*/ 972651 w 4062047"/>
                  <a:gd name="connsiteY24" fmla="*/ 650266 h 3938955"/>
                  <a:gd name="connsiteX25" fmla="*/ 850835 w 4062047"/>
                  <a:gd name="connsiteY25" fmla="*/ 587237 h 3938955"/>
                  <a:gd name="connsiteX26" fmla="*/ 540732 w 4062047"/>
                  <a:gd name="connsiteY26" fmla="*/ 0 h 3938955"/>
                  <a:gd name="connsiteX27" fmla="*/ 3521315 w 4062047"/>
                  <a:gd name="connsiteY27" fmla="*/ 0 h 3938955"/>
                  <a:gd name="connsiteX28" fmla="*/ 4062047 w 4062047"/>
                  <a:gd name="connsiteY28" fmla="*/ 540731 h 3938955"/>
                  <a:gd name="connsiteX29" fmla="*/ 4062047 w 4062047"/>
                  <a:gd name="connsiteY29" fmla="*/ 2914645 h 3938955"/>
                  <a:gd name="connsiteX30" fmla="*/ 3521315 w 4062047"/>
                  <a:gd name="connsiteY30" fmla="*/ 3455377 h 3938955"/>
                  <a:gd name="connsiteX31" fmla="*/ 1802912 w 4062047"/>
                  <a:gd name="connsiteY31" fmla="*/ 3455377 h 3938955"/>
                  <a:gd name="connsiteX32" fmla="*/ 1075041 w 4062047"/>
                  <a:gd name="connsiteY32" fmla="*/ 3938955 h 3938955"/>
                  <a:gd name="connsiteX33" fmla="*/ 1075041 w 4062047"/>
                  <a:gd name="connsiteY33" fmla="*/ 3455377 h 3938955"/>
                  <a:gd name="connsiteX34" fmla="*/ 540732 w 4062047"/>
                  <a:gd name="connsiteY34" fmla="*/ 3455377 h 3938955"/>
                  <a:gd name="connsiteX35" fmla="*/ 0 w 4062047"/>
                  <a:gd name="connsiteY35" fmla="*/ 2914645 h 3938955"/>
                  <a:gd name="connsiteX36" fmla="*/ 0 w 4062047"/>
                  <a:gd name="connsiteY36" fmla="*/ 540731 h 3938955"/>
                  <a:gd name="connsiteX37" fmla="*/ 540732 w 4062047"/>
                  <a:gd name="connsiteY37" fmla="*/ 0 h 3938955"/>
                  <a:gd name="connsiteX0" fmla="*/ 2292410 w 4062047"/>
                  <a:gd name="connsiteY0" fmla="*/ 2109292 h 3938955"/>
                  <a:gd name="connsiteX1" fmla="*/ 2235381 w 4062047"/>
                  <a:gd name="connsiteY1" fmla="*/ 2115515 h 3938955"/>
                  <a:gd name="connsiteX2" fmla="*/ 2889776 w 4062047"/>
                  <a:gd name="connsiteY2" fmla="*/ 2637325 h 3938955"/>
                  <a:gd name="connsiteX3" fmla="*/ 2998691 w 4062047"/>
                  <a:gd name="connsiteY3" fmla="*/ 2403914 h 3938955"/>
                  <a:gd name="connsiteX4" fmla="*/ 2292410 w 4062047"/>
                  <a:gd name="connsiteY4" fmla="*/ 2109292 h 3938955"/>
                  <a:gd name="connsiteX5" fmla="*/ 3206785 w 4062047"/>
                  <a:gd name="connsiteY5" fmla="*/ 1603188 h 3938955"/>
                  <a:gd name="connsiteX6" fmla="*/ 2420651 w 4062047"/>
                  <a:gd name="connsiteY6" fmla="*/ 1739087 h 3938955"/>
                  <a:gd name="connsiteX7" fmla="*/ 3241046 w 4062047"/>
                  <a:gd name="connsiteY7" fmla="*/ 1879207 h 3938955"/>
                  <a:gd name="connsiteX8" fmla="*/ 3206785 w 4062047"/>
                  <a:gd name="connsiteY8" fmla="*/ 1603188 h 3938955"/>
                  <a:gd name="connsiteX9" fmla="*/ 2950677 w 4062047"/>
                  <a:gd name="connsiteY9" fmla="*/ 857698 h 3938955"/>
                  <a:gd name="connsiteX10" fmla="*/ 2870505 w 4062047"/>
                  <a:gd name="connsiteY10" fmla="*/ 878864 h 3938955"/>
                  <a:gd name="connsiteX11" fmla="*/ 2227569 w 4062047"/>
                  <a:gd name="connsiteY11" fmla="*/ 1381308 h 3938955"/>
                  <a:gd name="connsiteX12" fmla="*/ 3013380 w 4062047"/>
                  <a:gd name="connsiteY12" fmla="*/ 1093177 h 3938955"/>
                  <a:gd name="connsiteX13" fmla="*/ 2950677 w 4062047"/>
                  <a:gd name="connsiteY13" fmla="*/ 857698 h 3938955"/>
                  <a:gd name="connsiteX14" fmla="*/ 850835 w 4062047"/>
                  <a:gd name="connsiteY14" fmla="*/ 587237 h 3938955"/>
                  <a:gd name="connsiteX15" fmla="*/ 691663 w 4062047"/>
                  <a:gd name="connsiteY15" fmla="*/ 759803 h 3938955"/>
                  <a:gd name="connsiteX16" fmla="*/ 1286976 w 4062047"/>
                  <a:gd name="connsiteY16" fmla="*/ 2250466 h 3938955"/>
                  <a:gd name="connsiteX17" fmla="*/ 1072663 w 4062047"/>
                  <a:gd name="connsiteY17" fmla="*/ 2593366 h 3938955"/>
                  <a:gd name="connsiteX18" fmla="*/ 744051 w 4062047"/>
                  <a:gd name="connsiteY18" fmla="*/ 2731478 h 3938955"/>
                  <a:gd name="connsiteX19" fmla="*/ 1191726 w 4062047"/>
                  <a:gd name="connsiteY19" fmla="*/ 2836253 h 3938955"/>
                  <a:gd name="connsiteX20" fmla="*/ 1696551 w 4062047"/>
                  <a:gd name="connsiteY20" fmla="*/ 2036153 h 3938955"/>
                  <a:gd name="connsiteX21" fmla="*/ 2201376 w 4062047"/>
                  <a:gd name="connsiteY21" fmla="*/ 769328 h 3938955"/>
                  <a:gd name="connsiteX22" fmla="*/ 1929913 w 4062047"/>
                  <a:gd name="connsiteY22" fmla="*/ 683603 h 3938955"/>
                  <a:gd name="connsiteX23" fmla="*/ 1458426 w 4062047"/>
                  <a:gd name="connsiteY23" fmla="*/ 1855178 h 3938955"/>
                  <a:gd name="connsiteX24" fmla="*/ 972651 w 4062047"/>
                  <a:gd name="connsiteY24" fmla="*/ 650266 h 3938955"/>
                  <a:gd name="connsiteX25" fmla="*/ 850835 w 4062047"/>
                  <a:gd name="connsiteY25" fmla="*/ 587237 h 3938955"/>
                  <a:gd name="connsiteX26" fmla="*/ 540732 w 4062047"/>
                  <a:gd name="connsiteY26" fmla="*/ 0 h 3938955"/>
                  <a:gd name="connsiteX27" fmla="*/ 3521315 w 4062047"/>
                  <a:gd name="connsiteY27" fmla="*/ 0 h 3938955"/>
                  <a:gd name="connsiteX28" fmla="*/ 4062047 w 4062047"/>
                  <a:gd name="connsiteY28" fmla="*/ 540731 h 3938955"/>
                  <a:gd name="connsiteX29" fmla="*/ 4062047 w 4062047"/>
                  <a:gd name="connsiteY29" fmla="*/ 2914645 h 3938955"/>
                  <a:gd name="connsiteX30" fmla="*/ 3521315 w 4062047"/>
                  <a:gd name="connsiteY30" fmla="*/ 3455377 h 3938955"/>
                  <a:gd name="connsiteX31" fmla="*/ 1802912 w 4062047"/>
                  <a:gd name="connsiteY31" fmla="*/ 3455377 h 3938955"/>
                  <a:gd name="connsiteX32" fmla="*/ 1075041 w 4062047"/>
                  <a:gd name="connsiteY32" fmla="*/ 3938955 h 3938955"/>
                  <a:gd name="connsiteX33" fmla="*/ 1075041 w 4062047"/>
                  <a:gd name="connsiteY33" fmla="*/ 3455377 h 3938955"/>
                  <a:gd name="connsiteX34" fmla="*/ 540732 w 4062047"/>
                  <a:gd name="connsiteY34" fmla="*/ 3455377 h 3938955"/>
                  <a:gd name="connsiteX35" fmla="*/ 0 w 4062047"/>
                  <a:gd name="connsiteY35" fmla="*/ 2914645 h 3938955"/>
                  <a:gd name="connsiteX36" fmla="*/ 0 w 4062047"/>
                  <a:gd name="connsiteY36" fmla="*/ 540731 h 3938955"/>
                  <a:gd name="connsiteX37" fmla="*/ 540732 w 4062047"/>
                  <a:gd name="connsiteY37" fmla="*/ 0 h 393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062047" h="3938955">
                    <a:moveTo>
                      <a:pt x="2292410" y="2109292"/>
                    </a:moveTo>
                    <a:cubicBezTo>
                      <a:pt x="2268687" y="2107678"/>
                      <a:pt x="2249265" y="2109514"/>
                      <a:pt x="2235381" y="2115515"/>
                    </a:cubicBezTo>
                    <a:cubicBezTo>
                      <a:pt x="2217974" y="2189262"/>
                      <a:pt x="2613445" y="2474616"/>
                      <a:pt x="2889776" y="2637325"/>
                    </a:cubicBezTo>
                    <a:cubicBezTo>
                      <a:pt x="2978370" y="2687082"/>
                      <a:pt x="3175001" y="2558447"/>
                      <a:pt x="2998691" y="2403914"/>
                    </a:cubicBezTo>
                    <a:cubicBezTo>
                      <a:pt x="2835268" y="2300874"/>
                      <a:pt x="2458468" y="2120587"/>
                      <a:pt x="2292410" y="2109292"/>
                    </a:cubicBezTo>
                    <a:close/>
                    <a:moveTo>
                      <a:pt x="3206785" y="1603188"/>
                    </a:moveTo>
                    <a:cubicBezTo>
                      <a:pt x="3072434" y="1591741"/>
                      <a:pt x="2414941" y="1693084"/>
                      <a:pt x="2420651" y="1739087"/>
                    </a:cubicBezTo>
                    <a:cubicBezTo>
                      <a:pt x="2441093" y="1812050"/>
                      <a:pt x="2920489" y="1870481"/>
                      <a:pt x="3241046" y="1879207"/>
                    </a:cubicBezTo>
                    <a:cubicBezTo>
                      <a:pt x="3377656" y="1864033"/>
                      <a:pt x="3431985" y="1611977"/>
                      <a:pt x="3206785" y="1603188"/>
                    </a:cubicBezTo>
                    <a:close/>
                    <a:moveTo>
                      <a:pt x="2950677" y="857698"/>
                    </a:moveTo>
                    <a:cubicBezTo>
                      <a:pt x="2927159" y="860050"/>
                      <a:pt x="2900469" y="866759"/>
                      <a:pt x="2870505" y="878864"/>
                    </a:cubicBezTo>
                    <a:cubicBezTo>
                      <a:pt x="2672862" y="977289"/>
                      <a:pt x="2275194" y="1268596"/>
                      <a:pt x="2227569" y="1381308"/>
                    </a:cubicBezTo>
                    <a:cubicBezTo>
                      <a:pt x="2281544" y="1434489"/>
                      <a:pt x="2730806" y="1244784"/>
                      <a:pt x="3013380" y="1093177"/>
                    </a:cubicBezTo>
                    <a:cubicBezTo>
                      <a:pt x="3117363" y="1016878"/>
                      <a:pt x="3055771" y="876954"/>
                      <a:pt x="2950677" y="857698"/>
                    </a:cubicBezTo>
                    <a:close/>
                    <a:moveTo>
                      <a:pt x="850835" y="587237"/>
                    </a:moveTo>
                    <a:cubicBezTo>
                      <a:pt x="745540" y="573769"/>
                      <a:pt x="690473" y="689557"/>
                      <a:pt x="691663" y="759803"/>
                    </a:cubicBezTo>
                    <a:lnTo>
                      <a:pt x="1286976" y="2250466"/>
                    </a:lnTo>
                    <a:cubicBezTo>
                      <a:pt x="1258401" y="2445728"/>
                      <a:pt x="1167913" y="2564791"/>
                      <a:pt x="1072663" y="2593366"/>
                    </a:cubicBezTo>
                    <a:cubicBezTo>
                      <a:pt x="963126" y="2639403"/>
                      <a:pt x="767864" y="2542565"/>
                      <a:pt x="744051" y="2731478"/>
                    </a:cubicBezTo>
                    <a:cubicBezTo>
                      <a:pt x="759926" y="2890228"/>
                      <a:pt x="947251" y="2896578"/>
                      <a:pt x="1191726" y="2836253"/>
                    </a:cubicBezTo>
                    <a:cubicBezTo>
                      <a:pt x="1426676" y="2750528"/>
                      <a:pt x="1466364" y="2636228"/>
                      <a:pt x="1696551" y="2036153"/>
                    </a:cubicBezTo>
                    <a:lnTo>
                      <a:pt x="2201376" y="769328"/>
                    </a:lnTo>
                    <a:cubicBezTo>
                      <a:pt x="2215663" y="650265"/>
                      <a:pt x="2048976" y="521678"/>
                      <a:pt x="1929913" y="683603"/>
                    </a:cubicBezTo>
                    <a:lnTo>
                      <a:pt x="1458426" y="1855178"/>
                    </a:lnTo>
                    <a:lnTo>
                      <a:pt x="972651" y="650266"/>
                    </a:lnTo>
                    <a:cubicBezTo>
                      <a:pt x="926614" y="610579"/>
                      <a:pt x="885934" y="591727"/>
                      <a:pt x="850835" y="587237"/>
                    </a:cubicBezTo>
                    <a:close/>
                    <a:moveTo>
                      <a:pt x="540732" y="0"/>
                    </a:moveTo>
                    <a:lnTo>
                      <a:pt x="3521315" y="0"/>
                    </a:lnTo>
                    <a:cubicBezTo>
                      <a:pt x="3819953" y="0"/>
                      <a:pt x="4062047" y="242093"/>
                      <a:pt x="4062047" y="540731"/>
                    </a:cubicBezTo>
                    <a:lnTo>
                      <a:pt x="4062047" y="2914645"/>
                    </a:lnTo>
                    <a:cubicBezTo>
                      <a:pt x="4062047" y="3213283"/>
                      <a:pt x="3819953" y="3455377"/>
                      <a:pt x="3521315" y="3455377"/>
                    </a:cubicBezTo>
                    <a:lnTo>
                      <a:pt x="1802912" y="3455377"/>
                    </a:lnTo>
                    <a:lnTo>
                      <a:pt x="1075041" y="3938955"/>
                    </a:lnTo>
                    <a:lnTo>
                      <a:pt x="1075041" y="3455377"/>
                    </a:lnTo>
                    <a:lnTo>
                      <a:pt x="540732" y="3455377"/>
                    </a:lnTo>
                    <a:cubicBezTo>
                      <a:pt x="242094" y="3455377"/>
                      <a:pt x="0" y="3213283"/>
                      <a:pt x="0" y="2914645"/>
                    </a:cubicBezTo>
                    <a:lnTo>
                      <a:pt x="0" y="540731"/>
                    </a:lnTo>
                    <a:cubicBezTo>
                      <a:pt x="0" y="242093"/>
                      <a:pt x="242094" y="0"/>
                      <a:pt x="540732" y="0"/>
                    </a:cubicBezTo>
                    <a:close/>
                  </a:path>
                </a:pathLst>
              </a:cu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392" tIns="45696" rIns="45696" bIns="91392"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551" fontAlgn="base">
                  <a:spcBef>
                    <a:spcPct val="0"/>
                  </a:spcBef>
                  <a:spcAft>
                    <a:spcPct val="0"/>
                  </a:spcAft>
                  <a:defRPr/>
                </a:pPr>
                <a:endParaRPr lang="en-US" sz="1798">
                  <a:solidFill>
                    <a:srgbClr val="505050"/>
                  </a:solidFill>
                  <a:latin typeface="Segoe UI"/>
                  <a:ea typeface="Segoe UI" pitchFamily="34" charset="0"/>
                  <a:cs typeface="Segoe UI" pitchFamily="34" charset="0"/>
                </a:endParaRPr>
              </a:p>
            </p:txBody>
          </p:sp>
          <p:sp>
            <p:nvSpPr>
              <p:cNvPr id="241" name="Freeform 240"/>
              <p:cNvSpPr>
                <a:spLocks/>
              </p:cNvSpPr>
              <p:nvPr/>
            </p:nvSpPr>
            <p:spPr bwMode="auto">
              <a:xfrm>
                <a:off x="3552197" y="1980138"/>
                <a:ext cx="120674" cy="138820"/>
              </a:xfrm>
              <a:custGeom>
                <a:avLst/>
                <a:gdLst/>
                <a:ahLst/>
                <a:cxnLst/>
                <a:rect l="l" t="t" r="r" b="b"/>
                <a:pathLst>
                  <a:path w="792162" h="768350">
                    <a:moveTo>
                      <a:pt x="428082" y="239713"/>
                    </a:moveTo>
                    <a:lnTo>
                      <a:pt x="415438" y="240512"/>
                    </a:lnTo>
                    <a:lnTo>
                      <a:pt x="403583" y="242907"/>
                    </a:lnTo>
                    <a:lnTo>
                      <a:pt x="391728" y="248496"/>
                    </a:lnTo>
                    <a:lnTo>
                      <a:pt x="380664" y="254884"/>
                    </a:lnTo>
                    <a:lnTo>
                      <a:pt x="369599" y="264466"/>
                    </a:lnTo>
                    <a:lnTo>
                      <a:pt x="360116" y="274846"/>
                    </a:lnTo>
                    <a:lnTo>
                      <a:pt x="349842" y="288420"/>
                    </a:lnTo>
                    <a:lnTo>
                      <a:pt x="340358" y="303591"/>
                    </a:lnTo>
                    <a:lnTo>
                      <a:pt x="331664" y="319561"/>
                    </a:lnTo>
                    <a:lnTo>
                      <a:pt x="324552" y="334732"/>
                    </a:lnTo>
                    <a:lnTo>
                      <a:pt x="318229" y="350701"/>
                    </a:lnTo>
                    <a:lnTo>
                      <a:pt x="312697" y="366671"/>
                    </a:lnTo>
                    <a:lnTo>
                      <a:pt x="308745" y="381842"/>
                    </a:lnTo>
                    <a:lnTo>
                      <a:pt x="306374" y="397013"/>
                    </a:lnTo>
                    <a:lnTo>
                      <a:pt x="304004" y="412184"/>
                    </a:lnTo>
                    <a:lnTo>
                      <a:pt x="303213" y="427355"/>
                    </a:lnTo>
                    <a:lnTo>
                      <a:pt x="304004" y="444922"/>
                    </a:lnTo>
                    <a:lnTo>
                      <a:pt x="307955" y="459294"/>
                    </a:lnTo>
                    <a:lnTo>
                      <a:pt x="312697" y="472868"/>
                    </a:lnTo>
                    <a:lnTo>
                      <a:pt x="319810" y="484845"/>
                    </a:lnTo>
                    <a:lnTo>
                      <a:pt x="324552" y="490435"/>
                    </a:lnTo>
                    <a:lnTo>
                      <a:pt x="328503" y="495226"/>
                    </a:lnTo>
                    <a:lnTo>
                      <a:pt x="334035" y="499218"/>
                    </a:lnTo>
                    <a:lnTo>
                      <a:pt x="339568" y="502412"/>
                    </a:lnTo>
                    <a:lnTo>
                      <a:pt x="345100" y="505606"/>
                    </a:lnTo>
                    <a:lnTo>
                      <a:pt x="351422" y="506404"/>
                    </a:lnTo>
                    <a:lnTo>
                      <a:pt x="358535" y="508001"/>
                    </a:lnTo>
                    <a:lnTo>
                      <a:pt x="366438" y="508001"/>
                    </a:lnTo>
                    <a:lnTo>
                      <a:pt x="379083" y="507203"/>
                    </a:lnTo>
                    <a:lnTo>
                      <a:pt x="390938" y="502412"/>
                    </a:lnTo>
                    <a:lnTo>
                      <a:pt x="402793" y="496024"/>
                    </a:lnTo>
                    <a:lnTo>
                      <a:pt x="413857" y="488039"/>
                    </a:lnTo>
                    <a:lnTo>
                      <a:pt x="424131" y="476062"/>
                    </a:lnTo>
                    <a:lnTo>
                      <a:pt x="434405" y="462488"/>
                    </a:lnTo>
                    <a:lnTo>
                      <a:pt x="443889" y="445720"/>
                    </a:lnTo>
                    <a:lnTo>
                      <a:pt x="451792" y="427355"/>
                    </a:lnTo>
                    <a:lnTo>
                      <a:pt x="459695" y="407393"/>
                    </a:lnTo>
                    <a:lnTo>
                      <a:pt x="466017" y="389028"/>
                    </a:lnTo>
                    <a:lnTo>
                      <a:pt x="472340" y="372260"/>
                    </a:lnTo>
                    <a:lnTo>
                      <a:pt x="477082" y="355492"/>
                    </a:lnTo>
                    <a:lnTo>
                      <a:pt x="481033" y="340321"/>
                    </a:lnTo>
                    <a:lnTo>
                      <a:pt x="483404" y="325949"/>
                    </a:lnTo>
                    <a:lnTo>
                      <a:pt x="484195" y="313173"/>
                    </a:lnTo>
                    <a:lnTo>
                      <a:pt x="485775" y="301196"/>
                    </a:lnTo>
                    <a:lnTo>
                      <a:pt x="484195" y="288420"/>
                    </a:lnTo>
                    <a:lnTo>
                      <a:pt x="481824" y="277242"/>
                    </a:lnTo>
                    <a:lnTo>
                      <a:pt x="476292" y="266063"/>
                    </a:lnTo>
                    <a:lnTo>
                      <a:pt x="469969" y="256481"/>
                    </a:lnTo>
                    <a:lnTo>
                      <a:pt x="466017" y="253287"/>
                    </a:lnTo>
                    <a:lnTo>
                      <a:pt x="462066" y="249295"/>
                    </a:lnTo>
                    <a:lnTo>
                      <a:pt x="457324" y="246900"/>
                    </a:lnTo>
                    <a:lnTo>
                      <a:pt x="451792" y="243706"/>
                    </a:lnTo>
                    <a:lnTo>
                      <a:pt x="446260" y="242109"/>
                    </a:lnTo>
                    <a:lnTo>
                      <a:pt x="440727" y="240512"/>
                    </a:lnTo>
                    <a:lnTo>
                      <a:pt x="434405" y="239713"/>
                    </a:lnTo>
                    <a:close/>
                    <a:moveTo>
                      <a:pt x="427466" y="0"/>
                    </a:moveTo>
                    <a:lnTo>
                      <a:pt x="446535" y="0"/>
                    </a:lnTo>
                    <a:lnTo>
                      <a:pt x="464809" y="1588"/>
                    </a:lnTo>
                    <a:lnTo>
                      <a:pt x="483084" y="3175"/>
                    </a:lnTo>
                    <a:lnTo>
                      <a:pt x="501359" y="5556"/>
                    </a:lnTo>
                    <a:lnTo>
                      <a:pt x="518839" y="8731"/>
                    </a:lnTo>
                    <a:lnTo>
                      <a:pt x="536319" y="11906"/>
                    </a:lnTo>
                    <a:lnTo>
                      <a:pt x="553004" y="15875"/>
                    </a:lnTo>
                    <a:lnTo>
                      <a:pt x="569689" y="20638"/>
                    </a:lnTo>
                    <a:lnTo>
                      <a:pt x="584786" y="26194"/>
                    </a:lnTo>
                    <a:lnTo>
                      <a:pt x="600677" y="32544"/>
                    </a:lnTo>
                    <a:lnTo>
                      <a:pt x="614979" y="38894"/>
                    </a:lnTo>
                    <a:lnTo>
                      <a:pt x="630075" y="46038"/>
                    </a:lnTo>
                    <a:lnTo>
                      <a:pt x="644377" y="53975"/>
                    </a:lnTo>
                    <a:lnTo>
                      <a:pt x="657884" y="62706"/>
                    </a:lnTo>
                    <a:lnTo>
                      <a:pt x="672186" y="71438"/>
                    </a:lnTo>
                    <a:lnTo>
                      <a:pt x="684899" y="81756"/>
                    </a:lnTo>
                    <a:lnTo>
                      <a:pt x="709529" y="103981"/>
                    </a:lnTo>
                    <a:lnTo>
                      <a:pt x="730982" y="127794"/>
                    </a:lnTo>
                    <a:lnTo>
                      <a:pt x="750051" y="153988"/>
                    </a:lnTo>
                    <a:lnTo>
                      <a:pt x="765148" y="181769"/>
                    </a:lnTo>
                    <a:lnTo>
                      <a:pt x="777066" y="211138"/>
                    </a:lnTo>
                    <a:lnTo>
                      <a:pt x="785011" y="242094"/>
                    </a:lnTo>
                    <a:lnTo>
                      <a:pt x="789779" y="273844"/>
                    </a:lnTo>
                    <a:lnTo>
                      <a:pt x="792162" y="308769"/>
                    </a:lnTo>
                    <a:lnTo>
                      <a:pt x="790573" y="336550"/>
                    </a:lnTo>
                    <a:lnTo>
                      <a:pt x="787395" y="362744"/>
                    </a:lnTo>
                    <a:lnTo>
                      <a:pt x="781833" y="387350"/>
                    </a:lnTo>
                    <a:lnTo>
                      <a:pt x="774682" y="411956"/>
                    </a:lnTo>
                    <a:lnTo>
                      <a:pt x="765148" y="435769"/>
                    </a:lnTo>
                    <a:lnTo>
                      <a:pt x="753229" y="457994"/>
                    </a:lnTo>
                    <a:lnTo>
                      <a:pt x="739722" y="480219"/>
                    </a:lnTo>
                    <a:lnTo>
                      <a:pt x="723037" y="500063"/>
                    </a:lnTo>
                    <a:lnTo>
                      <a:pt x="715091" y="510381"/>
                    </a:lnTo>
                    <a:lnTo>
                      <a:pt x="705557" y="518319"/>
                    </a:lnTo>
                    <a:lnTo>
                      <a:pt x="697611" y="527844"/>
                    </a:lnTo>
                    <a:lnTo>
                      <a:pt x="688077" y="534988"/>
                    </a:lnTo>
                    <a:lnTo>
                      <a:pt x="679337" y="542131"/>
                    </a:lnTo>
                    <a:lnTo>
                      <a:pt x="669802" y="548481"/>
                    </a:lnTo>
                    <a:lnTo>
                      <a:pt x="661062" y="554038"/>
                    </a:lnTo>
                    <a:lnTo>
                      <a:pt x="650733" y="559594"/>
                    </a:lnTo>
                    <a:lnTo>
                      <a:pt x="640404" y="564356"/>
                    </a:lnTo>
                    <a:lnTo>
                      <a:pt x="631664" y="568325"/>
                    </a:lnTo>
                    <a:lnTo>
                      <a:pt x="621335" y="572294"/>
                    </a:lnTo>
                    <a:lnTo>
                      <a:pt x="611800" y="574675"/>
                    </a:lnTo>
                    <a:lnTo>
                      <a:pt x="600677" y="577056"/>
                    </a:lnTo>
                    <a:lnTo>
                      <a:pt x="590348" y="578644"/>
                    </a:lnTo>
                    <a:lnTo>
                      <a:pt x="579224" y="579438"/>
                    </a:lnTo>
                    <a:lnTo>
                      <a:pt x="568100" y="579438"/>
                    </a:lnTo>
                    <a:lnTo>
                      <a:pt x="557771" y="579438"/>
                    </a:lnTo>
                    <a:lnTo>
                      <a:pt x="547442" y="577850"/>
                    </a:lnTo>
                    <a:lnTo>
                      <a:pt x="537113" y="576263"/>
                    </a:lnTo>
                    <a:lnTo>
                      <a:pt x="528373" y="573088"/>
                    </a:lnTo>
                    <a:lnTo>
                      <a:pt x="519633" y="569913"/>
                    </a:lnTo>
                    <a:lnTo>
                      <a:pt x="512482" y="565150"/>
                    </a:lnTo>
                    <a:lnTo>
                      <a:pt x="505331" y="560388"/>
                    </a:lnTo>
                    <a:lnTo>
                      <a:pt x="498975" y="554038"/>
                    </a:lnTo>
                    <a:lnTo>
                      <a:pt x="488646" y="541338"/>
                    </a:lnTo>
                    <a:lnTo>
                      <a:pt x="481495" y="527844"/>
                    </a:lnTo>
                    <a:lnTo>
                      <a:pt x="476728" y="514350"/>
                    </a:lnTo>
                    <a:lnTo>
                      <a:pt x="475139" y="501650"/>
                    </a:lnTo>
                    <a:lnTo>
                      <a:pt x="475139" y="498475"/>
                    </a:lnTo>
                    <a:lnTo>
                      <a:pt x="475139" y="494506"/>
                    </a:lnTo>
                    <a:lnTo>
                      <a:pt x="475139" y="489744"/>
                    </a:lnTo>
                    <a:lnTo>
                      <a:pt x="475933" y="484188"/>
                    </a:lnTo>
                    <a:lnTo>
                      <a:pt x="471166" y="493713"/>
                    </a:lnTo>
                    <a:lnTo>
                      <a:pt x="465604" y="501650"/>
                    </a:lnTo>
                    <a:lnTo>
                      <a:pt x="461631" y="508794"/>
                    </a:lnTo>
                    <a:lnTo>
                      <a:pt x="456069" y="516731"/>
                    </a:lnTo>
                    <a:lnTo>
                      <a:pt x="450508" y="523875"/>
                    </a:lnTo>
                    <a:lnTo>
                      <a:pt x="444946" y="530225"/>
                    </a:lnTo>
                    <a:lnTo>
                      <a:pt x="439384" y="535781"/>
                    </a:lnTo>
                    <a:lnTo>
                      <a:pt x="433822" y="541338"/>
                    </a:lnTo>
                    <a:lnTo>
                      <a:pt x="422699" y="550069"/>
                    </a:lnTo>
                    <a:lnTo>
                      <a:pt x="411575" y="558006"/>
                    </a:lnTo>
                    <a:lnTo>
                      <a:pt x="399657" y="564356"/>
                    </a:lnTo>
                    <a:lnTo>
                      <a:pt x="387739" y="569913"/>
                    </a:lnTo>
                    <a:lnTo>
                      <a:pt x="375026" y="573088"/>
                    </a:lnTo>
                    <a:lnTo>
                      <a:pt x="362313" y="577056"/>
                    </a:lnTo>
                    <a:lnTo>
                      <a:pt x="348806" y="577850"/>
                    </a:lnTo>
                    <a:lnTo>
                      <a:pt x="333709" y="578644"/>
                    </a:lnTo>
                    <a:lnTo>
                      <a:pt x="319408" y="577850"/>
                    </a:lnTo>
                    <a:lnTo>
                      <a:pt x="305900" y="576263"/>
                    </a:lnTo>
                    <a:lnTo>
                      <a:pt x="291598" y="573088"/>
                    </a:lnTo>
                    <a:lnTo>
                      <a:pt x="278886" y="568325"/>
                    </a:lnTo>
                    <a:lnTo>
                      <a:pt x="266968" y="561975"/>
                    </a:lnTo>
                    <a:lnTo>
                      <a:pt x="255844" y="554831"/>
                    </a:lnTo>
                    <a:lnTo>
                      <a:pt x="245515" y="546894"/>
                    </a:lnTo>
                    <a:lnTo>
                      <a:pt x="235186" y="536575"/>
                    </a:lnTo>
                    <a:lnTo>
                      <a:pt x="225651" y="525463"/>
                    </a:lnTo>
                    <a:lnTo>
                      <a:pt x="217706" y="512763"/>
                    </a:lnTo>
                    <a:lnTo>
                      <a:pt x="210555" y="500063"/>
                    </a:lnTo>
                    <a:lnTo>
                      <a:pt x="204993" y="484981"/>
                    </a:lnTo>
                    <a:lnTo>
                      <a:pt x="200226" y="469900"/>
                    </a:lnTo>
                    <a:lnTo>
                      <a:pt x="197842" y="453231"/>
                    </a:lnTo>
                    <a:lnTo>
                      <a:pt x="195458" y="434975"/>
                    </a:lnTo>
                    <a:lnTo>
                      <a:pt x="194664" y="416719"/>
                    </a:lnTo>
                    <a:lnTo>
                      <a:pt x="195458" y="394494"/>
                    </a:lnTo>
                    <a:lnTo>
                      <a:pt x="198637" y="373856"/>
                    </a:lnTo>
                    <a:lnTo>
                      <a:pt x="203404" y="351631"/>
                    </a:lnTo>
                    <a:lnTo>
                      <a:pt x="210555" y="330994"/>
                    </a:lnTo>
                    <a:lnTo>
                      <a:pt x="218500" y="310356"/>
                    </a:lnTo>
                    <a:lnTo>
                      <a:pt x="228829" y="289719"/>
                    </a:lnTo>
                    <a:lnTo>
                      <a:pt x="241542" y="270669"/>
                    </a:lnTo>
                    <a:lnTo>
                      <a:pt x="255049" y="250031"/>
                    </a:lnTo>
                    <a:lnTo>
                      <a:pt x="262995" y="241300"/>
                    </a:lnTo>
                    <a:lnTo>
                      <a:pt x="270940" y="231775"/>
                    </a:lnTo>
                    <a:lnTo>
                      <a:pt x="278886" y="223838"/>
                    </a:lnTo>
                    <a:lnTo>
                      <a:pt x="287626" y="216694"/>
                    </a:lnTo>
                    <a:lnTo>
                      <a:pt x="295571" y="209550"/>
                    </a:lnTo>
                    <a:lnTo>
                      <a:pt x="305106" y="203200"/>
                    </a:lnTo>
                    <a:lnTo>
                      <a:pt x="313846" y="197644"/>
                    </a:lnTo>
                    <a:lnTo>
                      <a:pt x="323380" y="192881"/>
                    </a:lnTo>
                    <a:lnTo>
                      <a:pt x="332120" y="188119"/>
                    </a:lnTo>
                    <a:lnTo>
                      <a:pt x="342449" y="184150"/>
                    </a:lnTo>
                    <a:lnTo>
                      <a:pt x="351984" y="180975"/>
                    </a:lnTo>
                    <a:lnTo>
                      <a:pt x="362313" y="177800"/>
                    </a:lnTo>
                    <a:lnTo>
                      <a:pt x="372642" y="176213"/>
                    </a:lnTo>
                    <a:lnTo>
                      <a:pt x="382177" y="174625"/>
                    </a:lnTo>
                    <a:lnTo>
                      <a:pt x="393300" y="173038"/>
                    </a:lnTo>
                    <a:lnTo>
                      <a:pt x="404424" y="173038"/>
                    </a:lnTo>
                    <a:lnTo>
                      <a:pt x="417137" y="173038"/>
                    </a:lnTo>
                    <a:lnTo>
                      <a:pt x="428260" y="175419"/>
                    </a:lnTo>
                    <a:lnTo>
                      <a:pt x="439384" y="177006"/>
                    </a:lnTo>
                    <a:lnTo>
                      <a:pt x="450508" y="180975"/>
                    </a:lnTo>
                    <a:lnTo>
                      <a:pt x="459248" y="184150"/>
                    </a:lnTo>
                    <a:lnTo>
                      <a:pt x="468782" y="188913"/>
                    </a:lnTo>
                    <a:lnTo>
                      <a:pt x="476728" y="195263"/>
                    </a:lnTo>
                    <a:lnTo>
                      <a:pt x="483879" y="201613"/>
                    </a:lnTo>
                    <a:lnTo>
                      <a:pt x="489440" y="207169"/>
                    </a:lnTo>
                    <a:lnTo>
                      <a:pt x="494208" y="212725"/>
                    </a:lnTo>
                    <a:lnTo>
                      <a:pt x="498975" y="219075"/>
                    </a:lnTo>
                    <a:lnTo>
                      <a:pt x="502153" y="225425"/>
                    </a:lnTo>
                    <a:lnTo>
                      <a:pt x="505331" y="231775"/>
                    </a:lnTo>
                    <a:lnTo>
                      <a:pt x="509304" y="238125"/>
                    </a:lnTo>
                    <a:lnTo>
                      <a:pt x="511688" y="244475"/>
                    </a:lnTo>
                    <a:lnTo>
                      <a:pt x="513277" y="252413"/>
                    </a:lnTo>
                    <a:lnTo>
                      <a:pt x="530757" y="189706"/>
                    </a:lnTo>
                    <a:lnTo>
                      <a:pt x="624513" y="189706"/>
                    </a:lnTo>
                    <a:lnTo>
                      <a:pt x="560949" y="403225"/>
                    </a:lnTo>
                    <a:lnTo>
                      <a:pt x="557771" y="415131"/>
                    </a:lnTo>
                    <a:lnTo>
                      <a:pt x="554593" y="426244"/>
                    </a:lnTo>
                    <a:lnTo>
                      <a:pt x="552209" y="434181"/>
                    </a:lnTo>
                    <a:lnTo>
                      <a:pt x="549826" y="441325"/>
                    </a:lnTo>
                    <a:lnTo>
                      <a:pt x="549031" y="447675"/>
                    </a:lnTo>
                    <a:lnTo>
                      <a:pt x="548237" y="453231"/>
                    </a:lnTo>
                    <a:lnTo>
                      <a:pt x="547442" y="458788"/>
                    </a:lnTo>
                    <a:lnTo>
                      <a:pt x="547442" y="463550"/>
                    </a:lnTo>
                    <a:lnTo>
                      <a:pt x="548237" y="470694"/>
                    </a:lnTo>
                    <a:lnTo>
                      <a:pt x="549826" y="477838"/>
                    </a:lnTo>
                    <a:lnTo>
                      <a:pt x="553004" y="484188"/>
                    </a:lnTo>
                    <a:lnTo>
                      <a:pt x="557771" y="492125"/>
                    </a:lnTo>
                    <a:lnTo>
                      <a:pt x="560155" y="494506"/>
                    </a:lnTo>
                    <a:lnTo>
                      <a:pt x="562539" y="496888"/>
                    </a:lnTo>
                    <a:lnTo>
                      <a:pt x="566511" y="499269"/>
                    </a:lnTo>
                    <a:lnTo>
                      <a:pt x="570484" y="500856"/>
                    </a:lnTo>
                    <a:lnTo>
                      <a:pt x="573662" y="502444"/>
                    </a:lnTo>
                    <a:lnTo>
                      <a:pt x="578429" y="504031"/>
                    </a:lnTo>
                    <a:lnTo>
                      <a:pt x="583197" y="504825"/>
                    </a:lnTo>
                    <a:lnTo>
                      <a:pt x="588759" y="504825"/>
                    </a:lnTo>
                    <a:lnTo>
                      <a:pt x="599882" y="504031"/>
                    </a:lnTo>
                    <a:lnTo>
                      <a:pt x="609417" y="500856"/>
                    </a:lnTo>
                    <a:lnTo>
                      <a:pt x="620540" y="496888"/>
                    </a:lnTo>
                    <a:lnTo>
                      <a:pt x="630869" y="490538"/>
                    </a:lnTo>
                    <a:lnTo>
                      <a:pt x="641993" y="482600"/>
                    </a:lnTo>
                    <a:lnTo>
                      <a:pt x="651528" y="473869"/>
                    </a:lnTo>
                    <a:lnTo>
                      <a:pt x="662651" y="461963"/>
                    </a:lnTo>
                    <a:lnTo>
                      <a:pt x="672980" y="448469"/>
                    </a:lnTo>
                    <a:lnTo>
                      <a:pt x="682515" y="434181"/>
                    </a:lnTo>
                    <a:lnTo>
                      <a:pt x="691255" y="419100"/>
                    </a:lnTo>
                    <a:lnTo>
                      <a:pt x="698406" y="402431"/>
                    </a:lnTo>
                    <a:lnTo>
                      <a:pt x="704762" y="384969"/>
                    </a:lnTo>
                    <a:lnTo>
                      <a:pt x="709529" y="366713"/>
                    </a:lnTo>
                    <a:lnTo>
                      <a:pt x="712708" y="346075"/>
                    </a:lnTo>
                    <a:lnTo>
                      <a:pt x="715091" y="324644"/>
                    </a:lnTo>
                    <a:lnTo>
                      <a:pt x="715886" y="302419"/>
                    </a:lnTo>
                    <a:lnTo>
                      <a:pt x="714297" y="270669"/>
                    </a:lnTo>
                    <a:lnTo>
                      <a:pt x="708735" y="240506"/>
                    </a:lnTo>
                    <a:lnTo>
                      <a:pt x="699200" y="211931"/>
                    </a:lnTo>
                    <a:lnTo>
                      <a:pt x="686488" y="185738"/>
                    </a:lnTo>
                    <a:lnTo>
                      <a:pt x="670597" y="163513"/>
                    </a:lnTo>
                    <a:lnTo>
                      <a:pt x="650733" y="142081"/>
                    </a:lnTo>
                    <a:lnTo>
                      <a:pt x="626897" y="123825"/>
                    </a:lnTo>
                    <a:lnTo>
                      <a:pt x="599882" y="108744"/>
                    </a:lnTo>
                    <a:lnTo>
                      <a:pt x="590348" y="103981"/>
                    </a:lnTo>
                    <a:lnTo>
                      <a:pt x="581608" y="99219"/>
                    </a:lnTo>
                    <a:lnTo>
                      <a:pt x="572073" y="95250"/>
                    </a:lnTo>
                    <a:lnTo>
                      <a:pt x="561744" y="92075"/>
                    </a:lnTo>
                    <a:lnTo>
                      <a:pt x="552209" y="88900"/>
                    </a:lnTo>
                    <a:lnTo>
                      <a:pt x="542675" y="85725"/>
                    </a:lnTo>
                    <a:lnTo>
                      <a:pt x="532346" y="82550"/>
                    </a:lnTo>
                    <a:lnTo>
                      <a:pt x="522811" y="80169"/>
                    </a:lnTo>
                    <a:lnTo>
                      <a:pt x="512482" y="77788"/>
                    </a:lnTo>
                    <a:lnTo>
                      <a:pt x="501359" y="76200"/>
                    </a:lnTo>
                    <a:lnTo>
                      <a:pt x="491824" y="74613"/>
                    </a:lnTo>
                    <a:lnTo>
                      <a:pt x="480700" y="73819"/>
                    </a:lnTo>
                    <a:lnTo>
                      <a:pt x="469577" y="71438"/>
                    </a:lnTo>
                    <a:lnTo>
                      <a:pt x="458453" y="71438"/>
                    </a:lnTo>
                    <a:lnTo>
                      <a:pt x="446535" y="70644"/>
                    </a:lnTo>
                    <a:lnTo>
                      <a:pt x="435411" y="70644"/>
                    </a:lnTo>
                    <a:lnTo>
                      <a:pt x="415548" y="70644"/>
                    </a:lnTo>
                    <a:lnTo>
                      <a:pt x="395684" y="73025"/>
                    </a:lnTo>
                    <a:lnTo>
                      <a:pt x="375026" y="74613"/>
                    </a:lnTo>
                    <a:lnTo>
                      <a:pt x="356751" y="76994"/>
                    </a:lnTo>
                    <a:lnTo>
                      <a:pt x="337682" y="80963"/>
                    </a:lnTo>
                    <a:lnTo>
                      <a:pt x="320202" y="85725"/>
                    </a:lnTo>
                    <a:lnTo>
                      <a:pt x="301928" y="91281"/>
                    </a:lnTo>
                    <a:lnTo>
                      <a:pt x="285242" y="96838"/>
                    </a:lnTo>
                    <a:lnTo>
                      <a:pt x="269351" y="103981"/>
                    </a:lnTo>
                    <a:lnTo>
                      <a:pt x="252666" y="111125"/>
                    </a:lnTo>
                    <a:lnTo>
                      <a:pt x="236775" y="119063"/>
                    </a:lnTo>
                    <a:lnTo>
                      <a:pt x="222473" y="128588"/>
                    </a:lnTo>
                    <a:lnTo>
                      <a:pt x="207377" y="138906"/>
                    </a:lnTo>
                    <a:lnTo>
                      <a:pt x="193869" y="149225"/>
                    </a:lnTo>
                    <a:lnTo>
                      <a:pt x="180362" y="161131"/>
                    </a:lnTo>
                    <a:lnTo>
                      <a:pt x="167649" y="173038"/>
                    </a:lnTo>
                    <a:lnTo>
                      <a:pt x="146197" y="196850"/>
                    </a:lnTo>
                    <a:lnTo>
                      <a:pt x="127922" y="221456"/>
                    </a:lnTo>
                    <a:lnTo>
                      <a:pt x="112826" y="247650"/>
                    </a:lnTo>
                    <a:lnTo>
                      <a:pt x="99318" y="274638"/>
                    </a:lnTo>
                    <a:lnTo>
                      <a:pt x="89784" y="303213"/>
                    </a:lnTo>
                    <a:lnTo>
                      <a:pt x="82633" y="332581"/>
                    </a:lnTo>
                    <a:lnTo>
                      <a:pt x="78660" y="362744"/>
                    </a:lnTo>
                    <a:lnTo>
                      <a:pt x="77071" y="394494"/>
                    </a:lnTo>
                    <a:lnTo>
                      <a:pt x="78660" y="429419"/>
                    </a:lnTo>
                    <a:lnTo>
                      <a:pt x="83428" y="463550"/>
                    </a:lnTo>
                    <a:lnTo>
                      <a:pt x="91373" y="494506"/>
                    </a:lnTo>
                    <a:lnTo>
                      <a:pt x="103291" y="523875"/>
                    </a:lnTo>
                    <a:lnTo>
                      <a:pt x="119182" y="550863"/>
                    </a:lnTo>
                    <a:lnTo>
                      <a:pt x="137457" y="577056"/>
                    </a:lnTo>
                    <a:lnTo>
                      <a:pt x="158909" y="600869"/>
                    </a:lnTo>
                    <a:lnTo>
                      <a:pt x="183540" y="622300"/>
                    </a:lnTo>
                    <a:lnTo>
                      <a:pt x="195458" y="631825"/>
                    </a:lnTo>
                    <a:lnTo>
                      <a:pt x="208966" y="639763"/>
                    </a:lnTo>
                    <a:lnTo>
                      <a:pt x="220884" y="648494"/>
                    </a:lnTo>
                    <a:lnTo>
                      <a:pt x="234391" y="654844"/>
                    </a:lnTo>
                    <a:lnTo>
                      <a:pt x="247104" y="661988"/>
                    </a:lnTo>
                    <a:lnTo>
                      <a:pt x="260611" y="667544"/>
                    </a:lnTo>
                    <a:lnTo>
                      <a:pt x="274913" y="673100"/>
                    </a:lnTo>
                    <a:lnTo>
                      <a:pt x="289215" y="678656"/>
                    </a:lnTo>
                    <a:lnTo>
                      <a:pt x="303517" y="681831"/>
                    </a:lnTo>
                    <a:lnTo>
                      <a:pt x="318613" y="686594"/>
                    </a:lnTo>
                    <a:lnTo>
                      <a:pt x="333709" y="689769"/>
                    </a:lnTo>
                    <a:lnTo>
                      <a:pt x="349600" y="692150"/>
                    </a:lnTo>
                    <a:lnTo>
                      <a:pt x="365491" y="693738"/>
                    </a:lnTo>
                    <a:lnTo>
                      <a:pt x="381382" y="696119"/>
                    </a:lnTo>
                    <a:lnTo>
                      <a:pt x="398068" y="696913"/>
                    </a:lnTo>
                    <a:lnTo>
                      <a:pt x="414753" y="696913"/>
                    </a:lnTo>
                    <a:lnTo>
                      <a:pt x="426671" y="696913"/>
                    </a:lnTo>
                    <a:lnTo>
                      <a:pt x="437795" y="696119"/>
                    </a:lnTo>
                    <a:lnTo>
                      <a:pt x="449713" y="696119"/>
                    </a:lnTo>
                    <a:lnTo>
                      <a:pt x="460042" y="694531"/>
                    </a:lnTo>
                    <a:lnTo>
                      <a:pt x="471960" y="692944"/>
                    </a:lnTo>
                    <a:lnTo>
                      <a:pt x="483084" y="692150"/>
                    </a:lnTo>
                    <a:lnTo>
                      <a:pt x="494208" y="690563"/>
                    </a:lnTo>
                    <a:lnTo>
                      <a:pt x="505331" y="687388"/>
                    </a:lnTo>
                    <a:lnTo>
                      <a:pt x="516455" y="685800"/>
                    </a:lnTo>
                    <a:lnTo>
                      <a:pt x="527579" y="683419"/>
                    </a:lnTo>
                    <a:lnTo>
                      <a:pt x="537113" y="680244"/>
                    </a:lnTo>
                    <a:lnTo>
                      <a:pt x="548237" y="676275"/>
                    </a:lnTo>
                    <a:lnTo>
                      <a:pt x="558566" y="673894"/>
                    </a:lnTo>
                    <a:lnTo>
                      <a:pt x="569689" y="669925"/>
                    </a:lnTo>
                    <a:lnTo>
                      <a:pt x="579224" y="666750"/>
                    </a:lnTo>
                    <a:lnTo>
                      <a:pt x="589553" y="661988"/>
                    </a:lnTo>
                    <a:lnTo>
                      <a:pt x="600677" y="657225"/>
                    </a:lnTo>
                    <a:lnTo>
                      <a:pt x="611800" y="651669"/>
                    </a:lnTo>
                    <a:lnTo>
                      <a:pt x="622129" y="646113"/>
                    </a:lnTo>
                    <a:lnTo>
                      <a:pt x="634048" y="639763"/>
                    </a:lnTo>
                    <a:lnTo>
                      <a:pt x="645171" y="633413"/>
                    </a:lnTo>
                    <a:lnTo>
                      <a:pt x="657089" y="626269"/>
                    </a:lnTo>
                    <a:lnTo>
                      <a:pt x="669008" y="619125"/>
                    </a:lnTo>
                    <a:lnTo>
                      <a:pt x="680926" y="610394"/>
                    </a:lnTo>
                    <a:lnTo>
                      <a:pt x="692844" y="602456"/>
                    </a:lnTo>
                    <a:lnTo>
                      <a:pt x="728599" y="657225"/>
                    </a:lnTo>
                    <a:lnTo>
                      <a:pt x="719859" y="663575"/>
                    </a:lnTo>
                    <a:lnTo>
                      <a:pt x="711119" y="669925"/>
                    </a:lnTo>
                    <a:lnTo>
                      <a:pt x="702379" y="676275"/>
                    </a:lnTo>
                    <a:lnTo>
                      <a:pt x="692844" y="683419"/>
                    </a:lnTo>
                    <a:lnTo>
                      <a:pt x="684104" y="688181"/>
                    </a:lnTo>
                    <a:lnTo>
                      <a:pt x="674569" y="693738"/>
                    </a:lnTo>
                    <a:lnTo>
                      <a:pt x="665829" y="699294"/>
                    </a:lnTo>
                    <a:lnTo>
                      <a:pt x="656295" y="704850"/>
                    </a:lnTo>
                    <a:lnTo>
                      <a:pt x="645966" y="709613"/>
                    </a:lnTo>
                    <a:lnTo>
                      <a:pt x="637226" y="715169"/>
                    </a:lnTo>
                    <a:lnTo>
                      <a:pt x="626897" y="719931"/>
                    </a:lnTo>
                    <a:lnTo>
                      <a:pt x="618157" y="723900"/>
                    </a:lnTo>
                    <a:lnTo>
                      <a:pt x="607828" y="727869"/>
                    </a:lnTo>
                    <a:lnTo>
                      <a:pt x="597499" y="732631"/>
                    </a:lnTo>
                    <a:lnTo>
                      <a:pt x="587964" y="735806"/>
                    </a:lnTo>
                    <a:lnTo>
                      <a:pt x="577635" y="739775"/>
                    </a:lnTo>
                    <a:lnTo>
                      <a:pt x="567306" y="743744"/>
                    </a:lnTo>
                    <a:lnTo>
                      <a:pt x="557771" y="746125"/>
                    </a:lnTo>
                    <a:lnTo>
                      <a:pt x="547442" y="749300"/>
                    </a:lnTo>
                    <a:lnTo>
                      <a:pt x="536319" y="751681"/>
                    </a:lnTo>
                    <a:lnTo>
                      <a:pt x="525989" y="754063"/>
                    </a:lnTo>
                    <a:lnTo>
                      <a:pt x="515660" y="757238"/>
                    </a:lnTo>
                    <a:lnTo>
                      <a:pt x="505331" y="758825"/>
                    </a:lnTo>
                    <a:lnTo>
                      <a:pt x="494208" y="761206"/>
                    </a:lnTo>
                    <a:lnTo>
                      <a:pt x="483879" y="762794"/>
                    </a:lnTo>
                    <a:lnTo>
                      <a:pt x="473549" y="763588"/>
                    </a:lnTo>
                    <a:lnTo>
                      <a:pt x="462426" y="765175"/>
                    </a:lnTo>
                    <a:lnTo>
                      <a:pt x="452097" y="765969"/>
                    </a:lnTo>
                    <a:lnTo>
                      <a:pt x="440973" y="767556"/>
                    </a:lnTo>
                    <a:lnTo>
                      <a:pt x="429849" y="767556"/>
                    </a:lnTo>
                    <a:lnTo>
                      <a:pt x="419520" y="768350"/>
                    </a:lnTo>
                    <a:lnTo>
                      <a:pt x="408397" y="768350"/>
                    </a:lnTo>
                    <a:lnTo>
                      <a:pt x="383766" y="767556"/>
                    </a:lnTo>
                    <a:lnTo>
                      <a:pt x="359135" y="765969"/>
                    </a:lnTo>
                    <a:lnTo>
                      <a:pt x="335299" y="763588"/>
                    </a:lnTo>
                    <a:lnTo>
                      <a:pt x="312257" y="759619"/>
                    </a:lnTo>
                    <a:lnTo>
                      <a:pt x="290009" y="755650"/>
                    </a:lnTo>
                    <a:lnTo>
                      <a:pt x="267762" y="750094"/>
                    </a:lnTo>
                    <a:lnTo>
                      <a:pt x="247898" y="743744"/>
                    </a:lnTo>
                    <a:lnTo>
                      <a:pt x="228035" y="735806"/>
                    </a:lnTo>
                    <a:lnTo>
                      <a:pt x="208966" y="727869"/>
                    </a:lnTo>
                    <a:lnTo>
                      <a:pt x="189102" y="717550"/>
                    </a:lnTo>
                    <a:lnTo>
                      <a:pt x="171622" y="708025"/>
                    </a:lnTo>
                    <a:lnTo>
                      <a:pt x="154937" y="696913"/>
                    </a:lnTo>
                    <a:lnTo>
                      <a:pt x="138251" y="684213"/>
                    </a:lnTo>
                    <a:lnTo>
                      <a:pt x="121566" y="669925"/>
                    </a:lnTo>
                    <a:lnTo>
                      <a:pt x="107264" y="656431"/>
                    </a:lnTo>
                    <a:lnTo>
                      <a:pt x="92168" y="640556"/>
                    </a:lnTo>
                    <a:lnTo>
                      <a:pt x="70715" y="614363"/>
                    </a:lnTo>
                    <a:lnTo>
                      <a:pt x="52440" y="585788"/>
                    </a:lnTo>
                    <a:lnTo>
                      <a:pt x="36549" y="556419"/>
                    </a:lnTo>
                    <a:lnTo>
                      <a:pt x="23042" y="526256"/>
                    </a:lnTo>
                    <a:lnTo>
                      <a:pt x="12713" y="494506"/>
                    </a:lnTo>
                    <a:lnTo>
                      <a:pt x="5562" y="461963"/>
                    </a:lnTo>
                    <a:lnTo>
                      <a:pt x="1589" y="427831"/>
                    </a:lnTo>
                    <a:lnTo>
                      <a:pt x="0" y="392113"/>
                    </a:lnTo>
                    <a:lnTo>
                      <a:pt x="1589" y="352425"/>
                    </a:lnTo>
                    <a:lnTo>
                      <a:pt x="7151" y="314325"/>
                    </a:lnTo>
                    <a:lnTo>
                      <a:pt x="16686" y="278606"/>
                    </a:lnTo>
                    <a:lnTo>
                      <a:pt x="29398" y="242888"/>
                    </a:lnTo>
                    <a:lnTo>
                      <a:pt x="44495" y="209550"/>
                    </a:lnTo>
                    <a:lnTo>
                      <a:pt x="65153" y="177800"/>
                    </a:lnTo>
                    <a:lnTo>
                      <a:pt x="87400" y="147638"/>
                    </a:lnTo>
                    <a:lnTo>
                      <a:pt x="115209" y="119063"/>
                    </a:lnTo>
                    <a:lnTo>
                      <a:pt x="131100" y="104775"/>
                    </a:lnTo>
                    <a:lnTo>
                      <a:pt x="146991" y="91281"/>
                    </a:lnTo>
                    <a:lnTo>
                      <a:pt x="163677" y="79375"/>
                    </a:lnTo>
                    <a:lnTo>
                      <a:pt x="180362" y="67469"/>
                    </a:lnTo>
                    <a:lnTo>
                      <a:pt x="198637" y="56356"/>
                    </a:lnTo>
                    <a:lnTo>
                      <a:pt x="216911" y="46831"/>
                    </a:lnTo>
                    <a:lnTo>
                      <a:pt x="235186" y="38100"/>
                    </a:lnTo>
                    <a:lnTo>
                      <a:pt x="254255" y="29369"/>
                    </a:lnTo>
                    <a:lnTo>
                      <a:pt x="274913" y="23019"/>
                    </a:lnTo>
                    <a:lnTo>
                      <a:pt x="294777" y="16669"/>
                    </a:lnTo>
                    <a:lnTo>
                      <a:pt x="315435" y="11906"/>
                    </a:lnTo>
                    <a:lnTo>
                      <a:pt x="336888" y="7938"/>
                    </a:lnTo>
                    <a:lnTo>
                      <a:pt x="359135" y="4763"/>
                    </a:lnTo>
                    <a:lnTo>
                      <a:pt x="380588" y="2381"/>
                    </a:lnTo>
                    <a:lnTo>
                      <a:pt x="403629" y="1588"/>
                    </a:lnTo>
                    <a:close/>
                  </a:path>
                </a:pathLst>
              </a:custGeom>
              <a:solidFill>
                <a:schemeClr val="bg1">
                  <a:lumMod val="50000"/>
                </a:schemeClr>
              </a:solidFill>
              <a:ln>
                <a:noFill/>
              </a:ln>
            </p:spPr>
            <p:txBody>
              <a:bodyPr vert="horz" wrap="square" lIns="91392" tIns="45696" rIns="91392" bIns="4569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089">
                  <a:defRPr/>
                </a:pPr>
                <a:endParaRPr lang="en-US" sz="1798">
                  <a:solidFill>
                    <a:srgbClr val="505050"/>
                  </a:solidFill>
                  <a:latin typeface="Segoe UI"/>
                </a:endParaRPr>
              </a:p>
            </p:txBody>
          </p:sp>
          <p:grpSp>
            <p:nvGrpSpPr>
              <p:cNvPr id="242" name="Group 241"/>
              <p:cNvGrpSpPr/>
              <p:nvPr/>
            </p:nvGrpSpPr>
            <p:grpSpPr>
              <a:xfrm>
                <a:off x="3269028" y="2082992"/>
                <a:ext cx="154566" cy="158373"/>
                <a:chOff x="3960963" y="2956210"/>
                <a:chExt cx="229678" cy="198426"/>
              </a:xfrm>
            </p:grpSpPr>
            <p:sp>
              <p:nvSpPr>
                <p:cNvPr id="248" name="Oval 247"/>
                <p:cNvSpPr>
                  <a:spLocks noChangeArrowheads="1"/>
                </p:cNvSpPr>
                <p:nvPr/>
              </p:nvSpPr>
              <p:spPr bwMode="auto">
                <a:xfrm>
                  <a:off x="4041271" y="2956210"/>
                  <a:ext cx="73284" cy="73406"/>
                </a:xfrm>
                <a:prstGeom prst="ellipse">
                  <a:avLst/>
                </a:prstGeom>
                <a:solidFill>
                  <a:schemeClr val="bg1">
                    <a:lumMod val="50000"/>
                  </a:schemeClr>
                </a:solidFill>
                <a:ln w="9525" cap="flat" cmpd="sng" algn="ctr">
                  <a:noFill/>
                  <a:prstDash val="solid"/>
                  <a:headEnd type="none" w="med" len="med"/>
                  <a:tailEnd type="none" w="med" len="med"/>
                </a:ln>
                <a:effectLst/>
              </p:spPr>
              <p:txBody>
                <a:bodyPr vert="horz" wrap="square" lIns="91388" tIns="45694" rIns="91388" bIns="45694"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551" fontAlgn="base">
                    <a:spcBef>
                      <a:spcPct val="0"/>
                    </a:spcBef>
                    <a:spcAft>
                      <a:spcPct val="0"/>
                    </a:spcAft>
                    <a:defRPr/>
                  </a:pPr>
                  <a:endParaRPr lang="en-US" sz="2198">
                    <a:solidFill>
                      <a:srgbClr val="505050"/>
                    </a:solidFill>
                    <a:latin typeface="Segoe"/>
                  </a:endParaRPr>
                </a:p>
              </p:txBody>
            </p:sp>
            <p:sp>
              <p:nvSpPr>
                <p:cNvPr id="249" name="Freeform 248"/>
                <p:cNvSpPr>
                  <a:spLocks/>
                </p:cNvSpPr>
                <p:nvPr/>
              </p:nvSpPr>
              <p:spPr bwMode="auto">
                <a:xfrm>
                  <a:off x="4011324" y="3038258"/>
                  <a:ext cx="131108" cy="116378"/>
                </a:xfrm>
                <a:custGeom>
                  <a:avLst/>
                  <a:gdLst>
                    <a:gd name="T0" fmla="*/ 420 w 456"/>
                    <a:gd name="T1" fmla="*/ 125 h 405"/>
                    <a:gd name="T2" fmla="*/ 311 w 456"/>
                    <a:gd name="T3" fmla="*/ 0 h 405"/>
                    <a:gd name="T4" fmla="*/ 233 w 456"/>
                    <a:gd name="T5" fmla="*/ 97 h 405"/>
                    <a:gd name="T6" fmla="*/ 223 w 456"/>
                    <a:gd name="T7" fmla="*/ 97 h 405"/>
                    <a:gd name="T8" fmla="*/ 145 w 456"/>
                    <a:gd name="T9" fmla="*/ 0 h 405"/>
                    <a:gd name="T10" fmla="*/ 37 w 456"/>
                    <a:gd name="T11" fmla="*/ 125 h 405"/>
                    <a:gd name="T12" fmla="*/ 30 w 456"/>
                    <a:gd name="T13" fmla="*/ 307 h 405"/>
                    <a:gd name="T14" fmla="*/ 220 w 456"/>
                    <a:gd name="T15" fmla="*/ 405 h 405"/>
                    <a:gd name="T16" fmla="*/ 236 w 456"/>
                    <a:gd name="T17" fmla="*/ 405 h 405"/>
                    <a:gd name="T18" fmla="*/ 427 w 456"/>
                    <a:gd name="T19" fmla="*/ 307 h 405"/>
                    <a:gd name="T20" fmla="*/ 420 w 456"/>
                    <a:gd name="T21" fmla="*/ 125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6" h="405">
                      <a:moveTo>
                        <a:pt x="420" y="125"/>
                      </a:moveTo>
                      <a:cubicBezTo>
                        <a:pt x="369" y="38"/>
                        <a:pt x="327" y="0"/>
                        <a:pt x="311" y="0"/>
                      </a:cubicBezTo>
                      <a:cubicBezTo>
                        <a:pt x="296" y="0"/>
                        <a:pt x="247" y="97"/>
                        <a:pt x="233" y="97"/>
                      </a:cubicBezTo>
                      <a:cubicBezTo>
                        <a:pt x="223" y="97"/>
                        <a:pt x="223" y="97"/>
                        <a:pt x="223" y="97"/>
                      </a:cubicBezTo>
                      <a:cubicBezTo>
                        <a:pt x="210" y="97"/>
                        <a:pt x="161" y="0"/>
                        <a:pt x="145" y="0"/>
                      </a:cubicBezTo>
                      <a:cubicBezTo>
                        <a:pt x="130" y="0"/>
                        <a:pt x="88" y="38"/>
                        <a:pt x="37" y="125"/>
                      </a:cubicBezTo>
                      <a:cubicBezTo>
                        <a:pt x="13" y="165"/>
                        <a:pt x="0" y="251"/>
                        <a:pt x="30" y="307"/>
                      </a:cubicBezTo>
                      <a:cubicBezTo>
                        <a:pt x="64" y="372"/>
                        <a:pt x="149" y="405"/>
                        <a:pt x="220" y="405"/>
                      </a:cubicBezTo>
                      <a:cubicBezTo>
                        <a:pt x="236" y="405"/>
                        <a:pt x="236" y="405"/>
                        <a:pt x="236" y="405"/>
                      </a:cubicBezTo>
                      <a:cubicBezTo>
                        <a:pt x="308" y="405"/>
                        <a:pt x="393" y="372"/>
                        <a:pt x="427" y="307"/>
                      </a:cubicBezTo>
                      <a:cubicBezTo>
                        <a:pt x="456" y="251"/>
                        <a:pt x="444" y="165"/>
                        <a:pt x="420" y="125"/>
                      </a:cubicBezTo>
                      <a:close/>
                    </a:path>
                  </a:pathLst>
                </a:custGeom>
                <a:solidFill>
                  <a:schemeClr val="bg1">
                    <a:lumMod val="50000"/>
                  </a:schemeClr>
                </a:solidFill>
                <a:ln w="9525" cap="flat" cmpd="sng" algn="ctr">
                  <a:noFill/>
                  <a:prstDash val="solid"/>
                  <a:headEnd type="none" w="med" len="med"/>
                  <a:tailEnd type="none" w="med" len="med"/>
                </a:ln>
                <a:effectLst/>
              </p:spPr>
              <p:txBody>
                <a:bodyPr vert="horz" wrap="square" lIns="91388" tIns="45694" rIns="91388" bIns="45694"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551" fontAlgn="base">
                    <a:spcBef>
                      <a:spcPct val="0"/>
                    </a:spcBef>
                    <a:spcAft>
                      <a:spcPct val="0"/>
                    </a:spcAft>
                    <a:defRPr/>
                  </a:pPr>
                  <a:endParaRPr lang="en-US" sz="2198">
                    <a:solidFill>
                      <a:srgbClr val="505050"/>
                    </a:solidFill>
                    <a:latin typeface="Segoe"/>
                  </a:endParaRPr>
                </a:p>
              </p:txBody>
            </p:sp>
            <p:sp>
              <p:nvSpPr>
                <p:cNvPr id="250" name="Oval 249"/>
                <p:cNvSpPr>
                  <a:spLocks noChangeArrowheads="1"/>
                </p:cNvSpPr>
                <p:nvPr/>
              </p:nvSpPr>
              <p:spPr bwMode="auto">
                <a:xfrm>
                  <a:off x="3979716" y="2985802"/>
                  <a:ext cx="45687" cy="45942"/>
                </a:xfrm>
                <a:prstGeom prst="ellipse">
                  <a:avLst/>
                </a:prstGeom>
                <a:solidFill>
                  <a:schemeClr val="bg1">
                    <a:lumMod val="50000"/>
                  </a:schemeClr>
                </a:solidFill>
                <a:ln w="9525" cap="flat" cmpd="sng" algn="ctr">
                  <a:noFill/>
                  <a:prstDash val="solid"/>
                  <a:headEnd type="none" w="med" len="med"/>
                  <a:tailEnd type="none" w="med" len="med"/>
                </a:ln>
                <a:effectLst/>
              </p:spPr>
              <p:txBody>
                <a:bodyPr vert="horz" wrap="square" lIns="91388" tIns="45694" rIns="91388" bIns="45694"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551" fontAlgn="base">
                    <a:spcBef>
                      <a:spcPct val="0"/>
                    </a:spcBef>
                    <a:spcAft>
                      <a:spcPct val="0"/>
                    </a:spcAft>
                    <a:defRPr/>
                  </a:pPr>
                  <a:endParaRPr lang="en-US" sz="2198">
                    <a:solidFill>
                      <a:srgbClr val="505050"/>
                    </a:solidFill>
                    <a:latin typeface="Segoe"/>
                  </a:endParaRPr>
                </a:p>
              </p:txBody>
            </p:sp>
            <p:sp>
              <p:nvSpPr>
                <p:cNvPr id="252" name="Freeform 251"/>
                <p:cNvSpPr>
                  <a:spLocks/>
                </p:cNvSpPr>
                <p:nvPr/>
              </p:nvSpPr>
              <p:spPr bwMode="auto">
                <a:xfrm>
                  <a:off x="3960963" y="3036944"/>
                  <a:ext cx="67509" cy="72877"/>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solidFill>
                  <a:schemeClr val="bg1">
                    <a:lumMod val="50000"/>
                  </a:schemeClr>
                </a:solidFill>
                <a:ln w="9525" cap="flat" cmpd="sng" algn="ctr">
                  <a:noFill/>
                  <a:prstDash val="solid"/>
                  <a:headEnd type="none" w="med" len="med"/>
                  <a:tailEnd type="none" w="med" len="med"/>
                </a:ln>
                <a:effectLst/>
              </p:spPr>
              <p:txBody>
                <a:bodyPr vert="horz" wrap="square" lIns="91388" tIns="45694" rIns="91388" bIns="45694"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551" fontAlgn="base">
                    <a:spcBef>
                      <a:spcPct val="0"/>
                    </a:spcBef>
                    <a:spcAft>
                      <a:spcPct val="0"/>
                    </a:spcAft>
                    <a:defRPr/>
                  </a:pPr>
                  <a:endParaRPr lang="en-US" sz="2198">
                    <a:solidFill>
                      <a:srgbClr val="505050"/>
                    </a:solidFill>
                    <a:latin typeface="Segoe"/>
                  </a:endParaRPr>
                </a:p>
              </p:txBody>
            </p:sp>
            <p:sp>
              <p:nvSpPr>
                <p:cNvPr id="253" name="Oval 252"/>
                <p:cNvSpPr>
                  <a:spLocks noChangeArrowheads="1"/>
                </p:cNvSpPr>
                <p:nvPr/>
              </p:nvSpPr>
              <p:spPr bwMode="auto">
                <a:xfrm flipH="1">
                  <a:off x="4126201" y="2985802"/>
                  <a:ext cx="45687" cy="45942"/>
                </a:xfrm>
                <a:prstGeom prst="ellipse">
                  <a:avLst/>
                </a:prstGeom>
                <a:solidFill>
                  <a:schemeClr val="bg1">
                    <a:lumMod val="50000"/>
                  </a:schemeClr>
                </a:solidFill>
                <a:ln w="9525" cap="flat" cmpd="sng" algn="ctr">
                  <a:noFill/>
                  <a:prstDash val="solid"/>
                  <a:headEnd type="none" w="med" len="med"/>
                  <a:tailEnd type="none" w="med" len="med"/>
                </a:ln>
                <a:effectLst/>
              </p:spPr>
              <p:txBody>
                <a:bodyPr vert="horz" wrap="square" lIns="91388" tIns="45694" rIns="91388" bIns="45694"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551" fontAlgn="base">
                    <a:spcBef>
                      <a:spcPct val="0"/>
                    </a:spcBef>
                    <a:spcAft>
                      <a:spcPct val="0"/>
                    </a:spcAft>
                    <a:defRPr/>
                  </a:pPr>
                  <a:endParaRPr lang="en-US" sz="2198">
                    <a:solidFill>
                      <a:srgbClr val="505050"/>
                    </a:solidFill>
                    <a:latin typeface="Segoe"/>
                  </a:endParaRPr>
                </a:p>
              </p:txBody>
            </p:sp>
            <p:sp>
              <p:nvSpPr>
                <p:cNvPr id="254" name="Freeform 253"/>
                <p:cNvSpPr>
                  <a:spLocks/>
                </p:cNvSpPr>
                <p:nvPr/>
              </p:nvSpPr>
              <p:spPr bwMode="auto">
                <a:xfrm flipH="1">
                  <a:off x="4123132" y="3036944"/>
                  <a:ext cx="67509" cy="72877"/>
                </a:xfrm>
                <a:custGeom>
                  <a:avLst/>
                  <a:gdLst>
                    <a:gd name="T0" fmla="*/ 239 w 335"/>
                    <a:gd name="T1" fmla="*/ 175 h 362"/>
                    <a:gd name="T2" fmla="*/ 335 w 335"/>
                    <a:gd name="T3" fmla="*/ 52 h 362"/>
                    <a:gd name="T4" fmla="*/ 278 w 335"/>
                    <a:gd name="T5" fmla="*/ 0 h 362"/>
                    <a:gd name="T6" fmla="*/ 208 w 335"/>
                    <a:gd name="T7" fmla="*/ 87 h 362"/>
                    <a:gd name="T8" fmla="*/ 199 w 335"/>
                    <a:gd name="T9" fmla="*/ 87 h 362"/>
                    <a:gd name="T10" fmla="*/ 130 w 335"/>
                    <a:gd name="T11" fmla="*/ 0 h 362"/>
                    <a:gd name="T12" fmla="*/ 33 w 335"/>
                    <a:gd name="T13" fmla="*/ 113 h 362"/>
                    <a:gd name="T14" fmla="*/ 27 w 335"/>
                    <a:gd name="T15" fmla="*/ 274 h 362"/>
                    <a:gd name="T16" fmla="*/ 197 w 335"/>
                    <a:gd name="T17" fmla="*/ 362 h 362"/>
                    <a:gd name="T18" fmla="*/ 211 w 335"/>
                    <a:gd name="T19" fmla="*/ 362 h 362"/>
                    <a:gd name="T20" fmla="*/ 221 w 335"/>
                    <a:gd name="T21" fmla="*/ 361 h 362"/>
                    <a:gd name="T22" fmla="*/ 239 w 335"/>
                    <a:gd name="T23" fmla="*/ 17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5" h="362">
                      <a:moveTo>
                        <a:pt x="239" y="175"/>
                      </a:moveTo>
                      <a:cubicBezTo>
                        <a:pt x="261" y="137"/>
                        <a:pt x="299" y="80"/>
                        <a:pt x="335" y="52"/>
                      </a:cubicBezTo>
                      <a:cubicBezTo>
                        <a:pt x="308" y="17"/>
                        <a:pt x="288" y="0"/>
                        <a:pt x="278" y="0"/>
                      </a:cubicBezTo>
                      <a:cubicBezTo>
                        <a:pt x="264" y="0"/>
                        <a:pt x="220" y="87"/>
                        <a:pt x="208" y="87"/>
                      </a:cubicBezTo>
                      <a:cubicBezTo>
                        <a:pt x="199" y="87"/>
                        <a:pt x="199" y="87"/>
                        <a:pt x="199" y="87"/>
                      </a:cubicBezTo>
                      <a:cubicBezTo>
                        <a:pt x="187" y="87"/>
                        <a:pt x="144" y="0"/>
                        <a:pt x="130" y="0"/>
                      </a:cubicBezTo>
                      <a:cubicBezTo>
                        <a:pt x="116" y="0"/>
                        <a:pt x="78" y="35"/>
                        <a:pt x="33" y="113"/>
                      </a:cubicBezTo>
                      <a:cubicBezTo>
                        <a:pt x="12" y="148"/>
                        <a:pt x="0" y="225"/>
                        <a:pt x="27" y="274"/>
                      </a:cubicBezTo>
                      <a:cubicBezTo>
                        <a:pt x="57" y="333"/>
                        <a:pt x="133" y="362"/>
                        <a:pt x="197" y="362"/>
                      </a:cubicBezTo>
                      <a:cubicBezTo>
                        <a:pt x="211" y="362"/>
                        <a:pt x="211" y="362"/>
                        <a:pt x="211" y="362"/>
                      </a:cubicBezTo>
                      <a:cubicBezTo>
                        <a:pt x="214" y="362"/>
                        <a:pt x="218" y="362"/>
                        <a:pt x="221" y="361"/>
                      </a:cubicBezTo>
                      <a:cubicBezTo>
                        <a:pt x="199" y="296"/>
                        <a:pt x="216" y="215"/>
                        <a:pt x="239" y="175"/>
                      </a:cubicBezTo>
                      <a:close/>
                    </a:path>
                  </a:pathLst>
                </a:custGeom>
                <a:solidFill>
                  <a:schemeClr val="bg1">
                    <a:lumMod val="50000"/>
                  </a:schemeClr>
                </a:solidFill>
                <a:ln w="9525" cap="flat" cmpd="sng" algn="ctr">
                  <a:noFill/>
                  <a:prstDash val="solid"/>
                  <a:headEnd type="none" w="med" len="med"/>
                  <a:tailEnd type="none" w="med" len="med"/>
                </a:ln>
                <a:effectLst/>
              </p:spPr>
              <p:txBody>
                <a:bodyPr vert="horz" wrap="square" lIns="91388" tIns="45694" rIns="91388" bIns="45694"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551" fontAlgn="base">
                    <a:spcBef>
                      <a:spcPct val="0"/>
                    </a:spcBef>
                    <a:spcAft>
                      <a:spcPct val="0"/>
                    </a:spcAft>
                    <a:defRPr/>
                  </a:pPr>
                  <a:endParaRPr lang="en-US" sz="2198">
                    <a:solidFill>
                      <a:srgbClr val="505050"/>
                    </a:solidFill>
                    <a:latin typeface="Segoe"/>
                  </a:endParaRPr>
                </a:p>
              </p:txBody>
            </p:sp>
          </p:grpSp>
          <p:pic>
            <p:nvPicPr>
              <p:cNvPr id="243" name="Picture 42"/>
              <p:cNvPicPr>
                <a:picLocks noChangeAspect="1"/>
              </p:cNvPicPr>
              <p:nvPr/>
            </p:nvPicPr>
            <p:blipFill>
              <a:blip r:embed="rId12" cstate="screen">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bwMode="auto">
              <a:xfrm>
                <a:off x="2905548" y="1828586"/>
                <a:ext cx="196761" cy="172534"/>
              </a:xfrm>
              <a:prstGeom prst="rect">
                <a:avLst/>
              </a:prstGeom>
            </p:spPr>
          </p:pic>
          <p:grpSp>
            <p:nvGrpSpPr>
              <p:cNvPr id="244" name="Group 243"/>
              <p:cNvGrpSpPr/>
              <p:nvPr/>
            </p:nvGrpSpPr>
            <p:grpSpPr>
              <a:xfrm>
                <a:off x="3256998" y="1215071"/>
                <a:ext cx="306100" cy="209028"/>
                <a:chOff x="10810856" y="2000146"/>
                <a:chExt cx="542944" cy="312613"/>
              </a:xfrm>
            </p:grpSpPr>
            <p:pic>
              <p:nvPicPr>
                <p:cNvPr id="246" name="Picture 47" descr="C:\Users\sakuu\Documents\Ballmer MGX 2011\Tile Icons\Calendar.png"/>
                <p:cNvPicPr>
                  <a:picLocks noChangeAspect="1" noChangeArrowheads="1"/>
                </p:cNvPicPr>
                <p:nvPr/>
              </p:nvPicPr>
              <p:blipFill>
                <a:blip r:embed="rId13" cstate="print">
                  <a:extLst>
                    <a:ext uri="{BEBA8EAE-BF5A-486C-A8C5-ECC9F3942E4B}">
                      <a14:imgProps xmlns:a14="http://schemas.microsoft.com/office/drawing/2010/main">
                        <a14:imgLayer r:embed="rId1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bwMode="black">
                <a:xfrm>
                  <a:off x="11038367" y="2022449"/>
                  <a:ext cx="315433" cy="29031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47" name="Freeform 113"/>
                <p:cNvSpPr>
                  <a:spLocks noEditPoints="1"/>
                </p:cNvSpPr>
                <p:nvPr/>
              </p:nvSpPr>
              <p:spPr bwMode="black">
                <a:xfrm>
                  <a:off x="10810856" y="2000146"/>
                  <a:ext cx="215583" cy="215583"/>
                </a:xfrm>
                <a:custGeom>
                  <a:avLst/>
                  <a:gdLst>
                    <a:gd name="T0" fmla="*/ 47 w 66"/>
                    <a:gd name="T1" fmla="*/ 37 h 66"/>
                    <a:gd name="T2" fmla="*/ 51 w 66"/>
                    <a:gd name="T3" fmla="*/ 33 h 66"/>
                    <a:gd name="T4" fmla="*/ 47 w 66"/>
                    <a:gd name="T5" fmla="*/ 29 h 66"/>
                    <a:gd name="T6" fmla="*/ 37 w 66"/>
                    <a:gd name="T7" fmla="*/ 29 h 66"/>
                    <a:gd name="T8" fmla="*/ 37 w 66"/>
                    <a:gd name="T9" fmla="*/ 16 h 66"/>
                    <a:gd name="T10" fmla="*/ 33 w 66"/>
                    <a:gd name="T11" fmla="*/ 13 h 66"/>
                    <a:gd name="T12" fmla="*/ 29 w 66"/>
                    <a:gd name="T13" fmla="*/ 16 h 66"/>
                    <a:gd name="T14" fmla="*/ 29 w 66"/>
                    <a:gd name="T15" fmla="*/ 33 h 66"/>
                    <a:gd name="T16" fmla="*/ 33 w 66"/>
                    <a:gd name="T17" fmla="*/ 37 h 66"/>
                    <a:gd name="T18" fmla="*/ 47 w 66"/>
                    <a:gd name="T19" fmla="*/ 37 h 66"/>
                    <a:gd name="T20" fmla="*/ 33 w 66"/>
                    <a:gd name="T21" fmla="*/ 8 h 66"/>
                    <a:gd name="T22" fmla="*/ 58 w 66"/>
                    <a:gd name="T23" fmla="*/ 33 h 66"/>
                    <a:gd name="T24" fmla="*/ 33 w 66"/>
                    <a:gd name="T25" fmla="*/ 58 h 66"/>
                    <a:gd name="T26" fmla="*/ 8 w 66"/>
                    <a:gd name="T27" fmla="*/ 33 h 66"/>
                    <a:gd name="T28" fmla="*/ 33 w 66"/>
                    <a:gd name="T29" fmla="*/ 8 h 66"/>
                    <a:gd name="T30" fmla="*/ 33 w 66"/>
                    <a:gd name="T31" fmla="*/ 66 h 66"/>
                    <a:gd name="T32" fmla="*/ 66 w 66"/>
                    <a:gd name="T33" fmla="*/ 33 h 66"/>
                    <a:gd name="T34" fmla="*/ 33 w 66"/>
                    <a:gd name="T35" fmla="*/ 0 h 66"/>
                    <a:gd name="T36" fmla="*/ 0 w 66"/>
                    <a:gd name="T37" fmla="*/ 33 h 66"/>
                    <a:gd name="T38" fmla="*/ 33 w 66"/>
                    <a:gd name="T3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47" y="37"/>
                      </a:moveTo>
                      <a:cubicBezTo>
                        <a:pt x="49" y="37"/>
                        <a:pt x="51" y="35"/>
                        <a:pt x="51" y="33"/>
                      </a:cubicBezTo>
                      <a:cubicBezTo>
                        <a:pt x="51" y="31"/>
                        <a:pt x="49" y="29"/>
                        <a:pt x="47" y="29"/>
                      </a:cubicBezTo>
                      <a:cubicBezTo>
                        <a:pt x="37" y="29"/>
                        <a:pt x="37" y="29"/>
                        <a:pt x="37" y="29"/>
                      </a:cubicBezTo>
                      <a:cubicBezTo>
                        <a:pt x="37" y="16"/>
                        <a:pt x="37" y="16"/>
                        <a:pt x="37" y="16"/>
                      </a:cubicBezTo>
                      <a:cubicBezTo>
                        <a:pt x="37" y="14"/>
                        <a:pt x="35" y="13"/>
                        <a:pt x="33" y="13"/>
                      </a:cubicBezTo>
                      <a:cubicBezTo>
                        <a:pt x="31" y="13"/>
                        <a:pt x="29" y="14"/>
                        <a:pt x="29" y="16"/>
                      </a:cubicBezTo>
                      <a:cubicBezTo>
                        <a:pt x="29" y="33"/>
                        <a:pt x="29" y="33"/>
                        <a:pt x="29" y="33"/>
                      </a:cubicBezTo>
                      <a:cubicBezTo>
                        <a:pt x="29" y="35"/>
                        <a:pt x="31" y="37"/>
                        <a:pt x="33" y="37"/>
                      </a:cubicBezTo>
                      <a:lnTo>
                        <a:pt x="47" y="37"/>
                      </a:lnTo>
                      <a:close/>
                      <a:moveTo>
                        <a:pt x="33" y="8"/>
                      </a:moveTo>
                      <a:cubicBezTo>
                        <a:pt x="47" y="8"/>
                        <a:pt x="58" y="19"/>
                        <a:pt x="58" y="33"/>
                      </a:cubicBezTo>
                      <a:cubicBezTo>
                        <a:pt x="58" y="47"/>
                        <a:pt x="47" y="58"/>
                        <a:pt x="33" y="58"/>
                      </a:cubicBezTo>
                      <a:cubicBezTo>
                        <a:pt x="19" y="58"/>
                        <a:pt x="8" y="47"/>
                        <a:pt x="8" y="33"/>
                      </a:cubicBezTo>
                      <a:cubicBezTo>
                        <a:pt x="8" y="19"/>
                        <a:pt x="19" y="8"/>
                        <a:pt x="33" y="8"/>
                      </a:cubicBezTo>
                      <a:moveTo>
                        <a:pt x="33" y="66"/>
                      </a:moveTo>
                      <a:cubicBezTo>
                        <a:pt x="51" y="66"/>
                        <a:pt x="66" y="51"/>
                        <a:pt x="66" y="33"/>
                      </a:cubicBezTo>
                      <a:cubicBezTo>
                        <a:pt x="66" y="15"/>
                        <a:pt x="51" y="0"/>
                        <a:pt x="33" y="0"/>
                      </a:cubicBezTo>
                      <a:cubicBezTo>
                        <a:pt x="15" y="0"/>
                        <a:pt x="0" y="15"/>
                        <a:pt x="0" y="33"/>
                      </a:cubicBezTo>
                      <a:cubicBezTo>
                        <a:pt x="0" y="51"/>
                        <a:pt x="15" y="66"/>
                        <a:pt x="33" y="66"/>
                      </a:cubicBezTo>
                    </a:path>
                  </a:pathLst>
                </a:custGeom>
                <a:solidFill>
                  <a:schemeClr val="bg1">
                    <a:lumMod val="50000"/>
                  </a:schemeClr>
                </a:solidFill>
                <a:ln>
                  <a:noFill/>
                </a:ln>
                <a:extLst/>
              </p:spPr>
              <p:txBody>
                <a:bodyPr/>
                <a:lstStyle/>
                <a:p>
                  <a:pPr defTabSz="913852">
                    <a:defRPr/>
                  </a:pPr>
                  <a:endParaRPr lang="en-US" sz="1050" kern="0">
                    <a:solidFill>
                      <a:srgbClr val="000000"/>
                    </a:solidFill>
                    <a:latin typeface="Segoe UI"/>
                  </a:endParaRPr>
                </a:p>
              </p:txBody>
            </p:sp>
          </p:grpSp>
          <p:pic>
            <p:nvPicPr>
              <p:cNvPr id="245" name="Picture 244"/>
              <p:cNvPicPr>
                <a:picLocks noChangeAspect="1"/>
              </p:cNvPicPr>
              <p:nvPr/>
            </p:nvPicPr>
            <p:blipFill>
              <a:blip r:embed="rId15">
                <a:duotone>
                  <a:prstClr val="black"/>
                  <a:schemeClr val="accent5">
                    <a:tint val="45000"/>
                    <a:satMod val="400000"/>
                  </a:schemeClr>
                </a:duotone>
              </a:blip>
              <a:stretch>
                <a:fillRect/>
              </a:stretch>
            </p:blipFill>
            <p:spPr bwMode="auto">
              <a:xfrm>
                <a:off x="3264817" y="1526185"/>
                <a:ext cx="256386" cy="282738"/>
              </a:xfrm>
              <a:prstGeom prst="rect">
                <a:avLst/>
              </a:prstGeom>
              <a:noFill/>
              <a:ln>
                <a:noFill/>
              </a:ln>
            </p:spPr>
          </p:pic>
        </p:grpSp>
        <p:sp>
          <p:nvSpPr>
            <p:cNvPr id="229" name="TextBox 228"/>
            <p:cNvSpPr txBox="1"/>
            <p:nvPr/>
          </p:nvSpPr>
          <p:spPr>
            <a:xfrm>
              <a:off x="2962268" y="2416646"/>
              <a:ext cx="877220" cy="152323"/>
            </a:xfrm>
            <a:prstGeom prst="rect">
              <a:avLst/>
            </a:prstGeom>
          </p:spPr>
          <p:txBody>
            <a:bodyPr vert="horz" wrap="none" lIns="0" tIns="0" rIns="0" bIns="0" rtlCol="0" anchor="t">
              <a:noAutofit/>
            </a:bodyPr>
            <a:lstStyle/>
            <a:p>
              <a:pPr algn="ctr" defTabSz="1087779">
                <a:defRPr/>
              </a:pPr>
              <a:r>
                <a:rPr lang="en-US" sz="1200" kern="0">
                  <a:solidFill>
                    <a:srgbClr val="505050"/>
                  </a:solidFill>
                  <a:latin typeface="Segoe UI Semibold" panose="020B0702040204020203" pitchFamily="34" charset="0"/>
                  <a:ea typeface="Segoe UI" pitchFamily="34" charset="0"/>
                  <a:cs typeface="Segoe UI Semibold" panose="020B0702040204020203" pitchFamily="34" charset="0"/>
                </a:rPr>
                <a:t>Social Media</a:t>
              </a:r>
            </a:p>
          </p:txBody>
        </p:sp>
      </p:grpSp>
      <p:grpSp>
        <p:nvGrpSpPr>
          <p:cNvPr id="11" name="Group 10"/>
          <p:cNvGrpSpPr/>
          <p:nvPr/>
        </p:nvGrpSpPr>
        <p:grpSpPr>
          <a:xfrm>
            <a:off x="2784439" y="4683180"/>
            <a:ext cx="3756236" cy="2020994"/>
            <a:chOff x="1316214" y="4597683"/>
            <a:chExt cx="3853786" cy="2099855"/>
          </a:xfrm>
        </p:grpSpPr>
        <p:sp>
          <p:nvSpPr>
            <p:cNvPr id="142" name="Oval 209"/>
            <p:cNvSpPr/>
            <p:nvPr/>
          </p:nvSpPr>
          <p:spPr bwMode="auto">
            <a:xfrm>
              <a:off x="1316214" y="4597683"/>
              <a:ext cx="3853786" cy="2099855"/>
            </a:xfrm>
            <a:custGeom>
              <a:avLst/>
              <a:gdLst/>
              <a:ahLst/>
              <a:cxnLst/>
              <a:rect l="l" t="t" r="r" b="b"/>
              <a:pathLst>
                <a:path w="8803468" h="5170759">
                  <a:moveTo>
                    <a:pt x="4909183" y="0"/>
                  </a:moveTo>
                  <a:cubicBezTo>
                    <a:pt x="6195616" y="0"/>
                    <a:pt x="7238475" y="1021136"/>
                    <a:pt x="7238475" y="2280772"/>
                  </a:cubicBezTo>
                  <a:cubicBezTo>
                    <a:pt x="7238475" y="2369141"/>
                    <a:pt x="7233343" y="2456337"/>
                    <a:pt x="7222091" y="2541933"/>
                  </a:cubicBezTo>
                  <a:cubicBezTo>
                    <a:pt x="7294788" y="2525239"/>
                    <a:pt x="7370149" y="2518684"/>
                    <a:pt x="7447004" y="2518684"/>
                  </a:cubicBezTo>
                  <a:cubicBezTo>
                    <a:pt x="8196160" y="2518684"/>
                    <a:pt x="8803468" y="3141396"/>
                    <a:pt x="8803468" y="3909552"/>
                  </a:cubicBezTo>
                  <a:cubicBezTo>
                    <a:pt x="8803468" y="4469014"/>
                    <a:pt x="8481324" y="4951325"/>
                    <a:pt x="8016221" y="5170759"/>
                  </a:cubicBezTo>
                  <a:lnTo>
                    <a:pt x="895411" y="5170759"/>
                  </a:lnTo>
                  <a:cubicBezTo>
                    <a:pt x="372663" y="4963354"/>
                    <a:pt x="0" y="4399621"/>
                    <a:pt x="0" y="3737717"/>
                  </a:cubicBezTo>
                  <a:cubicBezTo>
                    <a:pt x="0" y="2972099"/>
                    <a:pt x="498598" y="2337829"/>
                    <a:pt x="1150481" y="2231184"/>
                  </a:cubicBezTo>
                  <a:cubicBezTo>
                    <a:pt x="1172083" y="1693806"/>
                    <a:pt x="1604866" y="1266237"/>
                    <a:pt x="2135045" y="1266237"/>
                  </a:cubicBezTo>
                  <a:cubicBezTo>
                    <a:pt x="2360210" y="1266237"/>
                    <a:pt x="2567805" y="1343357"/>
                    <a:pt x="2731785" y="1476336"/>
                  </a:cubicBezTo>
                  <a:cubicBezTo>
                    <a:pt x="3061724" y="613163"/>
                    <a:pt x="3912322" y="0"/>
                    <a:pt x="4909183" y="0"/>
                  </a:cubicBezTo>
                  <a:close/>
                </a:path>
              </a:pathLst>
            </a:cu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45696" tIns="45696" rIns="45696" bIns="45696" numCol="1" spcCol="0" rtlCol="0" fromWordArt="0" anchor="b" anchorCtr="0" forceAA="0" compatLnSpc="1">
              <a:prstTxWarp prst="textNoShape">
                <a:avLst/>
              </a:prstTxWarp>
              <a:noAutofit/>
            </a:bodyPr>
            <a:lstStyle/>
            <a:p>
              <a:pPr algn="ctr" defTabSz="850354">
                <a:defRPr/>
              </a:pPr>
              <a:endParaRPr lang="en-US" sz="1200" kern="0">
                <a:solidFill>
                  <a:srgbClr val="FFFFFF"/>
                </a:solidFill>
                <a:latin typeface="Segoe UI Semibold" panose="020B0702040204020203" pitchFamily="34" charset="0"/>
                <a:cs typeface="Segoe UI Semibold" panose="020B0702040204020203" pitchFamily="34" charset="0"/>
              </a:endParaRPr>
            </a:p>
          </p:txBody>
        </p:sp>
        <p:grpSp>
          <p:nvGrpSpPr>
            <p:cNvPr id="3" name="Group 2"/>
            <p:cNvGrpSpPr/>
            <p:nvPr/>
          </p:nvGrpSpPr>
          <p:grpSpPr>
            <a:xfrm>
              <a:off x="2952081" y="5268239"/>
              <a:ext cx="965696" cy="580539"/>
              <a:chOff x="3314128" y="5782791"/>
              <a:chExt cx="965696" cy="580539"/>
            </a:xfrm>
          </p:grpSpPr>
          <p:pic>
            <p:nvPicPr>
              <p:cNvPr id="199" name="Picture 198"/>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3607342" y="5782791"/>
                <a:ext cx="379268" cy="379268"/>
              </a:xfrm>
              <a:prstGeom prst="rect">
                <a:avLst/>
              </a:prstGeom>
            </p:spPr>
          </p:pic>
          <p:sp>
            <p:nvSpPr>
              <p:cNvPr id="200" name="TextBox 199"/>
              <p:cNvSpPr txBox="1"/>
              <p:nvPr/>
            </p:nvSpPr>
            <p:spPr>
              <a:xfrm>
                <a:off x="3314128" y="6109747"/>
                <a:ext cx="965696" cy="253583"/>
              </a:xfrm>
              <a:prstGeom prst="rect">
                <a:avLst/>
              </a:prstGeom>
            </p:spPr>
            <p:txBody>
              <a:bodyPr vert="horz" wrap="square" lIns="45696" tIns="45696" rIns="45696" bIns="45696"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kern="0">
                    <a:solidFill>
                      <a:prstClr val="white"/>
                    </a:solidFill>
                  </a:rPr>
                  <a:t>Azure Storage</a:t>
                </a:r>
              </a:p>
            </p:txBody>
          </p:sp>
        </p:grpSp>
        <p:grpSp>
          <p:nvGrpSpPr>
            <p:cNvPr id="2" name="Group 1"/>
            <p:cNvGrpSpPr/>
            <p:nvPr/>
          </p:nvGrpSpPr>
          <p:grpSpPr>
            <a:xfrm>
              <a:off x="4117301" y="5922413"/>
              <a:ext cx="1020867" cy="660110"/>
              <a:chOff x="4161818" y="5711325"/>
              <a:chExt cx="1020867" cy="660110"/>
            </a:xfrm>
          </p:grpSpPr>
          <p:sp>
            <p:nvSpPr>
              <p:cNvPr id="197" name="TextBox 196"/>
              <p:cNvSpPr txBox="1"/>
              <p:nvPr/>
            </p:nvSpPr>
            <p:spPr>
              <a:xfrm>
                <a:off x="4161818" y="6125214"/>
                <a:ext cx="1020867" cy="246221"/>
              </a:xfrm>
              <a:prstGeom prst="rect">
                <a:avLst/>
              </a:prstGeom>
            </p:spPr>
            <p:txBody>
              <a:bodyPr vert="horz" wrap="square" lIns="45696" tIns="45696" rIns="45696" bIns="45696"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kern="0">
                    <a:solidFill>
                      <a:prstClr val="white"/>
                    </a:solidFill>
                  </a:rPr>
                  <a:t>Azure SQL DB</a:t>
                </a:r>
              </a:p>
            </p:txBody>
          </p:sp>
          <p:pic>
            <p:nvPicPr>
              <p:cNvPr id="198" name="Picture 197"/>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4481918" y="5711325"/>
                <a:ext cx="380667" cy="380667"/>
              </a:xfrm>
              <a:prstGeom prst="rect">
                <a:avLst/>
              </a:prstGeom>
            </p:spPr>
          </p:pic>
        </p:grpSp>
        <p:grpSp>
          <p:nvGrpSpPr>
            <p:cNvPr id="10" name="Group 9"/>
            <p:cNvGrpSpPr/>
            <p:nvPr/>
          </p:nvGrpSpPr>
          <p:grpSpPr>
            <a:xfrm>
              <a:off x="1919814" y="5230051"/>
              <a:ext cx="837621" cy="580578"/>
              <a:chOff x="1981709" y="5117983"/>
              <a:chExt cx="837621" cy="580578"/>
            </a:xfrm>
          </p:grpSpPr>
          <p:sp>
            <p:nvSpPr>
              <p:cNvPr id="193" name="TextBox 192"/>
              <p:cNvSpPr txBox="1"/>
              <p:nvPr/>
            </p:nvSpPr>
            <p:spPr>
              <a:xfrm>
                <a:off x="1981709" y="5452340"/>
                <a:ext cx="837621" cy="246221"/>
              </a:xfrm>
              <a:prstGeom prst="rect">
                <a:avLst/>
              </a:prstGeom>
            </p:spPr>
            <p:txBody>
              <a:bodyPr vert="horz" wrap="square" lIns="45696" tIns="45696" rIns="45696" bIns="45696"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kern="0">
                    <a:solidFill>
                      <a:prstClr val="white"/>
                    </a:solidFill>
                  </a:rPr>
                  <a:t>Azure Files</a:t>
                </a:r>
              </a:p>
            </p:txBody>
          </p:sp>
          <p:pic>
            <p:nvPicPr>
              <p:cNvPr id="194" name="Picture 193"/>
              <p:cNvPicPr>
                <a:picLocks noChangeAspect="1"/>
              </p:cNvPicPr>
              <p:nvPr/>
            </p:nvPicPr>
            <p:blipFill>
              <a:blip r:embed="rId5" cstate="print">
                <a:biLevel thresh="25000"/>
                <a:extLst>
                  <a:ext uri="{28A0092B-C50C-407E-A947-70E740481C1C}">
                    <a14:useLocalDpi xmlns:a14="http://schemas.microsoft.com/office/drawing/2010/main" val="0"/>
                  </a:ext>
                </a:extLst>
              </a:blip>
              <a:stretch>
                <a:fillRect/>
              </a:stretch>
            </p:blipFill>
            <p:spPr>
              <a:xfrm>
                <a:off x="2210957" y="5117983"/>
                <a:ext cx="379125" cy="379125"/>
              </a:xfrm>
              <a:prstGeom prst="rect">
                <a:avLst/>
              </a:prstGeom>
            </p:spPr>
          </p:pic>
        </p:grpSp>
        <p:grpSp>
          <p:nvGrpSpPr>
            <p:cNvPr id="8" name="Group 7"/>
            <p:cNvGrpSpPr/>
            <p:nvPr/>
          </p:nvGrpSpPr>
          <p:grpSpPr>
            <a:xfrm>
              <a:off x="2381742" y="5848778"/>
              <a:ext cx="760737" cy="764184"/>
              <a:chOff x="2016005" y="5730440"/>
              <a:chExt cx="760737" cy="764184"/>
            </a:xfrm>
          </p:grpSpPr>
          <p:sp>
            <p:nvSpPr>
              <p:cNvPr id="189" name="TextBox 188"/>
              <p:cNvSpPr txBox="1"/>
              <p:nvPr/>
            </p:nvSpPr>
            <p:spPr>
              <a:xfrm>
                <a:off x="2016005" y="6094514"/>
                <a:ext cx="760737" cy="400110"/>
              </a:xfrm>
              <a:prstGeom prst="rect">
                <a:avLst/>
              </a:prstGeom>
            </p:spPr>
            <p:txBody>
              <a:bodyPr vert="horz" wrap="square" lIns="45696" tIns="45696" rIns="45696" bIns="45696" rtlCol="0" anchor="ctr">
                <a:noAutofit/>
              </a:bodyPr>
              <a:lstStyle>
                <a:defPPr>
                  <a:defRPr lang="en-US"/>
                </a:defPPr>
                <a:lvl1pPr algn="ctr" defTabSz="1088105">
                  <a:defRPr sz="12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sz="1000" kern="0">
                    <a:solidFill>
                      <a:prstClr val="white"/>
                    </a:solidFill>
                  </a:rPr>
                  <a:t>Stream</a:t>
                </a:r>
                <a:br>
                  <a:rPr lang="en-US" sz="1000" kern="0">
                    <a:solidFill>
                      <a:prstClr val="white"/>
                    </a:solidFill>
                  </a:rPr>
                </a:br>
                <a:r>
                  <a:rPr lang="en-US" sz="1000" kern="0">
                    <a:solidFill>
                      <a:prstClr val="white"/>
                    </a:solidFill>
                  </a:rPr>
                  <a:t>Analytics</a:t>
                </a:r>
              </a:p>
            </p:txBody>
          </p:sp>
          <p:pic>
            <p:nvPicPr>
              <p:cNvPr id="190" name="Picture 189"/>
              <p:cNvPicPr>
                <a:picLocks noChangeAspect="1"/>
              </p:cNvPicPr>
              <p:nvPr/>
            </p:nvPicPr>
            <p:blipFill>
              <a:blip r:embed="rId16" cstate="print">
                <a:biLevel thresh="25000"/>
                <a:extLst>
                  <a:ext uri="{28A0092B-C50C-407E-A947-70E740481C1C}">
                    <a14:useLocalDpi xmlns:a14="http://schemas.microsoft.com/office/drawing/2010/main" val="0"/>
                  </a:ext>
                </a:extLst>
              </a:blip>
              <a:stretch>
                <a:fillRect/>
              </a:stretch>
            </p:blipFill>
            <p:spPr>
              <a:xfrm>
                <a:off x="2142865" y="5730440"/>
                <a:ext cx="507016" cy="507016"/>
              </a:xfrm>
              <a:prstGeom prst="rect">
                <a:avLst/>
              </a:prstGeom>
            </p:spPr>
          </p:pic>
        </p:grpSp>
        <p:grpSp>
          <p:nvGrpSpPr>
            <p:cNvPr id="9" name="Group 8"/>
            <p:cNvGrpSpPr/>
            <p:nvPr/>
          </p:nvGrpSpPr>
          <p:grpSpPr>
            <a:xfrm>
              <a:off x="1554446" y="5861003"/>
              <a:ext cx="553278" cy="778414"/>
              <a:chOff x="1567740" y="5716210"/>
              <a:chExt cx="553278" cy="778414"/>
            </a:xfrm>
          </p:grpSpPr>
          <p:pic>
            <p:nvPicPr>
              <p:cNvPr id="187" name="Picture 186"/>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1649481" y="5716210"/>
                <a:ext cx="389797" cy="389797"/>
              </a:xfrm>
              <a:prstGeom prst="rect">
                <a:avLst/>
              </a:prstGeom>
            </p:spPr>
          </p:pic>
          <p:sp>
            <p:nvSpPr>
              <p:cNvPr id="188" name="TextBox 187"/>
              <p:cNvSpPr txBox="1"/>
              <p:nvPr/>
            </p:nvSpPr>
            <p:spPr>
              <a:xfrm>
                <a:off x="1567740" y="6094514"/>
                <a:ext cx="553278" cy="400110"/>
              </a:xfrm>
              <a:prstGeom prst="rect">
                <a:avLst/>
              </a:prstGeom>
            </p:spPr>
            <p:txBody>
              <a:bodyPr vert="horz" wrap="square" lIns="45696" tIns="45696" rIns="45696" bIns="45696" rtlCol="0" anchor="ctr">
                <a:noAutofit/>
              </a:bodyPr>
              <a:lstStyle>
                <a:defPPr>
                  <a:defRPr lang="en-US"/>
                </a:defPPr>
                <a:lvl1pPr algn="ctr" defTabSz="1088105">
                  <a:defRPr sz="12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sz="1000" kern="0">
                    <a:solidFill>
                      <a:prstClr val="white"/>
                    </a:solidFill>
                  </a:rPr>
                  <a:t>Event</a:t>
                </a:r>
                <a:br>
                  <a:rPr lang="en-US" sz="1000" kern="0">
                    <a:solidFill>
                      <a:prstClr val="white"/>
                    </a:solidFill>
                  </a:rPr>
                </a:br>
                <a:r>
                  <a:rPr lang="en-US" sz="1000" kern="0">
                    <a:solidFill>
                      <a:prstClr val="white"/>
                    </a:solidFill>
                  </a:rPr>
                  <a:t>Hubs</a:t>
                </a:r>
              </a:p>
            </p:txBody>
          </p:sp>
        </p:grpSp>
        <p:sp>
          <p:nvSpPr>
            <p:cNvPr id="120" name="Text Placeholder 5"/>
            <p:cNvSpPr txBox="1">
              <a:spLocks/>
            </p:cNvSpPr>
            <p:nvPr/>
          </p:nvSpPr>
          <p:spPr>
            <a:xfrm>
              <a:off x="2604227" y="4696153"/>
              <a:ext cx="1918000" cy="694017"/>
            </a:xfrm>
            <a:prstGeom prst="rect">
              <a:avLst/>
            </a:prstGeom>
          </p:spPr>
          <p:txBody>
            <a:bodyPr vert="horz" lIns="319874" tIns="53297" rIns="53297" bIns="53297" rtlCol="0">
              <a:noAutofit/>
            </a:bodyPr>
            <a:lstStyle>
              <a:lvl1pPr marL="0" indent="0" algn="l" defTabSz="1088105" rtl="0" eaLnBrk="1" latinLnBrk="0" hangingPunct="1">
                <a:spcBef>
                  <a:spcPts val="1800"/>
                </a:spcBef>
                <a:buClr>
                  <a:srgbClr val="0072C6"/>
                </a:buClr>
                <a:buSzPct val="100000"/>
                <a:buFont typeface="Wingdings" pitchFamily="2" charset="2"/>
                <a:buNone/>
                <a:defRPr sz="2800" kern="1200">
                  <a:solidFill>
                    <a:schemeClr val="tx1"/>
                  </a:solidFill>
                  <a:latin typeface="Segoe UI Light" pitchFamily="34" charset="0"/>
                  <a:ea typeface="Segoe UI" pitchFamily="34" charset="0"/>
                  <a:cs typeface="Segoe UI" pitchFamily="34" charset="0"/>
                </a:defRPr>
              </a:lvl1pPr>
              <a:lvl2pPr marL="281674" indent="0" algn="l" defTabSz="1088105" rtl="0" eaLnBrk="1" latinLnBrk="0" hangingPunct="1">
                <a:spcBef>
                  <a:spcPct val="20000"/>
                </a:spcBef>
                <a:buFont typeface="Arial" pitchFamily="34" charset="0"/>
                <a:buNone/>
                <a:defRPr sz="1800" kern="1200">
                  <a:solidFill>
                    <a:schemeClr val="tx1"/>
                  </a:solidFill>
                  <a:latin typeface="Segoe UI" pitchFamily="34" charset="0"/>
                  <a:ea typeface="Segoe UI" pitchFamily="34" charset="0"/>
                  <a:cs typeface="Segoe UI" pitchFamily="34" charset="0"/>
                </a:defRPr>
              </a:lvl2pPr>
              <a:lvl3pPr marL="588476" indent="0" algn="l" defTabSz="1088105" rtl="0" eaLnBrk="1" latinLnBrk="0" hangingPunct="1">
                <a:spcBef>
                  <a:spcPct val="20000"/>
                </a:spcBef>
                <a:buFont typeface="Arial" pitchFamily="34" charset="0"/>
                <a:buNone/>
                <a:defRPr sz="1600" kern="1200">
                  <a:solidFill>
                    <a:schemeClr val="tx1"/>
                  </a:solidFill>
                  <a:latin typeface="Segoe UI" pitchFamily="34" charset="0"/>
                  <a:ea typeface="Segoe UI" pitchFamily="34" charset="0"/>
                  <a:cs typeface="Segoe UI" pitchFamily="34" charset="0"/>
                </a:defRPr>
              </a:lvl3pPr>
              <a:lvl4pPr marL="87015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4pPr>
              <a:lvl5pPr marL="110554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defTabSz="1087779">
                <a:spcBef>
                  <a:spcPts val="1799"/>
                </a:spcBef>
                <a:defRPr/>
              </a:pPr>
              <a:r>
                <a:rPr lang="en-US" sz="2398" b="1" err="1">
                  <a:solidFill>
                    <a:prstClr val="white"/>
                  </a:solidFill>
                </a:rPr>
                <a:t>IoT</a:t>
              </a:r>
              <a:r>
                <a:rPr lang="en-US" sz="2398" b="1">
                  <a:solidFill>
                    <a:prstClr val="white"/>
                  </a:solidFill>
                </a:rPr>
                <a:t> Suite</a:t>
              </a:r>
            </a:p>
          </p:txBody>
        </p:sp>
        <p:grpSp>
          <p:nvGrpSpPr>
            <p:cNvPr id="7" name="Group 6"/>
            <p:cNvGrpSpPr/>
            <p:nvPr/>
          </p:nvGrpSpPr>
          <p:grpSpPr>
            <a:xfrm>
              <a:off x="3437762" y="5973594"/>
              <a:ext cx="650279" cy="602843"/>
              <a:chOff x="2725254" y="5752742"/>
              <a:chExt cx="650279" cy="602843"/>
            </a:xfrm>
          </p:grpSpPr>
          <p:pic>
            <p:nvPicPr>
              <p:cNvPr id="150" name="Picture 149"/>
              <p:cNvPicPr>
                <a:picLocks noChangeAspect="1"/>
              </p:cNvPicPr>
              <p:nvPr/>
            </p:nvPicPr>
            <p:blipFill>
              <a:blip r:embed="rId6" cstate="print">
                <a:biLevel thresh="25000"/>
                <a:extLst>
                  <a:ext uri="{28A0092B-C50C-407E-A947-70E740481C1C}">
                    <a14:useLocalDpi xmlns:a14="http://schemas.microsoft.com/office/drawing/2010/main" val="0"/>
                  </a:ext>
                </a:extLst>
              </a:blip>
              <a:stretch>
                <a:fillRect/>
              </a:stretch>
            </p:blipFill>
            <p:spPr>
              <a:xfrm>
                <a:off x="2844030" y="5752742"/>
                <a:ext cx="413553" cy="413553"/>
              </a:xfrm>
              <a:prstGeom prst="rect">
                <a:avLst/>
              </a:prstGeom>
            </p:spPr>
          </p:pic>
          <p:sp>
            <p:nvSpPr>
              <p:cNvPr id="152" name="TextBox 151"/>
              <p:cNvSpPr txBox="1"/>
              <p:nvPr/>
            </p:nvSpPr>
            <p:spPr>
              <a:xfrm>
                <a:off x="2725254" y="6099890"/>
                <a:ext cx="650279" cy="255695"/>
              </a:xfrm>
              <a:prstGeom prst="rect">
                <a:avLst/>
              </a:prstGeom>
            </p:spPr>
            <p:txBody>
              <a:bodyPr vert="horz" wrap="none" lIns="45696" tIns="45696" rIns="45696" bIns="45696" rtlCol="0" anchor="ctr">
                <a:spAutoFit/>
              </a:bodyPr>
              <a:lstStyle>
                <a:defPPr>
                  <a:defRPr lang="en-US"/>
                </a:defPPr>
                <a:lvl1pPr algn="ctr" defTabSz="1088105">
                  <a:defRPr sz="12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sz="1000" kern="0" err="1">
                    <a:solidFill>
                      <a:prstClr val="white"/>
                    </a:solidFill>
                  </a:rPr>
                  <a:t>HDStorm</a:t>
                </a:r>
                <a:endParaRPr lang="en-US" sz="1000" kern="0">
                  <a:solidFill>
                    <a:prstClr val="white"/>
                  </a:solidFill>
                </a:endParaRPr>
              </a:p>
            </p:txBody>
          </p:sp>
        </p:grpSp>
      </p:grpSp>
      <p:sp>
        <p:nvSpPr>
          <p:cNvPr id="202" name="Oval 209"/>
          <p:cNvSpPr/>
          <p:nvPr/>
        </p:nvSpPr>
        <p:spPr bwMode="auto">
          <a:xfrm>
            <a:off x="5028601" y="802357"/>
            <a:ext cx="3478524" cy="1843012"/>
          </a:xfrm>
          <a:custGeom>
            <a:avLst/>
            <a:gdLst/>
            <a:ahLst/>
            <a:cxnLst/>
            <a:rect l="l" t="t" r="r" b="b"/>
            <a:pathLst>
              <a:path w="8803468" h="5170759">
                <a:moveTo>
                  <a:pt x="4909183" y="0"/>
                </a:moveTo>
                <a:cubicBezTo>
                  <a:pt x="6195616" y="0"/>
                  <a:pt x="7238475" y="1021136"/>
                  <a:pt x="7238475" y="2280772"/>
                </a:cubicBezTo>
                <a:cubicBezTo>
                  <a:pt x="7238475" y="2369141"/>
                  <a:pt x="7233343" y="2456337"/>
                  <a:pt x="7222091" y="2541933"/>
                </a:cubicBezTo>
                <a:cubicBezTo>
                  <a:pt x="7294788" y="2525239"/>
                  <a:pt x="7370149" y="2518684"/>
                  <a:pt x="7447004" y="2518684"/>
                </a:cubicBezTo>
                <a:cubicBezTo>
                  <a:pt x="8196160" y="2518684"/>
                  <a:pt x="8803468" y="3141396"/>
                  <a:pt x="8803468" y="3909552"/>
                </a:cubicBezTo>
                <a:cubicBezTo>
                  <a:pt x="8803468" y="4469014"/>
                  <a:pt x="8481324" y="4951325"/>
                  <a:pt x="8016221" y="5170759"/>
                </a:cubicBezTo>
                <a:lnTo>
                  <a:pt x="895411" y="5170759"/>
                </a:lnTo>
                <a:cubicBezTo>
                  <a:pt x="372663" y="4963354"/>
                  <a:pt x="0" y="4399621"/>
                  <a:pt x="0" y="3737717"/>
                </a:cubicBezTo>
                <a:cubicBezTo>
                  <a:pt x="0" y="2972099"/>
                  <a:pt x="498598" y="2337829"/>
                  <a:pt x="1150481" y="2231184"/>
                </a:cubicBezTo>
                <a:cubicBezTo>
                  <a:pt x="1172083" y="1693806"/>
                  <a:pt x="1604866" y="1266237"/>
                  <a:pt x="2135045" y="1266237"/>
                </a:cubicBezTo>
                <a:cubicBezTo>
                  <a:pt x="2360210" y="1266237"/>
                  <a:pt x="2567805" y="1343357"/>
                  <a:pt x="2731785" y="1476336"/>
                </a:cubicBezTo>
                <a:cubicBezTo>
                  <a:pt x="3061724" y="613163"/>
                  <a:pt x="3912322" y="0"/>
                  <a:pt x="4909183" y="0"/>
                </a:cubicBezTo>
                <a:close/>
              </a:path>
            </a:pathLst>
          </a:cu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45696" tIns="45696" rIns="45696" bIns="45696" numCol="1" spcCol="0" rtlCol="0" fromWordArt="0" anchor="b" anchorCtr="0" forceAA="0" compatLnSpc="1">
            <a:prstTxWarp prst="textNoShape">
              <a:avLst/>
            </a:prstTxWarp>
            <a:noAutofit/>
          </a:bodyPr>
          <a:lstStyle/>
          <a:p>
            <a:pPr algn="ctr" defTabSz="850354">
              <a:defRPr/>
            </a:pPr>
            <a:endParaRPr lang="en-US" sz="1200" kern="0">
              <a:solidFill>
                <a:srgbClr val="FFFFFF"/>
              </a:solidFill>
              <a:latin typeface="Segoe UI Semibold" panose="020B0702040204020203" pitchFamily="34" charset="0"/>
              <a:cs typeface="Segoe UI Semibold" panose="020B0702040204020203" pitchFamily="34" charset="0"/>
            </a:endParaRPr>
          </a:p>
        </p:txBody>
      </p:sp>
      <p:grpSp>
        <p:nvGrpSpPr>
          <p:cNvPr id="15" name="Group 14"/>
          <p:cNvGrpSpPr/>
          <p:nvPr/>
        </p:nvGrpSpPr>
        <p:grpSpPr>
          <a:xfrm>
            <a:off x="5404943" y="1348468"/>
            <a:ext cx="913924" cy="580927"/>
            <a:chOff x="7291398" y="2319435"/>
            <a:chExt cx="914400" cy="581229"/>
          </a:xfrm>
        </p:grpSpPr>
        <p:pic>
          <p:nvPicPr>
            <p:cNvPr id="203" name="Picture 202"/>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7571143" y="2319435"/>
              <a:ext cx="354910" cy="354910"/>
            </a:xfrm>
            <a:prstGeom prst="rect">
              <a:avLst/>
            </a:prstGeom>
          </p:spPr>
        </p:pic>
        <p:sp>
          <p:nvSpPr>
            <p:cNvPr id="204" name="TextBox 203"/>
            <p:cNvSpPr txBox="1"/>
            <p:nvPr/>
          </p:nvSpPr>
          <p:spPr>
            <a:xfrm>
              <a:off x="7291398" y="2654443"/>
              <a:ext cx="914400" cy="246221"/>
            </a:xfrm>
            <a:prstGeom prst="rect">
              <a:avLst/>
            </a:prstGeom>
          </p:spPr>
          <p:txBody>
            <a:bodyPr vert="horz" wrap="square" lIns="45696" tIns="45696" rIns="45696" bIns="45696"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kern="0">
                  <a:solidFill>
                    <a:prstClr val="white"/>
                  </a:solidFill>
                </a:rPr>
                <a:t>Web App</a:t>
              </a:r>
            </a:p>
          </p:txBody>
        </p:sp>
      </p:grpSp>
      <p:grpSp>
        <p:nvGrpSpPr>
          <p:cNvPr id="16" name="Group 15"/>
          <p:cNvGrpSpPr/>
          <p:nvPr/>
        </p:nvGrpSpPr>
        <p:grpSpPr>
          <a:xfrm>
            <a:off x="6034545" y="1933711"/>
            <a:ext cx="779415" cy="645290"/>
            <a:chOff x="5954177" y="2281671"/>
            <a:chExt cx="779821" cy="645626"/>
          </a:xfrm>
        </p:grpSpPr>
        <p:pic>
          <p:nvPicPr>
            <p:cNvPr id="205" name="Picture 204"/>
            <p:cNvPicPr>
              <a:picLocks noChangeAspect="1"/>
            </p:cNvPicPr>
            <p:nvPr/>
          </p:nvPicPr>
          <p:blipFill>
            <a:blip r:embed="rId19" cstate="print">
              <a:biLevel thresh="25000"/>
              <a:extLst>
                <a:ext uri="{28A0092B-C50C-407E-A947-70E740481C1C}">
                  <a14:useLocalDpi xmlns:a14="http://schemas.microsoft.com/office/drawing/2010/main" val="0"/>
                </a:ext>
              </a:extLst>
            </a:blip>
            <a:stretch>
              <a:fillRect/>
            </a:stretch>
          </p:blipFill>
          <p:spPr>
            <a:xfrm flipH="1">
              <a:off x="6169561" y="2281671"/>
              <a:ext cx="349052" cy="349052"/>
            </a:xfrm>
            <a:prstGeom prst="rect">
              <a:avLst/>
            </a:prstGeom>
          </p:spPr>
        </p:pic>
        <p:sp>
          <p:nvSpPr>
            <p:cNvPr id="207" name="TextBox 206"/>
            <p:cNvSpPr txBox="1"/>
            <p:nvPr/>
          </p:nvSpPr>
          <p:spPr>
            <a:xfrm>
              <a:off x="5954177" y="2681076"/>
              <a:ext cx="779821" cy="246221"/>
            </a:xfrm>
            <a:prstGeom prst="rect">
              <a:avLst/>
            </a:prstGeom>
          </p:spPr>
          <p:txBody>
            <a:bodyPr vert="horz" wrap="square" lIns="45696" tIns="45696" rIns="45696" bIns="45696" rtlCol="0" anchor="ctr">
              <a:noAutofit/>
            </a:bodyPr>
            <a:lstStyle/>
            <a:p>
              <a:pPr algn="ctr" defTabSz="1087779">
                <a:defRPr/>
              </a:pPr>
              <a:r>
                <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rPr>
                <a:t>Mobile App</a:t>
              </a:r>
            </a:p>
          </p:txBody>
        </p:sp>
      </p:grpSp>
      <p:grpSp>
        <p:nvGrpSpPr>
          <p:cNvPr id="17" name="Group 16"/>
          <p:cNvGrpSpPr/>
          <p:nvPr/>
        </p:nvGrpSpPr>
        <p:grpSpPr>
          <a:xfrm>
            <a:off x="6779717" y="1976811"/>
            <a:ext cx="913924" cy="694330"/>
            <a:chOff x="5498329" y="1378112"/>
            <a:chExt cx="914400" cy="694692"/>
          </a:xfrm>
        </p:grpSpPr>
        <p:sp>
          <p:nvSpPr>
            <p:cNvPr id="206" name="TextBox 205"/>
            <p:cNvSpPr txBox="1"/>
            <p:nvPr/>
          </p:nvSpPr>
          <p:spPr>
            <a:xfrm>
              <a:off x="5498329" y="1672694"/>
              <a:ext cx="914400" cy="400110"/>
            </a:xfrm>
            <a:prstGeom prst="rect">
              <a:avLst/>
            </a:prstGeom>
          </p:spPr>
          <p:txBody>
            <a:bodyPr vert="horz" wrap="square" lIns="45696" tIns="45696" rIns="45696" bIns="45696"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kern="0" dirty="0">
                  <a:solidFill>
                    <a:prstClr val="white"/>
                  </a:solidFill>
                </a:rPr>
                <a:t>Application</a:t>
              </a:r>
              <a:br>
                <a:rPr lang="en-US" kern="0" dirty="0">
                  <a:solidFill>
                    <a:prstClr val="white"/>
                  </a:solidFill>
                </a:rPr>
              </a:br>
              <a:r>
                <a:rPr lang="en-US" kern="0" dirty="0">
                  <a:solidFill>
                    <a:prstClr val="white"/>
                  </a:solidFill>
                </a:rPr>
                <a:t>Service</a:t>
              </a:r>
            </a:p>
          </p:txBody>
        </p:sp>
        <p:pic>
          <p:nvPicPr>
            <p:cNvPr id="208" name="Picture 207"/>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5799878" y="1378112"/>
              <a:ext cx="311303" cy="311303"/>
            </a:xfrm>
            <a:prstGeom prst="rect">
              <a:avLst/>
            </a:prstGeom>
          </p:spPr>
        </p:pic>
      </p:grpSp>
      <p:grpSp>
        <p:nvGrpSpPr>
          <p:cNvPr id="18" name="Group 17"/>
          <p:cNvGrpSpPr/>
          <p:nvPr/>
        </p:nvGrpSpPr>
        <p:grpSpPr>
          <a:xfrm>
            <a:off x="7063665" y="1161895"/>
            <a:ext cx="711577" cy="522029"/>
            <a:chOff x="5578388" y="1944880"/>
            <a:chExt cx="711947" cy="522301"/>
          </a:xfrm>
        </p:grpSpPr>
        <p:sp>
          <p:nvSpPr>
            <p:cNvPr id="209" name="TextBox 208"/>
            <p:cNvSpPr txBox="1"/>
            <p:nvPr/>
          </p:nvSpPr>
          <p:spPr>
            <a:xfrm>
              <a:off x="5578388" y="2261538"/>
              <a:ext cx="711947" cy="205643"/>
            </a:xfrm>
            <a:prstGeom prst="rect">
              <a:avLst/>
            </a:prstGeom>
          </p:spPr>
          <p:txBody>
            <a:bodyPr vert="horz" wrap="square" lIns="45696" tIns="45696" rIns="45696" bIns="45696"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kern="0">
                  <a:solidFill>
                    <a:prstClr val="white"/>
                  </a:solidFill>
                </a:rPr>
                <a:t>Skype</a:t>
              </a:r>
            </a:p>
          </p:txBody>
        </p:sp>
        <p:pic>
          <p:nvPicPr>
            <p:cNvPr id="210" name="Picture 209"/>
            <p:cNvPicPr>
              <a:picLocks noChangeAspect="1"/>
            </p:cNvPicPr>
            <p:nvPr/>
          </p:nvPicPr>
          <p:blipFill>
            <a:blip r:embed="rId21">
              <a:biLevel thresh="25000"/>
            </a:blip>
            <a:stretch>
              <a:fillRect/>
            </a:stretch>
          </p:blipFill>
          <p:spPr>
            <a:xfrm>
              <a:off x="5699672" y="1944880"/>
              <a:ext cx="464928" cy="347143"/>
            </a:xfrm>
            <a:prstGeom prst="rect">
              <a:avLst/>
            </a:prstGeom>
          </p:spPr>
        </p:pic>
      </p:grpSp>
      <p:grpSp>
        <p:nvGrpSpPr>
          <p:cNvPr id="256" name="Group 255"/>
          <p:cNvGrpSpPr>
            <a:grpSpLocks noChangeAspect="1"/>
          </p:cNvGrpSpPr>
          <p:nvPr/>
        </p:nvGrpSpPr>
        <p:grpSpPr bwMode="black">
          <a:xfrm>
            <a:off x="4783768" y="1548173"/>
            <a:ext cx="621175" cy="469555"/>
            <a:chOff x="5152725" y="4450433"/>
            <a:chExt cx="311284" cy="235370"/>
          </a:xfrm>
          <a:solidFill>
            <a:srgbClr val="5E83BD"/>
          </a:solidFill>
        </p:grpSpPr>
        <p:sp>
          <p:nvSpPr>
            <p:cNvPr id="258" name="Freeform 168"/>
            <p:cNvSpPr>
              <a:spLocks noEditPoints="1"/>
            </p:cNvSpPr>
            <p:nvPr/>
          </p:nvSpPr>
          <p:spPr bwMode="black">
            <a:xfrm>
              <a:off x="5152725" y="4450433"/>
              <a:ext cx="212585" cy="199299"/>
            </a:xfrm>
            <a:custGeom>
              <a:avLst/>
              <a:gdLst/>
              <a:ahLst/>
              <a:cxnLst>
                <a:cxn ang="0">
                  <a:pos x="215" y="24"/>
                </a:cxn>
                <a:cxn ang="0">
                  <a:pos x="127" y="0"/>
                </a:cxn>
                <a:cxn ang="0">
                  <a:pos x="39" y="24"/>
                </a:cxn>
                <a:cxn ang="0">
                  <a:pos x="0" y="89"/>
                </a:cxn>
                <a:cxn ang="0">
                  <a:pos x="42" y="155"/>
                </a:cxn>
                <a:cxn ang="0">
                  <a:pos x="34" y="197"/>
                </a:cxn>
                <a:cxn ang="0">
                  <a:pos x="27" y="231"/>
                </a:cxn>
                <a:cxn ang="0">
                  <a:pos x="25" y="240"/>
                </a:cxn>
                <a:cxn ang="0">
                  <a:pos x="31" y="233"/>
                </a:cxn>
                <a:cxn ang="0">
                  <a:pos x="55" y="207"/>
                </a:cxn>
                <a:cxn ang="0">
                  <a:pos x="87" y="173"/>
                </a:cxn>
                <a:cxn ang="0">
                  <a:pos x="127" y="178"/>
                </a:cxn>
                <a:cxn ang="0">
                  <a:pos x="215" y="153"/>
                </a:cxn>
                <a:cxn ang="0">
                  <a:pos x="255" y="89"/>
                </a:cxn>
                <a:cxn ang="0">
                  <a:pos x="215" y="24"/>
                </a:cxn>
                <a:cxn ang="0">
                  <a:pos x="59" y="149"/>
                </a:cxn>
                <a:cxn ang="0">
                  <a:pos x="59" y="147"/>
                </a:cxn>
                <a:cxn ang="0">
                  <a:pos x="57" y="147"/>
                </a:cxn>
                <a:cxn ang="0">
                  <a:pos x="15" y="89"/>
                </a:cxn>
                <a:cxn ang="0">
                  <a:pos x="127" y="15"/>
                </a:cxn>
                <a:cxn ang="0">
                  <a:pos x="240" y="89"/>
                </a:cxn>
                <a:cxn ang="0">
                  <a:pos x="127" y="163"/>
                </a:cxn>
                <a:cxn ang="0">
                  <a:pos x="83" y="157"/>
                </a:cxn>
                <a:cxn ang="0">
                  <a:pos x="82" y="156"/>
                </a:cxn>
                <a:cxn ang="0">
                  <a:pos x="81" y="158"/>
                </a:cxn>
                <a:cxn ang="0">
                  <a:pos x="50" y="191"/>
                </a:cxn>
                <a:cxn ang="0">
                  <a:pos x="59" y="149"/>
                </a:cxn>
              </a:cxnLst>
              <a:rect l="0" t="0" r="r" b="b"/>
              <a:pathLst>
                <a:path w="255" h="240">
                  <a:moveTo>
                    <a:pt x="215" y="24"/>
                  </a:moveTo>
                  <a:cubicBezTo>
                    <a:pt x="192" y="8"/>
                    <a:pt x="160" y="0"/>
                    <a:pt x="127" y="0"/>
                  </a:cubicBezTo>
                  <a:cubicBezTo>
                    <a:pt x="94" y="0"/>
                    <a:pt x="63" y="8"/>
                    <a:pt x="39" y="24"/>
                  </a:cubicBezTo>
                  <a:cubicBezTo>
                    <a:pt x="14" y="41"/>
                    <a:pt x="0" y="64"/>
                    <a:pt x="0" y="89"/>
                  </a:cubicBezTo>
                  <a:cubicBezTo>
                    <a:pt x="0" y="114"/>
                    <a:pt x="15" y="138"/>
                    <a:pt x="42" y="155"/>
                  </a:cubicBezTo>
                  <a:cubicBezTo>
                    <a:pt x="34" y="197"/>
                    <a:pt x="34" y="197"/>
                    <a:pt x="34" y="197"/>
                  </a:cubicBezTo>
                  <a:cubicBezTo>
                    <a:pt x="27" y="231"/>
                    <a:pt x="27" y="231"/>
                    <a:pt x="27" y="231"/>
                  </a:cubicBezTo>
                  <a:cubicBezTo>
                    <a:pt x="25" y="240"/>
                    <a:pt x="25" y="240"/>
                    <a:pt x="25" y="240"/>
                  </a:cubicBezTo>
                  <a:cubicBezTo>
                    <a:pt x="31" y="233"/>
                    <a:pt x="31" y="233"/>
                    <a:pt x="31" y="233"/>
                  </a:cubicBezTo>
                  <a:cubicBezTo>
                    <a:pt x="55" y="207"/>
                    <a:pt x="55" y="207"/>
                    <a:pt x="55" y="207"/>
                  </a:cubicBezTo>
                  <a:cubicBezTo>
                    <a:pt x="87" y="173"/>
                    <a:pt x="87" y="173"/>
                    <a:pt x="87" y="173"/>
                  </a:cubicBezTo>
                  <a:cubicBezTo>
                    <a:pt x="100" y="176"/>
                    <a:pt x="113" y="178"/>
                    <a:pt x="127" y="178"/>
                  </a:cubicBezTo>
                  <a:cubicBezTo>
                    <a:pt x="160" y="178"/>
                    <a:pt x="192" y="169"/>
                    <a:pt x="215" y="153"/>
                  </a:cubicBezTo>
                  <a:cubicBezTo>
                    <a:pt x="241" y="136"/>
                    <a:pt x="255" y="113"/>
                    <a:pt x="255" y="89"/>
                  </a:cubicBezTo>
                  <a:cubicBezTo>
                    <a:pt x="255" y="64"/>
                    <a:pt x="241" y="41"/>
                    <a:pt x="215" y="24"/>
                  </a:cubicBezTo>
                  <a:close/>
                  <a:moveTo>
                    <a:pt x="59" y="149"/>
                  </a:moveTo>
                  <a:cubicBezTo>
                    <a:pt x="59" y="147"/>
                    <a:pt x="59" y="147"/>
                    <a:pt x="59" y="147"/>
                  </a:cubicBezTo>
                  <a:cubicBezTo>
                    <a:pt x="57" y="147"/>
                    <a:pt x="57" y="147"/>
                    <a:pt x="57" y="147"/>
                  </a:cubicBezTo>
                  <a:cubicBezTo>
                    <a:pt x="30" y="132"/>
                    <a:pt x="15" y="111"/>
                    <a:pt x="15" y="89"/>
                  </a:cubicBezTo>
                  <a:cubicBezTo>
                    <a:pt x="15" y="48"/>
                    <a:pt x="65" y="15"/>
                    <a:pt x="127" y="15"/>
                  </a:cubicBezTo>
                  <a:cubicBezTo>
                    <a:pt x="189" y="15"/>
                    <a:pt x="240" y="48"/>
                    <a:pt x="240" y="89"/>
                  </a:cubicBezTo>
                  <a:cubicBezTo>
                    <a:pt x="240" y="129"/>
                    <a:pt x="189" y="163"/>
                    <a:pt x="127" y="163"/>
                  </a:cubicBezTo>
                  <a:cubicBezTo>
                    <a:pt x="112" y="163"/>
                    <a:pt x="97" y="161"/>
                    <a:pt x="83" y="157"/>
                  </a:cubicBezTo>
                  <a:cubicBezTo>
                    <a:pt x="82" y="156"/>
                    <a:pt x="82" y="156"/>
                    <a:pt x="82" y="156"/>
                  </a:cubicBezTo>
                  <a:cubicBezTo>
                    <a:pt x="81" y="158"/>
                    <a:pt x="81" y="158"/>
                    <a:pt x="81" y="158"/>
                  </a:cubicBezTo>
                  <a:cubicBezTo>
                    <a:pt x="50" y="191"/>
                    <a:pt x="50" y="191"/>
                    <a:pt x="50" y="191"/>
                  </a:cubicBezTo>
                  <a:lnTo>
                    <a:pt x="59" y="149"/>
                  </a:lnTo>
                  <a:close/>
                </a:path>
              </a:pathLst>
            </a:custGeom>
            <a:solidFill>
              <a:srgbClr val="5E83BD"/>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88" tIns="45694" rIns="91388" bIns="45694" numCol="1" rtlCol="0" anchor="ctr" anchorCtr="0" compatLnSpc="1">
              <a:prstTxWarp prst="textNoShape">
                <a:avLst/>
              </a:prstTxWarp>
            </a:bodyPr>
            <a:lstStyle/>
            <a:p>
              <a:pPr defTabSz="740296">
                <a:defRPr/>
              </a:pPr>
              <a:endParaRPr lang="en-US" sz="1798" kern="0" spc="-122">
                <a:solidFill>
                  <a:srgbClr val="FFFFFF">
                    <a:lumMod val="50000"/>
                  </a:srgbClr>
                </a:solidFill>
                <a:latin typeface="Segoe Light" pitchFamily="34" charset="0"/>
              </a:endParaRPr>
            </a:p>
          </p:txBody>
        </p:sp>
        <p:sp>
          <p:nvSpPr>
            <p:cNvPr id="259" name="Freeform 169"/>
            <p:cNvSpPr>
              <a:spLocks/>
            </p:cNvSpPr>
            <p:nvPr/>
          </p:nvSpPr>
          <p:spPr bwMode="black">
            <a:xfrm>
              <a:off x="5295080" y="4518772"/>
              <a:ext cx="168929" cy="167031"/>
            </a:xfrm>
            <a:custGeom>
              <a:avLst/>
              <a:gdLst/>
              <a:ahLst/>
              <a:cxnLst>
                <a:cxn ang="0">
                  <a:pos x="203" y="74"/>
                </a:cxn>
                <a:cxn ang="0">
                  <a:pos x="170" y="20"/>
                </a:cxn>
                <a:cxn ang="0">
                  <a:pos x="98" y="0"/>
                </a:cxn>
                <a:cxn ang="0">
                  <a:pos x="95" y="0"/>
                </a:cxn>
                <a:cxn ang="0">
                  <a:pos x="95" y="3"/>
                </a:cxn>
                <a:cxn ang="0">
                  <a:pos x="96" y="11"/>
                </a:cxn>
                <a:cxn ang="0">
                  <a:pos x="96" y="13"/>
                </a:cxn>
                <a:cxn ang="0">
                  <a:pos x="99" y="13"/>
                </a:cxn>
                <a:cxn ang="0">
                  <a:pos x="190" y="74"/>
                </a:cxn>
                <a:cxn ang="0">
                  <a:pos x="155" y="121"/>
                </a:cxn>
                <a:cxn ang="0">
                  <a:pos x="153" y="122"/>
                </a:cxn>
                <a:cxn ang="0">
                  <a:pos x="153" y="124"/>
                </a:cxn>
                <a:cxn ang="0">
                  <a:pos x="160" y="157"/>
                </a:cxn>
                <a:cxn ang="0">
                  <a:pos x="136" y="130"/>
                </a:cxn>
                <a:cxn ang="0">
                  <a:pos x="134" y="129"/>
                </a:cxn>
                <a:cxn ang="0">
                  <a:pos x="133" y="130"/>
                </a:cxn>
                <a:cxn ang="0">
                  <a:pos x="97" y="134"/>
                </a:cxn>
                <a:cxn ang="0">
                  <a:pos x="15" y="102"/>
                </a:cxn>
                <a:cxn ang="0">
                  <a:pos x="14" y="100"/>
                </a:cxn>
                <a:cxn ang="0">
                  <a:pos x="12" y="101"/>
                </a:cxn>
                <a:cxn ang="0">
                  <a:pos x="4" y="103"/>
                </a:cxn>
                <a:cxn ang="0">
                  <a:pos x="0" y="104"/>
                </a:cxn>
                <a:cxn ang="0">
                  <a:pos x="2" y="107"/>
                </a:cxn>
                <a:cxn ang="0">
                  <a:pos x="24" y="127"/>
                </a:cxn>
                <a:cxn ang="0">
                  <a:pos x="97" y="148"/>
                </a:cxn>
                <a:cxn ang="0">
                  <a:pos x="130" y="144"/>
                </a:cxn>
                <a:cxn ang="0">
                  <a:pos x="156" y="172"/>
                </a:cxn>
                <a:cxn ang="0">
                  <a:pos x="176" y="194"/>
                </a:cxn>
                <a:cxn ang="0">
                  <a:pos x="182" y="200"/>
                </a:cxn>
                <a:cxn ang="0">
                  <a:pos x="180" y="192"/>
                </a:cxn>
                <a:cxn ang="0">
                  <a:pos x="175" y="163"/>
                </a:cxn>
                <a:cxn ang="0">
                  <a:pos x="168" y="129"/>
                </a:cxn>
                <a:cxn ang="0">
                  <a:pos x="203" y="74"/>
                </a:cxn>
              </a:cxnLst>
              <a:rect l="0" t="0" r="r" b="b"/>
              <a:pathLst>
                <a:path w="203" h="200">
                  <a:moveTo>
                    <a:pt x="203" y="74"/>
                  </a:moveTo>
                  <a:cubicBezTo>
                    <a:pt x="203" y="53"/>
                    <a:pt x="191" y="34"/>
                    <a:pt x="170" y="20"/>
                  </a:cubicBezTo>
                  <a:cubicBezTo>
                    <a:pt x="151" y="7"/>
                    <a:pt x="125" y="0"/>
                    <a:pt x="98" y="0"/>
                  </a:cubicBezTo>
                  <a:cubicBezTo>
                    <a:pt x="95" y="0"/>
                    <a:pt x="95" y="0"/>
                    <a:pt x="95" y="0"/>
                  </a:cubicBezTo>
                  <a:cubicBezTo>
                    <a:pt x="95" y="3"/>
                    <a:pt x="95" y="3"/>
                    <a:pt x="95" y="3"/>
                  </a:cubicBezTo>
                  <a:cubicBezTo>
                    <a:pt x="96" y="5"/>
                    <a:pt x="96" y="8"/>
                    <a:pt x="96" y="11"/>
                  </a:cubicBezTo>
                  <a:cubicBezTo>
                    <a:pt x="96" y="13"/>
                    <a:pt x="96" y="13"/>
                    <a:pt x="96" y="13"/>
                  </a:cubicBezTo>
                  <a:cubicBezTo>
                    <a:pt x="99" y="13"/>
                    <a:pt x="99" y="13"/>
                    <a:pt x="99" y="13"/>
                  </a:cubicBezTo>
                  <a:cubicBezTo>
                    <a:pt x="149" y="14"/>
                    <a:pt x="190" y="41"/>
                    <a:pt x="190" y="74"/>
                  </a:cubicBezTo>
                  <a:cubicBezTo>
                    <a:pt x="190" y="92"/>
                    <a:pt x="177" y="110"/>
                    <a:pt x="155" y="121"/>
                  </a:cubicBezTo>
                  <a:cubicBezTo>
                    <a:pt x="153" y="122"/>
                    <a:pt x="153" y="122"/>
                    <a:pt x="153" y="122"/>
                  </a:cubicBezTo>
                  <a:cubicBezTo>
                    <a:pt x="153" y="124"/>
                    <a:pt x="153" y="124"/>
                    <a:pt x="153" y="124"/>
                  </a:cubicBezTo>
                  <a:cubicBezTo>
                    <a:pt x="160" y="157"/>
                    <a:pt x="160" y="157"/>
                    <a:pt x="160" y="157"/>
                  </a:cubicBezTo>
                  <a:cubicBezTo>
                    <a:pt x="136" y="130"/>
                    <a:pt x="136" y="130"/>
                    <a:pt x="136" y="130"/>
                  </a:cubicBezTo>
                  <a:cubicBezTo>
                    <a:pt x="134" y="129"/>
                    <a:pt x="134" y="129"/>
                    <a:pt x="134" y="129"/>
                  </a:cubicBezTo>
                  <a:cubicBezTo>
                    <a:pt x="133" y="130"/>
                    <a:pt x="133" y="130"/>
                    <a:pt x="133" y="130"/>
                  </a:cubicBezTo>
                  <a:cubicBezTo>
                    <a:pt x="122" y="133"/>
                    <a:pt x="109" y="134"/>
                    <a:pt x="97" y="134"/>
                  </a:cubicBezTo>
                  <a:cubicBezTo>
                    <a:pt x="62" y="134"/>
                    <a:pt x="31" y="122"/>
                    <a:pt x="15" y="102"/>
                  </a:cubicBezTo>
                  <a:cubicBezTo>
                    <a:pt x="14" y="100"/>
                    <a:pt x="14" y="100"/>
                    <a:pt x="14" y="100"/>
                  </a:cubicBezTo>
                  <a:cubicBezTo>
                    <a:pt x="12" y="101"/>
                    <a:pt x="12" y="101"/>
                    <a:pt x="12" y="101"/>
                  </a:cubicBezTo>
                  <a:cubicBezTo>
                    <a:pt x="10" y="102"/>
                    <a:pt x="7" y="102"/>
                    <a:pt x="4" y="103"/>
                  </a:cubicBezTo>
                  <a:cubicBezTo>
                    <a:pt x="0" y="104"/>
                    <a:pt x="0" y="104"/>
                    <a:pt x="0" y="104"/>
                  </a:cubicBezTo>
                  <a:cubicBezTo>
                    <a:pt x="2" y="107"/>
                    <a:pt x="2" y="107"/>
                    <a:pt x="2" y="107"/>
                  </a:cubicBezTo>
                  <a:cubicBezTo>
                    <a:pt x="8" y="115"/>
                    <a:pt x="15" y="121"/>
                    <a:pt x="24" y="127"/>
                  </a:cubicBezTo>
                  <a:cubicBezTo>
                    <a:pt x="44" y="141"/>
                    <a:pt x="70" y="148"/>
                    <a:pt x="97" y="148"/>
                  </a:cubicBezTo>
                  <a:cubicBezTo>
                    <a:pt x="108" y="148"/>
                    <a:pt x="119" y="147"/>
                    <a:pt x="130" y="144"/>
                  </a:cubicBezTo>
                  <a:cubicBezTo>
                    <a:pt x="156" y="172"/>
                    <a:pt x="156" y="172"/>
                    <a:pt x="156" y="172"/>
                  </a:cubicBezTo>
                  <a:cubicBezTo>
                    <a:pt x="176" y="194"/>
                    <a:pt x="176" y="194"/>
                    <a:pt x="176" y="194"/>
                  </a:cubicBezTo>
                  <a:cubicBezTo>
                    <a:pt x="182" y="200"/>
                    <a:pt x="182" y="200"/>
                    <a:pt x="182" y="200"/>
                  </a:cubicBezTo>
                  <a:cubicBezTo>
                    <a:pt x="180" y="192"/>
                    <a:pt x="180" y="192"/>
                    <a:pt x="180" y="192"/>
                  </a:cubicBezTo>
                  <a:cubicBezTo>
                    <a:pt x="175" y="163"/>
                    <a:pt x="175" y="163"/>
                    <a:pt x="175" y="163"/>
                  </a:cubicBezTo>
                  <a:cubicBezTo>
                    <a:pt x="168" y="129"/>
                    <a:pt x="168" y="129"/>
                    <a:pt x="168" y="129"/>
                  </a:cubicBezTo>
                  <a:cubicBezTo>
                    <a:pt x="190" y="115"/>
                    <a:pt x="203" y="95"/>
                    <a:pt x="203" y="74"/>
                  </a:cubicBezTo>
                  <a:close/>
                </a:path>
              </a:pathLst>
            </a:custGeom>
            <a:solidFill>
              <a:schemeClr val="bg1"/>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388" tIns="45694" rIns="91388" bIns="45694" numCol="1" rtlCol="0" anchor="ctr" anchorCtr="0" compatLnSpc="1">
              <a:prstTxWarp prst="textNoShape">
                <a:avLst/>
              </a:prstTxWarp>
            </a:bodyPr>
            <a:lstStyle/>
            <a:p>
              <a:pPr defTabSz="740296">
                <a:defRPr/>
              </a:pPr>
              <a:endParaRPr lang="en-US" sz="1798" kern="0" spc="-122">
                <a:solidFill>
                  <a:srgbClr val="FFFFFF">
                    <a:lumMod val="50000"/>
                  </a:srgbClr>
                </a:solidFill>
                <a:latin typeface="Segoe Light" pitchFamily="34" charset="0"/>
              </a:endParaRPr>
            </a:p>
          </p:txBody>
        </p:sp>
      </p:grpSp>
      <p:sp>
        <p:nvSpPr>
          <p:cNvPr id="257" name="TextBox 256"/>
          <p:cNvSpPr txBox="1"/>
          <p:nvPr/>
        </p:nvSpPr>
        <p:spPr>
          <a:xfrm>
            <a:off x="5210215" y="2213567"/>
            <a:ext cx="776160" cy="137044"/>
          </a:xfrm>
          <a:prstGeom prst="rect">
            <a:avLst/>
          </a:prstGeom>
        </p:spPr>
        <p:txBody>
          <a:bodyPr vert="horz" wrap="square" lIns="0" tIns="0" rIns="0" bIns="0"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kern="0" dirty="0">
                <a:solidFill>
                  <a:prstClr val="white"/>
                </a:solidFill>
              </a:rPr>
              <a:t>Microsoft Social Engagement</a:t>
            </a:r>
          </a:p>
        </p:txBody>
      </p:sp>
      <p:grpSp>
        <p:nvGrpSpPr>
          <p:cNvPr id="260" name="Group 259"/>
          <p:cNvGrpSpPr/>
          <p:nvPr/>
        </p:nvGrpSpPr>
        <p:grpSpPr>
          <a:xfrm>
            <a:off x="6354942" y="987178"/>
            <a:ext cx="731139" cy="678221"/>
            <a:chOff x="6441189" y="3852400"/>
            <a:chExt cx="731520" cy="678575"/>
          </a:xfrm>
        </p:grpSpPr>
        <p:sp>
          <p:nvSpPr>
            <p:cNvPr id="261" name="TextBox 260"/>
            <p:cNvSpPr txBox="1"/>
            <p:nvPr/>
          </p:nvSpPr>
          <p:spPr>
            <a:xfrm>
              <a:off x="6441189" y="4266469"/>
              <a:ext cx="731520" cy="264506"/>
            </a:xfrm>
            <a:prstGeom prst="rect">
              <a:avLst/>
            </a:prstGeom>
          </p:spPr>
          <p:txBody>
            <a:bodyPr vert="horz" wrap="square" lIns="45696" tIns="45696" rIns="45696" bIns="45696" rtlCol="0" anchor="ctr">
              <a:noAutofit/>
            </a:bodyPr>
            <a:lstStyle>
              <a:defPPr>
                <a:defRPr lang="en-US"/>
              </a:defPPr>
              <a:lvl1pPr algn="ctr" defTabSz="1088105">
                <a:defRPr sz="1000">
                  <a:solidFill>
                    <a:schemeClr val="bg1"/>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kern="0">
                  <a:solidFill>
                    <a:prstClr val="white"/>
                  </a:solidFill>
                </a:rPr>
                <a:t>CRM Online</a:t>
              </a:r>
            </a:p>
          </p:txBody>
        </p:sp>
        <p:pic>
          <p:nvPicPr>
            <p:cNvPr id="262" name="Picture 261"/>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6591731" y="3852400"/>
              <a:ext cx="430437" cy="430437"/>
            </a:xfrm>
            <a:prstGeom prst="rect">
              <a:avLst/>
            </a:prstGeom>
          </p:spPr>
        </p:pic>
      </p:grpSp>
      <p:grpSp>
        <p:nvGrpSpPr>
          <p:cNvPr id="263" name="Group 262"/>
          <p:cNvGrpSpPr/>
          <p:nvPr/>
        </p:nvGrpSpPr>
        <p:grpSpPr>
          <a:xfrm>
            <a:off x="7657764" y="1906897"/>
            <a:ext cx="764235" cy="570416"/>
            <a:chOff x="6032291" y="1671385"/>
            <a:chExt cx="764633" cy="570714"/>
          </a:xfrm>
        </p:grpSpPr>
        <p:pic>
          <p:nvPicPr>
            <p:cNvPr id="264" name="Picture 2" descr="Deploy Microsoft Dynamics AX on Azure"/>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6218319" y="1671385"/>
              <a:ext cx="392579" cy="388014"/>
            </a:xfrm>
            <a:prstGeom prst="rect">
              <a:avLst/>
            </a:prstGeom>
            <a:noFill/>
            <a:extLst>
              <a:ext uri="{909E8E84-426E-40DD-AFC4-6F175D3DCCD1}">
                <a14:hiddenFill xmlns:a14="http://schemas.microsoft.com/office/drawing/2010/main">
                  <a:solidFill>
                    <a:srgbClr val="FFFFFF"/>
                  </a:solidFill>
                </a14:hiddenFill>
              </a:ext>
            </a:extLst>
          </p:spPr>
        </p:pic>
        <p:sp>
          <p:nvSpPr>
            <p:cNvPr id="265" name="TextBox 264"/>
            <p:cNvSpPr txBox="1"/>
            <p:nvPr/>
          </p:nvSpPr>
          <p:spPr>
            <a:xfrm>
              <a:off x="6032291" y="2088211"/>
              <a:ext cx="764633" cy="153888"/>
            </a:xfrm>
            <a:prstGeom prst="rect">
              <a:avLst/>
            </a:prstGeom>
          </p:spPr>
          <p:txBody>
            <a:bodyPr vert="horz" wrap="none" lIns="0" tIns="0" rIns="0" bIns="0" rtlCol="0" anchor="ctr">
              <a:spAutoFit/>
            </a:bodyPr>
            <a:lstStyle/>
            <a:p>
              <a:pPr algn="ctr" defTabSz="1087779">
                <a:defRPr/>
              </a:pPr>
              <a:r>
                <a:rPr lang="en-US" sz="1000" kern="0" dirty="0">
                  <a:solidFill>
                    <a:prstClr val="white"/>
                  </a:solidFill>
                  <a:latin typeface="Segoe UI Semibold" panose="020B0702040204020203" pitchFamily="34" charset="0"/>
                  <a:ea typeface="Segoe UI" pitchFamily="34" charset="0"/>
                  <a:cs typeface="Segoe UI Semibold" panose="020B0702040204020203" pitchFamily="34" charset="0"/>
                </a:rPr>
                <a:t>Dynamics AX</a:t>
              </a:r>
            </a:p>
          </p:txBody>
        </p:sp>
      </p:grpSp>
      <p:sp>
        <p:nvSpPr>
          <p:cNvPr id="267" name="TextBox 266"/>
          <p:cNvSpPr txBox="1"/>
          <p:nvPr/>
        </p:nvSpPr>
        <p:spPr>
          <a:xfrm>
            <a:off x="5188830" y="2605052"/>
            <a:ext cx="3211262" cy="499424"/>
          </a:xfrm>
          <a:prstGeom prst="rect">
            <a:avLst/>
          </a:prstGeom>
        </p:spPr>
        <p:txBody>
          <a:bodyPr vert="horz" wrap="square" lIns="45696" tIns="45696" rIns="45696" bIns="45696" rtlCol="0" anchor="ctr">
            <a:noAutofit/>
          </a:bodyPr>
          <a:lstStyle/>
          <a:p>
            <a:pPr algn="ctr" defTabSz="1087779">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Dashboards, information portals, Mobile Knowledge &amp; Workflow Applications</a:t>
            </a:r>
          </a:p>
        </p:txBody>
      </p:sp>
      <p:grpSp>
        <p:nvGrpSpPr>
          <p:cNvPr id="369" name="Group 368"/>
          <p:cNvGrpSpPr/>
          <p:nvPr/>
        </p:nvGrpSpPr>
        <p:grpSpPr>
          <a:xfrm>
            <a:off x="220183" y="5285517"/>
            <a:ext cx="1640695" cy="1391553"/>
            <a:chOff x="379041" y="1682742"/>
            <a:chExt cx="2238794" cy="1433838"/>
          </a:xfrm>
        </p:grpSpPr>
        <p:sp>
          <p:nvSpPr>
            <p:cNvPr id="370" name="Oval 369"/>
            <p:cNvSpPr/>
            <p:nvPr/>
          </p:nvSpPr>
          <p:spPr>
            <a:xfrm>
              <a:off x="379041" y="1682742"/>
              <a:ext cx="2238794" cy="1433838"/>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r" defTabSz="913852">
                <a:defRPr/>
              </a:pPr>
              <a:endParaRPr lang="en-US" sz="1200">
                <a:solidFill>
                  <a:prstClr val="white"/>
                </a:solidFill>
                <a:latin typeface="Segoe UI"/>
              </a:endParaRPr>
            </a:p>
          </p:txBody>
        </p:sp>
        <p:sp>
          <p:nvSpPr>
            <p:cNvPr id="371" name="TextBox 370"/>
            <p:cNvSpPr txBox="1"/>
            <p:nvPr/>
          </p:nvSpPr>
          <p:spPr>
            <a:xfrm>
              <a:off x="1044251" y="2171319"/>
              <a:ext cx="853221" cy="169653"/>
            </a:xfrm>
            <a:prstGeom prst="rect">
              <a:avLst/>
            </a:prstGeom>
          </p:spPr>
          <p:txBody>
            <a:bodyPr vert="horz" wrap="square" lIns="0" tIns="0" rIns="0" bIns="0" rtlCol="0" anchor="t">
              <a:noAutofit/>
            </a:bodyPr>
            <a:lstStyle/>
            <a:p>
              <a:pPr algn="ctr" defTabSz="913852">
                <a:defRPr/>
              </a:pPr>
              <a:r>
                <a:rPr lang="en-US" sz="1050">
                  <a:solidFill>
                    <a:srgbClr val="505050"/>
                  </a:solidFill>
                  <a:latin typeface="Segoe UI"/>
                  <a:ea typeface="Segoe UI" pitchFamily="34" charset="0"/>
                  <a:cs typeface="Segoe UI" pitchFamily="34" charset="0"/>
                </a:rPr>
                <a:t>Factory</a:t>
              </a:r>
            </a:p>
          </p:txBody>
        </p:sp>
        <p:sp>
          <p:nvSpPr>
            <p:cNvPr id="372" name="Freeform 371"/>
            <p:cNvSpPr/>
            <p:nvPr/>
          </p:nvSpPr>
          <p:spPr>
            <a:xfrm>
              <a:off x="1249879" y="1762530"/>
              <a:ext cx="451723" cy="405557"/>
            </a:xfrm>
            <a:custGeom>
              <a:avLst/>
              <a:gdLst/>
              <a:ahLst/>
              <a:cxnLst/>
              <a:rect l="l" t="t" r="r" b="b"/>
              <a:pathLst>
                <a:path w="6141720" h="5514049">
                  <a:moveTo>
                    <a:pt x="2437765" y="4651720"/>
                  </a:moveTo>
                  <a:lnTo>
                    <a:pt x="1748790" y="4880320"/>
                  </a:lnTo>
                  <a:lnTo>
                    <a:pt x="3021965" y="5321645"/>
                  </a:lnTo>
                  <a:lnTo>
                    <a:pt x="4457065" y="4893020"/>
                  </a:lnTo>
                  <a:lnTo>
                    <a:pt x="3041015" y="4800945"/>
                  </a:lnTo>
                  <a:close/>
                  <a:moveTo>
                    <a:pt x="1005840" y="4480270"/>
                  </a:moveTo>
                  <a:lnTo>
                    <a:pt x="878840" y="4524720"/>
                  </a:lnTo>
                  <a:lnTo>
                    <a:pt x="1551940" y="4731095"/>
                  </a:lnTo>
                  <a:lnTo>
                    <a:pt x="1678940" y="4686645"/>
                  </a:lnTo>
                  <a:close/>
                  <a:moveTo>
                    <a:pt x="586740" y="4207220"/>
                  </a:moveTo>
                  <a:lnTo>
                    <a:pt x="97790" y="4311995"/>
                  </a:lnTo>
                  <a:lnTo>
                    <a:pt x="789940" y="4556470"/>
                  </a:lnTo>
                  <a:lnTo>
                    <a:pt x="789940" y="4508845"/>
                  </a:lnTo>
                  <a:lnTo>
                    <a:pt x="945515" y="4461220"/>
                  </a:lnTo>
                  <a:lnTo>
                    <a:pt x="945515" y="4365970"/>
                  </a:lnTo>
                  <a:lnTo>
                    <a:pt x="1069340" y="4331045"/>
                  </a:lnTo>
                  <a:close/>
                  <a:moveTo>
                    <a:pt x="3918109" y="3795264"/>
                  </a:moveTo>
                  <a:lnTo>
                    <a:pt x="3587115" y="3809551"/>
                  </a:lnTo>
                  <a:lnTo>
                    <a:pt x="3587115" y="3864320"/>
                  </a:lnTo>
                  <a:lnTo>
                    <a:pt x="3872865" y="3847651"/>
                  </a:lnTo>
                  <a:lnTo>
                    <a:pt x="3872865" y="4278658"/>
                  </a:lnTo>
                  <a:lnTo>
                    <a:pt x="3920490" y="4269133"/>
                  </a:lnTo>
                  <a:cubicBezTo>
                    <a:pt x="3919696" y="4111177"/>
                    <a:pt x="3918903" y="3953220"/>
                    <a:pt x="3918109" y="3795264"/>
                  </a:cubicBezTo>
                  <a:close/>
                  <a:moveTo>
                    <a:pt x="4713446" y="3754783"/>
                  </a:moveTo>
                  <a:lnTo>
                    <a:pt x="4434840" y="3769070"/>
                  </a:lnTo>
                  <a:lnTo>
                    <a:pt x="4434840" y="3819076"/>
                  </a:lnTo>
                  <a:lnTo>
                    <a:pt x="4672965" y="3797645"/>
                  </a:lnTo>
                  <a:lnTo>
                    <a:pt x="4672965" y="4161976"/>
                  </a:lnTo>
                  <a:lnTo>
                    <a:pt x="4713446" y="4157214"/>
                  </a:lnTo>
                  <a:close/>
                  <a:moveTo>
                    <a:pt x="5356384" y="3719064"/>
                  </a:moveTo>
                  <a:lnTo>
                    <a:pt x="5120640" y="3730970"/>
                  </a:lnTo>
                  <a:lnTo>
                    <a:pt x="5120640" y="3766689"/>
                  </a:lnTo>
                  <a:lnTo>
                    <a:pt x="5327809" y="3761926"/>
                  </a:lnTo>
                  <a:lnTo>
                    <a:pt x="5342096" y="4064345"/>
                  </a:lnTo>
                  <a:lnTo>
                    <a:pt x="5370671" y="4059583"/>
                  </a:lnTo>
                  <a:close/>
                  <a:moveTo>
                    <a:pt x="5127784" y="3018976"/>
                  </a:moveTo>
                  <a:lnTo>
                    <a:pt x="5127784" y="3057076"/>
                  </a:lnTo>
                  <a:lnTo>
                    <a:pt x="5323046" y="3076126"/>
                  </a:lnTo>
                  <a:lnTo>
                    <a:pt x="5339715" y="3378545"/>
                  </a:lnTo>
                  <a:lnTo>
                    <a:pt x="5368290" y="3383307"/>
                  </a:lnTo>
                  <a:lnTo>
                    <a:pt x="5356384" y="3049933"/>
                  </a:lnTo>
                  <a:close/>
                  <a:moveTo>
                    <a:pt x="4434840" y="2952301"/>
                  </a:moveTo>
                  <a:lnTo>
                    <a:pt x="4437222" y="2995165"/>
                  </a:lnTo>
                  <a:cubicBezTo>
                    <a:pt x="4671378" y="3011833"/>
                    <a:pt x="4555490" y="3004690"/>
                    <a:pt x="4680109" y="3016595"/>
                  </a:cubicBezTo>
                  <a:lnTo>
                    <a:pt x="4680109" y="3376164"/>
                  </a:lnTo>
                  <a:lnTo>
                    <a:pt x="4718209" y="3380926"/>
                  </a:lnTo>
                  <a:cubicBezTo>
                    <a:pt x="4716621" y="3246782"/>
                    <a:pt x="4715034" y="3112639"/>
                    <a:pt x="4713446" y="2978495"/>
                  </a:cubicBezTo>
                  <a:close/>
                  <a:moveTo>
                    <a:pt x="1129665" y="2921345"/>
                  </a:moveTo>
                  <a:lnTo>
                    <a:pt x="656590" y="2994370"/>
                  </a:lnTo>
                  <a:lnTo>
                    <a:pt x="621665" y="4153245"/>
                  </a:lnTo>
                  <a:lnTo>
                    <a:pt x="1097915" y="4273895"/>
                  </a:lnTo>
                  <a:close/>
                  <a:moveTo>
                    <a:pt x="3589496" y="2868958"/>
                  </a:moveTo>
                  <a:lnTo>
                    <a:pt x="3589496" y="2918964"/>
                  </a:lnTo>
                  <a:lnTo>
                    <a:pt x="3875246" y="2949920"/>
                  </a:lnTo>
                  <a:lnTo>
                    <a:pt x="3875246" y="3380926"/>
                  </a:lnTo>
                  <a:lnTo>
                    <a:pt x="3920490" y="3380926"/>
                  </a:lnTo>
                  <a:lnTo>
                    <a:pt x="3920490" y="2902295"/>
                  </a:lnTo>
                  <a:close/>
                  <a:moveTo>
                    <a:pt x="1139190" y="2728464"/>
                  </a:moveTo>
                  <a:lnTo>
                    <a:pt x="605790" y="2838001"/>
                  </a:lnTo>
                  <a:lnTo>
                    <a:pt x="605790" y="2888008"/>
                  </a:lnTo>
                  <a:lnTo>
                    <a:pt x="1139190" y="2778470"/>
                  </a:lnTo>
                  <a:close/>
                  <a:moveTo>
                    <a:pt x="3048953" y="2621308"/>
                  </a:moveTo>
                  <a:lnTo>
                    <a:pt x="2220278" y="2749895"/>
                  </a:lnTo>
                  <a:lnTo>
                    <a:pt x="2205990" y="4531070"/>
                  </a:lnTo>
                  <a:lnTo>
                    <a:pt x="3029903" y="4731095"/>
                  </a:lnTo>
                  <a:close/>
                  <a:moveTo>
                    <a:pt x="1859915" y="2378420"/>
                  </a:moveTo>
                  <a:lnTo>
                    <a:pt x="1199515" y="2546695"/>
                  </a:lnTo>
                  <a:lnTo>
                    <a:pt x="1161415" y="4340570"/>
                  </a:lnTo>
                  <a:lnTo>
                    <a:pt x="1028065" y="4381845"/>
                  </a:lnTo>
                  <a:lnTo>
                    <a:pt x="1678940" y="4569170"/>
                  </a:lnTo>
                  <a:lnTo>
                    <a:pt x="1824990" y="4515195"/>
                  </a:lnTo>
                  <a:close/>
                  <a:moveTo>
                    <a:pt x="3082290" y="2321270"/>
                  </a:moveTo>
                  <a:lnTo>
                    <a:pt x="2225040" y="2499864"/>
                  </a:lnTo>
                  <a:lnTo>
                    <a:pt x="2225040" y="2571301"/>
                  </a:lnTo>
                  <a:lnTo>
                    <a:pt x="3082290" y="2395089"/>
                  </a:lnTo>
                  <a:close/>
                  <a:moveTo>
                    <a:pt x="3034665" y="1897408"/>
                  </a:moveTo>
                  <a:lnTo>
                    <a:pt x="853440" y="2540345"/>
                  </a:lnTo>
                  <a:lnTo>
                    <a:pt x="853440" y="2716558"/>
                  </a:lnTo>
                  <a:lnTo>
                    <a:pt x="1141571" y="2657026"/>
                  </a:lnTo>
                  <a:lnTo>
                    <a:pt x="1141571" y="2509389"/>
                  </a:lnTo>
                  <a:lnTo>
                    <a:pt x="1860709" y="2306983"/>
                  </a:lnTo>
                  <a:lnTo>
                    <a:pt x="2196465" y="2418901"/>
                  </a:lnTo>
                  <a:lnTo>
                    <a:pt x="3034665" y="2230783"/>
                  </a:lnTo>
                  <a:close/>
                  <a:moveTo>
                    <a:pt x="2139315" y="1759295"/>
                  </a:moveTo>
                  <a:lnTo>
                    <a:pt x="1482090" y="2016470"/>
                  </a:lnTo>
                  <a:lnTo>
                    <a:pt x="1482090" y="2290314"/>
                  </a:lnTo>
                  <a:lnTo>
                    <a:pt x="2139315" y="2095051"/>
                  </a:lnTo>
                  <a:close/>
                  <a:moveTo>
                    <a:pt x="3960971" y="1437826"/>
                  </a:moveTo>
                  <a:lnTo>
                    <a:pt x="2675096" y="1864070"/>
                  </a:lnTo>
                  <a:lnTo>
                    <a:pt x="2675096" y="1937889"/>
                  </a:lnTo>
                  <a:lnTo>
                    <a:pt x="3034665" y="1833114"/>
                  </a:lnTo>
                  <a:lnTo>
                    <a:pt x="3253740" y="1890264"/>
                  </a:lnTo>
                  <a:lnTo>
                    <a:pt x="3844290" y="1721195"/>
                  </a:lnTo>
                  <a:lnTo>
                    <a:pt x="3844290" y="1809301"/>
                  </a:lnTo>
                  <a:lnTo>
                    <a:pt x="3429953" y="1930745"/>
                  </a:lnTo>
                  <a:lnTo>
                    <a:pt x="3960971" y="2080764"/>
                  </a:lnTo>
                  <a:close/>
                  <a:moveTo>
                    <a:pt x="4450467" y="798721"/>
                  </a:moveTo>
                  <a:cubicBezTo>
                    <a:pt x="4330363" y="791764"/>
                    <a:pt x="4200883" y="824655"/>
                    <a:pt x="4170521" y="840133"/>
                  </a:cubicBezTo>
                  <a:lnTo>
                    <a:pt x="4156234" y="1447351"/>
                  </a:lnTo>
                  <a:lnTo>
                    <a:pt x="4603909" y="1623564"/>
                  </a:lnTo>
                  <a:lnTo>
                    <a:pt x="4563428" y="821083"/>
                  </a:lnTo>
                  <a:cubicBezTo>
                    <a:pt x="4529495" y="807788"/>
                    <a:pt x="4490502" y="801041"/>
                    <a:pt x="4450467" y="798721"/>
                  </a:cubicBezTo>
                  <a:close/>
                  <a:moveTo>
                    <a:pt x="2501265" y="767802"/>
                  </a:moveTo>
                  <a:cubicBezTo>
                    <a:pt x="2490351" y="763138"/>
                    <a:pt x="2477056" y="767107"/>
                    <a:pt x="2463165" y="794888"/>
                  </a:cubicBezTo>
                  <a:lnTo>
                    <a:pt x="2434590" y="1761675"/>
                  </a:lnTo>
                  <a:lnTo>
                    <a:pt x="2536984" y="1787869"/>
                  </a:lnTo>
                  <a:lnTo>
                    <a:pt x="2525078" y="792507"/>
                  </a:lnTo>
                  <a:cubicBezTo>
                    <a:pt x="2520712" y="785761"/>
                    <a:pt x="2512179" y="772465"/>
                    <a:pt x="2501265" y="767802"/>
                  </a:cubicBezTo>
                  <a:close/>
                  <a:moveTo>
                    <a:pt x="4302793" y="558846"/>
                  </a:moveTo>
                  <a:cubicBezTo>
                    <a:pt x="4256396" y="562269"/>
                    <a:pt x="4216361" y="576408"/>
                    <a:pt x="4177665" y="597243"/>
                  </a:cubicBezTo>
                  <a:lnTo>
                    <a:pt x="4170521" y="780600"/>
                  </a:lnTo>
                  <a:cubicBezTo>
                    <a:pt x="4199096" y="769488"/>
                    <a:pt x="4272915" y="739325"/>
                    <a:pt x="4349115" y="747262"/>
                  </a:cubicBezTo>
                  <a:lnTo>
                    <a:pt x="4351497" y="559144"/>
                  </a:lnTo>
                  <a:cubicBezTo>
                    <a:pt x="4334431" y="557755"/>
                    <a:pt x="4318259" y="557705"/>
                    <a:pt x="4302793" y="558846"/>
                  </a:cubicBezTo>
                  <a:close/>
                  <a:moveTo>
                    <a:pt x="3202810" y="335363"/>
                  </a:moveTo>
                  <a:cubicBezTo>
                    <a:pt x="3126836" y="339232"/>
                    <a:pt x="3059668" y="355250"/>
                    <a:pt x="3020378" y="375788"/>
                  </a:cubicBezTo>
                  <a:lnTo>
                    <a:pt x="2987040" y="1687857"/>
                  </a:lnTo>
                  <a:lnTo>
                    <a:pt x="3449003" y="1528313"/>
                  </a:lnTo>
                  <a:lnTo>
                    <a:pt x="3387090" y="351975"/>
                  </a:lnTo>
                  <a:cubicBezTo>
                    <a:pt x="3352364" y="343244"/>
                    <a:pt x="3316447" y="338084"/>
                    <a:pt x="3281013" y="335827"/>
                  </a:cubicBezTo>
                  <a:cubicBezTo>
                    <a:pt x="3254438" y="334134"/>
                    <a:pt x="3228135" y="334074"/>
                    <a:pt x="3202810" y="335363"/>
                  </a:cubicBezTo>
                  <a:close/>
                  <a:moveTo>
                    <a:pt x="3210878" y="80513"/>
                  </a:moveTo>
                  <a:cubicBezTo>
                    <a:pt x="3142615" y="74956"/>
                    <a:pt x="3086259" y="86070"/>
                    <a:pt x="3034665" y="113850"/>
                  </a:cubicBezTo>
                  <a:lnTo>
                    <a:pt x="3027521" y="297207"/>
                  </a:lnTo>
                  <a:cubicBezTo>
                    <a:pt x="3056096" y="286095"/>
                    <a:pt x="3129915" y="263076"/>
                    <a:pt x="3206115" y="271013"/>
                  </a:cubicBezTo>
                  <a:close/>
                  <a:moveTo>
                    <a:pt x="3339623" y="1383"/>
                  </a:moveTo>
                  <a:cubicBezTo>
                    <a:pt x="3446502" y="8108"/>
                    <a:pt x="3543419" y="40032"/>
                    <a:pt x="3581400" y="111469"/>
                  </a:cubicBezTo>
                  <a:lnTo>
                    <a:pt x="3672840" y="1460209"/>
                  </a:lnTo>
                  <a:lnTo>
                    <a:pt x="3947160" y="1368769"/>
                  </a:lnTo>
                  <a:lnTo>
                    <a:pt x="4091940" y="1429729"/>
                  </a:lnTo>
                  <a:lnTo>
                    <a:pt x="4130040" y="561049"/>
                  </a:lnTo>
                  <a:cubicBezTo>
                    <a:pt x="4317048" y="361024"/>
                    <a:pt x="4746943" y="489611"/>
                    <a:pt x="4762500" y="561049"/>
                  </a:cubicBezTo>
                  <a:lnTo>
                    <a:pt x="4892040" y="2328889"/>
                  </a:lnTo>
                  <a:lnTo>
                    <a:pt x="5433060" y="2466049"/>
                  </a:lnTo>
                  <a:lnTo>
                    <a:pt x="5448300" y="2793709"/>
                  </a:lnTo>
                  <a:lnTo>
                    <a:pt x="5692140" y="2862289"/>
                  </a:lnTo>
                  <a:lnTo>
                    <a:pt x="5692140" y="3113749"/>
                  </a:lnTo>
                  <a:lnTo>
                    <a:pt x="5631180" y="3128989"/>
                  </a:lnTo>
                  <a:lnTo>
                    <a:pt x="5646420" y="4142449"/>
                  </a:lnTo>
                  <a:lnTo>
                    <a:pt x="6103620" y="4256749"/>
                  </a:lnTo>
                  <a:lnTo>
                    <a:pt x="6141720" y="4462489"/>
                  </a:lnTo>
                  <a:lnTo>
                    <a:pt x="3048000" y="5514049"/>
                  </a:lnTo>
                  <a:lnTo>
                    <a:pt x="0" y="4401529"/>
                  </a:lnTo>
                  <a:lnTo>
                    <a:pt x="0" y="4271989"/>
                  </a:lnTo>
                  <a:lnTo>
                    <a:pt x="556260" y="4165309"/>
                  </a:lnTo>
                  <a:lnTo>
                    <a:pt x="601980" y="3022309"/>
                  </a:lnTo>
                  <a:lnTo>
                    <a:pt x="556260" y="3007069"/>
                  </a:lnTo>
                  <a:lnTo>
                    <a:pt x="556260" y="2786089"/>
                  </a:lnTo>
                  <a:lnTo>
                    <a:pt x="792480" y="2732749"/>
                  </a:lnTo>
                  <a:lnTo>
                    <a:pt x="792480" y="2481289"/>
                  </a:lnTo>
                  <a:lnTo>
                    <a:pt x="1424940" y="2298409"/>
                  </a:lnTo>
                  <a:lnTo>
                    <a:pt x="1424940" y="1970749"/>
                  </a:lnTo>
                  <a:lnTo>
                    <a:pt x="2141220" y="1681189"/>
                  </a:lnTo>
                  <a:lnTo>
                    <a:pt x="2392680" y="1757389"/>
                  </a:lnTo>
                  <a:lnTo>
                    <a:pt x="2423637" y="751549"/>
                  </a:lnTo>
                  <a:cubicBezTo>
                    <a:pt x="2433321" y="709957"/>
                    <a:pt x="2595403" y="687414"/>
                    <a:pt x="2631281" y="748215"/>
                  </a:cubicBezTo>
                  <a:lnTo>
                    <a:pt x="2682240" y="1795489"/>
                  </a:lnTo>
                  <a:lnTo>
                    <a:pt x="2872740" y="1726909"/>
                  </a:lnTo>
                  <a:lnTo>
                    <a:pt x="2948940" y="111469"/>
                  </a:lnTo>
                  <a:cubicBezTo>
                    <a:pt x="2955687" y="48961"/>
                    <a:pt x="3161491" y="-9826"/>
                    <a:pt x="3339623" y="1383"/>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373" name="Freeform 372"/>
            <p:cNvSpPr/>
            <p:nvPr/>
          </p:nvSpPr>
          <p:spPr>
            <a:xfrm>
              <a:off x="1425790" y="1973716"/>
              <a:ext cx="32051" cy="40983"/>
            </a:xfrm>
            <a:custGeom>
              <a:avLst/>
              <a:gdLst>
                <a:gd name="connsiteX0" fmla="*/ 435768 w 435768"/>
                <a:gd name="connsiteY0" fmla="*/ 76200 h 557212"/>
                <a:gd name="connsiteX1" fmla="*/ 435768 w 435768"/>
                <a:gd name="connsiteY1" fmla="*/ 0 h 557212"/>
                <a:gd name="connsiteX2" fmla="*/ 4762 w 435768"/>
                <a:gd name="connsiteY2" fmla="*/ 45244 h 557212"/>
                <a:gd name="connsiteX3" fmla="*/ 0 w 435768"/>
                <a:gd name="connsiteY3" fmla="*/ 557212 h 557212"/>
                <a:gd name="connsiteX4" fmla="*/ 64293 w 435768"/>
                <a:gd name="connsiteY4" fmla="*/ 557212 h 557212"/>
                <a:gd name="connsiteX5" fmla="*/ 66675 w 435768"/>
                <a:gd name="connsiteY5" fmla="*/ 104775 h 557212"/>
                <a:gd name="connsiteX6" fmla="*/ 435768 w 435768"/>
                <a:gd name="connsiteY6" fmla="*/ 76200 h 557212"/>
                <a:gd name="connsiteX0" fmla="*/ 435768 w 435768"/>
                <a:gd name="connsiteY0" fmla="*/ 76200 h 557212"/>
                <a:gd name="connsiteX1" fmla="*/ 435768 w 435768"/>
                <a:gd name="connsiteY1" fmla="*/ 0 h 557212"/>
                <a:gd name="connsiteX2" fmla="*/ 4762 w 435768"/>
                <a:gd name="connsiteY2" fmla="*/ 45244 h 557212"/>
                <a:gd name="connsiteX3" fmla="*/ 0 w 435768"/>
                <a:gd name="connsiteY3" fmla="*/ 557212 h 557212"/>
                <a:gd name="connsiteX4" fmla="*/ 64293 w 435768"/>
                <a:gd name="connsiteY4" fmla="*/ 557212 h 557212"/>
                <a:gd name="connsiteX5" fmla="*/ 66675 w 435768"/>
                <a:gd name="connsiteY5" fmla="*/ 109537 h 557212"/>
                <a:gd name="connsiteX6" fmla="*/ 435768 w 435768"/>
                <a:gd name="connsiteY6" fmla="*/ 76200 h 557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768" h="557212">
                  <a:moveTo>
                    <a:pt x="435768" y="76200"/>
                  </a:moveTo>
                  <a:lnTo>
                    <a:pt x="435768" y="0"/>
                  </a:lnTo>
                  <a:lnTo>
                    <a:pt x="4762" y="45244"/>
                  </a:lnTo>
                  <a:cubicBezTo>
                    <a:pt x="3175" y="215900"/>
                    <a:pt x="1587" y="386556"/>
                    <a:pt x="0" y="557212"/>
                  </a:cubicBezTo>
                  <a:lnTo>
                    <a:pt x="64293" y="557212"/>
                  </a:lnTo>
                  <a:lnTo>
                    <a:pt x="66675" y="109537"/>
                  </a:lnTo>
                  <a:lnTo>
                    <a:pt x="435768" y="76200"/>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374" name="Freeform 373"/>
            <p:cNvSpPr/>
            <p:nvPr/>
          </p:nvSpPr>
          <p:spPr>
            <a:xfrm>
              <a:off x="1425790" y="2036767"/>
              <a:ext cx="32226" cy="40457"/>
            </a:xfrm>
            <a:custGeom>
              <a:avLst/>
              <a:gdLst>
                <a:gd name="connsiteX0" fmla="*/ 435768 w 435768"/>
                <a:gd name="connsiteY0" fmla="*/ 76200 h 557212"/>
                <a:gd name="connsiteX1" fmla="*/ 435768 w 435768"/>
                <a:gd name="connsiteY1" fmla="*/ 0 h 557212"/>
                <a:gd name="connsiteX2" fmla="*/ 4762 w 435768"/>
                <a:gd name="connsiteY2" fmla="*/ 45244 h 557212"/>
                <a:gd name="connsiteX3" fmla="*/ 0 w 435768"/>
                <a:gd name="connsiteY3" fmla="*/ 557212 h 557212"/>
                <a:gd name="connsiteX4" fmla="*/ 64293 w 435768"/>
                <a:gd name="connsiteY4" fmla="*/ 557212 h 557212"/>
                <a:gd name="connsiteX5" fmla="*/ 66675 w 435768"/>
                <a:gd name="connsiteY5" fmla="*/ 104775 h 557212"/>
                <a:gd name="connsiteX6" fmla="*/ 435768 w 435768"/>
                <a:gd name="connsiteY6" fmla="*/ 76200 h 557212"/>
                <a:gd name="connsiteX0" fmla="*/ 435768 w 435768"/>
                <a:gd name="connsiteY0" fmla="*/ 76200 h 557212"/>
                <a:gd name="connsiteX1" fmla="*/ 435768 w 435768"/>
                <a:gd name="connsiteY1" fmla="*/ 0 h 557212"/>
                <a:gd name="connsiteX2" fmla="*/ 4762 w 435768"/>
                <a:gd name="connsiteY2" fmla="*/ 45244 h 557212"/>
                <a:gd name="connsiteX3" fmla="*/ 0 w 435768"/>
                <a:gd name="connsiteY3" fmla="*/ 557212 h 557212"/>
                <a:gd name="connsiteX4" fmla="*/ 64293 w 435768"/>
                <a:gd name="connsiteY4" fmla="*/ 557212 h 557212"/>
                <a:gd name="connsiteX5" fmla="*/ 66675 w 435768"/>
                <a:gd name="connsiteY5" fmla="*/ 109537 h 557212"/>
                <a:gd name="connsiteX6" fmla="*/ 435768 w 435768"/>
                <a:gd name="connsiteY6" fmla="*/ 76200 h 557212"/>
                <a:gd name="connsiteX0" fmla="*/ 435768 w 435768"/>
                <a:gd name="connsiteY0" fmla="*/ 76200 h 585787"/>
                <a:gd name="connsiteX1" fmla="*/ 435768 w 435768"/>
                <a:gd name="connsiteY1" fmla="*/ 0 h 585787"/>
                <a:gd name="connsiteX2" fmla="*/ 4762 w 435768"/>
                <a:gd name="connsiteY2" fmla="*/ 45244 h 585787"/>
                <a:gd name="connsiteX3" fmla="*/ 0 w 435768"/>
                <a:gd name="connsiteY3" fmla="*/ 585787 h 585787"/>
                <a:gd name="connsiteX4" fmla="*/ 64293 w 435768"/>
                <a:gd name="connsiteY4" fmla="*/ 557212 h 585787"/>
                <a:gd name="connsiteX5" fmla="*/ 66675 w 435768"/>
                <a:gd name="connsiteY5" fmla="*/ 109537 h 585787"/>
                <a:gd name="connsiteX6" fmla="*/ 435768 w 435768"/>
                <a:gd name="connsiteY6" fmla="*/ 76200 h 585787"/>
                <a:gd name="connsiteX0" fmla="*/ 435768 w 435768"/>
                <a:gd name="connsiteY0" fmla="*/ 76200 h 595312"/>
                <a:gd name="connsiteX1" fmla="*/ 435768 w 435768"/>
                <a:gd name="connsiteY1" fmla="*/ 0 h 595312"/>
                <a:gd name="connsiteX2" fmla="*/ 4762 w 435768"/>
                <a:gd name="connsiteY2" fmla="*/ 45244 h 595312"/>
                <a:gd name="connsiteX3" fmla="*/ 0 w 435768"/>
                <a:gd name="connsiteY3" fmla="*/ 585787 h 595312"/>
                <a:gd name="connsiteX4" fmla="*/ 54768 w 435768"/>
                <a:gd name="connsiteY4" fmla="*/ 595312 h 595312"/>
                <a:gd name="connsiteX5" fmla="*/ 66675 w 435768"/>
                <a:gd name="connsiteY5" fmla="*/ 109537 h 595312"/>
                <a:gd name="connsiteX6" fmla="*/ 435768 w 435768"/>
                <a:gd name="connsiteY6" fmla="*/ 76200 h 595312"/>
                <a:gd name="connsiteX0" fmla="*/ 433387 w 435768"/>
                <a:gd name="connsiteY0" fmla="*/ 128588 h 595312"/>
                <a:gd name="connsiteX1" fmla="*/ 435768 w 435768"/>
                <a:gd name="connsiteY1" fmla="*/ 0 h 595312"/>
                <a:gd name="connsiteX2" fmla="*/ 4762 w 435768"/>
                <a:gd name="connsiteY2" fmla="*/ 45244 h 595312"/>
                <a:gd name="connsiteX3" fmla="*/ 0 w 435768"/>
                <a:gd name="connsiteY3" fmla="*/ 585787 h 595312"/>
                <a:gd name="connsiteX4" fmla="*/ 54768 w 435768"/>
                <a:gd name="connsiteY4" fmla="*/ 595312 h 595312"/>
                <a:gd name="connsiteX5" fmla="*/ 66675 w 435768"/>
                <a:gd name="connsiteY5" fmla="*/ 109537 h 595312"/>
                <a:gd name="connsiteX6" fmla="*/ 433387 w 435768"/>
                <a:gd name="connsiteY6" fmla="*/ 128588 h 595312"/>
                <a:gd name="connsiteX0" fmla="*/ 433387 w 438149"/>
                <a:gd name="connsiteY0" fmla="*/ 83344 h 550068"/>
                <a:gd name="connsiteX1" fmla="*/ 438149 w 438149"/>
                <a:gd name="connsiteY1" fmla="*/ 21431 h 550068"/>
                <a:gd name="connsiteX2" fmla="*/ 4762 w 438149"/>
                <a:gd name="connsiteY2" fmla="*/ 0 h 550068"/>
                <a:gd name="connsiteX3" fmla="*/ 0 w 438149"/>
                <a:gd name="connsiteY3" fmla="*/ 540543 h 550068"/>
                <a:gd name="connsiteX4" fmla="*/ 54768 w 438149"/>
                <a:gd name="connsiteY4" fmla="*/ 550068 h 550068"/>
                <a:gd name="connsiteX5" fmla="*/ 66675 w 438149"/>
                <a:gd name="connsiteY5" fmla="*/ 64293 h 550068"/>
                <a:gd name="connsiteX6" fmla="*/ 433387 w 438149"/>
                <a:gd name="connsiteY6" fmla="*/ 83344 h 550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149" h="550068">
                  <a:moveTo>
                    <a:pt x="433387" y="83344"/>
                  </a:moveTo>
                  <a:cubicBezTo>
                    <a:pt x="434181" y="40481"/>
                    <a:pt x="437355" y="64294"/>
                    <a:pt x="438149" y="21431"/>
                  </a:cubicBezTo>
                  <a:lnTo>
                    <a:pt x="4762" y="0"/>
                  </a:lnTo>
                  <a:cubicBezTo>
                    <a:pt x="3175" y="170656"/>
                    <a:pt x="1587" y="369887"/>
                    <a:pt x="0" y="540543"/>
                  </a:cubicBezTo>
                  <a:lnTo>
                    <a:pt x="54768" y="550068"/>
                  </a:lnTo>
                  <a:lnTo>
                    <a:pt x="66675" y="64293"/>
                  </a:lnTo>
                  <a:lnTo>
                    <a:pt x="433387" y="83344"/>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375" name="Freeform 374"/>
            <p:cNvSpPr/>
            <p:nvPr/>
          </p:nvSpPr>
          <p:spPr>
            <a:xfrm>
              <a:off x="1425265" y="1973541"/>
              <a:ext cx="33102" cy="41333"/>
            </a:xfrm>
            <a:custGeom>
              <a:avLst/>
              <a:gdLst>
                <a:gd name="connsiteX0" fmla="*/ 0 w 450056"/>
                <a:gd name="connsiteY0" fmla="*/ 561975 h 561975"/>
                <a:gd name="connsiteX1" fmla="*/ 73819 w 450056"/>
                <a:gd name="connsiteY1" fmla="*/ 561975 h 561975"/>
                <a:gd name="connsiteX2" fmla="*/ 73819 w 450056"/>
                <a:gd name="connsiteY2" fmla="*/ 116681 h 561975"/>
                <a:gd name="connsiteX3" fmla="*/ 450056 w 450056"/>
                <a:gd name="connsiteY3" fmla="*/ 73818 h 561975"/>
                <a:gd name="connsiteX4" fmla="*/ 450056 w 450056"/>
                <a:gd name="connsiteY4" fmla="*/ 0 h 561975"/>
                <a:gd name="connsiteX5" fmla="*/ 7144 w 450056"/>
                <a:gd name="connsiteY5" fmla="*/ 47625 h 561975"/>
                <a:gd name="connsiteX6" fmla="*/ 0 w 450056"/>
                <a:gd name="connsiteY6" fmla="*/ 561975 h 561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056" h="561975">
                  <a:moveTo>
                    <a:pt x="0" y="561975"/>
                  </a:moveTo>
                  <a:lnTo>
                    <a:pt x="73819" y="561975"/>
                  </a:lnTo>
                  <a:lnTo>
                    <a:pt x="73819" y="116681"/>
                  </a:lnTo>
                  <a:lnTo>
                    <a:pt x="450056" y="73818"/>
                  </a:lnTo>
                  <a:lnTo>
                    <a:pt x="450056" y="0"/>
                  </a:lnTo>
                  <a:lnTo>
                    <a:pt x="7144" y="47625"/>
                  </a:lnTo>
                  <a:cubicBezTo>
                    <a:pt x="4763" y="219075"/>
                    <a:pt x="2381" y="390525"/>
                    <a:pt x="0" y="561975"/>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376" name="Freeform 375"/>
            <p:cNvSpPr/>
            <p:nvPr/>
          </p:nvSpPr>
          <p:spPr>
            <a:xfrm>
              <a:off x="1425265" y="2036592"/>
              <a:ext cx="33102" cy="41158"/>
            </a:xfrm>
            <a:custGeom>
              <a:avLst/>
              <a:gdLst>
                <a:gd name="connsiteX0" fmla="*/ 0 w 450056"/>
                <a:gd name="connsiteY0" fmla="*/ 561975 h 561975"/>
                <a:gd name="connsiteX1" fmla="*/ 73819 w 450056"/>
                <a:gd name="connsiteY1" fmla="*/ 561975 h 561975"/>
                <a:gd name="connsiteX2" fmla="*/ 73819 w 450056"/>
                <a:gd name="connsiteY2" fmla="*/ 116681 h 561975"/>
                <a:gd name="connsiteX3" fmla="*/ 450056 w 450056"/>
                <a:gd name="connsiteY3" fmla="*/ 73818 h 561975"/>
                <a:gd name="connsiteX4" fmla="*/ 450056 w 450056"/>
                <a:gd name="connsiteY4" fmla="*/ 0 h 561975"/>
                <a:gd name="connsiteX5" fmla="*/ 7144 w 450056"/>
                <a:gd name="connsiteY5" fmla="*/ 47625 h 561975"/>
                <a:gd name="connsiteX6" fmla="*/ 0 w 450056"/>
                <a:gd name="connsiteY6" fmla="*/ 561975 h 561975"/>
                <a:gd name="connsiteX0" fmla="*/ 0 w 450056"/>
                <a:gd name="connsiteY0" fmla="*/ 561975 h 576262"/>
                <a:gd name="connsiteX1" fmla="*/ 71438 w 450056"/>
                <a:gd name="connsiteY1" fmla="*/ 576262 h 576262"/>
                <a:gd name="connsiteX2" fmla="*/ 73819 w 450056"/>
                <a:gd name="connsiteY2" fmla="*/ 116681 h 576262"/>
                <a:gd name="connsiteX3" fmla="*/ 450056 w 450056"/>
                <a:gd name="connsiteY3" fmla="*/ 73818 h 576262"/>
                <a:gd name="connsiteX4" fmla="*/ 450056 w 450056"/>
                <a:gd name="connsiteY4" fmla="*/ 0 h 576262"/>
                <a:gd name="connsiteX5" fmla="*/ 7144 w 450056"/>
                <a:gd name="connsiteY5" fmla="*/ 47625 h 576262"/>
                <a:gd name="connsiteX6" fmla="*/ 0 w 450056"/>
                <a:gd name="connsiteY6" fmla="*/ 561975 h 576262"/>
                <a:gd name="connsiteX0" fmla="*/ 0 w 450056"/>
                <a:gd name="connsiteY0" fmla="*/ 561975 h 576262"/>
                <a:gd name="connsiteX1" fmla="*/ 71438 w 450056"/>
                <a:gd name="connsiteY1" fmla="*/ 576262 h 576262"/>
                <a:gd name="connsiteX2" fmla="*/ 73819 w 450056"/>
                <a:gd name="connsiteY2" fmla="*/ 116681 h 576262"/>
                <a:gd name="connsiteX3" fmla="*/ 450056 w 450056"/>
                <a:gd name="connsiteY3" fmla="*/ 73818 h 576262"/>
                <a:gd name="connsiteX4" fmla="*/ 450056 w 450056"/>
                <a:gd name="connsiteY4" fmla="*/ 0 h 576262"/>
                <a:gd name="connsiteX5" fmla="*/ 7144 w 450056"/>
                <a:gd name="connsiteY5" fmla="*/ 16668 h 576262"/>
                <a:gd name="connsiteX6" fmla="*/ 0 w 450056"/>
                <a:gd name="connsiteY6" fmla="*/ 561975 h 576262"/>
                <a:gd name="connsiteX0" fmla="*/ 0 w 450056"/>
                <a:gd name="connsiteY0" fmla="*/ 561975 h 576262"/>
                <a:gd name="connsiteX1" fmla="*/ 71438 w 450056"/>
                <a:gd name="connsiteY1" fmla="*/ 576262 h 576262"/>
                <a:gd name="connsiteX2" fmla="*/ 73819 w 450056"/>
                <a:gd name="connsiteY2" fmla="*/ 116681 h 576262"/>
                <a:gd name="connsiteX3" fmla="*/ 450056 w 450056"/>
                <a:gd name="connsiteY3" fmla="*/ 104775 h 576262"/>
                <a:gd name="connsiteX4" fmla="*/ 450056 w 450056"/>
                <a:gd name="connsiteY4" fmla="*/ 0 h 576262"/>
                <a:gd name="connsiteX5" fmla="*/ 7144 w 450056"/>
                <a:gd name="connsiteY5" fmla="*/ 16668 h 576262"/>
                <a:gd name="connsiteX6" fmla="*/ 0 w 450056"/>
                <a:gd name="connsiteY6" fmla="*/ 561975 h 576262"/>
                <a:gd name="connsiteX0" fmla="*/ 0 w 450056"/>
                <a:gd name="connsiteY0" fmla="*/ 545307 h 559594"/>
                <a:gd name="connsiteX1" fmla="*/ 71438 w 450056"/>
                <a:gd name="connsiteY1" fmla="*/ 559594 h 559594"/>
                <a:gd name="connsiteX2" fmla="*/ 73819 w 450056"/>
                <a:gd name="connsiteY2" fmla="*/ 100013 h 559594"/>
                <a:gd name="connsiteX3" fmla="*/ 450056 w 450056"/>
                <a:gd name="connsiteY3" fmla="*/ 88107 h 559594"/>
                <a:gd name="connsiteX4" fmla="*/ 450056 w 450056"/>
                <a:gd name="connsiteY4" fmla="*/ 21432 h 559594"/>
                <a:gd name="connsiteX5" fmla="*/ 7144 w 450056"/>
                <a:gd name="connsiteY5" fmla="*/ 0 h 559594"/>
                <a:gd name="connsiteX6" fmla="*/ 0 w 450056"/>
                <a:gd name="connsiteY6" fmla="*/ 545307 h 559594"/>
                <a:gd name="connsiteX0" fmla="*/ 0 w 450056"/>
                <a:gd name="connsiteY0" fmla="*/ 545307 h 559594"/>
                <a:gd name="connsiteX1" fmla="*/ 71438 w 450056"/>
                <a:gd name="connsiteY1" fmla="*/ 559594 h 559594"/>
                <a:gd name="connsiteX2" fmla="*/ 76200 w 450056"/>
                <a:gd name="connsiteY2" fmla="*/ 71438 h 559594"/>
                <a:gd name="connsiteX3" fmla="*/ 450056 w 450056"/>
                <a:gd name="connsiteY3" fmla="*/ 88107 h 559594"/>
                <a:gd name="connsiteX4" fmla="*/ 450056 w 450056"/>
                <a:gd name="connsiteY4" fmla="*/ 21432 h 559594"/>
                <a:gd name="connsiteX5" fmla="*/ 7144 w 450056"/>
                <a:gd name="connsiteY5" fmla="*/ 0 h 559594"/>
                <a:gd name="connsiteX6" fmla="*/ 0 w 450056"/>
                <a:gd name="connsiteY6" fmla="*/ 545307 h 559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056" h="559594">
                  <a:moveTo>
                    <a:pt x="0" y="545307"/>
                  </a:moveTo>
                  <a:lnTo>
                    <a:pt x="71438" y="559594"/>
                  </a:lnTo>
                  <a:cubicBezTo>
                    <a:pt x="72232" y="406400"/>
                    <a:pt x="75406" y="224632"/>
                    <a:pt x="76200" y="71438"/>
                  </a:cubicBezTo>
                  <a:lnTo>
                    <a:pt x="450056" y="88107"/>
                  </a:lnTo>
                  <a:lnTo>
                    <a:pt x="450056" y="21432"/>
                  </a:lnTo>
                  <a:lnTo>
                    <a:pt x="7144" y="0"/>
                  </a:lnTo>
                  <a:cubicBezTo>
                    <a:pt x="4763" y="171450"/>
                    <a:pt x="2381" y="373857"/>
                    <a:pt x="0" y="545307"/>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377" name="Freeform 376"/>
            <p:cNvSpPr/>
            <p:nvPr/>
          </p:nvSpPr>
          <p:spPr>
            <a:xfrm>
              <a:off x="1346451" y="1971264"/>
              <a:ext cx="23644" cy="36079"/>
            </a:xfrm>
            <a:custGeom>
              <a:avLst/>
              <a:gdLst>
                <a:gd name="connsiteX0" fmla="*/ 0 w 321469"/>
                <a:gd name="connsiteY0" fmla="*/ 490538 h 490538"/>
                <a:gd name="connsiteX1" fmla="*/ 11907 w 321469"/>
                <a:gd name="connsiteY1" fmla="*/ 47625 h 490538"/>
                <a:gd name="connsiteX2" fmla="*/ 321469 w 321469"/>
                <a:gd name="connsiteY2" fmla="*/ 0 h 490538"/>
                <a:gd name="connsiteX3" fmla="*/ 316707 w 321469"/>
                <a:gd name="connsiteY3" fmla="*/ 80963 h 490538"/>
                <a:gd name="connsiteX4" fmla="*/ 80963 w 321469"/>
                <a:gd name="connsiteY4" fmla="*/ 109538 h 490538"/>
                <a:gd name="connsiteX5" fmla="*/ 66675 w 321469"/>
                <a:gd name="connsiteY5" fmla="*/ 490538 h 490538"/>
                <a:gd name="connsiteX6" fmla="*/ 0 w 321469"/>
                <a:gd name="connsiteY6" fmla="*/ 490538 h 490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1469" h="490538">
                  <a:moveTo>
                    <a:pt x="0" y="490538"/>
                  </a:moveTo>
                  <a:lnTo>
                    <a:pt x="11907" y="47625"/>
                  </a:lnTo>
                  <a:lnTo>
                    <a:pt x="321469" y="0"/>
                  </a:lnTo>
                  <a:lnTo>
                    <a:pt x="316707" y="80963"/>
                  </a:lnTo>
                  <a:lnTo>
                    <a:pt x="80963" y="109538"/>
                  </a:lnTo>
                  <a:lnTo>
                    <a:pt x="66675" y="490538"/>
                  </a:lnTo>
                  <a:lnTo>
                    <a:pt x="0" y="490538"/>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378" name="Freeform 377"/>
            <p:cNvSpPr/>
            <p:nvPr/>
          </p:nvSpPr>
          <p:spPr>
            <a:xfrm>
              <a:off x="1305294" y="1987903"/>
              <a:ext cx="20491" cy="26796"/>
            </a:xfrm>
            <a:custGeom>
              <a:avLst/>
              <a:gdLst>
                <a:gd name="connsiteX0" fmla="*/ 11906 w 278606"/>
                <a:gd name="connsiteY0" fmla="*/ 26194 h 364331"/>
                <a:gd name="connsiteX1" fmla="*/ 0 w 278606"/>
                <a:gd name="connsiteY1" fmla="*/ 361950 h 364331"/>
                <a:gd name="connsiteX2" fmla="*/ 64293 w 278606"/>
                <a:gd name="connsiteY2" fmla="*/ 364331 h 364331"/>
                <a:gd name="connsiteX3" fmla="*/ 71437 w 278606"/>
                <a:gd name="connsiteY3" fmla="*/ 95250 h 364331"/>
                <a:gd name="connsiteX4" fmla="*/ 276225 w 278606"/>
                <a:gd name="connsiteY4" fmla="*/ 73819 h 364331"/>
                <a:gd name="connsiteX5" fmla="*/ 278606 w 278606"/>
                <a:gd name="connsiteY5" fmla="*/ 0 h 364331"/>
                <a:gd name="connsiteX6" fmla="*/ 11906 w 278606"/>
                <a:gd name="connsiteY6" fmla="*/ 26194 h 364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8606" h="364331">
                  <a:moveTo>
                    <a:pt x="11906" y="26194"/>
                  </a:moveTo>
                  <a:lnTo>
                    <a:pt x="0" y="361950"/>
                  </a:lnTo>
                  <a:lnTo>
                    <a:pt x="64293" y="364331"/>
                  </a:lnTo>
                  <a:lnTo>
                    <a:pt x="71437" y="95250"/>
                  </a:lnTo>
                  <a:lnTo>
                    <a:pt x="276225" y="73819"/>
                  </a:lnTo>
                  <a:cubicBezTo>
                    <a:pt x="277019" y="49213"/>
                    <a:pt x="277812" y="24606"/>
                    <a:pt x="278606" y="0"/>
                  </a:cubicBezTo>
                  <a:lnTo>
                    <a:pt x="11906" y="26194"/>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379" name="Freeform 378"/>
            <p:cNvSpPr/>
            <p:nvPr/>
          </p:nvSpPr>
          <p:spPr>
            <a:xfrm>
              <a:off x="1303892" y="2029236"/>
              <a:ext cx="21017" cy="26972"/>
            </a:xfrm>
            <a:custGeom>
              <a:avLst/>
              <a:gdLst>
                <a:gd name="connsiteX0" fmla="*/ 0 w 285750"/>
                <a:gd name="connsiteY0" fmla="*/ 354806 h 366713"/>
                <a:gd name="connsiteX1" fmla="*/ 19050 w 285750"/>
                <a:gd name="connsiteY1" fmla="*/ 0 h 366713"/>
                <a:gd name="connsiteX2" fmla="*/ 285750 w 285750"/>
                <a:gd name="connsiteY2" fmla="*/ 16669 h 366713"/>
                <a:gd name="connsiteX3" fmla="*/ 280987 w 285750"/>
                <a:gd name="connsiteY3" fmla="*/ 80963 h 366713"/>
                <a:gd name="connsiteX4" fmla="*/ 80962 w 285750"/>
                <a:gd name="connsiteY4" fmla="*/ 71438 h 366713"/>
                <a:gd name="connsiteX5" fmla="*/ 66675 w 285750"/>
                <a:gd name="connsiteY5" fmla="*/ 366713 h 366713"/>
                <a:gd name="connsiteX6" fmla="*/ 0 w 285750"/>
                <a:gd name="connsiteY6" fmla="*/ 354806 h 366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50" h="366713">
                  <a:moveTo>
                    <a:pt x="0" y="354806"/>
                  </a:moveTo>
                  <a:lnTo>
                    <a:pt x="19050" y="0"/>
                  </a:lnTo>
                  <a:lnTo>
                    <a:pt x="285750" y="16669"/>
                  </a:lnTo>
                  <a:lnTo>
                    <a:pt x="280987" y="80963"/>
                  </a:lnTo>
                  <a:lnTo>
                    <a:pt x="80962" y="71438"/>
                  </a:lnTo>
                  <a:lnTo>
                    <a:pt x="66675" y="366713"/>
                  </a:lnTo>
                  <a:lnTo>
                    <a:pt x="0" y="354806"/>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380" name="Freeform 379"/>
            <p:cNvSpPr/>
            <p:nvPr/>
          </p:nvSpPr>
          <p:spPr>
            <a:xfrm>
              <a:off x="1343474" y="2032388"/>
              <a:ext cx="28898" cy="59197"/>
            </a:xfrm>
            <a:custGeom>
              <a:avLst/>
              <a:gdLst>
                <a:gd name="connsiteX0" fmla="*/ 85725 w 392906"/>
                <a:gd name="connsiteY0" fmla="*/ 685800 h 804862"/>
                <a:gd name="connsiteX1" fmla="*/ 0 w 392906"/>
                <a:gd name="connsiteY1" fmla="*/ 707231 h 804862"/>
                <a:gd name="connsiteX2" fmla="*/ 23813 w 392906"/>
                <a:gd name="connsiteY2" fmla="*/ 0 h 804862"/>
                <a:gd name="connsiteX3" fmla="*/ 392906 w 392906"/>
                <a:gd name="connsiteY3" fmla="*/ 19050 h 804862"/>
                <a:gd name="connsiteX4" fmla="*/ 376238 w 392906"/>
                <a:gd name="connsiteY4" fmla="*/ 804862 h 804862"/>
                <a:gd name="connsiteX5" fmla="*/ 347663 w 392906"/>
                <a:gd name="connsiteY5" fmla="*/ 792956 h 804862"/>
                <a:gd name="connsiteX6" fmla="*/ 364331 w 392906"/>
                <a:gd name="connsiteY6" fmla="*/ 76200 h 804862"/>
                <a:gd name="connsiteX7" fmla="*/ 252413 w 392906"/>
                <a:gd name="connsiteY7" fmla="*/ 71437 h 804862"/>
                <a:gd name="connsiteX8" fmla="*/ 235744 w 392906"/>
                <a:gd name="connsiteY8" fmla="*/ 700087 h 804862"/>
                <a:gd name="connsiteX9" fmla="*/ 197644 w 392906"/>
                <a:gd name="connsiteY9" fmla="*/ 690562 h 804862"/>
                <a:gd name="connsiteX10" fmla="*/ 211931 w 392906"/>
                <a:gd name="connsiteY10" fmla="*/ 69056 h 804862"/>
                <a:gd name="connsiteX11" fmla="*/ 100013 w 392906"/>
                <a:gd name="connsiteY11" fmla="*/ 59531 h 804862"/>
                <a:gd name="connsiteX12" fmla="*/ 85725 w 392906"/>
                <a:gd name="connsiteY12" fmla="*/ 685800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2906" h="804862">
                  <a:moveTo>
                    <a:pt x="85725" y="685800"/>
                  </a:moveTo>
                  <a:lnTo>
                    <a:pt x="0" y="707231"/>
                  </a:lnTo>
                  <a:lnTo>
                    <a:pt x="23813" y="0"/>
                  </a:lnTo>
                  <a:lnTo>
                    <a:pt x="392906" y="19050"/>
                  </a:lnTo>
                  <a:lnTo>
                    <a:pt x="376238" y="804862"/>
                  </a:lnTo>
                  <a:lnTo>
                    <a:pt x="347663" y="792956"/>
                  </a:lnTo>
                  <a:lnTo>
                    <a:pt x="364331" y="76200"/>
                  </a:lnTo>
                  <a:lnTo>
                    <a:pt x="252413" y="71437"/>
                  </a:lnTo>
                  <a:lnTo>
                    <a:pt x="235744" y="700087"/>
                  </a:lnTo>
                  <a:lnTo>
                    <a:pt x="197644" y="690562"/>
                  </a:lnTo>
                  <a:lnTo>
                    <a:pt x="211931" y="69056"/>
                  </a:lnTo>
                  <a:lnTo>
                    <a:pt x="100013" y="59531"/>
                  </a:lnTo>
                  <a:lnTo>
                    <a:pt x="85725" y="685800"/>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381" name="Freeform 380"/>
            <p:cNvSpPr/>
            <p:nvPr/>
          </p:nvSpPr>
          <p:spPr>
            <a:xfrm>
              <a:off x="1432778" y="1794290"/>
              <a:ext cx="122266" cy="22905"/>
            </a:xfrm>
            <a:custGeom>
              <a:avLst/>
              <a:gdLst>
                <a:gd name="connsiteX0" fmla="*/ 0 w 1654175"/>
                <a:gd name="connsiteY0" fmla="*/ 158750 h 276225"/>
                <a:gd name="connsiteX1" fmla="*/ 311150 w 1654175"/>
                <a:gd name="connsiteY1" fmla="*/ 76200 h 276225"/>
                <a:gd name="connsiteX2" fmla="*/ 1136650 w 1654175"/>
                <a:gd name="connsiteY2" fmla="*/ 238125 h 276225"/>
                <a:gd name="connsiteX3" fmla="*/ 1654175 w 1654175"/>
                <a:gd name="connsiteY3" fmla="*/ 276225 h 276225"/>
                <a:gd name="connsiteX4" fmla="*/ 1177925 w 1654175"/>
                <a:gd name="connsiteY4" fmla="*/ 165100 h 276225"/>
                <a:gd name="connsiteX5" fmla="*/ 238125 w 1654175"/>
                <a:gd name="connsiteY5" fmla="*/ 0 h 276225"/>
                <a:gd name="connsiteX6" fmla="*/ 0 w 1654175"/>
                <a:gd name="connsiteY6" fmla="*/ 158750 h 276225"/>
                <a:gd name="connsiteX0" fmla="*/ 8663 w 1662838"/>
                <a:gd name="connsiteY0" fmla="*/ 158750 h 276225"/>
                <a:gd name="connsiteX1" fmla="*/ 319813 w 1662838"/>
                <a:gd name="connsiteY1" fmla="*/ 76200 h 276225"/>
                <a:gd name="connsiteX2" fmla="*/ 1145313 w 1662838"/>
                <a:gd name="connsiteY2" fmla="*/ 238125 h 276225"/>
                <a:gd name="connsiteX3" fmla="*/ 1662838 w 1662838"/>
                <a:gd name="connsiteY3" fmla="*/ 276225 h 276225"/>
                <a:gd name="connsiteX4" fmla="*/ 1186588 w 1662838"/>
                <a:gd name="connsiteY4" fmla="*/ 165100 h 276225"/>
                <a:gd name="connsiteX5" fmla="*/ 246788 w 1662838"/>
                <a:gd name="connsiteY5" fmla="*/ 0 h 276225"/>
                <a:gd name="connsiteX6" fmla="*/ 8663 w 1662838"/>
                <a:gd name="connsiteY6" fmla="*/ 158750 h 276225"/>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528"/>
                <a:gd name="connsiteX1" fmla="*/ 319612 w 1662637"/>
                <a:gd name="connsiteY1" fmla="*/ 104203 h 304528"/>
                <a:gd name="connsiteX2" fmla="*/ 1145112 w 1662637"/>
                <a:gd name="connsiteY2" fmla="*/ 266128 h 304528"/>
                <a:gd name="connsiteX3" fmla="*/ 1662637 w 1662637"/>
                <a:gd name="connsiteY3" fmla="*/ 304228 h 304528"/>
                <a:gd name="connsiteX4" fmla="*/ 1186387 w 1662637"/>
                <a:gd name="connsiteY4" fmla="*/ 193103 h 304528"/>
                <a:gd name="connsiteX5" fmla="*/ 246587 w 1662637"/>
                <a:gd name="connsiteY5" fmla="*/ 28003 h 304528"/>
                <a:gd name="connsiteX6" fmla="*/ 8462 w 1662637"/>
                <a:gd name="connsiteY6" fmla="*/ 186753 h 304528"/>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2350" h="311416">
                  <a:moveTo>
                    <a:pt x="8175" y="190827"/>
                  </a:moveTo>
                  <a:cubicBezTo>
                    <a:pt x="26167" y="172835"/>
                    <a:pt x="-51092" y="-64231"/>
                    <a:pt x="319325" y="108277"/>
                  </a:cubicBezTo>
                  <a:cubicBezTo>
                    <a:pt x="470667" y="187652"/>
                    <a:pt x="733133" y="400377"/>
                    <a:pt x="1144825" y="270202"/>
                  </a:cubicBezTo>
                  <a:cubicBezTo>
                    <a:pt x="1307808" y="200352"/>
                    <a:pt x="1461267" y="200352"/>
                    <a:pt x="1662350" y="308302"/>
                  </a:cubicBezTo>
                  <a:cubicBezTo>
                    <a:pt x="1592500" y="258560"/>
                    <a:pt x="1405175" y="151669"/>
                    <a:pt x="1186100" y="197177"/>
                  </a:cubicBezTo>
                  <a:cubicBezTo>
                    <a:pt x="720433" y="345344"/>
                    <a:pt x="623067" y="188710"/>
                    <a:pt x="246300" y="32077"/>
                  </a:cubicBezTo>
                  <a:cubicBezTo>
                    <a:pt x="182800" y="-731"/>
                    <a:pt x="-45800" y="-65290"/>
                    <a:pt x="8175" y="190827"/>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382" name="Freeform 381"/>
            <p:cNvSpPr/>
            <p:nvPr/>
          </p:nvSpPr>
          <p:spPr>
            <a:xfrm>
              <a:off x="1489275" y="1727941"/>
              <a:ext cx="215223" cy="43420"/>
            </a:xfrm>
            <a:custGeom>
              <a:avLst/>
              <a:gdLst>
                <a:gd name="connsiteX0" fmla="*/ 0 w 1654175"/>
                <a:gd name="connsiteY0" fmla="*/ 158750 h 276225"/>
                <a:gd name="connsiteX1" fmla="*/ 311150 w 1654175"/>
                <a:gd name="connsiteY1" fmla="*/ 76200 h 276225"/>
                <a:gd name="connsiteX2" fmla="*/ 1136650 w 1654175"/>
                <a:gd name="connsiteY2" fmla="*/ 238125 h 276225"/>
                <a:gd name="connsiteX3" fmla="*/ 1654175 w 1654175"/>
                <a:gd name="connsiteY3" fmla="*/ 276225 h 276225"/>
                <a:gd name="connsiteX4" fmla="*/ 1177925 w 1654175"/>
                <a:gd name="connsiteY4" fmla="*/ 165100 h 276225"/>
                <a:gd name="connsiteX5" fmla="*/ 238125 w 1654175"/>
                <a:gd name="connsiteY5" fmla="*/ 0 h 276225"/>
                <a:gd name="connsiteX6" fmla="*/ 0 w 1654175"/>
                <a:gd name="connsiteY6" fmla="*/ 158750 h 276225"/>
                <a:gd name="connsiteX0" fmla="*/ 8663 w 1662838"/>
                <a:gd name="connsiteY0" fmla="*/ 158750 h 276225"/>
                <a:gd name="connsiteX1" fmla="*/ 319813 w 1662838"/>
                <a:gd name="connsiteY1" fmla="*/ 76200 h 276225"/>
                <a:gd name="connsiteX2" fmla="*/ 1145313 w 1662838"/>
                <a:gd name="connsiteY2" fmla="*/ 238125 h 276225"/>
                <a:gd name="connsiteX3" fmla="*/ 1662838 w 1662838"/>
                <a:gd name="connsiteY3" fmla="*/ 276225 h 276225"/>
                <a:gd name="connsiteX4" fmla="*/ 1186588 w 1662838"/>
                <a:gd name="connsiteY4" fmla="*/ 165100 h 276225"/>
                <a:gd name="connsiteX5" fmla="*/ 246788 w 1662838"/>
                <a:gd name="connsiteY5" fmla="*/ 0 h 276225"/>
                <a:gd name="connsiteX6" fmla="*/ 8663 w 1662838"/>
                <a:gd name="connsiteY6" fmla="*/ 158750 h 276225"/>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528"/>
                <a:gd name="connsiteX1" fmla="*/ 319612 w 1662637"/>
                <a:gd name="connsiteY1" fmla="*/ 104203 h 304528"/>
                <a:gd name="connsiteX2" fmla="*/ 1145112 w 1662637"/>
                <a:gd name="connsiteY2" fmla="*/ 266128 h 304528"/>
                <a:gd name="connsiteX3" fmla="*/ 1662637 w 1662637"/>
                <a:gd name="connsiteY3" fmla="*/ 304228 h 304528"/>
                <a:gd name="connsiteX4" fmla="*/ 1186387 w 1662637"/>
                <a:gd name="connsiteY4" fmla="*/ 193103 h 304528"/>
                <a:gd name="connsiteX5" fmla="*/ 246587 w 1662637"/>
                <a:gd name="connsiteY5" fmla="*/ 28003 h 304528"/>
                <a:gd name="connsiteX6" fmla="*/ 8462 w 1662637"/>
                <a:gd name="connsiteY6" fmla="*/ 186753 h 304528"/>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 name="connsiteX0" fmla="*/ 8175 w 1646273"/>
                <a:gd name="connsiteY0" fmla="*/ 190827 h 445287"/>
                <a:gd name="connsiteX1" fmla="*/ 319325 w 1646273"/>
                <a:gd name="connsiteY1" fmla="*/ 108277 h 445287"/>
                <a:gd name="connsiteX2" fmla="*/ 1144825 w 1646273"/>
                <a:gd name="connsiteY2" fmla="*/ 2702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9325 w 1646273"/>
                <a:gd name="connsiteY1" fmla="*/ 108277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9325 w 1646273"/>
                <a:gd name="connsiteY1" fmla="*/ 108277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2180 w 1646273"/>
                <a:gd name="connsiteY1" fmla="*/ 125400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2180 w 1646273"/>
                <a:gd name="connsiteY1" fmla="*/ 125400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2180 w 1646273"/>
                <a:gd name="connsiteY1" fmla="*/ 125400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7914 w 1646012"/>
                <a:gd name="connsiteY0" fmla="*/ 189281 h 443741"/>
                <a:gd name="connsiteX1" fmla="*/ 311919 w 1646012"/>
                <a:gd name="connsiteY1" fmla="*/ 123854 h 443741"/>
                <a:gd name="connsiteX2" fmla="*/ 1144564 w 1646012"/>
                <a:gd name="connsiteY2" fmla="*/ 300456 h 443741"/>
                <a:gd name="connsiteX3" fmla="*/ 1646012 w 1646012"/>
                <a:gd name="connsiteY3" fmla="*/ 443741 h 443741"/>
                <a:gd name="connsiteX4" fmla="*/ 1185839 w 1646012"/>
                <a:gd name="connsiteY4" fmla="*/ 195631 h 443741"/>
                <a:gd name="connsiteX5" fmla="*/ 254971 w 1646012"/>
                <a:gd name="connsiteY5" fmla="*/ 32977 h 443741"/>
                <a:gd name="connsiteX6" fmla="*/ 7914 w 1646012"/>
                <a:gd name="connsiteY6" fmla="*/ 189281 h 443741"/>
                <a:gd name="connsiteX0" fmla="*/ 8487 w 1646585"/>
                <a:gd name="connsiteY0" fmla="*/ 212527 h 466987"/>
                <a:gd name="connsiteX1" fmla="*/ 312492 w 1646585"/>
                <a:gd name="connsiteY1" fmla="*/ 147100 h 466987"/>
                <a:gd name="connsiteX2" fmla="*/ 1145137 w 1646585"/>
                <a:gd name="connsiteY2" fmla="*/ 323702 h 466987"/>
                <a:gd name="connsiteX3" fmla="*/ 1646585 w 1646585"/>
                <a:gd name="connsiteY3" fmla="*/ 466987 h 466987"/>
                <a:gd name="connsiteX4" fmla="*/ 1186412 w 1646585"/>
                <a:gd name="connsiteY4" fmla="*/ 218877 h 466987"/>
                <a:gd name="connsiteX5" fmla="*/ 255544 w 1646585"/>
                <a:gd name="connsiteY5" fmla="*/ 56223 h 466987"/>
                <a:gd name="connsiteX6" fmla="*/ 8487 w 1646585"/>
                <a:gd name="connsiteY6" fmla="*/ 212527 h 466987"/>
                <a:gd name="connsiteX0" fmla="*/ 8487 w 1646585"/>
                <a:gd name="connsiteY0" fmla="*/ 212527 h 466987"/>
                <a:gd name="connsiteX1" fmla="*/ 312492 w 1646585"/>
                <a:gd name="connsiteY1" fmla="*/ 147100 h 466987"/>
                <a:gd name="connsiteX2" fmla="*/ 1145137 w 1646585"/>
                <a:gd name="connsiteY2" fmla="*/ 323702 h 466987"/>
                <a:gd name="connsiteX3" fmla="*/ 1646585 w 1646585"/>
                <a:gd name="connsiteY3" fmla="*/ 466987 h 466987"/>
                <a:gd name="connsiteX4" fmla="*/ 1186412 w 1646585"/>
                <a:gd name="connsiteY4" fmla="*/ 218877 h 466987"/>
                <a:gd name="connsiteX5" fmla="*/ 255544 w 1646585"/>
                <a:gd name="connsiteY5" fmla="*/ 56223 h 466987"/>
                <a:gd name="connsiteX6" fmla="*/ 8487 w 1646585"/>
                <a:gd name="connsiteY6" fmla="*/ 212527 h 466987"/>
                <a:gd name="connsiteX0" fmla="*/ 8487 w 1646585"/>
                <a:gd name="connsiteY0" fmla="*/ 212527 h 466987"/>
                <a:gd name="connsiteX1" fmla="*/ 312492 w 1646585"/>
                <a:gd name="connsiteY1" fmla="*/ 147100 h 466987"/>
                <a:gd name="connsiteX2" fmla="*/ 1145137 w 1646585"/>
                <a:gd name="connsiteY2" fmla="*/ 323702 h 466987"/>
                <a:gd name="connsiteX3" fmla="*/ 1646585 w 1646585"/>
                <a:gd name="connsiteY3" fmla="*/ 466987 h 466987"/>
                <a:gd name="connsiteX4" fmla="*/ 1186412 w 1646585"/>
                <a:gd name="connsiteY4" fmla="*/ 218877 h 466987"/>
                <a:gd name="connsiteX5" fmla="*/ 255544 w 1646585"/>
                <a:gd name="connsiteY5" fmla="*/ 56223 h 466987"/>
                <a:gd name="connsiteX6" fmla="*/ 8487 w 1646585"/>
                <a:gd name="connsiteY6" fmla="*/ 212527 h 466987"/>
                <a:gd name="connsiteX0" fmla="*/ 7122 w 1645220"/>
                <a:gd name="connsiteY0" fmla="*/ 195482 h 449942"/>
                <a:gd name="connsiteX1" fmla="*/ 311127 w 1645220"/>
                <a:gd name="connsiteY1" fmla="*/ 130055 h 449942"/>
                <a:gd name="connsiteX2" fmla="*/ 1143772 w 1645220"/>
                <a:gd name="connsiteY2" fmla="*/ 306657 h 449942"/>
                <a:gd name="connsiteX3" fmla="*/ 1645220 w 1645220"/>
                <a:gd name="connsiteY3" fmla="*/ 449942 h 449942"/>
                <a:gd name="connsiteX4" fmla="*/ 1185047 w 1645220"/>
                <a:gd name="connsiteY4" fmla="*/ 201832 h 449942"/>
                <a:gd name="connsiteX5" fmla="*/ 304198 w 1645220"/>
                <a:gd name="connsiteY5" fmla="*/ 66086 h 449942"/>
                <a:gd name="connsiteX6" fmla="*/ 7122 w 1645220"/>
                <a:gd name="connsiteY6" fmla="*/ 195482 h 449942"/>
                <a:gd name="connsiteX0" fmla="*/ 8480 w 1646578"/>
                <a:gd name="connsiteY0" fmla="*/ 207867 h 462327"/>
                <a:gd name="connsiteX1" fmla="*/ 312485 w 1646578"/>
                <a:gd name="connsiteY1" fmla="*/ 142440 h 462327"/>
                <a:gd name="connsiteX2" fmla="*/ 1145130 w 1646578"/>
                <a:gd name="connsiteY2" fmla="*/ 319042 h 462327"/>
                <a:gd name="connsiteX3" fmla="*/ 1646578 w 1646578"/>
                <a:gd name="connsiteY3" fmla="*/ 462327 h 462327"/>
                <a:gd name="connsiteX4" fmla="*/ 1186405 w 1646578"/>
                <a:gd name="connsiteY4" fmla="*/ 214217 h 462327"/>
                <a:gd name="connsiteX5" fmla="*/ 305556 w 1646578"/>
                <a:gd name="connsiteY5" fmla="*/ 78471 h 462327"/>
                <a:gd name="connsiteX6" fmla="*/ 8480 w 1646578"/>
                <a:gd name="connsiteY6" fmla="*/ 207867 h 462327"/>
                <a:gd name="connsiteX0" fmla="*/ 8480 w 1646578"/>
                <a:gd name="connsiteY0" fmla="*/ 207867 h 462327"/>
                <a:gd name="connsiteX1" fmla="*/ 312485 w 1646578"/>
                <a:gd name="connsiteY1" fmla="*/ 142440 h 462327"/>
                <a:gd name="connsiteX2" fmla="*/ 1145130 w 1646578"/>
                <a:gd name="connsiteY2" fmla="*/ 319042 h 462327"/>
                <a:gd name="connsiteX3" fmla="*/ 1646578 w 1646578"/>
                <a:gd name="connsiteY3" fmla="*/ 462327 h 462327"/>
                <a:gd name="connsiteX4" fmla="*/ 1198909 w 1646578"/>
                <a:gd name="connsiteY4" fmla="*/ 238679 h 462327"/>
                <a:gd name="connsiteX5" fmla="*/ 305556 w 1646578"/>
                <a:gd name="connsiteY5" fmla="*/ 78471 h 462327"/>
                <a:gd name="connsiteX6" fmla="*/ 8480 w 1646578"/>
                <a:gd name="connsiteY6" fmla="*/ 207867 h 462327"/>
                <a:gd name="connsiteX0" fmla="*/ 7917 w 1646015"/>
                <a:gd name="connsiteY0" fmla="*/ 201136 h 455596"/>
                <a:gd name="connsiteX1" fmla="*/ 311922 w 1646015"/>
                <a:gd name="connsiteY1" fmla="*/ 135709 h 455596"/>
                <a:gd name="connsiteX2" fmla="*/ 1144567 w 1646015"/>
                <a:gd name="connsiteY2" fmla="*/ 312311 h 455596"/>
                <a:gd name="connsiteX3" fmla="*/ 1646015 w 1646015"/>
                <a:gd name="connsiteY3" fmla="*/ 455596 h 455596"/>
                <a:gd name="connsiteX4" fmla="*/ 1198346 w 1646015"/>
                <a:gd name="connsiteY4" fmla="*/ 231948 h 455596"/>
                <a:gd name="connsiteX5" fmla="*/ 323750 w 1646015"/>
                <a:gd name="connsiteY5" fmla="*/ 82748 h 455596"/>
                <a:gd name="connsiteX6" fmla="*/ 7917 w 1646015"/>
                <a:gd name="connsiteY6" fmla="*/ 201136 h 455596"/>
                <a:gd name="connsiteX0" fmla="*/ 8295 w 1646393"/>
                <a:gd name="connsiteY0" fmla="*/ 200370 h 454830"/>
                <a:gd name="connsiteX1" fmla="*/ 312300 w 1646393"/>
                <a:gd name="connsiteY1" fmla="*/ 134943 h 454830"/>
                <a:gd name="connsiteX2" fmla="*/ 1144945 w 1646393"/>
                <a:gd name="connsiteY2" fmla="*/ 311545 h 454830"/>
                <a:gd name="connsiteX3" fmla="*/ 1646393 w 1646393"/>
                <a:gd name="connsiteY3" fmla="*/ 454830 h 454830"/>
                <a:gd name="connsiteX4" fmla="*/ 1198724 w 1646393"/>
                <a:gd name="connsiteY4" fmla="*/ 231182 h 454830"/>
                <a:gd name="connsiteX5" fmla="*/ 324128 w 1646393"/>
                <a:gd name="connsiteY5" fmla="*/ 81982 h 454830"/>
                <a:gd name="connsiteX6" fmla="*/ 8295 w 1646393"/>
                <a:gd name="connsiteY6" fmla="*/ 200370 h 454830"/>
                <a:gd name="connsiteX0" fmla="*/ 8295 w 1646393"/>
                <a:gd name="connsiteY0" fmla="*/ 200370 h 454830"/>
                <a:gd name="connsiteX1" fmla="*/ 312300 w 1646393"/>
                <a:gd name="connsiteY1" fmla="*/ 134943 h 454830"/>
                <a:gd name="connsiteX2" fmla="*/ 1144945 w 1646393"/>
                <a:gd name="connsiteY2" fmla="*/ 311545 h 454830"/>
                <a:gd name="connsiteX3" fmla="*/ 1646393 w 1646393"/>
                <a:gd name="connsiteY3" fmla="*/ 454830 h 454830"/>
                <a:gd name="connsiteX4" fmla="*/ 1198724 w 1646393"/>
                <a:gd name="connsiteY4" fmla="*/ 231182 h 454830"/>
                <a:gd name="connsiteX5" fmla="*/ 324128 w 1646393"/>
                <a:gd name="connsiteY5" fmla="*/ 81982 h 454830"/>
                <a:gd name="connsiteX6" fmla="*/ 8295 w 1646393"/>
                <a:gd name="connsiteY6" fmla="*/ 200370 h 454830"/>
                <a:gd name="connsiteX0" fmla="*/ 8295 w 1646393"/>
                <a:gd name="connsiteY0" fmla="*/ 200370 h 454830"/>
                <a:gd name="connsiteX1" fmla="*/ 312300 w 1646393"/>
                <a:gd name="connsiteY1" fmla="*/ 134943 h 454830"/>
                <a:gd name="connsiteX2" fmla="*/ 1144945 w 1646393"/>
                <a:gd name="connsiteY2" fmla="*/ 311545 h 454830"/>
                <a:gd name="connsiteX3" fmla="*/ 1646393 w 1646393"/>
                <a:gd name="connsiteY3" fmla="*/ 454830 h 454830"/>
                <a:gd name="connsiteX4" fmla="*/ 1198724 w 1646393"/>
                <a:gd name="connsiteY4" fmla="*/ 231182 h 454830"/>
                <a:gd name="connsiteX5" fmla="*/ 324128 w 1646393"/>
                <a:gd name="connsiteY5" fmla="*/ 81982 h 454830"/>
                <a:gd name="connsiteX6" fmla="*/ 8295 w 1646393"/>
                <a:gd name="connsiteY6" fmla="*/ 200370 h 454830"/>
                <a:gd name="connsiteX0" fmla="*/ 8295 w 1646393"/>
                <a:gd name="connsiteY0" fmla="*/ 200370 h 454830"/>
                <a:gd name="connsiteX1" fmla="*/ 312300 w 1646393"/>
                <a:gd name="connsiteY1" fmla="*/ 134943 h 454830"/>
                <a:gd name="connsiteX2" fmla="*/ 1144945 w 1646393"/>
                <a:gd name="connsiteY2" fmla="*/ 311545 h 454830"/>
                <a:gd name="connsiteX3" fmla="*/ 1646393 w 1646393"/>
                <a:gd name="connsiteY3" fmla="*/ 454830 h 454830"/>
                <a:gd name="connsiteX4" fmla="*/ 1198724 w 1646393"/>
                <a:gd name="connsiteY4" fmla="*/ 231182 h 454830"/>
                <a:gd name="connsiteX5" fmla="*/ 324128 w 1646393"/>
                <a:gd name="connsiteY5" fmla="*/ 81982 h 454830"/>
                <a:gd name="connsiteX6" fmla="*/ 8295 w 1646393"/>
                <a:gd name="connsiteY6" fmla="*/ 200370 h 454830"/>
                <a:gd name="connsiteX0" fmla="*/ 8295 w 1646393"/>
                <a:gd name="connsiteY0" fmla="*/ 200370 h 454830"/>
                <a:gd name="connsiteX1" fmla="*/ 312300 w 1646393"/>
                <a:gd name="connsiteY1" fmla="*/ 134943 h 454830"/>
                <a:gd name="connsiteX2" fmla="*/ 547329 w 1646393"/>
                <a:gd name="connsiteY2" fmla="*/ 306941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47329 w 1646393"/>
                <a:gd name="connsiteY2" fmla="*/ 306941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47329 w 1646393"/>
                <a:gd name="connsiteY2" fmla="*/ 306941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47329 w 1646393"/>
                <a:gd name="connsiteY2" fmla="*/ 306941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83503 w 1646393"/>
                <a:gd name="connsiteY2" fmla="*/ 316114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83503 w 1646393"/>
                <a:gd name="connsiteY2" fmla="*/ 316114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83503 w 1646393"/>
                <a:gd name="connsiteY2" fmla="*/ 316114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83503 w 1646393"/>
                <a:gd name="connsiteY2" fmla="*/ 316114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46393" h="454830">
                  <a:moveTo>
                    <a:pt x="8295" y="200370"/>
                  </a:moveTo>
                  <a:cubicBezTo>
                    <a:pt x="26287" y="182378"/>
                    <a:pt x="-22389" y="-76704"/>
                    <a:pt x="312300" y="134943"/>
                  </a:cubicBezTo>
                  <a:cubicBezTo>
                    <a:pt x="413304" y="203768"/>
                    <a:pt x="460807" y="246318"/>
                    <a:pt x="583503" y="316114"/>
                  </a:cubicBezTo>
                  <a:cubicBezTo>
                    <a:pt x="840177" y="475806"/>
                    <a:pt x="1022504" y="350802"/>
                    <a:pt x="1144945" y="311545"/>
                  </a:cubicBezTo>
                  <a:cubicBezTo>
                    <a:pt x="1307928" y="241695"/>
                    <a:pt x="1469426" y="330368"/>
                    <a:pt x="1646393" y="454830"/>
                  </a:cubicBezTo>
                  <a:cubicBezTo>
                    <a:pt x="1576543" y="405088"/>
                    <a:pt x="1417799" y="185674"/>
                    <a:pt x="1198724" y="231182"/>
                  </a:cubicBezTo>
                  <a:cubicBezTo>
                    <a:pt x="733057" y="379349"/>
                    <a:pt x="817456" y="395171"/>
                    <a:pt x="324128" y="81982"/>
                  </a:cubicBezTo>
                  <a:cubicBezTo>
                    <a:pt x="175775" y="-32162"/>
                    <a:pt x="-45680" y="-55747"/>
                    <a:pt x="8295" y="200370"/>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383" name="Freeform 382"/>
            <p:cNvSpPr/>
            <p:nvPr/>
          </p:nvSpPr>
          <p:spPr>
            <a:xfrm>
              <a:off x="1590638" y="1776075"/>
              <a:ext cx="122266" cy="22905"/>
            </a:xfrm>
            <a:custGeom>
              <a:avLst/>
              <a:gdLst>
                <a:gd name="connsiteX0" fmla="*/ 0 w 1654175"/>
                <a:gd name="connsiteY0" fmla="*/ 158750 h 276225"/>
                <a:gd name="connsiteX1" fmla="*/ 311150 w 1654175"/>
                <a:gd name="connsiteY1" fmla="*/ 76200 h 276225"/>
                <a:gd name="connsiteX2" fmla="*/ 1136650 w 1654175"/>
                <a:gd name="connsiteY2" fmla="*/ 238125 h 276225"/>
                <a:gd name="connsiteX3" fmla="*/ 1654175 w 1654175"/>
                <a:gd name="connsiteY3" fmla="*/ 276225 h 276225"/>
                <a:gd name="connsiteX4" fmla="*/ 1177925 w 1654175"/>
                <a:gd name="connsiteY4" fmla="*/ 165100 h 276225"/>
                <a:gd name="connsiteX5" fmla="*/ 238125 w 1654175"/>
                <a:gd name="connsiteY5" fmla="*/ 0 h 276225"/>
                <a:gd name="connsiteX6" fmla="*/ 0 w 1654175"/>
                <a:gd name="connsiteY6" fmla="*/ 158750 h 276225"/>
                <a:gd name="connsiteX0" fmla="*/ 8663 w 1662838"/>
                <a:gd name="connsiteY0" fmla="*/ 158750 h 276225"/>
                <a:gd name="connsiteX1" fmla="*/ 319813 w 1662838"/>
                <a:gd name="connsiteY1" fmla="*/ 76200 h 276225"/>
                <a:gd name="connsiteX2" fmla="*/ 1145313 w 1662838"/>
                <a:gd name="connsiteY2" fmla="*/ 238125 h 276225"/>
                <a:gd name="connsiteX3" fmla="*/ 1662838 w 1662838"/>
                <a:gd name="connsiteY3" fmla="*/ 276225 h 276225"/>
                <a:gd name="connsiteX4" fmla="*/ 1186588 w 1662838"/>
                <a:gd name="connsiteY4" fmla="*/ 165100 h 276225"/>
                <a:gd name="connsiteX5" fmla="*/ 246788 w 1662838"/>
                <a:gd name="connsiteY5" fmla="*/ 0 h 276225"/>
                <a:gd name="connsiteX6" fmla="*/ 8663 w 1662838"/>
                <a:gd name="connsiteY6" fmla="*/ 158750 h 276225"/>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528"/>
                <a:gd name="connsiteX1" fmla="*/ 319612 w 1662637"/>
                <a:gd name="connsiteY1" fmla="*/ 104203 h 304528"/>
                <a:gd name="connsiteX2" fmla="*/ 1145112 w 1662637"/>
                <a:gd name="connsiteY2" fmla="*/ 266128 h 304528"/>
                <a:gd name="connsiteX3" fmla="*/ 1662637 w 1662637"/>
                <a:gd name="connsiteY3" fmla="*/ 304228 h 304528"/>
                <a:gd name="connsiteX4" fmla="*/ 1186387 w 1662637"/>
                <a:gd name="connsiteY4" fmla="*/ 193103 h 304528"/>
                <a:gd name="connsiteX5" fmla="*/ 246587 w 1662637"/>
                <a:gd name="connsiteY5" fmla="*/ 28003 h 304528"/>
                <a:gd name="connsiteX6" fmla="*/ 8462 w 1662637"/>
                <a:gd name="connsiteY6" fmla="*/ 186753 h 304528"/>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2350" h="311416">
                  <a:moveTo>
                    <a:pt x="8175" y="190827"/>
                  </a:moveTo>
                  <a:cubicBezTo>
                    <a:pt x="26167" y="172835"/>
                    <a:pt x="-51092" y="-64231"/>
                    <a:pt x="319325" y="108277"/>
                  </a:cubicBezTo>
                  <a:cubicBezTo>
                    <a:pt x="470667" y="187652"/>
                    <a:pt x="733133" y="400377"/>
                    <a:pt x="1144825" y="270202"/>
                  </a:cubicBezTo>
                  <a:cubicBezTo>
                    <a:pt x="1307808" y="200352"/>
                    <a:pt x="1461267" y="200352"/>
                    <a:pt x="1662350" y="308302"/>
                  </a:cubicBezTo>
                  <a:cubicBezTo>
                    <a:pt x="1592500" y="258560"/>
                    <a:pt x="1405175" y="151669"/>
                    <a:pt x="1186100" y="197177"/>
                  </a:cubicBezTo>
                  <a:cubicBezTo>
                    <a:pt x="720433" y="345344"/>
                    <a:pt x="623067" y="188710"/>
                    <a:pt x="246300" y="32077"/>
                  </a:cubicBezTo>
                  <a:cubicBezTo>
                    <a:pt x="182800" y="-731"/>
                    <a:pt x="-45800" y="-65290"/>
                    <a:pt x="8175" y="190827"/>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384" name="Freeform 383"/>
            <p:cNvSpPr/>
            <p:nvPr/>
          </p:nvSpPr>
          <p:spPr>
            <a:xfrm>
              <a:off x="1961714" y="2169246"/>
              <a:ext cx="451723" cy="405557"/>
            </a:xfrm>
            <a:custGeom>
              <a:avLst/>
              <a:gdLst/>
              <a:ahLst/>
              <a:cxnLst/>
              <a:rect l="l" t="t" r="r" b="b"/>
              <a:pathLst>
                <a:path w="6141720" h="5514049">
                  <a:moveTo>
                    <a:pt x="2437765" y="4651720"/>
                  </a:moveTo>
                  <a:lnTo>
                    <a:pt x="1748790" y="4880320"/>
                  </a:lnTo>
                  <a:lnTo>
                    <a:pt x="3021965" y="5321645"/>
                  </a:lnTo>
                  <a:lnTo>
                    <a:pt x="4457065" y="4893020"/>
                  </a:lnTo>
                  <a:lnTo>
                    <a:pt x="3041015" y="4800945"/>
                  </a:lnTo>
                  <a:close/>
                  <a:moveTo>
                    <a:pt x="1005840" y="4480270"/>
                  </a:moveTo>
                  <a:lnTo>
                    <a:pt x="878840" y="4524720"/>
                  </a:lnTo>
                  <a:lnTo>
                    <a:pt x="1551940" y="4731095"/>
                  </a:lnTo>
                  <a:lnTo>
                    <a:pt x="1678940" y="4686645"/>
                  </a:lnTo>
                  <a:close/>
                  <a:moveTo>
                    <a:pt x="586740" y="4207220"/>
                  </a:moveTo>
                  <a:lnTo>
                    <a:pt x="97790" y="4311995"/>
                  </a:lnTo>
                  <a:lnTo>
                    <a:pt x="789940" y="4556470"/>
                  </a:lnTo>
                  <a:lnTo>
                    <a:pt x="789940" y="4508845"/>
                  </a:lnTo>
                  <a:lnTo>
                    <a:pt x="945515" y="4461220"/>
                  </a:lnTo>
                  <a:lnTo>
                    <a:pt x="945515" y="4365970"/>
                  </a:lnTo>
                  <a:lnTo>
                    <a:pt x="1069340" y="4331045"/>
                  </a:lnTo>
                  <a:close/>
                  <a:moveTo>
                    <a:pt x="3918109" y="3795264"/>
                  </a:moveTo>
                  <a:lnTo>
                    <a:pt x="3587115" y="3809551"/>
                  </a:lnTo>
                  <a:lnTo>
                    <a:pt x="3587115" y="3864320"/>
                  </a:lnTo>
                  <a:lnTo>
                    <a:pt x="3872865" y="3847651"/>
                  </a:lnTo>
                  <a:lnTo>
                    <a:pt x="3872865" y="4278658"/>
                  </a:lnTo>
                  <a:lnTo>
                    <a:pt x="3920490" y="4269133"/>
                  </a:lnTo>
                  <a:cubicBezTo>
                    <a:pt x="3919696" y="4111177"/>
                    <a:pt x="3918903" y="3953220"/>
                    <a:pt x="3918109" y="3795264"/>
                  </a:cubicBezTo>
                  <a:close/>
                  <a:moveTo>
                    <a:pt x="4713446" y="3754783"/>
                  </a:moveTo>
                  <a:lnTo>
                    <a:pt x="4434840" y="3769070"/>
                  </a:lnTo>
                  <a:lnTo>
                    <a:pt x="4434840" y="3819076"/>
                  </a:lnTo>
                  <a:lnTo>
                    <a:pt x="4672965" y="3797645"/>
                  </a:lnTo>
                  <a:lnTo>
                    <a:pt x="4672965" y="4161976"/>
                  </a:lnTo>
                  <a:lnTo>
                    <a:pt x="4713446" y="4157214"/>
                  </a:lnTo>
                  <a:close/>
                  <a:moveTo>
                    <a:pt x="5356384" y="3719064"/>
                  </a:moveTo>
                  <a:lnTo>
                    <a:pt x="5120640" y="3730970"/>
                  </a:lnTo>
                  <a:lnTo>
                    <a:pt x="5120640" y="3766689"/>
                  </a:lnTo>
                  <a:lnTo>
                    <a:pt x="5327809" y="3761926"/>
                  </a:lnTo>
                  <a:lnTo>
                    <a:pt x="5342096" y="4064345"/>
                  </a:lnTo>
                  <a:lnTo>
                    <a:pt x="5370671" y="4059583"/>
                  </a:lnTo>
                  <a:close/>
                  <a:moveTo>
                    <a:pt x="5127784" y="3018976"/>
                  </a:moveTo>
                  <a:lnTo>
                    <a:pt x="5127784" y="3057076"/>
                  </a:lnTo>
                  <a:lnTo>
                    <a:pt x="5323046" y="3076126"/>
                  </a:lnTo>
                  <a:lnTo>
                    <a:pt x="5339715" y="3378545"/>
                  </a:lnTo>
                  <a:lnTo>
                    <a:pt x="5368290" y="3383307"/>
                  </a:lnTo>
                  <a:lnTo>
                    <a:pt x="5356384" y="3049933"/>
                  </a:lnTo>
                  <a:close/>
                  <a:moveTo>
                    <a:pt x="4434840" y="2952301"/>
                  </a:moveTo>
                  <a:lnTo>
                    <a:pt x="4437222" y="2995165"/>
                  </a:lnTo>
                  <a:cubicBezTo>
                    <a:pt x="4671378" y="3011833"/>
                    <a:pt x="4555490" y="3004690"/>
                    <a:pt x="4680109" y="3016595"/>
                  </a:cubicBezTo>
                  <a:lnTo>
                    <a:pt x="4680109" y="3376164"/>
                  </a:lnTo>
                  <a:lnTo>
                    <a:pt x="4718209" y="3380926"/>
                  </a:lnTo>
                  <a:cubicBezTo>
                    <a:pt x="4716621" y="3246782"/>
                    <a:pt x="4715034" y="3112639"/>
                    <a:pt x="4713446" y="2978495"/>
                  </a:cubicBezTo>
                  <a:close/>
                  <a:moveTo>
                    <a:pt x="1129665" y="2921345"/>
                  </a:moveTo>
                  <a:lnTo>
                    <a:pt x="656590" y="2994370"/>
                  </a:lnTo>
                  <a:lnTo>
                    <a:pt x="621665" y="4153245"/>
                  </a:lnTo>
                  <a:lnTo>
                    <a:pt x="1097915" y="4273895"/>
                  </a:lnTo>
                  <a:close/>
                  <a:moveTo>
                    <a:pt x="3589496" y="2868958"/>
                  </a:moveTo>
                  <a:lnTo>
                    <a:pt x="3589496" y="2918964"/>
                  </a:lnTo>
                  <a:lnTo>
                    <a:pt x="3875246" y="2949920"/>
                  </a:lnTo>
                  <a:lnTo>
                    <a:pt x="3875246" y="3380926"/>
                  </a:lnTo>
                  <a:lnTo>
                    <a:pt x="3920490" y="3380926"/>
                  </a:lnTo>
                  <a:lnTo>
                    <a:pt x="3920490" y="2902295"/>
                  </a:lnTo>
                  <a:close/>
                  <a:moveTo>
                    <a:pt x="1139190" y="2728464"/>
                  </a:moveTo>
                  <a:lnTo>
                    <a:pt x="605790" y="2838001"/>
                  </a:lnTo>
                  <a:lnTo>
                    <a:pt x="605790" y="2888008"/>
                  </a:lnTo>
                  <a:lnTo>
                    <a:pt x="1139190" y="2778470"/>
                  </a:lnTo>
                  <a:close/>
                  <a:moveTo>
                    <a:pt x="3048953" y="2621308"/>
                  </a:moveTo>
                  <a:lnTo>
                    <a:pt x="2220278" y="2749895"/>
                  </a:lnTo>
                  <a:lnTo>
                    <a:pt x="2205990" y="4531070"/>
                  </a:lnTo>
                  <a:lnTo>
                    <a:pt x="3029903" y="4731095"/>
                  </a:lnTo>
                  <a:close/>
                  <a:moveTo>
                    <a:pt x="1859915" y="2378420"/>
                  </a:moveTo>
                  <a:lnTo>
                    <a:pt x="1199515" y="2546695"/>
                  </a:lnTo>
                  <a:lnTo>
                    <a:pt x="1161415" y="4340570"/>
                  </a:lnTo>
                  <a:lnTo>
                    <a:pt x="1028065" y="4381845"/>
                  </a:lnTo>
                  <a:lnTo>
                    <a:pt x="1678940" y="4569170"/>
                  </a:lnTo>
                  <a:lnTo>
                    <a:pt x="1824990" y="4515195"/>
                  </a:lnTo>
                  <a:close/>
                  <a:moveTo>
                    <a:pt x="3082290" y="2321270"/>
                  </a:moveTo>
                  <a:lnTo>
                    <a:pt x="2225040" y="2499864"/>
                  </a:lnTo>
                  <a:lnTo>
                    <a:pt x="2225040" y="2571301"/>
                  </a:lnTo>
                  <a:lnTo>
                    <a:pt x="3082290" y="2395089"/>
                  </a:lnTo>
                  <a:close/>
                  <a:moveTo>
                    <a:pt x="3034665" y="1897408"/>
                  </a:moveTo>
                  <a:lnTo>
                    <a:pt x="853440" y="2540345"/>
                  </a:lnTo>
                  <a:lnTo>
                    <a:pt x="853440" y="2716558"/>
                  </a:lnTo>
                  <a:lnTo>
                    <a:pt x="1141571" y="2657026"/>
                  </a:lnTo>
                  <a:lnTo>
                    <a:pt x="1141571" y="2509389"/>
                  </a:lnTo>
                  <a:lnTo>
                    <a:pt x="1860709" y="2306983"/>
                  </a:lnTo>
                  <a:lnTo>
                    <a:pt x="2196465" y="2418901"/>
                  </a:lnTo>
                  <a:lnTo>
                    <a:pt x="3034665" y="2230783"/>
                  </a:lnTo>
                  <a:close/>
                  <a:moveTo>
                    <a:pt x="2139315" y="1759295"/>
                  </a:moveTo>
                  <a:lnTo>
                    <a:pt x="1482090" y="2016470"/>
                  </a:lnTo>
                  <a:lnTo>
                    <a:pt x="1482090" y="2290314"/>
                  </a:lnTo>
                  <a:lnTo>
                    <a:pt x="2139315" y="2095051"/>
                  </a:lnTo>
                  <a:close/>
                  <a:moveTo>
                    <a:pt x="3960971" y="1437826"/>
                  </a:moveTo>
                  <a:lnTo>
                    <a:pt x="2675096" y="1864070"/>
                  </a:lnTo>
                  <a:lnTo>
                    <a:pt x="2675096" y="1937889"/>
                  </a:lnTo>
                  <a:lnTo>
                    <a:pt x="3034665" y="1833114"/>
                  </a:lnTo>
                  <a:lnTo>
                    <a:pt x="3253740" y="1890264"/>
                  </a:lnTo>
                  <a:lnTo>
                    <a:pt x="3844290" y="1721195"/>
                  </a:lnTo>
                  <a:lnTo>
                    <a:pt x="3844290" y="1809301"/>
                  </a:lnTo>
                  <a:lnTo>
                    <a:pt x="3429953" y="1930745"/>
                  </a:lnTo>
                  <a:lnTo>
                    <a:pt x="3960971" y="2080764"/>
                  </a:lnTo>
                  <a:close/>
                  <a:moveTo>
                    <a:pt x="4450467" y="798721"/>
                  </a:moveTo>
                  <a:cubicBezTo>
                    <a:pt x="4330363" y="791764"/>
                    <a:pt x="4200883" y="824655"/>
                    <a:pt x="4170521" y="840133"/>
                  </a:cubicBezTo>
                  <a:lnTo>
                    <a:pt x="4156234" y="1447351"/>
                  </a:lnTo>
                  <a:lnTo>
                    <a:pt x="4603909" y="1623564"/>
                  </a:lnTo>
                  <a:lnTo>
                    <a:pt x="4563428" y="821083"/>
                  </a:lnTo>
                  <a:cubicBezTo>
                    <a:pt x="4529495" y="807788"/>
                    <a:pt x="4490502" y="801041"/>
                    <a:pt x="4450467" y="798721"/>
                  </a:cubicBezTo>
                  <a:close/>
                  <a:moveTo>
                    <a:pt x="2501265" y="767802"/>
                  </a:moveTo>
                  <a:cubicBezTo>
                    <a:pt x="2490351" y="763138"/>
                    <a:pt x="2477056" y="767107"/>
                    <a:pt x="2463165" y="794888"/>
                  </a:cubicBezTo>
                  <a:lnTo>
                    <a:pt x="2434590" y="1761675"/>
                  </a:lnTo>
                  <a:lnTo>
                    <a:pt x="2536984" y="1787869"/>
                  </a:lnTo>
                  <a:lnTo>
                    <a:pt x="2525078" y="792507"/>
                  </a:lnTo>
                  <a:cubicBezTo>
                    <a:pt x="2520712" y="785761"/>
                    <a:pt x="2512179" y="772465"/>
                    <a:pt x="2501265" y="767802"/>
                  </a:cubicBezTo>
                  <a:close/>
                  <a:moveTo>
                    <a:pt x="4302793" y="558846"/>
                  </a:moveTo>
                  <a:cubicBezTo>
                    <a:pt x="4256396" y="562269"/>
                    <a:pt x="4216361" y="576408"/>
                    <a:pt x="4177665" y="597243"/>
                  </a:cubicBezTo>
                  <a:lnTo>
                    <a:pt x="4170521" y="780600"/>
                  </a:lnTo>
                  <a:cubicBezTo>
                    <a:pt x="4199096" y="769488"/>
                    <a:pt x="4272915" y="739325"/>
                    <a:pt x="4349115" y="747262"/>
                  </a:cubicBezTo>
                  <a:lnTo>
                    <a:pt x="4351497" y="559144"/>
                  </a:lnTo>
                  <a:cubicBezTo>
                    <a:pt x="4334431" y="557755"/>
                    <a:pt x="4318259" y="557705"/>
                    <a:pt x="4302793" y="558846"/>
                  </a:cubicBezTo>
                  <a:close/>
                  <a:moveTo>
                    <a:pt x="3202810" y="335363"/>
                  </a:moveTo>
                  <a:cubicBezTo>
                    <a:pt x="3126836" y="339232"/>
                    <a:pt x="3059668" y="355250"/>
                    <a:pt x="3020378" y="375788"/>
                  </a:cubicBezTo>
                  <a:lnTo>
                    <a:pt x="2987040" y="1687857"/>
                  </a:lnTo>
                  <a:lnTo>
                    <a:pt x="3449003" y="1528313"/>
                  </a:lnTo>
                  <a:lnTo>
                    <a:pt x="3387090" y="351975"/>
                  </a:lnTo>
                  <a:cubicBezTo>
                    <a:pt x="3352364" y="343244"/>
                    <a:pt x="3316447" y="338084"/>
                    <a:pt x="3281013" y="335827"/>
                  </a:cubicBezTo>
                  <a:cubicBezTo>
                    <a:pt x="3254438" y="334134"/>
                    <a:pt x="3228135" y="334074"/>
                    <a:pt x="3202810" y="335363"/>
                  </a:cubicBezTo>
                  <a:close/>
                  <a:moveTo>
                    <a:pt x="3210878" y="80513"/>
                  </a:moveTo>
                  <a:cubicBezTo>
                    <a:pt x="3142615" y="74956"/>
                    <a:pt x="3086259" y="86070"/>
                    <a:pt x="3034665" y="113850"/>
                  </a:cubicBezTo>
                  <a:lnTo>
                    <a:pt x="3027521" y="297207"/>
                  </a:lnTo>
                  <a:cubicBezTo>
                    <a:pt x="3056096" y="286095"/>
                    <a:pt x="3129915" y="263076"/>
                    <a:pt x="3206115" y="271013"/>
                  </a:cubicBezTo>
                  <a:close/>
                  <a:moveTo>
                    <a:pt x="3339623" y="1383"/>
                  </a:moveTo>
                  <a:cubicBezTo>
                    <a:pt x="3446502" y="8108"/>
                    <a:pt x="3543419" y="40032"/>
                    <a:pt x="3581400" y="111469"/>
                  </a:cubicBezTo>
                  <a:lnTo>
                    <a:pt x="3672840" y="1460209"/>
                  </a:lnTo>
                  <a:lnTo>
                    <a:pt x="3947160" y="1368769"/>
                  </a:lnTo>
                  <a:lnTo>
                    <a:pt x="4091940" y="1429729"/>
                  </a:lnTo>
                  <a:lnTo>
                    <a:pt x="4130040" y="561049"/>
                  </a:lnTo>
                  <a:cubicBezTo>
                    <a:pt x="4317048" y="361024"/>
                    <a:pt x="4746943" y="489611"/>
                    <a:pt x="4762500" y="561049"/>
                  </a:cubicBezTo>
                  <a:lnTo>
                    <a:pt x="4892040" y="2328889"/>
                  </a:lnTo>
                  <a:lnTo>
                    <a:pt x="5433060" y="2466049"/>
                  </a:lnTo>
                  <a:lnTo>
                    <a:pt x="5448300" y="2793709"/>
                  </a:lnTo>
                  <a:lnTo>
                    <a:pt x="5692140" y="2862289"/>
                  </a:lnTo>
                  <a:lnTo>
                    <a:pt x="5692140" y="3113749"/>
                  </a:lnTo>
                  <a:lnTo>
                    <a:pt x="5631180" y="3128989"/>
                  </a:lnTo>
                  <a:lnTo>
                    <a:pt x="5646420" y="4142449"/>
                  </a:lnTo>
                  <a:lnTo>
                    <a:pt x="6103620" y="4256749"/>
                  </a:lnTo>
                  <a:lnTo>
                    <a:pt x="6141720" y="4462489"/>
                  </a:lnTo>
                  <a:lnTo>
                    <a:pt x="3048000" y="5514049"/>
                  </a:lnTo>
                  <a:lnTo>
                    <a:pt x="0" y="4401529"/>
                  </a:lnTo>
                  <a:lnTo>
                    <a:pt x="0" y="4271989"/>
                  </a:lnTo>
                  <a:lnTo>
                    <a:pt x="556260" y="4165309"/>
                  </a:lnTo>
                  <a:lnTo>
                    <a:pt x="601980" y="3022309"/>
                  </a:lnTo>
                  <a:lnTo>
                    <a:pt x="556260" y="3007069"/>
                  </a:lnTo>
                  <a:lnTo>
                    <a:pt x="556260" y="2786089"/>
                  </a:lnTo>
                  <a:lnTo>
                    <a:pt x="792480" y="2732749"/>
                  </a:lnTo>
                  <a:lnTo>
                    <a:pt x="792480" y="2481289"/>
                  </a:lnTo>
                  <a:lnTo>
                    <a:pt x="1424940" y="2298409"/>
                  </a:lnTo>
                  <a:lnTo>
                    <a:pt x="1424940" y="1970749"/>
                  </a:lnTo>
                  <a:lnTo>
                    <a:pt x="2141220" y="1681189"/>
                  </a:lnTo>
                  <a:lnTo>
                    <a:pt x="2392680" y="1757389"/>
                  </a:lnTo>
                  <a:lnTo>
                    <a:pt x="2423637" y="751549"/>
                  </a:lnTo>
                  <a:cubicBezTo>
                    <a:pt x="2433321" y="709957"/>
                    <a:pt x="2595403" y="687414"/>
                    <a:pt x="2631281" y="748215"/>
                  </a:cubicBezTo>
                  <a:lnTo>
                    <a:pt x="2682240" y="1795489"/>
                  </a:lnTo>
                  <a:lnTo>
                    <a:pt x="2872740" y="1726909"/>
                  </a:lnTo>
                  <a:lnTo>
                    <a:pt x="2948940" y="111469"/>
                  </a:lnTo>
                  <a:cubicBezTo>
                    <a:pt x="2955687" y="48961"/>
                    <a:pt x="3161491" y="-9826"/>
                    <a:pt x="3339623" y="1383"/>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385" name="Freeform 384"/>
            <p:cNvSpPr/>
            <p:nvPr/>
          </p:nvSpPr>
          <p:spPr>
            <a:xfrm>
              <a:off x="2137625" y="2380432"/>
              <a:ext cx="32051" cy="40983"/>
            </a:xfrm>
            <a:custGeom>
              <a:avLst/>
              <a:gdLst>
                <a:gd name="connsiteX0" fmla="*/ 435768 w 435768"/>
                <a:gd name="connsiteY0" fmla="*/ 76200 h 557212"/>
                <a:gd name="connsiteX1" fmla="*/ 435768 w 435768"/>
                <a:gd name="connsiteY1" fmla="*/ 0 h 557212"/>
                <a:gd name="connsiteX2" fmla="*/ 4762 w 435768"/>
                <a:gd name="connsiteY2" fmla="*/ 45244 h 557212"/>
                <a:gd name="connsiteX3" fmla="*/ 0 w 435768"/>
                <a:gd name="connsiteY3" fmla="*/ 557212 h 557212"/>
                <a:gd name="connsiteX4" fmla="*/ 64293 w 435768"/>
                <a:gd name="connsiteY4" fmla="*/ 557212 h 557212"/>
                <a:gd name="connsiteX5" fmla="*/ 66675 w 435768"/>
                <a:gd name="connsiteY5" fmla="*/ 104775 h 557212"/>
                <a:gd name="connsiteX6" fmla="*/ 435768 w 435768"/>
                <a:gd name="connsiteY6" fmla="*/ 76200 h 557212"/>
                <a:gd name="connsiteX0" fmla="*/ 435768 w 435768"/>
                <a:gd name="connsiteY0" fmla="*/ 76200 h 557212"/>
                <a:gd name="connsiteX1" fmla="*/ 435768 w 435768"/>
                <a:gd name="connsiteY1" fmla="*/ 0 h 557212"/>
                <a:gd name="connsiteX2" fmla="*/ 4762 w 435768"/>
                <a:gd name="connsiteY2" fmla="*/ 45244 h 557212"/>
                <a:gd name="connsiteX3" fmla="*/ 0 w 435768"/>
                <a:gd name="connsiteY3" fmla="*/ 557212 h 557212"/>
                <a:gd name="connsiteX4" fmla="*/ 64293 w 435768"/>
                <a:gd name="connsiteY4" fmla="*/ 557212 h 557212"/>
                <a:gd name="connsiteX5" fmla="*/ 66675 w 435768"/>
                <a:gd name="connsiteY5" fmla="*/ 109537 h 557212"/>
                <a:gd name="connsiteX6" fmla="*/ 435768 w 435768"/>
                <a:gd name="connsiteY6" fmla="*/ 76200 h 557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768" h="557212">
                  <a:moveTo>
                    <a:pt x="435768" y="76200"/>
                  </a:moveTo>
                  <a:lnTo>
                    <a:pt x="435768" y="0"/>
                  </a:lnTo>
                  <a:lnTo>
                    <a:pt x="4762" y="45244"/>
                  </a:lnTo>
                  <a:cubicBezTo>
                    <a:pt x="3175" y="215900"/>
                    <a:pt x="1587" y="386556"/>
                    <a:pt x="0" y="557212"/>
                  </a:cubicBezTo>
                  <a:lnTo>
                    <a:pt x="64293" y="557212"/>
                  </a:lnTo>
                  <a:lnTo>
                    <a:pt x="66675" y="109537"/>
                  </a:lnTo>
                  <a:lnTo>
                    <a:pt x="435768" y="76200"/>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386" name="Freeform 385"/>
            <p:cNvSpPr/>
            <p:nvPr/>
          </p:nvSpPr>
          <p:spPr>
            <a:xfrm>
              <a:off x="2137625" y="2443483"/>
              <a:ext cx="32226" cy="40457"/>
            </a:xfrm>
            <a:custGeom>
              <a:avLst/>
              <a:gdLst>
                <a:gd name="connsiteX0" fmla="*/ 435768 w 435768"/>
                <a:gd name="connsiteY0" fmla="*/ 76200 h 557212"/>
                <a:gd name="connsiteX1" fmla="*/ 435768 w 435768"/>
                <a:gd name="connsiteY1" fmla="*/ 0 h 557212"/>
                <a:gd name="connsiteX2" fmla="*/ 4762 w 435768"/>
                <a:gd name="connsiteY2" fmla="*/ 45244 h 557212"/>
                <a:gd name="connsiteX3" fmla="*/ 0 w 435768"/>
                <a:gd name="connsiteY3" fmla="*/ 557212 h 557212"/>
                <a:gd name="connsiteX4" fmla="*/ 64293 w 435768"/>
                <a:gd name="connsiteY4" fmla="*/ 557212 h 557212"/>
                <a:gd name="connsiteX5" fmla="*/ 66675 w 435768"/>
                <a:gd name="connsiteY5" fmla="*/ 104775 h 557212"/>
                <a:gd name="connsiteX6" fmla="*/ 435768 w 435768"/>
                <a:gd name="connsiteY6" fmla="*/ 76200 h 557212"/>
                <a:gd name="connsiteX0" fmla="*/ 435768 w 435768"/>
                <a:gd name="connsiteY0" fmla="*/ 76200 h 557212"/>
                <a:gd name="connsiteX1" fmla="*/ 435768 w 435768"/>
                <a:gd name="connsiteY1" fmla="*/ 0 h 557212"/>
                <a:gd name="connsiteX2" fmla="*/ 4762 w 435768"/>
                <a:gd name="connsiteY2" fmla="*/ 45244 h 557212"/>
                <a:gd name="connsiteX3" fmla="*/ 0 w 435768"/>
                <a:gd name="connsiteY3" fmla="*/ 557212 h 557212"/>
                <a:gd name="connsiteX4" fmla="*/ 64293 w 435768"/>
                <a:gd name="connsiteY4" fmla="*/ 557212 h 557212"/>
                <a:gd name="connsiteX5" fmla="*/ 66675 w 435768"/>
                <a:gd name="connsiteY5" fmla="*/ 109537 h 557212"/>
                <a:gd name="connsiteX6" fmla="*/ 435768 w 435768"/>
                <a:gd name="connsiteY6" fmla="*/ 76200 h 557212"/>
                <a:gd name="connsiteX0" fmla="*/ 435768 w 435768"/>
                <a:gd name="connsiteY0" fmla="*/ 76200 h 585787"/>
                <a:gd name="connsiteX1" fmla="*/ 435768 w 435768"/>
                <a:gd name="connsiteY1" fmla="*/ 0 h 585787"/>
                <a:gd name="connsiteX2" fmla="*/ 4762 w 435768"/>
                <a:gd name="connsiteY2" fmla="*/ 45244 h 585787"/>
                <a:gd name="connsiteX3" fmla="*/ 0 w 435768"/>
                <a:gd name="connsiteY3" fmla="*/ 585787 h 585787"/>
                <a:gd name="connsiteX4" fmla="*/ 64293 w 435768"/>
                <a:gd name="connsiteY4" fmla="*/ 557212 h 585787"/>
                <a:gd name="connsiteX5" fmla="*/ 66675 w 435768"/>
                <a:gd name="connsiteY5" fmla="*/ 109537 h 585787"/>
                <a:gd name="connsiteX6" fmla="*/ 435768 w 435768"/>
                <a:gd name="connsiteY6" fmla="*/ 76200 h 585787"/>
                <a:gd name="connsiteX0" fmla="*/ 435768 w 435768"/>
                <a:gd name="connsiteY0" fmla="*/ 76200 h 595312"/>
                <a:gd name="connsiteX1" fmla="*/ 435768 w 435768"/>
                <a:gd name="connsiteY1" fmla="*/ 0 h 595312"/>
                <a:gd name="connsiteX2" fmla="*/ 4762 w 435768"/>
                <a:gd name="connsiteY2" fmla="*/ 45244 h 595312"/>
                <a:gd name="connsiteX3" fmla="*/ 0 w 435768"/>
                <a:gd name="connsiteY3" fmla="*/ 585787 h 595312"/>
                <a:gd name="connsiteX4" fmla="*/ 54768 w 435768"/>
                <a:gd name="connsiteY4" fmla="*/ 595312 h 595312"/>
                <a:gd name="connsiteX5" fmla="*/ 66675 w 435768"/>
                <a:gd name="connsiteY5" fmla="*/ 109537 h 595312"/>
                <a:gd name="connsiteX6" fmla="*/ 435768 w 435768"/>
                <a:gd name="connsiteY6" fmla="*/ 76200 h 595312"/>
                <a:gd name="connsiteX0" fmla="*/ 433387 w 435768"/>
                <a:gd name="connsiteY0" fmla="*/ 128588 h 595312"/>
                <a:gd name="connsiteX1" fmla="*/ 435768 w 435768"/>
                <a:gd name="connsiteY1" fmla="*/ 0 h 595312"/>
                <a:gd name="connsiteX2" fmla="*/ 4762 w 435768"/>
                <a:gd name="connsiteY2" fmla="*/ 45244 h 595312"/>
                <a:gd name="connsiteX3" fmla="*/ 0 w 435768"/>
                <a:gd name="connsiteY3" fmla="*/ 585787 h 595312"/>
                <a:gd name="connsiteX4" fmla="*/ 54768 w 435768"/>
                <a:gd name="connsiteY4" fmla="*/ 595312 h 595312"/>
                <a:gd name="connsiteX5" fmla="*/ 66675 w 435768"/>
                <a:gd name="connsiteY5" fmla="*/ 109537 h 595312"/>
                <a:gd name="connsiteX6" fmla="*/ 433387 w 435768"/>
                <a:gd name="connsiteY6" fmla="*/ 128588 h 595312"/>
                <a:gd name="connsiteX0" fmla="*/ 433387 w 438149"/>
                <a:gd name="connsiteY0" fmla="*/ 83344 h 550068"/>
                <a:gd name="connsiteX1" fmla="*/ 438149 w 438149"/>
                <a:gd name="connsiteY1" fmla="*/ 21431 h 550068"/>
                <a:gd name="connsiteX2" fmla="*/ 4762 w 438149"/>
                <a:gd name="connsiteY2" fmla="*/ 0 h 550068"/>
                <a:gd name="connsiteX3" fmla="*/ 0 w 438149"/>
                <a:gd name="connsiteY3" fmla="*/ 540543 h 550068"/>
                <a:gd name="connsiteX4" fmla="*/ 54768 w 438149"/>
                <a:gd name="connsiteY4" fmla="*/ 550068 h 550068"/>
                <a:gd name="connsiteX5" fmla="*/ 66675 w 438149"/>
                <a:gd name="connsiteY5" fmla="*/ 64293 h 550068"/>
                <a:gd name="connsiteX6" fmla="*/ 433387 w 438149"/>
                <a:gd name="connsiteY6" fmla="*/ 83344 h 550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149" h="550068">
                  <a:moveTo>
                    <a:pt x="433387" y="83344"/>
                  </a:moveTo>
                  <a:cubicBezTo>
                    <a:pt x="434181" y="40481"/>
                    <a:pt x="437355" y="64294"/>
                    <a:pt x="438149" y="21431"/>
                  </a:cubicBezTo>
                  <a:lnTo>
                    <a:pt x="4762" y="0"/>
                  </a:lnTo>
                  <a:cubicBezTo>
                    <a:pt x="3175" y="170656"/>
                    <a:pt x="1587" y="369887"/>
                    <a:pt x="0" y="540543"/>
                  </a:cubicBezTo>
                  <a:lnTo>
                    <a:pt x="54768" y="550068"/>
                  </a:lnTo>
                  <a:lnTo>
                    <a:pt x="66675" y="64293"/>
                  </a:lnTo>
                  <a:lnTo>
                    <a:pt x="433387" y="83344"/>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387" name="Freeform 386"/>
            <p:cNvSpPr/>
            <p:nvPr/>
          </p:nvSpPr>
          <p:spPr>
            <a:xfrm>
              <a:off x="2137100" y="2380257"/>
              <a:ext cx="33102" cy="41333"/>
            </a:xfrm>
            <a:custGeom>
              <a:avLst/>
              <a:gdLst>
                <a:gd name="connsiteX0" fmla="*/ 0 w 450056"/>
                <a:gd name="connsiteY0" fmla="*/ 561975 h 561975"/>
                <a:gd name="connsiteX1" fmla="*/ 73819 w 450056"/>
                <a:gd name="connsiteY1" fmla="*/ 561975 h 561975"/>
                <a:gd name="connsiteX2" fmla="*/ 73819 w 450056"/>
                <a:gd name="connsiteY2" fmla="*/ 116681 h 561975"/>
                <a:gd name="connsiteX3" fmla="*/ 450056 w 450056"/>
                <a:gd name="connsiteY3" fmla="*/ 73818 h 561975"/>
                <a:gd name="connsiteX4" fmla="*/ 450056 w 450056"/>
                <a:gd name="connsiteY4" fmla="*/ 0 h 561975"/>
                <a:gd name="connsiteX5" fmla="*/ 7144 w 450056"/>
                <a:gd name="connsiteY5" fmla="*/ 47625 h 561975"/>
                <a:gd name="connsiteX6" fmla="*/ 0 w 450056"/>
                <a:gd name="connsiteY6" fmla="*/ 561975 h 561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056" h="561975">
                  <a:moveTo>
                    <a:pt x="0" y="561975"/>
                  </a:moveTo>
                  <a:lnTo>
                    <a:pt x="73819" y="561975"/>
                  </a:lnTo>
                  <a:lnTo>
                    <a:pt x="73819" y="116681"/>
                  </a:lnTo>
                  <a:lnTo>
                    <a:pt x="450056" y="73818"/>
                  </a:lnTo>
                  <a:lnTo>
                    <a:pt x="450056" y="0"/>
                  </a:lnTo>
                  <a:lnTo>
                    <a:pt x="7144" y="47625"/>
                  </a:lnTo>
                  <a:cubicBezTo>
                    <a:pt x="4763" y="219075"/>
                    <a:pt x="2381" y="390525"/>
                    <a:pt x="0" y="561975"/>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388" name="Freeform 387"/>
            <p:cNvSpPr/>
            <p:nvPr/>
          </p:nvSpPr>
          <p:spPr>
            <a:xfrm>
              <a:off x="2137100" y="2443308"/>
              <a:ext cx="33102" cy="41158"/>
            </a:xfrm>
            <a:custGeom>
              <a:avLst/>
              <a:gdLst>
                <a:gd name="connsiteX0" fmla="*/ 0 w 450056"/>
                <a:gd name="connsiteY0" fmla="*/ 561975 h 561975"/>
                <a:gd name="connsiteX1" fmla="*/ 73819 w 450056"/>
                <a:gd name="connsiteY1" fmla="*/ 561975 h 561975"/>
                <a:gd name="connsiteX2" fmla="*/ 73819 w 450056"/>
                <a:gd name="connsiteY2" fmla="*/ 116681 h 561975"/>
                <a:gd name="connsiteX3" fmla="*/ 450056 w 450056"/>
                <a:gd name="connsiteY3" fmla="*/ 73818 h 561975"/>
                <a:gd name="connsiteX4" fmla="*/ 450056 w 450056"/>
                <a:gd name="connsiteY4" fmla="*/ 0 h 561975"/>
                <a:gd name="connsiteX5" fmla="*/ 7144 w 450056"/>
                <a:gd name="connsiteY5" fmla="*/ 47625 h 561975"/>
                <a:gd name="connsiteX6" fmla="*/ 0 w 450056"/>
                <a:gd name="connsiteY6" fmla="*/ 561975 h 561975"/>
                <a:gd name="connsiteX0" fmla="*/ 0 w 450056"/>
                <a:gd name="connsiteY0" fmla="*/ 561975 h 576262"/>
                <a:gd name="connsiteX1" fmla="*/ 71438 w 450056"/>
                <a:gd name="connsiteY1" fmla="*/ 576262 h 576262"/>
                <a:gd name="connsiteX2" fmla="*/ 73819 w 450056"/>
                <a:gd name="connsiteY2" fmla="*/ 116681 h 576262"/>
                <a:gd name="connsiteX3" fmla="*/ 450056 w 450056"/>
                <a:gd name="connsiteY3" fmla="*/ 73818 h 576262"/>
                <a:gd name="connsiteX4" fmla="*/ 450056 w 450056"/>
                <a:gd name="connsiteY4" fmla="*/ 0 h 576262"/>
                <a:gd name="connsiteX5" fmla="*/ 7144 w 450056"/>
                <a:gd name="connsiteY5" fmla="*/ 47625 h 576262"/>
                <a:gd name="connsiteX6" fmla="*/ 0 w 450056"/>
                <a:gd name="connsiteY6" fmla="*/ 561975 h 576262"/>
                <a:gd name="connsiteX0" fmla="*/ 0 w 450056"/>
                <a:gd name="connsiteY0" fmla="*/ 561975 h 576262"/>
                <a:gd name="connsiteX1" fmla="*/ 71438 w 450056"/>
                <a:gd name="connsiteY1" fmla="*/ 576262 h 576262"/>
                <a:gd name="connsiteX2" fmla="*/ 73819 w 450056"/>
                <a:gd name="connsiteY2" fmla="*/ 116681 h 576262"/>
                <a:gd name="connsiteX3" fmla="*/ 450056 w 450056"/>
                <a:gd name="connsiteY3" fmla="*/ 73818 h 576262"/>
                <a:gd name="connsiteX4" fmla="*/ 450056 w 450056"/>
                <a:gd name="connsiteY4" fmla="*/ 0 h 576262"/>
                <a:gd name="connsiteX5" fmla="*/ 7144 w 450056"/>
                <a:gd name="connsiteY5" fmla="*/ 16668 h 576262"/>
                <a:gd name="connsiteX6" fmla="*/ 0 w 450056"/>
                <a:gd name="connsiteY6" fmla="*/ 561975 h 576262"/>
                <a:gd name="connsiteX0" fmla="*/ 0 w 450056"/>
                <a:gd name="connsiteY0" fmla="*/ 561975 h 576262"/>
                <a:gd name="connsiteX1" fmla="*/ 71438 w 450056"/>
                <a:gd name="connsiteY1" fmla="*/ 576262 h 576262"/>
                <a:gd name="connsiteX2" fmla="*/ 73819 w 450056"/>
                <a:gd name="connsiteY2" fmla="*/ 116681 h 576262"/>
                <a:gd name="connsiteX3" fmla="*/ 450056 w 450056"/>
                <a:gd name="connsiteY3" fmla="*/ 104775 h 576262"/>
                <a:gd name="connsiteX4" fmla="*/ 450056 w 450056"/>
                <a:gd name="connsiteY4" fmla="*/ 0 h 576262"/>
                <a:gd name="connsiteX5" fmla="*/ 7144 w 450056"/>
                <a:gd name="connsiteY5" fmla="*/ 16668 h 576262"/>
                <a:gd name="connsiteX6" fmla="*/ 0 w 450056"/>
                <a:gd name="connsiteY6" fmla="*/ 561975 h 576262"/>
                <a:gd name="connsiteX0" fmla="*/ 0 w 450056"/>
                <a:gd name="connsiteY0" fmla="*/ 545307 h 559594"/>
                <a:gd name="connsiteX1" fmla="*/ 71438 w 450056"/>
                <a:gd name="connsiteY1" fmla="*/ 559594 h 559594"/>
                <a:gd name="connsiteX2" fmla="*/ 73819 w 450056"/>
                <a:gd name="connsiteY2" fmla="*/ 100013 h 559594"/>
                <a:gd name="connsiteX3" fmla="*/ 450056 w 450056"/>
                <a:gd name="connsiteY3" fmla="*/ 88107 h 559594"/>
                <a:gd name="connsiteX4" fmla="*/ 450056 w 450056"/>
                <a:gd name="connsiteY4" fmla="*/ 21432 h 559594"/>
                <a:gd name="connsiteX5" fmla="*/ 7144 w 450056"/>
                <a:gd name="connsiteY5" fmla="*/ 0 h 559594"/>
                <a:gd name="connsiteX6" fmla="*/ 0 w 450056"/>
                <a:gd name="connsiteY6" fmla="*/ 545307 h 559594"/>
                <a:gd name="connsiteX0" fmla="*/ 0 w 450056"/>
                <a:gd name="connsiteY0" fmla="*/ 545307 h 559594"/>
                <a:gd name="connsiteX1" fmla="*/ 71438 w 450056"/>
                <a:gd name="connsiteY1" fmla="*/ 559594 h 559594"/>
                <a:gd name="connsiteX2" fmla="*/ 76200 w 450056"/>
                <a:gd name="connsiteY2" fmla="*/ 71438 h 559594"/>
                <a:gd name="connsiteX3" fmla="*/ 450056 w 450056"/>
                <a:gd name="connsiteY3" fmla="*/ 88107 h 559594"/>
                <a:gd name="connsiteX4" fmla="*/ 450056 w 450056"/>
                <a:gd name="connsiteY4" fmla="*/ 21432 h 559594"/>
                <a:gd name="connsiteX5" fmla="*/ 7144 w 450056"/>
                <a:gd name="connsiteY5" fmla="*/ 0 h 559594"/>
                <a:gd name="connsiteX6" fmla="*/ 0 w 450056"/>
                <a:gd name="connsiteY6" fmla="*/ 545307 h 559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056" h="559594">
                  <a:moveTo>
                    <a:pt x="0" y="545307"/>
                  </a:moveTo>
                  <a:lnTo>
                    <a:pt x="71438" y="559594"/>
                  </a:lnTo>
                  <a:cubicBezTo>
                    <a:pt x="72232" y="406400"/>
                    <a:pt x="75406" y="224632"/>
                    <a:pt x="76200" y="71438"/>
                  </a:cubicBezTo>
                  <a:lnTo>
                    <a:pt x="450056" y="88107"/>
                  </a:lnTo>
                  <a:lnTo>
                    <a:pt x="450056" y="21432"/>
                  </a:lnTo>
                  <a:lnTo>
                    <a:pt x="7144" y="0"/>
                  </a:lnTo>
                  <a:cubicBezTo>
                    <a:pt x="4763" y="171450"/>
                    <a:pt x="2381" y="373857"/>
                    <a:pt x="0" y="545307"/>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389" name="Freeform 388"/>
            <p:cNvSpPr/>
            <p:nvPr/>
          </p:nvSpPr>
          <p:spPr>
            <a:xfrm>
              <a:off x="2058286" y="2377980"/>
              <a:ext cx="23644" cy="36079"/>
            </a:xfrm>
            <a:custGeom>
              <a:avLst/>
              <a:gdLst>
                <a:gd name="connsiteX0" fmla="*/ 0 w 321469"/>
                <a:gd name="connsiteY0" fmla="*/ 490538 h 490538"/>
                <a:gd name="connsiteX1" fmla="*/ 11907 w 321469"/>
                <a:gd name="connsiteY1" fmla="*/ 47625 h 490538"/>
                <a:gd name="connsiteX2" fmla="*/ 321469 w 321469"/>
                <a:gd name="connsiteY2" fmla="*/ 0 h 490538"/>
                <a:gd name="connsiteX3" fmla="*/ 316707 w 321469"/>
                <a:gd name="connsiteY3" fmla="*/ 80963 h 490538"/>
                <a:gd name="connsiteX4" fmla="*/ 80963 w 321469"/>
                <a:gd name="connsiteY4" fmla="*/ 109538 h 490538"/>
                <a:gd name="connsiteX5" fmla="*/ 66675 w 321469"/>
                <a:gd name="connsiteY5" fmla="*/ 490538 h 490538"/>
                <a:gd name="connsiteX6" fmla="*/ 0 w 321469"/>
                <a:gd name="connsiteY6" fmla="*/ 490538 h 490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1469" h="490538">
                  <a:moveTo>
                    <a:pt x="0" y="490538"/>
                  </a:moveTo>
                  <a:lnTo>
                    <a:pt x="11907" y="47625"/>
                  </a:lnTo>
                  <a:lnTo>
                    <a:pt x="321469" y="0"/>
                  </a:lnTo>
                  <a:lnTo>
                    <a:pt x="316707" y="80963"/>
                  </a:lnTo>
                  <a:lnTo>
                    <a:pt x="80963" y="109538"/>
                  </a:lnTo>
                  <a:lnTo>
                    <a:pt x="66675" y="490538"/>
                  </a:lnTo>
                  <a:lnTo>
                    <a:pt x="0" y="490538"/>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390" name="Freeform 389"/>
            <p:cNvSpPr/>
            <p:nvPr/>
          </p:nvSpPr>
          <p:spPr>
            <a:xfrm>
              <a:off x="2017129" y="2394619"/>
              <a:ext cx="20491" cy="26796"/>
            </a:xfrm>
            <a:custGeom>
              <a:avLst/>
              <a:gdLst>
                <a:gd name="connsiteX0" fmla="*/ 11906 w 278606"/>
                <a:gd name="connsiteY0" fmla="*/ 26194 h 364331"/>
                <a:gd name="connsiteX1" fmla="*/ 0 w 278606"/>
                <a:gd name="connsiteY1" fmla="*/ 361950 h 364331"/>
                <a:gd name="connsiteX2" fmla="*/ 64293 w 278606"/>
                <a:gd name="connsiteY2" fmla="*/ 364331 h 364331"/>
                <a:gd name="connsiteX3" fmla="*/ 71437 w 278606"/>
                <a:gd name="connsiteY3" fmla="*/ 95250 h 364331"/>
                <a:gd name="connsiteX4" fmla="*/ 276225 w 278606"/>
                <a:gd name="connsiteY4" fmla="*/ 73819 h 364331"/>
                <a:gd name="connsiteX5" fmla="*/ 278606 w 278606"/>
                <a:gd name="connsiteY5" fmla="*/ 0 h 364331"/>
                <a:gd name="connsiteX6" fmla="*/ 11906 w 278606"/>
                <a:gd name="connsiteY6" fmla="*/ 26194 h 364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8606" h="364331">
                  <a:moveTo>
                    <a:pt x="11906" y="26194"/>
                  </a:moveTo>
                  <a:lnTo>
                    <a:pt x="0" y="361950"/>
                  </a:lnTo>
                  <a:lnTo>
                    <a:pt x="64293" y="364331"/>
                  </a:lnTo>
                  <a:lnTo>
                    <a:pt x="71437" y="95250"/>
                  </a:lnTo>
                  <a:lnTo>
                    <a:pt x="276225" y="73819"/>
                  </a:lnTo>
                  <a:cubicBezTo>
                    <a:pt x="277019" y="49213"/>
                    <a:pt x="277812" y="24606"/>
                    <a:pt x="278606" y="0"/>
                  </a:cubicBezTo>
                  <a:lnTo>
                    <a:pt x="11906" y="26194"/>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391" name="Freeform 390"/>
            <p:cNvSpPr/>
            <p:nvPr/>
          </p:nvSpPr>
          <p:spPr>
            <a:xfrm>
              <a:off x="2015727" y="2435952"/>
              <a:ext cx="21017" cy="26972"/>
            </a:xfrm>
            <a:custGeom>
              <a:avLst/>
              <a:gdLst>
                <a:gd name="connsiteX0" fmla="*/ 0 w 285750"/>
                <a:gd name="connsiteY0" fmla="*/ 354806 h 366713"/>
                <a:gd name="connsiteX1" fmla="*/ 19050 w 285750"/>
                <a:gd name="connsiteY1" fmla="*/ 0 h 366713"/>
                <a:gd name="connsiteX2" fmla="*/ 285750 w 285750"/>
                <a:gd name="connsiteY2" fmla="*/ 16669 h 366713"/>
                <a:gd name="connsiteX3" fmla="*/ 280987 w 285750"/>
                <a:gd name="connsiteY3" fmla="*/ 80963 h 366713"/>
                <a:gd name="connsiteX4" fmla="*/ 80962 w 285750"/>
                <a:gd name="connsiteY4" fmla="*/ 71438 h 366713"/>
                <a:gd name="connsiteX5" fmla="*/ 66675 w 285750"/>
                <a:gd name="connsiteY5" fmla="*/ 366713 h 366713"/>
                <a:gd name="connsiteX6" fmla="*/ 0 w 285750"/>
                <a:gd name="connsiteY6" fmla="*/ 354806 h 366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50" h="366713">
                  <a:moveTo>
                    <a:pt x="0" y="354806"/>
                  </a:moveTo>
                  <a:lnTo>
                    <a:pt x="19050" y="0"/>
                  </a:lnTo>
                  <a:lnTo>
                    <a:pt x="285750" y="16669"/>
                  </a:lnTo>
                  <a:lnTo>
                    <a:pt x="280987" y="80963"/>
                  </a:lnTo>
                  <a:lnTo>
                    <a:pt x="80962" y="71438"/>
                  </a:lnTo>
                  <a:lnTo>
                    <a:pt x="66675" y="366713"/>
                  </a:lnTo>
                  <a:lnTo>
                    <a:pt x="0" y="354806"/>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392" name="Freeform 391"/>
            <p:cNvSpPr/>
            <p:nvPr/>
          </p:nvSpPr>
          <p:spPr>
            <a:xfrm>
              <a:off x="2055309" y="2439104"/>
              <a:ext cx="28898" cy="59197"/>
            </a:xfrm>
            <a:custGeom>
              <a:avLst/>
              <a:gdLst>
                <a:gd name="connsiteX0" fmla="*/ 85725 w 392906"/>
                <a:gd name="connsiteY0" fmla="*/ 685800 h 804862"/>
                <a:gd name="connsiteX1" fmla="*/ 0 w 392906"/>
                <a:gd name="connsiteY1" fmla="*/ 707231 h 804862"/>
                <a:gd name="connsiteX2" fmla="*/ 23813 w 392906"/>
                <a:gd name="connsiteY2" fmla="*/ 0 h 804862"/>
                <a:gd name="connsiteX3" fmla="*/ 392906 w 392906"/>
                <a:gd name="connsiteY3" fmla="*/ 19050 h 804862"/>
                <a:gd name="connsiteX4" fmla="*/ 376238 w 392906"/>
                <a:gd name="connsiteY4" fmla="*/ 804862 h 804862"/>
                <a:gd name="connsiteX5" fmla="*/ 347663 w 392906"/>
                <a:gd name="connsiteY5" fmla="*/ 792956 h 804862"/>
                <a:gd name="connsiteX6" fmla="*/ 364331 w 392906"/>
                <a:gd name="connsiteY6" fmla="*/ 76200 h 804862"/>
                <a:gd name="connsiteX7" fmla="*/ 252413 w 392906"/>
                <a:gd name="connsiteY7" fmla="*/ 71437 h 804862"/>
                <a:gd name="connsiteX8" fmla="*/ 235744 w 392906"/>
                <a:gd name="connsiteY8" fmla="*/ 700087 h 804862"/>
                <a:gd name="connsiteX9" fmla="*/ 197644 w 392906"/>
                <a:gd name="connsiteY9" fmla="*/ 690562 h 804862"/>
                <a:gd name="connsiteX10" fmla="*/ 211931 w 392906"/>
                <a:gd name="connsiteY10" fmla="*/ 69056 h 804862"/>
                <a:gd name="connsiteX11" fmla="*/ 100013 w 392906"/>
                <a:gd name="connsiteY11" fmla="*/ 59531 h 804862"/>
                <a:gd name="connsiteX12" fmla="*/ 85725 w 392906"/>
                <a:gd name="connsiteY12" fmla="*/ 685800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2906" h="804862">
                  <a:moveTo>
                    <a:pt x="85725" y="685800"/>
                  </a:moveTo>
                  <a:lnTo>
                    <a:pt x="0" y="707231"/>
                  </a:lnTo>
                  <a:lnTo>
                    <a:pt x="23813" y="0"/>
                  </a:lnTo>
                  <a:lnTo>
                    <a:pt x="392906" y="19050"/>
                  </a:lnTo>
                  <a:lnTo>
                    <a:pt x="376238" y="804862"/>
                  </a:lnTo>
                  <a:lnTo>
                    <a:pt x="347663" y="792956"/>
                  </a:lnTo>
                  <a:lnTo>
                    <a:pt x="364331" y="76200"/>
                  </a:lnTo>
                  <a:lnTo>
                    <a:pt x="252413" y="71437"/>
                  </a:lnTo>
                  <a:lnTo>
                    <a:pt x="235744" y="700087"/>
                  </a:lnTo>
                  <a:lnTo>
                    <a:pt x="197644" y="690562"/>
                  </a:lnTo>
                  <a:lnTo>
                    <a:pt x="211931" y="69056"/>
                  </a:lnTo>
                  <a:lnTo>
                    <a:pt x="100013" y="59531"/>
                  </a:lnTo>
                  <a:lnTo>
                    <a:pt x="85725" y="685800"/>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393" name="Freeform 392"/>
            <p:cNvSpPr/>
            <p:nvPr/>
          </p:nvSpPr>
          <p:spPr>
            <a:xfrm>
              <a:off x="2144613" y="2201006"/>
              <a:ext cx="122266" cy="22905"/>
            </a:xfrm>
            <a:custGeom>
              <a:avLst/>
              <a:gdLst>
                <a:gd name="connsiteX0" fmla="*/ 0 w 1654175"/>
                <a:gd name="connsiteY0" fmla="*/ 158750 h 276225"/>
                <a:gd name="connsiteX1" fmla="*/ 311150 w 1654175"/>
                <a:gd name="connsiteY1" fmla="*/ 76200 h 276225"/>
                <a:gd name="connsiteX2" fmla="*/ 1136650 w 1654175"/>
                <a:gd name="connsiteY2" fmla="*/ 238125 h 276225"/>
                <a:gd name="connsiteX3" fmla="*/ 1654175 w 1654175"/>
                <a:gd name="connsiteY3" fmla="*/ 276225 h 276225"/>
                <a:gd name="connsiteX4" fmla="*/ 1177925 w 1654175"/>
                <a:gd name="connsiteY4" fmla="*/ 165100 h 276225"/>
                <a:gd name="connsiteX5" fmla="*/ 238125 w 1654175"/>
                <a:gd name="connsiteY5" fmla="*/ 0 h 276225"/>
                <a:gd name="connsiteX6" fmla="*/ 0 w 1654175"/>
                <a:gd name="connsiteY6" fmla="*/ 158750 h 276225"/>
                <a:gd name="connsiteX0" fmla="*/ 8663 w 1662838"/>
                <a:gd name="connsiteY0" fmla="*/ 158750 h 276225"/>
                <a:gd name="connsiteX1" fmla="*/ 319813 w 1662838"/>
                <a:gd name="connsiteY1" fmla="*/ 76200 h 276225"/>
                <a:gd name="connsiteX2" fmla="*/ 1145313 w 1662838"/>
                <a:gd name="connsiteY2" fmla="*/ 238125 h 276225"/>
                <a:gd name="connsiteX3" fmla="*/ 1662838 w 1662838"/>
                <a:gd name="connsiteY3" fmla="*/ 276225 h 276225"/>
                <a:gd name="connsiteX4" fmla="*/ 1186588 w 1662838"/>
                <a:gd name="connsiteY4" fmla="*/ 165100 h 276225"/>
                <a:gd name="connsiteX5" fmla="*/ 246788 w 1662838"/>
                <a:gd name="connsiteY5" fmla="*/ 0 h 276225"/>
                <a:gd name="connsiteX6" fmla="*/ 8663 w 1662838"/>
                <a:gd name="connsiteY6" fmla="*/ 158750 h 276225"/>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528"/>
                <a:gd name="connsiteX1" fmla="*/ 319612 w 1662637"/>
                <a:gd name="connsiteY1" fmla="*/ 104203 h 304528"/>
                <a:gd name="connsiteX2" fmla="*/ 1145112 w 1662637"/>
                <a:gd name="connsiteY2" fmla="*/ 266128 h 304528"/>
                <a:gd name="connsiteX3" fmla="*/ 1662637 w 1662637"/>
                <a:gd name="connsiteY3" fmla="*/ 304228 h 304528"/>
                <a:gd name="connsiteX4" fmla="*/ 1186387 w 1662637"/>
                <a:gd name="connsiteY4" fmla="*/ 193103 h 304528"/>
                <a:gd name="connsiteX5" fmla="*/ 246587 w 1662637"/>
                <a:gd name="connsiteY5" fmla="*/ 28003 h 304528"/>
                <a:gd name="connsiteX6" fmla="*/ 8462 w 1662637"/>
                <a:gd name="connsiteY6" fmla="*/ 186753 h 304528"/>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2350" h="311416">
                  <a:moveTo>
                    <a:pt x="8175" y="190827"/>
                  </a:moveTo>
                  <a:cubicBezTo>
                    <a:pt x="26167" y="172835"/>
                    <a:pt x="-51092" y="-64231"/>
                    <a:pt x="319325" y="108277"/>
                  </a:cubicBezTo>
                  <a:cubicBezTo>
                    <a:pt x="470667" y="187652"/>
                    <a:pt x="733133" y="400377"/>
                    <a:pt x="1144825" y="270202"/>
                  </a:cubicBezTo>
                  <a:cubicBezTo>
                    <a:pt x="1307808" y="200352"/>
                    <a:pt x="1461267" y="200352"/>
                    <a:pt x="1662350" y="308302"/>
                  </a:cubicBezTo>
                  <a:cubicBezTo>
                    <a:pt x="1592500" y="258560"/>
                    <a:pt x="1405175" y="151669"/>
                    <a:pt x="1186100" y="197177"/>
                  </a:cubicBezTo>
                  <a:cubicBezTo>
                    <a:pt x="720433" y="345344"/>
                    <a:pt x="623067" y="188710"/>
                    <a:pt x="246300" y="32077"/>
                  </a:cubicBezTo>
                  <a:cubicBezTo>
                    <a:pt x="182800" y="-731"/>
                    <a:pt x="-45800" y="-65290"/>
                    <a:pt x="8175" y="190827"/>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394" name="Freeform 393"/>
            <p:cNvSpPr/>
            <p:nvPr/>
          </p:nvSpPr>
          <p:spPr>
            <a:xfrm>
              <a:off x="2201110" y="2134657"/>
              <a:ext cx="215223" cy="43420"/>
            </a:xfrm>
            <a:custGeom>
              <a:avLst/>
              <a:gdLst>
                <a:gd name="connsiteX0" fmla="*/ 0 w 1654175"/>
                <a:gd name="connsiteY0" fmla="*/ 158750 h 276225"/>
                <a:gd name="connsiteX1" fmla="*/ 311150 w 1654175"/>
                <a:gd name="connsiteY1" fmla="*/ 76200 h 276225"/>
                <a:gd name="connsiteX2" fmla="*/ 1136650 w 1654175"/>
                <a:gd name="connsiteY2" fmla="*/ 238125 h 276225"/>
                <a:gd name="connsiteX3" fmla="*/ 1654175 w 1654175"/>
                <a:gd name="connsiteY3" fmla="*/ 276225 h 276225"/>
                <a:gd name="connsiteX4" fmla="*/ 1177925 w 1654175"/>
                <a:gd name="connsiteY4" fmla="*/ 165100 h 276225"/>
                <a:gd name="connsiteX5" fmla="*/ 238125 w 1654175"/>
                <a:gd name="connsiteY5" fmla="*/ 0 h 276225"/>
                <a:gd name="connsiteX6" fmla="*/ 0 w 1654175"/>
                <a:gd name="connsiteY6" fmla="*/ 158750 h 276225"/>
                <a:gd name="connsiteX0" fmla="*/ 8663 w 1662838"/>
                <a:gd name="connsiteY0" fmla="*/ 158750 h 276225"/>
                <a:gd name="connsiteX1" fmla="*/ 319813 w 1662838"/>
                <a:gd name="connsiteY1" fmla="*/ 76200 h 276225"/>
                <a:gd name="connsiteX2" fmla="*/ 1145313 w 1662838"/>
                <a:gd name="connsiteY2" fmla="*/ 238125 h 276225"/>
                <a:gd name="connsiteX3" fmla="*/ 1662838 w 1662838"/>
                <a:gd name="connsiteY3" fmla="*/ 276225 h 276225"/>
                <a:gd name="connsiteX4" fmla="*/ 1186588 w 1662838"/>
                <a:gd name="connsiteY4" fmla="*/ 165100 h 276225"/>
                <a:gd name="connsiteX5" fmla="*/ 246788 w 1662838"/>
                <a:gd name="connsiteY5" fmla="*/ 0 h 276225"/>
                <a:gd name="connsiteX6" fmla="*/ 8663 w 1662838"/>
                <a:gd name="connsiteY6" fmla="*/ 158750 h 276225"/>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528"/>
                <a:gd name="connsiteX1" fmla="*/ 319612 w 1662637"/>
                <a:gd name="connsiteY1" fmla="*/ 104203 h 304528"/>
                <a:gd name="connsiteX2" fmla="*/ 1145112 w 1662637"/>
                <a:gd name="connsiteY2" fmla="*/ 266128 h 304528"/>
                <a:gd name="connsiteX3" fmla="*/ 1662637 w 1662637"/>
                <a:gd name="connsiteY3" fmla="*/ 304228 h 304528"/>
                <a:gd name="connsiteX4" fmla="*/ 1186387 w 1662637"/>
                <a:gd name="connsiteY4" fmla="*/ 193103 h 304528"/>
                <a:gd name="connsiteX5" fmla="*/ 246587 w 1662637"/>
                <a:gd name="connsiteY5" fmla="*/ 28003 h 304528"/>
                <a:gd name="connsiteX6" fmla="*/ 8462 w 1662637"/>
                <a:gd name="connsiteY6" fmla="*/ 186753 h 304528"/>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 name="connsiteX0" fmla="*/ 8175 w 1646273"/>
                <a:gd name="connsiteY0" fmla="*/ 190827 h 445287"/>
                <a:gd name="connsiteX1" fmla="*/ 319325 w 1646273"/>
                <a:gd name="connsiteY1" fmla="*/ 108277 h 445287"/>
                <a:gd name="connsiteX2" fmla="*/ 1144825 w 1646273"/>
                <a:gd name="connsiteY2" fmla="*/ 2702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9325 w 1646273"/>
                <a:gd name="connsiteY1" fmla="*/ 108277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9325 w 1646273"/>
                <a:gd name="connsiteY1" fmla="*/ 108277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2180 w 1646273"/>
                <a:gd name="connsiteY1" fmla="*/ 125400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2180 w 1646273"/>
                <a:gd name="connsiteY1" fmla="*/ 125400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2180 w 1646273"/>
                <a:gd name="connsiteY1" fmla="*/ 125400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7914 w 1646012"/>
                <a:gd name="connsiteY0" fmla="*/ 189281 h 443741"/>
                <a:gd name="connsiteX1" fmla="*/ 311919 w 1646012"/>
                <a:gd name="connsiteY1" fmla="*/ 123854 h 443741"/>
                <a:gd name="connsiteX2" fmla="*/ 1144564 w 1646012"/>
                <a:gd name="connsiteY2" fmla="*/ 300456 h 443741"/>
                <a:gd name="connsiteX3" fmla="*/ 1646012 w 1646012"/>
                <a:gd name="connsiteY3" fmla="*/ 443741 h 443741"/>
                <a:gd name="connsiteX4" fmla="*/ 1185839 w 1646012"/>
                <a:gd name="connsiteY4" fmla="*/ 195631 h 443741"/>
                <a:gd name="connsiteX5" fmla="*/ 254971 w 1646012"/>
                <a:gd name="connsiteY5" fmla="*/ 32977 h 443741"/>
                <a:gd name="connsiteX6" fmla="*/ 7914 w 1646012"/>
                <a:gd name="connsiteY6" fmla="*/ 189281 h 443741"/>
                <a:gd name="connsiteX0" fmla="*/ 8487 w 1646585"/>
                <a:gd name="connsiteY0" fmla="*/ 212527 h 466987"/>
                <a:gd name="connsiteX1" fmla="*/ 312492 w 1646585"/>
                <a:gd name="connsiteY1" fmla="*/ 147100 h 466987"/>
                <a:gd name="connsiteX2" fmla="*/ 1145137 w 1646585"/>
                <a:gd name="connsiteY2" fmla="*/ 323702 h 466987"/>
                <a:gd name="connsiteX3" fmla="*/ 1646585 w 1646585"/>
                <a:gd name="connsiteY3" fmla="*/ 466987 h 466987"/>
                <a:gd name="connsiteX4" fmla="*/ 1186412 w 1646585"/>
                <a:gd name="connsiteY4" fmla="*/ 218877 h 466987"/>
                <a:gd name="connsiteX5" fmla="*/ 255544 w 1646585"/>
                <a:gd name="connsiteY5" fmla="*/ 56223 h 466987"/>
                <a:gd name="connsiteX6" fmla="*/ 8487 w 1646585"/>
                <a:gd name="connsiteY6" fmla="*/ 212527 h 466987"/>
                <a:gd name="connsiteX0" fmla="*/ 8487 w 1646585"/>
                <a:gd name="connsiteY0" fmla="*/ 212527 h 466987"/>
                <a:gd name="connsiteX1" fmla="*/ 312492 w 1646585"/>
                <a:gd name="connsiteY1" fmla="*/ 147100 h 466987"/>
                <a:gd name="connsiteX2" fmla="*/ 1145137 w 1646585"/>
                <a:gd name="connsiteY2" fmla="*/ 323702 h 466987"/>
                <a:gd name="connsiteX3" fmla="*/ 1646585 w 1646585"/>
                <a:gd name="connsiteY3" fmla="*/ 466987 h 466987"/>
                <a:gd name="connsiteX4" fmla="*/ 1186412 w 1646585"/>
                <a:gd name="connsiteY4" fmla="*/ 218877 h 466987"/>
                <a:gd name="connsiteX5" fmla="*/ 255544 w 1646585"/>
                <a:gd name="connsiteY5" fmla="*/ 56223 h 466987"/>
                <a:gd name="connsiteX6" fmla="*/ 8487 w 1646585"/>
                <a:gd name="connsiteY6" fmla="*/ 212527 h 466987"/>
                <a:gd name="connsiteX0" fmla="*/ 8487 w 1646585"/>
                <a:gd name="connsiteY0" fmla="*/ 212527 h 466987"/>
                <a:gd name="connsiteX1" fmla="*/ 312492 w 1646585"/>
                <a:gd name="connsiteY1" fmla="*/ 147100 h 466987"/>
                <a:gd name="connsiteX2" fmla="*/ 1145137 w 1646585"/>
                <a:gd name="connsiteY2" fmla="*/ 323702 h 466987"/>
                <a:gd name="connsiteX3" fmla="*/ 1646585 w 1646585"/>
                <a:gd name="connsiteY3" fmla="*/ 466987 h 466987"/>
                <a:gd name="connsiteX4" fmla="*/ 1186412 w 1646585"/>
                <a:gd name="connsiteY4" fmla="*/ 218877 h 466987"/>
                <a:gd name="connsiteX5" fmla="*/ 255544 w 1646585"/>
                <a:gd name="connsiteY5" fmla="*/ 56223 h 466987"/>
                <a:gd name="connsiteX6" fmla="*/ 8487 w 1646585"/>
                <a:gd name="connsiteY6" fmla="*/ 212527 h 466987"/>
                <a:gd name="connsiteX0" fmla="*/ 7122 w 1645220"/>
                <a:gd name="connsiteY0" fmla="*/ 195482 h 449942"/>
                <a:gd name="connsiteX1" fmla="*/ 311127 w 1645220"/>
                <a:gd name="connsiteY1" fmla="*/ 130055 h 449942"/>
                <a:gd name="connsiteX2" fmla="*/ 1143772 w 1645220"/>
                <a:gd name="connsiteY2" fmla="*/ 306657 h 449942"/>
                <a:gd name="connsiteX3" fmla="*/ 1645220 w 1645220"/>
                <a:gd name="connsiteY3" fmla="*/ 449942 h 449942"/>
                <a:gd name="connsiteX4" fmla="*/ 1185047 w 1645220"/>
                <a:gd name="connsiteY4" fmla="*/ 201832 h 449942"/>
                <a:gd name="connsiteX5" fmla="*/ 304198 w 1645220"/>
                <a:gd name="connsiteY5" fmla="*/ 66086 h 449942"/>
                <a:gd name="connsiteX6" fmla="*/ 7122 w 1645220"/>
                <a:gd name="connsiteY6" fmla="*/ 195482 h 449942"/>
                <a:gd name="connsiteX0" fmla="*/ 8480 w 1646578"/>
                <a:gd name="connsiteY0" fmla="*/ 207867 h 462327"/>
                <a:gd name="connsiteX1" fmla="*/ 312485 w 1646578"/>
                <a:gd name="connsiteY1" fmla="*/ 142440 h 462327"/>
                <a:gd name="connsiteX2" fmla="*/ 1145130 w 1646578"/>
                <a:gd name="connsiteY2" fmla="*/ 319042 h 462327"/>
                <a:gd name="connsiteX3" fmla="*/ 1646578 w 1646578"/>
                <a:gd name="connsiteY3" fmla="*/ 462327 h 462327"/>
                <a:gd name="connsiteX4" fmla="*/ 1186405 w 1646578"/>
                <a:gd name="connsiteY4" fmla="*/ 214217 h 462327"/>
                <a:gd name="connsiteX5" fmla="*/ 305556 w 1646578"/>
                <a:gd name="connsiteY5" fmla="*/ 78471 h 462327"/>
                <a:gd name="connsiteX6" fmla="*/ 8480 w 1646578"/>
                <a:gd name="connsiteY6" fmla="*/ 207867 h 462327"/>
                <a:gd name="connsiteX0" fmla="*/ 8480 w 1646578"/>
                <a:gd name="connsiteY0" fmla="*/ 207867 h 462327"/>
                <a:gd name="connsiteX1" fmla="*/ 312485 w 1646578"/>
                <a:gd name="connsiteY1" fmla="*/ 142440 h 462327"/>
                <a:gd name="connsiteX2" fmla="*/ 1145130 w 1646578"/>
                <a:gd name="connsiteY2" fmla="*/ 319042 h 462327"/>
                <a:gd name="connsiteX3" fmla="*/ 1646578 w 1646578"/>
                <a:gd name="connsiteY3" fmla="*/ 462327 h 462327"/>
                <a:gd name="connsiteX4" fmla="*/ 1198909 w 1646578"/>
                <a:gd name="connsiteY4" fmla="*/ 238679 h 462327"/>
                <a:gd name="connsiteX5" fmla="*/ 305556 w 1646578"/>
                <a:gd name="connsiteY5" fmla="*/ 78471 h 462327"/>
                <a:gd name="connsiteX6" fmla="*/ 8480 w 1646578"/>
                <a:gd name="connsiteY6" fmla="*/ 207867 h 462327"/>
                <a:gd name="connsiteX0" fmla="*/ 7917 w 1646015"/>
                <a:gd name="connsiteY0" fmla="*/ 201136 h 455596"/>
                <a:gd name="connsiteX1" fmla="*/ 311922 w 1646015"/>
                <a:gd name="connsiteY1" fmla="*/ 135709 h 455596"/>
                <a:gd name="connsiteX2" fmla="*/ 1144567 w 1646015"/>
                <a:gd name="connsiteY2" fmla="*/ 312311 h 455596"/>
                <a:gd name="connsiteX3" fmla="*/ 1646015 w 1646015"/>
                <a:gd name="connsiteY3" fmla="*/ 455596 h 455596"/>
                <a:gd name="connsiteX4" fmla="*/ 1198346 w 1646015"/>
                <a:gd name="connsiteY4" fmla="*/ 231948 h 455596"/>
                <a:gd name="connsiteX5" fmla="*/ 323750 w 1646015"/>
                <a:gd name="connsiteY5" fmla="*/ 82748 h 455596"/>
                <a:gd name="connsiteX6" fmla="*/ 7917 w 1646015"/>
                <a:gd name="connsiteY6" fmla="*/ 201136 h 455596"/>
                <a:gd name="connsiteX0" fmla="*/ 8295 w 1646393"/>
                <a:gd name="connsiteY0" fmla="*/ 200370 h 454830"/>
                <a:gd name="connsiteX1" fmla="*/ 312300 w 1646393"/>
                <a:gd name="connsiteY1" fmla="*/ 134943 h 454830"/>
                <a:gd name="connsiteX2" fmla="*/ 1144945 w 1646393"/>
                <a:gd name="connsiteY2" fmla="*/ 311545 h 454830"/>
                <a:gd name="connsiteX3" fmla="*/ 1646393 w 1646393"/>
                <a:gd name="connsiteY3" fmla="*/ 454830 h 454830"/>
                <a:gd name="connsiteX4" fmla="*/ 1198724 w 1646393"/>
                <a:gd name="connsiteY4" fmla="*/ 231182 h 454830"/>
                <a:gd name="connsiteX5" fmla="*/ 324128 w 1646393"/>
                <a:gd name="connsiteY5" fmla="*/ 81982 h 454830"/>
                <a:gd name="connsiteX6" fmla="*/ 8295 w 1646393"/>
                <a:gd name="connsiteY6" fmla="*/ 200370 h 454830"/>
                <a:gd name="connsiteX0" fmla="*/ 8295 w 1646393"/>
                <a:gd name="connsiteY0" fmla="*/ 200370 h 454830"/>
                <a:gd name="connsiteX1" fmla="*/ 312300 w 1646393"/>
                <a:gd name="connsiteY1" fmla="*/ 134943 h 454830"/>
                <a:gd name="connsiteX2" fmla="*/ 1144945 w 1646393"/>
                <a:gd name="connsiteY2" fmla="*/ 311545 h 454830"/>
                <a:gd name="connsiteX3" fmla="*/ 1646393 w 1646393"/>
                <a:gd name="connsiteY3" fmla="*/ 454830 h 454830"/>
                <a:gd name="connsiteX4" fmla="*/ 1198724 w 1646393"/>
                <a:gd name="connsiteY4" fmla="*/ 231182 h 454830"/>
                <a:gd name="connsiteX5" fmla="*/ 324128 w 1646393"/>
                <a:gd name="connsiteY5" fmla="*/ 81982 h 454830"/>
                <a:gd name="connsiteX6" fmla="*/ 8295 w 1646393"/>
                <a:gd name="connsiteY6" fmla="*/ 200370 h 454830"/>
                <a:gd name="connsiteX0" fmla="*/ 8295 w 1646393"/>
                <a:gd name="connsiteY0" fmla="*/ 200370 h 454830"/>
                <a:gd name="connsiteX1" fmla="*/ 312300 w 1646393"/>
                <a:gd name="connsiteY1" fmla="*/ 134943 h 454830"/>
                <a:gd name="connsiteX2" fmla="*/ 1144945 w 1646393"/>
                <a:gd name="connsiteY2" fmla="*/ 311545 h 454830"/>
                <a:gd name="connsiteX3" fmla="*/ 1646393 w 1646393"/>
                <a:gd name="connsiteY3" fmla="*/ 454830 h 454830"/>
                <a:gd name="connsiteX4" fmla="*/ 1198724 w 1646393"/>
                <a:gd name="connsiteY4" fmla="*/ 231182 h 454830"/>
                <a:gd name="connsiteX5" fmla="*/ 324128 w 1646393"/>
                <a:gd name="connsiteY5" fmla="*/ 81982 h 454830"/>
                <a:gd name="connsiteX6" fmla="*/ 8295 w 1646393"/>
                <a:gd name="connsiteY6" fmla="*/ 200370 h 454830"/>
                <a:gd name="connsiteX0" fmla="*/ 8295 w 1646393"/>
                <a:gd name="connsiteY0" fmla="*/ 200370 h 454830"/>
                <a:gd name="connsiteX1" fmla="*/ 312300 w 1646393"/>
                <a:gd name="connsiteY1" fmla="*/ 134943 h 454830"/>
                <a:gd name="connsiteX2" fmla="*/ 1144945 w 1646393"/>
                <a:gd name="connsiteY2" fmla="*/ 311545 h 454830"/>
                <a:gd name="connsiteX3" fmla="*/ 1646393 w 1646393"/>
                <a:gd name="connsiteY3" fmla="*/ 454830 h 454830"/>
                <a:gd name="connsiteX4" fmla="*/ 1198724 w 1646393"/>
                <a:gd name="connsiteY4" fmla="*/ 231182 h 454830"/>
                <a:gd name="connsiteX5" fmla="*/ 324128 w 1646393"/>
                <a:gd name="connsiteY5" fmla="*/ 81982 h 454830"/>
                <a:gd name="connsiteX6" fmla="*/ 8295 w 1646393"/>
                <a:gd name="connsiteY6" fmla="*/ 200370 h 454830"/>
                <a:gd name="connsiteX0" fmla="*/ 8295 w 1646393"/>
                <a:gd name="connsiteY0" fmla="*/ 200370 h 454830"/>
                <a:gd name="connsiteX1" fmla="*/ 312300 w 1646393"/>
                <a:gd name="connsiteY1" fmla="*/ 134943 h 454830"/>
                <a:gd name="connsiteX2" fmla="*/ 547329 w 1646393"/>
                <a:gd name="connsiteY2" fmla="*/ 306941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47329 w 1646393"/>
                <a:gd name="connsiteY2" fmla="*/ 306941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47329 w 1646393"/>
                <a:gd name="connsiteY2" fmla="*/ 306941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47329 w 1646393"/>
                <a:gd name="connsiteY2" fmla="*/ 306941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83503 w 1646393"/>
                <a:gd name="connsiteY2" fmla="*/ 316114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83503 w 1646393"/>
                <a:gd name="connsiteY2" fmla="*/ 316114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83503 w 1646393"/>
                <a:gd name="connsiteY2" fmla="*/ 316114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83503 w 1646393"/>
                <a:gd name="connsiteY2" fmla="*/ 316114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46393" h="454830">
                  <a:moveTo>
                    <a:pt x="8295" y="200370"/>
                  </a:moveTo>
                  <a:cubicBezTo>
                    <a:pt x="26287" y="182378"/>
                    <a:pt x="-22389" y="-76704"/>
                    <a:pt x="312300" y="134943"/>
                  </a:cubicBezTo>
                  <a:cubicBezTo>
                    <a:pt x="413304" y="203768"/>
                    <a:pt x="460807" y="246318"/>
                    <a:pt x="583503" y="316114"/>
                  </a:cubicBezTo>
                  <a:cubicBezTo>
                    <a:pt x="840177" y="475806"/>
                    <a:pt x="1022504" y="350802"/>
                    <a:pt x="1144945" y="311545"/>
                  </a:cubicBezTo>
                  <a:cubicBezTo>
                    <a:pt x="1307928" y="241695"/>
                    <a:pt x="1469426" y="330368"/>
                    <a:pt x="1646393" y="454830"/>
                  </a:cubicBezTo>
                  <a:cubicBezTo>
                    <a:pt x="1576543" y="405088"/>
                    <a:pt x="1417799" y="185674"/>
                    <a:pt x="1198724" y="231182"/>
                  </a:cubicBezTo>
                  <a:cubicBezTo>
                    <a:pt x="733057" y="379349"/>
                    <a:pt x="817456" y="395171"/>
                    <a:pt x="324128" y="81982"/>
                  </a:cubicBezTo>
                  <a:cubicBezTo>
                    <a:pt x="175775" y="-32162"/>
                    <a:pt x="-45680" y="-55747"/>
                    <a:pt x="8295" y="200370"/>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395" name="Freeform 394"/>
            <p:cNvSpPr/>
            <p:nvPr/>
          </p:nvSpPr>
          <p:spPr>
            <a:xfrm>
              <a:off x="2302473" y="2182791"/>
              <a:ext cx="122266" cy="22905"/>
            </a:xfrm>
            <a:custGeom>
              <a:avLst/>
              <a:gdLst>
                <a:gd name="connsiteX0" fmla="*/ 0 w 1654175"/>
                <a:gd name="connsiteY0" fmla="*/ 158750 h 276225"/>
                <a:gd name="connsiteX1" fmla="*/ 311150 w 1654175"/>
                <a:gd name="connsiteY1" fmla="*/ 76200 h 276225"/>
                <a:gd name="connsiteX2" fmla="*/ 1136650 w 1654175"/>
                <a:gd name="connsiteY2" fmla="*/ 238125 h 276225"/>
                <a:gd name="connsiteX3" fmla="*/ 1654175 w 1654175"/>
                <a:gd name="connsiteY3" fmla="*/ 276225 h 276225"/>
                <a:gd name="connsiteX4" fmla="*/ 1177925 w 1654175"/>
                <a:gd name="connsiteY4" fmla="*/ 165100 h 276225"/>
                <a:gd name="connsiteX5" fmla="*/ 238125 w 1654175"/>
                <a:gd name="connsiteY5" fmla="*/ 0 h 276225"/>
                <a:gd name="connsiteX6" fmla="*/ 0 w 1654175"/>
                <a:gd name="connsiteY6" fmla="*/ 158750 h 276225"/>
                <a:gd name="connsiteX0" fmla="*/ 8663 w 1662838"/>
                <a:gd name="connsiteY0" fmla="*/ 158750 h 276225"/>
                <a:gd name="connsiteX1" fmla="*/ 319813 w 1662838"/>
                <a:gd name="connsiteY1" fmla="*/ 76200 h 276225"/>
                <a:gd name="connsiteX2" fmla="*/ 1145313 w 1662838"/>
                <a:gd name="connsiteY2" fmla="*/ 238125 h 276225"/>
                <a:gd name="connsiteX3" fmla="*/ 1662838 w 1662838"/>
                <a:gd name="connsiteY3" fmla="*/ 276225 h 276225"/>
                <a:gd name="connsiteX4" fmla="*/ 1186588 w 1662838"/>
                <a:gd name="connsiteY4" fmla="*/ 165100 h 276225"/>
                <a:gd name="connsiteX5" fmla="*/ 246788 w 1662838"/>
                <a:gd name="connsiteY5" fmla="*/ 0 h 276225"/>
                <a:gd name="connsiteX6" fmla="*/ 8663 w 1662838"/>
                <a:gd name="connsiteY6" fmla="*/ 158750 h 276225"/>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528"/>
                <a:gd name="connsiteX1" fmla="*/ 319612 w 1662637"/>
                <a:gd name="connsiteY1" fmla="*/ 104203 h 304528"/>
                <a:gd name="connsiteX2" fmla="*/ 1145112 w 1662637"/>
                <a:gd name="connsiteY2" fmla="*/ 266128 h 304528"/>
                <a:gd name="connsiteX3" fmla="*/ 1662637 w 1662637"/>
                <a:gd name="connsiteY3" fmla="*/ 304228 h 304528"/>
                <a:gd name="connsiteX4" fmla="*/ 1186387 w 1662637"/>
                <a:gd name="connsiteY4" fmla="*/ 193103 h 304528"/>
                <a:gd name="connsiteX5" fmla="*/ 246587 w 1662637"/>
                <a:gd name="connsiteY5" fmla="*/ 28003 h 304528"/>
                <a:gd name="connsiteX6" fmla="*/ 8462 w 1662637"/>
                <a:gd name="connsiteY6" fmla="*/ 186753 h 304528"/>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2350" h="311416">
                  <a:moveTo>
                    <a:pt x="8175" y="190827"/>
                  </a:moveTo>
                  <a:cubicBezTo>
                    <a:pt x="26167" y="172835"/>
                    <a:pt x="-51092" y="-64231"/>
                    <a:pt x="319325" y="108277"/>
                  </a:cubicBezTo>
                  <a:cubicBezTo>
                    <a:pt x="470667" y="187652"/>
                    <a:pt x="733133" y="400377"/>
                    <a:pt x="1144825" y="270202"/>
                  </a:cubicBezTo>
                  <a:cubicBezTo>
                    <a:pt x="1307808" y="200352"/>
                    <a:pt x="1461267" y="200352"/>
                    <a:pt x="1662350" y="308302"/>
                  </a:cubicBezTo>
                  <a:cubicBezTo>
                    <a:pt x="1592500" y="258560"/>
                    <a:pt x="1405175" y="151669"/>
                    <a:pt x="1186100" y="197177"/>
                  </a:cubicBezTo>
                  <a:cubicBezTo>
                    <a:pt x="720433" y="345344"/>
                    <a:pt x="623067" y="188710"/>
                    <a:pt x="246300" y="32077"/>
                  </a:cubicBezTo>
                  <a:cubicBezTo>
                    <a:pt x="182800" y="-731"/>
                    <a:pt x="-45800" y="-65290"/>
                    <a:pt x="8175" y="190827"/>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396" name="Freeform 395"/>
            <p:cNvSpPr/>
            <p:nvPr/>
          </p:nvSpPr>
          <p:spPr>
            <a:xfrm>
              <a:off x="532964" y="2169246"/>
              <a:ext cx="451723" cy="405557"/>
            </a:xfrm>
            <a:custGeom>
              <a:avLst/>
              <a:gdLst/>
              <a:ahLst/>
              <a:cxnLst/>
              <a:rect l="l" t="t" r="r" b="b"/>
              <a:pathLst>
                <a:path w="6141720" h="5514049">
                  <a:moveTo>
                    <a:pt x="2437765" y="4651720"/>
                  </a:moveTo>
                  <a:lnTo>
                    <a:pt x="1748790" y="4880320"/>
                  </a:lnTo>
                  <a:lnTo>
                    <a:pt x="3021965" y="5321645"/>
                  </a:lnTo>
                  <a:lnTo>
                    <a:pt x="4457065" y="4893020"/>
                  </a:lnTo>
                  <a:lnTo>
                    <a:pt x="3041015" y="4800945"/>
                  </a:lnTo>
                  <a:close/>
                  <a:moveTo>
                    <a:pt x="1005840" y="4480270"/>
                  </a:moveTo>
                  <a:lnTo>
                    <a:pt x="878840" y="4524720"/>
                  </a:lnTo>
                  <a:lnTo>
                    <a:pt x="1551940" y="4731095"/>
                  </a:lnTo>
                  <a:lnTo>
                    <a:pt x="1678940" y="4686645"/>
                  </a:lnTo>
                  <a:close/>
                  <a:moveTo>
                    <a:pt x="586740" y="4207220"/>
                  </a:moveTo>
                  <a:lnTo>
                    <a:pt x="97790" y="4311995"/>
                  </a:lnTo>
                  <a:lnTo>
                    <a:pt x="789940" y="4556470"/>
                  </a:lnTo>
                  <a:lnTo>
                    <a:pt x="789940" y="4508845"/>
                  </a:lnTo>
                  <a:lnTo>
                    <a:pt x="945515" y="4461220"/>
                  </a:lnTo>
                  <a:lnTo>
                    <a:pt x="945515" y="4365970"/>
                  </a:lnTo>
                  <a:lnTo>
                    <a:pt x="1069340" y="4331045"/>
                  </a:lnTo>
                  <a:close/>
                  <a:moveTo>
                    <a:pt x="3918109" y="3795264"/>
                  </a:moveTo>
                  <a:lnTo>
                    <a:pt x="3587115" y="3809551"/>
                  </a:lnTo>
                  <a:lnTo>
                    <a:pt x="3587115" y="3864320"/>
                  </a:lnTo>
                  <a:lnTo>
                    <a:pt x="3872865" y="3847651"/>
                  </a:lnTo>
                  <a:lnTo>
                    <a:pt x="3872865" y="4278658"/>
                  </a:lnTo>
                  <a:lnTo>
                    <a:pt x="3920490" y="4269133"/>
                  </a:lnTo>
                  <a:cubicBezTo>
                    <a:pt x="3919696" y="4111177"/>
                    <a:pt x="3918903" y="3953220"/>
                    <a:pt x="3918109" y="3795264"/>
                  </a:cubicBezTo>
                  <a:close/>
                  <a:moveTo>
                    <a:pt x="4713446" y="3754783"/>
                  </a:moveTo>
                  <a:lnTo>
                    <a:pt x="4434840" y="3769070"/>
                  </a:lnTo>
                  <a:lnTo>
                    <a:pt x="4434840" y="3819076"/>
                  </a:lnTo>
                  <a:lnTo>
                    <a:pt x="4672965" y="3797645"/>
                  </a:lnTo>
                  <a:lnTo>
                    <a:pt x="4672965" y="4161976"/>
                  </a:lnTo>
                  <a:lnTo>
                    <a:pt x="4713446" y="4157214"/>
                  </a:lnTo>
                  <a:close/>
                  <a:moveTo>
                    <a:pt x="5356384" y="3719064"/>
                  </a:moveTo>
                  <a:lnTo>
                    <a:pt x="5120640" y="3730970"/>
                  </a:lnTo>
                  <a:lnTo>
                    <a:pt x="5120640" y="3766689"/>
                  </a:lnTo>
                  <a:lnTo>
                    <a:pt x="5327809" y="3761926"/>
                  </a:lnTo>
                  <a:lnTo>
                    <a:pt x="5342096" y="4064345"/>
                  </a:lnTo>
                  <a:lnTo>
                    <a:pt x="5370671" y="4059583"/>
                  </a:lnTo>
                  <a:close/>
                  <a:moveTo>
                    <a:pt x="5127784" y="3018976"/>
                  </a:moveTo>
                  <a:lnTo>
                    <a:pt x="5127784" y="3057076"/>
                  </a:lnTo>
                  <a:lnTo>
                    <a:pt x="5323046" y="3076126"/>
                  </a:lnTo>
                  <a:lnTo>
                    <a:pt x="5339715" y="3378545"/>
                  </a:lnTo>
                  <a:lnTo>
                    <a:pt x="5368290" y="3383307"/>
                  </a:lnTo>
                  <a:lnTo>
                    <a:pt x="5356384" y="3049933"/>
                  </a:lnTo>
                  <a:close/>
                  <a:moveTo>
                    <a:pt x="4434840" y="2952301"/>
                  </a:moveTo>
                  <a:lnTo>
                    <a:pt x="4437222" y="2995165"/>
                  </a:lnTo>
                  <a:cubicBezTo>
                    <a:pt x="4671378" y="3011833"/>
                    <a:pt x="4555490" y="3004690"/>
                    <a:pt x="4680109" y="3016595"/>
                  </a:cubicBezTo>
                  <a:lnTo>
                    <a:pt x="4680109" y="3376164"/>
                  </a:lnTo>
                  <a:lnTo>
                    <a:pt x="4718209" y="3380926"/>
                  </a:lnTo>
                  <a:cubicBezTo>
                    <a:pt x="4716621" y="3246782"/>
                    <a:pt x="4715034" y="3112639"/>
                    <a:pt x="4713446" y="2978495"/>
                  </a:cubicBezTo>
                  <a:close/>
                  <a:moveTo>
                    <a:pt x="1129665" y="2921345"/>
                  </a:moveTo>
                  <a:lnTo>
                    <a:pt x="656590" y="2994370"/>
                  </a:lnTo>
                  <a:lnTo>
                    <a:pt x="621665" y="4153245"/>
                  </a:lnTo>
                  <a:lnTo>
                    <a:pt x="1097915" y="4273895"/>
                  </a:lnTo>
                  <a:close/>
                  <a:moveTo>
                    <a:pt x="3589496" y="2868958"/>
                  </a:moveTo>
                  <a:lnTo>
                    <a:pt x="3589496" y="2918964"/>
                  </a:lnTo>
                  <a:lnTo>
                    <a:pt x="3875246" y="2949920"/>
                  </a:lnTo>
                  <a:lnTo>
                    <a:pt x="3875246" y="3380926"/>
                  </a:lnTo>
                  <a:lnTo>
                    <a:pt x="3920490" y="3380926"/>
                  </a:lnTo>
                  <a:lnTo>
                    <a:pt x="3920490" y="2902295"/>
                  </a:lnTo>
                  <a:close/>
                  <a:moveTo>
                    <a:pt x="1139190" y="2728464"/>
                  </a:moveTo>
                  <a:lnTo>
                    <a:pt x="605790" y="2838001"/>
                  </a:lnTo>
                  <a:lnTo>
                    <a:pt x="605790" y="2888008"/>
                  </a:lnTo>
                  <a:lnTo>
                    <a:pt x="1139190" y="2778470"/>
                  </a:lnTo>
                  <a:close/>
                  <a:moveTo>
                    <a:pt x="3048953" y="2621308"/>
                  </a:moveTo>
                  <a:lnTo>
                    <a:pt x="2220278" y="2749895"/>
                  </a:lnTo>
                  <a:lnTo>
                    <a:pt x="2205990" y="4531070"/>
                  </a:lnTo>
                  <a:lnTo>
                    <a:pt x="3029903" y="4731095"/>
                  </a:lnTo>
                  <a:close/>
                  <a:moveTo>
                    <a:pt x="1859915" y="2378420"/>
                  </a:moveTo>
                  <a:lnTo>
                    <a:pt x="1199515" y="2546695"/>
                  </a:lnTo>
                  <a:lnTo>
                    <a:pt x="1161415" y="4340570"/>
                  </a:lnTo>
                  <a:lnTo>
                    <a:pt x="1028065" y="4381845"/>
                  </a:lnTo>
                  <a:lnTo>
                    <a:pt x="1678940" y="4569170"/>
                  </a:lnTo>
                  <a:lnTo>
                    <a:pt x="1824990" y="4515195"/>
                  </a:lnTo>
                  <a:close/>
                  <a:moveTo>
                    <a:pt x="3082290" y="2321270"/>
                  </a:moveTo>
                  <a:lnTo>
                    <a:pt x="2225040" y="2499864"/>
                  </a:lnTo>
                  <a:lnTo>
                    <a:pt x="2225040" y="2571301"/>
                  </a:lnTo>
                  <a:lnTo>
                    <a:pt x="3082290" y="2395089"/>
                  </a:lnTo>
                  <a:close/>
                  <a:moveTo>
                    <a:pt x="3034665" y="1897408"/>
                  </a:moveTo>
                  <a:lnTo>
                    <a:pt x="853440" y="2540345"/>
                  </a:lnTo>
                  <a:lnTo>
                    <a:pt x="853440" y="2716558"/>
                  </a:lnTo>
                  <a:lnTo>
                    <a:pt x="1141571" y="2657026"/>
                  </a:lnTo>
                  <a:lnTo>
                    <a:pt x="1141571" y="2509389"/>
                  </a:lnTo>
                  <a:lnTo>
                    <a:pt x="1860709" y="2306983"/>
                  </a:lnTo>
                  <a:lnTo>
                    <a:pt x="2196465" y="2418901"/>
                  </a:lnTo>
                  <a:lnTo>
                    <a:pt x="3034665" y="2230783"/>
                  </a:lnTo>
                  <a:close/>
                  <a:moveTo>
                    <a:pt x="2139315" y="1759295"/>
                  </a:moveTo>
                  <a:lnTo>
                    <a:pt x="1482090" y="2016470"/>
                  </a:lnTo>
                  <a:lnTo>
                    <a:pt x="1482090" y="2290314"/>
                  </a:lnTo>
                  <a:lnTo>
                    <a:pt x="2139315" y="2095051"/>
                  </a:lnTo>
                  <a:close/>
                  <a:moveTo>
                    <a:pt x="3960971" y="1437826"/>
                  </a:moveTo>
                  <a:lnTo>
                    <a:pt x="2675096" y="1864070"/>
                  </a:lnTo>
                  <a:lnTo>
                    <a:pt x="2675096" y="1937889"/>
                  </a:lnTo>
                  <a:lnTo>
                    <a:pt x="3034665" y="1833114"/>
                  </a:lnTo>
                  <a:lnTo>
                    <a:pt x="3253740" y="1890264"/>
                  </a:lnTo>
                  <a:lnTo>
                    <a:pt x="3844290" y="1721195"/>
                  </a:lnTo>
                  <a:lnTo>
                    <a:pt x="3844290" y="1809301"/>
                  </a:lnTo>
                  <a:lnTo>
                    <a:pt x="3429953" y="1930745"/>
                  </a:lnTo>
                  <a:lnTo>
                    <a:pt x="3960971" y="2080764"/>
                  </a:lnTo>
                  <a:close/>
                  <a:moveTo>
                    <a:pt x="4450467" y="798721"/>
                  </a:moveTo>
                  <a:cubicBezTo>
                    <a:pt x="4330363" y="791764"/>
                    <a:pt x="4200883" y="824655"/>
                    <a:pt x="4170521" y="840133"/>
                  </a:cubicBezTo>
                  <a:lnTo>
                    <a:pt x="4156234" y="1447351"/>
                  </a:lnTo>
                  <a:lnTo>
                    <a:pt x="4603909" y="1623564"/>
                  </a:lnTo>
                  <a:lnTo>
                    <a:pt x="4563428" y="821083"/>
                  </a:lnTo>
                  <a:cubicBezTo>
                    <a:pt x="4529495" y="807788"/>
                    <a:pt x="4490502" y="801041"/>
                    <a:pt x="4450467" y="798721"/>
                  </a:cubicBezTo>
                  <a:close/>
                  <a:moveTo>
                    <a:pt x="2501265" y="767802"/>
                  </a:moveTo>
                  <a:cubicBezTo>
                    <a:pt x="2490351" y="763138"/>
                    <a:pt x="2477056" y="767107"/>
                    <a:pt x="2463165" y="794888"/>
                  </a:cubicBezTo>
                  <a:lnTo>
                    <a:pt x="2434590" y="1761675"/>
                  </a:lnTo>
                  <a:lnTo>
                    <a:pt x="2536984" y="1787869"/>
                  </a:lnTo>
                  <a:lnTo>
                    <a:pt x="2525078" y="792507"/>
                  </a:lnTo>
                  <a:cubicBezTo>
                    <a:pt x="2520712" y="785761"/>
                    <a:pt x="2512179" y="772465"/>
                    <a:pt x="2501265" y="767802"/>
                  </a:cubicBezTo>
                  <a:close/>
                  <a:moveTo>
                    <a:pt x="4302793" y="558846"/>
                  </a:moveTo>
                  <a:cubicBezTo>
                    <a:pt x="4256396" y="562269"/>
                    <a:pt x="4216361" y="576408"/>
                    <a:pt x="4177665" y="597243"/>
                  </a:cubicBezTo>
                  <a:lnTo>
                    <a:pt x="4170521" y="780600"/>
                  </a:lnTo>
                  <a:cubicBezTo>
                    <a:pt x="4199096" y="769488"/>
                    <a:pt x="4272915" y="739325"/>
                    <a:pt x="4349115" y="747262"/>
                  </a:cubicBezTo>
                  <a:lnTo>
                    <a:pt x="4351497" y="559144"/>
                  </a:lnTo>
                  <a:cubicBezTo>
                    <a:pt x="4334431" y="557755"/>
                    <a:pt x="4318259" y="557705"/>
                    <a:pt x="4302793" y="558846"/>
                  </a:cubicBezTo>
                  <a:close/>
                  <a:moveTo>
                    <a:pt x="3202810" y="335363"/>
                  </a:moveTo>
                  <a:cubicBezTo>
                    <a:pt x="3126836" y="339232"/>
                    <a:pt x="3059668" y="355250"/>
                    <a:pt x="3020378" y="375788"/>
                  </a:cubicBezTo>
                  <a:lnTo>
                    <a:pt x="2987040" y="1687857"/>
                  </a:lnTo>
                  <a:lnTo>
                    <a:pt x="3449003" y="1528313"/>
                  </a:lnTo>
                  <a:lnTo>
                    <a:pt x="3387090" y="351975"/>
                  </a:lnTo>
                  <a:cubicBezTo>
                    <a:pt x="3352364" y="343244"/>
                    <a:pt x="3316447" y="338084"/>
                    <a:pt x="3281013" y="335827"/>
                  </a:cubicBezTo>
                  <a:cubicBezTo>
                    <a:pt x="3254438" y="334134"/>
                    <a:pt x="3228135" y="334074"/>
                    <a:pt x="3202810" y="335363"/>
                  </a:cubicBezTo>
                  <a:close/>
                  <a:moveTo>
                    <a:pt x="3210878" y="80513"/>
                  </a:moveTo>
                  <a:cubicBezTo>
                    <a:pt x="3142615" y="74956"/>
                    <a:pt x="3086259" y="86070"/>
                    <a:pt x="3034665" y="113850"/>
                  </a:cubicBezTo>
                  <a:lnTo>
                    <a:pt x="3027521" y="297207"/>
                  </a:lnTo>
                  <a:cubicBezTo>
                    <a:pt x="3056096" y="286095"/>
                    <a:pt x="3129915" y="263076"/>
                    <a:pt x="3206115" y="271013"/>
                  </a:cubicBezTo>
                  <a:close/>
                  <a:moveTo>
                    <a:pt x="3339623" y="1383"/>
                  </a:moveTo>
                  <a:cubicBezTo>
                    <a:pt x="3446502" y="8108"/>
                    <a:pt x="3543419" y="40032"/>
                    <a:pt x="3581400" y="111469"/>
                  </a:cubicBezTo>
                  <a:lnTo>
                    <a:pt x="3672840" y="1460209"/>
                  </a:lnTo>
                  <a:lnTo>
                    <a:pt x="3947160" y="1368769"/>
                  </a:lnTo>
                  <a:lnTo>
                    <a:pt x="4091940" y="1429729"/>
                  </a:lnTo>
                  <a:lnTo>
                    <a:pt x="4130040" y="561049"/>
                  </a:lnTo>
                  <a:cubicBezTo>
                    <a:pt x="4317048" y="361024"/>
                    <a:pt x="4746943" y="489611"/>
                    <a:pt x="4762500" y="561049"/>
                  </a:cubicBezTo>
                  <a:lnTo>
                    <a:pt x="4892040" y="2328889"/>
                  </a:lnTo>
                  <a:lnTo>
                    <a:pt x="5433060" y="2466049"/>
                  </a:lnTo>
                  <a:lnTo>
                    <a:pt x="5448300" y="2793709"/>
                  </a:lnTo>
                  <a:lnTo>
                    <a:pt x="5692140" y="2862289"/>
                  </a:lnTo>
                  <a:lnTo>
                    <a:pt x="5692140" y="3113749"/>
                  </a:lnTo>
                  <a:lnTo>
                    <a:pt x="5631180" y="3128989"/>
                  </a:lnTo>
                  <a:lnTo>
                    <a:pt x="5646420" y="4142449"/>
                  </a:lnTo>
                  <a:lnTo>
                    <a:pt x="6103620" y="4256749"/>
                  </a:lnTo>
                  <a:lnTo>
                    <a:pt x="6141720" y="4462489"/>
                  </a:lnTo>
                  <a:lnTo>
                    <a:pt x="3048000" y="5514049"/>
                  </a:lnTo>
                  <a:lnTo>
                    <a:pt x="0" y="4401529"/>
                  </a:lnTo>
                  <a:lnTo>
                    <a:pt x="0" y="4271989"/>
                  </a:lnTo>
                  <a:lnTo>
                    <a:pt x="556260" y="4165309"/>
                  </a:lnTo>
                  <a:lnTo>
                    <a:pt x="601980" y="3022309"/>
                  </a:lnTo>
                  <a:lnTo>
                    <a:pt x="556260" y="3007069"/>
                  </a:lnTo>
                  <a:lnTo>
                    <a:pt x="556260" y="2786089"/>
                  </a:lnTo>
                  <a:lnTo>
                    <a:pt x="792480" y="2732749"/>
                  </a:lnTo>
                  <a:lnTo>
                    <a:pt x="792480" y="2481289"/>
                  </a:lnTo>
                  <a:lnTo>
                    <a:pt x="1424940" y="2298409"/>
                  </a:lnTo>
                  <a:lnTo>
                    <a:pt x="1424940" y="1970749"/>
                  </a:lnTo>
                  <a:lnTo>
                    <a:pt x="2141220" y="1681189"/>
                  </a:lnTo>
                  <a:lnTo>
                    <a:pt x="2392680" y="1757389"/>
                  </a:lnTo>
                  <a:lnTo>
                    <a:pt x="2423637" y="751549"/>
                  </a:lnTo>
                  <a:cubicBezTo>
                    <a:pt x="2433321" y="709957"/>
                    <a:pt x="2595403" y="687414"/>
                    <a:pt x="2631281" y="748215"/>
                  </a:cubicBezTo>
                  <a:lnTo>
                    <a:pt x="2682240" y="1795489"/>
                  </a:lnTo>
                  <a:lnTo>
                    <a:pt x="2872740" y="1726909"/>
                  </a:lnTo>
                  <a:lnTo>
                    <a:pt x="2948940" y="111469"/>
                  </a:lnTo>
                  <a:cubicBezTo>
                    <a:pt x="2955687" y="48961"/>
                    <a:pt x="3161491" y="-9826"/>
                    <a:pt x="3339623" y="1383"/>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397" name="Freeform 396"/>
            <p:cNvSpPr/>
            <p:nvPr/>
          </p:nvSpPr>
          <p:spPr>
            <a:xfrm>
              <a:off x="708875" y="2380432"/>
              <a:ext cx="32051" cy="40983"/>
            </a:xfrm>
            <a:custGeom>
              <a:avLst/>
              <a:gdLst>
                <a:gd name="connsiteX0" fmla="*/ 435768 w 435768"/>
                <a:gd name="connsiteY0" fmla="*/ 76200 h 557212"/>
                <a:gd name="connsiteX1" fmla="*/ 435768 w 435768"/>
                <a:gd name="connsiteY1" fmla="*/ 0 h 557212"/>
                <a:gd name="connsiteX2" fmla="*/ 4762 w 435768"/>
                <a:gd name="connsiteY2" fmla="*/ 45244 h 557212"/>
                <a:gd name="connsiteX3" fmla="*/ 0 w 435768"/>
                <a:gd name="connsiteY3" fmla="*/ 557212 h 557212"/>
                <a:gd name="connsiteX4" fmla="*/ 64293 w 435768"/>
                <a:gd name="connsiteY4" fmla="*/ 557212 h 557212"/>
                <a:gd name="connsiteX5" fmla="*/ 66675 w 435768"/>
                <a:gd name="connsiteY5" fmla="*/ 104775 h 557212"/>
                <a:gd name="connsiteX6" fmla="*/ 435768 w 435768"/>
                <a:gd name="connsiteY6" fmla="*/ 76200 h 557212"/>
                <a:gd name="connsiteX0" fmla="*/ 435768 w 435768"/>
                <a:gd name="connsiteY0" fmla="*/ 76200 h 557212"/>
                <a:gd name="connsiteX1" fmla="*/ 435768 w 435768"/>
                <a:gd name="connsiteY1" fmla="*/ 0 h 557212"/>
                <a:gd name="connsiteX2" fmla="*/ 4762 w 435768"/>
                <a:gd name="connsiteY2" fmla="*/ 45244 h 557212"/>
                <a:gd name="connsiteX3" fmla="*/ 0 w 435768"/>
                <a:gd name="connsiteY3" fmla="*/ 557212 h 557212"/>
                <a:gd name="connsiteX4" fmla="*/ 64293 w 435768"/>
                <a:gd name="connsiteY4" fmla="*/ 557212 h 557212"/>
                <a:gd name="connsiteX5" fmla="*/ 66675 w 435768"/>
                <a:gd name="connsiteY5" fmla="*/ 109537 h 557212"/>
                <a:gd name="connsiteX6" fmla="*/ 435768 w 435768"/>
                <a:gd name="connsiteY6" fmla="*/ 76200 h 557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768" h="557212">
                  <a:moveTo>
                    <a:pt x="435768" y="76200"/>
                  </a:moveTo>
                  <a:lnTo>
                    <a:pt x="435768" y="0"/>
                  </a:lnTo>
                  <a:lnTo>
                    <a:pt x="4762" y="45244"/>
                  </a:lnTo>
                  <a:cubicBezTo>
                    <a:pt x="3175" y="215900"/>
                    <a:pt x="1587" y="386556"/>
                    <a:pt x="0" y="557212"/>
                  </a:cubicBezTo>
                  <a:lnTo>
                    <a:pt x="64293" y="557212"/>
                  </a:lnTo>
                  <a:lnTo>
                    <a:pt x="66675" y="109537"/>
                  </a:lnTo>
                  <a:lnTo>
                    <a:pt x="435768" y="76200"/>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398" name="Freeform 397"/>
            <p:cNvSpPr/>
            <p:nvPr/>
          </p:nvSpPr>
          <p:spPr>
            <a:xfrm>
              <a:off x="708875" y="2443483"/>
              <a:ext cx="32226" cy="40457"/>
            </a:xfrm>
            <a:custGeom>
              <a:avLst/>
              <a:gdLst>
                <a:gd name="connsiteX0" fmla="*/ 435768 w 435768"/>
                <a:gd name="connsiteY0" fmla="*/ 76200 h 557212"/>
                <a:gd name="connsiteX1" fmla="*/ 435768 w 435768"/>
                <a:gd name="connsiteY1" fmla="*/ 0 h 557212"/>
                <a:gd name="connsiteX2" fmla="*/ 4762 w 435768"/>
                <a:gd name="connsiteY2" fmla="*/ 45244 h 557212"/>
                <a:gd name="connsiteX3" fmla="*/ 0 w 435768"/>
                <a:gd name="connsiteY3" fmla="*/ 557212 h 557212"/>
                <a:gd name="connsiteX4" fmla="*/ 64293 w 435768"/>
                <a:gd name="connsiteY4" fmla="*/ 557212 h 557212"/>
                <a:gd name="connsiteX5" fmla="*/ 66675 w 435768"/>
                <a:gd name="connsiteY5" fmla="*/ 104775 h 557212"/>
                <a:gd name="connsiteX6" fmla="*/ 435768 w 435768"/>
                <a:gd name="connsiteY6" fmla="*/ 76200 h 557212"/>
                <a:gd name="connsiteX0" fmla="*/ 435768 w 435768"/>
                <a:gd name="connsiteY0" fmla="*/ 76200 h 557212"/>
                <a:gd name="connsiteX1" fmla="*/ 435768 w 435768"/>
                <a:gd name="connsiteY1" fmla="*/ 0 h 557212"/>
                <a:gd name="connsiteX2" fmla="*/ 4762 w 435768"/>
                <a:gd name="connsiteY2" fmla="*/ 45244 h 557212"/>
                <a:gd name="connsiteX3" fmla="*/ 0 w 435768"/>
                <a:gd name="connsiteY3" fmla="*/ 557212 h 557212"/>
                <a:gd name="connsiteX4" fmla="*/ 64293 w 435768"/>
                <a:gd name="connsiteY4" fmla="*/ 557212 h 557212"/>
                <a:gd name="connsiteX5" fmla="*/ 66675 w 435768"/>
                <a:gd name="connsiteY5" fmla="*/ 109537 h 557212"/>
                <a:gd name="connsiteX6" fmla="*/ 435768 w 435768"/>
                <a:gd name="connsiteY6" fmla="*/ 76200 h 557212"/>
                <a:gd name="connsiteX0" fmla="*/ 435768 w 435768"/>
                <a:gd name="connsiteY0" fmla="*/ 76200 h 585787"/>
                <a:gd name="connsiteX1" fmla="*/ 435768 w 435768"/>
                <a:gd name="connsiteY1" fmla="*/ 0 h 585787"/>
                <a:gd name="connsiteX2" fmla="*/ 4762 w 435768"/>
                <a:gd name="connsiteY2" fmla="*/ 45244 h 585787"/>
                <a:gd name="connsiteX3" fmla="*/ 0 w 435768"/>
                <a:gd name="connsiteY3" fmla="*/ 585787 h 585787"/>
                <a:gd name="connsiteX4" fmla="*/ 64293 w 435768"/>
                <a:gd name="connsiteY4" fmla="*/ 557212 h 585787"/>
                <a:gd name="connsiteX5" fmla="*/ 66675 w 435768"/>
                <a:gd name="connsiteY5" fmla="*/ 109537 h 585787"/>
                <a:gd name="connsiteX6" fmla="*/ 435768 w 435768"/>
                <a:gd name="connsiteY6" fmla="*/ 76200 h 585787"/>
                <a:gd name="connsiteX0" fmla="*/ 435768 w 435768"/>
                <a:gd name="connsiteY0" fmla="*/ 76200 h 595312"/>
                <a:gd name="connsiteX1" fmla="*/ 435768 w 435768"/>
                <a:gd name="connsiteY1" fmla="*/ 0 h 595312"/>
                <a:gd name="connsiteX2" fmla="*/ 4762 w 435768"/>
                <a:gd name="connsiteY2" fmla="*/ 45244 h 595312"/>
                <a:gd name="connsiteX3" fmla="*/ 0 w 435768"/>
                <a:gd name="connsiteY3" fmla="*/ 585787 h 595312"/>
                <a:gd name="connsiteX4" fmla="*/ 54768 w 435768"/>
                <a:gd name="connsiteY4" fmla="*/ 595312 h 595312"/>
                <a:gd name="connsiteX5" fmla="*/ 66675 w 435768"/>
                <a:gd name="connsiteY5" fmla="*/ 109537 h 595312"/>
                <a:gd name="connsiteX6" fmla="*/ 435768 w 435768"/>
                <a:gd name="connsiteY6" fmla="*/ 76200 h 595312"/>
                <a:gd name="connsiteX0" fmla="*/ 433387 w 435768"/>
                <a:gd name="connsiteY0" fmla="*/ 128588 h 595312"/>
                <a:gd name="connsiteX1" fmla="*/ 435768 w 435768"/>
                <a:gd name="connsiteY1" fmla="*/ 0 h 595312"/>
                <a:gd name="connsiteX2" fmla="*/ 4762 w 435768"/>
                <a:gd name="connsiteY2" fmla="*/ 45244 h 595312"/>
                <a:gd name="connsiteX3" fmla="*/ 0 w 435768"/>
                <a:gd name="connsiteY3" fmla="*/ 585787 h 595312"/>
                <a:gd name="connsiteX4" fmla="*/ 54768 w 435768"/>
                <a:gd name="connsiteY4" fmla="*/ 595312 h 595312"/>
                <a:gd name="connsiteX5" fmla="*/ 66675 w 435768"/>
                <a:gd name="connsiteY5" fmla="*/ 109537 h 595312"/>
                <a:gd name="connsiteX6" fmla="*/ 433387 w 435768"/>
                <a:gd name="connsiteY6" fmla="*/ 128588 h 595312"/>
                <a:gd name="connsiteX0" fmla="*/ 433387 w 438149"/>
                <a:gd name="connsiteY0" fmla="*/ 83344 h 550068"/>
                <a:gd name="connsiteX1" fmla="*/ 438149 w 438149"/>
                <a:gd name="connsiteY1" fmla="*/ 21431 h 550068"/>
                <a:gd name="connsiteX2" fmla="*/ 4762 w 438149"/>
                <a:gd name="connsiteY2" fmla="*/ 0 h 550068"/>
                <a:gd name="connsiteX3" fmla="*/ 0 w 438149"/>
                <a:gd name="connsiteY3" fmla="*/ 540543 h 550068"/>
                <a:gd name="connsiteX4" fmla="*/ 54768 w 438149"/>
                <a:gd name="connsiteY4" fmla="*/ 550068 h 550068"/>
                <a:gd name="connsiteX5" fmla="*/ 66675 w 438149"/>
                <a:gd name="connsiteY5" fmla="*/ 64293 h 550068"/>
                <a:gd name="connsiteX6" fmla="*/ 433387 w 438149"/>
                <a:gd name="connsiteY6" fmla="*/ 83344 h 550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149" h="550068">
                  <a:moveTo>
                    <a:pt x="433387" y="83344"/>
                  </a:moveTo>
                  <a:cubicBezTo>
                    <a:pt x="434181" y="40481"/>
                    <a:pt x="437355" y="64294"/>
                    <a:pt x="438149" y="21431"/>
                  </a:cubicBezTo>
                  <a:lnTo>
                    <a:pt x="4762" y="0"/>
                  </a:lnTo>
                  <a:cubicBezTo>
                    <a:pt x="3175" y="170656"/>
                    <a:pt x="1587" y="369887"/>
                    <a:pt x="0" y="540543"/>
                  </a:cubicBezTo>
                  <a:lnTo>
                    <a:pt x="54768" y="550068"/>
                  </a:lnTo>
                  <a:lnTo>
                    <a:pt x="66675" y="64293"/>
                  </a:lnTo>
                  <a:lnTo>
                    <a:pt x="433387" y="83344"/>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399" name="Freeform 398"/>
            <p:cNvSpPr/>
            <p:nvPr/>
          </p:nvSpPr>
          <p:spPr>
            <a:xfrm>
              <a:off x="708350" y="2380257"/>
              <a:ext cx="33102" cy="41333"/>
            </a:xfrm>
            <a:custGeom>
              <a:avLst/>
              <a:gdLst>
                <a:gd name="connsiteX0" fmla="*/ 0 w 450056"/>
                <a:gd name="connsiteY0" fmla="*/ 561975 h 561975"/>
                <a:gd name="connsiteX1" fmla="*/ 73819 w 450056"/>
                <a:gd name="connsiteY1" fmla="*/ 561975 h 561975"/>
                <a:gd name="connsiteX2" fmla="*/ 73819 w 450056"/>
                <a:gd name="connsiteY2" fmla="*/ 116681 h 561975"/>
                <a:gd name="connsiteX3" fmla="*/ 450056 w 450056"/>
                <a:gd name="connsiteY3" fmla="*/ 73818 h 561975"/>
                <a:gd name="connsiteX4" fmla="*/ 450056 w 450056"/>
                <a:gd name="connsiteY4" fmla="*/ 0 h 561975"/>
                <a:gd name="connsiteX5" fmla="*/ 7144 w 450056"/>
                <a:gd name="connsiteY5" fmla="*/ 47625 h 561975"/>
                <a:gd name="connsiteX6" fmla="*/ 0 w 450056"/>
                <a:gd name="connsiteY6" fmla="*/ 561975 h 561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056" h="561975">
                  <a:moveTo>
                    <a:pt x="0" y="561975"/>
                  </a:moveTo>
                  <a:lnTo>
                    <a:pt x="73819" y="561975"/>
                  </a:lnTo>
                  <a:lnTo>
                    <a:pt x="73819" y="116681"/>
                  </a:lnTo>
                  <a:lnTo>
                    <a:pt x="450056" y="73818"/>
                  </a:lnTo>
                  <a:lnTo>
                    <a:pt x="450056" y="0"/>
                  </a:lnTo>
                  <a:lnTo>
                    <a:pt x="7144" y="47625"/>
                  </a:lnTo>
                  <a:cubicBezTo>
                    <a:pt x="4763" y="219075"/>
                    <a:pt x="2381" y="390525"/>
                    <a:pt x="0" y="561975"/>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00" name="Freeform 399"/>
            <p:cNvSpPr/>
            <p:nvPr/>
          </p:nvSpPr>
          <p:spPr>
            <a:xfrm>
              <a:off x="708350" y="2443308"/>
              <a:ext cx="33102" cy="41158"/>
            </a:xfrm>
            <a:custGeom>
              <a:avLst/>
              <a:gdLst>
                <a:gd name="connsiteX0" fmla="*/ 0 w 450056"/>
                <a:gd name="connsiteY0" fmla="*/ 561975 h 561975"/>
                <a:gd name="connsiteX1" fmla="*/ 73819 w 450056"/>
                <a:gd name="connsiteY1" fmla="*/ 561975 h 561975"/>
                <a:gd name="connsiteX2" fmla="*/ 73819 w 450056"/>
                <a:gd name="connsiteY2" fmla="*/ 116681 h 561975"/>
                <a:gd name="connsiteX3" fmla="*/ 450056 w 450056"/>
                <a:gd name="connsiteY3" fmla="*/ 73818 h 561975"/>
                <a:gd name="connsiteX4" fmla="*/ 450056 w 450056"/>
                <a:gd name="connsiteY4" fmla="*/ 0 h 561975"/>
                <a:gd name="connsiteX5" fmla="*/ 7144 w 450056"/>
                <a:gd name="connsiteY5" fmla="*/ 47625 h 561975"/>
                <a:gd name="connsiteX6" fmla="*/ 0 w 450056"/>
                <a:gd name="connsiteY6" fmla="*/ 561975 h 561975"/>
                <a:gd name="connsiteX0" fmla="*/ 0 w 450056"/>
                <a:gd name="connsiteY0" fmla="*/ 561975 h 576262"/>
                <a:gd name="connsiteX1" fmla="*/ 71438 w 450056"/>
                <a:gd name="connsiteY1" fmla="*/ 576262 h 576262"/>
                <a:gd name="connsiteX2" fmla="*/ 73819 w 450056"/>
                <a:gd name="connsiteY2" fmla="*/ 116681 h 576262"/>
                <a:gd name="connsiteX3" fmla="*/ 450056 w 450056"/>
                <a:gd name="connsiteY3" fmla="*/ 73818 h 576262"/>
                <a:gd name="connsiteX4" fmla="*/ 450056 w 450056"/>
                <a:gd name="connsiteY4" fmla="*/ 0 h 576262"/>
                <a:gd name="connsiteX5" fmla="*/ 7144 w 450056"/>
                <a:gd name="connsiteY5" fmla="*/ 47625 h 576262"/>
                <a:gd name="connsiteX6" fmla="*/ 0 w 450056"/>
                <a:gd name="connsiteY6" fmla="*/ 561975 h 576262"/>
                <a:gd name="connsiteX0" fmla="*/ 0 w 450056"/>
                <a:gd name="connsiteY0" fmla="*/ 561975 h 576262"/>
                <a:gd name="connsiteX1" fmla="*/ 71438 w 450056"/>
                <a:gd name="connsiteY1" fmla="*/ 576262 h 576262"/>
                <a:gd name="connsiteX2" fmla="*/ 73819 w 450056"/>
                <a:gd name="connsiteY2" fmla="*/ 116681 h 576262"/>
                <a:gd name="connsiteX3" fmla="*/ 450056 w 450056"/>
                <a:gd name="connsiteY3" fmla="*/ 73818 h 576262"/>
                <a:gd name="connsiteX4" fmla="*/ 450056 w 450056"/>
                <a:gd name="connsiteY4" fmla="*/ 0 h 576262"/>
                <a:gd name="connsiteX5" fmla="*/ 7144 w 450056"/>
                <a:gd name="connsiteY5" fmla="*/ 16668 h 576262"/>
                <a:gd name="connsiteX6" fmla="*/ 0 w 450056"/>
                <a:gd name="connsiteY6" fmla="*/ 561975 h 576262"/>
                <a:gd name="connsiteX0" fmla="*/ 0 w 450056"/>
                <a:gd name="connsiteY0" fmla="*/ 561975 h 576262"/>
                <a:gd name="connsiteX1" fmla="*/ 71438 w 450056"/>
                <a:gd name="connsiteY1" fmla="*/ 576262 h 576262"/>
                <a:gd name="connsiteX2" fmla="*/ 73819 w 450056"/>
                <a:gd name="connsiteY2" fmla="*/ 116681 h 576262"/>
                <a:gd name="connsiteX3" fmla="*/ 450056 w 450056"/>
                <a:gd name="connsiteY3" fmla="*/ 104775 h 576262"/>
                <a:gd name="connsiteX4" fmla="*/ 450056 w 450056"/>
                <a:gd name="connsiteY4" fmla="*/ 0 h 576262"/>
                <a:gd name="connsiteX5" fmla="*/ 7144 w 450056"/>
                <a:gd name="connsiteY5" fmla="*/ 16668 h 576262"/>
                <a:gd name="connsiteX6" fmla="*/ 0 w 450056"/>
                <a:gd name="connsiteY6" fmla="*/ 561975 h 576262"/>
                <a:gd name="connsiteX0" fmla="*/ 0 w 450056"/>
                <a:gd name="connsiteY0" fmla="*/ 545307 h 559594"/>
                <a:gd name="connsiteX1" fmla="*/ 71438 w 450056"/>
                <a:gd name="connsiteY1" fmla="*/ 559594 h 559594"/>
                <a:gd name="connsiteX2" fmla="*/ 73819 w 450056"/>
                <a:gd name="connsiteY2" fmla="*/ 100013 h 559594"/>
                <a:gd name="connsiteX3" fmla="*/ 450056 w 450056"/>
                <a:gd name="connsiteY3" fmla="*/ 88107 h 559594"/>
                <a:gd name="connsiteX4" fmla="*/ 450056 w 450056"/>
                <a:gd name="connsiteY4" fmla="*/ 21432 h 559594"/>
                <a:gd name="connsiteX5" fmla="*/ 7144 w 450056"/>
                <a:gd name="connsiteY5" fmla="*/ 0 h 559594"/>
                <a:gd name="connsiteX6" fmla="*/ 0 w 450056"/>
                <a:gd name="connsiteY6" fmla="*/ 545307 h 559594"/>
                <a:gd name="connsiteX0" fmla="*/ 0 w 450056"/>
                <a:gd name="connsiteY0" fmla="*/ 545307 h 559594"/>
                <a:gd name="connsiteX1" fmla="*/ 71438 w 450056"/>
                <a:gd name="connsiteY1" fmla="*/ 559594 h 559594"/>
                <a:gd name="connsiteX2" fmla="*/ 76200 w 450056"/>
                <a:gd name="connsiteY2" fmla="*/ 71438 h 559594"/>
                <a:gd name="connsiteX3" fmla="*/ 450056 w 450056"/>
                <a:gd name="connsiteY3" fmla="*/ 88107 h 559594"/>
                <a:gd name="connsiteX4" fmla="*/ 450056 w 450056"/>
                <a:gd name="connsiteY4" fmla="*/ 21432 h 559594"/>
                <a:gd name="connsiteX5" fmla="*/ 7144 w 450056"/>
                <a:gd name="connsiteY5" fmla="*/ 0 h 559594"/>
                <a:gd name="connsiteX6" fmla="*/ 0 w 450056"/>
                <a:gd name="connsiteY6" fmla="*/ 545307 h 559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056" h="559594">
                  <a:moveTo>
                    <a:pt x="0" y="545307"/>
                  </a:moveTo>
                  <a:lnTo>
                    <a:pt x="71438" y="559594"/>
                  </a:lnTo>
                  <a:cubicBezTo>
                    <a:pt x="72232" y="406400"/>
                    <a:pt x="75406" y="224632"/>
                    <a:pt x="76200" y="71438"/>
                  </a:cubicBezTo>
                  <a:lnTo>
                    <a:pt x="450056" y="88107"/>
                  </a:lnTo>
                  <a:lnTo>
                    <a:pt x="450056" y="21432"/>
                  </a:lnTo>
                  <a:lnTo>
                    <a:pt x="7144" y="0"/>
                  </a:lnTo>
                  <a:cubicBezTo>
                    <a:pt x="4763" y="171450"/>
                    <a:pt x="2381" y="373857"/>
                    <a:pt x="0" y="545307"/>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01" name="Freeform 400"/>
            <p:cNvSpPr/>
            <p:nvPr/>
          </p:nvSpPr>
          <p:spPr>
            <a:xfrm>
              <a:off x="629536" y="2377980"/>
              <a:ext cx="23644" cy="36079"/>
            </a:xfrm>
            <a:custGeom>
              <a:avLst/>
              <a:gdLst>
                <a:gd name="connsiteX0" fmla="*/ 0 w 321469"/>
                <a:gd name="connsiteY0" fmla="*/ 490538 h 490538"/>
                <a:gd name="connsiteX1" fmla="*/ 11907 w 321469"/>
                <a:gd name="connsiteY1" fmla="*/ 47625 h 490538"/>
                <a:gd name="connsiteX2" fmla="*/ 321469 w 321469"/>
                <a:gd name="connsiteY2" fmla="*/ 0 h 490538"/>
                <a:gd name="connsiteX3" fmla="*/ 316707 w 321469"/>
                <a:gd name="connsiteY3" fmla="*/ 80963 h 490538"/>
                <a:gd name="connsiteX4" fmla="*/ 80963 w 321469"/>
                <a:gd name="connsiteY4" fmla="*/ 109538 h 490538"/>
                <a:gd name="connsiteX5" fmla="*/ 66675 w 321469"/>
                <a:gd name="connsiteY5" fmla="*/ 490538 h 490538"/>
                <a:gd name="connsiteX6" fmla="*/ 0 w 321469"/>
                <a:gd name="connsiteY6" fmla="*/ 490538 h 490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1469" h="490538">
                  <a:moveTo>
                    <a:pt x="0" y="490538"/>
                  </a:moveTo>
                  <a:lnTo>
                    <a:pt x="11907" y="47625"/>
                  </a:lnTo>
                  <a:lnTo>
                    <a:pt x="321469" y="0"/>
                  </a:lnTo>
                  <a:lnTo>
                    <a:pt x="316707" y="80963"/>
                  </a:lnTo>
                  <a:lnTo>
                    <a:pt x="80963" y="109538"/>
                  </a:lnTo>
                  <a:lnTo>
                    <a:pt x="66675" y="490538"/>
                  </a:lnTo>
                  <a:lnTo>
                    <a:pt x="0" y="490538"/>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02" name="Freeform 401"/>
            <p:cNvSpPr/>
            <p:nvPr/>
          </p:nvSpPr>
          <p:spPr>
            <a:xfrm>
              <a:off x="588379" y="2394619"/>
              <a:ext cx="20491" cy="26796"/>
            </a:xfrm>
            <a:custGeom>
              <a:avLst/>
              <a:gdLst>
                <a:gd name="connsiteX0" fmla="*/ 11906 w 278606"/>
                <a:gd name="connsiteY0" fmla="*/ 26194 h 364331"/>
                <a:gd name="connsiteX1" fmla="*/ 0 w 278606"/>
                <a:gd name="connsiteY1" fmla="*/ 361950 h 364331"/>
                <a:gd name="connsiteX2" fmla="*/ 64293 w 278606"/>
                <a:gd name="connsiteY2" fmla="*/ 364331 h 364331"/>
                <a:gd name="connsiteX3" fmla="*/ 71437 w 278606"/>
                <a:gd name="connsiteY3" fmla="*/ 95250 h 364331"/>
                <a:gd name="connsiteX4" fmla="*/ 276225 w 278606"/>
                <a:gd name="connsiteY4" fmla="*/ 73819 h 364331"/>
                <a:gd name="connsiteX5" fmla="*/ 278606 w 278606"/>
                <a:gd name="connsiteY5" fmla="*/ 0 h 364331"/>
                <a:gd name="connsiteX6" fmla="*/ 11906 w 278606"/>
                <a:gd name="connsiteY6" fmla="*/ 26194 h 364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8606" h="364331">
                  <a:moveTo>
                    <a:pt x="11906" y="26194"/>
                  </a:moveTo>
                  <a:lnTo>
                    <a:pt x="0" y="361950"/>
                  </a:lnTo>
                  <a:lnTo>
                    <a:pt x="64293" y="364331"/>
                  </a:lnTo>
                  <a:lnTo>
                    <a:pt x="71437" y="95250"/>
                  </a:lnTo>
                  <a:lnTo>
                    <a:pt x="276225" y="73819"/>
                  </a:lnTo>
                  <a:cubicBezTo>
                    <a:pt x="277019" y="49213"/>
                    <a:pt x="277812" y="24606"/>
                    <a:pt x="278606" y="0"/>
                  </a:cubicBezTo>
                  <a:lnTo>
                    <a:pt x="11906" y="26194"/>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03" name="Freeform 402"/>
            <p:cNvSpPr/>
            <p:nvPr/>
          </p:nvSpPr>
          <p:spPr>
            <a:xfrm>
              <a:off x="586977" y="2435952"/>
              <a:ext cx="21017" cy="26972"/>
            </a:xfrm>
            <a:custGeom>
              <a:avLst/>
              <a:gdLst>
                <a:gd name="connsiteX0" fmla="*/ 0 w 285750"/>
                <a:gd name="connsiteY0" fmla="*/ 354806 h 366713"/>
                <a:gd name="connsiteX1" fmla="*/ 19050 w 285750"/>
                <a:gd name="connsiteY1" fmla="*/ 0 h 366713"/>
                <a:gd name="connsiteX2" fmla="*/ 285750 w 285750"/>
                <a:gd name="connsiteY2" fmla="*/ 16669 h 366713"/>
                <a:gd name="connsiteX3" fmla="*/ 280987 w 285750"/>
                <a:gd name="connsiteY3" fmla="*/ 80963 h 366713"/>
                <a:gd name="connsiteX4" fmla="*/ 80962 w 285750"/>
                <a:gd name="connsiteY4" fmla="*/ 71438 h 366713"/>
                <a:gd name="connsiteX5" fmla="*/ 66675 w 285750"/>
                <a:gd name="connsiteY5" fmla="*/ 366713 h 366713"/>
                <a:gd name="connsiteX6" fmla="*/ 0 w 285750"/>
                <a:gd name="connsiteY6" fmla="*/ 354806 h 366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50" h="366713">
                  <a:moveTo>
                    <a:pt x="0" y="354806"/>
                  </a:moveTo>
                  <a:lnTo>
                    <a:pt x="19050" y="0"/>
                  </a:lnTo>
                  <a:lnTo>
                    <a:pt x="285750" y="16669"/>
                  </a:lnTo>
                  <a:lnTo>
                    <a:pt x="280987" y="80963"/>
                  </a:lnTo>
                  <a:lnTo>
                    <a:pt x="80962" y="71438"/>
                  </a:lnTo>
                  <a:lnTo>
                    <a:pt x="66675" y="366713"/>
                  </a:lnTo>
                  <a:lnTo>
                    <a:pt x="0" y="354806"/>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04" name="Freeform 403"/>
            <p:cNvSpPr/>
            <p:nvPr/>
          </p:nvSpPr>
          <p:spPr>
            <a:xfrm>
              <a:off x="626559" y="2439104"/>
              <a:ext cx="28898" cy="59197"/>
            </a:xfrm>
            <a:custGeom>
              <a:avLst/>
              <a:gdLst>
                <a:gd name="connsiteX0" fmla="*/ 85725 w 392906"/>
                <a:gd name="connsiteY0" fmla="*/ 685800 h 804862"/>
                <a:gd name="connsiteX1" fmla="*/ 0 w 392906"/>
                <a:gd name="connsiteY1" fmla="*/ 707231 h 804862"/>
                <a:gd name="connsiteX2" fmla="*/ 23813 w 392906"/>
                <a:gd name="connsiteY2" fmla="*/ 0 h 804862"/>
                <a:gd name="connsiteX3" fmla="*/ 392906 w 392906"/>
                <a:gd name="connsiteY3" fmla="*/ 19050 h 804862"/>
                <a:gd name="connsiteX4" fmla="*/ 376238 w 392906"/>
                <a:gd name="connsiteY4" fmla="*/ 804862 h 804862"/>
                <a:gd name="connsiteX5" fmla="*/ 347663 w 392906"/>
                <a:gd name="connsiteY5" fmla="*/ 792956 h 804862"/>
                <a:gd name="connsiteX6" fmla="*/ 364331 w 392906"/>
                <a:gd name="connsiteY6" fmla="*/ 76200 h 804862"/>
                <a:gd name="connsiteX7" fmla="*/ 252413 w 392906"/>
                <a:gd name="connsiteY7" fmla="*/ 71437 h 804862"/>
                <a:gd name="connsiteX8" fmla="*/ 235744 w 392906"/>
                <a:gd name="connsiteY8" fmla="*/ 700087 h 804862"/>
                <a:gd name="connsiteX9" fmla="*/ 197644 w 392906"/>
                <a:gd name="connsiteY9" fmla="*/ 690562 h 804862"/>
                <a:gd name="connsiteX10" fmla="*/ 211931 w 392906"/>
                <a:gd name="connsiteY10" fmla="*/ 69056 h 804862"/>
                <a:gd name="connsiteX11" fmla="*/ 100013 w 392906"/>
                <a:gd name="connsiteY11" fmla="*/ 59531 h 804862"/>
                <a:gd name="connsiteX12" fmla="*/ 85725 w 392906"/>
                <a:gd name="connsiteY12" fmla="*/ 685800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2906" h="804862">
                  <a:moveTo>
                    <a:pt x="85725" y="685800"/>
                  </a:moveTo>
                  <a:lnTo>
                    <a:pt x="0" y="707231"/>
                  </a:lnTo>
                  <a:lnTo>
                    <a:pt x="23813" y="0"/>
                  </a:lnTo>
                  <a:lnTo>
                    <a:pt x="392906" y="19050"/>
                  </a:lnTo>
                  <a:lnTo>
                    <a:pt x="376238" y="804862"/>
                  </a:lnTo>
                  <a:lnTo>
                    <a:pt x="347663" y="792956"/>
                  </a:lnTo>
                  <a:lnTo>
                    <a:pt x="364331" y="76200"/>
                  </a:lnTo>
                  <a:lnTo>
                    <a:pt x="252413" y="71437"/>
                  </a:lnTo>
                  <a:lnTo>
                    <a:pt x="235744" y="700087"/>
                  </a:lnTo>
                  <a:lnTo>
                    <a:pt x="197644" y="690562"/>
                  </a:lnTo>
                  <a:lnTo>
                    <a:pt x="211931" y="69056"/>
                  </a:lnTo>
                  <a:lnTo>
                    <a:pt x="100013" y="59531"/>
                  </a:lnTo>
                  <a:lnTo>
                    <a:pt x="85725" y="685800"/>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05" name="Freeform 404"/>
            <p:cNvSpPr/>
            <p:nvPr/>
          </p:nvSpPr>
          <p:spPr>
            <a:xfrm>
              <a:off x="715863" y="2201006"/>
              <a:ext cx="122266" cy="22905"/>
            </a:xfrm>
            <a:custGeom>
              <a:avLst/>
              <a:gdLst>
                <a:gd name="connsiteX0" fmla="*/ 0 w 1654175"/>
                <a:gd name="connsiteY0" fmla="*/ 158750 h 276225"/>
                <a:gd name="connsiteX1" fmla="*/ 311150 w 1654175"/>
                <a:gd name="connsiteY1" fmla="*/ 76200 h 276225"/>
                <a:gd name="connsiteX2" fmla="*/ 1136650 w 1654175"/>
                <a:gd name="connsiteY2" fmla="*/ 238125 h 276225"/>
                <a:gd name="connsiteX3" fmla="*/ 1654175 w 1654175"/>
                <a:gd name="connsiteY3" fmla="*/ 276225 h 276225"/>
                <a:gd name="connsiteX4" fmla="*/ 1177925 w 1654175"/>
                <a:gd name="connsiteY4" fmla="*/ 165100 h 276225"/>
                <a:gd name="connsiteX5" fmla="*/ 238125 w 1654175"/>
                <a:gd name="connsiteY5" fmla="*/ 0 h 276225"/>
                <a:gd name="connsiteX6" fmla="*/ 0 w 1654175"/>
                <a:gd name="connsiteY6" fmla="*/ 158750 h 276225"/>
                <a:gd name="connsiteX0" fmla="*/ 8663 w 1662838"/>
                <a:gd name="connsiteY0" fmla="*/ 158750 h 276225"/>
                <a:gd name="connsiteX1" fmla="*/ 319813 w 1662838"/>
                <a:gd name="connsiteY1" fmla="*/ 76200 h 276225"/>
                <a:gd name="connsiteX2" fmla="*/ 1145313 w 1662838"/>
                <a:gd name="connsiteY2" fmla="*/ 238125 h 276225"/>
                <a:gd name="connsiteX3" fmla="*/ 1662838 w 1662838"/>
                <a:gd name="connsiteY3" fmla="*/ 276225 h 276225"/>
                <a:gd name="connsiteX4" fmla="*/ 1186588 w 1662838"/>
                <a:gd name="connsiteY4" fmla="*/ 165100 h 276225"/>
                <a:gd name="connsiteX5" fmla="*/ 246788 w 1662838"/>
                <a:gd name="connsiteY5" fmla="*/ 0 h 276225"/>
                <a:gd name="connsiteX6" fmla="*/ 8663 w 1662838"/>
                <a:gd name="connsiteY6" fmla="*/ 158750 h 276225"/>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528"/>
                <a:gd name="connsiteX1" fmla="*/ 319612 w 1662637"/>
                <a:gd name="connsiteY1" fmla="*/ 104203 h 304528"/>
                <a:gd name="connsiteX2" fmla="*/ 1145112 w 1662637"/>
                <a:gd name="connsiteY2" fmla="*/ 266128 h 304528"/>
                <a:gd name="connsiteX3" fmla="*/ 1662637 w 1662637"/>
                <a:gd name="connsiteY3" fmla="*/ 304228 h 304528"/>
                <a:gd name="connsiteX4" fmla="*/ 1186387 w 1662637"/>
                <a:gd name="connsiteY4" fmla="*/ 193103 h 304528"/>
                <a:gd name="connsiteX5" fmla="*/ 246587 w 1662637"/>
                <a:gd name="connsiteY5" fmla="*/ 28003 h 304528"/>
                <a:gd name="connsiteX6" fmla="*/ 8462 w 1662637"/>
                <a:gd name="connsiteY6" fmla="*/ 186753 h 304528"/>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2350" h="311416">
                  <a:moveTo>
                    <a:pt x="8175" y="190827"/>
                  </a:moveTo>
                  <a:cubicBezTo>
                    <a:pt x="26167" y="172835"/>
                    <a:pt x="-51092" y="-64231"/>
                    <a:pt x="319325" y="108277"/>
                  </a:cubicBezTo>
                  <a:cubicBezTo>
                    <a:pt x="470667" y="187652"/>
                    <a:pt x="733133" y="400377"/>
                    <a:pt x="1144825" y="270202"/>
                  </a:cubicBezTo>
                  <a:cubicBezTo>
                    <a:pt x="1307808" y="200352"/>
                    <a:pt x="1461267" y="200352"/>
                    <a:pt x="1662350" y="308302"/>
                  </a:cubicBezTo>
                  <a:cubicBezTo>
                    <a:pt x="1592500" y="258560"/>
                    <a:pt x="1405175" y="151669"/>
                    <a:pt x="1186100" y="197177"/>
                  </a:cubicBezTo>
                  <a:cubicBezTo>
                    <a:pt x="720433" y="345344"/>
                    <a:pt x="623067" y="188710"/>
                    <a:pt x="246300" y="32077"/>
                  </a:cubicBezTo>
                  <a:cubicBezTo>
                    <a:pt x="182800" y="-731"/>
                    <a:pt x="-45800" y="-65290"/>
                    <a:pt x="8175" y="190827"/>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06" name="Freeform 405"/>
            <p:cNvSpPr/>
            <p:nvPr/>
          </p:nvSpPr>
          <p:spPr>
            <a:xfrm>
              <a:off x="772360" y="2134657"/>
              <a:ext cx="215223" cy="43420"/>
            </a:xfrm>
            <a:custGeom>
              <a:avLst/>
              <a:gdLst>
                <a:gd name="connsiteX0" fmla="*/ 0 w 1654175"/>
                <a:gd name="connsiteY0" fmla="*/ 158750 h 276225"/>
                <a:gd name="connsiteX1" fmla="*/ 311150 w 1654175"/>
                <a:gd name="connsiteY1" fmla="*/ 76200 h 276225"/>
                <a:gd name="connsiteX2" fmla="*/ 1136650 w 1654175"/>
                <a:gd name="connsiteY2" fmla="*/ 238125 h 276225"/>
                <a:gd name="connsiteX3" fmla="*/ 1654175 w 1654175"/>
                <a:gd name="connsiteY3" fmla="*/ 276225 h 276225"/>
                <a:gd name="connsiteX4" fmla="*/ 1177925 w 1654175"/>
                <a:gd name="connsiteY4" fmla="*/ 165100 h 276225"/>
                <a:gd name="connsiteX5" fmla="*/ 238125 w 1654175"/>
                <a:gd name="connsiteY5" fmla="*/ 0 h 276225"/>
                <a:gd name="connsiteX6" fmla="*/ 0 w 1654175"/>
                <a:gd name="connsiteY6" fmla="*/ 158750 h 276225"/>
                <a:gd name="connsiteX0" fmla="*/ 8663 w 1662838"/>
                <a:gd name="connsiteY0" fmla="*/ 158750 h 276225"/>
                <a:gd name="connsiteX1" fmla="*/ 319813 w 1662838"/>
                <a:gd name="connsiteY1" fmla="*/ 76200 h 276225"/>
                <a:gd name="connsiteX2" fmla="*/ 1145313 w 1662838"/>
                <a:gd name="connsiteY2" fmla="*/ 238125 h 276225"/>
                <a:gd name="connsiteX3" fmla="*/ 1662838 w 1662838"/>
                <a:gd name="connsiteY3" fmla="*/ 276225 h 276225"/>
                <a:gd name="connsiteX4" fmla="*/ 1186588 w 1662838"/>
                <a:gd name="connsiteY4" fmla="*/ 165100 h 276225"/>
                <a:gd name="connsiteX5" fmla="*/ 246788 w 1662838"/>
                <a:gd name="connsiteY5" fmla="*/ 0 h 276225"/>
                <a:gd name="connsiteX6" fmla="*/ 8663 w 1662838"/>
                <a:gd name="connsiteY6" fmla="*/ 158750 h 276225"/>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528"/>
                <a:gd name="connsiteX1" fmla="*/ 319612 w 1662637"/>
                <a:gd name="connsiteY1" fmla="*/ 104203 h 304528"/>
                <a:gd name="connsiteX2" fmla="*/ 1145112 w 1662637"/>
                <a:gd name="connsiteY2" fmla="*/ 266128 h 304528"/>
                <a:gd name="connsiteX3" fmla="*/ 1662637 w 1662637"/>
                <a:gd name="connsiteY3" fmla="*/ 304228 h 304528"/>
                <a:gd name="connsiteX4" fmla="*/ 1186387 w 1662637"/>
                <a:gd name="connsiteY4" fmla="*/ 193103 h 304528"/>
                <a:gd name="connsiteX5" fmla="*/ 246587 w 1662637"/>
                <a:gd name="connsiteY5" fmla="*/ 28003 h 304528"/>
                <a:gd name="connsiteX6" fmla="*/ 8462 w 1662637"/>
                <a:gd name="connsiteY6" fmla="*/ 186753 h 304528"/>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 name="connsiteX0" fmla="*/ 8175 w 1646273"/>
                <a:gd name="connsiteY0" fmla="*/ 190827 h 445287"/>
                <a:gd name="connsiteX1" fmla="*/ 319325 w 1646273"/>
                <a:gd name="connsiteY1" fmla="*/ 108277 h 445287"/>
                <a:gd name="connsiteX2" fmla="*/ 1144825 w 1646273"/>
                <a:gd name="connsiteY2" fmla="*/ 2702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9325 w 1646273"/>
                <a:gd name="connsiteY1" fmla="*/ 108277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9325 w 1646273"/>
                <a:gd name="connsiteY1" fmla="*/ 108277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2180 w 1646273"/>
                <a:gd name="connsiteY1" fmla="*/ 125400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2180 w 1646273"/>
                <a:gd name="connsiteY1" fmla="*/ 125400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2180 w 1646273"/>
                <a:gd name="connsiteY1" fmla="*/ 125400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7914 w 1646012"/>
                <a:gd name="connsiteY0" fmla="*/ 189281 h 443741"/>
                <a:gd name="connsiteX1" fmla="*/ 311919 w 1646012"/>
                <a:gd name="connsiteY1" fmla="*/ 123854 h 443741"/>
                <a:gd name="connsiteX2" fmla="*/ 1144564 w 1646012"/>
                <a:gd name="connsiteY2" fmla="*/ 300456 h 443741"/>
                <a:gd name="connsiteX3" fmla="*/ 1646012 w 1646012"/>
                <a:gd name="connsiteY3" fmla="*/ 443741 h 443741"/>
                <a:gd name="connsiteX4" fmla="*/ 1185839 w 1646012"/>
                <a:gd name="connsiteY4" fmla="*/ 195631 h 443741"/>
                <a:gd name="connsiteX5" fmla="*/ 254971 w 1646012"/>
                <a:gd name="connsiteY5" fmla="*/ 32977 h 443741"/>
                <a:gd name="connsiteX6" fmla="*/ 7914 w 1646012"/>
                <a:gd name="connsiteY6" fmla="*/ 189281 h 443741"/>
                <a:gd name="connsiteX0" fmla="*/ 8487 w 1646585"/>
                <a:gd name="connsiteY0" fmla="*/ 212527 h 466987"/>
                <a:gd name="connsiteX1" fmla="*/ 312492 w 1646585"/>
                <a:gd name="connsiteY1" fmla="*/ 147100 h 466987"/>
                <a:gd name="connsiteX2" fmla="*/ 1145137 w 1646585"/>
                <a:gd name="connsiteY2" fmla="*/ 323702 h 466987"/>
                <a:gd name="connsiteX3" fmla="*/ 1646585 w 1646585"/>
                <a:gd name="connsiteY3" fmla="*/ 466987 h 466987"/>
                <a:gd name="connsiteX4" fmla="*/ 1186412 w 1646585"/>
                <a:gd name="connsiteY4" fmla="*/ 218877 h 466987"/>
                <a:gd name="connsiteX5" fmla="*/ 255544 w 1646585"/>
                <a:gd name="connsiteY5" fmla="*/ 56223 h 466987"/>
                <a:gd name="connsiteX6" fmla="*/ 8487 w 1646585"/>
                <a:gd name="connsiteY6" fmla="*/ 212527 h 466987"/>
                <a:gd name="connsiteX0" fmla="*/ 8487 w 1646585"/>
                <a:gd name="connsiteY0" fmla="*/ 212527 h 466987"/>
                <a:gd name="connsiteX1" fmla="*/ 312492 w 1646585"/>
                <a:gd name="connsiteY1" fmla="*/ 147100 h 466987"/>
                <a:gd name="connsiteX2" fmla="*/ 1145137 w 1646585"/>
                <a:gd name="connsiteY2" fmla="*/ 323702 h 466987"/>
                <a:gd name="connsiteX3" fmla="*/ 1646585 w 1646585"/>
                <a:gd name="connsiteY3" fmla="*/ 466987 h 466987"/>
                <a:gd name="connsiteX4" fmla="*/ 1186412 w 1646585"/>
                <a:gd name="connsiteY4" fmla="*/ 218877 h 466987"/>
                <a:gd name="connsiteX5" fmla="*/ 255544 w 1646585"/>
                <a:gd name="connsiteY5" fmla="*/ 56223 h 466987"/>
                <a:gd name="connsiteX6" fmla="*/ 8487 w 1646585"/>
                <a:gd name="connsiteY6" fmla="*/ 212527 h 466987"/>
                <a:gd name="connsiteX0" fmla="*/ 8487 w 1646585"/>
                <a:gd name="connsiteY0" fmla="*/ 212527 h 466987"/>
                <a:gd name="connsiteX1" fmla="*/ 312492 w 1646585"/>
                <a:gd name="connsiteY1" fmla="*/ 147100 h 466987"/>
                <a:gd name="connsiteX2" fmla="*/ 1145137 w 1646585"/>
                <a:gd name="connsiteY2" fmla="*/ 323702 h 466987"/>
                <a:gd name="connsiteX3" fmla="*/ 1646585 w 1646585"/>
                <a:gd name="connsiteY3" fmla="*/ 466987 h 466987"/>
                <a:gd name="connsiteX4" fmla="*/ 1186412 w 1646585"/>
                <a:gd name="connsiteY4" fmla="*/ 218877 h 466987"/>
                <a:gd name="connsiteX5" fmla="*/ 255544 w 1646585"/>
                <a:gd name="connsiteY5" fmla="*/ 56223 h 466987"/>
                <a:gd name="connsiteX6" fmla="*/ 8487 w 1646585"/>
                <a:gd name="connsiteY6" fmla="*/ 212527 h 466987"/>
                <a:gd name="connsiteX0" fmla="*/ 7122 w 1645220"/>
                <a:gd name="connsiteY0" fmla="*/ 195482 h 449942"/>
                <a:gd name="connsiteX1" fmla="*/ 311127 w 1645220"/>
                <a:gd name="connsiteY1" fmla="*/ 130055 h 449942"/>
                <a:gd name="connsiteX2" fmla="*/ 1143772 w 1645220"/>
                <a:gd name="connsiteY2" fmla="*/ 306657 h 449942"/>
                <a:gd name="connsiteX3" fmla="*/ 1645220 w 1645220"/>
                <a:gd name="connsiteY3" fmla="*/ 449942 h 449942"/>
                <a:gd name="connsiteX4" fmla="*/ 1185047 w 1645220"/>
                <a:gd name="connsiteY4" fmla="*/ 201832 h 449942"/>
                <a:gd name="connsiteX5" fmla="*/ 304198 w 1645220"/>
                <a:gd name="connsiteY5" fmla="*/ 66086 h 449942"/>
                <a:gd name="connsiteX6" fmla="*/ 7122 w 1645220"/>
                <a:gd name="connsiteY6" fmla="*/ 195482 h 449942"/>
                <a:gd name="connsiteX0" fmla="*/ 8480 w 1646578"/>
                <a:gd name="connsiteY0" fmla="*/ 207867 h 462327"/>
                <a:gd name="connsiteX1" fmla="*/ 312485 w 1646578"/>
                <a:gd name="connsiteY1" fmla="*/ 142440 h 462327"/>
                <a:gd name="connsiteX2" fmla="*/ 1145130 w 1646578"/>
                <a:gd name="connsiteY2" fmla="*/ 319042 h 462327"/>
                <a:gd name="connsiteX3" fmla="*/ 1646578 w 1646578"/>
                <a:gd name="connsiteY3" fmla="*/ 462327 h 462327"/>
                <a:gd name="connsiteX4" fmla="*/ 1186405 w 1646578"/>
                <a:gd name="connsiteY4" fmla="*/ 214217 h 462327"/>
                <a:gd name="connsiteX5" fmla="*/ 305556 w 1646578"/>
                <a:gd name="connsiteY5" fmla="*/ 78471 h 462327"/>
                <a:gd name="connsiteX6" fmla="*/ 8480 w 1646578"/>
                <a:gd name="connsiteY6" fmla="*/ 207867 h 462327"/>
                <a:gd name="connsiteX0" fmla="*/ 8480 w 1646578"/>
                <a:gd name="connsiteY0" fmla="*/ 207867 h 462327"/>
                <a:gd name="connsiteX1" fmla="*/ 312485 w 1646578"/>
                <a:gd name="connsiteY1" fmla="*/ 142440 h 462327"/>
                <a:gd name="connsiteX2" fmla="*/ 1145130 w 1646578"/>
                <a:gd name="connsiteY2" fmla="*/ 319042 h 462327"/>
                <a:gd name="connsiteX3" fmla="*/ 1646578 w 1646578"/>
                <a:gd name="connsiteY3" fmla="*/ 462327 h 462327"/>
                <a:gd name="connsiteX4" fmla="*/ 1198909 w 1646578"/>
                <a:gd name="connsiteY4" fmla="*/ 238679 h 462327"/>
                <a:gd name="connsiteX5" fmla="*/ 305556 w 1646578"/>
                <a:gd name="connsiteY5" fmla="*/ 78471 h 462327"/>
                <a:gd name="connsiteX6" fmla="*/ 8480 w 1646578"/>
                <a:gd name="connsiteY6" fmla="*/ 207867 h 462327"/>
                <a:gd name="connsiteX0" fmla="*/ 7917 w 1646015"/>
                <a:gd name="connsiteY0" fmla="*/ 201136 h 455596"/>
                <a:gd name="connsiteX1" fmla="*/ 311922 w 1646015"/>
                <a:gd name="connsiteY1" fmla="*/ 135709 h 455596"/>
                <a:gd name="connsiteX2" fmla="*/ 1144567 w 1646015"/>
                <a:gd name="connsiteY2" fmla="*/ 312311 h 455596"/>
                <a:gd name="connsiteX3" fmla="*/ 1646015 w 1646015"/>
                <a:gd name="connsiteY3" fmla="*/ 455596 h 455596"/>
                <a:gd name="connsiteX4" fmla="*/ 1198346 w 1646015"/>
                <a:gd name="connsiteY4" fmla="*/ 231948 h 455596"/>
                <a:gd name="connsiteX5" fmla="*/ 323750 w 1646015"/>
                <a:gd name="connsiteY5" fmla="*/ 82748 h 455596"/>
                <a:gd name="connsiteX6" fmla="*/ 7917 w 1646015"/>
                <a:gd name="connsiteY6" fmla="*/ 201136 h 455596"/>
                <a:gd name="connsiteX0" fmla="*/ 8295 w 1646393"/>
                <a:gd name="connsiteY0" fmla="*/ 200370 h 454830"/>
                <a:gd name="connsiteX1" fmla="*/ 312300 w 1646393"/>
                <a:gd name="connsiteY1" fmla="*/ 134943 h 454830"/>
                <a:gd name="connsiteX2" fmla="*/ 1144945 w 1646393"/>
                <a:gd name="connsiteY2" fmla="*/ 311545 h 454830"/>
                <a:gd name="connsiteX3" fmla="*/ 1646393 w 1646393"/>
                <a:gd name="connsiteY3" fmla="*/ 454830 h 454830"/>
                <a:gd name="connsiteX4" fmla="*/ 1198724 w 1646393"/>
                <a:gd name="connsiteY4" fmla="*/ 231182 h 454830"/>
                <a:gd name="connsiteX5" fmla="*/ 324128 w 1646393"/>
                <a:gd name="connsiteY5" fmla="*/ 81982 h 454830"/>
                <a:gd name="connsiteX6" fmla="*/ 8295 w 1646393"/>
                <a:gd name="connsiteY6" fmla="*/ 200370 h 454830"/>
                <a:gd name="connsiteX0" fmla="*/ 8295 w 1646393"/>
                <a:gd name="connsiteY0" fmla="*/ 200370 h 454830"/>
                <a:gd name="connsiteX1" fmla="*/ 312300 w 1646393"/>
                <a:gd name="connsiteY1" fmla="*/ 134943 h 454830"/>
                <a:gd name="connsiteX2" fmla="*/ 1144945 w 1646393"/>
                <a:gd name="connsiteY2" fmla="*/ 311545 h 454830"/>
                <a:gd name="connsiteX3" fmla="*/ 1646393 w 1646393"/>
                <a:gd name="connsiteY3" fmla="*/ 454830 h 454830"/>
                <a:gd name="connsiteX4" fmla="*/ 1198724 w 1646393"/>
                <a:gd name="connsiteY4" fmla="*/ 231182 h 454830"/>
                <a:gd name="connsiteX5" fmla="*/ 324128 w 1646393"/>
                <a:gd name="connsiteY5" fmla="*/ 81982 h 454830"/>
                <a:gd name="connsiteX6" fmla="*/ 8295 w 1646393"/>
                <a:gd name="connsiteY6" fmla="*/ 200370 h 454830"/>
                <a:gd name="connsiteX0" fmla="*/ 8295 w 1646393"/>
                <a:gd name="connsiteY0" fmla="*/ 200370 h 454830"/>
                <a:gd name="connsiteX1" fmla="*/ 312300 w 1646393"/>
                <a:gd name="connsiteY1" fmla="*/ 134943 h 454830"/>
                <a:gd name="connsiteX2" fmla="*/ 1144945 w 1646393"/>
                <a:gd name="connsiteY2" fmla="*/ 311545 h 454830"/>
                <a:gd name="connsiteX3" fmla="*/ 1646393 w 1646393"/>
                <a:gd name="connsiteY3" fmla="*/ 454830 h 454830"/>
                <a:gd name="connsiteX4" fmla="*/ 1198724 w 1646393"/>
                <a:gd name="connsiteY4" fmla="*/ 231182 h 454830"/>
                <a:gd name="connsiteX5" fmla="*/ 324128 w 1646393"/>
                <a:gd name="connsiteY5" fmla="*/ 81982 h 454830"/>
                <a:gd name="connsiteX6" fmla="*/ 8295 w 1646393"/>
                <a:gd name="connsiteY6" fmla="*/ 200370 h 454830"/>
                <a:gd name="connsiteX0" fmla="*/ 8295 w 1646393"/>
                <a:gd name="connsiteY0" fmla="*/ 200370 h 454830"/>
                <a:gd name="connsiteX1" fmla="*/ 312300 w 1646393"/>
                <a:gd name="connsiteY1" fmla="*/ 134943 h 454830"/>
                <a:gd name="connsiteX2" fmla="*/ 1144945 w 1646393"/>
                <a:gd name="connsiteY2" fmla="*/ 311545 h 454830"/>
                <a:gd name="connsiteX3" fmla="*/ 1646393 w 1646393"/>
                <a:gd name="connsiteY3" fmla="*/ 454830 h 454830"/>
                <a:gd name="connsiteX4" fmla="*/ 1198724 w 1646393"/>
                <a:gd name="connsiteY4" fmla="*/ 231182 h 454830"/>
                <a:gd name="connsiteX5" fmla="*/ 324128 w 1646393"/>
                <a:gd name="connsiteY5" fmla="*/ 81982 h 454830"/>
                <a:gd name="connsiteX6" fmla="*/ 8295 w 1646393"/>
                <a:gd name="connsiteY6" fmla="*/ 200370 h 454830"/>
                <a:gd name="connsiteX0" fmla="*/ 8295 w 1646393"/>
                <a:gd name="connsiteY0" fmla="*/ 200370 h 454830"/>
                <a:gd name="connsiteX1" fmla="*/ 312300 w 1646393"/>
                <a:gd name="connsiteY1" fmla="*/ 134943 h 454830"/>
                <a:gd name="connsiteX2" fmla="*/ 547329 w 1646393"/>
                <a:gd name="connsiteY2" fmla="*/ 306941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47329 w 1646393"/>
                <a:gd name="connsiteY2" fmla="*/ 306941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47329 w 1646393"/>
                <a:gd name="connsiteY2" fmla="*/ 306941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47329 w 1646393"/>
                <a:gd name="connsiteY2" fmla="*/ 306941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83503 w 1646393"/>
                <a:gd name="connsiteY2" fmla="*/ 316114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83503 w 1646393"/>
                <a:gd name="connsiteY2" fmla="*/ 316114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83503 w 1646393"/>
                <a:gd name="connsiteY2" fmla="*/ 316114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83503 w 1646393"/>
                <a:gd name="connsiteY2" fmla="*/ 316114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46393" h="454830">
                  <a:moveTo>
                    <a:pt x="8295" y="200370"/>
                  </a:moveTo>
                  <a:cubicBezTo>
                    <a:pt x="26287" y="182378"/>
                    <a:pt x="-22389" y="-76704"/>
                    <a:pt x="312300" y="134943"/>
                  </a:cubicBezTo>
                  <a:cubicBezTo>
                    <a:pt x="413304" y="203768"/>
                    <a:pt x="460807" y="246318"/>
                    <a:pt x="583503" y="316114"/>
                  </a:cubicBezTo>
                  <a:cubicBezTo>
                    <a:pt x="840177" y="475806"/>
                    <a:pt x="1022504" y="350802"/>
                    <a:pt x="1144945" y="311545"/>
                  </a:cubicBezTo>
                  <a:cubicBezTo>
                    <a:pt x="1307928" y="241695"/>
                    <a:pt x="1469426" y="330368"/>
                    <a:pt x="1646393" y="454830"/>
                  </a:cubicBezTo>
                  <a:cubicBezTo>
                    <a:pt x="1576543" y="405088"/>
                    <a:pt x="1417799" y="185674"/>
                    <a:pt x="1198724" y="231182"/>
                  </a:cubicBezTo>
                  <a:cubicBezTo>
                    <a:pt x="733057" y="379349"/>
                    <a:pt x="817456" y="395171"/>
                    <a:pt x="324128" y="81982"/>
                  </a:cubicBezTo>
                  <a:cubicBezTo>
                    <a:pt x="175775" y="-32162"/>
                    <a:pt x="-45680" y="-55747"/>
                    <a:pt x="8295" y="200370"/>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07" name="Freeform 406"/>
            <p:cNvSpPr/>
            <p:nvPr/>
          </p:nvSpPr>
          <p:spPr>
            <a:xfrm>
              <a:off x="873723" y="2182791"/>
              <a:ext cx="122266" cy="22905"/>
            </a:xfrm>
            <a:custGeom>
              <a:avLst/>
              <a:gdLst>
                <a:gd name="connsiteX0" fmla="*/ 0 w 1654175"/>
                <a:gd name="connsiteY0" fmla="*/ 158750 h 276225"/>
                <a:gd name="connsiteX1" fmla="*/ 311150 w 1654175"/>
                <a:gd name="connsiteY1" fmla="*/ 76200 h 276225"/>
                <a:gd name="connsiteX2" fmla="*/ 1136650 w 1654175"/>
                <a:gd name="connsiteY2" fmla="*/ 238125 h 276225"/>
                <a:gd name="connsiteX3" fmla="*/ 1654175 w 1654175"/>
                <a:gd name="connsiteY3" fmla="*/ 276225 h 276225"/>
                <a:gd name="connsiteX4" fmla="*/ 1177925 w 1654175"/>
                <a:gd name="connsiteY4" fmla="*/ 165100 h 276225"/>
                <a:gd name="connsiteX5" fmla="*/ 238125 w 1654175"/>
                <a:gd name="connsiteY5" fmla="*/ 0 h 276225"/>
                <a:gd name="connsiteX6" fmla="*/ 0 w 1654175"/>
                <a:gd name="connsiteY6" fmla="*/ 158750 h 276225"/>
                <a:gd name="connsiteX0" fmla="*/ 8663 w 1662838"/>
                <a:gd name="connsiteY0" fmla="*/ 158750 h 276225"/>
                <a:gd name="connsiteX1" fmla="*/ 319813 w 1662838"/>
                <a:gd name="connsiteY1" fmla="*/ 76200 h 276225"/>
                <a:gd name="connsiteX2" fmla="*/ 1145313 w 1662838"/>
                <a:gd name="connsiteY2" fmla="*/ 238125 h 276225"/>
                <a:gd name="connsiteX3" fmla="*/ 1662838 w 1662838"/>
                <a:gd name="connsiteY3" fmla="*/ 276225 h 276225"/>
                <a:gd name="connsiteX4" fmla="*/ 1186588 w 1662838"/>
                <a:gd name="connsiteY4" fmla="*/ 165100 h 276225"/>
                <a:gd name="connsiteX5" fmla="*/ 246788 w 1662838"/>
                <a:gd name="connsiteY5" fmla="*/ 0 h 276225"/>
                <a:gd name="connsiteX6" fmla="*/ 8663 w 1662838"/>
                <a:gd name="connsiteY6" fmla="*/ 158750 h 276225"/>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528"/>
                <a:gd name="connsiteX1" fmla="*/ 319612 w 1662637"/>
                <a:gd name="connsiteY1" fmla="*/ 104203 h 304528"/>
                <a:gd name="connsiteX2" fmla="*/ 1145112 w 1662637"/>
                <a:gd name="connsiteY2" fmla="*/ 266128 h 304528"/>
                <a:gd name="connsiteX3" fmla="*/ 1662637 w 1662637"/>
                <a:gd name="connsiteY3" fmla="*/ 304228 h 304528"/>
                <a:gd name="connsiteX4" fmla="*/ 1186387 w 1662637"/>
                <a:gd name="connsiteY4" fmla="*/ 193103 h 304528"/>
                <a:gd name="connsiteX5" fmla="*/ 246587 w 1662637"/>
                <a:gd name="connsiteY5" fmla="*/ 28003 h 304528"/>
                <a:gd name="connsiteX6" fmla="*/ 8462 w 1662637"/>
                <a:gd name="connsiteY6" fmla="*/ 186753 h 304528"/>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2350" h="311416">
                  <a:moveTo>
                    <a:pt x="8175" y="190827"/>
                  </a:moveTo>
                  <a:cubicBezTo>
                    <a:pt x="26167" y="172835"/>
                    <a:pt x="-51092" y="-64231"/>
                    <a:pt x="319325" y="108277"/>
                  </a:cubicBezTo>
                  <a:cubicBezTo>
                    <a:pt x="470667" y="187652"/>
                    <a:pt x="733133" y="400377"/>
                    <a:pt x="1144825" y="270202"/>
                  </a:cubicBezTo>
                  <a:cubicBezTo>
                    <a:pt x="1307808" y="200352"/>
                    <a:pt x="1461267" y="200352"/>
                    <a:pt x="1662350" y="308302"/>
                  </a:cubicBezTo>
                  <a:cubicBezTo>
                    <a:pt x="1592500" y="258560"/>
                    <a:pt x="1405175" y="151669"/>
                    <a:pt x="1186100" y="197177"/>
                  </a:cubicBezTo>
                  <a:cubicBezTo>
                    <a:pt x="720433" y="345344"/>
                    <a:pt x="623067" y="188710"/>
                    <a:pt x="246300" y="32077"/>
                  </a:cubicBezTo>
                  <a:cubicBezTo>
                    <a:pt x="182800" y="-731"/>
                    <a:pt x="-45800" y="-65290"/>
                    <a:pt x="8175" y="190827"/>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08" name="Freeform 407"/>
            <p:cNvSpPr/>
            <p:nvPr/>
          </p:nvSpPr>
          <p:spPr>
            <a:xfrm>
              <a:off x="1249879" y="2466110"/>
              <a:ext cx="451723" cy="405557"/>
            </a:xfrm>
            <a:custGeom>
              <a:avLst/>
              <a:gdLst/>
              <a:ahLst/>
              <a:cxnLst/>
              <a:rect l="l" t="t" r="r" b="b"/>
              <a:pathLst>
                <a:path w="6141720" h="5514049">
                  <a:moveTo>
                    <a:pt x="2437765" y="4651720"/>
                  </a:moveTo>
                  <a:lnTo>
                    <a:pt x="1748790" y="4880320"/>
                  </a:lnTo>
                  <a:lnTo>
                    <a:pt x="3021965" y="5321645"/>
                  </a:lnTo>
                  <a:lnTo>
                    <a:pt x="4457065" y="4893020"/>
                  </a:lnTo>
                  <a:lnTo>
                    <a:pt x="3041015" y="4800945"/>
                  </a:lnTo>
                  <a:close/>
                  <a:moveTo>
                    <a:pt x="1005840" y="4480270"/>
                  </a:moveTo>
                  <a:lnTo>
                    <a:pt x="878840" y="4524720"/>
                  </a:lnTo>
                  <a:lnTo>
                    <a:pt x="1551940" y="4731095"/>
                  </a:lnTo>
                  <a:lnTo>
                    <a:pt x="1678940" y="4686645"/>
                  </a:lnTo>
                  <a:close/>
                  <a:moveTo>
                    <a:pt x="586740" y="4207220"/>
                  </a:moveTo>
                  <a:lnTo>
                    <a:pt x="97790" y="4311995"/>
                  </a:lnTo>
                  <a:lnTo>
                    <a:pt x="789940" y="4556470"/>
                  </a:lnTo>
                  <a:lnTo>
                    <a:pt x="789940" y="4508845"/>
                  </a:lnTo>
                  <a:lnTo>
                    <a:pt x="945515" y="4461220"/>
                  </a:lnTo>
                  <a:lnTo>
                    <a:pt x="945515" y="4365970"/>
                  </a:lnTo>
                  <a:lnTo>
                    <a:pt x="1069340" y="4331045"/>
                  </a:lnTo>
                  <a:close/>
                  <a:moveTo>
                    <a:pt x="3918109" y="3795264"/>
                  </a:moveTo>
                  <a:lnTo>
                    <a:pt x="3587115" y="3809551"/>
                  </a:lnTo>
                  <a:lnTo>
                    <a:pt x="3587115" y="3864320"/>
                  </a:lnTo>
                  <a:lnTo>
                    <a:pt x="3872865" y="3847651"/>
                  </a:lnTo>
                  <a:lnTo>
                    <a:pt x="3872865" y="4278658"/>
                  </a:lnTo>
                  <a:lnTo>
                    <a:pt x="3920490" y="4269133"/>
                  </a:lnTo>
                  <a:cubicBezTo>
                    <a:pt x="3919696" y="4111177"/>
                    <a:pt x="3918903" y="3953220"/>
                    <a:pt x="3918109" y="3795264"/>
                  </a:cubicBezTo>
                  <a:close/>
                  <a:moveTo>
                    <a:pt x="4713446" y="3754783"/>
                  </a:moveTo>
                  <a:lnTo>
                    <a:pt x="4434840" y="3769070"/>
                  </a:lnTo>
                  <a:lnTo>
                    <a:pt x="4434840" y="3819076"/>
                  </a:lnTo>
                  <a:lnTo>
                    <a:pt x="4672965" y="3797645"/>
                  </a:lnTo>
                  <a:lnTo>
                    <a:pt x="4672965" y="4161976"/>
                  </a:lnTo>
                  <a:lnTo>
                    <a:pt x="4713446" y="4157214"/>
                  </a:lnTo>
                  <a:close/>
                  <a:moveTo>
                    <a:pt x="5356384" y="3719064"/>
                  </a:moveTo>
                  <a:lnTo>
                    <a:pt x="5120640" y="3730970"/>
                  </a:lnTo>
                  <a:lnTo>
                    <a:pt x="5120640" y="3766689"/>
                  </a:lnTo>
                  <a:lnTo>
                    <a:pt x="5327809" y="3761926"/>
                  </a:lnTo>
                  <a:lnTo>
                    <a:pt x="5342096" y="4064345"/>
                  </a:lnTo>
                  <a:lnTo>
                    <a:pt x="5370671" y="4059583"/>
                  </a:lnTo>
                  <a:close/>
                  <a:moveTo>
                    <a:pt x="5127784" y="3018976"/>
                  </a:moveTo>
                  <a:lnTo>
                    <a:pt x="5127784" y="3057076"/>
                  </a:lnTo>
                  <a:lnTo>
                    <a:pt x="5323046" y="3076126"/>
                  </a:lnTo>
                  <a:lnTo>
                    <a:pt x="5339715" y="3378545"/>
                  </a:lnTo>
                  <a:lnTo>
                    <a:pt x="5368290" y="3383307"/>
                  </a:lnTo>
                  <a:lnTo>
                    <a:pt x="5356384" y="3049933"/>
                  </a:lnTo>
                  <a:close/>
                  <a:moveTo>
                    <a:pt x="4434840" y="2952301"/>
                  </a:moveTo>
                  <a:lnTo>
                    <a:pt x="4437222" y="2995165"/>
                  </a:lnTo>
                  <a:cubicBezTo>
                    <a:pt x="4671378" y="3011833"/>
                    <a:pt x="4555490" y="3004690"/>
                    <a:pt x="4680109" y="3016595"/>
                  </a:cubicBezTo>
                  <a:lnTo>
                    <a:pt x="4680109" y="3376164"/>
                  </a:lnTo>
                  <a:lnTo>
                    <a:pt x="4718209" y="3380926"/>
                  </a:lnTo>
                  <a:cubicBezTo>
                    <a:pt x="4716621" y="3246782"/>
                    <a:pt x="4715034" y="3112639"/>
                    <a:pt x="4713446" y="2978495"/>
                  </a:cubicBezTo>
                  <a:close/>
                  <a:moveTo>
                    <a:pt x="1129665" y="2921345"/>
                  </a:moveTo>
                  <a:lnTo>
                    <a:pt x="656590" y="2994370"/>
                  </a:lnTo>
                  <a:lnTo>
                    <a:pt x="621665" y="4153245"/>
                  </a:lnTo>
                  <a:lnTo>
                    <a:pt x="1097915" y="4273895"/>
                  </a:lnTo>
                  <a:close/>
                  <a:moveTo>
                    <a:pt x="3589496" y="2868958"/>
                  </a:moveTo>
                  <a:lnTo>
                    <a:pt x="3589496" y="2918964"/>
                  </a:lnTo>
                  <a:lnTo>
                    <a:pt x="3875246" y="2949920"/>
                  </a:lnTo>
                  <a:lnTo>
                    <a:pt x="3875246" y="3380926"/>
                  </a:lnTo>
                  <a:lnTo>
                    <a:pt x="3920490" y="3380926"/>
                  </a:lnTo>
                  <a:lnTo>
                    <a:pt x="3920490" y="2902295"/>
                  </a:lnTo>
                  <a:close/>
                  <a:moveTo>
                    <a:pt x="1139190" y="2728464"/>
                  </a:moveTo>
                  <a:lnTo>
                    <a:pt x="605790" y="2838001"/>
                  </a:lnTo>
                  <a:lnTo>
                    <a:pt x="605790" y="2888008"/>
                  </a:lnTo>
                  <a:lnTo>
                    <a:pt x="1139190" y="2778470"/>
                  </a:lnTo>
                  <a:close/>
                  <a:moveTo>
                    <a:pt x="3048953" y="2621308"/>
                  </a:moveTo>
                  <a:lnTo>
                    <a:pt x="2220278" y="2749895"/>
                  </a:lnTo>
                  <a:lnTo>
                    <a:pt x="2205990" y="4531070"/>
                  </a:lnTo>
                  <a:lnTo>
                    <a:pt x="3029903" y="4731095"/>
                  </a:lnTo>
                  <a:close/>
                  <a:moveTo>
                    <a:pt x="1859915" y="2378420"/>
                  </a:moveTo>
                  <a:lnTo>
                    <a:pt x="1199515" y="2546695"/>
                  </a:lnTo>
                  <a:lnTo>
                    <a:pt x="1161415" y="4340570"/>
                  </a:lnTo>
                  <a:lnTo>
                    <a:pt x="1028065" y="4381845"/>
                  </a:lnTo>
                  <a:lnTo>
                    <a:pt x="1678940" y="4569170"/>
                  </a:lnTo>
                  <a:lnTo>
                    <a:pt x="1824990" y="4515195"/>
                  </a:lnTo>
                  <a:close/>
                  <a:moveTo>
                    <a:pt x="3082290" y="2321270"/>
                  </a:moveTo>
                  <a:lnTo>
                    <a:pt x="2225040" y="2499864"/>
                  </a:lnTo>
                  <a:lnTo>
                    <a:pt x="2225040" y="2571301"/>
                  </a:lnTo>
                  <a:lnTo>
                    <a:pt x="3082290" y="2395089"/>
                  </a:lnTo>
                  <a:close/>
                  <a:moveTo>
                    <a:pt x="3034665" y="1897408"/>
                  </a:moveTo>
                  <a:lnTo>
                    <a:pt x="853440" y="2540345"/>
                  </a:lnTo>
                  <a:lnTo>
                    <a:pt x="853440" y="2716558"/>
                  </a:lnTo>
                  <a:lnTo>
                    <a:pt x="1141571" y="2657026"/>
                  </a:lnTo>
                  <a:lnTo>
                    <a:pt x="1141571" y="2509389"/>
                  </a:lnTo>
                  <a:lnTo>
                    <a:pt x="1860709" y="2306983"/>
                  </a:lnTo>
                  <a:lnTo>
                    <a:pt x="2196465" y="2418901"/>
                  </a:lnTo>
                  <a:lnTo>
                    <a:pt x="3034665" y="2230783"/>
                  </a:lnTo>
                  <a:close/>
                  <a:moveTo>
                    <a:pt x="2139315" y="1759295"/>
                  </a:moveTo>
                  <a:lnTo>
                    <a:pt x="1482090" y="2016470"/>
                  </a:lnTo>
                  <a:lnTo>
                    <a:pt x="1482090" y="2290314"/>
                  </a:lnTo>
                  <a:lnTo>
                    <a:pt x="2139315" y="2095051"/>
                  </a:lnTo>
                  <a:close/>
                  <a:moveTo>
                    <a:pt x="3960971" y="1437826"/>
                  </a:moveTo>
                  <a:lnTo>
                    <a:pt x="2675096" y="1864070"/>
                  </a:lnTo>
                  <a:lnTo>
                    <a:pt x="2675096" y="1937889"/>
                  </a:lnTo>
                  <a:lnTo>
                    <a:pt x="3034665" y="1833114"/>
                  </a:lnTo>
                  <a:lnTo>
                    <a:pt x="3253740" y="1890264"/>
                  </a:lnTo>
                  <a:lnTo>
                    <a:pt x="3844290" y="1721195"/>
                  </a:lnTo>
                  <a:lnTo>
                    <a:pt x="3844290" y="1809301"/>
                  </a:lnTo>
                  <a:lnTo>
                    <a:pt x="3429953" y="1930745"/>
                  </a:lnTo>
                  <a:lnTo>
                    <a:pt x="3960971" y="2080764"/>
                  </a:lnTo>
                  <a:close/>
                  <a:moveTo>
                    <a:pt x="4450467" y="798721"/>
                  </a:moveTo>
                  <a:cubicBezTo>
                    <a:pt x="4330363" y="791764"/>
                    <a:pt x="4200883" y="824655"/>
                    <a:pt x="4170521" y="840133"/>
                  </a:cubicBezTo>
                  <a:lnTo>
                    <a:pt x="4156234" y="1447351"/>
                  </a:lnTo>
                  <a:lnTo>
                    <a:pt x="4603909" y="1623564"/>
                  </a:lnTo>
                  <a:lnTo>
                    <a:pt x="4563428" y="821083"/>
                  </a:lnTo>
                  <a:cubicBezTo>
                    <a:pt x="4529495" y="807788"/>
                    <a:pt x="4490502" y="801041"/>
                    <a:pt x="4450467" y="798721"/>
                  </a:cubicBezTo>
                  <a:close/>
                  <a:moveTo>
                    <a:pt x="2501265" y="767802"/>
                  </a:moveTo>
                  <a:cubicBezTo>
                    <a:pt x="2490351" y="763138"/>
                    <a:pt x="2477056" y="767107"/>
                    <a:pt x="2463165" y="794888"/>
                  </a:cubicBezTo>
                  <a:lnTo>
                    <a:pt x="2434590" y="1761675"/>
                  </a:lnTo>
                  <a:lnTo>
                    <a:pt x="2536984" y="1787869"/>
                  </a:lnTo>
                  <a:lnTo>
                    <a:pt x="2525078" y="792507"/>
                  </a:lnTo>
                  <a:cubicBezTo>
                    <a:pt x="2520712" y="785761"/>
                    <a:pt x="2512179" y="772465"/>
                    <a:pt x="2501265" y="767802"/>
                  </a:cubicBezTo>
                  <a:close/>
                  <a:moveTo>
                    <a:pt x="4302793" y="558846"/>
                  </a:moveTo>
                  <a:cubicBezTo>
                    <a:pt x="4256396" y="562269"/>
                    <a:pt x="4216361" y="576408"/>
                    <a:pt x="4177665" y="597243"/>
                  </a:cubicBezTo>
                  <a:lnTo>
                    <a:pt x="4170521" y="780600"/>
                  </a:lnTo>
                  <a:cubicBezTo>
                    <a:pt x="4199096" y="769488"/>
                    <a:pt x="4272915" y="739325"/>
                    <a:pt x="4349115" y="747262"/>
                  </a:cubicBezTo>
                  <a:lnTo>
                    <a:pt x="4351497" y="559144"/>
                  </a:lnTo>
                  <a:cubicBezTo>
                    <a:pt x="4334431" y="557755"/>
                    <a:pt x="4318259" y="557705"/>
                    <a:pt x="4302793" y="558846"/>
                  </a:cubicBezTo>
                  <a:close/>
                  <a:moveTo>
                    <a:pt x="3202810" y="335363"/>
                  </a:moveTo>
                  <a:cubicBezTo>
                    <a:pt x="3126836" y="339232"/>
                    <a:pt x="3059668" y="355250"/>
                    <a:pt x="3020378" y="375788"/>
                  </a:cubicBezTo>
                  <a:lnTo>
                    <a:pt x="2987040" y="1687857"/>
                  </a:lnTo>
                  <a:lnTo>
                    <a:pt x="3449003" y="1528313"/>
                  </a:lnTo>
                  <a:lnTo>
                    <a:pt x="3387090" y="351975"/>
                  </a:lnTo>
                  <a:cubicBezTo>
                    <a:pt x="3352364" y="343244"/>
                    <a:pt x="3316447" y="338084"/>
                    <a:pt x="3281013" y="335827"/>
                  </a:cubicBezTo>
                  <a:cubicBezTo>
                    <a:pt x="3254438" y="334134"/>
                    <a:pt x="3228135" y="334074"/>
                    <a:pt x="3202810" y="335363"/>
                  </a:cubicBezTo>
                  <a:close/>
                  <a:moveTo>
                    <a:pt x="3210878" y="80513"/>
                  </a:moveTo>
                  <a:cubicBezTo>
                    <a:pt x="3142615" y="74956"/>
                    <a:pt x="3086259" y="86070"/>
                    <a:pt x="3034665" y="113850"/>
                  </a:cubicBezTo>
                  <a:lnTo>
                    <a:pt x="3027521" y="297207"/>
                  </a:lnTo>
                  <a:cubicBezTo>
                    <a:pt x="3056096" y="286095"/>
                    <a:pt x="3129915" y="263076"/>
                    <a:pt x="3206115" y="271013"/>
                  </a:cubicBezTo>
                  <a:close/>
                  <a:moveTo>
                    <a:pt x="3339623" y="1383"/>
                  </a:moveTo>
                  <a:cubicBezTo>
                    <a:pt x="3446502" y="8108"/>
                    <a:pt x="3543419" y="40032"/>
                    <a:pt x="3581400" y="111469"/>
                  </a:cubicBezTo>
                  <a:lnTo>
                    <a:pt x="3672840" y="1460209"/>
                  </a:lnTo>
                  <a:lnTo>
                    <a:pt x="3947160" y="1368769"/>
                  </a:lnTo>
                  <a:lnTo>
                    <a:pt x="4091940" y="1429729"/>
                  </a:lnTo>
                  <a:lnTo>
                    <a:pt x="4130040" y="561049"/>
                  </a:lnTo>
                  <a:cubicBezTo>
                    <a:pt x="4317048" y="361024"/>
                    <a:pt x="4746943" y="489611"/>
                    <a:pt x="4762500" y="561049"/>
                  </a:cubicBezTo>
                  <a:lnTo>
                    <a:pt x="4892040" y="2328889"/>
                  </a:lnTo>
                  <a:lnTo>
                    <a:pt x="5433060" y="2466049"/>
                  </a:lnTo>
                  <a:lnTo>
                    <a:pt x="5448300" y="2793709"/>
                  </a:lnTo>
                  <a:lnTo>
                    <a:pt x="5692140" y="2862289"/>
                  </a:lnTo>
                  <a:lnTo>
                    <a:pt x="5692140" y="3113749"/>
                  </a:lnTo>
                  <a:lnTo>
                    <a:pt x="5631180" y="3128989"/>
                  </a:lnTo>
                  <a:lnTo>
                    <a:pt x="5646420" y="4142449"/>
                  </a:lnTo>
                  <a:lnTo>
                    <a:pt x="6103620" y="4256749"/>
                  </a:lnTo>
                  <a:lnTo>
                    <a:pt x="6141720" y="4462489"/>
                  </a:lnTo>
                  <a:lnTo>
                    <a:pt x="3048000" y="5514049"/>
                  </a:lnTo>
                  <a:lnTo>
                    <a:pt x="0" y="4401529"/>
                  </a:lnTo>
                  <a:lnTo>
                    <a:pt x="0" y="4271989"/>
                  </a:lnTo>
                  <a:lnTo>
                    <a:pt x="556260" y="4165309"/>
                  </a:lnTo>
                  <a:lnTo>
                    <a:pt x="601980" y="3022309"/>
                  </a:lnTo>
                  <a:lnTo>
                    <a:pt x="556260" y="3007069"/>
                  </a:lnTo>
                  <a:lnTo>
                    <a:pt x="556260" y="2786089"/>
                  </a:lnTo>
                  <a:lnTo>
                    <a:pt x="792480" y="2732749"/>
                  </a:lnTo>
                  <a:lnTo>
                    <a:pt x="792480" y="2481289"/>
                  </a:lnTo>
                  <a:lnTo>
                    <a:pt x="1424940" y="2298409"/>
                  </a:lnTo>
                  <a:lnTo>
                    <a:pt x="1424940" y="1970749"/>
                  </a:lnTo>
                  <a:lnTo>
                    <a:pt x="2141220" y="1681189"/>
                  </a:lnTo>
                  <a:lnTo>
                    <a:pt x="2392680" y="1757389"/>
                  </a:lnTo>
                  <a:lnTo>
                    <a:pt x="2423637" y="751549"/>
                  </a:lnTo>
                  <a:cubicBezTo>
                    <a:pt x="2433321" y="709957"/>
                    <a:pt x="2595403" y="687414"/>
                    <a:pt x="2631281" y="748215"/>
                  </a:cubicBezTo>
                  <a:lnTo>
                    <a:pt x="2682240" y="1795489"/>
                  </a:lnTo>
                  <a:lnTo>
                    <a:pt x="2872740" y="1726909"/>
                  </a:lnTo>
                  <a:lnTo>
                    <a:pt x="2948940" y="111469"/>
                  </a:lnTo>
                  <a:cubicBezTo>
                    <a:pt x="2955687" y="48961"/>
                    <a:pt x="3161491" y="-9826"/>
                    <a:pt x="3339623" y="1383"/>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09" name="Freeform 408"/>
            <p:cNvSpPr/>
            <p:nvPr/>
          </p:nvSpPr>
          <p:spPr>
            <a:xfrm>
              <a:off x="1425790" y="2677296"/>
              <a:ext cx="32051" cy="40983"/>
            </a:xfrm>
            <a:custGeom>
              <a:avLst/>
              <a:gdLst>
                <a:gd name="connsiteX0" fmla="*/ 435768 w 435768"/>
                <a:gd name="connsiteY0" fmla="*/ 76200 h 557212"/>
                <a:gd name="connsiteX1" fmla="*/ 435768 w 435768"/>
                <a:gd name="connsiteY1" fmla="*/ 0 h 557212"/>
                <a:gd name="connsiteX2" fmla="*/ 4762 w 435768"/>
                <a:gd name="connsiteY2" fmla="*/ 45244 h 557212"/>
                <a:gd name="connsiteX3" fmla="*/ 0 w 435768"/>
                <a:gd name="connsiteY3" fmla="*/ 557212 h 557212"/>
                <a:gd name="connsiteX4" fmla="*/ 64293 w 435768"/>
                <a:gd name="connsiteY4" fmla="*/ 557212 h 557212"/>
                <a:gd name="connsiteX5" fmla="*/ 66675 w 435768"/>
                <a:gd name="connsiteY5" fmla="*/ 104775 h 557212"/>
                <a:gd name="connsiteX6" fmla="*/ 435768 w 435768"/>
                <a:gd name="connsiteY6" fmla="*/ 76200 h 557212"/>
                <a:gd name="connsiteX0" fmla="*/ 435768 w 435768"/>
                <a:gd name="connsiteY0" fmla="*/ 76200 h 557212"/>
                <a:gd name="connsiteX1" fmla="*/ 435768 w 435768"/>
                <a:gd name="connsiteY1" fmla="*/ 0 h 557212"/>
                <a:gd name="connsiteX2" fmla="*/ 4762 w 435768"/>
                <a:gd name="connsiteY2" fmla="*/ 45244 h 557212"/>
                <a:gd name="connsiteX3" fmla="*/ 0 w 435768"/>
                <a:gd name="connsiteY3" fmla="*/ 557212 h 557212"/>
                <a:gd name="connsiteX4" fmla="*/ 64293 w 435768"/>
                <a:gd name="connsiteY4" fmla="*/ 557212 h 557212"/>
                <a:gd name="connsiteX5" fmla="*/ 66675 w 435768"/>
                <a:gd name="connsiteY5" fmla="*/ 109537 h 557212"/>
                <a:gd name="connsiteX6" fmla="*/ 435768 w 435768"/>
                <a:gd name="connsiteY6" fmla="*/ 76200 h 557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768" h="557212">
                  <a:moveTo>
                    <a:pt x="435768" y="76200"/>
                  </a:moveTo>
                  <a:lnTo>
                    <a:pt x="435768" y="0"/>
                  </a:lnTo>
                  <a:lnTo>
                    <a:pt x="4762" y="45244"/>
                  </a:lnTo>
                  <a:cubicBezTo>
                    <a:pt x="3175" y="215900"/>
                    <a:pt x="1587" y="386556"/>
                    <a:pt x="0" y="557212"/>
                  </a:cubicBezTo>
                  <a:lnTo>
                    <a:pt x="64293" y="557212"/>
                  </a:lnTo>
                  <a:lnTo>
                    <a:pt x="66675" y="109537"/>
                  </a:lnTo>
                  <a:lnTo>
                    <a:pt x="435768" y="76200"/>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10" name="Freeform 409"/>
            <p:cNvSpPr/>
            <p:nvPr/>
          </p:nvSpPr>
          <p:spPr>
            <a:xfrm>
              <a:off x="1425790" y="2740347"/>
              <a:ext cx="32226" cy="40457"/>
            </a:xfrm>
            <a:custGeom>
              <a:avLst/>
              <a:gdLst>
                <a:gd name="connsiteX0" fmla="*/ 435768 w 435768"/>
                <a:gd name="connsiteY0" fmla="*/ 76200 h 557212"/>
                <a:gd name="connsiteX1" fmla="*/ 435768 w 435768"/>
                <a:gd name="connsiteY1" fmla="*/ 0 h 557212"/>
                <a:gd name="connsiteX2" fmla="*/ 4762 w 435768"/>
                <a:gd name="connsiteY2" fmla="*/ 45244 h 557212"/>
                <a:gd name="connsiteX3" fmla="*/ 0 w 435768"/>
                <a:gd name="connsiteY3" fmla="*/ 557212 h 557212"/>
                <a:gd name="connsiteX4" fmla="*/ 64293 w 435768"/>
                <a:gd name="connsiteY4" fmla="*/ 557212 h 557212"/>
                <a:gd name="connsiteX5" fmla="*/ 66675 w 435768"/>
                <a:gd name="connsiteY5" fmla="*/ 104775 h 557212"/>
                <a:gd name="connsiteX6" fmla="*/ 435768 w 435768"/>
                <a:gd name="connsiteY6" fmla="*/ 76200 h 557212"/>
                <a:gd name="connsiteX0" fmla="*/ 435768 w 435768"/>
                <a:gd name="connsiteY0" fmla="*/ 76200 h 557212"/>
                <a:gd name="connsiteX1" fmla="*/ 435768 w 435768"/>
                <a:gd name="connsiteY1" fmla="*/ 0 h 557212"/>
                <a:gd name="connsiteX2" fmla="*/ 4762 w 435768"/>
                <a:gd name="connsiteY2" fmla="*/ 45244 h 557212"/>
                <a:gd name="connsiteX3" fmla="*/ 0 w 435768"/>
                <a:gd name="connsiteY3" fmla="*/ 557212 h 557212"/>
                <a:gd name="connsiteX4" fmla="*/ 64293 w 435768"/>
                <a:gd name="connsiteY4" fmla="*/ 557212 h 557212"/>
                <a:gd name="connsiteX5" fmla="*/ 66675 w 435768"/>
                <a:gd name="connsiteY5" fmla="*/ 109537 h 557212"/>
                <a:gd name="connsiteX6" fmla="*/ 435768 w 435768"/>
                <a:gd name="connsiteY6" fmla="*/ 76200 h 557212"/>
                <a:gd name="connsiteX0" fmla="*/ 435768 w 435768"/>
                <a:gd name="connsiteY0" fmla="*/ 76200 h 585787"/>
                <a:gd name="connsiteX1" fmla="*/ 435768 w 435768"/>
                <a:gd name="connsiteY1" fmla="*/ 0 h 585787"/>
                <a:gd name="connsiteX2" fmla="*/ 4762 w 435768"/>
                <a:gd name="connsiteY2" fmla="*/ 45244 h 585787"/>
                <a:gd name="connsiteX3" fmla="*/ 0 w 435768"/>
                <a:gd name="connsiteY3" fmla="*/ 585787 h 585787"/>
                <a:gd name="connsiteX4" fmla="*/ 64293 w 435768"/>
                <a:gd name="connsiteY4" fmla="*/ 557212 h 585787"/>
                <a:gd name="connsiteX5" fmla="*/ 66675 w 435768"/>
                <a:gd name="connsiteY5" fmla="*/ 109537 h 585787"/>
                <a:gd name="connsiteX6" fmla="*/ 435768 w 435768"/>
                <a:gd name="connsiteY6" fmla="*/ 76200 h 585787"/>
                <a:gd name="connsiteX0" fmla="*/ 435768 w 435768"/>
                <a:gd name="connsiteY0" fmla="*/ 76200 h 595312"/>
                <a:gd name="connsiteX1" fmla="*/ 435768 w 435768"/>
                <a:gd name="connsiteY1" fmla="*/ 0 h 595312"/>
                <a:gd name="connsiteX2" fmla="*/ 4762 w 435768"/>
                <a:gd name="connsiteY2" fmla="*/ 45244 h 595312"/>
                <a:gd name="connsiteX3" fmla="*/ 0 w 435768"/>
                <a:gd name="connsiteY3" fmla="*/ 585787 h 595312"/>
                <a:gd name="connsiteX4" fmla="*/ 54768 w 435768"/>
                <a:gd name="connsiteY4" fmla="*/ 595312 h 595312"/>
                <a:gd name="connsiteX5" fmla="*/ 66675 w 435768"/>
                <a:gd name="connsiteY5" fmla="*/ 109537 h 595312"/>
                <a:gd name="connsiteX6" fmla="*/ 435768 w 435768"/>
                <a:gd name="connsiteY6" fmla="*/ 76200 h 595312"/>
                <a:gd name="connsiteX0" fmla="*/ 433387 w 435768"/>
                <a:gd name="connsiteY0" fmla="*/ 128588 h 595312"/>
                <a:gd name="connsiteX1" fmla="*/ 435768 w 435768"/>
                <a:gd name="connsiteY1" fmla="*/ 0 h 595312"/>
                <a:gd name="connsiteX2" fmla="*/ 4762 w 435768"/>
                <a:gd name="connsiteY2" fmla="*/ 45244 h 595312"/>
                <a:gd name="connsiteX3" fmla="*/ 0 w 435768"/>
                <a:gd name="connsiteY3" fmla="*/ 585787 h 595312"/>
                <a:gd name="connsiteX4" fmla="*/ 54768 w 435768"/>
                <a:gd name="connsiteY4" fmla="*/ 595312 h 595312"/>
                <a:gd name="connsiteX5" fmla="*/ 66675 w 435768"/>
                <a:gd name="connsiteY5" fmla="*/ 109537 h 595312"/>
                <a:gd name="connsiteX6" fmla="*/ 433387 w 435768"/>
                <a:gd name="connsiteY6" fmla="*/ 128588 h 595312"/>
                <a:gd name="connsiteX0" fmla="*/ 433387 w 438149"/>
                <a:gd name="connsiteY0" fmla="*/ 83344 h 550068"/>
                <a:gd name="connsiteX1" fmla="*/ 438149 w 438149"/>
                <a:gd name="connsiteY1" fmla="*/ 21431 h 550068"/>
                <a:gd name="connsiteX2" fmla="*/ 4762 w 438149"/>
                <a:gd name="connsiteY2" fmla="*/ 0 h 550068"/>
                <a:gd name="connsiteX3" fmla="*/ 0 w 438149"/>
                <a:gd name="connsiteY3" fmla="*/ 540543 h 550068"/>
                <a:gd name="connsiteX4" fmla="*/ 54768 w 438149"/>
                <a:gd name="connsiteY4" fmla="*/ 550068 h 550068"/>
                <a:gd name="connsiteX5" fmla="*/ 66675 w 438149"/>
                <a:gd name="connsiteY5" fmla="*/ 64293 h 550068"/>
                <a:gd name="connsiteX6" fmla="*/ 433387 w 438149"/>
                <a:gd name="connsiteY6" fmla="*/ 83344 h 550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149" h="550068">
                  <a:moveTo>
                    <a:pt x="433387" y="83344"/>
                  </a:moveTo>
                  <a:cubicBezTo>
                    <a:pt x="434181" y="40481"/>
                    <a:pt x="437355" y="64294"/>
                    <a:pt x="438149" y="21431"/>
                  </a:cubicBezTo>
                  <a:lnTo>
                    <a:pt x="4762" y="0"/>
                  </a:lnTo>
                  <a:cubicBezTo>
                    <a:pt x="3175" y="170656"/>
                    <a:pt x="1587" y="369887"/>
                    <a:pt x="0" y="540543"/>
                  </a:cubicBezTo>
                  <a:lnTo>
                    <a:pt x="54768" y="550068"/>
                  </a:lnTo>
                  <a:lnTo>
                    <a:pt x="66675" y="64293"/>
                  </a:lnTo>
                  <a:lnTo>
                    <a:pt x="433387" y="83344"/>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11" name="Freeform 410"/>
            <p:cNvSpPr/>
            <p:nvPr/>
          </p:nvSpPr>
          <p:spPr>
            <a:xfrm>
              <a:off x="1425265" y="2677121"/>
              <a:ext cx="33102" cy="41333"/>
            </a:xfrm>
            <a:custGeom>
              <a:avLst/>
              <a:gdLst>
                <a:gd name="connsiteX0" fmla="*/ 0 w 450056"/>
                <a:gd name="connsiteY0" fmla="*/ 561975 h 561975"/>
                <a:gd name="connsiteX1" fmla="*/ 73819 w 450056"/>
                <a:gd name="connsiteY1" fmla="*/ 561975 h 561975"/>
                <a:gd name="connsiteX2" fmla="*/ 73819 w 450056"/>
                <a:gd name="connsiteY2" fmla="*/ 116681 h 561975"/>
                <a:gd name="connsiteX3" fmla="*/ 450056 w 450056"/>
                <a:gd name="connsiteY3" fmla="*/ 73818 h 561975"/>
                <a:gd name="connsiteX4" fmla="*/ 450056 w 450056"/>
                <a:gd name="connsiteY4" fmla="*/ 0 h 561975"/>
                <a:gd name="connsiteX5" fmla="*/ 7144 w 450056"/>
                <a:gd name="connsiteY5" fmla="*/ 47625 h 561975"/>
                <a:gd name="connsiteX6" fmla="*/ 0 w 450056"/>
                <a:gd name="connsiteY6" fmla="*/ 561975 h 561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056" h="561975">
                  <a:moveTo>
                    <a:pt x="0" y="561975"/>
                  </a:moveTo>
                  <a:lnTo>
                    <a:pt x="73819" y="561975"/>
                  </a:lnTo>
                  <a:lnTo>
                    <a:pt x="73819" y="116681"/>
                  </a:lnTo>
                  <a:lnTo>
                    <a:pt x="450056" y="73818"/>
                  </a:lnTo>
                  <a:lnTo>
                    <a:pt x="450056" y="0"/>
                  </a:lnTo>
                  <a:lnTo>
                    <a:pt x="7144" y="47625"/>
                  </a:lnTo>
                  <a:cubicBezTo>
                    <a:pt x="4763" y="219075"/>
                    <a:pt x="2381" y="390525"/>
                    <a:pt x="0" y="561975"/>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12" name="Freeform 411"/>
            <p:cNvSpPr/>
            <p:nvPr/>
          </p:nvSpPr>
          <p:spPr>
            <a:xfrm>
              <a:off x="1425265" y="2740172"/>
              <a:ext cx="33102" cy="41158"/>
            </a:xfrm>
            <a:custGeom>
              <a:avLst/>
              <a:gdLst>
                <a:gd name="connsiteX0" fmla="*/ 0 w 450056"/>
                <a:gd name="connsiteY0" fmla="*/ 561975 h 561975"/>
                <a:gd name="connsiteX1" fmla="*/ 73819 w 450056"/>
                <a:gd name="connsiteY1" fmla="*/ 561975 h 561975"/>
                <a:gd name="connsiteX2" fmla="*/ 73819 w 450056"/>
                <a:gd name="connsiteY2" fmla="*/ 116681 h 561975"/>
                <a:gd name="connsiteX3" fmla="*/ 450056 w 450056"/>
                <a:gd name="connsiteY3" fmla="*/ 73818 h 561975"/>
                <a:gd name="connsiteX4" fmla="*/ 450056 w 450056"/>
                <a:gd name="connsiteY4" fmla="*/ 0 h 561975"/>
                <a:gd name="connsiteX5" fmla="*/ 7144 w 450056"/>
                <a:gd name="connsiteY5" fmla="*/ 47625 h 561975"/>
                <a:gd name="connsiteX6" fmla="*/ 0 w 450056"/>
                <a:gd name="connsiteY6" fmla="*/ 561975 h 561975"/>
                <a:gd name="connsiteX0" fmla="*/ 0 w 450056"/>
                <a:gd name="connsiteY0" fmla="*/ 561975 h 576262"/>
                <a:gd name="connsiteX1" fmla="*/ 71438 w 450056"/>
                <a:gd name="connsiteY1" fmla="*/ 576262 h 576262"/>
                <a:gd name="connsiteX2" fmla="*/ 73819 w 450056"/>
                <a:gd name="connsiteY2" fmla="*/ 116681 h 576262"/>
                <a:gd name="connsiteX3" fmla="*/ 450056 w 450056"/>
                <a:gd name="connsiteY3" fmla="*/ 73818 h 576262"/>
                <a:gd name="connsiteX4" fmla="*/ 450056 w 450056"/>
                <a:gd name="connsiteY4" fmla="*/ 0 h 576262"/>
                <a:gd name="connsiteX5" fmla="*/ 7144 w 450056"/>
                <a:gd name="connsiteY5" fmla="*/ 47625 h 576262"/>
                <a:gd name="connsiteX6" fmla="*/ 0 w 450056"/>
                <a:gd name="connsiteY6" fmla="*/ 561975 h 576262"/>
                <a:gd name="connsiteX0" fmla="*/ 0 w 450056"/>
                <a:gd name="connsiteY0" fmla="*/ 561975 h 576262"/>
                <a:gd name="connsiteX1" fmla="*/ 71438 w 450056"/>
                <a:gd name="connsiteY1" fmla="*/ 576262 h 576262"/>
                <a:gd name="connsiteX2" fmla="*/ 73819 w 450056"/>
                <a:gd name="connsiteY2" fmla="*/ 116681 h 576262"/>
                <a:gd name="connsiteX3" fmla="*/ 450056 w 450056"/>
                <a:gd name="connsiteY3" fmla="*/ 73818 h 576262"/>
                <a:gd name="connsiteX4" fmla="*/ 450056 w 450056"/>
                <a:gd name="connsiteY4" fmla="*/ 0 h 576262"/>
                <a:gd name="connsiteX5" fmla="*/ 7144 w 450056"/>
                <a:gd name="connsiteY5" fmla="*/ 16668 h 576262"/>
                <a:gd name="connsiteX6" fmla="*/ 0 w 450056"/>
                <a:gd name="connsiteY6" fmla="*/ 561975 h 576262"/>
                <a:gd name="connsiteX0" fmla="*/ 0 w 450056"/>
                <a:gd name="connsiteY0" fmla="*/ 561975 h 576262"/>
                <a:gd name="connsiteX1" fmla="*/ 71438 w 450056"/>
                <a:gd name="connsiteY1" fmla="*/ 576262 h 576262"/>
                <a:gd name="connsiteX2" fmla="*/ 73819 w 450056"/>
                <a:gd name="connsiteY2" fmla="*/ 116681 h 576262"/>
                <a:gd name="connsiteX3" fmla="*/ 450056 w 450056"/>
                <a:gd name="connsiteY3" fmla="*/ 104775 h 576262"/>
                <a:gd name="connsiteX4" fmla="*/ 450056 w 450056"/>
                <a:gd name="connsiteY4" fmla="*/ 0 h 576262"/>
                <a:gd name="connsiteX5" fmla="*/ 7144 w 450056"/>
                <a:gd name="connsiteY5" fmla="*/ 16668 h 576262"/>
                <a:gd name="connsiteX6" fmla="*/ 0 w 450056"/>
                <a:gd name="connsiteY6" fmla="*/ 561975 h 576262"/>
                <a:gd name="connsiteX0" fmla="*/ 0 w 450056"/>
                <a:gd name="connsiteY0" fmla="*/ 545307 h 559594"/>
                <a:gd name="connsiteX1" fmla="*/ 71438 w 450056"/>
                <a:gd name="connsiteY1" fmla="*/ 559594 h 559594"/>
                <a:gd name="connsiteX2" fmla="*/ 73819 w 450056"/>
                <a:gd name="connsiteY2" fmla="*/ 100013 h 559594"/>
                <a:gd name="connsiteX3" fmla="*/ 450056 w 450056"/>
                <a:gd name="connsiteY3" fmla="*/ 88107 h 559594"/>
                <a:gd name="connsiteX4" fmla="*/ 450056 w 450056"/>
                <a:gd name="connsiteY4" fmla="*/ 21432 h 559594"/>
                <a:gd name="connsiteX5" fmla="*/ 7144 w 450056"/>
                <a:gd name="connsiteY5" fmla="*/ 0 h 559594"/>
                <a:gd name="connsiteX6" fmla="*/ 0 w 450056"/>
                <a:gd name="connsiteY6" fmla="*/ 545307 h 559594"/>
                <a:gd name="connsiteX0" fmla="*/ 0 w 450056"/>
                <a:gd name="connsiteY0" fmla="*/ 545307 h 559594"/>
                <a:gd name="connsiteX1" fmla="*/ 71438 w 450056"/>
                <a:gd name="connsiteY1" fmla="*/ 559594 h 559594"/>
                <a:gd name="connsiteX2" fmla="*/ 76200 w 450056"/>
                <a:gd name="connsiteY2" fmla="*/ 71438 h 559594"/>
                <a:gd name="connsiteX3" fmla="*/ 450056 w 450056"/>
                <a:gd name="connsiteY3" fmla="*/ 88107 h 559594"/>
                <a:gd name="connsiteX4" fmla="*/ 450056 w 450056"/>
                <a:gd name="connsiteY4" fmla="*/ 21432 h 559594"/>
                <a:gd name="connsiteX5" fmla="*/ 7144 w 450056"/>
                <a:gd name="connsiteY5" fmla="*/ 0 h 559594"/>
                <a:gd name="connsiteX6" fmla="*/ 0 w 450056"/>
                <a:gd name="connsiteY6" fmla="*/ 545307 h 559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056" h="559594">
                  <a:moveTo>
                    <a:pt x="0" y="545307"/>
                  </a:moveTo>
                  <a:lnTo>
                    <a:pt x="71438" y="559594"/>
                  </a:lnTo>
                  <a:cubicBezTo>
                    <a:pt x="72232" y="406400"/>
                    <a:pt x="75406" y="224632"/>
                    <a:pt x="76200" y="71438"/>
                  </a:cubicBezTo>
                  <a:lnTo>
                    <a:pt x="450056" y="88107"/>
                  </a:lnTo>
                  <a:lnTo>
                    <a:pt x="450056" y="21432"/>
                  </a:lnTo>
                  <a:lnTo>
                    <a:pt x="7144" y="0"/>
                  </a:lnTo>
                  <a:cubicBezTo>
                    <a:pt x="4763" y="171450"/>
                    <a:pt x="2381" y="373857"/>
                    <a:pt x="0" y="545307"/>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13" name="Freeform 412"/>
            <p:cNvSpPr/>
            <p:nvPr/>
          </p:nvSpPr>
          <p:spPr>
            <a:xfrm>
              <a:off x="1346451" y="2674844"/>
              <a:ext cx="23644" cy="36079"/>
            </a:xfrm>
            <a:custGeom>
              <a:avLst/>
              <a:gdLst>
                <a:gd name="connsiteX0" fmla="*/ 0 w 321469"/>
                <a:gd name="connsiteY0" fmla="*/ 490538 h 490538"/>
                <a:gd name="connsiteX1" fmla="*/ 11907 w 321469"/>
                <a:gd name="connsiteY1" fmla="*/ 47625 h 490538"/>
                <a:gd name="connsiteX2" fmla="*/ 321469 w 321469"/>
                <a:gd name="connsiteY2" fmla="*/ 0 h 490538"/>
                <a:gd name="connsiteX3" fmla="*/ 316707 w 321469"/>
                <a:gd name="connsiteY3" fmla="*/ 80963 h 490538"/>
                <a:gd name="connsiteX4" fmla="*/ 80963 w 321469"/>
                <a:gd name="connsiteY4" fmla="*/ 109538 h 490538"/>
                <a:gd name="connsiteX5" fmla="*/ 66675 w 321469"/>
                <a:gd name="connsiteY5" fmla="*/ 490538 h 490538"/>
                <a:gd name="connsiteX6" fmla="*/ 0 w 321469"/>
                <a:gd name="connsiteY6" fmla="*/ 490538 h 490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1469" h="490538">
                  <a:moveTo>
                    <a:pt x="0" y="490538"/>
                  </a:moveTo>
                  <a:lnTo>
                    <a:pt x="11907" y="47625"/>
                  </a:lnTo>
                  <a:lnTo>
                    <a:pt x="321469" y="0"/>
                  </a:lnTo>
                  <a:lnTo>
                    <a:pt x="316707" y="80963"/>
                  </a:lnTo>
                  <a:lnTo>
                    <a:pt x="80963" y="109538"/>
                  </a:lnTo>
                  <a:lnTo>
                    <a:pt x="66675" y="490538"/>
                  </a:lnTo>
                  <a:lnTo>
                    <a:pt x="0" y="490538"/>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14" name="Freeform 413"/>
            <p:cNvSpPr/>
            <p:nvPr/>
          </p:nvSpPr>
          <p:spPr>
            <a:xfrm>
              <a:off x="1305294" y="2691483"/>
              <a:ext cx="20491" cy="26796"/>
            </a:xfrm>
            <a:custGeom>
              <a:avLst/>
              <a:gdLst>
                <a:gd name="connsiteX0" fmla="*/ 11906 w 278606"/>
                <a:gd name="connsiteY0" fmla="*/ 26194 h 364331"/>
                <a:gd name="connsiteX1" fmla="*/ 0 w 278606"/>
                <a:gd name="connsiteY1" fmla="*/ 361950 h 364331"/>
                <a:gd name="connsiteX2" fmla="*/ 64293 w 278606"/>
                <a:gd name="connsiteY2" fmla="*/ 364331 h 364331"/>
                <a:gd name="connsiteX3" fmla="*/ 71437 w 278606"/>
                <a:gd name="connsiteY3" fmla="*/ 95250 h 364331"/>
                <a:gd name="connsiteX4" fmla="*/ 276225 w 278606"/>
                <a:gd name="connsiteY4" fmla="*/ 73819 h 364331"/>
                <a:gd name="connsiteX5" fmla="*/ 278606 w 278606"/>
                <a:gd name="connsiteY5" fmla="*/ 0 h 364331"/>
                <a:gd name="connsiteX6" fmla="*/ 11906 w 278606"/>
                <a:gd name="connsiteY6" fmla="*/ 26194 h 364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8606" h="364331">
                  <a:moveTo>
                    <a:pt x="11906" y="26194"/>
                  </a:moveTo>
                  <a:lnTo>
                    <a:pt x="0" y="361950"/>
                  </a:lnTo>
                  <a:lnTo>
                    <a:pt x="64293" y="364331"/>
                  </a:lnTo>
                  <a:lnTo>
                    <a:pt x="71437" y="95250"/>
                  </a:lnTo>
                  <a:lnTo>
                    <a:pt x="276225" y="73819"/>
                  </a:lnTo>
                  <a:cubicBezTo>
                    <a:pt x="277019" y="49213"/>
                    <a:pt x="277812" y="24606"/>
                    <a:pt x="278606" y="0"/>
                  </a:cubicBezTo>
                  <a:lnTo>
                    <a:pt x="11906" y="26194"/>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15" name="Freeform 414"/>
            <p:cNvSpPr/>
            <p:nvPr/>
          </p:nvSpPr>
          <p:spPr>
            <a:xfrm>
              <a:off x="1303892" y="2732816"/>
              <a:ext cx="21017" cy="26972"/>
            </a:xfrm>
            <a:custGeom>
              <a:avLst/>
              <a:gdLst>
                <a:gd name="connsiteX0" fmla="*/ 0 w 285750"/>
                <a:gd name="connsiteY0" fmla="*/ 354806 h 366713"/>
                <a:gd name="connsiteX1" fmla="*/ 19050 w 285750"/>
                <a:gd name="connsiteY1" fmla="*/ 0 h 366713"/>
                <a:gd name="connsiteX2" fmla="*/ 285750 w 285750"/>
                <a:gd name="connsiteY2" fmla="*/ 16669 h 366713"/>
                <a:gd name="connsiteX3" fmla="*/ 280987 w 285750"/>
                <a:gd name="connsiteY3" fmla="*/ 80963 h 366713"/>
                <a:gd name="connsiteX4" fmla="*/ 80962 w 285750"/>
                <a:gd name="connsiteY4" fmla="*/ 71438 h 366713"/>
                <a:gd name="connsiteX5" fmla="*/ 66675 w 285750"/>
                <a:gd name="connsiteY5" fmla="*/ 366713 h 366713"/>
                <a:gd name="connsiteX6" fmla="*/ 0 w 285750"/>
                <a:gd name="connsiteY6" fmla="*/ 354806 h 366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50" h="366713">
                  <a:moveTo>
                    <a:pt x="0" y="354806"/>
                  </a:moveTo>
                  <a:lnTo>
                    <a:pt x="19050" y="0"/>
                  </a:lnTo>
                  <a:lnTo>
                    <a:pt x="285750" y="16669"/>
                  </a:lnTo>
                  <a:lnTo>
                    <a:pt x="280987" y="80963"/>
                  </a:lnTo>
                  <a:lnTo>
                    <a:pt x="80962" y="71438"/>
                  </a:lnTo>
                  <a:lnTo>
                    <a:pt x="66675" y="366713"/>
                  </a:lnTo>
                  <a:lnTo>
                    <a:pt x="0" y="354806"/>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16" name="Freeform 415"/>
            <p:cNvSpPr/>
            <p:nvPr/>
          </p:nvSpPr>
          <p:spPr>
            <a:xfrm>
              <a:off x="1343474" y="2735968"/>
              <a:ext cx="28898" cy="59197"/>
            </a:xfrm>
            <a:custGeom>
              <a:avLst/>
              <a:gdLst>
                <a:gd name="connsiteX0" fmla="*/ 85725 w 392906"/>
                <a:gd name="connsiteY0" fmla="*/ 685800 h 804862"/>
                <a:gd name="connsiteX1" fmla="*/ 0 w 392906"/>
                <a:gd name="connsiteY1" fmla="*/ 707231 h 804862"/>
                <a:gd name="connsiteX2" fmla="*/ 23813 w 392906"/>
                <a:gd name="connsiteY2" fmla="*/ 0 h 804862"/>
                <a:gd name="connsiteX3" fmla="*/ 392906 w 392906"/>
                <a:gd name="connsiteY3" fmla="*/ 19050 h 804862"/>
                <a:gd name="connsiteX4" fmla="*/ 376238 w 392906"/>
                <a:gd name="connsiteY4" fmla="*/ 804862 h 804862"/>
                <a:gd name="connsiteX5" fmla="*/ 347663 w 392906"/>
                <a:gd name="connsiteY5" fmla="*/ 792956 h 804862"/>
                <a:gd name="connsiteX6" fmla="*/ 364331 w 392906"/>
                <a:gd name="connsiteY6" fmla="*/ 76200 h 804862"/>
                <a:gd name="connsiteX7" fmla="*/ 252413 w 392906"/>
                <a:gd name="connsiteY7" fmla="*/ 71437 h 804862"/>
                <a:gd name="connsiteX8" fmla="*/ 235744 w 392906"/>
                <a:gd name="connsiteY8" fmla="*/ 700087 h 804862"/>
                <a:gd name="connsiteX9" fmla="*/ 197644 w 392906"/>
                <a:gd name="connsiteY9" fmla="*/ 690562 h 804862"/>
                <a:gd name="connsiteX10" fmla="*/ 211931 w 392906"/>
                <a:gd name="connsiteY10" fmla="*/ 69056 h 804862"/>
                <a:gd name="connsiteX11" fmla="*/ 100013 w 392906"/>
                <a:gd name="connsiteY11" fmla="*/ 59531 h 804862"/>
                <a:gd name="connsiteX12" fmla="*/ 85725 w 392906"/>
                <a:gd name="connsiteY12" fmla="*/ 685800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2906" h="804862">
                  <a:moveTo>
                    <a:pt x="85725" y="685800"/>
                  </a:moveTo>
                  <a:lnTo>
                    <a:pt x="0" y="707231"/>
                  </a:lnTo>
                  <a:lnTo>
                    <a:pt x="23813" y="0"/>
                  </a:lnTo>
                  <a:lnTo>
                    <a:pt x="392906" y="19050"/>
                  </a:lnTo>
                  <a:lnTo>
                    <a:pt x="376238" y="804862"/>
                  </a:lnTo>
                  <a:lnTo>
                    <a:pt x="347663" y="792956"/>
                  </a:lnTo>
                  <a:lnTo>
                    <a:pt x="364331" y="76200"/>
                  </a:lnTo>
                  <a:lnTo>
                    <a:pt x="252413" y="71437"/>
                  </a:lnTo>
                  <a:lnTo>
                    <a:pt x="235744" y="700087"/>
                  </a:lnTo>
                  <a:lnTo>
                    <a:pt x="197644" y="690562"/>
                  </a:lnTo>
                  <a:lnTo>
                    <a:pt x="211931" y="69056"/>
                  </a:lnTo>
                  <a:lnTo>
                    <a:pt x="100013" y="59531"/>
                  </a:lnTo>
                  <a:lnTo>
                    <a:pt x="85725" y="685800"/>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17" name="Freeform 416"/>
            <p:cNvSpPr/>
            <p:nvPr/>
          </p:nvSpPr>
          <p:spPr>
            <a:xfrm>
              <a:off x="1432778" y="2497870"/>
              <a:ext cx="122266" cy="22905"/>
            </a:xfrm>
            <a:custGeom>
              <a:avLst/>
              <a:gdLst>
                <a:gd name="connsiteX0" fmla="*/ 0 w 1654175"/>
                <a:gd name="connsiteY0" fmla="*/ 158750 h 276225"/>
                <a:gd name="connsiteX1" fmla="*/ 311150 w 1654175"/>
                <a:gd name="connsiteY1" fmla="*/ 76200 h 276225"/>
                <a:gd name="connsiteX2" fmla="*/ 1136650 w 1654175"/>
                <a:gd name="connsiteY2" fmla="*/ 238125 h 276225"/>
                <a:gd name="connsiteX3" fmla="*/ 1654175 w 1654175"/>
                <a:gd name="connsiteY3" fmla="*/ 276225 h 276225"/>
                <a:gd name="connsiteX4" fmla="*/ 1177925 w 1654175"/>
                <a:gd name="connsiteY4" fmla="*/ 165100 h 276225"/>
                <a:gd name="connsiteX5" fmla="*/ 238125 w 1654175"/>
                <a:gd name="connsiteY5" fmla="*/ 0 h 276225"/>
                <a:gd name="connsiteX6" fmla="*/ 0 w 1654175"/>
                <a:gd name="connsiteY6" fmla="*/ 158750 h 276225"/>
                <a:gd name="connsiteX0" fmla="*/ 8663 w 1662838"/>
                <a:gd name="connsiteY0" fmla="*/ 158750 h 276225"/>
                <a:gd name="connsiteX1" fmla="*/ 319813 w 1662838"/>
                <a:gd name="connsiteY1" fmla="*/ 76200 h 276225"/>
                <a:gd name="connsiteX2" fmla="*/ 1145313 w 1662838"/>
                <a:gd name="connsiteY2" fmla="*/ 238125 h 276225"/>
                <a:gd name="connsiteX3" fmla="*/ 1662838 w 1662838"/>
                <a:gd name="connsiteY3" fmla="*/ 276225 h 276225"/>
                <a:gd name="connsiteX4" fmla="*/ 1186588 w 1662838"/>
                <a:gd name="connsiteY4" fmla="*/ 165100 h 276225"/>
                <a:gd name="connsiteX5" fmla="*/ 246788 w 1662838"/>
                <a:gd name="connsiteY5" fmla="*/ 0 h 276225"/>
                <a:gd name="connsiteX6" fmla="*/ 8663 w 1662838"/>
                <a:gd name="connsiteY6" fmla="*/ 158750 h 276225"/>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528"/>
                <a:gd name="connsiteX1" fmla="*/ 319612 w 1662637"/>
                <a:gd name="connsiteY1" fmla="*/ 104203 h 304528"/>
                <a:gd name="connsiteX2" fmla="*/ 1145112 w 1662637"/>
                <a:gd name="connsiteY2" fmla="*/ 266128 h 304528"/>
                <a:gd name="connsiteX3" fmla="*/ 1662637 w 1662637"/>
                <a:gd name="connsiteY3" fmla="*/ 304228 h 304528"/>
                <a:gd name="connsiteX4" fmla="*/ 1186387 w 1662637"/>
                <a:gd name="connsiteY4" fmla="*/ 193103 h 304528"/>
                <a:gd name="connsiteX5" fmla="*/ 246587 w 1662637"/>
                <a:gd name="connsiteY5" fmla="*/ 28003 h 304528"/>
                <a:gd name="connsiteX6" fmla="*/ 8462 w 1662637"/>
                <a:gd name="connsiteY6" fmla="*/ 186753 h 304528"/>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2350" h="311416">
                  <a:moveTo>
                    <a:pt x="8175" y="190827"/>
                  </a:moveTo>
                  <a:cubicBezTo>
                    <a:pt x="26167" y="172835"/>
                    <a:pt x="-51092" y="-64231"/>
                    <a:pt x="319325" y="108277"/>
                  </a:cubicBezTo>
                  <a:cubicBezTo>
                    <a:pt x="470667" y="187652"/>
                    <a:pt x="733133" y="400377"/>
                    <a:pt x="1144825" y="270202"/>
                  </a:cubicBezTo>
                  <a:cubicBezTo>
                    <a:pt x="1307808" y="200352"/>
                    <a:pt x="1461267" y="200352"/>
                    <a:pt x="1662350" y="308302"/>
                  </a:cubicBezTo>
                  <a:cubicBezTo>
                    <a:pt x="1592500" y="258560"/>
                    <a:pt x="1405175" y="151669"/>
                    <a:pt x="1186100" y="197177"/>
                  </a:cubicBezTo>
                  <a:cubicBezTo>
                    <a:pt x="720433" y="345344"/>
                    <a:pt x="623067" y="188710"/>
                    <a:pt x="246300" y="32077"/>
                  </a:cubicBezTo>
                  <a:cubicBezTo>
                    <a:pt x="182800" y="-731"/>
                    <a:pt x="-45800" y="-65290"/>
                    <a:pt x="8175" y="190827"/>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18" name="Freeform 417"/>
            <p:cNvSpPr/>
            <p:nvPr/>
          </p:nvSpPr>
          <p:spPr>
            <a:xfrm>
              <a:off x="1489275" y="2431521"/>
              <a:ext cx="215223" cy="43420"/>
            </a:xfrm>
            <a:custGeom>
              <a:avLst/>
              <a:gdLst>
                <a:gd name="connsiteX0" fmla="*/ 0 w 1654175"/>
                <a:gd name="connsiteY0" fmla="*/ 158750 h 276225"/>
                <a:gd name="connsiteX1" fmla="*/ 311150 w 1654175"/>
                <a:gd name="connsiteY1" fmla="*/ 76200 h 276225"/>
                <a:gd name="connsiteX2" fmla="*/ 1136650 w 1654175"/>
                <a:gd name="connsiteY2" fmla="*/ 238125 h 276225"/>
                <a:gd name="connsiteX3" fmla="*/ 1654175 w 1654175"/>
                <a:gd name="connsiteY3" fmla="*/ 276225 h 276225"/>
                <a:gd name="connsiteX4" fmla="*/ 1177925 w 1654175"/>
                <a:gd name="connsiteY4" fmla="*/ 165100 h 276225"/>
                <a:gd name="connsiteX5" fmla="*/ 238125 w 1654175"/>
                <a:gd name="connsiteY5" fmla="*/ 0 h 276225"/>
                <a:gd name="connsiteX6" fmla="*/ 0 w 1654175"/>
                <a:gd name="connsiteY6" fmla="*/ 158750 h 276225"/>
                <a:gd name="connsiteX0" fmla="*/ 8663 w 1662838"/>
                <a:gd name="connsiteY0" fmla="*/ 158750 h 276225"/>
                <a:gd name="connsiteX1" fmla="*/ 319813 w 1662838"/>
                <a:gd name="connsiteY1" fmla="*/ 76200 h 276225"/>
                <a:gd name="connsiteX2" fmla="*/ 1145313 w 1662838"/>
                <a:gd name="connsiteY2" fmla="*/ 238125 h 276225"/>
                <a:gd name="connsiteX3" fmla="*/ 1662838 w 1662838"/>
                <a:gd name="connsiteY3" fmla="*/ 276225 h 276225"/>
                <a:gd name="connsiteX4" fmla="*/ 1186588 w 1662838"/>
                <a:gd name="connsiteY4" fmla="*/ 165100 h 276225"/>
                <a:gd name="connsiteX5" fmla="*/ 246788 w 1662838"/>
                <a:gd name="connsiteY5" fmla="*/ 0 h 276225"/>
                <a:gd name="connsiteX6" fmla="*/ 8663 w 1662838"/>
                <a:gd name="connsiteY6" fmla="*/ 158750 h 276225"/>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528"/>
                <a:gd name="connsiteX1" fmla="*/ 319612 w 1662637"/>
                <a:gd name="connsiteY1" fmla="*/ 104203 h 304528"/>
                <a:gd name="connsiteX2" fmla="*/ 1145112 w 1662637"/>
                <a:gd name="connsiteY2" fmla="*/ 266128 h 304528"/>
                <a:gd name="connsiteX3" fmla="*/ 1662637 w 1662637"/>
                <a:gd name="connsiteY3" fmla="*/ 304228 h 304528"/>
                <a:gd name="connsiteX4" fmla="*/ 1186387 w 1662637"/>
                <a:gd name="connsiteY4" fmla="*/ 193103 h 304528"/>
                <a:gd name="connsiteX5" fmla="*/ 246587 w 1662637"/>
                <a:gd name="connsiteY5" fmla="*/ 28003 h 304528"/>
                <a:gd name="connsiteX6" fmla="*/ 8462 w 1662637"/>
                <a:gd name="connsiteY6" fmla="*/ 186753 h 304528"/>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 name="connsiteX0" fmla="*/ 8175 w 1646273"/>
                <a:gd name="connsiteY0" fmla="*/ 190827 h 445287"/>
                <a:gd name="connsiteX1" fmla="*/ 319325 w 1646273"/>
                <a:gd name="connsiteY1" fmla="*/ 108277 h 445287"/>
                <a:gd name="connsiteX2" fmla="*/ 1144825 w 1646273"/>
                <a:gd name="connsiteY2" fmla="*/ 2702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9325 w 1646273"/>
                <a:gd name="connsiteY1" fmla="*/ 108277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9325 w 1646273"/>
                <a:gd name="connsiteY1" fmla="*/ 108277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2180 w 1646273"/>
                <a:gd name="connsiteY1" fmla="*/ 125400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2180 w 1646273"/>
                <a:gd name="connsiteY1" fmla="*/ 125400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8175 w 1646273"/>
                <a:gd name="connsiteY0" fmla="*/ 190827 h 445287"/>
                <a:gd name="connsiteX1" fmla="*/ 312180 w 1646273"/>
                <a:gd name="connsiteY1" fmla="*/ 125400 h 445287"/>
                <a:gd name="connsiteX2" fmla="*/ 1144825 w 1646273"/>
                <a:gd name="connsiteY2" fmla="*/ 302002 h 445287"/>
                <a:gd name="connsiteX3" fmla="*/ 1646273 w 1646273"/>
                <a:gd name="connsiteY3" fmla="*/ 445287 h 445287"/>
                <a:gd name="connsiteX4" fmla="*/ 1186100 w 1646273"/>
                <a:gd name="connsiteY4" fmla="*/ 197177 h 445287"/>
                <a:gd name="connsiteX5" fmla="*/ 246300 w 1646273"/>
                <a:gd name="connsiteY5" fmla="*/ 32077 h 445287"/>
                <a:gd name="connsiteX6" fmla="*/ 8175 w 1646273"/>
                <a:gd name="connsiteY6" fmla="*/ 190827 h 445287"/>
                <a:gd name="connsiteX0" fmla="*/ 7914 w 1646012"/>
                <a:gd name="connsiteY0" fmla="*/ 189281 h 443741"/>
                <a:gd name="connsiteX1" fmla="*/ 311919 w 1646012"/>
                <a:gd name="connsiteY1" fmla="*/ 123854 h 443741"/>
                <a:gd name="connsiteX2" fmla="*/ 1144564 w 1646012"/>
                <a:gd name="connsiteY2" fmla="*/ 300456 h 443741"/>
                <a:gd name="connsiteX3" fmla="*/ 1646012 w 1646012"/>
                <a:gd name="connsiteY3" fmla="*/ 443741 h 443741"/>
                <a:gd name="connsiteX4" fmla="*/ 1185839 w 1646012"/>
                <a:gd name="connsiteY4" fmla="*/ 195631 h 443741"/>
                <a:gd name="connsiteX5" fmla="*/ 254971 w 1646012"/>
                <a:gd name="connsiteY5" fmla="*/ 32977 h 443741"/>
                <a:gd name="connsiteX6" fmla="*/ 7914 w 1646012"/>
                <a:gd name="connsiteY6" fmla="*/ 189281 h 443741"/>
                <a:gd name="connsiteX0" fmla="*/ 8487 w 1646585"/>
                <a:gd name="connsiteY0" fmla="*/ 212527 h 466987"/>
                <a:gd name="connsiteX1" fmla="*/ 312492 w 1646585"/>
                <a:gd name="connsiteY1" fmla="*/ 147100 h 466987"/>
                <a:gd name="connsiteX2" fmla="*/ 1145137 w 1646585"/>
                <a:gd name="connsiteY2" fmla="*/ 323702 h 466987"/>
                <a:gd name="connsiteX3" fmla="*/ 1646585 w 1646585"/>
                <a:gd name="connsiteY3" fmla="*/ 466987 h 466987"/>
                <a:gd name="connsiteX4" fmla="*/ 1186412 w 1646585"/>
                <a:gd name="connsiteY4" fmla="*/ 218877 h 466987"/>
                <a:gd name="connsiteX5" fmla="*/ 255544 w 1646585"/>
                <a:gd name="connsiteY5" fmla="*/ 56223 h 466987"/>
                <a:gd name="connsiteX6" fmla="*/ 8487 w 1646585"/>
                <a:gd name="connsiteY6" fmla="*/ 212527 h 466987"/>
                <a:gd name="connsiteX0" fmla="*/ 8487 w 1646585"/>
                <a:gd name="connsiteY0" fmla="*/ 212527 h 466987"/>
                <a:gd name="connsiteX1" fmla="*/ 312492 w 1646585"/>
                <a:gd name="connsiteY1" fmla="*/ 147100 h 466987"/>
                <a:gd name="connsiteX2" fmla="*/ 1145137 w 1646585"/>
                <a:gd name="connsiteY2" fmla="*/ 323702 h 466987"/>
                <a:gd name="connsiteX3" fmla="*/ 1646585 w 1646585"/>
                <a:gd name="connsiteY3" fmla="*/ 466987 h 466987"/>
                <a:gd name="connsiteX4" fmla="*/ 1186412 w 1646585"/>
                <a:gd name="connsiteY4" fmla="*/ 218877 h 466987"/>
                <a:gd name="connsiteX5" fmla="*/ 255544 w 1646585"/>
                <a:gd name="connsiteY5" fmla="*/ 56223 h 466987"/>
                <a:gd name="connsiteX6" fmla="*/ 8487 w 1646585"/>
                <a:gd name="connsiteY6" fmla="*/ 212527 h 466987"/>
                <a:gd name="connsiteX0" fmla="*/ 8487 w 1646585"/>
                <a:gd name="connsiteY0" fmla="*/ 212527 h 466987"/>
                <a:gd name="connsiteX1" fmla="*/ 312492 w 1646585"/>
                <a:gd name="connsiteY1" fmla="*/ 147100 h 466987"/>
                <a:gd name="connsiteX2" fmla="*/ 1145137 w 1646585"/>
                <a:gd name="connsiteY2" fmla="*/ 323702 h 466987"/>
                <a:gd name="connsiteX3" fmla="*/ 1646585 w 1646585"/>
                <a:gd name="connsiteY3" fmla="*/ 466987 h 466987"/>
                <a:gd name="connsiteX4" fmla="*/ 1186412 w 1646585"/>
                <a:gd name="connsiteY4" fmla="*/ 218877 h 466987"/>
                <a:gd name="connsiteX5" fmla="*/ 255544 w 1646585"/>
                <a:gd name="connsiteY5" fmla="*/ 56223 h 466987"/>
                <a:gd name="connsiteX6" fmla="*/ 8487 w 1646585"/>
                <a:gd name="connsiteY6" fmla="*/ 212527 h 466987"/>
                <a:gd name="connsiteX0" fmla="*/ 7122 w 1645220"/>
                <a:gd name="connsiteY0" fmla="*/ 195482 h 449942"/>
                <a:gd name="connsiteX1" fmla="*/ 311127 w 1645220"/>
                <a:gd name="connsiteY1" fmla="*/ 130055 h 449942"/>
                <a:gd name="connsiteX2" fmla="*/ 1143772 w 1645220"/>
                <a:gd name="connsiteY2" fmla="*/ 306657 h 449942"/>
                <a:gd name="connsiteX3" fmla="*/ 1645220 w 1645220"/>
                <a:gd name="connsiteY3" fmla="*/ 449942 h 449942"/>
                <a:gd name="connsiteX4" fmla="*/ 1185047 w 1645220"/>
                <a:gd name="connsiteY4" fmla="*/ 201832 h 449942"/>
                <a:gd name="connsiteX5" fmla="*/ 304198 w 1645220"/>
                <a:gd name="connsiteY5" fmla="*/ 66086 h 449942"/>
                <a:gd name="connsiteX6" fmla="*/ 7122 w 1645220"/>
                <a:gd name="connsiteY6" fmla="*/ 195482 h 449942"/>
                <a:gd name="connsiteX0" fmla="*/ 8480 w 1646578"/>
                <a:gd name="connsiteY0" fmla="*/ 207867 h 462327"/>
                <a:gd name="connsiteX1" fmla="*/ 312485 w 1646578"/>
                <a:gd name="connsiteY1" fmla="*/ 142440 h 462327"/>
                <a:gd name="connsiteX2" fmla="*/ 1145130 w 1646578"/>
                <a:gd name="connsiteY2" fmla="*/ 319042 h 462327"/>
                <a:gd name="connsiteX3" fmla="*/ 1646578 w 1646578"/>
                <a:gd name="connsiteY3" fmla="*/ 462327 h 462327"/>
                <a:gd name="connsiteX4" fmla="*/ 1186405 w 1646578"/>
                <a:gd name="connsiteY4" fmla="*/ 214217 h 462327"/>
                <a:gd name="connsiteX5" fmla="*/ 305556 w 1646578"/>
                <a:gd name="connsiteY5" fmla="*/ 78471 h 462327"/>
                <a:gd name="connsiteX6" fmla="*/ 8480 w 1646578"/>
                <a:gd name="connsiteY6" fmla="*/ 207867 h 462327"/>
                <a:gd name="connsiteX0" fmla="*/ 8480 w 1646578"/>
                <a:gd name="connsiteY0" fmla="*/ 207867 h 462327"/>
                <a:gd name="connsiteX1" fmla="*/ 312485 w 1646578"/>
                <a:gd name="connsiteY1" fmla="*/ 142440 h 462327"/>
                <a:gd name="connsiteX2" fmla="*/ 1145130 w 1646578"/>
                <a:gd name="connsiteY2" fmla="*/ 319042 h 462327"/>
                <a:gd name="connsiteX3" fmla="*/ 1646578 w 1646578"/>
                <a:gd name="connsiteY3" fmla="*/ 462327 h 462327"/>
                <a:gd name="connsiteX4" fmla="*/ 1198909 w 1646578"/>
                <a:gd name="connsiteY4" fmla="*/ 238679 h 462327"/>
                <a:gd name="connsiteX5" fmla="*/ 305556 w 1646578"/>
                <a:gd name="connsiteY5" fmla="*/ 78471 h 462327"/>
                <a:gd name="connsiteX6" fmla="*/ 8480 w 1646578"/>
                <a:gd name="connsiteY6" fmla="*/ 207867 h 462327"/>
                <a:gd name="connsiteX0" fmla="*/ 7917 w 1646015"/>
                <a:gd name="connsiteY0" fmla="*/ 201136 h 455596"/>
                <a:gd name="connsiteX1" fmla="*/ 311922 w 1646015"/>
                <a:gd name="connsiteY1" fmla="*/ 135709 h 455596"/>
                <a:gd name="connsiteX2" fmla="*/ 1144567 w 1646015"/>
                <a:gd name="connsiteY2" fmla="*/ 312311 h 455596"/>
                <a:gd name="connsiteX3" fmla="*/ 1646015 w 1646015"/>
                <a:gd name="connsiteY3" fmla="*/ 455596 h 455596"/>
                <a:gd name="connsiteX4" fmla="*/ 1198346 w 1646015"/>
                <a:gd name="connsiteY4" fmla="*/ 231948 h 455596"/>
                <a:gd name="connsiteX5" fmla="*/ 323750 w 1646015"/>
                <a:gd name="connsiteY5" fmla="*/ 82748 h 455596"/>
                <a:gd name="connsiteX6" fmla="*/ 7917 w 1646015"/>
                <a:gd name="connsiteY6" fmla="*/ 201136 h 455596"/>
                <a:gd name="connsiteX0" fmla="*/ 8295 w 1646393"/>
                <a:gd name="connsiteY0" fmla="*/ 200370 h 454830"/>
                <a:gd name="connsiteX1" fmla="*/ 312300 w 1646393"/>
                <a:gd name="connsiteY1" fmla="*/ 134943 h 454830"/>
                <a:gd name="connsiteX2" fmla="*/ 1144945 w 1646393"/>
                <a:gd name="connsiteY2" fmla="*/ 311545 h 454830"/>
                <a:gd name="connsiteX3" fmla="*/ 1646393 w 1646393"/>
                <a:gd name="connsiteY3" fmla="*/ 454830 h 454830"/>
                <a:gd name="connsiteX4" fmla="*/ 1198724 w 1646393"/>
                <a:gd name="connsiteY4" fmla="*/ 231182 h 454830"/>
                <a:gd name="connsiteX5" fmla="*/ 324128 w 1646393"/>
                <a:gd name="connsiteY5" fmla="*/ 81982 h 454830"/>
                <a:gd name="connsiteX6" fmla="*/ 8295 w 1646393"/>
                <a:gd name="connsiteY6" fmla="*/ 200370 h 454830"/>
                <a:gd name="connsiteX0" fmla="*/ 8295 w 1646393"/>
                <a:gd name="connsiteY0" fmla="*/ 200370 h 454830"/>
                <a:gd name="connsiteX1" fmla="*/ 312300 w 1646393"/>
                <a:gd name="connsiteY1" fmla="*/ 134943 h 454830"/>
                <a:gd name="connsiteX2" fmla="*/ 1144945 w 1646393"/>
                <a:gd name="connsiteY2" fmla="*/ 311545 h 454830"/>
                <a:gd name="connsiteX3" fmla="*/ 1646393 w 1646393"/>
                <a:gd name="connsiteY3" fmla="*/ 454830 h 454830"/>
                <a:gd name="connsiteX4" fmla="*/ 1198724 w 1646393"/>
                <a:gd name="connsiteY4" fmla="*/ 231182 h 454830"/>
                <a:gd name="connsiteX5" fmla="*/ 324128 w 1646393"/>
                <a:gd name="connsiteY5" fmla="*/ 81982 h 454830"/>
                <a:gd name="connsiteX6" fmla="*/ 8295 w 1646393"/>
                <a:gd name="connsiteY6" fmla="*/ 200370 h 454830"/>
                <a:gd name="connsiteX0" fmla="*/ 8295 w 1646393"/>
                <a:gd name="connsiteY0" fmla="*/ 200370 h 454830"/>
                <a:gd name="connsiteX1" fmla="*/ 312300 w 1646393"/>
                <a:gd name="connsiteY1" fmla="*/ 134943 h 454830"/>
                <a:gd name="connsiteX2" fmla="*/ 1144945 w 1646393"/>
                <a:gd name="connsiteY2" fmla="*/ 311545 h 454830"/>
                <a:gd name="connsiteX3" fmla="*/ 1646393 w 1646393"/>
                <a:gd name="connsiteY3" fmla="*/ 454830 h 454830"/>
                <a:gd name="connsiteX4" fmla="*/ 1198724 w 1646393"/>
                <a:gd name="connsiteY4" fmla="*/ 231182 h 454830"/>
                <a:gd name="connsiteX5" fmla="*/ 324128 w 1646393"/>
                <a:gd name="connsiteY5" fmla="*/ 81982 h 454830"/>
                <a:gd name="connsiteX6" fmla="*/ 8295 w 1646393"/>
                <a:gd name="connsiteY6" fmla="*/ 200370 h 454830"/>
                <a:gd name="connsiteX0" fmla="*/ 8295 w 1646393"/>
                <a:gd name="connsiteY0" fmla="*/ 200370 h 454830"/>
                <a:gd name="connsiteX1" fmla="*/ 312300 w 1646393"/>
                <a:gd name="connsiteY1" fmla="*/ 134943 h 454830"/>
                <a:gd name="connsiteX2" fmla="*/ 1144945 w 1646393"/>
                <a:gd name="connsiteY2" fmla="*/ 311545 h 454830"/>
                <a:gd name="connsiteX3" fmla="*/ 1646393 w 1646393"/>
                <a:gd name="connsiteY3" fmla="*/ 454830 h 454830"/>
                <a:gd name="connsiteX4" fmla="*/ 1198724 w 1646393"/>
                <a:gd name="connsiteY4" fmla="*/ 231182 h 454830"/>
                <a:gd name="connsiteX5" fmla="*/ 324128 w 1646393"/>
                <a:gd name="connsiteY5" fmla="*/ 81982 h 454830"/>
                <a:gd name="connsiteX6" fmla="*/ 8295 w 1646393"/>
                <a:gd name="connsiteY6" fmla="*/ 200370 h 454830"/>
                <a:gd name="connsiteX0" fmla="*/ 8295 w 1646393"/>
                <a:gd name="connsiteY0" fmla="*/ 200370 h 454830"/>
                <a:gd name="connsiteX1" fmla="*/ 312300 w 1646393"/>
                <a:gd name="connsiteY1" fmla="*/ 134943 h 454830"/>
                <a:gd name="connsiteX2" fmla="*/ 547329 w 1646393"/>
                <a:gd name="connsiteY2" fmla="*/ 306941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47329 w 1646393"/>
                <a:gd name="connsiteY2" fmla="*/ 306941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47329 w 1646393"/>
                <a:gd name="connsiteY2" fmla="*/ 306941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47329 w 1646393"/>
                <a:gd name="connsiteY2" fmla="*/ 306941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83503 w 1646393"/>
                <a:gd name="connsiteY2" fmla="*/ 316114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83503 w 1646393"/>
                <a:gd name="connsiteY2" fmla="*/ 316114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83503 w 1646393"/>
                <a:gd name="connsiteY2" fmla="*/ 316114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 name="connsiteX0" fmla="*/ 8295 w 1646393"/>
                <a:gd name="connsiteY0" fmla="*/ 200370 h 454830"/>
                <a:gd name="connsiteX1" fmla="*/ 312300 w 1646393"/>
                <a:gd name="connsiteY1" fmla="*/ 134943 h 454830"/>
                <a:gd name="connsiteX2" fmla="*/ 583503 w 1646393"/>
                <a:gd name="connsiteY2" fmla="*/ 316114 h 454830"/>
                <a:gd name="connsiteX3" fmla="*/ 1144945 w 1646393"/>
                <a:gd name="connsiteY3" fmla="*/ 311545 h 454830"/>
                <a:gd name="connsiteX4" fmla="*/ 1646393 w 1646393"/>
                <a:gd name="connsiteY4" fmla="*/ 454830 h 454830"/>
                <a:gd name="connsiteX5" fmla="*/ 1198724 w 1646393"/>
                <a:gd name="connsiteY5" fmla="*/ 231182 h 454830"/>
                <a:gd name="connsiteX6" fmla="*/ 324128 w 1646393"/>
                <a:gd name="connsiteY6" fmla="*/ 81982 h 454830"/>
                <a:gd name="connsiteX7" fmla="*/ 8295 w 1646393"/>
                <a:gd name="connsiteY7" fmla="*/ 200370 h 454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46393" h="454830">
                  <a:moveTo>
                    <a:pt x="8295" y="200370"/>
                  </a:moveTo>
                  <a:cubicBezTo>
                    <a:pt x="26287" y="182378"/>
                    <a:pt x="-22389" y="-76704"/>
                    <a:pt x="312300" y="134943"/>
                  </a:cubicBezTo>
                  <a:cubicBezTo>
                    <a:pt x="413304" y="203768"/>
                    <a:pt x="460807" y="246318"/>
                    <a:pt x="583503" y="316114"/>
                  </a:cubicBezTo>
                  <a:cubicBezTo>
                    <a:pt x="840177" y="475806"/>
                    <a:pt x="1022504" y="350802"/>
                    <a:pt x="1144945" y="311545"/>
                  </a:cubicBezTo>
                  <a:cubicBezTo>
                    <a:pt x="1307928" y="241695"/>
                    <a:pt x="1469426" y="330368"/>
                    <a:pt x="1646393" y="454830"/>
                  </a:cubicBezTo>
                  <a:cubicBezTo>
                    <a:pt x="1576543" y="405088"/>
                    <a:pt x="1417799" y="185674"/>
                    <a:pt x="1198724" y="231182"/>
                  </a:cubicBezTo>
                  <a:cubicBezTo>
                    <a:pt x="733057" y="379349"/>
                    <a:pt x="817456" y="395171"/>
                    <a:pt x="324128" y="81982"/>
                  </a:cubicBezTo>
                  <a:cubicBezTo>
                    <a:pt x="175775" y="-32162"/>
                    <a:pt x="-45680" y="-55747"/>
                    <a:pt x="8295" y="200370"/>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19" name="Freeform 418"/>
            <p:cNvSpPr/>
            <p:nvPr/>
          </p:nvSpPr>
          <p:spPr>
            <a:xfrm>
              <a:off x="1590638" y="2479655"/>
              <a:ext cx="122266" cy="22905"/>
            </a:xfrm>
            <a:custGeom>
              <a:avLst/>
              <a:gdLst>
                <a:gd name="connsiteX0" fmla="*/ 0 w 1654175"/>
                <a:gd name="connsiteY0" fmla="*/ 158750 h 276225"/>
                <a:gd name="connsiteX1" fmla="*/ 311150 w 1654175"/>
                <a:gd name="connsiteY1" fmla="*/ 76200 h 276225"/>
                <a:gd name="connsiteX2" fmla="*/ 1136650 w 1654175"/>
                <a:gd name="connsiteY2" fmla="*/ 238125 h 276225"/>
                <a:gd name="connsiteX3" fmla="*/ 1654175 w 1654175"/>
                <a:gd name="connsiteY3" fmla="*/ 276225 h 276225"/>
                <a:gd name="connsiteX4" fmla="*/ 1177925 w 1654175"/>
                <a:gd name="connsiteY4" fmla="*/ 165100 h 276225"/>
                <a:gd name="connsiteX5" fmla="*/ 238125 w 1654175"/>
                <a:gd name="connsiteY5" fmla="*/ 0 h 276225"/>
                <a:gd name="connsiteX6" fmla="*/ 0 w 1654175"/>
                <a:gd name="connsiteY6" fmla="*/ 158750 h 276225"/>
                <a:gd name="connsiteX0" fmla="*/ 8663 w 1662838"/>
                <a:gd name="connsiteY0" fmla="*/ 158750 h 276225"/>
                <a:gd name="connsiteX1" fmla="*/ 319813 w 1662838"/>
                <a:gd name="connsiteY1" fmla="*/ 76200 h 276225"/>
                <a:gd name="connsiteX2" fmla="*/ 1145313 w 1662838"/>
                <a:gd name="connsiteY2" fmla="*/ 238125 h 276225"/>
                <a:gd name="connsiteX3" fmla="*/ 1662838 w 1662838"/>
                <a:gd name="connsiteY3" fmla="*/ 276225 h 276225"/>
                <a:gd name="connsiteX4" fmla="*/ 1186588 w 1662838"/>
                <a:gd name="connsiteY4" fmla="*/ 165100 h 276225"/>
                <a:gd name="connsiteX5" fmla="*/ 246788 w 1662838"/>
                <a:gd name="connsiteY5" fmla="*/ 0 h 276225"/>
                <a:gd name="connsiteX6" fmla="*/ 8663 w 1662838"/>
                <a:gd name="connsiteY6" fmla="*/ 158750 h 276225"/>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228"/>
                <a:gd name="connsiteX1" fmla="*/ 319612 w 1662637"/>
                <a:gd name="connsiteY1" fmla="*/ 104203 h 304228"/>
                <a:gd name="connsiteX2" fmla="*/ 1145112 w 1662637"/>
                <a:gd name="connsiteY2" fmla="*/ 266128 h 304228"/>
                <a:gd name="connsiteX3" fmla="*/ 1662637 w 1662637"/>
                <a:gd name="connsiteY3" fmla="*/ 304228 h 304228"/>
                <a:gd name="connsiteX4" fmla="*/ 1186387 w 1662637"/>
                <a:gd name="connsiteY4" fmla="*/ 193103 h 304228"/>
                <a:gd name="connsiteX5" fmla="*/ 246587 w 1662637"/>
                <a:gd name="connsiteY5" fmla="*/ 28003 h 304228"/>
                <a:gd name="connsiteX6" fmla="*/ 8462 w 1662637"/>
                <a:gd name="connsiteY6" fmla="*/ 186753 h 304228"/>
                <a:gd name="connsiteX0" fmla="*/ 8462 w 1662637"/>
                <a:gd name="connsiteY0" fmla="*/ 186753 h 304528"/>
                <a:gd name="connsiteX1" fmla="*/ 319612 w 1662637"/>
                <a:gd name="connsiteY1" fmla="*/ 104203 h 304528"/>
                <a:gd name="connsiteX2" fmla="*/ 1145112 w 1662637"/>
                <a:gd name="connsiteY2" fmla="*/ 266128 h 304528"/>
                <a:gd name="connsiteX3" fmla="*/ 1662637 w 1662637"/>
                <a:gd name="connsiteY3" fmla="*/ 304228 h 304528"/>
                <a:gd name="connsiteX4" fmla="*/ 1186387 w 1662637"/>
                <a:gd name="connsiteY4" fmla="*/ 193103 h 304528"/>
                <a:gd name="connsiteX5" fmla="*/ 246587 w 1662637"/>
                <a:gd name="connsiteY5" fmla="*/ 28003 h 304528"/>
                <a:gd name="connsiteX6" fmla="*/ 8462 w 1662637"/>
                <a:gd name="connsiteY6" fmla="*/ 186753 h 304528"/>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462 w 1662637"/>
                <a:gd name="connsiteY0" fmla="*/ 186753 h 307342"/>
                <a:gd name="connsiteX1" fmla="*/ 319612 w 1662637"/>
                <a:gd name="connsiteY1" fmla="*/ 104203 h 307342"/>
                <a:gd name="connsiteX2" fmla="*/ 1145112 w 1662637"/>
                <a:gd name="connsiteY2" fmla="*/ 266128 h 307342"/>
                <a:gd name="connsiteX3" fmla="*/ 1662637 w 1662637"/>
                <a:gd name="connsiteY3" fmla="*/ 304228 h 307342"/>
                <a:gd name="connsiteX4" fmla="*/ 1186387 w 1662637"/>
                <a:gd name="connsiteY4" fmla="*/ 193103 h 307342"/>
                <a:gd name="connsiteX5" fmla="*/ 246587 w 1662637"/>
                <a:gd name="connsiteY5" fmla="*/ 28003 h 307342"/>
                <a:gd name="connsiteX6" fmla="*/ 8462 w 1662637"/>
                <a:gd name="connsiteY6" fmla="*/ 186753 h 307342"/>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 name="connsiteX0" fmla="*/ 8175 w 1662350"/>
                <a:gd name="connsiteY0" fmla="*/ 190827 h 311416"/>
                <a:gd name="connsiteX1" fmla="*/ 319325 w 1662350"/>
                <a:gd name="connsiteY1" fmla="*/ 108277 h 311416"/>
                <a:gd name="connsiteX2" fmla="*/ 1144825 w 1662350"/>
                <a:gd name="connsiteY2" fmla="*/ 270202 h 311416"/>
                <a:gd name="connsiteX3" fmla="*/ 1662350 w 1662350"/>
                <a:gd name="connsiteY3" fmla="*/ 308302 h 311416"/>
                <a:gd name="connsiteX4" fmla="*/ 1186100 w 1662350"/>
                <a:gd name="connsiteY4" fmla="*/ 197177 h 311416"/>
                <a:gd name="connsiteX5" fmla="*/ 246300 w 1662350"/>
                <a:gd name="connsiteY5" fmla="*/ 32077 h 311416"/>
                <a:gd name="connsiteX6" fmla="*/ 8175 w 1662350"/>
                <a:gd name="connsiteY6" fmla="*/ 190827 h 31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2350" h="311416">
                  <a:moveTo>
                    <a:pt x="8175" y="190827"/>
                  </a:moveTo>
                  <a:cubicBezTo>
                    <a:pt x="26167" y="172835"/>
                    <a:pt x="-51092" y="-64231"/>
                    <a:pt x="319325" y="108277"/>
                  </a:cubicBezTo>
                  <a:cubicBezTo>
                    <a:pt x="470667" y="187652"/>
                    <a:pt x="733133" y="400377"/>
                    <a:pt x="1144825" y="270202"/>
                  </a:cubicBezTo>
                  <a:cubicBezTo>
                    <a:pt x="1307808" y="200352"/>
                    <a:pt x="1461267" y="200352"/>
                    <a:pt x="1662350" y="308302"/>
                  </a:cubicBezTo>
                  <a:cubicBezTo>
                    <a:pt x="1592500" y="258560"/>
                    <a:pt x="1405175" y="151669"/>
                    <a:pt x="1186100" y="197177"/>
                  </a:cubicBezTo>
                  <a:cubicBezTo>
                    <a:pt x="720433" y="345344"/>
                    <a:pt x="623067" y="188710"/>
                    <a:pt x="246300" y="32077"/>
                  </a:cubicBezTo>
                  <a:cubicBezTo>
                    <a:pt x="182800" y="-731"/>
                    <a:pt x="-45800" y="-65290"/>
                    <a:pt x="8175" y="190827"/>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852">
                <a:defRPr/>
              </a:pPr>
              <a:endParaRPr lang="en-US" sz="1798">
                <a:solidFill>
                  <a:prstClr val="white"/>
                </a:solidFill>
                <a:latin typeface="Segoe UI"/>
              </a:endParaRPr>
            </a:p>
          </p:txBody>
        </p:sp>
        <p:sp>
          <p:nvSpPr>
            <p:cNvPr id="420" name="TextBox 419"/>
            <p:cNvSpPr txBox="1"/>
            <p:nvPr/>
          </p:nvSpPr>
          <p:spPr>
            <a:xfrm>
              <a:off x="1745630" y="2583866"/>
              <a:ext cx="853221" cy="169653"/>
            </a:xfrm>
            <a:prstGeom prst="rect">
              <a:avLst/>
            </a:prstGeom>
          </p:spPr>
          <p:txBody>
            <a:bodyPr vert="horz" wrap="square" lIns="0" tIns="0" rIns="0" bIns="0" rtlCol="0" anchor="t">
              <a:noAutofit/>
            </a:bodyPr>
            <a:lstStyle/>
            <a:p>
              <a:pPr algn="ctr" defTabSz="913852">
                <a:defRPr/>
              </a:pPr>
              <a:r>
                <a:rPr lang="en-US" sz="1050">
                  <a:solidFill>
                    <a:srgbClr val="505050"/>
                  </a:solidFill>
                  <a:latin typeface="Segoe UI"/>
                  <a:ea typeface="Segoe UI" pitchFamily="34" charset="0"/>
                  <a:cs typeface="Segoe UI" pitchFamily="34" charset="0"/>
                </a:rPr>
                <a:t>Factory</a:t>
              </a:r>
            </a:p>
          </p:txBody>
        </p:sp>
        <p:sp>
          <p:nvSpPr>
            <p:cNvPr id="421" name="TextBox 420"/>
            <p:cNvSpPr txBox="1"/>
            <p:nvPr/>
          </p:nvSpPr>
          <p:spPr>
            <a:xfrm>
              <a:off x="404510" y="2583866"/>
              <a:ext cx="853221" cy="169653"/>
            </a:xfrm>
            <a:prstGeom prst="rect">
              <a:avLst/>
            </a:prstGeom>
          </p:spPr>
          <p:txBody>
            <a:bodyPr vert="horz" wrap="square" lIns="0" tIns="0" rIns="0" bIns="0" rtlCol="0" anchor="t">
              <a:noAutofit/>
            </a:bodyPr>
            <a:lstStyle/>
            <a:p>
              <a:pPr algn="ctr" defTabSz="913852">
                <a:defRPr/>
              </a:pPr>
              <a:r>
                <a:rPr lang="en-US" sz="1050">
                  <a:solidFill>
                    <a:srgbClr val="505050"/>
                  </a:solidFill>
                  <a:latin typeface="Segoe UI"/>
                  <a:ea typeface="Segoe UI" pitchFamily="34" charset="0"/>
                  <a:cs typeface="Segoe UI" pitchFamily="34" charset="0"/>
                </a:rPr>
                <a:t>Factory</a:t>
              </a:r>
            </a:p>
          </p:txBody>
        </p:sp>
        <p:sp>
          <p:nvSpPr>
            <p:cNvPr id="422" name="TextBox 421"/>
            <p:cNvSpPr txBox="1"/>
            <p:nvPr/>
          </p:nvSpPr>
          <p:spPr>
            <a:xfrm>
              <a:off x="1044251" y="2857514"/>
              <a:ext cx="853221" cy="169653"/>
            </a:xfrm>
            <a:prstGeom prst="rect">
              <a:avLst/>
            </a:prstGeom>
          </p:spPr>
          <p:txBody>
            <a:bodyPr vert="horz" wrap="square" lIns="0" tIns="0" rIns="0" bIns="0" rtlCol="0" anchor="t">
              <a:noAutofit/>
            </a:bodyPr>
            <a:lstStyle/>
            <a:p>
              <a:pPr algn="ctr" defTabSz="913852">
                <a:defRPr/>
              </a:pPr>
              <a:r>
                <a:rPr lang="en-US" sz="1050">
                  <a:solidFill>
                    <a:srgbClr val="505050"/>
                  </a:solidFill>
                  <a:latin typeface="Segoe UI"/>
                  <a:ea typeface="Segoe UI" pitchFamily="34" charset="0"/>
                  <a:cs typeface="Segoe UI" pitchFamily="34" charset="0"/>
                </a:rPr>
                <a:t>Factory</a:t>
              </a:r>
            </a:p>
          </p:txBody>
        </p:sp>
      </p:grpSp>
      <p:grpSp>
        <p:nvGrpSpPr>
          <p:cNvPr id="14" name="Group 13">
            <a:extLst>
              <a:ext uri="{FF2B5EF4-FFF2-40B4-BE49-F238E27FC236}">
                <a16:creationId xmlns:a16="http://schemas.microsoft.com/office/drawing/2014/main" id="{F05D4453-880A-4941-A19C-A9AA2A1636FF}"/>
              </a:ext>
            </a:extLst>
          </p:cNvPr>
          <p:cNvGrpSpPr/>
          <p:nvPr/>
        </p:nvGrpSpPr>
        <p:grpSpPr>
          <a:xfrm>
            <a:off x="2038768" y="3502673"/>
            <a:ext cx="1590228" cy="1208903"/>
            <a:chOff x="8104140" y="241230"/>
            <a:chExt cx="1590642" cy="1209218"/>
          </a:xfrm>
        </p:grpSpPr>
        <p:pic>
          <p:nvPicPr>
            <p:cNvPr id="429" name="Picture 428"/>
            <p:cNvPicPr>
              <a:picLocks noChangeAspect="1"/>
            </p:cNvPicPr>
            <p:nvPr/>
          </p:nvPicPr>
          <p:blipFill>
            <a:blip r:embed="rId24"/>
            <a:stretch>
              <a:fillRect/>
            </a:stretch>
          </p:blipFill>
          <p:spPr>
            <a:xfrm>
              <a:off x="8104140" y="241230"/>
              <a:ext cx="1590642" cy="877504"/>
            </a:xfrm>
            <a:prstGeom prst="rect">
              <a:avLst/>
            </a:prstGeom>
          </p:spPr>
        </p:pic>
        <p:sp>
          <p:nvSpPr>
            <p:cNvPr id="432" name="Rectangle 431"/>
            <p:cNvSpPr/>
            <p:nvPr/>
          </p:nvSpPr>
          <p:spPr>
            <a:xfrm>
              <a:off x="8242859" y="1051952"/>
              <a:ext cx="925406" cy="398496"/>
            </a:xfrm>
            <a:prstGeom prst="rect">
              <a:avLst/>
            </a:prstGeom>
            <a:noFill/>
            <a:effectLst/>
          </p:spPr>
          <p:txBody>
            <a:bodyPr wrap="square" lIns="0" tIns="0" rIns="0" bIns="0" anchor="ctr" anchorCtr="0">
              <a:noAutofit/>
            </a:bodyPr>
            <a:lstStyle/>
            <a:p>
              <a:pPr algn="ctr" defTabSz="913852">
                <a:defRPr/>
              </a:pP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Intelligent</a:t>
              </a:r>
              <a:b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br>
              <a:r>
                <a:rPr lang="en-US" sz="1200" kern="0" dirty="0">
                  <a:solidFill>
                    <a:srgbClr val="505050"/>
                  </a:solidFill>
                  <a:latin typeface="Segoe UI Semibold" panose="020B0702040204020203" pitchFamily="34" charset="0"/>
                  <a:ea typeface="Segoe UI" pitchFamily="34" charset="0"/>
                  <a:cs typeface="Segoe UI Semibold" panose="020B0702040204020203" pitchFamily="34" charset="0"/>
                </a:rPr>
                <a:t>Vehicle</a:t>
              </a:r>
            </a:p>
          </p:txBody>
        </p:sp>
      </p:grpSp>
      <p:grpSp>
        <p:nvGrpSpPr>
          <p:cNvPr id="20" name="Group 19">
            <a:extLst>
              <a:ext uri="{FF2B5EF4-FFF2-40B4-BE49-F238E27FC236}">
                <a16:creationId xmlns:a16="http://schemas.microsoft.com/office/drawing/2014/main" id="{882F7A75-789B-459B-BECB-28789AC5B013}"/>
              </a:ext>
            </a:extLst>
          </p:cNvPr>
          <p:cNvGrpSpPr/>
          <p:nvPr/>
        </p:nvGrpSpPr>
        <p:grpSpPr>
          <a:xfrm>
            <a:off x="9969814" y="3680934"/>
            <a:ext cx="2034490" cy="2023288"/>
            <a:chOff x="10119364" y="3272144"/>
            <a:chExt cx="2035020" cy="2023815"/>
          </a:xfrm>
        </p:grpSpPr>
        <p:sp>
          <p:nvSpPr>
            <p:cNvPr id="662" name="Oval 661">
              <a:extLst>
                <a:ext uri="{FF2B5EF4-FFF2-40B4-BE49-F238E27FC236}">
                  <a16:creationId xmlns:a16="http://schemas.microsoft.com/office/drawing/2014/main" id="{919B4312-15B1-4138-8979-E98580F36E83}"/>
                </a:ext>
              </a:extLst>
            </p:cNvPr>
            <p:cNvSpPr/>
            <p:nvPr/>
          </p:nvSpPr>
          <p:spPr>
            <a:xfrm>
              <a:off x="10119364" y="3272144"/>
              <a:ext cx="2035020" cy="2023815"/>
            </a:xfrm>
            <a:prstGeom prst="ellipse">
              <a:avLst/>
            </a:prstGeom>
            <a:solidFill>
              <a:sysClr val="window" lastClr="FFFFFF">
                <a:lumMod val="95000"/>
              </a:sysClr>
            </a:solidFill>
            <a:ln w="25400" cap="flat" cmpd="sng" algn="ctr">
              <a:noFill/>
              <a:prstDash val="solid"/>
            </a:ln>
            <a:effectLst/>
          </p:spPr>
          <p:txBody>
            <a:bodyPr rot="0" spcFirstLastPara="0" vertOverflow="overflow" horzOverflow="overflow" vert="horz" wrap="square" lIns="91392" tIns="91392" rIns="91392" bIns="91392" numCol="1" spcCol="0" rtlCol="0" fromWordArt="0" anchor="b" anchorCtr="0" forceAA="0" compatLnSpc="1">
              <a:prstTxWarp prst="textNoShape">
                <a:avLst/>
              </a:prstTxWarp>
              <a:noAutofit/>
            </a:bodyPr>
            <a:lstStyle/>
            <a:p>
              <a:pPr algn="r" defTabSz="913852">
                <a:defRPr/>
              </a:pPr>
              <a:endParaRPr lang="en-US" sz="1200" kern="0" dirty="0">
                <a:solidFill>
                  <a:prstClr val="white"/>
                </a:solidFill>
                <a:latin typeface="Segoe UI"/>
              </a:endParaRPr>
            </a:p>
          </p:txBody>
        </p:sp>
        <p:grpSp>
          <p:nvGrpSpPr>
            <p:cNvPr id="444" name="Group 443"/>
            <p:cNvGrpSpPr/>
            <p:nvPr/>
          </p:nvGrpSpPr>
          <p:grpSpPr>
            <a:xfrm>
              <a:off x="11306133" y="4131052"/>
              <a:ext cx="592016" cy="710310"/>
              <a:chOff x="521560" y="2948186"/>
              <a:chExt cx="592170" cy="710495"/>
            </a:xfrm>
          </p:grpSpPr>
          <p:sp>
            <p:nvSpPr>
              <p:cNvPr id="445" name="TextBox 444"/>
              <p:cNvSpPr txBox="1"/>
              <p:nvPr/>
            </p:nvSpPr>
            <p:spPr>
              <a:xfrm>
                <a:off x="528304" y="3474015"/>
                <a:ext cx="578685" cy="184666"/>
              </a:xfrm>
              <a:prstGeom prst="rect">
                <a:avLst/>
              </a:prstGeom>
            </p:spPr>
            <p:txBody>
              <a:bodyPr vert="horz" wrap="none" lIns="0" tIns="0" rIns="0" bIns="0" rtlCol="0" anchor="t">
                <a:spAutoFit/>
              </a:bodyPr>
              <a:lstStyle/>
              <a:p>
                <a:pPr algn="ctr" defTabSz="1087779">
                  <a:defRPr/>
                </a:pPr>
                <a:r>
                  <a:rPr lang="en-US" sz="1200">
                    <a:solidFill>
                      <a:srgbClr val="505050"/>
                    </a:solidFill>
                    <a:latin typeface="Segoe UI Semibold" panose="020B0702040204020203" pitchFamily="34" charset="0"/>
                    <a:ea typeface="Segoe UI" pitchFamily="34" charset="0"/>
                    <a:cs typeface="Segoe UI Semibold" panose="020B0702040204020203" pitchFamily="34" charset="0"/>
                  </a:rPr>
                  <a:t>Supplier</a:t>
                </a:r>
              </a:p>
            </p:txBody>
          </p:sp>
          <p:sp>
            <p:nvSpPr>
              <p:cNvPr id="446" name="Freeform 445"/>
              <p:cNvSpPr/>
              <p:nvPr/>
            </p:nvSpPr>
            <p:spPr>
              <a:xfrm>
                <a:off x="521560" y="2948186"/>
                <a:ext cx="592170" cy="470906"/>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lumMod val="50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368" tIns="45684" rIns="45684" bIns="91368"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277" fontAlgn="base">
                  <a:spcBef>
                    <a:spcPct val="0"/>
                  </a:spcBef>
                  <a:spcAft>
                    <a:spcPct val="0"/>
                  </a:spcAft>
                  <a:defRPr/>
                </a:pPr>
                <a:endParaRPr lang="en-US" sz="1797"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447" name="Group 446"/>
            <p:cNvGrpSpPr/>
            <p:nvPr/>
          </p:nvGrpSpPr>
          <p:grpSpPr>
            <a:xfrm>
              <a:off x="10888000" y="3408101"/>
              <a:ext cx="550073" cy="853092"/>
              <a:chOff x="9573063" y="4421708"/>
              <a:chExt cx="550216" cy="853314"/>
            </a:xfrm>
          </p:grpSpPr>
          <p:sp>
            <p:nvSpPr>
              <p:cNvPr id="448" name="Freeform 73"/>
              <p:cNvSpPr>
                <a:spLocks noChangeAspect="1" noEditPoints="1"/>
              </p:cNvSpPr>
              <p:nvPr/>
            </p:nvSpPr>
            <p:spPr bwMode="black">
              <a:xfrm>
                <a:off x="9613789" y="4421708"/>
                <a:ext cx="426242" cy="411480"/>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7F7F7F"/>
              </a:solidFill>
              <a:ln>
                <a:noFill/>
              </a:ln>
            </p:spPr>
            <p:txBody>
              <a:bodyPr vert="horz" wrap="square" lIns="82263" tIns="41131" rIns="82263" bIns="41131" numCol="1" anchor="t" anchorCtr="0" compatLnSpc="1">
                <a:prstTxWarp prst="textNoShape">
                  <a:avLst/>
                </a:prstTxWarp>
              </a:bodyPr>
              <a:lstStyle/>
              <a:p>
                <a:pPr defTabSz="913693">
                  <a:defRPr/>
                </a:pPr>
                <a:endParaRPr lang="en-US" sz="1600">
                  <a:solidFill>
                    <a:srgbClr val="FFFFFF"/>
                  </a:solidFill>
                  <a:latin typeface="Segoe UI"/>
                </a:endParaRPr>
              </a:p>
            </p:txBody>
          </p:sp>
          <p:sp>
            <p:nvSpPr>
              <p:cNvPr id="449" name="TextBox 448"/>
              <p:cNvSpPr txBox="1"/>
              <p:nvPr/>
            </p:nvSpPr>
            <p:spPr>
              <a:xfrm>
                <a:off x="9573063" y="4905690"/>
                <a:ext cx="550216" cy="369332"/>
              </a:xfrm>
              <a:prstGeom prst="rect">
                <a:avLst/>
              </a:prstGeom>
            </p:spPr>
            <p:txBody>
              <a:bodyPr vert="horz" wrap="square" lIns="0" tIns="0" rIns="0" bIns="0" rtlCol="0" anchor="t">
                <a:spAutoFit/>
              </a:bodyPr>
              <a:lstStyle/>
              <a:p>
                <a:pPr algn="ctr" defTabSz="1087779">
                  <a:defRPr/>
                </a:pPr>
                <a:r>
                  <a:rPr lang="en-US" sz="1200">
                    <a:solidFill>
                      <a:srgbClr val="505050"/>
                    </a:solidFill>
                    <a:latin typeface="Segoe UI Semibold" panose="020B0702040204020203" pitchFamily="34" charset="0"/>
                    <a:ea typeface="Segoe UI" pitchFamily="34" charset="0"/>
                    <a:cs typeface="Segoe UI Semibold" panose="020B0702040204020203" pitchFamily="34" charset="0"/>
                  </a:rPr>
                  <a:t>Supply Chain</a:t>
                </a:r>
              </a:p>
            </p:txBody>
          </p:sp>
        </p:grpSp>
        <p:grpSp>
          <p:nvGrpSpPr>
            <p:cNvPr id="450" name="Group 449"/>
            <p:cNvGrpSpPr/>
            <p:nvPr/>
          </p:nvGrpSpPr>
          <p:grpSpPr>
            <a:xfrm>
              <a:off x="10375655" y="4172292"/>
              <a:ext cx="592016" cy="710310"/>
              <a:chOff x="521560" y="2948186"/>
              <a:chExt cx="592170" cy="710495"/>
            </a:xfrm>
          </p:grpSpPr>
          <p:sp>
            <p:nvSpPr>
              <p:cNvPr id="451" name="TextBox 450"/>
              <p:cNvSpPr txBox="1"/>
              <p:nvPr/>
            </p:nvSpPr>
            <p:spPr>
              <a:xfrm>
                <a:off x="528304" y="3474015"/>
                <a:ext cx="578685" cy="184666"/>
              </a:xfrm>
              <a:prstGeom prst="rect">
                <a:avLst/>
              </a:prstGeom>
            </p:spPr>
            <p:txBody>
              <a:bodyPr vert="horz" wrap="none" lIns="0" tIns="0" rIns="0" bIns="0" rtlCol="0" anchor="t">
                <a:spAutoFit/>
              </a:bodyPr>
              <a:lstStyle/>
              <a:p>
                <a:pPr algn="ctr" defTabSz="1087779">
                  <a:defRPr/>
                </a:pPr>
                <a:r>
                  <a:rPr lang="en-US" sz="1200">
                    <a:solidFill>
                      <a:srgbClr val="505050"/>
                    </a:solidFill>
                    <a:latin typeface="Segoe UI Semibold" panose="020B0702040204020203" pitchFamily="34" charset="0"/>
                    <a:ea typeface="Segoe UI" pitchFamily="34" charset="0"/>
                    <a:cs typeface="Segoe UI Semibold" panose="020B0702040204020203" pitchFamily="34" charset="0"/>
                  </a:rPr>
                  <a:t>Supplier</a:t>
                </a:r>
              </a:p>
            </p:txBody>
          </p:sp>
          <p:sp>
            <p:nvSpPr>
              <p:cNvPr id="452" name="Freeform 451"/>
              <p:cNvSpPr/>
              <p:nvPr/>
            </p:nvSpPr>
            <p:spPr>
              <a:xfrm>
                <a:off x="521560" y="2948186"/>
                <a:ext cx="592170" cy="470906"/>
              </a:xfrm>
              <a:custGeom>
                <a:avLst/>
                <a:gdLst/>
                <a:ahLst/>
                <a:cxnLst/>
                <a:rect l="l" t="t" r="r" b="b"/>
                <a:pathLst>
                  <a:path w="1395413" h="1109663">
                    <a:moveTo>
                      <a:pt x="133347" y="813196"/>
                    </a:moveTo>
                    <a:lnTo>
                      <a:pt x="30953" y="841771"/>
                    </a:lnTo>
                    <a:lnTo>
                      <a:pt x="681035" y="1067990"/>
                    </a:lnTo>
                    <a:lnTo>
                      <a:pt x="1045366" y="958452"/>
                    </a:lnTo>
                    <a:lnTo>
                      <a:pt x="761997" y="970358"/>
                    </a:lnTo>
                    <a:close/>
                    <a:moveTo>
                      <a:pt x="453832" y="454934"/>
                    </a:moveTo>
                    <a:cubicBezTo>
                      <a:pt x="453375" y="497707"/>
                      <a:pt x="452917" y="540480"/>
                      <a:pt x="452460" y="583253"/>
                    </a:cubicBezTo>
                    <a:lnTo>
                      <a:pt x="293263" y="597663"/>
                    </a:lnTo>
                    <a:lnTo>
                      <a:pt x="293263" y="488558"/>
                    </a:lnTo>
                    <a:close/>
                    <a:moveTo>
                      <a:pt x="453832" y="256931"/>
                    </a:moveTo>
                    <a:lnTo>
                      <a:pt x="453832" y="384563"/>
                    </a:lnTo>
                    <a:lnTo>
                      <a:pt x="293949" y="428480"/>
                    </a:lnTo>
                    <a:lnTo>
                      <a:pt x="293949" y="319375"/>
                    </a:lnTo>
                    <a:close/>
                    <a:moveTo>
                      <a:pt x="759109" y="39089"/>
                    </a:moveTo>
                    <a:lnTo>
                      <a:pt x="158946" y="317879"/>
                    </a:lnTo>
                    <a:cubicBezTo>
                      <a:pt x="159197" y="336218"/>
                      <a:pt x="159449" y="354555"/>
                      <a:pt x="159699" y="372894"/>
                    </a:cubicBezTo>
                    <a:lnTo>
                      <a:pt x="252988" y="334945"/>
                    </a:lnTo>
                    <a:cubicBezTo>
                      <a:pt x="252379" y="368482"/>
                      <a:pt x="251768" y="402018"/>
                      <a:pt x="251158" y="435554"/>
                    </a:cubicBezTo>
                    <a:cubicBezTo>
                      <a:pt x="221946" y="442661"/>
                      <a:pt x="177060" y="455864"/>
                      <a:pt x="156202" y="463276"/>
                    </a:cubicBezTo>
                    <a:cubicBezTo>
                      <a:pt x="155744" y="490408"/>
                      <a:pt x="155592" y="499451"/>
                      <a:pt x="155287" y="517539"/>
                    </a:cubicBezTo>
                    <a:lnTo>
                      <a:pt x="247661" y="495521"/>
                    </a:lnTo>
                    <a:cubicBezTo>
                      <a:pt x="247356" y="531158"/>
                      <a:pt x="246136" y="567709"/>
                      <a:pt x="245831" y="603346"/>
                    </a:cubicBezTo>
                    <a:lnTo>
                      <a:pt x="150387" y="608083"/>
                    </a:lnTo>
                    <a:cubicBezTo>
                      <a:pt x="150693" y="624734"/>
                      <a:pt x="150082" y="641386"/>
                      <a:pt x="150387" y="658037"/>
                    </a:cubicBezTo>
                    <a:lnTo>
                      <a:pt x="247712" y="657742"/>
                    </a:lnTo>
                    <a:cubicBezTo>
                      <a:pt x="246922" y="694850"/>
                      <a:pt x="246527" y="716147"/>
                      <a:pt x="247174" y="772266"/>
                    </a:cubicBezTo>
                    <a:lnTo>
                      <a:pt x="147399" y="754396"/>
                    </a:lnTo>
                    <a:cubicBezTo>
                      <a:pt x="147399" y="769496"/>
                      <a:pt x="147547" y="803120"/>
                      <a:pt x="148085" y="806194"/>
                    </a:cubicBezTo>
                    <a:cubicBezTo>
                      <a:pt x="148594" y="802501"/>
                      <a:pt x="239550" y="829400"/>
                      <a:pt x="289055" y="842032"/>
                    </a:cubicBezTo>
                    <a:cubicBezTo>
                      <a:pt x="289513" y="751300"/>
                      <a:pt x="288750" y="720141"/>
                      <a:pt x="289055" y="658738"/>
                    </a:cubicBezTo>
                    <a:lnTo>
                      <a:pt x="448827" y="657660"/>
                    </a:lnTo>
                    <a:cubicBezTo>
                      <a:pt x="449132" y="729811"/>
                      <a:pt x="449436" y="801963"/>
                      <a:pt x="449741" y="874114"/>
                    </a:cubicBezTo>
                    <a:lnTo>
                      <a:pt x="763845" y="955723"/>
                    </a:lnTo>
                    <a:lnTo>
                      <a:pt x="763845" y="856244"/>
                    </a:lnTo>
                    <a:lnTo>
                      <a:pt x="512778" y="813609"/>
                    </a:lnTo>
                    <a:cubicBezTo>
                      <a:pt x="512903" y="761986"/>
                      <a:pt x="513028" y="710362"/>
                      <a:pt x="513153" y="658738"/>
                    </a:cubicBezTo>
                    <a:lnTo>
                      <a:pt x="763845" y="662022"/>
                    </a:lnTo>
                    <a:cubicBezTo>
                      <a:pt x="764635" y="629651"/>
                      <a:pt x="763198" y="610721"/>
                      <a:pt x="764383" y="562166"/>
                    </a:cubicBezTo>
                    <a:lnTo>
                      <a:pt x="512615" y="584236"/>
                    </a:lnTo>
                    <a:cubicBezTo>
                      <a:pt x="513798" y="516732"/>
                      <a:pt x="511968" y="513071"/>
                      <a:pt x="513153" y="445567"/>
                    </a:cubicBezTo>
                    <a:lnTo>
                      <a:pt x="759109" y="394374"/>
                    </a:lnTo>
                    <a:cubicBezTo>
                      <a:pt x="759538" y="365646"/>
                      <a:pt x="759969" y="336919"/>
                      <a:pt x="760398" y="308191"/>
                    </a:cubicBezTo>
                    <a:lnTo>
                      <a:pt x="508040" y="370688"/>
                    </a:lnTo>
                    <a:lnTo>
                      <a:pt x="508040" y="233312"/>
                    </a:lnTo>
                    <a:lnTo>
                      <a:pt x="761477" y="140938"/>
                    </a:lnTo>
                    <a:cubicBezTo>
                      <a:pt x="760687" y="106988"/>
                      <a:pt x="759898" y="73038"/>
                      <a:pt x="759109" y="39089"/>
                    </a:cubicBezTo>
                    <a:close/>
                    <a:moveTo>
                      <a:pt x="759619" y="0"/>
                    </a:moveTo>
                    <a:lnTo>
                      <a:pt x="1333500" y="271463"/>
                    </a:lnTo>
                    <a:cubicBezTo>
                      <a:pt x="1335088" y="442913"/>
                      <a:pt x="1336675" y="614363"/>
                      <a:pt x="1338263" y="785813"/>
                    </a:cubicBezTo>
                    <a:lnTo>
                      <a:pt x="1388269" y="800100"/>
                    </a:lnTo>
                    <a:lnTo>
                      <a:pt x="1395413" y="864394"/>
                    </a:lnTo>
                    <a:lnTo>
                      <a:pt x="692944" y="1109663"/>
                    </a:lnTo>
                    <a:lnTo>
                      <a:pt x="0" y="862013"/>
                    </a:lnTo>
                    <a:lnTo>
                      <a:pt x="2382" y="826294"/>
                    </a:lnTo>
                    <a:lnTo>
                      <a:pt x="130969" y="804863"/>
                    </a:lnTo>
                    <a:lnTo>
                      <a:pt x="145257" y="297656"/>
                    </a:lnTo>
                    <a:close/>
                  </a:path>
                </a:pathLst>
              </a:custGeom>
              <a:solidFill>
                <a:schemeClr val="bg1">
                  <a:lumMod val="50000"/>
                </a:schemeClr>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368" tIns="45684" rIns="45684" bIns="91368"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3277" fontAlgn="base">
                  <a:spcBef>
                    <a:spcPct val="0"/>
                  </a:spcBef>
                  <a:spcAft>
                    <a:spcPct val="0"/>
                  </a:spcAft>
                  <a:defRPr/>
                </a:pPr>
                <a:endParaRPr lang="en-US" sz="1797"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583" name="Oval 582">
            <a:extLst>
              <a:ext uri="{FF2B5EF4-FFF2-40B4-BE49-F238E27FC236}">
                <a16:creationId xmlns:a16="http://schemas.microsoft.com/office/drawing/2014/main" id="{D5454F2F-AC28-443F-80BC-68E0AFA4040A}"/>
              </a:ext>
            </a:extLst>
          </p:cNvPr>
          <p:cNvSpPr/>
          <p:nvPr/>
        </p:nvSpPr>
        <p:spPr>
          <a:xfrm>
            <a:off x="269479" y="1262017"/>
            <a:ext cx="2034490" cy="2023288"/>
          </a:xfrm>
          <a:prstGeom prst="ellipse">
            <a:avLst/>
          </a:prstGeom>
          <a:solidFill>
            <a:sysClr val="window" lastClr="FFFFFF">
              <a:lumMod val="95000"/>
            </a:sysClr>
          </a:solidFill>
          <a:ln w="25400" cap="flat" cmpd="sng" algn="ctr">
            <a:noFill/>
            <a:prstDash val="solid"/>
          </a:ln>
          <a:effectLst/>
        </p:spPr>
        <p:txBody>
          <a:bodyPr rot="0" spcFirstLastPara="0" vertOverflow="overflow" horzOverflow="overflow" vert="horz" wrap="square" lIns="91392" tIns="91392" rIns="91392" bIns="91392" numCol="1" spcCol="0" rtlCol="0" fromWordArt="0" anchor="b" anchorCtr="0" forceAA="0" compatLnSpc="1">
            <a:prstTxWarp prst="textNoShape">
              <a:avLst/>
            </a:prstTxWarp>
            <a:noAutofit/>
          </a:bodyPr>
          <a:lstStyle/>
          <a:p>
            <a:pPr algn="r" defTabSz="913852">
              <a:defRPr/>
            </a:pPr>
            <a:endParaRPr lang="en-US" sz="1200" kern="0" dirty="0">
              <a:solidFill>
                <a:prstClr val="white"/>
              </a:solidFill>
              <a:latin typeface="Segoe UI"/>
            </a:endParaRPr>
          </a:p>
        </p:txBody>
      </p:sp>
      <p:grpSp>
        <p:nvGrpSpPr>
          <p:cNvPr id="584" name="Group 583">
            <a:extLst>
              <a:ext uri="{FF2B5EF4-FFF2-40B4-BE49-F238E27FC236}">
                <a16:creationId xmlns:a16="http://schemas.microsoft.com/office/drawing/2014/main" id="{72C7BE2E-1429-4A6C-800A-E4D2180A9C85}"/>
              </a:ext>
            </a:extLst>
          </p:cNvPr>
          <p:cNvGrpSpPr/>
          <p:nvPr/>
        </p:nvGrpSpPr>
        <p:grpSpPr>
          <a:xfrm>
            <a:off x="558138" y="2448375"/>
            <a:ext cx="740394" cy="543556"/>
            <a:chOff x="9059718" y="2182174"/>
            <a:chExt cx="895599" cy="682903"/>
          </a:xfrm>
        </p:grpSpPr>
        <p:grpSp>
          <p:nvGrpSpPr>
            <p:cNvPr id="614" name="Group 613">
              <a:extLst>
                <a:ext uri="{FF2B5EF4-FFF2-40B4-BE49-F238E27FC236}">
                  <a16:creationId xmlns:a16="http://schemas.microsoft.com/office/drawing/2014/main" id="{0604040C-3DFC-4C45-8586-528276C0149C}"/>
                </a:ext>
              </a:extLst>
            </p:cNvPr>
            <p:cNvGrpSpPr>
              <a:grpSpLocks noChangeAspect="1"/>
            </p:cNvGrpSpPr>
            <p:nvPr/>
          </p:nvGrpSpPr>
          <p:grpSpPr>
            <a:xfrm>
              <a:off x="9113399" y="2182174"/>
              <a:ext cx="788196" cy="376549"/>
              <a:chOff x="335107" y="1984056"/>
              <a:chExt cx="8623119" cy="4119564"/>
            </a:xfrm>
            <a:solidFill>
              <a:srgbClr val="7F7F7F"/>
            </a:solidFill>
          </p:grpSpPr>
          <p:sp>
            <p:nvSpPr>
              <p:cNvPr id="616" name="Freeform 286">
                <a:extLst>
                  <a:ext uri="{FF2B5EF4-FFF2-40B4-BE49-F238E27FC236}">
                    <a16:creationId xmlns:a16="http://schemas.microsoft.com/office/drawing/2014/main" id="{3E05D083-D868-4035-9D59-968C25124FFF}"/>
                  </a:ext>
                </a:extLst>
              </p:cNvPr>
              <p:cNvSpPr/>
              <p:nvPr/>
            </p:nvSpPr>
            <p:spPr>
              <a:xfrm>
                <a:off x="5423935" y="2187537"/>
                <a:ext cx="1275676" cy="3054785"/>
              </a:xfrm>
              <a:custGeom>
                <a:avLst/>
                <a:gdLst/>
                <a:ahLst/>
                <a:cxnLst/>
                <a:rect l="l" t="t" r="r" b="b"/>
                <a:pathLst>
                  <a:path w="1275676" h="3054785">
                    <a:moveTo>
                      <a:pt x="909893" y="2571265"/>
                    </a:moveTo>
                    <a:cubicBezTo>
                      <a:pt x="927578" y="2591556"/>
                      <a:pt x="943146" y="2624131"/>
                      <a:pt x="953053" y="2679738"/>
                    </a:cubicBezTo>
                    <a:cubicBezTo>
                      <a:pt x="966614" y="2755857"/>
                      <a:pt x="1015135" y="2902136"/>
                      <a:pt x="1032104" y="3045768"/>
                    </a:cubicBezTo>
                    <a:lnTo>
                      <a:pt x="926033" y="3054785"/>
                    </a:lnTo>
                    <a:lnTo>
                      <a:pt x="843515" y="2994064"/>
                    </a:lnTo>
                    <a:lnTo>
                      <a:pt x="791128" y="2951202"/>
                    </a:lnTo>
                    <a:lnTo>
                      <a:pt x="789242" y="2950511"/>
                    </a:lnTo>
                    <a:cubicBezTo>
                      <a:pt x="821800" y="2828680"/>
                      <a:pt x="864407" y="2700040"/>
                      <a:pt x="909893" y="2571265"/>
                    </a:cubicBezTo>
                    <a:close/>
                    <a:moveTo>
                      <a:pt x="810922" y="2515507"/>
                    </a:moveTo>
                    <a:cubicBezTo>
                      <a:pt x="813163" y="2515338"/>
                      <a:pt x="815461" y="2515417"/>
                      <a:pt x="817564" y="2517542"/>
                    </a:cubicBezTo>
                    <a:cubicBezTo>
                      <a:pt x="792015" y="2589329"/>
                      <a:pt x="769100" y="2660102"/>
                      <a:pt x="749052" y="2731145"/>
                    </a:cubicBezTo>
                    <a:cubicBezTo>
                      <a:pt x="728674" y="2665687"/>
                      <a:pt x="718117" y="2603286"/>
                      <a:pt x="714164" y="2542305"/>
                    </a:cubicBezTo>
                    <a:cubicBezTo>
                      <a:pt x="724867" y="2542383"/>
                      <a:pt x="734802" y="2542128"/>
                      <a:pt x="743503" y="2541626"/>
                    </a:cubicBezTo>
                    <a:cubicBezTo>
                      <a:pt x="774459" y="2539840"/>
                      <a:pt x="790235" y="2517070"/>
                      <a:pt x="810922" y="2515507"/>
                    </a:cubicBezTo>
                    <a:close/>
                    <a:moveTo>
                      <a:pt x="396204" y="2451912"/>
                    </a:moveTo>
                    <a:cubicBezTo>
                      <a:pt x="411647" y="2483872"/>
                      <a:pt x="433855" y="2503483"/>
                      <a:pt x="462515" y="2517813"/>
                    </a:cubicBezTo>
                    <a:cubicBezTo>
                      <a:pt x="495852" y="2534482"/>
                      <a:pt x="539509" y="2532894"/>
                      <a:pt x="586340" y="2536863"/>
                    </a:cubicBezTo>
                    <a:cubicBezTo>
                      <a:pt x="606520" y="2538574"/>
                      <a:pt x="630828" y="2540136"/>
                      <a:pt x="655265" y="2541066"/>
                    </a:cubicBezTo>
                    <a:cubicBezTo>
                      <a:pt x="657458" y="2571620"/>
                      <a:pt x="660070" y="2600527"/>
                      <a:pt x="663066" y="2624898"/>
                    </a:cubicBezTo>
                    <a:cubicBezTo>
                      <a:pt x="668463" y="2668822"/>
                      <a:pt x="677606" y="2707999"/>
                      <a:pt x="686242" y="2744162"/>
                    </a:cubicBezTo>
                    <a:cubicBezTo>
                      <a:pt x="632838" y="2717984"/>
                      <a:pt x="514903" y="2670213"/>
                      <a:pt x="514903" y="2670213"/>
                    </a:cubicBezTo>
                    <a:lnTo>
                      <a:pt x="333928" y="2589251"/>
                    </a:lnTo>
                    <a:lnTo>
                      <a:pt x="323202" y="2584990"/>
                    </a:lnTo>
                    <a:lnTo>
                      <a:pt x="327453" y="2567034"/>
                    </a:lnTo>
                    <a:cubicBezTo>
                      <a:pt x="340667" y="2528713"/>
                      <a:pt x="369951" y="2489259"/>
                      <a:pt x="396204" y="2451912"/>
                    </a:cubicBezTo>
                    <a:close/>
                    <a:moveTo>
                      <a:pt x="356384" y="1755197"/>
                    </a:moveTo>
                    <a:lnTo>
                      <a:pt x="361013" y="1949619"/>
                    </a:lnTo>
                    <a:cubicBezTo>
                      <a:pt x="293278" y="2065222"/>
                      <a:pt x="276288" y="2307687"/>
                      <a:pt x="265731" y="2563792"/>
                    </a:cubicBezTo>
                    <a:cubicBezTo>
                      <a:pt x="245616" y="2556203"/>
                      <a:pt x="227467" y="2546676"/>
                      <a:pt x="210103" y="2527338"/>
                    </a:cubicBezTo>
                    <a:cubicBezTo>
                      <a:pt x="175178" y="2488444"/>
                      <a:pt x="152159" y="2401925"/>
                      <a:pt x="124378" y="2355888"/>
                    </a:cubicBezTo>
                    <a:cubicBezTo>
                      <a:pt x="96597" y="2309851"/>
                      <a:pt x="64052" y="2271750"/>
                      <a:pt x="43415" y="2251113"/>
                    </a:cubicBezTo>
                    <a:cubicBezTo>
                      <a:pt x="22778" y="2230476"/>
                      <a:pt x="-4209" y="2253494"/>
                      <a:pt x="553" y="2232063"/>
                    </a:cubicBezTo>
                    <a:cubicBezTo>
                      <a:pt x="5315" y="2210632"/>
                      <a:pt x="48177" y="2180470"/>
                      <a:pt x="71990" y="2122526"/>
                    </a:cubicBezTo>
                    <a:cubicBezTo>
                      <a:pt x="90351" y="2077850"/>
                      <a:pt x="107767" y="1994009"/>
                      <a:pt x="126665" y="1932199"/>
                    </a:cubicBezTo>
                    <a:lnTo>
                      <a:pt x="273061" y="1880184"/>
                    </a:lnTo>
                    <a:cubicBezTo>
                      <a:pt x="305463" y="1861666"/>
                      <a:pt x="310089" y="1787599"/>
                      <a:pt x="356384" y="1755197"/>
                    </a:cubicBezTo>
                    <a:close/>
                    <a:moveTo>
                      <a:pt x="537693" y="744"/>
                    </a:moveTo>
                    <a:cubicBezTo>
                      <a:pt x="581411" y="-1830"/>
                      <a:pt x="633485" y="2027"/>
                      <a:pt x="695853" y="16174"/>
                    </a:cubicBezTo>
                    <a:cubicBezTo>
                      <a:pt x="758217" y="30318"/>
                      <a:pt x="852732" y="64395"/>
                      <a:pt x="911876" y="85609"/>
                    </a:cubicBezTo>
                    <a:cubicBezTo>
                      <a:pt x="971031" y="106829"/>
                      <a:pt x="1018605" y="128046"/>
                      <a:pt x="1050752" y="143477"/>
                    </a:cubicBezTo>
                    <a:cubicBezTo>
                      <a:pt x="1082899" y="158907"/>
                      <a:pt x="1079686" y="149264"/>
                      <a:pt x="1104760" y="178194"/>
                    </a:cubicBezTo>
                    <a:cubicBezTo>
                      <a:pt x="1129837" y="207128"/>
                      <a:pt x="1173554" y="261132"/>
                      <a:pt x="1201202" y="317070"/>
                    </a:cubicBezTo>
                    <a:cubicBezTo>
                      <a:pt x="1228849" y="373008"/>
                      <a:pt x="1259066" y="453372"/>
                      <a:pt x="1270636" y="513810"/>
                    </a:cubicBezTo>
                    <a:cubicBezTo>
                      <a:pt x="1275863" y="541109"/>
                      <a:pt x="1276368" y="577588"/>
                      <a:pt x="1275078" y="609376"/>
                    </a:cubicBezTo>
                    <a:cubicBezTo>
                      <a:pt x="1207919" y="610739"/>
                      <a:pt x="1256062" y="594379"/>
                      <a:pt x="1219753" y="593763"/>
                    </a:cubicBezTo>
                    <a:cubicBezTo>
                      <a:pt x="1172922" y="592969"/>
                      <a:pt x="1123709" y="585032"/>
                      <a:pt x="1086403" y="598526"/>
                    </a:cubicBezTo>
                    <a:cubicBezTo>
                      <a:pt x="1049097" y="612020"/>
                      <a:pt x="1027665" y="660439"/>
                      <a:pt x="995915" y="674726"/>
                    </a:cubicBezTo>
                    <a:cubicBezTo>
                      <a:pt x="964165" y="689014"/>
                      <a:pt x="933209" y="669964"/>
                      <a:pt x="895903" y="684251"/>
                    </a:cubicBezTo>
                    <a:cubicBezTo>
                      <a:pt x="858597" y="698539"/>
                      <a:pt x="813353" y="722351"/>
                      <a:pt x="772078" y="760451"/>
                    </a:cubicBezTo>
                    <a:cubicBezTo>
                      <a:pt x="730803" y="798551"/>
                      <a:pt x="685559" y="851732"/>
                      <a:pt x="648253" y="912851"/>
                    </a:cubicBezTo>
                    <a:cubicBezTo>
                      <a:pt x="610947" y="973970"/>
                      <a:pt x="579196" y="1048582"/>
                      <a:pt x="548240" y="1127163"/>
                    </a:cubicBezTo>
                    <a:cubicBezTo>
                      <a:pt x="517284" y="1205744"/>
                      <a:pt x="486327" y="1295438"/>
                      <a:pt x="462515" y="1384338"/>
                    </a:cubicBezTo>
                    <a:cubicBezTo>
                      <a:pt x="438702" y="1473238"/>
                      <a:pt x="418065" y="1592300"/>
                      <a:pt x="405365" y="1660563"/>
                    </a:cubicBezTo>
                    <a:cubicBezTo>
                      <a:pt x="401622" y="1680683"/>
                      <a:pt x="398982" y="1695769"/>
                      <a:pt x="397031" y="1708455"/>
                    </a:cubicBezTo>
                    <a:lnTo>
                      <a:pt x="379531" y="1681708"/>
                    </a:lnTo>
                    <a:cubicBezTo>
                      <a:pt x="365064" y="1654708"/>
                      <a:pt x="382424" y="1649399"/>
                      <a:pt x="362170" y="1615163"/>
                    </a:cubicBezTo>
                    <a:cubicBezTo>
                      <a:pt x="346337" y="1588394"/>
                      <a:pt x="308388" y="1553075"/>
                      <a:pt x="279806" y="1511723"/>
                    </a:cubicBezTo>
                    <a:cubicBezTo>
                      <a:pt x="283185" y="1487626"/>
                      <a:pt x="285447" y="1466602"/>
                      <a:pt x="286303" y="1451013"/>
                    </a:cubicBezTo>
                    <a:cubicBezTo>
                      <a:pt x="290272" y="1378782"/>
                      <a:pt x="259315" y="1385926"/>
                      <a:pt x="248203" y="1351001"/>
                    </a:cubicBezTo>
                    <a:cubicBezTo>
                      <a:pt x="237090" y="1316076"/>
                      <a:pt x="217247" y="1279563"/>
                      <a:pt x="219628" y="1241463"/>
                    </a:cubicBezTo>
                    <a:cubicBezTo>
                      <a:pt x="222009" y="1203363"/>
                      <a:pt x="252171" y="1173995"/>
                      <a:pt x="262490" y="1122401"/>
                    </a:cubicBezTo>
                    <a:cubicBezTo>
                      <a:pt x="272809" y="1070807"/>
                      <a:pt x="281540" y="992226"/>
                      <a:pt x="281540" y="931901"/>
                    </a:cubicBezTo>
                    <a:cubicBezTo>
                      <a:pt x="281540" y="871576"/>
                      <a:pt x="281540" y="816807"/>
                      <a:pt x="262490" y="760451"/>
                    </a:cubicBezTo>
                    <a:cubicBezTo>
                      <a:pt x="251559" y="728114"/>
                      <a:pt x="235402" y="693947"/>
                      <a:pt x="214848" y="662136"/>
                    </a:cubicBezTo>
                    <a:lnTo>
                      <a:pt x="267253" y="612813"/>
                    </a:lnTo>
                    <a:lnTo>
                      <a:pt x="500615" y="488988"/>
                    </a:lnTo>
                    <a:lnTo>
                      <a:pt x="786365" y="479463"/>
                    </a:lnTo>
                    <a:lnTo>
                      <a:pt x="486328" y="446126"/>
                    </a:lnTo>
                    <a:lnTo>
                      <a:pt x="286303" y="531851"/>
                    </a:lnTo>
                    <a:lnTo>
                      <a:pt x="188793" y="624717"/>
                    </a:lnTo>
                    <a:cubicBezTo>
                      <a:pt x="183072" y="613128"/>
                      <a:pt x="175276" y="603190"/>
                      <a:pt x="167240" y="593763"/>
                    </a:cubicBezTo>
                    <a:cubicBezTo>
                      <a:pt x="128567" y="548397"/>
                      <a:pt x="168636" y="489094"/>
                      <a:pt x="42501" y="473501"/>
                    </a:cubicBezTo>
                    <a:cubicBezTo>
                      <a:pt x="46825" y="429492"/>
                      <a:pt x="64428" y="405518"/>
                      <a:pt x="82492" y="363364"/>
                    </a:cubicBezTo>
                    <a:cubicBezTo>
                      <a:pt x="103709" y="313853"/>
                      <a:pt x="135213" y="245058"/>
                      <a:pt x="167360" y="201341"/>
                    </a:cubicBezTo>
                    <a:cubicBezTo>
                      <a:pt x="199507" y="157620"/>
                      <a:pt x="231011" y="129333"/>
                      <a:pt x="275376" y="101043"/>
                    </a:cubicBezTo>
                    <a:cubicBezTo>
                      <a:pt x="319733" y="72752"/>
                      <a:pt x="389818" y="48322"/>
                      <a:pt x="433535" y="31608"/>
                    </a:cubicBezTo>
                    <a:cubicBezTo>
                      <a:pt x="477256" y="14888"/>
                      <a:pt x="493969" y="3314"/>
                      <a:pt x="537693" y="744"/>
                    </a:cubicBezTo>
                    <a:close/>
                  </a:path>
                </a:pathLst>
              </a:custGeom>
              <a:grpFill/>
              <a:ln w="25400" cap="flat" cmpd="sng" algn="ctr">
                <a:noFill/>
                <a:prstDash val="solid"/>
              </a:ln>
              <a:effectLst/>
            </p:spPr>
            <p:txBody>
              <a:bodyPr rtlCol="0" anchor="ctr"/>
              <a:lstStyle/>
              <a:p>
                <a:pPr algn="ctr" defTabSz="913578">
                  <a:defRPr/>
                </a:pPr>
                <a:endParaRPr lang="en-US" sz="1797" kern="0">
                  <a:solidFill>
                    <a:srgbClr val="FFFFFF"/>
                  </a:solidFill>
                  <a:latin typeface="Segoe UI"/>
                </a:endParaRPr>
              </a:p>
            </p:txBody>
          </p:sp>
          <p:sp>
            <p:nvSpPr>
              <p:cNvPr id="617" name="Man's Body">
                <a:extLst>
                  <a:ext uri="{FF2B5EF4-FFF2-40B4-BE49-F238E27FC236}">
                    <a16:creationId xmlns:a16="http://schemas.microsoft.com/office/drawing/2014/main" id="{2176C53C-BD49-422B-8608-A9C14DBF8889}"/>
                  </a:ext>
                </a:extLst>
              </p:cNvPr>
              <p:cNvSpPr>
                <a:spLocks/>
              </p:cNvSpPr>
              <p:nvPr/>
            </p:nvSpPr>
            <p:spPr bwMode="auto">
              <a:xfrm>
                <a:off x="4286421" y="1984056"/>
                <a:ext cx="1109019" cy="638618"/>
              </a:xfrm>
              <a:custGeom>
                <a:avLst/>
                <a:gdLst/>
                <a:ahLst/>
                <a:cxnLst/>
                <a:rect l="l" t="t" r="r" b="b"/>
                <a:pathLst>
                  <a:path w="1109019" h="638618">
                    <a:moveTo>
                      <a:pt x="527057" y="506"/>
                    </a:moveTo>
                    <a:cubicBezTo>
                      <a:pt x="648121" y="6732"/>
                      <a:pt x="780445" y="70158"/>
                      <a:pt x="889294" y="181665"/>
                    </a:cubicBezTo>
                    <a:cubicBezTo>
                      <a:pt x="1063451" y="360077"/>
                      <a:pt x="1112509" y="452740"/>
                      <a:pt x="1108830" y="488699"/>
                    </a:cubicBezTo>
                    <a:cubicBezTo>
                      <a:pt x="1105150" y="523275"/>
                      <a:pt x="1069584" y="571681"/>
                      <a:pt x="1038921" y="564767"/>
                    </a:cubicBezTo>
                    <a:cubicBezTo>
                      <a:pt x="1007034" y="557851"/>
                      <a:pt x="1003354" y="527424"/>
                      <a:pt x="986183" y="510828"/>
                    </a:cubicBezTo>
                    <a:cubicBezTo>
                      <a:pt x="782591" y="317203"/>
                      <a:pt x="618246" y="347629"/>
                      <a:pt x="550790" y="371142"/>
                    </a:cubicBezTo>
                    <a:cubicBezTo>
                      <a:pt x="760068" y="390992"/>
                      <a:pt x="912422" y="533945"/>
                      <a:pt x="972020" y="608911"/>
                    </a:cubicBezTo>
                    <a:cubicBezTo>
                      <a:pt x="891545" y="581606"/>
                      <a:pt x="869616" y="586916"/>
                      <a:pt x="814218" y="578169"/>
                    </a:cubicBezTo>
                    <a:cubicBezTo>
                      <a:pt x="753893" y="568644"/>
                      <a:pt x="686424" y="559913"/>
                      <a:pt x="633243" y="559119"/>
                    </a:cubicBezTo>
                    <a:cubicBezTo>
                      <a:pt x="580062" y="558325"/>
                      <a:pt x="534818" y="561501"/>
                      <a:pt x="495131" y="573407"/>
                    </a:cubicBezTo>
                    <a:cubicBezTo>
                      <a:pt x="455444" y="585313"/>
                      <a:pt x="430837" y="621032"/>
                      <a:pt x="395118" y="630557"/>
                    </a:cubicBezTo>
                    <a:cubicBezTo>
                      <a:pt x="359399" y="640082"/>
                      <a:pt x="312568" y="642463"/>
                      <a:pt x="280818" y="630557"/>
                    </a:cubicBezTo>
                    <a:cubicBezTo>
                      <a:pt x="249068" y="618651"/>
                      <a:pt x="230812" y="588488"/>
                      <a:pt x="204618" y="559119"/>
                    </a:cubicBezTo>
                    <a:cubicBezTo>
                      <a:pt x="178424" y="529750"/>
                      <a:pt x="156200" y="486888"/>
                      <a:pt x="123656" y="454344"/>
                    </a:cubicBezTo>
                    <a:cubicBezTo>
                      <a:pt x="91112" y="421800"/>
                      <a:pt x="52218" y="394019"/>
                      <a:pt x="9356" y="363857"/>
                    </a:cubicBezTo>
                    <a:cubicBezTo>
                      <a:pt x="6109" y="361572"/>
                      <a:pt x="2861" y="359100"/>
                      <a:pt x="0" y="355996"/>
                    </a:cubicBezTo>
                    <a:cubicBezTo>
                      <a:pt x="20998" y="211335"/>
                      <a:pt x="96747" y="42345"/>
                      <a:pt x="328801" y="53043"/>
                    </a:cubicBezTo>
                    <a:cubicBezTo>
                      <a:pt x="385831" y="13626"/>
                      <a:pt x="454418" y="-3230"/>
                      <a:pt x="527057" y="50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rgbClr val="FFB900">
                    <a:satMod val="300000"/>
                  </a:srgbClr>
                </a:contourClr>
              </a:sp3d>
              <a:extLst/>
            </p:spPr>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618" name="Man's Body">
                <a:extLst>
                  <a:ext uri="{FF2B5EF4-FFF2-40B4-BE49-F238E27FC236}">
                    <a16:creationId xmlns:a16="http://schemas.microsoft.com/office/drawing/2014/main" id="{FA3E3439-62F2-4E9D-B6CF-8E81E38818C8}"/>
                  </a:ext>
                </a:extLst>
              </p:cNvPr>
              <p:cNvSpPr>
                <a:spLocks/>
              </p:cNvSpPr>
              <p:nvPr/>
            </p:nvSpPr>
            <p:spPr bwMode="auto">
              <a:xfrm>
                <a:off x="1933544" y="2281603"/>
                <a:ext cx="1087125" cy="2339128"/>
              </a:xfrm>
              <a:custGeom>
                <a:avLst/>
                <a:gdLst/>
                <a:ahLst/>
                <a:cxnLst/>
                <a:rect l="l" t="t" r="r" b="b"/>
                <a:pathLst>
                  <a:path w="1087125" h="2339128">
                    <a:moveTo>
                      <a:pt x="148114" y="1900284"/>
                    </a:moveTo>
                    <a:cubicBezTo>
                      <a:pt x="220874" y="1957568"/>
                      <a:pt x="348888" y="2049369"/>
                      <a:pt x="516243" y="2068258"/>
                    </a:cubicBezTo>
                    <a:lnTo>
                      <a:pt x="495331" y="2090372"/>
                    </a:lnTo>
                    <a:cubicBezTo>
                      <a:pt x="449294" y="2138791"/>
                      <a:pt x="388175" y="2211022"/>
                      <a:pt x="338169" y="2252297"/>
                    </a:cubicBezTo>
                    <a:cubicBezTo>
                      <a:pt x="288163" y="2293572"/>
                      <a:pt x="225456" y="2347547"/>
                      <a:pt x="195294" y="2338022"/>
                    </a:cubicBezTo>
                    <a:cubicBezTo>
                      <a:pt x="165132" y="2328497"/>
                      <a:pt x="175450" y="2234834"/>
                      <a:pt x="157194" y="2195147"/>
                    </a:cubicBezTo>
                    <a:cubicBezTo>
                      <a:pt x="138938" y="2155460"/>
                      <a:pt x="111950" y="2112597"/>
                      <a:pt x="85756" y="2099897"/>
                    </a:cubicBezTo>
                    <a:cubicBezTo>
                      <a:pt x="59562" y="2087197"/>
                      <a:pt x="-1556" y="2133234"/>
                      <a:pt x="31" y="2118947"/>
                    </a:cubicBezTo>
                    <a:cubicBezTo>
                      <a:pt x="1618" y="2104660"/>
                      <a:pt x="65912" y="2063384"/>
                      <a:pt x="95281" y="2014172"/>
                    </a:cubicBezTo>
                    <a:cubicBezTo>
                      <a:pt x="112544" y="1985245"/>
                      <a:pt x="132002" y="1941507"/>
                      <a:pt x="148114" y="1900284"/>
                    </a:cubicBezTo>
                    <a:close/>
                    <a:moveTo>
                      <a:pt x="300366" y="1598710"/>
                    </a:moveTo>
                    <a:cubicBezTo>
                      <a:pt x="322928" y="1593356"/>
                      <a:pt x="499132" y="1755026"/>
                      <a:pt x="596386" y="1777949"/>
                    </a:cubicBezTo>
                    <a:lnTo>
                      <a:pt x="614394" y="1795097"/>
                    </a:lnTo>
                    <a:cubicBezTo>
                      <a:pt x="638206" y="1830816"/>
                      <a:pt x="647731" y="1881616"/>
                      <a:pt x="647731" y="1909397"/>
                    </a:cubicBezTo>
                    <a:cubicBezTo>
                      <a:pt x="647731" y="1937178"/>
                      <a:pt x="639794" y="1931622"/>
                      <a:pt x="614394" y="1961785"/>
                    </a:cubicBezTo>
                    <a:cubicBezTo>
                      <a:pt x="607207" y="1970320"/>
                      <a:pt x="598240" y="1980444"/>
                      <a:pt x="588003" y="1991644"/>
                    </a:cubicBezTo>
                    <a:cubicBezTo>
                      <a:pt x="401521" y="1979273"/>
                      <a:pt x="213522" y="1820684"/>
                      <a:pt x="209777" y="1788323"/>
                    </a:cubicBezTo>
                    <a:cubicBezTo>
                      <a:pt x="205894" y="1753317"/>
                      <a:pt x="274484" y="1603086"/>
                      <a:pt x="300366" y="1598710"/>
                    </a:cubicBezTo>
                    <a:close/>
                    <a:moveTo>
                      <a:pt x="594957" y="534"/>
                    </a:moveTo>
                    <a:cubicBezTo>
                      <a:pt x="722687" y="7103"/>
                      <a:pt x="862297" y="74022"/>
                      <a:pt x="977139" y="191669"/>
                    </a:cubicBezTo>
                    <a:cubicBezTo>
                      <a:pt x="1021009" y="236610"/>
                      <a:pt x="1057355" y="276395"/>
                      <a:pt x="1087125" y="311518"/>
                    </a:cubicBezTo>
                    <a:cubicBezTo>
                      <a:pt x="1049367" y="328933"/>
                      <a:pt x="1022410" y="352709"/>
                      <a:pt x="981106" y="366347"/>
                    </a:cubicBezTo>
                    <a:cubicBezTo>
                      <a:pt x="944893" y="378304"/>
                      <a:pt x="910738" y="390997"/>
                      <a:pt x="878907" y="405059"/>
                    </a:cubicBezTo>
                    <a:cubicBezTo>
                      <a:pt x="759679" y="355398"/>
                      <a:pt x="667278" y="375098"/>
                      <a:pt x="619996" y="391578"/>
                    </a:cubicBezTo>
                    <a:cubicBezTo>
                      <a:pt x="686882" y="397922"/>
                      <a:pt x="748256" y="416185"/>
                      <a:pt x="802895" y="441165"/>
                    </a:cubicBezTo>
                    <a:lnTo>
                      <a:pt x="762031" y="461597"/>
                    </a:lnTo>
                    <a:cubicBezTo>
                      <a:pt x="700119" y="497316"/>
                      <a:pt x="650112" y="528273"/>
                      <a:pt x="609631" y="580660"/>
                    </a:cubicBezTo>
                    <a:cubicBezTo>
                      <a:pt x="569150" y="633047"/>
                      <a:pt x="541369" y="702897"/>
                      <a:pt x="519144" y="775922"/>
                    </a:cubicBezTo>
                    <a:cubicBezTo>
                      <a:pt x="496919" y="848947"/>
                      <a:pt x="482631" y="944991"/>
                      <a:pt x="476281" y="1018810"/>
                    </a:cubicBezTo>
                    <a:cubicBezTo>
                      <a:pt x="469931" y="1092629"/>
                      <a:pt x="479457" y="1144223"/>
                      <a:pt x="481044" y="1218835"/>
                    </a:cubicBezTo>
                    <a:cubicBezTo>
                      <a:pt x="482631" y="1293447"/>
                      <a:pt x="481837" y="1387110"/>
                      <a:pt x="485806" y="1466485"/>
                    </a:cubicBezTo>
                    <a:cubicBezTo>
                      <a:pt x="488264" y="1515644"/>
                      <a:pt x="486764" y="1570588"/>
                      <a:pt x="491052" y="1618253"/>
                    </a:cubicBezTo>
                    <a:cubicBezTo>
                      <a:pt x="410332" y="1566195"/>
                      <a:pt x="328150" y="1493901"/>
                      <a:pt x="318496" y="1475757"/>
                    </a:cubicBezTo>
                    <a:cubicBezTo>
                      <a:pt x="315899" y="1471251"/>
                      <a:pt x="311051" y="1464346"/>
                      <a:pt x="304709" y="1455294"/>
                    </a:cubicBezTo>
                    <a:cubicBezTo>
                      <a:pt x="315763" y="1411159"/>
                      <a:pt x="324775" y="1369039"/>
                      <a:pt x="328644" y="1342660"/>
                    </a:cubicBezTo>
                    <a:cubicBezTo>
                      <a:pt x="337375" y="1283129"/>
                      <a:pt x="327056" y="1275191"/>
                      <a:pt x="314356" y="1247410"/>
                    </a:cubicBezTo>
                    <a:cubicBezTo>
                      <a:pt x="301656" y="1219629"/>
                      <a:pt x="261969" y="1202959"/>
                      <a:pt x="252444" y="1175972"/>
                    </a:cubicBezTo>
                    <a:cubicBezTo>
                      <a:pt x="242919" y="1148985"/>
                      <a:pt x="260381" y="1112473"/>
                      <a:pt x="257206" y="1085485"/>
                    </a:cubicBezTo>
                    <a:cubicBezTo>
                      <a:pt x="254031" y="1058497"/>
                      <a:pt x="224663" y="1025953"/>
                      <a:pt x="233394" y="1014047"/>
                    </a:cubicBezTo>
                    <a:cubicBezTo>
                      <a:pt x="242125" y="1002141"/>
                      <a:pt x="284194" y="1028334"/>
                      <a:pt x="309594" y="1014047"/>
                    </a:cubicBezTo>
                    <a:cubicBezTo>
                      <a:pt x="334994" y="999760"/>
                      <a:pt x="373888" y="964834"/>
                      <a:pt x="385794" y="928322"/>
                    </a:cubicBezTo>
                    <a:cubicBezTo>
                      <a:pt x="397700" y="891810"/>
                      <a:pt x="396112" y="839422"/>
                      <a:pt x="381031" y="794972"/>
                    </a:cubicBezTo>
                    <a:cubicBezTo>
                      <a:pt x="365950" y="750522"/>
                      <a:pt x="332612" y="708453"/>
                      <a:pt x="295306" y="661622"/>
                    </a:cubicBezTo>
                    <a:cubicBezTo>
                      <a:pt x="258000" y="614791"/>
                      <a:pt x="208788" y="566372"/>
                      <a:pt x="157194" y="513985"/>
                    </a:cubicBezTo>
                    <a:cubicBezTo>
                      <a:pt x="115841" y="471996"/>
                      <a:pt x="97944" y="422357"/>
                      <a:pt x="38211" y="378976"/>
                    </a:cubicBezTo>
                    <a:cubicBezTo>
                      <a:pt x="59848" y="225643"/>
                      <a:pt x="139125" y="44593"/>
                      <a:pt x="385784" y="55964"/>
                    </a:cubicBezTo>
                    <a:cubicBezTo>
                      <a:pt x="445955" y="14377"/>
                      <a:pt x="518318" y="-3408"/>
                      <a:pt x="594957" y="534"/>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rgbClr val="FFB900">
                    <a:satMod val="300000"/>
                  </a:srgbClr>
                </a:contourClr>
              </a:sp3d>
              <a:extLst/>
            </p:spPr>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619" name="Man's Body">
                <a:extLst>
                  <a:ext uri="{FF2B5EF4-FFF2-40B4-BE49-F238E27FC236}">
                    <a16:creationId xmlns:a16="http://schemas.microsoft.com/office/drawing/2014/main" id="{5AE4ACB0-39A4-4E9D-B10B-5C83BA3BF675}"/>
                  </a:ext>
                </a:extLst>
              </p:cNvPr>
              <p:cNvSpPr>
                <a:spLocks/>
              </p:cNvSpPr>
              <p:nvPr/>
            </p:nvSpPr>
            <p:spPr bwMode="auto">
              <a:xfrm>
                <a:off x="7167183" y="2655935"/>
                <a:ext cx="1791043" cy="3077332"/>
              </a:xfrm>
              <a:custGeom>
                <a:avLst/>
                <a:gdLst/>
                <a:ahLst/>
                <a:cxnLst/>
                <a:rect l="l" t="t" r="r" b="b"/>
                <a:pathLst>
                  <a:path w="1791043" h="3077332">
                    <a:moveTo>
                      <a:pt x="1025015" y="1789010"/>
                    </a:moveTo>
                    <a:cubicBezTo>
                      <a:pt x="1052456" y="1797149"/>
                      <a:pt x="1104448" y="2023401"/>
                      <a:pt x="1163660" y="2039679"/>
                    </a:cubicBezTo>
                    <a:cubicBezTo>
                      <a:pt x="1305194" y="2077117"/>
                      <a:pt x="1705242" y="2228494"/>
                      <a:pt x="1763012" y="2334297"/>
                    </a:cubicBezTo>
                    <a:cubicBezTo>
                      <a:pt x="1819336" y="2441727"/>
                      <a:pt x="1797673" y="2617520"/>
                      <a:pt x="1634476" y="2912138"/>
                    </a:cubicBezTo>
                    <a:cubicBezTo>
                      <a:pt x="1581040" y="2785176"/>
                      <a:pt x="1492942" y="2694024"/>
                      <a:pt x="1466947" y="2677746"/>
                    </a:cubicBezTo>
                    <a:cubicBezTo>
                      <a:pt x="1510273" y="2767271"/>
                      <a:pt x="1536270" y="2931671"/>
                      <a:pt x="1550711" y="3037473"/>
                    </a:cubicBezTo>
                    <a:cubicBezTo>
                      <a:pt x="1272518" y="3065184"/>
                      <a:pt x="1017016" y="3074577"/>
                      <a:pt x="836493" y="3077332"/>
                    </a:cubicBezTo>
                    <a:cubicBezTo>
                      <a:pt x="905753" y="2981037"/>
                      <a:pt x="872415" y="2957070"/>
                      <a:pt x="886206" y="2901903"/>
                    </a:cubicBezTo>
                    <a:cubicBezTo>
                      <a:pt x="901287" y="2841578"/>
                      <a:pt x="906844" y="2798715"/>
                      <a:pt x="905256" y="2744740"/>
                    </a:cubicBezTo>
                    <a:cubicBezTo>
                      <a:pt x="903669" y="2690765"/>
                      <a:pt x="915575" y="2629647"/>
                      <a:pt x="876681" y="2578053"/>
                    </a:cubicBezTo>
                    <a:cubicBezTo>
                      <a:pt x="837787" y="2526459"/>
                      <a:pt x="764762" y="2482009"/>
                      <a:pt x="671893" y="2435178"/>
                    </a:cubicBezTo>
                    <a:cubicBezTo>
                      <a:pt x="579024" y="2388347"/>
                      <a:pt x="408368" y="2336753"/>
                      <a:pt x="319468" y="2297065"/>
                    </a:cubicBezTo>
                    <a:cubicBezTo>
                      <a:pt x="230568" y="2257378"/>
                      <a:pt x="183737" y="2238328"/>
                      <a:pt x="138493" y="2197053"/>
                    </a:cubicBezTo>
                    <a:cubicBezTo>
                      <a:pt x="114008" y="2174716"/>
                      <a:pt x="89523" y="2140522"/>
                      <a:pt x="72566" y="2109744"/>
                    </a:cubicBezTo>
                    <a:cubicBezTo>
                      <a:pt x="161803" y="2180615"/>
                      <a:pt x="342491" y="2318445"/>
                      <a:pt x="583084" y="2314764"/>
                    </a:cubicBezTo>
                    <a:cubicBezTo>
                      <a:pt x="894952" y="2309883"/>
                      <a:pt x="961434" y="2134181"/>
                      <a:pt x="961470" y="2134087"/>
                    </a:cubicBezTo>
                    <a:cubicBezTo>
                      <a:pt x="961431" y="2134155"/>
                      <a:pt x="905040" y="2231748"/>
                      <a:pt x="600415" y="2225240"/>
                    </a:cubicBezTo>
                    <a:cubicBezTo>
                      <a:pt x="448124" y="2222935"/>
                      <a:pt x="290769" y="2127693"/>
                      <a:pt x="210656" y="2058477"/>
                    </a:cubicBezTo>
                    <a:cubicBezTo>
                      <a:pt x="247111" y="2063660"/>
                      <a:pt x="286103" y="2068919"/>
                      <a:pt x="314706" y="2068465"/>
                    </a:cubicBezTo>
                    <a:cubicBezTo>
                      <a:pt x="364712" y="2067671"/>
                      <a:pt x="409162" y="2072434"/>
                      <a:pt x="438531" y="2044653"/>
                    </a:cubicBezTo>
                    <a:cubicBezTo>
                      <a:pt x="462255" y="2022212"/>
                      <a:pt x="476137" y="1982161"/>
                      <a:pt x="483486" y="1935462"/>
                    </a:cubicBezTo>
                    <a:cubicBezTo>
                      <a:pt x="533060" y="1967097"/>
                      <a:pt x="580637" y="1990306"/>
                      <a:pt x="613413" y="1989219"/>
                    </a:cubicBezTo>
                    <a:cubicBezTo>
                      <a:pt x="877705" y="1977826"/>
                      <a:pt x="999020" y="1779243"/>
                      <a:pt x="1025015" y="1789010"/>
                    </a:cubicBezTo>
                    <a:close/>
                    <a:moveTo>
                      <a:pt x="585448" y="596"/>
                    </a:moveTo>
                    <a:cubicBezTo>
                      <a:pt x="727992" y="7927"/>
                      <a:pt x="935211" y="76180"/>
                      <a:pt x="1038898" y="151026"/>
                    </a:cubicBezTo>
                    <a:cubicBezTo>
                      <a:pt x="1142584" y="225871"/>
                      <a:pt x="1211900" y="407326"/>
                      <a:pt x="1207568" y="449665"/>
                    </a:cubicBezTo>
                    <a:cubicBezTo>
                      <a:pt x="1203236" y="490376"/>
                      <a:pt x="1199071" y="612532"/>
                      <a:pt x="1188131" y="664973"/>
                    </a:cubicBezTo>
                    <a:cubicBezTo>
                      <a:pt x="1177190" y="717413"/>
                      <a:pt x="1149623" y="723595"/>
                      <a:pt x="1141921" y="764306"/>
                    </a:cubicBezTo>
                    <a:cubicBezTo>
                      <a:pt x="1157802" y="803380"/>
                      <a:pt x="1141928" y="909191"/>
                      <a:pt x="1141921" y="909236"/>
                    </a:cubicBezTo>
                    <a:cubicBezTo>
                      <a:pt x="1141991" y="909241"/>
                      <a:pt x="1208348" y="914147"/>
                      <a:pt x="1208348" y="962974"/>
                    </a:cubicBezTo>
                    <a:cubicBezTo>
                      <a:pt x="1208348" y="1011818"/>
                      <a:pt x="1137615" y="1280417"/>
                      <a:pt x="1137589" y="1280518"/>
                    </a:cubicBezTo>
                    <a:cubicBezTo>
                      <a:pt x="1137566" y="1280557"/>
                      <a:pt x="1118803" y="1313084"/>
                      <a:pt x="1097155" y="1308200"/>
                    </a:cubicBezTo>
                    <a:cubicBezTo>
                      <a:pt x="1074050" y="1506868"/>
                      <a:pt x="994626" y="1630630"/>
                      <a:pt x="926755" y="1690881"/>
                    </a:cubicBezTo>
                    <a:cubicBezTo>
                      <a:pt x="860327" y="1749505"/>
                      <a:pt x="705811" y="1868380"/>
                      <a:pt x="613391" y="1868380"/>
                    </a:cubicBezTo>
                    <a:cubicBezTo>
                      <a:pt x="583727" y="1868380"/>
                      <a:pt x="540227" y="1848919"/>
                      <a:pt x="494585" y="1820862"/>
                    </a:cubicBezTo>
                    <a:cubicBezTo>
                      <a:pt x="495428" y="1780245"/>
                      <a:pt x="492769" y="1734980"/>
                      <a:pt x="490918" y="1682703"/>
                    </a:cubicBezTo>
                    <a:cubicBezTo>
                      <a:pt x="487743" y="1593009"/>
                      <a:pt x="490124" y="1492202"/>
                      <a:pt x="471868" y="1363615"/>
                    </a:cubicBezTo>
                    <a:cubicBezTo>
                      <a:pt x="453612" y="1235028"/>
                      <a:pt x="405987" y="1022303"/>
                      <a:pt x="381381" y="911178"/>
                    </a:cubicBezTo>
                    <a:cubicBezTo>
                      <a:pt x="356775" y="800053"/>
                      <a:pt x="352806" y="754809"/>
                      <a:pt x="324231" y="696865"/>
                    </a:cubicBezTo>
                    <a:cubicBezTo>
                      <a:pt x="295656" y="638921"/>
                      <a:pt x="255968" y="620665"/>
                      <a:pt x="209931" y="563515"/>
                    </a:cubicBezTo>
                    <a:cubicBezTo>
                      <a:pt x="163894" y="506365"/>
                      <a:pt x="103569" y="415084"/>
                      <a:pt x="48006" y="353965"/>
                    </a:cubicBezTo>
                    <a:cubicBezTo>
                      <a:pt x="28279" y="332265"/>
                      <a:pt x="14655" y="310564"/>
                      <a:pt x="0" y="290327"/>
                    </a:cubicBezTo>
                    <a:cubicBezTo>
                      <a:pt x="45987" y="162254"/>
                      <a:pt x="147389" y="53021"/>
                      <a:pt x="352016" y="62454"/>
                    </a:cubicBezTo>
                    <a:cubicBezTo>
                      <a:pt x="419165" y="16044"/>
                      <a:pt x="499920" y="-3803"/>
                      <a:pt x="585448" y="59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rgbClr val="FFB900">
                    <a:satMod val="300000"/>
                  </a:srgbClr>
                </a:contourClr>
              </a:sp3d>
              <a:extLst/>
            </p:spPr>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620" name="Man's Body">
                <a:extLst>
                  <a:ext uri="{FF2B5EF4-FFF2-40B4-BE49-F238E27FC236}">
                    <a16:creationId xmlns:a16="http://schemas.microsoft.com/office/drawing/2014/main" id="{40DE038B-1C46-475A-9E7B-5920329D4119}"/>
                  </a:ext>
                </a:extLst>
              </p:cNvPr>
              <p:cNvSpPr>
                <a:spLocks/>
              </p:cNvSpPr>
              <p:nvPr/>
            </p:nvSpPr>
            <p:spPr bwMode="auto">
              <a:xfrm>
                <a:off x="3394954" y="2270725"/>
                <a:ext cx="1220879" cy="2577721"/>
              </a:xfrm>
              <a:custGeom>
                <a:avLst/>
                <a:gdLst/>
                <a:ahLst/>
                <a:cxnLst/>
                <a:rect l="l" t="t" r="r" b="b"/>
                <a:pathLst>
                  <a:path w="1220879" h="2577721">
                    <a:moveTo>
                      <a:pt x="1000694" y="1726538"/>
                    </a:moveTo>
                    <a:cubicBezTo>
                      <a:pt x="1015159" y="1730828"/>
                      <a:pt x="1036692" y="1797918"/>
                      <a:pt x="1062780" y="1860398"/>
                    </a:cubicBezTo>
                    <a:lnTo>
                      <a:pt x="1072271" y="1886939"/>
                    </a:lnTo>
                    <a:cubicBezTo>
                      <a:pt x="1100846" y="1947264"/>
                      <a:pt x="1157203" y="2022670"/>
                      <a:pt x="1181809" y="2063151"/>
                    </a:cubicBezTo>
                    <a:cubicBezTo>
                      <a:pt x="1206415" y="2103632"/>
                      <a:pt x="1225465" y="2098076"/>
                      <a:pt x="1219909" y="2129826"/>
                    </a:cubicBezTo>
                    <a:cubicBezTo>
                      <a:pt x="1214353" y="2161576"/>
                      <a:pt x="1178633" y="2203645"/>
                      <a:pt x="1148471" y="2253651"/>
                    </a:cubicBezTo>
                    <a:cubicBezTo>
                      <a:pt x="1118309" y="2303657"/>
                      <a:pt x="1085765" y="2388589"/>
                      <a:pt x="1038934" y="2429864"/>
                    </a:cubicBezTo>
                    <a:cubicBezTo>
                      <a:pt x="992103" y="2471139"/>
                      <a:pt x="926222" y="2476695"/>
                      <a:pt x="867484" y="2501301"/>
                    </a:cubicBezTo>
                    <a:cubicBezTo>
                      <a:pt x="867484" y="2501301"/>
                      <a:pt x="738896" y="2574326"/>
                      <a:pt x="686509" y="2577501"/>
                    </a:cubicBezTo>
                    <a:cubicBezTo>
                      <a:pt x="634122" y="2580676"/>
                      <a:pt x="626184" y="2548926"/>
                      <a:pt x="553159" y="2520351"/>
                    </a:cubicBezTo>
                    <a:cubicBezTo>
                      <a:pt x="480134" y="2491776"/>
                      <a:pt x="311859" y="2440182"/>
                      <a:pt x="248359" y="2406051"/>
                    </a:cubicBezTo>
                    <a:cubicBezTo>
                      <a:pt x="184859" y="2371920"/>
                      <a:pt x="187240" y="2346520"/>
                      <a:pt x="172159" y="2315564"/>
                    </a:cubicBezTo>
                    <a:cubicBezTo>
                      <a:pt x="157078" y="2284608"/>
                      <a:pt x="140409" y="2261589"/>
                      <a:pt x="157871" y="2220314"/>
                    </a:cubicBezTo>
                    <a:cubicBezTo>
                      <a:pt x="168198" y="2195906"/>
                      <a:pt x="198233" y="2167333"/>
                      <a:pt x="226485" y="2135786"/>
                    </a:cubicBezTo>
                    <a:cubicBezTo>
                      <a:pt x="316982" y="2189270"/>
                      <a:pt x="435235" y="2236059"/>
                      <a:pt x="574195" y="2233933"/>
                    </a:cubicBezTo>
                    <a:cubicBezTo>
                      <a:pt x="875173" y="2229222"/>
                      <a:pt x="939333" y="2059656"/>
                      <a:pt x="939368" y="2059565"/>
                    </a:cubicBezTo>
                    <a:cubicBezTo>
                      <a:pt x="939349" y="2059598"/>
                      <a:pt x="884958" y="2153817"/>
                      <a:pt x="590920" y="2147535"/>
                    </a:cubicBezTo>
                    <a:cubicBezTo>
                      <a:pt x="481175" y="2145874"/>
                      <a:pt x="368705" y="2094204"/>
                      <a:pt x="286708" y="2040070"/>
                    </a:cubicBezTo>
                    <a:cubicBezTo>
                      <a:pt x="307092" y="1982179"/>
                      <a:pt x="314374" y="1903887"/>
                      <a:pt x="324559" y="1872651"/>
                    </a:cubicBezTo>
                    <a:cubicBezTo>
                      <a:pt x="333489" y="1845267"/>
                      <a:pt x="333488" y="1864317"/>
                      <a:pt x="339628" y="1861489"/>
                    </a:cubicBezTo>
                    <a:lnTo>
                      <a:pt x="348371" y="1848839"/>
                    </a:lnTo>
                    <a:cubicBezTo>
                      <a:pt x="354151" y="1836701"/>
                      <a:pt x="363405" y="1817932"/>
                      <a:pt x="373314" y="1796017"/>
                    </a:cubicBezTo>
                    <a:cubicBezTo>
                      <a:pt x="451017" y="1853032"/>
                      <a:pt x="548670" y="1921572"/>
                      <a:pt x="603465" y="1919756"/>
                    </a:cubicBezTo>
                    <a:cubicBezTo>
                      <a:pt x="858528" y="1908760"/>
                      <a:pt x="975606" y="1717113"/>
                      <a:pt x="1000694" y="1726538"/>
                    </a:cubicBezTo>
                    <a:close/>
                    <a:moveTo>
                      <a:pt x="576476" y="576"/>
                    </a:moveTo>
                    <a:cubicBezTo>
                      <a:pt x="714043" y="7650"/>
                      <a:pt x="864404" y="79722"/>
                      <a:pt x="988090" y="206429"/>
                    </a:cubicBezTo>
                    <a:cubicBezTo>
                      <a:pt x="1037022" y="256557"/>
                      <a:pt x="1077264" y="300727"/>
                      <a:pt x="1110031" y="339462"/>
                    </a:cubicBezTo>
                    <a:cubicBezTo>
                      <a:pt x="1051415" y="362041"/>
                      <a:pt x="1030281" y="393446"/>
                      <a:pt x="996071" y="424851"/>
                    </a:cubicBezTo>
                    <a:cubicBezTo>
                      <a:pt x="979245" y="440298"/>
                      <a:pt x="967211" y="456704"/>
                      <a:pt x="958497" y="474522"/>
                    </a:cubicBezTo>
                    <a:cubicBezTo>
                      <a:pt x="793415" y="374586"/>
                      <a:pt x="664033" y="400614"/>
                      <a:pt x="603444" y="421733"/>
                    </a:cubicBezTo>
                    <a:cubicBezTo>
                      <a:pt x="733011" y="434023"/>
                      <a:pt x="843377" y="487838"/>
                      <a:pt x="927312" y="549009"/>
                    </a:cubicBezTo>
                    <a:lnTo>
                      <a:pt x="915109" y="582014"/>
                    </a:lnTo>
                    <a:cubicBezTo>
                      <a:pt x="891297" y="642339"/>
                      <a:pt x="862721" y="710601"/>
                      <a:pt x="853196" y="786801"/>
                    </a:cubicBezTo>
                    <a:cubicBezTo>
                      <a:pt x="843671" y="863001"/>
                      <a:pt x="847640" y="966983"/>
                      <a:pt x="857959" y="1039214"/>
                    </a:cubicBezTo>
                    <a:cubicBezTo>
                      <a:pt x="868278" y="1111445"/>
                      <a:pt x="900028" y="1178120"/>
                      <a:pt x="915109" y="1220189"/>
                    </a:cubicBezTo>
                    <a:cubicBezTo>
                      <a:pt x="930190" y="1262258"/>
                      <a:pt x="946859" y="1272576"/>
                      <a:pt x="948446" y="1291626"/>
                    </a:cubicBezTo>
                    <a:cubicBezTo>
                      <a:pt x="950033" y="1310676"/>
                      <a:pt x="930984" y="1315439"/>
                      <a:pt x="924634" y="1334489"/>
                    </a:cubicBezTo>
                    <a:cubicBezTo>
                      <a:pt x="918284" y="1353539"/>
                      <a:pt x="907171" y="1371001"/>
                      <a:pt x="910346" y="1405926"/>
                    </a:cubicBezTo>
                    <a:cubicBezTo>
                      <a:pt x="913521" y="1440851"/>
                      <a:pt x="927015" y="1494827"/>
                      <a:pt x="943684" y="1544039"/>
                    </a:cubicBezTo>
                    <a:cubicBezTo>
                      <a:pt x="947240" y="1554538"/>
                      <a:pt x="951338" y="1565109"/>
                      <a:pt x="956769" y="1575392"/>
                    </a:cubicBezTo>
                    <a:cubicBezTo>
                      <a:pt x="939866" y="1598334"/>
                      <a:pt x="922505" y="1617063"/>
                      <a:pt x="905864" y="1631836"/>
                    </a:cubicBezTo>
                    <a:cubicBezTo>
                      <a:pt x="841757" y="1688412"/>
                      <a:pt x="692637" y="1803136"/>
                      <a:pt x="603444" y="1803136"/>
                    </a:cubicBezTo>
                    <a:cubicBezTo>
                      <a:pt x="557961" y="1803136"/>
                      <a:pt x="478776" y="1755732"/>
                      <a:pt x="409934" y="1705014"/>
                    </a:cubicBezTo>
                    <a:lnTo>
                      <a:pt x="419809" y="1672626"/>
                    </a:lnTo>
                    <a:cubicBezTo>
                      <a:pt x="433303" y="1613095"/>
                      <a:pt x="419809" y="1540070"/>
                      <a:pt x="429334" y="1491651"/>
                    </a:cubicBezTo>
                    <a:cubicBezTo>
                      <a:pt x="438859" y="1443232"/>
                      <a:pt x="464259" y="1418627"/>
                      <a:pt x="476959" y="1382114"/>
                    </a:cubicBezTo>
                    <a:cubicBezTo>
                      <a:pt x="489659" y="1345602"/>
                      <a:pt x="506328" y="1301151"/>
                      <a:pt x="505534" y="1272576"/>
                    </a:cubicBezTo>
                    <a:cubicBezTo>
                      <a:pt x="504740" y="1244001"/>
                      <a:pt x="472990" y="1247177"/>
                      <a:pt x="472196" y="1210664"/>
                    </a:cubicBezTo>
                    <a:cubicBezTo>
                      <a:pt x="471402" y="1174152"/>
                      <a:pt x="493627" y="1105095"/>
                      <a:pt x="500771" y="1053501"/>
                    </a:cubicBezTo>
                    <a:cubicBezTo>
                      <a:pt x="507915" y="1001907"/>
                      <a:pt x="519028" y="948726"/>
                      <a:pt x="515059" y="901101"/>
                    </a:cubicBezTo>
                    <a:cubicBezTo>
                      <a:pt x="511090" y="853476"/>
                      <a:pt x="496009" y="818551"/>
                      <a:pt x="476959" y="767751"/>
                    </a:cubicBezTo>
                    <a:cubicBezTo>
                      <a:pt x="457909" y="716951"/>
                      <a:pt x="430128" y="646307"/>
                      <a:pt x="400759" y="596301"/>
                    </a:cubicBezTo>
                    <a:cubicBezTo>
                      <a:pt x="371390" y="546295"/>
                      <a:pt x="342021" y="502639"/>
                      <a:pt x="300746" y="467714"/>
                    </a:cubicBezTo>
                    <a:cubicBezTo>
                      <a:pt x="259471" y="432789"/>
                      <a:pt x="207878" y="412151"/>
                      <a:pt x="153109" y="386751"/>
                    </a:cubicBezTo>
                    <a:cubicBezTo>
                      <a:pt x="102114" y="363101"/>
                      <a:pt x="114428" y="279585"/>
                      <a:pt x="0" y="308275"/>
                    </a:cubicBezTo>
                    <a:cubicBezTo>
                      <a:pt x="41291" y="173605"/>
                      <a:pt x="138419" y="50464"/>
                      <a:pt x="351195" y="60273"/>
                    </a:cubicBezTo>
                    <a:cubicBezTo>
                      <a:pt x="415999" y="15484"/>
                      <a:pt x="493935" y="-3670"/>
                      <a:pt x="576476" y="57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rgbClr val="FFB900">
                    <a:satMod val="300000"/>
                  </a:srgbClr>
                </a:contourClr>
              </a:sp3d>
              <a:extLst/>
            </p:spPr>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621" name="Man's Body">
                <a:extLst>
                  <a:ext uri="{FF2B5EF4-FFF2-40B4-BE49-F238E27FC236}">
                    <a16:creationId xmlns:a16="http://schemas.microsoft.com/office/drawing/2014/main" id="{608A6629-1FE2-4D71-B2EE-AE1189F99773}"/>
                  </a:ext>
                </a:extLst>
              </p:cNvPr>
              <p:cNvSpPr>
                <a:spLocks/>
              </p:cNvSpPr>
              <p:nvPr/>
            </p:nvSpPr>
            <p:spPr bwMode="auto">
              <a:xfrm>
                <a:off x="4129215" y="2588754"/>
                <a:ext cx="1942154" cy="3289752"/>
              </a:xfrm>
              <a:custGeom>
                <a:avLst/>
                <a:gdLst/>
                <a:ahLst/>
                <a:cxnLst/>
                <a:rect l="l" t="t" r="r" b="b"/>
                <a:pathLst>
                  <a:path w="1942154" h="3289752">
                    <a:moveTo>
                      <a:pt x="501915" y="1906497"/>
                    </a:moveTo>
                    <a:cubicBezTo>
                      <a:pt x="531238" y="1899539"/>
                      <a:pt x="778162" y="2129136"/>
                      <a:pt x="883105" y="2125656"/>
                    </a:cubicBezTo>
                    <a:cubicBezTo>
                      <a:pt x="1165524" y="2113482"/>
                      <a:pt x="1295160" y="1901279"/>
                      <a:pt x="1322938" y="1911715"/>
                    </a:cubicBezTo>
                    <a:cubicBezTo>
                      <a:pt x="1352261" y="1920412"/>
                      <a:pt x="1407819" y="2162183"/>
                      <a:pt x="1471092" y="2179577"/>
                    </a:cubicBezTo>
                    <a:cubicBezTo>
                      <a:pt x="1569955" y="2205728"/>
                      <a:pt x="1786855" y="2283903"/>
                      <a:pt x="1942154" y="2367099"/>
                    </a:cubicBezTo>
                    <a:lnTo>
                      <a:pt x="1623885" y="2492834"/>
                    </a:lnTo>
                    <a:cubicBezTo>
                      <a:pt x="1505616" y="2541253"/>
                      <a:pt x="1369885" y="2582527"/>
                      <a:pt x="1300035" y="2630946"/>
                    </a:cubicBezTo>
                    <a:cubicBezTo>
                      <a:pt x="1230185" y="2679365"/>
                      <a:pt x="1216691" y="2727784"/>
                      <a:pt x="1204785" y="2783346"/>
                    </a:cubicBezTo>
                    <a:cubicBezTo>
                      <a:pt x="1192879" y="2838909"/>
                      <a:pt x="1211929" y="2896059"/>
                      <a:pt x="1228598" y="2964321"/>
                    </a:cubicBezTo>
                    <a:cubicBezTo>
                      <a:pt x="1245267" y="3032583"/>
                      <a:pt x="1281779" y="3120690"/>
                      <a:pt x="1304798" y="3192921"/>
                    </a:cubicBezTo>
                    <a:cubicBezTo>
                      <a:pt x="1314321" y="3222803"/>
                      <a:pt x="1341505" y="3252414"/>
                      <a:pt x="1363493" y="3281583"/>
                    </a:cubicBezTo>
                    <a:cubicBezTo>
                      <a:pt x="1152486" y="3290141"/>
                      <a:pt x="985631" y="3290297"/>
                      <a:pt x="900081" y="3289292"/>
                    </a:cubicBezTo>
                    <a:cubicBezTo>
                      <a:pt x="817878" y="3290370"/>
                      <a:pt x="658124" y="3290113"/>
                      <a:pt x="456018" y="3282293"/>
                    </a:cubicBezTo>
                    <a:cubicBezTo>
                      <a:pt x="462393" y="3274575"/>
                      <a:pt x="465552" y="3265168"/>
                      <a:pt x="466598" y="3254834"/>
                    </a:cubicBezTo>
                    <a:cubicBezTo>
                      <a:pt x="472948" y="3192128"/>
                      <a:pt x="470567" y="3114340"/>
                      <a:pt x="466598" y="3021471"/>
                    </a:cubicBezTo>
                    <a:cubicBezTo>
                      <a:pt x="462629" y="2928602"/>
                      <a:pt x="461835" y="2782552"/>
                      <a:pt x="442785" y="2697621"/>
                    </a:cubicBezTo>
                    <a:cubicBezTo>
                      <a:pt x="423735" y="2612690"/>
                      <a:pt x="407860" y="2565859"/>
                      <a:pt x="352298" y="2511884"/>
                    </a:cubicBezTo>
                    <a:cubicBezTo>
                      <a:pt x="296736" y="2457909"/>
                      <a:pt x="186404" y="2415046"/>
                      <a:pt x="109410" y="2373771"/>
                    </a:cubicBezTo>
                    <a:cubicBezTo>
                      <a:pt x="63909" y="2349379"/>
                      <a:pt x="39200" y="2319443"/>
                      <a:pt x="0" y="2298223"/>
                    </a:cubicBezTo>
                    <a:cubicBezTo>
                      <a:pt x="117461" y="2244929"/>
                      <a:pt x="226792" y="2206801"/>
                      <a:pt x="244189" y="2210886"/>
                    </a:cubicBezTo>
                    <a:cubicBezTo>
                      <a:pt x="281228" y="2217843"/>
                      <a:pt x="509632" y="2478748"/>
                      <a:pt x="850696" y="2473530"/>
                    </a:cubicBezTo>
                    <a:cubicBezTo>
                      <a:pt x="1183954" y="2468314"/>
                      <a:pt x="1254996" y="2280562"/>
                      <a:pt x="1255035" y="2280461"/>
                    </a:cubicBezTo>
                    <a:cubicBezTo>
                      <a:pt x="1255005" y="2280512"/>
                      <a:pt x="1194766" y="2384821"/>
                      <a:pt x="869215" y="2377865"/>
                    </a:cubicBezTo>
                    <a:cubicBezTo>
                      <a:pt x="639268" y="2374386"/>
                      <a:pt x="398517" y="2172620"/>
                      <a:pt x="393887" y="2132615"/>
                    </a:cubicBezTo>
                    <a:cubicBezTo>
                      <a:pt x="389256" y="2090869"/>
                      <a:pt x="471051" y="1911715"/>
                      <a:pt x="501915" y="1906497"/>
                    </a:cubicBezTo>
                    <a:close/>
                    <a:moveTo>
                      <a:pt x="853221" y="637"/>
                    </a:moveTo>
                    <a:cubicBezTo>
                      <a:pt x="1005543" y="8471"/>
                      <a:pt x="1226975" y="81406"/>
                      <a:pt x="1337772" y="161384"/>
                    </a:cubicBezTo>
                    <a:cubicBezTo>
                      <a:pt x="1448570" y="241363"/>
                      <a:pt x="1522641" y="435263"/>
                      <a:pt x="1518012" y="480506"/>
                    </a:cubicBezTo>
                    <a:cubicBezTo>
                      <a:pt x="1513382" y="524010"/>
                      <a:pt x="1508932" y="654545"/>
                      <a:pt x="1497241" y="710582"/>
                    </a:cubicBezTo>
                    <a:cubicBezTo>
                      <a:pt x="1485550" y="766620"/>
                      <a:pt x="1456092" y="773225"/>
                      <a:pt x="1447862" y="816729"/>
                    </a:cubicBezTo>
                    <a:cubicBezTo>
                      <a:pt x="1464832" y="858482"/>
                      <a:pt x="1447870" y="971551"/>
                      <a:pt x="1447862" y="971599"/>
                    </a:cubicBezTo>
                    <a:cubicBezTo>
                      <a:pt x="1447887" y="971601"/>
                      <a:pt x="1518845" y="976828"/>
                      <a:pt x="1518845" y="1029023"/>
                    </a:cubicBezTo>
                    <a:cubicBezTo>
                      <a:pt x="1518845" y="1081217"/>
                      <a:pt x="1443261" y="1368239"/>
                      <a:pt x="1443233" y="1368346"/>
                    </a:cubicBezTo>
                    <a:cubicBezTo>
                      <a:pt x="1443216" y="1368375"/>
                      <a:pt x="1423163" y="1403147"/>
                      <a:pt x="1400025" y="1397928"/>
                    </a:cubicBezTo>
                    <a:cubicBezTo>
                      <a:pt x="1375336" y="1610222"/>
                      <a:pt x="1290464" y="1742472"/>
                      <a:pt x="1217938" y="1806856"/>
                    </a:cubicBezTo>
                    <a:cubicBezTo>
                      <a:pt x="1146955" y="1869501"/>
                      <a:pt x="981841" y="1996529"/>
                      <a:pt x="883082" y="1996529"/>
                    </a:cubicBezTo>
                    <a:cubicBezTo>
                      <a:pt x="784323" y="1996529"/>
                      <a:pt x="542053" y="1794675"/>
                      <a:pt x="523537" y="1759872"/>
                    </a:cubicBezTo>
                    <a:cubicBezTo>
                      <a:pt x="503477" y="1725071"/>
                      <a:pt x="370768" y="1570199"/>
                      <a:pt x="366139" y="1380528"/>
                    </a:cubicBezTo>
                    <a:cubicBezTo>
                      <a:pt x="301328" y="1375306"/>
                      <a:pt x="264293" y="1183894"/>
                      <a:pt x="239604" y="1082967"/>
                    </a:cubicBezTo>
                    <a:cubicBezTo>
                      <a:pt x="219550" y="997735"/>
                      <a:pt x="288930" y="999439"/>
                      <a:pt x="288983" y="999441"/>
                    </a:cubicBezTo>
                    <a:cubicBezTo>
                      <a:pt x="288957" y="999371"/>
                      <a:pt x="191766" y="731458"/>
                      <a:pt x="184051" y="694921"/>
                    </a:cubicBezTo>
                    <a:cubicBezTo>
                      <a:pt x="177878" y="660118"/>
                      <a:pt x="113068" y="44116"/>
                      <a:pt x="603779" y="66738"/>
                    </a:cubicBezTo>
                    <a:cubicBezTo>
                      <a:pt x="675533" y="17144"/>
                      <a:pt x="761828" y="-4064"/>
                      <a:pt x="853221" y="63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rgbClr val="FFB900">
                    <a:satMod val="300000"/>
                  </a:srgbClr>
                </a:contourClr>
              </a:sp3d>
              <a:extLst/>
            </p:spPr>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622" name="Man's Body">
                <a:extLst>
                  <a:ext uri="{FF2B5EF4-FFF2-40B4-BE49-F238E27FC236}">
                    <a16:creationId xmlns:a16="http://schemas.microsoft.com/office/drawing/2014/main" id="{B7FF9B03-7B71-4AB5-8545-9E0179AD75CF}"/>
                  </a:ext>
                </a:extLst>
              </p:cNvPr>
              <p:cNvSpPr>
                <a:spLocks/>
              </p:cNvSpPr>
              <p:nvPr/>
            </p:nvSpPr>
            <p:spPr bwMode="auto">
              <a:xfrm>
                <a:off x="335107" y="2540761"/>
                <a:ext cx="1927374" cy="3278271"/>
              </a:xfrm>
              <a:custGeom>
                <a:avLst/>
                <a:gdLst/>
                <a:ahLst/>
                <a:cxnLst/>
                <a:rect l="l" t="t" r="r" b="b"/>
                <a:pathLst>
                  <a:path w="1927374" h="3278271">
                    <a:moveTo>
                      <a:pt x="586126" y="2210886"/>
                    </a:moveTo>
                    <a:cubicBezTo>
                      <a:pt x="616330" y="2216559"/>
                      <a:pt x="773790" y="2391106"/>
                      <a:pt x="1016388" y="2450287"/>
                    </a:cubicBezTo>
                    <a:cubicBezTo>
                      <a:pt x="976291" y="2480726"/>
                      <a:pt x="940784" y="2511617"/>
                      <a:pt x="912668" y="2540828"/>
                    </a:cubicBezTo>
                    <a:cubicBezTo>
                      <a:pt x="851549" y="2604328"/>
                      <a:pt x="830912" y="2661478"/>
                      <a:pt x="803131" y="2726565"/>
                    </a:cubicBezTo>
                    <a:cubicBezTo>
                      <a:pt x="775350" y="2791652"/>
                      <a:pt x="757093" y="2855947"/>
                      <a:pt x="745981" y="2931353"/>
                    </a:cubicBezTo>
                    <a:cubicBezTo>
                      <a:pt x="734869" y="3006759"/>
                      <a:pt x="738837" y="3105978"/>
                      <a:pt x="736456" y="3179003"/>
                    </a:cubicBezTo>
                    <a:cubicBezTo>
                      <a:pt x="735337" y="3213335"/>
                      <a:pt x="717901" y="3247141"/>
                      <a:pt x="707639" y="3278271"/>
                    </a:cubicBezTo>
                    <a:cubicBezTo>
                      <a:pt x="607261" y="3273701"/>
                      <a:pt x="498668" y="3267095"/>
                      <a:pt x="385500" y="3257984"/>
                    </a:cubicBezTo>
                    <a:cubicBezTo>
                      <a:pt x="387043" y="3144926"/>
                      <a:pt x="428711" y="2960553"/>
                      <a:pt x="475010" y="2861409"/>
                    </a:cubicBezTo>
                    <a:cubicBezTo>
                      <a:pt x="439515" y="2884020"/>
                      <a:pt x="288274" y="3042302"/>
                      <a:pt x="258951" y="3247548"/>
                    </a:cubicBezTo>
                    <a:cubicBezTo>
                      <a:pt x="-18839" y="2890978"/>
                      <a:pt x="-32728" y="2605722"/>
                      <a:pt x="32090" y="2494403"/>
                    </a:cubicBezTo>
                    <a:cubicBezTo>
                      <a:pt x="95364" y="2384822"/>
                      <a:pt x="549088" y="2202189"/>
                      <a:pt x="586126" y="2210886"/>
                    </a:cubicBezTo>
                    <a:close/>
                    <a:moveTo>
                      <a:pt x="843852" y="1906497"/>
                    </a:moveTo>
                    <a:cubicBezTo>
                      <a:pt x="873175" y="1899539"/>
                      <a:pt x="1120099" y="2129136"/>
                      <a:pt x="1225042" y="2125656"/>
                    </a:cubicBezTo>
                    <a:cubicBezTo>
                      <a:pt x="1507461" y="2113482"/>
                      <a:pt x="1637096" y="1901279"/>
                      <a:pt x="1664875" y="1911715"/>
                    </a:cubicBezTo>
                    <a:cubicBezTo>
                      <a:pt x="1681451" y="1916632"/>
                      <a:pt x="1706410" y="1996028"/>
                      <a:pt x="1736668" y="2067160"/>
                    </a:cubicBezTo>
                    <a:cubicBezTo>
                      <a:pt x="1645277" y="2089552"/>
                      <a:pt x="1598007" y="2141189"/>
                      <a:pt x="1512743" y="2178878"/>
                    </a:cubicBezTo>
                    <a:cubicBezTo>
                      <a:pt x="1403206" y="2227297"/>
                      <a:pt x="1269855" y="2285240"/>
                      <a:pt x="1169843" y="2345565"/>
                    </a:cubicBezTo>
                    <a:lnTo>
                      <a:pt x="1134882" y="2369115"/>
                    </a:lnTo>
                    <a:cubicBezTo>
                      <a:pt x="930801" y="2331702"/>
                      <a:pt x="739941" y="2168192"/>
                      <a:pt x="735824" y="2132615"/>
                    </a:cubicBezTo>
                    <a:cubicBezTo>
                      <a:pt x="731193" y="2090869"/>
                      <a:pt x="812988" y="1911715"/>
                      <a:pt x="843852" y="1906497"/>
                    </a:cubicBezTo>
                    <a:close/>
                    <a:moveTo>
                      <a:pt x="1195158" y="637"/>
                    </a:moveTo>
                    <a:cubicBezTo>
                      <a:pt x="1347480" y="8471"/>
                      <a:pt x="1513967" y="88272"/>
                      <a:pt x="1650919" y="228569"/>
                    </a:cubicBezTo>
                    <a:cubicBezTo>
                      <a:pt x="1870041" y="453045"/>
                      <a:pt x="1931766" y="569632"/>
                      <a:pt x="1927136" y="614875"/>
                    </a:cubicBezTo>
                    <a:cubicBezTo>
                      <a:pt x="1922506" y="658378"/>
                      <a:pt x="1877757" y="719282"/>
                      <a:pt x="1839178" y="710582"/>
                    </a:cubicBezTo>
                    <a:cubicBezTo>
                      <a:pt x="1799058" y="701882"/>
                      <a:pt x="1794429" y="663598"/>
                      <a:pt x="1772824" y="642718"/>
                    </a:cubicBezTo>
                    <a:cubicBezTo>
                      <a:pt x="1516667" y="399101"/>
                      <a:pt x="1309890" y="437383"/>
                      <a:pt x="1225019" y="466966"/>
                    </a:cubicBezTo>
                    <a:cubicBezTo>
                      <a:pt x="1555245" y="498288"/>
                      <a:pt x="1772824" y="773225"/>
                      <a:pt x="1789799" y="816729"/>
                    </a:cubicBezTo>
                    <a:cubicBezTo>
                      <a:pt x="1806769" y="858482"/>
                      <a:pt x="1789807" y="971551"/>
                      <a:pt x="1789799" y="971599"/>
                    </a:cubicBezTo>
                    <a:cubicBezTo>
                      <a:pt x="1789819" y="971601"/>
                      <a:pt x="1860782" y="976826"/>
                      <a:pt x="1860782" y="1029023"/>
                    </a:cubicBezTo>
                    <a:cubicBezTo>
                      <a:pt x="1860782" y="1081217"/>
                      <a:pt x="1785198" y="1368239"/>
                      <a:pt x="1785170" y="1368346"/>
                    </a:cubicBezTo>
                    <a:cubicBezTo>
                      <a:pt x="1785153" y="1368375"/>
                      <a:pt x="1765100" y="1403147"/>
                      <a:pt x="1741962" y="1397928"/>
                    </a:cubicBezTo>
                    <a:cubicBezTo>
                      <a:pt x="1717273" y="1610222"/>
                      <a:pt x="1632401" y="1742472"/>
                      <a:pt x="1559875" y="1806856"/>
                    </a:cubicBezTo>
                    <a:cubicBezTo>
                      <a:pt x="1488892" y="1869501"/>
                      <a:pt x="1323778" y="1996529"/>
                      <a:pt x="1225019" y="1996529"/>
                    </a:cubicBezTo>
                    <a:cubicBezTo>
                      <a:pt x="1126260" y="1996529"/>
                      <a:pt x="883990" y="1794675"/>
                      <a:pt x="865473" y="1759872"/>
                    </a:cubicBezTo>
                    <a:cubicBezTo>
                      <a:pt x="845414" y="1725071"/>
                      <a:pt x="712705" y="1570199"/>
                      <a:pt x="708075" y="1380528"/>
                    </a:cubicBezTo>
                    <a:cubicBezTo>
                      <a:pt x="643265" y="1375306"/>
                      <a:pt x="606230" y="1183894"/>
                      <a:pt x="581541" y="1082967"/>
                    </a:cubicBezTo>
                    <a:cubicBezTo>
                      <a:pt x="561487" y="997735"/>
                      <a:pt x="630866" y="999439"/>
                      <a:pt x="630919" y="999441"/>
                    </a:cubicBezTo>
                    <a:cubicBezTo>
                      <a:pt x="630881" y="999337"/>
                      <a:pt x="533702" y="731455"/>
                      <a:pt x="525988" y="694921"/>
                    </a:cubicBezTo>
                    <a:cubicBezTo>
                      <a:pt x="519815" y="660118"/>
                      <a:pt x="455005" y="44116"/>
                      <a:pt x="945716" y="66738"/>
                    </a:cubicBezTo>
                    <a:cubicBezTo>
                      <a:pt x="1017470" y="17144"/>
                      <a:pt x="1103765" y="-4064"/>
                      <a:pt x="1195158" y="63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rgbClr val="FFB900">
                    <a:satMod val="300000"/>
                  </a:srgbClr>
                </a:contourClr>
              </a:sp3d>
              <a:extLst/>
            </p:spPr>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623" name="Freeform 293">
                <a:extLst>
                  <a:ext uri="{FF2B5EF4-FFF2-40B4-BE49-F238E27FC236}">
                    <a16:creationId xmlns:a16="http://schemas.microsoft.com/office/drawing/2014/main" id="{60275E39-FAD3-4923-BF86-4CA8B7CDCB5F}"/>
                  </a:ext>
                </a:extLst>
              </p:cNvPr>
              <p:cNvSpPr/>
              <p:nvPr/>
            </p:nvSpPr>
            <p:spPr>
              <a:xfrm flipH="1">
                <a:off x="1116816" y="2629054"/>
                <a:ext cx="3436629" cy="3474566"/>
              </a:xfrm>
              <a:custGeom>
                <a:avLst/>
                <a:gdLst/>
                <a:ahLst/>
                <a:cxnLst/>
                <a:rect l="l" t="t" r="r" b="b"/>
                <a:pathLst>
                  <a:path w="852601" h="862013">
                    <a:moveTo>
                      <a:pt x="339688" y="551599"/>
                    </a:moveTo>
                    <a:cubicBezTo>
                      <a:pt x="336200" y="550660"/>
                      <a:pt x="332712" y="552270"/>
                      <a:pt x="329224" y="555624"/>
                    </a:cubicBezTo>
                    <a:lnTo>
                      <a:pt x="318760" y="571723"/>
                    </a:lnTo>
                    <a:cubicBezTo>
                      <a:pt x="317687" y="576955"/>
                      <a:pt x="320907" y="582723"/>
                      <a:pt x="322785" y="587017"/>
                    </a:cubicBezTo>
                    <a:cubicBezTo>
                      <a:pt x="324663" y="591310"/>
                      <a:pt x="331370" y="593322"/>
                      <a:pt x="330029" y="597481"/>
                    </a:cubicBezTo>
                    <a:cubicBezTo>
                      <a:pt x="328687" y="601641"/>
                      <a:pt x="318894" y="606739"/>
                      <a:pt x="314735" y="611971"/>
                    </a:cubicBezTo>
                    <a:cubicBezTo>
                      <a:pt x="310576" y="617202"/>
                      <a:pt x="308563" y="620288"/>
                      <a:pt x="303465" y="629679"/>
                    </a:cubicBezTo>
                    <a:cubicBezTo>
                      <a:pt x="298368" y="639070"/>
                      <a:pt x="292062" y="654230"/>
                      <a:pt x="284147" y="668317"/>
                    </a:cubicBezTo>
                    <a:cubicBezTo>
                      <a:pt x="276232" y="682403"/>
                      <a:pt x="261340" y="698637"/>
                      <a:pt x="255974" y="714199"/>
                    </a:cubicBezTo>
                    <a:cubicBezTo>
                      <a:pt x="250607" y="729762"/>
                      <a:pt x="252754" y="745727"/>
                      <a:pt x="251949" y="761691"/>
                    </a:cubicBezTo>
                    <a:cubicBezTo>
                      <a:pt x="251144" y="777656"/>
                      <a:pt x="252351" y="796036"/>
                      <a:pt x="251143" y="809989"/>
                    </a:cubicBezTo>
                    <a:cubicBezTo>
                      <a:pt x="249937" y="823941"/>
                      <a:pt x="245778" y="837357"/>
                      <a:pt x="244705" y="845406"/>
                    </a:cubicBezTo>
                    <a:cubicBezTo>
                      <a:pt x="243631" y="853456"/>
                      <a:pt x="243095" y="855603"/>
                      <a:pt x="244705" y="858286"/>
                    </a:cubicBezTo>
                    <a:cubicBezTo>
                      <a:pt x="245509" y="859627"/>
                      <a:pt x="245945" y="860298"/>
                      <a:pt x="247169" y="860701"/>
                    </a:cubicBezTo>
                    <a:lnTo>
                      <a:pt x="254364" y="861506"/>
                    </a:lnTo>
                    <a:cubicBezTo>
                      <a:pt x="262279" y="862042"/>
                      <a:pt x="277305" y="862310"/>
                      <a:pt x="292196" y="861506"/>
                    </a:cubicBezTo>
                    <a:cubicBezTo>
                      <a:pt x="307088" y="860701"/>
                      <a:pt x="333115" y="857749"/>
                      <a:pt x="343713" y="856676"/>
                    </a:cubicBezTo>
                    <a:cubicBezTo>
                      <a:pt x="343747" y="856684"/>
                      <a:pt x="352708" y="858681"/>
                      <a:pt x="355787" y="855066"/>
                    </a:cubicBezTo>
                    <a:cubicBezTo>
                      <a:pt x="358873" y="851443"/>
                      <a:pt x="361288" y="845675"/>
                      <a:pt x="362227" y="834943"/>
                    </a:cubicBezTo>
                    <a:cubicBezTo>
                      <a:pt x="363166" y="824210"/>
                      <a:pt x="363568" y="808110"/>
                      <a:pt x="361422" y="790670"/>
                    </a:cubicBezTo>
                    <a:cubicBezTo>
                      <a:pt x="359275" y="773229"/>
                      <a:pt x="352299" y="754313"/>
                      <a:pt x="349348" y="730298"/>
                    </a:cubicBezTo>
                    <a:cubicBezTo>
                      <a:pt x="346396" y="706284"/>
                      <a:pt x="344786" y="666439"/>
                      <a:pt x="343713" y="646584"/>
                    </a:cubicBezTo>
                    <a:cubicBezTo>
                      <a:pt x="342640" y="626728"/>
                      <a:pt x="342505" y="619886"/>
                      <a:pt x="342908" y="611166"/>
                    </a:cubicBezTo>
                    <a:cubicBezTo>
                      <a:pt x="343310" y="602446"/>
                      <a:pt x="343713" y="600299"/>
                      <a:pt x="346128" y="594262"/>
                    </a:cubicBezTo>
                    <a:cubicBezTo>
                      <a:pt x="348543" y="588224"/>
                      <a:pt x="356727" y="580443"/>
                      <a:pt x="357397" y="574942"/>
                    </a:cubicBezTo>
                    <a:cubicBezTo>
                      <a:pt x="358068" y="569442"/>
                      <a:pt x="353104" y="565149"/>
                      <a:pt x="350153" y="561258"/>
                    </a:cubicBezTo>
                    <a:close/>
                    <a:moveTo>
                      <a:pt x="287206" y="507649"/>
                    </a:moveTo>
                    <a:cubicBezTo>
                      <a:pt x="299226" y="561742"/>
                      <a:pt x="284201" y="574621"/>
                      <a:pt x="274326" y="617123"/>
                    </a:cubicBezTo>
                    <a:cubicBezTo>
                      <a:pt x="272445" y="626330"/>
                      <a:pt x="270907" y="639718"/>
                      <a:pt x="269556" y="655910"/>
                    </a:cubicBezTo>
                    <a:cubicBezTo>
                      <a:pt x="284442" y="632717"/>
                      <a:pt x="299146" y="601494"/>
                      <a:pt x="316184" y="596515"/>
                    </a:cubicBezTo>
                    <a:cubicBezTo>
                      <a:pt x="314038" y="589217"/>
                      <a:pt x="305451" y="583528"/>
                      <a:pt x="306524" y="574621"/>
                    </a:cubicBezTo>
                    <a:cubicBezTo>
                      <a:pt x="307147" y="563679"/>
                      <a:pt x="314405" y="554950"/>
                      <a:pt x="319949" y="545622"/>
                    </a:cubicBezTo>
                    <a:cubicBezTo>
                      <a:pt x="307786" y="539695"/>
                      <a:pt x="298568" y="525281"/>
                      <a:pt x="287206" y="507649"/>
                    </a:cubicBezTo>
                    <a:close/>
                    <a:moveTo>
                      <a:pt x="264023" y="488330"/>
                    </a:moveTo>
                    <a:cubicBezTo>
                      <a:pt x="251143" y="497345"/>
                      <a:pt x="249856" y="517952"/>
                      <a:pt x="240841" y="523104"/>
                    </a:cubicBezTo>
                    <a:cubicBezTo>
                      <a:pt x="177304" y="542852"/>
                      <a:pt x="103463" y="578055"/>
                      <a:pt x="46365" y="613259"/>
                    </a:cubicBezTo>
                    <a:cubicBezTo>
                      <a:pt x="17601" y="630002"/>
                      <a:pt x="12021" y="649320"/>
                      <a:pt x="6440" y="682806"/>
                    </a:cubicBezTo>
                    <a:lnTo>
                      <a:pt x="0" y="793568"/>
                    </a:lnTo>
                    <a:cubicBezTo>
                      <a:pt x="60532" y="849807"/>
                      <a:pt x="154551" y="840362"/>
                      <a:pt x="230537" y="859252"/>
                    </a:cubicBezTo>
                    <a:cubicBezTo>
                      <a:pt x="242128" y="755359"/>
                      <a:pt x="233113" y="597374"/>
                      <a:pt x="265311" y="542422"/>
                    </a:cubicBezTo>
                    <a:close/>
                    <a:moveTo>
                      <a:pt x="473953" y="438101"/>
                    </a:moveTo>
                    <a:cubicBezTo>
                      <a:pt x="449999" y="476765"/>
                      <a:pt x="395188" y="525303"/>
                      <a:pt x="351750" y="542487"/>
                    </a:cubicBezTo>
                    <a:cubicBezTo>
                      <a:pt x="364570" y="553524"/>
                      <a:pt x="369815" y="566569"/>
                      <a:pt x="371564" y="577519"/>
                    </a:cubicBezTo>
                    <a:cubicBezTo>
                      <a:pt x="371510" y="588305"/>
                      <a:pt x="363407" y="591042"/>
                      <a:pt x="359329" y="597803"/>
                    </a:cubicBezTo>
                    <a:cubicBezTo>
                      <a:pt x="364928" y="652187"/>
                      <a:pt x="355161" y="701683"/>
                      <a:pt x="373271" y="759858"/>
                    </a:cubicBezTo>
                    <a:cubicBezTo>
                      <a:pt x="382583" y="726860"/>
                      <a:pt x="394118" y="694072"/>
                      <a:pt x="406981" y="659624"/>
                    </a:cubicBezTo>
                    <a:cubicBezTo>
                      <a:pt x="434458" y="598661"/>
                      <a:pt x="476100" y="510653"/>
                      <a:pt x="473953" y="438101"/>
                    </a:cubicBezTo>
                    <a:close/>
                    <a:moveTo>
                      <a:pt x="444331" y="425221"/>
                    </a:moveTo>
                    <a:cubicBezTo>
                      <a:pt x="417365" y="457420"/>
                      <a:pt x="365446" y="490423"/>
                      <a:pt x="342908" y="490423"/>
                    </a:cubicBezTo>
                    <a:cubicBezTo>
                      <a:pt x="312722" y="489752"/>
                      <a:pt x="309100" y="473787"/>
                      <a:pt x="292196" y="465469"/>
                    </a:cubicBezTo>
                    <a:cubicBezTo>
                      <a:pt x="308026" y="468152"/>
                      <a:pt x="323455" y="474056"/>
                      <a:pt x="339687" y="473519"/>
                    </a:cubicBezTo>
                    <a:cubicBezTo>
                      <a:pt x="376180" y="473116"/>
                      <a:pt x="416695" y="446955"/>
                      <a:pt x="444331" y="425221"/>
                    </a:cubicBezTo>
                    <a:close/>
                    <a:moveTo>
                      <a:pt x="488121" y="409767"/>
                    </a:moveTo>
                    <a:cubicBezTo>
                      <a:pt x="533198" y="465576"/>
                      <a:pt x="410846" y="692681"/>
                      <a:pt x="376072" y="855388"/>
                    </a:cubicBezTo>
                    <a:cubicBezTo>
                      <a:pt x="489409" y="838216"/>
                      <a:pt x="600169" y="850665"/>
                      <a:pt x="716082" y="803871"/>
                    </a:cubicBezTo>
                    <a:cubicBezTo>
                      <a:pt x="761588" y="800437"/>
                      <a:pt x="808382" y="816321"/>
                      <a:pt x="852601" y="793568"/>
                    </a:cubicBezTo>
                    <a:cubicBezTo>
                      <a:pt x="845303" y="743338"/>
                      <a:pt x="867627" y="646745"/>
                      <a:pt x="772750" y="588788"/>
                    </a:cubicBezTo>
                    <a:cubicBezTo>
                      <a:pt x="729391" y="552726"/>
                      <a:pt x="648681" y="519241"/>
                      <a:pt x="565395" y="492193"/>
                    </a:cubicBezTo>
                    <a:cubicBezTo>
                      <a:pt x="534486" y="468582"/>
                      <a:pt x="515167" y="433379"/>
                      <a:pt x="488121" y="409767"/>
                    </a:cubicBezTo>
                    <a:close/>
                    <a:moveTo>
                      <a:pt x="314467" y="207"/>
                    </a:moveTo>
                    <a:cubicBezTo>
                      <a:pt x="302302" y="922"/>
                      <a:pt x="297652" y="4142"/>
                      <a:pt x="285488" y="8794"/>
                    </a:cubicBezTo>
                    <a:cubicBezTo>
                      <a:pt x="273325" y="13444"/>
                      <a:pt x="253826" y="20241"/>
                      <a:pt x="241485" y="28112"/>
                    </a:cubicBezTo>
                    <a:cubicBezTo>
                      <a:pt x="229142" y="35983"/>
                      <a:pt x="220377" y="43853"/>
                      <a:pt x="211433" y="56017"/>
                    </a:cubicBezTo>
                    <a:cubicBezTo>
                      <a:pt x="202489" y="68180"/>
                      <a:pt x="193724" y="87320"/>
                      <a:pt x="187821" y="101095"/>
                    </a:cubicBezTo>
                    <a:cubicBezTo>
                      <a:pt x="181919" y="114868"/>
                      <a:pt x="176194" y="121665"/>
                      <a:pt x="176015" y="138658"/>
                    </a:cubicBezTo>
                    <a:cubicBezTo>
                      <a:pt x="175837" y="155652"/>
                      <a:pt x="182813" y="191249"/>
                      <a:pt x="186748" y="203055"/>
                    </a:cubicBezTo>
                    <a:lnTo>
                      <a:pt x="187520" y="204007"/>
                    </a:lnTo>
                    <a:lnTo>
                      <a:pt x="191027" y="223887"/>
                    </a:lnTo>
                    <a:cubicBezTo>
                      <a:pt x="185407" y="222374"/>
                      <a:pt x="182724" y="232570"/>
                      <a:pt x="184333" y="241693"/>
                    </a:cubicBezTo>
                    <a:cubicBezTo>
                      <a:pt x="185943" y="250815"/>
                      <a:pt x="196139" y="265841"/>
                      <a:pt x="198822" y="277111"/>
                    </a:cubicBezTo>
                    <a:cubicBezTo>
                      <a:pt x="201505" y="288380"/>
                      <a:pt x="200298" y="299113"/>
                      <a:pt x="200432" y="309308"/>
                    </a:cubicBezTo>
                    <a:cubicBezTo>
                      <a:pt x="200566" y="319505"/>
                      <a:pt x="198285" y="331579"/>
                      <a:pt x="199627" y="338286"/>
                    </a:cubicBezTo>
                    <a:cubicBezTo>
                      <a:pt x="200969" y="344995"/>
                      <a:pt x="205128" y="346739"/>
                      <a:pt x="208482" y="349556"/>
                    </a:cubicBezTo>
                    <a:cubicBezTo>
                      <a:pt x="211836" y="352373"/>
                      <a:pt x="218275" y="343385"/>
                      <a:pt x="219751" y="355191"/>
                    </a:cubicBezTo>
                    <a:cubicBezTo>
                      <a:pt x="221227" y="366997"/>
                      <a:pt x="229008" y="395036"/>
                      <a:pt x="236655" y="410733"/>
                    </a:cubicBezTo>
                    <a:cubicBezTo>
                      <a:pt x="244301" y="426429"/>
                      <a:pt x="259999" y="439845"/>
                      <a:pt x="265633" y="449370"/>
                    </a:cubicBezTo>
                    <a:cubicBezTo>
                      <a:pt x="271268" y="458895"/>
                      <a:pt x="266438" y="460372"/>
                      <a:pt x="270463" y="467884"/>
                    </a:cubicBezTo>
                    <a:cubicBezTo>
                      <a:pt x="274487" y="475397"/>
                      <a:pt x="281330" y="484118"/>
                      <a:pt x="289781" y="494447"/>
                    </a:cubicBezTo>
                    <a:cubicBezTo>
                      <a:pt x="298233" y="504778"/>
                      <a:pt x="311246" y="524097"/>
                      <a:pt x="321175" y="529866"/>
                    </a:cubicBezTo>
                    <a:cubicBezTo>
                      <a:pt x="331102" y="535634"/>
                      <a:pt x="333383" y="536305"/>
                      <a:pt x="349348" y="529061"/>
                    </a:cubicBezTo>
                    <a:cubicBezTo>
                      <a:pt x="365312" y="521816"/>
                      <a:pt x="399657" y="499680"/>
                      <a:pt x="416963" y="486398"/>
                    </a:cubicBezTo>
                    <a:cubicBezTo>
                      <a:pt x="434270" y="473116"/>
                      <a:pt x="444331" y="459298"/>
                      <a:pt x="453186" y="449370"/>
                    </a:cubicBezTo>
                    <a:cubicBezTo>
                      <a:pt x="462041" y="439443"/>
                      <a:pt x="466601" y="434746"/>
                      <a:pt x="470089" y="426831"/>
                    </a:cubicBezTo>
                    <a:cubicBezTo>
                      <a:pt x="473577" y="418917"/>
                      <a:pt x="471968" y="409526"/>
                      <a:pt x="474115" y="401878"/>
                    </a:cubicBezTo>
                    <a:cubicBezTo>
                      <a:pt x="476261" y="394231"/>
                      <a:pt x="480688" y="390341"/>
                      <a:pt x="482969" y="380949"/>
                    </a:cubicBezTo>
                    <a:cubicBezTo>
                      <a:pt x="485249" y="371558"/>
                      <a:pt x="484847" y="352373"/>
                      <a:pt x="487799" y="345532"/>
                    </a:cubicBezTo>
                    <a:cubicBezTo>
                      <a:pt x="490750" y="338689"/>
                      <a:pt x="496788" y="343787"/>
                      <a:pt x="500678" y="339897"/>
                    </a:cubicBezTo>
                    <a:cubicBezTo>
                      <a:pt x="504569" y="336006"/>
                      <a:pt x="508996" y="331177"/>
                      <a:pt x="511142" y="322188"/>
                    </a:cubicBezTo>
                    <a:cubicBezTo>
                      <a:pt x="513289" y="313199"/>
                      <a:pt x="511947" y="299515"/>
                      <a:pt x="513557" y="285965"/>
                    </a:cubicBezTo>
                    <a:cubicBezTo>
                      <a:pt x="515167" y="272415"/>
                      <a:pt x="520131" y="252425"/>
                      <a:pt x="520801" y="240888"/>
                    </a:cubicBezTo>
                    <a:cubicBezTo>
                      <a:pt x="521473" y="229350"/>
                      <a:pt x="520131" y="222508"/>
                      <a:pt x="517582" y="216739"/>
                    </a:cubicBezTo>
                    <a:lnTo>
                      <a:pt x="505508" y="206274"/>
                    </a:lnTo>
                    <a:cubicBezTo>
                      <a:pt x="501482" y="205872"/>
                      <a:pt x="496788" y="209897"/>
                      <a:pt x="493433" y="214324"/>
                    </a:cubicBezTo>
                    <a:cubicBezTo>
                      <a:pt x="490893" y="217677"/>
                      <a:pt x="489661" y="229032"/>
                      <a:pt x="487525" y="232413"/>
                    </a:cubicBezTo>
                    <a:lnTo>
                      <a:pt x="486770" y="223363"/>
                    </a:lnTo>
                    <a:lnTo>
                      <a:pt x="488165" y="195462"/>
                    </a:lnTo>
                    <a:lnTo>
                      <a:pt x="490482" y="198762"/>
                    </a:lnTo>
                    <a:cubicBezTo>
                      <a:pt x="492986" y="200550"/>
                      <a:pt x="494238" y="195185"/>
                      <a:pt x="496921" y="194469"/>
                    </a:cubicBezTo>
                    <a:cubicBezTo>
                      <a:pt x="499604" y="193754"/>
                      <a:pt x="503002" y="193217"/>
                      <a:pt x="506581" y="194469"/>
                    </a:cubicBezTo>
                    <a:cubicBezTo>
                      <a:pt x="510158" y="195721"/>
                      <a:pt x="516419" y="202876"/>
                      <a:pt x="518386" y="201981"/>
                    </a:cubicBezTo>
                    <a:cubicBezTo>
                      <a:pt x="519370" y="201534"/>
                      <a:pt x="519370" y="200774"/>
                      <a:pt x="519124" y="198896"/>
                    </a:cubicBezTo>
                    <a:lnTo>
                      <a:pt x="518386" y="189102"/>
                    </a:lnTo>
                    <a:cubicBezTo>
                      <a:pt x="518391" y="189053"/>
                      <a:pt x="521603" y="159753"/>
                      <a:pt x="518386" y="142952"/>
                    </a:cubicBezTo>
                    <a:cubicBezTo>
                      <a:pt x="515167" y="126137"/>
                      <a:pt x="506760" y="103778"/>
                      <a:pt x="499068" y="88215"/>
                    </a:cubicBezTo>
                    <a:cubicBezTo>
                      <a:pt x="491376" y="72652"/>
                      <a:pt x="479213" y="57627"/>
                      <a:pt x="472236" y="49577"/>
                    </a:cubicBezTo>
                    <a:cubicBezTo>
                      <a:pt x="465260" y="41528"/>
                      <a:pt x="466154" y="44211"/>
                      <a:pt x="457210" y="39918"/>
                    </a:cubicBezTo>
                    <a:cubicBezTo>
                      <a:pt x="448266" y="35625"/>
                      <a:pt x="435030" y="29722"/>
                      <a:pt x="418572" y="23818"/>
                    </a:cubicBezTo>
                    <a:cubicBezTo>
                      <a:pt x="402117" y="17916"/>
                      <a:pt x="375821" y="8435"/>
                      <a:pt x="358470" y="4500"/>
                    </a:cubicBezTo>
                    <a:cubicBezTo>
                      <a:pt x="341118" y="564"/>
                      <a:pt x="326630" y="-509"/>
                      <a:pt x="314467" y="207"/>
                    </a:cubicBezTo>
                    <a:close/>
                  </a:path>
                </a:pathLst>
              </a:custGeom>
              <a:grpFill/>
              <a:ln w="25400" cap="flat" cmpd="sng" algn="ctr">
                <a:noFill/>
                <a:prstDash val="solid"/>
              </a:ln>
              <a:effectLst/>
            </p:spPr>
            <p:txBody>
              <a:bodyPr rtlCol="0" anchor="ctr"/>
              <a:lstStyle/>
              <a:p>
                <a:pPr algn="ctr" defTabSz="913578">
                  <a:defRPr/>
                </a:pPr>
                <a:endParaRPr lang="en-US" sz="1797" kern="0">
                  <a:solidFill>
                    <a:srgbClr val="FFFFFF"/>
                  </a:solidFill>
                  <a:latin typeface="Segoe UI"/>
                </a:endParaRPr>
              </a:p>
            </p:txBody>
          </p:sp>
          <p:sp>
            <p:nvSpPr>
              <p:cNvPr id="624" name="Freeform 294">
                <a:extLst>
                  <a:ext uri="{FF2B5EF4-FFF2-40B4-BE49-F238E27FC236}">
                    <a16:creationId xmlns:a16="http://schemas.microsoft.com/office/drawing/2014/main" id="{8352BBF9-E365-4338-8CD5-78BE318F1385}"/>
                  </a:ext>
                </a:extLst>
              </p:cNvPr>
              <p:cNvSpPr/>
              <p:nvPr/>
            </p:nvSpPr>
            <p:spPr>
              <a:xfrm>
                <a:off x="5391987" y="2823080"/>
                <a:ext cx="2628063" cy="3263867"/>
              </a:xfrm>
              <a:custGeom>
                <a:avLst/>
                <a:gdLst>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338138 w 3900488"/>
                  <a:gd name="connsiteY63" fmla="*/ 4760516 h 4808141"/>
                  <a:gd name="connsiteX64" fmla="*/ 161925 w 3900488"/>
                  <a:gd name="connsiteY64" fmla="*/ 4436666 h 4808141"/>
                  <a:gd name="connsiteX65" fmla="*/ 57150 w 3900488"/>
                  <a:gd name="connsiteY65" fmla="*/ 4141391 h 4808141"/>
                  <a:gd name="connsiteX66" fmla="*/ 0 w 3900488"/>
                  <a:gd name="connsiteY66" fmla="*/ 3855641 h 4808141"/>
                  <a:gd name="connsiteX67" fmla="*/ 23813 w 3900488"/>
                  <a:gd name="connsiteY67" fmla="*/ 3703241 h 4808141"/>
                  <a:gd name="connsiteX68" fmla="*/ 219075 w 3900488"/>
                  <a:gd name="connsiteY68" fmla="*/ 3584179 h 4808141"/>
                  <a:gd name="connsiteX69" fmla="*/ 533400 w 3900488"/>
                  <a:gd name="connsiteY69" fmla="*/ 3450829 h 4808141"/>
                  <a:gd name="connsiteX70" fmla="*/ 933450 w 3900488"/>
                  <a:gd name="connsiteY70" fmla="*/ 3293666 h 4808141"/>
                  <a:gd name="connsiteX71" fmla="*/ 1133475 w 3900488"/>
                  <a:gd name="connsiteY71" fmla="*/ 3217466 h 4808141"/>
                  <a:gd name="connsiteX72" fmla="*/ 1276350 w 3900488"/>
                  <a:gd name="connsiteY72" fmla="*/ 2950766 h 4808141"/>
                  <a:gd name="connsiteX73" fmla="*/ 1371600 w 3900488"/>
                  <a:gd name="connsiteY73" fmla="*/ 2888854 h 4808141"/>
                  <a:gd name="connsiteX74" fmla="*/ 1443038 w 3900488"/>
                  <a:gd name="connsiteY74" fmla="*/ 2750741 h 4808141"/>
                  <a:gd name="connsiteX75" fmla="*/ 1428750 w 3900488"/>
                  <a:gd name="connsiteY75" fmla="*/ 2665016 h 4808141"/>
                  <a:gd name="connsiteX76" fmla="*/ 1432339 w 3900488"/>
                  <a:gd name="connsiteY76" fmla="*/ 2655556 h 4808141"/>
                  <a:gd name="connsiteX77" fmla="*/ 1411332 w 3900488"/>
                  <a:gd name="connsiteY77" fmla="*/ 2630242 h 4808141"/>
                  <a:gd name="connsiteX78" fmla="*/ 1169833 w 3900488"/>
                  <a:gd name="connsiteY78" fmla="*/ 2059985 h 4808141"/>
                  <a:gd name="connsiteX79" fmla="*/ 975688 w 3900488"/>
                  <a:gd name="connsiteY79" fmla="*/ 1612672 h 4808141"/>
                  <a:gd name="connsiteX80" fmla="*/ 1051451 w 3900488"/>
                  <a:gd name="connsiteY80" fmla="*/ 1487109 h 4808141"/>
                  <a:gd name="connsiteX81" fmla="*/ 1016847 w 3900488"/>
                  <a:gd name="connsiteY81" fmla="*/ 1277790 h 4808141"/>
                  <a:gd name="connsiteX82" fmla="*/ 933449 w 3900488"/>
                  <a:gd name="connsiteY82" fmla="*/ 1341041 h 4808141"/>
                  <a:gd name="connsiteX83" fmla="*/ 882649 w 3900488"/>
                  <a:gd name="connsiteY83" fmla="*/ 1404541 h 4808141"/>
                  <a:gd name="connsiteX84" fmla="*/ 838199 w 3900488"/>
                  <a:gd name="connsiteY84" fmla="*/ 1525191 h 4808141"/>
                  <a:gd name="connsiteX85" fmla="*/ 857249 w 3900488"/>
                  <a:gd name="connsiteY85" fmla="*/ 1645841 h 4808141"/>
                  <a:gd name="connsiteX86" fmla="*/ 888999 w 3900488"/>
                  <a:gd name="connsiteY86" fmla="*/ 1829991 h 4808141"/>
                  <a:gd name="connsiteX87" fmla="*/ 965199 w 3900488"/>
                  <a:gd name="connsiteY87" fmla="*/ 2128441 h 4808141"/>
                  <a:gd name="connsiteX88" fmla="*/ 1047749 w 3900488"/>
                  <a:gd name="connsiteY88" fmla="*/ 2198291 h 4808141"/>
                  <a:gd name="connsiteX89" fmla="*/ 1098549 w 3900488"/>
                  <a:gd name="connsiteY89" fmla="*/ 2331641 h 4808141"/>
                  <a:gd name="connsiteX90" fmla="*/ 1219199 w 3900488"/>
                  <a:gd name="connsiteY90" fmla="*/ 2566591 h 4808141"/>
                  <a:gd name="connsiteX91" fmla="*/ 1269999 w 3900488"/>
                  <a:gd name="connsiteY91" fmla="*/ 2712641 h 4808141"/>
                  <a:gd name="connsiteX92" fmla="*/ 1130299 w 3900488"/>
                  <a:gd name="connsiteY92" fmla="*/ 2750741 h 4808141"/>
                  <a:gd name="connsiteX93" fmla="*/ 927099 w 3900488"/>
                  <a:gd name="connsiteY93" fmla="*/ 2776141 h 4808141"/>
                  <a:gd name="connsiteX94" fmla="*/ 742949 w 3900488"/>
                  <a:gd name="connsiteY94" fmla="*/ 2731691 h 4808141"/>
                  <a:gd name="connsiteX95" fmla="*/ 660399 w 3900488"/>
                  <a:gd name="connsiteY95" fmla="*/ 2591991 h 4808141"/>
                  <a:gd name="connsiteX96" fmla="*/ 622299 w 3900488"/>
                  <a:gd name="connsiteY96" fmla="*/ 2344341 h 4808141"/>
                  <a:gd name="connsiteX97" fmla="*/ 634999 w 3900488"/>
                  <a:gd name="connsiteY97" fmla="*/ 2020491 h 4808141"/>
                  <a:gd name="connsiteX98" fmla="*/ 736599 w 3900488"/>
                  <a:gd name="connsiteY98" fmla="*/ 1328341 h 4808141"/>
                  <a:gd name="connsiteX99" fmla="*/ 971549 w 3900488"/>
                  <a:gd name="connsiteY99" fmla="*/ 623491 h 4808141"/>
                  <a:gd name="connsiteX100" fmla="*/ 1168399 w 3900488"/>
                  <a:gd name="connsiteY100" fmla="*/ 299641 h 4808141"/>
                  <a:gd name="connsiteX101" fmla="*/ 1358899 w 3900488"/>
                  <a:gd name="connsiteY101" fmla="*/ 140891 h 4808141"/>
                  <a:gd name="connsiteX102" fmla="*/ 1530349 w 3900488"/>
                  <a:gd name="connsiteY102" fmla="*/ 115491 h 4808141"/>
                  <a:gd name="connsiteX103" fmla="*/ 1676399 w 3900488"/>
                  <a:gd name="connsiteY103" fmla="*/ 13891 h 4808141"/>
                  <a:gd name="connsiteX104" fmla="*/ 1813321 w 3900488"/>
                  <a:gd name="connsiteY104" fmla="*/ 0 h 4808141"/>
                  <a:gd name="connsiteX0" fmla="*/ 3060949 w 3900488"/>
                  <a:gd name="connsiteY0" fmla="*/ 1005769 h 4760516"/>
                  <a:gd name="connsiteX1" fmla="*/ 3081338 w 3900488"/>
                  <a:gd name="connsiteY1" fmla="*/ 1026716 h 4760516"/>
                  <a:gd name="connsiteX2" fmla="*/ 3167063 w 3900488"/>
                  <a:gd name="connsiteY2" fmla="*/ 1369616 h 4760516"/>
                  <a:gd name="connsiteX3" fmla="*/ 3252788 w 3900488"/>
                  <a:gd name="connsiteY3" fmla="*/ 1822054 h 4760516"/>
                  <a:gd name="connsiteX4" fmla="*/ 3281363 w 3900488"/>
                  <a:gd name="connsiteY4" fmla="*/ 2255441 h 4760516"/>
                  <a:gd name="connsiteX5" fmla="*/ 3271838 w 3900488"/>
                  <a:gd name="connsiteY5" fmla="*/ 2526904 h 4760516"/>
                  <a:gd name="connsiteX6" fmla="*/ 3190875 w 3900488"/>
                  <a:gd name="connsiteY6" fmla="*/ 2722166 h 4760516"/>
                  <a:gd name="connsiteX7" fmla="*/ 3043238 w 3900488"/>
                  <a:gd name="connsiteY7" fmla="*/ 2750741 h 4760516"/>
                  <a:gd name="connsiteX8" fmla="*/ 2809875 w 3900488"/>
                  <a:gd name="connsiteY8" fmla="*/ 2731691 h 4760516"/>
                  <a:gd name="connsiteX9" fmla="*/ 2633663 w 3900488"/>
                  <a:gd name="connsiteY9" fmla="*/ 2669779 h 4760516"/>
                  <a:gd name="connsiteX10" fmla="*/ 2657475 w 3900488"/>
                  <a:gd name="connsiteY10" fmla="*/ 2603104 h 4760516"/>
                  <a:gd name="connsiteX11" fmla="*/ 2752725 w 3900488"/>
                  <a:gd name="connsiteY11" fmla="*/ 2474516 h 4760516"/>
                  <a:gd name="connsiteX12" fmla="*/ 2843213 w 3900488"/>
                  <a:gd name="connsiteY12" fmla="*/ 2255441 h 4760516"/>
                  <a:gd name="connsiteX13" fmla="*/ 2862263 w 3900488"/>
                  <a:gd name="connsiteY13" fmla="*/ 2160191 h 4760516"/>
                  <a:gd name="connsiteX14" fmla="*/ 2919413 w 3900488"/>
                  <a:gd name="connsiteY14" fmla="*/ 2098279 h 4760516"/>
                  <a:gd name="connsiteX15" fmla="*/ 3000375 w 3900488"/>
                  <a:gd name="connsiteY15" fmla="*/ 1855391 h 4760516"/>
                  <a:gd name="connsiteX16" fmla="*/ 3057525 w 3900488"/>
                  <a:gd name="connsiteY16" fmla="*/ 1598216 h 4760516"/>
                  <a:gd name="connsiteX17" fmla="*/ 3062288 w 3900488"/>
                  <a:gd name="connsiteY17" fmla="*/ 1483916 h 4760516"/>
                  <a:gd name="connsiteX18" fmla="*/ 3009900 w 3900488"/>
                  <a:gd name="connsiteY18" fmla="*/ 1379141 h 4760516"/>
                  <a:gd name="connsiteX19" fmla="*/ 2957513 w 3900488"/>
                  <a:gd name="connsiteY19" fmla="*/ 1331516 h 4760516"/>
                  <a:gd name="connsiteX20" fmla="*/ 2947988 w 3900488"/>
                  <a:gd name="connsiteY20" fmla="*/ 1236266 h 4760516"/>
                  <a:gd name="connsiteX21" fmla="*/ 2957513 w 3900488"/>
                  <a:gd name="connsiteY21" fmla="*/ 1121966 h 4760516"/>
                  <a:gd name="connsiteX22" fmla="*/ 3005138 w 3900488"/>
                  <a:gd name="connsiteY22" fmla="*/ 1050529 h 4760516"/>
                  <a:gd name="connsiteX23" fmla="*/ 3060949 w 3900488"/>
                  <a:gd name="connsiteY23" fmla="*/ 1005769 h 4760516"/>
                  <a:gd name="connsiteX24" fmla="*/ 1813321 w 3900488"/>
                  <a:gd name="connsiteY24" fmla="*/ 0 h 4760516"/>
                  <a:gd name="connsiteX25" fmla="*/ 1955799 w 3900488"/>
                  <a:gd name="connsiteY25" fmla="*/ 1191 h 4760516"/>
                  <a:gd name="connsiteX26" fmla="*/ 2152649 w 3900488"/>
                  <a:gd name="connsiteY26" fmla="*/ 20241 h 4760516"/>
                  <a:gd name="connsiteX27" fmla="*/ 2381249 w 3900488"/>
                  <a:gd name="connsiteY27" fmla="*/ 121841 h 4760516"/>
                  <a:gd name="connsiteX28" fmla="*/ 2641599 w 3900488"/>
                  <a:gd name="connsiteY28" fmla="*/ 331391 h 4760516"/>
                  <a:gd name="connsiteX29" fmla="*/ 2946399 w 3900488"/>
                  <a:gd name="connsiteY29" fmla="*/ 693341 h 4760516"/>
                  <a:gd name="connsiteX30" fmla="*/ 3060699 w 3900488"/>
                  <a:gd name="connsiteY30" fmla="*/ 883841 h 4760516"/>
                  <a:gd name="connsiteX31" fmla="*/ 3009899 w 3900488"/>
                  <a:gd name="connsiteY31" fmla="*/ 1004491 h 4760516"/>
                  <a:gd name="connsiteX32" fmla="*/ 2901949 w 3900488"/>
                  <a:gd name="connsiteY32" fmla="*/ 1061641 h 4760516"/>
                  <a:gd name="connsiteX33" fmla="*/ 2825749 w 3900488"/>
                  <a:gd name="connsiteY33" fmla="*/ 998141 h 4760516"/>
                  <a:gd name="connsiteX34" fmla="*/ 2654299 w 3900488"/>
                  <a:gd name="connsiteY34" fmla="*/ 820341 h 4760516"/>
                  <a:gd name="connsiteX35" fmla="*/ 2349499 w 3900488"/>
                  <a:gd name="connsiteY35" fmla="*/ 674291 h 4760516"/>
                  <a:gd name="connsiteX36" fmla="*/ 2019299 w 3900488"/>
                  <a:gd name="connsiteY36" fmla="*/ 674291 h 4760516"/>
                  <a:gd name="connsiteX37" fmla="*/ 2343149 w 3900488"/>
                  <a:gd name="connsiteY37" fmla="*/ 769541 h 4760516"/>
                  <a:gd name="connsiteX38" fmla="*/ 2552699 w 3900488"/>
                  <a:gd name="connsiteY38" fmla="*/ 909241 h 4760516"/>
                  <a:gd name="connsiteX39" fmla="*/ 2629040 w 3900488"/>
                  <a:gd name="connsiteY39" fmla="*/ 973620 h 4760516"/>
                  <a:gd name="connsiteX40" fmla="*/ 2900212 w 3900488"/>
                  <a:gd name="connsiteY40" fmla="*/ 1067700 h 4760516"/>
                  <a:gd name="connsiteX41" fmla="*/ 2829545 w 3900488"/>
                  <a:gd name="connsiteY41" fmla="*/ 1212445 h 4760516"/>
                  <a:gd name="connsiteX42" fmla="*/ 2829545 w 3900488"/>
                  <a:gd name="connsiteY42" fmla="*/ 1445256 h 4760516"/>
                  <a:gd name="connsiteX43" fmla="*/ 2938456 w 3900488"/>
                  <a:gd name="connsiteY43" fmla="*/ 1531580 h 4760516"/>
                  <a:gd name="connsiteX44" fmla="*/ 2822442 w 3900488"/>
                  <a:gd name="connsiteY44" fmla="*/ 2041674 h 4760516"/>
                  <a:gd name="connsiteX45" fmla="*/ 2756148 w 3900488"/>
                  <a:gd name="connsiteY45" fmla="*/ 2086142 h 4760516"/>
                  <a:gd name="connsiteX46" fmla="*/ 2479547 w 3900488"/>
                  <a:gd name="connsiteY46" fmla="*/ 2698176 h 4760516"/>
                  <a:gd name="connsiteX47" fmla="*/ 2528888 w 3900488"/>
                  <a:gd name="connsiteY47" fmla="*/ 2817416 h 4760516"/>
                  <a:gd name="connsiteX48" fmla="*/ 2590800 w 3900488"/>
                  <a:gd name="connsiteY48" fmla="*/ 2874566 h 4760516"/>
                  <a:gd name="connsiteX49" fmla="*/ 2657475 w 3900488"/>
                  <a:gd name="connsiteY49" fmla="*/ 2884091 h 4760516"/>
                  <a:gd name="connsiteX50" fmla="*/ 2681288 w 3900488"/>
                  <a:gd name="connsiteY50" fmla="*/ 2912666 h 4760516"/>
                  <a:gd name="connsiteX51" fmla="*/ 2747963 w 3900488"/>
                  <a:gd name="connsiteY51" fmla="*/ 3079354 h 4760516"/>
                  <a:gd name="connsiteX52" fmla="*/ 2843213 w 3900488"/>
                  <a:gd name="connsiteY52" fmla="*/ 3174604 h 4760516"/>
                  <a:gd name="connsiteX53" fmla="*/ 2938463 w 3900488"/>
                  <a:gd name="connsiteY53" fmla="*/ 3207941 h 4760516"/>
                  <a:gd name="connsiteX54" fmla="*/ 3281363 w 3900488"/>
                  <a:gd name="connsiteY54" fmla="*/ 3317479 h 4760516"/>
                  <a:gd name="connsiteX55" fmla="*/ 3657600 w 3900488"/>
                  <a:gd name="connsiteY55" fmla="*/ 3493691 h 4760516"/>
                  <a:gd name="connsiteX56" fmla="*/ 3867150 w 3900488"/>
                  <a:gd name="connsiteY56" fmla="*/ 3641329 h 4760516"/>
                  <a:gd name="connsiteX57" fmla="*/ 3900488 w 3900488"/>
                  <a:gd name="connsiteY57" fmla="*/ 3769916 h 4760516"/>
                  <a:gd name="connsiteX58" fmla="*/ 3876675 w 3900488"/>
                  <a:gd name="connsiteY58" fmla="*/ 4027091 h 4760516"/>
                  <a:gd name="connsiteX59" fmla="*/ 3790950 w 3900488"/>
                  <a:gd name="connsiteY59" fmla="*/ 4236641 h 4760516"/>
                  <a:gd name="connsiteX60" fmla="*/ 3619500 w 3900488"/>
                  <a:gd name="connsiteY60" fmla="*/ 4598591 h 4760516"/>
                  <a:gd name="connsiteX61" fmla="*/ 3471863 w 3900488"/>
                  <a:gd name="connsiteY61" fmla="*/ 4760516 h 4760516"/>
                  <a:gd name="connsiteX62" fmla="*/ 338138 w 3900488"/>
                  <a:gd name="connsiteY62" fmla="*/ 4760516 h 4760516"/>
                  <a:gd name="connsiteX63" fmla="*/ 161925 w 3900488"/>
                  <a:gd name="connsiteY63" fmla="*/ 4436666 h 4760516"/>
                  <a:gd name="connsiteX64" fmla="*/ 57150 w 3900488"/>
                  <a:gd name="connsiteY64" fmla="*/ 4141391 h 4760516"/>
                  <a:gd name="connsiteX65" fmla="*/ 0 w 3900488"/>
                  <a:gd name="connsiteY65" fmla="*/ 3855641 h 4760516"/>
                  <a:gd name="connsiteX66" fmla="*/ 23813 w 3900488"/>
                  <a:gd name="connsiteY66" fmla="*/ 3703241 h 4760516"/>
                  <a:gd name="connsiteX67" fmla="*/ 219075 w 3900488"/>
                  <a:gd name="connsiteY67" fmla="*/ 3584179 h 4760516"/>
                  <a:gd name="connsiteX68" fmla="*/ 533400 w 3900488"/>
                  <a:gd name="connsiteY68" fmla="*/ 3450829 h 4760516"/>
                  <a:gd name="connsiteX69" fmla="*/ 933450 w 3900488"/>
                  <a:gd name="connsiteY69" fmla="*/ 3293666 h 4760516"/>
                  <a:gd name="connsiteX70" fmla="*/ 1133475 w 3900488"/>
                  <a:gd name="connsiteY70" fmla="*/ 3217466 h 4760516"/>
                  <a:gd name="connsiteX71" fmla="*/ 1276350 w 3900488"/>
                  <a:gd name="connsiteY71" fmla="*/ 2950766 h 4760516"/>
                  <a:gd name="connsiteX72" fmla="*/ 1371600 w 3900488"/>
                  <a:gd name="connsiteY72" fmla="*/ 2888854 h 4760516"/>
                  <a:gd name="connsiteX73" fmla="*/ 1443038 w 3900488"/>
                  <a:gd name="connsiteY73" fmla="*/ 2750741 h 4760516"/>
                  <a:gd name="connsiteX74" fmla="*/ 1428750 w 3900488"/>
                  <a:gd name="connsiteY74" fmla="*/ 2665016 h 4760516"/>
                  <a:gd name="connsiteX75" fmla="*/ 1432339 w 3900488"/>
                  <a:gd name="connsiteY75" fmla="*/ 2655556 h 4760516"/>
                  <a:gd name="connsiteX76" fmla="*/ 1411332 w 3900488"/>
                  <a:gd name="connsiteY76" fmla="*/ 2630242 h 4760516"/>
                  <a:gd name="connsiteX77" fmla="*/ 1169833 w 3900488"/>
                  <a:gd name="connsiteY77" fmla="*/ 2059985 h 4760516"/>
                  <a:gd name="connsiteX78" fmla="*/ 975688 w 3900488"/>
                  <a:gd name="connsiteY78" fmla="*/ 1612672 h 4760516"/>
                  <a:gd name="connsiteX79" fmla="*/ 1051451 w 3900488"/>
                  <a:gd name="connsiteY79" fmla="*/ 1487109 h 4760516"/>
                  <a:gd name="connsiteX80" fmla="*/ 1016847 w 3900488"/>
                  <a:gd name="connsiteY80" fmla="*/ 1277790 h 4760516"/>
                  <a:gd name="connsiteX81" fmla="*/ 933449 w 3900488"/>
                  <a:gd name="connsiteY81" fmla="*/ 1341041 h 4760516"/>
                  <a:gd name="connsiteX82" fmla="*/ 882649 w 3900488"/>
                  <a:gd name="connsiteY82" fmla="*/ 1404541 h 4760516"/>
                  <a:gd name="connsiteX83" fmla="*/ 838199 w 3900488"/>
                  <a:gd name="connsiteY83" fmla="*/ 1525191 h 4760516"/>
                  <a:gd name="connsiteX84" fmla="*/ 857249 w 3900488"/>
                  <a:gd name="connsiteY84" fmla="*/ 1645841 h 4760516"/>
                  <a:gd name="connsiteX85" fmla="*/ 888999 w 3900488"/>
                  <a:gd name="connsiteY85" fmla="*/ 1829991 h 4760516"/>
                  <a:gd name="connsiteX86" fmla="*/ 965199 w 3900488"/>
                  <a:gd name="connsiteY86" fmla="*/ 2128441 h 4760516"/>
                  <a:gd name="connsiteX87" fmla="*/ 1047749 w 3900488"/>
                  <a:gd name="connsiteY87" fmla="*/ 2198291 h 4760516"/>
                  <a:gd name="connsiteX88" fmla="*/ 1098549 w 3900488"/>
                  <a:gd name="connsiteY88" fmla="*/ 2331641 h 4760516"/>
                  <a:gd name="connsiteX89" fmla="*/ 1219199 w 3900488"/>
                  <a:gd name="connsiteY89" fmla="*/ 2566591 h 4760516"/>
                  <a:gd name="connsiteX90" fmla="*/ 1269999 w 3900488"/>
                  <a:gd name="connsiteY90" fmla="*/ 2712641 h 4760516"/>
                  <a:gd name="connsiteX91" fmla="*/ 1130299 w 3900488"/>
                  <a:gd name="connsiteY91" fmla="*/ 2750741 h 4760516"/>
                  <a:gd name="connsiteX92" fmla="*/ 927099 w 3900488"/>
                  <a:gd name="connsiteY92" fmla="*/ 2776141 h 4760516"/>
                  <a:gd name="connsiteX93" fmla="*/ 742949 w 3900488"/>
                  <a:gd name="connsiteY93" fmla="*/ 2731691 h 4760516"/>
                  <a:gd name="connsiteX94" fmla="*/ 660399 w 3900488"/>
                  <a:gd name="connsiteY94" fmla="*/ 2591991 h 4760516"/>
                  <a:gd name="connsiteX95" fmla="*/ 622299 w 3900488"/>
                  <a:gd name="connsiteY95" fmla="*/ 2344341 h 4760516"/>
                  <a:gd name="connsiteX96" fmla="*/ 634999 w 3900488"/>
                  <a:gd name="connsiteY96" fmla="*/ 2020491 h 4760516"/>
                  <a:gd name="connsiteX97" fmla="*/ 736599 w 3900488"/>
                  <a:gd name="connsiteY97" fmla="*/ 1328341 h 4760516"/>
                  <a:gd name="connsiteX98" fmla="*/ 971549 w 3900488"/>
                  <a:gd name="connsiteY98" fmla="*/ 623491 h 4760516"/>
                  <a:gd name="connsiteX99" fmla="*/ 1168399 w 3900488"/>
                  <a:gd name="connsiteY99" fmla="*/ 299641 h 4760516"/>
                  <a:gd name="connsiteX100" fmla="*/ 1358899 w 3900488"/>
                  <a:gd name="connsiteY100" fmla="*/ 140891 h 4760516"/>
                  <a:gd name="connsiteX101" fmla="*/ 1530349 w 3900488"/>
                  <a:gd name="connsiteY101" fmla="*/ 115491 h 4760516"/>
                  <a:gd name="connsiteX102" fmla="*/ 1676399 w 3900488"/>
                  <a:gd name="connsiteY102" fmla="*/ 13891 h 4760516"/>
                  <a:gd name="connsiteX103" fmla="*/ 1813321 w 3900488"/>
                  <a:gd name="connsiteY103" fmla="*/ 0 h 4760516"/>
                  <a:gd name="connsiteX0" fmla="*/ 3061653 w 3901192"/>
                  <a:gd name="connsiteY0" fmla="*/ 1005769 h 4760516"/>
                  <a:gd name="connsiteX1" fmla="*/ 3082042 w 3901192"/>
                  <a:gd name="connsiteY1" fmla="*/ 1026716 h 4760516"/>
                  <a:gd name="connsiteX2" fmla="*/ 3167767 w 3901192"/>
                  <a:gd name="connsiteY2" fmla="*/ 1369616 h 4760516"/>
                  <a:gd name="connsiteX3" fmla="*/ 3253492 w 3901192"/>
                  <a:gd name="connsiteY3" fmla="*/ 1822054 h 4760516"/>
                  <a:gd name="connsiteX4" fmla="*/ 3282067 w 3901192"/>
                  <a:gd name="connsiteY4" fmla="*/ 2255441 h 4760516"/>
                  <a:gd name="connsiteX5" fmla="*/ 3272542 w 3901192"/>
                  <a:gd name="connsiteY5" fmla="*/ 2526904 h 4760516"/>
                  <a:gd name="connsiteX6" fmla="*/ 3191579 w 3901192"/>
                  <a:gd name="connsiteY6" fmla="*/ 2722166 h 4760516"/>
                  <a:gd name="connsiteX7" fmla="*/ 3043942 w 3901192"/>
                  <a:gd name="connsiteY7" fmla="*/ 2750741 h 4760516"/>
                  <a:gd name="connsiteX8" fmla="*/ 2810579 w 3901192"/>
                  <a:gd name="connsiteY8" fmla="*/ 2731691 h 4760516"/>
                  <a:gd name="connsiteX9" fmla="*/ 2634367 w 3901192"/>
                  <a:gd name="connsiteY9" fmla="*/ 2669779 h 4760516"/>
                  <a:gd name="connsiteX10" fmla="*/ 2658179 w 3901192"/>
                  <a:gd name="connsiteY10" fmla="*/ 2603104 h 4760516"/>
                  <a:gd name="connsiteX11" fmla="*/ 2753429 w 3901192"/>
                  <a:gd name="connsiteY11" fmla="*/ 2474516 h 4760516"/>
                  <a:gd name="connsiteX12" fmla="*/ 2843917 w 3901192"/>
                  <a:gd name="connsiteY12" fmla="*/ 2255441 h 4760516"/>
                  <a:gd name="connsiteX13" fmla="*/ 2862967 w 3901192"/>
                  <a:gd name="connsiteY13" fmla="*/ 2160191 h 4760516"/>
                  <a:gd name="connsiteX14" fmla="*/ 2920117 w 3901192"/>
                  <a:gd name="connsiteY14" fmla="*/ 2098279 h 4760516"/>
                  <a:gd name="connsiteX15" fmla="*/ 3001079 w 3901192"/>
                  <a:gd name="connsiteY15" fmla="*/ 1855391 h 4760516"/>
                  <a:gd name="connsiteX16" fmla="*/ 3058229 w 3901192"/>
                  <a:gd name="connsiteY16" fmla="*/ 1598216 h 4760516"/>
                  <a:gd name="connsiteX17" fmla="*/ 3062992 w 3901192"/>
                  <a:gd name="connsiteY17" fmla="*/ 1483916 h 4760516"/>
                  <a:gd name="connsiteX18" fmla="*/ 3010604 w 3901192"/>
                  <a:gd name="connsiteY18" fmla="*/ 1379141 h 4760516"/>
                  <a:gd name="connsiteX19" fmla="*/ 2958217 w 3901192"/>
                  <a:gd name="connsiteY19" fmla="*/ 1331516 h 4760516"/>
                  <a:gd name="connsiteX20" fmla="*/ 2948692 w 3901192"/>
                  <a:gd name="connsiteY20" fmla="*/ 1236266 h 4760516"/>
                  <a:gd name="connsiteX21" fmla="*/ 2958217 w 3901192"/>
                  <a:gd name="connsiteY21" fmla="*/ 1121966 h 4760516"/>
                  <a:gd name="connsiteX22" fmla="*/ 3005842 w 3901192"/>
                  <a:gd name="connsiteY22" fmla="*/ 1050529 h 4760516"/>
                  <a:gd name="connsiteX23" fmla="*/ 3061653 w 3901192"/>
                  <a:gd name="connsiteY23" fmla="*/ 1005769 h 4760516"/>
                  <a:gd name="connsiteX24" fmla="*/ 1814025 w 3901192"/>
                  <a:gd name="connsiteY24" fmla="*/ 0 h 4760516"/>
                  <a:gd name="connsiteX25" fmla="*/ 1956503 w 3901192"/>
                  <a:gd name="connsiteY25" fmla="*/ 1191 h 4760516"/>
                  <a:gd name="connsiteX26" fmla="*/ 2153353 w 3901192"/>
                  <a:gd name="connsiteY26" fmla="*/ 20241 h 4760516"/>
                  <a:gd name="connsiteX27" fmla="*/ 2381953 w 3901192"/>
                  <a:gd name="connsiteY27" fmla="*/ 121841 h 4760516"/>
                  <a:gd name="connsiteX28" fmla="*/ 2642303 w 3901192"/>
                  <a:gd name="connsiteY28" fmla="*/ 331391 h 4760516"/>
                  <a:gd name="connsiteX29" fmla="*/ 2947103 w 3901192"/>
                  <a:gd name="connsiteY29" fmla="*/ 693341 h 4760516"/>
                  <a:gd name="connsiteX30" fmla="*/ 3061403 w 3901192"/>
                  <a:gd name="connsiteY30" fmla="*/ 883841 h 4760516"/>
                  <a:gd name="connsiteX31" fmla="*/ 3010603 w 3901192"/>
                  <a:gd name="connsiteY31" fmla="*/ 1004491 h 4760516"/>
                  <a:gd name="connsiteX32" fmla="*/ 2902653 w 3901192"/>
                  <a:gd name="connsiteY32" fmla="*/ 1061641 h 4760516"/>
                  <a:gd name="connsiteX33" fmla="*/ 2826453 w 3901192"/>
                  <a:gd name="connsiteY33" fmla="*/ 998141 h 4760516"/>
                  <a:gd name="connsiteX34" fmla="*/ 2655003 w 3901192"/>
                  <a:gd name="connsiteY34" fmla="*/ 820341 h 4760516"/>
                  <a:gd name="connsiteX35" fmla="*/ 2350203 w 3901192"/>
                  <a:gd name="connsiteY35" fmla="*/ 674291 h 4760516"/>
                  <a:gd name="connsiteX36" fmla="*/ 2020003 w 3901192"/>
                  <a:gd name="connsiteY36" fmla="*/ 674291 h 4760516"/>
                  <a:gd name="connsiteX37" fmla="*/ 2343853 w 3901192"/>
                  <a:gd name="connsiteY37" fmla="*/ 769541 h 4760516"/>
                  <a:gd name="connsiteX38" fmla="*/ 2553403 w 3901192"/>
                  <a:gd name="connsiteY38" fmla="*/ 909241 h 4760516"/>
                  <a:gd name="connsiteX39" fmla="*/ 2629744 w 3901192"/>
                  <a:gd name="connsiteY39" fmla="*/ 973620 h 4760516"/>
                  <a:gd name="connsiteX40" fmla="*/ 2900916 w 3901192"/>
                  <a:gd name="connsiteY40" fmla="*/ 1067700 h 4760516"/>
                  <a:gd name="connsiteX41" fmla="*/ 2830249 w 3901192"/>
                  <a:gd name="connsiteY41" fmla="*/ 1212445 h 4760516"/>
                  <a:gd name="connsiteX42" fmla="*/ 2830249 w 3901192"/>
                  <a:gd name="connsiteY42" fmla="*/ 1445256 h 4760516"/>
                  <a:gd name="connsiteX43" fmla="*/ 2939160 w 3901192"/>
                  <a:gd name="connsiteY43" fmla="*/ 1531580 h 4760516"/>
                  <a:gd name="connsiteX44" fmla="*/ 2823146 w 3901192"/>
                  <a:gd name="connsiteY44" fmla="*/ 2041674 h 4760516"/>
                  <a:gd name="connsiteX45" fmla="*/ 2756852 w 3901192"/>
                  <a:gd name="connsiteY45" fmla="*/ 2086142 h 4760516"/>
                  <a:gd name="connsiteX46" fmla="*/ 2480251 w 3901192"/>
                  <a:gd name="connsiteY46" fmla="*/ 2698176 h 4760516"/>
                  <a:gd name="connsiteX47" fmla="*/ 2529592 w 3901192"/>
                  <a:gd name="connsiteY47" fmla="*/ 2817416 h 4760516"/>
                  <a:gd name="connsiteX48" fmla="*/ 2591504 w 3901192"/>
                  <a:gd name="connsiteY48" fmla="*/ 2874566 h 4760516"/>
                  <a:gd name="connsiteX49" fmla="*/ 2658179 w 3901192"/>
                  <a:gd name="connsiteY49" fmla="*/ 2884091 h 4760516"/>
                  <a:gd name="connsiteX50" fmla="*/ 2681992 w 3901192"/>
                  <a:gd name="connsiteY50" fmla="*/ 2912666 h 4760516"/>
                  <a:gd name="connsiteX51" fmla="*/ 2748667 w 3901192"/>
                  <a:gd name="connsiteY51" fmla="*/ 3079354 h 4760516"/>
                  <a:gd name="connsiteX52" fmla="*/ 2843917 w 3901192"/>
                  <a:gd name="connsiteY52" fmla="*/ 3174604 h 4760516"/>
                  <a:gd name="connsiteX53" fmla="*/ 2939167 w 3901192"/>
                  <a:gd name="connsiteY53" fmla="*/ 3207941 h 4760516"/>
                  <a:gd name="connsiteX54" fmla="*/ 3282067 w 3901192"/>
                  <a:gd name="connsiteY54" fmla="*/ 3317479 h 4760516"/>
                  <a:gd name="connsiteX55" fmla="*/ 3658304 w 3901192"/>
                  <a:gd name="connsiteY55" fmla="*/ 3493691 h 4760516"/>
                  <a:gd name="connsiteX56" fmla="*/ 3867854 w 3901192"/>
                  <a:gd name="connsiteY56" fmla="*/ 3641329 h 4760516"/>
                  <a:gd name="connsiteX57" fmla="*/ 3901192 w 3901192"/>
                  <a:gd name="connsiteY57" fmla="*/ 3769916 h 4760516"/>
                  <a:gd name="connsiteX58" fmla="*/ 3877379 w 3901192"/>
                  <a:gd name="connsiteY58" fmla="*/ 4027091 h 4760516"/>
                  <a:gd name="connsiteX59" fmla="*/ 3791654 w 3901192"/>
                  <a:gd name="connsiteY59" fmla="*/ 4236641 h 4760516"/>
                  <a:gd name="connsiteX60" fmla="*/ 3620204 w 3901192"/>
                  <a:gd name="connsiteY60" fmla="*/ 4598591 h 4760516"/>
                  <a:gd name="connsiteX61" fmla="*/ 3472567 w 3901192"/>
                  <a:gd name="connsiteY61" fmla="*/ 4760516 h 4760516"/>
                  <a:gd name="connsiteX62" fmla="*/ 338842 w 3901192"/>
                  <a:gd name="connsiteY62" fmla="*/ 4760516 h 4760516"/>
                  <a:gd name="connsiteX63" fmla="*/ 162629 w 3901192"/>
                  <a:gd name="connsiteY63" fmla="*/ 4436666 h 4760516"/>
                  <a:gd name="connsiteX64" fmla="*/ 57854 w 3901192"/>
                  <a:gd name="connsiteY64" fmla="*/ 4141391 h 4760516"/>
                  <a:gd name="connsiteX65" fmla="*/ 704 w 3901192"/>
                  <a:gd name="connsiteY65" fmla="*/ 3855641 h 4760516"/>
                  <a:gd name="connsiteX66" fmla="*/ 24517 w 3901192"/>
                  <a:gd name="connsiteY66" fmla="*/ 3703241 h 4760516"/>
                  <a:gd name="connsiteX67" fmla="*/ 219779 w 3901192"/>
                  <a:gd name="connsiteY67" fmla="*/ 3584179 h 4760516"/>
                  <a:gd name="connsiteX68" fmla="*/ 534104 w 3901192"/>
                  <a:gd name="connsiteY68" fmla="*/ 3450829 h 4760516"/>
                  <a:gd name="connsiteX69" fmla="*/ 934154 w 3901192"/>
                  <a:gd name="connsiteY69" fmla="*/ 3293666 h 4760516"/>
                  <a:gd name="connsiteX70" fmla="*/ 1134179 w 3901192"/>
                  <a:gd name="connsiteY70" fmla="*/ 3217466 h 4760516"/>
                  <a:gd name="connsiteX71" fmla="*/ 1277054 w 3901192"/>
                  <a:gd name="connsiteY71" fmla="*/ 2950766 h 4760516"/>
                  <a:gd name="connsiteX72" fmla="*/ 1372304 w 3901192"/>
                  <a:gd name="connsiteY72" fmla="*/ 2888854 h 4760516"/>
                  <a:gd name="connsiteX73" fmla="*/ 1443742 w 3901192"/>
                  <a:gd name="connsiteY73" fmla="*/ 2750741 h 4760516"/>
                  <a:gd name="connsiteX74" fmla="*/ 1429454 w 3901192"/>
                  <a:gd name="connsiteY74" fmla="*/ 2665016 h 4760516"/>
                  <a:gd name="connsiteX75" fmla="*/ 1433043 w 3901192"/>
                  <a:gd name="connsiteY75" fmla="*/ 2655556 h 4760516"/>
                  <a:gd name="connsiteX76" fmla="*/ 1412036 w 3901192"/>
                  <a:gd name="connsiteY76" fmla="*/ 2630242 h 4760516"/>
                  <a:gd name="connsiteX77" fmla="*/ 1170537 w 3901192"/>
                  <a:gd name="connsiteY77" fmla="*/ 2059985 h 4760516"/>
                  <a:gd name="connsiteX78" fmla="*/ 976392 w 3901192"/>
                  <a:gd name="connsiteY78" fmla="*/ 1612672 h 4760516"/>
                  <a:gd name="connsiteX79" fmla="*/ 1052155 w 3901192"/>
                  <a:gd name="connsiteY79" fmla="*/ 1487109 h 4760516"/>
                  <a:gd name="connsiteX80" fmla="*/ 1017551 w 3901192"/>
                  <a:gd name="connsiteY80" fmla="*/ 1277790 h 4760516"/>
                  <a:gd name="connsiteX81" fmla="*/ 934153 w 3901192"/>
                  <a:gd name="connsiteY81" fmla="*/ 1341041 h 4760516"/>
                  <a:gd name="connsiteX82" fmla="*/ 883353 w 3901192"/>
                  <a:gd name="connsiteY82" fmla="*/ 1404541 h 4760516"/>
                  <a:gd name="connsiteX83" fmla="*/ 838903 w 3901192"/>
                  <a:gd name="connsiteY83" fmla="*/ 1525191 h 4760516"/>
                  <a:gd name="connsiteX84" fmla="*/ 857953 w 3901192"/>
                  <a:gd name="connsiteY84" fmla="*/ 1645841 h 4760516"/>
                  <a:gd name="connsiteX85" fmla="*/ 889703 w 3901192"/>
                  <a:gd name="connsiteY85" fmla="*/ 1829991 h 4760516"/>
                  <a:gd name="connsiteX86" fmla="*/ 965903 w 3901192"/>
                  <a:gd name="connsiteY86" fmla="*/ 2128441 h 4760516"/>
                  <a:gd name="connsiteX87" fmla="*/ 1048453 w 3901192"/>
                  <a:gd name="connsiteY87" fmla="*/ 2198291 h 4760516"/>
                  <a:gd name="connsiteX88" fmla="*/ 1099253 w 3901192"/>
                  <a:gd name="connsiteY88" fmla="*/ 2331641 h 4760516"/>
                  <a:gd name="connsiteX89" fmla="*/ 1219903 w 3901192"/>
                  <a:gd name="connsiteY89" fmla="*/ 2566591 h 4760516"/>
                  <a:gd name="connsiteX90" fmla="*/ 1270703 w 3901192"/>
                  <a:gd name="connsiteY90" fmla="*/ 2712641 h 4760516"/>
                  <a:gd name="connsiteX91" fmla="*/ 1131003 w 3901192"/>
                  <a:gd name="connsiteY91" fmla="*/ 2750741 h 4760516"/>
                  <a:gd name="connsiteX92" fmla="*/ 927803 w 3901192"/>
                  <a:gd name="connsiteY92" fmla="*/ 2776141 h 4760516"/>
                  <a:gd name="connsiteX93" fmla="*/ 743653 w 3901192"/>
                  <a:gd name="connsiteY93" fmla="*/ 2731691 h 4760516"/>
                  <a:gd name="connsiteX94" fmla="*/ 661103 w 3901192"/>
                  <a:gd name="connsiteY94" fmla="*/ 2591991 h 4760516"/>
                  <a:gd name="connsiteX95" fmla="*/ 623003 w 3901192"/>
                  <a:gd name="connsiteY95" fmla="*/ 2344341 h 4760516"/>
                  <a:gd name="connsiteX96" fmla="*/ 635703 w 3901192"/>
                  <a:gd name="connsiteY96" fmla="*/ 2020491 h 4760516"/>
                  <a:gd name="connsiteX97" fmla="*/ 737303 w 3901192"/>
                  <a:gd name="connsiteY97" fmla="*/ 1328341 h 4760516"/>
                  <a:gd name="connsiteX98" fmla="*/ 972253 w 3901192"/>
                  <a:gd name="connsiteY98" fmla="*/ 623491 h 4760516"/>
                  <a:gd name="connsiteX99" fmla="*/ 1169103 w 3901192"/>
                  <a:gd name="connsiteY99" fmla="*/ 299641 h 4760516"/>
                  <a:gd name="connsiteX100" fmla="*/ 1359603 w 3901192"/>
                  <a:gd name="connsiteY100" fmla="*/ 140891 h 4760516"/>
                  <a:gd name="connsiteX101" fmla="*/ 1531053 w 3901192"/>
                  <a:gd name="connsiteY101" fmla="*/ 115491 h 4760516"/>
                  <a:gd name="connsiteX102" fmla="*/ 1677103 w 3901192"/>
                  <a:gd name="connsiteY102" fmla="*/ 13891 h 4760516"/>
                  <a:gd name="connsiteX103" fmla="*/ 1814025 w 3901192"/>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2384"/>
                  <a:gd name="connsiteY0" fmla="*/ 1005769 h 4760516"/>
                  <a:gd name="connsiteX1" fmla="*/ 3082677 w 3902384"/>
                  <a:gd name="connsiteY1" fmla="*/ 1026716 h 4760516"/>
                  <a:gd name="connsiteX2" fmla="*/ 3168402 w 3902384"/>
                  <a:gd name="connsiteY2" fmla="*/ 1369616 h 4760516"/>
                  <a:gd name="connsiteX3" fmla="*/ 3254127 w 3902384"/>
                  <a:gd name="connsiteY3" fmla="*/ 1822054 h 4760516"/>
                  <a:gd name="connsiteX4" fmla="*/ 3282702 w 3902384"/>
                  <a:gd name="connsiteY4" fmla="*/ 2255441 h 4760516"/>
                  <a:gd name="connsiteX5" fmla="*/ 3273177 w 3902384"/>
                  <a:gd name="connsiteY5" fmla="*/ 2526904 h 4760516"/>
                  <a:gd name="connsiteX6" fmla="*/ 3192214 w 3902384"/>
                  <a:gd name="connsiteY6" fmla="*/ 2722166 h 4760516"/>
                  <a:gd name="connsiteX7" fmla="*/ 3044577 w 3902384"/>
                  <a:gd name="connsiteY7" fmla="*/ 2750741 h 4760516"/>
                  <a:gd name="connsiteX8" fmla="*/ 2811214 w 3902384"/>
                  <a:gd name="connsiteY8" fmla="*/ 2731691 h 4760516"/>
                  <a:gd name="connsiteX9" fmla="*/ 2635002 w 3902384"/>
                  <a:gd name="connsiteY9" fmla="*/ 2669779 h 4760516"/>
                  <a:gd name="connsiteX10" fmla="*/ 2658814 w 3902384"/>
                  <a:gd name="connsiteY10" fmla="*/ 2603104 h 4760516"/>
                  <a:gd name="connsiteX11" fmla="*/ 2754064 w 3902384"/>
                  <a:gd name="connsiteY11" fmla="*/ 2474516 h 4760516"/>
                  <a:gd name="connsiteX12" fmla="*/ 2844552 w 3902384"/>
                  <a:gd name="connsiteY12" fmla="*/ 2255441 h 4760516"/>
                  <a:gd name="connsiteX13" fmla="*/ 2863602 w 3902384"/>
                  <a:gd name="connsiteY13" fmla="*/ 2160191 h 4760516"/>
                  <a:gd name="connsiteX14" fmla="*/ 2920752 w 3902384"/>
                  <a:gd name="connsiteY14" fmla="*/ 2098279 h 4760516"/>
                  <a:gd name="connsiteX15" fmla="*/ 3001714 w 3902384"/>
                  <a:gd name="connsiteY15" fmla="*/ 1855391 h 4760516"/>
                  <a:gd name="connsiteX16" fmla="*/ 3058864 w 3902384"/>
                  <a:gd name="connsiteY16" fmla="*/ 1598216 h 4760516"/>
                  <a:gd name="connsiteX17" fmla="*/ 3063627 w 3902384"/>
                  <a:gd name="connsiteY17" fmla="*/ 1483916 h 4760516"/>
                  <a:gd name="connsiteX18" fmla="*/ 3011239 w 3902384"/>
                  <a:gd name="connsiteY18" fmla="*/ 1379141 h 4760516"/>
                  <a:gd name="connsiteX19" fmla="*/ 2958852 w 3902384"/>
                  <a:gd name="connsiteY19" fmla="*/ 1331516 h 4760516"/>
                  <a:gd name="connsiteX20" fmla="*/ 2949327 w 3902384"/>
                  <a:gd name="connsiteY20" fmla="*/ 1236266 h 4760516"/>
                  <a:gd name="connsiteX21" fmla="*/ 2958852 w 3902384"/>
                  <a:gd name="connsiteY21" fmla="*/ 1121966 h 4760516"/>
                  <a:gd name="connsiteX22" fmla="*/ 3006477 w 3902384"/>
                  <a:gd name="connsiteY22" fmla="*/ 1050529 h 4760516"/>
                  <a:gd name="connsiteX23" fmla="*/ 3062288 w 3902384"/>
                  <a:gd name="connsiteY23" fmla="*/ 1005769 h 4760516"/>
                  <a:gd name="connsiteX24" fmla="*/ 1814660 w 3902384"/>
                  <a:gd name="connsiteY24" fmla="*/ 0 h 4760516"/>
                  <a:gd name="connsiteX25" fmla="*/ 1957138 w 3902384"/>
                  <a:gd name="connsiteY25" fmla="*/ 1191 h 4760516"/>
                  <a:gd name="connsiteX26" fmla="*/ 2153988 w 3902384"/>
                  <a:gd name="connsiteY26" fmla="*/ 20241 h 4760516"/>
                  <a:gd name="connsiteX27" fmla="*/ 2382588 w 3902384"/>
                  <a:gd name="connsiteY27" fmla="*/ 121841 h 4760516"/>
                  <a:gd name="connsiteX28" fmla="*/ 2642938 w 3902384"/>
                  <a:gd name="connsiteY28" fmla="*/ 331391 h 4760516"/>
                  <a:gd name="connsiteX29" fmla="*/ 2947738 w 3902384"/>
                  <a:gd name="connsiteY29" fmla="*/ 693341 h 4760516"/>
                  <a:gd name="connsiteX30" fmla="*/ 3062038 w 3902384"/>
                  <a:gd name="connsiteY30" fmla="*/ 883841 h 4760516"/>
                  <a:gd name="connsiteX31" fmla="*/ 3011238 w 3902384"/>
                  <a:gd name="connsiteY31" fmla="*/ 1004491 h 4760516"/>
                  <a:gd name="connsiteX32" fmla="*/ 2903288 w 3902384"/>
                  <a:gd name="connsiteY32" fmla="*/ 1061641 h 4760516"/>
                  <a:gd name="connsiteX33" fmla="*/ 2827088 w 3902384"/>
                  <a:gd name="connsiteY33" fmla="*/ 998141 h 4760516"/>
                  <a:gd name="connsiteX34" fmla="*/ 2655638 w 3902384"/>
                  <a:gd name="connsiteY34" fmla="*/ 820341 h 4760516"/>
                  <a:gd name="connsiteX35" fmla="*/ 2350838 w 3902384"/>
                  <a:gd name="connsiteY35" fmla="*/ 674291 h 4760516"/>
                  <a:gd name="connsiteX36" fmla="*/ 2020638 w 3902384"/>
                  <a:gd name="connsiteY36" fmla="*/ 674291 h 4760516"/>
                  <a:gd name="connsiteX37" fmla="*/ 2344488 w 3902384"/>
                  <a:gd name="connsiteY37" fmla="*/ 769541 h 4760516"/>
                  <a:gd name="connsiteX38" fmla="*/ 2554038 w 3902384"/>
                  <a:gd name="connsiteY38" fmla="*/ 909241 h 4760516"/>
                  <a:gd name="connsiteX39" fmla="*/ 2630379 w 3902384"/>
                  <a:gd name="connsiteY39" fmla="*/ 973620 h 4760516"/>
                  <a:gd name="connsiteX40" fmla="*/ 2901551 w 3902384"/>
                  <a:gd name="connsiteY40" fmla="*/ 1067700 h 4760516"/>
                  <a:gd name="connsiteX41" fmla="*/ 2830884 w 3902384"/>
                  <a:gd name="connsiteY41" fmla="*/ 1212445 h 4760516"/>
                  <a:gd name="connsiteX42" fmla="*/ 2830884 w 3902384"/>
                  <a:gd name="connsiteY42" fmla="*/ 1445256 h 4760516"/>
                  <a:gd name="connsiteX43" fmla="*/ 2939795 w 3902384"/>
                  <a:gd name="connsiteY43" fmla="*/ 1531580 h 4760516"/>
                  <a:gd name="connsiteX44" fmla="*/ 2823781 w 3902384"/>
                  <a:gd name="connsiteY44" fmla="*/ 2041674 h 4760516"/>
                  <a:gd name="connsiteX45" fmla="*/ 2757487 w 3902384"/>
                  <a:gd name="connsiteY45" fmla="*/ 2086142 h 4760516"/>
                  <a:gd name="connsiteX46" fmla="*/ 2480886 w 3902384"/>
                  <a:gd name="connsiteY46" fmla="*/ 2698176 h 4760516"/>
                  <a:gd name="connsiteX47" fmla="*/ 2530227 w 3902384"/>
                  <a:gd name="connsiteY47" fmla="*/ 2817416 h 4760516"/>
                  <a:gd name="connsiteX48" fmla="*/ 2592139 w 3902384"/>
                  <a:gd name="connsiteY48" fmla="*/ 2874566 h 4760516"/>
                  <a:gd name="connsiteX49" fmla="*/ 2658814 w 3902384"/>
                  <a:gd name="connsiteY49" fmla="*/ 2884091 h 4760516"/>
                  <a:gd name="connsiteX50" fmla="*/ 2682627 w 3902384"/>
                  <a:gd name="connsiteY50" fmla="*/ 2912666 h 4760516"/>
                  <a:gd name="connsiteX51" fmla="*/ 2749302 w 3902384"/>
                  <a:gd name="connsiteY51" fmla="*/ 3079354 h 4760516"/>
                  <a:gd name="connsiteX52" fmla="*/ 2844552 w 3902384"/>
                  <a:gd name="connsiteY52" fmla="*/ 3174604 h 4760516"/>
                  <a:gd name="connsiteX53" fmla="*/ 2939802 w 3902384"/>
                  <a:gd name="connsiteY53" fmla="*/ 3207941 h 4760516"/>
                  <a:gd name="connsiteX54" fmla="*/ 3282702 w 3902384"/>
                  <a:gd name="connsiteY54" fmla="*/ 3317479 h 4760516"/>
                  <a:gd name="connsiteX55" fmla="*/ 3658939 w 3902384"/>
                  <a:gd name="connsiteY55" fmla="*/ 3493691 h 4760516"/>
                  <a:gd name="connsiteX56" fmla="*/ 3868489 w 3902384"/>
                  <a:gd name="connsiteY56" fmla="*/ 3641329 h 4760516"/>
                  <a:gd name="connsiteX57" fmla="*/ 3901827 w 3902384"/>
                  <a:gd name="connsiteY57" fmla="*/ 3769916 h 4760516"/>
                  <a:gd name="connsiteX58" fmla="*/ 3878014 w 3902384"/>
                  <a:gd name="connsiteY58" fmla="*/ 4027091 h 4760516"/>
                  <a:gd name="connsiteX59" fmla="*/ 3792289 w 3902384"/>
                  <a:gd name="connsiteY59" fmla="*/ 4236641 h 4760516"/>
                  <a:gd name="connsiteX60" fmla="*/ 3620839 w 3902384"/>
                  <a:gd name="connsiteY60" fmla="*/ 4598591 h 4760516"/>
                  <a:gd name="connsiteX61" fmla="*/ 3473202 w 3902384"/>
                  <a:gd name="connsiteY61" fmla="*/ 4760516 h 4760516"/>
                  <a:gd name="connsiteX62" fmla="*/ 339477 w 3902384"/>
                  <a:gd name="connsiteY62" fmla="*/ 4760516 h 4760516"/>
                  <a:gd name="connsiteX63" fmla="*/ 163264 w 3902384"/>
                  <a:gd name="connsiteY63" fmla="*/ 4436666 h 4760516"/>
                  <a:gd name="connsiteX64" fmla="*/ 58489 w 3902384"/>
                  <a:gd name="connsiteY64" fmla="*/ 4141391 h 4760516"/>
                  <a:gd name="connsiteX65" fmla="*/ 1339 w 3902384"/>
                  <a:gd name="connsiteY65" fmla="*/ 3855641 h 4760516"/>
                  <a:gd name="connsiteX66" fmla="*/ 25152 w 3902384"/>
                  <a:gd name="connsiteY66" fmla="*/ 3703241 h 4760516"/>
                  <a:gd name="connsiteX67" fmla="*/ 220414 w 3902384"/>
                  <a:gd name="connsiteY67" fmla="*/ 3584179 h 4760516"/>
                  <a:gd name="connsiteX68" fmla="*/ 534739 w 3902384"/>
                  <a:gd name="connsiteY68" fmla="*/ 3450829 h 4760516"/>
                  <a:gd name="connsiteX69" fmla="*/ 934789 w 3902384"/>
                  <a:gd name="connsiteY69" fmla="*/ 3293666 h 4760516"/>
                  <a:gd name="connsiteX70" fmla="*/ 1134814 w 3902384"/>
                  <a:gd name="connsiteY70" fmla="*/ 3217466 h 4760516"/>
                  <a:gd name="connsiteX71" fmla="*/ 1277689 w 3902384"/>
                  <a:gd name="connsiteY71" fmla="*/ 2950766 h 4760516"/>
                  <a:gd name="connsiteX72" fmla="*/ 1372939 w 3902384"/>
                  <a:gd name="connsiteY72" fmla="*/ 2888854 h 4760516"/>
                  <a:gd name="connsiteX73" fmla="*/ 1444377 w 3902384"/>
                  <a:gd name="connsiteY73" fmla="*/ 2750741 h 4760516"/>
                  <a:gd name="connsiteX74" fmla="*/ 1430089 w 3902384"/>
                  <a:gd name="connsiteY74" fmla="*/ 2665016 h 4760516"/>
                  <a:gd name="connsiteX75" fmla="*/ 1433678 w 3902384"/>
                  <a:gd name="connsiteY75" fmla="*/ 2655556 h 4760516"/>
                  <a:gd name="connsiteX76" fmla="*/ 1412671 w 3902384"/>
                  <a:gd name="connsiteY76" fmla="*/ 2630242 h 4760516"/>
                  <a:gd name="connsiteX77" fmla="*/ 1171172 w 3902384"/>
                  <a:gd name="connsiteY77" fmla="*/ 2059985 h 4760516"/>
                  <a:gd name="connsiteX78" fmla="*/ 977027 w 3902384"/>
                  <a:gd name="connsiteY78" fmla="*/ 1612672 h 4760516"/>
                  <a:gd name="connsiteX79" fmla="*/ 1052790 w 3902384"/>
                  <a:gd name="connsiteY79" fmla="*/ 1487109 h 4760516"/>
                  <a:gd name="connsiteX80" fmla="*/ 1018186 w 3902384"/>
                  <a:gd name="connsiteY80" fmla="*/ 1277790 h 4760516"/>
                  <a:gd name="connsiteX81" fmla="*/ 934788 w 3902384"/>
                  <a:gd name="connsiteY81" fmla="*/ 1341041 h 4760516"/>
                  <a:gd name="connsiteX82" fmla="*/ 883988 w 3902384"/>
                  <a:gd name="connsiteY82" fmla="*/ 1404541 h 4760516"/>
                  <a:gd name="connsiteX83" fmla="*/ 839538 w 3902384"/>
                  <a:gd name="connsiteY83" fmla="*/ 1525191 h 4760516"/>
                  <a:gd name="connsiteX84" fmla="*/ 858588 w 3902384"/>
                  <a:gd name="connsiteY84" fmla="*/ 1645841 h 4760516"/>
                  <a:gd name="connsiteX85" fmla="*/ 890338 w 3902384"/>
                  <a:gd name="connsiteY85" fmla="*/ 1829991 h 4760516"/>
                  <a:gd name="connsiteX86" fmla="*/ 966538 w 3902384"/>
                  <a:gd name="connsiteY86" fmla="*/ 2128441 h 4760516"/>
                  <a:gd name="connsiteX87" fmla="*/ 1049088 w 3902384"/>
                  <a:gd name="connsiteY87" fmla="*/ 2198291 h 4760516"/>
                  <a:gd name="connsiteX88" fmla="*/ 1099888 w 3902384"/>
                  <a:gd name="connsiteY88" fmla="*/ 2331641 h 4760516"/>
                  <a:gd name="connsiteX89" fmla="*/ 1220538 w 3902384"/>
                  <a:gd name="connsiteY89" fmla="*/ 2566591 h 4760516"/>
                  <a:gd name="connsiteX90" fmla="*/ 1271338 w 3902384"/>
                  <a:gd name="connsiteY90" fmla="*/ 2712641 h 4760516"/>
                  <a:gd name="connsiteX91" fmla="*/ 1131638 w 3902384"/>
                  <a:gd name="connsiteY91" fmla="*/ 2750741 h 4760516"/>
                  <a:gd name="connsiteX92" fmla="*/ 928438 w 3902384"/>
                  <a:gd name="connsiteY92" fmla="*/ 2776141 h 4760516"/>
                  <a:gd name="connsiteX93" fmla="*/ 744288 w 3902384"/>
                  <a:gd name="connsiteY93" fmla="*/ 2731691 h 4760516"/>
                  <a:gd name="connsiteX94" fmla="*/ 661738 w 3902384"/>
                  <a:gd name="connsiteY94" fmla="*/ 2591991 h 4760516"/>
                  <a:gd name="connsiteX95" fmla="*/ 623638 w 3902384"/>
                  <a:gd name="connsiteY95" fmla="*/ 2344341 h 4760516"/>
                  <a:gd name="connsiteX96" fmla="*/ 636338 w 3902384"/>
                  <a:gd name="connsiteY96" fmla="*/ 2020491 h 4760516"/>
                  <a:gd name="connsiteX97" fmla="*/ 737938 w 3902384"/>
                  <a:gd name="connsiteY97" fmla="*/ 1328341 h 4760516"/>
                  <a:gd name="connsiteX98" fmla="*/ 972888 w 3902384"/>
                  <a:gd name="connsiteY98" fmla="*/ 623491 h 4760516"/>
                  <a:gd name="connsiteX99" fmla="*/ 1169738 w 3902384"/>
                  <a:gd name="connsiteY99" fmla="*/ 299641 h 4760516"/>
                  <a:gd name="connsiteX100" fmla="*/ 1360238 w 3902384"/>
                  <a:gd name="connsiteY100" fmla="*/ 140891 h 4760516"/>
                  <a:gd name="connsiteX101" fmla="*/ 1531688 w 3902384"/>
                  <a:gd name="connsiteY101" fmla="*/ 115491 h 4760516"/>
                  <a:gd name="connsiteX102" fmla="*/ 1677738 w 3902384"/>
                  <a:gd name="connsiteY102" fmla="*/ 13891 h 4760516"/>
                  <a:gd name="connsiteX103" fmla="*/ 1814660 w 3902384"/>
                  <a:gd name="connsiteY103" fmla="*/ 0 h 4760516"/>
                  <a:gd name="connsiteX0" fmla="*/ 3062288 w 3903424"/>
                  <a:gd name="connsiteY0" fmla="*/ 1005769 h 4760516"/>
                  <a:gd name="connsiteX1" fmla="*/ 3082677 w 3903424"/>
                  <a:gd name="connsiteY1" fmla="*/ 1026716 h 4760516"/>
                  <a:gd name="connsiteX2" fmla="*/ 3168402 w 3903424"/>
                  <a:gd name="connsiteY2" fmla="*/ 1369616 h 4760516"/>
                  <a:gd name="connsiteX3" fmla="*/ 3254127 w 3903424"/>
                  <a:gd name="connsiteY3" fmla="*/ 1822054 h 4760516"/>
                  <a:gd name="connsiteX4" fmla="*/ 3282702 w 3903424"/>
                  <a:gd name="connsiteY4" fmla="*/ 2255441 h 4760516"/>
                  <a:gd name="connsiteX5" fmla="*/ 3273177 w 3903424"/>
                  <a:gd name="connsiteY5" fmla="*/ 2526904 h 4760516"/>
                  <a:gd name="connsiteX6" fmla="*/ 3192214 w 3903424"/>
                  <a:gd name="connsiteY6" fmla="*/ 2722166 h 4760516"/>
                  <a:gd name="connsiteX7" fmla="*/ 3044577 w 3903424"/>
                  <a:gd name="connsiteY7" fmla="*/ 2750741 h 4760516"/>
                  <a:gd name="connsiteX8" fmla="*/ 2811214 w 3903424"/>
                  <a:gd name="connsiteY8" fmla="*/ 2731691 h 4760516"/>
                  <a:gd name="connsiteX9" fmla="*/ 2635002 w 3903424"/>
                  <a:gd name="connsiteY9" fmla="*/ 2669779 h 4760516"/>
                  <a:gd name="connsiteX10" fmla="*/ 2658814 w 3903424"/>
                  <a:gd name="connsiteY10" fmla="*/ 2603104 h 4760516"/>
                  <a:gd name="connsiteX11" fmla="*/ 2754064 w 3903424"/>
                  <a:gd name="connsiteY11" fmla="*/ 2474516 h 4760516"/>
                  <a:gd name="connsiteX12" fmla="*/ 2844552 w 3903424"/>
                  <a:gd name="connsiteY12" fmla="*/ 2255441 h 4760516"/>
                  <a:gd name="connsiteX13" fmla="*/ 2863602 w 3903424"/>
                  <a:gd name="connsiteY13" fmla="*/ 2160191 h 4760516"/>
                  <a:gd name="connsiteX14" fmla="*/ 2920752 w 3903424"/>
                  <a:gd name="connsiteY14" fmla="*/ 2098279 h 4760516"/>
                  <a:gd name="connsiteX15" fmla="*/ 3001714 w 3903424"/>
                  <a:gd name="connsiteY15" fmla="*/ 1855391 h 4760516"/>
                  <a:gd name="connsiteX16" fmla="*/ 3058864 w 3903424"/>
                  <a:gd name="connsiteY16" fmla="*/ 1598216 h 4760516"/>
                  <a:gd name="connsiteX17" fmla="*/ 3063627 w 3903424"/>
                  <a:gd name="connsiteY17" fmla="*/ 1483916 h 4760516"/>
                  <a:gd name="connsiteX18" fmla="*/ 3011239 w 3903424"/>
                  <a:gd name="connsiteY18" fmla="*/ 1379141 h 4760516"/>
                  <a:gd name="connsiteX19" fmla="*/ 2958852 w 3903424"/>
                  <a:gd name="connsiteY19" fmla="*/ 1331516 h 4760516"/>
                  <a:gd name="connsiteX20" fmla="*/ 2949327 w 3903424"/>
                  <a:gd name="connsiteY20" fmla="*/ 1236266 h 4760516"/>
                  <a:gd name="connsiteX21" fmla="*/ 2958852 w 3903424"/>
                  <a:gd name="connsiteY21" fmla="*/ 1121966 h 4760516"/>
                  <a:gd name="connsiteX22" fmla="*/ 3006477 w 3903424"/>
                  <a:gd name="connsiteY22" fmla="*/ 1050529 h 4760516"/>
                  <a:gd name="connsiteX23" fmla="*/ 3062288 w 3903424"/>
                  <a:gd name="connsiteY23" fmla="*/ 1005769 h 4760516"/>
                  <a:gd name="connsiteX24" fmla="*/ 1814660 w 3903424"/>
                  <a:gd name="connsiteY24" fmla="*/ 0 h 4760516"/>
                  <a:gd name="connsiteX25" fmla="*/ 1957138 w 3903424"/>
                  <a:gd name="connsiteY25" fmla="*/ 1191 h 4760516"/>
                  <a:gd name="connsiteX26" fmla="*/ 2153988 w 3903424"/>
                  <a:gd name="connsiteY26" fmla="*/ 20241 h 4760516"/>
                  <a:gd name="connsiteX27" fmla="*/ 2382588 w 3903424"/>
                  <a:gd name="connsiteY27" fmla="*/ 121841 h 4760516"/>
                  <a:gd name="connsiteX28" fmla="*/ 2642938 w 3903424"/>
                  <a:gd name="connsiteY28" fmla="*/ 331391 h 4760516"/>
                  <a:gd name="connsiteX29" fmla="*/ 2947738 w 3903424"/>
                  <a:gd name="connsiteY29" fmla="*/ 693341 h 4760516"/>
                  <a:gd name="connsiteX30" fmla="*/ 3062038 w 3903424"/>
                  <a:gd name="connsiteY30" fmla="*/ 883841 h 4760516"/>
                  <a:gd name="connsiteX31" fmla="*/ 3011238 w 3903424"/>
                  <a:gd name="connsiteY31" fmla="*/ 1004491 h 4760516"/>
                  <a:gd name="connsiteX32" fmla="*/ 2903288 w 3903424"/>
                  <a:gd name="connsiteY32" fmla="*/ 1061641 h 4760516"/>
                  <a:gd name="connsiteX33" fmla="*/ 2827088 w 3903424"/>
                  <a:gd name="connsiteY33" fmla="*/ 998141 h 4760516"/>
                  <a:gd name="connsiteX34" fmla="*/ 2655638 w 3903424"/>
                  <a:gd name="connsiteY34" fmla="*/ 820341 h 4760516"/>
                  <a:gd name="connsiteX35" fmla="*/ 2350838 w 3903424"/>
                  <a:gd name="connsiteY35" fmla="*/ 674291 h 4760516"/>
                  <a:gd name="connsiteX36" fmla="*/ 2020638 w 3903424"/>
                  <a:gd name="connsiteY36" fmla="*/ 674291 h 4760516"/>
                  <a:gd name="connsiteX37" fmla="*/ 2344488 w 3903424"/>
                  <a:gd name="connsiteY37" fmla="*/ 769541 h 4760516"/>
                  <a:gd name="connsiteX38" fmla="*/ 2554038 w 3903424"/>
                  <a:gd name="connsiteY38" fmla="*/ 909241 h 4760516"/>
                  <a:gd name="connsiteX39" fmla="*/ 2630379 w 3903424"/>
                  <a:gd name="connsiteY39" fmla="*/ 973620 h 4760516"/>
                  <a:gd name="connsiteX40" fmla="*/ 2901551 w 3903424"/>
                  <a:gd name="connsiteY40" fmla="*/ 1067700 h 4760516"/>
                  <a:gd name="connsiteX41" fmla="*/ 2830884 w 3903424"/>
                  <a:gd name="connsiteY41" fmla="*/ 1212445 h 4760516"/>
                  <a:gd name="connsiteX42" fmla="*/ 2830884 w 3903424"/>
                  <a:gd name="connsiteY42" fmla="*/ 1445256 h 4760516"/>
                  <a:gd name="connsiteX43" fmla="*/ 2939795 w 3903424"/>
                  <a:gd name="connsiteY43" fmla="*/ 1531580 h 4760516"/>
                  <a:gd name="connsiteX44" fmla="*/ 2823781 w 3903424"/>
                  <a:gd name="connsiteY44" fmla="*/ 2041674 h 4760516"/>
                  <a:gd name="connsiteX45" fmla="*/ 2757487 w 3903424"/>
                  <a:gd name="connsiteY45" fmla="*/ 2086142 h 4760516"/>
                  <a:gd name="connsiteX46" fmla="*/ 2480886 w 3903424"/>
                  <a:gd name="connsiteY46" fmla="*/ 2698176 h 4760516"/>
                  <a:gd name="connsiteX47" fmla="*/ 2530227 w 3903424"/>
                  <a:gd name="connsiteY47" fmla="*/ 2817416 h 4760516"/>
                  <a:gd name="connsiteX48" fmla="*/ 2592139 w 3903424"/>
                  <a:gd name="connsiteY48" fmla="*/ 2874566 h 4760516"/>
                  <a:gd name="connsiteX49" fmla="*/ 2658814 w 3903424"/>
                  <a:gd name="connsiteY49" fmla="*/ 2884091 h 4760516"/>
                  <a:gd name="connsiteX50" fmla="*/ 2682627 w 3903424"/>
                  <a:gd name="connsiteY50" fmla="*/ 2912666 h 4760516"/>
                  <a:gd name="connsiteX51" fmla="*/ 2749302 w 3903424"/>
                  <a:gd name="connsiteY51" fmla="*/ 3079354 h 4760516"/>
                  <a:gd name="connsiteX52" fmla="*/ 2844552 w 3903424"/>
                  <a:gd name="connsiteY52" fmla="*/ 3174604 h 4760516"/>
                  <a:gd name="connsiteX53" fmla="*/ 2939802 w 3903424"/>
                  <a:gd name="connsiteY53" fmla="*/ 3207941 h 4760516"/>
                  <a:gd name="connsiteX54" fmla="*/ 3282702 w 3903424"/>
                  <a:gd name="connsiteY54" fmla="*/ 3317479 h 4760516"/>
                  <a:gd name="connsiteX55" fmla="*/ 3658939 w 3903424"/>
                  <a:gd name="connsiteY55" fmla="*/ 3493691 h 4760516"/>
                  <a:gd name="connsiteX56" fmla="*/ 3868489 w 3903424"/>
                  <a:gd name="connsiteY56" fmla="*/ 3641329 h 4760516"/>
                  <a:gd name="connsiteX57" fmla="*/ 3901827 w 3903424"/>
                  <a:gd name="connsiteY57" fmla="*/ 3769916 h 4760516"/>
                  <a:gd name="connsiteX58" fmla="*/ 3878014 w 3903424"/>
                  <a:gd name="connsiteY58" fmla="*/ 4027091 h 4760516"/>
                  <a:gd name="connsiteX59" fmla="*/ 3792289 w 3903424"/>
                  <a:gd name="connsiteY59" fmla="*/ 4236641 h 4760516"/>
                  <a:gd name="connsiteX60" fmla="*/ 3620839 w 3903424"/>
                  <a:gd name="connsiteY60" fmla="*/ 4598591 h 4760516"/>
                  <a:gd name="connsiteX61" fmla="*/ 3473202 w 3903424"/>
                  <a:gd name="connsiteY61" fmla="*/ 4760516 h 4760516"/>
                  <a:gd name="connsiteX62" fmla="*/ 339477 w 3903424"/>
                  <a:gd name="connsiteY62" fmla="*/ 4760516 h 4760516"/>
                  <a:gd name="connsiteX63" fmla="*/ 163264 w 3903424"/>
                  <a:gd name="connsiteY63" fmla="*/ 4436666 h 4760516"/>
                  <a:gd name="connsiteX64" fmla="*/ 58489 w 3903424"/>
                  <a:gd name="connsiteY64" fmla="*/ 4141391 h 4760516"/>
                  <a:gd name="connsiteX65" fmla="*/ 1339 w 3903424"/>
                  <a:gd name="connsiteY65" fmla="*/ 3855641 h 4760516"/>
                  <a:gd name="connsiteX66" fmla="*/ 25152 w 3903424"/>
                  <a:gd name="connsiteY66" fmla="*/ 3703241 h 4760516"/>
                  <a:gd name="connsiteX67" fmla="*/ 220414 w 3903424"/>
                  <a:gd name="connsiteY67" fmla="*/ 3584179 h 4760516"/>
                  <a:gd name="connsiteX68" fmla="*/ 534739 w 3903424"/>
                  <a:gd name="connsiteY68" fmla="*/ 3450829 h 4760516"/>
                  <a:gd name="connsiteX69" fmla="*/ 934789 w 3903424"/>
                  <a:gd name="connsiteY69" fmla="*/ 3293666 h 4760516"/>
                  <a:gd name="connsiteX70" fmla="*/ 1134814 w 3903424"/>
                  <a:gd name="connsiteY70" fmla="*/ 3217466 h 4760516"/>
                  <a:gd name="connsiteX71" fmla="*/ 1277689 w 3903424"/>
                  <a:gd name="connsiteY71" fmla="*/ 2950766 h 4760516"/>
                  <a:gd name="connsiteX72" fmla="*/ 1372939 w 3903424"/>
                  <a:gd name="connsiteY72" fmla="*/ 2888854 h 4760516"/>
                  <a:gd name="connsiteX73" fmla="*/ 1444377 w 3903424"/>
                  <a:gd name="connsiteY73" fmla="*/ 2750741 h 4760516"/>
                  <a:gd name="connsiteX74" fmla="*/ 1430089 w 3903424"/>
                  <a:gd name="connsiteY74" fmla="*/ 2665016 h 4760516"/>
                  <a:gd name="connsiteX75" fmla="*/ 1433678 w 3903424"/>
                  <a:gd name="connsiteY75" fmla="*/ 2655556 h 4760516"/>
                  <a:gd name="connsiteX76" fmla="*/ 1412671 w 3903424"/>
                  <a:gd name="connsiteY76" fmla="*/ 2630242 h 4760516"/>
                  <a:gd name="connsiteX77" fmla="*/ 1171172 w 3903424"/>
                  <a:gd name="connsiteY77" fmla="*/ 2059985 h 4760516"/>
                  <a:gd name="connsiteX78" fmla="*/ 977027 w 3903424"/>
                  <a:gd name="connsiteY78" fmla="*/ 1612672 h 4760516"/>
                  <a:gd name="connsiteX79" fmla="*/ 1052790 w 3903424"/>
                  <a:gd name="connsiteY79" fmla="*/ 1487109 h 4760516"/>
                  <a:gd name="connsiteX80" fmla="*/ 1018186 w 3903424"/>
                  <a:gd name="connsiteY80" fmla="*/ 1277790 h 4760516"/>
                  <a:gd name="connsiteX81" fmla="*/ 934788 w 3903424"/>
                  <a:gd name="connsiteY81" fmla="*/ 1341041 h 4760516"/>
                  <a:gd name="connsiteX82" fmla="*/ 883988 w 3903424"/>
                  <a:gd name="connsiteY82" fmla="*/ 1404541 h 4760516"/>
                  <a:gd name="connsiteX83" fmla="*/ 839538 w 3903424"/>
                  <a:gd name="connsiteY83" fmla="*/ 1525191 h 4760516"/>
                  <a:gd name="connsiteX84" fmla="*/ 858588 w 3903424"/>
                  <a:gd name="connsiteY84" fmla="*/ 1645841 h 4760516"/>
                  <a:gd name="connsiteX85" fmla="*/ 890338 w 3903424"/>
                  <a:gd name="connsiteY85" fmla="*/ 1829991 h 4760516"/>
                  <a:gd name="connsiteX86" fmla="*/ 966538 w 3903424"/>
                  <a:gd name="connsiteY86" fmla="*/ 2128441 h 4760516"/>
                  <a:gd name="connsiteX87" fmla="*/ 1049088 w 3903424"/>
                  <a:gd name="connsiteY87" fmla="*/ 2198291 h 4760516"/>
                  <a:gd name="connsiteX88" fmla="*/ 1099888 w 3903424"/>
                  <a:gd name="connsiteY88" fmla="*/ 2331641 h 4760516"/>
                  <a:gd name="connsiteX89" fmla="*/ 1220538 w 3903424"/>
                  <a:gd name="connsiteY89" fmla="*/ 2566591 h 4760516"/>
                  <a:gd name="connsiteX90" fmla="*/ 1271338 w 3903424"/>
                  <a:gd name="connsiteY90" fmla="*/ 2712641 h 4760516"/>
                  <a:gd name="connsiteX91" fmla="*/ 1131638 w 3903424"/>
                  <a:gd name="connsiteY91" fmla="*/ 2750741 h 4760516"/>
                  <a:gd name="connsiteX92" fmla="*/ 928438 w 3903424"/>
                  <a:gd name="connsiteY92" fmla="*/ 2776141 h 4760516"/>
                  <a:gd name="connsiteX93" fmla="*/ 744288 w 3903424"/>
                  <a:gd name="connsiteY93" fmla="*/ 2731691 h 4760516"/>
                  <a:gd name="connsiteX94" fmla="*/ 661738 w 3903424"/>
                  <a:gd name="connsiteY94" fmla="*/ 2591991 h 4760516"/>
                  <a:gd name="connsiteX95" fmla="*/ 623638 w 3903424"/>
                  <a:gd name="connsiteY95" fmla="*/ 2344341 h 4760516"/>
                  <a:gd name="connsiteX96" fmla="*/ 636338 w 3903424"/>
                  <a:gd name="connsiteY96" fmla="*/ 2020491 h 4760516"/>
                  <a:gd name="connsiteX97" fmla="*/ 737938 w 3903424"/>
                  <a:gd name="connsiteY97" fmla="*/ 1328341 h 4760516"/>
                  <a:gd name="connsiteX98" fmla="*/ 972888 w 3903424"/>
                  <a:gd name="connsiteY98" fmla="*/ 623491 h 4760516"/>
                  <a:gd name="connsiteX99" fmla="*/ 1169738 w 3903424"/>
                  <a:gd name="connsiteY99" fmla="*/ 299641 h 4760516"/>
                  <a:gd name="connsiteX100" fmla="*/ 1360238 w 3903424"/>
                  <a:gd name="connsiteY100" fmla="*/ 140891 h 4760516"/>
                  <a:gd name="connsiteX101" fmla="*/ 1531688 w 3903424"/>
                  <a:gd name="connsiteY101" fmla="*/ 115491 h 4760516"/>
                  <a:gd name="connsiteX102" fmla="*/ 1677738 w 3903424"/>
                  <a:gd name="connsiteY102" fmla="*/ 13891 h 4760516"/>
                  <a:gd name="connsiteX103" fmla="*/ 1814660 w 3903424"/>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810829"/>
                  <a:gd name="connsiteX1" fmla="*/ 3082677 w 3904400"/>
                  <a:gd name="connsiteY1" fmla="*/ 1026716 h 4810829"/>
                  <a:gd name="connsiteX2" fmla="*/ 3168402 w 3904400"/>
                  <a:gd name="connsiteY2" fmla="*/ 1369616 h 4810829"/>
                  <a:gd name="connsiteX3" fmla="*/ 3254127 w 3904400"/>
                  <a:gd name="connsiteY3" fmla="*/ 1822054 h 4810829"/>
                  <a:gd name="connsiteX4" fmla="*/ 3282702 w 3904400"/>
                  <a:gd name="connsiteY4" fmla="*/ 2255441 h 4810829"/>
                  <a:gd name="connsiteX5" fmla="*/ 3273177 w 3904400"/>
                  <a:gd name="connsiteY5" fmla="*/ 2526904 h 4810829"/>
                  <a:gd name="connsiteX6" fmla="*/ 3192214 w 3904400"/>
                  <a:gd name="connsiteY6" fmla="*/ 2722166 h 4810829"/>
                  <a:gd name="connsiteX7" fmla="*/ 3044577 w 3904400"/>
                  <a:gd name="connsiteY7" fmla="*/ 2750741 h 4810829"/>
                  <a:gd name="connsiteX8" fmla="*/ 2811214 w 3904400"/>
                  <a:gd name="connsiteY8" fmla="*/ 2731691 h 4810829"/>
                  <a:gd name="connsiteX9" fmla="*/ 2635002 w 3904400"/>
                  <a:gd name="connsiteY9" fmla="*/ 2669779 h 4810829"/>
                  <a:gd name="connsiteX10" fmla="*/ 2658814 w 3904400"/>
                  <a:gd name="connsiteY10" fmla="*/ 2603104 h 4810829"/>
                  <a:gd name="connsiteX11" fmla="*/ 2754064 w 3904400"/>
                  <a:gd name="connsiteY11" fmla="*/ 2474516 h 4810829"/>
                  <a:gd name="connsiteX12" fmla="*/ 2844552 w 3904400"/>
                  <a:gd name="connsiteY12" fmla="*/ 2255441 h 4810829"/>
                  <a:gd name="connsiteX13" fmla="*/ 2863602 w 3904400"/>
                  <a:gd name="connsiteY13" fmla="*/ 2160191 h 4810829"/>
                  <a:gd name="connsiteX14" fmla="*/ 2920752 w 3904400"/>
                  <a:gd name="connsiteY14" fmla="*/ 2098279 h 4810829"/>
                  <a:gd name="connsiteX15" fmla="*/ 3001714 w 3904400"/>
                  <a:gd name="connsiteY15" fmla="*/ 1855391 h 4810829"/>
                  <a:gd name="connsiteX16" fmla="*/ 3058864 w 3904400"/>
                  <a:gd name="connsiteY16" fmla="*/ 1598216 h 4810829"/>
                  <a:gd name="connsiteX17" fmla="*/ 3063627 w 3904400"/>
                  <a:gd name="connsiteY17" fmla="*/ 1483916 h 4810829"/>
                  <a:gd name="connsiteX18" fmla="*/ 3011239 w 3904400"/>
                  <a:gd name="connsiteY18" fmla="*/ 1379141 h 4810829"/>
                  <a:gd name="connsiteX19" fmla="*/ 2958852 w 3904400"/>
                  <a:gd name="connsiteY19" fmla="*/ 1331516 h 4810829"/>
                  <a:gd name="connsiteX20" fmla="*/ 2949327 w 3904400"/>
                  <a:gd name="connsiteY20" fmla="*/ 1236266 h 4810829"/>
                  <a:gd name="connsiteX21" fmla="*/ 2958852 w 3904400"/>
                  <a:gd name="connsiteY21" fmla="*/ 1121966 h 4810829"/>
                  <a:gd name="connsiteX22" fmla="*/ 3006477 w 3904400"/>
                  <a:gd name="connsiteY22" fmla="*/ 1050529 h 4810829"/>
                  <a:gd name="connsiteX23" fmla="*/ 3062288 w 3904400"/>
                  <a:gd name="connsiteY23" fmla="*/ 1005769 h 4810829"/>
                  <a:gd name="connsiteX24" fmla="*/ 1814660 w 3904400"/>
                  <a:gd name="connsiteY24" fmla="*/ 0 h 4810829"/>
                  <a:gd name="connsiteX25" fmla="*/ 1957138 w 3904400"/>
                  <a:gd name="connsiteY25" fmla="*/ 1191 h 4810829"/>
                  <a:gd name="connsiteX26" fmla="*/ 2153988 w 3904400"/>
                  <a:gd name="connsiteY26" fmla="*/ 20241 h 4810829"/>
                  <a:gd name="connsiteX27" fmla="*/ 2382588 w 3904400"/>
                  <a:gd name="connsiteY27" fmla="*/ 121841 h 4810829"/>
                  <a:gd name="connsiteX28" fmla="*/ 2642938 w 3904400"/>
                  <a:gd name="connsiteY28" fmla="*/ 331391 h 4810829"/>
                  <a:gd name="connsiteX29" fmla="*/ 2947738 w 3904400"/>
                  <a:gd name="connsiteY29" fmla="*/ 693341 h 4810829"/>
                  <a:gd name="connsiteX30" fmla="*/ 3062038 w 3904400"/>
                  <a:gd name="connsiteY30" fmla="*/ 883841 h 4810829"/>
                  <a:gd name="connsiteX31" fmla="*/ 3011238 w 3904400"/>
                  <a:gd name="connsiteY31" fmla="*/ 1004491 h 4810829"/>
                  <a:gd name="connsiteX32" fmla="*/ 2903288 w 3904400"/>
                  <a:gd name="connsiteY32" fmla="*/ 1061641 h 4810829"/>
                  <a:gd name="connsiteX33" fmla="*/ 2827088 w 3904400"/>
                  <a:gd name="connsiteY33" fmla="*/ 998141 h 4810829"/>
                  <a:gd name="connsiteX34" fmla="*/ 2655638 w 3904400"/>
                  <a:gd name="connsiteY34" fmla="*/ 820341 h 4810829"/>
                  <a:gd name="connsiteX35" fmla="*/ 2350838 w 3904400"/>
                  <a:gd name="connsiteY35" fmla="*/ 674291 h 4810829"/>
                  <a:gd name="connsiteX36" fmla="*/ 2020638 w 3904400"/>
                  <a:gd name="connsiteY36" fmla="*/ 674291 h 4810829"/>
                  <a:gd name="connsiteX37" fmla="*/ 2344488 w 3904400"/>
                  <a:gd name="connsiteY37" fmla="*/ 769541 h 4810829"/>
                  <a:gd name="connsiteX38" fmla="*/ 2554038 w 3904400"/>
                  <a:gd name="connsiteY38" fmla="*/ 909241 h 4810829"/>
                  <a:gd name="connsiteX39" fmla="*/ 2630379 w 3904400"/>
                  <a:gd name="connsiteY39" fmla="*/ 973620 h 4810829"/>
                  <a:gd name="connsiteX40" fmla="*/ 2901551 w 3904400"/>
                  <a:gd name="connsiteY40" fmla="*/ 1067700 h 4810829"/>
                  <a:gd name="connsiteX41" fmla="*/ 2830884 w 3904400"/>
                  <a:gd name="connsiteY41" fmla="*/ 1212445 h 4810829"/>
                  <a:gd name="connsiteX42" fmla="*/ 2830884 w 3904400"/>
                  <a:gd name="connsiteY42" fmla="*/ 1445256 h 4810829"/>
                  <a:gd name="connsiteX43" fmla="*/ 2939795 w 3904400"/>
                  <a:gd name="connsiteY43" fmla="*/ 1531580 h 4810829"/>
                  <a:gd name="connsiteX44" fmla="*/ 2823781 w 3904400"/>
                  <a:gd name="connsiteY44" fmla="*/ 2041674 h 4810829"/>
                  <a:gd name="connsiteX45" fmla="*/ 2757487 w 3904400"/>
                  <a:gd name="connsiteY45" fmla="*/ 2086142 h 4810829"/>
                  <a:gd name="connsiteX46" fmla="*/ 2480886 w 3904400"/>
                  <a:gd name="connsiteY46" fmla="*/ 2698176 h 4810829"/>
                  <a:gd name="connsiteX47" fmla="*/ 2530227 w 3904400"/>
                  <a:gd name="connsiteY47" fmla="*/ 2817416 h 4810829"/>
                  <a:gd name="connsiteX48" fmla="*/ 2592139 w 3904400"/>
                  <a:gd name="connsiteY48" fmla="*/ 2874566 h 4810829"/>
                  <a:gd name="connsiteX49" fmla="*/ 2658814 w 3904400"/>
                  <a:gd name="connsiteY49" fmla="*/ 2884091 h 4810829"/>
                  <a:gd name="connsiteX50" fmla="*/ 2682627 w 3904400"/>
                  <a:gd name="connsiteY50" fmla="*/ 2912666 h 4810829"/>
                  <a:gd name="connsiteX51" fmla="*/ 2749302 w 3904400"/>
                  <a:gd name="connsiteY51" fmla="*/ 3079354 h 4810829"/>
                  <a:gd name="connsiteX52" fmla="*/ 2844552 w 3904400"/>
                  <a:gd name="connsiteY52" fmla="*/ 3174604 h 4810829"/>
                  <a:gd name="connsiteX53" fmla="*/ 2939802 w 3904400"/>
                  <a:gd name="connsiteY53" fmla="*/ 3207941 h 4810829"/>
                  <a:gd name="connsiteX54" fmla="*/ 3282702 w 3904400"/>
                  <a:gd name="connsiteY54" fmla="*/ 3317479 h 4810829"/>
                  <a:gd name="connsiteX55" fmla="*/ 3658939 w 3904400"/>
                  <a:gd name="connsiteY55" fmla="*/ 3493691 h 4810829"/>
                  <a:gd name="connsiteX56" fmla="*/ 3868489 w 3904400"/>
                  <a:gd name="connsiteY56" fmla="*/ 3641329 h 4810829"/>
                  <a:gd name="connsiteX57" fmla="*/ 3901827 w 3904400"/>
                  <a:gd name="connsiteY57" fmla="*/ 3769916 h 4810829"/>
                  <a:gd name="connsiteX58" fmla="*/ 3878014 w 3904400"/>
                  <a:gd name="connsiteY58" fmla="*/ 4027091 h 4810829"/>
                  <a:gd name="connsiteX59" fmla="*/ 3792289 w 3904400"/>
                  <a:gd name="connsiteY59" fmla="*/ 4236641 h 4810829"/>
                  <a:gd name="connsiteX60" fmla="*/ 3620839 w 3904400"/>
                  <a:gd name="connsiteY60" fmla="*/ 4598591 h 4810829"/>
                  <a:gd name="connsiteX61" fmla="*/ 3473202 w 3904400"/>
                  <a:gd name="connsiteY61" fmla="*/ 4760516 h 4810829"/>
                  <a:gd name="connsiteX62" fmla="*/ 339477 w 3904400"/>
                  <a:gd name="connsiteY62" fmla="*/ 4760516 h 4810829"/>
                  <a:gd name="connsiteX63" fmla="*/ 163264 w 3904400"/>
                  <a:gd name="connsiteY63" fmla="*/ 4436666 h 4810829"/>
                  <a:gd name="connsiteX64" fmla="*/ 58489 w 3904400"/>
                  <a:gd name="connsiteY64" fmla="*/ 4141391 h 4810829"/>
                  <a:gd name="connsiteX65" fmla="*/ 1339 w 3904400"/>
                  <a:gd name="connsiteY65" fmla="*/ 3855641 h 4810829"/>
                  <a:gd name="connsiteX66" fmla="*/ 25152 w 3904400"/>
                  <a:gd name="connsiteY66" fmla="*/ 3703241 h 4810829"/>
                  <a:gd name="connsiteX67" fmla="*/ 220414 w 3904400"/>
                  <a:gd name="connsiteY67" fmla="*/ 3584179 h 4810829"/>
                  <a:gd name="connsiteX68" fmla="*/ 534739 w 3904400"/>
                  <a:gd name="connsiteY68" fmla="*/ 3450829 h 4810829"/>
                  <a:gd name="connsiteX69" fmla="*/ 934789 w 3904400"/>
                  <a:gd name="connsiteY69" fmla="*/ 3293666 h 4810829"/>
                  <a:gd name="connsiteX70" fmla="*/ 1134814 w 3904400"/>
                  <a:gd name="connsiteY70" fmla="*/ 3217466 h 4810829"/>
                  <a:gd name="connsiteX71" fmla="*/ 1277689 w 3904400"/>
                  <a:gd name="connsiteY71" fmla="*/ 2950766 h 4810829"/>
                  <a:gd name="connsiteX72" fmla="*/ 1372939 w 3904400"/>
                  <a:gd name="connsiteY72" fmla="*/ 2888854 h 4810829"/>
                  <a:gd name="connsiteX73" fmla="*/ 1444377 w 3904400"/>
                  <a:gd name="connsiteY73" fmla="*/ 2750741 h 4810829"/>
                  <a:gd name="connsiteX74" fmla="*/ 1430089 w 3904400"/>
                  <a:gd name="connsiteY74" fmla="*/ 2665016 h 4810829"/>
                  <a:gd name="connsiteX75" fmla="*/ 1433678 w 3904400"/>
                  <a:gd name="connsiteY75" fmla="*/ 2655556 h 4810829"/>
                  <a:gd name="connsiteX76" fmla="*/ 1412671 w 3904400"/>
                  <a:gd name="connsiteY76" fmla="*/ 2630242 h 4810829"/>
                  <a:gd name="connsiteX77" fmla="*/ 1171172 w 3904400"/>
                  <a:gd name="connsiteY77" fmla="*/ 2059985 h 4810829"/>
                  <a:gd name="connsiteX78" fmla="*/ 977027 w 3904400"/>
                  <a:gd name="connsiteY78" fmla="*/ 1612672 h 4810829"/>
                  <a:gd name="connsiteX79" fmla="*/ 1052790 w 3904400"/>
                  <a:gd name="connsiteY79" fmla="*/ 1487109 h 4810829"/>
                  <a:gd name="connsiteX80" fmla="*/ 1018186 w 3904400"/>
                  <a:gd name="connsiteY80" fmla="*/ 1277790 h 4810829"/>
                  <a:gd name="connsiteX81" fmla="*/ 934788 w 3904400"/>
                  <a:gd name="connsiteY81" fmla="*/ 1341041 h 4810829"/>
                  <a:gd name="connsiteX82" fmla="*/ 883988 w 3904400"/>
                  <a:gd name="connsiteY82" fmla="*/ 1404541 h 4810829"/>
                  <a:gd name="connsiteX83" fmla="*/ 839538 w 3904400"/>
                  <a:gd name="connsiteY83" fmla="*/ 1525191 h 4810829"/>
                  <a:gd name="connsiteX84" fmla="*/ 858588 w 3904400"/>
                  <a:gd name="connsiteY84" fmla="*/ 1645841 h 4810829"/>
                  <a:gd name="connsiteX85" fmla="*/ 890338 w 3904400"/>
                  <a:gd name="connsiteY85" fmla="*/ 1829991 h 4810829"/>
                  <a:gd name="connsiteX86" fmla="*/ 966538 w 3904400"/>
                  <a:gd name="connsiteY86" fmla="*/ 2128441 h 4810829"/>
                  <a:gd name="connsiteX87" fmla="*/ 1049088 w 3904400"/>
                  <a:gd name="connsiteY87" fmla="*/ 2198291 h 4810829"/>
                  <a:gd name="connsiteX88" fmla="*/ 1099888 w 3904400"/>
                  <a:gd name="connsiteY88" fmla="*/ 2331641 h 4810829"/>
                  <a:gd name="connsiteX89" fmla="*/ 1220538 w 3904400"/>
                  <a:gd name="connsiteY89" fmla="*/ 2566591 h 4810829"/>
                  <a:gd name="connsiteX90" fmla="*/ 1271338 w 3904400"/>
                  <a:gd name="connsiteY90" fmla="*/ 2712641 h 4810829"/>
                  <a:gd name="connsiteX91" fmla="*/ 1131638 w 3904400"/>
                  <a:gd name="connsiteY91" fmla="*/ 2750741 h 4810829"/>
                  <a:gd name="connsiteX92" fmla="*/ 928438 w 3904400"/>
                  <a:gd name="connsiteY92" fmla="*/ 2776141 h 4810829"/>
                  <a:gd name="connsiteX93" fmla="*/ 744288 w 3904400"/>
                  <a:gd name="connsiteY93" fmla="*/ 2731691 h 4810829"/>
                  <a:gd name="connsiteX94" fmla="*/ 661738 w 3904400"/>
                  <a:gd name="connsiteY94" fmla="*/ 2591991 h 4810829"/>
                  <a:gd name="connsiteX95" fmla="*/ 623638 w 3904400"/>
                  <a:gd name="connsiteY95" fmla="*/ 2344341 h 4810829"/>
                  <a:gd name="connsiteX96" fmla="*/ 636338 w 3904400"/>
                  <a:gd name="connsiteY96" fmla="*/ 2020491 h 4810829"/>
                  <a:gd name="connsiteX97" fmla="*/ 737938 w 3904400"/>
                  <a:gd name="connsiteY97" fmla="*/ 1328341 h 4810829"/>
                  <a:gd name="connsiteX98" fmla="*/ 972888 w 3904400"/>
                  <a:gd name="connsiteY98" fmla="*/ 623491 h 4810829"/>
                  <a:gd name="connsiteX99" fmla="*/ 1169738 w 3904400"/>
                  <a:gd name="connsiteY99" fmla="*/ 299641 h 4810829"/>
                  <a:gd name="connsiteX100" fmla="*/ 1360238 w 3904400"/>
                  <a:gd name="connsiteY100" fmla="*/ 140891 h 4810829"/>
                  <a:gd name="connsiteX101" fmla="*/ 1531688 w 3904400"/>
                  <a:gd name="connsiteY101" fmla="*/ 115491 h 4810829"/>
                  <a:gd name="connsiteX102" fmla="*/ 1677738 w 3904400"/>
                  <a:gd name="connsiteY102" fmla="*/ 13891 h 4810829"/>
                  <a:gd name="connsiteX103" fmla="*/ 1814660 w 3904400"/>
                  <a:gd name="connsiteY103" fmla="*/ 0 h 4810829"/>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630379 w 3904400"/>
                  <a:gd name="connsiteY39" fmla="*/ 973620 h 4848994"/>
                  <a:gd name="connsiteX40" fmla="*/ 2901551 w 3904400"/>
                  <a:gd name="connsiteY40" fmla="*/ 1067700 h 4848994"/>
                  <a:gd name="connsiteX41" fmla="*/ 2830884 w 3904400"/>
                  <a:gd name="connsiteY41" fmla="*/ 1212445 h 4848994"/>
                  <a:gd name="connsiteX42" fmla="*/ 2830884 w 3904400"/>
                  <a:gd name="connsiteY42" fmla="*/ 1445256 h 4848994"/>
                  <a:gd name="connsiteX43" fmla="*/ 2939795 w 3904400"/>
                  <a:gd name="connsiteY43" fmla="*/ 1531580 h 4848994"/>
                  <a:gd name="connsiteX44" fmla="*/ 2823781 w 3904400"/>
                  <a:gd name="connsiteY44" fmla="*/ 2041674 h 4848994"/>
                  <a:gd name="connsiteX45" fmla="*/ 2757487 w 3904400"/>
                  <a:gd name="connsiteY45" fmla="*/ 2086142 h 4848994"/>
                  <a:gd name="connsiteX46" fmla="*/ 2480886 w 3904400"/>
                  <a:gd name="connsiteY46" fmla="*/ 2698176 h 4848994"/>
                  <a:gd name="connsiteX47" fmla="*/ 2530227 w 3904400"/>
                  <a:gd name="connsiteY47" fmla="*/ 2817416 h 4848994"/>
                  <a:gd name="connsiteX48" fmla="*/ 2592139 w 3904400"/>
                  <a:gd name="connsiteY48" fmla="*/ 2874566 h 4848994"/>
                  <a:gd name="connsiteX49" fmla="*/ 2658814 w 3904400"/>
                  <a:gd name="connsiteY49" fmla="*/ 2884091 h 4848994"/>
                  <a:gd name="connsiteX50" fmla="*/ 2682627 w 3904400"/>
                  <a:gd name="connsiteY50" fmla="*/ 2912666 h 4848994"/>
                  <a:gd name="connsiteX51" fmla="*/ 2749302 w 3904400"/>
                  <a:gd name="connsiteY51" fmla="*/ 3079354 h 4848994"/>
                  <a:gd name="connsiteX52" fmla="*/ 2844552 w 3904400"/>
                  <a:gd name="connsiteY52" fmla="*/ 3174604 h 4848994"/>
                  <a:gd name="connsiteX53" fmla="*/ 2939802 w 3904400"/>
                  <a:gd name="connsiteY53" fmla="*/ 3207941 h 4848994"/>
                  <a:gd name="connsiteX54" fmla="*/ 3282702 w 3904400"/>
                  <a:gd name="connsiteY54" fmla="*/ 3317479 h 4848994"/>
                  <a:gd name="connsiteX55" fmla="*/ 3658939 w 3904400"/>
                  <a:gd name="connsiteY55" fmla="*/ 3493691 h 4848994"/>
                  <a:gd name="connsiteX56" fmla="*/ 3868489 w 3904400"/>
                  <a:gd name="connsiteY56" fmla="*/ 3641329 h 4848994"/>
                  <a:gd name="connsiteX57" fmla="*/ 3901827 w 3904400"/>
                  <a:gd name="connsiteY57" fmla="*/ 3769916 h 4848994"/>
                  <a:gd name="connsiteX58" fmla="*/ 3878014 w 3904400"/>
                  <a:gd name="connsiteY58" fmla="*/ 4027091 h 4848994"/>
                  <a:gd name="connsiteX59" fmla="*/ 3792289 w 3904400"/>
                  <a:gd name="connsiteY59" fmla="*/ 4236641 h 4848994"/>
                  <a:gd name="connsiteX60" fmla="*/ 3620839 w 3904400"/>
                  <a:gd name="connsiteY60" fmla="*/ 4598591 h 4848994"/>
                  <a:gd name="connsiteX61" fmla="*/ 3473202 w 3904400"/>
                  <a:gd name="connsiteY61" fmla="*/ 4760516 h 4848994"/>
                  <a:gd name="connsiteX62" fmla="*/ 339477 w 3904400"/>
                  <a:gd name="connsiteY62" fmla="*/ 4760516 h 4848994"/>
                  <a:gd name="connsiteX63" fmla="*/ 163264 w 3904400"/>
                  <a:gd name="connsiteY63" fmla="*/ 4436666 h 4848994"/>
                  <a:gd name="connsiteX64" fmla="*/ 58489 w 3904400"/>
                  <a:gd name="connsiteY64" fmla="*/ 4141391 h 4848994"/>
                  <a:gd name="connsiteX65" fmla="*/ 1339 w 3904400"/>
                  <a:gd name="connsiteY65" fmla="*/ 3855641 h 4848994"/>
                  <a:gd name="connsiteX66" fmla="*/ 25152 w 3904400"/>
                  <a:gd name="connsiteY66" fmla="*/ 3703241 h 4848994"/>
                  <a:gd name="connsiteX67" fmla="*/ 220414 w 3904400"/>
                  <a:gd name="connsiteY67" fmla="*/ 3584179 h 4848994"/>
                  <a:gd name="connsiteX68" fmla="*/ 534739 w 3904400"/>
                  <a:gd name="connsiteY68" fmla="*/ 3450829 h 4848994"/>
                  <a:gd name="connsiteX69" fmla="*/ 934789 w 3904400"/>
                  <a:gd name="connsiteY69" fmla="*/ 3293666 h 4848994"/>
                  <a:gd name="connsiteX70" fmla="*/ 1134814 w 3904400"/>
                  <a:gd name="connsiteY70" fmla="*/ 3217466 h 4848994"/>
                  <a:gd name="connsiteX71" fmla="*/ 1277689 w 3904400"/>
                  <a:gd name="connsiteY71" fmla="*/ 2950766 h 4848994"/>
                  <a:gd name="connsiteX72" fmla="*/ 1372939 w 3904400"/>
                  <a:gd name="connsiteY72" fmla="*/ 2888854 h 4848994"/>
                  <a:gd name="connsiteX73" fmla="*/ 1444377 w 3904400"/>
                  <a:gd name="connsiteY73" fmla="*/ 2750741 h 4848994"/>
                  <a:gd name="connsiteX74" fmla="*/ 1430089 w 3904400"/>
                  <a:gd name="connsiteY74" fmla="*/ 2665016 h 4848994"/>
                  <a:gd name="connsiteX75" fmla="*/ 1433678 w 3904400"/>
                  <a:gd name="connsiteY75" fmla="*/ 2655556 h 4848994"/>
                  <a:gd name="connsiteX76" fmla="*/ 1412671 w 3904400"/>
                  <a:gd name="connsiteY76" fmla="*/ 2630242 h 4848994"/>
                  <a:gd name="connsiteX77" fmla="*/ 1171172 w 3904400"/>
                  <a:gd name="connsiteY77" fmla="*/ 2059985 h 4848994"/>
                  <a:gd name="connsiteX78" fmla="*/ 977027 w 3904400"/>
                  <a:gd name="connsiteY78" fmla="*/ 1612672 h 4848994"/>
                  <a:gd name="connsiteX79" fmla="*/ 1052790 w 3904400"/>
                  <a:gd name="connsiteY79" fmla="*/ 1487109 h 4848994"/>
                  <a:gd name="connsiteX80" fmla="*/ 1018186 w 3904400"/>
                  <a:gd name="connsiteY80" fmla="*/ 1277790 h 4848994"/>
                  <a:gd name="connsiteX81" fmla="*/ 934788 w 3904400"/>
                  <a:gd name="connsiteY81" fmla="*/ 1341041 h 4848994"/>
                  <a:gd name="connsiteX82" fmla="*/ 883988 w 3904400"/>
                  <a:gd name="connsiteY82" fmla="*/ 1404541 h 4848994"/>
                  <a:gd name="connsiteX83" fmla="*/ 839538 w 3904400"/>
                  <a:gd name="connsiteY83" fmla="*/ 1525191 h 4848994"/>
                  <a:gd name="connsiteX84" fmla="*/ 858588 w 3904400"/>
                  <a:gd name="connsiteY84" fmla="*/ 1645841 h 4848994"/>
                  <a:gd name="connsiteX85" fmla="*/ 890338 w 3904400"/>
                  <a:gd name="connsiteY85" fmla="*/ 1829991 h 4848994"/>
                  <a:gd name="connsiteX86" fmla="*/ 966538 w 3904400"/>
                  <a:gd name="connsiteY86" fmla="*/ 2128441 h 4848994"/>
                  <a:gd name="connsiteX87" fmla="*/ 1049088 w 3904400"/>
                  <a:gd name="connsiteY87" fmla="*/ 2198291 h 4848994"/>
                  <a:gd name="connsiteX88" fmla="*/ 1099888 w 3904400"/>
                  <a:gd name="connsiteY88" fmla="*/ 2331641 h 4848994"/>
                  <a:gd name="connsiteX89" fmla="*/ 1220538 w 3904400"/>
                  <a:gd name="connsiteY89" fmla="*/ 2566591 h 4848994"/>
                  <a:gd name="connsiteX90" fmla="*/ 1271338 w 3904400"/>
                  <a:gd name="connsiteY90" fmla="*/ 2712641 h 4848994"/>
                  <a:gd name="connsiteX91" fmla="*/ 1131638 w 3904400"/>
                  <a:gd name="connsiteY91" fmla="*/ 2750741 h 4848994"/>
                  <a:gd name="connsiteX92" fmla="*/ 928438 w 3904400"/>
                  <a:gd name="connsiteY92" fmla="*/ 2776141 h 4848994"/>
                  <a:gd name="connsiteX93" fmla="*/ 744288 w 3904400"/>
                  <a:gd name="connsiteY93" fmla="*/ 2731691 h 4848994"/>
                  <a:gd name="connsiteX94" fmla="*/ 661738 w 3904400"/>
                  <a:gd name="connsiteY94" fmla="*/ 2591991 h 4848994"/>
                  <a:gd name="connsiteX95" fmla="*/ 623638 w 3904400"/>
                  <a:gd name="connsiteY95" fmla="*/ 2344341 h 4848994"/>
                  <a:gd name="connsiteX96" fmla="*/ 636338 w 3904400"/>
                  <a:gd name="connsiteY96" fmla="*/ 2020491 h 4848994"/>
                  <a:gd name="connsiteX97" fmla="*/ 737938 w 3904400"/>
                  <a:gd name="connsiteY97" fmla="*/ 1328341 h 4848994"/>
                  <a:gd name="connsiteX98" fmla="*/ 972888 w 3904400"/>
                  <a:gd name="connsiteY98" fmla="*/ 623491 h 4848994"/>
                  <a:gd name="connsiteX99" fmla="*/ 1169738 w 3904400"/>
                  <a:gd name="connsiteY99" fmla="*/ 299641 h 4848994"/>
                  <a:gd name="connsiteX100" fmla="*/ 1360238 w 3904400"/>
                  <a:gd name="connsiteY100" fmla="*/ 140891 h 4848994"/>
                  <a:gd name="connsiteX101" fmla="*/ 1531688 w 3904400"/>
                  <a:gd name="connsiteY101" fmla="*/ 115491 h 4848994"/>
                  <a:gd name="connsiteX102" fmla="*/ 1677738 w 3904400"/>
                  <a:gd name="connsiteY102" fmla="*/ 13891 h 4848994"/>
                  <a:gd name="connsiteX103" fmla="*/ 1814660 w 3904400"/>
                  <a:gd name="connsiteY103"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859098 w 3904400"/>
                  <a:gd name="connsiteY39" fmla="*/ 1103077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904400" h="4848994">
                    <a:moveTo>
                      <a:pt x="3062288" y="1005769"/>
                    </a:moveTo>
                    <a:lnTo>
                      <a:pt x="3082677" y="1026716"/>
                    </a:lnTo>
                    <a:cubicBezTo>
                      <a:pt x="3109664" y="1079897"/>
                      <a:pt x="3139827" y="1237060"/>
                      <a:pt x="3168402" y="1369616"/>
                    </a:cubicBezTo>
                    <a:cubicBezTo>
                      <a:pt x="3196977" y="1502172"/>
                      <a:pt x="3235077" y="1674417"/>
                      <a:pt x="3254127" y="1822054"/>
                    </a:cubicBezTo>
                    <a:cubicBezTo>
                      <a:pt x="3273177" y="1969691"/>
                      <a:pt x="3279527" y="2137966"/>
                      <a:pt x="3282702" y="2255441"/>
                    </a:cubicBezTo>
                    <a:cubicBezTo>
                      <a:pt x="3285877" y="2372916"/>
                      <a:pt x="3288258" y="2449116"/>
                      <a:pt x="3273177" y="2526904"/>
                    </a:cubicBezTo>
                    <a:cubicBezTo>
                      <a:pt x="3258096" y="2604692"/>
                      <a:pt x="3230314" y="2684860"/>
                      <a:pt x="3192214" y="2722166"/>
                    </a:cubicBezTo>
                    <a:cubicBezTo>
                      <a:pt x="3154114" y="2759472"/>
                      <a:pt x="3108077" y="2749154"/>
                      <a:pt x="3044577" y="2750741"/>
                    </a:cubicBezTo>
                    <a:cubicBezTo>
                      <a:pt x="2981077" y="2752328"/>
                      <a:pt x="2879476" y="2745185"/>
                      <a:pt x="2811214" y="2731691"/>
                    </a:cubicBezTo>
                    <a:cubicBezTo>
                      <a:pt x="2742952" y="2718197"/>
                      <a:pt x="2660402" y="2691210"/>
                      <a:pt x="2635002" y="2669779"/>
                    </a:cubicBezTo>
                    <a:cubicBezTo>
                      <a:pt x="2609602" y="2648348"/>
                      <a:pt x="2638970" y="2635648"/>
                      <a:pt x="2658814" y="2603104"/>
                    </a:cubicBezTo>
                    <a:cubicBezTo>
                      <a:pt x="2678658" y="2570560"/>
                      <a:pt x="2723108" y="2532460"/>
                      <a:pt x="2754064" y="2474516"/>
                    </a:cubicBezTo>
                    <a:cubicBezTo>
                      <a:pt x="2785020" y="2416572"/>
                      <a:pt x="2826296" y="2307828"/>
                      <a:pt x="2844552" y="2255441"/>
                    </a:cubicBezTo>
                    <a:cubicBezTo>
                      <a:pt x="2862808" y="2203054"/>
                      <a:pt x="2850902" y="2186385"/>
                      <a:pt x="2863602" y="2160191"/>
                    </a:cubicBezTo>
                    <a:cubicBezTo>
                      <a:pt x="2876302" y="2133997"/>
                      <a:pt x="2897733" y="2149079"/>
                      <a:pt x="2920752" y="2098279"/>
                    </a:cubicBezTo>
                    <a:cubicBezTo>
                      <a:pt x="2943771" y="2047479"/>
                      <a:pt x="2978695" y="1938735"/>
                      <a:pt x="3001714" y="1855391"/>
                    </a:cubicBezTo>
                    <a:cubicBezTo>
                      <a:pt x="3024733" y="1772047"/>
                      <a:pt x="3048545" y="1660129"/>
                      <a:pt x="3058864" y="1598216"/>
                    </a:cubicBezTo>
                    <a:cubicBezTo>
                      <a:pt x="3069183" y="1536303"/>
                      <a:pt x="3071564" y="1520428"/>
                      <a:pt x="3063627" y="1483916"/>
                    </a:cubicBezTo>
                    <a:cubicBezTo>
                      <a:pt x="3055690" y="1447404"/>
                      <a:pt x="3028702" y="1404541"/>
                      <a:pt x="3011239" y="1379141"/>
                    </a:cubicBezTo>
                    <a:cubicBezTo>
                      <a:pt x="2993776" y="1353741"/>
                      <a:pt x="2969171" y="1355329"/>
                      <a:pt x="2958852" y="1331516"/>
                    </a:cubicBezTo>
                    <a:cubicBezTo>
                      <a:pt x="2948533" y="1307704"/>
                      <a:pt x="2949327" y="1271191"/>
                      <a:pt x="2949327" y="1236266"/>
                    </a:cubicBezTo>
                    <a:cubicBezTo>
                      <a:pt x="2949327" y="1201341"/>
                      <a:pt x="2949327" y="1152922"/>
                      <a:pt x="2958852" y="1121966"/>
                    </a:cubicBezTo>
                    <a:cubicBezTo>
                      <a:pt x="2968377" y="1091010"/>
                      <a:pt x="2985839" y="1066404"/>
                      <a:pt x="3006477" y="1050529"/>
                    </a:cubicBezTo>
                    <a:cubicBezTo>
                      <a:pt x="3021955" y="1038623"/>
                      <a:pt x="3041898" y="1001267"/>
                      <a:pt x="3062288" y="1005769"/>
                    </a:cubicBezTo>
                    <a:close/>
                    <a:moveTo>
                      <a:pt x="1814660" y="0"/>
                    </a:moveTo>
                    <a:lnTo>
                      <a:pt x="1957138" y="1191"/>
                    </a:lnTo>
                    <a:cubicBezTo>
                      <a:pt x="2036513" y="2249"/>
                      <a:pt x="2083080" y="133"/>
                      <a:pt x="2153988" y="20241"/>
                    </a:cubicBezTo>
                    <a:cubicBezTo>
                      <a:pt x="2224896" y="40349"/>
                      <a:pt x="2301096" y="69983"/>
                      <a:pt x="2382588" y="121841"/>
                    </a:cubicBezTo>
                    <a:cubicBezTo>
                      <a:pt x="2464080" y="173699"/>
                      <a:pt x="2548747" y="236141"/>
                      <a:pt x="2642938" y="331391"/>
                    </a:cubicBezTo>
                    <a:cubicBezTo>
                      <a:pt x="2737129" y="426641"/>
                      <a:pt x="2877888" y="601266"/>
                      <a:pt x="2947738" y="693341"/>
                    </a:cubicBezTo>
                    <a:cubicBezTo>
                      <a:pt x="3017588" y="785416"/>
                      <a:pt x="3051455" y="831983"/>
                      <a:pt x="3062038" y="883841"/>
                    </a:cubicBezTo>
                    <a:cubicBezTo>
                      <a:pt x="3072621" y="935699"/>
                      <a:pt x="3037696" y="974858"/>
                      <a:pt x="3011238" y="1004491"/>
                    </a:cubicBezTo>
                    <a:cubicBezTo>
                      <a:pt x="2984780" y="1034124"/>
                      <a:pt x="2933980" y="1062699"/>
                      <a:pt x="2903288" y="1061641"/>
                    </a:cubicBezTo>
                    <a:cubicBezTo>
                      <a:pt x="2872596" y="1060583"/>
                      <a:pt x="2868363" y="1038358"/>
                      <a:pt x="2827088" y="998141"/>
                    </a:cubicBezTo>
                    <a:cubicBezTo>
                      <a:pt x="2785813" y="957924"/>
                      <a:pt x="2735013" y="874316"/>
                      <a:pt x="2655638" y="820341"/>
                    </a:cubicBezTo>
                    <a:cubicBezTo>
                      <a:pt x="2576263" y="766366"/>
                      <a:pt x="2456671" y="698633"/>
                      <a:pt x="2350838" y="674291"/>
                    </a:cubicBezTo>
                    <a:cubicBezTo>
                      <a:pt x="2245005" y="649949"/>
                      <a:pt x="2004008" y="658416"/>
                      <a:pt x="2020638" y="674291"/>
                    </a:cubicBezTo>
                    <a:cubicBezTo>
                      <a:pt x="2037268" y="690166"/>
                      <a:pt x="2322805" y="697365"/>
                      <a:pt x="2450619" y="769542"/>
                    </a:cubicBezTo>
                    <a:cubicBezTo>
                      <a:pt x="2578433" y="841719"/>
                      <a:pt x="2592091" y="839501"/>
                      <a:pt x="2660171" y="895090"/>
                    </a:cubicBezTo>
                    <a:cubicBezTo>
                      <a:pt x="2728251" y="950679"/>
                      <a:pt x="2812957" y="1052543"/>
                      <a:pt x="2859098" y="1103077"/>
                    </a:cubicBezTo>
                    <a:cubicBezTo>
                      <a:pt x="2840639" y="1173982"/>
                      <a:pt x="2842709" y="1151206"/>
                      <a:pt x="2830884" y="1212445"/>
                    </a:cubicBezTo>
                    <a:cubicBezTo>
                      <a:pt x="2856921" y="1275211"/>
                      <a:pt x="2830896" y="1445184"/>
                      <a:pt x="2830884" y="1445256"/>
                    </a:cubicBezTo>
                    <a:cubicBezTo>
                      <a:pt x="2830987" y="1445263"/>
                      <a:pt x="2939795" y="1453141"/>
                      <a:pt x="2939795" y="1531580"/>
                    </a:cubicBezTo>
                    <a:cubicBezTo>
                      <a:pt x="2939795" y="1610041"/>
                      <a:pt x="2823824" y="2041512"/>
                      <a:pt x="2823781" y="2041674"/>
                    </a:cubicBezTo>
                    <a:cubicBezTo>
                      <a:pt x="2823748" y="2041731"/>
                      <a:pt x="2792983" y="2093987"/>
                      <a:pt x="2757487" y="2086142"/>
                    </a:cubicBezTo>
                    <a:cubicBezTo>
                      <a:pt x="2719935" y="2402501"/>
                      <a:pt x="2591644" y="2600616"/>
                      <a:pt x="2480886" y="2698176"/>
                    </a:cubicBezTo>
                    <a:cubicBezTo>
                      <a:pt x="2497333" y="2737923"/>
                      <a:pt x="2509017" y="2787194"/>
                      <a:pt x="2530227" y="2817416"/>
                    </a:cubicBezTo>
                    <a:lnTo>
                      <a:pt x="2592139" y="2874566"/>
                    </a:lnTo>
                    <a:lnTo>
                      <a:pt x="2658814" y="2884091"/>
                    </a:lnTo>
                    <a:lnTo>
                      <a:pt x="2682627" y="2912666"/>
                    </a:lnTo>
                    <a:lnTo>
                      <a:pt x="2749302" y="3079354"/>
                    </a:lnTo>
                    <a:lnTo>
                      <a:pt x="2844552" y="3174604"/>
                    </a:lnTo>
                    <a:lnTo>
                      <a:pt x="2939802" y="3207941"/>
                    </a:lnTo>
                    <a:lnTo>
                      <a:pt x="3282702" y="3317479"/>
                    </a:lnTo>
                    <a:lnTo>
                      <a:pt x="3658939" y="3493691"/>
                    </a:lnTo>
                    <a:lnTo>
                      <a:pt x="3868489" y="3641329"/>
                    </a:lnTo>
                    <a:cubicBezTo>
                      <a:pt x="3879602" y="3684191"/>
                      <a:pt x="3906589" y="3708004"/>
                      <a:pt x="3901827" y="3769916"/>
                    </a:cubicBezTo>
                    <a:cubicBezTo>
                      <a:pt x="3909764" y="3830241"/>
                      <a:pt x="3898652" y="3938191"/>
                      <a:pt x="3878014" y="4027091"/>
                    </a:cubicBezTo>
                    <a:cubicBezTo>
                      <a:pt x="3855789" y="4119166"/>
                      <a:pt x="3820864" y="4166791"/>
                      <a:pt x="3792289" y="4236641"/>
                    </a:cubicBezTo>
                    <a:lnTo>
                      <a:pt x="3620839" y="4598591"/>
                    </a:lnTo>
                    <a:lnTo>
                      <a:pt x="3473202" y="4760516"/>
                    </a:lnTo>
                    <a:cubicBezTo>
                      <a:pt x="2419193" y="4883157"/>
                      <a:pt x="1553862" y="4873723"/>
                      <a:pt x="339477" y="4760516"/>
                    </a:cubicBezTo>
                    <a:lnTo>
                      <a:pt x="163264" y="4436666"/>
                    </a:lnTo>
                    <a:lnTo>
                      <a:pt x="58489" y="4141391"/>
                    </a:lnTo>
                    <a:cubicBezTo>
                      <a:pt x="39439" y="4046141"/>
                      <a:pt x="14039" y="3992166"/>
                      <a:pt x="1339" y="3855641"/>
                    </a:cubicBezTo>
                    <a:cubicBezTo>
                      <a:pt x="-3423" y="3795316"/>
                      <a:pt x="4514" y="3744516"/>
                      <a:pt x="25152" y="3703241"/>
                    </a:cubicBezTo>
                    <a:lnTo>
                      <a:pt x="220414" y="3584179"/>
                    </a:lnTo>
                    <a:lnTo>
                      <a:pt x="534739" y="3450829"/>
                    </a:lnTo>
                    <a:lnTo>
                      <a:pt x="934789" y="3293666"/>
                    </a:lnTo>
                    <a:lnTo>
                      <a:pt x="1134814" y="3217466"/>
                    </a:lnTo>
                    <a:cubicBezTo>
                      <a:pt x="1234827" y="3090466"/>
                      <a:pt x="1241971" y="3068241"/>
                      <a:pt x="1277689" y="2950766"/>
                    </a:cubicBezTo>
                    <a:lnTo>
                      <a:pt x="1372939" y="2888854"/>
                    </a:lnTo>
                    <a:lnTo>
                      <a:pt x="1444377" y="2750741"/>
                    </a:lnTo>
                    <a:lnTo>
                      <a:pt x="1430089" y="2665016"/>
                    </a:lnTo>
                    <a:lnTo>
                      <a:pt x="1433678" y="2655556"/>
                    </a:lnTo>
                    <a:cubicBezTo>
                      <a:pt x="1422983" y="2644679"/>
                      <a:pt x="1415776" y="2635961"/>
                      <a:pt x="1412671" y="2630242"/>
                    </a:cubicBezTo>
                    <a:cubicBezTo>
                      <a:pt x="1381893" y="2577926"/>
                      <a:pt x="1178275" y="2345112"/>
                      <a:pt x="1171172" y="2059985"/>
                    </a:cubicBezTo>
                    <a:cubicBezTo>
                      <a:pt x="1071731" y="2052136"/>
                      <a:pt x="1014908" y="1764391"/>
                      <a:pt x="977027" y="1612672"/>
                    </a:cubicBezTo>
                    <a:cubicBezTo>
                      <a:pt x="946258" y="1484545"/>
                      <a:pt x="1052708" y="1487108"/>
                      <a:pt x="1052790" y="1487109"/>
                    </a:cubicBezTo>
                    <a:cubicBezTo>
                      <a:pt x="1052758" y="1487025"/>
                      <a:pt x="992834" y="1362590"/>
                      <a:pt x="1018186" y="1277790"/>
                    </a:cubicBezTo>
                    <a:cubicBezTo>
                      <a:pt x="962383" y="1308036"/>
                      <a:pt x="957154" y="1319916"/>
                      <a:pt x="934788" y="1341041"/>
                    </a:cubicBezTo>
                    <a:cubicBezTo>
                      <a:pt x="912422" y="1362166"/>
                      <a:pt x="899863" y="1373849"/>
                      <a:pt x="883988" y="1404541"/>
                    </a:cubicBezTo>
                    <a:cubicBezTo>
                      <a:pt x="868113" y="1435233"/>
                      <a:pt x="843771" y="1484974"/>
                      <a:pt x="839538" y="1525191"/>
                    </a:cubicBezTo>
                    <a:cubicBezTo>
                      <a:pt x="835305" y="1565408"/>
                      <a:pt x="850121" y="1595041"/>
                      <a:pt x="858588" y="1645841"/>
                    </a:cubicBezTo>
                    <a:cubicBezTo>
                      <a:pt x="867055" y="1696641"/>
                      <a:pt x="872346" y="1749558"/>
                      <a:pt x="890338" y="1829991"/>
                    </a:cubicBezTo>
                    <a:cubicBezTo>
                      <a:pt x="908330" y="1910424"/>
                      <a:pt x="940080" y="2067058"/>
                      <a:pt x="966538" y="2128441"/>
                    </a:cubicBezTo>
                    <a:cubicBezTo>
                      <a:pt x="992996" y="2189824"/>
                      <a:pt x="1026863" y="2164424"/>
                      <a:pt x="1049088" y="2198291"/>
                    </a:cubicBezTo>
                    <a:cubicBezTo>
                      <a:pt x="1071313" y="2232158"/>
                      <a:pt x="1071313" y="2270258"/>
                      <a:pt x="1099888" y="2331641"/>
                    </a:cubicBezTo>
                    <a:cubicBezTo>
                      <a:pt x="1128463" y="2393024"/>
                      <a:pt x="1191963" y="2503091"/>
                      <a:pt x="1220538" y="2566591"/>
                    </a:cubicBezTo>
                    <a:cubicBezTo>
                      <a:pt x="1249113" y="2630091"/>
                      <a:pt x="1286155" y="2681949"/>
                      <a:pt x="1271338" y="2712641"/>
                    </a:cubicBezTo>
                    <a:cubicBezTo>
                      <a:pt x="1256521" y="2743333"/>
                      <a:pt x="1188788" y="2740158"/>
                      <a:pt x="1131638" y="2750741"/>
                    </a:cubicBezTo>
                    <a:cubicBezTo>
                      <a:pt x="1074488" y="2761324"/>
                      <a:pt x="992996" y="2779316"/>
                      <a:pt x="928438" y="2776141"/>
                    </a:cubicBezTo>
                    <a:cubicBezTo>
                      <a:pt x="863880" y="2772966"/>
                      <a:pt x="788738" y="2762383"/>
                      <a:pt x="744288" y="2731691"/>
                    </a:cubicBezTo>
                    <a:cubicBezTo>
                      <a:pt x="699838" y="2700999"/>
                      <a:pt x="681846" y="2656549"/>
                      <a:pt x="661738" y="2591991"/>
                    </a:cubicBezTo>
                    <a:cubicBezTo>
                      <a:pt x="641630" y="2527433"/>
                      <a:pt x="627871" y="2439591"/>
                      <a:pt x="623638" y="2344341"/>
                    </a:cubicBezTo>
                    <a:cubicBezTo>
                      <a:pt x="619405" y="2249091"/>
                      <a:pt x="617288" y="2189824"/>
                      <a:pt x="636338" y="2020491"/>
                    </a:cubicBezTo>
                    <a:cubicBezTo>
                      <a:pt x="655388" y="1851158"/>
                      <a:pt x="681846" y="1561174"/>
                      <a:pt x="737938" y="1328341"/>
                    </a:cubicBezTo>
                    <a:cubicBezTo>
                      <a:pt x="794030" y="1095508"/>
                      <a:pt x="900921" y="794941"/>
                      <a:pt x="972888" y="623491"/>
                    </a:cubicBezTo>
                    <a:cubicBezTo>
                      <a:pt x="1044855" y="452041"/>
                      <a:pt x="1105180" y="380074"/>
                      <a:pt x="1169738" y="299641"/>
                    </a:cubicBezTo>
                    <a:cubicBezTo>
                      <a:pt x="1234296" y="219208"/>
                      <a:pt x="1299913" y="171583"/>
                      <a:pt x="1360238" y="140891"/>
                    </a:cubicBezTo>
                    <a:cubicBezTo>
                      <a:pt x="1420563" y="110199"/>
                      <a:pt x="1478771" y="136658"/>
                      <a:pt x="1531688" y="115491"/>
                    </a:cubicBezTo>
                    <a:cubicBezTo>
                      <a:pt x="1584605" y="94324"/>
                      <a:pt x="1605771" y="32941"/>
                      <a:pt x="1677738" y="13891"/>
                    </a:cubicBezTo>
                    <a:cubicBezTo>
                      <a:pt x="1713722" y="4366"/>
                      <a:pt x="1763728" y="926"/>
                      <a:pt x="1814660" y="0"/>
                    </a:cubicBezTo>
                    <a:close/>
                  </a:path>
                </a:pathLst>
              </a:custGeom>
              <a:grpFill/>
              <a:ln w="25400" cap="flat" cmpd="sng" algn="ctr">
                <a:noFill/>
                <a:prstDash val="solid"/>
              </a:ln>
              <a:effectLst/>
            </p:spPr>
            <p:txBody>
              <a:bodyPr rtlCol="0" anchor="ctr"/>
              <a:lstStyle/>
              <a:p>
                <a:pPr algn="ctr" defTabSz="913578">
                  <a:defRPr/>
                </a:pPr>
                <a:endParaRPr lang="en-US" sz="1797" kern="0" dirty="0">
                  <a:solidFill>
                    <a:srgbClr val="FFFFFF"/>
                  </a:solidFill>
                  <a:latin typeface="Segoe UI"/>
                </a:endParaRPr>
              </a:p>
            </p:txBody>
          </p:sp>
        </p:grpSp>
        <p:sp>
          <p:nvSpPr>
            <p:cNvPr id="615" name="TextBox 614">
              <a:extLst>
                <a:ext uri="{FF2B5EF4-FFF2-40B4-BE49-F238E27FC236}">
                  <a16:creationId xmlns:a16="http://schemas.microsoft.com/office/drawing/2014/main" id="{73FAA446-26E9-4F1F-831E-203110171D90}"/>
                </a:ext>
              </a:extLst>
            </p:cNvPr>
            <p:cNvSpPr txBox="1"/>
            <p:nvPr/>
          </p:nvSpPr>
          <p:spPr>
            <a:xfrm>
              <a:off x="9059718" y="2633130"/>
              <a:ext cx="895599" cy="231947"/>
            </a:xfrm>
            <a:prstGeom prst="rect">
              <a:avLst/>
            </a:prstGeom>
          </p:spPr>
          <p:txBody>
            <a:bodyPr vert="horz" wrap="none" lIns="0" tIns="0" rIns="0" bIns="0" rtlCol="0" anchor="t">
              <a:spAutoFit/>
            </a:bodyPr>
            <a:lstStyle>
              <a:defPPr>
                <a:defRPr lang="en-US"/>
              </a:defPPr>
              <a:lvl1pPr algn="ctr" defTabSz="1088105">
                <a:defRPr sz="1200">
                  <a:solidFill>
                    <a:srgbClr val="505050"/>
                  </a:solidFill>
                  <a:ea typeface="Segoe UI" pitchFamily="34" charset="0"/>
                  <a:cs typeface="Segoe UI" pitchFamily="34" charset="0"/>
                </a:defRPr>
              </a:lvl1pPr>
            </a:lstStyle>
            <a:p>
              <a:pPr defTabSz="1087779">
                <a:defRPr/>
              </a:pPr>
              <a:r>
                <a:rPr lang="en-US" kern="0" dirty="0">
                  <a:latin typeface="Segoe UI Semibold" panose="020B0702040204020203" pitchFamily="34" charset="0"/>
                  <a:cs typeface="Segoe UI Semibold" panose="020B0702040204020203" pitchFamily="34" charset="0"/>
                </a:rPr>
                <a:t>Customers</a:t>
              </a:r>
            </a:p>
          </p:txBody>
        </p:sp>
      </p:grpSp>
      <p:grpSp>
        <p:nvGrpSpPr>
          <p:cNvPr id="585" name="Group 584">
            <a:extLst>
              <a:ext uri="{FF2B5EF4-FFF2-40B4-BE49-F238E27FC236}">
                <a16:creationId xmlns:a16="http://schemas.microsoft.com/office/drawing/2014/main" id="{CD2E2FE3-D4B1-4E25-AF07-A0544B90DC5F}"/>
              </a:ext>
            </a:extLst>
          </p:cNvPr>
          <p:cNvGrpSpPr/>
          <p:nvPr/>
        </p:nvGrpSpPr>
        <p:grpSpPr>
          <a:xfrm>
            <a:off x="1361732" y="2179702"/>
            <a:ext cx="651603" cy="543556"/>
            <a:chOff x="9113399" y="2182174"/>
            <a:chExt cx="788196" cy="682903"/>
          </a:xfrm>
        </p:grpSpPr>
        <p:grpSp>
          <p:nvGrpSpPr>
            <p:cNvPr id="603" name="Group 602">
              <a:extLst>
                <a:ext uri="{FF2B5EF4-FFF2-40B4-BE49-F238E27FC236}">
                  <a16:creationId xmlns:a16="http://schemas.microsoft.com/office/drawing/2014/main" id="{947DC597-9504-44E1-B27B-1F106EC0ACA6}"/>
                </a:ext>
              </a:extLst>
            </p:cNvPr>
            <p:cNvGrpSpPr>
              <a:grpSpLocks noChangeAspect="1"/>
            </p:cNvGrpSpPr>
            <p:nvPr/>
          </p:nvGrpSpPr>
          <p:grpSpPr>
            <a:xfrm>
              <a:off x="9113399" y="2182174"/>
              <a:ext cx="788196" cy="376549"/>
              <a:chOff x="335107" y="1984056"/>
              <a:chExt cx="8623119" cy="4119564"/>
            </a:xfrm>
            <a:solidFill>
              <a:srgbClr val="7F7F7F"/>
            </a:solidFill>
          </p:grpSpPr>
          <p:sp>
            <p:nvSpPr>
              <p:cNvPr id="605" name="Freeform 326">
                <a:extLst>
                  <a:ext uri="{FF2B5EF4-FFF2-40B4-BE49-F238E27FC236}">
                    <a16:creationId xmlns:a16="http://schemas.microsoft.com/office/drawing/2014/main" id="{49486FD6-7484-4970-85A3-0701002094FA}"/>
                  </a:ext>
                </a:extLst>
              </p:cNvPr>
              <p:cNvSpPr/>
              <p:nvPr/>
            </p:nvSpPr>
            <p:spPr>
              <a:xfrm>
                <a:off x="5423935" y="2187537"/>
                <a:ext cx="1275676" cy="3054785"/>
              </a:xfrm>
              <a:custGeom>
                <a:avLst/>
                <a:gdLst/>
                <a:ahLst/>
                <a:cxnLst/>
                <a:rect l="l" t="t" r="r" b="b"/>
                <a:pathLst>
                  <a:path w="1275676" h="3054785">
                    <a:moveTo>
                      <a:pt x="909893" y="2571265"/>
                    </a:moveTo>
                    <a:cubicBezTo>
                      <a:pt x="927578" y="2591556"/>
                      <a:pt x="943146" y="2624131"/>
                      <a:pt x="953053" y="2679738"/>
                    </a:cubicBezTo>
                    <a:cubicBezTo>
                      <a:pt x="966614" y="2755857"/>
                      <a:pt x="1015135" y="2902136"/>
                      <a:pt x="1032104" y="3045768"/>
                    </a:cubicBezTo>
                    <a:lnTo>
                      <a:pt x="926033" y="3054785"/>
                    </a:lnTo>
                    <a:lnTo>
                      <a:pt x="843515" y="2994064"/>
                    </a:lnTo>
                    <a:lnTo>
                      <a:pt x="791128" y="2951202"/>
                    </a:lnTo>
                    <a:lnTo>
                      <a:pt x="789242" y="2950511"/>
                    </a:lnTo>
                    <a:cubicBezTo>
                      <a:pt x="821800" y="2828680"/>
                      <a:pt x="864407" y="2700040"/>
                      <a:pt x="909893" y="2571265"/>
                    </a:cubicBezTo>
                    <a:close/>
                    <a:moveTo>
                      <a:pt x="810922" y="2515507"/>
                    </a:moveTo>
                    <a:cubicBezTo>
                      <a:pt x="813163" y="2515338"/>
                      <a:pt x="815461" y="2515417"/>
                      <a:pt x="817564" y="2517542"/>
                    </a:cubicBezTo>
                    <a:cubicBezTo>
                      <a:pt x="792015" y="2589329"/>
                      <a:pt x="769100" y="2660102"/>
                      <a:pt x="749052" y="2731145"/>
                    </a:cubicBezTo>
                    <a:cubicBezTo>
                      <a:pt x="728674" y="2665687"/>
                      <a:pt x="718117" y="2603286"/>
                      <a:pt x="714164" y="2542305"/>
                    </a:cubicBezTo>
                    <a:cubicBezTo>
                      <a:pt x="724867" y="2542383"/>
                      <a:pt x="734802" y="2542128"/>
                      <a:pt x="743503" y="2541626"/>
                    </a:cubicBezTo>
                    <a:cubicBezTo>
                      <a:pt x="774459" y="2539840"/>
                      <a:pt x="790235" y="2517070"/>
                      <a:pt x="810922" y="2515507"/>
                    </a:cubicBezTo>
                    <a:close/>
                    <a:moveTo>
                      <a:pt x="396204" y="2451912"/>
                    </a:moveTo>
                    <a:cubicBezTo>
                      <a:pt x="411647" y="2483872"/>
                      <a:pt x="433855" y="2503483"/>
                      <a:pt x="462515" y="2517813"/>
                    </a:cubicBezTo>
                    <a:cubicBezTo>
                      <a:pt x="495852" y="2534482"/>
                      <a:pt x="539509" y="2532894"/>
                      <a:pt x="586340" y="2536863"/>
                    </a:cubicBezTo>
                    <a:cubicBezTo>
                      <a:pt x="606520" y="2538574"/>
                      <a:pt x="630828" y="2540136"/>
                      <a:pt x="655265" y="2541066"/>
                    </a:cubicBezTo>
                    <a:cubicBezTo>
                      <a:pt x="657458" y="2571620"/>
                      <a:pt x="660070" y="2600527"/>
                      <a:pt x="663066" y="2624898"/>
                    </a:cubicBezTo>
                    <a:cubicBezTo>
                      <a:pt x="668463" y="2668822"/>
                      <a:pt x="677606" y="2707999"/>
                      <a:pt x="686242" y="2744162"/>
                    </a:cubicBezTo>
                    <a:cubicBezTo>
                      <a:pt x="632838" y="2717984"/>
                      <a:pt x="514903" y="2670213"/>
                      <a:pt x="514903" y="2670213"/>
                    </a:cubicBezTo>
                    <a:lnTo>
                      <a:pt x="333928" y="2589251"/>
                    </a:lnTo>
                    <a:lnTo>
                      <a:pt x="323202" y="2584990"/>
                    </a:lnTo>
                    <a:lnTo>
                      <a:pt x="327453" y="2567034"/>
                    </a:lnTo>
                    <a:cubicBezTo>
                      <a:pt x="340667" y="2528713"/>
                      <a:pt x="369951" y="2489259"/>
                      <a:pt x="396204" y="2451912"/>
                    </a:cubicBezTo>
                    <a:close/>
                    <a:moveTo>
                      <a:pt x="356384" y="1755197"/>
                    </a:moveTo>
                    <a:lnTo>
                      <a:pt x="361013" y="1949619"/>
                    </a:lnTo>
                    <a:cubicBezTo>
                      <a:pt x="293278" y="2065222"/>
                      <a:pt x="276288" y="2307687"/>
                      <a:pt x="265731" y="2563792"/>
                    </a:cubicBezTo>
                    <a:cubicBezTo>
                      <a:pt x="245616" y="2556203"/>
                      <a:pt x="227467" y="2546676"/>
                      <a:pt x="210103" y="2527338"/>
                    </a:cubicBezTo>
                    <a:cubicBezTo>
                      <a:pt x="175178" y="2488444"/>
                      <a:pt x="152159" y="2401925"/>
                      <a:pt x="124378" y="2355888"/>
                    </a:cubicBezTo>
                    <a:cubicBezTo>
                      <a:pt x="96597" y="2309851"/>
                      <a:pt x="64052" y="2271750"/>
                      <a:pt x="43415" y="2251113"/>
                    </a:cubicBezTo>
                    <a:cubicBezTo>
                      <a:pt x="22778" y="2230476"/>
                      <a:pt x="-4209" y="2253494"/>
                      <a:pt x="553" y="2232063"/>
                    </a:cubicBezTo>
                    <a:cubicBezTo>
                      <a:pt x="5315" y="2210632"/>
                      <a:pt x="48177" y="2180470"/>
                      <a:pt x="71990" y="2122526"/>
                    </a:cubicBezTo>
                    <a:cubicBezTo>
                      <a:pt x="90351" y="2077850"/>
                      <a:pt x="107767" y="1994009"/>
                      <a:pt x="126665" y="1932199"/>
                    </a:cubicBezTo>
                    <a:lnTo>
                      <a:pt x="273061" y="1880184"/>
                    </a:lnTo>
                    <a:cubicBezTo>
                      <a:pt x="305463" y="1861666"/>
                      <a:pt x="310089" y="1787599"/>
                      <a:pt x="356384" y="1755197"/>
                    </a:cubicBezTo>
                    <a:close/>
                    <a:moveTo>
                      <a:pt x="537693" y="744"/>
                    </a:moveTo>
                    <a:cubicBezTo>
                      <a:pt x="581411" y="-1830"/>
                      <a:pt x="633485" y="2027"/>
                      <a:pt x="695853" y="16174"/>
                    </a:cubicBezTo>
                    <a:cubicBezTo>
                      <a:pt x="758217" y="30318"/>
                      <a:pt x="852732" y="64395"/>
                      <a:pt x="911876" y="85609"/>
                    </a:cubicBezTo>
                    <a:cubicBezTo>
                      <a:pt x="971031" y="106829"/>
                      <a:pt x="1018605" y="128046"/>
                      <a:pt x="1050752" y="143477"/>
                    </a:cubicBezTo>
                    <a:cubicBezTo>
                      <a:pt x="1082899" y="158907"/>
                      <a:pt x="1079686" y="149264"/>
                      <a:pt x="1104760" y="178194"/>
                    </a:cubicBezTo>
                    <a:cubicBezTo>
                      <a:pt x="1129837" y="207128"/>
                      <a:pt x="1173554" y="261132"/>
                      <a:pt x="1201202" y="317070"/>
                    </a:cubicBezTo>
                    <a:cubicBezTo>
                      <a:pt x="1228849" y="373008"/>
                      <a:pt x="1259066" y="453372"/>
                      <a:pt x="1270636" y="513810"/>
                    </a:cubicBezTo>
                    <a:cubicBezTo>
                      <a:pt x="1275863" y="541109"/>
                      <a:pt x="1276368" y="577588"/>
                      <a:pt x="1275078" y="609376"/>
                    </a:cubicBezTo>
                    <a:cubicBezTo>
                      <a:pt x="1207919" y="610739"/>
                      <a:pt x="1256062" y="594379"/>
                      <a:pt x="1219753" y="593763"/>
                    </a:cubicBezTo>
                    <a:cubicBezTo>
                      <a:pt x="1172922" y="592969"/>
                      <a:pt x="1123709" y="585032"/>
                      <a:pt x="1086403" y="598526"/>
                    </a:cubicBezTo>
                    <a:cubicBezTo>
                      <a:pt x="1049097" y="612020"/>
                      <a:pt x="1027665" y="660439"/>
                      <a:pt x="995915" y="674726"/>
                    </a:cubicBezTo>
                    <a:cubicBezTo>
                      <a:pt x="964165" y="689014"/>
                      <a:pt x="933209" y="669964"/>
                      <a:pt x="895903" y="684251"/>
                    </a:cubicBezTo>
                    <a:cubicBezTo>
                      <a:pt x="858597" y="698539"/>
                      <a:pt x="813353" y="722351"/>
                      <a:pt x="772078" y="760451"/>
                    </a:cubicBezTo>
                    <a:cubicBezTo>
                      <a:pt x="730803" y="798551"/>
                      <a:pt x="685559" y="851732"/>
                      <a:pt x="648253" y="912851"/>
                    </a:cubicBezTo>
                    <a:cubicBezTo>
                      <a:pt x="610947" y="973970"/>
                      <a:pt x="579196" y="1048582"/>
                      <a:pt x="548240" y="1127163"/>
                    </a:cubicBezTo>
                    <a:cubicBezTo>
                      <a:pt x="517284" y="1205744"/>
                      <a:pt x="486327" y="1295438"/>
                      <a:pt x="462515" y="1384338"/>
                    </a:cubicBezTo>
                    <a:cubicBezTo>
                      <a:pt x="438702" y="1473238"/>
                      <a:pt x="418065" y="1592300"/>
                      <a:pt x="405365" y="1660563"/>
                    </a:cubicBezTo>
                    <a:cubicBezTo>
                      <a:pt x="401622" y="1680683"/>
                      <a:pt x="398982" y="1695769"/>
                      <a:pt x="397031" y="1708455"/>
                    </a:cubicBezTo>
                    <a:lnTo>
                      <a:pt x="379531" y="1681708"/>
                    </a:lnTo>
                    <a:cubicBezTo>
                      <a:pt x="365064" y="1654708"/>
                      <a:pt x="382424" y="1649399"/>
                      <a:pt x="362170" y="1615163"/>
                    </a:cubicBezTo>
                    <a:cubicBezTo>
                      <a:pt x="346337" y="1588394"/>
                      <a:pt x="308388" y="1553075"/>
                      <a:pt x="279806" y="1511723"/>
                    </a:cubicBezTo>
                    <a:cubicBezTo>
                      <a:pt x="283185" y="1487626"/>
                      <a:pt x="285447" y="1466602"/>
                      <a:pt x="286303" y="1451013"/>
                    </a:cubicBezTo>
                    <a:cubicBezTo>
                      <a:pt x="290272" y="1378782"/>
                      <a:pt x="259315" y="1385926"/>
                      <a:pt x="248203" y="1351001"/>
                    </a:cubicBezTo>
                    <a:cubicBezTo>
                      <a:pt x="237090" y="1316076"/>
                      <a:pt x="217247" y="1279563"/>
                      <a:pt x="219628" y="1241463"/>
                    </a:cubicBezTo>
                    <a:cubicBezTo>
                      <a:pt x="222009" y="1203363"/>
                      <a:pt x="252171" y="1173995"/>
                      <a:pt x="262490" y="1122401"/>
                    </a:cubicBezTo>
                    <a:cubicBezTo>
                      <a:pt x="272809" y="1070807"/>
                      <a:pt x="281540" y="992226"/>
                      <a:pt x="281540" y="931901"/>
                    </a:cubicBezTo>
                    <a:cubicBezTo>
                      <a:pt x="281540" y="871576"/>
                      <a:pt x="281540" y="816807"/>
                      <a:pt x="262490" y="760451"/>
                    </a:cubicBezTo>
                    <a:cubicBezTo>
                      <a:pt x="251559" y="728114"/>
                      <a:pt x="235402" y="693947"/>
                      <a:pt x="214848" y="662136"/>
                    </a:cubicBezTo>
                    <a:lnTo>
                      <a:pt x="267253" y="612813"/>
                    </a:lnTo>
                    <a:lnTo>
                      <a:pt x="500615" y="488988"/>
                    </a:lnTo>
                    <a:lnTo>
                      <a:pt x="786365" y="479463"/>
                    </a:lnTo>
                    <a:lnTo>
                      <a:pt x="486328" y="446126"/>
                    </a:lnTo>
                    <a:lnTo>
                      <a:pt x="286303" y="531851"/>
                    </a:lnTo>
                    <a:lnTo>
                      <a:pt x="188793" y="624717"/>
                    </a:lnTo>
                    <a:cubicBezTo>
                      <a:pt x="183072" y="613128"/>
                      <a:pt x="175276" y="603190"/>
                      <a:pt x="167240" y="593763"/>
                    </a:cubicBezTo>
                    <a:cubicBezTo>
                      <a:pt x="128567" y="548397"/>
                      <a:pt x="168636" y="489094"/>
                      <a:pt x="42501" y="473501"/>
                    </a:cubicBezTo>
                    <a:cubicBezTo>
                      <a:pt x="46825" y="429492"/>
                      <a:pt x="64428" y="405518"/>
                      <a:pt x="82492" y="363364"/>
                    </a:cubicBezTo>
                    <a:cubicBezTo>
                      <a:pt x="103709" y="313853"/>
                      <a:pt x="135213" y="245058"/>
                      <a:pt x="167360" y="201341"/>
                    </a:cubicBezTo>
                    <a:cubicBezTo>
                      <a:pt x="199507" y="157620"/>
                      <a:pt x="231011" y="129333"/>
                      <a:pt x="275376" y="101043"/>
                    </a:cubicBezTo>
                    <a:cubicBezTo>
                      <a:pt x="319733" y="72752"/>
                      <a:pt x="389818" y="48322"/>
                      <a:pt x="433535" y="31608"/>
                    </a:cubicBezTo>
                    <a:cubicBezTo>
                      <a:pt x="477256" y="14888"/>
                      <a:pt x="493969" y="3314"/>
                      <a:pt x="537693" y="744"/>
                    </a:cubicBezTo>
                    <a:close/>
                  </a:path>
                </a:pathLst>
              </a:custGeom>
              <a:grpFill/>
              <a:ln w="25400" cap="flat" cmpd="sng" algn="ctr">
                <a:noFill/>
                <a:prstDash val="solid"/>
              </a:ln>
              <a:effectLst/>
            </p:spPr>
            <p:txBody>
              <a:bodyPr rtlCol="0" anchor="ctr"/>
              <a:lstStyle/>
              <a:p>
                <a:pPr algn="ctr" defTabSz="913578">
                  <a:defRPr/>
                </a:pPr>
                <a:endParaRPr lang="en-US" sz="1797" kern="0">
                  <a:solidFill>
                    <a:srgbClr val="FFFFFF"/>
                  </a:solidFill>
                  <a:latin typeface="Segoe UI"/>
                </a:endParaRPr>
              </a:p>
            </p:txBody>
          </p:sp>
          <p:sp>
            <p:nvSpPr>
              <p:cNvPr id="606" name="Man's Body">
                <a:extLst>
                  <a:ext uri="{FF2B5EF4-FFF2-40B4-BE49-F238E27FC236}">
                    <a16:creationId xmlns:a16="http://schemas.microsoft.com/office/drawing/2014/main" id="{5572AF60-3063-479D-8F5A-865080F01870}"/>
                  </a:ext>
                </a:extLst>
              </p:cNvPr>
              <p:cNvSpPr>
                <a:spLocks/>
              </p:cNvSpPr>
              <p:nvPr/>
            </p:nvSpPr>
            <p:spPr bwMode="auto">
              <a:xfrm>
                <a:off x="4286421" y="1984056"/>
                <a:ext cx="1109019" cy="638618"/>
              </a:xfrm>
              <a:custGeom>
                <a:avLst/>
                <a:gdLst/>
                <a:ahLst/>
                <a:cxnLst/>
                <a:rect l="l" t="t" r="r" b="b"/>
                <a:pathLst>
                  <a:path w="1109019" h="638618">
                    <a:moveTo>
                      <a:pt x="527057" y="506"/>
                    </a:moveTo>
                    <a:cubicBezTo>
                      <a:pt x="648121" y="6732"/>
                      <a:pt x="780445" y="70158"/>
                      <a:pt x="889294" y="181665"/>
                    </a:cubicBezTo>
                    <a:cubicBezTo>
                      <a:pt x="1063451" y="360077"/>
                      <a:pt x="1112509" y="452740"/>
                      <a:pt x="1108830" y="488699"/>
                    </a:cubicBezTo>
                    <a:cubicBezTo>
                      <a:pt x="1105150" y="523275"/>
                      <a:pt x="1069584" y="571681"/>
                      <a:pt x="1038921" y="564767"/>
                    </a:cubicBezTo>
                    <a:cubicBezTo>
                      <a:pt x="1007034" y="557851"/>
                      <a:pt x="1003354" y="527424"/>
                      <a:pt x="986183" y="510828"/>
                    </a:cubicBezTo>
                    <a:cubicBezTo>
                      <a:pt x="782591" y="317203"/>
                      <a:pt x="618246" y="347629"/>
                      <a:pt x="550790" y="371142"/>
                    </a:cubicBezTo>
                    <a:cubicBezTo>
                      <a:pt x="760068" y="390992"/>
                      <a:pt x="912422" y="533945"/>
                      <a:pt x="972020" y="608911"/>
                    </a:cubicBezTo>
                    <a:cubicBezTo>
                      <a:pt x="891545" y="581606"/>
                      <a:pt x="869616" y="586916"/>
                      <a:pt x="814218" y="578169"/>
                    </a:cubicBezTo>
                    <a:cubicBezTo>
                      <a:pt x="753893" y="568644"/>
                      <a:pt x="686424" y="559913"/>
                      <a:pt x="633243" y="559119"/>
                    </a:cubicBezTo>
                    <a:cubicBezTo>
                      <a:pt x="580062" y="558325"/>
                      <a:pt x="534818" y="561501"/>
                      <a:pt x="495131" y="573407"/>
                    </a:cubicBezTo>
                    <a:cubicBezTo>
                      <a:pt x="455444" y="585313"/>
                      <a:pt x="430837" y="621032"/>
                      <a:pt x="395118" y="630557"/>
                    </a:cubicBezTo>
                    <a:cubicBezTo>
                      <a:pt x="359399" y="640082"/>
                      <a:pt x="312568" y="642463"/>
                      <a:pt x="280818" y="630557"/>
                    </a:cubicBezTo>
                    <a:cubicBezTo>
                      <a:pt x="249068" y="618651"/>
                      <a:pt x="230812" y="588488"/>
                      <a:pt x="204618" y="559119"/>
                    </a:cubicBezTo>
                    <a:cubicBezTo>
                      <a:pt x="178424" y="529750"/>
                      <a:pt x="156200" y="486888"/>
                      <a:pt x="123656" y="454344"/>
                    </a:cubicBezTo>
                    <a:cubicBezTo>
                      <a:pt x="91112" y="421800"/>
                      <a:pt x="52218" y="394019"/>
                      <a:pt x="9356" y="363857"/>
                    </a:cubicBezTo>
                    <a:cubicBezTo>
                      <a:pt x="6109" y="361572"/>
                      <a:pt x="2861" y="359100"/>
                      <a:pt x="0" y="355996"/>
                    </a:cubicBezTo>
                    <a:cubicBezTo>
                      <a:pt x="20998" y="211335"/>
                      <a:pt x="96747" y="42345"/>
                      <a:pt x="328801" y="53043"/>
                    </a:cubicBezTo>
                    <a:cubicBezTo>
                      <a:pt x="385831" y="13626"/>
                      <a:pt x="454418" y="-3230"/>
                      <a:pt x="527057" y="50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rgbClr val="FFB900">
                    <a:satMod val="300000"/>
                  </a:srgbClr>
                </a:contourClr>
              </a:sp3d>
              <a:extLst/>
            </p:spPr>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607" name="Man's Body">
                <a:extLst>
                  <a:ext uri="{FF2B5EF4-FFF2-40B4-BE49-F238E27FC236}">
                    <a16:creationId xmlns:a16="http://schemas.microsoft.com/office/drawing/2014/main" id="{936784A4-7AD3-4B2F-A0A0-78D596CE9BB1}"/>
                  </a:ext>
                </a:extLst>
              </p:cNvPr>
              <p:cNvSpPr>
                <a:spLocks/>
              </p:cNvSpPr>
              <p:nvPr/>
            </p:nvSpPr>
            <p:spPr bwMode="auto">
              <a:xfrm>
                <a:off x="1933544" y="2281603"/>
                <a:ext cx="1087125" cy="2339128"/>
              </a:xfrm>
              <a:custGeom>
                <a:avLst/>
                <a:gdLst/>
                <a:ahLst/>
                <a:cxnLst/>
                <a:rect l="l" t="t" r="r" b="b"/>
                <a:pathLst>
                  <a:path w="1087125" h="2339128">
                    <a:moveTo>
                      <a:pt x="148114" y="1900284"/>
                    </a:moveTo>
                    <a:cubicBezTo>
                      <a:pt x="220874" y="1957568"/>
                      <a:pt x="348888" y="2049369"/>
                      <a:pt x="516243" y="2068258"/>
                    </a:cubicBezTo>
                    <a:lnTo>
                      <a:pt x="495331" y="2090372"/>
                    </a:lnTo>
                    <a:cubicBezTo>
                      <a:pt x="449294" y="2138791"/>
                      <a:pt x="388175" y="2211022"/>
                      <a:pt x="338169" y="2252297"/>
                    </a:cubicBezTo>
                    <a:cubicBezTo>
                      <a:pt x="288163" y="2293572"/>
                      <a:pt x="225456" y="2347547"/>
                      <a:pt x="195294" y="2338022"/>
                    </a:cubicBezTo>
                    <a:cubicBezTo>
                      <a:pt x="165132" y="2328497"/>
                      <a:pt x="175450" y="2234834"/>
                      <a:pt x="157194" y="2195147"/>
                    </a:cubicBezTo>
                    <a:cubicBezTo>
                      <a:pt x="138938" y="2155460"/>
                      <a:pt x="111950" y="2112597"/>
                      <a:pt x="85756" y="2099897"/>
                    </a:cubicBezTo>
                    <a:cubicBezTo>
                      <a:pt x="59562" y="2087197"/>
                      <a:pt x="-1556" y="2133234"/>
                      <a:pt x="31" y="2118947"/>
                    </a:cubicBezTo>
                    <a:cubicBezTo>
                      <a:pt x="1618" y="2104660"/>
                      <a:pt x="65912" y="2063384"/>
                      <a:pt x="95281" y="2014172"/>
                    </a:cubicBezTo>
                    <a:cubicBezTo>
                      <a:pt x="112544" y="1985245"/>
                      <a:pt x="132002" y="1941507"/>
                      <a:pt x="148114" y="1900284"/>
                    </a:cubicBezTo>
                    <a:close/>
                    <a:moveTo>
                      <a:pt x="300366" y="1598710"/>
                    </a:moveTo>
                    <a:cubicBezTo>
                      <a:pt x="322928" y="1593356"/>
                      <a:pt x="499132" y="1755026"/>
                      <a:pt x="596386" y="1777949"/>
                    </a:cubicBezTo>
                    <a:lnTo>
                      <a:pt x="614394" y="1795097"/>
                    </a:lnTo>
                    <a:cubicBezTo>
                      <a:pt x="638206" y="1830816"/>
                      <a:pt x="647731" y="1881616"/>
                      <a:pt x="647731" y="1909397"/>
                    </a:cubicBezTo>
                    <a:cubicBezTo>
                      <a:pt x="647731" y="1937178"/>
                      <a:pt x="639794" y="1931622"/>
                      <a:pt x="614394" y="1961785"/>
                    </a:cubicBezTo>
                    <a:cubicBezTo>
                      <a:pt x="607207" y="1970320"/>
                      <a:pt x="598240" y="1980444"/>
                      <a:pt x="588003" y="1991644"/>
                    </a:cubicBezTo>
                    <a:cubicBezTo>
                      <a:pt x="401521" y="1979273"/>
                      <a:pt x="213522" y="1820684"/>
                      <a:pt x="209777" y="1788323"/>
                    </a:cubicBezTo>
                    <a:cubicBezTo>
                      <a:pt x="205894" y="1753317"/>
                      <a:pt x="274484" y="1603086"/>
                      <a:pt x="300366" y="1598710"/>
                    </a:cubicBezTo>
                    <a:close/>
                    <a:moveTo>
                      <a:pt x="594957" y="534"/>
                    </a:moveTo>
                    <a:cubicBezTo>
                      <a:pt x="722687" y="7103"/>
                      <a:pt x="862297" y="74022"/>
                      <a:pt x="977139" y="191669"/>
                    </a:cubicBezTo>
                    <a:cubicBezTo>
                      <a:pt x="1021009" y="236610"/>
                      <a:pt x="1057355" y="276395"/>
                      <a:pt x="1087125" y="311518"/>
                    </a:cubicBezTo>
                    <a:cubicBezTo>
                      <a:pt x="1049367" y="328933"/>
                      <a:pt x="1022410" y="352709"/>
                      <a:pt x="981106" y="366347"/>
                    </a:cubicBezTo>
                    <a:cubicBezTo>
                      <a:pt x="944893" y="378304"/>
                      <a:pt x="910738" y="390997"/>
                      <a:pt x="878907" y="405059"/>
                    </a:cubicBezTo>
                    <a:cubicBezTo>
                      <a:pt x="759679" y="355398"/>
                      <a:pt x="667278" y="375098"/>
                      <a:pt x="619996" y="391578"/>
                    </a:cubicBezTo>
                    <a:cubicBezTo>
                      <a:pt x="686882" y="397922"/>
                      <a:pt x="748256" y="416185"/>
                      <a:pt x="802895" y="441165"/>
                    </a:cubicBezTo>
                    <a:lnTo>
                      <a:pt x="762031" y="461597"/>
                    </a:lnTo>
                    <a:cubicBezTo>
                      <a:pt x="700119" y="497316"/>
                      <a:pt x="650112" y="528273"/>
                      <a:pt x="609631" y="580660"/>
                    </a:cubicBezTo>
                    <a:cubicBezTo>
                      <a:pt x="569150" y="633047"/>
                      <a:pt x="541369" y="702897"/>
                      <a:pt x="519144" y="775922"/>
                    </a:cubicBezTo>
                    <a:cubicBezTo>
                      <a:pt x="496919" y="848947"/>
                      <a:pt x="482631" y="944991"/>
                      <a:pt x="476281" y="1018810"/>
                    </a:cubicBezTo>
                    <a:cubicBezTo>
                      <a:pt x="469931" y="1092629"/>
                      <a:pt x="479457" y="1144223"/>
                      <a:pt x="481044" y="1218835"/>
                    </a:cubicBezTo>
                    <a:cubicBezTo>
                      <a:pt x="482631" y="1293447"/>
                      <a:pt x="481837" y="1387110"/>
                      <a:pt x="485806" y="1466485"/>
                    </a:cubicBezTo>
                    <a:cubicBezTo>
                      <a:pt x="488264" y="1515644"/>
                      <a:pt x="486764" y="1570588"/>
                      <a:pt x="491052" y="1618253"/>
                    </a:cubicBezTo>
                    <a:cubicBezTo>
                      <a:pt x="410332" y="1566195"/>
                      <a:pt x="328150" y="1493901"/>
                      <a:pt x="318496" y="1475757"/>
                    </a:cubicBezTo>
                    <a:cubicBezTo>
                      <a:pt x="315899" y="1471251"/>
                      <a:pt x="311051" y="1464346"/>
                      <a:pt x="304709" y="1455294"/>
                    </a:cubicBezTo>
                    <a:cubicBezTo>
                      <a:pt x="315763" y="1411159"/>
                      <a:pt x="324775" y="1369039"/>
                      <a:pt x="328644" y="1342660"/>
                    </a:cubicBezTo>
                    <a:cubicBezTo>
                      <a:pt x="337375" y="1283129"/>
                      <a:pt x="327056" y="1275191"/>
                      <a:pt x="314356" y="1247410"/>
                    </a:cubicBezTo>
                    <a:cubicBezTo>
                      <a:pt x="301656" y="1219629"/>
                      <a:pt x="261969" y="1202959"/>
                      <a:pt x="252444" y="1175972"/>
                    </a:cubicBezTo>
                    <a:cubicBezTo>
                      <a:pt x="242919" y="1148985"/>
                      <a:pt x="260381" y="1112473"/>
                      <a:pt x="257206" y="1085485"/>
                    </a:cubicBezTo>
                    <a:cubicBezTo>
                      <a:pt x="254031" y="1058497"/>
                      <a:pt x="224663" y="1025953"/>
                      <a:pt x="233394" y="1014047"/>
                    </a:cubicBezTo>
                    <a:cubicBezTo>
                      <a:pt x="242125" y="1002141"/>
                      <a:pt x="284194" y="1028334"/>
                      <a:pt x="309594" y="1014047"/>
                    </a:cubicBezTo>
                    <a:cubicBezTo>
                      <a:pt x="334994" y="999760"/>
                      <a:pt x="373888" y="964834"/>
                      <a:pt x="385794" y="928322"/>
                    </a:cubicBezTo>
                    <a:cubicBezTo>
                      <a:pt x="397700" y="891810"/>
                      <a:pt x="396112" y="839422"/>
                      <a:pt x="381031" y="794972"/>
                    </a:cubicBezTo>
                    <a:cubicBezTo>
                      <a:pt x="365950" y="750522"/>
                      <a:pt x="332612" y="708453"/>
                      <a:pt x="295306" y="661622"/>
                    </a:cubicBezTo>
                    <a:cubicBezTo>
                      <a:pt x="258000" y="614791"/>
                      <a:pt x="208788" y="566372"/>
                      <a:pt x="157194" y="513985"/>
                    </a:cubicBezTo>
                    <a:cubicBezTo>
                      <a:pt x="115841" y="471996"/>
                      <a:pt x="97944" y="422357"/>
                      <a:pt x="38211" y="378976"/>
                    </a:cubicBezTo>
                    <a:cubicBezTo>
                      <a:pt x="59848" y="225643"/>
                      <a:pt x="139125" y="44593"/>
                      <a:pt x="385784" y="55964"/>
                    </a:cubicBezTo>
                    <a:cubicBezTo>
                      <a:pt x="445955" y="14377"/>
                      <a:pt x="518318" y="-3408"/>
                      <a:pt x="594957" y="534"/>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rgbClr val="FFB900">
                    <a:satMod val="300000"/>
                  </a:srgbClr>
                </a:contourClr>
              </a:sp3d>
              <a:extLst/>
            </p:spPr>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608" name="Man's Body">
                <a:extLst>
                  <a:ext uri="{FF2B5EF4-FFF2-40B4-BE49-F238E27FC236}">
                    <a16:creationId xmlns:a16="http://schemas.microsoft.com/office/drawing/2014/main" id="{8022D935-0A80-4757-AB32-5F3EB1851243}"/>
                  </a:ext>
                </a:extLst>
              </p:cNvPr>
              <p:cNvSpPr>
                <a:spLocks/>
              </p:cNvSpPr>
              <p:nvPr/>
            </p:nvSpPr>
            <p:spPr bwMode="auto">
              <a:xfrm>
                <a:off x="7167183" y="2655935"/>
                <a:ext cx="1791043" cy="3077332"/>
              </a:xfrm>
              <a:custGeom>
                <a:avLst/>
                <a:gdLst/>
                <a:ahLst/>
                <a:cxnLst/>
                <a:rect l="l" t="t" r="r" b="b"/>
                <a:pathLst>
                  <a:path w="1791043" h="3077332">
                    <a:moveTo>
                      <a:pt x="1025015" y="1789010"/>
                    </a:moveTo>
                    <a:cubicBezTo>
                      <a:pt x="1052456" y="1797149"/>
                      <a:pt x="1104448" y="2023401"/>
                      <a:pt x="1163660" y="2039679"/>
                    </a:cubicBezTo>
                    <a:cubicBezTo>
                      <a:pt x="1305194" y="2077117"/>
                      <a:pt x="1705242" y="2228494"/>
                      <a:pt x="1763012" y="2334297"/>
                    </a:cubicBezTo>
                    <a:cubicBezTo>
                      <a:pt x="1819336" y="2441727"/>
                      <a:pt x="1797673" y="2617520"/>
                      <a:pt x="1634476" y="2912138"/>
                    </a:cubicBezTo>
                    <a:cubicBezTo>
                      <a:pt x="1581040" y="2785176"/>
                      <a:pt x="1492942" y="2694024"/>
                      <a:pt x="1466947" y="2677746"/>
                    </a:cubicBezTo>
                    <a:cubicBezTo>
                      <a:pt x="1510273" y="2767271"/>
                      <a:pt x="1536270" y="2931671"/>
                      <a:pt x="1550711" y="3037473"/>
                    </a:cubicBezTo>
                    <a:cubicBezTo>
                      <a:pt x="1272518" y="3065184"/>
                      <a:pt x="1017016" y="3074577"/>
                      <a:pt x="836493" y="3077332"/>
                    </a:cubicBezTo>
                    <a:cubicBezTo>
                      <a:pt x="905753" y="2981037"/>
                      <a:pt x="872415" y="2957070"/>
                      <a:pt x="886206" y="2901903"/>
                    </a:cubicBezTo>
                    <a:cubicBezTo>
                      <a:pt x="901287" y="2841578"/>
                      <a:pt x="906844" y="2798715"/>
                      <a:pt x="905256" y="2744740"/>
                    </a:cubicBezTo>
                    <a:cubicBezTo>
                      <a:pt x="903669" y="2690765"/>
                      <a:pt x="915575" y="2629647"/>
                      <a:pt x="876681" y="2578053"/>
                    </a:cubicBezTo>
                    <a:cubicBezTo>
                      <a:pt x="837787" y="2526459"/>
                      <a:pt x="764762" y="2482009"/>
                      <a:pt x="671893" y="2435178"/>
                    </a:cubicBezTo>
                    <a:cubicBezTo>
                      <a:pt x="579024" y="2388347"/>
                      <a:pt x="408368" y="2336753"/>
                      <a:pt x="319468" y="2297065"/>
                    </a:cubicBezTo>
                    <a:cubicBezTo>
                      <a:pt x="230568" y="2257378"/>
                      <a:pt x="183737" y="2238328"/>
                      <a:pt x="138493" y="2197053"/>
                    </a:cubicBezTo>
                    <a:cubicBezTo>
                      <a:pt x="114008" y="2174716"/>
                      <a:pt x="89523" y="2140522"/>
                      <a:pt x="72566" y="2109744"/>
                    </a:cubicBezTo>
                    <a:cubicBezTo>
                      <a:pt x="161803" y="2180615"/>
                      <a:pt x="342491" y="2318445"/>
                      <a:pt x="583084" y="2314764"/>
                    </a:cubicBezTo>
                    <a:cubicBezTo>
                      <a:pt x="894952" y="2309883"/>
                      <a:pt x="961434" y="2134181"/>
                      <a:pt x="961470" y="2134087"/>
                    </a:cubicBezTo>
                    <a:cubicBezTo>
                      <a:pt x="961431" y="2134155"/>
                      <a:pt x="905040" y="2231748"/>
                      <a:pt x="600415" y="2225240"/>
                    </a:cubicBezTo>
                    <a:cubicBezTo>
                      <a:pt x="448124" y="2222935"/>
                      <a:pt x="290769" y="2127693"/>
                      <a:pt x="210656" y="2058477"/>
                    </a:cubicBezTo>
                    <a:cubicBezTo>
                      <a:pt x="247111" y="2063660"/>
                      <a:pt x="286103" y="2068919"/>
                      <a:pt x="314706" y="2068465"/>
                    </a:cubicBezTo>
                    <a:cubicBezTo>
                      <a:pt x="364712" y="2067671"/>
                      <a:pt x="409162" y="2072434"/>
                      <a:pt x="438531" y="2044653"/>
                    </a:cubicBezTo>
                    <a:cubicBezTo>
                      <a:pt x="462255" y="2022212"/>
                      <a:pt x="476137" y="1982161"/>
                      <a:pt x="483486" y="1935462"/>
                    </a:cubicBezTo>
                    <a:cubicBezTo>
                      <a:pt x="533060" y="1967097"/>
                      <a:pt x="580637" y="1990306"/>
                      <a:pt x="613413" y="1989219"/>
                    </a:cubicBezTo>
                    <a:cubicBezTo>
                      <a:pt x="877705" y="1977826"/>
                      <a:pt x="999020" y="1779243"/>
                      <a:pt x="1025015" y="1789010"/>
                    </a:cubicBezTo>
                    <a:close/>
                    <a:moveTo>
                      <a:pt x="585448" y="596"/>
                    </a:moveTo>
                    <a:cubicBezTo>
                      <a:pt x="727992" y="7927"/>
                      <a:pt x="935211" y="76180"/>
                      <a:pt x="1038898" y="151026"/>
                    </a:cubicBezTo>
                    <a:cubicBezTo>
                      <a:pt x="1142584" y="225871"/>
                      <a:pt x="1211900" y="407326"/>
                      <a:pt x="1207568" y="449665"/>
                    </a:cubicBezTo>
                    <a:cubicBezTo>
                      <a:pt x="1203236" y="490376"/>
                      <a:pt x="1199071" y="612532"/>
                      <a:pt x="1188131" y="664973"/>
                    </a:cubicBezTo>
                    <a:cubicBezTo>
                      <a:pt x="1177190" y="717413"/>
                      <a:pt x="1149623" y="723595"/>
                      <a:pt x="1141921" y="764306"/>
                    </a:cubicBezTo>
                    <a:cubicBezTo>
                      <a:pt x="1157802" y="803380"/>
                      <a:pt x="1141928" y="909191"/>
                      <a:pt x="1141921" y="909236"/>
                    </a:cubicBezTo>
                    <a:cubicBezTo>
                      <a:pt x="1141991" y="909241"/>
                      <a:pt x="1208348" y="914147"/>
                      <a:pt x="1208348" y="962974"/>
                    </a:cubicBezTo>
                    <a:cubicBezTo>
                      <a:pt x="1208348" y="1011818"/>
                      <a:pt x="1137615" y="1280417"/>
                      <a:pt x="1137589" y="1280518"/>
                    </a:cubicBezTo>
                    <a:cubicBezTo>
                      <a:pt x="1137566" y="1280557"/>
                      <a:pt x="1118803" y="1313084"/>
                      <a:pt x="1097155" y="1308200"/>
                    </a:cubicBezTo>
                    <a:cubicBezTo>
                      <a:pt x="1074050" y="1506868"/>
                      <a:pt x="994626" y="1630630"/>
                      <a:pt x="926755" y="1690881"/>
                    </a:cubicBezTo>
                    <a:cubicBezTo>
                      <a:pt x="860327" y="1749505"/>
                      <a:pt x="705811" y="1868380"/>
                      <a:pt x="613391" y="1868380"/>
                    </a:cubicBezTo>
                    <a:cubicBezTo>
                      <a:pt x="583727" y="1868380"/>
                      <a:pt x="540227" y="1848919"/>
                      <a:pt x="494585" y="1820862"/>
                    </a:cubicBezTo>
                    <a:cubicBezTo>
                      <a:pt x="495428" y="1780245"/>
                      <a:pt x="492769" y="1734980"/>
                      <a:pt x="490918" y="1682703"/>
                    </a:cubicBezTo>
                    <a:cubicBezTo>
                      <a:pt x="487743" y="1593009"/>
                      <a:pt x="490124" y="1492202"/>
                      <a:pt x="471868" y="1363615"/>
                    </a:cubicBezTo>
                    <a:cubicBezTo>
                      <a:pt x="453612" y="1235028"/>
                      <a:pt x="405987" y="1022303"/>
                      <a:pt x="381381" y="911178"/>
                    </a:cubicBezTo>
                    <a:cubicBezTo>
                      <a:pt x="356775" y="800053"/>
                      <a:pt x="352806" y="754809"/>
                      <a:pt x="324231" y="696865"/>
                    </a:cubicBezTo>
                    <a:cubicBezTo>
                      <a:pt x="295656" y="638921"/>
                      <a:pt x="255968" y="620665"/>
                      <a:pt x="209931" y="563515"/>
                    </a:cubicBezTo>
                    <a:cubicBezTo>
                      <a:pt x="163894" y="506365"/>
                      <a:pt x="103569" y="415084"/>
                      <a:pt x="48006" y="353965"/>
                    </a:cubicBezTo>
                    <a:cubicBezTo>
                      <a:pt x="28279" y="332265"/>
                      <a:pt x="14655" y="310564"/>
                      <a:pt x="0" y="290327"/>
                    </a:cubicBezTo>
                    <a:cubicBezTo>
                      <a:pt x="45987" y="162254"/>
                      <a:pt x="147389" y="53021"/>
                      <a:pt x="352016" y="62454"/>
                    </a:cubicBezTo>
                    <a:cubicBezTo>
                      <a:pt x="419165" y="16044"/>
                      <a:pt x="499920" y="-3803"/>
                      <a:pt x="585448" y="59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rgbClr val="FFB900">
                    <a:satMod val="300000"/>
                  </a:srgbClr>
                </a:contourClr>
              </a:sp3d>
              <a:extLst/>
            </p:spPr>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609" name="Man's Body">
                <a:extLst>
                  <a:ext uri="{FF2B5EF4-FFF2-40B4-BE49-F238E27FC236}">
                    <a16:creationId xmlns:a16="http://schemas.microsoft.com/office/drawing/2014/main" id="{B64F1B02-705B-46C1-8A3B-3F2ABC9E0331}"/>
                  </a:ext>
                </a:extLst>
              </p:cNvPr>
              <p:cNvSpPr>
                <a:spLocks/>
              </p:cNvSpPr>
              <p:nvPr/>
            </p:nvSpPr>
            <p:spPr bwMode="auto">
              <a:xfrm>
                <a:off x="3394954" y="2270725"/>
                <a:ext cx="1220879" cy="2577721"/>
              </a:xfrm>
              <a:custGeom>
                <a:avLst/>
                <a:gdLst/>
                <a:ahLst/>
                <a:cxnLst/>
                <a:rect l="l" t="t" r="r" b="b"/>
                <a:pathLst>
                  <a:path w="1220879" h="2577721">
                    <a:moveTo>
                      <a:pt x="1000694" y="1726538"/>
                    </a:moveTo>
                    <a:cubicBezTo>
                      <a:pt x="1015159" y="1730828"/>
                      <a:pt x="1036692" y="1797918"/>
                      <a:pt x="1062780" y="1860398"/>
                    </a:cubicBezTo>
                    <a:lnTo>
                      <a:pt x="1072271" y="1886939"/>
                    </a:lnTo>
                    <a:cubicBezTo>
                      <a:pt x="1100846" y="1947264"/>
                      <a:pt x="1157203" y="2022670"/>
                      <a:pt x="1181809" y="2063151"/>
                    </a:cubicBezTo>
                    <a:cubicBezTo>
                      <a:pt x="1206415" y="2103632"/>
                      <a:pt x="1225465" y="2098076"/>
                      <a:pt x="1219909" y="2129826"/>
                    </a:cubicBezTo>
                    <a:cubicBezTo>
                      <a:pt x="1214353" y="2161576"/>
                      <a:pt x="1178633" y="2203645"/>
                      <a:pt x="1148471" y="2253651"/>
                    </a:cubicBezTo>
                    <a:cubicBezTo>
                      <a:pt x="1118309" y="2303657"/>
                      <a:pt x="1085765" y="2388589"/>
                      <a:pt x="1038934" y="2429864"/>
                    </a:cubicBezTo>
                    <a:cubicBezTo>
                      <a:pt x="992103" y="2471139"/>
                      <a:pt x="926222" y="2476695"/>
                      <a:pt x="867484" y="2501301"/>
                    </a:cubicBezTo>
                    <a:cubicBezTo>
                      <a:pt x="867484" y="2501301"/>
                      <a:pt x="738896" y="2574326"/>
                      <a:pt x="686509" y="2577501"/>
                    </a:cubicBezTo>
                    <a:cubicBezTo>
                      <a:pt x="634122" y="2580676"/>
                      <a:pt x="626184" y="2548926"/>
                      <a:pt x="553159" y="2520351"/>
                    </a:cubicBezTo>
                    <a:cubicBezTo>
                      <a:pt x="480134" y="2491776"/>
                      <a:pt x="311859" y="2440182"/>
                      <a:pt x="248359" y="2406051"/>
                    </a:cubicBezTo>
                    <a:cubicBezTo>
                      <a:pt x="184859" y="2371920"/>
                      <a:pt x="187240" y="2346520"/>
                      <a:pt x="172159" y="2315564"/>
                    </a:cubicBezTo>
                    <a:cubicBezTo>
                      <a:pt x="157078" y="2284608"/>
                      <a:pt x="140409" y="2261589"/>
                      <a:pt x="157871" y="2220314"/>
                    </a:cubicBezTo>
                    <a:cubicBezTo>
                      <a:pt x="168198" y="2195906"/>
                      <a:pt x="198233" y="2167333"/>
                      <a:pt x="226485" y="2135786"/>
                    </a:cubicBezTo>
                    <a:cubicBezTo>
                      <a:pt x="316982" y="2189270"/>
                      <a:pt x="435235" y="2236059"/>
                      <a:pt x="574195" y="2233933"/>
                    </a:cubicBezTo>
                    <a:cubicBezTo>
                      <a:pt x="875173" y="2229222"/>
                      <a:pt x="939333" y="2059656"/>
                      <a:pt x="939368" y="2059565"/>
                    </a:cubicBezTo>
                    <a:cubicBezTo>
                      <a:pt x="939349" y="2059598"/>
                      <a:pt x="884958" y="2153817"/>
                      <a:pt x="590920" y="2147535"/>
                    </a:cubicBezTo>
                    <a:cubicBezTo>
                      <a:pt x="481175" y="2145874"/>
                      <a:pt x="368705" y="2094204"/>
                      <a:pt x="286708" y="2040070"/>
                    </a:cubicBezTo>
                    <a:cubicBezTo>
                      <a:pt x="307092" y="1982179"/>
                      <a:pt x="314374" y="1903887"/>
                      <a:pt x="324559" y="1872651"/>
                    </a:cubicBezTo>
                    <a:cubicBezTo>
                      <a:pt x="333489" y="1845267"/>
                      <a:pt x="333488" y="1864317"/>
                      <a:pt x="339628" y="1861489"/>
                    </a:cubicBezTo>
                    <a:lnTo>
                      <a:pt x="348371" y="1848839"/>
                    </a:lnTo>
                    <a:cubicBezTo>
                      <a:pt x="354151" y="1836701"/>
                      <a:pt x="363405" y="1817932"/>
                      <a:pt x="373314" y="1796017"/>
                    </a:cubicBezTo>
                    <a:cubicBezTo>
                      <a:pt x="451017" y="1853032"/>
                      <a:pt x="548670" y="1921572"/>
                      <a:pt x="603465" y="1919756"/>
                    </a:cubicBezTo>
                    <a:cubicBezTo>
                      <a:pt x="858528" y="1908760"/>
                      <a:pt x="975606" y="1717113"/>
                      <a:pt x="1000694" y="1726538"/>
                    </a:cubicBezTo>
                    <a:close/>
                    <a:moveTo>
                      <a:pt x="576476" y="576"/>
                    </a:moveTo>
                    <a:cubicBezTo>
                      <a:pt x="714043" y="7650"/>
                      <a:pt x="864404" y="79722"/>
                      <a:pt x="988090" y="206429"/>
                    </a:cubicBezTo>
                    <a:cubicBezTo>
                      <a:pt x="1037022" y="256557"/>
                      <a:pt x="1077264" y="300727"/>
                      <a:pt x="1110031" y="339462"/>
                    </a:cubicBezTo>
                    <a:cubicBezTo>
                      <a:pt x="1051415" y="362041"/>
                      <a:pt x="1030281" y="393446"/>
                      <a:pt x="996071" y="424851"/>
                    </a:cubicBezTo>
                    <a:cubicBezTo>
                      <a:pt x="979245" y="440298"/>
                      <a:pt x="967211" y="456704"/>
                      <a:pt x="958497" y="474522"/>
                    </a:cubicBezTo>
                    <a:cubicBezTo>
                      <a:pt x="793415" y="374586"/>
                      <a:pt x="664033" y="400614"/>
                      <a:pt x="603444" y="421733"/>
                    </a:cubicBezTo>
                    <a:cubicBezTo>
                      <a:pt x="733011" y="434023"/>
                      <a:pt x="843377" y="487838"/>
                      <a:pt x="927312" y="549009"/>
                    </a:cubicBezTo>
                    <a:lnTo>
                      <a:pt x="915109" y="582014"/>
                    </a:lnTo>
                    <a:cubicBezTo>
                      <a:pt x="891297" y="642339"/>
                      <a:pt x="862721" y="710601"/>
                      <a:pt x="853196" y="786801"/>
                    </a:cubicBezTo>
                    <a:cubicBezTo>
                      <a:pt x="843671" y="863001"/>
                      <a:pt x="847640" y="966983"/>
                      <a:pt x="857959" y="1039214"/>
                    </a:cubicBezTo>
                    <a:cubicBezTo>
                      <a:pt x="868278" y="1111445"/>
                      <a:pt x="900028" y="1178120"/>
                      <a:pt x="915109" y="1220189"/>
                    </a:cubicBezTo>
                    <a:cubicBezTo>
                      <a:pt x="930190" y="1262258"/>
                      <a:pt x="946859" y="1272576"/>
                      <a:pt x="948446" y="1291626"/>
                    </a:cubicBezTo>
                    <a:cubicBezTo>
                      <a:pt x="950033" y="1310676"/>
                      <a:pt x="930984" y="1315439"/>
                      <a:pt x="924634" y="1334489"/>
                    </a:cubicBezTo>
                    <a:cubicBezTo>
                      <a:pt x="918284" y="1353539"/>
                      <a:pt x="907171" y="1371001"/>
                      <a:pt x="910346" y="1405926"/>
                    </a:cubicBezTo>
                    <a:cubicBezTo>
                      <a:pt x="913521" y="1440851"/>
                      <a:pt x="927015" y="1494827"/>
                      <a:pt x="943684" y="1544039"/>
                    </a:cubicBezTo>
                    <a:cubicBezTo>
                      <a:pt x="947240" y="1554538"/>
                      <a:pt x="951338" y="1565109"/>
                      <a:pt x="956769" y="1575392"/>
                    </a:cubicBezTo>
                    <a:cubicBezTo>
                      <a:pt x="939866" y="1598334"/>
                      <a:pt x="922505" y="1617063"/>
                      <a:pt x="905864" y="1631836"/>
                    </a:cubicBezTo>
                    <a:cubicBezTo>
                      <a:pt x="841757" y="1688412"/>
                      <a:pt x="692637" y="1803136"/>
                      <a:pt x="603444" y="1803136"/>
                    </a:cubicBezTo>
                    <a:cubicBezTo>
                      <a:pt x="557961" y="1803136"/>
                      <a:pt x="478776" y="1755732"/>
                      <a:pt x="409934" y="1705014"/>
                    </a:cubicBezTo>
                    <a:lnTo>
                      <a:pt x="419809" y="1672626"/>
                    </a:lnTo>
                    <a:cubicBezTo>
                      <a:pt x="433303" y="1613095"/>
                      <a:pt x="419809" y="1540070"/>
                      <a:pt x="429334" y="1491651"/>
                    </a:cubicBezTo>
                    <a:cubicBezTo>
                      <a:pt x="438859" y="1443232"/>
                      <a:pt x="464259" y="1418627"/>
                      <a:pt x="476959" y="1382114"/>
                    </a:cubicBezTo>
                    <a:cubicBezTo>
                      <a:pt x="489659" y="1345602"/>
                      <a:pt x="506328" y="1301151"/>
                      <a:pt x="505534" y="1272576"/>
                    </a:cubicBezTo>
                    <a:cubicBezTo>
                      <a:pt x="504740" y="1244001"/>
                      <a:pt x="472990" y="1247177"/>
                      <a:pt x="472196" y="1210664"/>
                    </a:cubicBezTo>
                    <a:cubicBezTo>
                      <a:pt x="471402" y="1174152"/>
                      <a:pt x="493627" y="1105095"/>
                      <a:pt x="500771" y="1053501"/>
                    </a:cubicBezTo>
                    <a:cubicBezTo>
                      <a:pt x="507915" y="1001907"/>
                      <a:pt x="519028" y="948726"/>
                      <a:pt x="515059" y="901101"/>
                    </a:cubicBezTo>
                    <a:cubicBezTo>
                      <a:pt x="511090" y="853476"/>
                      <a:pt x="496009" y="818551"/>
                      <a:pt x="476959" y="767751"/>
                    </a:cubicBezTo>
                    <a:cubicBezTo>
                      <a:pt x="457909" y="716951"/>
                      <a:pt x="430128" y="646307"/>
                      <a:pt x="400759" y="596301"/>
                    </a:cubicBezTo>
                    <a:cubicBezTo>
                      <a:pt x="371390" y="546295"/>
                      <a:pt x="342021" y="502639"/>
                      <a:pt x="300746" y="467714"/>
                    </a:cubicBezTo>
                    <a:cubicBezTo>
                      <a:pt x="259471" y="432789"/>
                      <a:pt x="207878" y="412151"/>
                      <a:pt x="153109" y="386751"/>
                    </a:cubicBezTo>
                    <a:cubicBezTo>
                      <a:pt x="102114" y="363101"/>
                      <a:pt x="114428" y="279585"/>
                      <a:pt x="0" y="308275"/>
                    </a:cubicBezTo>
                    <a:cubicBezTo>
                      <a:pt x="41291" y="173605"/>
                      <a:pt x="138419" y="50464"/>
                      <a:pt x="351195" y="60273"/>
                    </a:cubicBezTo>
                    <a:cubicBezTo>
                      <a:pt x="415999" y="15484"/>
                      <a:pt x="493935" y="-3670"/>
                      <a:pt x="576476" y="57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rgbClr val="FFB900">
                    <a:satMod val="300000"/>
                  </a:srgbClr>
                </a:contourClr>
              </a:sp3d>
              <a:extLst/>
            </p:spPr>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610" name="Man's Body">
                <a:extLst>
                  <a:ext uri="{FF2B5EF4-FFF2-40B4-BE49-F238E27FC236}">
                    <a16:creationId xmlns:a16="http://schemas.microsoft.com/office/drawing/2014/main" id="{9D292FE2-33A3-46EB-9B95-79BF25678DD1}"/>
                  </a:ext>
                </a:extLst>
              </p:cNvPr>
              <p:cNvSpPr>
                <a:spLocks/>
              </p:cNvSpPr>
              <p:nvPr/>
            </p:nvSpPr>
            <p:spPr bwMode="auto">
              <a:xfrm>
                <a:off x="4129215" y="2588754"/>
                <a:ext cx="1942154" cy="3289752"/>
              </a:xfrm>
              <a:custGeom>
                <a:avLst/>
                <a:gdLst/>
                <a:ahLst/>
                <a:cxnLst/>
                <a:rect l="l" t="t" r="r" b="b"/>
                <a:pathLst>
                  <a:path w="1942154" h="3289752">
                    <a:moveTo>
                      <a:pt x="501915" y="1906497"/>
                    </a:moveTo>
                    <a:cubicBezTo>
                      <a:pt x="531238" y="1899539"/>
                      <a:pt x="778162" y="2129136"/>
                      <a:pt x="883105" y="2125656"/>
                    </a:cubicBezTo>
                    <a:cubicBezTo>
                      <a:pt x="1165524" y="2113482"/>
                      <a:pt x="1295160" y="1901279"/>
                      <a:pt x="1322938" y="1911715"/>
                    </a:cubicBezTo>
                    <a:cubicBezTo>
                      <a:pt x="1352261" y="1920412"/>
                      <a:pt x="1407819" y="2162183"/>
                      <a:pt x="1471092" y="2179577"/>
                    </a:cubicBezTo>
                    <a:cubicBezTo>
                      <a:pt x="1569955" y="2205728"/>
                      <a:pt x="1786855" y="2283903"/>
                      <a:pt x="1942154" y="2367099"/>
                    </a:cubicBezTo>
                    <a:lnTo>
                      <a:pt x="1623885" y="2492834"/>
                    </a:lnTo>
                    <a:cubicBezTo>
                      <a:pt x="1505616" y="2541253"/>
                      <a:pt x="1369885" y="2582527"/>
                      <a:pt x="1300035" y="2630946"/>
                    </a:cubicBezTo>
                    <a:cubicBezTo>
                      <a:pt x="1230185" y="2679365"/>
                      <a:pt x="1216691" y="2727784"/>
                      <a:pt x="1204785" y="2783346"/>
                    </a:cubicBezTo>
                    <a:cubicBezTo>
                      <a:pt x="1192879" y="2838909"/>
                      <a:pt x="1211929" y="2896059"/>
                      <a:pt x="1228598" y="2964321"/>
                    </a:cubicBezTo>
                    <a:cubicBezTo>
                      <a:pt x="1245267" y="3032583"/>
                      <a:pt x="1281779" y="3120690"/>
                      <a:pt x="1304798" y="3192921"/>
                    </a:cubicBezTo>
                    <a:cubicBezTo>
                      <a:pt x="1314321" y="3222803"/>
                      <a:pt x="1341505" y="3252414"/>
                      <a:pt x="1363493" y="3281583"/>
                    </a:cubicBezTo>
                    <a:cubicBezTo>
                      <a:pt x="1152486" y="3290141"/>
                      <a:pt x="985631" y="3290297"/>
                      <a:pt x="900081" y="3289292"/>
                    </a:cubicBezTo>
                    <a:cubicBezTo>
                      <a:pt x="817878" y="3290370"/>
                      <a:pt x="658124" y="3290113"/>
                      <a:pt x="456018" y="3282293"/>
                    </a:cubicBezTo>
                    <a:cubicBezTo>
                      <a:pt x="462393" y="3274575"/>
                      <a:pt x="465552" y="3265168"/>
                      <a:pt x="466598" y="3254834"/>
                    </a:cubicBezTo>
                    <a:cubicBezTo>
                      <a:pt x="472948" y="3192128"/>
                      <a:pt x="470567" y="3114340"/>
                      <a:pt x="466598" y="3021471"/>
                    </a:cubicBezTo>
                    <a:cubicBezTo>
                      <a:pt x="462629" y="2928602"/>
                      <a:pt x="461835" y="2782552"/>
                      <a:pt x="442785" y="2697621"/>
                    </a:cubicBezTo>
                    <a:cubicBezTo>
                      <a:pt x="423735" y="2612690"/>
                      <a:pt x="407860" y="2565859"/>
                      <a:pt x="352298" y="2511884"/>
                    </a:cubicBezTo>
                    <a:cubicBezTo>
                      <a:pt x="296736" y="2457909"/>
                      <a:pt x="186404" y="2415046"/>
                      <a:pt x="109410" y="2373771"/>
                    </a:cubicBezTo>
                    <a:cubicBezTo>
                      <a:pt x="63909" y="2349379"/>
                      <a:pt x="39200" y="2319443"/>
                      <a:pt x="0" y="2298223"/>
                    </a:cubicBezTo>
                    <a:cubicBezTo>
                      <a:pt x="117461" y="2244929"/>
                      <a:pt x="226792" y="2206801"/>
                      <a:pt x="244189" y="2210886"/>
                    </a:cubicBezTo>
                    <a:cubicBezTo>
                      <a:pt x="281228" y="2217843"/>
                      <a:pt x="509632" y="2478748"/>
                      <a:pt x="850696" y="2473530"/>
                    </a:cubicBezTo>
                    <a:cubicBezTo>
                      <a:pt x="1183954" y="2468314"/>
                      <a:pt x="1254996" y="2280562"/>
                      <a:pt x="1255035" y="2280461"/>
                    </a:cubicBezTo>
                    <a:cubicBezTo>
                      <a:pt x="1255005" y="2280512"/>
                      <a:pt x="1194766" y="2384821"/>
                      <a:pt x="869215" y="2377865"/>
                    </a:cubicBezTo>
                    <a:cubicBezTo>
                      <a:pt x="639268" y="2374386"/>
                      <a:pt x="398517" y="2172620"/>
                      <a:pt x="393887" y="2132615"/>
                    </a:cubicBezTo>
                    <a:cubicBezTo>
                      <a:pt x="389256" y="2090869"/>
                      <a:pt x="471051" y="1911715"/>
                      <a:pt x="501915" y="1906497"/>
                    </a:cubicBezTo>
                    <a:close/>
                    <a:moveTo>
                      <a:pt x="853221" y="637"/>
                    </a:moveTo>
                    <a:cubicBezTo>
                      <a:pt x="1005543" y="8471"/>
                      <a:pt x="1226975" y="81406"/>
                      <a:pt x="1337772" y="161384"/>
                    </a:cubicBezTo>
                    <a:cubicBezTo>
                      <a:pt x="1448570" y="241363"/>
                      <a:pt x="1522641" y="435263"/>
                      <a:pt x="1518012" y="480506"/>
                    </a:cubicBezTo>
                    <a:cubicBezTo>
                      <a:pt x="1513382" y="524010"/>
                      <a:pt x="1508932" y="654545"/>
                      <a:pt x="1497241" y="710582"/>
                    </a:cubicBezTo>
                    <a:cubicBezTo>
                      <a:pt x="1485550" y="766620"/>
                      <a:pt x="1456092" y="773225"/>
                      <a:pt x="1447862" y="816729"/>
                    </a:cubicBezTo>
                    <a:cubicBezTo>
                      <a:pt x="1464832" y="858482"/>
                      <a:pt x="1447870" y="971551"/>
                      <a:pt x="1447862" y="971599"/>
                    </a:cubicBezTo>
                    <a:cubicBezTo>
                      <a:pt x="1447887" y="971601"/>
                      <a:pt x="1518845" y="976828"/>
                      <a:pt x="1518845" y="1029023"/>
                    </a:cubicBezTo>
                    <a:cubicBezTo>
                      <a:pt x="1518845" y="1081217"/>
                      <a:pt x="1443261" y="1368239"/>
                      <a:pt x="1443233" y="1368346"/>
                    </a:cubicBezTo>
                    <a:cubicBezTo>
                      <a:pt x="1443216" y="1368375"/>
                      <a:pt x="1423163" y="1403147"/>
                      <a:pt x="1400025" y="1397928"/>
                    </a:cubicBezTo>
                    <a:cubicBezTo>
                      <a:pt x="1375336" y="1610222"/>
                      <a:pt x="1290464" y="1742472"/>
                      <a:pt x="1217938" y="1806856"/>
                    </a:cubicBezTo>
                    <a:cubicBezTo>
                      <a:pt x="1146955" y="1869501"/>
                      <a:pt x="981841" y="1996529"/>
                      <a:pt x="883082" y="1996529"/>
                    </a:cubicBezTo>
                    <a:cubicBezTo>
                      <a:pt x="784323" y="1996529"/>
                      <a:pt x="542053" y="1794675"/>
                      <a:pt x="523537" y="1759872"/>
                    </a:cubicBezTo>
                    <a:cubicBezTo>
                      <a:pt x="503477" y="1725071"/>
                      <a:pt x="370768" y="1570199"/>
                      <a:pt x="366139" y="1380528"/>
                    </a:cubicBezTo>
                    <a:cubicBezTo>
                      <a:pt x="301328" y="1375306"/>
                      <a:pt x="264293" y="1183894"/>
                      <a:pt x="239604" y="1082967"/>
                    </a:cubicBezTo>
                    <a:cubicBezTo>
                      <a:pt x="219550" y="997735"/>
                      <a:pt x="288930" y="999439"/>
                      <a:pt x="288983" y="999441"/>
                    </a:cubicBezTo>
                    <a:cubicBezTo>
                      <a:pt x="288957" y="999371"/>
                      <a:pt x="191766" y="731458"/>
                      <a:pt x="184051" y="694921"/>
                    </a:cubicBezTo>
                    <a:cubicBezTo>
                      <a:pt x="177878" y="660118"/>
                      <a:pt x="113068" y="44116"/>
                      <a:pt x="603779" y="66738"/>
                    </a:cubicBezTo>
                    <a:cubicBezTo>
                      <a:pt x="675533" y="17144"/>
                      <a:pt x="761828" y="-4064"/>
                      <a:pt x="853221" y="63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rgbClr val="FFB900">
                    <a:satMod val="300000"/>
                  </a:srgbClr>
                </a:contourClr>
              </a:sp3d>
              <a:extLst/>
            </p:spPr>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611" name="Man's Body">
                <a:extLst>
                  <a:ext uri="{FF2B5EF4-FFF2-40B4-BE49-F238E27FC236}">
                    <a16:creationId xmlns:a16="http://schemas.microsoft.com/office/drawing/2014/main" id="{65EDBED1-5F03-48DC-93BD-B45FE734017E}"/>
                  </a:ext>
                </a:extLst>
              </p:cNvPr>
              <p:cNvSpPr>
                <a:spLocks/>
              </p:cNvSpPr>
              <p:nvPr/>
            </p:nvSpPr>
            <p:spPr bwMode="auto">
              <a:xfrm>
                <a:off x="335107" y="2540761"/>
                <a:ext cx="1927374" cy="3278271"/>
              </a:xfrm>
              <a:custGeom>
                <a:avLst/>
                <a:gdLst/>
                <a:ahLst/>
                <a:cxnLst/>
                <a:rect l="l" t="t" r="r" b="b"/>
                <a:pathLst>
                  <a:path w="1927374" h="3278271">
                    <a:moveTo>
                      <a:pt x="586126" y="2210886"/>
                    </a:moveTo>
                    <a:cubicBezTo>
                      <a:pt x="616330" y="2216559"/>
                      <a:pt x="773790" y="2391106"/>
                      <a:pt x="1016388" y="2450287"/>
                    </a:cubicBezTo>
                    <a:cubicBezTo>
                      <a:pt x="976291" y="2480726"/>
                      <a:pt x="940784" y="2511617"/>
                      <a:pt x="912668" y="2540828"/>
                    </a:cubicBezTo>
                    <a:cubicBezTo>
                      <a:pt x="851549" y="2604328"/>
                      <a:pt x="830912" y="2661478"/>
                      <a:pt x="803131" y="2726565"/>
                    </a:cubicBezTo>
                    <a:cubicBezTo>
                      <a:pt x="775350" y="2791652"/>
                      <a:pt x="757093" y="2855947"/>
                      <a:pt x="745981" y="2931353"/>
                    </a:cubicBezTo>
                    <a:cubicBezTo>
                      <a:pt x="734869" y="3006759"/>
                      <a:pt x="738837" y="3105978"/>
                      <a:pt x="736456" y="3179003"/>
                    </a:cubicBezTo>
                    <a:cubicBezTo>
                      <a:pt x="735337" y="3213335"/>
                      <a:pt x="717901" y="3247141"/>
                      <a:pt x="707639" y="3278271"/>
                    </a:cubicBezTo>
                    <a:cubicBezTo>
                      <a:pt x="607261" y="3273701"/>
                      <a:pt x="498668" y="3267095"/>
                      <a:pt x="385500" y="3257984"/>
                    </a:cubicBezTo>
                    <a:cubicBezTo>
                      <a:pt x="387043" y="3144926"/>
                      <a:pt x="428711" y="2960553"/>
                      <a:pt x="475010" y="2861409"/>
                    </a:cubicBezTo>
                    <a:cubicBezTo>
                      <a:pt x="439515" y="2884020"/>
                      <a:pt x="288274" y="3042302"/>
                      <a:pt x="258951" y="3247548"/>
                    </a:cubicBezTo>
                    <a:cubicBezTo>
                      <a:pt x="-18839" y="2890978"/>
                      <a:pt x="-32728" y="2605722"/>
                      <a:pt x="32090" y="2494403"/>
                    </a:cubicBezTo>
                    <a:cubicBezTo>
                      <a:pt x="95364" y="2384822"/>
                      <a:pt x="549088" y="2202189"/>
                      <a:pt x="586126" y="2210886"/>
                    </a:cubicBezTo>
                    <a:close/>
                    <a:moveTo>
                      <a:pt x="843852" y="1906497"/>
                    </a:moveTo>
                    <a:cubicBezTo>
                      <a:pt x="873175" y="1899539"/>
                      <a:pt x="1120099" y="2129136"/>
                      <a:pt x="1225042" y="2125656"/>
                    </a:cubicBezTo>
                    <a:cubicBezTo>
                      <a:pt x="1507461" y="2113482"/>
                      <a:pt x="1637096" y="1901279"/>
                      <a:pt x="1664875" y="1911715"/>
                    </a:cubicBezTo>
                    <a:cubicBezTo>
                      <a:pt x="1681451" y="1916632"/>
                      <a:pt x="1706410" y="1996028"/>
                      <a:pt x="1736668" y="2067160"/>
                    </a:cubicBezTo>
                    <a:cubicBezTo>
                      <a:pt x="1645277" y="2089552"/>
                      <a:pt x="1598007" y="2141189"/>
                      <a:pt x="1512743" y="2178878"/>
                    </a:cubicBezTo>
                    <a:cubicBezTo>
                      <a:pt x="1403206" y="2227297"/>
                      <a:pt x="1269855" y="2285240"/>
                      <a:pt x="1169843" y="2345565"/>
                    </a:cubicBezTo>
                    <a:lnTo>
                      <a:pt x="1134882" y="2369115"/>
                    </a:lnTo>
                    <a:cubicBezTo>
                      <a:pt x="930801" y="2331702"/>
                      <a:pt x="739941" y="2168192"/>
                      <a:pt x="735824" y="2132615"/>
                    </a:cubicBezTo>
                    <a:cubicBezTo>
                      <a:pt x="731193" y="2090869"/>
                      <a:pt x="812988" y="1911715"/>
                      <a:pt x="843852" y="1906497"/>
                    </a:cubicBezTo>
                    <a:close/>
                    <a:moveTo>
                      <a:pt x="1195158" y="637"/>
                    </a:moveTo>
                    <a:cubicBezTo>
                      <a:pt x="1347480" y="8471"/>
                      <a:pt x="1513967" y="88272"/>
                      <a:pt x="1650919" y="228569"/>
                    </a:cubicBezTo>
                    <a:cubicBezTo>
                      <a:pt x="1870041" y="453045"/>
                      <a:pt x="1931766" y="569632"/>
                      <a:pt x="1927136" y="614875"/>
                    </a:cubicBezTo>
                    <a:cubicBezTo>
                      <a:pt x="1922506" y="658378"/>
                      <a:pt x="1877757" y="719282"/>
                      <a:pt x="1839178" y="710582"/>
                    </a:cubicBezTo>
                    <a:cubicBezTo>
                      <a:pt x="1799058" y="701882"/>
                      <a:pt x="1794429" y="663598"/>
                      <a:pt x="1772824" y="642718"/>
                    </a:cubicBezTo>
                    <a:cubicBezTo>
                      <a:pt x="1516667" y="399101"/>
                      <a:pt x="1309890" y="437383"/>
                      <a:pt x="1225019" y="466966"/>
                    </a:cubicBezTo>
                    <a:cubicBezTo>
                      <a:pt x="1555245" y="498288"/>
                      <a:pt x="1772824" y="773225"/>
                      <a:pt x="1789799" y="816729"/>
                    </a:cubicBezTo>
                    <a:cubicBezTo>
                      <a:pt x="1806769" y="858482"/>
                      <a:pt x="1789807" y="971551"/>
                      <a:pt x="1789799" y="971599"/>
                    </a:cubicBezTo>
                    <a:cubicBezTo>
                      <a:pt x="1789819" y="971601"/>
                      <a:pt x="1860782" y="976826"/>
                      <a:pt x="1860782" y="1029023"/>
                    </a:cubicBezTo>
                    <a:cubicBezTo>
                      <a:pt x="1860782" y="1081217"/>
                      <a:pt x="1785198" y="1368239"/>
                      <a:pt x="1785170" y="1368346"/>
                    </a:cubicBezTo>
                    <a:cubicBezTo>
                      <a:pt x="1785153" y="1368375"/>
                      <a:pt x="1765100" y="1403147"/>
                      <a:pt x="1741962" y="1397928"/>
                    </a:cubicBezTo>
                    <a:cubicBezTo>
                      <a:pt x="1717273" y="1610222"/>
                      <a:pt x="1632401" y="1742472"/>
                      <a:pt x="1559875" y="1806856"/>
                    </a:cubicBezTo>
                    <a:cubicBezTo>
                      <a:pt x="1488892" y="1869501"/>
                      <a:pt x="1323778" y="1996529"/>
                      <a:pt x="1225019" y="1996529"/>
                    </a:cubicBezTo>
                    <a:cubicBezTo>
                      <a:pt x="1126260" y="1996529"/>
                      <a:pt x="883990" y="1794675"/>
                      <a:pt x="865473" y="1759872"/>
                    </a:cubicBezTo>
                    <a:cubicBezTo>
                      <a:pt x="845414" y="1725071"/>
                      <a:pt x="712705" y="1570199"/>
                      <a:pt x="708075" y="1380528"/>
                    </a:cubicBezTo>
                    <a:cubicBezTo>
                      <a:pt x="643265" y="1375306"/>
                      <a:pt x="606230" y="1183894"/>
                      <a:pt x="581541" y="1082967"/>
                    </a:cubicBezTo>
                    <a:cubicBezTo>
                      <a:pt x="561487" y="997735"/>
                      <a:pt x="630866" y="999439"/>
                      <a:pt x="630919" y="999441"/>
                    </a:cubicBezTo>
                    <a:cubicBezTo>
                      <a:pt x="630881" y="999337"/>
                      <a:pt x="533702" y="731455"/>
                      <a:pt x="525988" y="694921"/>
                    </a:cubicBezTo>
                    <a:cubicBezTo>
                      <a:pt x="519815" y="660118"/>
                      <a:pt x="455005" y="44116"/>
                      <a:pt x="945716" y="66738"/>
                    </a:cubicBezTo>
                    <a:cubicBezTo>
                      <a:pt x="1017470" y="17144"/>
                      <a:pt x="1103765" y="-4064"/>
                      <a:pt x="1195158" y="63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rgbClr val="FFB900">
                    <a:satMod val="300000"/>
                  </a:srgbClr>
                </a:contourClr>
              </a:sp3d>
              <a:extLst/>
            </p:spPr>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612" name="Freeform 333">
                <a:extLst>
                  <a:ext uri="{FF2B5EF4-FFF2-40B4-BE49-F238E27FC236}">
                    <a16:creationId xmlns:a16="http://schemas.microsoft.com/office/drawing/2014/main" id="{B86F19DA-88BC-4385-8E65-092A81955BA5}"/>
                  </a:ext>
                </a:extLst>
              </p:cNvPr>
              <p:cNvSpPr/>
              <p:nvPr/>
            </p:nvSpPr>
            <p:spPr>
              <a:xfrm flipH="1">
                <a:off x="1116816" y="2629054"/>
                <a:ext cx="3436629" cy="3474566"/>
              </a:xfrm>
              <a:custGeom>
                <a:avLst/>
                <a:gdLst/>
                <a:ahLst/>
                <a:cxnLst/>
                <a:rect l="l" t="t" r="r" b="b"/>
                <a:pathLst>
                  <a:path w="852601" h="862013">
                    <a:moveTo>
                      <a:pt x="339688" y="551599"/>
                    </a:moveTo>
                    <a:cubicBezTo>
                      <a:pt x="336200" y="550660"/>
                      <a:pt x="332712" y="552270"/>
                      <a:pt x="329224" y="555624"/>
                    </a:cubicBezTo>
                    <a:lnTo>
                      <a:pt x="318760" y="571723"/>
                    </a:lnTo>
                    <a:cubicBezTo>
                      <a:pt x="317687" y="576955"/>
                      <a:pt x="320907" y="582723"/>
                      <a:pt x="322785" y="587017"/>
                    </a:cubicBezTo>
                    <a:cubicBezTo>
                      <a:pt x="324663" y="591310"/>
                      <a:pt x="331370" y="593322"/>
                      <a:pt x="330029" y="597481"/>
                    </a:cubicBezTo>
                    <a:cubicBezTo>
                      <a:pt x="328687" y="601641"/>
                      <a:pt x="318894" y="606739"/>
                      <a:pt x="314735" y="611971"/>
                    </a:cubicBezTo>
                    <a:cubicBezTo>
                      <a:pt x="310576" y="617202"/>
                      <a:pt x="308563" y="620288"/>
                      <a:pt x="303465" y="629679"/>
                    </a:cubicBezTo>
                    <a:cubicBezTo>
                      <a:pt x="298368" y="639070"/>
                      <a:pt x="292062" y="654230"/>
                      <a:pt x="284147" y="668317"/>
                    </a:cubicBezTo>
                    <a:cubicBezTo>
                      <a:pt x="276232" y="682403"/>
                      <a:pt x="261340" y="698637"/>
                      <a:pt x="255974" y="714199"/>
                    </a:cubicBezTo>
                    <a:cubicBezTo>
                      <a:pt x="250607" y="729762"/>
                      <a:pt x="252754" y="745727"/>
                      <a:pt x="251949" y="761691"/>
                    </a:cubicBezTo>
                    <a:cubicBezTo>
                      <a:pt x="251144" y="777656"/>
                      <a:pt x="252351" y="796036"/>
                      <a:pt x="251143" y="809989"/>
                    </a:cubicBezTo>
                    <a:cubicBezTo>
                      <a:pt x="249937" y="823941"/>
                      <a:pt x="245778" y="837357"/>
                      <a:pt x="244705" y="845406"/>
                    </a:cubicBezTo>
                    <a:cubicBezTo>
                      <a:pt x="243631" y="853456"/>
                      <a:pt x="243095" y="855603"/>
                      <a:pt x="244705" y="858286"/>
                    </a:cubicBezTo>
                    <a:cubicBezTo>
                      <a:pt x="245509" y="859627"/>
                      <a:pt x="245945" y="860298"/>
                      <a:pt x="247169" y="860701"/>
                    </a:cubicBezTo>
                    <a:lnTo>
                      <a:pt x="254364" y="861506"/>
                    </a:lnTo>
                    <a:cubicBezTo>
                      <a:pt x="262279" y="862042"/>
                      <a:pt x="277305" y="862310"/>
                      <a:pt x="292196" y="861506"/>
                    </a:cubicBezTo>
                    <a:cubicBezTo>
                      <a:pt x="307088" y="860701"/>
                      <a:pt x="333115" y="857749"/>
                      <a:pt x="343713" y="856676"/>
                    </a:cubicBezTo>
                    <a:cubicBezTo>
                      <a:pt x="343747" y="856684"/>
                      <a:pt x="352708" y="858681"/>
                      <a:pt x="355787" y="855066"/>
                    </a:cubicBezTo>
                    <a:cubicBezTo>
                      <a:pt x="358873" y="851443"/>
                      <a:pt x="361288" y="845675"/>
                      <a:pt x="362227" y="834943"/>
                    </a:cubicBezTo>
                    <a:cubicBezTo>
                      <a:pt x="363166" y="824210"/>
                      <a:pt x="363568" y="808110"/>
                      <a:pt x="361422" y="790670"/>
                    </a:cubicBezTo>
                    <a:cubicBezTo>
                      <a:pt x="359275" y="773229"/>
                      <a:pt x="352299" y="754313"/>
                      <a:pt x="349348" y="730298"/>
                    </a:cubicBezTo>
                    <a:cubicBezTo>
                      <a:pt x="346396" y="706284"/>
                      <a:pt x="344786" y="666439"/>
                      <a:pt x="343713" y="646584"/>
                    </a:cubicBezTo>
                    <a:cubicBezTo>
                      <a:pt x="342640" y="626728"/>
                      <a:pt x="342505" y="619886"/>
                      <a:pt x="342908" y="611166"/>
                    </a:cubicBezTo>
                    <a:cubicBezTo>
                      <a:pt x="343310" y="602446"/>
                      <a:pt x="343713" y="600299"/>
                      <a:pt x="346128" y="594262"/>
                    </a:cubicBezTo>
                    <a:cubicBezTo>
                      <a:pt x="348543" y="588224"/>
                      <a:pt x="356727" y="580443"/>
                      <a:pt x="357397" y="574942"/>
                    </a:cubicBezTo>
                    <a:cubicBezTo>
                      <a:pt x="358068" y="569442"/>
                      <a:pt x="353104" y="565149"/>
                      <a:pt x="350153" y="561258"/>
                    </a:cubicBezTo>
                    <a:close/>
                    <a:moveTo>
                      <a:pt x="287206" y="507649"/>
                    </a:moveTo>
                    <a:cubicBezTo>
                      <a:pt x="299226" y="561742"/>
                      <a:pt x="284201" y="574621"/>
                      <a:pt x="274326" y="617123"/>
                    </a:cubicBezTo>
                    <a:cubicBezTo>
                      <a:pt x="272445" y="626330"/>
                      <a:pt x="270907" y="639718"/>
                      <a:pt x="269556" y="655910"/>
                    </a:cubicBezTo>
                    <a:cubicBezTo>
                      <a:pt x="284442" y="632717"/>
                      <a:pt x="299146" y="601494"/>
                      <a:pt x="316184" y="596515"/>
                    </a:cubicBezTo>
                    <a:cubicBezTo>
                      <a:pt x="314038" y="589217"/>
                      <a:pt x="305451" y="583528"/>
                      <a:pt x="306524" y="574621"/>
                    </a:cubicBezTo>
                    <a:cubicBezTo>
                      <a:pt x="307147" y="563679"/>
                      <a:pt x="314405" y="554950"/>
                      <a:pt x="319949" y="545622"/>
                    </a:cubicBezTo>
                    <a:cubicBezTo>
                      <a:pt x="307786" y="539695"/>
                      <a:pt x="298568" y="525281"/>
                      <a:pt x="287206" y="507649"/>
                    </a:cubicBezTo>
                    <a:close/>
                    <a:moveTo>
                      <a:pt x="264023" y="488330"/>
                    </a:moveTo>
                    <a:cubicBezTo>
                      <a:pt x="251143" y="497345"/>
                      <a:pt x="249856" y="517952"/>
                      <a:pt x="240841" y="523104"/>
                    </a:cubicBezTo>
                    <a:cubicBezTo>
                      <a:pt x="177304" y="542852"/>
                      <a:pt x="103463" y="578055"/>
                      <a:pt x="46365" y="613259"/>
                    </a:cubicBezTo>
                    <a:cubicBezTo>
                      <a:pt x="17601" y="630002"/>
                      <a:pt x="12021" y="649320"/>
                      <a:pt x="6440" y="682806"/>
                    </a:cubicBezTo>
                    <a:lnTo>
                      <a:pt x="0" y="793568"/>
                    </a:lnTo>
                    <a:cubicBezTo>
                      <a:pt x="60532" y="849807"/>
                      <a:pt x="154551" y="840362"/>
                      <a:pt x="230537" y="859252"/>
                    </a:cubicBezTo>
                    <a:cubicBezTo>
                      <a:pt x="242128" y="755359"/>
                      <a:pt x="233113" y="597374"/>
                      <a:pt x="265311" y="542422"/>
                    </a:cubicBezTo>
                    <a:close/>
                    <a:moveTo>
                      <a:pt x="473953" y="438101"/>
                    </a:moveTo>
                    <a:cubicBezTo>
                      <a:pt x="449999" y="476765"/>
                      <a:pt x="395188" y="525303"/>
                      <a:pt x="351750" y="542487"/>
                    </a:cubicBezTo>
                    <a:cubicBezTo>
                      <a:pt x="364570" y="553524"/>
                      <a:pt x="369815" y="566569"/>
                      <a:pt x="371564" y="577519"/>
                    </a:cubicBezTo>
                    <a:cubicBezTo>
                      <a:pt x="371510" y="588305"/>
                      <a:pt x="363407" y="591042"/>
                      <a:pt x="359329" y="597803"/>
                    </a:cubicBezTo>
                    <a:cubicBezTo>
                      <a:pt x="364928" y="652187"/>
                      <a:pt x="355161" y="701683"/>
                      <a:pt x="373271" y="759858"/>
                    </a:cubicBezTo>
                    <a:cubicBezTo>
                      <a:pt x="382583" y="726860"/>
                      <a:pt x="394118" y="694072"/>
                      <a:pt x="406981" y="659624"/>
                    </a:cubicBezTo>
                    <a:cubicBezTo>
                      <a:pt x="434458" y="598661"/>
                      <a:pt x="476100" y="510653"/>
                      <a:pt x="473953" y="438101"/>
                    </a:cubicBezTo>
                    <a:close/>
                    <a:moveTo>
                      <a:pt x="444331" y="425221"/>
                    </a:moveTo>
                    <a:cubicBezTo>
                      <a:pt x="417365" y="457420"/>
                      <a:pt x="365446" y="490423"/>
                      <a:pt x="342908" y="490423"/>
                    </a:cubicBezTo>
                    <a:cubicBezTo>
                      <a:pt x="312722" y="489752"/>
                      <a:pt x="309100" y="473787"/>
                      <a:pt x="292196" y="465469"/>
                    </a:cubicBezTo>
                    <a:cubicBezTo>
                      <a:pt x="308026" y="468152"/>
                      <a:pt x="323455" y="474056"/>
                      <a:pt x="339687" y="473519"/>
                    </a:cubicBezTo>
                    <a:cubicBezTo>
                      <a:pt x="376180" y="473116"/>
                      <a:pt x="416695" y="446955"/>
                      <a:pt x="444331" y="425221"/>
                    </a:cubicBezTo>
                    <a:close/>
                    <a:moveTo>
                      <a:pt x="488121" y="409767"/>
                    </a:moveTo>
                    <a:cubicBezTo>
                      <a:pt x="533198" y="465576"/>
                      <a:pt x="410846" y="692681"/>
                      <a:pt x="376072" y="855388"/>
                    </a:cubicBezTo>
                    <a:cubicBezTo>
                      <a:pt x="489409" y="838216"/>
                      <a:pt x="600169" y="850665"/>
                      <a:pt x="716082" y="803871"/>
                    </a:cubicBezTo>
                    <a:cubicBezTo>
                      <a:pt x="761588" y="800437"/>
                      <a:pt x="808382" y="816321"/>
                      <a:pt x="852601" y="793568"/>
                    </a:cubicBezTo>
                    <a:cubicBezTo>
                      <a:pt x="845303" y="743338"/>
                      <a:pt x="867627" y="646745"/>
                      <a:pt x="772750" y="588788"/>
                    </a:cubicBezTo>
                    <a:cubicBezTo>
                      <a:pt x="729391" y="552726"/>
                      <a:pt x="648681" y="519241"/>
                      <a:pt x="565395" y="492193"/>
                    </a:cubicBezTo>
                    <a:cubicBezTo>
                      <a:pt x="534486" y="468582"/>
                      <a:pt x="515167" y="433379"/>
                      <a:pt x="488121" y="409767"/>
                    </a:cubicBezTo>
                    <a:close/>
                    <a:moveTo>
                      <a:pt x="314467" y="207"/>
                    </a:moveTo>
                    <a:cubicBezTo>
                      <a:pt x="302302" y="922"/>
                      <a:pt x="297652" y="4142"/>
                      <a:pt x="285488" y="8794"/>
                    </a:cubicBezTo>
                    <a:cubicBezTo>
                      <a:pt x="273325" y="13444"/>
                      <a:pt x="253826" y="20241"/>
                      <a:pt x="241485" y="28112"/>
                    </a:cubicBezTo>
                    <a:cubicBezTo>
                      <a:pt x="229142" y="35983"/>
                      <a:pt x="220377" y="43853"/>
                      <a:pt x="211433" y="56017"/>
                    </a:cubicBezTo>
                    <a:cubicBezTo>
                      <a:pt x="202489" y="68180"/>
                      <a:pt x="193724" y="87320"/>
                      <a:pt x="187821" y="101095"/>
                    </a:cubicBezTo>
                    <a:cubicBezTo>
                      <a:pt x="181919" y="114868"/>
                      <a:pt x="176194" y="121665"/>
                      <a:pt x="176015" y="138658"/>
                    </a:cubicBezTo>
                    <a:cubicBezTo>
                      <a:pt x="175837" y="155652"/>
                      <a:pt x="182813" y="191249"/>
                      <a:pt x="186748" y="203055"/>
                    </a:cubicBezTo>
                    <a:lnTo>
                      <a:pt x="187520" y="204007"/>
                    </a:lnTo>
                    <a:lnTo>
                      <a:pt x="191027" y="223887"/>
                    </a:lnTo>
                    <a:cubicBezTo>
                      <a:pt x="185407" y="222374"/>
                      <a:pt x="182724" y="232570"/>
                      <a:pt x="184333" y="241693"/>
                    </a:cubicBezTo>
                    <a:cubicBezTo>
                      <a:pt x="185943" y="250815"/>
                      <a:pt x="196139" y="265841"/>
                      <a:pt x="198822" y="277111"/>
                    </a:cubicBezTo>
                    <a:cubicBezTo>
                      <a:pt x="201505" y="288380"/>
                      <a:pt x="200298" y="299113"/>
                      <a:pt x="200432" y="309308"/>
                    </a:cubicBezTo>
                    <a:cubicBezTo>
                      <a:pt x="200566" y="319505"/>
                      <a:pt x="198285" y="331579"/>
                      <a:pt x="199627" y="338286"/>
                    </a:cubicBezTo>
                    <a:cubicBezTo>
                      <a:pt x="200969" y="344995"/>
                      <a:pt x="205128" y="346739"/>
                      <a:pt x="208482" y="349556"/>
                    </a:cubicBezTo>
                    <a:cubicBezTo>
                      <a:pt x="211836" y="352373"/>
                      <a:pt x="218275" y="343385"/>
                      <a:pt x="219751" y="355191"/>
                    </a:cubicBezTo>
                    <a:cubicBezTo>
                      <a:pt x="221227" y="366997"/>
                      <a:pt x="229008" y="395036"/>
                      <a:pt x="236655" y="410733"/>
                    </a:cubicBezTo>
                    <a:cubicBezTo>
                      <a:pt x="244301" y="426429"/>
                      <a:pt x="259999" y="439845"/>
                      <a:pt x="265633" y="449370"/>
                    </a:cubicBezTo>
                    <a:cubicBezTo>
                      <a:pt x="271268" y="458895"/>
                      <a:pt x="266438" y="460372"/>
                      <a:pt x="270463" y="467884"/>
                    </a:cubicBezTo>
                    <a:cubicBezTo>
                      <a:pt x="274487" y="475397"/>
                      <a:pt x="281330" y="484118"/>
                      <a:pt x="289781" y="494447"/>
                    </a:cubicBezTo>
                    <a:cubicBezTo>
                      <a:pt x="298233" y="504778"/>
                      <a:pt x="311246" y="524097"/>
                      <a:pt x="321175" y="529866"/>
                    </a:cubicBezTo>
                    <a:cubicBezTo>
                      <a:pt x="331102" y="535634"/>
                      <a:pt x="333383" y="536305"/>
                      <a:pt x="349348" y="529061"/>
                    </a:cubicBezTo>
                    <a:cubicBezTo>
                      <a:pt x="365312" y="521816"/>
                      <a:pt x="399657" y="499680"/>
                      <a:pt x="416963" y="486398"/>
                    </a:cubicBezTo>
                    <a:cubicBezTo>
                      <a:pt x="434270" y="473116"/>
                      <a:pt x="444331" y="459298"/>
                      <a:pt x="453186" y="449370"/>
                    </a:cubicBezTo>
                    <a:cubicBezTo>
                      <a:pt x="462041" y="439443"/>
                      <a:pt x="466601" y="434746"/>
                      <a:pt x="470089" y="426831"/>
                    </a:cubicBezTo>
                    <a:cubicBezTo>
                      <a:pt x="473577" y="418917"/>
                      <a:pt x="471968" y="409526"/>
                      <a:pt x="474115" y="401878"/>
                    </a:cubicBezTo>
                    <a:cubicBezTo>
                      <a:pt x="476261" y="394231"/>
                      <a:pt x="480688" y="390341"/>
                      <a:pt x="482969" y="380949"/>
                    </a:cubicBezTo>
                    <a:cubicBezTo>
                      <a:pt x="485249" y="371558"/>
                      <a:pt x="484847" y="352373"/>
                      <a:pt x="487799" y="345532"/>
                    </a:cubicBezTo>
                    <a:cubicBezTo>
                      <a:pt x="490750" y="338689"/>
                      <a:pt x="496788" y="343787"/>
                      <a:pt x="500678" y="339897"/>
                    </a:cubicBezTo>
                    <a:cubicBezTo>
                      <a:pt x="504569" y="336006"/>
                      <a:pt x="508996" y="331177"/>
                      <a:pt x="511142" y="322188"/>
                    </a:cubicBezTo>
                    <a:cubicBezTo>
                      <a:pt x="513289" y="313199"/>
                      <a:pt x="511947" y="299515"/>
                      <a:pt x="513557" y="285965"/>
                    </a:cubicBezTo>
                    <a:cubicBezTo>
                      <a:pt x="515167" y="272415"/>
                      <a:pt x="520131" y="252425"/>
                      <a:pt x="520801" y="240888"/>
                    </a:cubicBezTo>
                    <a:cubicBezTo>
                      <a:pt x="521473" y="229350"/>
                      <a:pt x="520131" y="222508"/>
                      <a:pt x="517582" y="216739"/>
                    </a:cubicBezTo>
                    <a:lnTo>
                      <a:pt x="505508" y="206274"/>
                    </a:lnTo>
                    <a:cubicBezTo>
                      <a:pt x="501482" y="205872"/>
                      <a:pt x="496788" y="209897"/>
                      <a:pt x="493433" y="214324"/>
                    </a:cubicBezTo>
                    <a:cubicBezTo>
                      <a:pt x="490893" y="217677"/>
                      <a:pt x="489661" y="229032"/>
                      <a:pt x="487525" y="232413"/>
                    </a:cubicBezTo>
                    <a:lnTo>
                      <a:pt x="486770" y="223363"/>
                    </a:lnTo>
                    <a:lnTo>
                      <a:pt x="488165" y="195462"/>
                    </a:lnTo>
                    <a:lnTo>
                      <a:pt x="490482" y="198762"/>
                    </a:lnTo>
                    <a:cubicBezTo>
                      <a:pt x="492986" y="200550"/>
                      <a:pt x="494238" y="195185"/>
                      <a:pt x="496921" y="194469"/>
                    </a:cubicBezTo>
                    <a:cubicBezTo>
                      <a:pt x="499604" y="193754"/>
                      <a:pt x="503002" y="193217"/>
                      <a:pt x="506581" y="194469"/>
                    </a:cubicBezTo>
                    <a:cubicBezTo>
                      <a:pt x="510158" y="195721"/>
                      <a:pt x="516419" y="202876"/>
                      <a:pt x="518386" y="201981"/>
                    </a:cubicBezTo>
                    <a:cubicBezTo>
                      <a:pt x="519370" y="201534"/>
                      <a:pt x="519370" y="200774"/>
                      <a:pt x="519124" y="198896"/>
                    </a:cubicBezTo>
                    <a:lnTo>
                      <a:pt x="518386" y="189102"/>
                    </a:lnTo>
                    <a:cubicBezTo>
                      <a:pt x="518391" y="189053"/>
                      <a:pt x="521603" y="159753"/>
                      <a:pt x="518386" y="142952"/>
                    </a:cubicBezTo>
                    <a:cubicBezTo>
                      <a:pt x="515167" y="126137"/>
                      <a:pt x="506760" y="103778"/>
                      <a:pt x="499068" y="88215"/>
                    </a:cubicBezTo>
                    <a:cubicBezTo>
                      <a:pt x="491376" y="72652"/>
                      <a:pt x="479213" y="57627"/>
                      <a:pt x="472236" y="49577"/>
                    </a:cubicBezTo>
                    <a:cubicBezTo>
                      <a:pt x="465260" y="41528"/>
                      <a:pt x="466154" y="44211"/>
                      <a:pt x="457210" y="39918"/>
                    </a:cubicBezTo>
                    <a:cubicBezTo>
                      <a:pt x="448266" y="35625"/>
                      <a:pt x="435030" y="29722"/>
                      <a:pt x="418572" y="23818"/>
                    </a:cubicBezTo>
                    <a:cubicBezTo>
                      <a:pt x="402117" y="17916"/>
                      <a:pt x="375821" y="8435"/>
                      <a:pt x="358470" y="4500"/>
                    </a:cubicBezTo>
                    <a:cubicBezTo>
                      <a:pt x="341118" y="564"/>
                      <a:pt x="326630" y="-509"/>
                      <a:pt x="314467" y="207"/>
                    </a:cubicBezTo>
                    <a:close/>
                  </a:path>
                </a:pathLst>
              </a:custGeom>
              <a:grpFill/>
              <a:ln w="25400" cap="flat" cmpd="sng" algn="ctr">
                <a:noFill/>
                <a:prstDash val="solid"/>
              </a:ln>
              <a:effectLst/>
            </p:spPr>
            <p:txBody>
              <a:bodyPr rtlCol="0" anchor="ctr"/>
              <a:lstStyle/>
              <a:p>
                <a:pPr algn="ctr" defTabSz="913578">
                  <a:defRPr/>
                </a:pPr>
                <a:endParaRPr lang="en-US" sz="1797" kern="0">
                  <a:solidFill>
                    <a:srgbClr val="FFFFFF"/>
                  </a:solidFill>
                  <a:latin typeface="Segoe UI"/>
                </a:endParaRPr>
              </a:p>
            </p:txBody>
          </p:sp>
          <p:sp>
            <p:nvSpPr>
              <p:cNvPr id="613" name="Freeform 334">
                <a:extLst>
                  <a:ext uri="{FF2B5EF4-FFF2-40B4-BE49-F238E27FC236}">
                    <a16:creationId xmlns:a16="http://schemas.microsoft.com/office/drawing/2014/main" id="{F51BF06C-7599-4788-AF09-3AB9BCB4B10F}"/>
                  </a:ext>
                </a:extLst>
              </p:cNvPr>
              <p:cNvSpPr/>
              <p:nvPr/>
            </p:nvSpPr>
            <p:spPr>
              <a:xfrm>
                <a:off x="5391990" y="2823081"/>
                <a:ext cx="2628060" cy="3263867"/>
              </a:xfrm>
              <a:custGeom>
                <a:avLst/>
                <a:gdLst>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338138 w 3900488"/>
                  <a:gd name="connsiteY63" fmla="*/ 4760516 h 4808141"/>
                  <a:gd name="connsiteX64" fmla="*/ 161925 w 3900488"/>
                  <a:gd name="connsiteY64" fmla="*/ 4436666 h 4808141"/>
                  <a:gd name="connsiteX65" fmla="*/ 57150 w 3900488"/>
                  <a:gd name="connsiteY65" fmla="*/ 4141391 h 4808141"/>
                  <a:gd name="connsiteX66" fmla="*/ 0 w 3900488"/>
                  <a:gd name="connsiteY66" fmla="*/ 3855641 h 4808141"/>
                  <a:gd name="connsiteX67" fmla="*/ 23813 w 3900488"/>
                  <a:gd name="connsiteY67" fmla="*/ 3703241 h 4808141"/>
                  <a:gd name="connsiteX68" fmla="*/ 219075 w 3900488"/>
                  <a:gd name="connsiteY68" fmla="*/ 3584179 h 4808141"/>
                  <a:gd name="connsiteX69" fmla="*/ 533400 w 3900488"/>
                  <a:gd name="connsiteY69" fmla="*/ 3450829 h 4808141"/>
                  <a:gd name="connsiteX70" fmla="*/ 933450 w 3900488"/>
                  <a:gd name="connsiteY70" fmla="*/ 3293666 h 4808141"/>
                  <a:gd name="connsiteX71" fmla="*/ 1133475 w 3900488"/>
                  <a:gd name="connsiteY71" fmla="*/ 3217466 h 4808141"/>
                  <a:gd name="connsiteX72" fmla="*/ 1276350 w 3900488"/>
                  <a:gd name="connsiteY72" fmla="*/ 2950766 h 4808141"/>
                  <a:gd name="connsiteX73" fmla="*/ 1371600 w 3900488"/>
                  <a:gd name="connsiteY73" fmla="*/ 2888854 h 4808141"/>
                  <a:gd name="connsiteX74" fmla="*/ 1443038 w 3900488"/>
                  <a:gd name="connsiteY74" fmla="*/ 2750741 h 4808141"/>
                  <a:gd name="connsiteX75" fmla="*/ 1428750 w 3900488"/>
                  <a:gd name="connsiteY75" fmla="*/ 2665016 h 4808141"/>
                  <a:gd name="connsiteX76" fmla="*/ 1432339 w 3900488"/>
                  <a:gd name="connsiteY76" fmla="*/ 2655556 h 4808141"/>
                  <a:gd name="connsiteX77" fmla="*/ 1411332 w 3900488"/>
                  <a:gd name="connsiteY77" fmla="*/ 2630242 h 4808141"/>
                  <a:gd name="connsiteX78" fmla="*/ 1169833 w 3900488"/>
                  <a:gd name="connsiteY78" fmla="*/ 2059985 h 4808141"/>
                  <a:gd name="connsiteX79" fmla="*/ 975688 w 3900488"/>
                  <a:gd name="connsiteY79" fmla="*/ 1612672 h 4808141"/>
                  <a:gd name="connsiteX80" fmla="*/ 1051451 w 3900488"/>
                  <a:gd name="connsiteY80" fmla="*/ 1487109 h 4808141"/>
                  <a:gd name="connsiteX81" fmla="*/ 1016847 w 3900488"/>
                  <a:gd name="connsiteY81" fmla="*/ 1277790 h 4808141"/>
                  <a:gd name="connsiteX82" fmla="*/ 933449 w 3900488"/>
                  <a:gd name="connsiteY82" fmla="*/ 1341041 h 4808141"/>
                  <a:gd name="connsiteX83" fmla="*/ 882649 w 3900488"/>
                  <a:gd name="connsiteY83" fmla="*/ 1404541 h 4808141"/>
                  <a:gd name="connsiteX84" fmla="*/ 838199 w 3900488"/>
                  <a:gd name="connsiteY84" fmla="*/ 1525191 h 4808141"/>
                  <a:gd name="connsiteX85" fmla="*/ 857249 w 3900488"/>
                  <a:gd name="connsiteY85" fmla="*/ 1645841 h 4808141"/>
                  <a:gd name="connsiteX86" fmla="*/ 888999 w 3900488"/>
                  <a:gd name="connsiteY86" fmla="*/ 1829991 h 4808141"/>
                  <a:gd name="connsiteX87" fmla="*/ 965199 w 3900488"/>
                  <a:gd name="connsiteY87" fmla="*/ 2128441 h 4808141"/>
                  <a:gd name="connsiteX88" fmla="*/ 1047749 w 3900488"/>
                  <a:gd name="connsiteY88" fmla="*/ 2198291 h 4808141"/>
                  <a:gd name="connsiteX89" fmla="*/ 1098549 w 3900488"/>
                  <a:gd name="connsiteY89" fmla="*/ 2331641 h 4808141"/>
                  <a:gd name="connsiteX90" fmla="*/ 1219199 w 3900488"/>
                  <a:gd name="connsiteY90" fmla="*/ 2566591 h 4808141"/>
                  <a:gd name="connsiteX91" fmla="*/ 1269999 w 3900488"/>
                  <a:gd name="connsiteY91" fmla="*/ 2712641 h 4808141"/>
                  <a:gd name="connsiteX92" fmla="*/ 1130299 w 3900488"/>
                  <a:gd name="connsiteY92" fmla="*/ 2750741 h 4808141"/>
                  <a:gd name="connsiteX93" fmla="*/ 927099 w 3900488"/>
                  <a:gd name="connsiteY93" fmla="*/ 2776141 h 4808141"/>
                  <a:gd name="connsiteX94" fmla="*/ 742949 w 3900488"/>
                  <a:gd name="connsiteY94" fmla="*/ 2731691 h 4808141"/>
                  <a:gd name="connsiteX95" fmla="*/ 660399 w 3900488"/>
                  <a:gd name="connsiteY95" fmla="*/ 2591991 h 4808141"/>
                  <a:gd name="connsiteX96" fmla="*/ 622299 w 3900488"/>
                  <a:gd name="connsiteY96" fmla="*/ 2344341 h 4808141"/>
                  <a:gd name="connsiteX97" fmla="*/ 634999 w 3900488"/>
                  <a:gd name="connsiteY97" fmla="*/ 2020491 h 4808141"/>
                  <a:gd name="connsiteX98" fmla="*/ 736599 w 3900488"/>
                  <a:gd name="connsiteY98" fmla="*/ 1328341 h 4808141"/>
                  <a:gd name="connsiteX99" fmla="*/ 971549 w 3900488"/>
                  <a:gd name="connsiteY99" fmla="*/ 623491 h 4808141"/>
                  <a:gd name="connsiteX100" fmla="*/ 1168399 w 3900488"/>
                  <a:gd name="connsiteY100" fmla="*/ 299641 h 4808141"/>
                  <a:gd name="connsiteX101" fmla="*/ 1358899 w 3900488"/>
                  <a:gd name="connsiteY101" fmla="*/ 140891 h 4808141"/>
                  <a:gd name="connsiteX102" fmla="*/ 1530349 w 3900488"/>
                  <a:gd name="connsiteY102" fmla="*/ 115491 h 4808141"/>
                  <a:gd name="connsiteX103" fmla="*/ 1676399 w 3900488"/>
                  <a:gd name="connsiteY103" fmla="*/ 13891 h 4808141"/>
                  <a:gd name="connsiteX104" fmla="*/ 1813321 w 3900488"/>
                  <a:gd name="connsiteY104" fmla="*/ 0 h 4808141"/>
                  <a:gd name="connsiteX0" fmla="*/ 3060949 w 3900488"/>
                  <a:gd name="connsiteY0" fmla="*/ 1005769 h 4760516"/>
                  <a:gd name="connsiteX1" fmla="*/ 3081338 w 3900488"/>
                  <a:gd name="connsiteY1" fmla="*/ 1026716 h 4760516"/>
                  <a:gd name="connsiteX2" fmla="*/ 3167063 w 3900488"/>
                  <a:gd name="connsiteY2" fmla="*/ 1369616 h 4760516"/>
                  <a:gd name="connsiteX3" fmla="*/ 3252788 w 3900488"/>
                  <a:gd name="connsiteY3" fmla="*/ 1822054 h 4760516"/>
                  <a:gd name="connsiteX4" fmla="*/ 3281363 w 3900488"/>
                  <a:gd name="connsiteY4" fmla="*/ 2255441 h 4760516"/>
                  <a:gd name="connsiteX5" fmla="*/ 3271838 w 3900488"/>
                  <a:gd name="connsiteY5" fmla="*/ 2526904 h 4760516"/>
                  <a:gd name="connsiteX6" fmla="*/ 3190875 w 3900488"/>
                  <a:gd name="connsiteY6" fmla="*/ 2722166 h 4760516"/>
                  <a:gd name="connsiteX7" fmla="*/ 3043238 w 3900488"/>
                  <a:gd name="connsiteY7" fmla="*/ 2750741 h 4760516"/>
                  <a:gd name="connsiteX8" fmla="*/ 2809875 w 3900488"/>
                  <a:gd name="connsiteY8" fmla="*/ 2731691 h 4760516"/>
                  <a:gd name="connsiteX9" fmla="*/ 2633663 w 3900488"/>
                  <a:gd name="connsiteY9" fmla="*/ 2669779 h 4760516"/>
                  <a:gd name="connsiteX10" fmla="*/ 2657475 w 3900488"/>
                  <a:gd name="connsiteY10" fmla="*/ 2603104 h 4760516"/>
                  <a:gd name="connsiteX11" fmla="*/ 2752725 w 3900488"/>
                  <a:gd name="connsiteY11" fmla="*/ 2474516 h 4760516"/>
                  <a:gd name="connsiteX12" fmla="*/ 2843213 w 3900488"/>
                  <a:gd name="connsiteY12" fmla="*/ 2255441 h 4760516"/>
                  <a:gd name="connsiteX13" fmla="*/ 2862263 w 3900488"/>
                  <a:gd name="connsiteY13" fmla="*/ 2160191 h 4760516"/>
                  <a:gd name="connsiteX14" fmla="*/ 2919413 w 3900488"/>
                  <a:gd name="connsiteY14" fmla="*/ 2098279 h 4760516"/>
                  <a:gd name="connsiteX15" fmla="*/ 3000375 w 3900488"/>
                  <a:gd name="connsiteY15" fmla="*/ 1855391 h 4760516"/>
                  <a:gd name="connsiteX16" fmla="*/ 3057525 w 3900488"/>
                  <a:gd name="connsiteY16" fmla="*/ 1598216 h 4760516"/>
                  <a:gd name="connsiteX17" fmla="*/ 3062288 w 3900488"/>
                  <a:gd name="connsiteY17" fmla="*/ 1483916 h 4760516"/>
                  <a:gd name="connsiteX18" fmla="*/ 3009900 w 3900488"/>
                  <a:gd name="connsiteY18" fmla="*/ 1379141 h 4760516"/>
                  <a:gd name="connsiteX19" fmla="*/ 2957513 w 3900488"/>
                  <a:gd name="connsiteY19" fmla="*/ 1331516 h 4760516"/>
                  <a:gd name="connsiteX20" fmla="*/ 2947988 w 3900488"/>
                  <a:gd name="connsiteY20" fmla="*/ 1236266 h 4760516"/>
                  <a:gd name="connsiteX21" fmla="*/ 2957513 w 3900488"/>
                  <a:gd name="connsiteY21" fmla="*/ 1121966 h 4760516"/>
                  <a:gd name="connsiteX22" fmla="*/ 3005138 w 3900488"/>
                  <a:gd name="connsiteY22" fmla="*/ 1050529 h 4760516"/>
                  <a:gd name="connsiteX23" fmla="*/ 3060949 w 3900488"/>
                  <a:gd name="connsiteY23" fmla="*/ 1005769 h 4760516"/>
                  <a:gd name="connsiteX24" fmla="*/ 1813321 w 3900488"/>
                  <a:gd name="connsiteY24" fmla="*/ 0 h 4760516"/>
                  <a:gd name="connsiteX25" fmla="*/ 1955799 w 3900488"/>
                  <a:gd name="connsiteY25" fmla="*/ 1191 h 4760516"/>
                  <a:gd name="connsiteX26" fmla="*/ 2152649 w 3900488"/>
                  <a:gd name="connsiteY26" fmla="*/ 20241 h 4760516"/>
                  <a:gd name="connsiteX27" fmla="*/ 2381249 w 3900488"/>
                  <a:gd name="connsiteY27" fmla="*/ 121841 h 4760516"/>
                  <a:gd name="connsiteX28" fmla="*/ 2641599 w 3900488"/>
                  <a:gd name="connsiteY28" fmla="*/ 331391 h 4760516"/>
                  <a:gd name="connsiteX29" fmla="*/ 2946399 w 3900488"/>
                  <a:gd name="connsiteY29" fmla="*/ 693341 h 4760516"/>
                  <a:gd name="connsiteX30" fmla="*/ 3060699 w 3900488"/>
                  <a:gd name="connsiteY30" fmla="*/ 883841 h 4760516"/>
                  <a:gd name="connsiteX31" fmla="*/ 3009899 w 3900488"/>
                  <a:gd name="connsiteY31" fmla="*/ 1004491 h 4760516"/>
                  <a:gd name="connsiteX32" fmla="*/ 2901949 w 3900488"/>
                  <a:gd name="connsiteY32" fmla="*/ 1061641 h 4760516"/>
                  <a:gd name="connsiteX33" fmla="*/ 2825749 w 3900488"/>
                  <a:gd name="connsiteY33" fmla="*/ 998141 h 4760516"/>
                  <a:gd name="connsiteX34" fmla="*/ 2654299 w 3900488"/>
                  <a:gd name="connsiteY34" fmla="*/ 820341 h 4760516"/>
                  <a:gd name="connsiteX35" fmla="*/ 2349499 w 3900488"/>
                  <a:gd name="connsiteY35" fmla="*/ 674291 h 4760516"/>
                  <a:gd name="connsiteX36" fmla="*/ 2019299 w 3900488"/>
                  <a:gd name="connsiteY36" fmla="*/ 674291 h 4760516"/>
                  <a:gd name="connsiteX37" fmla="*/ 2343149 w 3900488"/>
                  <a:gd name="connsiteY37" fmla="*/ 769541 h 4760516"/>
                  <a:gd name="connsiteX38" fmla="*/ 2552699 w 3900488"/>
                  <a:gd name="connsiteY38" fmla="*/ 909241 h 4760516"/>
                  <a:gd name="connsiteX39" fmla="*/ 2629040 w 3900488"/>
                  <a:gd name="connsiteY39" fmla="*/ 973620 h 4760516"/>
                  <a:gd name="connsiteX40" fmla="*/ 2900212 w 3900488"/>
                  <a:gd name="connsiteY40" fmla="*/ 1067700 h 4760516"/>
                  <a:gd name="connsiteX41" fmla="*/ 2829545 w 3900488"/>
                  <a:gd name="connsiteY41" fmla="*/ 1212445 h 4760516"/>
                  <a:gd name="connsiteX42" fmla="*/ 2829545 w 3900488"/>
                  <a:gd name="connsiteY42" fmla="*/ 1445256 h 4760516"/>
                  <a:gd name="connsiteX43" fmla="*/ 2938456 w 3900488"/>
                  <a:gd name="connsiteY43" fmla="*/ 1531580 h 4760516"/>
                  <a:gd name="connsiteX44" fmla="*/ 2822442 w 3900488"/>
                  <a:gd name="connsiteY44" fmla="*/ 2041674 h 4760516"/>
                  <a:gd name="connsiteX45" fmla="*/ 2756148 w 3900488"/>
                  <a:gd name="connsiteY45" fmla="*/ 2086142 h 4760516"/>
                  <a:gd name="connsiteX46" fmla="*/ 2479547 w 3900488"/>
                  <a:gd name="connsiteY46" fmla="*/ 2698176 h 4760516"/>
                  <a:gd name="connsiteX47" fmla="*/ 2528888 w 3900488"/>
                  <a:gd name="connsiteY47" fmla="*/ 2817416 h 4760516"/>
                  <a:gd name="connsiteX48" fmla="*/ 2590800 w 3900488"/>
                  <a:gd name="connsiteY48" fmla="*/ 2874566 h 4760516"/>
                  <a:gd name="connsiteX49" fmla="*/ 2657475 w 3900488"/>
                  <a:gd name="connsiteY49" fmla="*/ 2884091 h 4760516"/>
                  <a:gd name="connsiteX50" fmla="*/ 2681288 w 3900488"/>
                  <a:gd name="connsiteY50" fmla="*/ 2912666 h 4760516"/>
                  <a:gd name="connsiteX51" fmla="*/ 2747963 w 3900488"/>
                  <a:gd name="connsiteY51" fmla="*/ 3079354 h 4760516"/>
                  <a:gd name="connsiteX52" fmla="*/ 2843213 w 3900488"/>
                  <a:gd name="connsiteY52" fmla="*/ 3174604 h 4760516"/>
                  <a:gd name="connsiteX53" fmla="*/ 2938463 w 3900488"/>
                  <a:gd name="connsiteY53" fmla="*/ 3207941 h 4760516"/>
                  <a:gd name="connsiteX54" fmla="*/ 3281363 w 3900488"/>
                  <a:gd name="connsiteY54" fmla="*/ 3317479 h 4760516"/>
                  <a:gd name="connsiteX55" fmla="*/ 3657600 w 3900488"/>
                  <a:gd name="connsiteY55" fmla="*/ 3493691 h 4760516"/>
                  <a:gd name="connsiteX56" fmla="*/ 3867150 w 3900488"/>
                  <a:gd name="connsiteY56" fmla="*/ 3641329 h 4760516"/>
                  <a:gd name="connsiteX57" fmla="*/ 3900488 w 3900488"/>
                  <a:gd name="connsiteY57" fmla="*/ 3769916 h 4760516"/>
                  <a:gd name="connsiteX58" fmla="*/ 3876675 w 3900488"/>
                  <a:gd name="connsiteY58" fmla="*/ 4027091 h 4760516"/>
                  <a:gd name="connsiteX59" fmla="*/ 3790950 w 3900488"/>
                  <a:gd name="connsiteY59" fmla="*/ 4236641 h 4760516"/>
                  <a:gd name="connsiteX60" fmla="*/ 3619500 w 3900488"/>
                  <a:gd name="connsiteY60" fmla="*/ 4598591 h 4760516"/>
                  <a:gd name="connsiteX61" fmla="*/ 3471863 w 3900488"/>
                  <a:gd name="connsiteY61" fmla="*/ 4760516 h 4760516"/>
                  <a:gd name="connsiteX62" fmla="*/ 338138 w 3900488"/>
                  <a:gd name="connsiteY62" fmla="*/ 4760516 h 4760516"/>
                  <a:gd name="connsiteX63" fmla="*/ 161925 w 3900488"/>
                  <a:gd name="connsiteY63" fmla="*/ 4436666 h 4760516"/>
                  <a:gd name="connsiteX64" fmla="*/ 57150 w 3900488"/>
                  <a:gd name="connsiteY64" fmla="*/ 4141391 h 4760516"/>
                  <a:gd name="connsiteX65" fmla="*/ 0 w 3900488"/>
                  <a:gd name="connsiteY65" fmla="*/ 3855641 h 4760516"/>
                  <a:gd name="connsiteX66" fmla="*/ 23813 w 3900488"/>
                  <a:gd name="connsiteY66" fmla="*/ 3703241 h 4760516"/>
                  <a:gd name="connsiteX67" fmla="*/ 219075 w 3900488"/>
                  <a:gd name="connsiteY67" fmla="*/ 3584179 h 4760516"/>
                  <a:gd name="connsiteX68" fmla="*/ 533400 w 3900488"/>
                  <a:gd name="connsiteY68" fmla="*/ 3450829 h 4760516"/>
                  <a:gd name="connsiteX69" fmla="*/ 933450 w 3900488"/>
                  <a:gd name="connsiteY69" fmla="*/ 3293666 h 4760516"/>
                  <a:gd name="connsiteX70" fmla="*/ 1133475 w 3900488"/>
                  <a:gd name="connsiteY70" fmla="*/ 3217466 h 4760516"/>
                  <a:gd name="connsiteX71" fmla="*/ 1276350 w 3900488"/>
                  <a:gd name="connsiteY71" fmla="*/ 2950766 h 4760516"/>
                  <a:gd name="connsiteX72" fmla="*/ 1371600 w 3900488"/>
                  <a:gd name="connsiteY72" fmla="*/ 2888854 h 4760516"/>
                  <a:gd name="connsiteX73" fmla="*/ 1443038 w 3900488"/>
                  <a:gd name="connsiteY73" fmla="*/ 2750741 h 4760516"/>
                  <a:gd name="connsiteX74" fmla="*/ 1428750 w 3900488"/>
                  <a:gd name="connsiteY74" fmla="*/ 2665016 h 4760516"/>
                  <a:gd name="connsiteX75" fmla="*/ 1432339 w 3900488"/>
                  <a:gd name="connsiteY75" fmla="*/ 2655556 h 4760516"/>
                  <a:gd name="connsiteX76" fmla="*/ 1411332 w 3900488"/>
                  <a:gd name="connsiteY76" fmla="*/ 2630242 h 4760516"/>
                  <a:gd name="connsiteX77" fmla="*/ 1169833 w 3900488"/>
                  <a:gd name="connsiteY77" fmla="*/ 2059985 h 4760516"/>
                  <a:gd name="connsiteX78" fmla="*/ 975688 w 3900488"/>
                  <a:gd name="connsiteY78" fmla="*/ 1612672 h 4760516"/>
                  <a:gd name="connsiteX79" fmla="*/ 1051451 w 3900488"/>
                  <a:gd name="connsiteY79" fmla="*/ 1487109 h 4760516"/>
                  <a:gd name="connsiteX80" fmla="*/ 1016847 w 3900488"/>
                  <a:gd name="connsiteY80" fmla="*/ 1277790 h 4760516"/>
                  <a:gd name="connsiteX81" fmla="*/ 933449 w 3900488"/>
                  <a:gd name="connsiteY81" fmla="*/ 1341041 h 4760516"/>
                  <a:gd name="connsiteX82" fmla="*/ 882649 w 3900488"/>
                  <a:gd name="connsiteY82" fmla="*/ 1404541 h 4760516"/>
                  <a:gd name="connsiteX83" fmla="*/ 838199 w 3900488"/>
                  <a:gd name="connsiteY83" fmla="*/ 1525191 h 4760516"/>
                  <a:gd name="connsiteX84" fmla="*/ 857249 w 3900488"/>
                  <a:gd name="connsiteY84" fmla="*/ 1645841 h 4760516"/>
                  <a:gd name="connsiteX85" fmla="*/ 888999 w 3900488"/>
                  <a:gd name="connsiteY85" fmla="*/ 1829991 h 4760516"/>
                  <a:gd name="connsiteX86" fmla="*/ 965199 w 3900488"/>
                  <a:gd name="connsiteY86" fmla="*/ 2128441 h 4760516"/>
                  <a:gd name="connsiteX87" fmla="*/ 1047749 w 3900488"/>
                  <a:gd name="connsiteY87" fmla="*/ 2198291 h 4760516"/>
                  <a:gd name="connsiteX88" fmla="*/ 1098549 w 3900488"/>
                  <a:gd name="connsiteY88" fmla="*/ 2331641 h 4760516"/>
                  <a:gd name="connsiteX89" fmla="*/ 1219199 w 3900488"/>
                  <a:gd name="connsiteY89" fmla="*/ 2566591 h 4760516"/>
                  <a:gd name="connsiteX90" fmla="*/ 1269999 w 3900488"/>
                  <a:gd name="connsiteY90" fmla="*/ 2712641 h 4760516"/>
                  <a:gd name="connsiteX91" fmla="*/ 1130299 w 3900488"/>
                  <a:gd name="connsiteY91" fmla="*/ 2750741 h 4760516"/>
                  <a:gd name="connsiteX92" fmla="*/ 927099 w 3900488"/>
                  <a:gd name="connsiteY92" fmla="*/ 2776141 h 4760516"/>
                  <a:gd name="connsiteX93" fmla="*/ 742949 w 3900488"/>
                  <a:gd name="connsiteY93" fmla="*/ 2731691 h 4760516"/>
                  <a:gd name="connsiteX94" fmla="*/ 660399 w 3900488"/>
                  <a:gd name="connsiteY94" fmla="*/ 2591991 h 4760516"/>
                  <a:gd name="connsiteX95" fmla="*/ 622299 w 3900488"/>
                  <a:gd name="connsiteY95" fmla="*/ 2344341 h 4760516"/>
                  <a:gd name="connsiteX96" fmla="*/ 634999 w 3900488"/>
                  <a:gd name="connsiteY96" fmla="*/ 2020491 h 4760516"/>
                  <a:gd name="connsiteX97" fmla="*/ 736599 w 3900488"/>
                  <a:gd name="connsiteY97" fmla="*/ 1328341 h 4760516"/>
                  <a:gd name="connsiteX98" fmla="*/ 971549 w 3900488"/>
                  <a:gd name="connsiteY98" fmla="*/ 623491 h 4760516"/>
                  <a:gd name="connsiteX99" fmla="*/ 1168399 w 3900488"/>
                  <a:gd name="connsiteY99" fmla="*/ 299641 h 4760516"/>
                  <a:gd name="connsiteX100" fmla="*/ 1358899 w 3900488"/>
                  <a:gd name="connsiteY100" fmla="*/ 140891 h 4760516"/>
                  <a:gd name="connsiteX101" fmla="*/ 1530349 w 3900488"/>
                  <a:gd name="connsiteY101" fmla="*/ 115491 h 4760516"/>
                  <a:gd name="connsiteX102" fmla="*/ 1676399 w 3900488"/>
                  <a:gd name="connsiteY102" fmla="*/ 13891 h 4760516"/>
                  <a:gd name="connsiteX103" fmla="*/ 1813321 w 3900488"/>
                  <a:gd name="connsiteY103" fmla="*/ 0 h 4760516"/>
                  <a:gd name="connsiteX0" fmla="*/ 3061653 w 3901192"/>
                  <a:gd name="connsiteY0" fmla="*/ 1005769 h 4760516"/>
                  <a:gd name="connsiteX1" fmla="*/ 3082042 w 3901192"/>
                  <a:gd name="connsiteY1" fmla="*/ 1026716 h 4760516"/>
                  <a:gd name="connsiteX2" fmla="*/ 3167767 w 3901192"/>
                  <a:gd name="connsiteY2" fmla="*/ 1369616 h 4760516"/>
                  <a:gd name="connsiteX3" fmla="*/ 3253492 w 3901192"/>
                  <a:gd name="connsiteY3" fmla="*/ 1822054 h 4760516"/>
                  <a:gd name="connsiteX4" fmla="*/ 3282067 w 3901192"/>
                  <a:gd name="connsiteY4" fmla="*/ 2255441 h 4760516"/>
                  <a:gd name="connsiteX5" fmla="*/ 3272542 w 3901192"/>
                  <a:gd name="connsiteY5" fmla="*/ 2526904 h 4760516"/>
                  <a:gd name="connsiteX6" fmla="*/ 3191579 w 3901192"/>
                  <a:gd name="connsiteY6" fmla="*/ 2722166 h 4760516"/>
                  <a:gd name="connsiteX7" fmla="*/ 3043942 w 3901192"/>
                  <a:gd name="connsiteY7" fmla="*/ 2750741 h 4760516"/>
                  <a:gd name="connsiteX8" fmla="*/ 2810579 w 3901192"/>
                  <a:gd name="connsiteY8" fmla="*/ 2731691 h 4760516"/>
                  <a:gd name="connsiteX9" fmla="*/ 2634367 w 3901192"/>
                  <a:gd name="connsiteY9" fmla="*/ 2669779 h 4760516"/>
                  <a:gd name="connsiteX10" fmla="*/ 2658179 w 3901192"/>
                  <a:gd name="connsiteY10" fmla="*/ 2603104 h 4760516"/>
                  <a:gd name="connsiteX11" fmla="*/ 2753429 w 3901192"/>
                  <a:gd name="connsiteY11" fmla="*/ 2474516 h 4760516"/>
                  <a:gd name="connsiteX12" fmla="*/ 2843917 w 3901192"/>
                  <a:gd name="connsiteY12" fmla="*/ 2255441 h 4760516"/>
                  <a:gd name="connsiteX13" fmla="*/ 2862967 w 3901192"/>
                  <a:gd name="connsiteY13" fmla="*/ 2160191 h 4760516"/>
                  <a:gd name="connsiteX14" fmla="*/ 2920117 w 3901192"/>
                  <a:gd name="connsiteY14" fmla="*/ 2098279 h 4760516"/>
                  <a:gd name="connsiteX15" fmla="*/ 3001079 w 3901192"/>
                  <a:gd name="connsiteY15" fmla="*/ 1855391 h 4760516"/>
                  <a:gd name="connsiteX16" fmla="*/ 3058229 w 3901192"/>
                  <a:gd name="connsiteY16" fmla="*/ 1598216 h 4760516"/>
                  <a:gd name="connsiteX17" fmla="*/ 3062992 w 3901192"/>
                  <a:gd name="connsiteY17" fmla="*/ 1483916 h 4760516"/>
                  <a:gd name="connsiteX18" fmla="*/ 3010604 w 3901192"/>
                  <a:gd name="connsiteY18" fmla="*/ 1379141 h 4760516"/>
                  <a:gd name="connsiteX19" fmla="*/ 2958217 w 3901192"/>
                  <a:gd name="connsiteY19" fmla="*/ 1331516 h 4760516"/>
                  <a:gd name="connsiteX20" fmla="*/ 2948692 w 3901192"/>
                  <a:gd name="connsiteY20" fmla="*/ 1236266 h 4760516"/>
                  <a:gd name="connsiteX21" fmla="*/ 2958217 w 3901192"/>
                  <a:gd name="connsiteY21" fmla="*/ 1121966 h 4760516"/>
                  <a:gd name="connsiteX22" fmla="*/ 3005842 w 3901192"/>
                  <a:gd name="connsiteY22" fmla="*/ 1050529 h 4760516"/>
                  <a:gd name="connsiteX23" fmla="*/ 3061653 w 3901192"/>
                  <a:gd name="connsiteY23" fmla="*/ 1005769 h 4760516"/>
                  <a:gd name="connsiteX24" fmla="*/ 1814025 w 3901192"/>
                  <a:gd name="connsiteY24" fmla="*/ 0 h 4760516"/>
                  <a:gd name="connsiteX25" fmla="*/ 1956503 w 3901192"/>
                  <a:gd name="connsiteY25" fmla="*/ 1191 h 4760516"/>
                  <a:gd name="connsiteX26" fmla="*/ 2153353 w 3901192"/>
                  <a:gd name="connsiteY26" fmla="*/ 20241 h 4760516"/>
                  <a:gd name="connsiteX27" fmla="*/ 2381953 w 3901192"/>
                  <a:gd name="connsiteY27" fmla="*/ 121841 h 4760516"/>
                  <a:gd name="connsiteX28" fmla="*/ 2642303 w 3901192"/>
                  <a:gd name="connsiteY28" fmla="*/ 331391 h 4760516"/>
                  <a:gd name="connsiteX29" fmla="*/ 2947103 w 3901192"/>
                  <a:gd name="connsiteY29" fmla="*/ 693341 h 4760516"/>
                  <a:gd name="connsiteX30" fmla="*/ 3061403 w 3901192"/>
                  <a:gd name="connsiteY30" fmla="*/ 883841 h 4760516"/>
                  <a:gd name="connsiteX31" fmla="*/ 3010603 w 3901192"/>
                  <a:gd name="connsiteY31" fmla="*/ 1004491 h 4760516"/>
                  <a:gd name="connsiteX32" fmla="*/ 2902653 w 3901192"/>
                  <a:gd name="connsiteY32" fmla="*/ 1061641 h 4760516"/>
                  <a:gd name="connsiteX33" fmla="*/ 2826453 w 3901192"/>
                  <a:gd name="connsiteY33" fmla="*/ 998141 h 4760516"/>
                  <a:gd name="connsiteX34" fmla="*/ 2655003 w 3901192"/>
                  <a:gd name="connsiteY34" fmla="*/ 820341 h 4760516"/>
                  <a:gd name="connsiteX35" fmla="*/ 2350203 w 3901192"/>
                  <a:gd name="connsiteY35" fmla="*/ 674291 h 4760516"/>
                  <a:gd name="connsiteX36" fmla="*/ 2020003 w 3901192"/>
                  <a:gd name="connsiteY36" fmla="*/ 674291 h 4760516"/>
                  <a:gd name="connsiteX37" fmla="*/ 2343853 w 3901192"/>
                  <a:gd name="connsiteY37" fmla="*/ 769541 h 4760516"/>
                  <a:gd name="connsiteX38" fmla="*/ 2553403 w 3901192"/>
                  <a:gd name="connsiteY38" fmla="*/ 909241 h 4760516"/>
                  <a:gd name="connsiteX39" fmla="*/ 2629744 w 3901192"/>
                  <a:gd name="connsiteY39" fmla="*/ 973620 h 4760516"/>
                  <a:gd name="connsiteX40" fmla="*/ 2900916 w 3901192"/>
                  <a:gd name="connsiteY40" fmla="*/ 1067700 h 4760516"/>
                  <a:gd name="connsiteX41" fmla="*/ 2830249 w 3901192"/>
                  <a:gd name="connsiteY41" fmla="*/ 1212445 h 4760516"/>
                  <a:gd name="connsiteX42" fmla="*/ 2830249 w 3901192"/>
                  <a:gd name="connsiteY42" fmla="*/ 1445256 h 4760516"/>
                  <a:gd name="connsiteX43" fmla="*/ 2939160 w 3901192"/>
                  <a:gd name="connsiteY43" fmla="*/ 1531580 h 4760516"/>
                  <a:gd name="connsiteX44" fmla="*/ 2823146 w 3901192"/>
                  <a:gd name="connsiteY44" fmla="*/ 2041674 h 4760516"/>
                  <a:gd name="connsiteX45" fmla="*/ 2756852 w 3901192"/>
                  <a:gd name="connsiteY45" fmla="*/ 2086142 h 4760516"/>
                  <a:gd name="connsiteX46" fmla="*/ 2480251 w 3901192"/>
                  <a:gd name="connsiteY46" fmla="*/ 2698176 h 4760516"/>
                  <a:gd name="connsiteX47" fmla="*/ 2529592 w 3901192"/>
                  <a:gd name="connsiteY47" fmla="*/ 2817416 h 4760516"/>
                  <a:gd name="connsiteX48" fmla="*/ 2591504 w 3901192"/>
                  <a:gd name="connsiteY48" fmla="*/ 2874566 h 4760516"/>
                  <a:gd name="connsiteX49" fmla="*/ 2658179 w 3901192"/>
                  <a:gd name="connsiteY49" fmla="*/ 2884091 h 4760516"/>
                  <a:gd name="connsiteX50" fmla="*/ 2681992 w 3901192"/>
                  <a:gd name="connsiteY50" fmla="*/ 2912666 h 4760516"/>
                  <a:gd name="connsiteX51" fmla="*/ 2748667 w 3901192"/>
                  <a:gd name="connsiteY51" fmla="*/ 3079354 h 4760516"/>
                  <a:gd name="connsiteX52" fmla="*/ 2843917 w 3901192"/>
                  <a:gd name="connsiteY52" fmla="*/ 3174604 h 4760516"/>
                  <a:gd name="connsiteX53" fmla="*/ 2939167 w 3901192"/>
                  <a:gd name="connsiteY53" fmla="*/ 3207941 h 4760516"/>
                  <a:gd name="connsiteX54" fmla="*/ 3282067 w 3901192"/>
                  <a:gd name="connsiteY54" fmla="*/ 3317479 h 4760516"/>
                  <a:gd name="connsiteX55" fmla="*/ 3658304 w 3901192"/>
                  <a:gd name="connsiteY55" fmla="*/ 3493691 h 4760516"/>
                  <a:gd name="connsiteX56" fmla="*/ 3867854 w 3901192"/>
                  <a:gd name="connsiteY56" fmla="*/ 3641329 h 4760516"/>
                  <a:gd name="connsiteX57" fmla="*/ 3901192 w 3901192"/>
                  <a:gd name="connsiteY57" fmla="*/ 3769916 h 4760516"/>
                  <a:gd name="connsiteX58" fmla="*/ 3877379 w 3901192"/>
                  <a:gd name="connsiteY58" fmla="*/ 4027091 h 4760516"/>
                  <a:gd name="connsiteX59" fmla="*/ 3791654 w 3901192"/>
                  <a:gd name="connsiteY59" fmla="*/ 4236641 h 4760516"/>
                  <a:gd name="connsiteX60" fmla="*/ 3620204 w 3901192"/>
                  <a:gd name="connsiteY60" fmla="*/ 4598591 h 4760516"/>
                  <a:gd name="connsiteX61" fmla="*/ 3472567 w 3901192"/>
                  <a:gd name="connsiteY61" fmla="*/ 4760516 h 4760516"/>
                  <a:gd name="connsiteX62" fmla="*/ 338842 w 3901192"/>
                  <a:gd name="connsiteY62" fmla="*/ 4760516 h 4760516"/>
                  <a:gd name="connsiteX63" fmla="*/ 162629 w 3901192"/>
                  <a:gd name="connsiteY63" fmla="*/ 4436666 h 4760516"/>
                  <a:gd name="connsiteX64" fmla="*/ 57854 w 3901192"/>
                  <a:gd name="connsiteY64" fmla="*/ 4141391 h 4760516"/>
                  <a:gd name="connsiteX65" fmla="*/ 704 w 3901192"/>
                  <a:gd name="connsiteY65" fmla="*/ 3855641 h 4760516"/>
                  <a:gd name="connsiteX66" fmla="*/ 24517 w 3901192"/>
                  <a:gd name="connsiteY66" fmla="*/ 3703241 h 4760516"/>
                  <a:gd name="connsiteX67" fmla="*/ 219779 w 3901192"/>
                  <a:gd name="connsiteY67" fmla="*/ 3584179 h 4760516"/>
                  <a:gd name="connsiteX68" fmla="*/ 534104 w 3901192"/>
                  <a:gd name="connsiteY68" fmla="*/ 3450829 h 4760516"/>
                  <a:gd name="connsiteX69" fmla="*/ 934154 w 3901192"/>
                  <a:gd name="connsiteY69" fmla="*/ 3293666 h 4760516"/>
                  <a:gd name="connsiteX70" fmla="*/ 1134179 w 3901192"/>
                  <a:gd name="connsiteY70" fmla="*/ 3217466 h 4760516"/>
                  <a:gd name="connsiteX71" fmla="*/ 1277054 w 3901192"/>
                  <a:gd name="connsiteY71" fmla="*/ 2950766 h 4760516"/>
                  <a:gd name="connsiteX72" fmla="*/ 1372304 w 3901192"/>
                  <a:gd name="connsiteY72" fmla="*/ 2888854 h 4760516"/>
                  <a:gd name="connsiteX73" fmla="*/ 1443742 w 3901192"/>
                  <a:gd name="connsiteY73" fmla="*/ 2750741 h 4760516"/>
                  <a:gd name="connsiteX74" fmla="*/ 1429454 w 3901192"/>
                  <a:gd name="connsiteY74" fmla="*/ 2665016 h 4760516"/>
                  <a:gd name="connsiteX75" fmla="*/ 1433043 w 3901192"/>
                  <a:gd name="connsiteY75" fmla="*/ 2655556 h 4760516"/>
                  <a:gd name="connsiteX76" fmla="*/ 1412036 w 3901192"/>
                  <a:gd name="connsiteY76" fmla="*/ 2630242 h 4760516"/>
                  <a:gd name="connsiteX77" fmla="*/ 1170537 w 3901192"/>
                  <a:gd name="connsiteY77" fmla="*/ 2059985 h 4760516"/>
                  <a:gd name="connsiteX78" fmla="*/ 976392 w 3901192"/>
                  <a:gd name="connsiteY78" fmla="*/ 1612672 h 4760516"/>
                  <a:gd name="connsiteX79" fmla="*/ 1052155 w 3901192"/>
                  <a:gd name="connsiteY79" fmla="*/ 1487109 h 4760516"/>
                  <a:gd name="connsiteX80" fmla="*/ 1017551 w 3901192"/>
                  <a:gd name="connsiteY80" fmla="*/ 1277790 h 4760516"/>
                  <a:gd name="connsiteX81" fmla="*/ 934153 w 3901192"/>
                  <a:gd name="connsiteY81" fmla="*/ 1341041 h 4760516"/>
                  <a:gd name="connsiteX82" fmla="*/ 883353 w 3901192"/>
                  <a:gd name="connsiteY82" fmla="*/ 1404541 h 4760516"/>
                  <a:gd name="connsiteX83" fmla="*/ 838903 w 3901192"/>
                  <a:gd name="connsiteY83" fmla="*/ 1525191 h 4760516"/>
                  <a:gd name="connsiteX84" fmla="*/ 857953 w 3901192"/>
                  <a:gd name="connsiteY84" fmla="*/ 1645841 h 4760516"/>
                  <a:gd name="connsiteX85" fmla="*/ 889703 w 3901192"/>
                  <a:gd name="connsiteY85" fmla="*/ 1829991 h 4760516"/>
                  <a:gd name="connsiteX86" fmla="*/ 965903 w 3901192"/>
                  <a:gd name="connsiteY86" fmla="*/ 2128441 h 4760516"/>
                  <a:gd name="connsiteX87" fmla="*/ 1048453 w 3901192"/>
                  <a:gd name="connsiteY87" fmla="*/ 2198291 h 4760516"/>
                  <a:gd name="connsiteX88" fmla="*/ 1099253 w 3901192"/>
                  <a:gd name="connsiteY88" fmla="*/ 2331641 h 4760516"/>
                  <a:gd name="connsiteX89" fmla="*/ 1219903 w 3901192"/>
                  <a:gd name="connsiteY89" fmla="*/ 2566591 h 4760516"/>
                  <a:gd name="connsiteX90" fmla="*/ 1270703 w 3901192"/>
                  <a:gd name="connsiteY90" fmla="*/ 2712641 h 4760516"/>
                  <a:gd name="connsiteX91" fmla="*/ 1131003 w 3901192"/>
                  <a:gd name="connsiteY91" fmla="*/ 2750741 h 4760516"/>
                  <a:gd name="connsiteX92" fmla="*/ 927803 w 3901192"/>
                  <a:gd name="connsiteY92" fmla="*/ 2776141 h 4760516"/>
                  <a:gd name="connsiteX93" fmla="*/ 743653 w 3901192"/>
                  <a:gd name="connsiteY93" fmla="*/ 2731691 h 4760516"/>
                  <a:gd name="connsiteX94" fmla="*/ 661103 w 3901192"/>
                  <a:gd name="connsiteY94" fmla="*/ 2591991 h 4760516"/>
                  <a:gd name="connsiteX95" fmla="*/ 623003 w 3901192"/>
                  <a:gd name="connsiteY95" fmla="*/ 2344341 h 4760516"/>
                  <a:gd name="connsiteX96" fmla="*/ 635703 w 3901192"/>
                  <a:gd name="connsiteY96" fmla="*/ 2020491 h 4760516"/>
                  <a:gd name="connsiteX97" fmla="*/ 737303 w 3901192"/>
                  <a:gd name="connsiteY97" fmla="*/ 1328341 h 4760516"/>
                  <a:gd name="connsiteX98" fmla="*/ 972253 w 3901192"/>
                  <a:gd name="connsiteY98" fmla="*/ 623491 h 4760516"/>
                  <a:gd name="connsiteX99" fmla="*/ 1169103 w 3901192"/>
                  <a:gd name="connsiteY99" fmla="*/ 299641 h 4760516"/>
                  <a:gd name="connsiteX100" fmla="*/ 1359603 w 3901192"/>
                  <a:gd name="connsiteY100" fmla="*/ 140891 h 4760516"/>
                  <a:gd name="connsiteX101" fmla="*/ 1531053 w 3901192"/>
                  <a:gd name="connsiteY101" fmla="*/ 115491 h 4760516"/>
                  <a:gd name="connsiteX102" fmla="*/ 1677103 w 3901192"/>
                  <a:gd name="connsiteY102" fmla="*/ 13891 h 4760516"/>
                  <a:gd name="connsiteX103" fmla="*/ 1814025 w 3901192"/>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2384"/>
                  <a:gd name="connsiteY0" fmla="*/ 1005769 h 4760516"/>
                  <a:gd name="connsiteX1" fmla="*/ 3082677 w 3902384"/>
                  <a:gd name="connsiteY1" fmla="*/ 1026716 h 4760516"/>
                  <a:gd name="connsiteX2" fmla="*/ 3168402 w 3902384"/>
                  <a:gd name="connsiteY2" fmla="*/ 1369616 h 4760516"/>
                  <a:gd name="connsiteX3" fmla="*/ 3254127 w 3902384"/>
                  <a:gd name="connsiteY3" fmla="*/ 1822054 h 4760516"/>
                  <a:gd name="connsiteX4" fmla="*/ 3282702 w 3902384"/>
                  <a:gd name="connsiteY4" fmla="*/ 2255441 h 4760516"/>
                  <a:gd name="connsiteX5" fmla="*/ 3273177 w 3902384"/>
                  <a:gd name="connsiteY5" fmla="*/ 2526904 h 4760516"/>
                  <a:gd name="connsiteX6" fmla="*/ 3192214 w 3902384"/>
                  <a:gd name="connsiteY6" fmla="*/ 2722166 h 4760516"/>
                  <a:gd name="connsiteX7" fmla="*/ 3044577 w 3902384"/>
                  <a:gd name="connsiteY7" fmla="*/ 2750741 h 4760516"/>
                  <a:gd name="connsiteX8" fmla="*/ 2811214 w 3902384"/>
                  <a:gd name="connsiteY8" fmla="*/ 2731691 h 4760516"/>
                  <a:gd name="connsiteX9" fmla="*/ 2635002 w 3902384"/>
                  <a:gd name="connsiteY9" fmla="*/ 2669779 h 4760516"/>
                  <a:gd name="connsiteX10" fmla="*/ 2658814 w 3902384"/>
                  <a:gd name="connsiteY10" fmla="*/ 2603104 h 4760516"/>
                  <a:gd name="connsiteX11" fmla="*/ 2754064 w 3902384"/>
                  <a:gd name="connsiteY11" fmla="*/ 2474516 h 4760516"/>
                  <a:gd name="connsiteX12" fmla="*/ 2844552 w 3902384"/>
                  <a:gd name="connsiteY12" fmla="*/ 2255441 h 4760516"/>
                  <a:gd name="connsiteX13" fmla="*/ 2863602 w 3902384"/>
                  <a:gd name="connsiteY13" fmla="*/ 2160191 h 4760516"/>
                  <a:gd name="connsiteX14" fmla="*/ 2920752 w 3902384"/>
                  <a:gd name="connsiteY14" fmla="*/ 2098279 h 4760516"/>
                  <a:gd name="connsiteX15" fmla="*/ 3001714 w 3902384"/>
                  <a:gd name="connsiteY15" fmla="*/ 1855391 h 4760516"/>
                  <a:gd name="connsiteX16" fmla="*/ 3058864 w 3902384"/>
                  <a:gd name="connsiteY16" fmla="*/ 1598216 h 4760516"/>
                  <a:gd name="connsiteX17" fmla="*/ 3063627 w 3902384"/>
                  <a:gd name="connsiteY17" fmla="*/ 1483916 h 4760516"/>
                  <a:gd name="connsiteX18" fmla="*/ 3011239 w 3902384"/>
                  <a:gd name="connsiteY18" fmla="*/ 1379141 h 4760516"/>
                  <a:gd name="connsiteX19" fmla="*/ 2958852 w 3902384"/>
                  <a:gd name="connsiteY19" fmla="*/ 1331516 h 4760516"/>
                  <a:gd name="connsiteX20" fmla="*/ 2949327 w 3902384"/>
                  <a:gd name="connsiteY20" fmla="*/ 1236266 h 4760516"/>
                  <a:gd name="connsiteX21" fmla="*/ 2958852 w 3902384"/>
                  <a:gd name="connsiteY21" fmla="*/ 1121966 h 4760516"/>
                  <a:gd name="connsiteX22" fmla="*/ 3006477 w 3902384"/>
                  <a:gd name="connsiteY22" fmla="*/ 1050529 h 4760516"/>
                  <a:gd name="connsiteX23" fmla="*/ 3062288 w 3902384"/>
                  <a:gd name="connsiteY23" fmla="*/ 1005769 h 4760516"/>
                  <a:gd name="connsiteX24" fmla="*/ 1814660 w 3902384"/>
                  <a:gd name="connsiteY24" fmla="*/ 0 h 4760516"/>
                  <a:gd name="connsiteX25" fmla="*/ 1957138 w 3902384"/>
                  <a:gd name="connsiteY25" fmla="*/ 1191 h 4760516"/>
                  <a:gd name="connsiteX26" fmla="*/ 2153988 w 3902384"/>
                  <a:gd name="connsiteY26" fmla="*/ 20241 h 4760516"/>
                  <a:gd name="connsiteX27" fmla="*/ 2382588 w 3902384"/>
                  <a:gd name="connsiteY27" fmla="*/ 121841 h 4760516"/>
                  <a:gd name="connsiteX28" fmla="*/ 2642938 w 3902384"/>
                  <a:gd name="connsiteY28" fmla="*/ 331391 h 4760516"/>
                  <a:gd name="connsiteX29" fmla="*/ 2947738 w 3902384"/>
                  <a:gd name="connsiteY29" fmla="*/ 693341 h 4760516"/>
                  <a:gd name="connsiteX30" fmla="*/ 3062038 w 3902384"/>
                  <a:gd name="connsiteY30" fmla="*/ 883841 h 4760516"/>
                  <a:gd name="connsiteX31" fmla="*/ 3011238 w 3902384"/>
                  <a:gd name="connsiteY31" fmla="*/ 1004491 h 4760516"/>
                  <a:gd name="connsiteX32" fmla="*/ 2903288 w 3902384"/>
                  <a:gd name="connsiteY32" fmla="*/ 1061641 h 4760516"/>
                  <a:gd name="connsiteX33" fmla="*/ 2827088 w 3902384"/>
                  <a:gd name="connsiteY33" fmla="*/ 998141 h 4760516"/>
                  <a:gd name="connsiteX34" fmla="*/ 2655638 w 3902384"/>
                  <a:gd name="connsiteY34" fmla="*/ 820341 h 4760516"/>
                  <a:gd name="connsiteX35" fmla="*/ 2350838 w 3902384"/>
                  <a:gd name="connsiteY35" fmla="*/ 674291 h 4760516"/>
                  <a:gd name="connsiteX36" fmla="*/ 2020638 w 3902384"/>
                  <a:gd name="connsiteY36" fmla="*/ 674291 h 4760516"/>
                  <a:gd name="connsiteX37" fmla="*/ 2344488 w 3902384"/>
                  <a:gd name="connsiteY37" fmla="*/ 769541 h 4760516"/>
                  <a:gd name="connsiteX38" fmla="*/ 2554038 w 3902384"/>
                  <a:gd name="connsiteY38" fmla="*/ 909241 h 4760516"/>
                  <a:gd name="connsiteX39" fmla="*/ 2630379 w 3902384"/>
                  <a:gd name="connsiteY39" fmla="*/ 973620 h 4760516"/>
                  <a:gd name="connsiteX40" fmla="*/ 2901551 w 3902384"/>
                  <a:gd name="connsiteY40" fmla="*/ 1067700 h 4760516"/>
                  <a:gd name="connsiteX41" fmla="*/ 2830884 w 3902384"/>
                  <a:gd name="connsiteY41" fmla="*/ 1212445 h 4760516"/>
                  <a:gd name="connsiteX42" fmla="*/ 2830884 w 3902384"/>
                  <a:gd name="connsiteY42" fmla="*/ 1445256 h 4760516"/>
                  <a:gd name="connsiteX43" fmla="*/ 2939795 w 3902384"/>
                  <a:gd name="connsiteY43" fmla="*/ 1531580 h 4760516"/>
                  <a:gd name="connsiteX44" fmla="*/ 2823781 w 3902384"/>
                  <a:gd name="connsiteY44" fmla="*/ 2041674 h 4760516"/>
                  <a:gd name="connsiteX45" fmla="*/ 2757487 w 3902384"/>
                  <a:gd name="connsiteY45" fmla="*/ 2086142 h 4760516"/>
                  <a:gd name="connsiteX46" fmla="*/ 2480886 w 3902384"/>
                  <a:gd name="connsiteY46" fmla="*/ 2698176 h 4760516"/>
                  <a:gd name="connsiteX47" fmla="*/ 2530227 w 3902384"/>
                  <a:gd name="connsiteY47" fmla="*/ 2817416 h 4760516"/>
                  <a:gd name="connsiteX48" fmla="*/ 2592139 w 3902384"/>
                  <a:gd name="connsiteY48" fmla="*/ 2874566 h 4760516"/>
                  <a:gd name="connsiteX49" fmla="*/ 2658814 w 3902384"/>
                  <a:gd name="connsiteY49" fmla="*/ 2884091 h 4760516"/>
                  <a:gd name="connsiteX50" fmla="*/ 2682627 w 3902384"/>
                  <a:gd name="connsiteY50" fmla="*/ 2912666 h 4760516"/>
                  <a:gd name="connsiteX51" fmla="*/ 2749302 w 3902384"/>
                  <a:gd name="connsiteY51" fmla="*/ 3079354 h 4760516"/>
                  <a:gd name="connsiteX52" fmla="*/ 2844552 w 3902384"/>
                  <a:gd name="connsiteY52" fmla="*/ 3174604 h 4760516"/>
                  <a:gd name="connsiteX53" fmla="*/ 2939802 w 3902384"/>
                  <a:gd name="connsiteY53" fmla="*/ 3207941 h 4760516"/>
                  <a:gd name="connsiteX54" fmla="*/ 3282702 w 3902384"/>
                  <a:gd name="connsiteY54" fmla="*/ 3317479 h 4760516"/>
                  <a:gd name="connsiteX55" fmla="*/ 3658939 w 3902384"/>
                  <a:gd name="connsiteY55" fmla="*/ 3493691 h 4760516"/>
                  <a:gd name="connsiteX56" fmla="*/ 3868489 w 3902384"/>
                  <a:gd name="connsiteY56" fmla="*/ 3641329 h 4760516"/>
                  <a:gd name="connsiteX57" fmla="*/ 3901827 w 3902384"/>
                  <a:gd name="connsiteY57" fmla="*/ 3769916 h 4760516"/>
                  <a:gd name="connsiteX58" fmla="*/ 3878014 w 3902384"/>
                  <a:gd name="connsiteY58" fmla="*/ 4027091 h 4760516"/>
                  <a:gd name="connsiteX59" fmla="*/ 3792289 w 3902384"/>
                  <a:gd name="connsiteY59" fmla="*/ 4236641 h 4760516"/>
                  <a:gd name="connsiteX60" fmla="*/ 3620839 w 3902384"/>
                  <a:gd name="connsiteY60" fmla="*/ 4598591 h 4760516"/>
                  <a:gd name="connsiteX61" fmla="*/ 3473202 w 3902384"/>
                  <a:gd name="connsiteY61" fmla="*/ 4760516 h 4760516"/>
                  <a:gd name="connsiteX62" fmla="*/ 339477 w 3902384"/>
                  <a:gd name="connsiteY62" fmla="*/ 4760516 h 4760516"/>
                  <a:gd name="connsiteX63" fmla="*/ 163264 w 3902384"/>
                  <a:gd name="connsiteY63" fmla="*/ 4436666 h 4760516"/>
                  <a:gd name="connsiteX64" fmla="*/ 58489 w 3902384"/>
                  <a:gd name="connsiteY64" fmla="*/ 4141391 h 4760516"/>
                  <a:gd name="connsiteX65" fmla="*/ 1339 w 3902384"/>
                  <a:gd name="connsiteY65" fmla="*/ 3855641 h 4760516"/>
                  <a:gd name="connsiteX66" fmla="*/ 25152 w 3902384"/>
                  <a:gd name="connsiteY66" fmla="*/ 3703241 h 4760516"/>
                  <a:gd name="connsiteX67" fmla="*/ 220414 w 3902384"/>
                  <a:gd name="connsiteY67" fmla="*/ 3584179 h 4760516"/>
                  <a:gd name="connsiteX68" fmla="*/ 534739 w 3902384"/>
                  <a:gd name="connsiteY68" fmla="*/ 3450829 h 4760516"/>
                  <a:gd name="connsiteX69" fmla="*/ 934789 w 3902384"/>
                  <a:gd name="connsiteY69" fmla="*/ 3293666 h 4760516"/>
                  <a:gd name="connsiteX70" fmla="*/ 1134814 w 3902384"/>
                  <a:gd name="connsiteY70" fmla="*/ 3217466 h 4760516"/>
                  <a:gd name="connsiteX71" fmla="*/ 1277689 w 3902384"/>
                  <a:gd name="connsiteY71" fmla="*/ 2950766 h 4760516"/>
                  <a:gd name="connsiteX72" fmla="*/ 1372939 w 3902384"/>
                  <a:gd name="connsiteY72" fmla="*/ 2888854 h 4760516"/>
                  <a:gd name="connsiteX73" fmla="*/ 1444377 w 3902384"/>
                  <a:gd name="connsiteY73" fmla="*/ 2750741 h 4760516"/>
                  <a:gd name="connsiteX74" fmla="*/ 1430089 w 3902384"/>
                  <a:gd name="connsiteY74" fmla="*/ 2665016 h 4760516"/>
                  <a:gd name="connsiteX75" fmla="*/ 1433678 w 3902384"/>
                  <a:gd name="connsiteY75" fmla="*/ 2655556 h 4760516"/>
                  <a:gd name="connsiteX76" fmla="*/ 1412671 w 3902384"/>
                  <a:gd name="connsiteY76" fmla="*/ 2630242 h 4760516"/>
                  <a:gd name="connsiteX77" fmla="*/ 1171172 w 3902384"/>
                  <a:gd name="connsiteY77" fmla="*/ 2059985 h 4760516"/>
                  <a:gd name="connsiteX78" fmla="*/ 977027 w 3902384"/>
                  <a:gd name="connsiteY78" fmla="*/ 1612672 h 4760516"/>
                  <a:gd name="connsiteX79" fmla="*/ 1052790 w 3902384"/>
                  <a:gd name="connsiteY79" fmla="*/ 1487109 h 4760516"/>
                  <a:gd name="connsiteX80" fmla="*/ 1018186 w 3902384"/>
                  <a:gd name="connsiteY80" fmla="*/ 1277790 h 4760516"/>
                  <a:gd name="connsiteX81" fmla="*/ 934788 w 3902384"/>
                  <a:gd name="connsiteY81" fmla="*/ 1341041 h 4760516"/>
                  <a:gd name="connsiteX82" fmla="*/ 883988 w 3902384"/>
                  <a:gd name="connsiteY82" fmla="*/ 1404541 h 4760516"/>
                  <a:gd name="connsiteX83" fmla="*/ 839538 w 3902384"/>
                  <a:gd name="connsiteY83" fmla="*/ 1525191 h 4760516"/>
                  <a:gd name="connsiteX84" fmla="*/ 858588 w 3902384"/>
                  <a:gd name="connsiteY84" fmla="*/ 1645841 h 4760516"/>
                  <a:gd name="connsiteX85" fmla="*/ 890338 w 3902384"/>
                  <a:gd name="connsiteY85" fmla="*/ 1829991 h 4760516"/>
                  <a:gd name="connsiteX86" fmla="*/ 966538 w 3902384"/>
                  <a:gd name="connsiteY86" fmla="*/ 2128441 h 4760516"/>
                  <a:gd name="connsiteX87" fmla="*/ 1049088 w 3902384"/>
                  <a:gd name="connsiteY87" fmla="*/ 2198291 h 4760516"/>
                  <a:gd name="connsiteX88" fmla="*/ 1099888 w 3902384"/>
                  <a:gd name="connsiteY88" fmla="*/ 2331641 h 4760516"/>
                  <a:gd name="connsiteX89" fmla="*/ 1220538 w 3902384"/>
                  <a:gd name="connsiteY89" fmla="*/ 2566591 h 4760516"/>
                  <a:gd name="connsiteX90" fmla="*/ 1271338 w 3902384"/>
                  <a:gd name="connsiteY90" fmla="*/ 2712641 h 4760516"/>
                  <a:gd name="connsiteX91" fmla="*/ 1131638 w 3902384"/>
                  <a:gd name="connsiteY91" fmla="*/ 2750741 h 4760516"/>
                  <a:gd name="connsiteX92" fmla="*/ 928438 w 3902384"/>
                  <a:gd name="connsiteY92" fmla="*/ 2776141 h 4760516"/>
                  <a:gd name="connsiteX93" fmla="*/ 744288 w 3902384"/>
                  <a:gd name="connsiteY93" fmla="*/ 2731691 h 4760516"/>
                  <a:gd name="connsiteX94" fmla="*/ 661738 w 3902384"/>
                  <a:gd name="connsiteY94" fmla="*/ 2591991 h 4760516"/>
                  <a:gd name="connsiteX95" fmla="*/ 623638 w 3902384"/>
                  <a:gd name="connsiteY95" fmla="*/ 2344341 h 4760516"/>
                  <a:gd name="connsiteX96" fmla="*/ 636338 w 3902384"/>
                  <a:gd name="connsiteY96" fmla="*/ 2020491 h 4760516"/>
                  <a:gd name="connsiteX97" fmla="*/ 737938 w 3902384"/>
                  <a:gd name="connsiteY97" fmla="*/ 1328341 h 4760516"/>
                  <a:gd name="connsiteX98" fmla="*/ 972888 w 3902384"/>
                  <a:gd name="connsiteY98" fmla="*/ 623491 h 4760516"/>
                  <a:gd name="connsiteX99" fmla="*/ 1169738 w 3902384"/>
                  <a:gd name="connsiteY99" fmla="*/ 299641 h 4760516"/>
                  <a:gd name="connsiteX100" fmla="*/ 1360238 w 3902384"/>
                  <a:gd name="connsiteY100" fmla="*/ 140891 h 4760516"/>
                  <a:gd name="connsiteX101" fmla="*/ 1531688 w 3902384"/>
                  <a:gd name="connsiteY101" fmla="*/ 115491 h 4760516"/>
                  <a:gd name="connsiteX102" fmla="*/ 1677738 w 3902384"/>
                  <a:gd name="connsiteY102" fmla="*/ 13891 h 4760516"/>
                  <a:gd name="connsiteX103" fmla="*/ 1814660 w 3902384"/>
                  <a:gd name="connsiteY103" fmla="*/ 0 h 4760516"/>
                  <a:gd name="connsiteX0" fmla="*/ 3062288 w 3903424"/>
                  <a:gd name="connsiteY0" fmla="*/ 1005769 h 4760516"/>
                  <a:gd name="connsiteX1" fmla="*/ 3082677 w 3903424"/>
                  <a:gd name="connsiteY1" fmla="*/ 1026716 h 4760516"/>
                  <a:gd name="connsiteX2" fmla="*/ 3168402 w 3903424"/>
                  <a:gd name="connsiteY2" fmla="*/ 1369616 h 4760516"/>
                  <a:gd name="connsiteX3" fmla="*/ 3254127 w 3903424"/>
                  <a:gd name="connsiteY3" fmla="*/ 1822054 h 4760516"/>
                  <a:gd name="connsiteX4" fmla="*/ 3282702 w 3903424"/>
                  <a:gd name="connsiteY4" fmla="*/ 2255441 h 4760516"/>
                  <a:gd name="connsiteX5" fmla="*/ 3273177 w 3903424"/>
                  <a:gd name="connsiteY5" fmla="*/ 2526904 h 4760516"/>
                  <a:gd name="connsiteX6" fmla="*/ 3192214 w 3903424"/>
                  <a:gd name="connsiteY6" fmla="*/ 2722166 h 4760516"/>
                  <a:gd name="connsiteX7" fmla="*/ 3044577 w 3903424"/>
                  <a:gd name="connsiteY7" fmla="*/ 2750741 h 4760516"/>
                  <a:gd name="connsiteX8" fmla="*/ 2811214 w 3903424"/>
                  <a:gd name="connsiteY8" fmla="*/ 2731691 h 4760516"/>
                  <a:gd name="connsiteX9" fmla="*/ 2635002 w 3903424"/>
                  <a:gd name="connsiteY9" fmla="*/ 2669779 h 4760516"/>
                  <a:gd name="connsiteX10" fmla="*/ 2658814 w 3903424"/>
                  <a:gd name="connsiteY10" fmla="*/ 2603104 h 4760516"/>
                  <a:gd name="connsiteX11" fmla="*/ 2754064 w 3903424"/>
                  <a:gd name="connsiteY11" fmla="*/ 2474516 h 4760516"/>
                  <a:gd name="connsiteX12" fmla="*/ 2844552 w 3903424"/>
                  <a:gd name="connsiteY12" fmla="*/ 2255441 h 4760516"/>
                  <a:gd name="connsiteX13" fmla="*/ 2863602 w 3903424"/>
                  <a:gd name="connsiteY13" fmla="*/ 2160191 h 4760516"/>
                  <a:gd name="connsiteX14" fmla="*/ 2920752 w 3903424"/>
                  <a:gd name="connsiteY14" fmla="*/ 2098279 h 4760516"/>
                  <a:gd name="connsiteX15" fmla="*/ 3001714 w 3903424"/>
                  <a:gd name="connsiteY15" fmla="*/ 1855391 h 4760516"/>
                  <a:gd name="connsiteX16" fmla="*/ 3058864 w 3903424"/>
                  <a:gd name="connsiteY16" fmla="*/ 1598216 h 4760516"/>
                  <a:gd name="connsiteX17" fmla="*/ 3063627 w 3903424"/>
                  <a:gd name="connsiteY17" fmla="*/ 1483916 h 4760516"/>
                  <a:gd name="connsiteX18" fmla="*/ 3011239 w 3903424"/>
                  <a:gd name="connsiteY18" fmla="*/ 1379141 h 4760516"/>
                  <a:gd name="connsiteX19" fmla="*/ 2958852 w 3903424"/>
                  <a:gd name="connsiteY19" fmla="*/ 1331516 h 4760516"/>
                  <a:gd name="connsiteX20" fmla="*/ 2949327 w 3903424"/>
                  <a:gd name="connsiteY20" fmla="*/ 1236266 h 4760516"/>
                  <a:gd name="connsiteX21" fmla="*/ 2958852 w 3903424"/>
                  <a:gd name="connsiteY21" fmla="*/ 1121966 h 4760516"/>
                  <a:gd name="connsiteX22" fmla="*/ 3006477 w 3903424"/>
                  <a:gd name="connsiteY22" fmla="*/ 1050529 h 4760516"/>
                  <a:gd name="connsiteX23" fmla="*/ 3062288 w 3903424"/>
                  <a:gd name="connsiteY23" fmla="*/ 1005769 h 4760516"/>
                  <a:gd name="connsiteX24" fmla="*/ 1814660 w 3903424"/>
                  <a:gd name="connsiteY24" fmla="*/ 0 h 4760516"/>
                  <a:gd name="connsiteX25" fmla="*/ 1957138 w 3903424"/>
                  <a:gd name="connsiteY25" fmla="*/ 1191 h 4760516"/>
                  <a:gd name="connsiteX26" fmla="*/ 2153988 w 3903424"/>
                  <a:gd name="connsiteY26" fmla="*/ 20241 h 4760516"/>
                  <a:gd name="connsiteX27" fmla="*/ 2382588 w 3903424"/>
                  <a:gd name="connsiteY27" fmla="*/ 121841 h 4760516"/>
                  <a:gd name="connsiteX28" fmla="*/ 2642938 w 3903424"/>
                  <a:gd name="connsiteY28" fmla="*/ 331391 h 4760516"/>
                  <a:gd name="connsiteX29" fmla="*/ 2947738 w 3903424"/>
                  <a:gd name="connsiteY29" fmla="*/ 693341 h 4760516"/>
                  <a:gd name="connsiteX30" fmla="*/ 3062038 w 3903424"/>
                  <a:gd name="connsiteY30" fmla="*/ 883841 h 4760516"/>
                  <a:gd name="connsiteX31" fmla="*/ 3011238 w 3903424"/>
                  <a:gd name="connsiteY31" fmla="*/ 1004491 h 4760516"/>
                  <a:gd name="connsiteX32" fmla="*/ 2903288 w 3903424"/>
                  <a:gd name="connsiteY32" fmla="*/ 1061641 h 4760516"/>
                  <a:gd name="connsiteX33" fmla="*/ 2827088 w 3903424"/>
                  <a:gd name="connsiteY33" fmla="*/ 998141 h 4760516"/>
                  <a:gd name="connsiteX34" fmla="*/ 2655638 w 3903424"/>
                  <a:gd name="connsiteY34" fmla="*/ 820341 h 4760516"/>
                  <a:gd name="connsiteX35" fmla="*/ 2350838 w 3903424"/>
                  <a:gd name="connsiteY35" fmla="*/ 674291 h 4760516"/>
                  <a:gd name="connsiteX36" fmla="*/ 2020638 w 3903424"/>
                  <a:gd name="connsiteY36" fmla="*/ 674291 h 4760516"/>
                  <a:gd name="connsiteX37" fmla="*/ 2344488 w 3903424"/>
                  <a:gd name="connsiteY37" fmla="*/ 769541 h 4760516"/>
                  <a:gd name="connsiteX38" fmla="*/ 2554038 w 3903424"/>
                  <a:gd name="connsiteY38" fmla="*/ 909241 h 4760516"/>
                  <a:gd name="connsiteX39" fmla="*/ 2630379 w 3903424"/>
                  <a:gd name="connsiteY39" fmla="*/ 973620 h 4760516"/>
                  <a:gd name="connsiteX40" fmla="*/ 2901551 w 3903424"/>
                  <a:gd name="connsiteY40" fmla="*/ 1067700 h 4760516"/>
                  <a:gd name="connsiteX41" fmla="*/ 2830884 w 3903424"/>
                  <a:gd name="connsiteY41" fmla="*/ 1212445 h 4760516"/>
                  <a:gd name="connsiteX42" fmla="*/ 2830884 w 3903424"/>
                  <a:gd name="connsiteY42" fmla="*/ 1445256 h 4760516"/>
                  <a:gd name="connsiteX43" fmla="*/ 2939795 w 3903424"/>
                  <a:gd name="connsiteY43" fmla="*/ 1531580 h 4760516"/>
                  <a:gd name="connsiteX44" fmla="*/ 2823781 w 3903424"/>
                  <a:gd name="connsiteY44" fmla="*/ 2041674 h 4760516"/>
                  <a:gd name="connsiteX45" fmla="*/ 2757487 w 3903424"/>
                  <a:gd name="connsiteY45" fmla="*/ 2086142 h 4760516"/>
                  <a:gd name="connsiteX46" fmla="*/ 2480886 w 3903424"/>
                  <a:gd name="connsiteY46" fmla="*/ 2698176 h 4760516"/>
                  <a:gd name="connsiteX47" fmla="*/ 2530227 w 3903424"/>
                  <a:gd name="connsiteY47" fmla="*/ 2817416 h 4760516"/>
                  <a:gd name="connsiteX48" fmla="*/ 2592139 w 3903424"/>
                  <a:gd name="connsiteY48" fmla="*/ 2874566 h 4760516"/>
                  <a:gd name="connsiteX49" fmla="*/ 2658814 w 3903424"/>
                  <a:gd name="connsiteY49" fmla="*/ 2884091 h 4760516"/>
                  <a:gd name="connsiteX50" fmla="*/ 2682627 w 3903424"/>
                  <a:gd name="connsiteY50" fmla="*/ 2912666 h 4760516"/>
                  <a:gd name="connsiteX51" fmla="*/ 2749302 w 3903424"/>
                  <a:gd name="connsiteY51" fmla="*/ 3079354 h 4760516"/>
                  <a:gd name="connsiteX52" fmla="*/ 2844552 w 3903424"/>
                  <a:gd name="connsiteY52" fmla="*/ 3174604 h 4760516"/>
                  <a:gd name="connsiteX53" fmla="*/ 2939802 w 3903424"/>
                  <a:gd name="connsiteY53" fmla="*/ 3207941 h 4760516"/>
                  <a:gd name="connsiteX54" fmla="*/ 3282702 w 3903424"/>
                  <a:gd name="connsiteY54" fmla="*/ 3317479 h 4760516"/>
                  <a:gd name="connsiteX55" fmla="*/ 3658939 w 3903424"/>
                  <a:gd name="connsiteY55" fmla="*/ 3493691 h 4760516"/>
                  <a:gd name="connsiteX56" fmla="*/ 3868489 w 3903424"/>
                  <a:gd name="connsiteY56" fmla="*/ 3641329 h 4760516"/>
                  <a:gd name="connsiteX57" fmla="*/ 3901827 w 3903424"/>
                  <a:gd name="connsiteY57" fmla="*/ 3769916 h 4760516"/>
                  <a:gd name="connsiteX58" fmla="*/ 3878014 w 3903424"/>
                  <a:gd name="connsiteY58" fmla="*/ 4027091 h 4760516"/>
                  <a:gd name="connsiteX59" fmla="*/ 3792289 w 3903424"/>
                  <a:gd name="connsiteY59" fmla="*/ 4236641 h 4760516"/>
                  <a:gd name="connsiteX60" fmla="*/ 3620839 w 3903424"/>
                  <a:gd name="connsiteY60" fmla="*/ 4598591 h 4760516"/>
                  <a:gd name="connsiteX61" fmla="*/ 3473202 w 3903424"/>
                  <a:gd name="connsiteY61" fmla="*/ 4760516 h 4760516"/>
                  <a:gd name="connsiteX62" fmla="*/ 339477 w 3903424"/>
                  <a:gd name="connsiteY62" fmla="*/ 4760516 h 4760516"/>
                  <a:gd name="connsiteX63" fmla="*/ 163264 w 3903424"/>
                  <a:gd name="connsiteY63" fmla="*/ 4436666 h 4760516"/>
                  <a:gd name="connsiteX64" fmla="*/ 58489 w 3903424"/>
                  <a:gd name="connsiteY64" fmla="*/ 4141391 h 4760516"/>
                  <a:gd name="connsiteX65" fmla="*/ 1339 w 3903424"/>
                  <a:gd name="connsiteY65" fmla="*/ 3855641 h 4760516"/>
                  <a:gd name="connsiteX66" fmla="*/ 25152 w 3903424"/>
                  <a:gd name="connsiteY66" fmla="*/ 3703241 h 4760516"/>
                  <a:gd name="connsiteX67" fmla="*/ 220414 w 3903424"/>
                  <a:gd name="connsiteY67" fmla="*/ 3584179 h 4760516"/>
                  <a:gd name="connsiteX68" fmla="*/ 534739 w 3903424"/>
                  <a:gd name="connsiteY68" fmla="*/ 3450829 h 4760516"/>
                  <a:gd name="connsiteX69" fmla="*/ 934789 w 3903424"/>
                  <a:gd name="connsiteY69" fmla="*/ 3293666 h 4760516"/>
                  <a:gd name="connsiteX70" fmla="*/ 1134814 w 3903424"/>
                  <a:gd name="connsiteY70" fmla="*/ 3217466 h 4760516"/>
                  <a:gd name="connsiteX71" fmla="*/ 1277689 w 3903424"/>
                  <a:gd name="connsiteY71" fmla="*/ 2950766 h 4760516"/>
                  <a:gd name="connsiteX72" fmla="*/ 1372939 w 3903424"/>
                  <a:gd name="connsiteY72" fmla="*/ 2888854 h 4760516"/>
                  <a:gd name="connsiteX73" fmla="*/ 1444377 w 3903424"/>
                  <a:gd name="connsiteY73" fmla="*/ 2750741 h 4760516"/>
                  <a:gd name="connsiteX74" fmla="*/ 1430089 w 3903424"/>
                  <a:gd name="connsiteY74" fmla="*/ 2665016 h 4760516"/>
                  <a:gd name="connsiteX75" fmla="*/ 1433678 w 3903424"/>
                  <a:gd name="connsiteY75" fmla="*/ 2655556 h 4760516"/>
                  <a:gd name="connsiteX76" fmla="*/ 1412671 w 3903424"/>
                  <a:gd name="connsiteY76" fmla="*/ 2630242 h 4760516"/>
                  <a:gd name="connsiteX77" fmla="*/ 1171172 w 3903424"/>
                  <a:gd name="connsiteY77" fmla="*/ 2059985 h 4760516"/>
                  <a:gd name="connsiteX78" fmla="*/ 977027 w 3903424"/>
                  <a:gd name="connsiteY78" fmla="*/ 1612672 h 4760516"/>
                  <a:gd name="connsiteX79" fmla="*/ 1052790 w 3903424"/>
                  <a:gd name="connsiteY79" fmla="*/ 1487109 h 4760516"/>
                  <a:gd name="connsiteX80" fmla="*/ 1018186 w 3903424"/>
                  <a:gd name="connsiteY80" fmla="*/ 1277790 h 4760516"/>
                  <a:gd name="connsiteX81" fmla="*/ 934788 w 3903424"/>
                  <a:gd name="connsiteY81" fmla="*/ 1341041 h 4760516"/>
                  <a:gd name="connsiteX82" fmla="*/ 883988 w 3903424"/>
                  <a:gd name="connsiteY82" fmla="*/ 1404541 h 4760516"/>
                  <a:gd name="connsiteX83" fmla="*/ 839538 w 3903424"/>
                  <a:gd name="connsiteY83" fmla="*/ 1525191 h 4760516"/>
                  <a:gd name="connsiteX84" fmla="*/ 858588 w 3903424"/>
                  <a:gd name="connsiteY84" fmla="*/ 1645841 h 4760516"/>
                  <a:gd name="connsiteX85" fmla="*/ 890338 w 3903424"/>
                  <a:gd name="connsiteY85" fmla="*/ 1829991 h 4760516"/>
                  <a:gd name="connsiteX86" fmla="*/ 966538 w 3903424"/>
                  <a:gd name="connsiteY86" fmla="*/ 2128441 h 4760516"/>
                  <a:gd name="connsiteX87" fmla="*/ 1049088 w 3903424"/>
                  <a:gd name="connsiteY87" fmla="*/ 2198291 h 4760516"/>
                  <a:gd name="connsiteX88" fmla="*/ 1099888 w 3903424"/>
                  <a:gd name="connsiteY88" fmla="*/ 2331641 h 4760516"/>
                  <a:gd name="connsiteX89" fmla="*/ 1220538 w 3903424"/>
                  <a:gd name="connsiteY89" fmla="*/ 2566591 h 4760516"/>
                  <a:gd name="connsiteX90" fmla="*/ 1271338 w 3903424"/>
                  <a:gd name="connsiteY90" fmla="*/ 2712641 h 4760516"/>
                  <a:gd name="connsiteX91" fmla="*/ 1131638 w 3903424"/>
                  <a:gd name="connsiteY91" fmla="*/ 2750741 h 4760516"/>
                  <a:gd name="connsiteX92" fmla="*/ 928438 w 3903424"/>
                  <a:gd name="connsiteY92" fmla="*/ 2776141 h 4760516"/>
                  <a:gd name="connsiteX93" fmla="*/ 744288 w 3903424"/>
                  <a:gd name="connsiteY93" fmla="*/ 2731691 h 4760516"/>
                  <a:gd name="connsiteX94" fmla="*/ 661738 w 3903424"/>
                  <a:gd name="connsiteY94" fmla="*/ 2591991 h 4760516"/>
                  <a:gd name="connsiteX95" fmla="*/ 623638 w 3903424"/>
                  <a:gd name="connsiteY95" fmla="*/ 2344341 h 4760516"/>
                  <a:gd name="connsiteX96" fmla="*/ 636338 w 3903424"/>
                  <a:gd name="connsiteY96" fmla="*/ 2020491 h 4760516"/>
                  <a:gd name="connsiteX97" fmla="*/ 737938 w 3903424"/>
                  <a:gd name="connsiteY97" fmla="*/ 1328341 h 4760516"/>
                  <a:gd name="connsiteX98" fmla="*/ 972888 w 3903424"/>
                  <a:gd name="connsiteY98" fmla="*/ 623491 h 4760516"/>
                  <a:gd name="connsiteX99" fmla="*/ 1169738 w 3903424"/>
                  <a:gd name="connsiteY99" fmla="*/ 299641 h 4760516"/>
                  <a:gd name="connsiteX100" fmla="*/ 1360238 w 3903424"/>
                  <a:gd name="connsiteY100" fmla="*/ 140891 h 4760516"/>
                  <a:gd name="connsiteX101" fmla="*/ 1531688 w 3903424"/>
                  <a:gd name="connsiteY101" fmla="*/ 115491 h 4760516"/>
                  <a:gd name="connsiteX102" fmla="*/ 1677738 w 3903424"/>
                  <a:gd name="connsiteY102" fmla="*/ 13891 h 4760516"/>
                  <a:gd name="connsiteX103" fmla="*/ 1814660 w 3903424"/>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810829"/>
                  <a:gd name="connsiteX1" fmla="*/ 3082677 w 3904400"/>
                  <a:gd name="connsiteY1" fmla="*/ 1026716 h 4810829"/>
                  <a:gd name="connsiteX2" fmla="*/ 3168402 w 3904400"/>
                  <a:gd name="connsiteY2" fmla="*/ 1369616 h 4810829"/>
                  <a:gd name="connsiteX3" fmla="*/ 3254127 w 3904400"/>
                  <a:gd name="connsiteY3" fmla="*/ 1822054 h 4810829"/>
                  <a:gd name="connsiteX4" fmla="*/ 3282702 w 3904400"/>
                  <a:gd name="connsiteY4" fmla="*/ 2255441 h 4810829"/>
                  <a:gd name="connsiteX5" fmla="*/ 3273177 w 3904400"/>
                  <a:gd name="connsiteY5" fmla="*/ 2526904 h 4810829"/>
                  <a:gd name="connsiteX6" fmla="*/ 3192214 w 3904400"/>
                  <a:gd name="connsiteY6" fmla="*/ 2722166 h 4810829"/>
                  <a:gd name="connsiteX7" fmla="*/ 3044577 w 3904400"/>
                  <a:gd name="connsiteY7" fmla="*/ 2750741 h 4810829"/>
                  <a:gd name="connsiteX8" fmla="*/ 2811214 w 3904400"/>
                  <a:gd name="connsiteY8" fmla="*/ 2731691 h 4810829"/>
                  <a:gd name="connsiteX9" fmla="*/ 2635002 w 3904400"/>
                  <a:gd name="connsiteY9" fmla="*/ 2669779 h 4810829"/>
                  <a:gd name="connsiteX10" fmla="*/ 2658814 w 3904400"/>
                  <a:gd name="connsiteY10" fmla="*/ 2603104 h 4810829"/>
                  <a:gd name="connsiteX11" fmla="*/ 2754064 w 3904400"/>
                  <a:gd name="connsiteY11" fmla="*/ 2474516 h 4810829"/>
                  <a:gd name="connsiteX12" fmla="*/ 2844552 w 3904400"/>
                  <a:gd name="connsiteY12" fmla="*/ 2255441 h 4810829"/>
                  <a:gd name="connsiteX13" fmla="*/ 2863602 w 3904400"/>
                  <a:gd name="connsiteY13" fmla="*/ 2160191 h 4810829"/>
                  <a:gd name="connsiteX14" fmla="*/ 2920752 w 3904400"/>
                  <a:gd name="connsiteY14" fmla="*/ 2098279 h 4810829"/>
                  <a:gd name="connsiteX15" fmla="*/ 3001714 w 3904400"/>
                  <a:gd name="connsiteY15" fmla="*/ 1855391 h 4810829"/>
                  <a:gd name="connsiteX16" fmla="*/ 3058864 w 3904400"/>
                  <a:gd name="connsiteY16" fmla="*/ 1598216 h 4810829"/>
                  <a:gd name="connsiteX17" fmla="*/ 3063627 w 3904400"/>
                  <a:gd name="connsiteY17" fmla="*/ 1483916 h 4810829"/>
                  <a:gd name="connsiteX18" fmla="*/ 3011239 w 3904400"/>
                  <a:gd name="connsiteY18" fmla="*/ 1379141 h 4810829"/>
                  <a:gd name="connsiteX19" fmla="*/ 2958852 w 3904400"/>
                  <a:gd name="connsiteY19" fmla="*/ 1331516 h 4810829"/>
                  <a:gd name="connsiteX20" fmla="*/ 2949327 w 3904400"/>
                  <a:gd name="connsiteY20" fmla="*/ 1236266 h 4810829"/>
                  <a:gd name="connsiteX21" fmla="*/ 2958852 w 3904400"/>
                  <a:gd name="connsiteY21" fmla="*/ 1121966 h 4810829"/>
                  <a:gd name="connsiteX22" fmla="*/ 3006477 w 3904400"/>
                  <a:gd name="connsiteY22" fmla="*/ 1050529 h 4810829"/>
                  <a:gd name="connsiteX23" fmla="*/ 3062288 w 3904400"/>
                  <a:gd name="connsiteY23" fmla="*/ 1005769 h 4810829"/>
                  <a:gd name="connsiteX24" fmla="*/ 1814660 w 3904400"/>
                  <a:gd name="connsiteY24" fmla="*/ 0 h 4810829"/>
                  <a:gd name="connsiteX25" fmla="*/ 1957138 w 3904400"/>
                  <a:gd name="connsiteY25" fmla="*/ 1191 h 4810829"/>
                  <a:gd name="connsiteX26" fmla="*/ 2153988 w 3904400"/>
                  <a:gd name="connsiteY26" fmla="*/ 20241 h 4810829"/>
                  <a:gd name="connsiteX27" fmla="*/ 2382588 w 3904400"/>
                  <a:gd name="connsiteY27" fmla="*/ 121841 h 4810829"/>
                  <a:gd name="connsiteX28" fmla="*/ 2642938 w 3904400"/>
                  <a:gd name="connsiteY28" fmla="*/ 331391 h 4810829"/>
                  <a:gd name="connsiteX29" fmla="*/ 2947738 w 3904400"/>
                  <a:gd name="connsiteY29" fmla="*/ 693341 h 4810829"/>
                  <a:gd name="connsiteX30" fmla="*/ 3062038 w 3904400"/>
                  <a:gd name="connsiteY30" fmla="*/ 883841 h 4810829"/>
                  <a:gd name="connsiteX31" fmla="*/ 3011238 w 3904400"/>
                  <a:gd name="connsiteY31" fmla="*/ 1004491 h 4810829"/>
                  <a:gd name="connsiteX32" fmla="*/ 2903288 w 3904400"/>
                  <a:gd name="connsiteY32" fmla="*/ 1061641 h 4810829"/>
                  <a:gd name="connsiteX33" fmla="*/ 2827088 w 3904400"/>
                  <a:gd name="connsiteY33" fmla="*/ 998141 h 4810829"/>
                  <a:gd name="connsiteX34" fmla="*/ 2655638 w 3904400"/>
                  <a:gd name="connsiteY34" fmla="*/ 820341 h 4810829"/>
                  <a:gd name="connsiteX35" fmla="*/ 2350838 w 3904400"/>
                  <a:gd name="connsiteY35" fmla="*/ 674291 h 4810829"/>
                  <a:gd name="connsiteX36" fmla="*/ 2020638 w 3904400"/>
                  <a:gd name="connsiteY36" fmla="*/ 674291 h 4810829"/>
                  <a:gd name="connsiteX37" fmla="*/ 2344488 w 3904400"/>
                  <a:gd name="connsiteY37" fmla="*/ 769541 h 4810829"/>
                  <a:gd name="connsiteX38" fmla="*/ 2554038 w 3904400"/>
                  <a:gd name="connsiteY38" fmla="*/ 909241 h 4810829"/>
                  <a:gd name="connsiteX39" fmla="*/ 2630379 w 3904400"/>
                  <a:gd name="connsiteY39" fmla="*/ 973620 h 4810829"/>
                  <a:gd name="connsiteX40" fmla="*/ 2901551 w 3904400"/>
                  <a:gd name="connsiteY40" fmla="*/ 1067700 h 4810829"/>
                  <a:gd name="connsiteX41" fmla="*/ 2830884 w 3904400"/>
                  <a:gd name="connsiteY41" fmla="*/ 1212445 h 4810829"/>
                  <a:gd name="connsiteX42" fmla="*/ 2830884 w 3904400"/>
                  <a:gd name="connsiteY42" fmla="*/ 1445256 h 4810829"/>
                  <a:gd name="connsiteX43" fmla="*/ 2939795 w 3904400"/>
                  <a:gd name="connsiteY43" fmla="*/ 1531580 h 4810829"/>
                  <a:gd name="connsiteX44" fmla="*/ 2823781 w 3904400"/>
                  <a:gd name="connsiteY44" fmla="*/ 2041674 h 4810829"/>
                  <a:gd name="connsiteX45" fmla="*/ 2757487 w 3904400"/>
                  <a:gd name="connsiteY45" fmla="*/ 2086142 h 4810829"/>
                  <a:gd name="connsiteX46" fmla="*/ 2480886 w 3904400"/>
                  <a:gd name="connsiteY46" fmla="*/ 2698176 h 4810829"/>
                  <a:gd name="connsiteX47" fmla="*/ 2530227 w 3904400"/>
                  <a:gd name="connsiteY47" fmla="*/ 2817416 h 4810829"/>
                  <a:gd name="connsiteX48" fmla="*/ 2592139 w 3904400"/>
                  <a:gd name="connsiteY48" fmla="*/ 2874566 h 4810829"/>
                  <a:gd name="connsiteX49" fmla="*/ 2658814 w 3904400"/>
                  <a:gd name="connsiteY49" fmla="*/ 2884091 h 4810829"/>
                  <a:gd name="connsiteX50" fmla="*/ 2682627 w 3904400"/>
                  <a:gd name="connsiteY50" fmla="*/ 2912666 h 4810829"/>
                  <a:gd name="connsiteX51" fmla="*/ 2749302 w 3904400"/>
                  <a:gd name="connsiteY51" fmla="*/ 3079354 h 4810829"/>
                  <a:gd name="connsiteX52" fmla="*/ 2844552 w 3904400"/>
                  <a:gd name="connsiteY52" fmla="*/ 3174604 h 4810829"/>
                  <a:gd name="connsiteX53" fmla="*/ 2939802 w 3904400"/>
                  <a:gd name="connsiteY53" fmla="*/ 3207941 h 4810829"/>
                  <a:gd name="connsiteX54" fmla="*/ 3282702 w 3904400"/>
                  <a:gd name="connsiteY54" fmla="*/ 3317479 h 4810829"/>
                  <a:gd name="connsiteX55" fmla="*/ 3658939 w 3904400"/>
                  <a:gd name="connsiteY55" fmla="*/ 3493691 h 4810829"/>
                  <a:gd name="connsiteX56" fmla="*/ 3868489 w 3904400"/>
                  <a:gd name="connsiteY56" fmla="*/ 3641329 h 4810829"/>
                  <a:gd name="connsiteX57" fmla="*/ 3901827 w 3904400"/>
                  <a:gd name="connsiteY57" fmla="*/ 3769916 h 4810829"/>
                  <a:gd name="connsiteX58" fmla="*/ 3878014 w 3904400"/>
                  <a:gd name="connsiteY58" fmla="*/ 4027091 h 4810829"/>
                  <a:gd name="connsiteX59" fmla="*/ 3792289 w 3904400"/>
                  <a:gd name="connsiteY59" fmla="*/ 4236641 h 4810829"/>
                  <a:gd name="connsiteX60" fmla="*/ 3620839 w 3904400"/>
                  <a:gd name="connsiteY60" fmla="*/ 4598591 h 4810829"/>
                  <a:gd name="connsiteX61" fmla="*/ 3473202 w 3904400"/>
                  <a:gd name="connsiteY61" fmla="*/ 4760516 h 4810829"/>
                  <a:gd name="connsiteX62" fmla="*/ 339477 w 3904400"/>
                  <a:gd name="connsiteY62" fmla="*/ 4760516 h 4810829"/>
                  <a:gd name="connsiteX63" fmla="*/ 163264 w 3904400"/>
                  <a:gd name="connsiteY63" fmla="*/ 4436666 h 4810829"/>
                  <a:gd name="connsiteX64" fmla="*/ 58489 w 3904400"/>
                  <a:gd name="connsiteY64" fmla="*/ 4141391 h 4810829"/>
                  <a:gd name="connsiteX65" fmla="*/ 1339 w 3904400"/>
                  <a:gd name="connsiteY65" fmla="*/ 3855641 h 4810829"/>
                  <a:gd name="connsiteX66" fmla="*/ 25152 w 3904400"/>
                  <a:gd name="connsiteY66" fmla="*/ 3703241 h 4810829"/>
                  <a:gd name="connsiteX67" fmla="*/ 220414 w 3904400"/>
                  <a:gd name="connsiteY67" fmla="*/ 3584179 h 4810829"/>
                  <a:gd name="connsiteX68" fmla="*/ 534739 w 3904400"/>
                  <a:gd name="connsiteY68" fmla="*/ 3450829 h 4810829"/>
                  <a:gd name="connsiteX69" fmla="*/ 934789 w 3904400"/>
                  <a:gd name="connsiteY69" fmla="*/ 3293666 h 4810829"/>
                  <a:gd name="connsiteX70" fmla="*/ 1134814 w 3904400"/>
                  <a:gd name="connsiteY70" fmla="*/ 3217466 h 4810829"/>
                  <a:gd name="connsiteX71" fmla="*/ 1277689 w 3904400"/>
                  <a:gd name="connsiteY71" fmla="*/ 2950766 h 4810829"/>
                  <a:gd name="connsiteX72" fmla="*/ 1372939 w 3904400"/>
                  <a:gd name="connsiteY72" fmla="*/ 2888854 h 4810829"/>
                  <a:gd name="connsiteX73" fmla="*/ 1444377 w 3904400"/>
                  <a:gd name="connsiteY73" fmla="*/ 2750741 h 4810829"/>
                  <a:gd name="connsiteX74" fmla="*/ 1430089 w 3904400"/>
                  <a:gd name="connsiteY74" fmla="*/ 2665016 h 4810829"/>
                  <a:gd name="connsiteX75" fmla="*/ 1433678 w 3904400"/>
                  <a:gd name="connsiteY75" fmla="*/ 2655556 h 4810829"/>
                  <a:gd name="connsiteX76" fmla="*/ 1412671 w 3904400"/>
                  <a:gd name="connsiteY76" fmla="*/ 2630242 h 4810829"/>
                  <a:gd name="connsiteX77" fmla="*/ 1171172 w 3904400"/>
                  <a:gd name="connsiteY77" fmla="*/ 2059985 h 4810829"/>
                  <a:gd name="connsiteX78" fmla="*/ 977027 w 3904400"/>
                  <a:gd name="connsiteY78" fmla="*/ 1612672 h 4810829"/>
                  <a:gd name="connsiteX79" fmla="*/ 1052790 w 3904400"/>
                  <a:gd name="connsiteY79" fmla="*/ 1487109 h 4810829"/>
                  <a:gd name="connsiteX80" fmla="*/ 1018186 w 3904400"/>
                  <a:gd name="connsiteY80" fmla="*/ 1277790 h 4810829"/>
                  <a:gd name="connsiteX81" fmla="*/ 934788 w 3904400"/>
                  <a:gd name="connsiteY81" fmla="*/ 1341041 h 4810829"/>
                  <a:gd name="connsiteX82" fmla="*/ 883988 w 3904400"/>
                  <a:gd name="connsiteY82" fmla="*/ 1404541 h 4810829"/>
                  <a:gd name="connsiteX83" fmla="*/ 839538 w 3904400"/>
                  <a:gd name="connsiteY83" fmla="*/ 1525191 h 4810829"/>
                  <a:gd name="connsiteX84" fmla="*/ 858588 w 3904400"/>
                  <a:gd name="connsiteY84" fmla="*/ 1645841 h 4810829"/>
                  <a:gd name="connsiteX85" fmla="*/ 890338 w 3904400"/>
                  <a:gd name="connsiteY85" fmla="*/ 1829991 h 4810829"/>
                  <a:gd name="connsiteX86" fmla="*/ 966538 w 3904400"/>
                  <a:gd name="connsiteY86" fmla="*/ 2128441 h 4810829"/>
                  <a:gd name="connsiteX87" fmla="*/ 1049088 w 3904400"/>
                  <a:gd name="connsiteY87" fmla="*/ 2198291 h 4810829"/>
                  <a:gd name="connsiteX88" fmla="*/ 1099888 w 3904400"/>
                  <a:gd name="connsiteY88" fmla="*/ 2331641 h 4810829"/>
                  <a:gd name="connsiteX89" fmla="*/ 1220538 w 3904400"/>
                  <a:gd name="connsiteY89" fmla="*/ 2566591 h 4810829"/>
                  <a:gd name="connsiteX90" fmla="*/ 1271338 w 3904400"/>
                  <a:gd name="connsiteY90" fmla="*/ 2712641 h 4810829"/>
                  <a:gd name="connsiteX91" fmla="*/ 1131638 w 3904400"/>
                  <a:gd name="connsiteY91" fmla="*/ 2750741 h 4810829"/>
                  <a:gd name="connsiteX92" fmla="*/ 928438 w 3904400"/>
                  <a:gd name="connsiteY92" fmla="*/ 2776141 h 4810829"/>
                  <a:gd name="connsiteX93" fmla="*/ 744288 w 3904400"/>
                  <a:gd name="connsiteY93" fmla="*/ 2731691 h 4810829"/>
                  <a:gd name="connsiteX94" fmla="*/ 661738 w 3904400"/>
                  <a:gd name="connsiteY94" fmla="*/ 2591991 h 4810829"/>
                  <a:gd name="connsiteX95" fmla="*/ 623638 w 3904400"/>
                  <a:gd name="connsiteY95" fmla="*/ 2344341 h 4810829"/>
                  <a:gd name="connsiteX96" fmla="*/ 636338 w 3904400"/>
                  <a:gd name="connsiteY96" fmla="*/ 2020491 h 4810829"/>
                  <a:gd name="connsiteX97" fmla="*/ 737938 w 3904400"/>
                  <a:gd name="connsiteY97" fmla="*/ 1328341 h 4810829"/>
                  <a:gd name="connsiteX98" fmla="*/ 972888 w 3904400"/>
                  <a:gd name="connsiteY98" fmla="*/ 623491 h 4810829"/>
                  <a:gd name="connsiteX99" fmla="*/ 1169738 w 3904400"/>
                  <a:gd name="connsiteY99" fmla="*/ 299641 h 4810829"/>
                  <a:gd name="connsiteX100" fmla="*/ 1360238 w 3904400"/>
                  <a:gd name="connsiteY100" fmla="*/ 140891 h 4810829"/>
                  <a:gd name="connsiteX101" fmla="*/ 1531688 w 3904400"/>
                  <a:gd name="connsiteY101" fmla="*/ 115491 h 4810829"/>
                  <a:gd name="connsiteX102" fmla="*/ 1677738 w 3904400"/>
                  <a:gd name="connsiteY102" fmla="*/ 13891 h 4810829"/>
                  <a:gd name="connsiteX103" fmla="*/ 1814660 w 3904400"/>
                  <a:gd name="connsiteY103" fmla="*/ 0 h 4810829"/>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630379 w 3904400"/>
                  <a:gd name="connsiteY39" fmla="*/ 973620 h 4848994"/>
                  <a:gd name="connsiteX40" fmla="*/ 2901551 w 3904400"/>
                  <a:gd name="connsiteY40" fmla="*/ 1067700 h 4848994"/>
                  <a:gd name="connsiteX41" fmla="*/ 2830884 w 3904400"/>
                  <a:gd name="connsiteY41" fmla="*/ 1212445 h 4848994"/>
                  <a:gd name="connsiteX42" fmla="*/ 2830884 w 3904400"/>
                  <a:gd name="connsiteY42" fmla="*/ 1445256 h 4848994"/>
                  <a:gd name="connsiteX43" fmla="*/ 2939795 w 3904400"/>
                  <a:gd name="connsiteY43" fmla="*/ 1531580 h 4848994"/>
                  <a:gd name="connsiteX44" fmla="*/ 2823781 w 3904400"/>
                  <a:gd name="connsiteY44" fmla="*/ 2041674 h 4848994"/>
                  <a:gd name="connsiteX45" fmla="*/ 2757487 w 3904400"/>
                  <a:gd name="connsiteY45" fmla="*/ 2086142 h 4848994"/>
                  <a:gd name="connsiteX46" fmla="*/ 2480886 w 3904400"/>
                  <a:gd name="connsiteY46" fmla="*/ 2698176 h 4848994"/>
                  <a:gd name="connsiteX47" fmla="*/ 2530227 w 3904400"/>
                  <a:gd name="connsiteY47" fmla="*/ 2817416 h 4848994"/>
                  <a:gd name="connsiteX48" fmla="*/ 2592139 w 3904400"/>
                  <a:gd name="connsiteY48" fmla="*/ 2874566 h 4848994"/>
                  <a:gd name="connsiteX49" fmla="*/ 2658814 w 3904400"/>
                  <a:gd name="connsiteY49" fmla="*/ 2884091 h 4848994"/>
                  <a:gd name="connsiteX50" fmla="*/ 2682627 w 3904400"/>
                  <a:gd name="connsiteY50" fmla="*/ 2912666 h 4848994"/>
                  <a:gd name="connsiteX51" fmla="*/ 2749302 w 3904400"/>
                  <a:gd name="connsiteY51" fmla="*/ 3079354 h 4848994"/>
                  <a:gd name="connsiteX52" fmla="*/ 2844552 w 3904400"/>
                  <a:gd name="connsiteY52" fmla="*/ 3174604 h 4848994"/>
                  <a:gd name="connsiteX53" fmla="*/ 2939802 w 3904400"/>
                  <a:gd name="connsiteY53" fmla="*/ 3207941 h 4848994"/>
                  <a:gd name="connsiteX54" fmla="*/ 3282702 w 3904400"/>
                  <a:gd name="connsiteY54" fmla="*/ 3317479 h 4848994"/>
                  <a:gd name="connsiteX55" fmla="*/ 3658939 w 3904400"/>
                  <a:gd name="connsiteY55" fmla="*/ 3493691 h 4848994"/>
                  <a:gd name="connsiteX56" fmla="*/ 3868489 w 3904400"/>
                  <a:gd name="connsiteY56" fmla="*/ 3641329 h 4848994"/>
                  <a:gd name="connsiteX57" fmla="*/ 3901827 w 3904400"/>
                  <a:gd name="connsiteY57" fmla="*/ 3769916 h 4848994"/>
                  <a:gd name="connsiteX58" fmla="*/ 3878014 w 3904400"/>
                  <a:gd name="connsiteY58" fmla="*/ 4027091 h 4848994"/>
                  <a:gd name="connsiteX59" fmla="*/ 3792289 w 3904400"/>
                  <a:gd name="connsiteY59" fmla="*/ 4236641 h 4848994"/>
                  <a:gd name="connsiteX60" fmla="*/ 3620839 w 3904400"/>
                  <a:gd name="connsiteY60" fmla="*/ 4598591 h 4848994"/>
                  <a:gd name="connsiteX61" fmla="*/ 3473202 w 3904400"/>
                  <a:gd name="connsiteY61" fmla="*/ 4760516 h 4848994"/>
                  <a:gd name="connsiteX62" fmla="*/ 339477 w 3904400"/>
                  <a:gd name="connsiteY62" fmla="*/ 4760516 h 4848994"/>
                  <a:gd name="connsiteX63" fmla="*/ 163264 w 3904400"/>
                  <a:gd name="connsiteY63" fmla="*/ 4436666 h 4848994"/>
                  <a:gd name="connsiteX64" fmla="*/ 58489 w 3904400"/>
                  <a:gd name="connsiteY64" fmla="*/ 4141391 h 4848994"/>
                  <a:gd name="connsiteX65" fmla="*/ 1339 w 3904400"/>
                  <a:gd name="connsiteY65" fmla="*/ 3855641 h 4848994"/>
                  <a:gd name="connsiteX66" fmla="*/ 25152 w 3904400"/>
                  <a:gd name="connsiteY66" fmla="*/ 3703241 h 4848994"/>
                  <a:gd name="connsiteX67" fmla="*/ 220414 w 3904400"/>
                  <a:gd name="connsiteY67" fmla="*/ 3584179 h 4848994"/>
                  <a:gd name="connsiteX68" fmla="*/ 534739 w 3904400"/>
                  <a:gd name="connsiteY68" fmla="*/ 3450829 h 4848994"/>
                  <a:gd name="connsiteX69" fmla="*/ 934789 w 3904400"/>
                  <a:gd name="connsiteY69" fmla="*/ 3293666 h 4848994"/>
                  <a:gd name="connsiteX70" fmla="*/ 1134814 w 3904400"/>
                  <a:gd name="connsiteY70" fmla="*/ 3217466 h 4848994"/>
                  <a:gd name="connsiteX71" fmla="*/ 1277689 w 3904400"/>
                  <a:gd name="connsiteY71" fmla="*/ 2950766 h 4848994"/>
                  <a:gd name="connsiteX72" fmla="*/ 1372939 w 3904400"/>
                  <a:gd name="connsiteY72" fmla="*/ 2888854 h 4848994"/>
                  <a:gd name="connsiteX73" fmla="*/ 1444377 w 3904400"/>
                  <a:gd name="connsiteY73" fmla="*/ 2750741 h 4848994"/>
                  <a:gd name="connsiteX74" fmla="*/ 1430089 w 3904400"/>
                  <a:gd name="connsiteY74" fmla="*/ 2665016 h 4848994"/>
                  <a:gd name="connsiteX75" fmla="*/ 1433678 w 3904400"/>
                  <a:gd name="connsiteY75" fmla="*/ 2655556 h 4848994"/>
                  <a:gd name="connsiteX76" fmla="*/ 1412671 w 3904400"/>
                  <a:gd name="connsiteY76" fmla="*/ 2630242 h 4848994"/>
                  <a:gd name="connsiteX77" fmla="*/ 1171172 w 3904400"/>
                  <a:gd name="connsiteY77" fmla="*/ 2059985 h 4848994"/>
                  <a:gd name="connsiteX78" fmla="*/ 977027 w 3904400"/>
                  <a:gd name="connsiteY78" fmla="*/ 1612672 h 4848994"/>
                  <a:gd name="connsiteX79" fmla="*/ 1052790 w 3904400"/>
                  <a:gd name="connsiteY79" fmla="*/ 1487109 h 4848994"/>
                  <a:gd name="connsiteX80" fmla="*/ 1018186 w 3904400"/>
                  <a:gd name="connsiteY80" fmla="*/ 1277790 h 4848994"/>
                  <a:gd name="connsiteX81" fmla="*/ 934788 w 3904400"/>
                  <a:gd name="connsiteY81" fmla="*/ 1341041 h 4848994"/>
                  <a:gd name="connsiteX82" fmla="*/ 883988 w 3904400"/>
                  <a:gd name="connsiteY82" fmla="*/ 1404541 h 4848994"/>
                  <a:gd name="connsiteX83" fmla="*/ 839538 w 3904400"/>
                  <a:gd name="connsiteY83" fmla="*/ 1525191 h 4848994"/>
                  <a:gd name="connsiteX84" fmla="*/ 858588 w 3904400"/>
                  <a:gd name="connsiteY84" fmla="*/ 1645841 h 4848994"/>
                  <a:gd name="connsiteX85" fmla="*/ 890338 w 3904400"/>
                  <a:gd name="connsiteY85" fmla="*/ 1829991 h 4848994"/>
                  <a:gd name="connsiteX86" fmla="*/ 966538 w 3904400"/>
                  <a:gd name="connsiteY86" fmla="*/ 2128441 h 4848994"/>
                  <a:gd name="connsiteX87" fmla="*/ 1049088 w 3904400"/>
                  <a:gd name="connsiteY87" fmla="*/ 2198291 h 4848994"/>
                  <a:gd name="connsiteX88" fmla="*/ 1099888 w 3904400"/>
                  <a:gd name="connsiteY88" fmla="*/ 2331641 h 4848994"/>
                  <a:gd name="connsiteX89" fmla="*/ 1220538 w 3904400"/>
                  <a:gd name="connsiteY89" fmla="*/ 2566591 h 4848994"/>
                  <a:gd name="connsiteX90" fmla="*/ 1271338 w 3904400"/>
                  <a:gd name="connsiteY90" fmla="*/ 2712641 h 4848994"/>
                  <a:gd name="connsiteX91" fmla="*/ 1131638 w 3904400"/>
                  <a:gd name="connsiteY91" fmla="*/ 2750741 h 4848994"/>
                  <a:gd name="connsiteX92" fmla="*/ 928438 w 3904400"/>
                  <a:gd name="connsiteY92" fmla="*/ 2776141 h 4848994"/>
                  <a:gd name="connsiteX93" fmla="*/ 744288 w 3904400"/>
                  <a:gd name="connsiteY93" fmla="*/ 2731691 h 4848994"/>
                  <a:gd name="connsiteX94" fmla="*/ 661738 w 3904400"/>
                  <a:gd name="connsiteY94" fmla="*/ 2591991 h 4848994"/>
                  <a:gd name="connsiteX95" fmla="*/ 623638 w 3904400"/>
                  <a:gd name="connsiteY95" fmla="*/ 2344341 h 4848994"/>
                  <a:gd name="connsiteX96" fmla="*/ 636338 w 3904400"/>
                  <a:gd name="connsiteY96" fmla="*/ 2020491 h 4848994"/>
                  <a:gd name="connsiteX97" fmla="*/ 737938 w 3904400"/>
                  <a:gd name="connsiteY97" fmla="*/ 1328341 h 4848994"/>
                  <a:gd name="connsiteX98" fmla="*/ 972888 w 3904400"/>
                  <a:gd name="connsiteY98" fmla="*/ 623491 h 4848994"/>
                  <a:gd name="connsiteX99" fmla="*/ 1169738 w 3904400"/>
                  <a:gd name="connsiteY99" fmla="*/ 299641 h 4848994"/>
                  <a:gd name="connsiteX100" fmla="*/ 1360238 w 3904400"/>
                  <a:gd name="connsiteY100" fmla="*/ 140891 h 4848994"/>
                  <a:gd name="connsiteX101" fmla="*/ 1531688 w 3904400"/>
                  <a:gd name="connsiteY101" fmla="*/ 115491 h 4848994"/>
                  <a:gd name="connsiteX102" fmla="*/ 1677738 w 3904400"/>
                  <a:gd name="connsiteY102" fmla="*/ 13891 h 4848994"/>
                  <a:gd name="connsiteX103" fmla="*/ 1814660 w 3904400"/>
                  <a:gd name="connsiteY103"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859098 w 3904400"/>
                  <a:gd name="connsiteY39" fmla="*/ 1103077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904400" h="4848994">
                    <a:moveTo>
                      <a:pt x="3062288" y="1005769"/>
                    </a:moveTo>
                    <a:lnTo>
                      <a:pt x="3082677" y="1026716"/>
                    </a:lnTo>
                    <a:cubicBezTo>
                      <a:pt x="3109664" y="1079897"/>
                      <a:pt x="3139827" y="1237060"/>
                      <a:pt x="3168402" y="1369616"/>
                    </a:cubicBezTo>
                    <a:cubicBezTo>
                      <a:pt x="3196977" y="1502172"/>
                      <a:pt x="3235077" y="1674417"/>
                      <a:pt x="3254127" y="1822054"/>
                    </a:cubicBezTo>
                    <a:cubicBezTo>
                      <a:pt x="3273177" y="1969691"/>
                      <a:pt x="3279527" y="2137966"/>
                      <a:pt x="3282702" y="2255441"/>
                    </a:cubicBezTo>
                    <a:cubicBezTo>
                      <a:pt x="3285877" y="2372916"/>
                      <a:pt x="3288258" y="2449116"/>
                      <a:pt x="3273177" y="2526904"/>
                    </a:cubicBezTo>
                    <a:cubicBezTo>
                      <a:pt x="3258096" y="2604692"/>
                      <a:pt x="3230314" y="2684860"/>
                      <a:pt x="3192214" y="2722166"/>
                    </a:cubicBezTo>
                    <a:cubicBezTo>
                      <a:pt x="3154114" y="2759472"/>
                      <a:pt x="3108077" y="2749154"/>
                      <a:pt x="3044577" y="2750741"/>
                    </a:cubicBezTo>
                    <a:cubicBezTo>
                      <a:pt x="2981077" y="2752328"/>
                      <a:pt x="2879476" y="2745185"/>
                      <a:pt x="2811214" y="2731691"/>
                    </a:cubicBezTo>
                    <a:cubicBezTo>
                      <a:pt x="2742952" y="2718197"/>
                      <a:pt x="2660402" y="2691210"/>
                      <a:pt x="2635002" y="2669779"/>
                    </a:cubicBezTo>
                    <a:cubicBezTo>
                      <a:pt x="2609602" y="2648348"/>
                      <a:pt x="2638970" y="2635648"/>
                      <a:pt x="2658814" y="2603104"/>
                    </a:cubicBezTo>
                    <a:cubicBezTo>
                      <a:pt x="2678658" y="2570560"/>
                      <a:pt x="2723108" y="2532460"/>
                      <a:pt x="2754064" y="2474516"/>
                    </a:cubicBezTo>
                    <a:cubicBezTo>
                      <a:pt x="2785020" y="2416572"/>
                      <a:pt x="2826296" y="2307828"/>
                      <a:pt x="2844552" y="2255441"/>
                    </a:cubicBezTo>
                    <a:cubicBezTo>
                      <a:pt x="2862808" y="2203054"/>
                      <a:pt x="2850902" y="2186385"/>
                      <a:pt x="2863602" y="2160191"/>
                    </a:cubicBezTo>
                    <a:cubicBezTo>
                      <a:pt x="2876302" y="2133997"/>
                      <a:pt x="2897733" y="2149079"/>
                      <a:pt x="2920752" y="2098279"/>
                    </a:cubicBezTo>
                    <a:cubicBezTo>
                      <a:pt x="2943771" y="2047479"/>
                      <a:pt x="2978695" y="1938735"/>
                      <a:pt x="3001714" y="1855391"/>
                    </a:cubicBezTo>
                    <a:cubicBezTo>
                      <a:pt x="3024733" y="1772047"/>
                      <a:pt x="3048545" y="1660129"/>
                      <a:pt x="3058864" y="1598216"/>
                    </a:cubicBezTo>
                    <a:cubicBezTo>
                      <a:pt x="3069183" y="1536303"/>
                      <a:pt x="3071564" y="1520428"/>
                      <a:pt x="3063627" y="1483916"/>
                    </a:cubicBezTo>
                    <a:cubicBezTo>
                      <a:pt x="3055690" y="1447404"/>
                      <a:pt x="3028702" y="1404541"/>
                      <a:pt x="3011239" y="1379141"/>
                    </a:cubicBezTo>
                    <a:cubicBezTo>
                      <a:pt x="2993776" y="1353741"/>
                      <a:pt x="2969171" y="1355329"/>
                      <a:pt x="2958852" y="1331516"/>
                    </a:cubicBezTo>
                    <a:cubicBezTo>
                      <a:pt x="2948533" y="1307704"/>
                      <a:pt x="2949327" y="1271191"/>
                      <a:pt x="2949327" y="1236266"/>
                    </a:cubicBezTo>
                    <a:cubicBezTo>
                      <a:pt x="2949327" y="1201341"/>
                      <a:pt x="2949327" y="1152922"/>
                      <a:pt x="2958852" y="1121966"/>
                    </a:cubicBezTo>
                    <a:cubicBezTo>
                      <a:pt x="2968377" y="1091010"/>
                      <a:pt x="2985839" y="1066404"/>
                      <a:pt x="3006477" y="1050529"/>
                    </a:cubicBezTo>
                    <a:cubicBezTo>
                      <a:pt x="3021955" y="1038623"/>
                      <a:pt x="3041898" y="1001267"/>
                      <a:pt x="3062288" y="1005769"/>
                    </a:cubicBezTo>
                    <a:close/>
                    <a:moveTo>
                      <a:pt x="1814660" y="0"/>
                    </a:moveTo>
                    <a:lnTo>
                      <a:pt x="1957138" y="1191"/>
                    </a:lnTo>
                    <a:cubicBezTo>
                      <a:pt x="2036513" y="2249"/>
                      <a:pt x="2083080" y="133"/>
                      <a:pt x="2153988" y="20241"/>
                    </a:cubicBezTo>
                    <a:cubicBezTo>
                      <a:pt x="2224896" y="40349"/>
                      <a:pt x="2301096" y="69983"/>
                      <a:pt x="2382588" y="121841"/>
                    </a:cubicBezTo>
                    <a:cubicBezTo>
                      <a:pt x="2464080" y="173699"/>
                      <a:pt x="2548747" y="236141"/>
                      <a:pt x="2642938" y="331391"/>
                    </a:cubicBezTo>
                    <a:cubicBezTo>
                      <a:pt x="2737129" y="426641"/>
                      <a:pt x="2877888" y="601266"/>
                      <a:pt x="2947738" y="693341"/>
                    </a:cubicBezTo>
                    <a:cubicBezTo>
                      <a:pt x="3017588" y="785416"/>
                      <a:pt x="3051455" y="831983"/>
                      <a:pt x="3062038" y="883841"/>
                    </a:cubicBezTo>
                    <a:cubicBezTo>
                      <a:pt x="3072621" y="935699"/>
                      <a:pt x="3037696" y="974858"/>
                      <a:pt x="3011238" y="1004491"/>
                    </a:cubicBezTo>
                    <a:cubicBezTo>
                      <a:pt x="2984780" y="1034124"/>
                      <a:pt x="2933980" y="1062699"/>
                      <a:pt x="2903288" y="1061641"/>
                    </a:cubicBezTo>
                    <a:cubicBezTo>
                      <a:pt x="2872596" y="1060583"/>
                      <a:pt x="2868363" y="1038358"/>
                      <a:pt x="2827088" y="998141"/>
                    </a:cubicBezTo>
                    <a:cubicBezTo>
                      <a:pt x="2785813" y="957924"/>
                      <a:pt x="2735013" y="874316"/>
                      <a:pt x="2655638" y="820341"/>
                    </a:cubicBezTo>
                    <a:cubicBezTo>
                      <a:pt x="2576263" y="766366"/>
                      <a:pt x="2456671" y="698633"/>
                      <a:pt x="2350838" y="674291"/>
                    </a:cubicBezTo>
                    <a:cubicBezTo>
                      <a:pt x="2245005" y="649949"/>
                      <a:pt x="2004008" y="658416"/>
                      <a:pt x="2020638" y="674291"/>
                    </a:cubicBezTo>
                    <a:cubicBezTo>
                      <a:pt x="2037268" y="690166"/>
                      <a:pt x="2322805" y="697365"/>
                      <a:pt x="2450619" y="769542"/>
                    </a:cubicBezTo>
                    <a:cubicBezTo>
                      <a:pt x="2578433" y="841719"/>
                      <a:pt x="2592091" y="839501"/>
                      <a:pt x="2660171" y="895090"/>
                    </a:cubicBezTo>
                    <a:cubicBezTo>
                      <a:pt x="2728251" y="950679"/>
                      <a:pt x="2812957" y="1052543"/>
                      <a:pt x="2859098" y="1103077"/>
                    </a:cubicBezTo>
                    <a:cubicBezTo>
                      <a:pt x="2840639" y="1173982"/>
                      <a:pt x="2842709" y="1151206"/>
                      <a:pt x="2830884" y="1212445"/>
                    </a:cubicBezTo>
                    <a:cubicBezTo>
                      <a:pt x="2856921" y="1275211"/>
                      <a:pt x="2830896" y="1445184"/>
                      <a:pt x="2830884" y="1445256"/>
                    </a:cubicBezTo>
                    <a:cubicBezTo>
                      <a:pt x="2830987" y="1445263"/>
                      <a:pt x="2939795" y="1453141"/>
                      <a:pt x="2939795" y="1531580"/>
                    </a:cubicBezTo>
                    <a:cubicBezTo>
                      <a:pt x="2939795" y="1610041"/>
                      <a:pt x="2823824" y="2041512"/>
                      <a:pt x="2823781" y="2041674"/>
                    </a:cubicBezTo>
                    <a:cubicBezTo>
                      <a:pt x="2823748" y="2041731"/>
                      <a:pt x="2792983" y="2093987"/>
                      <a:pt x="2757487" y="2086142"/>
                    </a:cubicBezTo>
                    <a:cubicBezTo>
                      <a:pt x="2719935" y="2402501"/>
                      <a:pt x="2591644" y="2600616"/>
                      <a:pt x="2480886" y="2698176"/>
                    </a:cubicBezTo>
                    <a:cubicBezTo>
                      <a:pt x="2497333" y="2737923"/>
                      <a:pt x="2509017" y="2787194"/>
                      <a:pt x="2530227" y="2817416"/>
                    </a:cubicBezTo>
                    <a:lnTo>
                      <a:pt x="2592139" y="2874566"/>
                    </a:lnTo>
                    <a:lnTo>
                      <a:pt x="2658814" y="2884091"/>
                    </a:lnTo>
                    <a:lnTo>
                      <a:pt x="2682627" y="2912666"/>
                    </a:lnTo>
                    <a:lnTo>
                      <a:pt x="2749302" y="3079354"/>
                    </a:lnTo>
                    <a:lnTo>
                      <a:pt x="2844552" y="3174604"/>
                    </a:lnTo>
                    <a:lnTo>
                      <a:pt x="2939802" y="3207941"/>
                    </a:lnTo>
                    <a:lnTo>
                      <a:pt x="3282702" y="3317479"/>
                    </a:lnTo>
                    <a:lnTo>
                      <a:pt x="3658939" y="3493691"/>
                    </a:lnTo>
                    <a:lnTo>
                      <a:pt x="3868489" y="3641329"/>
                    </a:lnTo>
                    <a:cubicBezTo>
                      <a:pt x="3879602" y="3684191"/>
                      <a:pt x="3906589" y="3708004"/>
                      <a:pt x="3901827" y="3769916"/>
                    </a:cubicBezTo>
                    <a:cubicBezTo>
                      <a:pt x="3909764" y="3830241"/>
                      <a:pt x="3898652" y="3938191"/>
                      <a:pt x="3878014" y="4027091"/>
                    </a:cubicBezTo>
                    <a:cubicBezTo>
                      <a:pt x="3855789" y="4119166"/>
                      <a:pt x="3820864" y="4166791"/>
                      <a:pt x="3792289" y="4236641"/>
                    </a:cubicBezTo>
                    <a:lnTo>
                      <a:pt x="3620839" y="4598591"/>
                    </a:lnTo>
                    <a:lnTo>
                      <a:pt x="3473202" y="4760516"/>
                    </a:lnTo>
                    <a:cubicBezTo>
                      <a:pt x="2419193" y="4883157"/>
                      <a:pt x="1553862" y="4873723"/>
                      <a:pt x="339477" y="4760516"/>
                    </a:cubicBezTo>
                    <a:lnTo>
                      <a:pt x="163264" y="4436666"/>
                    </a:lnTo>
                    <a:lnTo>
                      <a:pt x="58489" y="4141391"/>
                    </a:lnTo>
                    <a:cubicBezTo>
                      <a:pt x="39439" y="4046141"/>
                      <a:pt x="14039" y="3992166"/>
                      <a:pt x="1339" y="3855641"/>
                    </a:cubicBezTo>
                    <a:cubicBezTo>
                      <a:pt x="-3423" y="3795316"/>
                      <a:pt x="4514" y="3744516"/>
                      <a:pt x="25152" y="3703241"/>
                    </a:cubicBezTo>
                    <a:lnTo>
                      <a:pt x="220414" y="3584179"/>
                    </a:lnTo>
                    <a:lnTo>
                      <a:pt x="534739" y="3450829"/>
                    </a:lnTo>
                    <a:lnTo>
                      <a:pt x="934789" y="3293666"/>
                    </a:lnTo>
                    <a:lnTo>
                      <a:pt x="1134814" y="3217466"/>
                    </a:lnTo>
                    <a:cubicBezTo>
                      <a:pt x="1234827" y="3090466"/>
                      <a:pt x="1241971" y="3068241"/>
                      <a:pt x="1277689" y="2950766"/>
                    </a:cubicBezTo>
                    <a:lnTo>
                      <a:pt x="1372939" y="2888854"/>
                    </a:lnTo>
                    <a:lnTo>
                      <a:pt x="1444377" y="2750741"/>
                    </a:lnTo>
                    <a:lnTo>
                      <a:pt x="1430089" y="2665016"/>
                    </a:lnTo>
                    <a:lnTo>
                      <a:pt x="1433678" y="2655556"/>
                    </a:lnTo>
                    <a:cubicBezTo>
                      <a:pt x="1422983" y="2644679"/>
                      <a:pt x="1415776" y="2635961"/>
                      <a:pt x="1412671" y="2630242"/>
                    </a:cubicBezTo>
                    <a:cubicBezTo>
                      <a:pt x="1381893" y="2577926"/>
                      <a:pt x="1178275" y="2345112"/>
                      <a:pt x="1171172" y="2059985"/>
                    </a:cubicBezTo>
                    <a:cubicBezTo>
                      <a:pt x="1071731" y="2052136"/>
                      <a:pt x="1014908" y="1764391"/>
                      <a:pt x="977027" y="1612672"/>
                    </a:cubicBezTo>
                    <a:cubicBezTo>
                      <a:pt x="946258" y="1484545"/>
                      <a:pt x="1052708" y="1487108"/>
                      <a:pt x="1052790" y="1487109"/>
                    </a:cubicBezTo>
                    <a:cubicBezTo>
                      <a:pt x="1052758" y="1487025"/>
                      <a:pt x="992834" y="1362590"/>
                      <a:pt x="1018186" y="1277790"/>
                    </a:cubicBezTo>
                    <a:cubicBezTo>
                      <a:pt x="962383" y="1308036"/>
                      <a:pt x="957154" y="1319916"/>
                      <a:pt x="934788" y="1341041"/>
                    </a:cubicBezTo>
                    <a:cubicBezTo>
                      <a:pt x="912422" y="1362166"/>
                      <a:pt x="899863" y="1373849"/>
                      <a:pt x="883988" y="1404541"/>
                    </a:cubicBezTo>
                    <a:cubicBezTo>
                      <a:pt x="868113" y="1435233"/>
                      <a:pt x="843771" y="1484974"/>
                      <a:pt x="839538" y="1525191"/>
                    </a:cubicBezTo>
                    <a:cubicBezTo>
                      <a:pt x="835305" y="1565408"/>
                      <a:pt x="850121" y="1595041"/>
                      <a:pt x="858588" y="1645841"/>
                    </a:cubicBezTo>
                    <a:cubicBezTo>
                      <a:pt x="867055" y="1696641"/>
                      <a:pt x="872346" y="1749558"/>
                      <a:pt x="890338" y="1829991"/>
                    </a:cubicBezTo>
                    <a:cubicBezTo>
                      <a:pt x="908330" y="1910424"/>
                      <a:pt x="940080" y="2067058"/>
                      <a:pt x="966538" y="2128441"/>
                    </a:cubicBezTo>
                    <a:cubicBezTo>
                      <a:pt x="992996" y="2189824"/>
                      <a:pt x="1026863" y="2164424"/>
                      <a:pt x="1049088" y="2198291"/>
                    </a:cubicBezTo>
                    <a:cubicBezTo>
                      <a:pt x="1071313" y="2232158"/>
                      <a:pt x="1071313" y="2270258"/>
                      <a:pt x="1099888" y="2331641"/>
                    </a:cubicBezTo>
                    <a:cubicBezTo>
                      <a:pt x="1128463" y="2393024"/>
                      <a:pt x="1191963" y="2503091"/>
                      <a:pt x="1220538" y="2566591"/>
                    </a:cubicBezTo>
                    <a:cubicBezTo>
                      <a:pt x="1249113" y="2630091"/>
                      <a:pt x="1286155" y="2681949"/>
                      <a:pt x="1271338" y="2712641"/>
                    </a:cubicBezTo>
                    <a:cubicBezTo>
                      <a:pt x="1256521" y="2743333"/>
                      <a:pt x="1188788" y="2740158"/>
                      <a:pt x="1131638" y="2750741"/>
                    </a:cubicBezTo>
                    <a:cubicBezTo>
                      <a:pt x="1074488" y="2761324"/>
                      <a:pt x="992996" y="2779316"/>
                      <a:pt x="928438" y="2776141"/>
                    </a:cubicBezTo>
                    <a:cubicBezTo>
                      <a:pt x="863880" y="2772966"/>
                      <a:pt x="788738" y="2762383"/>
                      <a:pt x="744288" y="2731691"/>
                    </a:cubicBezTo>
                    <a:cubicBezTo>
                      <a:pt x="699838" y="2700999"/>
                      <a:pt x="681846" y="2656549"/>
                      <a:pt x="661738" y="2591991"/>
                    </a:cubicBezTo>
                    <a:cubicBezTo>
                      <a:pt x="641630" y="2527433"/>
                      <a:pt x="627871" y="2439591"/>
                      <a:pt x="623638" y="2344341"/>
                    </a:cubicBezTo>
                    <a:cubicBezTo>
                      <a:pt x="619405" y="2249091"/>
                      <a:pt x="617288" y="2189824"/>
                      <a:pt x="636338" y="2020491"/>
                    </a:cubicBezTo>
                    <a:cubicBezTo>
                      <a:pt x="655388" y="1851158"/>
                      <a:pt x="681846" y="1561174"/>
                      <a:pt x="737938" y="1328341"/>
                    </a:cubicBezTo>
                    <a:cubicBezTo>
                      <a:pt x="794030" y="1095508"/>
                      <a:pt x="900921" y="794941"/>
                      <a:pt x="972888" y="623491"/>
                    </a:cubicBezTo>
                    <a:cubicBezTo>
                      <a:pt x="1044855" y="452041"/>
                      <a:pt x="1105180" y="380074"/>
                      <a:pt x="1169738" y="299641"/>
                    </a:cubicBezTo>
                    <a:cubicBezTo>
                      <a:pt x="1234296" y="219208"/>
                      <a:pt x="1299913" y="171583"/>
                      <a:pt x="1360238" y="140891"/>
                    </a:cubicBezTo>
                    <a:cubicBezTo>
                      <a:pt x="1420563" y="110199"/>
                      <a:pt x="1478771" y="136658"/>
                      <a:pt x="1531688" y="115491"/>
                    </a:cubicBezTo>
                    <a:cubicBezTo>
                      <a:pt x="1584605" y="94324"/>
                      <a:pt x="1605771" y="32941"/>
                      <a:pt x="1677738" y="13891"/>
                    </a:cubicBezTo>
                    <a:cubicBezTo>
                      <a:pt x="1713722" y="4366"/>
                      <a:pt x="1763728" y="926"/>
                      <a:pt x="1814660" y="0"/>
                    </a:cubicBezTo>
                    <a:close/>
                  </a:path>
                </a:pathLst>
              </a:custGeom>
              <a:grpFill/>
              <a:ln w="25400" cap="flat" cmpd="sng" algn="ctr">
                <a:noFill/>
                <a:prstDash val="solid"/>
              </a:ln>
              <a:effectLst/>
            </p:spPr>
            <p:txBody>
              <a:bodyPr rtlCol="0" anchor="ctr"/>
              <a:lstStyle/>
              <a:p>
                <a:pPr algn="ctr" defTabSz="913578">
                  <a:defRPr/>
                </a:pPr>
                <a:endParaRPr lang="en-US" sz="1797" kern="0" dirty="0">
                  <a:solidFill>
                    <a:srgbClr val="FFFFFF"/>
                  </a:solidFill>
                  <a:latin typeface="Segoe UI"/>
                </a:endParaRPr>
              </a:p>
            </p:txBody>
          </p:sp>
        </p:grpSp>
        <p:sp>
          <p:nvSpPr>
            <p:cNvPr id="604" name="TextBox 603">
              <a:extLst>
                <a:ext uri="{FF2B5EF4-FFF2-40B4-BE49-F238E27FC236}">
                  <a16:creationId xmlns:a16="http://schemas.microsoft.com/office/drawing/2014/main" id="{9F44EB91-49F9-4B50-92DF-0528938AC5E0}"/>
                </a:ext>
              </a:extLst>
            </p:cNvPr>
            <p:cNvSpPr txBox="1"/>
            <p:nvPr/>
          </p:nvSpPr>
          <p:spPr>
            <a:xfrm>
              <a:off x="9157603" y="2633130"/>
              <a:ext cx="699810" cy="231947"/>
            </a:xfrm>
            <a:prstGeom prst="rect">
              <a:avLst/>
            </a:prstGeom>
          </p:spPr>
          <p:txBody>
            <a:bodyPr vert="horz" wrap="none" lIns="0" tIns="0" rIns="0" bIns="0" rtlCol="0" anchor="t">
              <a:spAutoFit/>
            </a:bodyPr>
            <a:lstStyle>
              <a:defPPr>
                <a:defRPr lang="en-US"/>
              </a:defPPr>
              <a:lvl1pPr algn="ctr" defTabSz="1088105">
                <a:defRPr sz="1200">
                  <a:solidFill>
                    <a:srgbClr val="505050"/>
                  </a:solidFill>
                  <a:ea typeface="Segoe UI" pitchFamily="34" charset="0"/>
                  <a:cs typeface="Segoe UI" pitchFamily="34" charset="0"/>
                </a:defRPr>
              </a:lvl1pPr>
            </a:lstStyle>
            <a:p>
              <a:pPr defTabSz="1087779">
                <a:defRPr/>
              </a:pPr>
              <a:r>
                <a:rPr lang="en-US" kern="0" dirty="0">
                  <a:latin typeface="Segoe UI Semibold" panose="020B0702040204020203" pitchFamily="34" charset="0"/>
                  <a:cs typeface="Segoe UI Semibold" panose="020B0702040204020203" pitchFamily="34" charset="0"/>
                </a:rPr>
                <a:t>Partners</a:t>
              </a:r>
            </a:p>
          </p:txBody>
        </p:sp>
      </p:grpSp>
      <p:grpSp>
        <p:nvGrpSpPr>
          <p:cNvPr id="586" name="Group 585">
            <a:extLst>
              <a:ext uri="{FF2B5EF4-FFF2-40B4-BE49-F238E27FC236}">
                <a16:creationId xmlns:a16="http://schemas.microsoft.com/office/drawing/2014/main" id="{4C6C9711-F0D8-43BC-81C9-D25F81FDC991}"/>
              </a:ext>
            </a:extLst>
          </p:cNvPr>
          <p:cNvGrpSpPr/>
          <p:nvPr/>
        </p:nvGrpSpPr>
        <p:grpSpPr>
          <a:xfrm>
            <a:off x="1206683" y="1400415"/>
            <a:ext cx="651603" cy="543556"/>
            <a:chOff x="9113399" y="2182174"/>
            <a:chExt cx="788196" cy="682903"/>
          </a:xfrm>
        </p:grpSpPr>
        <p:grpSp>
          <p:nvGrpSpPr>
            <p:cNvPr id="592" name="Group 591">
              <a:extLst>
                <a:ext uri="{FF2B5EF4-FFF2-40B4-BE49-F238E27FC236}">
                  <a16:creationId xmlns:a16="http://schemas.microsoft.com/office/drawing/2014/main" id="{58348E10-DE3E-423F-BB15-58A3E4C2EF63}"/>
                </a:ext>
              </a:extLst>
            </p:cNvPr>
            <p:cNvGrpSpPr>
              <a:grpSpLocks noChangeAspect="1"/>
            </p:cNvGrpSpPr>
            <p:nvPr/>
          </p:nvGrpSpPr>
          <p:grpSpPr>
            <a:xfrm>
              <a:off x="9113399" y="2182174"/>
              <a:ext cx="788196" cy="376549"/>
              <a:chOff x="335107" y="1984056"/>
              <a:chExt cx="8623119" cy="4119564"/>
            </a:xfrm>
            <a:solidFill>
              <a:srgbClr val="7F7F7F"/>
            </a:solidFill>
          </p:grpSpPr>
          <p:sp>
            <p:nvSpPr>
              <p:cNvPr id="594" name="Freeform 216">
                <a:extLst>
                  <a:ext uri="{FF2B5EF4-FFF2-40B4-BE49-F238E27FC236}">
                    <a16:creationId xmlns:a16="http://schemas.microsoft.com/office/drawing/2014/main" id="{333701A2-E3A2-49C6-B104-7378168CD56E}"/>
                  </a:ext>
                </a:extLst>
              </p:cNvPr>
              <p:cNvSpPr/>
              <p:nvPr/>
            </p:nvSpPr>
            <p:spPr>
              <a:xfrm>
                <a:off x="5423935" y="2187537"/>
                <a:ext cx="1275676" cy="3054785"/>
              </a:xfrm>
              <a:custGeom>
                <a:avLst/>
                <a:gdLst/>
                <a:ahLst/>
                <a:cxnLst/>
                <a:rect l="l" t="t" r="r" b="b"/>
                <a:pathLst>
                  <a:path w="1275676" h="3054785">
                    <a:moveTo>
                      <a:pt x="909893" y="2571265"/>
                    </a:moveTo>
                    <a:cubicBezTo>
                      <a:pt x="927578" y="2591556"/>
                      <a:pt x="943146" y="2624131"/>
                      <a:pt x="953053" y="2679738"/>
                    </a:cubicBezTo>
                    <a:cubicBezTo>
                      <a:pt x="966614" y="2755857"/>
                      <a:pt x="1015135" y="2902136"/>
                      <a:pt x="1032104" y="3045768"/>
                    </a:cubicBezTo>
                    <a:lnTo>
                      <a:pt x="926033" y="3054785"/>
                    </a:lnTo>
                    <a:lnTo>
                      <a:pt x="843515" y="2994064"/>
                    </a:lnTo>
                    <a:lnTo>
                      <a:pt x="791128" y="2951202"/>
                    </a:lnTo>
                    <a:lnTo>
                      <a:pt x="789242" y="2950511"/>
                    </a:lnTo>
                    <a:cubicBezTo>
                      <a:pt x="821800" y="2828680"/>
                      <a:pt x="864407" y="2700040"/>
                      <a:pt x="909893" y="2571265"/>
                    </a:cubicBezTo>
                    <a:close/>
                    <a:moveTo>
                      <a:pt x="810922" y="2515507"/>
                    </a:moveTo>
                    <a:cubicBezTo>
                      <a:pt x="813163" y="2515338"/>
                      <a:pt x="815461" y="2515417"/>
                      <a:pt x="817564" y="2517542"/>
                    </a:cubicBezTo>
                    <a:cubicBezTo>
                      <a:pt x="792015" y="2589329"/>
                      <a:pt x="769100" y="2660102"/>
                      <a:pt x="749052" y="2731145"/>
                    </a:cubicBezTo>
                    <a:cubicBezTo>
                      <a:pt x="728674" y="2665687"/>
                      <a:pt x="718117" y="2603286"/>
                      <a:pt x="714164" y="2542305"/>
                    </a:cubicBezTo>
                    <a:cubicBezTo>
                      <a:pt x="724867" y="2542383"/>
                      <a:pt x="734802" y="2542128"/>
                      <a:pt x="743503" y="2541626"/>
                    </a:cubicBezTo>
                    <a:cubicBezTo>
                      <a:pt x="774459" y="2539840"/>
                      <a:pt x="790235" y="2517070"/>
                      <a:pt x="810922" y="2515507"/>
                    </a:cubicBezTo>
                    <a:close/>
                    <a:moveTo>
                      <a:pt x="396204" y="2451912"/>
                    </a:moveTo>
                    <a:cubicBezTo>
                      <a:pt x="411647" y="2483872"/>
                      <a:pt x="433855" y="2503483"/>
                      <a:pt x="462515" y="2517813"/>
                    </a:cubicBezTo>
                    <a:cubicBezTo>
                      <a:pt x="495852" y="2534482"/>
                      <a:pt x="539509" y="2532894"/>
                      <a:pt x="586340" y="2536863"/>
                    </a:cubicBezTo>
                    <a:cubicBezTo>
                      <a:pt x="606520" y="2538574"/>
                      <a:pt x="630828" y="2540136"/>
                      <a:pt x="655265" y="2541066"/>
                    </a:cubicBezTo>
                    <a:cubicBezTo>
                      <a:pt x="657458" y="2571620"/>
                      <a:pt x="660070" y="2600527"/>
                      <a:pt x="663066" y="2624898"/>
                    </a:cubicBezTo>
                    <a:cubicBezTo>
                      <a:pt x="668463" y="2668822"/>
                      <a:pt x="677606" y="2707999"/>
                      <a:pt x="686242" y="2744162"/>
                    </a:cubicBezTo>
                    <a:cubicBezTo>
                      <a:pt x="632838" y="2717984"/>
                      <a:pt x="514903" y="2670213"/>
                      <a:pt x="514903" y="2670213"/>
                    </a:cubicBezTo>
                    <a:lnTo>
                      <a:pt x="333928" y="2589251"/>
                    </a:lnTo>
                    <a:lnTo>
                      <a:pt x="323202" y="2584990"/>
                    </a:lnTo>
                    <a:lnTo>
                      <a:pt x="327453" y="2567034"/>
                    </a:lnTo>
                    <a:cubicBezTo>
                      <a:pt x="340667" y="2528713"/>
                      <a:pt x="369951" y="2489259"/>
                      <a:pt x="396204" y="2451912"/>
                    </a:cubicBezTo>
                    <a:close/>
                    <a:moveTo>
                      <a:pt x="356384" y="1755197"/>
                    </a:moveTo>
                    <a:lnTo>
                      <a:pt x="361013" y="1949619"/>
                    </a:lnTo>
                    <a:cubicBezTo>
                      <a:pt x="293278" y="2065222"/>
                      <a:pt x="276288" y="2307687"/>
                      <a:pt x="265731" y="2563792"/>
                    </a:cubicBezTo>
                    <a:cubicBezTo>
                      <a:pt x="245616" y="2556203"/>
                      <a:pt x="227467" y="2546676"/>
                      <a:pt x="210103" y="2527338"/>
                    </a:cubicBezTo>
                    <a:cubicBezTo>
                      <a:pt x="175178" y="2488444"/>
                      <a:pt x="152159" y="2401925"/>
                      <a:pt x="124378" y="2355888"/>
                    </a:cubicBezTo>
                    <a:cubicBezTo>
                      <a:pt x="96597" y="2309851"/>
                      <a:pt x="64052" y="2271750"/>
                      <a:pt x="43415" y="2251113"/>
                    </a:cubicBezTo>
                    <a:cubicBezTo>
                      <a:pt x="22778" y="2230476"/>
                      <a:pt x="-4209" y="2253494"/>
                      <a:pt x="553" y="2232063"/>
                    </a:cubicBezTo>
                    <a:cubicBezTo>
                      <a:pt x="5315" y="2210632"/>
                      <a:pt x="48177" y="2180470"/>
                      <a:pt x="71990" y="2122526"/>
                    </a:cubicBezTo>
                    <a:cubicBezTo>
                      <a:pt x="90351" y="2077850"/>
                      <a:pt x="107767" y="1994009"/>
                      <a:pt x="126665" y="1932199"/>
                    </a:cubicBezTo>
                    <a:lnTo>
                      <a:pt x="273061" y="1880184"/>
                    </a:lnTo>
                    <a:cubicBezTo>
                      <a:pt x="305463" y="1861666"/>
                      <a:pt x="310089" y="1787599"/>
                      <a:pt x="356384" y="1755197"/>
                    </a:cubicBezTo>
                    <a:close/>
                    <a:moveTo>
                      <a:pt x="537693" y="744"/>
                    </a:moveTo>
                    <a:cubicBezTo>
                      <a:pt x="581411" y="-1830"/>
                      <a:pt x="633485" y="2027"/>
                      <a:pt x="695853" y="16174"/>
                    </a:cubicBezTo>
                    <a:cubicBezTo>
                      <a:pt x="758217" y="30318"/>
                      <a:pt x="852732" y="64395"/>
                      <a:pt x="911876" y="85609"/>
                    </a:cubicBezTo>
                    <a:cubicBezTo>
                      <a:pt x="971031" y="106829"/>
                      <a:pt x="1018605" y="128046"/>
                      <a:pt x="1050752" y="143477"/>
                    </a:cubicBezTo>
                    <a:cubicBezTo>
                      <a:pt x="1082899" y="158907"/>
                      <a:pt x="1079686" y="149264"/>
                      <a:pt x="1104760" y="178194"/>
                    </a:cubicBezTo>
                    <a:cubicBezTo>
                      <a:pt x="1129837" y="207128"/>
                      <a:pt x="1173554" y="261132"/>
                      <a:pt x="1201202" y="317070"/>
                    </a:cubicBezTo>
                    <a:cubicBezTo>
                      <a:pt x="1228849" y="373008"/>
                      <a:pt x="1259066" y="453372"/>
                      <a:pt x="1270636" y="513810"/>
                    </a:cubicBezTo>
                    <a:cubicBezTo>
                      <a:pt x="1275863" y="541109"/>
                      <a:pt x="1276368" y="577588"/>
                      <a:pt x="1275078" y="609376"/>
                    </a:cubicBezTo>
                    <a:cubicBezTo>
                      <a:pt x="1207919" y="610739"/>
                      <a:pt x="1256062" y="594379"/>
                      <a:pt x="1219753" y="593763"/>
                    </a:cubicBezTo>
                    <a:cubicBezTo>
                      <a:pt x="1172922" y="592969"/>
                      <a:pt x="1123709" y="585032"/>
                      <a:pt x="1086403" y="598526"/>
                    </a:cubicBezTo>
                    <a:cubicBezTo>
                      <a:pt x="1049097" y="612020"/>
                      <a:pt x="1027665" y="660439"/>
                      <a:pt x="995915" y="674726"/>
                    </a:cubicBezTo>
                    <a:cubicBezTo>
                      <a:pt x="964165" y="689014"/>
                      <a:pt x="933209" y="669964"/>
                      <a:pt x="895903" y="684251"/>
                    </a:cubicBezTo>
                    <a:cubicBezTo>
                      <a:pt x="858597" y="698539"/>
                      <a:pt x="813353" y="722351"/>
                      <a:pt x="772078" y="760451"/>
                    </a:cubicBezTo>
                    <a:cubicBezTo>
                      <a:pt x="730803" y="798551"/>
                      <a:pt x="685559" y="851732"/>
                      <a:pt x="648253" y="912851"/>
                    </a:cubicBezTo>
                    <a:cubicBezTo>
                      <a:pt x="610947" y="973970"/>
                      <a:pt x="579196" y="1048582"/>
                      <a:pt x="548240" y="1127163"/>
                    </a:cubicBezTo>
                    <a:cubicBezTo>
                      <a:pt x="517284" y="1205744"/>
                      <a:pt x="486327" y="1295438"/>
                      <a:pt x="462515" y="1384338"/>
                    </a:cubicBezTo>
                    <a:cubicBezTo>
                      <a:pt x="438702" y="1473238"/>
                      <a:pt x="418065" y="1592300"/>
                      <a:pt x="405365" y="1660563"/>
                    </a:cubicBezTo>
                    <a:cubicBezTo>
                      <a:pt x="401622" y="1680683"/>
                      <a:pt x="398982" y="1695769"/>
                      <a:pt x="397031" y="1708455"/>
                    </a:cubicBezTo>
                    <a:lnTo>
                      <a:pt x="379531" y="1681708"/>
                    </a:lnTo>
                    <a:cubicBezTo>
                      <a:pt x="365064" y="1654708"/>
                      <a:pt x="382424" y="1649399"/>
                      <a:pt x="362170" y="1615163"/>
                    </a:cubicBezTo>
                    <a:cubicBezTo>
                      <a:pt x="346337" y="1588394"/>
                      <a:pt x="308388" y="1553075"/>
                      <a:pt x="279806" y="1511723"/>
                    </a:cubicBezTo>
                    <a:cubicBezTo>
                      <a:pt x="283185" y="1487626"/>
                      <a:pt x="285447" y="1466602"/>
                      <a:pt x="286303" y="1451013"/>
                    </a:cubicBezTo>
                    <a:cubicBezTo>
                      <a:pt x="290272" y="1378782"/>
                      <a:pt x="259315" y="1385926"/>
                      <a:pt x="248203" y="1351001"/>
                    </a:cubicBezTo>
                    <a:cubicBezTo>
                      <a:pt x="237090" y="1316076"/>
                      <a:pt x="217247" y="1279563"/>
                      <a:pt x="219628" y="1241463"/>
                    </a:cubicBezTo>
                    <a:cubicBezTo>
                      <a:pt x="222009" y="1203363"/>
                      <a:pt x="252171" y="1173995"/>
                      <a:pt x="262490" y="1122401"/>
                    </a:cubicBezTo>
                    <a:cubicBezTo>
                      <a:pt x="272809" y="1070807"/>
                      <a:pt x="281540" y="992226"/>
                      <a:pt x="281540" y="931901"/>
                    </a:cubicBezTo>
                    <a:cubicBezTo>
                      <a:pt x="281540" y="871576"/>
                      <a:pt x="281540" y="816807"/>
                      <a:pt x="262490" y="760451"/>
                    </a:cubicBezTo>
                    <a:cubicBezTo>
                      <a:pt x="251559" y="728114"/>
                      <a:pt x="235402" y="693947"/>
                      <a:pt x="214848" y="662136"/>
                    </a:cubicBezTo>
                    <a:lnTo>
                      <a:pt x="267253" y="612813"/>
                    </a:lnTo>
                    <a:lnTo>
                      <a:pt x="500615" y="488988"/>
                    </a:lnTo>
                    <a:lnTo>
                      <a:pt x="786365" y="479463"/>
                    </a:lnTo>
                    <a:lnTo>
                      <a:pt x="486328" y="446126"/>
                    </a:lnTo>
                    <a:lnTo>
                      <a:pt x="286303" y="531851"/>
                    </a:lnTo>
                    <a:lnTo>
                      <a:pt x="188793" y="624717"/>
                    </a:lnTo>
                    <a:cubicBezTo>
                      <a:pt x="183072" y="613128"/>
                      <a:pt x="175276" y="603190"/>
                      <a:pt x="167240" y="593763"/>
                    </a:cubicBezTo>
                    <a:cubicBezTo>
                      <a:pt x="128567" y="548397"/>
                      <a:pt x="168636" y="489094"/>
                      <a:pt x="42501" y="473501"/>
                    </a:cubicBezTo>
                    <a:cubicBezTo>
                      <a:pt x="46825" y="429492"/>
                      <a:pt x="64428" y="405518"/>
                      <a:pt x="82492" y="363364"/>
                    </a:cubicBezTo>
                    <a:cubicBezTo>
                      <a:pt x="103709" y="313853"/>
                      <a:pt x="135213" y="245058"/>
                      <a:pt x="167360" y="201341"/>
                    </a:cubicBezTo>
                    <a:cubicBezTo>
                      <a:pt x="199507" y="157620"/>
                      <a:pt x="231011" y="129333"/>
                      <a:pt x="275376" y="101043"/>
                    </a:cubicBezTo>
                    <a:cubicBezTo>
                      <a:pt x="319733" y="72752"/>
                      <a:pt x="389818" y="48322"/>
                      <a:pt x="433535" y="31608"/>
                    </a:cubicBezTo>
                    <a:cubicBezTo>
                      <a:pt x="477256" y="14888"/>
                      <a:pt x="493969" y="3314"/>
                      <a:pt x="537693" y="744"/>
                    </a:cubicBezTo>
                    <a:close/>
                  </a:path>
                </a:pathLst>
              </a:custGeom>
              <a:grpFill/>
              <a:ln w="25400" cap="flat" cmpd="sng" algn="ctr">
                <a:noFill/>
                <a:prstDash val="solid"/>
              </a:ln>
              <a:effectLst/>
            </p:spPr>
            <p:txBody>
              <a:bodyPr rtlCol="0" anchor="ctr"/>
              <a:lstStyle/>
              <a:p>
                <a:pPr algn="ctr" defTabSz="913578">
                  <a:defRPr/>
                </a:pPr>
                <a:endParaRPr lang="en-US" sz="1797" kern="0">
                  <a:solidFill>
                    <a:srgbClr val="FFFFFF"/>
                  </a:solidFill>
                  <a:latin typeface="Segoe UI"/>
                </a:endParaRPr>
              </a:p>
            </p:txBody>
          </p:sp>
          <p:sp>
            <p:nvSpPr>
              <p:cNvPr id="595" name="Man's Body">
                <a:extLst>
                  <a:ext uri="{FF2B5EF4-FFF2-40B4-BE49-F238E27FC236}">
                    <a16:creationId xmlns:a16="http://schemas.microsoft.com/office/drawing/2014/main" id="{180DAEC4-658D-470A-BC8B-D1A1D28EF3C2}"/>
                  </a:ext>
                </a:extLst>
              </p:cNvPr>
              <p:cNvSpPr>
                <a:spLocks/>
              </p:cNvSpPr>
              <p:nvPr/>
            </p:nvSpPr>
            <p:spPr bwMode="auto">
              <a:xfrm>
                <a:off x="4286421" y="1984056"/>
                <a:ext cx="1109019" cy="638618"/>
              </a:xfrm>
              <a:custGeom>
                <a:avLst/>
                <a:gdLst/>
                <a:ahLst/>
                <a:cxnLst/>
                <a:rect l="l" t="t" r="r" b="b"/>
                <a:pathLst>
                  <a:path w="1109019" h="638618">
                    <a:moveTo>
                      <a:pt x="527057" y="506"/>
                    </a:moveTo>
                    <a:cubicBezTo>
                      <a:pt x="648121" y="6732"/>
                      <a:pt x="780445" y="70158"/>
                      <a:pt x="889294" y="181665"/>
                    </a:cubicBezTo>
                    <a:cubicBezTo>
                      <a:pt x="1063451" y="360077"/>
                      <a:pt x="1112509" y="452740"/>
                      <a:pt x="1108830" y="488699"/>
                    </a:cubicBezTo>
                    <a:cubicBezTo>
                      <a:pt x="1105150" y="523275"/>
                      <a:pt x="1069584" y="571681"/>
                      <a:pt x="1038921" y="564767"/>
                    </a:cubicBezTo>
                    <a:cubicBezTo>
                      <a:pt x="1007034" y="557851"/>
                      <a:pt x="1003354" y="527424"/>
                      <a:pt x="986183" y="510828"/>
                    </a:cubicBezTo>
                    <a:cubicBezTo>
                      <a:pt x="782591" y="317203"/>
                      <a:pt x="618246" y="347629"/>
                      <a:pt x="550790" y="371142"/>
                    </a:cubicBezTo>
                    <a:cubicBezTo>
                      <a:pt x="760068" y="390992"/>
                      <a:pt x="912422" y="533945"/>
                      <a:pt x="972020" y="608911"/>
                    </a:cubicBezTo>
                    <a:cubicBezTo>
                      <a:pt x="891545" y="581606"/>
                      <a:pt x="869616" y="586916"/>
                      <a:pt x="814218" y="578169"/>
                    </a:cubicBezTo>
                    <a:cubicBezTo>
                      <a:pt x="753893" y="568644"/>
                      <a:pt x="686424" y="559913"/>
                      <a:pt x="633243" y="559119"/>
                    </a:cubicBezTo>
                    <a:cubicBezTo>
                      <a:pt x="580062" y="558325"/>
                      <a:pt x="534818" y="561501"/>
                      <a:pt x="495131" y="573407"/>
                    </a:cubicBezTo>
                    <a:cubicBezTo>
                      <a:pt x="455444" y="585313"/>
                      <a:pt x="430837" y="621032"/>
                      <a:pt x="395118" y="630557"/>
                    </a:cubicBezTo>
                    <a:cubicBezTo>
                      <a:pt x="359399" y="640082"/>
                      <a:pt x="312568" y="642463"/>
                      <a:pt x="280818" y="630557"/>
                    </a:cubicBezTo>
                    <a:cubicBezTo>
                      <a:pt x="249068" y="618651"/>
                      <a:pt x="230812" y="588488"/>
                      <a:pt x="204618" y="559119"/>
                    </a:cubicBezTo>
                    <a:cubicBezTo>
                      <a:pt x="178424" y="529750"/>
                      <a:pt x="156200" y="486888"/>
                      <a:pt x="123656" y="454344"/>
                    </a:cubicBezTo>
                    <a:cubicBezTo>
                      <a:pt x="91112" y="421800"/>
                      <a:pt x="52218" y="394019"/>
                      <a:pt x="9356" y="363857"/>
                    </a:cubicBezTo>
                    <a:cubicBezTo>
                      <a:pt x="6109" y="361572"/>
                      <a:pt x="2861" y="359100"/>
                      <a:pt x="0" y="355996"/>
                    </a:cubicBezTo>
                    <a:cubicBezTo>
                      <a:pt x="20998" y="211335"/>
                      <a:pt x="96747" y="42345"/>
                      <a:pt x="328801" y="53043"/>
                    </a:cubicBezTo>
                    <a:cubicBezTo>
                      <a:pt x="385831" y="13626"/>
                      <a:pt x="454418" y="-3230"/>
                      <a:pt x="527057" y="50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rgbClr val="FFB900">
                    <a:satMod val="300000"/>
                  </a:srgbClr>
                </a:contourClr>
              </a:sp3d>
              <a:extLst/>
            </p:spPr>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596" name="Man's Body">
                <a:extLst>
                  <a:ext uri="{FF2B5EF4-FFF2-40B4-BE49-F238E27FC236}">
                    <a16:creationId xmlns:a16="http://schemas.microsoft.com/office/drawing/2014/main" id="{752C2808-E599-4EC0-AC82-3CCDA73B83BE}"/>
                  </a:ext>
                </a:extLst>
              </p:cNvPr>
              <p:cNvSpPr>
                <a:spLocks/>
              </p:cNvSpPr>
              <p:nvPr/>
            </p:nvSpPr>
            <p:spPr bwMode="auto">
              <a:xfrm>
                <a:off x="1933544" y="2281603"/>
                <a:ext cx="1087125" cy="2339128"/>
              </a:xfrm>
              <a:custGeom>
                <a:avLst/>
                <a:gdLst/>
                <a:ahLst/>
                <a:cxnLst/>
                <a:rect l="l" t="t" r="r" b="b"/>
                <a:pathLst>
                  <a:path w="1087125" h="2339128">
                    <a:moveTo>
                      <a:pt x="148114" y="1900284"/>
                    </a:moveTo>
                    <a:cubicBezTo>
                      <a:pt x="220874" y="1957568"/>
                      <a:pt x="348888" y="2049369"/>
                      <a:pt x="516243" y="2068258"/>
                    </a:cubicBezTo>
                    <a:lnTo>
                      <a:pt x="495331" y="2090372"/>
                    </a:lnTo>
                    <a:cubicBezTo>
                      <a:pt x="449294" y="2138791"/>
                      <a:pt x="388175" y="2211022"/>
                      <a:pt x="338169" y="2252297"/>
                    </a:cubicBezTo>
                    <a:cubicBezTo>
                      <a:pt x="288163" y="2293572"/>
                      <a:pt x="225456" y="2347547"/>
                      <a:pt x="195294" y="2338022"/>
                    </a:cubicBezTo>
                    <a:cubicBezTo>
                      <a:pt x="165132" y="2328497"/>
                      <a:pt x="175450" y="2234834"/>
                      <a:pt x="157194" y="2195147"/>
                    </a:cubicBezTo>
                    <a:cubicBezTo>
                      <a:pt x="138938" y="2155460"/>
                      <a:pt x="111950" y="2112597"/>
                      <a:pt x="85756" y="2099897"/>
                    </a:cubicBezTo>
                    <a:cubicBezTo>
                      <a:pt x="59562" y="2087197"/>
                      <a:pt x="-1556" y="2133234"/>
                      <a:pt x="31" y="2118947"/>
                    </a:cubicBezTo>
                    <a:cubicBezTo>
                      <a:pt x="1618" y="2104660"/>
                      <a:pt x="65912" y="2063384"/>
                      <a:pt x="95281" y="2014172"/>
                    </a:cubicBezTo>
                    <a:cubicBezTo>
                      <a:pt x="112544" y="1985245"/>
                      <a:pt x="132002" y="1941507"/>
                      <a:pt x="148114" y="1900284"/>
                    </a:cubicBezTo>
                    <a:close/>
                    <a:moveTo>
                      <a:pt x="300366" y="1598710"/>
                    </a:moveTo>
                    <a:cubicBezTo>
                      <a:pt x="322928" y="1593356"/>
                      <a:pt x="499132" y="1755026"/>
                      <a:pt x="596386" y="1777949"/>
                    </a:cubicBezTo>
                    <a:lnTo>
                      <a:pt x="614394" y="1795097"/>
                    </a:lnTo>
                    <a:cubicBezTo>
                      <a:pt x="638206" y="1830816"/>
                      <a:pt x="647731" y="1881616"/>
                      <a:pt x="647731" y="1909397"/>
                    </a:cubicBezTo>
                    <a:cubicBezTo>
                      <a:pt x="647731" y="1937178"/>
                      <a:pt x="639794" y="1931622"/>
                      <a:pt x="614394" y="1961785"/>
                    </a:cubicBezTo>
                    <a:cubicBezTo>
                      <a:pt x="607207" y="1970320"/>
                      <a:pt x="598240" y="1980444"/>
                      <a:pt x="588003" y="1991644"/>
                    </a:cubicBezTo>
                    <a:cubicBezTo>
                      <a:pt x="401521" y="1979273"/>
                      <a:pt x="213522" y="1820684"/>
                      <a:pt x="209777" y="1788323"/>
                    </a:cubicBezTo>
                    <a:cubicBezTo>
                      <a:pt x="205894" y="1753317"/>
                      <a:pt x="274484" y="1603086"/>
                      <a:pt x="300366" y="1598710"/>
                    </a:cubicBezTo>
                    <a:close/>
                    <a:moveTo>
                      <a:pt x="594957" y="534"/>
                    </a:moveTo>
                    <a:cubicBezTo>
                      <a:pt x="722687" y="7103"/>
                      <a:pt x="862297" y="74022"/>
                      <a:pt x="977139" y="191669"/>
                    </a:cubicBezTo>
                    <a:cubicBezTo>
                      <a:pt x="1021009" y="236610"/>
                      <a:pt x="1057355" y="276395"/>
                      <a:pt x="1087125" y="311518"/>
                    </a:cubicBezTo>
                    <a:cubicBezTo>
                      <a:pt x="1049367" y="328933"/>
                      <a:pt x="1022410" y="352709"/>
                      <a:pt x="981106" y="366347"/>
                    </a:cubicBezTo>
                    <a:cubicBezTo>
                      <a:pt x="944893" y="378304"/>
                      <a:pt x="910738" y="390997"/>
                      <a:pt x="878907" y="405059"/>
                    </a:cubicBezTo>
                    <a:cubicBezTo>
                      <a:pt x="759679" y="355398"/>
                      <a:pt x="667278" y="375098"/>
                      <a:pt x="619996" y="391578"/>
                    </a:cubicBezTo>
                    <a:cubicBezTo>
                      <a:pt x="686882" y="397922"/>
                      <a:pt x="748256" y="416185"/>
                      <a:pt x="802895" y="441165"/>
                    </a:cubicBezTo>
                    <a:lnTo>
                      <a:pt x="762031" y="461597"/>
                    </a:lnTo>
                    <a:cubicBezTo>
                      <a:pt x="700119" y="497316"/>
                      <a:pt x="650112" y="528273"/>
                      <a:pt x="609631" y="580660"/>
                    </a:cubicBezTo>
                    <a:cubicBezTo>
                      <a:pt x="569150" y="633047"/>
                      <a:pt x="541369" y="702897"/>
                      <a:pt x="519144" y="775922"/>
                    </a:cubicBezTo>
                    <a:cubicBezTo>
                      <a:pt x="496919" y="848947"/>
                      <a:pt x="482631" y="944991"/>
                      <a:pt x="476281" y="1018810"/>
                    </a:cubicBezTo>
                    <a:cubicBezTo>
                      <a:pt x="469931" y="1092629"/>
                      <a:pt x="479457" y="1144223"/>
                      <a:pt x="481044" y="1218835"/>
                    </a:cubicBezTo>
                    <a:cubicBezTo>
                      <a:pt x="482631" y="1293447"/>
                      <a:pt x="481837" y="1387110"/>
                      <a:pt x="485806" y="1466485"/>
                    </a:cubicBezTo>
                    <a:cubicBezTo>
                      <a:pt x="488264" y="1515644"/>
                      <a:pt x="486764" y="1570588"/>
                      <a:pt x="491052" y="1618253"/>
                    </a:cubicBezTo>
                    <a:cubicBezTo>
                      <a:pt x="410332" y="1566195"/>
                      <a:pt x="328150" y="1493901"/>
                      <a:pt x="318496" y="1475757"/>
                    </a:cubicBezTo>
                    <a:cubicBezTo>
                      <a:pt x="315899" y="1471251"/>
                      <a:pt x="311051" y="1464346"/>
                      <a:pt x="304709" y="1455294"/>
                    </a:cubicBezTo>
                    <a:cubicBezTo>
                      <a:pt x="315763" y="1411159"/>
                      <a:pt x="324775" y="1369039"/>
                      <a:pt x="328644" y="1342660"/>
                    </a:cubicBezTo>
                    <a:cubicBezTo>
                      <a:pt x="337375" y="1283129"/>
                      <a:pt x="327056" y="1275191"/>
                      <a:pt x="314356" y="1247410"/>
                    </a:cubicBezTo>
                    <a:cubicBezTo>
                      <a:pt x="301656" y="1219629"/>
                      <a:pt x="261969" y="1202959"/>
                      <a:pt x="252444" y="1175972"/>
                    </a:cubicBezTo>
                    <a:cubicBezTo>
                      <a:pt x="242919" y="1148985"/>
                      <a:pt x="260381" y="1112473"/>
                      <a:pt x="257206" y="1085485"/>
                    </a:cubicBezTo>
                    <a:cubicBezTo>
                      <a:pt x="254031" y="1058497"/>
                      <a:pt x="224663" y="1025953"/>
                      <a:pt x="233394" y="1014047"/>
                    </a:cubicBezTo>
                    <a:cubicBezTo>
                      <a:pt x="242125" y="1002141"/>
                      <a:pt x="284194" y="1028334"/>
                      <a:pt x="309594" y="1014047"/>
                    </a:cubicBezTo>
                    <a:cubicBezTo>
                      <a:pt x="334994" y="999760"/>
                      <a:pt x="373888" y="964834"/>
                      <a:pt x="385794" y="928322"/>
                    </a:cubicBezTo>
                    <a:cubicBezTo>
                      <a:pt x="397700" y="891810"/>
                      <a:pt x="396112" y="839422"/>
                      <a:pt x="381031" y="794972"/>
                    </a:cubicBezTo>
                    <a:cubicBezTo>
                      <a:pt x="365950" y="750522"/>
                      <a:pt x="332612" y="708453"/>
                      <a:pt x="295306" y="661622"/>
                    </a:cubicBezTo>
                    <a:cubicBezTo>
                      <a:pt x="258000" y="614791"/>
                      <a:pt x="208788" y="566372"/>
                      <a:pt x="157194" y="513985"/>
                    </a:cubicBezTo>
                    <a:cubicBezTo>
                      <a:pt x="115841" y="471996"/>
                      <a:pt x="97944" y="422357"/>
                      <a:pt x="38211" y="378976"/>
                    </a:cubicBezTo>
                    <a:cubicBezTo>
                      <a:pt x="59848" y="225643"/>
                      <a:pt x="139125" y="44593"/>
                      <a:pt x="385784" y="55964"/>
                    </a:cubicBezTo>
                    <a:cubicBezTo>
                      <a:pt x="445955" y="14377"/>
                      <a:pt x="518318" y="-3408"/>
                      <a:pt x="594957" y="534"/>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rgbClr val="FFB900">
                    <a:satMod val="300000"/>
                  </a:srgbClr>
                </a:contourClr>
              </a:sp3d>
              <a:extLst/>
            </p:spPr>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597" name="Man's Body">
                <a:extLst>
                  <a:ext uri="{FF2B5EF4-FFF2-40B4-BE49-F238E27FC236}">
                    <a16:creationId xmlns:a16="http://schemas.microsoft.com/office/drawing/2014/main" id="{477F0F94-258C-4A6C-BEC3-AEE33883F729}"/>
                  </a:ext>
                </a:extLst>
              </p:cNvPr>
              <p:cNvSpPr>
                <a:spLocks/>
              </p:cNvSpPr>
              <p:nvPr/>
            </p:nvSpPr>
            <p:spPr bwMode="auto">
              <a:xfrm>
                <a:off x="7167183" y="2655935"/>
                <a:ext cx="1791043" cy="3077332"/>
              </a:xfrm>
              <a:custGeom>
                <a:avLst/>
                <a:gdLst/>
                <a:ahLst/>
                <a:cxnLst/>
                <a:rect l="l" t="t" r="r" b="b"/>
                <a:pathLst>
                  <a:path w="1791043" h="3077332">
                    <a:moveTo>
                      <a:pt x="1025015" y="1789010"/>
                    </a:moveTo>
                    <a:cubicBezTo>
                      <a:pt x="1052456" y="1797149"/>
                      <a:pt x="1104448" y="2023401"/>
                      <a:pt x="1163660" y="2039679"/>
                    </a:cubicBezTo>
                    <a:cubicBezTo>
                      <a:pt x="1305194" y="2077117"/>
                      <a:pt x="1705242" y="2228494"/>
                      <a:pt x="1763012" y="2334297"/>
                    </a:cubicBezTo>
                    <a:cubicBezTo>
                      <a:pt x="1819336" y="2441727"/>
                      <a:pt x="1797673" y="2617520"/>
                      <a:pt x="1634476" y="2912138"/>
                    </a:cubicBezTo>
                    <a:cubicBezTo>
                      <a:pt x="1581040" y="2785176"/>
                      <a:pt x="1492942" y="2694024"/>
                      <a:pt x="1466947" y="2677746"/>
                    </a:cubicBezTo>
                    <a:cubicBezTo>
                      <a:pt x="1510273" y="2767271"/>
                      <a:pt x="1536270" y="2931671"/>
                      <a:pt x="1550711" y="3037473"/>
                    </a:cubicBezTo>
                    <a:cubicBezTo>
                      <a:pt x="1272518" y="3065184"/>
                      <a:pt x="1017016" y="3074577"/>
                      <a:pt x="836493" y="3077332"/>
                    </a:cubicBezTo>
                    <a:cubicBezTo>
                      <a:pt x="905753" y="2981037"/>
                      <a:pt x="872415" y="2957070"/>
                      <a:pt x="886206" y="2901903"/>
                    </a:cubicBezTo>
                    <a:cubicBezTo>
                      <a:pt x="901287" y="2841578"/>
                      <a:pt x="906844" y="2798715"/>
                      <a:pt x="905256" y="2744740"/>
                    </a:cubicBezTo>
                    <a:cubicBezTo>
                      <a:pt x="903669" y="2690765"/>
                      <a:pt x="915575" y="2629647"/>
                      <a:pt x="876681" y="2578053"/>
                    </a:cubicBezTo>
                    <a:cubicBezTo>
                      <a:pt x="837787" y="2526459"/>
                      <a:pt x="764762" y="2482009"/>
                      <a:pt x="671893" y="2435178"/>
                    </a:cubicBezTo>
                    <a:cubicBezTo>
                      <a:pt x="579024" y="2388347"/>
                      <a:pt x="408368" y="2336753"/>
                      <a:pt x="319468" y="2297065"/>
                    </a:cubicBezTo>
                    <a:cubicBezTo>
                      <a:pt x="230568" y="2257378"/>
                      <a:pt x="183737" y="2238328"/>
                      <a:pt x="138493" y="2197053"/>
                    </a:cubicBezTo>
                    <a:cubicBezTo>
                      <a:pt x="114008" y="2174716"/>
                      <a:pt x="89523" y="2140522"/>
                      <a:pt x="72566" y="2109744"/>
                    </a:cubicBezTo>
                    <a:cubicBezTo>
                      <a:pt x="161803" y="2180615"/>
                      <a:pt x="342491" y="2318445"/>
                      <a:pt x="583084" y="2314764"/>
                    </a:cubicBezTo>
                    <a:cubicBezTo>
                      <a:pt x="894952" y="2309883"/>
                      <a:pt x="961434" y="2134181"/>
                      <a:pt x="961470" y="2134087"/>
                    </a:cubicBezTo>
                    <a:cubicBezTo>
                      <a:pt x="961431" y="2134155"/>
                      <a:pt x="905040" y="2231748"/>
                      <a:pt x="600415" y="2225240"/>
                    </a:cubicBezTo>
                    <a:cubicBezTo>
                      <a:pt x="448124" y="2222935"/>
                      <a:pt x="290769" y="2127693"/>
                      <a:pt x="210656" y="2058477"/>
                    </a:cubicBezTo>
                    <a:cubicBezTo>
                      <a:pt x="247111" y="2063660"/>
                      <a:pt x="286103" y="2068919"/>
                      <a:pt x="314706" y="2068465"/>
                    </a:cubicBezTo>
                    <a:cubicBezTo>
                      <a:pt x="364712" y="2067671"/>
                      <a:pt x="409162" y="2072434"/>
                      <a:pt x="438531" y="2044653"/>
                    </a:cubicBezTo>
                    <a:cubicBezTo>
                      <a:pt x="462255" y="2022212"/>
                      <a:pt x="476137" y="1982161"/>
                      <a:pt x="483486" y="1935462"/>
                    </a:cubicBezTo>
                    <a:cubicBezTo>
                      <a:pt x="533060" y="1967097"/>
                      <a:pt x="580637" y="1990306"/>
                      <a:pt x="613413" y="1989219"/>
                    </a:cubicBezTo>
                    <a:cubicBezTo>
                      <a:pt x="877705" y="1977826"/>
                      <a:pt x="999020" y="1779243"/>
                      <a:pt x="1025015" y="1789010"/>
                    </a:cubicBezTo>
                    <a:close/>
                    <a:moveTo>
                      <a:pt x="585448" y="596"/>
                    </a:moveTo>
                    <a:cubicBezTo>
                      <a:pt x="727992" y="7927"/>
                      <a:pt x="935211" y="76180"/>
                      <a:pt x="1038898" y="151026"/>
                    </a:cubicBezTo>
                    <a:cubicBezTo>
                      <a:pt x="1142584" y="225871"/>
                      <a:pt x="1211900" y="407326"/>
                      <a:pt x="1207568" y="449665"/>
                    </a:cubicBezTo>
                    <a:cubicBezTo>
                      <a:pt x="1203236" y="490376"/>
                      <a:pt x="1199071" y="612532"/>
                      <a:pt x="1188131" y="664973"/>
                    </a:cubicBezTo>
                    <a:cubicBezTo>
                      <a:pt x="1177190" y="717413"/>
                      <a:pt x="1149623" y="723595"/>
                      <a:pt x="1141921" y="764306"/>
                    </a:cubicBezTo>
                    <a:cubicBezTo>
                      <a:pt x="1157802" y="803380"/>
                      <a:pt x="1141928" y="909191"/>
                      <a:pt x="1141921" y="909236"/>
                    </a:cubicBezTo>
                    <a:cubicBezTo>
                      <a:pt x="1141991" y="909241"/>
                      <a:pt x="1208348" y="914147"/>
                      <a:pt x="1208348" y="962974"/>
                    </a:cubicBezTo>
                    <a:cubicBezTo>
                      <a:pt x="1208348" y="1011818"/>
                      <a:pt x="1137615" y="1280417"/>
                      <a:pt x="1137589" y="1280518"/>
                    </a:cubicBezTo>
                    <a:cubicBezTo>
                      <a:pt x="1137566" y="1280557"/>
                      <a:pt x="1118803" y="1313084"/>
                      <a:pt x="1097155" y="1308200"/>
                    </a:cubicBezTo>
                    <a:cubicBezTo>
                      <a:pt x="1074050" y="1506868"/>
                      <a:pt x="994626" y="1630630"/>
                      <a:pt x="926755" y="1690881"/>
                    </a:cubicBezTo>
                    <a:cubicBezTo>
                      <a:pt x="860327" y="1749505"/>
                      <a:pt x="705811" y="1868380"/>
                      <a:pt x="613391" y="1868380"/>
                    </a:cubicBezTo>
                    <a:cubicBezTo>
                      <a:pt x="583727" y="1868380"/>
                      <a:pt x="540227" y="1848919"/>
                      <a:pt x="494585" y="1820862"/>
                    </a:cubicBezTo>
                    <a:cubicBezTo>
                      <a:pt x="495428" y="1780245"/>
                      <a:pt x="492769" y="1734980"/>
                      <a:pt x="490918" y="1682703"/>
                    </a:cubicBezTo>
                    <a:cubicBezTo>
                      <a:pt x="487743" y="1593009"/>
                      <a:pt x="490124" y="1492202"/>
                      <a:pt x="471868" y="1363615"/>
                    </a:cubicBezTo>
                    <a:cubicBezTo>
                      <a:pt x="453612" y="1235028"/>
                      <a:pt x="405987" y="1022303"/>
                      <a:pt x="381381" y="911178"/>
                    </a:cubicBezTo>
                    <a:cubicBezTo>
                      <a:pt x="356775" y="800053"/>
                      <a:pt x="352806" y="754809"/>
                      <a:pt x="324231" y="696865"/>
                    </a:cubicBezTo>
                    <a:cubicBezTo>
                      <a:pt x="295656" y="638921"/>
                      <a:pt x="255968" y="620665"/>
                      <a:pt x="209931" y="563515"/>
                    </a:cubicBezTo>
                    <a:cubicBezTo>
                      <a:pt x="163894" y="506365"/>
                      <a:pt x="103569" y="415084"/>
                      <a:pt x="48006" y="353965"/>
                    </a:cubicBezTo>
                    <a:cubicBezTo>
                      <a:pt x="28279" y="332265"/>
                      <a:pt x="14655" y="310564"/>
                      <a:pt x="0" y="290327"/>
                    </a:cubicBezTo>
                    <a:cubicBezTo>
                      <a:pt x="45987" y="162254"/>
                      <a:pt x="147389" y="53021"/>
                      <a:pt x="352016" y="62454"/>
                    </a:cubicBezTo>
                    <a:cubicBezTo>
                      <a:pt x="419165" y="16044"/>
                      <a:pt x="499920" y="-3803"/>
                      <a:pt x="585448" y="59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rgbClr val="FFB900">
                    <a:satMod val="300000"/>
                  </a:srgbClr>
                </a:contourClr>
              </a:sp3d>
              <a:extLst/>
            </p:spPr>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598" name="Man's Body">
                <a:extLst>
                  <a:ext uri="{FF2B5EF4-FFF2-40B4-BE49-F238E27FC236}">
                    <a16:creationId xmlns:a16="http://schemas.microsoft.com/office/drawing/2014/main" id="{619C31C4-4903-44C4-9D55-CEBE56FC5604}"/>
                  </a:ext>
                </a:extLst>
              </p:cNvPr>
              <p:cNvSpPr>
                <a:spLocks/>
              </p:cNvSpPr>
              <p:nvPr/>
            </p:nvSpPr>
            <p:spPr bwMode="auto">
              <a:xfrm>
                <a:off x="3394954" y="2270725"/>
                <a:ext cx="1220879" cy="2577721"/>
              </a:xfrm>
              <a:custGeom>
                <a:avLst/>
                <a:gdLst/>
                <a:ahLst/>
                <a:cxnLst/>
                <a:rect l="l" t="t" r="r" b="b"/>
                <a:pathLst>
                  <a:path w="1220879" h="2577721">
                    <a:moveTo>
                      <a:pt x="1000694" y="1726538"/>
                    </a:moveTo>
                    <a:cubicBezTo>
                      <a:pt x="1015159" y="1730828"/>
                      <a:pt x="1036692" y="1797918"/>
                      <a:pt x="1062780" y="1860398"/>
                    </a:cubicBezTo>
                    <a:lnTo>
                      <a:pt x="1072271" y="1886939"/>
                    </a:lnTo>
                    <a:cubicBezTo>
                      <a:pt x="1100846" y="1947264"/>
                      <a:pt x="1157203" y="2022670"/>
                      <a:pt x="1181809" y="2063151"/>
                    </a:cubicBezTo>
                    <a:cubicBezTo>
                      <a:pt x="1206415" y="2103632"/>
                      <a:pt x="1225465" y="2098076"/>
                      <a:pt x="1219909" y="2129826"/>
                    </a:cubicBezTo>
                    <a:cubicBezTo>
                      <a:pt x="1214353" y="2161576"/>
                      <a:pt x="1178633" y="2203645"/>
                      <a:pt x="1148471" y="2253651"/>
                    </a:cubicBezTo>
                    <a:cubicBezTo>
                      <a:pt x="1118309" y="2303657"/>
                      <a:pt x="1085765" y="2388589"/>
                      <a:pt x="1038934" y="2429864"/>
                    </a:cubicBezTo>
                    <a:cubicBezTo>
                      <a:pt x="992103" y="2471139"/>
                      <a:pt x="926222" y="2476695"/>
                      <a:pt x="867484" y="2501301"/>
                    </a:cubicBezTo>
                    <a:cubicBezTo>
                      <a:pt x="867484" y="2501301"/>
                      <a:pt x="738896" y="2574326"/>
                      <a:pt x="686509" y="2577501"/>
                    </a:cubicBezTo>
                    <a:cubicBezTo>
                      <a:pt x="634122" y="2580676"/>
                      <a:pt x="626184" y="2548926"/>
                      <a:pt x="553159" y="2520351"/>
                    </a:cubicBezTo>
                    <a:cubicBezTo>
                      <a:pt x="480134" y="2491776"/>
                      <a:pt x="311859" y="2440182"/>
                      <a:pt x="248359" y="2406051"/>
                    </a:cubicBezTo>
                    <a:cubicBezTo>
                      <a:pt x="184859" y="2371920"/>
                      <a:pt x="187240" y="2346520"/>
                      <a:pt x="172159" y="2315564"/>
                    </a:cubicBezTo>
                    <a:cubicBezTo>
                      <a:pt x="157078" y="2284608"/>
                      <a:pt x="140409" y="2261589"/>
                      <a:pt x="157871" y="2220314"/>
                    </a:cubicBezTo>
                    <a:cubicBezTo>
                      <a:pt x="168198" y="2195906"/>
                      <a:pt x="198233" y="2167333"/>
                      <a:pt x="226485" y="2135786"/>
                    </a:cubicBezTo>
                    <a:cubicBezTo>
                      <a:pt x="316982" y="2189270"/>
                      <a:pt x="435235" y="2236059"/>
                      <a:pt x="574195" y="2233933"/>
                    </a:cubicBezTo>
                    <a:cubicBezTo>
                      <a:pt x="875173" y="2229222"/>
                      <a:pt x="939333" y="2059656"/>
                      <a:pt x="939368" y="2059565"/>
                    </a:cubicBezTo>
                    <a:cubicBezTo>
                      <a:pt x="939349" y="2059598"/>
                      <a:pt x="884958" y="2153817"/>
                      <a:pt x="590920" y="2147535"/>
                    </a:cubicBezTo>
                    <a:cubicBezTo>
                      <a:pt x="481175" y="2145874"/>
                      <a:pt x="368705" y="2094204"/>
                      <a:pt x="286708" y="2040070"/>
                    </a:cubicBezTo>
                    <a:cubicBezTo>
                      <a:pt x="307092" y="1982179"/>
                      <a:pt x="314374" y="1903887"/>
                      <a:pt x="324559" y="1872651"/>
                    </a:cubicBezTo>
                    <a:cubicBezTo>
                      <a:pt x="333489" y="1845267"/>
                      <a:pt x="333488" y="1864317"/>
                      <a:pt x="339628" y="1861489"/>
                    </a:cubicBezTo>
                    <a:lnTo>
                      <a:pt x="348371" y="1848839"/>
                    </a:lnTo>
                    <a:cubicBezTo>
                      <a:pt x="354151" y="1836701"/>
                      <a:pt x="363405" y="1817932"/>
                      <a:pt x="373314" y="1796017"/>
                    </a:cubicBezTo>
                    <a:cubicBezTo>
                      <a:pt x="451017" y="1853032"/>
                      <a:pt x="548670" y="1921572"/>
                      <a:pt x="603465" y="1919756"/>
                    </a:cubicBezTo>
                    <a:cubicBezTo>
                      <a:pt x="858528" y="1908760"/>
                      <a:pt x="975606" y="1717113"/>
                      <a:pt x="1000694" y="1726538"/>
                    </a:cubicBezTo>
                    <a:close/>
                    <a:moveTo>
                      <a:pt x="576476" y="576"/>
                    </a:moveTo>
                    <a:cubicBezTo>
                      <a:pt x="714043" y="7650"/>
                      <a:pt x="864404" y="79722"/>
                      <a:pt x="988090" y="206429"/>
                    </a:cubicBezTo>
                    <a:cubicBezTo>
                      <a:pt x="1037022" y="256557"/>
                      <a:pt x="1077264" y="300727"/>
                      <a:pt x="1110031" y="339462"/>
                    </a:cubicBezTo>
                    <a:cubicBezTo>
                      <a:pt x="1051415" y="362041"/>
                      <a:pt x="1030281" y="393446"/>
                      <a:pt x="996071" y="424851"/>
                    </a:cubicBezTo>
                    <a:cubicBezTo>
                      <a:pt x="979245" y="440298"/>
                      <a:pt x="967211" y="456704"/>
                      <a:pt x="958497" y="474522"/>
                    </a:cubicBezTo>
                    <a:cubicBezTo>
                      <a:pt x="793415" y="374586"/>
                      <a:pt x="664033" y="400614"/>
                      <a:pt x="603444" y="421733"/>
                    </a:cubicBezTo>
                    <a:cubicBezTo>
                      <a:pt x="733011" y="434023"/>
                      <a:pt x="843377" y="487838"/>
                      <a:pt x="927312" y="549009"/>
                    </a:cubicBezTo>
                    <a:lnTo>
                      <a:pt x="915109" y="582014"/>
                    </a:lnTo>
                    <a:cubicBezTo>
                      <a:pt x="891297" y="642339"/>
                      <a:pt x="862721" y="710601"/>
                      <a:pt x="853196" y="786801"/>
                    </a:cubicBezTo>
                    <a:cubicBezTo>
                      <a:pt x="843671" y="863001"/>
                      <a:pt x="847640" y="966983"/>
                      <a:pt x="857959" y="1039214"/>
                    </a:cubicBezTo>
                    <a:cubicBezTo>
                      <a:pt x="868278" y="1111445"/>
                      <a:pt x="900028" y="1178120"/>
                      <a:pt x="915109" y="1220189"/>
                    </a:cubicBezTo>
                    <a:cubicBezTo>
                      <a:pt x="930190" y="1262258"/>
                      <a:pt x="946859" y="1272576"/>
                      <a:pt x="948446" y="1291626"/>
                    </a:cubicBezTo>
                    <a:cubicBezTo>
                      <a:pt x="950033" y="1310676"/>
                      <a:pt x="930984" y="1315439"/>
                      <a:pt x="924634" y="1334489"/>
                    </a:cubicBezTo>
                    <a:cubicBezTo>
                      <a:pt x="918284" y="1353539"/>
                      <a:pt x="907171" y="1371001"/>
                      <a:pt x="910346" y="1405926"/>
                    </a:cubicBezTo>
                    <a:cubicBezTo>
                      <a:pt x="913521" y="1440851"/>
                      <a:pt x="927015" y="1494827"/>
                      <a:pt x="943684" y="1544039"/>
                    </a:cubicBezTo>
                    <a:cubicBezTo>
                      <a:pt x="947240" y="1554538"/>
                      <a:pt x="951338" y="1565109"/>
                      <a:pt x="956769" y="1575392"/>
                    </a:cubicBezTo>
                    <a:cubicBezTo>
                      <a:pt x="939866" y="1598334"/>
                      <a:pt x="922505" y="1617063"/>
                      <a:pt x="905864" y="1631836"/>
                    </a:cubicBezTo>
                    <a:cubicBezTo>
                      <a:pt x="841757" y="1688412"/>
                      <a:pt x="692637" y="1803136"/>
                      <a:pt x="603444" y="1803136"/>
                    </a:cubicBezTo>
                    <a:cubicBezTo>
                      <a:pt x="557961" y="1803136"/>
                      <a:pt x="478776" y="1755732"/>
                      <a:pt x="409934" y="1705014"/>
                    </a:cubicBezTo>
                    <a:lnTo>
                      <a:pt x="419809" y="1672626"/>
                    </a:lnTo>
                    <a:cubicBezTo>
                      <a:pt x="433303" y="1613095"/>
                      <a:pt x="419809" y="1540070"/>
                      <a:pt x="429334" y="1491651"/>
                    </a:cubicBezTo>
                    <a:cubicBezTo>
                      <a:pt x="438859" y="1443232"/>
                      <a:pt x="464259" y="1418627"/>
                      <a:pt x="476959" y="1382114"/>
                    </a:cubicBezTo>
                    <a:cubicBezTo>
                      <a:pt x="489659" y="1345602"/>
                      <a:pt x="506328" y="1301151"/>
                      <a:pt x="505534" y="1272576"/>
                    </a:cubicBezTo>
                    <a:cubicBezTo>
                      <a:pt x="504740" y="1244001"/>
                      <a:pt x="472990" y="1247177"/>
                      <a:pt x="472196" y="1210664"/>
                    </a:cubicBezTo>
                    <a:cubicBezTo>
                      <a:pt x="471402" y="1174152"/>
                      <a:pt x="493627" y="1105095"/>
                      <a:pt x="500771" y="1053501"/>
                    </a:cubicBezTo>
                    <a:cubicBezTo>
                      <a:pt x="507915" y="1001907"/>
                      <a:pt x="519028" y="948726"/>
                      <a:pt x="515059" y="901101"/>
                    </a:cubicBezTo>
                    <a:cubicBezTo>
                      <a:pt x="511090" y="853476"/>
                      <a:pt x="496009" y="818551"/>
                      <a:pt x="476959" y="767751"/>
                    </a:cubicBezTo>
                    <a:cubicBezTo>
                      <a:pt x="457909" y="716951"/>
                      <a:pt x="430128" y="646307"/>
                      <a:pt x="400759" y="596301"/>
                    </a:cubicBezTo>
                    <a:cubicBezTo>
                      <a:pt x="371390" y="546295"/>
                      <a:pt x="342021" y="502639"/>
                      <a:pt x="300746" y="467714"/>
                    </a:cubicBezTo>
                    <a:cubicBezTo>
                      <a:pt x="259471" y="432789"/>
                      <a:pt x="207878" y="412151"/>
                      <a:pt x="153109" y="386751"/>
                    </a:cubicBezTo>
                    <a:cubicBezTo>
                      <a:pt x="102114" y="363101"/>
                      <a:pt x="114428" y="279585"/>
                      <a:pt x="0" y="308275"/>
                    </a:cubicBezTo>
                    <a:cubicBezTo>
                      <a:pt x="41291" y="173605"/>
                      <a:pt x="138419" y="50464"/>
                      <a:pt x="351195" y="60273"/>
                    </a:cubicBezTo>
                    <a:cubicBezTo>
                      <a:pt x="415999" y="15484"/>
                      <a:pt x="493935" y="-3670"/>
                      <a:pt x="576476" y="57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rgbClr val="FFB900">
                    <a:satMod val="300000"/>
                  </a:srgbClr>
                </a:contourClr>
              </a:sp3d>
              <a:extLst/>
            </p:spPr>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599" name="Man's Body">
                <a:extLst>
                  <a:ext uri="{FF2B5EF4-FFF2-40B4-BE49-F238E27FC236}">
                    <a16:creationId xmlns:a16="http://schemas.microsoft.com/office/drawing/2014/main" id="{D6332819-6E11-4C5B-8A87-5C1A4C25D1F2}"/>
                  </a:ext>
                </a:extLst>
              </p:cNvPr>
              <p:cNvSpPr>
                <a:spLocks/>
              </p:cNvSpPr>
              <p:nvPr/>
            </p:nvSpPr>
            <p:spPr bwMode="auto">
              <a:xfrm>
                <a:off x="4129215" y="2588754"/>
                <a:ext cx="1942154" cy="3289752"/>
              </a:xfrm>
              <a:custGeom>
                <a:avLst/>
                <a:gdLst/>
                <a:ahLst/>
                <a:cxnLst/>
                <a:rect l="l" t="t" r="r" b="b"/>
                <a:pathLst>
                  <a:path w="1942154" h="3289752">
                    <a:moveTo>
                      <a:pt x="501915" y="1906497"/>
                    </a:moveTo>
                    <a:cubicBezTo>
                      <a:pt x="531238" y="1899539"/>
                      <a:pt x="778162" y="2129136"/>
                      <a:pt x="883105" y="2125656"/>
                    </a:cubicBezTo>
                    <a:cubicBezTo>
                      <a:pt x="1165524" y="2113482"/>
                      <a:pt x="1295160" y="1901279"/>
                      <a:pt x="1322938" y="1911715"/>
                    </a:cubicBezTo>
                    <a:cubicBezTo>
                      <a:pt x="1352261" y="1920412"/>
                      <a:pt x="1407819" y="2162183"/>
                      <a:pt x="1471092" y="2179577"/>
                    </a:cubicBezTo>
                    <a:cubicBezTo>
                      <a:pt x="1569955" y="2205728"/>
                      <a:pt x="1786855" y="2283903"/>
                      <a:pt x="1942154" y="2367099"/>
                    </a:cubicBezTo>
                    <a:lnTo>
                      <a:pt x="1623885" y="2492834"/>
                    </a:lnTo>
                    <a:cubicBezTo>
                      <a:pt x="1505616" y="2541253"/>
                      <a:pt x="1369885" y="2582527"/>
                      <a:pt x="1300035" y="2630946"/>
                    </a:cubicBezTo>
                    <a:cubicBezTo>
                      <a:pt x="1230185" y="2679365"/>
                      <a:pt x="1216691" y="2727784"/>
                      <a:pt x="1204785" y="2783346"/>
                    </a:cubicBezTo>
                    <a:cubicBezTo>
                      <a:pt x="1192879" y="2838909"/>
                      <a:pt x="1211929" y="2896059"/>
                      <a:pt x="1228598" y="2964321"/>
                    </a:cubicBezTo>
                    <a:cubicBezTo>
                      <a:pt x="1245267" y="3032583"/>
                      <a:pt x="1281779" y="3120690"/>
                      <a:pt x="1304798" y="3192921"/>
                    </a:cubicBezTo>
                    <a:cubicBezTo>
                      <a:pt x="1314321" y="3222803"/>
                      <a:pt x="1341505" y="3252414"/>
                      <a:pt x="1363493" y="3281583"/>
                    </a:cubicBezTo>
                    <a:cubicBezTo>
                      <a:pt x="1152486" y="3290141"/>
                      <a:pt x="985631" y="3290297"/>
                      <a:pt x="900081" y="3289292"/>
                    </a:cubicBezTo>
                    <a:cubicBezTo>
                      <a:pt x="817878" y="3290370"/>
                      <a:pt x="658124" y="3290113"/>
                      <a:pt x="456018" y="3282293"/>
                    </a:cubicBezTo>
                    <a:cubicBezTo>
                      <a:pt x="462393" y="3274575"/>
                      <a:pt x="465552" y="3265168"/>
                      <a:pt x="466598" y="3254834"/>
                    </a:cubicBezTo>
                    <a:cubicBezTo>
                      <a:pt x="472948" y="3192128"/>
                      <a:pt x="470567" y="3114340"/>
                      <a:pt x="466598" y="3021471"/>
                    </a:cubicBezTo>
                    <a:cubicBezTo>
                      <a:pt x="462629" y="2928602"/>
                      <a:pt x="461835" y="2782552"/>
                      <a:pt x="442785" y="2697621"/>
                    </a:cubicBezTo>
                    <a:cubicBezTo>
                      <a:pt x="423735" y="2612690"/>
                      <a:pt x="407860" y="2565859"/>
                      <a:pt x="352298" y="2511884"/>
                    </a:cubicBezTo>
                    <a:cubicBezTo>
                      <a:pt x="296736" y="2457909"/>
                      <a:pt x="186404" y="2415046"/>
                      <a:pt x="109410" y="2373771"/>
                    </a:cubicBezTo>
                    <a:cubicBezTo>
                      <a:pt x="63909" y="2349379"/>
                      <a:pt x="39200" y="2319443"/>
                      <a:pt x="0" y="2298223"/>
                    </a:cubicBezTo>
                    <a:cubicBezTo>
                      <a:pt x="117461" y="2244929"/>
                      <a:pt x="226792" y="2206801"/>
                      <a:pt x="244189" y="2210886"/>
                    </a:cubicBezTo>
                    <a:cubicBezTo>
                      <a:pt x="281228" y="2217843"/>
                      <a:pt x="509632" y="2478748"/>
                      <a:pt x="850696" y="2473530"/>
                    </a:cubicBezTo>
                    <a:cubicBezTo>
                      <a:pt x="1183954" y="2468314"/>
                      <a:pt x="1254996" y="2280562"/>
                      <a:pt x="1255035" y="2280461"/>
                    </a:cubicBezTo>
                    <a:cubicBezTo>
                      <a:pt x="1255005" y="2280512"/>
                      <a:pt x="1194766" y="2384821"/>
                      <a:pt x="869215" y="2377865"/>
                    </a:cubicBezTo>
                    <a:cubicBezTo>
                      <a:pt x="639268" y="2374386"/>
                      <a:pt x="398517" y="2172620"/>
                      <a:pt x="393887" y="2132615"/>
                    </a:cubicBezTo>
                    <a:cubicBezTo>
                      <a:pt x="389256" y="2090869"/>
                      <a:pt x="471051" y="1911715"/>
                      <a:pt x="501915" y="1906497"/>
                    </a:cubicBezTo>
                    <a:close/>
                    <a:moveTo>
                      <a:pt x="853221" y="637"/>
                    </a:moveTo>
                    <a:cubicBezTo>
                      <a:pt x="1005543" y="8471"/>
                      <a:pt x="1226975" y="81406"/>
                      <a:pt x="1337772" y="161384"/>
                    </a:cubicBezTo>
                    <a:cubicBezTo>
                      <a:pt x="1448570" y="241363"/>
                      <a:pt x="1522641" y="435263"/>
                      <a:pt x="1518012" y="480506"/>
                    </a:cubicBezTo>
                    <a:cubicBezTo>
                      <a:pt x="1513382" y="524010"/>
                      <a:pt x="1508932" y="654545"/>
                      <a:pt x="1497241" y="710582"/>
                    </a:cubicBezTo>
                    <a:cubicBezTo>
                      <a:pt x="1485550" y="766620"/>
                      <a:pt x="1456092" y="773225"/>
                      <a:pt x="1447862" y="816729"/>
                    </a:cubicBezTo>
                    <a:cubicBezTo>
                      <a:pt x="1464832" y="858482"/>
                      <a:pt x="1447870" y="971551"/>
                      <a:pt x="1447862" y="971599"/>
                    </a:cubicBezTo>
                    <a:cubicBezTo>
                      <a:pt x="1447887" y="971601"/>
                      <a:pt x="1518845" y="976828"/>
                      <a:pt x="1518845" y="1029023"/>
                    </a:cubicBezTo>
                    <a:cubicBezTo>
                      <a:pt x="1518845" y="1081217"/>
                      <a:pt x="1443261" y="1368239"/>
                      <a:pt x="1443233" y="1368346"/>
                    </a:cubicBezTo>
                    <a:cubicBezTo>
                      <a:pt x="1443216" y="1368375"/>
                      <a:pt x="1423163" y="1403147"/>
                      <a:pt x="1400025" y="1397928"/>
                    </a:cubicBezTo>
                    <a:cubicBezTo>
                      <a:pt x="1375336" y="1610222"/>
                      <a:pt x="1290464" y="1742472"/>
                      <a:pt x="1217938" y="1806856"/>
                    </a:cubicBezTo>
                    <a:cubicBezTo>
                      <a:pt x="1146955" y="1869501"/>
                      <a:pt x="981841" y="1996529"/>
                      <a:pt x="883082" y="1996529"/>
                    </a:cubicBezTo>
                    <a:cubicBezTo>
                      <a:pt x="784323" y="1996529"/>
                      <a:pt x="542053" y="1794675"/>
                      <a:pt x="523537" y="1759872"/>
                    </a:cubicBezTo>
                    <a:cubicBezTo>
                      <a:pt x="503477" y="1725071"/>
                      <a:pt x="370768" y="1570199"/>
                      <a:pt x="366139" y="1380528"/>
                    </a:cubicBezTo>
                    <a:cubicBezTo>
                      <a:pt x="301328" y="1375306"/>
                      <a:pt x="264293" y="1183894"/>
                      <a:pt x="239604" y="1082967"/>
                    </a:cubicBezTo>
                    <a:cubicBezTo>
                      <a:pt x="219550" y="997735"/>
                      <a:pt x="288930" y="999439"/>
                      <a:pt x="288983" y="999441"/>
                    </a:cubicBezTo>
                    <a:cubicBezTo>
                      <a:pt x="288957" y="999371"/>
                      <a:pt x="191766" y="731458"/>
                      <a:pt x="184051" y="694921"/>
                    </a:cubicBezTo>
                    <a:cubicBezTo>
                      <a:pt x="177878" y="660118"/>
                      <a:pt x="113068" y="44116"/>
                      <a:pt x="603779" y="66738"/>
                    </a:cubicBezTo>
                    <a:cubicBezTo>
                      <a:pt x="675533" y="17144"/>
                      <a:pt x="761828" y="-4064"/>
                      <a:pt x="853221" y="63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rgbClr val="FFB900">
                    <a:satMod val="300000"/>
                  </a:srgbClr>
                </a:contourClr>
              </a:sp3d>
              <a:extLst/>
            </p:spPr>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600" name="Man's Body">
                <a:extLst>
                  <a:ext uri="{FF2B5EF4-FFF2-40B4-BE49-F238E27FC236}">
                    <a16:creationId xmlns:a16="http://schemas.microsoft.com/office/drawing/2014/main" id="{372991A7-0FBE-4211-86EA-9E91C8D576ED}"/>
                  </a:ext>
                </a:extLst>
              </p:cNvPr>
              <p:cNvSpPr>
                <a:spLocks/>
              </p:cNvSpPr>
              <p:nvPr/>
            </p:nvSpPr>
            <p:spPr bwMode="auto">
              <a:xfrm>
                <a:off x="335107" y="2540761"/>
                <a:ext cx="1927374" cy="3278271"/>
              </a:xfrm>
              <a:custGeom>
                <a:avLst/>
                <a:gdLst/>
                <a:ahLst/>
                <a:cxnLst/>
                <a:rect l="l" t="t" r="r" b="b"/>
                <a:pathLst>
                  <a:path w="1927374" h="3278271">
                    <a:moveTo>
                      <a:pt x="586126" y="2210886"/>
                    </a:moveTo>
                    <a:cubicBezTo>
                      <a:pt x="616330" y="2216559"/>
                      <a:pt x="773790" y="2391106"/>
                      <a:pt x="1016388" y="2450287"/>
                    </a:cubicBezTo>
                    <a:cubicBezTo>
                      <a:pt x="976291" y="2480726"/>
                      <a:pt x="940784" y="2511617"/>
                      <a:pt x="912668" y="2540828"/>
                    </a:cubicBezTo>
                    <a:cubicBezTo>
                      <a:pt x="851549" y="2604328"/>
                      <a:pt x="830912" y="2661478"/>
                      <a:pt x="803131" y="2726565"/>
                    </a:cubicBezTo>
                    <a:cubicBezTo>
                      <a:pt x="775350" y="2791652"/>
                      <a:pt x="757093" y="2855947"/>
                      <a:pt x="745981" y="2931353"/>
                    </a:cubicBezTo>
                    <a:cubicBezTo>
                      <a:pt x="734869" y="3006759"/>
                      <a:pt x="738837" y="3105978"/>
                      <a:pt x="736456" y="3179003"/>
                    </a:cubicBezTo>
                    <a:cubicBezTo>
                      <a:pt x="735337" y="3213335"/>
                      <a:pt x="717901" y="3247141"/>
                      <a:pt x="707639" y="3278271"/>
                    </a:cubicBezTo>
                    <a:cubicBezTo>
                      <a:pt x="607261" y="3273701"/>
                      <a:pt x="498668" y="3267095"/>
                      <a:pt x="385500" y="3257984"/>
                    </a:cubicBezTo>
                    <a:cubicBezTo>
                      <a:pt x="387043" y="3144926"/>
                      <a:pt x="428711" y="2960553"/>
                      <a:pt x="475010" y="2861409"/>
                    </a:cubicBezTo>
                    <a:cubicBezTo>
                      <a:pt x="439515" y="2884020"/>
                      <a:pt x="288274" y="3042302"/>
                      <a:pt x="258951" y="3247548"/>
                    </a:cubicBezTo>
                    <a:cubicBezTo>
                      <a:pt x="-18839" y="2890978"/>
                      <a:pt x="-32728" y="2605722"/>
                      <a:pt x="32090" y="2494403"/>
                    </a:cubicBezTo>
                    <a:cubicBezTo>
                      <a:pt x="95364" y="2384822"/>
                      <a:pt x="549088" y="2202189"/>
                      <a:pt x="586126" y="2210886"/>
                    </a:cubicBezTo>
                    <a:close/>
                    <a:moveTo>
                      <a:pt x="843852" y="1906497"/>
                    </a:moveTo>
                    <a:cubicBezTo>
                      <a:pt x="873175" y="1899539"/>
                      <a:pt x="1120099" y="2129136"/>
                      <a:pt x="1225042" y="2125656"/>
                    </a:cubicBezTo>
                    <a:cubicBezTo>
                      <a:pt x="1507461" y="2113482"/>
                      <a:pt x="1637096" y="1901279"/>
                      <a:pt x="1664875" y="1911715"/>
                    </a:cubicBezTo>
                    <a:cubicBezTo>
                      <a:pt x="1681451" y="1916632"/>
                      <a:pt x="1706410" y="1996028"/>
                      <a:pt x="1736668" y="2067160"/>
                    </a:cubicBezTo>
                    <a:cubicBezTo>
                      <a:pt x="1645277" y="2089552"/>
                      <a:pt x="1598007" y="2141189"/>
                      <a:pt x="1512743" y="2178878"/>
                    </a:cubicBezTo>
                    <a:cubicBezTo>
                      <a:pt x="1403206" y="2227297"/>
                      <a:pt x="1269855" y="2285240"/>
                      <a:pt x="1169843" y="2345565"/>
                    </a:cubicBezTo>
                    <a:lnTo>
                      <a:pt x="1134882" y="2369115"/>
                    </a:lnTo>
                    <a:cubicBezTo>
                      <a:pt x="930801" y="2331702"/>
                      <a:pt x="739941" y="2168192"/>
                      <a:pt x="735824" y="2132615"/>
                    </a:cubicBezTo>
                    <a:cubicBezTo>
                      <a:pt x="731193" y="2090869"/>
                      <a:pt x="812988" y="1911715"/>
                      <a:pt x="843852" y="1906497"/>
                    </a:cubicBezTo>
                    <a:close/>
                    <a:moveTo>
                      <a:pt x="1195158" y="637"/>
                    </a:moveTo>
                    <a:cubicBezTo>
                      <a:pt x="1347480" y="8471"/>
                      <a:pt x="1513967" y="88272"/>
                      <a:pt x="1650919" y="228569"/>
                    </a:cubicBezTo>
                    <a:cubicBezTo>
                      <a:pt x="1870041" y="453045"/>
                      <a:pt x="1931766" y="569632"/>
                      <a:pt x="1927136" y="614875"/>
                    </a:cubicBezTo>
                    <a:cubicBezTo>
                      <a:pt x="1922506" y="658378"/>
                      <a:pt x="1877757" y="719282"/>
                      <a:pt x="1839178" y="710582"/>
                    </a:cubicBezTo>
                    <a:cubicBezTo>
                      <a:pt x="1799058" y="701882"/>
                      <a:pt x="1794429" y="663598"/>
                      <a:pt x="1772824" y="642718"/>
                    </a:cubicBezTo>
                    <a:cubicBezTo>
                      <a:pt x="1516667" y="399101"/>
                      <a:pt x="1309890" y="437383"/>
                      <a:pt x="1225019" y="466966"/>
                    </a:cubicBezTo>
                    <a:cubicBezTo>
                      <a:pt x="1555245" y="498288"/>
                      <a:pt x="1772824" y="773225"/>
                      <a:pt x="1789799" y="816729"/>
                    </a:cubicBezTo>
                    <a:cubicBezTo>
                      <a:pt x="1806769" y="858482"/>
                      <a:pt x="1789807" y="971551"/>
                      <a:pt x="1789799" y="971599"/>
                    </a:cubicBezTo>
                    <a:cubicBezTo>
                      <a:pt x="1789819" y="971601"/>
                      <a:pt x="1860782" y="976826"/>
                      <a:pt x="1860782" y="1029023"/>
                    </a:cubicBezTo>
                    <a:cubicBezTo>
                      <a:pt x="1860782" y="1081217"/>
                      <a:pt x="1785198" y="1368239"/>
                      <a:pt x="1785170" y="1368346"/>
                    </a:cubicBezTo>
                    <a:cubicBezTo>
                      <a:pt x="1785153" y="1368375"/>
                      <a:pt x="1765100" y="1403147"/>
                      <a:pt x="1741962" y="1397928"/>
                    </a:cubicBezTo>
                    <a:cubicBezTo>
                      <a:pt x="1717273" y="1610222"/>
                      <a:pt x="1632401" y="1742472"/>
                      <a:pt x="1559875" y="1806856"/>
                    </a:cubicBezTo>
                    <a:cubicBezTo>
                      <a:pt x="1488892" y="1869501"/>
                      <a:pt x="1323778" y="1996529"/>
                      <a:pt x="1225019" y="1996529"/>
                    </a:cubicBezTo>
                    <a:cubicBezTo>
                      <a:pt x="1126260" y="1996529"/>
                      <a:pt x="883990" y="1794675"/>
                      <a:pt x="865473" y="1759872"/>
                    </a:cubicBezTo>
                    <a:cubicBezTo>
                      <a:pt x="845414" y="1725071"/>
                      <a:pt x="712705" y="1570199"/>
                      <a:pt x="708075" y="1380528"/>
                    </a:cubicBezTo>
                    <a:cubicBezTo>
                      <a:pt x="643265" y="1375306"/>
                      <a:pt x="606230" y="1183894"/>
                      <a:pt x="581541" y="1082967"/>
                    </a:cubicBezTo>
                    <a:cubicBezTo>
                      <a:pt x="561487" y="997735"/>
                      <a:pt x="630866" y="999439"/>
                      <a:pt x="630919" y="999441"/>
                    </a:cubicBezTo>
                    <a:cubicBezTo>
                      <a:pt x="630881" y="999337"/>
                      <a:pt x="533702" y="731455"/>
                      <a:pt x="525988" y="694921"/>
                    </a:cubicBezTo>
                    <a:cubicBezTo>
                      <a:pt x="519815" y="660118"/>
                      <a:pt x="455005" y="44116"/>
                      <a:pt x="945716" y="66738"/>
                    </a:cubicBezTo>
                    <a:cubicBezTo>
                      <a:pt x="1017470" y="17144"/>
                      <a:pt x="1103765" y="-4064"/>
                      <a:pt x="1195158" y="63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rgbClr val="FFB900">
                    <a:satMod val="300000"/>
                  </a:srgbClr>
                </a:contourClr>
              </a:sp3d>
              <a:extLst/>
            </p:spPr>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601" name="Freeform 227">
                <a:extLst>
                  <a:ext uri="{FF2B5EF4-FFF2-40B4-BE49-F238E27FC236}">
                    <a16:creationId xmlns:a16="http://schemas.microsoft.com/office/drawing/2014/main" id="{EDE64567-BA10-42F7-B7E5-C01C51CF22A3}"/>
                  </a:ext>
                </a:extLst>
              </p:cNvPr>
              <p:cNvSpPr/>
              <p:nvPr/>
            </p:nvSpPr>
            <p:spPr>
              <a:xfrm flipH="1">
                <a:off x="1116816" y="2629054"/>
                <a:ext cx="3436629" cy="3474566"/>
              </a:xfrm>
              <a:custGeom>
                <a:avLst/>
                <a:gdLst/>
                <a:ahLst/>
                <a:cxnLst/>
                <a:rect l="l" t="t" r="r" b="b"/>
                <a:pathLst>
                  <a:path w="852601" h="862013">
                    <a:moveTo>
                      <a:pt x="339688" y="551599"/>
                    </a:moveTo>
                    <a:cubicBezTo>
                      <a:pt x="336200" y="550660"/>
                      <a:pt x="332712" y="552270"/>
                      <a:pt x="329224" y="555624"/>
                    </a:cubicBezTo>
                    <a:lnTo>
                      <a:pt x="318760" y="571723"/>
                    </a:lnTo>
                    <a:cubicBezTo>
                      <a:pt x="317687" y="576955"/>
                      <a:pt x="320907" y="582723"/>
                      <a:pt x="322785" y="587017"/>
                    </a:cubicBezTo>
                    <a:cubicBezTo>
                      <a:pt x="324663" y="591310"/>
                      <a:pt x="331370" y="593322"/>
                      <a:pt x="330029" y="597481"/>
                    </a:cubicBezTo>
                    <a:cubicBezTo>
                      <a:pt x="328687" y="601641"/>
                      <a:pt x="318894" y="606739"/>
                      <a:pt x="314735" y="611971"/>
                    </a:cubicBezTo>
                    <a:cubicBezTo>
                      <a:pt x="310576" y="617202"/>
                      <a:pt x="308563" y="620288"/>
                      <a:pt x="303465" y="629679"/>
                    </a:cubicBezTo>
                    <a:cubicBezTo>
                      <a:pt x="298368" y="639070"/>
                      <a:pt x="292062" y="654230"/>
                      <a:pt x="284147" y="668317"/>
                    </a:cubicBezTo>
                    <a:cubicBezTo>
                      <a:pt x="276232" y="682403"/>
                      <a:pt x="261340" y="698637"/>
                      <a:pt x="255974" y="714199"/>
                    </a:cubicBezTo>
                    <a:cubicBezTo>
                      <a:pt x="250607" y="729762"/>
                      <a:pt x="252754" y="745727"/>
                      <a:pt x="251949" y="761691"/>
                    </a:cubicBezTo>
                    <a:cubicBezTo>
                      <a:pt x="251144" y="777656"/>
                      <a:pt x="252351" y="796036"/>
                      <a:pt x="251143" y="809989"/>
                    </a:cubicBezTo>
                    <a:cubicBezTo>
                      <a:pt x="249937" y="823941"/>
                      <a:pt x="245778" y="837357"/>
                      <a:pt x="244705" y="845406"/>
                    </a:cubicBezTo>
                    <a:cubicBezTo>
                      <a:pt x="243631" y="853456"/>
                      <a:pt x="243095" y="855603"/>
                      <a:pt x="244705" y="858286"/>
                    </a:cubicBezTo>
                    <a:cubicBezTo>
                      <a:pt x="245509" y="859627"/>
                      <a:pt x="245945" y="860298"/>
                      <a:pt x="247169" y="860701"/>
                    </a:cubicBezTo>
                    <a:lnTo>
                      <a:pt x="254364" y="861506"/>
                    </a:lnTo>
                    <a:cubicBezTo>
                      <a:pt x="262279" y="862042"/>
                      <a:pt x="277305" y="862310"/>
                      <a:pt x="292196" y="861506"/>
                    </a:cubicBezTo>
                    <a:cubicBezTo>
                      <a:pt x="307088" y="860701"/>
                      <a:pt x="333115" y="857749"/>
                      <a:pt x="343713" y="856676"/>
                    </a:cubicBezTo>
                    <a:cubicBezTo>
                      <a:pt x="343747" y="856684"/>
                      <a:pt x="352708" y="858681"/>
                      <a:pt x="355787" y="855066"/>
                    </a:cubicBezTo>
                    <a:cubicBezTo>
                      <a:pt x="358873" y="851443"/>
                      <a:pt x="361288" y="845675"/>
                      <a:pt x="362227" y="834943"/>
                    </a:cubicBezTo>
                    <a:cubicBezTo>
                      <a:pt x="363166" y="824210"/>
                      <a:pt x="363568" y="808110"/>
                      <a:pt x="361422" y="790670"/>
                    </a:cubicBezTo>
                    <a:cubicBezTo>
                      <a:pt x="359275" y="773229"/>
                      <a:pt x="352299" y="754313"/>
                      <a:pt x="349348" y="730298"/>
                    </a:cubicBezTo>
                    <a:cubicBezTo>
                      <a:pt x="346396" y="706284"/>
                      <a:pt x="344786" y="666439"/>
                      <a:pt x="343713" y="646584"/>
                    </a:cubicBezTo>
                    <a:cubicBezTo>
                      <a:pt x="342640" y="626728"/>
                      <a:pt x="342505" y="619886"/>
                      <a:pt x="342908" y="611166"/>
                    </a:cubicBezTo>
                    <a:cubicBezTo>
                      <a:pt x="343310" y="602446"/>
                      <a:pt x="343713" y="600299"/>
                      <a:pt x="346128" y="594262"/>
                    </a:cubicBezTo>
                    <a:cubicBezTo>
                      <a:pt x="348543" y="588224"/>
                      <a:pt x="356727" y="580443"/>
                      <a:pt x="357397" y="574942"/>
                    </a:cubicBezTo>
                    <a:cubicBezTo>
                      <a:pt x="358068" y="569442"/>
                      <a:pt x="353104" y="565149"/>
                      <a:pt x="350153" y="561258"/>
                    </a:cubicBezTo>
                    <a:close/>
                    <a:moveTo>
                      <a:pt x="287206" y="507649"/>
                    </a:moveTo>
                    <a:cubicBezTo>
                      <a:pt x="299226" y="561742"/>
                      <a:pt x="284201" y="574621"/>
                      <a:pt x="274326" y="617123"/>
                    </a:cubicBezTo>
                    <a:cubicBezTo>
                      <a:pt x="272445" y="626330"/>
                      <a:pt x="270907" y="639718"/>
                      <a:pt x="269556" y="655910"/>
                    </a:cubicBezTo>
                    <a:cubicBezTo>
                      <a:pt x="284442" y="632717"/>
                      <a:pt x="299146" y="601494"/>
                      <a:pt x="316184" y="596515"/>
                    </a:cubicBezTo>
                    <a:cubicBezTo>
                      <a:pt x="314038" y="589217"/>
                      <a:pt x="305451" y="583528"/>
                      <a:pt x="306524" y="574621"/>
                    </a:cubicBezTo>
                    <a:cubicBezTo>
                      <a:pt x="307147" y="563679"/>
                      <a:pt x="314405" y="554950"/>
                      <a:pt x="319949" y="545622"/>
                    </a:cubicBezTo>
                    <a:cubicBezTo>
                      <a:pt x="307786" y="539695"/>
                      <a:pt x="298568" y="525281"/>
                      <a:pt x="287206" y="507649"/>
                    </a:cubicBezTo>
                    <a:close/>
                    <a:moveTo>
                      <a:pt x="264023" y="488330"/>
                    </a:moveTo>
                    <a:cubicBezTo>
                      <a:pt x="251143" y="497345"/>
                      <a:pt x="249856" y="517952"/>
                      <a:pt x="240841" y="523104"/>
                    </a:cubicBezTo>
                    <a:cubicBezTo>
                      <a:pt x="177304" y="542852"/>
                      <a:pt x="103463" y="578055"/>
                      <a:pt x="46365" y="613259"/>
                    </a:cubicBezTo>
                    <a:cubicBezTo>
                      <a:pt x="17601" y="630002"/>
                      <a:pt x="12021" y="649320"/>
                      <a:pt x="6440" y="682806"/>
                    </a:cubicBezTo>
                    <a:lnTo>
                      <a:pt x="0" y="793568"/>
                    </a:lnTo>
                    <a:cubicBezTo>
                      <a:pt x="60532" y="849807"/>
                      <a:pt x="154551" y="840362"/>
                      <a:pt x="230537" y="859252"/>
                    </a:cubicBezTo>
                    <a:cubicBezTo>
                      <a:pt x="242128" y="755359"/>
                      <a:pt x="233113" y="597374"/>
                      <a:pt x="265311" y="542422"/>
                    </a:cubicBezTo>
                    <a:close/>
                    <a:moveTo>
                      <a:pt x="473953" y="438101"/>
                    </a:moveTo>
                    <a:cubicBezTo>
                      <a:pt x="449999" y="476765"/>
                      <a:pt x="395188" y="525303"/>
                      <a:pt x="351750" y="542487"/>
                    </a:cubicBezTo>
                    <a:cubicBezTo>
                      <a:pt x="364570" y="553524"/>
                      <a:pt x="369815" y="566569"/>
                      <a:pt x="371564" y="577519"/>
                    </a:cubicBezTo>
                    <a:cubicBezTo>
                      <a:pt x="371510" y="588305"/>
                      <a:pt x="363407" y="591042"/>
                      <a:pt x="359329" y="597803"/>
                    </a:cubicBezTo>
                    <a:cubicBezTo>
                      <a:pt x="364928" y="652187"/>
                      <a:pt x="355161" y="701683"/>
                      <a:pt x="373271" y="759858"/>
                    </a:cubicBezTo>
                    <a:cubicBezTo>
                      <a:pt x="382583" y="726860"/>
                      <a:pt x="394118" y="694072"/>
                      <a:pt x="406981" y="659624"/>
                    </a:cubicBezTo>
                    <a:cubicBezTo>
                      <a:pt x="434458" y="598661"/>
                      <a:pt x="476100" y="510653"/>
                      <a:pt x="473953" y="438101"/>
                    </a:cubicBezTo>
                    <a:close/>
                    <a:moveTo>
                      <a:pt x="444331" y="425221"/>
                    </a:moveTo>
                    <a:cubicBezTo>
                      <a:pt x="417365" y="457420"/>
                      <a:pt x="365446" y="490423"/>
                      <a:pt x="342908" y="490423"/>
                    </a:cubicBezTo>
                    <a:cubicBezTo>
                      <a:pt x="312722" y="489752"/>
                      <a:pt x="309100" y="473787"/>
                      <a:pt x="292196" y="465469"/>
                    </a:cubicBezTo>
                    <a:cubicBezTo>
                      <a:pt x="308026" y="468152"/>
                      <a:pt x="323455" y="474056"/>
                      <a:pt x="339687" y="473519"/>
                    </a:cubicBezTo>
                    <a:cubicBezTo>
                      <a:pt x="376180" y="473116"/>
                      <a:pt x="416695" y="446955"/>
                      <a:pt x="444331" y="425221"/>
                    </a:cubicBezTo>
                    <a:close/>
                    <a:moveTo>
                      <a:pt x="488121" y="409767"/>
                    </a:moveTo>
                    <a:cubicBezTo>
                      <a:pt x="533198" y="465576"/>
                      <a:pt x="410846" y="692681"/>
                      <a:pt x="376072" y="855388"/>
                    </a:cubicBezTo>
                    <a:cubicBezTo>
                      <a:pt x="489409" y="838216"/>
                      <a:pt x="600169" y="850665"/>
                      <a:pt x="716082" y="803871"/>
                    </a:cubicBezTo>
                    <a:cubicBezTo>
                      <a:pt x="761588" y="800437"/>
                      <a:pt x="808382" y="816321"/>
                      <a:pt x="852601" y="793568"/>
                    </a:cubicBezTo>
                    <a:cubicBezTo>
                      <a:pt x="845303" y="743338"/>
                      <a:pt x="867627" y="646745"/>
                      <a:pt x="772750" y="588788"/>
                    </a:cubicBezTo>
                    <a:cubicBezTo>
                      <a:pt x="729391" y="552726"/>
                      <a:pt x="648681" y="519241"/>
                      <a:pt x="565395" y="492193"/>
                    </a:cubicBezTo>
                    <a:cubicBezTo>
                      <a:pt x="534486" y="468582"/>
                      <a:pt x="515167" y="433379"/>
                      <a:pt x="488121" y="409767"/>
                    </a:cubicBezTo>
                    <a:close/>
                    <a:moveTo>
                      <a:pt x="314467" y="207"/>
                    </a:moveTo>
                    <a:cubicBezTo>
                      <a:pt x="302302" y="922"/>
                      <a:pt x="297652" y="4142"/>
                      <a:pt x="285488" y="8794"/>
                    </a:cubicBezTo>
                    <a:cubicBezTo>
                      <a:pt x="273325" y="13444"/>
                      <a:pt x="253826" y="20241"/>
                      <a:pt x="241485" y="28112"/>
                    </a:cubicBezTo>
                    <a:cubicBezTo>
                      <a:pt x="229142" y="35983"/>
                      <a:pt x="220377" y="43853"/>
                      <a:pt x="211433" y="56017"/>
                    </a:cubicBezTo>
                    <a:cubicBezTo>
                      <a:pt x="202489" y="68180"/>
                      <a:pt x="193724" y="87320"/>
                      <a:pt x="187821" y="101095"/>
                    </a:cubicBezTo>
                    <a:cubicBezTo>
                      <a:pt x="181919" y="114868"/>
                      <a:pt x="176194" y="121665"/>
                      <a:pt x="176015" y="138658"/>
                    </a:cubicBezTo>
                    <a:cubicBezTo>
                      <a:pt x="175837" y="155652"/>
                      <a:pt x="182813" y="191249"/>
                      <a:pt x="186748" y="203055"/>
                    </a:cubicBezTo>
                    <a:lnTo>
                      <a:pt x="187520" y="204007"/>
                    </a:lnTo>
                    <a:lnTo>
                      <a:pt x="191027" y="223887"/>
                    </a:lnTo>
                    <a:cubicBezTo>
                      <a:pt x="185407" y="222374"/>
                      <a:pt x="182724" y="232570"/>
                      <a:pt x="184333" y="241693"/>
                    </a:cubicBezTo>
                    <a:cubicBezTo>
                      <a:pt x="185943" y="250815"/>
                      <a:pt x="196139" y="265841"/>
                      <a:pt x="198822" y="277111"/>
                    </a:cubicBezTo>
                    <a:cubicBezTo>
                      <a:pt x="201505" y="288380"/>
                      <a:pt x="200298" y="299113"/>
                      <a:pt x="200432" y="309308"/>
                    </a:cubicBezTo>
                    <a:cubicBezTo>
                      <a:pt x="200566" y="319505"/>
                      <a:pt x="198285" y="331579"/>
                      <a:pt x="199627" y="338286"/>
                    </a:cubicBezTo>
                    <a:cubicBezTo>
                      <a:pt x="200969" y="344995"/>
                      <a:pt x="205128" y="346739"/>
                      <a:pt x="208482" y="349556"/>
                    </a:cubicBezTo>
                    <a:cubicBezTo>
                      <a:pt x="211836" y="352373"/>
                      <a:pt x="218275" y="343385"/>
                      <a:pt x="219751" y="355191"/>
                    </a:cubicBezTo>
                    <a:cubicBezTo>
                      <a:pt x="221227" y="366997"/>
                      <a:pt x="229008" y="395036"/>
                      <a:pt x="236655" y="410733"/>
                    </a:cubicBezTo>
                    <a:cubicBezTo>
                      <a:pt x="244301" y="426429"/>
                      <a:pt x="259999" y="439845"/>
                      <a:pt x="265633" y="449370"/>
                    </a:cubicBezTo>
                    <a:cubicBezTo>
                      <a:pt x="271268" y="458895"/>
                      <a:pt x="266438" y="460372"/>
                      <a:pt x="270463" y="467884"/>
                    </a:cubicBezTo>
                    <a:cubicBezTo>
                      <a:pt x="274487" y="475397"/>
                      <a:pt x="281330" y="484118"/>
                      <a:pt x="289781" y="494447"/>
                    </a:cubicBezTo>
                    <a:cubicBezTo>
                      <a:pt x="298233" y="504778"/>
                      <a:pt x="311246" y="524097"/>
                      <a:pt x="321175" y="529866"/>
                    </a:cubicBezTo>
                    <a:cubicBezTo>
                      <a:pt x="331102" y="535634"/>
                      <a:pt x="333383" y="536305"/>
                      <a:pt x="349348" y="529061"/>
                    </a:cubicBezTo>
                    <a:cubicBezTo>
                      <a:pt x="365312" y="521816"/>
                      <a:pt x="399657" y="499680"/>
                      <a:pt x="416963" y="486398"/>
                    </a:cubicBezTo>
                    <a:cubicBezTo>
                      <a:pt x="434270" y="473116"/>
                      <a:pt x="444331" y="459298"/>
                      <a:pt x="453186" y="449370"/>
                    </a:cubicBezTo>
                    <a:cubicBezTo>
                      <a:pt x="462041" y="439443"/>
                      <a:pt x="466601" y="434746"/>
                      <a:pt x="470089" y="426831"/>
                    </a:cubicBezTo>
                    <a:cubicBezTo>
                      <a:pt x="473577" y="418917"/>
                      <a:pt x="471968" y="409526"/>
                      <a:pt x="474115" y="401878"/>
                    </a:cubicBezTo>
                    <a:cubicBezTo>
                      <a:pt x="476261" y="394231"/>
                      <a:pt x="480688" y="390341"/>
                      <a:pt x="482969" y="380949"/>
                    </a:cubicBezTo>
                    <a:cubicBezTo>
                      <a:pt x="485249" y="371558"/>
                      <a:pt x="484847" y="352373"/>
                      <a:pt x="487799" y="345532"/>
                    </a:cubicBezTo>
                    <a:cubicBezTo>
                      <a:pt x="490750" y="338689"/>
                      <a:pt x="496788" y="343787"/>
                      <a:pt x="500678" y="339897"/>
                    </a:cubicBezTo>
                    <a:cubicBezTo>
                      <a:pt x="504569" y="336006"/>
                      <a:pt x="508996" y="331177"/>
                      <a:pt x="511142" y="322188"/>
                    </a:cubicBezTo>
                    <a:cubicBezTo>
                      <a:pt x="513289" y="313199"/>
                      <a:pt x="511947" y="299515"/>
                      <a:pt x="513557" y="285965"/>
                    </a:cubicBezTo>
                    <a:cubicBezTo>
                      <a:pt x="515167" y="272415"/>
                      <a:pt x="520131" y="252425"/>
                      <a:pt x="520801" y="240888"/>
                    </a:cubicBezTo>
                    <a:cubicBezTo>
                      <a:pt x="521473" y="229350"/>
                      <a:pt x="520131" y="222508"/>
                      <a:pt x="517582" y="216739"/>
                    </a:cubicBezTo>
                    <a:lnTo>
                      <a:pt x="505508" y="206274"/>
                    </a:lnTo>
                    <a:cubicBezTo>
                      <a:pt x="501482" y="205872"/>
                      <a:pt x="496788" y="209897"/>
                      <a:pt x="493433" y="214324"/>
                    </a:cubicBezTo>
                    <a:cubicBezTo>
                      <a:pt x="490893" y="217677"/>
                      <a:pt x="489661" y="229032"/>
                      <a:pt x="487525" y="232413"/>
                    </a:cubicBezTo>
                    <a:lnTo>
                      <a:pt x="486770" y="223363"/>
                    </a:lnTo>
                    <a:lnTo>
                      <a:pt x="488165" y="195462"/>
                    </a:lnTo>
                    <a:lnTo>
                      <a:pt x="490482" y="198762"/>
                    </a:lnTo>
                    <a:cubicBezTo>
                      <a:pt x="492986" y="200550"/>
                      <a:pt x="494238" y="195185"/>
                      <a:pt x="496921" y="194469"/>
                    </a:cubicBezTo>
                    <a:cubicBezTo>
                      <a:pt x="499604" y="193754"/>
                      <a:pt x="503002" y="193217"/>
                      <a:pt x="506581" y="194469"/>
                    </a:cubicBezTo>
                    <a:cubicBezTo>
                      <a:pt x="510158" y="195721"/>
                      <a:pt x="516419" y="202876"/>
                      <a:pt x="518386" y="201981"/>
                    </a:cubicBezTo>
                    <a:cubicBezTo>
                      <a:pt x="519370" y="201534"/>
                      <a:pt x="519370" y="200774"/>
                      <a:pt x="519124" y="198896"/>
                    </a:cubicBezTo>
                    <a:lnTo>
                      <a:pt x="518386" y="189102"/>
                    </a:lnTo>
                    <a:cubicBezTo>
                      <a:pt x="518391" y="189053"/>
                      <a:pt x="521603" y="159753"/>
                      <a:pt x="518386" y="142952"/>
                    </a:cubicBezTo>
                    <a:cubicBezTo>
                      <a:pt x="515167" y="126137"/>
                      <a:pt x="506760" y="103778"/>
                      <a:pt x="499068" y="88215"/>
                    </a:cubicBezTo>
                    <a:cubicBezTo>
                      <a:pt x="491376" y="72652"/>
                      <a:pt x="479213" y="57627"/>
                      <a:pt x="472236" y="49577"/>
                    </a:cubicBezTo>
                    <a:cubicBezTo>
                      <a:pt x="465260" y="41528"/>
                      <a:pt x="466154" y="44211"/>
                      <a:pt x="457210" y="39918"/>
                    </a:cubicBezTo>
                    <a:cubicBezTo>
                      <a:pt x="448266" y="35625"/>
                      <a:pt x="435030" y="29722"/>
                      <a:pt x="418572" y="23818"/>
                    </a:cubicBezTo>
                    <a:cubicBezTo>
                      <a:pt x="402117" y="17916"/>
                      <a:pt x="375821" y="8435"/>
                      <a:pt x="358470" y="4500"/>
                    </a:cubicBezTo>
                    <a:cubicBezTo>
                      <a:pt x="341118" y="564"/>
                      <a:pt x="326630" y="-509"/>
                      <a:pt x="314467" y="207"/>
                    </a:cubicBezTo>
                    <a:close/>
                  </a:path>
                </a:pathLst>
              </a:custGeom>
              <a:grpFill/>
              <a:ln w="25400" cap="flat" cmpd="sng" algn="ctr">
                <a:noFill/>
                <a:prstDash val="solid"/>
              </a:ln>
              <a:effectLst/>
            </p:spPr>
            <p:txBody>
              <a:bodyPr rtlCol="0" anchor="ctr"/>
              <a:lstStyle/>
              <a:p>
                <a:pPr algn="ctr" defTabSz="913578">
                  <a:defRPr/>
                </a:pPr>
                <a:endParaRPr lang="en-US" sz="1797" kern="0">
                  <a:solidFill>
                    <a:srgbClr val="FFFFFF"/>
                  </a:solidFill>
                  <a:latin typeface="Segoe UI"/>
                </a:endParaRPr>
              </a:p>
            </p:txBody>
          </p:sp>
          <p:sp>
            <p:nvSpPr>
              <p:cNvPr id="602" name="Freeform 231">
                <a:extLst>
                  <a:ext uri="{FF2B5EF4-FFF2-40B4-BE49-F238E27FC236}">
                    <a16:creationId xmlns:a16="http://schemas.microsoft.com/office/drawing/2014/main" id="{B9DFEC84-EE4E-4841-B3EC-55EBAB9FB448}"/>
                  </a:ext>
                </a:extLst>
              </p:cNvPr>
              <p:cNvSpPr/>
              <p:nvPr/>
            </p:nvSpPr>
            <p:spPr>
              <a:xfrm>
                <a:off x="5391990" y="2823081"/>
                <a:ext cx="2628060" cy="3263867"/>
              </a:xfrm>
              <a:custGeom>
                <a:avLst/>
                <a:gdLst>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338138 w 3900488"/>
                  <a:gd name="connsiteY63" fmla="*/ 4760516 h 4808141"/>
                  <a:gd name="connsiteX64" fmla="*/ 161925 w 3900488"/>
                  <a:gd name="connsiteY64" fmla="*/ 4436666 h 4808141"/>
                  <a:gd name="connsiteX65" fmla="*/ 57150 w 3900488"/>
                  <a:gd name="connsiteY65" fmla="*/ 4141391 h 4808141"/>
                  <a:gd name="connsiteX66" fmla="*/ 0 w 3900488"/>
                  <a:gd name="connsiteY66" fmla="*/ 3855641 h 4808141"/>
                  <a:gd name="connsiteX67" fmla="*/ 23813 w 3900488"/>
                  <a:gd name="connsiteY67" fmla="*/ 3703241 h 4808141"/>
                  <a:gd name="connsiteX68" fmla="*/ 219075 w 3900488"/>
                  <a:gd name="connsiteY68" fmla="*/ 3584179 h 4808141"/>
                  <a:gd name="connsiteX69" fmla="*/ 533400 w 3900488"/>
                  <a:gd name="connsiteY69" fmla="*/ 3450829 h 4808141"/>
                  <a:gd name="connsiteX70" fmla="*/ 933450 w 3900488"/>
                  <a:gd name="connsiteY70" fmla="*/ 3293666 h 4808141"/>
                  <a:gd name="connsiteX71" fmla="*/ 1133475 w 3900488"/>
                  <a:gd name="connsiteY71" fmla="*/ 3217466 h 4808141"/>
                  <a:gd name="connsiteX72" fmla="*/ 1276350 w 3900488"/>
                  <a:gd name="connsiteY72" fmla="*/ 2950766 h 4808141"/>
                  <a:gd name="connsiteX73" fmla="*/ 1371600 w 3900488"/>
                  <a:gd name="connsiteY73" fmla="*/ 2888854 h 4808141"/>
                  <a:gd name="connsiteX74" fmla="*/ 1443038 w 3900488"/>
                  <a:gd name="connsiteY74" fmla="*/ 2750741 h 4808141"/>
                  <a:gd name="connsiteX75" fmla="*/ 1428750 w 3900488"/>
                  <a:gd name="connsiteY75" fmla="*/ 2665016 h 4808141"/>
                  <a:gd name="connsiteX76" fmla="*/ 1432339 w 3900488"/>
                  <a:gd name="connsiteY76" fmla="*/ 2655556 h 4808141"/>
                  <a:gd name="connsiteX77" fmla="*/ 1411332 w 3900488"/>
                  <a:gd name="connsiteY77" fmla="*/ 2630242 h 4808141"/>
                  <a:gd name="connsiteX78" fmla="*/ 1169833 w 3900488"/>
                  <a:gd name="connsiteY78" fmla="*/ 2059985 h 4808141"/>
                  <a:gd name="connsiteX79" fmla="*/ 975688 w 3900488"/>
                  <a:gd name="connsiteY79" fmla="*/ 1612672 h 4808141"/>
                  <a:gd name="connsiteX80" fmla="*/ 1051451 w 3900488"/>
                  <a:gd name="connsiteY80" fmla="*/ 1487109 h 4808141"/>
                  <a:gd name="connsiteX81" fmla="*/ 1016847 w 3900488"/>
                  <a:gd name="connsiteY81" fmla="*/ 1277790 h 4808141"/>
                  <a:gd name="connsiteX82" fmla="*/ 933449 w 3900488"/>
                  <a:gd name="connsiteY82" fmla="*/ 1341041 h 4808141"/>
                  <a:gd name="connsiteX83" fmla="*/ 882649 w 3900488"/>
                  <a:gd name="connsiteY83" fmla="*/ 1404541 h 4808141"/>
                  <a:gd name="connsiteX84" fmla="*/ 838199 w 3900488"/>
                  <a:gd name="connsiteY84" fmla="*/ 1525191 h 4808141"/>
                  <a:gd name="connsiteX85" fmla="*/ 857249 w 3900488"/>
                  <a:gd name="connsiteY85" fmla="*/ 1645841 h 4808141"/>
                  <a:gd name="connsiteX86" fmla="*/ 888999 w 3900488"/>
                  <a:gd name="connsiteY86" fmla="*/ 1829991 h 4808141"/>
                  <a:gd name="connsiteX87" fmla="*/ 965199 w 3900488"/>
                  <a:gd name="connsiteY87" fmla="*/ 2128441 h 4808141"/>
                  <a:gd name="connsiteX88" fmla="*/ 1047749 w 3900488"/>
                  <a:gd name="connsiteY88" fmla="*/ 2198291 h 4808141"/>
                  <a:gd name="connsiteX89" fmla="*/ 1098549 w 3900488"/>
                  <a:gd name="connsiteY89" fmla="*/ 2331641 h 4808141"/>
                  <a:gd name="connsiteX90" fmla="*/ 1219199 w 3900488"/>
                  <a:gd name="connsiteY90" fmla="*/ 2566591 h 4808141"/>
                  <a:gd name="connsiteX91" fmla="*/ 1269999 w 3900488"/>
                  <a:gd name="connsiteY91" fmla="*/ 2712641 h 4808141"/>
                  <a:gd name="connsiteX92" fmla="*/ 1130299 w 3900488"/>
                  <a:gd name="connsiteY92" fmla="*/ 2750741 h 4808141"/>
                  <a:gd name="connsiteX93" fmla="*/ 927099 w 3900488"/>
                  <a:gd name="connsiteY93" fmla="*/ 2776141 h 4808141"/>
                  <a:gd name="connsiteX94" fmla="*/ 742949 w 3900488"/>
                  <a:gd name="connsiteY94" fmla="*/ 2731691 h 4808141"/>
                  <a:gd name="connsiteX95" fmla="*/ 660399 w 3900488"/>
                  <a:gd name="connsiteY95" fmla="*/ 2591991 h 4808141"/>
                  <a:gd name="connsiteX96" fmla="*/ 622299 w 3900488"/>
                  <a:gd name="connsiteY96" fmla="*/ 2344341 h 4808141"/>
                  <a:gd name="connsiteX97" fmla="*/ 634999 w 3900488"/>
                  <a:gd name="connsiteY97" fmla="*/ 2020491 h 4808141"/>
                  <a:gd name="connsiteX98" fmla="*/ 736599 w 3900488"/>
                  <a:gd name="connsiteY98" fmla="*/ 1328341 h 4808141"/>
                  <a:gd name="connsiteX99" fmla="*/ 971549 w 3900488"/>
                  <a:gd name="connsiteY99" fmla="*/ 623491 h 4808141"/>
                  <a:gd name="connsiteX100" fmla="*/ 1168399 w 3900488"/>
                  <a:gd name="connsiteY100" fmla="*/ 299641 h 4808141"/>
                  <a:gd name="connsiteX101" fmla="*/ 1358899 w 3900488"/>
                  <a:gd name="connsiteY101" fmla="*/ 140891 h 4808141"/>
                  <a:gd name="connsiteX102" fmla="*/ 1530349 w 3900488"/>
                  <a:gd name="connsiteY102" fmla="*/ 115491 h 4808141"/>
                  <a:gd name="connsiteX103" fmla="*/ 1676399 w 3900488"/>
                  <a:gd name="connsiteY103" fmla="*/ 13891 h 4808141"/>
                  <a:gd name="connsiteX104" fmla="*/ 1813321 w 3900488"/>
                  <a:gd name="connsiteY104" fmla="*/ 0 h 4808141"/>
                  <a:gd name="connsiteX0" fmla="*/ 3060949 w 3900488"/>
                  <a:gd name="connsiteY0" fmla="*/ 1005769 h 4760516"/>
                  <a:gd name="connsiteX1" fmla="*/ 3081338 w 3900488"/>
                  <a:gd name="connsiteY1" fmla="*/ 1026716 h 4760516"/>
                  <a:gd name="connsiteX2" fmla="*/ 3167063 w 3900488"/>
                  <a:gd name="connsiteY2" fmla="*/ 1369616 h 4760516"/>
                  <a:gd name="connsiteX3" fmla="*/ 3252788 w 3900488"/>
                  <a:gd name="connsiteY3" fmla="*/ 1822054 h 4760516"/>
                  <a:gd name="connsiteX4" fmla="*/ 3281363 w 3900488"/>
                  <a:gd name="connsiteY4" fmla="*/ 2255441 h 4760516"/>
                  <a:gd name="connsiteX5" fmla="*/ 3271838 w 3900488"/>
                  <a:gd name="connsiteY5" fmla="*/ 2526904 h 4760516"/>
                  <a:gd name="connsiteX6" fmla="*/ 3190875 w 3900488"/>
                  <a:gd name="connsiteY6" fmla="*/ 2722166 h 4760516"/>
                  <a:gd name="connsiteX7" fmla="*/ 3043238 w 3900488"/>
                  <a:gd name="connsiteY7" fmla="*/ 2750741 h 4760516"/>
                  <a:gd name="connsiteX8" fmla="*/ 2809875 w 3900488"/>
                  <a:gd name="connsiteY8" fmla="*/ 2731691 h 4760516"/>
                  <a:gd name="connsiteX9" fmla="*/ 2633663 w 3900488"/>
                  <a:gd name="connsiteY9" fmla="*/ 2669779 h 4760516"/>
                  <a:gd name="connsiteX10" fmla="*/ 2657475 w 3900488"/>
                  <a:gd name="connsiteY10" fmla="*/ 2603104 h 4760516"/>
                  <a:gd name="connsiteX11" fmla="*/ 2752725 w 3900488"/>
                  <a:gd name="connsiteY11" fmla="*/ 2474516 h 4760516"/>
                  <a:gd name="connsiteX12" fmla="*/ 2843213 w 3900488"/>
                  <a:gd name="connsiteY12" fmla="*/ 2255441 h 4760516"/>
                  <a:gd name="connsiteX13" fmla="*/ 2862263 w 3900488"/>
                  <a:gd name="connsiteY13" fmla="*/ 2160191 h 4760516"/>
                  <a:gd name="connsiteX14" fmla="*/ 2919413 w 3900488"/>
                  <a:gd name="connsiteY14" fmla="*/ 2098279 h 4760516"/>
                  <a:gd name="connsiteX15" fmla="*/ 3000375 w 3900488"/>
                  <a:gd name="connsiteY15" fmla="*/ 1855391 h 4760516"/>
                  <a:gd name="connsiteX16" fmla="*/ 3057525 w 3900488"/>
                  <a:gd name="connsiteY16" fmla="*/ 1598216 h 4760516"/>
                  <a:gd name="connsiteX17" fmla="*/ 3062288 w 3900488"/>
                  <a:gd name="connsiteY17" fmla="*/ 1483916 h 4760516"/>
                  <a:gd name="connsiteX18" fmla="*/ 3009900 w 3900488"/>
                  <a:gd name="connsiteY18" fmla="*/ 1379141 h 4760516"/>
                  <a:gd name="connsiteX19" fmla="*/ 2957513 w 3900488"/>
                  <a:gd name="connsiteY19" fmla="*/ 1331516 h 4760516"/>
                  <a:gd name="connsiteX20" fmla="*/ 2947988 w 3900488"/>
                  <a:gd name="connsiteY20" fmla="*/ 1236266 h 4760516"/>
                  <a:gd name="connsiteX21" fmla="*/ 2957513 w 3900488"/>
                  <a:gd name="connsiteY21" fmla="*/ 1121966 h 4760516"/>
                  <a:gd name="connsiteX22" fmla="*/ 3005138 w 3900488"/>
                  <a:gd name="connsiteY22" fmla="*/ 1050529 h 4760516"/>
                  <a:gd name="connsiteX23" fmla="*/ 3060949 w 3900488"/>
                  <a:gd name="connsiteY23" fmla="*/ 1005769 h 4760516"/>
                  <a:gd name="connsiteX24" fmla="*/ 1813321 w 3900488"/>
                  <a:gd name="connsiteY24" fmla="*/ 0 h 4760516"/>
                  <a:gd name="connsiteX25" fmla="*/ 1955799 w 3900488"/>
                  <a:gd name="connsiteY25" fmla="*/ 1191 h 4760516"/>
                  <a:gd name="connsiteX26" fmla="*/ 2152649 w 3900488"/>
                  <a:gd name="connsiteY26" fmla="*/ 20241 h 4760516"/>
                  <a:gd name="connsiteX27" fmla="*/ 2381249 w 3900488"/>
                  <a:gd name="connsiteY27" fmla="*/ 121841 h 4760516"/>
                  <a:gd name="connsiteX28" fmla="*/ 2641599 w 3900488"/>
                  <a:gd name="connsiteY28" fmla="*/ 331391 h 4760516"/>
                  <a:gd name="connsiteX29" fmla="*/ 2946399 w 3900488"/>
                  <a:gd name="connsiteY29" fmla="*/ 693341 h 4760516"/>
                  <a:gd name="connsiteX30" fmla="*/ 3060699 w 3900488"/>
                  <a:gd name="connsiteY30" fmla="*/ 883841 h 4760516"/>
                  <a:gd name="connsiteX31" fmla="*/ 3009899 w 3900488"/>
                  <a:gd name="connsiteY31" fmla="*/ 1004491 h 4760516"/>
                  <a:gd name="connsiteX32" fmla="*/ 2901949 w 3900488"/>
                  <a:gd name="connsiteY32" fmla="*/ 1061641 h 4760516"/>
                  <a:gd name="connsiteX33" fmla="*/ 2825749 w 3900488"/>
                  <a:gd name="connsiteY33" fmla="*/ 998141 h 4760516"/>
                  <a:gd name="connsiteX34" fmla="*/ 2654299 w 3900488"/>
                  <a:gd name="connsiteY34" fmla="*/ 820341 h 4760516"/>
                  <a:gd name="connsiteX35" fmla="*/ 2349499 w 3900488"/>
                  <a:gd name="connsiteY35" fmla="*/ 674291 h 4760516"/>
                  <a:gd name="connsiteX36" fmla="*/ 2019299 w 3900488"/>
                  <a:gd name="connsiteY36" fmla="*/ 674291 h 4760516"/>
                  <a:gd name="connsiteX37" fmla="*/ 2343149 w 3900488"/>
                  <a:gd name="connsiteY37" fmla="*/ 769541 h 4760516"/>
                  <a:gd name="connsiteX38" fmla="*/ 2552699 w 3900488"/>
                  <a:gd name="connsiteY38" fmla="*/ 909241 h 4760516"/>
                  <a:gd name="connsiteX39" fmla="*/ 2629040 w 3900488"/>
                  <a:gd name="connsiteY39" fmla="*/ 973620 h 4760516"/>
                  <a:gd name="connsiteX40" fmla="*/ 2900212 w 3900488"/>
                  <a:gd name="connsiteY40" fmla="*/ 1067700 h 4760516"/>
                  <a:gd name="connsiteX41" fmla="*/ 2829545 w 3900488"/>
                  <a:gd name="connsiteY41" fmla="*/ 1212445 h 4760516"/>
                  <a:gd name="connsiteX42" fmla="*/ 2829545 w 3900488"/>
                  <a:gd name="connsiteY42" fmla="*/ 1445256 h 4760516"/>
                  <a:gd name="connsiteX43" fmla="*/ 2938456 w 3900488"/>
                  <a:gd name="connsiteY43" fmla="*/ 1531580 h 4760516"/>
                  <a:gd name="connsiteX44" fmla="*/ 2822442 w 3900488"/>
                  <a:gd name="connsiteY44" fmla="*/ 2041674 h 4760516"/>
                  <a:gd name="connsiteX45" fmla="*/ 2756148 w 3900488"/>
                  <a:gd name="connsiteY45" fmla="*/ 2086142 h 4760516"/>
                  <a:gd name="connsiteX46" fmla="*/ 2479547 w 3900488"/>
                  <a:gd name="connsiteY46" fmla="*/ 2698176 h 4760516"/>
                  <a:gd name="connsiteX47" fmla="*/ 2528888 w 3900488"/>
                  <a:gd name="connsiteY47" fmla="*/ 2817416 h 4760516"/>
                  <a:gd name="connsiteX48" fmla="*/ 2590800 w 3900488"/>
                  <a:gd name="connsiteY48" fmla="*/ 2874566 h 4760516"/>
                  <a:gd name="connsiteX49" fmla="*/ 2657475 w 3900488"/>
                  <a:gd name="connsiteY49" fmla="*/ 2884091 h 4760516"/>
                  <a:gd name="connsiteX50" fmla="*/ 2681288 w 3900488"/>
                  <a:gd name="connsiteY50" fmla="*/ 2912666 h 4760516"/>
                  <a:gd name="connsiteX51" fmla="*/ 2747963 w 3900488"/>
                  <a:gd name="connsiteY51" fmla="*/ 3079354 h 4760516"/>
                  <a:gd name="connsiteX52" fmla="*/ 2843213 w 3900488"/>
                  <a:gd name="connsiteY52" fmla="*/ 3174604 h 4760516"/>
                  <a:gd name="connsiteX53" fmla="*/ 2938463 w 3900488"/>
                  <a:gd name="connsiteY53" fmla="*/ 3207941 h 4760516"/>
                  <a:gd name="connsiteX54" fmla="*/ 3281363 w 3900488"/>
                  <a:gd name="connsiteY54" fmla="*/ 3317479 h 4760516"/>
                  <a:gd name="connsiteX55" fmla="*/ 3657600 w 3900488"/>
                  <a:gd name="connsiteY55" fmla="*/ 3493691 h 4760516"/>
                  <a:gd name="connsiteX56" fmla="*/ 3867150 w 3900488"/>
                  <a:gd name="connsiteY56" fmla="*/ 3641329 h 4760516"/>
                  <a:gd name="connsiteX57" fmla="*/ 3900488 w 3900488"/>
                  <a:gd name="connsiteY57" fmla="*/ 3769916 h 4760516"/>
                  <a:gd name="connsiteX58" fmla="*/ 3876675 w 3900488"/>
                  <a:gd name="connsiteY58" fmla="*/ 4027091 h 4760516"/>
                  <a:gd name="connsiteX59" fmla="*/ 3790950 w 3900488"/>
                  <a:gd name="connsiteY59" fmla="*/ 4236641 h 4760516"/>
                  <a:gd name="connsiteX60" fmla="*/ 3619500 w 3900488"/>
                  <a:gd name="connsiteY60" fmla="*/ 4598591 h 4760516"/>
                  <a:gd name="connsiteX61" fmla="*/ 3471863 w 3900488"/>
                  <a:gd name="connsiteY61" fmla="*/ 4760516 h 4760516"/>
                  <a:gd name="connsiteX62" fmla="*/ 338138 w 3900488"/>
                  <a:gd name="connsiteY62" fmla="*/ 4760516 h 4760516"/>
                  <a:gd name="connsiteX63" fmla="*/ 161925 w 3900488"/>
                  <a:gd name="connsiteY63" fmla="*/ 4436666 h 4760516"/>
                  <a:gd name="connsiteX64" fmla="*/ 57150 w 3900488"/>
                  <a:gd name="connsiteY64" fmla="*/ 4141391 h 4760516"/>
                  <a:gd name="connsiteX65" fmla="*/ 0 w 3900488"/>
                  <a:gd name="connsiteY65" fmla="*/ 3855641 h 4760516"/>
                  <a:gd name="connsiteX66" fmla="*/ 23813 w 3900488"/>
                  <a:gd name="connsiteY66" fmla="*/ 3703241 h 4760516"/>
                  <a:gd name="connsiteX67" fmla="*/ 219075 w 3900488"/>
                  <a:gd name="connsiteY67" fmla="*/ 3584179 h 4760516"/>
                  <a:gd name="connsiteX68" fmla="*/ 533400 w 3900488"/>
                  <a:gd name="connsiteY68" fmla="*/ 3450829 h 4760516"/>
                  <a:gd name="connsiteX69" fmla="*/ 933450 w 3900488"/>
                  <a:gd name="connsiteY69" fmla="*/ 3293666 h 4760516"/>
                  <a:gd name="connsiteX70" fmla="*/ 1133475 w 3900488"/>
                  <a:gd name="connsiteY70" fmla="*/ 3217466 h 4760516"/>
                  <a:gd name="connsiteX71" fmla="*/ 1276350 w 3900488"/>
                  <a:gd name="connsiteY71" fmla="*/ 2950766 h 4760516"/>
                  <a:gd name="connsiteX72" fmla="*/ 1371600 w 3900488"/>
                  <a:gd name="connsiteY72" fmla="*/ 2888854 h 4760516"/>
                  <a:gd name="connsiteX73" fmla="*/ 1443038 w 3900488"/>
                  <a:gd name="connsiteY73" fmla="*/ 2750741 h 4760516"/>
                  <a:gd name="connsiteX74" fmla="*/ 1428750 w 3900488"/>
                  <a:gd name="connsiteY74" fmla="*/ 2665016 h 4760516"/>
                  <a:gd name="connsiteX75" fmla="*/ 1432339 w 3900488"/>
                  <a:gd name="connsiteY75" fmla="*/ 2655556 h 4760516"/>
                  <a:gd name="connsiteX76" fmla="*/ 1411332 w 3900488"/>
                  <a:gd name="connsiteY76" fmla="*/ 2630242 h 4760516"/>
                  <a:gd name="connsiteX77" fmla="*/ 1169833 w 3900488"/>
                  <a:gd name="connsiteY77" fmla="*/ 2059985 h 4760516"/>
                  <a:gd name="connsiteX78" fmla="*/ 975688 w 3900488"/>
                  <a:gd name="connsiteY78" fmla="*/ 1612672 h 4760516"/>
                  <a:gd name="connsiteX79" fmla="*/ 1051451 w 3900488"/>
                  <a:gd name="connsiteY79" fmla="*/ 1487109 h 4760516"/>
                  <a:gd name="connsiteX80" fmla="*/ 1016847 w 3900488"/>
                  <a:gd name="connsiteY80" fmla="*/ 1277790 h 4760516"/>
                  <a:gd name="connsiteX81" fmla="*/ 933449 w 3900488"/>
                  <a:gd name="connsiteY81" fmla="*/ 1341041 h 4760516"/>
                  <a:gd name="connsiteX82" fmla="*/ 882649 w 3900488"/>
                  <a:gd name="connsiteY82" fmla="*/ 1404541 h 4760516"/>
                  <a:gd name="connsiteX83" fmla="*/ 838199 w 3900488"/>
                  <a:gd name="connsiteY83" fmla="*/ 1525191 h 4760516"/>
                  <a:gd name="connsiteX84" fmla="*/ 857249 w 3900488"/>
                  <a:gd name="connsiteY84" fmla="*/ 1645841 h 4760516"/>
                  <a:gd name="connsiteX85" fmla="*/ 888999 w 3900488"/>
                  <a:gd name="connsiteY85" fmla="*/ 1829991 h 4760516"/>
                  <a:gd name="connsiteX86" fmla="*/ 965199 w 3900488"/>
                  <a:gd name="connsiteY86" fmla="*/ 2128441 h 4760516"/>
                  <a:gd name="connsiteX87" fmla="*/ 1047749 w 3900488"/>
                  <a:gd name="connsiteY87" fmla="*/ 2198291 h 4760516"/>
                  <a:gd name="connsiteX88" fmla="*/ 1098549 w 3900488"/>
                  <a:gd name="connsiteY88" fmla="*/ 2331641 h 4760516"/>
                  <a:gd name="connsiteX89" fmla="*/ 1219199 w 3900488"/>
                  <a:gd name="connsiteY89" fmla="*/ 2566591 h 4760516"/>
                  <a:gd name="connsiteX90" fmla="*/ 1269999 w 3900488"/>
                  <a:gd name="connsiteY90" fmla="*/ 2712641 h 4760516"/>
                  <a:gd name="connsiteX91" fmla="*/ 1130299 w 3900488"/>
                  <a:gd name="connsiteY91" fmla="*/ 2750741 h 4760516"/>
                  <a:gd name="connsiteX92" fmla="*/ 927099 w 3900488"/>
                  <a:gd name="connsiteY92" fmla="*/ 2776141 h 4760516"/>
                  <a:gd name="connsiteX93" fmla="*/ 742949 w 3900488"/>
                  <a:gd name="connsiteY93" fmla="*/ 2731691 h 4760516"/>
                  <a:gd name="connsiteX94" fmla="*/ 660399 w 3900488"/>
                  <a:gd name="connsiteY94" fmla="*/ 2591991 h 4760516"/>
                  <a:gd name="connsiteX95" fmla="*/ 622299 w 3900488"/>
                  <a:gd name="connsiteY95" fmla="*/ 2344341 h 4760516"/>
                  <a:gd name="connsiteX96" fmla="*/ 634999 w 3900488"/>
                  <a:gd name="connsiteY96" fmla="*/ 2020491 h 4760516"/>
                  <a:gd name="connsiteX97" fmla="*/ 736599 w 3900488"/>
                  <a:gd name="connsiteY97" fmla="*/ 1328341 h 4760516"/>
                  <a:gd name="connsiteX98" fmla="*/ 971549 w 3900488"/>
                  <a:gd name="connsiteY98" fmla="*/ 623491 h 4760516"/>
                  <a:gd name="connsiteX99" fmla="*/ 1168399 w 3900488"/>
                  <a:gd name="connsiteY99" fmla="*/ 299641 h 4760516"/>
                  <a:gd name="connsiteX100" fmla="*/ 1358899 w 3900488"/>
                  <a:gd name="connsiteY100" fmla="*/ 140891 h 4760516"/>
                  <a:gd name="connsiteX101" fmla="*/ 1530349 w 3900488"/>
                  <a:gd name="connsiteY101" fmla="*/ 115491 h 4760516"/>
                  <a:gd name="connsiteX102" fmla="*/ 1676399 w 3900488"/>
                  <a:gd name="connsiteY102" fmla="*/ 13891 h 4760516"/>
                  <a:gd name="connsiteX103" fmla="*/ 1813321 w 3900488"/>
                  <a:gd name="connsiteY103" fmla="*/ 0 h 4760516"/>
                  <a:gd name="connsiteX0" fmla="*/ 3061653 w 3901192"/>
                  <a:gd name="connsiteY0" fmla="*/ 1005769 h 4760516"/>
                  <a:gd name="connsiteX1" fmla="*/ 3082042 w 3901192"/>
                  <a:gd name="connsiteY1" fmla="*/ 1026716 h 4760516"/>
                  <a:gd name="connsiteX2" fmla="*/ 3167767 w 3901192"/>
                  <a:gd name="connsiteY2" fmla="*/ 1369616 h 4760516"/>
                  <a:gd name="connsiteX3" fmla="*/ 3253492 w 3901192"/>
                  <a:gd name="connsiteY3" fmla="*/ 1822054 h 4760516"/>
                  <a:gd name="connsiteX4" fmla="*/ 3282067 w 3901192"/>
                  <a:gd name="connsiteY4" fmla="*/ 2255441 h 4760516"/>
                  <a:gd name="connsiteX5" fmla="*/ 3272542 w 3901192"/>
                  <a:gd name="connsiteY5" fmla="*/ 2526904 h 4760516"/>
                  <a:gd name="connsiteX6" fmla="*/ 3191579 w 3901192"/>
                  <a:gd name="connsiteY6" fmla="*/ 2722166 h 4760516"/>
                  <a:gd name="connsiteX7" fmla="*/ 3043942 w 3901192"/>
                  <a:gd name="connsiteY7" fmla="*/ 2750741 h 4760516"/>
                  <a:gd name="connsiteX8" fmla="*/ 2810579 w 3901192"/>
                  <a:gd name="connsiteY8" fmla="*/ 2731691 h 4760516"/>
                  <a:gd name="connsiteX9" fmla="*/ 2634367 w 3901192"/>
                  <a:gd name="connsiteY9" fmla="*/ 2669779 h 4760516"/>
                  <a:gd name="connsiteX10" fmla="*/ 2658179 w 3901192"/>
                  <a:gd name="connsiteY10" fmla="*/ 2603104 h 4760516"/>
                  <a:gd name="connsiteX11" fmla="*/ 2753429 w 3901192"/>
                  <a:gd name="connsiteY11" fmla="*/ 2474516 h 4760516"/>
                  <a:gd name="connsiteX12" fmla="*/ 2843917 w 3901192"/>
                  <a:gd name="connsiteY12" fmla="*/ 2255441 h 4760516"/>
                  <a:gd name="connsiteX13" fmla="*/ 2862967 w 3901192"/>
                  <a:gd name="connsiteY13" fmla="*/ 2160191 h 4760516"/>
                  <a:gd name="connsiteX14" fmla="*/ 2920117 w 3901192"/>
                  <a:gd name="connsiteY14" fmla="*/ 2098279 h 4760516"/>
                  <a:gd name="connsiteX15" fmla="*/ 3001079 w 3901192"/>
                  <a:gd name="connsiteY15" fmla="*/ 1855391 h 4760516"/>
                  <a:gd name="connsiteX16" fmla="*/ 3058229 w 3901192"/>
                  <a:gd name="connsiteY16" fmla="*/ 1598216 h 4760516"/>
                  <a:gd name="connsiteX17" fmla="*/ 3062992 w 3901192"/>
                  <a:gd name="connsiteY17" fmla="*/ 1483916 h 4760516"/>
                  <a:gd name="connsiteX18" fmla="*/ 3010604 w 3901192"/>
                  <a:gd name="connsiteY18" fmla="*/ 1379141 h 4760516"/>
                  <a:gd name="connsiteX19" fmla="*/ 2958217 w 3901192"/>
                  <a:gd name="connsiteY19" fmla="*/ 1331516 h 4760516"/>
                  <a:gd name="connsiteX20" fmla="*/ 2948692 w 3901192"/>
                  <a:gd name="connsiteY20" fmla="*/ 1236266 h 4760516"/>
                  <a:gd name="connsiteX21" fmla="*/ 2958217 w 3901192"/>
                  <a:gd name="connsiteY21" fmla="*/ 1121966 h 4760516"/>
                  <a:gd name="connsiteX22" fmla="*/ 3005842 w 3901192"/>
                  <a:gd name="connsiteY22" fmla="*/ 1050529 h 4760516"/>
                  <a:gd name="connsiteX23" fmla="*/ 3061653 w 3901192"/>
                  <a:gd name="connsiteY23" fmla="*/ 1005769 h 4760516"/>
                  <a:gd name="connsiteX24" fmla="*/ 1814025 w 3901192"/>
                  <a:gd name="connsiteY24" fmla="*/ 0 h 4760516"/>
                  <a:gd name="connsiteX25" fmla="*/ 1956503 w 3901192"/>
                  <a:gd name="connsiteY25" fmla="*/ 1191 h 4760516"/>
                  <a:gd name="connsiteX26" fmla="*/ 2153353 w 3901192"/>
                  <a:gd name="connsiteY26" fmla="*/ 20241 h 4760516"/>
                  <a:gd name="connsiteX27" fmla="*/ 2381953 w 3901192"/>
                  <a:gd name="connsiteY27" fmla="*/ 121841 h 4760516"/>
                  <a:gd name="connsiteX28" fmla="*/ 2642303 w 3901192"/>
                  <a:gd name="connsiteY28" fmla="*/ 331391 h 4760516"/>
                  <a:gd name="connsiteX29" fmla="*/ 2947103 w 3901192"/>
                  <a:gd name="connsiteY29" fmla="*/ 693341 h 4760516"/>
                  <a:gd name="connsiteX30" fmla="*/ 3061403 w 3901192"/>
                  <a:gd name="connsiteY30" fmla="*/ 883841 h 4760516"/>
                  <a:gd name="connsiteX31" fmla="*/ 3010603 w 3901192"/>
                  <a:gd name="connsiteY31" fmla="*/ 1004491 h 4760516"/>
                  <a:gd name="connsiteX32" fmla="*/ 2902653 w 3901192"/>
                  <a:gd name="connsiteY32" fmla="*/ 1061641 h 4760516"/>
                  <a:gd name="connsiteX33" fmla="*/ 2826453 w 3901192"/>
                  <a:gd name="connsiteY33" fmla="*/ 998141 h 4760516"/>
                  <a:gd name="connsiteX34" fmla="*/ 2655003 w 3901192"/>
                  <a:gd name="connsiteY34" fmla="*/ 820341 h 4760516"/>
                  <a:gd name="connsiteX35" fmla="*/ 2350203 w 3901192"/>
                  <a:gd name="connsiteY35" fmla="*/ 674291 h 4760516"/>
                  <a:gd name="connsiteX36" fmla="*/ 2020003 w 3901192"/>
                  <a:gd name="connsiteY36" fmla="*/ 674291 h 4760516"/>
                  <a:gd name="connsiteX37" fmla="*/ 2343853 w 3901192"/>
                  <a:gd name="connsiteY37" fmla="*/ 769541 h 4760516"/>
                  <a:gd name="connsiteX38" fmla="*/ 2553403 w 3901192"/>
                  <a:gd name="connsiteY38" fmla="*/ 909241 h 4760516"/>
                  <a:gd name="connsiteX39" fmla="*/ 2629744 w 3901192"/>
                  <a:gd name="connsiteY39" fmla="*/ 973620 h 4760516"/>
                  <a:gd name="connsiteX40" fmla="*/ 2900916 w 3901192"/>
                  <a:gd name="connsiteY40" fmla="*/ 1067700 h 4760516"/>
                  <a:gd name="connsiteX41" fmla="*/ 2830249 w 3901192"/>
                  <a:gd name="connsiteY41" fmla="*/ 1212445 h 4760516"/>
                  <a:gd name="connsiteX42" fmla="*/ 2830249 w 3901192"/>
                  <a:gd name="connsiteY42" fmla="*/ 1445256 h 4760516"/>
                  <a:gd name="connsiteX43" fmla="*/ 2939160 w 3901192"/>
                  <a:gd name="connsiteY43" fmla="*/ 1531580 h 4760516"/>
                  <a:gd name="connsiteX44" fmla="*/ 2823146 w 3901192"/>
                  <a:gd name="connsiteY44" fmla="*/ 2041674 h 4760516"/>
                  <a:gd name="connsiteX45" fmla="*/ 2756852 w 3901192"/>
                  <a:gd name="connsiteY45" fmla="*/ 2086142 h 4760516"/>
                  <a:gd name="connsiteX46" fmla="*/ 2480251 w 3901192"/>
                  <a:gd name="connsiteY46" fmla="*/ 2698176 h 4760516"/>
                  <a:gd name="connsiteX47" fmla="*/ 2529592 w 3901192"/>
                  <a:gd name="connsiteY47" fmla="*/ 2817416 h 4760516"/>
                  <a:gd name="connsiteX48" fmla="*/ 2591504 w 3901192"/>
                  <a:gd name="connsiteY48" fmla="*/ 2874566 h 4760516"/>
                  <a:gd name="connsiteX49" fmla="*/ 2658179 w 3901192"/>
                  <a:gd name="connsiteY49" fmla="*/ 2884091 h 4760516"/>
                  <a:gd name="connsiteX50" fmla="*/ 2681992 w 3901192"/>
                  <a:gd name="connsiteY50" fmla="*/ 2912666 h 4760516"/>
                  <a:gd name="connsiteX51" fmla="*/ 2748667 w 3901192"/>
                  <a:gd name="connsiteY51" fmla="*/ 3079354 h 4760516"/>
                  <a:gd name="connsiteX52" fmla="*/ 2843917 w 3901192"/>
                  <a:gd name="connsiteY52" fmla="*/ 3174604 h 4760516"/>
                  <a:gd name="connsiteX53" fmla="*/ 2939167 w 3901192"/>
                  <a:gd name="connsiteY53" fmla="*/ 3207941 h 4760516"/>
                  <a:gd name="connsiteX54" fmla="*/ 3282067 w 3901192"/>
                  <a:gd name="connsiteY54" fmla="*/ 3317479 h 4760516"/>
                  <a:gd name="connsiteX55" fmla="*/ 3658304 w 3901192"/>
                  <a:gd name="connsiteY55" fmla="*/ 3493691 h 4760516"/>
                  <a:gd name="connsiteX56" fmla="*/ 3867854 w 3901192"/>
                  <a:gd name="connsiteY56" fmla="*/ 3641329 h 4760516"/>
                  <a:gd name="connsiteX57" fmla="*/ 3901192 w 3901192"/>
                  <a:gd name="connsiteY57" fmla="*/ 3769916 h 4760516"/>
                  <a:gd name="connsiteX58" fmla="*/ 3877379 w 3901192"/>
                  <a:gd name="connsiteY58" fmla="*/ 4027091 h 4760516"/>
                  <a:gd name="connsiteX59" fmla="*/ 3791654 w 3901192"/>
                  <a:gd name="connsiteY59" fmla="*/ 4236641 h 4760516"/>
                  <a:gd name="connsiteX60" fmla="*/ 3620204 w 3901192"/>
                  <a:gd name="connsiteY60" fmla="*/ 4598591 h 4760516"/>
                  <a:gd name="connsiteX61" fmla="*/ 3472567 w 3901192"/>
                  <a:gd name="connsiteY61" fmla="*/ 4760516 h 4760516"/>
                  <a:gd name="connsiteX62" fmla="*/ 338842 w 3901192"/>
                  <a:gd name="connsiteY62" fmla="*/ 4760516 h 4760516"/>
                  <a:gd name="connsiteX63" fmla="*/ 162629 w 3901192"/>
                  <a:gd name="connsiteY63" fmla="*/ 4436666 h 4760516"/>
                  <a:gd name="connsiteX64" fmla="*/ 57854 w 3901192"/>
                  <a:gd name="connsiteY64" fmla="*/ 4141391 h 4760516"/>
                  <a:gd name="connsiteX65" fmla="*/ 704 w 3901192"/>
                  <a:gd name="connsiteY65" fmla="*/ 3855641 h 4760516"/>
                  <a:gd name="connsiteX66" fmla="*/ 24517 w 3901192"/>
                  <a:gd name="connsiteY66" fmla="*/ 3703241 h 4760516"/>
                  <a:gd name="connsiteX67" fmla="*/ 219779 w 3901192"/>
                  <a:gd name="connsiteY67" fmla="*/ 3584179 h 4760516"/>
                  <a:gd name="connsiteX68" fmla="*/ 534104 w 3901192"/>
                  <a:gd name="connsiteY68" fmla="*/ 3450829 h 4760516"/>
                  <a:gd name="connsiteX69" fmla="*/ 934154 w 3901192"/>
                  <a:gd name="connsiteY69" fmla="*/ 3293666 h 4760516"/>
                  <a:gd name="connsiteX70" fmla="*/ 1134179 w 3901192"/>
                  <a:gd name="connsiteY70" fmla="*/ 3217466 h 4760516"/>
                  <a:gd name="connsiteX71" fmla="*/ 1277054 w 3901192"/>
                  <a:gd name="connsiteY71" fmla="*/ 2950766 h 4760516"/>
                  <a:gd name="connsiteX72" fmla="*/ 1372304 w 3901192"/>
                  <a:gd name="connsiteY72" fmla="*/ 2888854 h 4760516"/>
                  <a:gd name="connsiteX73" fmla="*/ 1443742 w 3901192"/>
                  <a:gd name="connsiteY73" fmla="*/ 2750741 h 4760516"/>
                  <a:gd name="connsiteX74" fmla="*/ 1429454 w 3901192"/>
                  <a:gd name="connsiteY74" fmla="*/ 2665016 h 4760516"/>
                  <a:gd name="connsiteX75" fmla="*/ 1433043 w 3901192"/>
                  <a:gd name="connsiteY75" fmla="*/ 2655556 h 4760516"/>
                  <a:gd name="connsiteX76" fmla="*/ 1412036 w 3901192"/>
                  <a:gd name="connsiteY76" fmla="*/ 2630242 h 4760516"/>
                  <a:gd name="connsiteX77" fmla="*/ 1170537 w 3901192"/>
                  <a:gd name="connsiteY77" fmla="*/ 2059985 h 4760516"/>
                  <a:gd name="connsiteX78" fmla="*/ 976392 w 3901192"/>
                  <a:gd name="connsiteY78" fmla="*/ 1612672 h 4760516"/>
                  <a:gd name="connsiteX79" fmla="*/ 1052155 w 3901192"/>
                  <a:gd name="connsiteY79" fmla="*/ 1487109 h 4760516"/>
                  <a:gd name="connsiteX80" fmla="*/ 1017551 w 3901192"/>
                  <a:gd name="connsiteY80" fmla="*/ 1277790 h 4760516"/>
                  <a:gd name="connsiteX81" fmla="*/ 934153 w 3901192"/>
                  <a:gd name="connsiteY81" fmla="*/ 1341041 h 4760516"/>
                  <a:gd name="connsiteX82" fmla="*/ 883353 w 3901192"/>
                  <a:gd name="connsiteY82" fmla="*/ 1404541 h 4760516"/>
                  <a:gd name="connsiteX83" fmla="*/ 838903 w 3901192"/>
                  <a:gd name="connsiteY83" fmla="*/ 1525191 h 4760516"/>
                  <a:gd name="connsiteX84" fmla="*/ 857953 w 3901192"/>
                  <a:gd name="connsiteY84" fmla="*/ 1645841 h 4760516"/>
                  <a:gd name="connsiteX85" fmla="*/ 889703 w 3901192"/>
                  <a:gd name="connsiteY85" fmla="*/ 1829991 h 4760516"/>
                  <a:gd name="connsiteX86" fmla="*/ 965903 w 3901192"/>
                  <a:gd name="connsiteY86" fmla="*/ 2128441 h 4760516"/>
                  <a:gd name="connsiteX87" fmla="*/ 1048453 w 3901192"/>
                  <a:gd name="connsiteY87" fmla="*/ 2198291 h 4760516"/>
                  <a:gd name="connsiteX88" fmla="*/ 1099253 w 3901192"/>
                  <a:gd name="connsiteY88" fmla="*/ 2331641 h 4760516"/>
                  <a:gd name="connsiteX89" fmla="*/ 1219903 w 3901192"/>
                  <a:gd name="connsiteY89" fmla="*/ 2566591 h 4760516"/>
                  <a:gd name="connsiteX90" fmla="*/ 1270703 w 3901192"/>
                  <a:gd name="connsiteY90" fmla="*/ 2712641 h 4760516"/>
                  <a:gd name="connsiteX91" fmla="*/ 1131003 w 3901192"/>
                  <a:gd name="connsiteY91" fmla="*/ 2750741 h 4760516"/>
                  <a:gd name="connsiteX92" fmla="*/ 927803 w 3901192"/>
                  <a:gd name="connsiteY92" fmla="*/ 2776141 h 4760516"/>
                  <a:gd name="connsiteX93" fmla="*/ 743653 w 3901192"/>
                  <a:gd name="connsiteY93" fmla="*/ 2731691 h 4760516"/>
                  <a:gd name="connsiteX94" fmla="*/ 661103 w 3901192"/>
                  <a:gd name="connsiteY94" fmla="*/ 2591991 h 4760516"/>
                  <a:gd name="connsiteX95" fmla="*/ 623003 w 3901192"/>
                  <a:gd name="connsiteY95" fmla="*/ 2344341 h 4760516"/>
                  <a:gd name="connsiteX96" fmla="*/ 635703 w 3901192"/>
                  <a:gd name="connsiteY96" fmla="*/ 2020491 h 4760516"/>
                  <a:gd name="connsiteX97" fmla="*/ 737303 w 3901192"/>
                  <a:gd name="connsiteY97" fmla="*/ 1328341 h 4760516"/>
                  <a:gd name="connsiteX98" fmla="*/ 972253 w 3901192"/>
                  <a:gd name="connsiteY98" fmla="*/ 623491 h 4760516"/>
                  <a:gd name="connsiteX99" fmla="*/ 1169103 w 3901192"/>
                  <a:gd name="connsiteY99" fmla="*/ 299641 h 4760516"/>
                  <a:gd name="connsiteX100" fmla="*/ 1359603 w 3901192"/>
                  <a:gd name="connsiteY100" fmla="*/ 140891 h 4760516"/>
                  <a:gd name="connsiteX101" fmla="*/ 1531053 w 3901192"/>
                  <a:gd name="connsiteY101" fmla="*/ 115491 h 4760516"/>
                  <a:gd name="connsiteX102" fmla="*/ 1677103 w 3901192"/>
                  <a:gd name="connsiteY102" fmla="*/ 13891 h 4760516"/>
                  <a:gd name="connsiteX103" fmla="*/ 1814025 w 3901192"/>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2384"/>
                  <a:gd name="connsiteY0" fmla="*/ 1005769 h 4760516"/>
                  <a:gd name="connsiteX1" fmla="*/ 3082677 w 3902384"/>
                  <a:gd name="connsiteY1" fmla="*/ 1026716 h 4760516"/>
                  <a:gd name="connsiteX2" fmla="*/ 3168402 w 3902384"/>
                  <a:gd name="connsiteY2" fmla="*/ 1369616 h 4760516"/>
                  <a:gd name="connsiteX3" fmla="*/ 3254127 w 3902384"/>
                  <a:gd name="connsiteY3" fmla="*/ 1822054 h 4760516"/>
                  <a:gd name="connsiteX4" fmla="*/ 3282702 w 3902384"/>
                  <a:gd name="connsiteY4" fmla="*/ 2255441 h 4760516"/>
                  <a:gd name="connsiteX5" fmla="*/ 3273177 w 3902384"/>
                  <a:gd name="connsiteY5" fmla="*/ 2526904 h 4760516"/>
                  <a:gd name="connsiteX6" fmla="*/ 3192214 w 3902384"/>
                  <a:gd name="connsiteY6" fmla="*/ 2722166 h 4760516"/>
                  <a:gd name="connsiteX7" fmla="*/ 3044577 w 3902384"/>
                  <a:gd name="connsiteY7" fmla="*/ 2750741 h 4760516"/>
                  <a:gd name="connsiteX8" fmla="*/ 2811214 w 3902384"/>
                  <a:gd name="connsiteY8" fmla="*/ 2731691 h 4760516"/>
                  <a:gd name="connsiteX9" fmla="*/ 2635002 w 3902384"/>
                  <a:gd name="connsiteY9" fmla="*/ 2669779 h 4760516"/>
                  <a:gd name="connsiteX10" fmla="*/ 2658814 w 3902384"/>
                  <a:gd name="connsiteY10" fmla="*/ 2603104 h 4760516"/>
                  <a:gd name="connsiteX11" fmla="*/ 2754064 w 3902384"/>
                  <a:gd name="connsiteY11" fmla="*/ 2474516 h 4760516"/>
                  <a:gd name="connsiteX12" fmla="*/ 2844552 w 3902384"/>
                  <a:gd name="connsiteY12" fmla="*/ 2255441 h 4760516"/>
                  <a:gd name="connsiteX13" fmla="*/ 2863602 w 3902384"/>
                  <a:gd name="connsiteY13" fmla="*/ 2160191 h 4760516"/>
                  <a:gd name="connsiteX14" fmla="*/ 2920752 w 3902384"/>
                  <a:gd name="connsiteY14" fmla="*/ 2098279 h 4760516"/>
                  <a:gd name="connsiteX15" fmla="*/ 3001714 w 3902384"/>
                  <a:gd name="connsiteY15" fmla="*/ 1855391 h 4760516"/>
                  <a:gd name="connsiteX16" fmla="*/ 3058864 w 3902384"/>
                  <a:gd name="connsiteY16" fmla="*/ 1598216 h 4760516"/>
                  <a:gd name="connsiteX17" fmla="*/ 3063627 w 3902384"/>
                  <a:gd name="connsiteY17" fmla="*/ 1483916 h 4760516"/>
                  <a:gd name="connsiteX18" fmla="*/ 3011239 w 3902384"/>
                  <a:gd name="connsiteY18" fmla="*/ 1379141 h 4760516"/>
                  <a:gd name="connsiteX19" fmla="*/ 2958852 w 3902384"/>
                  <a:gd name="connsiteY19" fmla="*/ 1331516 h 4760516"/>
                  <a:gd name="connsiteX20" fmla="*/ 2949327 w 3902384"/>
                  <a:gd name="connsiteY20" fmla="*/ 1236266 h 4760516"/>
                  <a:gd name="connsiteX21" fmla="*/ 2958852 w 3902384"/>
                  <a:gd name="connsiteY21" fmla="*/ 1121966 h 4760516"/>
                  <a:gd name="connsiteX22" fmla="*/ 3006477 w 3902384"/>
                  <a:gd name="connsiteY22" fmla="*/ 1050529 h 4760516"/>
                  <a:gd name="connsiteX23" fmla="*/ 3062288 w 3902384"/>
                  <a:gd name="connsiteY23" fmla="*/ 1005769 h 4760516"/>
                  <a:gd name="connsiteX24" fmla="*/ 1814660 w 3902384"/>
                  <a:gd name="connsiteY24" fmla="*/ 0 h 4760516"/>
                  <a:gd name="connsiteX25" fmla="*/ 1957138 w 3902384"/>
                  <a:gd name="connsiteY25" fmla="*/ 1191 h 4760516"/>
                  <a:gd name="connsiteX26" fmla="*/ 2153988 w 3902384"/>
                  <a:gd name="connsiteY26" fmla="*/ 20241 h 4760516"/>
                  <a:gd name="connsiteX27" fmla="*/ 2382588 w 3902384"/>
                  <a:gd name="connsiteY27" fmla="*/ 121841 h 4760516"/>
                  <a:gd name="connsiteX28" fmla="*/ 2642938 w 3902384"/>
                  <a:gd name="connsiteY28" fmla="*/ 331391 h 4760516"/>
                  <a:gd name="connsiteX29" fmla="*/ 2947738 w 3902384"/>
                  <a:gd name="connsiteY29" fmla="*/ 693341 h 4760516"/>
                  <a:gd name="connsiteX30" fmla="*/ 3062038 w 3902384"/>
                  <a:gd name="connsiteY30" fmla="*/ 883841 h 4760516"/>
                  <a:gd name="connsiteX31" fmla="*/ 3011238 w 3902384"/>
                  <a:gd name="connsiteY31" fmla="*/ 1004491 h 4760516"/>
                  <a:gd name="connsiteX32" fmla="*/ 2903288 w 3902384"/>
                  <a:gd name="connsiteY32" fmla="*/ 1061641 h 4760516"/>
                  <a:gd name="connsiteX33" fmla="*/ 2827088 w 3902384"/>
                  <a:gd name="connsiteY33" fmla="*/ 998141 h 4760516"/>
                  <a:gd name="connsiteX34" fmla="*/ 2655638 w 3902384"/>
                  <a:gd name="connsiteY34" fmla="*/ 820341 h 4760516"/>
                  <a:gd name="connsiteX35" fmla="*/ 2350838 w 3902384"/>
                  <a:gd name="connsiteY35" fmla="*/ 674291 h 4760516"/>
                  <a:gd name="connsiteX36" fmla="*/ 2020638 w 3902384"/>
                  <a:gd name="connsiteY36" fmla="*/ 674291 h 4760516"/>
                  <a:gd name="connsiteX37" fmla="*/ 2344488 w 3902384"/>
                  <a:gd name="connsiteY37" fmla="*/ 769541 h 4760516"/>
                  <a:gd name="connsiteX38" fmla="*/ 2554038 w 3902384"/>
                  <a:gd name="connsiteY38" fmla="*/ 909241 h 4760516"/>
                  <a:gd name="connsiteX39" fmla="*/ 2630379 w 3902384"/>
                  <a:gd name="connsiteY39" fmla="*/ 973620 h 4760516"/>
                  <a:gd name="connsiteX40" fmla="*/ 2901551 w 3902384"/>
                  <a:gd name="connsiteY40" fmla="*/ 1067700 h 4760516"/>
                  <a:gd name="connsiteX41" fmla="*/ 2830884 w 3902384"/>
                  <a:gd name="connsiteY41" fmla="*/ 1212445 h 4760516"/>
                  <a:gd name="connsiteX42" fmla="*/ 2830884 w 3902384"/>
                  <a:gd name="connsiteY42" fmla="*/ 1445256 h 4760516"/>
                  <a:gd name="connsiteX43" fmla="*/ 2939795 w 3902384"/>
                  <a:gd name="connsiteY43" fmla="*/ 1531580 h 4760516"/>
                  <a:gd name="connsiteX44" fmla="*/ 2823781 w 3902384"/>
                  <a:gd name="connsiteY44" fmla="*/ 2041674 h 4760516"/>
                  <a:gd name="connsiteX45" fmla="*/ 2757487 w 3902384"/>
                  <a:gd name="connsiteY45" fmla="*/ 2086142 h 4760516"/>
                  <a:gd name="connsiteX46" fmla="*/ 2480886 w 3902384"/>
                  <a:gd name="connsiteY46" fmla="*/ 2698176 h 4760516"/>
                  <a:gd name="connsiteX47" fmla="*/ 2530227 w 3902384"/>
                  <a:gd name="connsiteY47" fmla="*/ 2817416 h 4760516"/>
                  <a:gd name="connsiteX48" fmla="*/ 2592139 w 3902384"/>
                  <a:gd name="connsiteY48" fmla="*/ 2874566 h 4760516"/>
                  <a:gd name="connsiteX49" fmla="*/ 2658814 w 3902384"/>
                  <a:gd name="connsiteY49" fmla="*/ 2884091 h 4760516"/>
                  <a:gd name="connsiteX50" fmla="*/ 2682627 w 3902384"/>
                  <a:gd name="connsiteY50" fmla="*/ 2912666 h 4760516"/>
                  <a:gd name="connsiteX51" fmla="*/ 2749302 w 3902384"/>
                  <a:gd name="connsiteY51" fmla="*/ 3079354 h 4760516"/>
                  <a:gd name="connsiteX52" fmla="*/ 2844552 w 3902384"/>
                  <a:gd name="connsiteY52" fmla="*/ 3174604 h 4760516"/>
                  <a:gd name="connsiteX53" fmla="*/ 2939802 w 3902384"/>
                  <a:gd name="connsiteY53" fmla="*/ 3207941 h 4760516"/>
                  <a:gd name="connsiteX54" fmla="*/ 3282702 w 3902384"/>
                  <a:gd name="connsiteY54" fmla="*/ 3317479 h 4760516"/>
                  <a:gd name="connsiteX55" fmla="*/ 3658939 w 3902384"/>
                  <a:gd name="connsiteY55" fmla="*/ 3493691 h 4760516"/>
                  <a:gd name="connsiteX56" fmla="*/ 3868489 w 3902384"/>
                  <a:gd name="connsiteY56" fmla="*/ 3641329 h 4760516"/>
                  <a:gd name="connsiteX57" fmla="*/ 3901827 w 3902384"/>
                  <a:gd name="connsiteY57" fmla="*/ 3769916 h 4760516"/>
                  <a:gd name="connsiteX58" fmla="*/ 3878014 w 3902384"/>
                  <a:gd name="connsiteY58" fmla="*/ 4027091 h 4760516"/>
                  <a:gd name="connsiteX59" fmla="*/ 3792289 w 3902384"/>
                  <a:gd name="connsiteY59" fmla="*/ 4236641 h 4760516"/>
                  <a:gd name="connsiteX60" fmla="*/ 3620839 w 3902384"/>
                  <a:gd name="connsiteY60" fmla="*/ 4598591 h 4760516"/>
                  <a:gd name="connsiteX61" fmla="*/ 3473202 w 3902384"/>
                  <a:gd name="connsiteY61" fmla="*/ 4760516 h 4760516"/>
                  <a:gd name="connsiteX62" fmla="*/ 339477 w 3902384"/>
                  <a:gd name="connsiteY62" fmla="*/ 4760516 h 4760516"/>
                  <a:gd name="connsiteX63" fmla="*/ 163264 w 3902384"/>
                  <a:gd name="connsiteY63" fmla="*/ 4436666 h 4760516"/>
                  <a:gd name="connsiteX64" fmla="*/ 58489 w 3902384"/>
                  <a:gd name="connsiteY64" fmla="*/ 4141391 h 4760516"/>
                  <a:gd name="connsiteX65" fmla="*/ 1339 w 3902384"/>
                  <a:gd name="connsiteY65" fmla="*/ 3855641 h 4760516"/>
                  <a:gd name="connsiteX66" fmla="*/ 25152 w 3902384"/>
                  <a:gd name="connsiteY66" fmla="*/ 3703241 h 4760516"/>
                  <a:gd name="connsiteX67" fmla="*/ 220414 w 3902384"/>
                  <a:gd name="connsiteY67" fmla="*/ 3584179 h 4760516"/>
                  <a:gd name="connsiteX68" fmla="*/ 534739 w 3902384"/>
                  <a:gd name="connsiteY68" fmla="*/ 3450829 h 4760516"/>
                  <a:gd name="connsiteX69" fmla="*/ 934789 w 3902384"/>
                  <a:gd name="connsiteY69" fmla="*/ 3293666 h 4760516"/>
                  <a:gd name="connsiteX70" fmla="*/ 1134814 w 3902384"/>
                  <a:gd name="connsiteY70" fmla="*/ 3217466 h 4760516"/>
                  <a:gd name="connsiteX71" fmla="*/ 1277689 w 3902384"/>
                  <a:gd name="connsiteY71" fmla="*/ 2950766 h 4760516"/>
                  <a:gd name="connsiteX72" fmla="*/ 1372939 w 3902384"/>
                  <a:gd name="connsiteY72" fmla="*/ 2888854 h 4760516"/>
                  <a:gd name="connsiteX73" fmla="*/ 1444377 w 3902384"/>
                  <a:gd name="connsiteY73" fmla="*/ 2750741 h 4760516"/>
                  <a:gd name="connsiteX74" fmla="*/ 1430089 w 3902384"/>
                  <a:gd name="connsiteY74" fmla="*/ 2665016 h 4760516"/>
                  <a:gd name="connsiteX75" fmla="*/ 1433678 w 3902384"/>
                  <a:gd name="connsiteY75" fmla="*/ 2655556 h 4760516"/>
                  <a:gd name="connsiteX76" fmla="*/ 1412671 w 3902384"/>
                  <a:gd name="connsiteY76" fmla="*/ 2630242 h 4760516"/>
                  <a:gd name="connsiteX77" fmla="*/ 1171172 w 3902384"/>
                  <a:gd name="connsiteY77" fmla="*/ 2059985 h 4760516"/>
                  <a:gd name="connsiteX78" fmla="*/ 977027 w 3902384"/>
                  <a:gd name="connsiteY78" fmla="*/ 1612672 h 4760516"/>
                  <a:gd name="connsiteX79" fmla="*/ 1052790 w 3902384"/>
                  <a:gd name="connsiteY79" fmla="*/ 1487109 h 4760516"/>
                  <a:gd name="connsiteX80" fmla="*/ 1018186 w 3902384"/>
                  <a:gd name="connsiteY80" fmla="*/ 1277790 h 4760516"/>
                  <a:gd name="connsiteX81" fmla="*/ 934788 w 3902384"/>
                  <a:gd name="connsiteY81" fmla="*/ 1341041 h 4760516"/>
                  <a:gd name="connsiteX82" fmla="*/ 883988 w 3902384"/>
                  <a:gd name="connsiteY82" fmla="*/ 1404541 h 4760516"/>
                  <a:gd name="connsiteX83" fmla="*/ 839538 w 3902384"/>
                  <a:gd name="connsiteY83" fmla="*/ 1525191 h 4760516"/>
                  <a:gd name="connsiteX84" fmla="*/ 858588 w 3902384"/>
                  <a:gd name="connsiteY84" fmla="*/ 1645841 h 4760516"/>
                  <a:gd name="connsiteX85" fmla="*/ 890338 w 3902384"/>
                  <a:gd name="connsiteY85" fmla="*/ 1829991 h 4760516"/>
                  <a:gd name="connsiteX86" fmla="*/ 966538 w 3902384"/>
                  <a:gd name="connsiteY86" fmla="*/ 2128441 h 4760516"/>
                  <a:gd name="connsiteX87" fmla="*/ 1049088 w 3902384"/>
                  <a:gd name="connsiteY87" fmla="*/ 2198291 h 4760516"/>
                  <a:gd name="connsiteX88" fmla="*/ 1099888 w 3902384"/>
                  <a:gd name="connsiteY88" fmla="*/ 2331641 h 4760516"/>
                  <a:gd name="connsiteX89" fmla="*/ 1220538 w 3902384"/>
                  <a:gd name="connsiteY89" fmla="*/ 2566591 h 4760516"/>
                  <a:gd name="connsiteX90" fmla="*/ 1271338 w 3902384"/>
                  <a:gd name="connsiteY90" fmla="*/ 2712641 h 4760516"/>
                  <a:gd name="connsiteX91" fmla="*/ 1131638 w 3902384"/>
                  <a:gd name="connsiteY91" fmla="*/ 2750741 h 4760516"/>
                  <a:gd name="connsiteX92" fmla="*/ 928438 w 3902384"/>
                  <a:gd name="connsiteY92" fmla="*/ 2776141 h 4760516"/>
                  <a:gd name="connsiteX93" fmla="*/ 744288 w 3902384"/>
                  <a:gd name="connsiteY93" fmla="*/ 2731691 h 4760516"/>
                  <a:gd name="connsiteX94" fmla="*/ 661738 w 3902384"/>
                  <a:gd name="connsiteY94" fmla="*/ 2591991 h 4760516"/>
                  <a:gd name="connsiteX95" fmla="*/ 623638 w 3902384"/>
                  <a:gd name="connsiteY95" fmla="*/ 2344341 h 4760516"/>
                  <a:gd name="connsiteX96" fmla="*/ 636338 w 3902384"/>
                  <a:gd name="connsiteY96" fmla="*/ 2020491 h 4760516"/>
                  <a:gd name="connsiteX97" fmla="*/ 737938 w 3902384"/>
                  <a:gd name="connsiteY97" fmla="*/ 1328341 h 4760516"/>
                  <a:gd name="connsiteX98" fmla="*/ 972888 w 3902384"/>
                  <a:gd name="connsiteY98" fmla="*/ 623491 h 4760516"/>
                  <a:gd name="connsiteX99" fmla="*/ 1169738 w 3902384"/>
                  <a:gd name="connsiteY99" fmla="*/ 299641 h 4760516"/>
                  <a:gd name="connsiteX100" fmla="*/ 1360238 w 3902384"/>
                  <a:gd name="connsiteY100" fmla="*/ 140891 h 4760516"/>
                  <a:gd name="connsiteX101" fmla="*/ 1531688 w 3902384"/>
                  <a:gd name="connsiteY101" fmla="*/ 115491 h 4760516"/>
                  <a:gd name="connsiteX102" fmla="*/ 1677738 w 3902384"/>
                  <a:gd name="connsiteY102" fmla="*/ 13891 h 4760516"/>
                  <a:gd name="connsiteX103" fmla="*/ 1814660 w 3902384"/>
                  <a:gd name="connsiteY103" fmla="*/ 0 h 4760516"/>
                  <a:gd name="connsiteX0" fmla="*/ 3062288 w 3903424"/>
                  <a:gd name="connsiteY0" fmla="*/ 1005769 h 4760516"/>
                  <a:gd name="connsiteX1" fmla="*/ 3082677 w 3903424"/>
                  <a:gd name="connsiteY1" fmla="*/ 1026716 h 4760516"/>
                  <a:gd name="connsiteX2" fmla="*/ 3168402 w 3903424"/>
                  <a:gd name="connsiteY2" fmla="*/ 1369616 h 4760516"/>
                  <a:gd name="connsiteX3" fmla="*/ 3254127 w 3903424"/>
                  <a:gd name="connsiteY3" fmla="*/ 1822054 h 4760516"/>
                  <a:gd name="connsiteX4" fmla="*/ 3282702 w 3903424"/>
                  <a:gd name="connsiteY4" fmla="*/ 2255441 h 4760516"/>
                  <a:gd name="connsiteX5" fmla="*/ 3273177 w 3903424"/>
                  <a:gd name="connsiteY5" fmla="*/ 2526904 h 4760516"/>
                  <a:gd name="connsiteX6" fmla="*/ 3192214 w 3903424"/>
                  <a:gd name="connsiteY6" fmla="*/ 2722166 h 4760516"/>
                  <a:gd name="connsiteX7" fmla="*/ 3044577 w 3903424"/>
                  <a:gd name="connsiteY7" fmla="*/ 2750741 h 4760516"/>
                  <a:gd name="connsiteX8" fmla="*/ 2811214 w 3903424"/>
                  <a:gd name="connsiteY8" fmla="*/ 2731691 h 4760516"/>
                  <a:gd name="connsiteX9" fmla="*/ 2635002 w 3903424"/>
                  <a:gd name="connsiteY9" fmla="*/ 2669779 h 4760516"/>
                  <a:gd name="connsiteX10" fmla="*/ 2658814 w 3903424"/>
                  <a:gd name="connsiteY10" fmla="*/ 2603104 h 4760516"/>
                  <a:gd name="connsiteX11" fmla="*/ 2754064 w 3903424"/>
                  <a:gd name="connsiteY11" fmla="*/ 2474516 h 4760516"/>
                  <a:gd name="connsiteX12" fmla="*/ 2844552 w 3903424"/>
                  <a:gd name="connsiteY12" fmla="*/ 2255441 h 4760516"/>
                  <a:gd name="connsiteX13" fmla="*/ 2863602 w 3903424"/>
                  <a:gd name="connsiteY13" fmla="*/ 2160191 h 4760516"/>
                  <a:gd name="connsiteX14" fmla="*/ 2920752 w 3903424"/>
                  <a:gd name="connsiteY14" fmla="*/ 2098279 h 4760516"/>
                  <a:gd name="connsiteX15" fmla="*/ 3001714 w 3903424"/>
                  <a:gd name="connsiteY15" fmla="*/ 1855391 h 4760516"/>
                  <a:gd name="connsiteX16" fmla="*/ 3058864 w 3903424"/>
                  <a:gd name="connsiteY16" fmla="*/ 1598216 h 4760516"/>
                  <a:gd name="connsiteX17" fmla="*/ 3063627 w 3903424"/>
                  <a:gd name="connsiteY17" fmla="*/ 1483916 h 4760516"/>
                  <a:gd name="connsiteX18" fmla="*/ 3011239 w 3903424"/>
                  <a:gd name="connsiteY18" fmla="*/ 1379141 h 4760516"/>
                  <a:gd name="connsiteX19" fmla="*/ 2958852 w 3903424"/>
                  <a:gd name="connsiteY19" fmla="*/ 1331516 h 4760516"/>
                  <a:gd name="connsiteX20" fmla="*/ 2949327 w 3903424"/>
                  <a:gd name="connsiteY20" fmla="*/ 1236266 h 4760516"/>
                  <a:gd name="connsiteX21" fmla="*/ 2958852 w 3903424"/>
                  <a:gd name="connsiteY21" fmla="*/ 1121966 h 4760516"/>
                  <a:gd name="connsiteX22" fmla="*/ 3006477 w 3903424"/>
                  <a:gd name="connsiteY22" fmla="*/ 1050529 h 4760516"/>
                  <a:gd name="connsiteX23" fmla="*/ 3062288 w 3903424"/>
                  <a:gd name="connsiteY23" fmla="*/ 1005769 h 4760516"/>
                  <a:gd name="connsiteX24" fmla="*/ 1814660 w 3903424"/>
                  <a:gd name="connsiteY24" fmla="*/ 0 h 4760516"/>
                  <a:gd name="connsiteX25" fmla="*/ 1957138 w 3903424"/>
                  <a:gd name="connsiteY25" fmla="*/ 1191 h 4760516"/>
                  <a:gd name="connsiteX26" fmla="*/ 2153988 w 3903424"/>
                  <a:gd name="connsiteY26" fmla="*/ 20241 h 4760516"/>
                  <a:gd name="connsiteX27" fmla="*/ 2382588 w 3903424"/>
                  <a:gd name="connsiteY27" fmla="*/ 121841 h 4760516"/>
                  <a:gd name="connsiteX28" fmla="*/ 2642938 w 3903424"/>
                  <a:gd name="connsiteY28" fmla="*/ 331391 h 4760516"/>
                  <a:gd name="connsiteX29" fmla="*/ 2947738 w 3903424"/>
                  <a:gd name="connsiteY29" fmla="*/ 693341 h 4760516"/>
                  <a:gd name="connsiteX30" fmla="*/ 3062038 w 3903424"/>
                  <a:gd name="connsiteY30" fmla="*/ 883841 h 4760516"/>
                  <a:gd name="connsiteX31" fmla="*/ 3011238 w 3903424"/>
                  <a:gd name="connsiteY31" fmla="*/ 1004491 h 4760516"/>
                  <a:gd name="connsiteX32" fmla="*/ 2903288 w 3903424"/>
                  <a:gd name="connsiteY32" fmla="*/ 1061641 h 4760516"/>
                  <a:gd name="connsiteX33" fmla="*/ 2827088 w 3903424"/>
                  <a:gd name="connsiteY33" fmla="*/ 998141 h 4760516"/>
                  <a:gd name="connsiteX34" fmla="*/ 2655638 w 3903424"/>
                  <a:gd name="connsiteY34" fmla="*/ 820341 h 4760516"/>
                  <a:gd name="connsiteX35" fmla="*/ 2350838 w 3903424"/>
                  <a:gd name="connsiteY35" fmla="*/ 674291 h 4760516"/>
                  <a:gd name="connsiteX36" fmla="*/ 2020638 w 3903424"/>
                  <a:gd name="connsiteY36" fmla="*/ 674291 h 4760516"/>
                  <a:gd name="connsiteX37" fmla="*/ 2344488 w 3903424"/>
                  <a:gd name="connsiteY37" fmla="*/ 769541 h 4760516"/>
                  <a:gd name="connsiteX38" fmla="*/ 2554038 w 3903424"/>
                  <a:gd name="connsiteY38" fmla="*/ 909241 h 4760516"/>
                  <a:gd name="connsiteX39" fmla="*/ 2630379 w 3903424"/>
                  <a:gd name="connsiteY39" fmla="*/ 973620 h 4760516"/>
                  <a:gd name="connsiteX40" fmla="*/ 2901551 w 3903424"/>
                  <a:gd name="connsiteY40" fmla="*/ 1067700 h 4760516"/>
                  <a:gd name="connsiteX41" fmla="*/ 2830884 w 3903424"/>
                  <a:gd name="connsiteY41" fmla="*/ 1212445 h 4760516"/>
                  <a:gd name="connsiteX42" fmla="*/ 2830884 w 3903424"/>
                  <a:gd name="connsiteY42" fmla="*/ 1445256 h 4760516"/>
                  <a:gd name="connsiteX43" fmla="*/ 2939795 w 3903424"/>
                  <a:gd name="connsiteY43" fmla="*/ 1531580 h 4760516"/>
                  <a:gd name="connsiteX44" fmla="*/ 2823781 w 3903424"/>
                  <a:gd name="connsiteY44" fmla="*/ 2041674 h 4760516"/>
                  <a:gd name="connsiteX45" fmla="*/ 2757487 w 3903424"/>
                  <a:gd name="connsiteY45" fmla="*/ 2086142 h 4760516"/>
                  <a:gd name="connsiteX46" fmla="*/ 2480886 w 3903424"/>
                  <a:gd name="connsiteY46" fmla="*/ 2698176 h 4760516"/>
                  <a:gd name="connsiteX47" fmla="*/ 2530227 w 3903424"/>
                  <a:gd name="connsiteY47" fmla="*/ 2817416 h 4760516"/>
                  <a:gd name="connsiteX48" fmla="*/ 2592139 w 3903424"/>
                  <a:gd name="connsiteY48" fmla="*/ 2874566 h 4760516"/>
                  <a:gd name="connsiteX49" fmla="*/ 2658814 w 3903424"/>
                  <a:gd name="connsiteY49" fmla="*/ 2884091 h 4760516"/>
                  <a:gd name="connsiteX50" fmla="*/ 2682627 w 3903424"/>
                  <a:gd name="connsiteY50" fmla="*/ 2912666 h 4760516"/>
                  <a:gd name="connsiteX51" fmla="*/ 2749302 w 3903424"/>
                  <a:gd name="connsiteY51" fmla="*/ 3079354 h 4760516"/>
                  <a:gd name="connsiteX52" fmla="*/ 2844552 w 3903424"/>
                  <a:gd name="connsiteY52" fmla="*/ 3174604 h 4760516"/>
                  <a:gd name="connsiteX53" fmla="*/ 2939802 w 3903424"/>
                  <a:gd name="connsiteY53" fmla="*/ 3207941 h 4760516"/>
                  <a:gd name="connsiteX54" fmla="*/ 3282702 w 3903424"/>
                  <a:gd name="connsiteY54" fmla="*/ 3317479 h 4760516"/>
                  <a:gd name="connsiteX55" fmla="*/ 3658939 w 3903424"/>
                  <a:gd name="connsiteY55" fmla="*/ 3493691 h 4760516"/>
                  <a:gd name="connsiteX56" fmla="*/ 3868489 w 3903424"/>
                  <a:gd name="connsiteY56" fmla="*/ 3641329 h 4760516"/>
                  <a:gd name="connsiteX57" fmla="*/ 3901827 w 3903424"/>
                  <a:gd name="connsiteY57" fmla="*/ 3769916 h 4760516"/>
                  <a:gd name="connsiteX58" fmla="*/ 3878014 w 3903424"/>
                  <a:gd name="connsiteY58" fmla="*/ 4027091 h 4760516"/>
                  <a:gd name="connsiteX59" fmla="*/ 3792289 w 3903424"/>
                  <a:gd name="connsiteY59" fmla="*/ 4236641 h 4760516"/>
                  <a:gd name="connsiteX60" fmla="*/ 3620839 w 3903424"/>
                  <a:gd name="connsiteY60" fmla="*/ 4598591 h 4760516"/>
                  <a:gd name="connsiteX61" fmla="*/ 3473202 w 3903424"/>
                  <a:gd name="connsiteY61" fmla="*/ 4760516 h 4760516"/>
                  <a:gd name="connsiteX62" fmla="*/ 339477 w 3903424"/>
                  <a:gd name="connsiteY62" fmla="*/ 4760516 h 4760516"/>
                  <a:gd name="connsiteX63" fmla="*/ 163264 w 3903424"/>
                  <a:gd name="connsiteY63" fmla="*/ 4436666 h 4760516"/>
                  <a:gd name="connsiteX64" fmla="*/ 58489 w 3903424"/>
                  <a:gd name="connsiteY64" fmla="*/ 4141391 h 4760516"/>
                  <a:gd name="connsiteX65" fmla="*/ 1339 w 3903424"/>
                  <a:gd name="connsiteY65" fmla="*/ 3855641 h 4760516"/>
                  <a:gd name="connsiteX66" fmla="*/ 25152 w 3903424"/>
                  <a:gd name="connsiteY66" fmla="*/ 3703241 h 4760516"/>
                  <a:gd name="connsiteX67" fmla="*/ 220414 w 3903424"/>
                  <a:gd name="connsiteY67" fmla="*/ 3584179 h 4760516"/>
                  <a:gd name="connsiteX68" fmla="*/ 534739 w 3903424"/>
                  <a:gd name="connsiteY68" fmla="*/ 3450829 h 4760516"/>
                  <a:gd name="connsiteX69" fmla="*/ 934789 w 3903424"/>
                  <a:gd name="connsiteY69" fmla="*/ 3293666 h 4760516"/>
                  <a:gd name="connsiteX70" fmla="*/ 1134814 w 3903424"/>
                  <a:gd name="connsiteY70" fmla="*/ 3217466 h 4760516"/>
                  <a:gd name="connsiteX71" fmla="*/ 1277689 w 3903424"/>
                  <a:gd name="connsiteY71" fmla="*/ 2950766 h 4760516"/>
                  <a:gd name="connsiteX72" fmla="*/ 1372939 w 3903424"/>
                  <a:gd name="connsiteY72" fmla="*/ 2888854 h 4760516"/>
                  <a:gd name="connsiteX73" fmla="*/ 1444377 w 3903424"/>
                  <a:gd name="connsiteY73" fmla="*/ 2750741 h 4760516"/>
                  <a:gd name="connsiteX74" fmla="*/ 1430089 w 3903424"/>
                  <a:gd name="connsiteY74" fmla="*/ 2665016 h 4760516"/>
                  <a:gd name="connsiteX75" fmla="*/ 1433678 w 3903424"/>
                  <a:gd name="connsiteY75" fmla="*/ 2655556 h 4760516"/>
                  <a:gd name="connsiteX76" fmla="*/ 1412671 w 3903424"/>
                  <a:gd name="connsiteY76" fmla="*/ 2630242 h 4760516"/>
                  <a:gd name="connsiteX77" fmla="*/ 1171172 w 3903424"/>
                  <a:gd name="connsiteY77" fmla="*/ 2059985 h 4760516"/>
                  <a:gd name="connsiteX78" fmla="*/ 977027 w 3903424"/>
                  <a:gd name="connsiteY78" fmla="*/ 1612672 h 4760516"/>
                  <a:gd name="connsiteX79" fmla="*/ 1052790 w 3903424"/>
                  <a:gd name="connsiteY79" fmla="*/ 1487109 h 4760516"/>
                  <a:gd name="connsiteX80" fmla="*/ 1018186 w 3903424"/>
                  <a:gd name="connsiteY80" fmla="*/ 1277790 h 4760516"/>
                  <a:gd name="connsiteX81" fmla="*/ 934788 w 3903424"/>
                  <a:gd name="connsiteY81" fmla="*/ 1341041 h 4760516"/>
                  <a:gd name="connsiteX82" fmla="*/ 883988 w 3903424"/>
                  <a:gd name="connsiteY82" fmla="*/ 1404541 h 4760516"/>
                  <a:gd name="connsiteX83" fmla="*/ 839538 w 3903424"/>
                  <a:gd name="connsiteY83" fmla="*/ 1525191 h 4760516"/>
                  <a:gd name="connsiteX84" fmla="*/ 858588 w 3903424"/>
                  <a:gd name="connsiteY84" fmla="*/ 1645841 h 4760516"/>
                  <a:gd name="connsiteX85" fmla="*/ 890338 w 3903424"/>
                  <a:gd name="connsiteY85" fmla="*/ 1829991 h 4760516"/>
                  <a:gd name="connsiteX86" fmla="*/ 966538 w 3903424"/>
                  <a:gd name="connsiteY86" fmla="*/ 2128441 h 4760516"/>
                  <a:gd name="connsiteX87" fmla="*/ 1049088 w 3903424"/>
                  <a:gd name="connsiteY87" fmla="*/ 2198291 h 4760516"/>
                  <a:gd name="connsiteX88" fmla="*/ 1099888 w 3903424"/>
                  <a:gd name="connsiteY88" fmla="*/ 2331641 h 4760516"/>
                  <a:gd name="connsiteX89" fmla="*/ 1220538 w 3903424"/>
                  <a:gd name="connsiteY89" fmla="*/ 2566591 h 4760516"/>
                  <a:gd name="connsiteX90" fmla="*/ 1271338 w 3903424"/>
                  <a:gd name="connsiteY90" fmla="*/ 2712641 h 4760516"/>
                  <a:gd name="connsiteX91" fmla="*/ 1131638 w 3903424"/>
                  <a:gd name="connsiteY91" fmla="*/ 2750741 h 4760516"/>
                  <a:gd name="connsiteX92" fmla="*/ 928438 w 3903424"/>
                  <a:gd name="connsiteY92" fmla="*/ 2776141 h 4760516"/>
                  <a:gd name="connsiteX93" fmla="*/ 744288 w 3903424"/>
                  <a:gd name="connsiteY93" fmla="*/ 2731691 h 4760516"/>
                  <a:gd name="connsiteX94" fmla="*/ 661738 w 3903424"/>
                  <a:gd name="connsiteY94" fmla="*/ 2591991 h 4760516"/>
                  <a:gd name="connsiteX95" fmla="*/ 623638 w 3903424"/>
                  <a:gd name="connsiteY95" fmla="*/ 2344341 h 4760516"/>
                  <a:gd name="connsiteX96" fmla="*/ 636338 w 3903424"/>
                  <a:gd name="connsiteY96" fmla="*/ 2020491 h 4760516"/>
                  <a:gd name="connsiteX97" fmla="*/ 737938 w 3903424"/>
                  <a:gd name="connsiteY97" fmla="*/ 1328341 h 4760516"/>
                  <a:gd name="connsiteX98" fmla="*/ 972888 w 3903424"/>
                  <a:gd name="connsiteY98" fmla="*/ 623491 h 4760516"/>
                  <a:gd name="connsiteX99" fmla="*/ 1169738 w 3903424"/>
                  <a:gd name="connsiteY99" fmla="*/ 299641 h 4760516"/>
                  <a:gd name="connsiteX100" fmla="*/ 1360238 w 3903424"/>
                  <a:gd name="connsiteY100" fmla="*/ 140891 h 4760516"/>
                  <a:gd name="connsiteX101" fmla="*/ 1531688 w 3903424"/>
                  <a:gd name="connsiteY101" fmla="*/ 115491 h 4760516"/>
                  <a:gd name="connsiteX102" fmla="*/ 1677738 w 3903424"/>
                  <a:gd name="connsiteY102" fmla="*/ 13891 h 4760516"/>
                  <a:gd name="connsiteX103" fmla="*/ 1814660 w 3903424"/>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810829"/>
                  <a:gd name="connsiteX1" fmla="*/ 3082677 w 3904400"/>
                  <a:gd name="connsiteY1" fmla="*/ 1026716 h 4810829"/>
                  <a:gd name="connsiteX2" fmla="*/ 3168402 w 3904400"/>
                  <a:gd name="connsiteY2" fmla="*/ 1369616 h 4810829"/>
                  <a:gd name="connsiteX3" fmla="*/ 3254127 w 3904400"/>
                  <a:gd name="connsiteY3" fmla="*/ 1822054 h 4810829"/>
                  <a:gd name="connsiteX4" fmla="*/ 3282702 w 3904400"/>
                  <a:gd name="connsiteY4" fmla="*/ 2255441 h 4810829"/>
                  <a:gd name="connsiteX5" fmla="*/ 3273177 w 3904400"/>
                  <a:gd name="connsiteY5" fmla="*/ 2526904 h 4810829"/>
                  <a:gd name="connsiteX6" fmla="*/ 3192214 w 3904400"/>
                  <a:gd name="connsiteY6" fmla="*/ 2722166 h 4810829"/>
                  <a:gd name="connsiteX7" fmla="*/ 3044577 w 3904400"/>
                  <a:gd name="connsiteY7" fmla="*/ 2750741 h 4810829"/>
                  <a:gd name="connsiteX8" fmla="*/ 2811214 w 3904400"/>
                  <a:gd name="connsiteY8" fmla="*/ 2731691 h 4810829"/>
                  <a:gd name="connsiteX9" fmla="*/ 2635002 w 3904400"/>
                  <a:gd name="connsiteY9" fmla="*/ 2669779 h 4810829"/>
                  <a:gd name="connsiteX10" fmla="*/ 2658814 w 3904400"/>
                  <a:gd name="connsiteY10" fmla="*/ 2603104 h 4810829"/>
                  <a:gd name="connsiteX11" fmla="*/ 2754064 w 3904400"/>
                  <a:gd name="connsiteY11" fmla="*/ 2474516 h 4810829"/>
                  <a:gd name="connsiteX12" fmla="*/ 2844552 w 3904400"/>
                  <a:gd name="connsiteY12" fmla="*/ 2255441 h 4810829"/>
                  <a:gd name="connsiteX13" fmla="*/ 2863602 w 3904400"/>
                  <a:gd name="connsiteY13" fmla="*/ 2160191 h 4810829"/>
                  <a:gd name="connsiteX14" fmla="*/ 2920752 w 3904400"/>
                  <a:gd name="connsiteY14" fmla="*/ 2098279 h 4810829"/>
                  <a:gd name="connsiteX15" fmla="*/ 3001714 w 3904400"/>
                  <a:gd name="connsiteY15" fmla="*/ 1855391 h 4810829"/>
                  <a:gd name="connsiteX16" fmla="*/ 3058864 w 3904400"/>
                  <a:gd name="connsiteY16" fmla="*/ 1598216 h 4810829"/>
                  <a:gd name="connsiteX17" fmla="*/ 3063627 w 3904400"/>
                  <a:gd name="connsiteY17" fmla="*/ 1483916 h 4810829"/>
                  <a:gd name="connsiteX18" fmla="*/ 3011239 w 3904400"/>
                  <a:gd name="connsiteY18" fmla="*/ 1379141 h 4810829"/>
                  <a:gd name="connsiteX19" fmla="*/ 2958852 w 3904400"/>
                  <a:gd name="connsiteY19" fmla="*/ 1331516 h 4810829"/>
                  <a:gd name="connsiteX20" fmla="*/ 2949327 w 3904400"/>
                  <a:gd name="connsiteY20" fmla="*/ 1236266 h 4810829"/>
                  <a:gd name="connsiteX21" fmla="*/ 2958852 w 3904400"/>
                  <a:gd name="connsiteY21" fmla="*/ 1121966 h 4810829"/>
                  <a:gd name="connsiteX22" fmla="*/ 3006477 w 3904400"/>
                  <a:gd name="connsiteY22" fmla="*/ 1050529 h 4810829"/>
                  <a:gd name="connsiteX23" fmla="*/ 3062288 w 3904400"/>
                  <a:gd name="connsiteY23" fmla="*/ 1005769 h 4810829"/>
                  <a:gd name="connsiteX24" fmla="*/ 1814660 w 3904400"/>
                  <a:gd name="connsiteY24" fmla="*/ 0 h 4810829"/>
                  <a:gd name="connsiteX25" fmla="*/ 1957138 w 3904400"/>
                  <a:gd name="connsiteY25" fmla="*/ 1191 h 4810829"/>
                  <a:gd name="connsiteX26" fmla="*/ 2153988 w 3904400"/>
                  <a:gd name="connsiteY26" fmla="*/ 20241 h 4810829"/>
                  <a:gd name="connsiteX27" fmla="*/ 2382588 w 3904400"/>
                  <a:gd name="connsiteY27" fmla="*/ 121841 h 4810829"/>
                  <a:gd name="connsiteX28" fmla="*/ 2642938 w 3904400"/>
                  <a:gd name="connsiteY28" fmla="*/ 331391 h 4810829"/>
                  <a:gd name="connsiteX29" fmla="*/ 2947738 w 3904400"/>
                  <a:gd name="connsiteY29" fmla="*/ 693341 h 4810829"/>
                  <a:gd name="connsiteX30" fmla="*/ 3062038 w 3904400"/>
                  <a:gd name="connsiteY30" fmla="*/ 883841 h 4810829"/>
                  <a:gd name="connsiteX31" fmla="*/ 3011238 w 3904400"/>
                  <a:gd name="connsiteY31" fmla="*/ 1004491 h 4810829"/>
                  <a:gd name="connsiteX32" fmla="*/ 2903288 w 3904400"/>
                  <a:gd name="connsiteY32" fmla="*/ 1061641 h 4810829"/>
                  <a:gd name="connsiteX33" fmla="*/ 2827088 w 3904400"/>
                  <a:gd name="connsiteY33" fmla="*/ 998141 h 4810829"/>
                  <a:gd name="connsiteX34" fmla="*/ 2655638 w 3904400"/>
                  <a:gd name="connsiteY34" fmla="*/ 820341 h 4810829"/>
                  <a:gd name="connsiteX35" fmla="*/ 2350838 w 3904400"/>
                  <a:gd name="connsiteY35" fmla="*/ 674291 h 4810829"/>
                  <a:gd name="connsiteX36" fmla="*/ 2020638 w 3904400"/>
                  <a:gd name="connsiteY36" fmla="*/ 674291 h 4810829"/>
                  <a:gd name="connsiteX37" fmla="*/ 2344488 w 3904400"/>
                  <a:gd name="connsiteY37" fmla="*/ 769541 h 4810829"/>
                  <a:gd name="connsiteX38" fmla="*/ 2554038 w 3904400"/>
                  <a:gd name="connsiteY38" fmla="*/ 909241 h 4810829"/>
                  <a:gd name="connsiteX39" fmla="*/ 2630379 w 3904400"/>
                  <a:gd name="connsiteY39" fmla="*/ 973620 h 4810829"/>
                  <a:gd name="connsiteX40" fmla="*/ 2901551 w 3904400"/>
                  <a:gd name="connsiteY40" fmla="*/ 1067700 h 4810829"/>
                  <a:gd name="connsiteX41" fmla="*/ 2830884 w 3904400"/>
                  <a:gd name="connsiteY41" fmla="*/ 1212445 h 4810829"/>
                  <a:gd name="connsiteX42" fmla="*/ 2830884 w 3904400"/>
                  <a:gd name="connsiteY42" fmla="*/ 1445256 h 4810829"/>
                  <a:gd name="connsiteX43" fmla="*/ 2939795 w 3904400"/>
                  <a:gd name="connsiteY43" fmla="*/ 1531580 h 4810829"/>
                  <a:gd name="connsiteX44" fmla="*/ 2823781 w 3904400"/>
                  <a:gd name="connsiteY44" fmla="*/ 2041674 h 4810829"/>
                  <a:gd name="connsiteX45" fmla="*/ 2757487 w 3904400"/>
                  <a:gd name="connsiteY45" fmla="*/ 2086142 h 4810829"/>
                  <a:gd name="connsiteX46" fmla="*/ 2480886 w 3904400"/>
                  <a:gd name="connsiteY46" fmla="*/ 2698176 h 4810829"/>
                  <a:gd name="connsiteX47" fmla="*/ 2530227 w 3904400"/>
                  <a:gd name="connsiteY47" fmla="*/ 2817416 h 4810829"/>
                  <a:gd name="connsiteX48" fmla="*/ 2592139 w 3904400"/>
                  <a:gd name="connsiteY48" fmla="*/ 2874566 h 4810829"/>
                  <a:gd name="connsiteX49" fmla="*/ 2658814 w 3904400"/>
                  <a:gd name="connsiteY49" fmla="*/ 2884091 h 4810829"/>
                  <a:gd name="connsiteX50" fmla="*/ 2682627 w 3904400"/>
                  <a:gd name="connsiteY50" fmla="*/ 2912666 h 4810829"/>
                  <a:gd name="connsiteX51" fmla="*/ 2749302 w 3904400"/>
                  <a:gd name="connsiteY51" fmla="*/ 3079354 h 4810829"/>
                  <a:gd name="connsiteX52" fmla="*/ 2844552 w 3904400"/>
                  <a:gd name="connsiteY52" fmla="*/ 3174604 h 4810829"/>
                  <a:gd name="connsiteX53" fmla="*/ 2939802 w 3904400"/>
                  <a:gd name="connsiteY53" fmla="*/ 3207941 h 4810829"/>
                  <a:gd name="connsiteX54" fmla="*/ 3282702 w 3904400"/>
                  <a:gd name="connsiteY54" fmla="*/ 3317479 h 4810829"/>
                  <a:gd name="connsiteX55" fmla="*/ 3658939 w 3904400"/>
                  <a:gd name="connsiteY55" fmla="*/ 3493691 h 4810829"/>
                  <a:gd name="connsiteX56" fmla="*/ 3868489 w 3904400"/>
                  <a:gd name="connsiteY56" fmla="*/ 3641329 h 4810829"/>
                  <a:gd name="connsiteX57" fmla="*/ 3901827 w 3904400"/>
                  <a:gd name="connsiteY57" fmla="*/ 3769916 h 4810829"/>
                  <a:gd name="connsiteX58" fmla="*/ 3878014 w 3904400"/>
                  <a:gd name="connsiteY58" fmla="*/ 4027091 h 4810829"/>
                  <a:gd name="connsiteX59" fmla="*/ 3792289 w 3904400"/>
                  <a:gd name="connsiteY59" fmla="*/ 4236641 h 4810829"/>
                  <a:gd name="connsiteX60" fmla="*/ 3620839 w 3904400"/>
                  <a:gd name="connsiteY60" fmla="*/ 4598591 h 4810829"/>
                  <a:gd name="connsiteX61" fmla="*/ 3473202 w 3904400"/>
                  <a:gd name="connsiteY61" fmla="*/ 4760516 h 4810829"/>
                  <a:gd name="connsiteX62" fmla="*/ 339477 w 3904400"/>
                  <a:gd name="connsiteY62" fmla="*/ 4760516 h 4810829"/>
                  <a:gd name="connsiteX63" fmla="*/ 163264 w 3904400"/>
                  <a:gd name="connsiteY63" fmla="*/ 4436666 h 4810829"/>
                  <a:gd name="connsiteX64" fmla="*/ 58489 w 3904400"/>
                  <a:gd name="connsiteY64" fmla="*/ 4141391 h 4810829"/>
                  <a:gd name="connsiteX65" fmla="*/ 1339 w 3904400"/>
                  <a:gd name="connsiteY65" fmla="*/ 3855641 h 4810829"/>
                  <a:gd name="connsiteX66" fmla="*/ 25152 w 3904400"/>
                  <a:gd name="connsiteY66" fmla="*/ 3703241 h 4810829"/>
                  <a:gd name="connsiteX67" fmla="*/ 220414 w 3904400"/>
                  <a:gd name="connsiteY67" fmla="*/ 3584179 h 4810829"/>
                  <a:gd name="connsiteX68" fmla="*/ 534739 w 3904400"/>
                  <a:gd name="connsiteY68" fmla="*/ 3450829 h 4810829"/>
                  <a:gd name="connsiteX69" fmla="*/ 934789 w 3904400"/>
                  <a:gd name="connsiteY69" fmla="*/ 3293666 h 4810829"/>
                  <a:gd name="connsiteX70" fmla="*/ 1134814 w 3904400"/>
                  <a:gd name="connsiteY70" fmla="*/ 3217466 h 4810829"/>
                  <a:gd name="connsiteX71" fmla="*/ 1277689 w 3904400"/>
                  <a:gd name="connsiteY71" fmla="*/ 2950766 h 4810829"/>
                  <a:gd name="connsiteX72" fmla="*/ 1372939 w 3904400"/>
                  <a:gd name="connsiteY72" fmla="*/ 2888854 h 4810829"/>
                  <a:gd name="connsiteX73" fmla="*/ 1444377 w 3904400"/>
                  <a:gd name="connsiteY73" fmla="*/ 2750741 h 4810829"/>
                  <a:gd name="connsiteX74" fmla="*/ 1430089 w 3904400"/>
                  <a:gd name="connsiteY74" fmla="*/ 2665016 h 4810829"/>
                  <a:gd name="connsiteX75" fmla="*/ 1433678 w 3904400"/>
                  <a:gd name="connsiteY75" fmla="*/ 2655556 h 4810829"/>
                  <a:gd name="connsiteX76" fmla="*/ 1412671 w 3904400"/>
                  <a:gd name="connsiteY76" fmla="*/ 2630242 h 4810829"/>
                  <a:gd name="connsiteX77" fmla="*/ 1171172 w 3904400"/>
                  <a:gd name="connsiteY77" fmla="*/ 2059985 h 4810829"/>
                  <a:gd name="connsiteX78" fmla="*/ 977027 w 3904400"/>
                  <a:gd name="connsiteY78" fmla="*/ 1612672 h 4810829"/>
                  <a:gd name="connsiteX79" fmla="*/ 1052790 w 3904400"/>
                  <a:gd name="connsiteY79" fmla="*/ 1487109 h 4810829"/>
                  <a:gd name="connsiteX80" fmla="*/ 1018186 w 3904400"/>
                  <a:gd name="connsiteY80" fmla="*/ 1277790 h 4810829"/>
                  <a:gd name="connsiteX81" fmla="*/ 934788 w 3904400"/>
                  <a:gd name="connsiteY81" fmla="*/ 1341041 h 4810829"/>
                  <a:gd name="connsiteX82" fmla="*/ 883988 w 3904400"/>
                  <a:gd name="connsiteY82" fmla="*/ 1404541 h 4810829"/>
                  <a:gd name="connsiteX83" fmla="*/ 839538 w 3904400"/>
                  <a:gd name="connsiteY83" fmla="*/ 1525191 h 4810829"/>
                  <a:gd name="connsiteX84" fmla="*/ 858588 w 3904400"/>
                  <a:gd name="connsiteY84" fmla="*/ 1645841 h 4810829"/>
                  <a:gd name="connsiteX85" fmla="*/ 890338 w 3904400"/>
                  <a:gd name="connsiteY85" fmla="*/ 1829991 h 4810829"/>
                  <a:gd name="connsiteX86" fmla="*/ 966538 w 3904400"/>
                  <a:gd name="connsiteY86" fmla="*/ 2128441 h 4810829"/>
                  <a:gd name="connsiteX87" fmla="*/ 1049088 w 3904400"/>
                  <a:gd name="connsiteY87" fmla="*/ 2198291 h 4810829"/>
                  <a:gd name="connsiteX88" fmla="*/ 1099888 w 3904400"/>
                  <a:gd name="connsiteY88" fmla="*/ 2331641 h 4810829"/>
                  <a:gd name="connsiteX89" fmla="*/ 1220538 w 3904400"/>
                  <a:gd name="connsiteY89" fmla="*/ 2566591 h 4810829"/>
                  <a:gd name="connsiteX90" fmla="*/ 1271338 w 3904400"/>
                  <a:gd name="connsiteY90" fmla="*/ 2712641 h 4810829"/>
                  <a:gd name="connsiteX91" fmla="*/ 1131638 w 3904400"/>
                  <a:gd name="connsiteY91" fmla="*/ 2750741 h 4810829"/>
                  <a:gd name="connsiteX92" fmla="*/ 928438 w 3904400"/>
                  <a:gd name="connsiteY92" fmla="*/ 2776141 h 4810829"/>
                  <a:gd name="connsiteX93" fmla="*/ 744288 w 3904400"/>
                  <a:gd name="connsiteY93" fmla="*/ 2731691 h 4810829"/>
                  <a:gd name="connsiteX94" fmla="*/ 661738 w 3904400"/>
                  <a:gd name="connsiteY94" fmla="*/ 2591991 h 4810829"/>
                  <a:gd name="connsiteX95" fmla="*/ 623638 w 3904400"/>
                  <a:gd name="connsiteY95" fmla="*/ 2344341 h 4810829"/>
                  <a:gd name="connsiteX96" fmla="*/ 636338 w 3904400"/>
                  <a:gd name="connsiteY96" fmla="*/ 2020491 h 4810829"/>
                  <a:gd name="connsiteX97" fmla="*/ 737938 w 3904400"/>
                  <a:gd name="connsiteY97" fmla="*/ 1328341 h 4810829"/>
                  <a:gd name="connsiteX98" fmla="*/ 972888 w 3904400"/>
                  <a:gd name="connsiteY98" fmla="*/ 623491 h 4810829"/>
                  <a:gd name="connsiteX99" fmla="*/ 1169738 w 3904400"/>
                  <a:gd name="connsiteY99" fmla="*/ 299641 h 4810829"/>
                  <a:gd name="connsiteX100" fmla="*/ 1360238 w 3904400"/>
                  <a:gd name="connsiteY100" fmla="*/ 140891 h 4810829"/>
                  <a:gd name="connsiteX101" fmla="*/ 1531688 w 3904400"/>
                  <a:gd name="connsiteY101" fmla="*/ 115491 h 4810829"/>
                  <a:gd name="connsiteX102" fmla="*/ 1677738 w 3904400"/>
                  <a:gd name="connsiteY102" fmla="*/ 13891 h 4810829"/>
                  <a:gd name="connsiteX103" fmla="*/ 1814660 w 3904400"/>
                  <a:gd name="connsiteY103" fmla="*/ 0 h 4810829"/>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630379 w 3904400"/>
                  <a:gd name="connsiteY39" fmla="*/ 973620 h 4848994"/>
                  <a:gd name="connsiteX40" fmla="*/ 2901551 w 3904400"/>
                  <a:gd name="connsiteY40" fmla="*/ 1067700 h 4848994"/>
                  <a:gd name="connsiteX41" fmla="*/ 2830884 w 3904400"/>
                  <a:gd name="connsiteY41" fmla="*/ 1212445 h 4848994"/>
                  <a:gd name="connsiteX42" fmla="*/ 2830884 w 3904400"/>
                  <a:gd name="connsiteY42" fmla="*/ 1445256 h 4848994"/>
                  <a:gd name="connsiteX43" fmla="*/ 2939795 w 3904400"/>
                  <a:gd name="connsiteY43" fmla="*/ 1531580 h 4848994"/>
                  <a:gd name="connsiteX44" fmla="*/ 2823781 w 3904400"/>
                  <a:gd name="connsiteY44" fmla="*/ 2041674 h 4848994"/>
                  <a:gd name="connsiteX45" fmla="*/ 2757487 w 3904400"/>
                  <a:gd name="connsiteY45" fmla="*/ 2086142 h 4848994"/>
                  <a:gd name="connsiteX46" fmla="*/ 2480886 w 3904400"/>
                  <a:gd name="connsiteY46" fmla="*/ 2698176 h 4848994"/>
                  <a:gd name="connsiteX47" fmla="*/ 2530227 w 3904400"/>
                  <a:gd name="connsiteY47" fmla="*/ 2817416 h 4848994"/>
                  <a:gd name="connsiteX48" fmla="*/ 2592139 w 3904400"/>
                  <a:gd name="connsiteY48" fmla="*/ 2874566 h 4848994"/>
                  <a:gd name="connsiteX49" fmla="*/ 2658814 w 3904400"/>
                  <a:gd name="connsiteY49" fmla="*/ 2884091 h 4848994"/>
                  <a:gd name="connsiteX50" fmla="*/ 2682627 w 3904400"/>
                  <a:gd name="connsiteY50" fmla="*/ 2912666 h 4848994"/>
                  <a:gd name="connsiteX51" fmla="*/ 2749302 w 3904400"/>
                  <a:gd name="connsiteY51" fmla="*/ 3079354 h 4848994"/>
                  <a:gd name="connsiteX52" fmla="*/ 2844552 w 3904400"/>
                  <a:gd name="connsiteY52" fmla="*/ 3174604 h 4848994"/>
                  <a:gd name="connsiteX53" fmla="*/ 2939802 w 3904400"/>
                  <a:gd name="connsiteY53" fmla="*/ 3207941 h 4848994"/>
                  <a:gd name="connsiteX54" fmla="*/ 3282702 w 3904400"/>
                  <a:gd name="connsiteY54" fmla="*/ 3317479 h 4848994"/>
                  <a:gd name="connsiteX55" fmla="*/ 3658939 w 3904400"/>
                  <a:gd name="connsiteY55" fmla="*/ 3493691 h 4848994"/>
                  <a:gd name="connsiteX56" fmla="*/ 3868489 w 3904400"/>
                  <a:gd name="connsiteY56" fmla="*/ 3641329 h 4848994"/>
                  <a:gd name="connsiteX57" fmla="*/ 3901827 w 3904400"/>
                  <a:gd name="connsiteY57" fmla="*/ 3769916 h 4848994"/>
                  <a:gd name="connsiteX58" fmla="*/ 3878014 w 3904400"/>
                  <a:gd name="connsiteY58" fmla="*/ 4027091 h 4848994"/>
                  <a:gd name="connsiteX59" fmla="*/ 3792289 w 3904400"/>
                  <a:gd name="connsiteY59" fmla="*/ 4236641 h 4848994"/>
                  <a:gd name="connsiteX60" fmla="*/ 3620839 w 3904400"/>
                  <a:gd name="connsiteY60" fmla="*/ 4598591 h 4848994"/>
                  <a:gd name="connsiteX61" fmla="*/ 3473202 w 3904400"/>
                  <a:gd name="connsiteY61" fmla="*/ 4760516 h 4848994"/>
                  <a:gd name="connsiteX62" fmla="*/ 339477 w 3904400"/>
                  <a:gd name="connsiteY62" fmla="*/ 4760516 h 4848994"/>
                  <a:gd name="connsiteX63" fmla="*/ 163264 w 3904400"/>
                  <a:gd name="connsiteY63" fmla="*/ 4436666 h 4848994"/>
                  <a:gd name="connsiteX64" fmla="*/ 58489 w 3904400"/>
                  <a:gd name="connsiteY64" fmla="*/ 4141391 h 4848994"/>
                  <a:gd name="connsiteX65" fmla="*/ 1339 w 3904400"/>
                  <a:gd name="connsiteY65" fmla="*/ 3855641 h 4848994"/>
                  <a:gd name="connsiteX66" fmla="*/ 25152 w 3904400"/>
                  <a:gd name="connsiteY66" fmla="*/ 3703241 h 4848994"/>
                  <a:gd name="connsiteX67" fmla="*/ 220414 w 3904400"/>
                  <a:gd name="connsiteY67" fmla="*/ 3584179 h 4848994"/>
                  <a:gd name="connsiteX68" fmla="*/ 534739 w 3904400"/>
                  <a:gd name="connsiteY68" fmla="*/ 3450829 h 4848994"/>
                  <a:gd name="connsiteX69" fmla="*/ 934789 w 3904400"/>
                  <a:gd name="connsiteY69" fmla="*/ 3293666 h 4848994"/>
                  <a:gd name="connsiteX70" fmla="*/ 1134814 w 3904400"/>
                  <a:gd name="connsiteY70" fmla="*/ 3217466 h 4848994"/>
                  <a:gd name="connsiteX71" fmla="*/ 1277689 w 3904400"/>
                  <a:gd name="connsiteY71" fmla="*/ 2950766 h 4848994"/>
                  <a:gd name="connsiteX72" fmla="*/ 1372939 w 3904400"/>
                  <a:gd name="connsiteY72" fmla="*/ 2888854 h 4848994"/>
                  <a:gd name="connsiteX73" fmla="*/ 1444377 w 3904400"/>
                  <a:gd name="connsiteY73" fmla="*/ 2750741 h 4848994"/>
                  <a:gd name="connsiteX74" fmla="*/ 1430089 w 3904400"/>
                  <a:gd name="connsiteY74" fmla="*/ 2665016 h 4848994"/>
                  <a:gd name="connsiteX75" fmla="*/ 1433678 w 3904400"/>
                  <a:gd name="connsiteY75" fmla="*/ 2655556 h 4848994"/>
                  <a:gd name="connsiteX76" fmla="*/ 1412671 w 3904400"/>
                  <a:gd name="connsiteY76" fmla="*/ 2630242 h 4848994"/>
                  <a:gd name="connsiteX77" fmla="*/ 1171172 w 3904400"/>
                  <a:gd name="connsiteY77" fmla="*/ 2059985 h 4848994"/>
                  <a:gd name="connsiteX78" fmla="*/ 977027 w 3904400"/>
                  <a:gd name="connsiteY78" fmla="*/ 1612672 h 4848994"/>
                  <a:gd name="connsiteX79" fmla="*/ 1052790 w 3904400"/>
                  <a:gd name="connsiteY79" fmla="*/ 1487109 h 4848994"/>
                  <a:gd name="connsiteX80" fmla="*/ 1018186 w 3904400"/>
                  <a:gd name="connsiteY80" fmla="*/ 1277790 h 4848994"/>
                  <a:gd name="connsiteX81" fmla="*/ 934788 w 3904400"/>
                  <a:gd name="connsiteY81" fmla="*/ 1341041 h 4848994"/>
                  <a:gd name="connsiteX82" fmla="*/ 883988 w 3904400"/>
                  <a:gd name="connsiteY82" fmla="*/ 1404541 h 4848994"/>
                  <a:gd name="connsiteX83" fmla="*/ 839538 w 3904400"/>
                  <a:gd name="connsiteY83" fmla="*/ 1525191 h 4848994"/>
                  <a:gd name="connsiteX84" fmla="*/ 858588 w 3904400"/>
                  <a:gd name="connsiteY84" fmla="*/ 1645841 h 4848994"/>
                  <a:gd name="connsiteX85" fmla="*/ 890338 w 3904400"/>
                  <a:gd name="connsiteY85" fmla="*/ 1829991 h 4848994"/>
                  <a:gd name="connsiteX86" fmla="*/ 966538 w 3904400"/>
                  <a:gd name="connsiteY86" fmla="*/ 2128441 h 4848994"/>
                  <a:gd name="connsiteX87" fmla="*/ 1049088 w 3904400"/>
                  <a:gd name="connsiteY87" fmla="*/ 2198291 h 4848994"/>
                  <a:gd name="connsiteX88" fmla="*/ 1099888 w 3904400"/>
                  <a:gd name="connsiteY88" fmla="*/ 2331641 h 4848994"/>
                  <a:gd name="connsiteX89" fmla="*/ 1220538 w 3904400"/>
                  <a:gd name="connsiteY89" fmla="*/ 2566591 h 4848994"/>
                  <a:gd name="connsiteX90" fmla="*/ 1271338 w 3904400"/>
                  <a:gd name="connsiteY90" fmla="*/ 2712641 h 4848994"/>
                  <a:gd name="connsiteX91" fmla="*/ 1131638 w 3904400"/>
                  <a:gd name="connsiteY91" fmla="*/ 2750741 h 4848994"/>
                  <a:gd name="connsiteX92" fmla="*/ 928438 w 3904400"/>
                  <a:gd name="connsiteY92" fmla="*/ 2776141 h 4848994"/>
                  <a:gd name="connsiteX93" fmla="*/ 744288 w 3904400"/>
                  <a:gd name="connsiteY93" fmla="*/ 2731691 h 4848994"/>
                  <a:gd name="connsiteX94" fmla="*/ 661738 w 3904400"/>
                  <a:gd name="connsiteY94" fmla="*/ 2591991 h 4848994"/>
                  <a:gd name="connsiteX95" fmla="*/ 623638 w 3904400"/>
                  <a:gd name="connsiteY95" fmla="*/ 2344341 h 4848994"/>
                  <a:gd name="connsiteX96" fmla="*/ 636338 w 3904400"/>
                  <a:gd name="connsiteY96" fmla="*/ 2020491 h 4848994"/>
                  <a:gd name="connsiteX97" fmla="*/ 737938 w 3904400"/>
                  <a:gd name="connsiteY97" fmla="*/ 1328341 h 4848994"/>
                  <a:gd name="connsiteX98" fmla="*/ 972888 w 3904400"/>
                  <a:gd name="connsiteY98" fmla="*/ 623491 h 4848994"/>
                  <a:gd name="connsiteX99" fmla="*/ 1169738 w 3904400"/>
                  <a:gd name="connsiteY99" fmla="*/ 299641 h 4848994"/>
                  <a:gd name="connsiteX100" fmla="*/ 1360238 w 3904400"/>
                  <a:gd name="connsiteY100" fmla="*/ 140891 h 4848994"/>
                  <a:gd name="connsiteX101" fmla="*/ 1531688 w 3904400"/>
                  <a:gd name="connsiteY101" fmla="*/ 115491 h 4848994"/>
                  <a:gd name="connsiteX102" fmla="*/ 1677738 w 3904400"/>
                  <a:gd name="connsiteY102" fmla="*/ 13891 h 4848994"/>
                  <a:gd name="connsiteX103" fmla="*/ 1814660 w 3904400"/>
                  <a:gd name="connsiteY103"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859098 w 3904400"/>
                  <a:gd name="connsiteY39" fmla="*/ 1103077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904400" h="4848994">
                    <a:moveTo>
                      <a:pt x="3062288" y="1005769"/>
                    </a:moveTo>
                    <a:lnTo>
                      <a:pt x="3082677" y="1026716"/>
                    </a:lnTo>
                    <a:cubicBezTo>
                      <a:pt x="3109664" y="1079897"/>
                      <a:pt x="3139827" y="1237060"/>
                      <a:pt x="3168402" y="1369616"/>
                    </a:cubicBezTo>
                    <a:cubicBezTo>
                      <a:pt x="3196977" y="1502172"/>
                      <a:pt x="3235077" y="1674417"/>
                      <a:pt x="3254127" y="1822054"/>
                    </a:cubicBezTo>
                    <a:cubicBezTo>
                      <a:pt x="3273177" y="1969691"/>
                      <a:pt x="3279527" y="2137966"/>
                      <a:pt x="3282702" y="2255441"/>
                    </a:cubicBezTo>
                    <a:cubicBezTo>
                      <a:pt x="3285877" y="2372916"/>
                      <a:pt x="3288258" y="2449116"/>
                      <a:pt x="3273177" y="2526904"/>
                    </a:cubicBezTo>
                    <a:cubicBezTo>
                      <a:pt x="3258096" y="2604692"/>
                      <a:pt x="3230314" y="2684860"/>
                      <a:pt x="3192214" y="2722166"/>
                    </a:cubicBezTo>
                    <a:cubicBezTo>
                      <a:pt x="3154114" y="2759472"/>
                      <a:pt x="3108077" y="2749154"/>
                      <a:pt x="3044577" y="2750741"/>
                    </a:cubicBezTo>
                    <a:cubicBezTo>
                      <a:pt x="2981077" y="2752328"/>
                      <a:pt x="2879476" y="2745185"/>
                      <a:pt x="2811214" y="2731691"/>
                    </a:cubicBezTo>
                    <a:cubicBezTo>
                      <a:pt x="2742952" y="2718197"/>
                      <a:pt x="2660402" y="2691210"/>
                      <a:pt x="2635002" y="2669779"/>
                    </a:cubicBezTo>
                    <a:cubicBezTo>
                      <a:pt x="2609602" y="2648348"/>
                      <a:pt x="2638970" y="2635648"/>
                      <a:pt x="2658814" y="2603104"/>
                    </a:cubicBezTo>
                    <a:cubicBezTo>
                      <a:pt x="2678658" y="2570560"/>
                      <a:pt x="2723108" y="2532460"/>
                      <a:pt x="2754064" y="2474516"/>
                    </a:cubicBezTo>
                    <a:cubicBezTo>
                      <a:pt x="2785020" y="2416572"/>
                      <a:pt x="2826296" y="2307828"/>
                      <a:pt x="2844552" y="2255441"/>
                    </a:cubicBezTo>
                    <a:cubicBezTo>
                      <a:pt x="2862808" y="2203054"/>
                      <a:pt x="2850902" y="2186385"/>
                      <a:pt x="2863602" y="2160191"/>
                    </a:cubicBezTo>
                    <a:cubicBezTo>
                      <a:pt x="2876302" y="2133997"/>
                      <a:pt x="2897733" y="2149079"/>
                      <a:pt x="2920752" y="2098279"/>
                    </a:cubicBezTo>
                    <a:cubicBezTo>
                      <a:pt x="2943771" y="2047479"/>
                      <a:pt x="2978695" y="1938735"/>
                      <a:pt x="3001714" y="1855391"/>
                    </a:cubicBezTo>
                    <a:cubicBezTo>
                      <a:pt x="3024733" y="1772047"/>
                      <a:pt x="3048545" y="1660129"/>
                      <a:pt x="3058864" y="1598216"/>
                    </a:cubicBezTo>
                    <a:cubicBezTo>
                      <a:pt x="3069183" y="1536303"/>
                      <a:pt x="3071564" y="1520428"/>
                      <a:pt x="3063627" y="1483916"/>
                    </a:cubicBezTo>
                    <a:cubicBezTo>
                      <a:pt x="3055690" y="1447404"/>
                      <a:pt x="3028702" y="1404541"/>
                      <a:pt x="3011239" y="1379141"/>
                    </a:cubicBezTo>
                    <a:cubicBezTo>
                      <a:pt x="2993776" y="1353741"/>
                      <a:pt x="2969171" y="1355329"/>
                      <a:pt x="2958852" y="1331516"/>
                    </a:cubicBezTo>
                    <a:cubicBezTo>
                      <a:pt x="2948533" y="1307704"/>
                      <a:pt x="2949327" y="1271191"/>
                      <a:pt x="2949327" y="1236266"/>
                    </a:cubicBezTo>
                    <a:cubicBezTo>
                      <a:pt x="2949327" y="1201341"/>
                      <a:pt x="2949327" y="1152922"/>
                      <a:pt x="2958852" y="1121966"/>
                    </a:cubicBezTo>
                    <a:cubicBezTo>
                      <a:pt x="2968377" y="1091010"/>
                      <a:pt x="2985839" y="1066404"/>
                      <a:pt x="3006477" y="1050529"/>
                    </a:cubicBezTo>
                    <a:cubicBezTo>
                      <a:pt x="3021955" y="1038623"/>
                      <a:pt x="3041898" y="1001267"/>
                      <a:pt x="3062288" y="1005769"/>
                    </a:cubicBezTo>
                    <a:close/>
                    <a:moveTo>
                      <a:pt x="1814660" y="0"/>
                    </a:moveTo>
                    <a:lnTo>
                      <a:pt x="1957138" y="1191"/>
                    </a:lnTo>
                    <a:cubicBezTo>
                      <a:pt x="2036513" y="2249"/>
                      <a:pt x="2083080" y="133"/>
                      <a:pt x="2153988" y="20241"/>
                    </a:cubicBezTo>
                    <a:cubicBezTo>
                      <a:pt x="2224896" y="40349"/>
                      <a:pt x="2301096" y="69983"/>
                      <a:pt x="2382588" y="121841"/>
                    </a:cubicBezTo>
                    <a:cubicBezTo>
                      <a:pt x="2464080" y="173699"/>
                      <a:pt x="2548747" y="236141"/>
                      <a:pt x="2642938" y="331391"/>
                    </a:cubicBezTo>
                    <a:cubicBezTo>
                      <a:pt x="2737129" y="426641"/>
                      <a:pt x="2877888" y="601266"/>
                      <a:pt x="2947738" y="693341"/>
                    </a:cubicBezTo>
                    <a:cubicBezTo>
                      <a:pt x="3017588" y="785416"/>
                      <a:pt x="3051455" y="831983"/>
                      <a:pt x="3062038" y="883841"/>
                    </a:cubicBezTo>
                    <a:cubicBezTo>
                      <a:pt x="3072621" y="935699"/>
                      <a:pt x="3037696" y="974858"/>
                      <a:pt x="3011238" y="1004491"/>
                    </a:cubicBezTo>
                    <a:cubicBezTo>
                      <a:pt x="2984780" y="1034124"/>
                      <a:pt x="2933980" y="1062699"/>
                      <a:pt x="2903288" y="1061641"/>
                    </a:cubicBezTo>
                    <a:cubicBezTo>
                      <a:pt x="2872596" y="1060583"/>
                      <a:pt x="2868363" y="1038358"/>
                      <a:pt x="2827088" y="998141"/>
                    </a:cubicBezTo>
                    <a:cubicBezTo>
                      <a:pt x="2785813" y="957924"/>
                      <a:pt x="2735013" y="874316"/>
                      <a:pt x="2655638" y="820341"/>
                    </a:cubicBezTo>
                    <a:cubicBezTo>
                      <a:pt x="2576263" y="766366"/>
                      <a:pt x="2456671" y="698633"/>
                      <a:pt x="2350838" y="674291"/>
                    </a:cubicBezTo>
                    <a:cubicBezTo>
                      <a:pt x="2245005" y="649949"/>
                      <a:pt x="2004008" y="658416"/>
                      <a:pt x="2020638" y="674291"/>
                    </a:cubicBezTo>
                    <a:cubicBezTo>
                      <a:pt x="2037268" y="690166"/>
                      <a:pt x="2322805" y="697365"/>
                      <a:pt x="2450619" y="769542"/>
                    </a:cubicBezTo>
                    <a:cubicBezTo>
                      <a:pt x="2578433" y="841719"/>
                      <a:pt x="2592091" y="839501"/>
                      <a:pt x="2660171" y="895090"/>
                    </a:cubicBezTo>
                    <a:cubicBezTo>
                      <a:pt x="2728251" y="950679"/>
                      <a:pt x="2812957" y="1052543"/>
                      <a:pt x="2859098" y="1103077"/>
                    </a:cubicBezTo>
                    <a:cubicBezTo>
                      <a:pt x="2840639" y="1173982"/>
                      <a:pt x="2842709" y="1151206"/>
                      <a:pt x="2830884" y="1212445"/>
                    </a:cubicBezTo>
                    <a:cubicBezTo>
                      <a:pt x="2856921" y="1275211"/>
                      <a:pt x="2830896" y="1445184"/>
                      <a:pt x="2830884" y="1445256"/>
                    </a:cubicBezTo>
                    <a:cubicBezTo>
                      <a:pt x="2830987" y="1445263"/>
                      <a:pt x="2939795" y="1453141"/>
                      <a:pt x="2939795" y="1531580"/>
                    </a:cubicBezTo>
                    <a:cubicBezTo>
                      <a:pt x="2939795" y="1610041"/>
                      <a:pt x="2823824" y="2041512"/>
                      <a:pt x="2823781" y="2041674"/>
                    </a:cubicBezTo>
                    <a:cubicBezTo>
                      <a:pt x="2823748" y="2041731"/>
                      <a:pt x="2792983" y="2093987"/>
                      <a:pt x="2757487" y="2086142"/>
                    </a:cubicBezTo>
                    <a:cubicBezTo>
                      <a:pt x="2719935" y="2402501"/>
                      <a:pt x="2591644" y="2600616"/>
                      <a:pt x="2480886" y="2698176"/>
                    </a:cubicBezTo>
                    <a:cubicBezTo>
                      <a:pt x="2497333" y="2737923"/>
                      <a:pt x="2509017" y="2787194"/>
                      <a:pt x="2530227" y="2817416"/>
                    </a:cubicBezTo>
                    <a:lnTo>
                      <a:pt x="2592139" y="2874566"/>
                    </a:lnTo>
                    <a:lnTo>
                      <a:pt x="2658814" y="2884091"/>
                    </a:lnTo>
                    <a:lnTo>
                      <a:pt x="2682627" y="2912666"/>
                    </a:lnTo>
                    <a:lnTo>
                      <a:pt x="2749302" y="3079354"/>
                    </a:lnTo>
                    <a:lnTo>
                      <a:pt x="2844552" y="3174604"/>
                    </a:lnTo>
                    <a:lnTo>
                      <a:pt x="2939802" y="3207941"/>
                    </a:lnTo>
                    <a:lnTo>
                      <a:pt x="3282702" y="3317479"/>
                    </a:lnTo>
                    <a:lnTo>
                      <a:pt x="3658939" y="3493691"/>
                    </a:lnTo>
                    <a:lnTo>
                      <a:pt x="3868489" y="3641329"/>
                    </a:lnTo>
                    <a:cubicBezTo>
                      <a:pt x="3879602" y="3684191"/>
                      <a:pt x="3906589" y="3708004"/>
                      <a:pt x="3901827" y="3769916"/>
                    </a:cubicBezTo>
                    <a:cubicBezTo>
                      <a:pt x="3909764" y="3830241"/>
                      <a:pt x="3898652" y="3938191"/>
                      <a:pt x="3878014" y="4027091"/>
                    </a:cubicBezTo>
                    <a:cubicBezTo>
                      <a:pt x="3855789" y="4119166"/>
                      <a:pt x="3820864" y="4166791"/>
                      <a:pt x="3792289" y="4236641"/>
                    </a:cubicBezTo>
                    <a:lnTo>
                      <a:pt x="3620839" y="4598591"/>
                    </a:lnTo>
                    <a:lnTo>
                      <a:pt x="3473202" y="4760516"/>
                    </a:lnTo>
                    <a:cubicBezTo>
                      <a:pt x="2419193" y="4883157"/>
                      <a:pt x="1553862" y="4873723"/>
                      <a:pt x="339477" y="4760516"/>
                    </a:cubicBezTo>
                    <a:lnTo>
                      <a:pt x="163264" y="4436666"/>
                    </a:lnTo>
                    <a:lnTo>
                      <a:pt x="58489" y="4141391"/>
                    </a:lnTo>
                    <a:cubicBezTo>
                      <a:pt x="39439" y="4046141"/>
                      <a:pt x="14039" y="3992166"/>
                      <a:pt x="1339" y="3855641"/>
                    </a:cubicBezTo>
                    <a:cubicBezTo>
                      <a:pt x="-3423" y="3795316"/>
                      <a:pt x="4514" y="3744516"/>
                      <a:pt x="25152" y="3703241"/>
                    </a:cubicBezTo>
                    <a:lnTo>
                      <a:pt x="220414" y="3584179"/>
                    </a:lnTo>
                    <a:lnTo>
                      <a:pt x="534739" y="3450829"/>
                    </a:lnTo>
                    <a:lnTo>
                      <a:pt x="934789" y="3293666"/>
                    </a:lnTo>
                    <a:lnTo>
                      <a:pt x="1134814" y="3217466"/>
                    </a:lnTo>
                    <a:cubicBezTo>
                      <a:pt x="1234827" y="3090466"/>
                      <a:pt x="1241971" y="3068241"/>
                      <a:pt x="1277689" y="2950766"/>
                    </a:cubicBezTo>
                    <a:lnTo>
                      <a:pt x="1372939" y="2888854"/>
                    </a:lnTo>
                    <a:lnTo>
                      <a:pt x="1444377" y="2750741"/>
                    </a:lnTo>
                    <a:lnTo>
                      <a:pt x="1430089" y="2665016"/>
                    </a:lnTo>
                    <a:lnTo>
                      <a:pt x="1433678" y="2655556"/>
                    </a:lnTo>
                    <a:cubicBezTo>
                      <a:pt x="1422983" y="2644679"/>
                      <a:pt x="1415776" y="2635961"/>
                      <a:pt x="1412671" y="2630242"/>
                    </a:cubicBezTo>
                    <a:cubicBezTo>
                      <a:pt x="1381893" y="2577926"/>
                      <a:pt x="1178275" y="2345112"/>
                      <a:pt x="1171172" y="2059985"/>
                    </a:cubicBezTo>
                    <a:cubicBezTo>
                      <a:pt x="1071731" y="2052136"/>
                      <a:pt x="1014908" y="1764391"/>
                      <a:pt x="977027" y="1612672"/>
                    </a:cubicBezTo>
                    <a:cubicBezTo>
                      <a:pt x="946258" y="1484545"/>
                      <a:pt x="1052708" y="1487108"/>
                      <a:pt x="1052790" y="1487109"/>
                    </a:cubicBezTo>
                    <a:cubicBezTo>
                      <a:pt x="1052758" y="1487025"/>
                      <a:pt x="992834" y="1362590"/>
                      <a:pt x="1018186" y="1277790"/>
                    </a:cubicBezTo>
                    <a:cubicBezTo>
                      <a:pt x="962383" y="1308036"/>
                      <a:pt x="957154" y="1319916"/>
                      <a:pt x="934788" y="1341041"/>
                    </a:cubicBezTo>
                    <a:cubicBezTo>
                      <a:pt x="912422" y="1362166"/>
                      <a:pt x="899863" y="1373849"/>
                      <a:pt x="883988" y="1404541"/>
                    </a:cubicBezTo>
                    <a:cubicBezTo>
                      <a:pt x="868113" y="1435233"/>
                      <a:pt x="843771" y="1484974"/>
                      <a:pt x="839538" y="1525191"/>
                    </a:cubicBezTo>
                    <a:cubicBezTo>
                      <a:pt x="835305" y="1565408"/>
                      <a:pt x="850121" y="1595041"/>
                      <a:pt x="858588" y="1645841"/>
                    </a:cubicBezTo>
                    <a:cubicBezTo>
                      <a:pt x="867055" y="1696641"/>
                      <a:pt x="872346" y="1749558"/>
                      <a:pt x="890338" y="1829991"/>
                    </a:cubicBezTo>
                    <a:cubicBezTo>
                      <a:pt x="908330" y="1910424"/>
                      <a:pt x="940080" y="2067058"/>
                      <a:pt x="966538" y="2128441"/>
                    </a:cubicBezTo>
                    <a:cubicBezTo>
                      <a:pt x="992996" y="2189824"/>
                      <a:pt x="1026863" y="2164424"/>
                      <a:pt x="1049088" y="2198291"/>
                    </a:cubicBezTo>
                    <a:cubicBezTo>
                      <a:pt x="1071313" y="2232158"/>
                      <a:pt x="1071313" y="2270258"/>
                      <a:pt x="1099888" y="2331641"/>
                    </a:cubicBezTo>
                    <a:cubicBezTo>
                      <a:pt x="1128463" y="2393024"/>
                      <a:pt x="1191963" y="2503091"/>
                      <a:pt x="1220538" y="2566591"/>
                    </a:cubicBezTo>
                    <a:cubicBezTo>
                      <a:pt x="1249113" y="2630091"/>
                      <a:pt x="1286155" y="2681949"/>
                      <a:pt x="1271338" y="2712641"/>
                    </a:cubicBezTo>
                    <a:cubicBezTo>
                      <a:pt x="1256521" y="2743333"/>
                      <a:pt x="1188788" y="2740158"/>
                      <a:pt x="1131638" y="2750741"/>
                    </a:cubicBezTo>
                    <a:cubicBezTo>
                      <a:pt x="1074488" y="2761324"/>
                      <a:pt x="992996" y="2779316"/>
                      <a:pt x="928438" y="2776141"/>
                    </a:cubicBezTo>
                    <a:cubicBezTo>
                      <a:pt x="863880" y="2772966"/>
                      <a:pt x="788738" y="2762383"/>
                      <a:pt x="744288" y="2731691"/>
                    </a:cubicBezTo>
                    <a:cubicBezTo>
                      <a:pt x="699838" y="2700999"/>
                      <a:pt x="681846" y="2656549"/>
                      <a:pt x="661738" y="2591991"/>
                    </a:cubicBezTo>
                    <a:cubicBezTo>
                      <a:pt x="641630" y="2527433"/>
                      <a:pt x="627871" y="2439591"/>
                      <a:pt x="623638" y="2344341"/>
                    </a:cubicBezTo>
                    <a:cubicBezTo>
                      <a:pt x="619405" y="2249091"/>
                      <a:pt x="617288" y="2189824"/>
                      <a:pt x="636338" y="2020491"/>
                    </a:cubicBezTo>
                    <a:cubicBezTo>
                      <a:pt x="655388" y="1851158"/>
                      <a:pt x="681846" y="1561174"/>
                      <a:pt x="737938" y="1328341"/>
                    </a:cubicBezTo>
                    <a:cubicBezTo>
                      <a:pt x="794030" y="1095508"/>
                      <a:pt x="900921" y="794941"/>
                      <a:pt x="972888" y="623491"/>
                    </a:cubicBezTo>
                    <a:cubicBezTo>
                      <a:pt x="1044855" y="452041"/>
                      <a:pt x="1105180" y="380074"/>
                      <a:pt x="1169738" y="299641"/>
                    </a:cubicBezTo>
                    <a:cubicBezTo>
                      <a:pt x="1234296" y="219208"/>
                      <a:pt x="1299913" y="171583"/>
                      <a:pt x="1360238" y="140891"/>
                    </a:cubicBezTo>
                    <a:cubicBezTo>
                      <a:pt x="1420563" y="110199"/>
                      <a:pt x="1478771" y="136658"/>
                      <a:pt x="1531688" y="115491"/>
                    </a:cubicBezTo>
                    <a:cubicBezTo>
                      <a:pt x="1584605" y="94324"/>
                      <a:pt x="1605771" y="32941"/>
                      <a:pt x="1677738" y="13891"/>
                    </a:cubicBezTo>
                    <a:cubicBezTo>
                      <a:pt x="1713722" y="4366"/>
                      <a:pt x="1763728" y="926"/>
                      <a:pt x="1814660" y="0"/>
                    </a:cubicBezTo>
                    <a:close/>
                  </a:path>
                </a:pathLst>
              </a:custGeom>
              <a:grpFill/>
              <a:ln w="25400" cap="flat" cmpd="sng" algn="ctr">
                <a:noFill/>
                <a:prstDash val="solid"/>
              </a:ln>
              <a:effectLst/>
            </p:spPr>
            <p:txBody>
              <a:bodyPr rtlCol="0" anchor="ctr"/>
              <a:lstStyle/>
              <a:p>
                <a:pPr algn="ctr" defTabSz="913578">
                  <a:defRPr/>
                </a:pPr>
                <a:endParaRPr lang="en-US" sz="1797" kern="0" dirty="0">
                  <a:solidFill>
                    <a:srgbClr val="FFFFFF"/>
                  </a:solidFill>
                  <a:latin typeface="Segoe UI"/>
                </a:endParaRPr>
              </a:p>
            </p:txBody>
          </p:sp>
        </p:grpSp>
        <p:sp>
          <p:nvSpPr>
            <p:cNvPr id="593" name="TextBox 592">
              <a:extLst>
                <a:ext uri="{FF2B5EF4-FFF2-40B4-BE49-F238E27FC236}">
                  <a16:creationId xmlns:a16="http://schemas.microsoft.com/office/drawing/2014/main" id="{CF1A623A-5A7A-4AF5-8A3B-CB32DB3E4EF3}"/>
                </a:ext>
              </a:extLst>
            </p:cNvPr>
            <p:cNvSpPr txBox="1"/>
            <p:nvPr/>
          </p:nvSpPr>
          <p:spPr>
            <a:xfrm>
              <a:off x="9194436" y="2633130"/>
              <a:ext cx="626145" cy="231947"/>
            </a:xfrm>
            <a:prstGeom prst="rect">
              <a:avLst/>
            </a:prstGeom>
          </p:spPr>
          <p:txBody>
            <a:bodyPr vert="horz" wrap="none" lIns="0" tIns="0" rIns="0" bIns="0" rtlCol="0" anchor="t">
              <a:spAutoFit/>
            </a:bodyPr>
            <a:lstStyle>
              <a:defPPr>
                <a:defRPr lang="en-US"/>
              </a:defPPr>
              <a:lvl1pPr algn="ctr" defTabSz="1088105">
                <a:defRPr sz="1200">
                  <a:solidFill>
                    <a:srgbClr val="505050"/>
                  </a:solidFill>
                  <a:ea typeface="Segoe UI" pitchFamily="34" charset="0"/>
                  <a:cs typeface="Segoe UI" pitchFamily="34" charset="0"/>
                </a:defRPr>
              </a:lvl1pPr>
            </a:lstStyle>
            <a:p>
              <a:pPr defTabSz="1087779">
                <a:defRPr/>
              </a:pPr>
              <a:r>
                <a:rPr lang="en-US" kern="0" dirty="0">
                  <a:latin typeface="Segoe UI Semibold" panose="020B0702040204020203" pitchFamily="34" charset="0"/>
                  <a:cs typeface="Segoe UI Semibold" panose="020B0702040204020203" pitchFamily="34" charset="0"/>
                </a:rPr>
                <a:t>Dealers</a:t>
              </a:r>
            </a:p>
          </p:txBody>
        </p:sp>
      </p:grpSp>
      <p:grpSp>
        <p:nvGrpSpPr>
          <p:cNvPr id="587" name="Group 586">
            <a:extLst>
              <a:ext uri="{FF2B5EF4-FFF2-40B4-BE49-F238E27FC236}">
                <a16:creationId xmlns:a16="http://schemas.microsoft.com/office/drawing/2014/main" id="{4B0C9635-B04A-41E3-9C87-96D6B4243E49}"/>
              </a:ext>
            </a:extLst>
          </p:cNvPr>
          <p:cNvGrpSpPr/>
          <p:nvPr/>
        </p:nvGrpSpPr>
        <p:grpSpPr>
          <a:xfrm>
            <a:off x="478416" y="1729102"/>
            <a:ext cx="747254" cy="496169"/>
            <a:chOff x="175135" y="4059843"/>
            <a:chExt cx="747449" cy="496298"/>
          </a:xfrm>
        </p:grpSpPr>
        <p:sp>
          <p:nvSpPr>
            <p:cNvPr id="588" name="TextBox 587">
              <a:extLst>
                <a:ext uri="{FF2B5EF4-FFF2-40B4-BE49-F238E27FC236}">
                  <a16:creationId xmlns:a16="http://schemas.microsoft.com/office/drawing/2014/main" id="{86D0646A-1E6E-4CEE-8B3F-FC09B1925816}"/>
                </a:ext>
              </a:extLst>
            </p:cNvPr>
            <p:cNvSpPr txBox="1"/>
            <p:nvPr/>
          </p:nvSpPr>
          <p:spPr>
            <a:xfrm>
              <a:off x="175135" y="4371475"/>
              <a:ext cx="747449" cy="184666"/>
            </a:xfrm>
            <a:prstGeom prst="rect">
              <a:avLst/>
            </a:prstGeom>
          </p:spPr>
          <p:txBody>
            <a:bodyPr vert="horz" wrap="none" lIns="0" tIns="0" rIns="0" bIns="0" rtlCol="0" anchor="t">
              <a:spAutoFit/>
            </a:bodyPr>
            <a:lstStyle>
              <a:defPPr>
                <a:defRPr lang="en-US"/>
              </a:defPPr>
              <a:lvl1pPr algn="ctr" defTabSz="1088105">
                <a:defRPr sz="1200">
                  <a:solidFill>
                    <a:srgbClr val="505050"/>
                  </a:solidFill>
                  <a:ea typeface="Segoe UI" pitchFamily="34" charset="0"/>
                  <a:cs typeface="Segoe UI" pitchFamily="34" charset="0"/>
                </a:defRPr>
              </a:lvl1pPr>
            </a:lstStyle>
            <a:p>
              <a:pPr defTabSz="1087779">
                <a:defRPr/>
              </a:pPr>
              <a:r>
                <a:rPr lang="en-US" kern="0" dirty="0">
                  <a:latin typeface="Segoe UI Semibold" panose="020B0702040204020203" pitchFamily="34" charset="0"/>
                  <a:cs typeface="Segoe UI Semibold" panose="020B0702040204020203" pitchFamily="34" charset="0"/>
                </a:rPr>
                <a:t>Employees</a:t>
              </a:r>
            </a:p>
          </p:txBody>
        </p:sp>
        <p:grpSp>
          <p:nvGrpSpPr>
            <p:cNvPr id="589" name="Group 588">
              <a:extLst>
                <a:ext uri="{FF2B5EF4-FFF2-40B4-BE49-F238E27FC236}">
                  <a16:creationId xmlns:a16="http://schemas.microsoft.com/office/drawing/2014/main" id="{77CBF4B5-DD7B-4FEB-A4F4-84171C6D6045}"/>
                </a:ext>
              </a:extLst>
            </p:cNvPr>
            <p:cNvGrpSpPr/>
            <p:nvPr/>
          </p:nvGrpSpPr>
          <p:grpSpPr>
            <a:xfrm>
              <a:off x="338214" y="4059843"/>
              <a:ext cx="426126" cy="278360"/>
              <a:chOff x="467453" y="4530166"/>
              <a:chExt cx="676876" cy="471041"/>
            </a:xfrm>
          </p:grpSpPr>
          <p:sp>
            <p:nvSpPr>
              <p:cNvPr id="590" name="Freeform 494">
                <a:extLst>
                  <a:ext uri="{FF2B5EF4-FFF2-40B4-BE49-F238E27FC236}">
                    <a16:creationId xmlns:a16="http://schemas.microsoft.com/office/drawing/2014/main" id="{B79C8CE4-0EE0-4AD0-BB70-C8DF36425AA8}"/>
                  </a:ext>
                </a:extLst>
              </p:cNvPr>
              <p:cNvSpPr/>
              <p:nvPr/>
            </p:nvSpPr>
            <p:spPr>
              <a:xfrm>
                <a:off x="749128" y="4530166"/>
                <a:ext cx="395201" cy="444944"/>
              </a:xfrm>
              <a:custGeom>
                <a:avLst/>
                <a:gdLst/>
                <a:ahLst/>
                <a:cxnLst/>
                <a:rect l="l" t="t" r="r" b="b"/>
                <a:pathLst>
                  <a:path w="607369" h="683818">
                    <a:moveTo>
                      <a:pt x="195512" y="442921"/>
                    </a:moveTo>
                    <a:lnTo>
                      <a:pt x="203915" y="450677"/>
                    </a:lnTo>
                    <a:cubicBezTo>
                      <a:pt x="206284" y="453801"/>
                      <a:pt x="210270" y="457249"/>
                      <a:pt x="209732" y="461665"/>
                    </a:cubicBezTo>
                    <a:cubicBezTo>
                      <a:pt x="209194" y="466082"/>
                      <a:pt x="202622" y="472330"/>
                      <a:pt x="200683" y="477178"/>
                    </a:cubicBezTo>
                    <a:cubicBezTo>
                      <a:pt x="198744" y="482026"/>
                      <a:pt x="198420" y="483750"/>
                      <a:pt x="198097" y="490752"/>
                    </a:cubicBezTo>
                    <a:cubicBezTo>
                      <a:pt x="197774" y="497754"/>
                      <a:pt x="197882" y="503248"/>
                      <a:pt x="198744" y="519192"/>
                    </a:cubicBezTo>
                    <a:cubicBezTo>
                      <a:pt x="199605" y="535135"/>
                      <a:pt x="200898" y="567129"/>
                      <a:pt x="203268" y="586412"/>
                    </a:cubicBezTo>
                    <a:cubicBezTo>
                      <a:pt x="203305" y="586709"/>
                      <a:pt x="203342" y="587004"/>
                      <a:pt x="203444" y="587291"/>
                    </a:cubicBezTo>
                    <a:cubicBezTo>
                      <a:pt x="198951" y="579212"/>
                      <a:pt x="195079" y="572241"/>
                      <a:pt x="192120" y="566747"/>
                    </a:cubicBezTo>
                    <a:cubicBezTo>
                      <a:pt x="169895" y="525472"/>
                      <a:pt x="178230" y="546903"/>
                      <a:pt x="156402" y="535791"/>
                    </a:cubicBezTo>
                    <a:lnTo>
                      <a:pt x="152203" y="534063"/>
                    </a:lnTo>
                    <a:lnTo>
                      <a:pt x="166425" y="505617"/>
                    </a:lnTo>
                    <a:cubicBezTo>
                      <a:pt x="170519" y="498077"/>
                      <a:pt x="172135" y="495599"/>
                      <a:pt x="175475" y="491398"/>
                    </a:cubicBezTo>
                    <a:cubicBezTo>
                      <a:pt x="178815" y="487197"/>
                      <a:pt x="186678" y="483104"/>
                      <a:pt x="187756" y="479763"/>
                    </a:cubicBezTo>
                    <a:cubicBezTo>
                      <a:pt x="188833" y="476424"/>
                      <a:pt x="183447" y="474808"/>
                      <a:pt x="181939" y="471361"/>
                    </a:cubicBezTo>
                    <a:cubicBezTo>
                      <a:pt x="180431" y="467913"/>
                      <a:pt x="177845" y="463281"/>
                      <a:pt x="178707" y="459080"/>
                    </a:cubicBezTo>
                    <a:lnTo>
                      <a:pt x="187109" y="446153"/>
                    </a:lnTo>
                    <a:cubicBezTo>
                      <a:pt x="189910" y="443460"/>
                      <a:pt x="192711" y="442167"/>
                      <a:pt x="195512" y="442921"/>
                    </a:cubicBezTo>
                    <a:close/>
                    <a:moveTo>
                      <a:pt x="153370" y="407630"/>
                    </a:moveTo>
                    <a:cubicBezTo>
                      <a:pt x="162493" y="421788"/>
                      <a:pt x="169895" y="433362"/>
                      <a:pt x="179662" y="438122"/>
                    </a:cubicBezTo>
                    <a:cubicBezTo>
                      <a:pt x="175210" y="445612"/>
                      <a:pt x="169382" y="452621"/>
                      <a:pt x="168882" y="461407"/>
                    </a:cubicBezTo>
                    <a:cubicBezTo>
                      <a:pt x="168020" y="468559"/>
                      <a:pt x="174915" y="473127"/>
                      <a:pt x="176639" y="478987"/>
                    </a:cubicBezTo>
                    <a:cubicBezTo>
                      <a:pt x="162957" y="482986"/>
                      <a:pt x="151150" y="508057"/>
                      <a:pt x="139197" y="526680"/>
                    </a:cubicBezTo>
                    <a:cubicBezTo>
                      <a:pt x="140282" y="513678"/>
                      <a:pt x="141517" y="502928"/>
                      <a:pt x="143028" y="495535"/>
                    </a:cubicBezTo>
                    <a:cubicBezTo>
                      <a:pt x="150957" y="461407"/>
                      <a:pt x="163022" y="451066"/>
                      <a:pt x="153370" y="407630"/>
                    </a:cubicBezTo>
                    <a:close/>
                    <a:moveTo>
                      <a:pt x="134754" y="392117"/>
                    </a:moveTo>
                    <a:lnTo>
                      <a:pt x="135789" y="435552"/>
                    </a:lnTo>
                    <a:cubicBezTo>
                      <a:pt x="125458" y="453184"/>
                      <a:pt x="120411" y="484026"/>
                      <a:pt x="118255" y="520091"/>
                    </a:cubicBezTo>
                    <a:cubicBezTo>
                      <a:pt x="99728" y="512972"/>
                      <a:pt x="79029" y="506031"/>
                      <a:pt x="61152" y="500072"/>
                    </a:cubicBezTo>
                    <a:cubicBezTo>
                      <a:pt x="36628" y="491897"/>
                      <a:pt x="30350" y="474715"/>
                      <a:pt x="0" y="470962"/>
                    </a:cubicBezTo>
                    <a:cubicBezTo>
                      <a:pt x="37094" y="449870"/>
                      <a:pt x="78830" y="431637"/>
                      <a:pt x="116140" y="420040"/>
                    </a:cubicBezTo>
                    <a:cubicBezTo>
                      <a:pt x="123379" y="415903"/>
                      <a:pt x="124412" y="399356"/>
                      <a:pt x="134754" y="392117"/>
                    </a:cubicBezTo>
                    <a:close/>
                    <a:moveTo>
                      <a:pt x="303324" y="351785"/>
                    </a:moveTo>
                    <a:cubicBezTo>
                      <a:pt x="305048" y="410042"/>
                      <a:pt x="271610" y="480711"/>
                      <a:pt x="249547" y="529663"/>
                    </a:cubicBezTo>
                    <a:cubicBezTo>
                      <a:pt x="239218" y="557323"/>
                      <a:pt x="229955" y="583651"/>
                      <a:pt x="222478" y="610148"/>
                    </a:cubicBezTo>
                    <a:cubicBezTo>
                      <a:pt x="207936" y="563435"/>
                      <a:pt x="215779" y="523691"/>
                      <a:pt x="211283" y="480022"/>
                    </a:cubicBezTo>
                    <a:cubicBezTo>
                      <a:pt x="214558" y="474593"/>
                      <a:pt x="221064" y="472395"/>
                      <a:pt x="221107" y="463734"/>
                    </a:cubicBezTo>
                    <a:cubicBezTo>
                      <a:pt x="219703" y="454942"/>
                      <a:pt x="215491" y="444467"/>
                      <a:pt x="205197" y="435604"/>
                    </a:cubicBezTo>
                    <a:cubicBezTo>
                      <a:pt x="240077" y="421806"/>
                      <a:pt x="284089" y="382831"/>
                      <a:pt x="303324" y="351785"/>
                    </a:cubicBezTo>
                    <a:close/>
                    <a:moveTo>
                      <a:pt x="279538" y="341442"/>
                    </a:moveTo>
                    <a:cubicBezTo>
                      <a:pt x="257347" y="358894"/>
                      <a:pt x="224814" y="379901"/>
                      <a:pt x="195511" y="380225"/>
                    </a:cubicBezTo>
                    <a:cubicBezTo>
                      <a:pt x="182477" y="380656"/>
                      <a:pt x="170088" y="375915"/>
                      <a:pt x="157377" y="373761"/>
                    </a:cubicBezTo>
                    <a:cubicBezTo>
                      <a:pt x="170950" y="380440"/>
                      <a:pt x="173859" y="393259"/>
                      <a:pt x="198097" y="393798"/>
                    </a:cubicBezTo>
                    <a:cubicBezTo>
                      <a:pt x="216195" y="393798"/>
                      <a:pt x="257885" y="367298"/>
                      <a:pt x="279538" y="341442"/>
                    </a:cubicBezTo>
                    <a:close/>
                    <a:moveTo>
                      <a:pt x="314700" y="329033"/>
                    </a:moveTo>
                    <a:cubicBezTo>
                      <a:pt x="336417" y="347993"/>
                      <a:pt x="351930" y="376260"/>
                      <a:pt x="376749" y="395219"/>
                    </a:cubicBezTo>
                    <a:cubicBezTo>
                      <a:pt x="443626" y="416938"/>
                      <a:pt x="508434" y="443826"/>
                      <a:pt x="543251" y="472783"/>
                    </a:cubicBezTo>
                    <a:cubicBezTo>
                      <a:pt x="619435" y="519321"/>
                      <a:pt x="601509" y="596883"/>
                      <a:pt x="607369" y="637216"/>
                    </a:cubicBezTo>
                    <a:cubicBezTo>
                      <a:pt x="571862" y="655487"/>
                      <a:pt x="534288" y="642732"/>
                      <a:pt x="497748" y="645489"/>
                    </a:cubicBezTo>
                    <a:cubicBezTo>
                      <a:pt x="414732" y="679003"/>
                      <a:pt x="335008" y="674673"/>
                      <a:pt x="254244" y="683818"/>
                    </a:cubicBezTo>
                    <a:cubicBezTo>
                      <a:pt x="248807" y="671599"/>
                      <a:pt x="242634" y="659530"/>
                      <a:pt x="236204" y="647995"/>
                    </a:cubicBezTo>
                    <a:cubicBezTo>
                      <a:pt x="270444" y="522124"/>
                      <a:pt x="347385" y="369500"/>
                      <a:pt x="314700" y="329033"/>
                    </a:cubicBezTo>
                    <a:close/>
                    <a:moveTo>
                      <a:pt x="175260" y="166"/>
                    </a:moveTo>
                    <a:cubicBezTo>
                      <a:pt x="185026" y="-409"/>
                      <a:pt x="196660" y="453"/>
                      <a:pt x="210593" y="3613"/>
                    </a:cubicBezTo>
                    <a:cubicBezTo>
                      <a:pt x="224526" y="6773"/>
                      <a:pt x="245641" y="14386"/>
                      <a:pt x="258854" y="19125"/>
                    </a:cubicBezTo>
                    <a:cubicBezTo>
                      <a:pt x="272069" y="23866"/>
                      <a:pt x="282697" y="28606"/>
                      <a:pt x="289879" y="32053"/>
                    </a:cubicBezTo>
                    <a:cubicBezTo>
                      <a:pt x="297061" y="35500"/>
                      <a:pt x="296343" y="33346"/>
                      <a:pt x="301945" y="39809"/>
                    </a:cubicBezTo>
                    <a:cubicBezTo>
                      <a:pt x="307547" y="46273"/>
                      <a:pt x="317314" y="58338"/>
                      <a:pt x="323490" y="70835"/>
                    </a:cubicBezTo>
                    <a:cubicBezTo>
                      <a:pt x="329667" y="83331"/>
                      <a:pt x="336417" y="101285"/>
                      <a:pt x="339002" y="114787"/>
                    </a:cubicBezTo>
                    <a:cubicBezTo>
                      <a:pt x="341585" y="128277"/>
                      <a:pt x="339007" y="151802"/>
                      <a:pt x="339002" y="151844"/>
                    </a:cubicBezTo>
                    <a:lnTo>
                      <a:pt x="339595" y="159709"/>
                    </a:lnTo>
                    <a:cubicBezTo>
                      <a:pt x="339792" y="161217"/>
                      <a:pt x="339792" y="161827"/>
                      <a:pt x="339002" y="162186"/>
                    </a:cubicBezTo>
                    <a:cubicBezTo>
                      <a:pt x="337423" y="162905"/>
                      <a:pt x="332395" y="157159"/>
                      <a:pt x="329523" y="156154"/>
                    </a:cubicBezTo>
                    <a:cubicBezTo>
                      <a:pt x="326649" y="155149"/>
                      <a:pt x="323921" y="155580"/>
                      <a:pt x="321766" y="156154"/>
                    </a:cubicBezTo>
                    <a:cubicBezTo>
                      <a:pt x="319612" y="156729"/>
                      <a:pt x="318607" y="161037"/>
                      <a:pt x="316596" y="159601"/>
                    </a:cubicBezTo>
                    <a:lnTo>
                      <a:pt x="314735" y="156951"/>
                    </a:lnTo>
                    <a:lnTo>
                      <a:pt x="313615" y="179355"/>
                    </a:lnTo>
                    <a:lnTo>
                      <a:pt x="314222" y="186622"/>
                    </a:lnTo>
                    <a:cubicBezTo>
                      <a:pt x="315937" y="183907"/>
                      <a:pt x="316926" y="174790"/>
                      <a:pt x="318966" y="172097"/>
                    </a:cubicBezTo>
                    <a:cubicBezTo>
                      <a:pt x="321659" y="168542"/>
                      <a:pt x="325429" y="165310"/>
                      <a:pt x="328661" y="165633"/>
                    </a:cubicBezTo>
                    <a:lnTo>
                      <a:pt x="338357" y="174036"/>
                    </a:lnTo>
                    <a:cubicBezTo>
                      <a:pt x="340403" y="178669"/>
                      <a:pt x="341481" y="184163"/>
                      <a:pt x="340941" y="193427"/>
                    </a:cubicBezTo>
                    <a:cubicBezTo>
                      <a:pt x="340403" y="202691"/>
                      <a:pt x="336417" y="218743"/>
                      <a:pt x="335125" y="229623"/>
                    </a:cubicBezTo>
                    <a:cubicBezTo>
                      <a:pt x="333832" y="240504"/>
                      <a:pt x="334909" y="251491"/>
                      <a:pt x="333185" y="258709"/>
                    </a:cubicBezTo>
                    <a:cubicBezTo>
                      <a:pt x="331462" y="265927"/>
                      <a:pt x="327907" y="269805"/>
                      <a:pt x="324783" y="272929"/>
                    </a:cubicBezTo>
                    <a:cubicBezTo>
                      <a:pt x="321659" y="276053"/>
                      <a:pt x="316811" y="271959"/>
                      <a:pt x="314442" y="277454"/>
                    </a:cubicBezTo>
                    <a:cubicBezTo>
                      <a:pt x="312071" y="282947"/>
                      <a:pt x="312394" y="298352"/>
                      <a:pt x="310563" y="305893"/>
                    </a:cubicBezTo>
                    <a:cubicBezTo>
                      <a:pt x="308732" y="313435"/>
                      <a:pt x="305177" y="316558"/>
                      <a:pt x="303454" y="322699"/>
                    </a:cubicBezTo>
                    <a:cubicBezTo>
                      <a:pt x="301730" y="328840"/>
                      <a:pt x="303022" y="336381"/>
                      <a:pt x="300221" y="342735"/>
                    </a:cubicBezTo>
                    <a:cubicBezTo>
                      <a:pt x="297420" y="349091"/>
                      <a:pt x="293758" y="352862"/>
                      <a:pt x="286648" y="360834"/>
                    </a:cubicBezTo>
                    <a:cubicBezTo>
                      <a:pt x="279538" y="368805"/>
                      <a:pt x="271459" y="379901"/>
                      <a:pt x="257562" y="390566"/>
                    </a:cubicBezTo>
                    <a:cubicBezTo>
                      <a:pt x="243665" y="401231"/>
                      <a:pt x="216087" y="419006"/>
                      <a:pt x="203268" y="424824"/>
                    </a:cubicBezTo>
                    <a:cubicBezTo>
                      <a:pt x="190449" y="430640"/>
                      <a:pt x="188617" y="430101"/>
                      <a:pt x="180646" y="425470"/>
                    </a:cubicBezTo>
                    <a:cubicBezTo>
                      <a:pt x="172673" y="420838"/>
                      <a:pt x="162224" y="405325"/>
                      <a:pt x="155438" y="397029"/>
                    </a:cubicBezTo>
                    <a:cubicBezTo>
                      <a:pt x="148652" y="388735"/>
                      <a:pt x="143157" y="381733"/>
                      <a:pt x="139926" y="375700"/>
                    </a:cubicBezTo>
                    <a:cubicBezTo>
                      <a:pt x="136694" y="369668"/>
                      <a:pt x="140572" y="368482"/>
                      <a:pt x="136047" y="360834"/>
                    </a:cubicBezTo>
                    <a:cubicBezTo>
                      <a:pt x="131523" y="353185"/>
                      <a:pt x="118918" y="342412"/>
                      <a:pt x="112779" y="329809"/>
                    </a:cubicBezTo>
                    <a:cubicBezTo>
                      <a:pt x="106638" y="317205"/>
                      <a:pt x="100390" y="294690"/>
                      <a:pt x="99205" y="285210"/>
                    </a:cubicBezTo>
                    <a:cubicBezTo>
                      <a:pt x="98020" y="275730"/>
                      <a:pt x="92850" y="282947"/>
                      <a:pt x="90156" y="280685"/>
                    </a:cubicBezTo>
                    <a:cubicBezTo>
                      <a:pt x="87463" y="278423"/>
                      <a:pt x="84124" y="277023"/>
                      <a:pt x="83046" y="271636"/>
                    </a:cubicBezTo>
                    <a:lnTo>
                      <a:pt x="83692" y="248367"/>
                    </a:lnTo>
                    <a:cubicBezTo>
                      <a:pt x="83585" y="240181"/>
                      <a:pt x="84554" y="231562"/>
                      <a:pt x="82400" y="222514"/>
                    </a:cubicBezTo>
                    <a:cubicBezTo>
                      <a:pt x="80245" y="213464"/>
                      <a:pt x="72058" y="201399"/>
                      <a:pt x="70765" y="194074"/>
                    </a:cubicBezTo>
                    <a:cubicBezTo>
                      <a:pt x="69473" y="186748"/>
                      <a:pt x="71628" y="178561"/>
                      <a:pt x="76140" y="179776"/>
                    </a:cubicBezTo>
                    <a:lnTo>
                      <a:pt x="73324" y="163813"/>
                    </a:lnTo>
                    <a:lnTo>
                      <a:pt x="72704" y="163048"/>
                    </a:lnTo>
                    <a:cubicBezTo>
                      <a:pt x="69545" y="153568"/>
                      <a:pt x="63943" y="124985"/>
                      <a:pt x="64086" y="111339"/>
                    </a:cubicBezTo>
                    <a:cubicBezTo>
                      <a:pt x="64230" y="97694"/>
                      <a:pt x="68827" y="92236"/>
                      <a:pt x="73566" y="81177"/>
                    </a:cubicBezTo>
                    <a:cubicBezTo>
                      <a:pt x="78306" y="70116"/>
                      <a:pt x="85344" y="54747"/>
                      <a:pt x="92526" y="44980"/>
                    </a:cubicBezTo>
                    <a:cubicBezTo>
                      <a:pt x="99708" y="35213"/>
                      <a:pt x="106746" y="28894"/>
                      <a:pt x="116657" y="22573"/>
                    </a:cubicBezTo>
                    <a:cubicBezTo>
                      <a:pt x="126567" y="16253"/>
                      <a:pt x="142224" y="10795"/>
                      <a:pt x="151990" y="7061"/>
                    </a:cubicBezTo>
                    <a:cubicBezTo>
                      <a:pt x="161758" y="3326"/>
                      <a:pt x="165492" y="740"/>
                      <a:pt x="175260" y="166"/>
                    </a:cubicBezTo>
                    <a:close/>
                  </a:path>
                </a:pathLst>
              </a:custGeom>
              <a:solidFill>
                <a:srgbClr val="7F7F7F"/>
              </a:solidFill>
              <a:ln w="25400" cap="flat" cmpd="sng" algn="ctr">
                <a:noFill/>
                <a:prstDash val="solid"/>
              </a:ln>
              <a:effectLst/>
            </p:spPr>
            <p:txBody>
              <a:bodyPr rtlCol="0" anchor="ctr"/>
              <a:lstStyle/>
              <a:p>
                <a:pPr algn="ctr" defTabSz="913693">
                  <a:defRPr/>
                </a:pPr>
                <a:endParaRPr lang="en-US" sz="1898" kern="0">
                  <a:solidFill>
                    <a:srgbClr val="FFFFFF"/>
                  </a:solidFill>
                  <a:latin typeface="Segoe UI"/>
                </a:endParaRPr>
              </a:p>
            </p:txBody>
          </p:sp>
          <p:sp>
            <p:nvSpPr>
              <p:cNvPr id="591" name="Freeform 495">
                <a:extLst>
                  <a:ext uri="{FF2B5EF4-FFF2-40B4-BE49-F238E27FC236}">
                    <a16:creationId xmlns:a16="http://schemas.microsoft.com/office/drawing/2014/main" id="{DB7E3C71-8AFA-47C2-9AF5-CB197BB99EE4}"/>
                  </a:ext>
                </a:extLst>
              </p:cNvPr>
              <p:cNvSpPr/>
              <p:nvPr/>
            </p:nvSpPr>
            <p:spPr>
              <a:xfrm>
                <a:off x="467453" y="4586468"/>
                <a:ext cx="422570" cy="414739"/>
              </a:xfrm>
              <a:custGeom>
                <a:avLst/>
                <a:gdLst>
                  <a:gd name="connsiteX0" fmla="*/ 992965 w 1413367"/>
                  <a:gd name="connsiteY0" fmla="*/ 998817 h 1522526"/>
                  <a:gd name="connsiteX1" fmla="*/ 1003490 w 1413367"/>
                  <a:gd name="connsiteY1" fmla="*/ 1002500 h 1522526"/>
                  <a:gd name="connsiteX2" fmla="*/ 1110648 w 1413367"/>
                  <a:gd name="connsiteY2" fmla="*/ 1036732 h 1522526"/>
                  <a:gd name="connsiteX3" fmla="*/ 1228224 w 1413367"/>
                  <a:gd name="connsiteY3" fmla="*/ 1091799 h 1522526"/>
                  <a:gd name="connsiteX4" fmla="*/ 1293710 w 1413367"/>
                  <a:gd name="connsiteY4" fmla="*/ 1137937 h 1522526"/>
                  <a:gd name="connsiteX5" fmla="*/ 1323178 w 1413367"/>
                  <a:gd name="connsiteY5" fmla="*/ 1187646 h 1522526"/>
                  <a:gd name="connsiteX6" fmla="*/ 1340257 w 1413367"/>
                  <a:gd name="connsiteY6" fmla="*/ 1220010 h 1522526"/>
                  <a:gd name="connsiteX7" fmla="*/ 1413367 w 1413367"/>
                  <a:gd name="connsiteY7" fmla="*/ 1463277 h 1522526"/>
                  <a:gd name="connsiteX8" fmla="*/ 1177029 w 1413367"/>
                  <a:gd name="connsiteY8" fmla="*/ 1493045 h 1522526"/>
                  <a:gd name="connsiteX9" fmla="*/ 1132974 w 1413367"/>
                  <a:gd name="connsiteY9" fmla="*/ 1439469 h 1522526"/>
                  <a:gd name="connsiteX10" fmla="*/ 1151130 w 1413367"/>
                  <a:gd name="connsiteY10" fmla="*/ 1492451 h 1522526"/>
                  <a:gd name="connsiteX11" fmla="*/ 267073 w 1413367"/>
                  <a:gd name="connsiteY11" fmla="*/ 1497214 h 1522526"/>
                  <a:gd name="connsiteX12" fmla="*/ 250922 w 1413367"/>
                  <a:gd name="connsiteY12" fmla="*/ 1492951 h 1522526"/>
                  <a:gd name="connsiteX13" fmla="*/ 273457 w 1413367"/>
                  <a:gd name="connsiteY13" fmla="*/ 1446229 h 1522526"/>
                  <a:gd name="connsiteX14" fmla="*/ 221069 w 1413367"/>
                  <a:gd name="connsiteY14" fmla="*/ 1493854 h 1522526"/>
                  <a:gd name="connsiteX15" fmla="*/ 668 w 1413367"/>
                  <a:gd name="connsiteY15" fmla="*/ 1482327 h 1522526"/>
                  <a:gd name="connsiteX16" fmla="*/ 61391 w 1413367"/>
                  <a:gd name="connsiteY16" fmla="*/ 1223961 h 1522526"/>
                  <a:gd name="connsiteX17" fmla="*/ 92644 w 1413367"/>
                  <a:gd name="connsiteY17" fmla="*/ 1157285 h 1522526"/>
                  <a:gd name="connsiteX18" fmla="*/ 153665 w 1413367"/>
                  <a:gd name="connsiteY18" fmla="*/ 1120077 h 1522526"/>
                  <a:gd name="connsiteX19" fmla="*/ 251893 w 1413367"/>
                  <a:gd name="connsiteY19" fmla="*/ 1078404 h 1522526"/>
                  <a:gd name="connsiteX20" fmla="*/ 376911 w 1413367"/>
                  <a:gd name="connsiteY20" fmla="*/ 1029290 h 1522526"/>
                  <a:gd name="connsiteX21" fmla="*/ 410479 w 1413367"/>
                  <a:gd name="connsiteY21" fmla="*/ 1016502 h 1522526"/>
                  <a:gd name="connsiteX22" fmla="*/ 592543 w 1413367"/>
                  <a:gd name="connsiteY22" fmla="*/ 1272398 h 1522526"/>
                  <a:gd name="connsiteX23" fmla="*/ 763993 w 1413367"/>
                  <a:gd name="connsiteY23" fmla="*/ 1379555 h 1522526"/>
                  <a:gd name="connsiteX24" fmla="*/ 883056 w 1413367"/>
                  <a:gd name="connsiteY24" fmla="*/ 1243823 h 1522526"/>
                  <a:gd name="connsiteX25" fmla="*/ 992965 w 1413367"/>
                  <a:gd name="connsiteY25" fmla="*/ 998817 h 1522526"/>
                  <a:gd name="connsiteX26" fmla="*/ 856178 w 1413367"/>
                  <a:gd name="connsiteY26" fmla="*/ 852696 h 1522526"/>
                  <a:gd name="connsiteX27" fmla="*/ 851682 w 1413367"/>
                  <a:gd name="connsiteY27" fmla="*/ 923321 h 1522526"/>
                  <a:gd name="connsiteX28" fmla="*/ 959840 w 1413367"/>
                  <a:gd name="connsiteY28" fmla="*/ 978198 h 1522526"/>
                  <a:gd name="connsiteX29" fmla="*/ 885437 w 1413367"/>
                  <a:gd name="connsiteY29" fmla="*/ 1177148 h 1522526"/>
                  <a:gd name="connsiteX30" fmla="*/ 747325 w 1413367"/>
                  <a:gd name="connsiteY30" fmla="*/ 1341455 h 1522526"/>
                  <a:gd name="connsiteX31" fmla="*/ 556825 w 1413367"/>
                  <a:gd name="connsiteY31" fmla="*/ 1191436 h 1522526"/>
                  <a:gd name="connsiteX32" fmla="*/ 439913 w 1413367"/>
                  <a:gd name="connsiteY32" fmla="*/ 1004825 h 1522526"/>
                  <a:gd name="connsiteX33" fmla="*/ 551936 w 1413367"/>
                  <a:gd name="connsiteY33" fmla="*/ 931359 h 1522526"/>
                  <a:gd name="connsiteX34" fmla="*/ 550504 w 1413367"/>
                  <a:gd name="connsiteY34" fmla="*/ 858311 h 1522526"/>
                  <a:gd name="connsiteX35" fmla="*/ 621119 w 1413367"/>
                  <a:gd name="connsiteY35" fmla="*/ 900922 h 1522526"/>
                  <a:gd name="connsiteX36" fmla="*/ 728276 w 1413367"/>
                  <a:gd name="connsiteY36" fmla="*/ 915210 h 1522526"/>
                  <a:gd name="connsiteX37" fmla="*/ 821144 w 1413367"/>
                  <a:gd name="connsiteY37" fmla="*/ 874729 h 1522526"/>
                  <a:gd name="connsiteX38" fmla="*/ 856178 w 1413367"/>
                  <a:gd name="connsiteY38" fmla="*/ 852696 h 1522526"/>
                  <a:gd name="connsiteX39" fmla="*/ 1041767 w 1413367"/>
                  <a:gd name="connsiteY39" fmla="*/ 314309 h 1522526"/>
                  <a:gd name="connsiteX40" fmla="*/ 1048139 w 1413367"/>
                  <a:gd name="connsiteY40" fmla="*/ 320855 h 1522526"/>
                  <a:gd name="connsiteX41" fmla="*/ 1074929 w 1413367"/>
                  <a:gd name="connsiteY41" fmla="*/ 428013 h 1522526"/>
                  <a:gd name="connsiteX42" fmla="*/ 1101718 w 1413367"/>
                  <a:gd name="connsiteY42" fmla="*/ 569403 h 1522526"/>
                  <a:gd name="connsiteX43" fmla="*/ 1110648 w 1413367"/>
                  <a:gd name="connsiteY43" fmla="*/ 704839 h 1522526"/>
                  <a:gd name="connsiteX44" fmla="*/ 1107671 w 1413367"/>
                  <a:gd name="connsiteY44" fmla="*/ 789672 h 1522526"/>
                  <a:gd name="connsiteX45" fmla="*/ 1082370 w 1413367"/>
                  <a:gd name="connsiteY45" fmla="*/ 850693 h 1522526"/>
                  <a:gd name="connsiteX46" fmla="*/ 1036232 w 1413367"/>
                  <a:gd name="connsiteY46" fmla="*/ 859623 h 1522526"/>
                  <a:gd name="connsiteX47" fmla="*/ 963305 w 1413367"/>
                  <a:gd name="connsiteY47" fmla="*/ 853670 h 1522526"/>
                  <a:gd name="connsiteX48" fmla="*/ 908238 w 1413367"/>
                  <a:gd name="connsiteY48" fmla="*/ 834322 h 1522526"/>
                  <a:gd name="connsiteX49" fmla="*/ 915679 w 1413367"/>
                  <a:gd name="connsiteY49" fmla="*/ 813485 h 1522526"/>
                  <a:gd name="connsiteX50" fmla="*/ 945445 w 1413367"/>
                  <a:gd name="connsiteY50" fmla="*/ 773301 h 1522526"/>
                  <a:gd name="connsiteX51" fmla="*/ 973724 w 1413367"/>
                  <a:gd name="connsiteY51" fmla="*/ 704839 h 1522526"/>
                  <a:gd name="connsiteX52" fmla="*/ 979677 w 1413367"/>
                  <a:gd name="connsiteY52" fmla="*/ 675072 h 1522526"/>
                  <a:gd name="connsiteX53" fmla="*/ 997536 w 1413367"/>
                  <a:gd name="connsiteY53" fmla="*/ 655725 h 1522526"/>
                  <a:gd name="connsiteX54" fmla="*/ 1022838 w 1413367"/>
                  <a:gd name="connsiteY54" fmla="*/ 579821 h 1522526"/>
                  <a:gd name="connsiteX55" fmla="*/ 1040697 w 1413367"/>
                  <a:gd name="connsiteY55" fmla="*/ 499452 h 1522526"/>
                  <a:gd name="connsiteX56" fmla="*/ 1042186 w 1413367"/>
                  <a:gd name="connsiteY56" fmla="*/ 463733 h 1522526"/>
                  <a:gd name="connsiteX57" fmla="*/ 1025814 w 1413367"/>
                  <a:gd name="connsiteY57" fmla="*/ 430990 h 1522526"/>
                  <a:gd name="connsiteX58" fmla="*/ 1009443 w 1413367"/>
                  <a:gd name="connsiteY58" fmla="*/ 416107 h 1522526"/>
                  <a:gd name="connsiteX59" fmla="*/ 1006466 w 1413367"/>
                  <a:gd name="connsiteY59" fmla="*/ 386340 h 1522526"/>
                  <a:gd name="connsiteX60" fmla="*/ 1009443 w 1413367"/>
                  <a:gd name="connsiteY60" fmla="*/ 350621 h 1522526"/>
                  <a:gd name="connsiteX61" fmla="*/ 1024326 w 1413367"/>
                  <a:gd name="connsiteY61" fmla="*/ 328297 h 1522526"/>
                  <a:gd name="connsiteX62" fmla="*/ 1041767 w 1413367"/>
                  <a:gd name="connsiteY62" fmla="*/ 314309 h 1522526"/>
                  <a:gd name="connsiteX63" fmla="*/ 616358 w 1413367"/>
                  <a:gd name="connsiteY63" fmla="*/ 96060 h 1522526"/>
                  <a:gd name="connsiteX64" fmla="*/ 509202 w 1413367"/>
                  <a:gd name="connsiteY64" fmla="*/ 431816 h 1522526"/>
                  <a:gd name="connsiteX65" fmla="*/ 654458 w 1413367"/>
                  <a:gd name="connsiteY65" fmla="*/ 184165 h 1522526"/>
                  <a:gd name="connsiteX66" fmla="*/ 616358 w 1413367"/>
                  <a:gd name="connsiteY66" fmla="*/ 96060 h 1522526"/>
                  <a:gd name="connsiteX67" fmla="*/ 651876 w 1413367"/>
                  <a:gd name="connsiteY67" fmla="*/ 0 h 1522526"/>
                  <a:gd name="connsiteX68" fmla="*/ 696401 w 1413367"/>
                  <a:gd name="connsiteY68" fmla="*/ 372 h 1522526"/>
                  <a:gd name="connsiteX69" fmla="*/ 757918 w 1413367"/>
                  <a:gd name="connsiteY69" fmla="*/ 6326 h 1522526"/>
                  <a:gd name="connsiteX70" fmla="*/ 829357 w 1413367"/>
                  <a:gd name="connsiteY70" fmla="*/ 38076 h 1522526"/>
                  <a:gd name="connsiteX71" fmla="*/ 910718 w 1413367"/>
                  <a:gd name="connsiteY71" fmla="*/ 103562 h 1522526"/>
                  <a:gd name="connsiteX72" fmla="*/ 1005970 w 1413367"/>
                  <a:gd name="connsiteY72" fmla="*/ 216673 h 1522526"/>
                  <a:gd name="connsiteX73" fmla="*/ 1041689 w 1413367"/>
                  <a:gd name="connsiteY73" fmla="*/ 276206 h 1522526"/>
                  <a:gd name="connsiteX74" fmla="*/ 1025814 w 1413367"/>
                  <a:gd name="connsiteY74" fmla="*/ 313909 h 1522526"/>
                  <a:gd name="connsiteX75" fmla="*/ 992079 w 1413367"/>
                  <a:gd name="connsiteY75" fmla="*/ 331769 h 1522526"/>
                  <a:gd name="connsiteX76" fmla="*/ 968266 w 1413367"/>
                  <a:gd name="connsiteY76" fmla="*/ 311925 h 1522526"/>
                  <a:gd name="connsiteX77" fmla="*/ 914687 w 1413367"/>
                  <a:gd name="connsiteY77" fmla="*/ 256361 h 1522526"/>
                  <a:gd name="connsiteX78" fmla="*/ 819435 w 1413367"/>
                  <a:gd name="connsiteY78" fmla="*/ 210720 h 1522526"/>
                  <a:gd name="connsiteX79" fmla="*/ 716246 w 1413367"/>
                  <a:gd name="connsiteY79" fmla="*/ 210720 h 1522526"/>
                  <a:gd name="connsiteX80" fmla="*/ 850617 w 1413367"/>
                  <a:gd name="connsiteY80" fmla="*/ 240487 h 1522526"/>
                  <a:gd name="connsiteX81" fmla="*/ 916103 w 1413367"/>
                  <a:gd name="connsiteY81" fmla="*/ 279721 h 1522526"/>
                  <a:gd name="connsiteX82" fmla="*/ 978269 w 1413367"/>
                  <a:gd name="connsiteY82" fmla="*/ 344718 h 1522526"/>
                  <a:gd name="connsiteX83" fmla="*/ 969452 w 1413367"/>
                  <a:gd name="connsiteY83" fmla="*/ 378896 h 1522526"/>
                  <a:gd name="connsiteX84" fmla="*/ 969452 w 1413367"/>
                  <a:gd name="connsiteY84" fmla="*/ 451651 h 1522526"/>
                  <a:gd name="connsiteX85" fmla="*/ 1003488 w 1413367"/>
                  <a:gd name="connsiteY85" fmla="*/ 478628 h 1522526"/>
                  <a:gd name="connsiteX86" fmla="*/ 967232 w 1413367"/>
                  <a:gd name="connsiteY86" fmla="*/ 638035 h 1522526"/>
                  <a:gd name="connsiteX87" fmla="*/ 946515 w 1413367"/>
                  <a:gd name="connsiteY87" fmla="*/ 651932 h 1522526"/>
                  <a:gd name="connsiteX88" fmla="*/ 838644 w 1413367"/>
                  <a:gd name="connsiteY88" fmla="*/ 831290 h 1522526"/>
                  <a:gd name="connsiteX89" fmla="*/ 749707 w 1413367"/>
                  <a:gd name="connsiteY89" fmla="*/ 893779 h 1522526"/>
                  <a:gd name="connsiteX90" fmla="*/ 663982 w 1413367"/>
                  <a:gd name="connsiteY90" fmla="*/ 893779 h 1522526"/>
                  <a:gd name="connsiteX91" fmla="*/ 542921 w 1413367"/>
                  <a:gd name="connsiteY91" fmla="*/ 821966 h 1522526"/>
                  <a:gd name="connsiteX92" fmla="*/ 450782 w 1413367"/>
                  <a:gd name="connsiteY92" fmla="*/ 643758 h 1522526"/>
                  <a:gd name="connsiteX93" fmla="*/ 390111 w 1413367"/>
                  <a:gd name="connsiteY93" fmla="*/ 503970 h 1522526"/>
                  <a:gd name="connsiteX94" fmla="*/ 413787 w 1413367"/>
                  <a:gd name="connsiteY94" fmla="*/ 464730 h 1522526"/>
                  <a:gd name="connsiteX95" fmla="*/ 402973 w 1413367"/>
                  <a:gd name="connsiteY95" fmla="*/ 399317 h 1522526"/>
                  <a:gd name="connsiteX96" fmla="*/ 376911 w 1413367"/>
                  <a:gd name="connsiteY96" fmla="*/ 419083 h 1522526"/>
                  <a:gd name="connsiteX97" fmla="*/ 361036 w 1413367"/>
                  <a:gd name="connsiteY97" fmla="*/ 438927 h 1522526"/>
                  <a:gd name="connsiteX98" fmla="*/ 347145 w 1413367"/>
                  <a:gd name="connsiteY98" fmla="*/ 476631 h 1522526"/>
                  <a:gd name="connsiteX99" fmla="*/ 353098 w 1413367"/>
                  <a:gd name="connsiteY99" fmla="*/ 514335 h 1522526"/>
                  <a:gd name="connsiteX100" fmla="*/ 363020 w 1413367"/>
                  <a:gd name="connsiteY100" fmla="*/ 571883 h 1522526"/>
                  <a:gd name="connsiteX101" fmla="*/ 386833 w 1413367"/>
                  <a:gd name="connsiteY101" fmla="*/ 665150 h 1522526"/>
                  <a:gd name="connsiteX102" fmla="*/ 412630 w 1413367"/>
                  <a:gd name="connsiteY102" fmla="*/ 686979 h 1522526"/>
                  <a:gd name="connsiteX103" fmla="*/ 428506 w 1413367"/>
                  <a:gd name="connsiteY103" fmla="*/ 728652 h 1522526"/>
                  <a:gd name="connsiteX104" fmla="*/ 466210 w 1413367"/>
                  <a:gd name="connsiteY104" fmla="*/ 802075 h 1522526"/>
                  <a:gd name="connsiteX105" fmla="*/ 482085 w 1413367"/>
                  <a:gd name="connsiteY105" fmla="*/ 847716 h 1522526"/>
                  <a:gd name="connsiteX106" fmla="*/ 438428 w 1413367"/>
                  <a:gd name="connsiteY106" fmla="*/ 859623 h 1522526"/>
                  <a:gd name="connsiteX107" fmla="*/ 374927 w 1413367"/>
                  <a:gd name="connsiteY107" fmla="*/ 867560 h 1522526"/>
                  <a:gd name="connsiteX108" fmla="*/ 317379 w 1413367"/>
                  <a:gd name="connsiteY108" fmla="*/ 853670 h 1522526"/>
                  <a:gd name="connsiteX109" fmla="*/ 291581 w 1413367"/>
                  <a:gd name="connsiteY109" fmla="*/ 810012 h 1522526"/>
                  <a:gd name="connsiteX110" fmla="*/ 279675 w 1413367"/>
                  <a:gd name="connsiteY110" fmla="*/ 732620 h 1522526"/>
                  <a:gd name="connsiteX111" fmla="*/ 283644 w 1413367"/>
                  <a:gd name="connsiteY111" fmla="*/ 631415 h 1522526"/>
                  <a:gd name="connsiteX112" fmla="*/ 315394 w 1413367"/>
                  <a:gd name="connsiteY112" fmla="*/ 415114 h 1522526"/>
                  <a:gd name="connsiteX113" fmla="*/ 388817 w 1413367"/>
                  <a:gd name="connsiteY113" fmla="*/ 194845 h 1522526"/>
                  <a:gd name="connsiteX114" fmla="*/ 450334 w 1413367"/>
                  <a:gd name="connsiteY114" fmla="*/ 93640 h 1522526"/>
                  <a:gd name="connsiteX115" fmla="*/ 509867 w 1413367"/>
                  <a:gd name="connsiteY115" fmla="*/ 44029 h 1522526"/>
                  <a:gd name="connsiteX116" fmla="*/ 563446 w 1413367"/>
                  <a:gd name="connsiteY116" fmla="*/ 36092 h 1522526"/>
                  <a:gd name="connsiteX117" fmla="*/ 609087 w 1413367"/>
                  <a:gd name="connsiteY117" fmla="*/ 4341 h 1522526"/>
                  <a:gd name="connsiteX118" fmla="*/ 651876 w 1413367"/>
                  <a:gd name="connsiteY118" fmla="*/ 0 h 1522526"/>
                  <a:gd name="connsiteX0" fmla="*/ 992965 w 1487186"/>
                  <a:gd name="connsiteY0" fmla="*/ 998817 h 1522526"/>
                  <a:gd name="connsiteX1" fmla="*/ 1003490 w 1487186"/>
                  <a:gd name="connsiteY1" fmla="*/ 1002500 h 1522526"/>
                  <a:gd name="connsiteX2" fmla="*/ 1110648 w 1487186"/>
                  <a:gd name="connsiteY2" fmla="*/ 1036732 h 1522526"/>
                  <a:gd name="connsiteX3" fmla="*/ 1228224 w 1487186"/>
                  <a:gd name="connsiteY3" fmla="*/ 1091799 h 1522526"/>
                  <a:gd name="connsiteX4" fmla="*/ 1293710 w 1487186"/>
                  <a:gd name="connsiteY4" fmla="*/ 1137937 h 1522526"/>
                  <a:gd name="connsiteX5" fmla="*/ 1323178 w 1487186"/>
                  <a:gd name="connsiteY5" fmla="*/ 1187646 h 1522526"/>
                  <a:gd name="connsiteX6" fmla="*/ 1340257 w 1487186"/>
                  <a:gd name="connsiteY6" fmla="*/ 1220010 h 1522526"/>
                  <a:gd name="connsiteX7" fmla="*/ 1487186 w 1487186"/>
                  <a:gd name="connsiteY7" fmla="*/ 1448990 h 1522526"/>
                  <a:gd name="connsiteX8" fmla="*/ 1177029 w 1487186"/>
                  <a:gd name="connsiteY8" fmla="*/ 1493045 h 1522526"/>
                  <a:gd name="connsiteX9" fmla="*/ 1132974 w 1487186"/>
                  <a:gd name="connsiteY9" fmla="*/ 1439469 h 1522526"/>
                  <a:gd name="connsiteX10" fmla="*/ 1151130 w 1487186"/>
                  <a:gd name="connsiteY10" fmla="*/ 1492451 h 1522526"/>
                  <a:gd name="connsiteX11" fmla="*/ 267073 w 1487186"/>
                  <a:gd name="connsiteY11" fmla="*/ 1497214 h 1522526"/>
                  <a:gd name="connsiteX12" fmla="*/ 250922 w 1487186"/>
                  <a:gd name="connsiteY12" fmla="*/ 1492951 h 1522526"/>
                  <a:gd name="connsiteX13" fmla="*/ 273457 w 1487186"/>
                  <a:gd name="connsiteY13" fmla="*/ 1446229 h 1522526"/>
                  <a:gd name="connsiteX14" fmla="*/ 221069 w 1487186"/>
                  <a:gd name="connsiteY14" fmla="*/ 1493854 h 1522526"/>
                  <a:gd name="connsiteX15" fmla="*/ 668 w 1487186"/>
                  <a:gd name="connsiteY15" fmla="*/ 1482327 h 1522526"/>
                  <a:gd name="connsiteX16" fmla="*/ 61391 w 1487186"/>
                  <a:gd name="connsiteY16" fmla="*/ 1223961 h 1522526"/>
                  <a:gd name="connsiteX17" fmla="*/ 92644 w 1487186"/>
                  <a:gd name="connsiteY17" fmla="*/ 1157285 h 1522526"/>
                  <a:gd name="connsiteX18" fmla="*/ 153665 w 1487186"/>
                  <a:gd name="connsiteY18" fmla="*/ 1120077 h 1522526"/>
                  <a:gd name="connsiteX19" fmla="*/ 251893 w 1487186"/>
                  <a:gd name="connsiteY19" fmla="*/ 1078404 h 1522526"/>
                  <a:gd name="connsiteX20" fmla="*/ 376911 w 1487186"/>
                  <a:gd name="connsiteY20" fmla="*/ 1029290 h 1522526"/>
                  <a:gd name="connsiteX21" fmla="*/ 410479 w 1487186"/>
                  <a:gd name="connsiteY21" fmla="*/ 1016502 h 1522526"/>
                  <a:gd name="connsiteX22" fmla="*/ 592543 w 1487186"/>
                  <a:gd name="connsiteY22" fmla="*/ 1272398 h 1522526"/>
                  <a:gd name="connsiteX23" fmla="*/ 763993 w 1487186"/>
                  <a:gd name="connsiteY23" fmla="*/ 1379555 h 1522526"/>
                  <a:gd name="connsiteX24" fmla="*/ 883056 w 1487186"/>
                  <a:gd name="connsiteY24" fmla="*/ 1243823 h 1522526"/>
                  <a:gd name="connsiteX25" fmla="*/ 992965 w 1487186"/>
                  <a:gd name="connsiteY25" fmla="*/ 998817 h 1522526"/>
                  <a:gd name="connsiteX26" fmla="*/ 856178 w 1487186"/>
                  <a:gd name="connsiteY26" fmla="*/ 852696 h 1522526"/>
                  <a:gd name="connsiteX27" fmla="*/ 851682 w 1487186"/>
                  <a:gd name="connsiteY27" fmla="*/ 923321 h 1522526"/>
                  <a:gd name="connsiteX28" fmla="*/ 959840 w 1487186"/>
                  <a:gd name="connsiteY28" fmla="*/ 978198 h 1522526"/>
                  <a:gd name="connsiteX29" fmla="*/ 885437 w 1487186"/>
                  <a:gd name="connsiteY29" fmla="*/ 1177148 h 1522526"/>
                  <a:gd name="connsiteX30" fmla="*/ 747325 w 1487186"/>
                  <a:gd name="connsiteY30" fmla="*/ 1341455 h 1522526"/>
                  <a:gd name="connsiteX31" fmla="*/ 556825 w 1487186"/>
                  <a:gd name="connsiteY31" fmla="*/ 1191436 h 1522526"/>
                  <a:gd name="connsiteX32" fmla="*/ 439913 w 1487186"/>
                  <a:gd name="connsiteY32" fmla="*/ 1004825 h 1522526"/>
                  <a:gd name="connsiteX33" fmla="*/ 551936 w 1487186"/>
                  <a:gd name="connsiteY33" fmla="*/ 931359 h 1522526"/>
                  <a:gd name="connsiteX34" fmla="*/ 550504 w 1487186"/>
                  <a:gd name="connsiteY34" fmla="*/ 858311 h 1522526"/>
                  <a:gd name="connsiteX35" fmla="*/ 621119 w 1487186"/>
                  <a:gd name="connsiteY35" fmla="*/ 900922 h 1522526"/>
                  <a:gd name="connsiteX36" fmla="*/ 728276 w 1487186"/>
                  <a:gd name="connsiteY36" fmla="*/ 915210 h 1522526"/>
                  <a:gd name="connsiteX37" fmla="*/ 821144 w 1487186"/>
                  <a:gd name="connsiteY37" fmla="*/ 874729 h 1522526"/>
                  <a:gd name="connsiteX38" fmla="*/ 856178 w 1487186"/>
                  <a:gd name="connsiteY38" fmla="*/ 852696 h 1522526"/>
                  <a:gd name="connsiteX39" fmla="*/ 1041767 w 1487186"/>
                  <a:gd name="connsiteY39" fmla="*/ 314309 h 1522526"/>
                  <a:gd name="connsiteX40" fmla="*/ 1048139 w 1487186"/>
                  <a:gd name="connsiteY40" fmla="*/ 320855 h 1522526"/>
                  <a:gd name="connsiteX41" fmla="*/ 1074929 w 1487186"/>
                  <a:gd name="connsiteY41" fmla="*/ 428013 h 1522526"/>
                  <a:gd name="connsiteX42" fmla="*/ 1101718 w 1487186"/>
                  <a:gd name="connsiteY42" fmla="*/ 569403 h 1522526"/>
                  <a:gd name="connsiteX43" fmla="*/ 1110648 w 1487186"/>
                  <a:gd name="connsiteY43" fmla="*/ 704839 h 1522526"/>
                  <a:gd name="connsiteX44" fmla="*/ 1107671 w 1487186"/>
                  <a:gd name="connsiteY44" fmla="*/ 789672 h 1522526"/>
                  <a:gd name="connsiteX45" fmla="*/ 1082370 w 1487186"/>
                  <a:gd name="connsiteY45" fmla="*/ 850693 h 1522526"/>
                  <a:gd name="connsiteX46" fmla="*/ 1036232 w 1487186"/>
                  <a:gd name="connsiteY46" fmla="*/ 859623 h 1522526"/>
                  <a:gd name="connsiteX47" fmla="*/ 963305 w 1487186"/>
                  <a:gd name="connsiteY47" fmla="*/ 853670 h 1522526"/>
                  <a:gd name="connsiteX48" fmla="*/ 908238 w 1487186"/>
                  <a:gd name="connsiteY48" fmla="*/ 834322 h 1522526"/>
                  <a:gd name="connsiteX49" fmla="*/ 915679 w 1487186"/>
                  <a:gd name="connsiteY49" fmla="*/ 813485 h 1522526"/>
                  <a:gd name="connsiteX50" fmla="*/ 945445 w 1487186"/>
                  <a:gd name="connsiteY50" fmla="*/ 773301 h 1522526"/>
                  <a:gd name="connsiteX51" fmla="*/ 973724 w 1487186"/>
                  <a:gd name="connsiteY51" fmla="*/ 704839 h 1522526"/>
                  <a:gd name="connsiteX52" fmla="*/ 979677 w 1487186"/>
                  <a:gd name="connsiteY52" fmla="*/ 675072 h 1522526"/>
                  <a:gd name="connsiteX53" fmla="*/ 997536 w 1487186"/>
                  <a:gd name="connsiteY53" fmla="*/ 655725 h 1522526"/>
                  <a:gd name="connsiteX54" fmla="*/ 1022838 w 1487186"/>
                  <a:gd name="connsiteY54" fmla="*/ 579821 h 1522526"/>
                  <a:gd name="connsiteX55" fmla="*/ 1040697 w 1487186"/>
                  <a:gd name="connsiteY55" fmla="*/ 499452 h 1522526"/>
                  <a:gd name="connsiteX56" fmla="*/ 1042186 w 1487186"/>
                  <a:gd name="connsiteY56" fmla="*/ 463733 h 1522526"/>
                  <a:gd name="connsiteX57" fmla="*/ 1025814 w 1487186"/>
                  <a:gd name="connsiteY57" fmla="*/ 430990 h 1522526"/>
                  <a:gd name="connsiteX58" fmla="*/ 1009443 w 1487186"/>
                  <a:gd name="connsiteY58" fmla="*/ 416107 h 1522526"/>
                  <a:gd name="connsiteX59" fmla="*/ 1006466 w 1487186"/>
                  <a:gd name="connsiteY59" fmla="*/ 386340 h 1522526"/>
                  <a:gd name="connsiteX60" fmla="*/ 1009443 w 1487186"/>
                  <a:gd name="connsiteY60" fmla="*/ 350621 h 1522526"/>
                  <a:gd name="connsiteX61" fmla="*/ 1024326 w 1487186"/>
                  <a:gd name="connsiteY61" fmla="*/ 328297 h 1522526"/>
                  <a:gd name="connsiteX62" fmla="*/ 1041767 w 1487186"/>
                  <a:gd name="connsiteY62" fmla="*/ 314309 h 1522526"/>
                  <a:gd name="connsiteX63" fmla="*/ 616358 w 1487186"/>
                  <a:gd name="connsiteY63" fmla="*/ 96060 h 1522526"/>
                  <a:gd name="connsiteX64" fmla="*/ 509202 w 1487186"/>
                  <a:gd name="connsiteY64" fmla="*/ 431816 h 1522526"/>
                  <a:gd name="connsiteX65" fmla="*/ 654458 w 1487186"/>
                  <a:gd name="connsiteY65" fmla="*/ 184165 h 1522526"/>
                  <a:gd name="connsiteX66" fmla="*/ 616358 w 1487186"/>
                  <a:gd name="connsiteY66" fmla="*/ 96060 h 1522526"/>
                  <a:gd name="connsiteX67" fmla="*/ 651876 w 1487186"/>
                  <a:gd name="connsiteY67" fmla="*/ 0 h 1522526"/>
                  <a:gd name="connsiteX68" fmla="*/ 696401 w 1487186"/>
                  <a:gd name="connsiteY68" fmla="*/ 372 h 1522526"/>
                  <a:gd name="connsiteX69" fmla="*/ 757918 w 1487186"/>
                  <a:gd name="connsiteY69" fmla="*/ 6326 h 1522526"/>
                  <a:gd name="connsiteX70" fmla="*/ 829357 w 1487186"/>
                  <a:gd name="connsiteY70" fmla="*/ 38076 h 1522526"/>
                  <a:gd name="connsiteX71" fmla="*/ 910718 w 1487186"/>
                  <a:gd name="connsiteY71" fmla="*/ 103562 h 1522526"/>
                  <a:gd name="connsiteX72" fmla="*/ 1005970 w 1487186"/>
                  <a:gd name="connsiteY72" fmla="*/ 216673 h 1522526"/>
                  <a:gd name="connsiteX73" fmla="*/ 1041689 w 1487186"/>
                  <a:gd name="connsiteY73" fmla="*/ 276206 h 1522526"/>
                  <a:gd name="connsiteX74" fmla="*/ 1025814 w 1487186"/>
                  <a:gd name="connsiteY74" fmla="*/ 313909 h 1522526"/>
                  <a:gd name="connsiteX75" fmla="*/ 992079 w 1487186"/>
                  <a:gd name="connsiteY75" fmla="*/ 331769 h 1522526"/>
                  <a:gd name="connsiteX76" fmla="*/ 968266 w 1487186"/>
                  <a:gd name="connsiteY76" fmla="*/ 311925 h 1522526"/>
                  <a:gd name="connsiteX77" fmla="*/ 914687 w 1487186"/>
                  <a:gd name="connsiteY77" fmla="*/ 256361 h 1522526"/>
                  <a:gd name="connsiteX78" fmla="*/ 819435 w 1487186"/>
                  <a:gd name="connsiteY78" fmla="*/ 210720 h 1522526"/>
                  <a:gd name="connsiteX79" fmla="*/ 716246 w 1487186"/>
                  <a:gd name="connsiteY79" fmla="*/ 210720 h 1522526"/>
                  <a:gd name="connsiteX80" fmla="*/ 850617 w 1487186"/>
                  <a:gd name="connsiteY80" fmla="*/ 240487 h 1522526"/>
                  <a:gd name="connsiteX81" fmla="*/ 916103 w 1487186"/>
                  <a:gd name="connsiteY81" fmla="*/ 279721 h 1522526"/>
                  <a:gd name="connsiteX82" fmla="*/ 978269 w 1487186"/>
                  <a:gd name="connsiteY82" fmla="*/ 344718 h 1522526"/>
                  <a:gd name="connsiteX83" fmla="*/ 969452 w 1487186"/>
                  <a:gd name="connsiteY83" fmla="*/ 378896 h 1522526"/>
                  <a:gd name="connsiteX84" fmla="*/ 969452 w 1487186"/>
                  <a:gd name="connsiteY84" fmla="*/ 451651 h 1522526"/>
                  <a:gd name="connsiteX85" fmla="*/ 1003488 w 1487186"/>
                  <a:gd name="connsiteY85" fmla="*/ 478628 h 1522526"/>
                  <a:gd name="connsiteX86" fmla="*/ 967232 w 1487186"/>
                  <a:gd name="connsiteY86" fmla="*/ 638035 h 1522526"/>
                  <a:gd name="connsiteX87" fmla="*/ 946515 w 1487186"/>
                  <a:gd name="connsiteY87" fmla="*/ 651932 h 1522526"/>
                  <a:gd name="connsiteX88" fmla="*/ 838644 w 1487186"/>
                  <a:gd name="connsiteY88" fmla="*/ 831290 h 1522526"/>
                  <a:gd name="connsiteX89" fmla="*/ 749707 w 1487186"/>
                  <a:gd name="connsiteY89" fmla="*/ 893779 h 1522526"/>
                  <a:gd name="connsiteX90" fmla="*/ 663982 w 1487186"/>
                  <a:gd name="connsiteY90" fmla="*/ 893779 h 1522526"/>
                  <a:gd name="connsiteX91" fmla="*/ 542921 w 1487186"/>
                  <a:gd name="connsiteY91" fmla="*/ 821966 h 1522526"/>
                  <a:gd name="connsiteX92" fmla="*/ 450782 w 1487186"/>
                  <a:gd name="connsiteY92" fmla="*/ 643758 h 1522526"/>
                  <a:gd name="connsiteX93" fmla="*/ 390111 w 1487186"/>
                  <a:gd name="connsiteY93" fmla="*/ 503970 h 1522526"/>
                  <a:gd name="connsiteX94" fmla="*/ 413787 w 1487186"/>
                  <a:gd name="connsiteY94" fmla="*/ 464730 h 1522526"/>
                  <a:gd name="connsiteX95" fmla="*/ 402973 w 1487186"/>
                  <a:gd name="connsiteY95" fmla="*/ 399317 h 1522526"/>
                  <a:gd name="connsiteX96" fmla="*/ 376911 w 1487186"/>
                  <a:gd name="connsiteY96" fmla="*/ 419083 h 1522526"/>
                  <a:gd name="connsiteX97" fmla="*/ 361036 w 1487186"/>
                  <a:gd name="connsiteY97" fmla="*/ 438927 h 1522526"/>
                  <a:gd name="connsiteX98" fmla="*/ 347145 w 1487186"/>
                  <a:gd name="connsiteY98" fmla="*/ 476631 h 1522526"/>
                  <a:gd name="connsiteX99" fmla="*/ 353098 w 1487186"/>
                  <a:gd name="connsiteY99" fmla="*/ 514335 h 1522526"/>
                  <a:gd name="connsiteX100" fmla="*/ 363020 w 1487186"/>
                  <a:gd name="connsiteY100" fmla="*/ 571883 h 1522526"/>
                  <a:gd name="connsiteX101" fmla="*/ 386833 w 1487186"/>
                  <a:gd name="connsiteY101" fmla="*/ 665150 h 1522526"/>
                  <a:gd name="connsiteX102" fmla="*/ 412630 w 1487186"/>
                  <a:gd name="connsiteY102" fmla="*/ 686979 h 1522526"/>
                  <a:gd name="connsiteX103" fmla="*/ 428506 w 1487186"/>
                  <a:gd name="connsiteY103" fmla="*/ 728652 h 1522526"/>
                  <a:gd name="connsiteX104" fmla="*/ 466210 w 1487186"/>
                  <a:gd name="connsiteY104" fmla="*/ 802075 h 1522526"/>
                  <a:gd name="connsiteX105" fmla="*/ 482085 w 1487186"/>
                  <a:gd name="connsiteY105" fmla="*/ 847716 h 1522526"/>
                  <a:gd name="connsiteX106" fmla="*/ 438428 w 1487186"/>
                  <a:gd name="connsiteY106" fmla="*/ 859623 h 1522526"/>
                  <a:gd name="connsiteX107" fmla="*/ 374927 w 1487186"/>
                  <a:gd name="connsiteY107" fmla="*/ 867560 h 1522526"/>
                  <a:gd name="connsiteX108" fmla="*/ 317379 w 1487186"/>
                  <a:gd name="connsiteY108" fmla="*/ 853670 h 1522526"/>
                  <a:gd name="connsiteX109" fmla="*/ 291581 w 1487186"/>
                  <a:gd name="connsiteY109" fmla="*/ 810012 h 1522526"/>
                  <a:gd name="connsiteX110" fmla="*/ 279675 w 1487186"/>
                  <a:gd name="connsiteY110" fmla="*/ 732620 h 1522526"/>
                  <a:gd name="connsiteX111" fmla="*/ 283644 w 1487186"/>
                  <a:gd name="connsiteY111" fmla="*/ 631415 h 1522526"/>
                  <a:gd name="connsiteX112" fmla="*/ 315394 w 1487186"/>
                  <a:gd name="connsiteY112" fmla="*/ 415114 h 1522526"/>
                  <a:gd name="connsiteX113" fmla="*/ 388817 w 1487186"/>
                  <a:gd name="connsiteY113" fmla="*/ 194845 h 1522526"/>
                  <a:gd name="connsiteX114" fmla="*/ 450334 w 1487186"/>
                  <a:gd name="connsiteY114" fmla="*/ 93640 h 1522526"/>
                  <a:gd name="connsiteX115" fmla="*/ 509867 w 1487186"/>
                  <a:gd name="connsiteY115" fmla="*/ 44029 h 1522526"/>
                  <a:gd name="connsiteX116" fmla="*/ 563446 w 1487186"/>
                  <a:gd name="connsiteY116" fmla="*/ 36092 h 1522526"/>
                  <a:gd name="connsiteX117" fmla="*/ 609087 w 1487186"/>
                  <a:gd name="connsiteY117" fmla="*/ 4341 h 1522526"/>
                  <a:gd name="connsiteX118" fmla="*/ 651876 w 1487186"/>
                  <a:gd name="connsiteY118" fmla="*/ 0 h 1522526"/>
                  <a:gd name="connsiteX0" fmla="*/ 992965 w 1489754"/>
                  <a:gd name="connsiteY0" fmla="*/ 998817 h 1522526"/>
                  <a:gd name="connsiteX1" fmla="*/ 1003490 w 1489754"/>
                  <a:gd name="connsiteY1" fmla="*/ 1002500 h 1522526"/>
                  <a:gd name="connsiteX2" fmla="*/ 1110648 w 1489754"/>
                  <a:gd name="connsiteY2" fmla="*/ 1036732 h 1522526"/>
                  <a:gd name="connsiteX3" fmla="*/ 1228224 w 1489754"/>
                  <a:gd name="connsiteY3" fmla="*/ 1091799 h 1522526"/>
                  <a:gd name="connsiteX4" fmla="*/ 1293710 w 1489754"/>
                  <a:gd name="connsiteY4" fmla="*/ 1137937 h 1522526"/>
                  <a:gd name="connsiteX5" fmla="*/ 1323178 w 1489754"/>
                  <a:gd name="connsiteY5" fmla="*/ 1187646 h 1522526"/>
                  <a:gd name="connsiteX6" fmla="*/ 1487186 w 1489754"/>
                  <a:gd name="connsiteY6" fmla="*/ 1448990 h 1522526"/>
                  <a:gd name="connsiteX7" fmla="*/ 1177029 w 1489754"/>
                  <a:gd name="connsiteY7" fmla="*/ 1493045 h 1522526"/>
                  <a:gd name="connsiteX8" fmla="*/ 1132974 w 1489754"/>
                  <a:gd name="connsiteY8" fmla="*/ 1439469 h 1522526"/>
                  <a:gd name="connsiteX9" fmla="*/ 1151130 w 1489754"/>
                  <a:gd name="connsiteY9" fmla="*/ 1492451 h 1522526"/>
                  <a:gd name="connsiteX10" fmla="*/ 267073 w 1489754"/>
                  <a:gd name="connsiteY10" fmla="*/ 1497214 h 1522526"/>
                  <a:gd name="connsiteX11" fmla="*/ 250922 w 1489754"/>
                  <a:gd name="connsiteY11" fmla="*/ 1492951 h 1522526"/>
                  <a:gd name="connsiteX12" fmla="*/ 273457 w 1489754"/>
                  <a:gd name="connsiteY12" fmla="*/ 1446229 h 1522526"/>
                  <a:gd name="connsiteX13" fmla="*/ 221069 w 1489754"/>
                  <a:gd name="connsiteY13" fmla="*/ 1493854 h 1522526"/>
                  <a:gd name="connsiteX14" fmla="*/ 668 w 1489754"/>
                  <a:gd name="connsiteY14" fmla="*/ 1482327 h 1522526"/>
                  <a:gd name="connsiteX15" fmla="*/ 61391 w 1489754"/>
                  <a:gd name="connsiteY15" fmla="*/ 1223961 h 1522526"/>
                  <a:gd name="connsiteX16" fmla="*/ 92644 w 1489754"/>
                  <a:gd name="connsiteY16" fmla="*/ 1157285 h 1522526"/>
                  <a:gd name="connsiteX17" fmla="*/ 153665 w 1489754"/>
                  <a:gd name="connsiteY17" fmla="*/ 1120077 h 1522526"/>
                  <a:gd name="connsiteX18" fmla="*/ 251893 w 1489754"/>
                  <a:gd name="connsiteY18" fmla="*/ 1078404 h 1522526"/>
                  <a:gd name="connsiteX19" fmla="*/ 376911 w 1489754"/>
                  <a:gd name="connsiteY19" fmla="*/ 1029290 h 1522526"/>
                  <a:gd name="connsiteX20" fmla="*/ 410479 w 1489754"/>
                  <a:gd name="connsiteY20" fmla="*/ 1016502 h 1522526"/>
                  <a:gd name="connsiteX21" fmla="*/ 592543 w 1489754"/>
                  <a:gd name="connsiteY21" fmla="*/ 1272398 h 1522526"/>
                  <a:gd name="connsiteX22" fmla="*/ 763993 w 1489754"/>
                  <a:gd name="connsiteY22" fmla="*/ 1379555 h 1522526"/>
                  <a:gd name="connsiteX23" fmla="*/ 883056 w 1489754"/>
                  <a:gd name="connsiteY23" fmla="*/ 1243823 h 1522526"/>
                  <a:gd name="connsiteX24" fmla="*/ 992965 w 1489754"/>
                  <a:gd name="connsiteY24" fmla="*/ 998817 h 1522526"/>
                  <a:gd name="connsiteX25" fmla="*/ 856178 w 1489754"/>
                  <a:gd name="connsiteY25" fmla="*/ 852696 h 1522526"/>
                  <a:gd name="connsiteX26" fmla="*/ 851682 w 1489754"/>
                  <a:gd name="connsiteY26" fmla="*/ 923321 h 1522526"/>
                  <a:gd name="connsiteX27" fmla="*/ 959840 w 1489754"/>
                  <a:gd name="connsiteY27" fmla="*/ 978198 h 1522526"/>
                  <a:gd name="connsiteX28" fmla="*/ 885437 w 1489754"/>
                  <a:gd name="connsiteY28" fmla="*/ 1177148 h 1522526"/>
                  <a:gd name="connsiteX29" fmla="*/ 747325 w 1489754"/>
                  <a:gd name="connsiteY29" fmla="*/ 1341455 h 1522526"/>
                  <a:gd name="connsiteX30" fmla="*/ 556825 w 1489754"/>
                  <a:gd name="connsiteY30" fmla="*/ 1191436 h 1522526"/>
                  <a:gd name="connsiteX31" fmla="*/ 439913 w 1489754"/>
                  <a:gd name="connsiteY31" fmla="*/ 1004825 h 1522526"/>
                  <a:gd name="connsiteX32" fmla="*/ 551936 w 1489754"/>
                  <a:gd name="connsiteY32" fmla="*/ 931359 h 1522526"/>
                  <a:gd name="connsiteX33" fmla="*/ 550504 w 1489754"/>
                  <a:gd name="connsiteY33" fmla="*/ 858311 h 1522526"/>
                  <a:gd name="connsiteX34" fmla="*/ 621119 w 1489754"/>
                  <a:gd name="connsiteY34" fmla="*/ 900922 h 1522526"/>
                  <a:gd name="connsiteX35" fmla="*/ 728276 w 1489754"/>
                  <a:gd name="connsiteY35" fmla="*/ 915210 h 1522526"/>
                  <a:gd name="connsiteX36" fmla="*/ 821144 w 1489754"/>
                  <a:gd name="connsiteY36" fmla="*/ 874729 h 1522526"/>
                  <a:gd name="connsiteX37" fmla="*/ 856178 w 1489754"/>
                  <a:gd name="connsiteY37" fmla="*/ 852696 h 1522526"/>
                  <a:gd name="connsiteX38" fmla="*/ 1041767 w 1489754"/>
                  <a:gd name="connsiteY38" fmla="*/ 314309 h 1522526"/>
                  <a:gd name="connsiteX39" fmla="*/ 1048139 w 1489754"/>
                  <a:gd name="connsiteY39" fmla="*/ 320855 h 1522526"/>
                  <a:gd name="connsiteX40" fmla="*/ 1074929 w 1489754"/>
                  <a:gd name="connsiteY40" fmla="*/ 428013 h 1522526"/>
                  <a:gd name="connsiteX41" fmla="*/ 1101718 w 1489754"/>
                  <a:gd name="connsiteY41" fmla="*/ 569403 h 1522526"/>
                  <a:gd name="connsiteX42" fmla="*/ 1110648 w 1489754"/>
                  <a:gd name="connsiteY42" fmla="*/ 704839 h 1522526"/>
                  <a:gd name="connsiteX43" fmla="*/ 1107671 w 1489754"/>
                  <a:gd name="connsiteY43" fmla="*/ 789672 h 1522526"/>
                  <a:gd name="connsiteX44" fmla="*/ 1082370 w 1489754"/>
                  <a:gd name="connsiteY44" fmla="*/ 850693 h 1522526"/>
                  <a:gd name="connsiteX45" fmla="*/ 1036232 w 1489754"/>
                  <a:gd name="connsiteY45" fmla="*/ 859623 h 1522526"/>
                  <a:gd name="connsiteX46" fmla="*/ 963305 w 1489754"/>
                  <a:gd name="connsiteY46" fmla="*/ 853670 h 1522526"/>
                  <a:gd name="connsiteX47" fmla="*/ 908238 w 1489754"/>
                  <a:gd name="connsiteY47" fmla="*/ 834322 h 1522526"/>
                  <a:gd name="connsiteX48" fmla="*/ 915679 w 1489754"/>
                  <a:gd name="connsiteY48" fmla="*/ 813485 h 1522526"/>
                  <a:gd name="connsiteX49" fmla="*/ 945445 w 1489754"/>
                  <a:gd name="connsiteY49" fmla="*/ 773301 h 1522526"/>
                  <a:gd name="connsiteX50" fmla="*/ 973724 w 1489754"/>
                  <a:gd name="connsiteY50" fmla="*/ 704839 h 1522526"/>
                  <a:gd name="connsiteX51" fmla="*/ 979677 w 1489754"/>
                  <a:gd name="connsiteY51" fmla="*/ 675072 h 1522526"/>
                  <a:gd name="connsiteX52" fmla="*/ 997536 w 1489754"/>
                  <a:gd name="connsiteY52" fmla="*/ 655725 h 1522526"/>
                  <a:gd name="connsiteX53" fmla="*/ 1022838 w 1489754"/>
                  <a:gd name="connsiteY53" fmla="*/ 579821 h 1522526"/>
                  <a:gd name="connsiteX54" fmla="*/ 1040697 w 1489754"/>
                  <a:gd name="connsiteY54" fmla="*/ 499452 h 1522526"/>
                  <a:gd name="connsiteX55" fmla="*/ 1042186 w 1489754"/>
                  <a:gd name="connsiteY55" fmla="*/ 463733 h 1522526"/>
                  <a:gd name="connsiteX56" fmla="*/ 1025814 w 1489754"/>
                  <a:gd name="connsiteY56" fmla="*/ 430990 h 1522526"/>
                  <a:gd name="connsiteX57" fmla="*/ 1009443 w 1489754"/>
                  <a:gd name="connsiteY57" fmla="*/ 416107 h 1522526"/>
                  <a:gd name="connsiteX58" fmla="*/ 1006466 w 1489754"/>
                  <a:gd name="connsiteY58" fmla="*/ 386340 h 1522526"/>
                  <a:gd name="connsiteX59" fmla="*/ 1009443 w 1489754"/>
                  <a:gd name="connsiteY59" fmla="*/ 350621 h 1522526"/>
                  <a:gd name="connsiteX60" fmla="*/ 1024326 w 1489754"/>
                  <a:gd name="connsiteY60" fmla="*/ 328297 h 1522526"/>
                  <a:gd name="connsiteX61" fmla="*/ 1041767 w 1489754"/>
                  <a:gd name="connsiteY61" fmla="*/ 314309 h 1522526"/>
                  <a:gd name="connsiteX62" fmla="*/ 616358 w 1489754"/>
                  <a:gd name="connsiteY62" fmla="*/ 96060 h 1522526"/>
                  <a:gd name="connsiteX63" fmla="*/ 509202 w 1489754"/>
                  <a:gd name="connsiteY63" fmla="*/ 431816 h 1522526"/>
                  <a:gd name="connsiteX64" fmla="*/ 654458 w 1489754"/>
                  <a:gd name="connsiteY64" fmla="*/ 184165 h 1522526"/>
                  <a:gd name="connsiteX65" fmla="*/ 616358 w 1489754"/>
                  <a:gd name="connsiteY65" fmla="*/ 96060 h 1522526"/>
                  <a:gd name="connsiteX66" fmla="*/ 651876 w 1489754"/>
                  <a:gd name="connsiteY66" fmla="*/ 0 h 1522526"/>
                  <a:gd name="connsiteX67" fmla="*/ 696401 w 1489754"/>
                  <a:gd name="connsiteY67" fmla="*/ 372 h 1522526"/>
                  <a:gd name="connsiteX68" fmla="*/ 757918 w 1489754"/>
                  <a:gd name="connsiteY68" fmla="*/ 6326 h 1522526"/>
                  <a:gd name="connsiteX69" fmla="*/ 829357 w 1489754"/>
                  <a:gd name="connsiteY69" fmla="*/ 38076 h 1522526"/>
                  <a:gd name="connsiteX70" fmla="*/ 910718 w 1489754"/>
                  <a:gd name="connsiteY70" fmla="*/ 103562 h 1522526"/>
                  <a:gd name="connsiteX71" fmla="*/ 1005970 w 1489754"/>
                  <a:gd name="connsiteY71" fmla="*/ 216673 h 1522526"/>
                  <a:gd name="connsiteX72" fmla="*/ 1041689 w 1489754"/>
                  <a:gd name="connsiteY72" fmla="*/ 276206 h 1522526"/>
                  <a:gd name="connsiteX73" fmla="*/ 1025814 w 1489754"/>
                  <a:gd name="connsiteY73" fmla="*/ 313909 h 1522526"/>
                  <a:gd name="connsiteX74" fmla="*/ 992079 w 1489754"/>
                  <a:gd name="connsiteY74" fmla="*/ 331769 h 1522526"/>
                  <a:gd name="connsiteX75" fmla="*/ 968266 w 1489754"/>
                  <a:gd name="connsiteY75" fmla="*/ 311925 h 1522526"/>
                  <a:gd name="connsiteX76" fmla="*/ 914687 w 1489754"/>
                  <a:gd name="connsiteY76" fmla="*/ 256361 h 1522526"/>
                  <a:gd name="connsiteX77" fmla="*/ 819435 w 1489754"/>
                  <a:gd name="connsiteY77" fmla="*/ 210720 h 1522526"/>
                  <a:gd name="connsiteX78" fmla="*/ 716246 w 1489754"/>
                  <a:gd name="connsiteY78" fmla="*/ 210720 h 1522526"/>
                  <a:gd name="connsiteX79" fmla="*/ 850617 w 1489754"/>
                  <a:gd name="connsiteY79" fmla="*/ 240487 h 1522526"/>
                  <a:gd name="connsiteX80" fmla="*/ 916103 w 1489754"/>
                  <a:gd name="connsiteY80" fmla="*/ 279721 h 1522526"/>
                  <a:gd name="connsiteX81" fmla="*/ 978269 w 1489754"/>
                  <a:gd name="connsiteY81" fmla="*/ 344718 h 1522526"/>
                  <a:gd name="connsiteX82" fmla="*/ 969452 w 1489754"/>
                  <a:gd name="connsiteY82" fmla="*/ 378896 h 1522526"/>
                  <a:gd name="connsiteX83" fmla="*/ 969452 w 1489754"/>
                  <a:gd name="connsiteY83" fmla="*/ 451651 h 1522526"/>
                  <a:gd name="connsiteX84" fmla="*/ 1003488 w 1489754"/>
                  <a:gd name="connsiteY84" fmla="*/ 478628 h 1522526"/>
                  <a:gd name="connsiteX85" fmla="*/ 967232 w 1489754"/>
                  <a:gd name="connsiteY85" fmla="*/ 638035 h 1522526"/>
                  <a:gd name="connsiteX86" fmla="*/ 946515 w 1489754"/>
                  <a:gd name="connsiteY86" fmla="*/ 651932 h 1522526"/>
                  <a:gd name="connsiteX87" fmla="*/ 838644 w 1489754"/>
                  <a:gd name="connsiteY87" fmla="*/ 831290 h 1522526"/>
                  <a:gd name="connsiteX88" fmla="*/ 749707 w 1489754"/>
                  <a:gd name="connsiteY88" fmla="*/ 893779 h 1522526"/>
                  <a:gd name="connsiteX89" fmla="*/ 663982 w 1489754"/>
                  <a:gd name="connsiteY89" fmla="*/ 893779 h 1522526"/>
                  <a:gd name="connsiteX90" fmla="*/ 542921 w 1489754"/>
                  <a:gd name="connsiteY90" fmla="*/ 821966 h 1522526"/>
                  <a:gd name="connsiteX91" fmla="*/ 450782 w 1489754"/>
                  <a:gd name="connsiteY91" fmla="*/ 643758 h 1522526"/>
                  <a:gd name="connsiteX92" fmla="*/ 390111 w 1489754"/>
                  <a:gd name="connsiteY92" fmla="*/ 503970 h 1522526"/>
                  <a:gd name="connsiteX93" fmla="*/ 413787 w 1489754"/>
                  <a:gd name="connsiteY93" fmla="*/ 464730 h 1522526"/>
                  <a:gd name="connsiteX94" fmla="*/ 402973 w 1489754"/>
                  <a:gd name="connsiteY94" fmla="*/ 399317 h 1522526"/>
                  <a:gd name="connsiteX95" fmla="*/ 376911 w 1489754"/>
                  <a:gd name="connsiteY95" fmla="*/ 419083 h 1522526"/>
                  <a:gd name="connsiteX96" fmla="*/ 361036 w 1489754"/>
                  <a:gd name="connsiteY96" fmla="*/ 438927 h 1522526"/>
                  <a:gd name="connsiteX97" fmla="*/ 347145 w 1489754"/>
                  <a:gd name="connsiteY97" fmla="*/ 476631 h 1522526"/>
                  <a:gd name="connsiteX98" fmla="*/ 353098 w 1489754"/>
                  <a:gd name="connsiteY98" fmla="*/ 514335 h 1522526"/>
                  <a:gd name="connsiteX99" fmla="*/ 363020 w 1489754"/>
                  <a:gd name="connsiteY99" fmla="*/ 571883 h 1522526"/>
                  <a:gd name="connsiteX100" fmla="*/ 386833 w 1489754"/>
                  <a:gd name="connsiteY100" fmla="*/ 665150 h 1522526"/>
                  <a:gd name="connsiteX101" fmla="*/ 412630 w 1489754"/>
                  <a:gd name="connsiteY101" fmla="*/ 686979 h 1522526"/>
                  <a:gd name="connsiteX102" fmla="*/ 428506 w 1489754"/>
                  <a:gd name="connsiteY102" fmla="*/ 728652 h 1522526"/>
                  <a:gd name="connsiteX103" fmla="*/ 466210 w 1489754"/>
                  <a:gd name="connsiteY103" fmla="*/ 802075 h 1522526"/>
                  <a:gd name="connsiteX104" fmla="*/ 482085 w 1489754"/>
                  <a:gd name="connsiteY104" fmla="*/ 847716 h 1522526"/>
                  <a:gd name="connsiteX105" fmla="*/ 438428 w 1489754"/>
                  <a:gd name="connsiteY105" fmla="*/ 859623 h 1522526"/>
                  <a:gd name="connsiteX106" fmla="*/ 374927 w 1489754"/>
                  <a:gd name="connsiteY106" fmla="*/ 867560 h 1522526"/>
                  <a:gd name="connsiteX107" fmla="*/ 317379 w 1489754"/>
                  <a:gd name="connsiteY107" fmla="*/ 853670 h 1522526"/>
                  <a:gd name="connsiteX108" fmla="*/ 291581 w 1489754"/>
                  <a:gd name="connsiteY108" fmla="*/ 810012 h 1522526"/>
                  <a:gd name="connsiteX109" fmla="*/ 279675 w 1489754"/>
                  <a:gd name="connsiteY109" fmla="*/ 732620 h 1522526"/>
                  <a:gd name="connsiteX110" fmla="*/ 283644 w 1489754"/>
                  <a:gd name="connsiteY110" fmla="*/ 631415 h 1522526"/>
                  <a:gd name="connsiteX111" fmla="*/ 315394 w 1489754"/>
                  <a:gd name="connsiteY111" fmla="*/ 415114 h 1522526"/>
                  <a:gd name="connsiteX112" fmla="*/ 388817 w 1489754"/>
                  <a:gd name="connsiteY112" fmla="*/ 194845 h 1522526"/>
                  <a:gd name="connsiteX113" fmla="*/ 450334 w 1489754"/>
                  <a:gd name="connsiteY113" fmla="*/ 93640 h 1522526"/>
                  <a:gd name="connsiteX114" fmla="*/ 509867 w 1489754"/>
                  <a:gd name="connsiteY114" fmla="*/ 44029 h 1522526"/>
                  <a:gd name="connsiteX115" fmla="*/ 563446 w 1489754"/>
                  <a:gd name="connsiteY115" fmla="*/ 36092 h 1522526"/>
                  <a:gd name="connsiteX116" fmla="*/ 609087 w 1489754"/>
                  <a:gd name="connsiteY116" fmla="*/ 4341 h 1522526"/>
                  <a:gd name="connsiteX117" fmla="*/ 651876 w 1489754"/>
                  <a:gd name="connsiteY117" fmla="*/ 0 h 1522526"/>
                  <a:gd name="connsiteX0" fmla="*/ 992965 w 1490589"/>
                  <a:gd name="connsiteY0" fmla="*/ 998817 h 1522526"/>
                  <a:gd name="connsiteX1" fmla="*/ 1003490 w 1490589"/>
                  <a:gd name="connsiteY1" fmla="*/ 1002500 h 1522526"/>
                  <a:gd name="connsiteX2" fmla="*/ 1110648 w 1490589"/>
                  <a:gd name="connsiteY2" fmla="*/ 1036732 h 1522526"/>
                  <a:gd name="connsiteX3" fmla="*/ 1228224 w 1490589"/>
                  <a:gd name="connsiteY3" fmla="*/ 1091799 h 1522526"/>
                  <a:gd name="connsiteX4" fmla="*/ 1293710 w 1490589"/>
                  <a:gd name="connsiteY4" fmla="*/ 1137937 h 1522526"/>
                  <a:gd name="connsiteX5" fmla="*/ 1366040 w 1490589"/>
                  <a:gd name="connsiteY5" fmla="*/ 1185265 h 1522526"/>
                  <a:gd name="connsiteX6" fmla="*/ 1487186 w 1490589"/>
                  <a:gd name="connsiteY6" fmla="*/ 1448990 h 1522526"/>
                  <a:gd name="connsiteX7" fmla="*/ 1177029 w 1490589"/>
                  <a:gd name="connsiteY7" fmla="*/ 1493045 h 1522526"/>
                  <a:gd name="connsiteX8" fmla="*/ 1132974 w 1490589"/>
                  <a:gd name="connsiteY8" fmla="*/ 1439469 h 1522526"/>
                  <a:gd name="connsiteX9" fmla="*/ 1151130 w 1490589"/>
                  <a:gd name="connsiteY9" fmla="*/ 1492451 h 1522526"/>
                  <a:gd name="connsiteX10" fmla="*/ 267073 w 1490589"/>
                  <a:gd name="connsiteY10" fmla="*/ 1497214 h 1522526"/>
                  <a:gd name="connsiteX11" fmla="*/ 250922 w 1490589"/>
                  <a:gd name="connsiteY11" fmla="*/ 1492951 h 1522526"/>
                  <a:gd name="connsiteX12" fmla="*/ 273457 w 1490589"/>
                  <a:gd name="connsiteY12" fmla="*/ 1446229 h 1522526"/>
                  <a:gd name="connsiteX13" fmla="*/ 221069 w 1490589"/>
                  <a:gd name="connsiteY13" fmla="*/ 1493854 h 1522526"/>
                  <a:gd name="connsiteX14" fmla="*/ 668 w 1490589"/>
                  <a:gd name="connsiteY14" fmla="*/ 1482327 h 1522526"/>
                  <a:gd name="connsiteX15" fmla="*/ 61391 w 1490589"/>
                  <a:gd name="connsiteY15" fmla="*/ 1223961 h 1522526"/>
                  <a:gd name="connsiteX16" fmla="*/ 92644 w 1490589"/>
                  <a:gd name="connsiteY16" fmla="*/ 1157285 h 1522526"/>
                  <a:gd name="connsiteX17" fmla="*/ 153665 w 1490589"/>
                  <a:gd name="connsiteY17" fmla="*/ 1120077 h 1522526"/>
                  <a:gd name="connsiteX18" fmla="*/ 251893 w 1490589"/>
                  <a:gd name="connsiteY18" fmla="*/ 1078404 h 1522526"/>
                  <a:gd name="connsiteX19" fmla="*/ 376911 w 1490589"/>
                  <a:gd name="connsiteY19" fmla="*/ 1029290 h 1522526"/>
                  <a:gd name="connsiteX20" fmla="*/ 410479 w 1490589"/>
                  <a:gd name="connsiteY20" fmla="*/ 1016502 h 1522526"/>
                  <a:gd name="connsiteX21" fmla="*/ 592543 w 1490589"/>
                  <a:gd name="connsiteY21" fmla="*/ 1272398 h 1522526"/>
                  <a:gd name="connsiteX22" fmla="*/ 763993 w 1490589"/>
                  <a:gd name="connsiteY22" fmla="*/ 1379555 h 1522526"/>
                  <a:gd name="connsiteX23" fmla="*/ 883056 w 1490589"/>
                  <a:gd name="connsiteY23" fmla="*/ 1243823 h 1522526"/>
                  <a:gd name="connsiteX24" fmla="*/ 992965 w 1490589"/>
                  <a:gd name="connsiteY24" fmla="*/ 998817 h 1522526"/>
                  <a:gd name="connsiteX25" fmla="*/ 856178 w 1490589"/>
                  <a:gd name="connsiteY25" fmla="*/ 852696 h 1522526"/>
                  <a:gd name="connsiteX26" fmla="*/ 851682 w 1490589"/>
                  <a:gd name="connsiteY26" fmla="*/ 923321 h 1522526"/>
                  <a:gd name="connsiteX27" fmla="*/ 959840 w 1490589"/>
                  <a:gd name="connsiteY27" fmla="*/ 978198 h 1522526"/>
                  <a:gd name="connsiteX28" fmla="*/ 885437 w 1490589"/>
                  <a:gd name="connsiteY28" fmla="*/ 1177148 h 1522526"/>
                  <a:gd name="connsiteX29" fmla="*/ 747325 w 1490589"/>
                  <a:gd name="connsiteY29" fmla="*/ 1341455 h 1522526"/>
                  <a:gd name="connsiteX30" fmla="*/ 556825 w 1490589"/>
                  <a:gd name="connsiteY30" fmla="*/ 1191436 h 1522526"/>
                  <a:gd name="connsiteX31" fmla="*/ 439913 w 1490589"/>
                  <a:gd name="connsiteY31" fmla="*/ 1004825 h 1522526"/>
                  <a:gd name="connsiteX32" fmla="*/ 551936 w 1490589"/>
                  <a:gd name="connsiteY32" fmla="*/ 931359 h 1522526"/>
                  <a:gd name="connsiteX33" fmla="*/ 550504 w 1490589"/>
                  <a:gd name="connsiteY33" fmla="*/ 858311 h 1522526"/>
                  <a:gd name="connsiteX34" fmla="*/ 621119 w 1490589"/>
                  <a:gd name="connsiteY34" fmla="*/ 900922 h 1522526"/>
                  <a:gd name="connsiteX35" fmla="*/ 728276 w 1490589"/>
                  <a:gd name="connsiteY35" fmla="*/ 915210 h 1522526"/>
                  <a:gd name="connsiteX36" fmla="*/ 821144 w 1490589"/>
                  <a:gd name="connsiteY36" fmla="*/ 874729 h 1522526"/>
                  <a:gd name="connsiteX37" fmla="*/ 856178 w 1490589"/>
                  <a:gd name="connsiteY37" fmla="*/ 852696 h 1522526"/>
                  <a:gd name="connsiteX38" fmla="*/ 1041767 w 1490589"/>
                  <a:gd name="connsiteY38" fmla="*/ 314309 h 1522526"/>
                  <a:gd name="connsiteX39" fmla="*/ 1048139 w 1490589"/>
                  <a:gd name="connsiteY39" fmla="*/ 320855 h 1522526"/>
                  <a:gd name="connsiteX40" fmla="*/ 1074929 w 1490589"/>
                  <a:gd name="connsiteY40" fmla="*/ 428013 h 1522526"/>
                  <a:gd name="connsiteX41" fmla="*/ 1101718 w 1490589"/>
                  <a:gd name="connsiteY41" fmla="*/ 569403 h 1522526"/>
                  <a:gd name="connsiteX42" fmla="*/ 1110648 w 1490589"/>
                  <a:gd name="connsiteY42" fmla="*/ 704839 h 1522526"/>
                  <a:gd name="connsiteX43" fmla="*/ 1107671 w 1490589"/>
                  <a:gd name="connsiteY43" fmla="*/ 789672 h 1522526"/>
                  <a:gd name="connsiteX44" fmla="*/ 1082370 w 1490589"/>
                  <a:gd name="connsiteY44" fmla="*/ 850693 h 1522526"/>
                  <a:gd name="connsiteX45" fmla="*/ 1036232 w 1490589"/>
                  <a:gd name="connsiteY45" fmla="*/ 859623 h 1522526"/>
                  <a:gd name="connsiteX46" fmla="*/ 963305 w 1490589"/>
                  <a:gd name="connsiteY46" fmla="*/ 853670 h 1522526"/>
                  <a:gd name="connsiteX47" fmla="*/ 908238 w 1490589"/>
                  <a:gd name="connsiteY47" fmla="*/ 834322 h 1522526"/>
                  <a:gd name="connsiteX48" fmla="*/ 915679 w 1490589"/>
                  <a:gd name="connsiteY48" fmla="*/ 813485 h 1522526"/>
                  <a:gd name="connsiteX49" fmla="*/ 945445 w 1490589"/>
                  <a:gd name="connsiteY49" fmla="*/ 773301 h 1522526"/>
                  <a:gd name="connsiteX50" fmla="*/ 973724 w 1490589"/>
                  <a:gd name="connsiteY50" fmla="*/ 704839 h 1522526"/>
                  <a:gd name="connsiteX51" fmla="*/ 979677 w 1490589"/>
                  <a:gd name="connsiteY51" fmla="*/ 675072 h 1522526"/>
                  <a:gd name="connsiteX52" fmla="*/ 997536 w 1490589"/>
                  <a:gd name="connsiteY52" fmla="*/ 655725 h 1522526"/>
                  <a:gd name="connsiteX53" fmla="*/ 1022838 w 1490589"/>
                  <a:gd name="connsiteY53" fmla="*/ 579821 h 1522526"/>
                  <a:gd name="connsiteX54" fmla="*/ 1040697 w 1490589"/>
                  <a:gd name="connsiteY54" fmla="*/ 499452 h 1522526"/>
                  <a:gd name="connsiteX55" fmla="*/ 1042186 w 1490589"/>
                  <a:gd name="connsiteY55" fmla="*/ 463733 h 1522526"/>
                  <a:gd name="connsiteX56" fmla="*/ 1025814 w 1490589"/>
                  <a:gd name="connsiteY56" fmla="*/ 430990 h 1522526"/>
                  <a:gd name="connsiteX57" fmla="*/ 1009443 w 1490589"/>
                  <a:gd name="connsiteY57" fmla="*/ 416107 h 1522526"/>
                  <a:gd name="connsiteX58" fmla="*/ 1006466 w 1490589"/>
                  <a:gd name="connsiteY58" fmla="*/ 386340 h 1522526"/>
                  <a:gd name="connsiteX59" fmla="*/ 1009443 w 1490589"/>
                  <a:gd name="connsiteY59" fmla="*/ 350621 h 1522526"/>
                  <a:gd name="connsiteX60" fmla="*/ 1024326 w 1490589"/>
                  <a:gd name="connsiteY60" fmla="*/ 328297 h 1522526"/>
                  <a:gd name="connsiteX61" fmla="*/ 1041767 w 1490589"/>
                  <a:gd name="connsiteY61" fmla="*/ 314309 h 1522526"/>
                  <a:gd name="connsiteX62" fmla="*/ 616358 w 1490589"/>
                  <a:gd name="connsiteY62" fmla="*/ 96060 h 1522526"/>
                  <a:gd name="connsiteX63" fmla="*/ 509202 w 1490589"/>
                  <a:gd name="connsiteY63" fmla="*/ 431816 h 1522526"/>
                  <a:gd name="connsiteX64" fmla="*/ 654458 w 1490589"/>
                  <a:gd name="connsiteY64" fmla="*/ 184165 h 1522526"/>
                  <a:gd name="connsiteX65" fmla="*/ 616358 w 1490589"/>
                  <a:gd name="connsiteY65" fmla="*/ 96060 h 1522526"/>
                  <a:gd name="connsiteX66" fmla="*/ 651876 w 1490589"/>
                  <a:gd name="connsiteY66" fmla="*/ 0 h 1522526"/>
                  <a:gd name="connsiteX67" fmla="*/ 696401 w 1490589"/>
                  <a:gd name="connsiteY67" fmla="*/ 372 h 1522526"/>
                  <a:gd name="connsiteX68" fmla="*/ 757918 w 1490589"/>
                  <a:gd name="connsiteY68" fmla="*/ 6326 h 1522526"/>
                  <a:gd name="connsiteX69" fmla="*/ 829357 w 1490589"/>
                  <a:gd name="connsiteY69" fmla="*/ 38076 h 1522526"/>
                  <a:gd name="connsiteX70" fmla="*/ 910718 w 1490589"/>
                  <a:gd name="connsiteY70" fmla="*/ 103562 h 1522526"/>
                  <a:gd name="connsiteX71" fmla="*/ 1005970 w 1490589"/>
                  <a:gd name="connsiteY71" fmla="*/ 216673 h 1522526"/>
                  <a:gd name="connsiteX72" fmla="*/ 1041689 w 1490589"/>
                  <a:gd name="connsiteY72" fmla="*/ 276206 h 1522526"/>
                  <a:gd name="connsiteX73" fmla="*/ 1025814 w 1490589"/>
                  <a:gd name="connsiteY73" fmla="*/ 313909 h 1522526"/>
                  <a:gd name="connsiteX74" fmla="*/ 992079 w 1490589"/>
                  <a:gd name="connsiteY74" fmla="*/ 331769 h 1522526"/>
                  <a:gd name="connsiteX75" fmla="*/ 968266 w 1490589"/>
                  <a:gd name="connsiteY75" fmla="*/ 311925 h 1522526"/>
                  <a:gd name="connsiteX76" fmla="*/ 914687 w 1490589"/>
                  <a:gd name="connsiteY76" fmla="*/ 256361 h 1522526"/>
                  <a:gd name="connsiteX77" fmla="*/ 819435 w 1490589"/>
                  <a:gd name="connsiteY77" fmla="*/ 210720 h 1522526"/>
                  <a:gd name="connsiteX78" fmla="*/ 716246 w 1490589"/>
                  <a:gd name="connsiteY78" fmla="*/ 210720 h 1522526"/>
                  <a:gd name="connsiteX79" fmla="*/ 850617 w 1490589"/>
                  <a:gd name="connsiteY79" fmla="*/ 240487 h 1522526"/>
                  <a:gd name="connsiteX80" fmla="*/ 916103 w 1490589"/>
                  <a:gd name="connsiteY80" fmla="*/ 279721 h 1522526"/>
                  <a:gd name="connsiteX81" fmla="*/ 978269 w 1490589"/>
                  <a:gd name="connsiteY81" fmla="*/ 344718 h 1522526"/>
                  <a:gd name="connsiteX82" fmla="*/ 969452 w 1490589"/>
                  <a:gd name="connsiteY82" fmla="*/ 378896 h 1522526"/>
                  <a:gd name="connsiteX83" fmla="*/ 969452 w 1490589"/>
                  <a:gd name="connsiteY83" fmla="*/ 451651 h 1522526"/>
                  <a:gd name="connsiteX84" fmla="*/ 1003488 w 1490589"/>
                  <a:gd name="connsiteY84" fmla="*/ 478628 h 1522526"/>
                  <a:gd name="connsiteX85" fmla="*/ 967232 w 1490589"/>
                  <a:gd name="connsiteY85" fmla="*/ 638035 h 1522526"/>
                  <a:gd name="connsiteX86" fmla="*/ 946515 w 1490589"/>
                  <a:gd name="connsiteY86" fmla="*/ 651932 h 1522526"/>
                  <a:gd name="connsiteX87" fmla="*/ 838644 w 1490589"/>
                  <a:gd name="connsiteY87" fmla="*/ 831290 h 1522526"/>
                  <a:gd name="connsiteX88" fmla="*/ 749707 w 1490589"/>
                  <a:gd name="connsiteY88" fmla="*/ 893779 h 1522526"/>
                  <a:gd name="connsiteX89" fmla="*/ 663982 w 1490589"/>
                  <a:gd name="connsiteY89" fmla="*/ 893779 h 1522526"/>
                  <a:gd name="connsiteX90" fmla="*/ 542921 w 1490589"/>
                  <a:gd name="connsiteY90" fmla="*/ 821966 h 1522526"/>
                  <a:gd name="connsiteX91" fmla="*/ 450782 w 1490589"/>
                  <a:gd name="connsiteY91" fmla="*/ 643758 h 1522526"/>
                  <a:gd name="connsiteX92" fmla="*/ 390111 w 1490589"/>
                  <a:gd name="connsiteY92" fmla="*/ 503970 h 1522526"/>
                  <a:gd name="connsiteX93" fmla="*/ 413787 w 1490589"/>
                  <a:gd name="connsiteY93" fmla="*/ 464730 h 1522526"/>
                  <a:gd name="connsiteX94" fmla="*/ 402973 w 1490589"/>
                  <a:gd name="connsiteY94" fmla="*/ 399317 h 1522526"/>
                  <a:gd name="connsiteX95" fmla="*/ 376911 w 1490589"/>
                  <a:gd name="connsiteY95" fmla="*/ 419083 h 1522526"/>
                  <a:gd name="connsiteX96" fmla="*/ 361036 w 1490589"/>
                  <a:gd name="connsiteY96" fmla="*/ 438927 h 1522526"/>
                  <a:gd name="connsiteX97" fmla="*/ 347145 w 1490589"/>
                  <a:gd name="connsiteY97" fmla="*/ 476631 h 1522526"/>
                  <a:gd name="connsiteX98" fmla="*/ 353098 w 1490589"/>
                  <a:gd name="connsiteY98" fmla="*/ 514335 h 1522526"/>
                  <a:gd name="connsiteX99" fmla="*/ 363020 w 1490589"/>
                  <a:gd name="connsiteY99" fmla="*/ 571883 h 1522526"/>
                  <a:gd name="connsiteX100" fmla="*/ 386833 w 1490589"/>
                  <a:gd name="connsiteY100" fmla="*/ 665150 h 1522526"/>
                  <a:gd name="connsiteX101" fmla="*/ 412630 w 1490589"/>
                  <a:gd name="connsiteY101" fmla="*/ 686979 h 1522526"/>
                  <a:gd name="connsiteX102" fmla="*/ 428506 w 1490589"/>
                  <a:gd name="connsiteY102" fmla="*/ 728652 h 1522526"/>
                  <a:gd name="connsiteX103" fmla="*/ 466210 w 1490589"/>
                  <a:gd name="connsiteY103" fmla="*/ 802075 h 1522526"/>
                  <a:gd name="connsiteX104" fmla="*/ 482085 w 1490589"/>
                  <a:gd name="connsiteY104" fmla="*/ 847716 h 1522526"/>
                  <a:gd name="connsiteX105" fmla="*/ 438428 w 1490589"/>
                  <a:gd name="connsiteY105" fmla="*/ 859623 h 1522526"/>
                  <a:gd name="connsiteX106" fmla="*/ 374927 w 1490589"/>
                  <a:gd name="connsiteY106" fmla="*/ 867560 h 1522526"/>
                  <a:gd name="connsiteX107" fmla="*/ 317379 w 1490589"/>
                  <a:gd name="connsiteY107" fmla="*/ 853670 h 1522526"/>
                  <a:gd name="connsiteX108" fmla="*/ 291581 w 1490589"/>
                  <a:gd name="connsiteY108" fmla="*/ 810012 h 1522526"/>
                  <a:gd name="connsiteX109" fmla="*/ 279675 w 1490589"/>
                  <a:gd name="connsiteY109" fmla="*/ 732620 h 1522526"/>
                  <a:gd name="connsiteX110" fmla="*/ 283644 w 1490589"/>
                  <a:gd name="connsiteY110" fmla="*/ 631415 h 1522526"/>
                  <a:gd name="connsiteX111" fmla="*/ 315394 w 1490589"/>
                  <a:gd name="connsiteY111" fmla="*/ 415114 h 1522526"/>
                  <a:gd name="connsiteX112" fmla="*/ 388817 w 1490589"/>
                  <a:gd name="connsiteY112" fmla="*/ 194845 h 1522526"/>
                  <a:gd name="connsiteX113" fmla="*/ 450334 w 1490589"/>
                  <a:gd name="connsiteY113" fmla="*/ 93640 h 1522526"/>
                  <a:gd name="connsiteX114" fmla="*/ 509867 w 1490589"/>
                  <a:gd name="connsiteY114" fmla="*/ 44029 h 1522526"/>
                  <a:gd name="connsiteX115" fmla="*/ 563446 w 1490589"/>
                  <a:gd name="connsiteY115" fmla="*/ 36092 h 1522526"/>
                  <a:gd name="connsiteX116" fmla="*/ 609087 w 1490589"/>
                  <a:gd name="connsiteY116" fmla="*/ 4341 h 1522526"/>
                  <a:gd name="connsiteX117" fmla="*/ 651876 w 1490589"/>
                  <a:gd name="connsiteY117" fmla="*/ 0 h 1522526"/>
                  <a:gd name="connsiteX0" fmla="*/ 992965 w 1490589"/>
                  <a:gd name="connsiteY0" fmla="*/ 998817 h 1522526"/>
                  <a:gd name="connsiteX1" fmla="*/ 1003490 w 1490589"/>
                  <a:gd name="connsiteY1" fmla="*/ 1002500 h 1522526"/>
                  <a:gd name="connsiteX2" fmla="*/ 1110648 w 1490589"/>
                  <a:gd name="connsiteY2" fmla="*/ 1036732 h 1522526"/>
                  <a:gd name="connsiteX3" fmla="*/ 1228224 w 1490589"/>
                  <a:gd name="connsiteY3" fmla="*/ 1091799 h 1522526"/>
                  <a:gd name="connsiteX4" fmla="*/ 1319904 w 1490589"/>
                  <a:gd name="connsiteY4" fmla="*/ 1106981 h 1522526"/>
                  <a:gd name="connsiteX5" fmla="*/ 1366040 w 1490589"/>
                  <a:gd name="connsiteY5" fmla="*/ 1185265 h 1522526"/>
                  <a:gd name="connsiteX6" fmla="*/ 1487186 w 1490589"/>
                  <a:gd name="connsiteY6" fmla="*/ 1448990 h 1522526"/>
                  <a:gd name="connsiteX7" fmla="*/ 1177029 w 1490589"/>
                  <a:gd name="connsiteY7" fmla="*/ 1493045 h 1522526"/>
                  <a:gd name="connsiteX8" fmla="*/ 1132974 w 1490589"/>
                  <a:gd name="connsiteY8" fmla="*/ 1439469 h 1522526"/>
                  <a:gd name="connsiteX9" fmla="*/ 1151130 w 1490589"/>
                  <a:gd name="connsiteY9" fmla="*/ 1492451 h 1522526"/>
                  <a:gd name="connsiteX10" fmla="*/ 267073 w 1490589"/>
                  <a:gd name="connsiteY10" fmla="*/ 1497214 h 1522526"/>
                  <a:gd name="connsiteX11" fmla="*/ 250922 w 1490589"/>
                  <a:gd name="connsiteY11" fmla="*/ 1492951 h 1522526"/>
                  <a:gd name="connsiteX12" fmla="*/ 273457 w 1490589"/>
                  <a:gd name="connsiteY12" fmla="*/ 1446229 h 1522526"/>
                  <a:gd name="connsiteX13" fmla="*/ 221069 w 1490589"/>
                  <a:gd name="connsiteY13" fmla="*/ 1493854 h 1522526"/>
                  <a:gd name="connsiteX14" fmla="*/ 668 w 1490589"/>
                  <a:gd name="connsiteY14" fmla="*/ 1482327 h 1522526"/>
                  <a:gd name="connsiteX15" fmla="*/ 61391 w 1490589"/>
                  <a:gd name="connsiteY15" fmla="*/ 1223961 h 1522526"/>
                  <a:gd name="connsiteX16" fmla="*/ 92644 w 1490589"/>
                  <a:gd name="connsiteY16" fmla="*/ 1157285 h 1522526"/>
                  <a:gd name="connsiteX17" fmla="*/ 153665 w 1490589"/>
                  <a:gd name="connsiteY17" fmla="*/ 1120077 h 1522526"/>
                  <a:gd name="connsiteX18" fmla="*/ 251893 w 1490589"/>
                  <a:gd name="connsiteY18" fmla="*/ 1078404 h 1522526"/>
                  <a:gd name="connsiteX19" fmla="*/ 376911 w 1490589"/>
                  <a:gd name="connsiteY19" fmla="*/ 1029290 h 1522526"/>
                  <a:gd name="connsiteX20" fmla="*/ 410479 w 1490589"/>
                  <a:gd name="connsiteY20" fmla="*/ 1016502 h 1522526"/>
                  <a:gd name="connsiteX21" fmla="*/ 592543 w 1490589"/>
                  <a:gd name="connsiteY21" fmla="*/ 1272398 h 1522526"/>
                  <a:gd name="connsiteX22" fmla="*/ 763993 w 1490589"/>
                  <a:gd name="connsiteY22" fmla="*/ 1379555 h 1522526"/>
                  <a:gd name="connsiteX23" fmla="*/ 883056 w 1490589"/>
                  <a:gd name="connsiteY23" fmla="*/ 1243823 h 1522526"/>
                  <a:gd name="connsiteX24" fmla="*/ 992965 w 1490589"/>
                  <a:gd name="connsiteY24" fmla="*/ 998817 h 1522526"/>
                  <a:gd name="connsiteX25" fmla="*/ 856178 w 1490589"/>
                  <a:gd name="connsiteY25" fmla="*/ 852696 h 1522526"/>
                  <a:gd name="connsiteX26" fmla="*/ 851682 w 1490589"/>
                  <a:gd name="connsiteY26" fmla="*/ 923321 h 1522526"/>
                  <a:gd name="connsiteX27" fmla="*/ 959840 w 1490589"/>
                  <a:gd name="connsiteY27" fmla="*/ 978198 h 1522526"/>
                  <a:gd name="connsiteX28" fmla="*/ 885437 w 1490589"/>
                  <a:gd name="connsiteY28" fmla="*/ 1177148 h 1522526"/>
                  <a:gd name="connsiteX29" fmla="*/ 747325 w 1490589"/>
                  <a:gd name="connsiteY29" fmla="*/ 1341455 h 1522526"/>
                  <a:gd name="connsiteX30" fmla="*/ 556825 w 1490589"/>
                  <a:gd name="connsiteY30" fmla="*/ 1191436 h 1522526"/>
                  <a:gd name="connsiteX31" fmla="*/ 439913 w 1490589"/>
                  <a:gd name="connsiteY31" fmla="*/ 1004825 h 1522526"/>
                  <a:gd name="connsiteX32" fmla="*/ 551936 w 1490589"/>
                  <a:gd name="connsiteY32" fmla="*/ 931359 h 1522526"/>
                  <a:gd name="connsiteX33" fmla="*/ 550504 w 1490589"/>
                  <a:gd name="connsiteY33" fmla="*/ 858311 h 1522526"/>
                  <a:gd name="connsiteX34" fmla="*/ 621119 w 1490589"/>
                  <a:gd name="connsiteY34" fmla="*/ 900922 h 1522526"/>
                  <a:gd name="connsiteX35" fmla="*/ 728276 w 1490589"/>
                  <a:gd name="connsiteY35" fmla="*/ 915210 h 1522526"/>
                  <a:gd name="connsiteX36" fmla="*/ 821144 w 1490589"/>
                  <a:gd name="connsiteY36" fmla="*/ 874729 h 1522526"/>
                  <a:gd name="connsiteX37" fmla="*/ 856178 w 1490589"/>
                  <a:gd name="connsiteY37" fmla="*/ 852696 h 1522526"/>
                  <a:gd name="connsiteX38" fmla="*/ 1041767 w 1490589"/>
                  <a:gd name="connsiteY38" fmla="*/ 314309 h 1522526"/>
                  <a:gd name="connsiteX39" fmla="*/ 1048139 w 1490589"/>
                  <a:gd name="connsiteY39" fmla="*/ 320855 h 1522526"/>
                  <a:gd name="connsiteX40" fmla="*/ 1074929 w 1490589"/>
                  <a:gd name="connsiteY40" fmla="*/ 428013 h 1522526"/>
                  <a:gd name="connsiteX41" fmla="*/ 1101718 w 1490589"/>
                  <a:gd name="connsiteY41" fmla="*/ 569403 h 1522526"/>
                  <a:gd name="connsiteX42" fmla="*/ 1110648 w 1490589"/>
                  <a:gd name="connsiteY42" fmla="*/ 704839 h 1522526"/>
                  <a:gd name="connsiteX43" fmla="*/ 1107671 w 1490589"/>
                  <a:gd name="connsiteY43" fmla="*/ 789672 h 1522526"/>
                  <a:gd name="connsiteX44" fmla="*/ 1082370 w 1490589"/>
                  <a:gd name="connsiteY44" fmla="*/ 850693 h 1522526"/>
                  <a:gd name="connsiteX45" fmla="*/ 1036232 w 1490589"/>
                  <a:gd name="connsiteY45" fmla="*/ 859623 h 1522526"/>
                  <a:gd name="connsiteX46" fmla="*/ 963305 w 1490589"/>
                  <a:gd name="connsiteY46" fmla="*/ 853670 h 1522526"/>
                  <a:gd name="connsiteX47" fmla="*/ 908238 w 1490589"/>
                  <a:gd name="connsiteY47" fmla="*/ 834322 h 1522526"/>
                  <a:gd name="connsiteX48" fmla="*/ 915679 w 1490589"/>
                  <a:gd name="connsiteY48" fmla="*/ 813485 h 1522526"/>
                  <a:gd name="connsiteX49" fmla="*/ 945445 w 1490589"/>
                  <a:gd name="connsiteY49" fmla="*/ 773301 h 1522526"/>
                  <a:gd name="connsiteX50" fmla="*/ 973724 w 1490589"/>
                  <a:gd name="connsiteY50" fmla="*/ 704839 h 1522526"/>
                  <a:gd name="connsiteX51" fmla="*/ 979677 w 1490589"/>
                  <a:gd name="connsiteY51" fmla="*/ 675072 h 1522526"/>
                  <a:gd name="connsiteX52" fmla="*/ 997536 w 1490589"/>
                  <a:gd name="connsiteY52" fmla="*/ 655725 h 1522526"/>
                  <a:gd name="connsiteX53" fmla="*/ 1022838 w 1490589"/>
                  <a:gd name="connsiteY53" fmla="*/ 579821 h 1522526"/>
                  <a:gd name="connsiteX54" fmla="*/ 1040697 w 1490589"/>
                  <a:gd name="connsiteY54" fmla="*/ 499452 h 1522526"/>
                  <a:gd name="connsiteX55" fmla="*/ 1042186 w 1490589"/>
                  <a:gd name="connsiteY55" fmla="*/ 463733 h 1522526"/>
                  <a:gd name="connsiteX56" fmla="*/ 1025814 w 1490589"/>
                  <a:gd name="connsiteY56" fmla="*/ 430990 h 1522526"/>
                  <a:gd name="connsiteX57" fmla="*/ 1009443 w 1490589"/>
                  <a:gd name="connsiteY57" fmla="*/ 416107 h 1522526"/>
                  <a:gd name="connsiteX58" fmla="*/ 1006466 w 1490589"/>
                  <a:gd name="connsiteY58" fmla="*/ 386340 h 1522526"/>
                  <a:gd name="connsiteX59" fmla="*/ 1009443 w 1490589"/>
                  <a:gd name="connsiteY59" fmla="*/ 350621 h 1522526"/>
                  <a:gd name="connsiteX60" fmla="*/ 1024326 w 1490589"/>
                  <a:gd name="connsiteY60" fmla="*/ 328297 h 1522526"/>
                  <a:gd name="connsiteX61" fmla="*/ 1041767 w 1490589"/>
                  <a:gd name="connsiteY61" fmla="*/ 314309 h 1522526"/>
                  <a:gd name="connsiteX62" fmla="*/ 616358 w 1490589"/>
                  <a:gd name="connsiteY62" fmla="*/ 96060 h 1522526"/>
                  <a:gd name="connsiteX63" fmla="*/ 509202 w 1490589"/>
                  <a:gd name="connsiteY63" fmla="*/ 431816 h 1522526"/>
                  <a:gd name="connsiteX64" fmla="*/ 654458 w 1490589"/>
                  <a:gd name="connsiteY64" fmla="*/ 184165 h 1522526"/>
                  <a:gd name="connsiteX65" fmla="*/ 616358 w 1490589"/>
                  <a:gd name="connsiteY65" fmla="*/ 96060 h 1522526"/>
                  <a:gd name="connsiteX66" fmla="*/ 651876 w 1490589"/>
                  <a:gd name="connsiteY66" fmla="*/ 0 h 1522526"/>
                  <a:gd name="connsiteX67" fmla="*/ 696401 w 1490589"/>
                  <a:gd name="connsiteY67" fmla="*/ 372 h 1522526"/>
                  <a:gd name="connsiteX68" fmla="*/ 757918 w 1490589"/>
                  <a:gd name="connsiteY68" fmla="*/ 6326 h 1522526"/>
                  <a:gd name="connsiteX69" fmla="*/ 829357 w 1490589"/>
                  <a:gd name="connsiteY69" fmla="*/ 38076 h 1522526"/>
                  <a:gd name="connsiteX70" fmla="*/ 910718 w 1490589"/>
                  <a:gd name="connsiteY70" fmla="*/ 103562 h 1522526"/>
                  <a:gd name="connsiteX71" fmla="*/ 1005970 w 1490589"/>
                  <a:gd name="connsiteY71" fmla="*/ 216673 h 1522526"/>
                  <a:gd name="connsiteX72" fmla="*/ 1041689 w 1490589"/>
                  <a:gd name="connsiteY72" fmla="*/ 276206 h 1522526"/>
                  <a:gd name="connsiteX73" fmla="*/ 1025814 w 1490589"/>
                  <a:gd name="connsiteY73" fmla="*/ 313909 h 1522526"/>
                  <a:gd name="connsiteX74" fmla="*/ 992079 w 1490589"/>
                  <a:gd name="connsiteY74" fmla="*/ 331769 h 1522526"/>
                  <a:gd name="connsiteX75" fmla="*/ 968266 w 1490589"/>
                  <a:gd name="connsiteY75" fmla="*/ 311925 h 1522526"/>
                  <a:gd name="connsiteX76" fmla="*/ 914687 w 1490589"/>
                  <a:gd name="connsiteY76" fmla="*/ 256361 h 1522526"/>
                  <a:gd name="connsiteX77" fmla="*/ 819435 w 1490589"/>
                  <a:gd name="connsiteY77" fmla="*/ 210720 h 1522526"/>
                  <a:gd name="connsiteX78" fmla="*/ 716246 w 1490589"/>
                  <a:gd name="connsiteY78" fmla="*/ 210720 h 1522526"/>
                  <a:gd name="connsiteX79" fmla="*/ 850617 w 1490589"/>
                  <a:gd name="connsiteY79" fmla="*/ 240487 h 1522526"/>
                  <a:gd name="connsiteX80" fmla="*/ 916103 w 1490589"/>
                  <a:gd name="connsiteY80" fmla="*/ 279721 h 1522526"/>
                  <a:gd name="connsiteX81" fmla="*/ 978269 w 1490589"/>
                  <a:gd name="connsiteY81" fmla="*/ 344718 h 1522526"/>
                  <a:gd name="connsiteX82" fmla="*/ 969452 w 1490589"/>
                  <a:gd name="connsiteY82" fmla="*/ 378896 h 1522526"/>
                  <a:gd name="connsiteX83" fmla="*/ 969452 w 1490589"/>
                  <a:gd name="connsiteY83" fmla="*/ 451651 h 1522526"/>
                  <a:gd name="connsiteX84" fmla="*/ 1003488 w 1490589"/>
                  <a:gd name="connsiteY84" fmla="*/ 478628 h 1522526"/>
                  <a:gd name="connsiteX85" fmla="*/ 967232 w 1490589"/>
                  <a:gd name="connsiteY85" fmla="*/ 638035 h 1522526"/>
                  <a:gd name="connsiteX86" fmla="*/ 946515 w 1490589"/>
                  <a:gd name="connsiteY86" fmla="*/ 651932 h 1522526"/>
                  <a:gd name="connsiteX87" fmla="*/ 838644 w 1490589"/>
                  <a:gd name="connsiteY87" fmla="*/ 831290 h 1522526"/>
                  <a:gd name="connsiteX88" fmla="*/ 749707 w 1490589"/>
                  <a:gd name="connsiteY88" fmla="*/ 893779 h 1522526"/>
                  <a:gd name="connsiteX89" fmla="*/ 663982 w 1490589"/>
                  <a:gd name="connsiteY89" fmla="*/ 893779 h 1522526"/>
                  <a:gd name="connsiteX90" fmla="*/ 542921 w 1490589"/>
                  <a:gd name="connsiteY90" fmla="*/ 821966 h 1522526"/>
                  <a:gd name="connsiteX91" fmla="*/ 450782 w 1490589"/>
                  <a:gd name="connsiteY91" fmla="*/ 643758 h 1522526"/>
                  <a:gd name="connsiteX92" fmla="*/ 390111 w 1490589"/>
                  <a:gd name="connsiteY92" fmla="*/ 503970 h 1522526"/>
                  <a:gd name="connsiteX93" fmla="*/ 413787 w 1490589"/>
                  <a:gd name="connsiteY93" fmla="*/ 464730 h 1522526"/>
                  <a:gd name="connsiteX94" fmla="*/ 402973 w 1490589"/>
                  <a:gd name="connsiteY94" fmla="*/ 399317 h 1522526"/>
                  <a:gd name="connsiteX95" fmla="*/ 376911 w 1490589"/>
                  <a:gd name="connsiteY95" fmla="*/ 419083 h 1522526"/>
                  <a:gd name="connsiteX96" fmla="*/ 361036 w 1490589"/>
                  <a:gd name="connsiteY96" fmla="*/ 438927 h 1522526"/>
                  <a:gd name="connsiteX97" fmla="*/ 347145 w 1490589"/>
                  <a:gd name="connsiteY97" fmla="*/ 476631 h 1522526"/>
                  <a:gd name="connsiteX98" fmla="*/ 353098 w 1490589"/>
                  <a:gd name="connsiteY98" fmla="*/ 514335 h 1522526"/>
                  <a:gd name="connsiteX99" fmla="*/ 363020 w 1490589"/>
                  <a:gd name="connsiteY99" fmla="*/ 571883 h 1522526"/>
                  <a:gd name="connsiteX100" fmla="*/ 386833 w 1490589"/>
                  <a:gd name="connsiteY100" fmla="*/ 665150 h 1522526"/>
                  <a:gd name="connsiteX101" fmla="*/ 412630 w 1490589"/>
                  <a:gd name="connsiteY101" fmla="*/ 686979 h 1522526"/>
                  <a:gd name="connsiteX102" fmla="*/ 428506 w 1490589"/>
                  <a:gd name="connsiteY102" fmla="*/ 728652 h 1522526"/>
                  <a:gd name="connsiteX103" fmla="*/ 466210 w 1490589"/>
                  <a:gd name="connsiteY103" fmla="*/ 802075 h 1522526"/>
                  <a:gd name="connsiteX104" fmla="*/ 482085 w 1490589"/>
                  <a:gd name="connsiteY104" fmla="*/ 847716 h 1522526"/>
                  <a:gd name="connsiteX105" fmla="*/ 438428 w 1490589"/>
                  <a:gd name="connsiteY105" fmla="*/ 859623 h 1522526"/>
                  <a:gd name="connsiteX106" fmla="*/ 374927 w 1490589"/>
                  <a:gd name="connsiteY106" fmla="*/ 867560 h 1522526"/>
                  <a:gd name="connsiteX107" fmla="*/ 317379 w 1490589"/>
                  <a:gd name="connsiteY107" fmla="*/ 853670 h 1522526"/>
                  <a:gd name="connsiteX108" fmla="*/ 291581 w 1490589"/>
                  <a:gd name="connsiteY108" fmla="*/ 810012 h 1522526"/>
                  <a:gd name="connsiteX109" fmla="*/ 279675 w 1490589"/>
                  <a:gd name="connsiteY109" fmla="*/ 732620 h 1522526"/>
                  <a:gd name="connsiteX110" fmla="*/ 283644 w 1490589"/>
                  <a:gd name="connsiteY110" fmla="*/ 631415 h 1522526"/>
                  <a:gd name="connsiteX111" fmla="*/ 315394 w 1490589"/>
                  <a:gd name="connsiteY111" fmla="*/ 415114 h 1522526"/>
                  <a:gd name="connsiteX112" fmla="*/ 388817 w 1490589"/>
                  <a:gd name="connsiteY112" fmla="*/ 194845 h 1522526"/>
                  <a:gd name="connsiteX113" fmla="*/ 450334 w 1490589"/>
                  <a:gd name="connsiteY113" fmla="*/ 93640 h 1522526"/>
                  <a:gd name="connsiteX114" fmla="*/ 509867 w 1490589"/>
                  <a:gd name="connsiteY114" fmla="*/ 44029 h 1522526"/>
                  <a:gd name="connsiteX115" fmla="*/ 563446 w 1490589"/>
                  <a:gd name="connsiteY115" fmla="*/ 36092 h 1522526"/>
                  <a:gd name="connsiteX116" fmla="*/ 609087 w 1490589"/>
                  <a:gd name="connsiteY116" fmla="*/ 4341 h 1522526"/>
                  <a:gd name="connsiteX117" fmla="*/ 651876 w 1490589"/>
                  <a:gd name="connsiteY117" fmla="*/ 0 h 1522526"/>
                  <a:gd name="connsiteX0" fmla="*/ 992965 w 1490589"/>
                  <a:gd name="connsiteY0" fmla="*/ 998817 h 1522526"/>
                  <a:gd name="connsiteX1" fmla="*/ 1003490 w 1490589"/>
                  <a:gd name="connsiteY1" fmla="*/ 1002500 h 1522526"/>
                  <a:gd name="connsiteX2" fmla="*/ 1110648 w 1490589"/>
                  <a:gd name="connsiteY2" fmla="*/ 1036732 h 1522526"/>
                  <a:gd name="connsiteX3" fmla="*/ 1319904 w 1490589"/>
                  <a:gd name="connsiteY3" fmla="*/ 1106981 h 1522526"/>
                  <a:gd name="connsiteX4" fmla="*/ 1366040 w 1490589"/>
                  <a:gd name="connsiteY4" fmla="*/ 1185265 h 1522526"/>
                  <a:gd name="connsiteX5" fmla="*/ 1487186 w 1490589"/>
                  <a:gd name="connsiteY5" fmla="*/ 1448990 h 1522526"/>
                  <a:gd name="connsiteX6" fmla="*/ 1177029 w 1490589"/>
                  <a:gd name="connsiteY6" fmla="*/ 1493045 h 1522526"/>
                  <a:gd name="connsiteX7" fmla="*/ 1132974 w 1490589"/>
                  <a:gd name="connsiteY7" fmla="*/ 1439469 h 1522526"/>
                  <a:gd name="connsiteX8" fmla="*/ 1151130 w 1490589"/>
                  <a:gd name="connsiteY8" fmla="*/ 1492451 h 1522526"/>
                  <a:gd name="connsiteX9" fmla="*/ 267073 w 1490589"/>
                  <a:gd name="connsiteY9" fmla="*/ 1497214 h 1522526"/>
                  <a:gd name="connsiteX10" fmla="*/ 250922 w 1490589"/>
                  <a:gd name="connsiteY10" fmla="*/ 1492951 h 1522526"/>
                  <a:gd name="connsiteX11" fmla="*/ 273457 w 1490589"/>
                  <a:gd name="connsiteY11" fmla="*/ 1446229 h 1522526"/>
                  <a:gd name="connsiteX12" fmla="*/ 221069 w 1490589"/>
                  <a:gd name="connsiteY12" fmla="*/ 1493854 h 1522526"/>
                  <a:gd name="connsiteX13" fmla="*/ 668 w 1490589"/>
                  <a:gd name="connsiteY13" fmla="*/ 1482327 h 1522526"/>
                  <a:gd name="connsiteX14" fmla="*/ 61391 w 1490589"/>
                  <a:gd name="connsiteY14" fmla="*/ 1223961 h 1522526"/>
                  <a:gd name="connsiteX15" fmla="*/ 92644 w 1490589"/>
                  <a:gd name="connsiteY15" fmla="*/ 1157285 h 1522526"/>
                  <a:gd name="connsiteX16" fmla="*/ 153665 w 1490589"/>
                  <a:gd name="connsiteY16" fmla="*/ 1120077 h 1522526"/>
                  <a:gd name="connsiteX17" fmla="*/ 251893 w 1490589"/>
                  <a:gd name="connsiteY17" fmla="*/ 1078404 h 1522526"/>
                  <a:gd name="connsiteX18" fmla="*/ 376911 w 1490589"/>
                  <a:gd name="connsiteY18" fmla="*/ 1029290 h 1522526"/>
                  <a:gd name="connsiteX19" fmla="*/ 410479 w 1490589"/>
                  <a:gd name="connsiteY19" fmla="*/ 1016502 h 1522526"/>
                  <a:gd name="connsiteX20" fmla="*/ 592543 w 1490589"/>
                  <a:gd name="connsiteY20" fmla="*/ 1272398 h 1522526"/>
                  <a:gd name="connsiteX21" fmla="*/ 763993 w 1490589"/>
                  <a:gd name="connsiteY21" fmla="*/ 1379555 h 1522526"/>
                  <a:gd name="connsiteX22" fmla="*/ 883056 w 1490589"/>
                  <a:gd name="connsiteY22" fmla="*/ 1243823 h 1522526"/>
                  <a:gd name="connsiteX23" fmla="*/ 992965 w 1490589"/>
                  <a:gd name="connsiteY23" fmla="*/ 998817 h 1522526"/>
                  <a:gd name="connsiteX24" fmla="*/ 856178 w 1490589"/>
                  <a:gd name="connsiteY24" fmla="*/ 852696 h 1522526"/>
                  <a:gd name="connsiteX25" fmla="*/ 851682 w 1490589"/>
                  <a:gd name="connsiteY25" fmla="*/ 923321 h 1522526"/>
                  <a:gd name="connsiteX26" fmla="*/ 959840 w 1490589"/>
                  <a:gd name="connsiteY26" fmla="*/ 978198 h 1522526"/>
                  <a:gd name="connsiteX27" fmla="*/ 885437 w 1490589"/>
                  <a:gd name="connsiteY27" fmla="*/ 1177148 h 1522526"/>
                  <a:gd name="connsiteX28" fmla="*/ 747325 w 1490589"/>
                  <a:gd name="connsiteY28" fmla="*/ 1341455 h 1522526"/>
                  <a:gd name="connsiteX29" fmla="*/ 556825 w 1490589"/>
                  <a:gd name="connsiteY29" fmla="*/ 1191436 h 1522526"/>
                  <a:gd name="connsiteX30" fmla="*/ 439913 w 1490589"/>
                  <a:gd name="connsiteY30" fmla="*/ 1004825 h 1522526"/>
                  <a:gd name="connsiteX31" fmla="*/ 551936 w 1490589"/>
                  <a:gd name="connsiteY31" fmla="*/ 931359 h 1522526"/>
                  <a:gd name="connsiteX32" fmla="*/ 550504 w 1490589"/>
                  <a:gd name="connsiteY32" fmla="*/ 858311 h 1522526"/>
                  <a:gd name="connsiteX33" fmla="*/ 621119 w 1490589"/>
                  <a:gd name="connsiteY33" fmla="*/ 900922 h 1522526"/>
                  <a:gd name="connsiteX34" fmla="*/ 728276 w 1490589"/>
                  <a:gd name="connsiteY34" fmla="*/ 915210 h 1522526"/>
                  <a:gd name="connsiteX35" fmla="*/ 821144 w 1490589"/>
                  <a:gd name="connsiteY35" fmla="*/ 874729 h 1522526"/>
                  <a:gd name="connsiteX36" fmla="*/ 856178 w 1490589"/>
                  <a:gd name="connsiteY36" fmla="*/ 852696 h 1522526"/>
                  <a:gd name="connsiteX37" fmla="*/ 1041767 w 1490589"/>
                  <a:gd name="connsiteY37" fmla="*/ 314309 h 1522526"/>
                  <a:gd name="connsiteX38" fmla="*/ 1048139 w 1490589"/>
                  <a:gd name="connsiteY38" fmla="*/ 320855 h 1522526"/>
                  <a:gd name="connsiteX39" fmla="*/ 1074929 w 1490589"/>
                  <a:gd name="connsiteY39" fmla="*/ 428013 h 1522526"/>
                  <a:gd name="connsiteX40" fmla="*/ 1101718 w 1490589"/>
                  <a:gd name="connsiteY40" fmla="*/ 569403 h 1522526"/>
                  <a:gd name="connsiteX41" fmla="*/ 1110648 w 1490589"/>
                  <a:gd name="connsiteY41" fmla="*/ 704839 h 1522526"/>
                  <a:gd name="connsiteX42" fmla="*/ 1107671 w 1490589"/>
                  <a:gd name="connsiteY42" fmla="*/ 789672 h 1522526"/>
                  <a:gd name="connsiteX43" fmla="*/ 1082370 w 1490589"/>
                  <a:gd name="connsiteY43" fmla="*/ 850693 h 1522526"/>
                  <a:gd name="connsiteX44" fmla="*/ 1036232 w 1490589"/>
                  <a:gd name="connsiteY44" fmla="*/ 859623 h 1522526"/>
                  <a:gd name="connsiteX45" fmla="*/ 963305 w 1490589"/>
                  <a:gd name="connsiteY45" fmla="*/ 853670 h 1522526"/>
                  <a:gd name="connsiteX46" fmla="*/ 908238 w 1490589"/>
                  <a:gd name="connsiteY46" fmla="*/ 834322 h 1522526"/>
                  <a:gd name="connsiteX47" fmla="*/ 915679 w 1490589"/>
                  <a:gd name="connsiteY47" fmla="*/ 813485 h 1522526"/>
                  <a:gd name="connsiteX48" fmla="*/ 945445 w 1490589"/>
                  <a:gd name="connsiteY48" fmla="*/ 773301 h 1522526"/>
                  <a:gd name="connsiteX49" fmla="*/ 973724 w 1490589"/>
                  <a:gd name="connsiteY49" fmla="*/ 704839 h 1522526"/>
                  <a:gd name="connsiteX50" fmla="*/ 979677 w 1490589"/>
                  <a:gd name="connsiteY50" fmla="*/ 675072 h 1522526"/>
                  <a:gd name="connsiteX51" fmla="*/ 997536 w 1490589"/>
                  <a:gd name="connsiteY51" fmla="*/ 655725 h 1522526"/>
                  <a:gd name="connsiteX52" fmla="*/ 1022838 w 1490589"/>
                  <a:gd name="connsiteY52" fmla="*/ 579821 h 1522526"/>
                  <a:gd name="connsiteX53" fmla="*/ 1040697 w 1490589"/>
                  <a:gd name="connsiteY53" fmla="*/ 499452 h 1522526"/>
                  <a:gd name="connsiteX54" fmla="*/ 1042186 w 1490589"/>
                  <a:gd name="connsiteY54" fmla="*/ 463733 h 1522526"/>
                  <a:gd name="connsiteX55" fmla="*/ 1025814 w 1490589"/>
                  <a:gd name="connsiteY55" fmla="*/ 430990 h 1522526"/>
                  <a:gd name="connsiteX56" fmla="*/ 1009443 w 1490589"/>
                  <a:gd name="connsiteY56" fmla="*/ 416107 h 1522526"/>
                  <a:gd name="connsiteX57" fmla="*/ 1006466 w 1490589"/>
                  <a:gd name="connsiteY57" fmla="*/ 386340 h 1522526"/>
                  <a:gd name="connsiteX58" fmla="*/ 1009443 w 1490589"/>
                  <a:gd name="connsiteY58" fmla="*/ 350621 h 1522526"/>
                  <a:gd name="connsiteX59" fmla="*/ 1024326 w 1490589"/>
                  <a:gd name="connsiteY59" fmla="*/ 328297 h 1522526"/>
                  <a:gd name="connsiteX60" fmla="*/ 1041767 w 1490589"/>
                  <a:gd name="connsiteY60" fmla="*/ 314309 h 1522526"/>
                  <a:gd name="connsiteX61" fmla="*/ 616358 w 1490589"/>
                  <a:gd name="connsiteY61" fmla="*/ 96060 h 1522526"/>
                  <a:gd name="connsiteX62" fmla="*/ 509202 w 1490589"/>
                  <a:gd name="connsiteY62" fmla="*/ 431816 h 1522526"/>
                  <a:gd name="connsiteX63" fmla="*/ 654458 w 1490589"/>
                  <a:gd name="connsiteY63" fmla="*/ 184165 h 1522526"/>
                  <a:gd name="connsiteX64" fmla="*/ 616358 w 1490589"/>
                  <a:gd name="connsiteY64" fmla="*/ 96060 h 1522526"/>
                  <a:gd name="connsiteX65" fmla="*/ 651876 w 1490589"/>
                  <a:gd name="connsiteY65" fmla="*/ 0 h 1522526"/>
                  <a:gd name="connsiteX66" fmla="*/ 696401 w 1490589"/>
                  <a:gd name="connsiteY66" fmla="*/ 372 h 1522526"/>
                  <a:gd name="connsiteX67" fmla="*/ 757918 w 1490589"/>
                  <a:gd name="connsiteY67" fmla="*/ 6326 h 1522526"/>
                  <a:gd name="connsiteX68" fmla="*/ 829357 w 1490589"/>
                  <a:gd name="connsiteY68" fmla="*/ 38076 h 1522526"/>
                  <a:gd name="connsiteX69" fmla="*/ 910718 w 1490589"/>
                  <a:gd name="connsiteY69" fmla="*/ 103562 h 1522526"/>
                  <a:gd name="connsiteX70" fmla="*/ 1005970 w 1490589"/>
                  <a:gd name="connsiteY70" fmla="*/ 216673 h 1522526"/>
                  <a:gd name="connsiteX71" fmla="*/ 1041689 w 1490589"/>
                  <a:gd name="connsiteY71" fmla="*/ 276206 h 1522526"/>
                  <a:gd name="connsiteX72" fmla="*/ 1025814 w 1490589"/>
                  <a:gd name="connsiteY72" fmla="*/ 313909 h 1522526"/>
                  <a:gd name="connsiteX73" fmla="*/ 992079 w 1490589"/>
                  <a:gd name="connsiteY73" fmla="*/ 331769 h 1522526"/>
                  <a:gd name="connsiteX74" fmla="*/ 968266 w 1490589"/>
                  <a:gd name="connsiteY74" fmla="*/ 311925 h 1522526"/>
                  <a:gd name="connsiteX75" fmla="*/ 914687 w 1490589"/>
                  <a:gd name="connsiteY75" fmla="*/ 256361 h 1522526"/>
                  <a:gd name="connsiteX76" fmla="*/ 819435 w 1490589"/>
                  <a:gd name="connsiteY76" fmla="*/ 210720 h 1522526"/>
                  <a:gd name="connsiteX77" fmla="*/ 716246 w 1490589"/>
                  <a:gd name="connsiteY77" fmla="*/ 210720 h 1522526"/>
                  <a:gd name="connsiteX78" fmla="*/ 850617 w 1490589"/>
                  <a:gd name="connsiteY78" fmla="*/ 240487 h 1522526"/>
                  <a:gd name="connsiteX79" fmla="*/ 916103 w 1490589"/>
                  <a:gd name="connsiteY79" fmla="*/ 279721 h 1522526"/>
                  <a:gd name="connsiteX80" fmla="*/ 978269 w 1490589"/>
                  <a:gd name="connsiteY80" fmla="*/ 344718 h 1522526"/>
                  <a:gd name="connsiteX81" fmla="*/ 969452 w 1490589"/>
                  <a:gd name="connsiteY81" fmla="*/ 378896 h 1522526"/>
                  <a:gd name="connsiteX82" fmla="*/ 969452 w 1490589"/>
                  <a:gd name="connsiteY82" fmla="*/ 451651 h 1522526"/>
                  <a:gd name="connsiteX83" fmla="*/ 1003488 w 1490589"/>
                  <a:gd name="connsiteY83" fmla="*/ 478628 h 1522526"/>
                  <a:gd name="connsiteX84" fmla="*/ 967232 w 1490589"/>
                  <a:gd name="connsiteY84" fmla="*/ 638035 h 1522526"/>
                  <a:gd name="connsiteX85" fmla="*/ 946515 w 1490589"/>
                  <a:gd name="connsiteY85" fmla="*/ 651932 h 1522526"/>
                  <a:gd name="connsiteX86" fmla="*/ 838644 w 1490589"/>
                  <a:gd name="connsiteY86" fmla="*/ 831290 h 1522526"/>
                  <a:gd name="connsiteX87" fmla="*/ 749707 w 1490589"/>
                  <a:gd name="connsiteY87" fmla="*/ 893779 h 1522526"/>
                  <a:gd name="connsiteX88" fmla="*/ 663982 w 1490589"/>
                  <a:gd name="connsiteY88" fmla="*/ 893779 h 1522526"/>
                  <a:gd name="connsiteX89" fmla="*/ 542921 w 1490589"/>
                  <a:gd name="connsiteY89" fmla="*/ 821966 h 1522526"/>
                  <a:gd name="connsiteX90" fmla="*/ 450782 w 1490589"/>
                  <a:gd name="connsiteY90" fmla="*/ 643758 h 1522526"/>
                  <a:gd name="connsiteX91" fmla="*/ 390111 w 1490589"/>
                  <a:gd name="connsiteY91" fmla="*/ 503970 h 1522526"/>
                  <a:gd name="connsiteX92" fmla="*/ 413787 w 1490589"/>
                  <a:gd name="connsiteY92" fmla="*/ 464730 h 1522526"/>
                  <a:gd name="connsiteX93" fmla="*/ 402973 w 1490589"/>
                  <a:gd name="connsiteY93" fmla="*/ 399317 h 1522526"/>
                  <a:gd name="connsiteX94" fmla="*/ 376911 w 1490589"/>
                  <a:gd name="connsiteY94" fmla="*/ 419083 h 1522526"/>
                  <a:gd name="connsiteX95" fmla="*/ 361036 w 1490589"/>
                  <a:gd name="connsiteY95" fmla="*/ 438927 h 1522526"/>
                  <a:gd name="connsiteX96" fmla="*/ 347145 w 1490589"/>
                  <a:gd name="connsiteY96" fmla="*/ 476631 h 1522526"/>
                  <a:gd name="connsiteX97" fmla="*/ 353098 w 1490589"/>
                  <a:gd name="connsiteY97" fmla="*/ 514335 h 1522526"/>
                  <a:gd name="connsiteX98" fmla="*/ 363020 w 1490589"/>
                  <a:gd name="connsiteY98" fmla="*/ 571883 h 1522526"/>
                  <a:gd name="connsiteX99" fmla="*/ 386833 w 1490589"/>
                  <a:gd name="connsiteY99" fmla="*/ 665150 h 1522526"/>
                  <a:gd name="connsiteX100" fmla="*/ 412630 w 1490589"/>
                  <a:gd name="connsiteY100" fmla="*/ 686979 h 1522526"/>
                  <a:gd name="connsiteX101" fmla="*/ 428506 w 1490589"/>
                  <a:gd name="connsiteY101" fmla="*/ 728652 h 1522526"/>
                  <a:gd name="connsiteX102" fmla="*/ 466210 w 1490589"/>
                  <a:gd name="connsiteY102" fmla="*/ 802075 h 1522526"/>
                  <a:gd name="connsiteX103" fmla="*/ 482085 w 1490589"/>
                  <a:gd name="connsiteY103" fmla="*/ 847716 h 1522526"/>
                  <a:gd name="connsiteX104" fmla="*/ 438428 w 1490589"/>
                  <a:gd name="connsiteY104" fmla="*/ 859623 h 1522526"/>
                  <a:gd name="connsiteX105" fmla="*/ 374927 w 1490589"/>
                  <a:gd name="connsiteY105" fmla="*/ 867560 h 1522526"/>
                  <a:gd name="connsiteX106" fmla="*/ 317379 w 1490589"/>
                  <a:gd name="connsiteY106" fmla="*/ 853670 h 1522526"/>
                  <a:gd name="connsiteX107" fmla="*/ 291581 w 1490589"/>
                  <a:gd name="connsiteY107" fmla="*/ 810012 h 1522526"/>
                  <a:gd name="connsiteX108" fmla="*/ 279675 w 1490589"/>
                  <a:gd name="connsiteY108" fmla="*/ 732620 h 1522526"/>
                  <a:gd name="connsiteX109" fmla="*/ 283644 w 1490589"/>
                  <a:gd name="connsiteY109" fmla="*/ 631415 h 1522526"/>
                  <a:gd name="connsiteX110" fmla="*/ 315394 w 1490589"/>
                  <a:gd name="connsiteY110" fmla="*/ 415114 h 1522526"/>
                  <a:gd name="connsiteX111" fmla="*/ 388817 w 1490589"/>
                  <a:gd name="connsiteY111" fmla="*/ 194845 h 1522526"/>
                  <a:gd name="connsiteX112" fmla="*/ 450334 w 1490589"/>
                  <a:gd name="connsiteY112" fmla="*/ 93640 h 1522526"/>
                  <a:gd name="connsiteX113" fmla="*/ 509867 w 1490589"/>
                  <a:gd name="connsiteY113" fmla="*/ 44029 h 1522526"/>
                  <a:gd name="connsiteX114" fmla="*/ 563446 w 1490589"/>
                  <a:gd name="connsiteY114" fmla="*/ 36092 h 1522526"/>
                  <a:gd name="connsiteX115" fmla="*/ 609087 w 1490589"/>
                  <a:gd name="connsiteY115" fmla="*/ 4341 h 1522526"/>
                  <a:gd name="connsiteX116" fmla="*/ 651876 w 1490589"/>
                  <a:gd name="connsiteY116" fmla="*/ 0 h 1522526"/>
                  <a:gd name="connsiteX0" fmla="*/ 992965 w 1491247"/>
                  <a:gd name="connsiteY0" fmla="*/ 998817 h 1522526"/>
                  <a:gd name="connsiteX1" fmla="*/ 1003490 w 1491247"/>
                  <a:gd name="connsiteY1" fmla="*/ 1002500 h 1522526"/>
                  <a:gd name="connsiteX2" fmla="*/ 1110648 w 1491247"/>
                  <a:gd name="connsiteY2" fmla="*/ 1036732 h 1522526"/>
                  <a:gd name="connsiteX3" fmla="*/ 1319904 w 1491247"/>
                  <a:gd name="connsiteY3" fmla="*/ 1106981 h 1522526"/>
                  <a:gd name="connsiteX4" fmla="*/ 1387472 w 1491247"/>
                  <a:gd name="connsiteY4" fmla="*/ 1185265 h 1522526"/>
                  <a:gd name="connsiteX5" fmla="*/ 1487186 w 1491247"/>
                  <a:gd name="connsiteY5" fmla="*/ 1448990 h 1522526"/>
                  <a:gd name="connsiteX6" fmla="*/ 1177029 w 1491247"/>
                  <a:gd name="connsiteY6" fmla="*/ 1493045 h 1522526"/>
                  <a:gd name="connsiteX7" fmla="*/ 1132974 w 1491247"/>
                  <a:gd name="connsiteY7" fmla="*/ 1439469 h 1522526"/>
                  <a:gd name="connsiteX8" fmla="*/ 1151130 w 1491247"/>
                  <a:gd name="connsiteY8" fmla="*/ 1492451 h 1522526"/>
                  <a:gd name="connsiteX9" fmla="*/ 267073 w 1491247"/>
                  <a:gd name="connsiteY9" fmla="*/ 1497214 h 1522526"/>
                  <a:gd name="connsiteX10" fmla="*/ 250922 w 1491247"/>
                  <a:gd name="connsiteY10" fmla="*/ 1492951 h 1522526"/>
                  <a:gd name="connsiteX11" fmla="*/ 273457 w 1491247"/>
                  <a:gd name="connsiteY11" fmla="*/ 1446229 h 1522526"/>
                  <a:gd name="connsiteX12" fmla="*/ 221069 w 1491247"/>
                  <a:gd name="connsiteY12" fmla="*/ 1493854 h 1522526"/>
                  <a:gd name="connsiteX13" fmla="*/ 668 w 1491247"/>
                  <a:gd name="connsiteY13" fmla="*/ 1482327 h 1522526"/>
                  <a:gd name="connsiteX14" fmla="*/ 61391 w 1491247"/>
                  <a:gd name="connsiteY14" fmla="*/ 1223961 h 1522526"/>
                  <a:gd name="connsiteX15" fmla="*/ 92644 w 1491247"/>
                  <a:gd name="connsiteY15" fmla="*/ 1157285 h 1522526"/>
                  <a:gd name="connsiteX16" fmla="*/ 153665 w 1491247"/>
                  <a:gd name="connsiteY16" fmla="*/ 1120077 h 1522526"/>
                  <a:gd name="connsiteX17" fmla="*/ 251893 w 1491247"/>
                  <a:gd name="connsiteY17" fmla="*/ 1078404 h 1522526"/>
                  <a:gd name="connsiteX18" fmla="*/ 376911 w 1491247"/>
                  <a:gd name="connsiteY18" fmla="*/ 1029290 h 1522526"/>
                  <a:gd name="connsiteX19" fmla="*/ 410479 w 1491247"/>
                  <a:gd name="connsiteY19" fmla="*/ 1016502 h 1522526"/>
                  <a:gd name="connsiteX20" fmla="*/ 592543 w 1491247"/>
                  <a:gd name="connsiteY20" fmla="*/ 1272398 h 1522526"/>
                  <a:gd name="connsiteX21" fmla="*/ 763993 w 1491247"/>
                  <a:gd name="connsiteY21" fmla="*/ 1379555 h 1522526"/>
                  <a:gd name="connsiteX22" fmla="*/ 883056 w 1491247"/>
                  <a:gd name="connsiteY22" fmla="*/ 1243823 h 1522526"/>
                  <a:gd name="connsiteX23" fmla="*/ 992965 w 1491247"/>
                  <a:gd name="connsiteY23" fmla="*/ 998817 h 1522526"/>
                  <a:gd name="connsiteX24" fmla="*/ 856178 w 1491247"/>
                  <a:gd name="connsiteY24" fmla="*/ 852696 h 1522526"/>
                  <a:gd name="connsiteX25" fmla="*/ 851682 w 1491247"/>
                  <a:gd name="connsiteY25" fmla="*/ 923321 h 1522526"/>
                  <a:gd name="connsiteX26" fmla="*/ 959840 w 1491247"/>
                  <a:gd name="connsiteY26" fmla="*/ 978198 h 1522526"/>
                  <a:gd name="connsiteX27" fmla="*/ 885437 w 1491247"/>
                  <a:gd name="connsiteY27" fmla="*/ 1177148 h 1522526"/>
                  <a:gd name="connsiteX28" fmla="*/ 747325 w 1491247"/>
                  <a:gd name="connsiteY28" fmla="*/ 1341455 h 1522526"/>
                  <a:gd name="connsiteX29" fmla="*/ 556825 w 1491247"/>
                  <a:gd name="connsiteY29" fmla="*/ 1191436 h 1522526"/>
                  <a:gd name="connsiteX30" fmla="*/ 439913 w 1491247"/>
                  <a:gd name="connsiteY30" fmla="*/ 1004825 h 1522526"/>
                  <a:gd name="connsiteX31" fmla="*/ 551936 w 1491247"/>
                  <a:gd name="connsiteY31" fmla="*/ 931359 h 1522526"/>
                  <a:gd name="connsiteX32" fmla="*/ 550504 w 1491247"/>
                  <a:gd name="connsiteY32" fmla="*/ 858311 h 1522526"/>
                  <a:gd name="connsiteX33" fmla="*/ 621119 w 1491247"/>
                  <a:gd name="connsiteY33" fmla="*/ 900922 h 1522526"/>
                  <a:gd name="connsiteX34" fmla="*/ 728276 w 1491247"/>
                  <a:gd name="connsiteY34" fmla="*/ 915210 h 1522526"/>
                  <a:gd name="connsiteX35" fmla="*/ 821144 w 1491247"/>
                  <a:gd name="connsiteY35" fmla="*/ 874729 h 1522526"/>
                  <a:gd name="connsiteX36" fmla="*/ 856178 w 1491247"/>
                  <a:gd name="connsiteY36" fmla="*/ 852696 h 1522526"/>
                  <a:gd name="connsiteX37" fmla="*/ 1041767 w 1491247"/>
                  <a:gd name="connsiteY37" fmla="*/ 314309 h 1522526"/>
                  <a:gd name="connsiteX38" fmla="*/ 1048139 w 1491247"/>
                  <a:gd name="connsiteY38" fmla="*/ 320855 h 1522526"/>
                  <a:gd name="connsiteX39" fmla="*/ 1074929 w 1491247"/>
                  <a:gd name="connsiteY39" fmla="*/ 428013 h 1522526"/>
                  <a:gd name="connsiteX40" fmla="*/ 1101718 w 1491247"/>
                  <a:gd name="connsiteY40" fmla="*/ 569403 h 1522526"/>
                  <a:gd name="connsiteX41" fmla="*/ 1110648 w 1491247"/>
                  <a:gd name="connsiteY41" fmla="*/ 704839 h 1522526"/>
                  <a:gd name="connsiteX42" fmla="*/ 1107671 w 1491247"/>
                  <a:gd name="connsiteY42" fmla="*/ 789672 h 1522526"/>
                  <a:gd name="connsiteX43" fmla="*/ 1082370 w 1491247"/>
                  <a:gd name="connsiteY43" fmla="*/ 850693 h 1522526"/>
                  <a:gd name="connsiteX44" fmla="*/ 1036232 w 1491247"/>
                  <a:gd name="connsiteY44" fmla="*/ 859623 h 1522526"/>
                  <a:gd name="connsiteX45" fmla="*/ 963305 w 1491247"/>
                  <a:gd name="connsiteY45" fmla="*/ 853670 h 1522526"/>
                  <a:gd name="connsiteX46" fmla="*/ 908238 w 1491247"/>
                  <a:gd name="connsiteY46" fmla="*/ 834322 h 1522526"/>
                  <a:gd name="connsiteX47" fmla="*/ 915679 w 1491247"/>
                  <a:gd name="connsiteY47" fmla="*/ 813485 h 1522526"/>
                  <a:gd name="connsiteX48" fmla="*/ 945445 w 1491247"/>
                  <a:gd name="connsiteY48" fmla="*/ 773301 h 1522526"/>
                  <a:gd name="connsiteX49" fmla="*/ 973724 w 1491247"/>
                  <a:gd name="connsiteY49" fmla="*/ 704839 h 1522526"/>
                  <a:gd name="connsiteX50" fmla="*/ 979677 w 1491247"/>
                  <a:gd name="connsiteY50" fmla="*/ 675072 h 1522526"/>
                  <a:gd name="connsiteX51" fmla="*/ 997536 w 1491247"/>
                  <a:gd name="connsiteY51" fmla="*/ 655725 h 1522526"/>
                  <a:gd name="connsiteX52" fmla="*/ 1022838 w 1491247"/>
                  <a:gd name="connsiteY52" fmla="*/ 579821 h 1522526"/>
                  <a:gd name="connsiteX53" fmla="*/ 1040697 w 1491247"/>
                  <a:gd name="connsiteY53" fmla="*/ 499452 h 1522526"/>
                  <a:gd name="connsiteX54" fmla="*/ 1042186 w 1491247"/>
                  <a:gd name="connsiteY54" fmla="*/ 463733 h 1522526"/>
                  <a:gd name="connsiteX55" fmla="*/ 1025814 w 1491247"/>
                  <a:gd name="connsiteY55" fmla="*/ 430990 h 1522526"/>
                  <a:gd name="connsiteX56" fmla="*/ 1009443 w 1491247"/>
                  <a:gd name="connsiteY56" fmla="*/ 416107 h 1522526"/>
                  <a:gd name="connsiteX57" fmla="*/ 1006466 w 1491247"/>
                  <a:gd name="connsiteY57" fmla="*/ 386340 h 1522526"/>
                  <a:gd name="connsiteX58" fmla="*/ 1009443 w 1491247"/>
                  <a:gd name="connsiteY58" fmla="*/ 350621 h 1522526"/>
                  <a:gd name="connsiteX59" fmla="*/ 1024326 w 1491247"/>
                  <a:gd name="connsiteY59" fmla="*/ 328297 h 1522526"/>
                  <a:gd name="connsiteX60" fmla="*/ 1041767 w 1491247"/>
                  <a:gd name="connsiteY60" fmla="*/ 314309 h 1522526"/>
                  <a:gd name="connsiteX61" fmla="*/ 616358 w 1491247"/>
                  <a:gd name="connsiteY61" fmla="*/ 96060 h 1522526"/>
                  <a:gd name="connsiteX62" fmla="*/ 509202 w 1491247"/>
                  <a:gd name="connsiteY62" fmla="*/ 431816 h 1522526"/>
                  <a:gd name="connsiteX63" fmla="*/ 654458 w 1491247"/>
                  <a:gd name="connsiteY63" fmla="*/ 184165 h 1522526"/>
                  <a:gd name="connsiteX64" fmla="*/ 616358 w 1491247"/>
                  <a:gd name="connsiteY64" fmla="*/ 96060 h 1522526"/>
                  <a:gd name="connsiteX65" fmla="*/ 651876 w 1491247"/>
                  <a:gd name="connsiteY65" fmla="*/ 0 h 1522526"/>
                  <a:gd name="connsiteX66" fmla="*/ 696401 w 1491247"/>
                  <a:gd name="connsiteY66" fmla="*/ 372 h 1522526"/>
                  <a:gd name="connsiteX67" fmla="*/ 757918 w 1491247"/>
                  <a:gd name="connsiteY67" fmla="*/ 6326 h 1522526"/>
                  <a:gd name="connsiteX68" fmla="*/ 829357 w 1491247"/>
                  <a:gd name="connsiteY68" fmla="*/ 38076 h 1522526"/>
                  <a:gd name="connsiteX69" fmla="*/ 910718 w 1491247"/>
                  <a:gd name="connsiteY69" fmla="*/ 103562 h 1522526"/>
                  <a:gd name="connsiteX70" fmla="*/ 1005970 w 1491247"/>
                  <a:gd name="connsiteY70" fmla="*/ 216673 h 1522526"/>
                  <a:gd name="connsiteX71" fmla="*/ 1041689 w 1491247"/>
                  <a:gd name="connsiteY71" fmla="*/ 276206 h 1522526"/>
                  <a:gd name="connsiteX72" fmla="*/ 1025814 w 1491247"/>
                  <a:gd name="connsiteY72" fmla="*/ 313909 h 1522526"/>
                  <a:gd name="connsiteX73" fmla="*/ 992079 w 1491247"/>
                  <a:gd name="connsiteY73" fmla="*/ 331769 h 1522526"/>
                  <a:gd name="connsiteX74" fmla="*/ 968266 w 1491247"/>
                  <a:gd name="connsiteY74" fmla="*/ 311925 h 1522526"/>
                  <a:gd name="connsiteX75" fmla="*/ 914687 w 1491247"/>
                  <a:gd name="connsiteY75" fmla="*/ 256361 h 1522526"/>
                  <a:gd name="connsiteX76" fmla="*/ 819435 w 1491247"/>
                  <a:gd name="connsiteY76" fmla="*/ 210720 h 1522526"/>
                  <a:gd name="connsiteX77" fmla="*/ 716246 w 1491247"/>
                  <a:gd name="connsiteY77" fmla="*/ 210720 h 1522526"/>
                  <a:gd name="connsiteX78" fmla="*/ 850617 w 1491247"/>
                  <a:gd name="connsiteY78" fmla="*/ 240487 h 1522526"/>
                  <a:gd name="connsiteX79" fmla="*/ 916103 w 1491247"/>
                  <a:gd name="connsiteY79" fmla="*/ 279721 h 1522526"/>
                  <a:gd name="connsiteX80" fmla="*/ 978269 w 1491247"/>
                  <a:gd name="connsiteY80" fmla="*/ 344718 h 1522526"/>
                  <a:gd name="connsiteX81" fmla="*/ 969452 w 1491247"/>
                  <a:gd name="connsiteY81" fmla="*/ 378896 h 1522526"/>
                  <a:gd name="connsiteX82" fmla="*/ 969452 w 1491247"/>
                  <a:gd name="connsiteY82" fmla="*/ 451651 h 1522526"/>
                  <a:gd name="connsiteX83" fmla="*/ 1003488 w 1491247"/>
                  <a:gd name="connsiteY83" fmla="*/ 478628 h 1522526"/>
                  <a:gd name="connsiteX84" fmla="*/ 967232 w 1491247"/>
                  <a:gd name="connsiteY84" fmla="*/ 638035 h 1522526"/>
                  <a:gd name="connsiteX85" fmla="*/ 946515 w 1491247"/>
                  <a:gd name="connsiteY85" fmla="*/ 651932 h 1522526"/>
                  <a:gd name="connsiteX86" fmla="*/ 838644 w 1491247"/>
                  <a:gd name="connsiteY86" fmla="*/ 831290 h 1522526"/>
                  <a:gd name="connsiteX87" fmla="*/ 749707 w 1491247"/>
                  <a:gd name="connsiteY87" fmla="*/ 893779 h 1522526"/>
                  <a:gd name="connsiteX88" fmla="*/ 663982 w 1491247"/>
                  <a:gd name="connsiteY88" fmla="*/ 893779 h 1522526"/>
                  <a:gd name="connsiteX89" fmla="*/ 542921 w 1491247"/>
                  <a:gd name="connsiteY89" fmla="*/ 821966 h 1522526"/>
                  <a:gd name="connsiteX90" fmla="*/ 450782 w 1491247"/>
                  <a:gd name="connsiteY90" fmla="*/ 643758 h 1522526"/>
                  <a:gd name="connsiteX91" fmla="*/ 390111 w 1491247"/>
                  <a:gd name="connsiteY91" fmla="*/ 503970 h 1522526"/>
                  <a:gd name="connsiteX92" fmla="*/ 413787 w 1491247"/>
                  <a:gd name="connsiteY92" fmla="*/ 464730 h 1522526"/>
                  <a:gd name="connsiteX93" fmla="*/ 402973 w 1491247"/>
                  <a:gd name="connsiteY93" fmla="*/ 399317 h 1522526"/>
                  <a:gd name="connsiteX94" fmla="*/ 376911 w 1491247"/>
                  <a:gd name="connsiteY94" fmla="*/ 419083 h 1522526"/>
                  <a:gd name="connsiteX95" fmla="*/ 361036 w 1491247"/>
                  <a:gd name="connsiteY95" fmla="*/ 438927 h 1522526"/>
                  <a:gd name="connsiteX96" fmla="*/ 347145 w 1491247"/>
                  <a:gd name="connsiteY96" fmla="*/ 476631 h 1522526"/>
                  <a:gd name="connsiteX97" fmla="*/ 353098 w 1491247"/>
                  <a:gd name="connsiteY97" fmla="*/ 514335 h 1522526"/>
                  <a:gd name="connsiteX98" fmla="*/ 363020 w 1491247"/>
                  <a:gd name="connsiteY98" fmla="*/ 571883 h 1522526"/>
                  <a:gd name="connsiteX99" fmla="*/ 386833 w 1491247"/>
                  <a:gd name="connsiteY99" fmla="*/ 665150 h 1522526"/>
                  <a:gd name="connsiteX100" fmla="*/ 412630 w 1491247"/>
                  <a:gd name="connsiteY100" fmla="*/ 686979 h 1522526"/>
                  <a:gd name="connsiteX101" fmla="*/ 428506 w 1491247"/>
                  <a:gd name="connsiteY101" fmla="*/ 728652 h 1522526"/>
                  <a:gd name="connsiteX102" fmla="*/ 466210 w 1491247"/>
                  <a:gd name="connsiteY102" fmla="*/ 802075 h 1522526"/>
                  <a:gd name="connsiteX103" fmla="*/ 482085 w 1491247"/>
                  <a:gd name="connsiteY103" fmla="*/ 847716 h 1522526"/>
                  <a:gd name="connsiteX104" fmla="*/ 438428 w 1491247"/>
                  <a:gd name="connsiteY104" fmla="*/ 859623 h 1522526"/>
                  <a:gd name="connsiteX105" fmla="*/ 374927 w 1491247"/>
                  <a:gd name="connsiteY105" fmla="*/ 867560 h 1522526"/>
                  <a:gd name="connsiteX106" fmla="*/ 317379 w 1491247"/>
                  <a:gd name="connsiteY106" fmla="*/ 853670 h 1522526"/>
                  <a:gd name="connsiteX107" fmla="*/ 291581 w 1491247"/>
                  <a:gd name="connsiteY107" fmla="*/ 810012 h 1522526"/>
                  <a:gd name="connsiteX108" fmla="*/ 279675 w 1491247"/>
                  <a:gd name="connsiteY108" fmla="*/ 732620 h 1522526"/>
                  <a:gd name="connsiteX109" fmla="*/ 283644 w 1491247"/>
                  <a:gd name="connsiteY109" fmla="*/ 631415 h 1522526"/>
                  <a:gd name="connsiteX110" fmla="*/ 315394 w 1491247"/>
                  <a:gd name="connsiteY110" fmla="*/ 415114 h 1522526"/>
                  <a:gd name="connsiteX111" fmla="*/ 388817 w 1491247"/>
                  <a:gd name="connsiteY111" fmla="*/ 194845 h 1522526"/>
                  <a:gd name="connsiteX112" fmla="*/ 450334 w 1491247"/>
                  <a:gd name="connsiteY112" fmla="*/ 93640 h 1522526"/>
                  <a:gd name="connsiteX113" fmla="*/ 509867 w 1491247"/>
                  <a:gd name="connsiteY113" fmla="*/ 44029 h 1522526"/>
                  <a:gd name="connsiteX114" fmla="*/ 563446 w 1491247"/>
                  <a:gd name="connsiteY114" fmla="*/ 36092 h 1522526"/>
                  <a:gd name="connsiteX115" fmla="*/ 609087 w 1491247"/>
                  <a:gd name="connsiteY115" fmla="*/ 4341 h 1522526"/>
                  <a:gd name="connsiteX116" fmla="*/ 651876 w 1491247"/>
                  <a:gd name="connsiteY116" fmla="*/ 0 h 1522526"/>
                  <a:gd name="connsiteX0" fmla="*/ 992965 w 1487186"/>
                  <a:gd name="connsiteY0" fmla="*/ 998817 h 1522526"/>
                  <a:gd name="connsiteX1" fmla="*/ 1003490 w 1487186"/>
                  <a:gd name="connsiteY1" fmla="*/ 1002500 h 1522526"/>
                  <a:gd name="connsiteX2" fmla="*/ 1110648 w 1487186"/>
                  <a:gd name="connsiteY2" fmla="*/ 1036732 h 1522526"/>
                  <a:gd name="connsiteX3" fmla="*/ 1319904 w 1487186"/>
                  <a:gd name="connsiteY3" fmla="*/ 1106981 h 1522526"/>
                  <a:gd name="connsiteX4" fmla="*/ 1387472 w 1487186"/>
                  <a:gd name="connsiteY4" fmla="*/ 1185265 h 1522526"/>
                  <a:gd name="connsiteX5" fmla="*/ 1487186 w 1487186"/>
                  <a:gd name="connsiteY5" fmla="*/ 1448990 h 1522526"/>
                  <a:gd name="connsiteX6" fmla="*/ 1177029 w 1487186"/>
                  <a:gd name="connsiteY6" fmla="*/ 1493045 h 1522526"/>
                  <a:gd name="connsiteX7" fmla="*/ 1132974 w 1487186"/>
                  <a:gd name="connsiteY7" fmla="*/ 1439469 h 1522526"/>
                  <a:gd name="connsiteX8" fmla="*/ 1151130 w 1487186"/>
                  <a:gd name="connsiteY8" fmla="*/ 1492451 h 1522526"/>
                  <a:gd name="connsiteX9" fmla="*/ 267073 w 1487186"/>
                  <a:gd name="connsiteY9" fmla="*/ 1497214 h 1522526"/>
                  <a:gd name="connsiteX10" fmla="*/ 250922 w 1487186"/>
                  <a:gd name="connsiteY10" fmla="*/ 1492951 h 1522526"/>
                  <a:gd name="connsiteX11" fmla="*/ 273457 w 1487186"/>
                  <a:gd name="connsiteY11" fmla="*/ 1446229 h 1522526"/>
                  <a:gd name="connsiteX12" fmla="*/ 221069 w 1487186"/>
                  <a:gd name="connsiteY12" fmla="*/ 1493854 h 1522526"/>
                  <a:gd name="connsiteX13" fmla="*/ 668 w 1487186"/>
                  <a:gd name="connsiteY13" fmla="*/ 1482327 h 1522526"/>
                  <a:gd name="connsiteX14" fmla="*/ 61391 w 1487186"/>
                  <a:gd name="connsiteY14" fmla="*/ 1223961 h 1522526"/>
                  <a:gd name="connsiteX15" fmla="*/ 92644 w 1487186"/>
                  <a:gd name="connsiteY15" fmla="*/ 1157285 h 1522526"/>
                  <a:gd name="connsiteX16" fmla="*/ 153665 w 1487186"/>
                  <a:gd name="connsiteY16" fmla="*/ 1120077 h 1522526"/>
                  <a:gd name="connsiteX17" fmla="*/ 251893 w 1487186"/>
                  <a:gd name="connsiteY17" fmla="*/ 1078404 h 1522526"/>
                  <a:gd name="connsiteX18" fmla="*/ 376911 w 1487186"/>
                  <a:gd name="connsiteY18" fmla="*/ 1029290 h 1522526"/>
                  <a:gd name="connsiteX19" fmla="*/ 410479 w 1487186"/>
                  <a:gd name="connsiteY19" fmla="*/ 1016502 h 1522526"/>
                  <a:gd name="connsiteX20" fmla="*/ 592543 w 1487186"/>
                  <a:gd name="connsiteY20" fmla="*/ 1272398 h 1522526"/>
                  <a:gd name="connsiteX21" fmla="*/ 763993 w 1487186"/>
                  <a:gd name="connsiteY21" fmla="*/ 1379555 h 1522526"/>
                  <a:gd name="connsiteX22" fmla="*/ 883056 w 1487186"/>
                  <a:gd name="connsiteY22" fmla="*/ 1243823 h 1522526"/>
                  <a:gd name="connsiteX23" fmla="*/ 992965 w 1487186"/>
                  <a:gd name="connsiteY23" fmla="*/ 998817 h 1522526"/>
                  <a:gd name="connsiteX24" fmla="*/ 856178 w 1487186"/>
                  <a:gd name="connsiteY24" fmla="*/ 852696 h 1522526"/>
                  <a:gd name="connsiteX25" fmla="*/ 851682 w 1487186"/>
                  <a:gd name="connsiteY25" fmla="*/ 923321 h 1522526"/>
                  <a:gd name="connsiteX26" fmla="*/ 959840 w 1487186"/>
                  <a:gd name="connsiteY26" fmla="*/ 978198 h 1522526"/>
                  <a:gd name="connsiteX27" fmla="*/ 885437 w 1487186"/>
                  <a:gd name="connsiteY27" fmla="*/ 1177148 h 1522526"/>
                  <a:gd name="connsiteX28" fmla="*/ 747325 w 1487186"/>
                  <a:gd name="connsiteY28" fmla="*/ 1341455 h 1522526"/>
                  <a:gd name="connsiteX29" fmla="*/ 556825 w 1487186"/>
                  <a:gd name="connsiteY29" fmla="*/ 1191436 h 1522526"/>
                  <a:gd name="connsiteX30" fmla="*/ 439913 w 1487186"/>
                  <a:gd name="connsiteY30" fmla="*/ 1004825 h 1522526"/>
                  <a:gd name="connsiteX31" fmla="*/ 551936 w 1487186"/>
                  <a:gd name="connsiteY31" fmla="*/ 931359 h 1522526"/>
                  <a:gd name="connsiteX32" fmla="*/ 550504 w 1487186"/>
                  <a:gd name="connsiteY32" fmla="*/ 858311 h 1522526"/>
                  <a:gd name="connsiteX33" fmla="*/ 621119 w 1487186"/>
                  <a:gd name="connsiteY33" fmla="*/ 900922 h 1522526"/>
                  <a:gd name="connsiteX34" fmla="*/ 728276 w 1487186"/>
                  <a:gd name="connsiteY34" fmla="*/ 915210 h 1522526"/>
                  <a:gd name="connsiteX35" fmla="*/ 821144 w 1487186"/>
                  <a:gd name="connsiteY35" fmla="*/ 874729 h 1522526"/>
                  <a:gd name="connsiteX36" fmla="*/ 856178 w 1487186"/>
                  <a:gd name="connsiteY36" fmla="*/ 852696 h 1522526"/>
                  <a:gd name="connsiteX37" fmla="*/ 1041767 w 1487186"/>
                  <a:gd name="connsiteY37" fmla="*/ 314309 h 1522526"/>
                  <a:gd name="connsiteX38" fmla="*/ 1048139 w 1487186"/>
                  <a:gd name="connsiteY38" fmla="*/ 320855 h 1522526"/>
                  <a:gd name="connsiteX39" fmla="*/ 1074929 w 1487186"/>
                  <a:gd name="connsiteY39" fmla="*/ 428013 h 1522526"/>
                  <a:gd name="connsiteX40" fmla="*/ 1101718 w 1487186"/>
                  <a:gd name="connsiteY40" fmla="*/ 569403 h 1522526"/>
                  <a:gd name="connsiteX41" fmla="*/ 1110648 w 1487186"/>
                  <a:gd name="connsiteY41" fmla="*/ 704839 h 1522526"/>
                  <a:gd name="connsiteX42" fmla="*/ 1107671 w 1487186"/>
                  <a:gd name="connsiteY42" fmla="*/ 789672 h 1522526"/>
                  <a:gd name="connsiteX43" fmla="*/ 1082370 w 1487186"/>
                  <a:gd name="connsiteY43" fmla="*/ 850693 h 1522526"/>
                  <a:gd name="connsiteX44" fmla="*/ 1036232 w 1487186"/>
                  <a:gd name="connsiteY44" fmla="*/ 859623 h 1522526"/>
                  <a:gd name="connsiteX45" fmla="*/ 963305 w 1487186"/>
                  <a:gd name="connsiteY45" fmla="*/ 853670 h 1522526"/>
                  <a:gd name="connsiteX46" fmla="*/ 908238 w 1487186"/>
                  <a:gd name="connsiteY46" fmla="*/ 834322 h 1522526"/>
                  <a:gd name="connsiteX47" fmla="*/ 915679 w 1487186"/>
                  <a:gd name="connsiteY47" fmla="*/ 813485 h 1522526"/>
                  <a:gd name="connsiteX48" fmla="*/ 945445 w 1487186"/>
                  <a:gd name="connsiteY48" fmla="*/ 773301 h 1522526"/>
                  <a:gd name="connsiteX49" fmla="*/ 973724 w 1487186"/>
                  <a:gd name="connsiteY49" fmla="*/ 704839 h 1522526"/>
                  <a:gd name="connsiteX50" fmla="*/ 979677 w 1487186"/>
                  <a:gd name="connsiteY50" fmla="*/ 675072 h 1522526"/>
                  <a:gd name="connsiteX51" fmla="*/ 997536 w 1487186"/>
                  <a:gd name="connsiteY51" fmla="*/ 655725 h 1522526"/>
                  <a:gd name="connsiteX52" fmla="*/ 1022838 w 1487186"/>
                  <a:gd name="connsiteY52" fmla="*/ 579821 h 1522526"/>
                  <a:gd name="connsiteX53" fmla="*/ 1040697 w 1487186"/>
                  <a:gd name="connsiteY53" fmla="*/ 499452 h 1522526"/>
                  <a:gd name="connsiteX54" fmla="*/ 1042186 w 1487186"/>
                  <a:gd name="connsiteY54" fmla="*/ 463733 h 1522526"/>
                  <a:gd name="connsiteX55" fmla="*/ 1025814 w 1487186"/>
                  <a:gd name="connsiteY55" fmla="*/ 430990 h 1522526"/>
                  <a:gd name="connsiteX56" fmla="*/ 1009443 w 1487186"/>
                  <a:gd name="connsiteY56" fmla="*/ 416107 h 1522526"/>
                  <a:gd name="connsiteX57" fmla="*/ 1006466 w 1487186"/>
                  <a:gd name="connsiteY57" fmla="*/ 386340 h 1522526"/>
                  <a:gd name="connsiteX58" fmla="*/ 1009443 w 1487186"/>
                  <a:gd name="connsiteY58" fmla="*/ 350621 h 1522526"/>
                  <a:gd name="connsiteX59" fmla="*/ 1024326 w 1487186"/>
                  <a:gd name="connsiteY59" fmla="*/ 328297 h 1522526"/>
                  <a:gd name="connsiteX60" fmla="*/ 1041767 w 1487186"/>
                  <a:gd name="connsiteY60" fmla="*/ 314309 h 1522526"/>
                  <a:gd name="connsiteX61" fmla="*/ 616358 w 1487186"/>
                  <a:gd name="connsiteY61" fmla="*/ 96060 h 1522526"/>
                  <a:gd name="connsiteX62" fmla="*/ 509202 w 1487186"/>
                  <a:gd name="connsiteY62" fmla="*/ 431816 h 1522526"/>
                  <a:gd name="connsiteX63" fmla="*/ 654458 w 1487186"/>
                  <a:gd name="connsiteY63" fmla="*/ 184165 h 1522526"/>
                  <a:gd name="connsiteX64" fmla="*/ 616358 w 1487186"/>
                  <a:gd name="connsiteY64" fmla="*/ 96060 h 1522526"/>
                  <a:gd name="connsiteX65" fmla="*/ 651876 w 1487186"/>
                  <a:gd name="connsiteY65" fmla="*/ 0 h 1522526"/>
                  <a:gd name="connsiteX66" fmla="*/ 696401 w 1487186"/>
                  <a:gd name="connsiteY66" fmla="*/ 372 h 1522526"/>
                  <a:gd name="connsiteX67" fmla="*/ 757918 w 1487186"/>
                  <a:gd name="connsiteY67" fmla="*/ 6326 h 1522526"/>
                  <a:gd name="connsiteX68" fmla="*/ 829357 w 1487186"/>
                  <a:gd name="connsiteY68" fmla="*/ 38076 h 1522526"/>
                  <a:gd name="connsiteX69" fmla="*/ 910718 w 1487186"/>
                  <a:gd name="connsiteY69" fmla="*/ 103562 h 1522526"/>
                  <a:gd name="connsiteX70" fmla="*/ 1005970 w 1487186"/>
                  <a:gd name="connsiteY70" fmla="*/ 216673 h 1522526"/>
                  <a:gd name="connsiteX71" fmla="*/ 1041689 w 1487186"/>
                  <a:gd name="connsiteY71" fmla="*/ 276206 h 1522526"/>
                  <a:gd name="connsiteX72" fmla="*/ 1025814 w 1487186"/>
                  <a:gd name="connsiteY72" fmla="*/ 313909 h 1522526"/>
                  <a:gd name="connsiteX73" fmla="*/ 992079 w 1487186"/>
                  <a:gd name="connsiteY73" fmla="*/ 331769 h 1522526"/>
                  <a:gd name="connsiteX74" fmla="*/ 968266 w 1487186"/>
                  <a:gd name="connsiteY74" fmla="*/ 311925 h 1522526"/>
                  <a:gd name="connsiteX75" fmla="*/ 914687 w 1487186"/>
                  <a:gd name="connsiteY75" fmla="*/ 256361 h 1522526"/>
                  <a:gd name="connsiteX76" fmla="*/ 819435 w 1487186"/>
                  <a:gd name="connsiteY76" fmla="*/ 210720 h 1522526"/>
                  <a:gd name="connsiteX77" fmla="*/ 716246 w 1487186"/>
                  <a:gd name="connsiteY77" fmla="*/ 210720 h 1522526"/>
                  <a:gd name="connsiteX78" fmla="*/ 850617 w 1487186"/>
                  <a:gd name="connsiteY78" fmla="*/ 240487 h 1522526"/>
                  <a:gd name="connsiteX79" fmla="*/ 916103 w 1487186"/>
                  <a:gd name="connsiteY79" fmla="*/ 279721 h 1522526"/>
                  <a:gd name="connsiteX80" fmla="*/ 978269 w 1487186"/>
                  <a:gd name="connsiteY80" fmla="*/ 344718 h 1522526"/>
                  <a:gd name="connsiteX81" fmla="*/ 969452 w 1487186"/>
                  <a:gd name="connsiteY81" fmla="*/ 378896 h 1522526"/>
                  <a:gd name="connsiteX82" fmla="*/ 969452 w 1487186"/>
                  <a:gd name="connsiteY82" fmla="*/ 451651 h 1522526"/>
                  <a:gd name="connsiteX83" fmla="*/ 1003488 w 1487186"/>
                  <a:gd name="connsiteY83" fmla="*/ 478628 h 1522526"/>
                  <a:gd name="connsiteX84" fmla="*/ 967232 w 1487186"/>
                  <a:gd name="connsiteY84" fmla="*/ 638035 h 1522526"/>
                  <a:gd name="connsiteX85" fmla="*/ 946515 w 1487186"/>
                  <a:gd name="connsiteY85" fmla="*/ 651932 h 1522526"/>
                  <a:gd name="connsiteX86" fmla="*/ 838644 w 1487186"/>
                  <a:gd name="connsiteY86" fmla="*/ 831290 h 1522526"/>
                  <a:gd name="connsiteX87" fmla="*/ 749707 w 1487186"/>
                  <a:gd name="connsiteY87" fmla="*/ 893779 h 1522526"/>
                  <a:gd name="connsiteX88" fmla="*/ 663982 w 1487186"/>
                  <a:gd name="connsiteY88" fmla="*/ 893779 h 1522526"/>
                  <a:gd name="connsiteX89" fmla="*/ 542921 w 1487186"/>
                  <a:gd name="connsiteY89" fmla="*/ 821966 h 1522526"/>
                  <a:gd name="connsiteX90" fmla="*/ 450782 w 1487186"/>
                  <a:gd name="connsiteY90" fmla="*/ 643758 h 1522526"/>
                  <a:gd name="connsiteX91" fmla="*/ 390111 w 1487186"/>
                  <a:gd name="connsiteY91" fmla="*/ 503970 h 1522526"/>
                  <a:gd name="connsiteX92" fmla="*/ 413787 w 1487186"/>
                  <a:gd name="connsiteY92" fmla="*/ 464730 h 1522526"/>
                  <a:gd name="connsiteX93" fmla="*/ 402973 w 1487186"/>
                  <a:gd name="connsiteY93" fmla="*/ 399317 h 1522526"/>
                  <a:gd name="connsiteX94" fmla="*/ 376911 w 1487186"/>
                  <a:gd name="connsiteY94" fmla="*/ 419083 h 1522526"/>
                  <a:gd name="connsiteX95" fmla="*/ 361036 w 1487186"/>
                  <a:gd name="connsiteY95" fmla="*/ 438927 h 1522526"/>
                  <a:gd name="connsiteX96" fmla="*/ 347145 w 1487186"/>
                  <a:gd name="connsiteY96" fmla="*/ 476631 h 1522526"/>
                  <a:gd name="connsiteX97" fmla="*/ 353098 w 1487186"/>
                  <a:gd name="connsiteY97" fmla="*/ 514335 h 1522526"/>
                  <a:gd name="connsiteX98" fmla="*/ 363020 w 1487186"/>
                  <a:gd name="connsiteY98" fmla="*/ 571883 h 1522526"/>
                  <a:gd name="connsiteX99" fmla="*/ 386833 w 1487186"/>
                  <a:gd name="connsiteY99" fmla="*/ 665150 h 1522526"/>
                  <a:gd name="connsiteX100" fmla="*/ 412630 w 1487186"/>
                  <a:gd name="connsiteY100" fmla="*/ 686979 h 1522526"/>
                  <a:gd name="connsiteX101" fmla="*/ 428506 w 1487186"/>
                  <a:gd name="connsiteY101" fmla="*/ 728652 h 1522526"/>
                  <a:gd name="connsiteX102" fmla="*/ 466210 w 1487186"/>
                  <a:gd name="connsiteY102" fmla="*/ 802075 h 1522526"/>
                  <a:gd name="connsiteX103" fmla="*/ 482085 w 1487186"/>
                  <a:gd name="connsiteY103" fmla="*/ 847716 h 1522526"/>
                  <a:gd name="connsiteX104" fmla="*/ 438428 w 1487186"/>
                  <a:gd name="connsiteY104" fmla="*/ 859623 h 1522526"/>
                  <a:gd name="connsiteX105" fmla="*/ 374927 w 1487186"/>
                  <a:gd name="connsiteY105" fmla="*/ 867560 h 1522526"/>
                  <a:gd name="connsiteX106" fmla="*/ 317379 w 1487186"/>
                  <a:gd name="connsiteY106" fmla="*/ 853670 h 1522526"/>
                  <a:gd name="connsiteX107" fmla="*/ 291581 w 1487186"/>
                  <a:gd name="connsiteY107" fmla="*/ 810012 h 1522526"/>
                  <a:gd name="connsiteX108" fmla="*/ 279675 w 1487186"/>
                  <a:gd name="connsiteY108" fmla="*/ 732620 h 1522526"/>
                  <a:gd name="connsiteX109" fmla="*/ 283644 w 1487186"/>
                  <a:gd name="connsiteY109" fmla="*/ 631415 h 1522526"/>
                  <a:gd name="connsiteX110" fmla="*/ 315394 w 1487186"/>
                  <a:gd name="connsiteY110" fmla="*/ 415114 h 1522526"/>
                  <a:gd name="connsiteX111" fmla="*/ 388817 w 1487186"/>
                  <a:gd name="connsiteY111" fmla="*/ 194845 h 1522526"/>
                  <a:gd name="connsiteX112" fmla="*/ 450334 w 1487186"/>
                  <a:gd name="connsiteY112" fmla="*/ 93640 h 1522526"/>
                  <a:gd name="connsiteX113" fmla="*/ 509867 w 1487186"/>
                  <a:gd name="connsiteY113" fmla="*/ 44029 h 1522526"/>
                  <a:gd name="connsiteX114" fmla="*/ 563446 w 1487186"/>
                  <a:gd name="connsiteY114" fmla="*/ 36092 h 1522526"/>
                  <a:gd name="connsiteX115" fmla="*/ 609087 w 1487186"/>
                  <a:gd name="connsiteY115" fmla="*/ 4341 h 1522526"/>
                  <a:gd name="connsiteX116" fmla="*/ 651876 w 1487186"/>
                  <a:gd name="connsiteY116" fmla="*/ 0 h 1522526"/>
                  <a:gd name="connsiteX0" fmla="*/ 1056847 w 1551068"/>
                  <a:gd name="connsiteY0" fmla="*/ 998817 h 1522526"/>
                  <a:gd name="connsiteX1" fmla="*/ 1067372 w 1551068"/>
                  <a:gd name="connsiteY1" fmla="*/ 1002500 h 1522526"/>
                  <a:gd name="connsiteX2" fmla="*/ 1174530 w 1551068"/>
                  <a:gd name="connsiteY2" fmla="*/ 1036732 h 1522526"/>
                  <a:gd name="connsiteX3" fmla="*/ 1383786 w 1551068"/>
                  <a:gd name="connsiteY3" fmla="*/ 1106981 h 1522526"/>
                  <a:gd name="connsiteX4" fmla="*/ 1451354 w 1551068"/>
                  <a:gd name="connsiteY4" fmla="*/ 1185265 h 1522526"/>
                  <a:gd name="connsiteX5" fmla="*/ 1551068 w 1551068"/>
                  <a:gd name="connsiteY5" fmla="*/ 1448990 h 1522526"/>
                  <a:gd name="connsiteX6" fmla="*/ 1240911 w 1551068"/>
                  <a:gd name="connsiteY6" fmla="*/ 1493045 h 1522526"/>
                  <a:gd name="connsiteX7" fmla="*/ 1196856 w 1551068"/>
                  <a:gd name="connsiteY7" fmla="*/ 1439469 h 1522526"/>
                  <a:gd name="connsiteX8" fmla="*/ 1215012 w 1551068"/>
                  <a:gd name="connsiteY8" fmla="*/ 1492451 h 1522526"/>
                  <a:gd name="connsiteX9" fmla="*/ 330955 w 1551068"/>
                  <a:gd name="connsiteY9" fmla="*/ 1497214 h 1522526"/>
                  <a:gd name="connsiteX10" fmla="*/ 314804 w 1551068"/>
                  <a:gd name="connsiteY10" fmla="*/ 1492951 h 1522526"/>
                  <a:gd name="connsiteX11" fmla="*/ 337339 w 1551068"/>
                  <a:gd name="connsiteY11" fmla="*/ 1446229 h 1522526"/>
                  <a:gd name="connsiteX12" fmla="*/ 284951 w 1551068"/>
                  <a:gd name="connsiteY12" fmla="*/ 1493854 h 1522526"/>
                  <a:gd name="connsiteX13" fmla="*/ 256 w 1551068"/>
                  <a:gd name="connsiteY13" fmla="*/ 1482327 h 1522526"/>
                  <a:gd name="connsiteX14" fmla="*/ 125273 w 1551068"/>
                  <a:gd name="connsiteY14" fmla="*/ 1223961 h 1522526"/>
                  <a:gd name="connsiteX15" fmla="*/ 156526 w 1551068"/>
                  <a:gd name="connsiteY15" fmla="*/ 1157285 h 1522526"/>
                  <a:gd name="connsiteX16" fmla="*/ 217547 w 1551068"/>
                  <a:gd name="connsiteY16" fmla="*/ 1120077 h 1522526"/>
                  <a:gd name="connsiteX17" fmla="*/ 315775 w 1551068"/>
                  <a:gd name="connsiteY17" fmla="*/ 1078404 h 1522526"/>
                  <a:gd name="connsiteX18" fmla="*/ 440793 w 1551068"/>
                  <a:gd name="connsiteY18" fmla="*/ 1029290 h 1522526"/>
                  <a:gd name="connsiteX19" fmla="*/ 474361 w 1551068"/>
                  <a:gd name="connsiteY19" fmla="*/ 1016502 h 1522526"/>
                  <a:gd name="connsiteX20" fmla="*/ 656425 w 1551068"/>
                  <a:gd name="connsiteY20" fmla="*/ 1272398 h 1522526"/>
                  <a:gd name="connsiteX21" fmla="*/ 827875 w 1551068"/>
                  <a:gd name="connsiteY21" fmla="*/ 1379555 h 1522526"/>
                  <a:gd name="connsiteX22" fmla="*/ 946938 w 1551068"/>
                  <a:gd name="connsiteY22" fmla="*/ 1243823 h 1522526"/>
                  <a:gd name="connsiteX23" fmla="*/ 1056847 w 1551068"/>
                  <a:gd name="connsiteY23" fmla="*/ 998817 h 1522526"/>
                  <a:gd name="connsiteX24" fmla="*/ 920060 w 1551068"/>
                  <a:gd name="connsiteY24" fmla="*/ 852696 h 1522526"/>
                  <a:gd name="connsiteX25" fmla="*/ 915564 w 1551068"/>
                  <a:gd name="connsiteY25" fmla="*/ 923321 h 1522526"/>
                  <a:gd name="connsiteX26" fmla="*/ 1023722 w 1551068"/>
                  <a:gd name="connsiteY26" fmla="*/ 978198 h 1522526"/>
                  <a:gd name="connsiteX27" fmla="*/ 949319 w 1551068"/>
                  <a:gd name="connsiteY27" fmla="*/ 1177148 h 1522526"/>
                  <a:gd name="connsiteX28" fmla="*/ 811207 w 1551068"/>
                  <a:gd name="connsiteY28" fmla="*/ 1341455 h 1522526"/>
                  <a:gd name="connsiteX29" fmla="*/ 620707 w 1551068"/>
                  <a:gd name="connsiteY29" fmla="*/ 1191436 h 1522526"/>
                  <a:gd name="connsiteX30" fmla="*/ 503795 w 1551068"/>
                  <a:gd name="connsiteY30" fmla="*/ 1004825 h 1522526"/>
                  <a:gd name="connsiteX31" fmla="*/ 615818 w 1551068"/>
                  <a:gd name="connsiteY31" fmla="*/ 931359 h 1522526"/>
                  <a:gd name="connsiteX32" fmla="*/ 614386 w 1551068"/>
                  <a:gd name="connsiteY32" fmla="*/ 858311 h 1522526"/>
                  <a:gd name="connsiteX33" fmla="*/ 685001 w 1551068"/>
                  <a:gd name="connsiteY33" fmla="*/ 900922 h 1522526"/>
                  <a:gd name="connsiteX34" fmla="*/ 792158 w 1551068"/>
                  <a:gd name="connsiteY34" fmla="*/ 915210 h 1522526"/>
                  <a:gd name="connsiteX35" fmla="*/ 885026 w 1551068"/>
                  <a:gd name="connsiteY35" fmla="*/ 874729 h 1522526"/>
                  <a:gd name="connsiteX36" fmla="*/ 920060 w 1551068"/>
                  <a:gd name="connsiteY36" fmla="*/ 852696 h 1522526"/>
                  <a:gd name="connsiteX37" fmla="*/ 1105649 w 1551068"/>
                  <a:gd name="connsiteY37" fmla="*/ 314309 h 1522526"/>
                  <a:gd name="connsiteX38" fmla="*/ 1112021 w 1551068"/>
                  <a:gd name="connsiteY38" fmla="*/ 320855 h 1522526"/>
                  <a:gd name="connsiteX39" fmla="*/ 1138811 w 1551068"/>
                  <a:gd name="connsiteY39" fmla="*/ 428013 h 1522526"/>
                  <a:gd name="connsiteX40" fmla="*/ 1165600 w 1551068"/>
                  <a:gd name="connsiteY40" fmla="*/ 569403 h 1522526"/>
                  <a:gd name="connsiteX41" fmla="*/ 1174530 w 1551068"/>
                  <a:gd name="connsiteY41" fmla="*/ 704839 h 1522526"/>
                  <a:gd name="connsiteX42" fmla="*/ 1171553 w 1551068"/>
                  <a:gd name="connsiteY42" fmla="*/ 789672 h 1522526"/>
                  <a:gd name="connsiteX43" fmla="*/ 1146252 w 1551068"/>
                  <a:gd name="connsiteY43" fmla="*/ 850693 h 1522526"/>
                  <a:gd name="connsiteX44" fmla="*/ 1100114 w 1551068"/>
                  <a:gd name="connsiteY44" fmla="*/ 859623 h 1522526"/>
                  <a:gd name="connsiteX45" fmla="*/ 1027187 w 1551068"/>
                  <a:gd name="connsiteY45" fmla="*/ 853670 h 1522526"/>
                  <a:gd name="connsiteX46" fmla="*/ 972120 w 1551068"/>
                  <a:gd name="connsiteY46" fmla="*/ 834322 h 1522526"/>
                  <a:gd name="connsiteX47" fmla="*/ 979561 w 1551068"/>
                  <a:gd name="connsiteY47" fmla="*/ 813485 h 1522526"/>
                  <a:gd name="connsiteX48" fmla="*/ 1009327 w 1551068"/>
                  <a:gd name="connsiteY48" fmla="*/ 773301 h 1522526"/>
                  <a:gd name="connsiteX49" fmla="*/ 1037606 w 1551068"/>
                  <a:gd name="connsiteY49" fmla="*/ 704839 h 1522526"/>
                  <a:gd name="connsiteX50" fmla="*/ 1043559 w 1551068"/>
                  <a:gd name="connsiteY50" fmla="*/ 675072 h 1522526"/>
                  <a:gd name="connsiteX51" fmla="*/ 1061418 w 1551068"/>
                  <a:gd name="connsiteY51" fmla="*/ 655725 h 1522526"/>
                  <a:gd name="connsiteX52" fmla="*/ 1086720 w 1551068"/>
                  <a:gd name="connsiteY52" fmla="*/ 579821 h 1522526"/>
                  <a:gd name="connsiteX53" fmla="*/ 1104579 w 1551068"/>
                  <a:gd name="connsiteY53" fmla="*/ 499452 h 1522526"/>
                  <a:gd name="connsiteX54" fmla="*/ 1106068 w 1551068"/>
                  <a:gd name="connsiteY54" fmla="*/ 463733 h 1522526"/>
                  <a:gd name="connsiteX55" fmla="*/ 1089696 w 1551068"/>
                  <a:gd name="connsiteY55" fmla="*/ 430990 h 1522526"/>
                  <a:gd name="connsiteX56" fmla="*/ 1073325 w 1551068"/>
                  <a:gd name="connsiteY56" fmla="*/ 416107 h 1522526"/>
                  <a:gd name="connsiteX57" fmla="*/ 1070348 w 1551068"/>
                  <a:gd name="connsiteY57" fmla="*/ 386340 h 1522526"/>
                  <a:gd name="connsiteX58" fmla="*/ 1073325 w 1551068"/>
                  <a:gd name="connsiteY58" fmla="*/ 350621 h 1522526"/>
                  <a:gd name="connsiteX59" fmla="*/ 1088208 w 1551068"/>
                  <a:gd name="connsiteY59" fmla="*/ 328297 h 1522526"/>
                  <a:gd name="connsiteX60" fmla="*/ 1105649 w 1551068"/>
                  <a:gd name="connsiteY60" fmla="*/ 314309 h 1522526"/>
                  <a:gd name="connsiteX61" fmla="*/ 680240 w 1551068"/>
                  <a:gd name="connsiteY61" fmla="*/ 96060 h 1522526"/>
                  <a:gd name="connsiteX62" fmla="*/ 573084 w 1551068"/>
                  <a:gd name="connsiteY62" fmla="*/ 431816 h 1522526"/>
                  <a:gd name="connsiteX63" fmla="*/ 718340 w 1551068"/>
                  <a:gd name="connsiteY63" fmla="*/ 184165 h 1522526"/>
                  <a:gd name="connsiteX64" fmla="*/ 680240 w 1551068"/>
                  <a:gd name="connsiteY64" fmla="*/ 96060 h 1522526"/>
                  <a:gd name="connsiteX65" fmla="*/ 715758 w 1551068"/>
                  <a:gd name="connsiteY65" fmla="*/ 0 h 1522526"/>
                  <a:gd name="connsiteX66" fmla="*/ 760283 w 1551068"/>
                  <a:gd name="connsiteY66" fmla="*/ 372 h 1522526"/>
                  <a:gd name="connsiteX67" fmla="*/ 821800 w 1551068"/>
                  <a:gd name="connsiteY67" fmla="*/ 6326 h 1522526"/>
                  <a:gd name="connsiteX68" fmla="*/ 893239 w 1551068"/>
                  <a:gd name="connsiteY68" fmla="*/ 38076 h 1522526"/>
                  <a:gd name="connsiteX69" fmla="*/ 974600 w 1551068"/>
                  <a:gd name="connsiteY69" fmla="*/ 103562 h 1522526"/>
                  <a:gd name="connsiteX70" fmla="*/ 1069852 w 1551068"/>
                  <a:gd name="connsiteY70" fmla="*/ 216673 h 1522526"/>
                  <a:gd name="connsiteX71" fmla="*/ 1105571 w 1551068"/>
                  <a:gd name="connsiteY71" fmla="*/ 276206 h 1522526"/>
                  <a:gd name="connsiteX72" fmla="*/ 1089696 w 1551068"/>
                  <a:gd name="connsiteY72" fmla="*/ 313909 h 1522526"/>
                  <a:gd name="connsiteX73" fmla="*/ 1055961 w 1551068"/>
                  <a:gd name="connsiteY73" fmla="*/ 331769 h 1522526"/>
                  <a:gd name="connsiteX74" fmla="*/ 1032148 w 1551068"/>
                  <a:gd name="connsiteY74" fmla="*/ 311925 h 1522526"/>
                  <a:gd name="connsiteX75" fmla="*/ 978569 w 1551068"/>
                  <a:gd name="connsiteY75" fmla="*/ 256361 h 1522526"/>
                  <a:gd name="connsiteX76" fmla="*/ 883317 w 1551068"/>
                  <a:gd name="connsiteY76" fmla="*/ 210720 h 1522526"/>
                  <a:gd name="connsiteX77" fmla="*/ 780128 w 1551068"/>
                  <a:gd name="connsiteY77" fmla="*/ 210720 h 1522526"/>
                  <a:gd name="connsiteX78" fmla="*/ 914499 w 1551068"/>
                  <a:gd name="connsiteY78" fmla="*/ 240487 h 1522526"/>
                  <a:gd name="connsiteX79" fmla="*/ 979985 w 1551068"/>
                  <a:gd name="connsiteY79" fmla="*/ 279721 h 1522526"/>
                  <a:gd name="connsiteX80" fmla="*/ 1042151 w 1551068"/>
                  <a:gd name="connsiteY80" fmla="*/ 344718 h 1522526"/>
                  <a:gd name="connsiteX81" fmla="*/ 1033334 w 1551068"/>
                  <a:gd name="connsiteY81" fmla="*/ 378896 h 1522526"/>
                  <a:gd name="connsiteX82" fmla="*/ 1033334 w 1551068"/>
                  <a:gd name="connsiteY82" fmla="*/ 451651 h 1522526"/>
                  <a:gd name="connsiteX83" fmla="*/ 1067370 w 1551068"/>
                  <a:gd name="connsiteY83" fmla="*/ 478628 h 1522526"/>
                  <a:gd name="connsiteX84" fmla="*/ 1031114 w 1551068"/>
                  <a:gd name="connsiteY84" fmla="*/ 638035 h 1522526"/>
                  <a:gd name="connsiteX85" fmla="*/ 1010397 w 1551068"/>
                  <a:gd name="connsiteY85" fmla="*/ 651932 h 1522526"/>
                  <a:gd name="connsiteX86" fmla="*/ 902526 w 1551068"/>
                  <a:gd name="connsiteY86" fmla="*/ 831290 h 1522526"/>
                  <a:gd name="connsiteX87" fmla="*/ 813589 w 1551068"/>
                  <a:gd name="connsiteY87" fmla="*/ 893779 h 1522526"/>
                  <a:gd name="connsiteX88" fmla="*/ 727864 w 1551068"/>
                  <a:gd name="connsiteY88" fmla="*/ 893779 h 1522526"/>
                  <a:gd name="connsiteX89" fmla="*/ 606803 w 1551068"/>
                  <a:gd name="connsiteY89" fmla="*/ 821966 h 1522526"/>
                  <a:gd name="connsiteX90" fmla="*/ 514664 w 1551068"/>
                  <a:gd name="connsiteY90" fmla="*/ 643758 h 1522526"/>
                  <a:gd name="connsiteX91" fmla="*/ 453993 w 1551068"/>
                  <a:gd name="connsiteY91" fmla="*/ 503970 h 1522526"/>
                  <a:gd name="connsiteX92" fmla="*/ 477669 w 1551068"/>
                  <a:gd name="connsiteY92" fmla="*/ 464730 h 1522526"/>
                  <a:gd name="connsiteX93" fmla="*/ 466855 w 1551068"/>
                  <a:gd name="connsiteY93" fmla="*/ 399317 h 1522526"/>
                  <a:gd name="connsiteX94" fmla="*/ 440793 w 1551068"/>
                  <a:gd name="connsiteY94" fmla="*/ 419083 h 1522526"/>
                  <a:gd name="connsiteX95" fmla="*/ 424918 w 1551068"/>
                  <a:gd name="connsiteY95" fmla="*/ 438927 h 1522526"/>
                  <a:gd name="connsiteX96" fmla="*/ 411027 w 1551068"/>
                  <a:gd name="connsiteY96" fmla="*/ 476631 h 1522526"/>
                  <a:gd name="connsiteX97" fmla="*/ 416980 w 1551068"/>
                  <a:gd name="connsiteY97" fmla="*/ 514335 h 1522526"/>
                  <a:gd name="connsiteX98" fmla="*/ 426902 w 1551068"/>
                  <a:gd name="connsiteY98" fmla="*/ 571883 h 1522526"/>
                  <a:gd name="connsiteX99" fmla="*/ 450715 w 1551068"/>
                  <a:gd name="connsiteY99" fmla="*/ 665150 h 1522526"/>
                  <a:gd name="connsiteX100" fmla="*/ 476512 w 1551068"/>
                  <a:gd name="connsiteY100" fmla="*/ 686979 h 1522526"/>
                  <a:gd name="connsiteX101" fmla="*/ 492388 w 1551068"/>
                  <a:gd name="connsiteY101" fmla="*/ 728652 h 1522526"/>
                  <a:gd name="connsiteX102" fmla="*/ 530092 w 1551068"/>
                  <a:gd name="connsiteY102" fmla="*/ 802075 h 1522526"/>
                  <a:gd name="connsiteX103" fmla="*/ 545967 w 1551068"/>
                  <a:gd name="connsiteY103" fmla="*/ 847716 h 1522526"/>
                  <a:gd name="connsiteX104" fmla="*/ 502310 w 1551068"/>
                  <a:gd name="connsiteY104" fmla="*/ 859623 h 1522526"/>
                  <a:gd name="connsiteX105" fmla="*/ 438809 w 1551068"/>
                  <a:gd name="connsiteY105" fmla="*/ 867560 h 1522526"/>
                  <a:gd name="connsiteX106" fmla="*/ 381261 w 1551068"/>
                  <a:gd name="connsiteY106" fmla="*/ 853670 h 1522526"/>
                  <a:gd name="connsiteX107" fmla="*/ 355463 w 1551068"/>
                  <a:gd name="connsiteY107" fmla="*/ 810012 h 1522526"/>
                  <a:gd name="connsiteX108" fmla="*/ 343557 w 1551068"/>
                  <a:gd name="connsiteY108" fmla="*/ 732620 h 1522526"/>
                  <a:gd name="connsiteX109" fmla="*/ 347526 w 1551068"/>
                  <a:gd name="connsiteY109" fmla="*/ 631415 h 1522526"/>
                  <a:gd name="connsiteX110" fmla="*/ 379276 w 1551068"/>
                  <a:gd name="connsiteY110" fmla="*/ 415114 h 1522526"/>
                  <a:gd name="connsiteX111" fmla="*/ 452699 w 1551068"/>
                  <a:gd name="connsiteY111" fmla="*/ 194845 h 1522526"/>
                  <a:gd name="connsiteX112" fmla="*/ 514216 w 1551068"/>
                  <a:gd name="connsiteY112" fmla="*/ 93640 h 1522526"/>
                  <a:gd name="connsiteX113" fmla="*/ 573749 w 1551068"/>
                  <a:gd name="connsiteY113" fmla="*/ 44029 h 1522526"/>
                  <a:gd name="connsiteX114" fmla="*/ 627328 w 1551068"/>
                  <a:gd name="connsiteY114" fmla="*/ 36092 h 1522526"/>
                  <a:gd name="connsiteX115" fmla="*/ 672969 w 1551068"/>
                  <a:gd name="connsiteY115" fmla="*/ 4341 h 1522526"/>
                  <a:gd name="connsiteX116" fmla="*/ 715758 w 1551068"/>
                  <a:gd name="connsiteY116" fmla="*/ 0 h 1522526"/>
                  <a:gd name="connsiteX0" fmla="*/ 1056956 w 1551177"/>
                  <a:gd name="connsiteY0" fmla="*/ 998817 h 1522526"/>
                  <a:gd name="connsiteX1" fmla="*/ 1067481 w 1551177"/>
                  <a:gd name="connsiteY1" fmla="*/ 1002500 h 1522526"/>
                  <a:gd name="connsiteX2" fmla="*/ 1174639 w 1551177"/>
                  <a:gd name="connsiteY2" fmla="*/ 1036732 h 1522526"/>
                  <a:gd name="connsiteX3" fmla="*/ 1383895 w 1551177"/>
                  <a:gd name="connsiteY3" fmla="*/ 1106981 h 1522526"/>
                  <a:gd name="connsiteX4" fmla="*/ 1451463 w 1551177"/>
                  <a:gd name="connsiteY4" fmla="*/ 1185265 h 1522526"/>
                  <a:gd name="connsiteX5" fmla="*/ 1551177 w 1551177"/>
                  <a:gd name="connsiteY5" fmla="*/ 1448990 h 1522526"/>
                  <a:gd name="connsiteX6" fmla="*/ 1241020 w 1551177"/>
                  <a:gd name="connsiteY6" fmla="*/ 1493045 h 1522526"/>
                  <a:gd name="connsiteX7" fmla="*/ 1196965 w 1551177"/>
                  <a:gd name="connsiteY7" fmla="*/ 1439469 h 1522526"/>
                  <a:gd name="connsiteX8" fmla="*/ 1215121 w 1551177"/>
                  <a:gd name="connsiteY8" fmla="*/ 1492451 h 1522526"/>
                  <a:gd name="connsiteX9" fmla="*/ 331064 w 1551177"/>
                  <a:gd name="connsiteY9" fmla="*/ 1497214 h 1522526"/>
                  <a:gd name="connsiteX10" fmla="*/ 314913 w 1551177"/>
                  <a:gd name="connsiteY10" fmla="*/ 1492951 h 1522526"/>
                  <a:gd name="connsiteX11" fmla="*/ 337448 w 1551177"/>
                  <a:gd name="connsiteY11" fmla="*/ 1446229 h 1522526"/>
                  <a:gd name="connsiteX12" fmla="*/ 285060 w 1551177"/>
                  <a:gd name="connsiteY12" fmla="*/ 1493854 h 1522526"/>
                  <a:gd name="connsiteX13" fmla="*/ 365 w 1551177"/>
                  <a:gd name="connsiteY13" fmla="*/ 1482327 h 1522526"/>
                  <a:gd name="connsiteX14" fmla="*/ 94425 w 1551177"/>
                  <a:gd name="connsiteY14" fmla="*/ 1219199 h 1522526"/>
                  <a:gd name="connsiteX15" fmla="*/ 156635 w 1551177"/>
                  <a:gd name="connsiteY15" fmla="*/ 1157285 h 1522526"/>
                  <a:gd name="connsiteX16" fmla="*/ 217656 w 1551177"/>
                  <a:gd name="connsiteY16" fmla="*/ 1120077 h 1522526"/>
                  <a:gd name="connsiteX17" fmla="*/ 315884 w 1551177"/>
                  <a:gd name="connsiteY17" fmla="*/ 1078404 h 1522526"/>
                  <a:gd name="connsiteX18" fmla="*/ 440902 w 1551177"/>
                  <a:gd name="connsiteY18" fmla="*/ 1029290 h 1522526"/>
                  <a:gd name="connsiteX19" fmla="*/ 474470 w 1551177"/>
                  <a:gd name="connsiteY19" fmla="*/ 1016502 h 1522526"/>
                  <a:gd name="connsiteX20" fmla="*/ 656534 w 1551177"/>
                  <a:gd name="connsiteY20" fmla="*/ 1272398 h 1522526"/>
                  <a:gd name="connsiteX21" fmla="*/ 827984 w 1551177"/>
                  <a:gd name="connsiteY21" fmla="*/ 1379555 h 1522526"/>
                  <a:gd name="connsiteX22" fmla="*/ 947047 w 1551177"/>
                  <a:gd name="connsiteY22" fmla="*/ 1243823 h 1522526"/>
                  <a:gd name="connsiteX23" fmla="*/ 1056956 w 1551177"/>
                  <a:gd name="connsiteY23" fmla="*/ 998817 h 1522526"/>
                  <a:gd name="connsiteX24" fmla="*/ 920169 w 1551177"/>
                  <a:gd name="connsiteY24" fmla="*/ 852696 h 1522526"/>
                  <a:gd name="connsiteX25" fmla="*/ 915673 w 1551177"/>
                  <a:gd name="connsiteY25" fmla="*/ 923321 h 1522526"/>
                  <a:gd name="connsiteX26" fmla="*/ 1023831 w 1551177"/>
                  <a:gd name="connsiteY26" fmla="*/ 978198 h 1522526"/>
                  <a:gd name="connsiteX27" fmla="*/ 949428 w 1551177"/>
                  <a:gd name="connsiteY27" fmla="*/ 1177148 h 1522526"/>
                  <a:gd name="connsiteX28" fmla="*/ 811316 w 1551177"/>
                  <a:gd name="connsiteY28" fmla="*/ 1341455 h 1522526"/>
                  <a:gd name="connsiteX29" fmla="*/ 620816 w 1551177"/>
                  <a:gd name="connsiteY29" fmla="*/ 1191436 h 1522526"/>
                  <a:gd name="connsiteX30" fmla="*/ 503904 w 1551177"/>
                  <a:gd name="connsiteY30" fmla="*/ 1004825 h 1522526"/>
                  <a:gd name="connsiteX31" fmla="*/ 615927 w 1551177"/>
                  <a:gd name="connsiteY31" fmla="*/ 931359 h 1522526"/>
                  <a:gd name="connsiteX32" fmla="*/ 614495 w 1551177"/>
                  <a:gd name="connsiteY32" fmla="*/ 858311 h 1522526"/>
                  <a:gd name="connsiteX33" fmla="*/ 685110 w 1551177"/>
                  <a:gd name="connsiteY33" fmla="*/ 900922 h 1522526"/>
                  <a:gd name="connsiteX34" fmla="*/ 792267 w 1551177"/>
                  <a:gd name="connsiteY34" fmla="*/ 915210 h 1522526"/>
                  <a:gd name="connsiteX35" fmla="*/ 885135 w 1551177"/>
                  <a:gd name="connsiteY35" fmla="*/ 874729 h 1522526"/>
                  <a:gd name="connsiteX36" fmla="*/ 920169 w 1551177"/>
                  <a:gd name="connsiteY36" fmla="*/ 852696 h 1522526"/>
                  <a:gd name="connsiteX37" fmla="*/ 1105758 w 1551177"/>
                  <a:gd name="connsiteY37" fmla="*/ 314309 h 1522526"/>
                  <a:gd name="connsiteX38" fmla="*/ 1112130 w 1551177"/>
                  <a:gd name="connsiteY38" fmla="*/ 320855 h 1522526"/>
                  <a:gd name="connsiteX39" fmla="*/ 1138920 w 1551177"/>
                  <a:gd name="connsiteY39" fmla="*/ 428013 h 1522526"/>
                  <a:gd name="connsiteX40" fmla="*/ 1165709 w 1551177"/>
                  <a:gd name="connsiteY40" fmla="*/ 569403 h 1522526"/>
                  <a:gd name="connsiteX41" fmla="*/ 1174639 w 1551177"/>
                  <a:gd name="connsiteY41" fmla="*/ 704839 h 1522526"/>
                  <a:gd name="connsiteX42" fmla="*/ 1171662 w 1551177"/>
                  <a:gd name="connsiteY42" fmla="*/ 789672 h 1522526"/>
                  <a:gd name="connsiteX43" fmla="*/ 1146361 w 1551177"/>
                  <a:gd name="connsiteY43" fmla="*/ 850693 h 1522526"/>
                  <a:gd name="connsiteX44" fmla="*/ 1100223 w 1551177"/>
                  <a:gd name="connsiteY44" fmla="*/ 859623 h 1522526"/>
                  <a:gd name="connsiteX45" fmla="*/ 1027296 w 1551177"/>
                  <a:gd name="connsiteY45" fmla="*/ 853670 h 1522526"/>
                  <a:gd name="connsiteX46" fmla="*/ 972229 w 1551177"/>
                  <a:gd name="connsiteY46" fmla="*/ 834322 h 1522526"/>
                  <a:gd name="connsiteX47" fmla="*/ 979670 w 1551177"/>
                  <a:gd name="connsiteY47" fmla="*/ 813485 h 1522526"/>
                  <a:gd name="connsiteX48" fmla="*/ 1009436 w 1551177"/>
                  <a:gd name="connsiteY48" fmla="*/ 773301 h 1522526"/>
                  <a:gd name="connsiteX49" fmla="*/ 1037715 w 1551177"/>
                  <a:gd name="connsiteY49" fmla="*/ 704839 h 1522526"/>
                  <a:gd name="connsiteX50" fmla="*/ 1043668 w 1551177"/>
                  <a:gd name="connsiteY50" fmla="*/ 675072 h 1522526"/>
                  <a:gd name="connsiteX51" fmla="*/ 1061527 w 1551177"/>
                  <a:gd name="connsiteY51" fmla="*/ 655725 h 1522526"/>
                  <a:gd name="connsiteX52" fmla="*/ 1086829 w 1551177"/>
                  <a:gd name="connsiteY52" fmla="*/ 579821 h 1522526"/>
                  <a:gd name="connsiteX53" fmla="*/ 1104688 w 1551177"/>
                  <a:gd name="connsiteY53" fmla="*/ 499452 h 1522526"/>
                  <a:gd name="connsiteX54" fmla="*/ 1106177 w 1551177"/>
                  <a:gd name="connsiteY54" fmla="*/ 463733 h 1522526"/>
                  <a:gd name="connsiteX55" fmla="*/ 1089805 w 1551177"/>
                  <a:gd name="connsiteY55" fmla="*/ 430990 h 1522526"/>
                  <a:gd name="connsiteX56" fmla="*/ 1073434 w 1551177"/>
                  <a:gd name="connsiteY56" fmla="*/ 416107 h 1522526"/>
                  <a:gd name="connsiteX57" fmla="*/ 1070457 w 1551177"/>
                  <a:gd name="connsiteY57" fmla="*/ 386340 h 1522526"/>
                  <a:gd name="connsiteX58" fmla="*/ 1073434 w 1551177"/>
                  <a:gd name="connsiteY58" fmla="*/ 350621 h 1522526"/>
                  <a:gd name="connsiteX59" fmla="*/ 1088317 w 1551177"/>
                  <a:gd name="connsiteY59" fmla="*/ 328297 h 1522526"/>
                  <a:gd name="connsiteX60" fmla="*/ 1105758 w 1551177"/>
                  <a:gd name="connsiteY60" fmla="*/ 314309 h 1522526"/>
                  <a:gd name="connsiteX61" fmla="*/ 680349 w 1551177"/>
                  <a:gd name="connsiteY61" fmla="*/ 96060 h 1522526"/>
                  <a:gd name="connsiteX62" fmla="*/ 573193 w 1551177"/>
                  <a:gd name="connsiteY62" fmla="*/ 431816 h 1522526"/>
                  <a:gd name="connsiteX63" fmla="*/ 718449 w 1551177"/>
                  <a:gd name="connsiteY63" fmla="*/ 184165 h 1522526"/>
                  <a:gd name="connsiteX64" fmla="*/ 680349 w 1551177"/>
                  <a:gd name="connsiteY64" fmla="*/ 96060 h 1522526"/>
                  <a:gd name="connsiteX65" fmla="*/ 715867 w 1551177"/>
                  <a:gd name="connsiteY65" fmla="*/ 0 h 1522526"/>
                  <a:gd name="connsiteX66" fmla="*/ 760392 w 1551177"/>
                  <a:gd name="connsiteY66" fmla="*/ 372 h 1522526"/>
                  <a:gd name="connsiteX67" fmla="*/ 821909 w 1551177"/>
                  <a:gd name="connsiteY67" fmla="*/ 6326 h 1522526"/>
                  <a:gd name="connsiteX68" fmla="*/ 893348 w 1551177"/>
                  <a:gd name="connsiteY68" fmla="*/ 38076 h 1522526"/>
                  <a:gd name="connsiteX69" fmla="*/ 974709 w 1551177"/>
                  <a:gd name="connsiteY69" fmla="*/ 103562 h 1522526"/>
                  <a:gd name="connsiteX70" fmla="*/ 1069961 w 1551177"/>
                  <a:gd name="connsiteY70" fmla="*/ 216673 h 1522526"/>
                  <a:gd name="connsiteX71" fmla="*/ 1105680 w 1551177"/>
                  <a:gd name="connsiteY71" fmla="*/ 276206 h 1522526"/>
                  <a:gd name="connsiteX72" fmla="*/ 1089805 w 1551177"/>
                  <a:gd name="connsiteY72" fmla="*/ 313909 h 1522526"/>
                  <a:gd name="connsiteX73" fmla="*/ 1056070 w 1551177"/>
                  <a:gd name="connsiteY73" fmla="*/ 331769 h 1522526"/>
                  <a:gd name="connsiteX74" fmla="*/ 1032257 w 1551177"/>
                  <a:gd name="connsiteY74" fmla="*/ 311925 h 1522526"/>
                  <a:gd name="connsiteX75" fmla="*/ 978678 w 1551177"/>
                  <a:gd name="connsiteY75" fmla="*/ 256361 h 1522526"/>
                  <a:gd name="connsiteX76" fmla="*/ 883426 w 1551177"/>
                  <a:gd name="connsiteY76" fmla="*/ 210720 h 1522526"/>
                  <a:gd name="connsiteX77" fmla="*/ 780237 w 1551177"/>
                  <a:gd name="connsiteY77" fmla="*/ 210720 h 1522526"/>
                  <a:gd name="connsiteX78" fmla="*/ 914608 w 1551177"/>
                  <a:gd name="connsiteY78" fmla="*/ 240487 h 1522526"/>
                  <a:gd name="connsiteX79" fmla="*/ 980094 w 1551177"/>
                  <a:gd name="connsiteY79" fmla="*/ 279721 h 1522526"/>
                  <a:gd name="connsiteX80" fmla="*/ 1042260 w 1551177"/>
                  <a:gd name="connsiteY80" fmla="*/ 344718 h 1522526"/>
                  <a:gd name="connsiteX81" fmla="*/ 1033443 w 1551177"/>
                  <a:gd name="connsiteY81" fmla="*/ 378896 h 1522526"/>
                  <a:gd name="connsiteX82" fmla="*/ 1033443 w 1551177"/>
                  <a:gd name="connsiteY82" fmla="*/ 451651 h 1522526"/>
                  <a:gd name="connsiteX83" fmla="*/ 1067479 w 1551177"/>
                  <a:gd name="connsiteY83" fmla="*/ 478628 h 1522526"/>
                  <a:gd name="connsiteX84" fmla="*/ 1031223 w 1551177"/>
                  <a:gd name="connsiteY84" fmla="*/ 638035 h 1522526"/>
                  <a:gd name="connsiteX85" fmla="*/ 1010506 w 1551177"/>
                  <a:gd name="connsiteY85" fmla="*/ 651932 h 1522526"/>
                  <a:gd name="connsiteX86" fmla="*/ 902635 w 1551177"/>
                  <a:gd name="connsiteY86" fmla="*/ 831290 h 1522526"/>
                  <a:gd name="connsiteX87" fmla="*/ 813698 w 1551177"/>
                  <a:gd name="connsiteY87" fmla="*/ 893779 h 1522526"/>
                  <a:gd name="connsiteX88" fmla="*/ 727973 w 1551177"/>
                  <a:gd name="connsiteY88" fmla="*/ 893779 h 1522526"/>
                  <a:gd name="connsiteX89" fmla="*/ 606912 w 1551177"/>
                  <a:gd name="connsiteY89" fmla="*/ 821966 h 1522526"/>
                  <a:gd name="connsiteX90" fmla="*/ 514773 w 1551177"/>
                  <a:gd name="connsiteY90" fmla="*/ 643758 h 1522526"/>
                  <a:gd name="connsiteX91" fmla="*/ 454102 w 1551177"/>
                  <a:gd name="connsiteY91" fmla="*/ 503970 h 1522526"/>
                  <a:gd name="connsiteX92" fmla="*/ 477778 w 1551177"/>
                  <a:gd name="connsiteY92" fmla="*/ 464730 h 1522526"/>
                  <a:gd name="connsiteX93" fmla="*/ 466964 w 1551177"/>
                  <a:gd name="connsiteY93" fmla="*/ 399317 h 1522526"/>
                  <a:gd name="connsiteX94" fmla="*/ 440902 w 1551177"/>
                  <a:gd name="connsiteY94" fmla="*/ 419083 h 1522526"/>
                  <a:gd name="connsiteX95" fmla="*/ 425027 w 1551177"/>
                  <a:gd name="connsiteY95" fmla="*/ 438927 h 1522526"/>
                  <a:gd name="connsiteX96" fmla="*/ 411136 w 1551177"/>
                  <a:gd name="connsiteY96" fmla="*/ 476631 h 1522526"/>
                  <a:gd name="connsiteX97" fmla="*/ 417089 w 1551177"/>
                  <a:gd name="connsiteY97" fmla="*/ 514335 h 1522526"/>
                  <a:gd name="connsiteX98" fmla="*/ 427011 w 1551177"/>
                  <a:gd name="connsiteY98" fmla="*/ 571883 h 1522526"/>
                  <a:gd name="connsiteX99" fmla="*/ 450824 w 1551177"/>
                  <a:gd name="connsiteY99" fmla="*/ 665150 h 1522526"/>
                  <a:gd name="connsiteX100" fmla="*/ 476621 w 1551177"/>
                  <a:gd name="connsiteY100" fmla="*/ 686979 h 1522526"/>
                  <a:gd name="connsiteX101" fmla="*/ 492497 w 1551177"/>
                  <a:gd name="connsiteY101" fmla="*/ 728652 h 1522526"/>
                  <a:gd name="connsiteX102" fmla="*/ 530201 w 1551177"/>
                  <a:gd name="connsiteY102" fmla="*/ 802075 h 1522526"/>
                  <a:gd name="connsiteX103" fmla="*/ 546076 w 1551177"/>
                  <a:gd name="connsiteY103" fmla="*/ 847716 h 1522526"/>
                  <a:gd name="connsiteX104" fmla="*/ 502419 w 1551177"/>
                  <a:gd name="connsiteY104" fmla="*/ 859623 h 1522526"/>
                  <a:gd name="connsiteX105" fmla="*/ 438918 w 1551177"/>
                  <a:gd name="connsiteY105" fmla="*/ 867560 h 1522526"/>
                  <a:gd name="connsiteX106" fmla="*/ 381370 w 1551177"/>
                  <a:gd name="connsiteY106" fmla="*/ 853670 h 1522526"/>
                  <a:gd name="connsiteX107" fmla="*/ 355572 w 1551177"/>
                  <a:gd name="connsiteY107" fmla="*/ 810012 h 1522526"/>
                  <a:gd name="connsiteX108" fmla="*/ 343666 w 1551177"/>
                  <a:gd name="connsiteY108" fmla="*/ 732620 h 1522526"/>
                  <a:gd name="connsiteX109" fmla="*/ 347635 w 1551177"/>
                  <a:gd name="connsiteY109" fmla="*/ 631415 h 1522526"/>
                  <a:gd name="connsiteX110" fmla="*/ 379385 w 1551177"/>
                  <a:gd name="connsiteY110" fmla="*/ 415114 h 1522526"/>
                  <a:gd name="connsiteX111" fmla="*/ 452808 w 1551177"/>
                  <a:gd name="connsiteY111" fmla="*/ 194845 h 1522526"/>
                  <a:gd name="connsiteX112" fmla="*/ 514325 w 1551177"/>
                  <a:gd name="connsiteY112" fmla="*/ 93640 h 1522526"/>
                  <a:gd name="connsiteX113" fmla="*/ 573858 w 1551177"/>
                  <a:gd name="connsiteY113" fmla="*/ 44029 h 1522526"/>
                  <a:gd name="connsiteX114" fmla="*/ 627437 w 1551177"/>
                  <a:gd name="connsiteY114" fmla="*/ 36092 h 1522526"/>
                  <a:gd name="connsiteX115" fmla="*/ 673078 w 1551177"/>
                  <a:gd name="connsiteY115" fmla="*/ 4341 h 1522526"/>
                  <a:gd name="connsiteX116" fmla="*/ 715867 w 1551177"/>
                  <a:gd name="connsiteY116" fmla="*/ 0 h 1522526"/>
                  <a:gd name="connsiteX0" fmla="*/ 1056956 w 1551177"/>
                  <a:gd name="connsiteY0" fmla="*/ 998817 h 1522526"/>
                  <a:gd name="connsiteX1" fmla="*/ 1067481 w 1551177"/>
                  <a:gd name="connsiteY1" fmla="*/ 1002500 h 1522526"/>
                  <a:gd name="connsiteX2" fmla="*/ 1174639 w 1551177"/>
                  <a:gd name="connsiteY2" fmla="*/ 1036732 h 1522526"/>
                  <a:gd name="connsiteX3" fmla="*/ 1383895 w 1551177"/>
                  <a:gd name="connsiteY3" fmla="*/ 1106981 h 1522526"/>
                  <a:gd name="connsiteX4" fmla="*/ 1451463 w 1551177"/>
                  <a:gd name="connsiteY4" fmla="*/ 1185265 h 1522526"/>
                  <a:gd name="connsiteX5" fmla="*/ 1551177 w 1551177"/>
                  <a:gd name="connsiteY5" fmla="*/ 1448990 h 1522526"/>
                  <a:gd name="connsiteX6" fmla="*/ 1241020 w 1551177"/>
                  <a:gd name="connsiteY6" fmla="*/ 1493045 h 1522526"/>
                  <a:gd name="connsiteX7" fmla="*/ 1196965 w 1551177"/>
                  <a:gd name="connsiteY7" fmla="*/ 1439469 h 1522526"/>
                  <a:gd name="connsiteX8" fmla="*/ 1215121 w 1551177"/>
                  <a:gd name="connsiteY8" fmla="*/ 1492451 h 1522526"/>
                  <a:gd name="connsiteX9" fmla="*/ 331064 w 1551177"/>
                  <a:gd name="connsiteY9" fmla="*/ 1497214 h 1522526"/>
                  <a:gd name="connsiteX10" fmla="*/ 314913 w 1551177"/>
                  <a:gd name="connsiteY10" fmla="*/ 1492951 h 1522526"/>
                  <a:gd name="connsiteX11" fmla="*/ 337448 w 1551177"/>
                  <a:gd name="connsiteY11" fmla="*/ 1446229 h 1522526"/>
                  <a:gd name="connsiteX12" fmla="*/ 285060 w 1551177"/>
                  <a:gd name="connsiteY12" fmla="*/ 1493854 h 1522526"/>
                  <a:gd name="connsiteX13" fmla="*/ 365 w 1551177"/>
                  <a:gd name="connsiteY13" fmla="*/ 1482327 h 1522526"/>
                  <a:gd name="connsiteX14" fmla="*/ 94425 w 1551177"/>
                  <a:gd name="connsiteY14" fmla="*/ 1219199 h 1522526"/>
                  <a:gd name="connsiteX15" fmla="*/ 132823 w 1551177"/>
                  <a:gd name="connsiteY15" fmla="*/ 1150141 h 1522526"/>
                  <a:gd name="connsiteX16" fmla="*/ 217656 w 1551177"/>
                  <a:gd name="connsiteY16" fmla="*/ 1120077 h 1522526"/>
                  <a:gd name="connsiteX17" fmla="*/ 315884 w 1551177"/>
                  <a:gd name="connsiteY17" fmla="*/ 1078404 h 1522526"/>
                  <a:gd name="connsiteX18" fmla="*/ 440902 w 1551177"/>
                  <a:gd name="connsiteY18" fmla="*/ 1029290 h 1522526"/>
                  <a:gd name="connsiteX19" fmla="*/ 474470 w 1551177"/>
                  <a:gd name="connsiteY19" fmla="*/ 1016502 h 1522526"/>
                  <a:gd name="connsiteX20" fmla="*/ 656534 w 1551177"/>
                  <a:gd name="connsiteY20" fmla="*/ 1272398 h 1522526"/>
                  <a:gd name="connsiteX21" fmla="*/ 827984 w 1551177"/>
                  <a:gd name="connsiteY21" fmla="*/ 1379555 h 1522526"/>
                  <a:gd name="connsiteX22" fmla="*/ 947047 w 1551177"/>
                  <a:gd name="connsiteY22" fmla="*/ 1243823 h 1522526"/>
                  <a:gd name="connsiteX23" fmla="*/ 1056956 w 1551177"/>
                  <a:gd name="connsiteY23" fmla="*/ 998817 h 1522526"/>
                  <a:gd name="connsiteX24" fmla="*/ 920169 w 1551177"/>
                  <a:gd name="connsiteY24" fmla="*/ 852696 h 1522526"/>
                  <a:gd name="connsiteX25" fmla="*/ 915673 w 1551177"/>
                  <a:gd name="connsiteY25" fmla="*/ 923321 h 1522526"/>
                  <a:gd name="connsiteX26" fmla="*/ 1023831 w 1551177"/>
                  <a:gd name="connsiteY26" fmla="*/ 978198 h 1522526"/>
                  <a:gd name="connsiteX27" fmla="*/ 949428 w 1551177"/>
                  <a:gd name="connsiteY27" fmla="*/ 1177148 h 1522526"/>
                  <a:gd name="connsiteX28" fmla="*/ 811316 w 1551177"/>
                  <a:gd name="connsiteY28" fmla="*/ 1341455 h 1522526"/>
                  <a:gd name="connsiteX29" fmla="*/ 620816 w 1551177"/>
                  <a:gd name="connsiteY29" fmla="*/ 1191436 h 1522526"/>
                  <a:gd name="connsiteX30" fmla="*/ 503904 w 1551177"/>
                  <a:gd name="connsiteY30" fmla="*/ 1004825 h 1522526"/>
                  <a:gd name="connsiteX31" fmla="*/ 615927 w 1551177"/>
                  <a:gd name="connsiteY31" fmla="*/ 931359 h 1522526"/>
                  <a:gd name="connsiteX32" fmla="*/ 614495 w 1551177"/>
                  <a:gd name="connsiteY32" fmla="*/ 858311 h 1522526"/>
                  <a:gd name="connsiteX33" fmla="*/ 685110 w 1551177"/>
                  <a:gd name="connsiteY33" fmla="*/ 900922 h 1522526"/>
                  <a:gd name="connsiteX34" fmla="*/ 792267 w 1551177"/>
                  <a:gd name="connsiteY34" fmla="*/ 915210 h 1522526"/>
                  <a:gd name="connsiteX35" fmla="*/ 885135 w 1551177"/>
                  <a:gd name="connsiteY35" fmla="*/ 874729 h 1522526"/>
                  <a:gd name="connsiteX36" fmla="*/ 920169 w 1551177"/>
                  <a:gd name="connsiteY36" fmla="*/ 852696 h 1522526"/>
                  <a:gd name="connsiteX37" fmla="*/ 1105758 w 1551177"/>
                  <a:gd name="connsiteY37" fmla="*/ 314309 h 1522526"/>
                  <a:gd name="connsiteX38" fmla="*/ 1112130 w 1551177"/>
                  <a:gd name="connsiteY38" fmla="*/ 320855 h 1522526"/>
                  <a:gd name="connsiteX39" fmla="*/ 1138920 w 1551177"/>
                  <a:gd name="connsiteY39" fmla="*/ 428013 h 1522526"/>
                  <a:gd name="connsiteX40" fmla="*/ 1165709 w 1551177"/>
                  <a:gd name="connsiteY40" fmla="*/ 569403 h 1522526"/>
                  <a:gd name="connsiteX41" fmla="*/ 1174639 w 1551177"/>
                  <a:gd name="connsiteY41" fmla="*/ 704839 h 1522526"/>
                  <a:gd name="connsiteX42" fmla="*/ 1171662 w 1551177"/>
                  <a:gd name="connsiteY42" fmla="*/ 789672 h 1522526"/>
                  <a:gd name="connsiteX43" fmla="*/ 1146361 w 1551177"/>
                  <a:gd name="connsiteY43" fmla="*/ 850693 h 1522526"/>
                  <a:gd name="connsiteX44" fmla="*/ 1100223 w 1551177"/>
                  <a:gd name="connsiteY44" fmla="*/ 859623 h 1522526"/>
                  <a:gd name="connsiteX45" fmla="*/ 1027296 w 1551177"/>
                  <a:gd name="connsiteY45" fmla="*/ 853670 h 1522526"/>
                  <a:gd name="connsiteX46" fmla="*/ 972229 w 1551177"/>
                  <a:gd name="connsiteY46" fmla="*/ 834322 h 1522526"/>
                  <a:gd name="connsiteX47" fmla="*/ 979670 w 1551177"/>
                  <a:gd name="connsiteY47" fmla="*/ 813485 h 1522526"/>
                  <a:gd name="connsiteX48" fmla="*/ 1009436 w 1551177"/>
                  <a:gd name="connsiteY48" fmla="*/ 773301 h 1522526"/>
                  <a:gd name="connsiteX49" fmla="*/ 1037715 w 1551177"/>
                  <a:gd name="connsiteY49" fmla="*/ 704839 h 1522526"/>
                  <a:gd name="connsiteX50" fmla="*/ 1043668 w 1551177"/>
                  <a:gd name="connsiteY50" fmla="*/ 675072 h 1522526"/>
                  <a:gd name="connsiteX51" fmla="*/ 1061527 w 1551177"/>
                  <a:gd name="connsiteY51" fmla="*/ 655725 h 1522526"/>
                  <a:gd name="connsiteX52" fmla="*/ 1086829 w 1551177"/>
                  <a:gd name="connsiteY52" fmla="*/ 579821 h 1522526"/>
                  <a:gd name="connsiteX53" fmla="*/ 1104688 w 1551177"/>
                  <a:gd name="connsiteY53" fmla="*/ 499452 h 1522526"/>
                  <a:gd name="connsiteX54" fmla="*/ 1106177 w 1551177"/>
                  <a:gd name="connsiteY54" fmla="*/ 463733 h 1522526"/>
                  <a:gd name="connsiteX55" fmla="*/ 1089805 w 1551177"/>
                  <a:gd name="connsiteY55" fmla="*/ 430990 h 1522526"/>
                  <a:gd name="connsiteX56" fmla="*/ 1073434 w 1551177"/>
                  <a:gd name="connsiteY56" fmla="*/ 416107 h 1522526"/>
                  <a:gd name="connsiteX57" fmla="*/ 1070457 w 1551177"/>
                  <a:gd name="connsiteY57" fmla="*/ 386340 h 1522526"/>
                  <a:gd name="connsiteX58" fmla="*/ 1073434 w 1551177"/>
                  <a:gd name="connsiteY58" fmla="*/ 350621 h 1522526"/>
                  <a:gd name="connsiteX59" fmla="*/ 1088317 w 1551177"/>
                  <a:gd name="connsiteY59" fmla="*/ 328297 h 1522526"/>
                  <a:gd name="connsiteX60" fmla="*/ 1105758 w 1551177"/>
                  <a:gd name="connsiteY60" fmla="*/ 314309 h 1522526"/>
                  <a:gd name="connsiteX61" fmla="*/ 680349 w 1551177"/>
                  <a:gd name="connsiteY61" fmla="*/ 96060 h 1522526"/>
                  <a:gd name="connsiteX62" fmla="*/ 573193 w 1551177"/>
                  <a:gd name="connsiteY62" fmla="*/ 431816 h 1522526"/>
                  <a:gd name="connsiteX63" fmla="*/ 718449 w 1551177"/>
                  <a:gd name="connsiteY63" fmla="*/ 184165 h 1522526"/>
                  <a:gd name="connsiteX64" fmla="*/ 680349 w 1551177"/>
                  <a:gd name="connsiteY64" fmla="*/ 96060 h 1522526"/>
                  <a:gd name="connsiteX65" fmla="*/ 715867 w 1551177"/>
                  <a:gd name="connsiteY65" fmla="*/ 0 h 1522526"/>
                  <a:gd name="connsiteX66" fmla="*/ 760392 w 1551177"/>
                  <a:gd name="connsiteY66" fmla="*/ 372 h 1522526"/>
                  <a:gd name="connsiteX67" fmla="*/ 821909 w 1551177"/>
                  <a:gd name="connsiteY67" fmla="*/ 6326 h 1522526"/>
                  <a:gd name="connsiteX68" fmla="*/ 893348 w 1551177"/>
                  <a:gd name="connsiteY68" fmla="*/ 38076 h 1522526"/>
                  <a:gd name="connsiteX69" fmla="*/ 974709 w 1551177"/>
                  <a:gd name="connsiteY69" fmla="*/ 103562 h 1522526"/>
                  <a:gd name="connsiteX70" fmla="*/ 1069961 w 1551177"/>
                  <a:gd name="connsiteY70" fmla="*/ 216673 h 1522526"/>
                  <a:gd name="connsiteX71" fmla="*/ 1105680 w 1551177"/>
                  <a:gd name="connsiteY71" fmla="*/ 276206 h 1522526"/>
                  <a:gd name="connsiteX72" fmla="*/ 1089805 w 1551177"/>
                  <a:gd name="connsiteY72" fmla="*/ 313909 h 1522526"/>
                  <a:gd name="connsiteX73" fmla="*/ 1056070 w 1551177"/>
                  <a:gd name="connsiteY73" fmla="*/ 331769 h 1522526"/>
                  <a:gd name="connsiteX74" fmla="*/ 1032257 w 1551177"/>
                  <a:gd name="connsiteY74" fmla="*/ 311925 h 1522526"/>
                  <a:gd name="connsiteX75" fmla="*/ 978678 w 1551177"/>
                  <a:gd name="connsiteY75" fmla="*/ 256361 h 1522526"/>
                  <a:gd name="connsiteX76" fmla="*/ 883426 w 1551177"/>
                  <a:gd name="connsiteY76" fmla="*/ 210720 h 1522526"/>
                  <a:gd name="connsiteX77" fmla="*/ 780237 w 1551177"/>
                  <a:gd name="connsiteY77" fmla="*/ 210720 h 1522526"/>
                  <a:gd name="connsiteX78" fmla="*/ 914608 w 1551177"/>
                  <a:gd name="connsiteY78" fmla="*/ 240487 h 1522526"/>
                  <a:gd name="connsiteX79" fmla="*/ 980094 w 1551177"/>
                  <a:gd name="connsiteY79" fmla="*/ 279721 h 1522526"/>
                  <a:gd name="connsiteX80" fmla="*/ 1042260 w 1551177"/>
                  <a:gd name="connsiteY80" fmla="*/ 344718 h 1522526"/>
                  <a:gd name="connsiteX81" fmla="*/ 1033443 w 1551177"/>
                  <a:gd name="connsiteY81" fmla="*/ 378896 h 1522526"/>
                  <a:gd name="connsiteX82" fmla="*/ 1033443 w 1551177"/>
                  <a:gd name="connsiteY82" fmla="*/ 451651 h 1522526"/>
                  <a:gd name="connsiteX83" fmla="*/ 1067479 w 1551177"/>
                  <a:gd name="connsiteY83" fmla="*/ 478628 h 1522526"/>
                  <a:gd name="connsiteX84" fmla="*/ 1031223 w 1551177"/>
                  <a:gd name="connsiteY84" fmla="*/ 638035 h 1522526"/>
                  <a:gd name="connsiteX85" fmla="*/ 1010506 w 1551177"/>
                  <a:gd name="connsiteY85" fmla="*/ 651932 h 1522526"/>
                  <a:gd name="connsiteX86" fmla="*/ 902635 w 1551177"/>
                  <a:gd name="connsiteY86" fmla="*/ 831290 h 1522526"/>
                  <a:gd name="connsiteX87" fmla="*/ 813698 w 1551177"/>
                  <a:gd name="connsiteY87" fmla="*/ 893779 h 1522526"/>
                  <a:gd name="connsiteX88" fmla="*/ 727973 w 1551177"/>
                  <a:gd name="connsiteY88" fmla="*/ 893779 h 1522526"/>
                  <a:gd name="connsiteX89" fmla="*/ 606912 w 1551177"/>
                  <a:gd name="connsiteY89" fmla="*/ 821966 h 1522526"/>
                  <a:gd name="connsiteX90" fmla="*/ 514773 w 1551177"/>
                  <a:gd name="connsiteY90" fmla="*/ 643758 h 1522526"/>
                  <a:gd name="connsiteX91" fmla="*/ 454102 w 1551177"/>
                  <a:gd name="connsiteY91" fmla="*/ 503970 h 1522526"/>
                  <a:gd name="connsiteX92" fmla="*/ 477778 w 1551177"/>
                  <a:gd name="connsiteY92" fmla="*/ 464730 h 1522526"/>
                  <a:gd name="connsiteX93" fmla="*/ 466964 w 1551177"/>
                  <a:gd name="connsiteY93" fmla="*/ 399317 h 1522526"/>
                  <a:gd name="connsiteX94" fmla="*/ 440902 w 1551177"/>
                  <a:gd name="connsiteY94" fmla="*/ 419083 h 1522526"/>
                  <a:gd name="connsiteX95" fmla="*/ 425027 w 1551177"/>
                  <a:gd name="connsiteY95" fmla="*/ 438927 h 1522526"/>
                  <a:gd name="connsiteX96" fmla="*/ 411136 w 1551177"/>
                  <a:gd name="connsiteY96" fmla="*/ 476631 h 1522526"/>
                  <a:gd name="connsiteX97" fmla="*/ 417089 w 1551177"/>
                  <a:gd name="connsiteY97" fmla="*/ 514335 h 1522526"/>
                  <a:gd name="connsiteX98" fmla="*/ 427011 w 1551177"/>
                  <a:gd name="connsiteY98" fmla="*/ 571883 h 1522526"/>
                  <a:gd name="connsiteX99" fmla="*/ 450824 w 1551177"/>
                  <a:gd name="connsiteY99" fmla="*/ 665150 h 1522526"/>
                  <a:gd name="connsiteX100" fmla="*/ 476621 w 1551177"/>
                  <a:gd name="connsiteY100" fmla="*/ 686979 h 1522526"/>
                  <a:gd name="connsiteX101" fmla="*/ 492497 w 1551177"/>
                  <a:gd name="connsiteY101" fmla="*/ 728652 h 1522526"/>
                  <a:gd name="connsiteX102" fmla="*/ 530201 w 1551177"/>
                  <a:gd name="connsiteY102" fmla="*/ 802075 h 1522526"/>
                  <a:gd name="connsiteX103" fmla="*/ 546076 w 1551177"/>
                  <a:gd name="connsiteY103" fmla="*/ 847716 h 1522526"/>
                  <a:gd name="connsiteX104" fmla="*/ 502419 w 1551177"/>
                  <a:gd name="connsiteY104" fmla="*/ 859623 h 1522526"/>
                  <a:gd name="connsiteX105" fmla="*/ 438918 w 1551177"/>
                  <a:gd name="connsiteY105" fmla="*/ 867560 h 1522526"/>
                  <a:gd name="connsiteX106" fmla="*/ 381370 w 1551177"/>
                  <a:gd name="connsiteY106" fmla="*/ 853670 h 1522526"/>
                  <a:gd name="connsiteX107" fmla="*/ 355572 w 1551177"/>
                  <a:gd name="connsiteY107" fmla="*/ 810012 h 1522526"/>
                  <a:gd name="connsiteX108" fmla="*/ 343666 w 1551177"/>
                  <a:gd name="connsiteY108" fmla="*/ 732620 h 1522526"/>
                  <a:gd name="connsiteX109" fmla="*/ 347635 w 1551177"/>
                  <a:gd name="connsiteY109" fmla="*/ 631415 h 1522526"/>
                  <a:gd name="connsiteX110" fmla="*/ 379385 w 1551177"/>
                  <a:gd name="connsiteY110" fmla="*/ 415114 h 1522526"/>
                  <a:gd name="connsiteX111" fmla="*/ 452808 w 1551177"/>
                  <a:gd name="connsiteY111" fmla="*/ 194845 h 1522526"/>
                  <a:gd name="connsiteX112" fmla="*/ 514325 w 1551177"/>
                  <a:gd name="connsiteY112" fmla="*/ 93640 h 1522526"/>
                  <a:gd name="connsiteX113" fmla="*/ 573858 w 1551177"/>
                  <a:gd name="connsiteY113" fmla="*/ 44029 h 1522526"/>
                  <a:gd name="connsiteX114" fmla="*/ 627437 w 1551177"/>
                  <a:gd name="connsiteY114" fmla="*/ 36092 h 1522526"/>
                  <a:gd name="connsiteX115" fmla="*/ 673078 w 1551177"/>
                  <a:gd name="connsiteY115" fmla="*/ 4341 h 1522526"/>
                  <a:gd name="connsiteX116" fmla="*/ 715867 w 1551177"/>
                  <a:gd name="connsiteY116" fmla="*/ 0 h 1522526"/>
                  <a:gd name="connsiteX0" fmla="*/ 1057045 w 1551266"/>
                  <a:gd name="connsiteY0" fmla="*/ 998817 h 1522526"/>
                  <a:gd name="connsiteX1" fmla="*/ 1067570 w 1551266"/>
                  <a:gd name="connsiteY1" fmla="*/ 1002500 h 1522526"/>
                  <a:gd name="connsiteX2" fmla="*/ 1174728 w 1551266"/>
                  <a:gd name="connsiteY2" fmla="*/ 1036732 h 1522526"/>
                  <a:gd name="connsiteX3" fmla="*/ 1383984 w 1551266"/>
                  <a:gd name="connsiteY3" fmla="*/ 1106981 h 1522526"/>
                  <a:gd name="connsiteX4" fmla="*/ 1451552 w 1551266"/>
                  <a:gd name="connsiteY4" fmla="*/ 1185265 h 1522526"/>
                  <a:gd name="connsiteX5" fmla="*/ 1551266 w 1551266"/>
                  <a:gd name="connsiteY5" fmla="*/ 1448990 h 1522526"/>
                  <a:gd name="connsiteX6" fmla="*/ 1241109 w 1551266"/>
                  <a:gd name="connsiteY6" fmla="*/ 1493045 h 1522526"/>
                  <a:gd name="connsiteX7" fmla="*/ 1197054 w 1551266"/>
                  <a:gd name="connsiteY7" fmla="*/ 1439469 h 1522526"/>
                  <a:gd name="connsiteX8" fmla="*/ 1215210 w 1551266"/>
                  <a:gd name="connsiteY8" fmla="*/ 1492451 h 1522526"/>
                  <a:gd name="connsiteX9" fmla="*/ 331153 w 1551266"/>
                  <a:gd name="connsiteY9" fmla="*/ 1497214 h 1522526"/>
                  <a:gd name="connsiteX10" fmla="*/ 315002 w 1551266"/>
                  <a:gd name="connsiteY10" fmla="*/ 1492951 h 1522526"/>
                  <a:gd name="connsiteX11" fmla="*/ 337537 w 1551266"/>
                  <a:gd name="connsiteY11" fmla="*/ 1446229 h 1522526"/>
                  <a:gd name="connsiteX12" fmla="*/ 285149 w 1551266"/>
                  <a:gd name="connsiteY12" fmla="*/ 1493854 h 1522526"/>
                  <a:gd name="connsiteX13" fmla="*/ 454 w 1551266"/>
                  <a:gd name="connsiteY13" fmla="*/ 1482327 h 1522526"/>
                  <a:gd name="connsiteX14" fmla="*/ 80227 w 1551266"/>
                  <a:gd name="connsiteY14" fmla="*/ 1223961 h 1522526"/>
                  <a:gd name="connsiteX15" fmla="*/ 132912 w 1551266"/>
                  <a:gd name="connsiteY15" fmla="*/ 1150141 h 1522526"/>
                  <a:gd name="connsiteX16" fmla="*/ 217745 w 1551266"/>
                  <a:gd name="connsiteY16" fmla="*/ 1120077 h 1522526"/>
                  <a:gd name="connsiteX17" fmla="*/ 315973 w 1551266"/>
                  <a:gd name="connsiteY17" fmla="*/ 1078404 h 1522526"/>
                  <a:gd name="connsiteX18" fmla="*/ 440991 w 1551266"/>
                  <a:gd name="connsiteY18" fmla="*/ 1029290 h 1522526"/>
                  <a:gd name="connsiteX19" fmla="*/ 474559 w 1551266"/>
                  <a:gd name="connsiteY19" fmla="*/ 1016502 h 1522526"/>
                  <a:gd name="connsiteX20" fmla="*/ 656623 w 1551266"/>
                  <a:gd name="connsiteY20" fmla="*/ 1272398 h 1522526"/>
                  <a:gd name="connsiteX21" fmla="*/ 828073 w 1551266"/>
                  <a:gd name="connsiteY21" fmla="*/ 1379555 h 1522526"/>
                  <a:gd name="connsiteX22" fmla="*/ 947136 w 1551266"/>
                  <a:gd name="connsiteY22" fmla="*/ 1243823 h 1522526"/>
                  <a:gd name="connsiteX23" fmla="*/ 1057045 w 1551266"/>
                  <a:gd name="connsiteY23" fmla="*/ 998817 h 1522526"/>
                  <a:gd name="connsiteX24" fmla="*/ 920258 w 1551266"/>
                  <a:gd name="connsiteY24" fmla="*/ 852696 h 1522526"/>
                  <a:gd name="connsiteX25" fmla="*/ 915762 w 1551266"/>
                  <a:gd name="connsiteY25" fmla="*/ 923321 h 1522526"/>
                  <a:gd name="connsiteX26" fmla="*/ 1023920 w 1551266"/>
                  <a:gd name="connsiteY26" fmla="*/ 978198 h 1522526"/>
                  <a:gd name="connsiteX27" fmla="*/ 949517 w 1551266"/>
                  <a:gd name="connsiteY27" fmla="*/ 1177148 h 1522526"/>
                  <a:gd name="connsiteX28" fmla="*/ 811405 w 1551266"/>
                  <a:gd name="connsiteY28" fmla="*/ 1341455 h 1522526"/>
                  <a:gd name="connsiteX29" fmla="*/ 620905 w 1551266"/>
                  <a:gd name="connsiteY29" fmla="*/ 1191436 h 1522526"/>
                  <a:gd name="connsiteX30" fmla="*/ 503993 w 1551266"/>
                  <a:gd name="connsiteY30" fmla="*/ 1004825 h 1522526"/>
                  <a:gd name="connsiteX31" fmla="*/ 616016 w 1551266"/>
                  <a:gd name="connsiteY31" fmla="*/ 931359 h 1522526"/>
                  <a:gd name="connsiteX32" fmla="*/ 614584 w 1551266"/>
                  <a:gd name="connsiteY32" fmla="*/ 858311 h 1522526"/>
                  <a:gd name="connsiteX33" fmla="*/ 685199 w 1551266"/>
                  <a:gd name="connsiteY33" fmla="*/ 900922 h 1522526"/>
                  <a:gd name="connsiteX34" fmla="*/ 792356 w 1551266"/>
                  <a:gd name="connsiteY34" fmla="*/ 915210 h 1522526"/>
                  <a:gd name="connsiteX35" fmla="*/ 885224 w 1551266"/>
                  <a:gd name="connsiteY35" fmla="*/ 874729 h 1522526"/>
                  <a:gd name="connsiteX36" fmla="*/ 920258 w 1551266"/>
                  <a:gd name="connsiteY36" fmla="*/ 852696 h 1522526"/>
                  <a:gd name="connsiteX37" fmla="*/ 1105847 w 1551266"/>
                  <a:gd name="connsiteY37" fmla="*/ 314309 h 1522526"/>
                  <a:gd name="connsiteX38" fmla="*/ 1112219 w 1551266"/>
                  <a:gd name="connsiteY38" fmla="*/ 320855 h 1522526"/>
                  <a:gd name="connsiteX39" fmla="*/ 1139009 w 1551266"/>
                  <a:gd name="connsiteY39" fmla="*/ 428013 h 1522526"/>
                  <a:gd name="connsiteX40" fmla="*/ 1165798 w 1551266"/>
                  <a:gd name="connsiteY40" fmla="*/ 569403 h 1522526"/>
                  <a:gd name="connsiteX41" fmla="*/ 1174728 w 1551266"/>
                  <a:gd name="connsiteY41" fmla="*/ 704839 h 1522526"/>
                  <a:gd name="connsiteX42" fmla="*/ 1171751 w 1551266"/>
                  <a:gd name="connsiteY42" fmla="*/ 789672 h 1522526"/>
                  <a:gd name="connsiteX43" fmla="*/ 1146450 w 1551266"/>
                  <a:gd name="connsiteY43" fmla="*/ 850693 h 1522526"/>
                  <a:gd name="connsiteX44" fmla="*/ 1100312 w 1551266"/>
                  <a:gd name="connsiteY44" fmla="*/ 859623 h 1522526"/>
                  <a:gd name="connsiteX45" fmla="*/ 1027385 w 1551266"/>
                  <a:gd name="connsiteY45" fmla="*/ 853670 h 1522526"/>
                  <a:gd name="connsiteX46" fmla="*/ 972318 w 1551266"/>
                  <a:gd name="connsiteY46" fmla="*/ 834322 h 1522526"/>
                  <a:gd name="connsiteX47" fmla="*/ 979759 w 1551266"/>
                  <a:gd name="connsiteY47" fmla="*/ 813485 h 1522526"/>
                  <a:gd name="connsiteX48" fmla="*/ 1009525 w 1551266"/>
                  <a:gd name="connsiteY48" fmla="*/ 773301 h 1522526"/>
                  <a:gd name="connsiteX49" fmla="*/ 1037804 w 1551266"/>
                  <a:gd name="connsiteY49" fmla="*/ 704839 h 1522526"/>
                  <a:gd name="connsiteX50" fmla="*/ 1043757 w 1551266"/>
                  <a:gd name="connsiteY50" fmla="*/ 675072 h 1522526"/>
                  <a:gd name="connsiteX51" fmla="*/ 1061616 w 1551266"/>
                  <a:gd name="connsiteY51" fmla="*/ 655725 h 1522526"/>
                  <a:gd name="connsiteX52" fmla="*/ 1086918 w 1551266"/>
                  <a:gd name="connsiteY52" fmla="*/ 579821 h 1522526"/>
                  <a:gd name="connsiteX53" fmla="*/ 1104777 w 1551266"/>
                  <a:gd name="connsiteY53" fmla="*/ 499452 h 1522526"/>
                  <a:gd name="connsiteX54" fmla="*/ 1106266 w 1551266"/>
                  <a:gd name="connsiteY54" fmla="*/ 463733 h 1522526"/>
                  <a:gd name="connsiteX55" fmla="*/ 1089894 w 1551266"/>
                  <a:gd name="connsiteY55" fmla="*/ 430990 h 1522526"/>
                  <a:gd name="connsiteX56" fmla="*/ 1073523 w 1551266"/>
                  <a:gd name="connsiteY56" fmla="*/ 416107 h 1522526"/>
                  <a:gd name="connsiteX57" fmla="*/ 1070546 w 1551266"/>
                  <a:gd name="connsiteY57" fmla="*/ 386340 h 1522526"/>
                  <a:gd name="connsiteX58" fmla="*/ 1073523 w 1551266"/>
                  <a:gd name="connsiteY58" fmla="*/ 350621 h 1522526"/>
                  <a:gd name="connsiteX59" fmla="*/ 1088406 w 1551266"/>
                  <a:gd name="connsiteY59" fmla="*/ 328297 h 1522526"/>
                  <a:gd name="connsiteX60" fmla="*/ 1105847 w 1551266"/>
                  <a:gd name="connsiteY60" fmla="*/ 314309 h 1522526"/>
                  <a:gd name="connsiteX61" fmla="*/ 680438 w 1551266"/>
                  <a:gd name="connsiteY61" fmla="*/ 96060 h 1522526"/>
                  <a:gd name="connsiteX62" fmla="*/ 573282 w 1551266"/>
                  <a:gd name="connsiteY62" fmla="*/ 431816 h 1522526"/>
                  <a:gd name="connsiteX63" fmla="*/ 718538 w 1551266"/>
                  <a:gd name="connsiteY63" fmla="*/ 184165 h 1522526"/>
                  <a:gd name="connsiteX64" fmla="*/ 680438 w 1551266"/>
                  <a:gd name="connsiteY64" fmla="*/ 96060 h 1522526"/>
                  <a:gd name="connsiteX65" fmla="*/ 715956 w 1551266"/>
                  <a:gd name="connsiteY65" fmla="*/ 0 h 1522526"/>
                  <a:gd name="connsiteX66" fmla="*/ 760481 w 1551266"/>
                  <a:gd name="connsiteY66" fmla="*/ 372 h 1522526"/>
                  <a:gd name="connsiteX67" fmla="*/ 821998 w 1551266"/>
                  <a:gd name="connsiteY67" fmla="*/ 6326 h 1522526"/>
                  <a:gd name="connsiteX68" fmla="*/ 893437 w 1551266"/>
                  <a:gd name="connsiteY68" fmla="*/ 38076 h 1522526"/>
                  <a:gd name="connsiteX69" fmla="*/ 974798 w 1551266"/>
                  <a:gd name="connsiteY69" fmla="*/ 103562 h 1522526"/>
                  <a:gd name="connsiteX70" fmla="*/ 1070050 w 1551266"/>
                  <a:gd name="connsiteY70" fmla="*/ 216673 h 1522526"/>
                  <a:gd name="connsiteX71" fmla="*/ 1105769 w 1551266"/>
                  <a:gd name="connsiteY71" fmla="*/ 276206 h 1522526"/>
                  <a:gd name="connsiteX72" fmla="*/ 1089894 w 1551266"/>
                  <a:gd name="connsiteY72" fmla="*/ 313909 h 1522526"/>
                  <a:gd name="connsiteX73" fmla="*/ 1056159 w 1551266"/>
                  <a:gd name="connsiteY73" fmla="*/ 331769 h 1522526"/>
                  <a:gd name="connsiteX74" fmla="*/ 1032346 w 1551266"/>
                  <a:gd name="connsiteY74" fmla="*/ 311925 h 1522526"/>
                  <a:gd name="connsiteX75" fmla="*/ 978767 w 1551266"/>
                  <a:gd name="connsiteY75" fmla="*/ 256361 h 1522526"/>
                  <a:gd name="connsiteX76" fmla="*/ 883515 w 1551266"/>
                  <a:gd name="connsiteY76" fmla="*/ 210720 h 1522526"/>
                  <a:gd name="connsiteX77" fmla="*/ 780326 w 1551266"/>
                  <a:gd name="connsiteY77" fmla="*/ 210720 h 1522526"/>
                  <a:gd name="connsiteX78" fmla="*/ 914697 w 1551266"/>
                  <a:gd name="connsiteY78" fmla="*/ 240487 h 1522526"/>
                  <a:gd name="connsiteX79" fmla="*/ 980183 w 1551266"/>
                  <a:gd name="connsiteY79" fmla="*/ 279721 h 1522526"/>
                  <a:gd name="connsiteX80" fmla="*/ 1042349 w 1551266"/>
                  <a:gd name="connsiteY80" fmla="*/ 344718 h 1522526"/>
                  <a:gd name="connsiteX81" fmla="*/ 1033532 w 1551266"/>
                  <a:gd name="connsiteY81" fmla="*/ 378896 h 1522526"/>
                  <a:gd name="connsiteX82" fmla="*/ 1033532 w 1551266"/>
                  <a:gd name="connsiteY82" fmla="*/ 451651 h 1522526"/>
                  <a:gd name="connsiteX83" fmla="*/ 1067568 w 1551266"/>
                  <a:gd name="connsiteY83" fmla="*/ 478628 h 1522526"/>
                  <a:gd name="connsiteX84" fmla="*/ 1031312 w 1551266"/>
                  <a:gd name="connsiteY84" fmla="*/ 638035 h 1522526"/>
                  <a:gd name="connsiteX85" fmla="*/ 1010595 w 1551266"/>
                  <a:gd name="connsiteY85" fmla="*/ 651932 h 1522526"/>
                  <a:gd name="connsiteX86" fmla="*/ 902724 w 1551266"/>
                  <a:gd name="connsiteY86" fmla="*/ 831290 h 1522526"/>
                  <a:gd name="connsiteX87" fmla="*/ 813787 w 1551266"/>
                  <a:gd name="connsiteY87" fmla="*/ 893779 h 1522526"/>
                  <a:gd name="connsiteX88" fmla="*/ 728062 w 1551266"/>
                  <a:gd name="connsiteY88" fmla="*/ 893779 h 1522526"/>
                  <a:gd name="connsiteX89" fmla="*/ 607001 w 1551266"/>
                  <a:gd name="connsiteY89" fmla="*/ 821966 h 1522526"/>
                  <a:gd name="connsiteX90" fmla="*/ 514862 w 1551266"/>
                  <a:gd name="connsiteY90" fmla="*/ 643758 h 1522526"/>
                  <a:gd name="connsiteX91" fmla="*/ 454191 w 1551266"/>
                  <a:gd name="connsiteY91" fmla="*/ 503970 h 1522526"/>
                  <a:gd name="connsiteX92" fmla="*/ 477867 w 1551266"/>
                  <a:gd name="connsiteY92" fmla="*/ 464730 h 1522526"/>
                  <a:gd name="connsiteX93" fmla="*/ 467053 w 1551266"/>
                  <a:gd name="connsiteY93" fmla="*/ 399317 h 1522526"/>
                  <a:gd name="connsiteX94" fmla="*/ 440991 w 1551266"/>
                  <a:gd name="connsiteY94" fmla="*/ 419083 h 1522526"/>
                  <a:gd name="connsiteX95" fmla="*/ 425116 w 1551266"/>
                  <a:gd name="connsiteY95" fmla="*/ 438927 h 1522526"/>
                  <a:gd name="connsiteX96" fmla="*/ 411225 w 1551266"/>
                  <a:gd name="connsiteY96" fmla="*/ 476631 h 1522526"/>
                  <a:gd name="connsiteX97" fmla="*/ 417178 w 1551266"/>
                  <a:gd name="connsiteY97" fmla="*/ 514335 h 1522526"/>
                  <a:gd name="connsiteX98" fmla="*/ 427100 w 1551266"/>
                  <a:gd name="connsiteY98" fmla="*/ 571883 h 1522526"/>
                  <a:gd name="connsiteX99" fmla="*/ 450913 w 1551266"/>
                  <a:gd name="connsiteY99" fmla="*/ 665150 h 1522526"/>
                  <a:gd name="connsiteX100" fmla="*/ 476710 w 1551266"/>
                  <a:gd name="connsiteY100" fmla="*/ 686979 h 1522526"/>
                  <a:gd name="connsiteX101" fmla="*/ 492586 w 1551266"/>
                  <a:gd name="connsiteY101" fmla="*/ 728652 h 1522526"/>
                  <a:gd name="connsiteX102" fmla="*/ 530290 w 1551266"/>
                  <a:gd name="connsiteY102" fmla="*/ 802075 h 1522526"/>
                  <a:gd name="connsiteX103" fmla="*/ 546165 w 1551266"/>
                  <a:gd name="connsiteY103" fmla="*/ 847716 h 1522526"/>
                  <a:gd name="connsiteX104" fmla="*/ 502508 w 1551266"/>
                  <a:gd name="connsiteY104" fmla="*/ 859623 h 1522526"/>
                  <a:gd name="connsiteX105" fmla="*/ 439007 w 1551266"/>
                  <a:gd name="connsiteY105" fmla="*/ 867560 h 1522526"/>
                  <a:gd name="connsiteX106" fmla="*/ 381459 w 1551266"/>
                  <a:gd name="connsiteY106" fmla="*/ 853670 h 1522526"/>
                  <a:gd name="connsiteX107" fmla="*/ 355661 w 1551266"/>
                  <a:gd name="connsiteY107" fmla="*/ 810012 h 1522526"/>
                  <a:gd name="connsiteX108" fmla="*/ 343755 w 1551266"/>
                  <a:gd name="connsiteY108" fmla="*/ 732620 h 1522526"/>
                  <a:gd name="connsiteX109" fmla="*/ 347724 w 1551266"/>
                  <a:gd name="connsiteY109" fmla="*/ 631415 h 1522526"/>
                  <a:gd name="connsiteX110" fmla="*/ 379474 w 1551266"/>
                  <a:gd name="connsiteY110" fmla="*/ 415114 h 1522526"/>
                  <a:gd name="connsiteX111" fmla="*/ 452897 w 1551266"/>
                  <a:gd name="connsiteY111" fmla="*/ 194845 h 1522526"/>
                  <a:gd name="connsiteX112" fmla="*/ 514414 w 1551266"/>
                  <a:gd name="connsiteY112" fmla="*/ 93640 h 1522526"/>
                  <a:gd name="connsiteX113" fmla="*/ 573947 w 1551266"/>
                  <a:gd name="connsiteY113" fmla="*/ 44029 h 1522526"/>
                  <a:gd name="connsiteX114" fmla="*/ 627526 w 1551266"/>
                  <a:gd name="connsiteY114" fmla="*/ 36092 h 1522526"/>
                  <a:gd name="connsiteX115" fmla="*/ 673167 w 1551266"/>
                  <a:gd name="connsiteY115" fmla="*/ 4341 h 1522526"/>
                  <a:gd name="connsiteX116" fmla="*/ 715956 w 1551266"/>
                  <a:gd name="connsiteY116" fmla="*/ 0 h 1522526"/>
                  <a:gd name="connsiteX0" fmla="*/ 1057045 w 1551266"/>
                  <a:gd name="connsiteY0" fmla="*/ 998817 h 1522526"/>
                  <a:gd name="connsiteX1" fmla="*/ 1067570 w 1551266"/>
                  <a:gd name="connsiteY1" fmla="*/ 1002500 h 1522526"/>
                  <a:gd name="connsiteX2" fmla="*/ 1174728 w 1551266"/>
                  <a:gd name="connsiteY2" fmla="*/ 1036732 h 1522526"/>
                  <a:gd name="connsiteX3" fmla="*/ 1383984 w 1551266"/>
                  <a:gd name="connsiteY3" fmla="*/ 1106981 h 1522526"/>
                  <a:gd name="connsiteX4" fmla="*/ 1451552 w 1551266"/>
                  <a:gd name="connsiteY4" fmla="*/ 1185265 h 1522526"/>
                  <a:gd name="connsiteX5" fmla="*/ 1551266 w 1551266"/>
                  <a:gd name="connsiteY5" fmla="*/ 1448990 h 1522526"/>
                  <a:gd name="connsiteX6" fmla="*/ 1241109 w 1551266"/>
                  <a:gd name="connsiteY6" fmla="*/ 1493045 h 1522526"/>
                  <a:gd name="connsiteX7" fmla="*/ 1197054 w 1551266"/>
                  <a:gd name="connsiteY7" fmla="*/ 1439469 h 1522526"/>
                  <a:gd name="connsiteX8" fmla="*/ 1215210 w 1551266"/>
                  <a:gd name="connsiteY8" fmla="*/ 1492451 h 1522526"/>
                  <a:gd name="connsiteX9" fmla="*/ 331153 w 1551266"/>
                  <a:gd name="connsiteY9" fmla="*/ 1497214 h 1522526"/>
                  <a:gd name="connsiteX10" fmla="*/ 315002 w 1551266"/>
                  <a:gd name="connsiteY10" fmla="*/ 1492951 h 1522526"/>
                  <a:gd name="connsiteX11" fmla="*/ 337537 w 1551266"/>
                  <a:gd name="connsiteY11" fmla="*/ 1446229 h 1522526"/>
                  <a:gd name="connsiteX12" fmla="*/ 285149 w 1551266"/>
                  <a:gd name="connsiteY12" fmla="*/ 1493854 h 1522526"/>
                  <a:gd name="connsiteX13" fmla="*/ 454 w 1551266"/>
                  <a:gd name="connsiteY13" fmla="*/ 1482327 h 1522526"/>
                  <a:gd name="connsiteX14" fmla="*/ 80227 w 1551266"/>
                  <a:gd name="connsiteY14" fmla="*/ 1223961 h 1522526"/>
                  <a:gd name="connsiteX15" fmla="*/ 132912 w 1551266"/>
                  <a:gd name="connsiteY15" fmla="*/ 1150141 h 1522526"/>
                  <a:gd name="connsiteX16" fmla="*/ 222508 w 1551266"/>
                  <a:gd name="connsiteY16" fmla="*/ 1108171 h 1522526"/>
                  <a:gd name="connsiteX17" fmla="*/ 315973 w 1551266"/>
                  <a:gd name="connsiteY17" fmla="*/ 1078404 h 1522526"/>
                  <a:gd name="connsiteX18" fmla="*/ 440991 w 1551266"/>
                  <a:gd name="connsiteY18" fmla="*/ 1029290 h 1522526"/>
                  <a:gd name="connsiteX19" fmla="*/ 474559 w 1551266"/>
                  <a:gd name="connsiteY19" fmla="*/ 1016502 h 1522526"/>
                  <a:gd name="connsiteX20" fmla="*/ 656623 w 1551266"/>
                  <a:gd name="connsiteY20" fmla="*/ 1272398 h 1522526"/>
                  <a:gd name="connsiteX21" fmla="*/ 828073 w 1551266"/>
                  <a:gd name="connsiteY21" fmla="*/ 1379555 h 1522526"/>
                  <a:gd name="connsiteX22" fmla="*/ 947136 w 1551266"/>
                  <a:gd name="connsiteY22" fmla="*/ 1243823 h 1522526"/>
                  <a:gd name="connsiteX23" fmla="*/ 1057045 w 1551266"/>
                  <a:gd name="connsiteY23" fmla="*/ 998817 h 1522526"/>
                  <a:gd name="connsiteX24" fmla="*/ 920258 w 1551266"/>
                  <a:gd name="connsiteY24" fmla="*/ 852696 h 1522526"/>
                  <a:gd name="connsiteX25" fmla="*/ 915762 w 1551266"/>
                  <a:gd name="connsiteY25" fmla="*/ 923321 h 1522526"/>
                  <a:gd name="connsiteX26" fmla="*/ 1023920 w 1551266"/>
                  <a:gd name="connsiteY26" fmla="*/ 978198 h 1522526"/>
                  <a:gd name="connsiteX27" fmla="*/ 949517 w 1551266"/>
                  <a:gd name="connsiteY27" fmla="*/ 1177148 h 1522526"/>
                  <a:gd name="connsiteX28" fmla="*/ 811405 w 1551266"/>
                  <a:gd name="connsiteY28" fmla="*/ 1341455 h 1522526"/>
                  <a:gd name="connsiteX29" fmla="*/ 620905 w 1551266"/>
                  <a:gd name="connsiteY29" fmla="*/ 1191436 h 1522526"/>
                  <a:gd name="connsiteX30" fmla="*/ 503993 w 1551266"/>
                  <a:gd name="connsiteY30" fmla="*/ 1004825 h 1522526"/>
                  <a:gd name="connsiteX31" fmla="*/ 616016 w 1551266"/>
                  <a:gd name="connsiteY31" fmla="*/ 931359 h 1522526"/>
                  <a:gd name="connsiteX32" fmla="*/ 614584 w 1551266"/>
                  <a:gd name="connsiteY32" fmla="*/ 858311 h 1522526"/>
                  <a:gd name="connsiteX33" fmla="*/ 685199 w 1551266"/>
                  <a:gd name="connsiteY33" fmla="*/ 900922 h 1522526"/>
                  <a:gd name="connsiteX34" fmla="*/ 792356 w 1551266"/>
                  <a:gd name="connsiteY34" fmla="*/ 915210 h 1522526"/>
                  <a:gd name="connsiteX35" fmla="*/ 885224 w 1551266"/>
                  <a:gd name="connsiteY35" fmla="*/ 874729 h 1522526"/>
                  <a:gd name="connsiteX36" fmla="*/ 920258 w 1551266"/>
                  <a:gd name="connsiteY36" fmla="*/ 852696 h 1522526"/>
                  <a:gd name="connsiteX37" fmla="*/ 1105847 w 1551266"/>
                  <a:gd name="connsiteY37" fmla="*/ 314309 h 1522526"/>
                  <a:gd name="connsiteX38" fmla="*/ 1112219 w 1551266"/>
                  <a:gd name="connsiteY38" fmla="*/ 320855 h 1522526"/>
                  <a:gd name="connsiteX39" fmla="*/ 1139009 w 1551266"/>
                  <a:gd name="connsiteY39" fmla="*/ 428013 h 1522526"/>
                  <a:gd name="connsiteX40" fmla="*/ 1165798 w 1551266"/>
                  <a:gd name="connsiteY40" fmla="*/ 569403 h 1522526"/>
                  <a:gd name="connsiteX41" fmla="*/ 1174728 w 1551266"/>
                  <a:gd name="connsiteY41" fmla="*/ 704839 h 1522526"/>
                  <a:gd name="connsiteX42" fmla="*/ 1171751 w 1551266"/>
                  <a:gd name="connsiteY42" fmla="*/ 789672 h 1522526"/>
                  <a:gd name="connsiteX43" fmla="*/ 1146450 w 1551266"/>
                  <a:gd name="connsiteY43" fmla="*/ 850693 h 1522526"/>
                  <a:gd name="connsiteX44" fmla="*/ 1100312 w 1551266"/>
                  <a:gd name="connsiteY44" fmla="*/ 859623 h 1522526"/>
                  <a:gd name="connsiteX45" fmla="*/ 1027385 w 1551266"/>
                  <a:gd name="connsiteY45" fmla="*/ 853670 h 1522526"/>
                  <a:gd name="connsiteX46" fmla="*/ 972318 w 1551266"/>
                  <a:gd name="connsiteY46" fmla="*/ 834322 h 1522526"/>
                  <a:gd name="connsiteX47" fmla="*/ 979759 w 1551266"/>
                  <a:gd name="connsiteY47" fmla="*/ 813485 h 1522526"/>
                  <a:gd name="connsiteX48" fmla="*/ 1009525 w 1551266"/>
                  <a:gd name="connsiteY48" fmla="*/ 773301 h 1522526"/>
                  <a:gd name="connsiteX49" fmla="*/ 1037804 w 1551266"/>
                  <a:gd name="connsiteY49" fmla="*/ 704839 h 1522526"/>
                  <a:gd name="connsiteX50" fmla="*/ 1043757 w 1551266"/>
                  <a:gd name="connsiteY50" fmla="*/ 675072 h 1522526"/>
                  <a:gd name="connsiteX51" fmla="*/ 1061616 w 1551266"/>
                  <a:gd name="connsiteY51" fmla="*/ 655725 h 1522526"/>
                  <a:gd name="connsiteX52" fmla="*/ 1086918 w 1551266"/>
                  <a:gd name="connsiteY52" fmla="*/ 579821 h 1522526"/>
                  <a:gd name="connsiteX53" fmla="*/ 1104777 w 1551266"/>
                  <a:gd name="connsiteY53" fmla="*/ 499452 h 1522526"/>
                  <a:gd name="connsiteX54" fmla="*/ 1106266 w 1551266"/>
                  <a:gd name="connsiteY54" fmla="*/ 463733 h 1522526"/>
                  <a:gd name="connsiteX55" fmla="*/ 1089894 w 1551266"/>
                  <a:gd name="connsiteY55" fmla="*/ 430990 h 1522526"/>
                  <a:gd name="connsiteX56" fmla="*/ 1073523 w 1551266"/>
                  <a:gd name="connsiteY56" fmla="*/ 416107 h 1522526"/>
                  <a:gd name="connsiteX57" fmla="*/ 1070546 w 1551266"/>
                  <a:gd name="connsiteY57" fmla="*/ 386340 h 1522526"/>
                  <a:gd name="connsiteX58" fmla="*/ 1073523 w 1551266"/>
                  <a:gd name="connsiteY58" fmla="*/ 350621 h 1522526"/>
                  <a:gd name="connsiteX59" fmla="*/ 1088406 w 1551266"/>
                  <a:gd name="connsiteY59" fmla="*/ 328297 h 1522526"/>
                  <a:gd name="connsiteX60" fmla="*/ 1105847 w 1551266"/>
                  <a:gd name="connsiteY60" fmla="*/ 314309 h 1522526"/>
                  <a:gd name="connsiteX61" fmla="*/ 680438 w 1551266"/>
                  <a:gd name="connsiteY61" fmla="*/ 96060 h 1522526"/>
                  <a:gd name="connsiteX62" fmla="*/ 573282 w 1551266"/>
                  <a:gd name="connsiteY62" fmla="*/ 431816 h 1522526"/>
                  <a:gd name="connsiteX63" fmla="*/ 718538 w 1551266"/>
                  <a:gd name="connsiteY63" fmla="*/ 184165 h 1522526"/>
                  <a:gd name="connsiteX64" fmla="*/ 680438 w 1551266"/>
                  <a:gd name="connsiteY64" fmla="*/ 96060 h 1522526"/>
                  <a:gd name="connsiteX65" fmla="*/ 715956 w 1551266"/>
                  <a:gd name="connsiteY65" fmla="*/ 0 h 1522526"/>
                  <a:gd name="connsiteX66" fmla="*/ 760481 w 1551266"/>
                  <a:gd name="connsiteY66" fmla="*/ 372 h 1522526"/>
                  <a:gd name="connsiteX67" fmla="*/ 821998 w 1551266"/>
                  <a:gd name="connsiteY67" fmla="*/ 6326 h 1522526"/>
                  <a:gd name="connsiteX68" fmla="*/ 893437 w 1551266"/>
                  <a:gd name="connsiteY68" fmla="*/ 38076 h 1522526"/>
                  <a:gd name="connsiteX69" fmla="*/ 974798 w 1551266"/>
                  <a:gd name="connsiteY69" fmla="*/ 103562 h 1522526"/>
                  <a:gd name="connsiteX70" fmla="*/ 1070050 w 1551266"/>
                  <a:gd name="connsiteY70" fmla="*/ 216673 h 1522526"/>
                  <a:gd name="connsiteX71" fmla="*/ 1105769 w 1551266"/>
                  <a:gd name="connsiteY71" fmla="*/ 276206 h 1522526"/>
                  <a:gd name="connsiteX72" fmla="*/ 1089894 w 1551266"/>
                  <a:gd name="connsiteY72" fmla="*/ 313909 h 1522526"/>
                  <a:gd name="connsiteX73" fmla="*/ 1056159 w 1551266"/>
                  <a:gd name="connsiteY73" fmla="*/ 331769 h 1522526"/>
                  <a:gd name="connsiteX74" fmla="*/ 1032346 w 1551266"/>
                  <a:gd name="connsiteY74" fmla="*/ 311925 h 1522526"/>
                  <a:gd name="connsiteX75" fmla="*/ 978767 w 1551266"/>
                  <a:gd name="connsiteY75" fmla="*/ 256361 h 1522526"/>
                  <a:gd name="connsiteX76" fmla="*/ 883515 w 1551266"/>
                  <a:gd name="connsiteY76" fmla="*/ 210720 h 1522526"/>
                  <a:gd name="connsiteX77" fmla="*/ 780326 w 1551266"/>
                  <a:gd name="connsiteY77" fmla="*/ 210720 h 1522526"/>
                  <a:gd name="connsiteX78" fmla="*/ 914697 w 1551266"/>
                  <a:gd name="connsiteY78" fmla="*/ 240487 h 1522526"/>
                  <a:gd name="connsiteX79" fmla="*/ 980183 w 1551266"/>
                  <a:gd name="connsiteY79" fmla="*/ 279721 h 1522526"/>
                  <a:gd name="connsiteX80" fmla="*/ 1042349 w 1551266"/>
                  <a:gd name="connsiteY80" fmla="*/ 344718 h 1522526"/>
                  <a:gd name="connsiteX81" fmla="*/ 1033532 w 1551266"/>
                  <a:gd name="connsiteY81" fmla="*/ 378896 h 1522526"/>
                  <a:gd name="connsiteX82" fmla="*/ 1033532 w 1551266"/>
                  <a:gd name="connsiteY82" fmla="*/ 451651 h 1522526"/>
                  <a:gd name="connsiteX83" fmla="*/ 1067568 w 1551266"/>
                  <a:gd name="connsiteY83" fmla="*/ 478628 h 1522526"/>
                  <a:gd name="connsiteX84" fmla="*/ 1031312 w 1551266"/>
                  <a:gd name="connsiteY84" fmla="*/ 638035 h 1522526"/>
                  <a:gd name="connsiteX85" fmla="*/ 1010595 w 1551266"/>
                  <a:gd name="connsiteY85" fmla="*/ 651932 h 1522526"/>
                  <a:gd name="connsiteX86" fmla="*/ 902724 w 1551266"/>
                  <a:gd name="connsiteY86" fmla="*/ 831290 h 1522526"/>
                  <a:gd name="connsiteX87" fmla="*/ 813787 w 1551266"/>
                  <a:gd name="connsiteY87" fmla="*/ 893779 h 1522526"/>
                  <a:gd name="connsiteX88" fmla="*/ 728062 w 1551266"/>
                  <a:gd name="connsiteY88" fmla="*/ 893779 h 1522526"/>
                  <a:gd name="connsiteX89" fmla="*/ 607001 w 1551266"/>
                  <a:gd name="connsiteY89" fmla="*/ 821966 h 1522526"/>
                  <a:gd name="connsiteX90" fmla="*/ 514862 w 1551266"/>
                  <a:gd name="connsiteY90" fmla="*/ 643758 h 1522526"/>
                  <a:gd name="connsiteX91" fmla="*/ 454191 w 1551266"/>
                  <a:gd name="connsiteY91" fmla="*/ 503970 h 1522526"/>
                  <a:gd name="connsiteX92" fmla="*/ 477867 w 1551266"/>
                  <a:gd name="connsiteY92" fmla="*/ 464730 h 1522526"/>
                  <a:gd name="connsiteX93" fmla="*/ 467053 w 1551266"/>
                  <a:gd name="connsiteY93" fmla="*/ 399317 h 1522526"/>
                  <a:gd name="connsiteX94" fmla="*/ 440991 w 1551266"/>
                  <a:gd name="connsiteY94" fmla="*/ 419083 h 1522526"/>
                  <a:gd name="connsiteX95" fmla="*/ 425116 w 1551266"/>
                  <a:gd name="connsiteY95" fmla="*/ 438927 h 1522526"/>
                  <a:gd name="connsiteX96" fmla="*/ 411225 w 1551266"/>
                  <a:gd name="connsiteY96" fmla="*/ 476631 h 1522526"/>
                  <a:gd name="connsiteX97" fmla="*/ 417178 w 1551266"/>
                  <a:gd name="connsiteY97" fmla="*/ 514335 h 1522526"/>
                  <a:gd name="connsiteX98" fmla="*/ 427100 w 1551266"/>
                  <a:gd name="connsiteY98" fmla="*/ 571883 h 1522526"/>
                  <a:gd name="connsiteX99" fmla="*/ 450913 w 1551266"/>
                  <a:gd name="connsiteY99" fmla="*/ 665150 h 1522526"/>
                  <a:gd name="connsiteX100" fmla="*/ 476710 w 1551266"/>
                  <a:gd name="connsiteY100" fmla="*/ 686979 h 1522526"/>
                  <a:gd name="connsiteX101" fmla="*/ 492586 w 1551266"/>
                  <a:gd name="connsiteY101" fmla="*/ 728652 h 1522526"/>
                  <a:gd name="connsiteX102" fmla="*/ 530290 w 1551266"/>
                  <a:gd name="connsiteY102" fmla="*/ 802075 h 1522526"/>
                  <a:gd name="connsiteX103" fmla="*/ 546165 w 1551266"/>
                  <a:gd name="connsiteY103" fmla="*/ 847716 h 1522526"/>
                  <a:gd name="connsiteX104" fmla="*/ 502508 w 1551266"/>
                  <a:gd name="connsiteY104" fmla="*/ 859623 h 1522526"/>
                  <a:gd name="connsiteX105" fmla="*/ 439007 w 1551266"/>
                  <a:gd name="connsiteY105" fmla="*/ 867560 h 1522526"/>
                  <a:gd name="connsiteX106" fmla="*/ 381459 w 1551266"/>
                  <a:gd name="connsiteY106" fmla="*/ 853670 h 1522526"/>
                  <a:gd name="connsiteX107" fmla="*/ 355661 w 1551266"/>
                  <a:gd name="connsiteY107" fmla="*/ 810012 h 1522526"/>
                  <a:gd name="connsiteX108" fmla="*/ 343755 w 1551266"/>
                  <a:gd name="connsiteY108" fmla="*/ 732620 h 1522526"/>
                  <a:gd name="connsiteX109" fmla="*/ 347724 w 1551266"/>
                  <a:gd name="connsiteY109" fmla="*/ 631415 h 1522526"/>
                  <a:gd name="connsiteX110" fmla="*/ 379474 w 1551266"/>
                  <a:gd name="connsiteY110" fmla="*/ 415114 h 1522526"/>
                  <a:gd name="connsiteX111" fmla="*/ 452897 w 1551266"/>
                  <a:gd name="connsiteY111" fmla="*/ 194845 h 1522526"/>
                  <a:gd name="connsiteX112" fmla="*/ 514414 w 1551266"/>
                  <a:gd name="connsiteY112" fmla="*/ 93640 h 1522526"/>
                  <a:gd name="connsiteX113" fmla="*/ 573947 w 1551266"/>
                  <a:gd name="connsiteY113" fmla="*/ 44029 h 1522526"/>
                  <a:gd name="connsiteX114" fmla="*/ 627526 w 1551266"/>
                  <a:gd name="connsiteY114" fmla="*/ 36092 h 1522526"/>
                  <a:gd name="connsiteX115" fmla="*/ 673167 w 1551266"/>
                  <a:gd name="connsiteY115" fmla="*/ 4341 h 1522526"/>
                  <a:gd name="connsiteX116" fmla="*/ 715956 w 1551266"/>
                  <a:gd name="connsiteY116" fmla="*/ 0 h 1522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1551266" h="1522526">
                    <a:moveTo>
                      <a:pt x="1057045" y="998817"/>
                    </a:moveTo>
                    <a:lnTo>
                      <a:pt x="1067570" y="1002500"/>
                    </a:lnTo>
                    <a:lnTo>
                      <a:pt x="1174728" y="1036732"/>
                    </a:lnTo>
                    <a:lnTo>
                      <a:pt x="1383984" y="1106981"/>
                    </a:lnTo>
                    <a:cubicBezTo>
                      <a:pt x="1387457" y="1120375"/>
                      <a:pt x="1443515" y="1151630"/>
                      <a:pt x="1451552" y="1185265"/>
                    </a:cubicBezTo>
                    <a:cubicBezTo>
                      <a:pt x="1483798" y="1237107"/>
                      <a:pt x="1504186" y="1331415"/>
                      <a:pt x="1551266" y="1448990"/>
                    </a:cubicBezTo>
                    <a:cubicBezTo>
                      <a:pt x="1544321" y="1477764"/>
                      <a:pt x="1250039" y="1471217"/>
                      <a:pt x="1241109" y="1493045"/>
                    </a:cubicBezTo>
                    <a:cubicBezTo>
                      <a:pt x="1226424" y="1475186"/>
                      <a:pt x="1221264" y="1443041"/>
                      <a:pt x="1197054" y="1439469"/>
                    </a:cubicBezTo>
                    <a:lnTo>
                      <a:pt x="1215210" y="1492451"/>
                    </a:lnTo>
                    <a:cubicBezTo>
                      <a:pt x="885826" y="1530777"/>
                      <a:pt x="710655" y="1532592"/>
                      <a:pt x="331153" y="1497214"/>
                    </a:cubicBezTo>
                    <a:lnTo>
                      <a:pt x="315002" y="1492951"/>
                    </a:lnTo>
                    <a:cubicBezTo>
                      <a:pt x="308449" y="1486754"/>
                      <a:pt x="327012" y="1473858"/>
                      <a:pt x="337537" y="1446229"/>
                    </a:cubicBezTo>
                    <a:cubicBezTo>
                      <a:pt x="297056" y="1451785"/>
                      <a:pt x="311343" y="1478773"/>
                      <a:pt x="285149" y="1493854"/>
                    </a:cubicBezTo>
                    <a:lnTo>
                      <a:pt x="454" y="1482327"/>
                    </a:lnTo>
                    <a:cubicBezTo>
                      <a:pt x="-5499" y="1452561"/>
                      <a:pt x="48477" y="1321393"/>
                      <a:pt x="80227" y="1223961"/>
                    </a:cubicBezTo>
                    <a:cubicBezTo>
                      <a:pt x="78738" y="1205109"/>
                      <a:pt x="126463" y="1163039"/>
                      <a:pt x="132912" y="1150141"/>
                    </a:cubicBezTo>
                    <a:lnTo>
                      <a:pt x="222508" y="1108171"/>
                    </a:lnTo>
                    <a:lnTo>
                      <a:pt x="315973" y="1078404"/>
                    </a:lnTo>
                    <a:lnTo>
                      <a:pt x="440991" y="1029290"/>
                    </a:lnTo>
                    <a:lnTo>
                      <a:pt x="474559" y="1016502"/>
                    </a:lnTo>
                    <a:cubicBezTo>
                      <a:pt x="516350" y="1085393"/>
                      <a:pt x="601200" y="1214439"/>
                      <a:pt x="656623" y="1272398"/>
                    </a:cubicBezTo>
                    <a:cubicBezTo>
                      <a:pt x="717345" y="1335898"/>
                      <a:pt x="779654" y="1384317"/>
                      <a:pt x="828073" y="1379555"/>
                    </a:cubicBezTo>
                    <a:cubicBezTo>
                      <a:pt x="876492" y="1374793"/>
                      <a:pt x="903480" y="1322007"/>
                      <a:pt x="947136" y="1243823"/>
                    </a:cubicBezTo>
                    <a:cubicBezTo>
                      <a:pt x="977066" y="1190222"/>
                      <a:pt x="1024529" y="1081221"/>
                      <a:pt x="1057045" y="998817"/>
                    </a:cubicBezTo>
                    <a:close/>
                    <a:moveTo>
                      <a:pt x="920258" y="852696"/>
                    </a:moveTo>
                    <a:cubicBezTo>
                      <a:pt x="921010" y="872436"/>
                      <a:pt x="911945" y="917882"/>
                      <a:pt x="915762" y="923321"/>
                    </a:cubicBezTo>
                    <a:cubicBezTo>
                      <a:pt x="941496" y="957488"/>
                      <a:pt x="993424" y="955937"/>
                      <a:pt x="1023920" y="978198"/>
                    </a:cubicBezTo>
                    <a:cubicBezTo>
                      <a:pt x="1001831" y="1045214"/>
                      <a:pt x="975280" y="1129625"/>
                      <a:pt x="949517" y="1177148"/>
                    </a:cubicBezTo>
                    <a:cubicBezTo>
                      <a:pt x="908639" y="1252554"/>
                      <a:pt x="866174" y="1339074"/>
                      <a:pt x="811405" y="1341455"/>
                    </a:cubicBezTo>
                    <a:cubicBezTo>
                      <a:pt x="756636" y="1343836"/>
                      <a:pt x="682818" y="1265652"/>
                      <a:pt x="620905" y="1191436"/>
                    </a:cubicBezTo>
                    <a:cubicBezTo>
                      <a:pt x="585938" y="1149521"/>
                      <a:pt x="541097" y="1071020"/>
                      <a:pt x="503993" y="1004825"/>
                    </a:cubicBezTo>
                    <a:cubicBezTo>
                      <a:pt x="515878" y="994816"/>
                      <a:pt x="599975" y="955559"/>
                      <a:pt x="616016" y="931359"/>
                    </a:cubicBezTo>
                    <a:cubicBezTo>
                      <a:pt x="617098" y="908462"/>
                      <a:pt x="618089" y="894817"/>
                      <a:pt x="614584" y="858311"/>
                    </a:cubicBezTo>
                    <a:cubicBezTo>
                      <a:pt x="638122" y="872515"/>
                      <a:pt x="655570" y="891439"/>
                      <a:pt x="685199" y="900922"/>
                    </a:cubicBezTo>
                    <a:cubicBezTo>
                      <a:pt x="714828" y="910405"/>
                      <a:pt x="759019" y="919575"/>
                      <a:pt x="792356" y="915210"/>
                    </a:cubicBezTo>
                    <a:cubicBezTo>
                      <a:pt x="825693" y="910845"/>
                      <a:pt x="863907" y="885148"/>
                      <a:pt x="885224" y="874729"/>
                    </a:cubicBezTo>
                    <a:cubicBezTo>
                      <a:pt x="906541" y="864310"/>
                      <a:pt x="909433" y="855230"/>
                      <a:pt x="920258" y="852696"/>
                    </a:cubicBezTo>
                    <a:close/>
                    <a:moveTo>
                      <a:pt x="1105847" y="314309"/>
                    </a:moveTo>
                    <a:lnTo>
                      <a:pt x="1112219" y="320855"/>
                    </a:lnTo>
                    <a:cubicBezTo>
                      <a:pt x="1120653" y="337474"/>
                      <a:pt x="1130079" y="386589"/>
                      <a:pt x="1139009" y="428013"/>
                    </a:cubicBezTo>
                    <a:cubicBezTo>
                      <a:pt x="1147938" y="469438"/>
                      <a:pt x="1159845" y="523265"/>
                      <a:pt x="1165798" y="569403"/>
                    </a:cubicBezTo>
                    <a:cubicBezTo>
                      <a:pt x="1171751" y="615540"/>
                      <a:pt x="1173736" y="668127"/>
                      <a:pt x="1174728" y="704839"/>
                    </a:cubicBezTo>
                    <a:cubicBezTo>
                      <a:pt x="1175720" y="741550"/>
                      <a:pt x="1176464" y="765363"/>
                      <a:pt x="1171751" y="789672"/>
                    </a:cubicBezTo>
                    <a:cubicBezTo>
                      <a:pt x="1167038" y="813982"/>
                      <a:pt x="1158356" y="839035"/>
                      <a:pt x="1146450" y="850693"/>
                    </a:cubicBezTo>
                    <a:cubicBezTo>
                      <a:pt x="1134543" y="862351"/>
                      <a:pt x="1120157" y="859127"/>
                      <a:pt x="1100312" y="859623"/>
                    </a:cubicBezTo>
                    <a:cubicBezTo>
                      <a:pt x="1080468" y="860119"/>
                      <a:pt x="1048717" y="857887"/>
                      <a:pt x="1027385" y="853670"/>
                    </a:cubicBezTo>
                    <a:cubicBezTo>
                      <a:pt x="1006053" y="849453"/>
                      <a:pt x="980256" y="841019"/>
                      <a:pt x="972318" y="834322"/>
                    </a:cubicBezTo>
                    <a:cubicBezTo>
                      <a:pt x="964380" y="827624"/>
                      <a:pt x="973558" y="823656"/>
                      <a:pt x="979759" y="813485"/>
                    </a:cubicBezTo>
                    <a:cubicBezTo>
                      <a:pt x="985961" y="803315"/>
                      <a:pt x="999852" y="791409"/>
                      <a:pt x="1009525" y="773301"/>
                    </a:cubicBezTo>
                    <a:cubicBezTo>
                      <a:pt x="1019199" y="755193"/>
                      <a:pt x="1032098" y="721210"/>
                      <a:pt x="1037804" y="704839"/>
                    </a:cubicBezTo>
                    <a:cubicBezTo>
                      <a:pt x="1043509" y="688467"/>
                      <a:pt x="1039788" y="683258"/>
                      <a:pt x="1043757" y="675072"/>
                    </a:cubicBezTo>
                    <a:cubicBezTo>
                      <a:pt x="1047726" y="666887"/>
                      <a:pt x="1054423" y="671600"/>
                      <a:pt x="1061616" y="655725"/>
                    </a:cubicBezTo>
                    <a:cubicBezTo>
                      <a:pt x="1068810" y="639849"/>
                      <a:pt x="1079724" y="605866"/>
                      <a:pt x="1086918" y="579821"/>
                    </a:cubicBezTo>
                    <a:cubicBezTo>
                      <a:pt x="1094111" y="553775"/>
                      <a:pt x="1101553" y="518800"/>
                      <a:pt x="1104777" y="499452"/>
                    </a:cubicBezTo>
                    <a:cubicBezTo>
                      <a:pt x="1108002" y="480104"/>
                      <a:pt x="1108746" y="475143"/>
                      <a:pt x="1106266" y="463733"/>
                    </a:cubicBezTo>
                    <a:cubicBezTo>
                      <a:pt x="1103785" y="452322"/>
                      <a:pt x="1095351" y="438927"/>
                      <a:pt x="1089894" y="430990"/>
                    </a:cubicBezTo>
                    <a:cubicBezTo>
                      <a:pt x="1084437" y="423052"/>
                      <a:pt x="1076748" y="423548"/>
                      <a:pt x="1073523" y="416107"/>
                    </a:cubicBezTo>
                    <a:cubicBezTo>
                      <a:pt x="1070298" y="408665"/>
                      <a:pt x="1070546" y="397255"/>
                      <a:pt x="1070546" y="386340"/>
                    </a:cubicBezTo>
                    <a:cubicBezTo>
                      <a:pt x="1070546" y="375426"/>
                      <a:pt x="1070546" y="360295"/>
                      <a:pt x="1073523" y="350621"/>
                    </a:cubicBezTo>
                    <a:cubicBezTo>
                      <a:pt x="1076500" y="340947"/>
                      <a:pt x="1081957" y="333258"/>
                      <a:pt x="1088406" y="328297"/>
                    </a:cubicBezTo>
                    <a:cubicBezTo>
                      <a:pt x="1093243" y="324576"/>
                      <a:pt x="1099475" y="312902"/>
                      <a:pt x="1105847" y="314309"/>
                    </a:cubicBezTo>
                    <a:close/>
                    <a:moveTo>
                      <a:pt x="680438" y="96060"/>
                    </a:moveTo>
                    <a:cubicBezTo>
                      <a:pt x="756637" y="286559"/>
                      <a:pt x="570901" y="331804"/>
                      <a:pt x="573282" y="431816"/>
                    </a:cubicBezTo>
                    <a:cubicBezTo>
                      <a:pt x="599476" y="307992"/>
                      <a:pt x="747113" y="298465"/>
                      <a:pt x="718538" y="184165"/>
                    </a:cubicBezTo>
                    <a:lnTo>
                      <a:pt x="680438" y="96060"/>
                    </a:lnTo>
                    <a:close/>
                    <a:moveTo>
                      <a:pt x="715956" y="0"/>
                    </a:moveTo>
                    <a:lnTo>
                      <a:pt x="760481" y="372"/>
                    </a:lnTo>
                    <a:cubicBezTo>
                      <a:pt x="785287" y="703"/>
                      <a:pt x="799839" y="42"/>
                      <a:pt x="821998" y="6326"/>
                    </a:cubicBezTo>
                    <a:cubicBezTo>
                      <a:pt x="844157" y="12609"/>
                      <a:pt x="867970" y="21870"/>
                      <a:pt x="893437" y="38076"/>
                    </a:cubicBezTo>
                    <a:cubicBezTo>
                      <a:pt x="918904" y="54282"/>
                      <a:pt x="945363" y="73796"/>
                      <a:pt x="974798" y="103562"/>
                    </a:cubicBezTo>
                    <a:cubicBezTo>
                      <a:pt x="1004233" y="133328"/>
                      <a:pt x="1048221" y="187899"/>
                      <a:pt x="1070050" y="216673"/>
                    </a:cubicBezTo>
                    <a:cubicBezTo>
                      <a:pt x="1091878" y="245447"/>
                      <a:pt x="1102462" y="260000"/>
                      <a:pt x="1105769" y="276206"/>
                    </a:cubicBezTo>
                    <a:cubicBezTo>
                      <a:pt x="1109076" y="292412"/>
                      <a:pt x="1098162" y="304649"/>
                      <a:pt x="1089894" y="313909"/>
                    </a:cubicBezTo>
                    <a:cubicBezTo>
                      <a:pt x="1081626" y="323170"/>
                      <a:pt x="1065750" y="332100"/>
                      <a:pt x="1056159" y="331769"/>
                    </a:cubicBezTo>
                    <a:cubicBezTo>
                      <a:pt x="1046567" y="331439"/>
                      <a:pt x="1045245" y="324493"/>
                      <a:pt x="1032346" y="311925"/>
                    </a:cubicBezTo>
                    <a:cubicBezTo>
                      <a:pt x="1019447" y="299357"/>
                      <a:pt x="1003572" y="273229"/>
                      <a:pt x="978767" y="256361"/>
                    </a:cubicBezTo>
                    <a:cubicBezTo>
                      <a:pt x="953962" y="239494"/>
                      <a:pt x="916588" y="218327"/>
                      <a:pt x="883515" y="210720"/>
                    </a:cubicBezTo>
                    <a:cubicBezTo>
                      <a:pt x="850442" y="203113"/>
                      <a:pt x="775129" y="205759"/>
                      <a:pt x="780326" y="210720"/>
                    </a:cubicBezTo>
                    <a:cubicBezTo>
                      <a:pt x="785522" y="215681"/>
                      <a:pt x="874754" y="217931"/>
                      <a:pt x="914697" y="240487"/>
                    </a:cubicBezTo>
                    <a:cubicBezTo>
                      <a:pt x="954640" y="263042"/>
                      <a:pt x="958908" y="262349"/>
                      <a:pt x="980183" y="279721"/>
                    </a:cubicBezTo>
                    <a:cubicBezTo>
                      <a:pt x="1001459" y="297093"/>
                      <a:pt x="1027930" y="328926"/>
                      <a:pt x="1042349" y="344718"/>
                    </a:cubicBezTo>
                    <a:cubicBezTo>
                      <a:pt x="1036581" y="366876"/>
                      <a:pt x="1037228" y="359759"/>
                      <a:pt x="1033532" y="378896"/>
                    </a:cubicBezTo>
                    <a:cubicBezTo>
                      <a:pt x="1041669" y="398511"/>
                      <a:pt x="1033536" y="451629"/>
                      <a:pt x="1033532" y="451651"/>
                    </a:cubicBezTo>
                    <a:cubicBezTo>
                      <a:pt x="1033584" y="451655"/>
                      <a:pt x="1067568" y="454123"/>
                      <a:pt x="1067568" y="478628"/>
                    </a:cubicBezTo>
                    <a:cubicBezTo>
                      <a:pt x="1067568" y="503147"/>
                      <a:pt x="1031326" y="637985"/>
                      <a:pt x="1031312" y="638035"/>
                    </a:cubicBezTo>
                    <a:cubicBezTo>
                      <a:pt x="1031294" y="638069"/>
                      <a:pt x="1021683" y="654383"/>
                      <a:pt x="1010595" y="651932"/>
                    </a:cubicBezTo>
                    <a:cubicBezTo>
                      <a:pt x="998860" y="750796"/>
                      <a:pt x="937336" y="800802"/>
                      <a:pt x="902724" y="831290"/>
                    </a:cubicBezTo>
                    <a:cubicBezTo>
                      <a:pt x="870320" y="870407"/>
                      <a:pt x="842897" y="883364"/>
                      <a:pt x="813787" y="893779"/>
                    </a:cubicBezTo>
                    <a:cubicBezTo>
                      <a:pt x="784677" y="904194"/>
                      <a:pt x="762526" y="905748"/>
                      <a:pt x="728062" y="893779"/>
                    </a:cubicBezTo>
                    <a:cubicBezTo>
                      <a:pt x="693598" y="881810"/>
                      <a:pt x="642534" y="863636"/>
                      <a:pt x="607001" y="821966"/>
                    </a:cubicBezTo>
                    <a:cubicBezTo>
                      <a:pt x="597383" y="805617"/>
                      <a:pt x="517082" y="732861"/>
                      <a:pt x="514862" y="643758"/>
                    </a:cubicBezTo>
                    <a:cubicBezTo>
                      <a:pt x="483786" y="641305"/>
                      <a:pt x="466029" y="551383"/>
                      <a:pt x="454191" y="503970"/>
                    </a:cubicBezTo>
                    <a:cubicBezTo>
                      <a:pt x="444575" y="463929"/>
                      <a:pt x="477842" y="464730"/>
                      <a:pt x="477867" y="464730"/>
                    </a:cubicBezTo>
                    <a:cubicBezTo>
                      <a:pt x="477845" y="464677"/>
                      <a:pt x="459134" y="425808"/>
                      <a:pt x="467053" y="399317"/>
                    </a:cubicBezTo>
                    <a:cubicBezTo>
                      <a:pt x="449615" y="408769"/>
                      <a:pt x="447981" y="412482"/>
                      <a:pt x="440991" y="419083"/>
                    </a:cubicBezTo>
                    <a:cubicBezTo>
                      <a:pt x="434001" y="425685"/>
                      <a:pt x="430077" y="429336"/>
                      <a:pt x="425116" y="438927"/>
                    </a:cubicBezTo>
                    <a:cubicBezTo>
                      <a:pt x="420155" y="448519"/>
                      <a:pt x="412548" y="464063"/>
                      <a:pt x="411225" y="476631"/>
                    </a:cubicBezTo>
                    <a:cubicBezTo>
                      <a:pt x="409902" y="489199"/>
                      <a:pt x="414532" y="498460"/>
                      <a:pt x="417178" y="514335"/>
                    </a:cubicBezTo>
                    <a:cubicBezTo>
                      <a:pt x="419824" y="530210"/>
                      <a:pt x="421478" y="546747"/>
                      <a:pt x="427100" y="571883"/>
                    </a:cubicBezTo>
                    <a:cubicBezTo>
                      <a:pt x="432723" y="597019"/>
                      <a:pt x="442645" y="645968"/>
                      <a:pt x="450913" y="665150"/>
                    </a:cubicBezTo>
                    <a:cubicBezTo>
                      <a:pt x="459181" y="684333"/>
                      <a:pt x="469765" y="676395"/>
                      <a:pt x="476710" y="686979"/>
                    </a:cubicBezTo>
                    <a:cubicBezTo>
                      <a:pt x="483656" y="697563"/>
                      <a:pt x="483656" y="709469"/>
                      <a:pt x="492586" y="728652"/>
                    </a:cubicBezTo>
                    <a:cubicBezTo>
                      <a:pt x="501516" y="747834"/>
                      <a:pt x="521360" y="782231"/>
                      <a:pt x="530290" y="802075"/>
                    </a:cubicBezTo>
                    <a:cubicBezTo>
                      <a:pt x="539219" y="821919"/>
                      <a:pt x="550795" y="838125"/>
                      <a:pt x="546165" y="847716"/>
                    </a:cubicBezTo>
                    <a:cubicBezTo>
                      <a:pt x="541534" y="857308"/>
                      <a:pt x="520367" y="856316"/>
                      <a:pt x="502508" y="859623"/>
                    </a:cubicBezTo>
                    <a:cubicBezTo>
                      <a:pt x="484648" y="862930"/>
                      <a:pt x="459181" y="868553"/>
                      <a:pt x="439007" y="867560"/>
                    </a:cubicBezTo>
                    <a:cubicBezTo>
                      <a:pt x="418832" y="866568"/>
                      <a:pt x="395350" y="863261"/>
                      <a:pt x="381459" y="853670"/>
                    </a:cubicBezTo>
                    <a:cubicBezTo>
                      <a:pt x="367568" y="844078"/>
                      <a:pt x="361945" y="830187"/>
                      <a:pt x="355661" y="810012"/>
                    </a:cubicBezTo>
                    <a:cubicBezTo>
                      <a:pt x="349377" y="789838"/>
                      <a:pt x="345078" y="762387"/>
                      <a:pt x="343755" y="732620"/>
                    </a:cubicBezTo>
                    <a:cubicBezTo>
                      <a:pt x="342432" y="702854"/>
                      <a:pt x="341770" y="684333"/>
                      <a:pt x="347724" y="631415"/>
                    </a:cubicBezTo>
                    <a:cubicBezTo>
                      <a:pt x="353677" y="578498"/>
                      <a:pt x="361945" y="487876"/>
                      <a:pt x="379474" y="415114"/>
                    </a:cubicBezTo>
                    <a:cubicBezTo>
                      <a:pt x="397003" y="342353"/>
                      <a:pt x="430407" y="248424"/>
                      <a:pt x="452897" y="194845"/>
                    </a:cubicBezTo>
                    <a:cubicBezTo>
                      <a:pt x="475388" y="141266"/>
                      <a:pt x="494240" y="118775"/>
                      <a:pt x="514414" y="93640"/>
                    </a:cubicBezTo>
                    <a:cubicBezTo>
                      <a:pt x="534589" y="68504"/>
                      <a:pt x="555095" y="53621"/>
                      <a:pt x="573947" y="44029"/>
                    </a:cubicBezTo>
                    <a:cubicBezTo>
                      <a:pt x="592799" y="34438"/>
                      <a:pt x="610989" y="42707"/>
                      <a:pt x="627526" y="36092"/>
                    </a:cubicBezTo>
                    <a:cubicBezTo>
                      <a:pt x="644063" y="29477"/>
                      <a:pt x="650677" y="10294"/>
                      <a:pt x="673167" y="4341"/>
                    </a:cubicBezTo>
                    <a:cubicBezTo>
                      <a:pt x="684412" y="1365"/>
                      <a:pt x="700040" y="290"/>
                      <a:pt x="715956" y="0"/>
                    </a:cubicBezTo>
                    <a:close/>
                  </a:path>
                </a:pathLst>
              </a:custGeom>
              <a:solidFill>
                <a:srgbClr val="7F7F7F"/>
              </a:solidFill>
              <a:ln w="25400" cap="flat" cmpd="sng" algn="ctr">
                <a:noFill/>
                <a:prstDash val="solid"/>
              </a:ln>
              <a:effectLst/>
            </p:spPr>
            <p:txBody>
              <a:bodyPr rtlCol="0" anchor="ctr"/>
              <a:lstStyle/>
              <a:p>
                <a:pPr algn="ctr" defTabSz="913693">
                  <a:defRPr/>
                </a:pPr>
                <a:endParaRPr lang="en-US" sz="1898" kern="0" dirty="0">
                  <a:solidFill>
                    <a:srgbClr val="FFFFFF"/>
                  </a:solidFill>
                  <a:latin typeface="Segoe UI"/>
                </a:endParaRPr>
              </a:p>
            </p:txBody>
          </p:sp>
        </p:grpSp>
      </p:grpSp>
      <p:grpSp>
        <p:nvGrpSpPr>
          <p:cNvPr id="625" name="Group 624">
            <a:extLst>
              <a:ext uri="{FF2B5EF4-FFF2-40B4-BE49-F238E27FC236}">
                <a16:creationId xmlns:a16="http://schemas.microsoft.com/office/drawing/2014/main" id="{C0817B06-89C7-409A-8D22-8633EA39A475}"/>
              </a:ext>
            </a:extLst>
          </p:cNvPr>
          <p:cNvGrpSpPr/>
          <p:nvPr/>
        </p:nvGrpSpPr>
        <p:grpSpPr>
          <a:xfrm>
            <a:off x="2292366" y="2349887"/>
            <a:ext cx="2834468" cy="552227"/>
            <a:chOff x="2832164" y="2113009"/>
            <a:chExt cx="1708780" cy="552371"/>
          </a:xfrm>
        </p:grpSpPr>
        <p:sp>
          <p:nvSpPr>
            <p:cNvPr id="626" name="Arrow: Left-Right 625">
              <a:extLst>
                <a:ext uri="{FF2B5EF4-FFF2-40B4-BE49-F238E27FC236}">
                  <a16:creationId xmlns:a16="http://schemas.microsoft.com/office/drawing/2014/main" id="{603C8D2C-2165-4C49-BCAA-F475929701C0}"/>
                </a:ext>
              </a:extLst>
            </p:cNvPr>
            <p:cNvSpPr/>
            <p:nvPr/>
          </p:nvSpPr>
          <p:spPr>
            <a:xfrm>
              <a:off x="2832164" y="2113009"/>
              <a:ext cx="1708780" cy="552371"/>
            </a:xfrm>
            <a:prstGeom prst="lef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914126">
                <a:defRPr/>
              </a:pPr>
              <a:endParaRPr lang="en-US" sz="1200" dirty="0" err="1">
                <a:solidFill>
                  <a:prstClr val="white"/>
                </a:solidFill>
                <a:latin typeface="Segoe UI"/>
              </a:endParaRPr>
            </a:p>
          </p:txBody>
        </p:sp>
        <p:sp>
          <p:nvSpPr>
            <p:cNvPr id="627" name="TextBox 626">
              <a:extLst>
                <a:ext uri="{FF2B5EF4-FFF2-40B4-BE49-F238E27FC236}">
                  <a16:creationId xmlns:a16="http://schemas.microsoft.com/office/drawing/2014/main" id="{D0E31269-0627-4F0B-BDAE-082D8F8FB2DB}"/>
                </a:ext>
              </a:extLst>
            </p:cNvPr>
            <p:cNvSpPr txBox="1"/>
            <p:nvPr/>
          </p:nvSpPr>
          <p:spPr>
            <a:xfrm>
              <a:off x="3044241" y="2281820"/>
              <a:ext cx="1430275" cy="201552"/>
            </a:xfrm>
            <a:prstGeom prst="rect">
              <a:avLst/>
            </a:prstGeom>
          </p:spPr>
          <p:txBody>
            <a:bodyPr vert="horz" wrap="none" lIns="0" tIns="0" rIns="0" bIns="0" rtlCol="0" anchor="ctr">
              <a:noAutofit/>
            </a:bodyPr>
            <a:lstStyle>
              <a:defPPr>
                <a:defRPr lang="en-US"/>
              </a:defPPr>
              <a:lvl1pPr algn="ctr" defTabSz="1088105">
                <a:defRPr sz="1200">
                  <a:solidFill>
                    <a:srgbClr val="505050"/>
                  </a:solidFill>
                  <a:latin typeface="Segoe UI Semibold" panose="020B0702040204020203" pitchFamily="34" charset="0"/>
                  <a:ea typeface="Segoe UI" pitchFamily="34" charset="0"/>
                  <a:cs typeface="Segoe UI Semibold" panose="020B0702040204020203" pitchFamily="34" charset="0"/>
                </a:defRPr>
              </a:lvl1pPr>
            </a:lstStyle>
            <a:p>
              <a:pPr algn="l" defTabSz="1087779">
                <a:defRPr/>
              </a:pPr>
              <a:r>
                <a:rPr lang="en-US" kern="0" dirty="0">
                  <a:solidFill>
                    <a:prstClr val="white"/>
                  </a:solidFill>
                </a:rPr>
                <a:t>Experiences, Sentiment, &amp; Ideas</a:t>
              </a:r>
            </a:p>
          </p:txBody>
        </p:sp>
      </p:grpSp>
      <p:grpSp>
        <p:nvGrpSpPr>
          <p:cNvPr id="628" name="Group 627">
            <a:extLst>
              <a:ext uri="{FF2B5EF4-FFF2-40B4-BE49-F238E27FC236}">
                <a16:creationId xmlns:a16="http://schemas.microsoft.com/office/drawing/2014/main" id="{1036C30A-0332-4A04-97D9-D84C506C439E}"/>
              </a:ext>
            </a:extLst>
          </p:cNvPr>
          <p:cNvGrpSpPr/>
          <p:nvPr/>
        </p:nvGrpSpPr>
        <p:grpSpPr>
          <a:xfrm>
            <a:off x="2140096" y="1351937"/>
            <a:ext cx="1254638" cy="552227"/>
            <a:chOff x="2707501" y="2128021"/>
            <a:chExt cx="1834221" cy="552371"/>
          </a:xfrm>
        </p:grpSpPr>
        <p:sp>
          <p:nvSpPr>
            <p:cNvPr id="629" name="Arrow: Left-Right 628">
              <a:extLst>
                <a:ext uri="{FF2B5EF4-FFF2-40B4-BE49-F238E27FC236}">
                  <a16:creationId xmlns:a16="http://schemas.microsoft.com/office/drawing/2014/main" id="{9E313D5C-7DF8-4760-8949-077DD09206DD}"/>
                </a:ext>
              </a:extLst>
            </p:cNvPr>
            <p:cNvSpPr/>
            <p:nvPr/>
          </p:nvSpPr>
          <p:spPr>
            <a:xfrm>
              <a:off x="2707501" y="2128021"/>
              <a:ext cx="1834221" cy="552371"/>
            </a:xfrm>
            <a:prstGeom prst="lef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914126">
                <a:defRPr/>
              </a:pPr>
              <a:endParaRPr lang="en-US" sz="1200" dirty="0" err="1">
                <a:solidFill>
                  <a:prstClr val="white"/>
                </a:solidFill>
                <a:latin typeface="Segoe UI"/>
              </a:endParaRPr>
            </a:p>
          </p:txBody>
        </p:sp>
        <p:sp>
          <p:nvSpPr>
            <p:cNvPr id="630" name="TextBox 629">
              <a:extLst>
                <a:ext uri="{FF2B5EF4-FFF2-40B4-BE49-F238E27FC236}">
                  <a16:creationId xmlns:a16="http://schemas.microsoft.com/office/drawing/2014/main" id="{76E0A6D5-B0F0-40F6-A22D-47131FD5609A}"/>
                </a:ext>
              </a:extLst>
            </p:cNvPr>
            <p:cNvSpPr txBox="1"/>
            <p:nvPr/>
          </p:nvSpPr>
          <p:spPr>
            <a:xfrm>
              <a:off x="3077542" y="2299728"/>
              <a:ext cx="1430275" cy="201552"/>
            </a:xfrm>
            <a:prstGeom prst="rect">
              <a:avLst/>
            </a:prstGeom>
          </p:spPr>
          <p:txBody>
            <a:bodyPr vert="horz" wrap="none" lIns="0" tIns="0" rIns="0" bIns="0" rtlCol="0" anchor="ctr">
              <a:noAutofit/>
            </a:bodyPr>
            <a:lstStyle>
              <a:defPPr>
                <a:defRPr lang="en-US"/>
              </a:defPPr>
              <a:lvl1pPr algn="ctr" defTabSz="1088105">
                <a:defRPr sz="1200">
                  <a:solidFill>
                    <a:srgbClr val="505050"/>
                  </a:solidFill>
                  <a:latin typeface="Segoe UI Semibold" panose="020B0702040204020203" pitchFamily="34" charset="0"/>
                  <a:ea typeface="Segoe UI" pitchFamily="34" charset="0"/>
                  <a:cs typeface="Segoe UI Semibold" panose="020B0702040204020203" pitchFamily="34" charset="0"/>
                </a:defRPr>
              </a:lvl1pPr>
            </a:lstStyle>
            <a:p>
              <a:pPr algn="l" defTabSz="1087779">
                <a:defRPr/>
              </a:pPr>
              <a:r>
                <a:rPr lang="en-US" kern="0" dirty="0">
                  <a:solidFill>
                    <a:prstClr val="white"/>
                  </a:solidFill>
                </a:rPr>
                <a:t>Experiences</a:t>
              </a:r>
            </a:p>
          </p:txBody>
        </p:sp>
      </p:grpSp>
      <p:grpSp>
        <p:nvGrpSpPr>
          <p:cNvPr id="19" name="Group 18">
            <a:extLst>
              <a:ext uri="{FF2B5EF4-FFF2-40B4-BE49-F238E27FC236}">
                <a16:creationId xmlns:a16="http://schemas.microsoft.com/office/drawing/2014/main" id="{671946D3-1613-4E58-B13E-7CB5DFCC7CD2}"/>
              </a:ext>
            </a:extLst>
          </p:cNvPr>
          <p:cNvGrpSpPr/>
          <p:nvPr/>
        </p:nvGrpSpPr>
        <p:grpSpPr>
          <a:xfrm>
            <a:off x="10229382" y="364678"/>
            <a:ext cx="1852227" cy="1837932"/>
            <a:chOff x="9576217" y="619135"/>
            <a:chExt cx="1852709" cy="1838411"/>
          </a:xfrm>
        </p:grpSpPr>
        <p:sp>
          <p:nvSpPr>
            <p:cNvPr id="661" name="Oval 660">
              <a:extLst>
                <a:ext uri="{FF2B5EF4-FFF2-40B4-BE49-F238E27FC236}">
                  <a16:creationId xmlns:a16="http://schemas.microsoft.com/office/drawing/2014/main" id="{2EB6399C-2905-46DA-9774-15263069C6B0}"/>
                </a:ext>
              </a:extLst>
            </p:cNvPr>
            <p:cNvSpPr/>
            <p:nvPr/>
          </p:nvSpPr>
          <p:spPr>
            <a:xfrm>
              <a:off x="9576217" y="619135"/>
              <a:ext cx="1852709" cy="1838411"/>
            </a:xfrm>
            <a:prstGeom prst="ellipse">
              <a:avLst/>
            </a:prstGeom>
            <a:solidFill>
              <a:sysClr val="window" lastClr="FFFFFF">
                <a:lumMod val="95000"/>
              </a:sysClr>
            </a:solidFill>
            <a:ln w="25400" cap="flat" cmpd="sng" algn="ctr">
              <a:noFill/>
              <a:prstDash val="solid"/>
            </a:ln>
            <a:effectLst/>
          </p:spPr>
          <p:txBody>
            <a:bodyPr rot="0" spcFirstLastPara="0" vertOverflow="overflow" horzOverflow="overflow" vert="horz" wrap="square" lIns="91392" tIns="91392" rIns="91392" bIns="91392" numCol="1" spcCol="0" rtlCol="0" fromWordArt="0" anchor="b" anchorCtr="0" forceAA="0" compatLnSpc="1">
              <a:prstTxWarp prst="textNoShape">
                <a:avLst/>
              </a:prstTxWarp>
              <a:noAutofit/>
            </a:bodyPr>
            <a:lstStyle/>
            <a:p>
              <a:pPr algn="r" defTabSz="913852">
                <a:defRPr/>
              </a:pPr>
              <a:endParaRPr lang="en-US" sz="1200" kern="0" dirty="0">
                <a:solidFill>
                  <a:prstClr val="white"/>
                </a:solidFill>
                <a:latin typeface="Segoe UI"/>
              </a:endParaRPr>
            </a:p>
          </p:txBody>
        </p:sp>
        <p:grpSp>
          <p:nvGrpSpPr>
            <p:cNvPr id="631" name="Group 630">
              <a:extLst>
                <a:ext uri="{FF2B5EF4-FFF2-40B4-BE49-F238E27FC236}">
                  <a16:creationId xmlns:a16="http://schemas.microsoft.com/office/drawing/2014/main" id="{ED5E6723-216E-45CE-BD4E-BD4ED9174F94}"/>
                </a:ext>
              </a:extLst>
            </p:cNvPr>
            <p:cNvGrpSpPr/>
            <p:nvPr/>
          </p:nvGrpSpPr>
          <p:grpSpPr>
            <a:xfrm>
              <a:off x="10033917" y="830991"/>
              <a:ext cx="940963" cy="728365"/>
              <a:chOff x="8938551" y="2182174"/>
              <a:chExt cx="1137916" cy="914851"/>
            </a:xfrm>
          </p:grpSpPr>
          <p:grpSp>
            <p:nvGrpSpPr>
              <p:cNvPr id="632" name="Group 631">
                <a:extLst>
                  <a:ext uri="{FF2B5EF4-FFF2-40B4-BE49-F238E27FC236}">
                    <a16:creationId xmlns:a16="http://schemas.microsoft.com/office/drawing/2014/main" id="{05B4B406-14AE-449F-8429-3F90D7F349B3}"/>
                  </a:ext>
                </a:extLst>
              </p:cNvPr>
              <p:cNvGrpSpPr>
                <a:grpSpLocks noChangeAspect="1"/>
              </p:cNvGrpSpPr>
              <p:nvPr/>
            </p:nvGrpSpPr>
            <p:grpSpPr>
              <a:xfrm>
                <a:off x="9113399" y="2182174"/>
                <a:ext cx="788196" cy="376549"/>
                <a:chOff x="335107" y="1984056"/>
                <a:chExt cx="8623119" cy="4119564"/>
              </a:xfrm>
              <a:solidFill>
                <a:srgbClr val="7F7F7F"/>
              </a:solidFill>
            </p:grpSpPr>
            <p:sp>
              <p:nvSpPr>
                <p:cNvPr id="634" name="Freeform 216">
                  <a:extLst>
                    <a:ext uri="{FF2B5EF4-FFF2-40B4-BE49-F238E27FC236}">
                      <a16:creationId xmlns:a16="http://schemas.microsoft.com/office/drawing/2014/main" id="{8C9F448A-C5D1-4D70-BE5F-10042C286280}"/>
                    </a:ext>
                  </a:extLst>
                </p:cNvPr>
                <p:cNvSpPr/>
                <p:nvPr/>
              </p:nvSpPr>
              <p:spPr>
                <a:xfrm>
                  <a:off x="5423935" y="2187537"/>
                  <a:ext cx="1275676" cy="3054785"/>
                </a:xfrm>
                <a:custGeom>
                  <a:avLst/>
                  <a:gdLst/>
                  <a:ahLst/>
                  <a:cxnLst/>
                  <a:rect l="l" t="t" r="r" b="b"/>
                  <a:pathLst>
                    <a:path w="1275676" h="3054785">
                      <a:moveTo>
                        <a:pt x="909893" y="2571265"/>
                      </a:moveTo>
                      <a:cubicBezTo>
                        <a:pt x="927578" y="2591556"/>
                        <a:pt x="943146" y="2624131"/>
                        <a:pt x="953053" y="2679738"/>
                      </a:cubicBezTo>
                      <a:cubicBezTo>
                        <a:pt x="966614" y="2755857"/>
                        <a:pt x="1015135" y="2902136"/>
                        <a:pt x="1032104" y="3045768"/>
                      </a:cubicBezTo>
                      <a:lnTo>
                        <a:pt x="926033" y="3054785"/>
                      </a:lnTo>
                      <a:lnTo>
                        <a:pt x="843515" y="2994064"/>
                      </a:lnTo>
                      <a:lnTo>
                        <a:pt x="791128" y="2951202"/>
                      </a:lnTo>
                      <a:lnTo>
                        <a:pt x="789242" y="2950511"/>
                      </a:lnTo>
                      <a:cubicBezTo>
                        <a:pt x="821800" y="2828680"/>
                        <a:pt x="864407" y="2700040"/>
                        <a:pt x="909893" y="2571265"/>
                      </a:cubicBezTo>
                      <a:close/>
                      <a:moveTo>
                        <a:pt x="810922" y="2515507"/>
                      </a:moveTo>
                      <a:cubicBezTo>
                        <a:pt x="813163" y="2515338"/>
                        <a:pt x="815461" y="2515417"/>
                        <a:pt x="817564" y="2517542"/>
                      </a:cubicBezTo>
                      <a:cubicBezTo>
                        <a:pt x="792015" y="2589329"/>
                        <a:pt x="769100" y="2660102"/>
                        <a:pt x="749052" y="2731145"/>
                      </a:cubicBezTo>
                      <a:cubicBezTo>
                        <a:pt x="728674" y="2665687"/>
                        <a:pt x="718117" y="2603286"/>
                        <a:pt x="714164" y="2542305"/>
                      </a:cubicBezTo>
                      <a:cubicBezTo>
                        <a:pt x="724867" y="2542383"/>
                        <a:pt x="734802" y="2542128"/>
                        <a:pt x="743503" y="2541626"/>
                      </a:cubicBezTo>
                      <a:cubicBezTo>
                        <a:pt x="774459" y="2539840"/>
                        <a:pt x="790235" y="2517070"/>
                        <a:pt x="810922" y="2515507"/>
                      </a:cubicBezTo>
                      <a:close/>
                      <a:moveTo>
                        <a:pt x="396204" y="2451912"/>
                      </a:moveTo>
                      <a:cubicBezTo>
                        <a:pt x="411647" y="2483872"/>
                        <a:pt x="433855" y="2503483"/>
                        <a:pt x="462515" y="2517813"/>
                      </a:cubicBezTo>
                      <a:cubicBezTo>
                        <a:pt x="495852" y="2534482"/>
                        <a:pt x="539509" y="2532894"/>
                        <a:pt x="586340" y="2536863"/>
                      </a:cubicBezTo>
                      <a:cubicBezTo>
                        <a:pt x="606520" y="2538574"/>
                        <a:pt x="630828" y="2540136"/>
                        <a:pt x="655265" y="2541066"/>
                      </a:cubicBezTo>
                      <a:cubicBezTo>
                        <a:pt x="657458" y="2571620"/>
                        <a:pt x="660070" y="2600527"/>
                        <a:pt x="663066" y="2624898"/>
                      </a:cubicBezTo>
                      <a:cubicBezTo>
                        <a:pt x="668463" y="2668822"/>
                        <a:pt x="677606" y="2707999"/>
                        <a:pt x="686242" y="2744162"/>
                      </a:cubicBezTo>
                      <a:cubicBezTo>
                        <a:pt x="632838" y="2717984"/>
                        <a:pt x="514903" y="2670213"/>
                        <a:pt x="514903" y="2670213"/>
                      </a:cubicBezTo>
                      <a:lnTo>
                        <a:pt x="333928" y="2589251"/>
                      </a:lnTo>
                      <a:lnTo>
                        <a:pt x="323202" y="2584990"/>
                      </a:lnTo>
                      <a:lnTo>
                        <a:pt x="327453" y="2567034"/>
                      </a:lnTo>
                      <a:cubicBezTo>
                        <a:pt x="340667" y="2528713"/>
                        <a:pt x="369951" y="2489259"/>
                        <a:pt x="396204" y="2451912"/>
                      </a:cubicBezTo>
                      <a:close/>
                      <a:moveTo>
                        <a:pt x="356384" y="1755197"/>
                      </a:moveTo>
                      <a:lnTo>
                        <a:pt x="361013" y="1949619"/>
                      </a:lnTo>
                      <a:cubicBezTo>
                        <a:pt x="293278" y="2065222"/>
                        <a:pt x="276288" y="2307687"/>
                        <a:pt x="265731" y="2563792"/>
                      </a:cubicBezTo>
                      <a:cubicBezTo>
                        <a:pt x="245616" y="2556203"/>
                        <a:pt x="227467" y="2546676"/>
                        <a:pt x="210103" y="2527338"/>
                      </a:cubicBezTo>
                      <a:cubicBezTo>
                        <a:pt x="175178" y="2488444"/>
                        <a:pt x="152159" y="2401925"/>
                        <a:pt x="124378" y="2355888"/>
                      </a:cubicBezTo>
                      <a:cubicBezTo>
                        <a:pt x="96597" y="2309851"/>
                        <a:pt x="64052" y="2271750"/>
                        <a:pt x="43415" y="2251113"/>
                      </a:cubicBezTo>
                      <a:cubicBezTo>
                        <a:pt x="22778" y="2230476"/>
                        <a:pt x="-4209" y="2253494"/>
                        <a:pt x="553" y="2232063"/>
                      </a:cubicBezTo>
                      <a:cubicBezTo>
                        <a:pt x="5315" y="2210632"/>
                        <a:pt x="48177" y="2180470"/>
                        <a:pt x="71990" y="2122526"/>
                      </a:cubicBezTo>
                      <a:cubicBezTo>
                        <a:pt x="90351" y="2077850"/>
                        <a:pt x="107767" y="1994009"/>
                        <a:pt x="126665" y="1932199"/>
                      </a:cubicBezTo>
                      <a:lnTo>
                        <a:pt x="273061" y="1880184"/>
                      </a:lnTo>
                      <a:cubicBezTo>
                        <a:pt x="305463" y="1861666"/>
                        <a:pt x="310089" y="1787599"/>
                        <a:pt x="356384" y="1755197"/>
                      </a:cubicBezTo>
                      <a:close/>
                      <a:moveTo>
                        <a:pt x="537693" y="744"/>
                      </a:moveTo>
                      <a:cubicBezTo>
                        <a:pt x="581411" y="-1830"/>
                        <a:pt x="633485" y="2027"/>
                        <a:pt x="695853" y="16174"/>
                      </a:cubicBezTo>
                      <a:cubicBezTo>
                        <a:pt x="758217" y="30318"/>
                        <a:pt x="852732" y="64395"/>
                        <a:pt x="911876" y="85609"/>
                      </a:cubicBezTo>
                      <a:cubicBezTo>
                        <a:pt x="971031" y="106829"/>
                        <a:pt x="1018605" y="128046"/>
                        <a:pt x="1050752" y="143477"/>
                      </a:cubicBezTo>
                      <a:cubicBezTo>
                        <a:pt x="1082899" y="158907"/>
                        <a:pt x="1079686" y="149264"/>
                        <a:pt x="1104760" y="178194"/>
                      </a:cubicBezTo>
                      <a:cubicBezTo>
                        <a:pt x="1129837" y="207128"/>
                        <a:pt x="1173554" y="261132"/>
                        <a:pt x="1201202" y="317070"/>
                      </a:cubicBezTo>
                      <a:cubicBezTo>
                        <a:pt x="1228849" y="373008"/>
                        <a:pt x="1259066" y="453372"/>
                        <a:pt x="1270636" y="513810"/>
                      </a:cubicBezTo>
                      <a:cubicBezTo>
                        <a:pt x="1275863" y="541109"/>
                        <a:pt x="1276368" y="577588"/>
                        <a:pt x="1275078" y="609376"/>
                      </a:cubicBezTo>
                      <a:cubicBezTo>
                        <a:pt x="1207919" y="610739"/>
                        <a:pt x="1256062" y="594379"/>
                        <a:pt x="1219753" y="593763"/>
                      </a:cubicBezTo>
                      <a:cubicBezTo>
                        <a:pt x="1172922" y="592969"/>
                        <a:pt x="1123709" y="585032"/>
                        <a:pt x="1086403" y="598526"/>
                      </a:cubicBezTo>
                      <a:cubicBezTo>
                        <a:pt x="1049097" y="612020"/>
                        <a:pt x="1027665" y="660439"/>
                        <a:pt x="995915" y="674726"/>
                      </a:cubicBezTo>
                      <a:cubicBezTo>
                        <a:pt x="964165" y="689014"/>
                        <a:pt x="933209" y="669964"/>
                        <a:pt x="895903" y="684251"/>
                      </a:cubicBezTo>
                      <a:cubicBezTo>
                        <a:pt x="858597" y="698539"/>
                        <a:pt x="813353" y="722351"/>
                        <a:pt x="772078" y="760451"/>
                      </a:cubicBezTo>
                      <a:cubicBezTo>
                        <a:pt x="730803" y="798551"/>
                        <a:pt x="685559" y="851732"/>
                        <a:pt x="648253" y="912851"/>
                      </a:cubicBezTo>
                      <a:cubicBezTo>
                        <a:pt x="610947" y="973970"/>
                        <a:pt x="579196" y="1048582"/>
                        <a:pt x="548240" y="1127163"/>
                      </a:cubicBezTo>
                      <a:cubicBezTo>
                        <a:pt x="517284" y="1205744"/>
                        <a:pt x="486327" y="1295438"/>
                        <a:pt x="462515" y="1384338"/>
                      </a:cubicBezTo>
                      <a:cubicBezTo>
                        <a:pt x="438702" y="1473238"/>
                        <a:pt x="418065" y="1592300"/>
                        <a:pt x="405365" y="1660563"/>
                      </a:cubicBezTo>
                      <a:cubicBezTo>
                        <a:pt x="401622" y="1680683"/>
                        <a:pt x="398982" y="1695769"/>
                        <a:pt x="397031" y="1708455"/>
                      </a:cubicBezTo>
                      <a:lnTo>
                        <a:pt x="379531" y="1681708"/>
                      </a:lnTo>
                      <a:cubicBezTo>
                        <a:pt x="365064" y="1654708"/>
                        <a:pt x="382424" y="1649399"/>
                        <a:pt x="362170" y="1615163"/>
                      </a:cubicBezTo>
                      <a:cubicBezTo>
                        <a:pt x="346337" y="1588394"/>
                        <a:pt x="308388" y="1553075"/>
                        <a:pt x="279806" y="1511723"/>
                      </a:cubicBezTo>
                      <a:cubicBezTo>
                        <a:pt x="283185" y="1487626"/>
                        <a:pt x="285447" y="1466602"/>
                        <a:pt x="286303" y="1451013"/>
                      </a:cubicBezTo>
                      <a:cubicBezTo>
                        <a:pt x="290272" y="1378782"/>
                        <a:pt x="259315" y="1385926"/>
                        <a:pt x="248203" y="1351001"/>
                      </a:cubicBezTo>
                      <a:cubicBezTo>
                        <a:pt x="237090" y="1316076"/>
                        <a:pt x="217247" y="1279563"/>
                        <a:pt x="219628" y="1241463"/>
                      </a:cubicBezTo>
                      <a:cubicBezTo>
                        <a:pt x="222009" y="1203363"/>
                        <a:pt x="252171" y="1173995"/>
                        <a:pt x="262490" y="1122401"/>
                      </a:cubicBezTo>
                      <a:cubicBezTo>
                        <a:pt x="272809" y="1070807"/>
                        <a:pt x="281540" y="992226"/>
                        <a:pt x="281540" y="931901"/>
                      </a:cubicBezTo>
                      <a:cubicBezTo>
                        <a:pt x="281540" y="871576"/>
                        <a:pt x="281540" y="816807"/>
                        <a:pt x="262490" y="760451"/>
                      </a:cubicBezTo>
                      <a:cubicBezTo>
                        <a:pt x="251559" y="728114"/>
                        <a:pt x="235402" y="693947"/>
                        <a:pt x="214848" y="662136"/>
                      </a:cubicBezTo>
                      <a:lnTo>
                        <a:pt x="267253" y="612813"/>
                      </a:lnTo>
                      <a:lnTo>
                        <a:pt x="500615" y="488988"/>
                      </a:lnTo>
                      <a:lnTo>
                        <a:pt x="786365" y="479463"/>
                      </a:lnTo>
                      <a:lnTo>
                        <a:pt x="486328" y="446126"/>
                      </a:lnTo>
                      <a:lnTo>
                        <a:pt x="286303" y="531851"/>
                      </a:lnTo>
                      <a:lnTo>
                        <a:pt x="188793" y="624717"/>
                      </a:lnTo>
                      <a:cubicBezTo>
                        <a:pt x="183072" y="613128"/>
                        <a:pt x="175276" y="603190"/>
                        <a:pt x="167240" y="593763"/>
                      </a:cubicBezTo>
                      <a:cubicBezTo>
                        <a:pt x="128567" y="548397"/>
                        <a:pt x="168636" y="489094"/>
                        <a:pt x="42501" y="473501"/>
                      </a:cubicBezTo>
                      <a:cubicBezTo>
                        <a:pt x="46825" y="429492"/>
                        <a:pt x="64428" y="405518"/>
                        <a:pt x="82492" y="363364"/>
                      </a:cubicBezTo>
                      <a:cubicBezTo>
                        <a:pt x="103709" y="313853"/>
                        <a:pt x="135213" y="245058"/>
                        <a:pt x="167360" y="201341"/>
                      </a:cubicBezTo>
                      <a:cubicBezTo>
                        <a:pt x="199507" y="157620"/>
                        <a:pt x="231011" y="129333"/>
                        <a:pt x="275376" y="101043"/>
                      </a:cubicBezTo>
                      <a:cubicBezTo>
                        <a:pt x="319733" y="72752"/>
                        <a:pt x="389818" y="48322"/>
                        <a:pt x="433535" y="31608"/>
                      </a:cubicBezTo>
                      <a:cubicBezTo>
                        <a:pt x="477256" y="14888"/>
                        <a:pt x="493969" y="3314"/>
                        <a:pt x="537693" y="74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578">
                    <a:defRPr/>
                  </a:pPr>
                  <a:endParaRPr lang="en-US" sz="1797" kern="0">
                    <a:solidFill>
                      <a:srgbClr val="FFFFFF"/>
                    </a:solidFill>
                    <a:latin typeface="Segoe UI"/>
                  </a:endParaRPr>
                </a:p>
              </p:txBody>
            </p:sp>
            <p:sp>
              <p:nvSpPr>
                <p:cNvPr id="635" name="Man's Body">
                  <a:extLst>
                    <a:ext uri="{FF2B5EF4-FFF2-40B4-BE49-F238E27FC236}">
                      <a16:creationId xmlns:a16="http://schemas.microsoft.com/office/drawing/2014/main" id="{CE3AFE23-C0F6-4BB4-AF2F-0D6A6C21C778}"/>
                    </a:ext>
                  </a:extLst>
                </p:cNvPr>
                <p:cNvSpPr>
                  <a:spLocks/>
                </p:cNvSpPr>
                <p:nvPr/>
              </p:nvSpPr>
              <p:spPr bwMode="auto">
                <a:xfrm>
                  <a:off x="4286421" y="1984056"/>
                  <a:ext cx="1109019" cy="638618"/>
                </a:xfrm>
                <a:custGeom>
                  <a:avLst/>
                  <a:gdLst/>
                  <a:ahLst/>
                  <a:cxnLst/>
                  <a:rect l="l" t="t" r="r" b="b"/>
                  <a:pathLst>
                    <a:path w="1109019" h="638618">
                      <a:moveTo>
                        <a:pt x="527057" y="506"/>
                      </a:moveTo>
                      <a:cubicBezTo>
                        <a:pt x="648121" y="6732"/>
                        <a:pt x="780445" y="70158"/>
                        <a:pt x="889294" y="181665"/>
                      </a:cubicBezTo>
                      <a:cubicBezTo>
                        <a:pt x="1063451" y="360077"/>
                        <a:pt x="1112509" y="452740"/>
                        <a:pt x="1108830" y="488699"/>
                      </a:cubicBezTo>
                      <a:cubicBezTo>
                        <a:pt x="1105150" y="523275"/>
                        <a:pt x="1069584" y="571681"/>
                        <a:pt x="1038921" y="564767"/>
                      </a:cubicBezTo>
                      <a:cubicBezTo>
                        <a:pt x="1007034" y="557851"/>
                        <a:pt x="1003354" y="527424"/>
                        <a:pt x="986183" y="510828"/>
                      </a:cubicBezTo>
                      <a:cubicBezTo>
                        <a:pt x="782591" y="317203"/>
                        <a:pt x="618246" y="347629"/>
                        <a:pt x="550790" y="371142"/>
                      </a:cubicBezTo>
                      <a:cubicBezTo>
                        <a:pt x="760068" y="390992"/>
                        <a:pt x="912422" y="533945"/>
                        <a:pt x="972020" y="608911"/>
                      </a:cubicBezTo>
                      <a:cubicBezTo>
                        <a:pt x="891545" y="581606"/>
                        <a:pt x="869616" y="586916"/>
                        <a:pt x="814218" y="578169"/>
                      </a:cubicBezTo>
                      <a:cubicBezTo>
                        <a:pt x="753893" y="568644"/>
                        <a:pt x="686424" y="559913"/>
                        <a:pt x="633243" y="559119"/>
                      </a:cubicBezTo>
                      <a:cubicBezTo>
                        <a:pt x="580062" y="558325"/>
                        <a:pt x="534818" y="561501"/>
                        <a:pt x="495131" y="573407"/>
                      </a:cubicBezTo>
                      <a:cubicBezTo>
                        <a:pt x="455444" y="585313"/>
                        <a:pt x="430837" y="621032"/>
                        <a:pt x="395118" y="630557"/>
                      </a:cubicBezTo>
                      <a:cubicBezTo>
                        <a:pt x="359399" y="640082"/>
                        <a:pt x="312568" y="642463"/>
                        <a:pt x="280818" y="630557"/>
                      </a:cubicBezTo>
                      <a:cubicBezTo>
                        <a:pt x="249068" y="618651"/>
                        <a:pt x="230812" y="588488"/>
                        <a:pt x="204618" y="559119"/>
                      </a:cubicBezTo>
                      <a:cubicBezTo>
                        <a:pt x="178424" y="529750"/>
                        <a:pt x="156200" y="486888"/>
                        <a:pt x="123656" y="454344"/>
                      </a:cubicBezTo>
                      <a:cubicBezTo>
                        <a:pt x="91112" y="421800"/>
                        <a:pt x="52218" y="394019"/>
                        <a:pt x="9356" y="363857"/>
                      </a:cubicBezTo>
                      <a:cubicBezTo>
                        <a:pt x="6109" y="361572"/>
                        <a:pt x="2861" y="359100"/>
                        <a:pt x="0" y="355996"/>
                      </a:cubicBezTo>
                      <a:cubicBezTo>
                        <a:pt x="20998" y="211335"/>
                        <a:pt x="96747" y="42345"/>
                        <a:pt x="328801" y="53043"/>
                      </a:cubicBezTo>
                      <a:cubicBezTo>
                        <a:pt x="385831" y="13626"/>
                        <a:pt x="454418" y="-3230"/>
                        <a:pt x="527057" y="50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636" name="Man's Body">
                  <a:extLst>
                    <a:ext uri="{FF2B5EF4-FFF2-40B4-BE49-F238E27FC236}">
                      <a16:creationId xmlns:a16="http://schemas.microsoft.com/office/drawing/2014/main" id="{1EA7F11E-A0BE-4056-927F-234F2C12CCB0}"/>
                    </a:ext>
                  </a:extLst>
                </p:cNvPr>
                <p:cNvSpPr>
                  <a:spLocks/>
                </p:cNvSpPr>
                <p:nvPr/>
              </p:nvSpPr>
              <p:spPr bwMode="auto">
                <a:xfrm>
                  <a:off x="1933544" y="2281603"/>
                  <a:ext cx="1087125" cy="2339128"/>
                </a:xfrm>
                <a:custGeom>
                  <a:avLst/>
                  <a:gdLst/>
                  <a:ahLst/>
                  <a:cxnLst/>
                  <a:rect l="l" t="t" r="r" b="b"/>
                  <a:pathLst>
                    <a:path w="1087125" h="2339128">
                      <a:moveTo>
                        <a:pt x="148114" y="1900284"/>
                      </a:moveTo>
                      <a:cubicBezTo>
                        <a:pt x="220874" y="1957568"/>
                        <a:pt x="348888" y="2049369"/>
                        <a:pt x="516243" y="2068258"/>
                      </a:cubicBezTo>
                      <a:lnTo>
                        <a:pt x="495331" y="2090372"/>
                      </a:lnTo>
                      <a:cubicBezTo>
                        <a:pt x="449294" y="2138791"/>
                        <a:pt x="388175" y="2211022"/>
                        <a:pt x="338169" y="2252297"/>
                      </a:cubicBezTo>
                      <a:cubicBezTo>
                        <a:pt x="288163" y="2293572"/>
                        <a:pt x="225456" y="2347547"/>
                        <a:pt x="195294" y="2338022"/>
                      </a:cubicBezTo>
                      <a:cubicBezTo>
                        <a:pt x="165132" y="2328497"/>
                        <a:pt x="175450" y="2234834"/>
                        <a:pt x="157194" y="2195147"/>
                      </a:cubicBezTo>
                      <a:cubicBezTo>
                        <a:pt x="138938" y="2155460"/>
                        <a:pt x="111950" y="2112597"/>
                        <a:pt x="85756" y="2099897"/>
                      </a:cubicBezTo>
                      <a:cubicBezTo>
                        <a:pt x="59562" y="2087197"/>
                        <a:pt x="-1556" y="2133234"/>
                        <a:pt x="31" y="2118947"/>
                      </a:cubicBezTo>
                      <a:cubicBezTo>
                        <a:pt x="1618" y="2104660"/>
                        <a:pt x="65912" y="2063384"/>
                        <a:pt x="95281" y="2014172"/>
                      </a:cubicBezTo>
                      <a:cubicBezTo>
                        <a:pt x="112544" y="1985245"/>
                        <a:pt x="132002" y="1941507"/>
                        <a:pt x="148114" y="1900284"/>
                      </a:cubicBezTo>
                      <a:close/>
                      <a:moveTo>
                        <a:pt x="300366" y="1598710"/>
                      </a:moveTo>
                      <a:cubicBezTo>
                        <a:pt x="322928" y="1593356"/>
                        <a:pt x="499132" y="1755026"/>
                        <a:pt x="596386" y="1777949"/>
                      </a:cubicBezTo>
                      <a:lnTo>
                        <a:pt x="614394" y="1795097"/>
                      </a:lnTo>
                      <a:cubicBezTo>
                        <a:pt x="638206" y="1830816"/>
                        <a:pt x="647731" y="1881616"/>
                        <a:pt x="647731" y="1909397"/>
                      </a:cubicBezTo>
                      <a:cubicBezTo>
                        <a:pt x="647731" y="1937178"/>
                        <a:pt x="639794" y="1931622"/>
                        <a:pt x="614394" y="1961785"/>
                      </a:cubicBezTo>
                      <a:cubicBezTo>
                        <a:pt x="607207" y="1970320"/>
                        <a:pt x="598240" y="1980444"/>
                        <a:pt x="588003" y="1991644"/>
                      </a:cubicBezTo>
                      <a:cubicBezTo>
                        <a:pt x="401521" y="1979273"/>
                        <a:pt x="213522" y="1820684"/>
                        <a:pt x="209777" y="1788323"/>
                      </a:cubicBezTo>
                      <a:cubicBezTo>
                        <a:pt x="205894" y="1753317"/>
                        <a:pt x="274484" y="1603086"/>
                        <a:pt x="300366" y="1598710"/>
                      </a:cubicBezTo>
                      <a:close/>
                      <a:moveTo>
                        <a:pt x="594957" y="534"/>
                      </a:moveTo>
                      <a:cubicBezTo>
                        <a:pt x="722687" y="7103"/>
                        <a:pt x="862297" y="74022"/>
                        <a:pt x="977139" y="191669"/>
                      </a:cubicBezTo>
                      <a:cubicBezTo>
                        <a:pt x="1021009" y="236610"/>
                        <a:pt x="1057355" y="276395"/>
                        <a:pt x="1087125" y="311518"/>
                      </a:cubicBezTo>
                      <a:cubicBezTo>
                        <a:pt x="1049367" y="328933"/>
                        <a:pt x="1022410" y="352709"/>
                        <a:pt x="981106" y="366347"/>
                      </a:cubicBezTo>
                      <a:cubicBezTo>
                        <a:pt x="944893" y="378304"/>
                        <a:pt x="910738" y="390997"/>
                        <a:pt x="878907" y="405059"/>
                      </a:cubicBezTo>
                      <a:cubicBezTo>
                        <a:pt x="759679" y="355398"/>
                        <a:pt x="667278" y="375098"/>
                        <a:pt x="619996" y="391578"/>
                      </a:cubicBezTo>
                      <a:cubicBezTo>
                        <a:pt x="686882" y="397922"/>
                        <a:pt x="748256" y="416185"/>
                        <a:pt x="802895" y="441165"/>
                      </a:cubicBezTo>
                      <a:lnTo>
                        <a:pt x="762031" y="461597"/>
                      </a:lnTo>
                      <a:cubicBezTo>
                        <a:pt x="700119" y="497316"/>
                        <a:pt x="650112" y="528273"/>
                        <a:pt x="609631" y="580660"/>
                      </a:cubicBezTo>
                      <a:cubicBezTo>
                        <a:pt x="569150" y="633047"/>
                        <a:pt x="541369" y="702897"/>
                        <a:pt x="519144" y="775922"/>
                      </a:cubicBezTo>
                      <a:cubicBezTo>
                        <a:pt x="496919" y="848947"/>
                        <a:pt x="482631" y="944991"/>
                        <a:pt x="476281" y="1018810"/>
                      </a:cubicBezTo>
                      <a:cubicBezTo>
                        <a:pt x="469931" y="1092629"/>
                        <a:pt x="479457" y="1144223"/>
                        <a:pt x="481044" y="1218835"/>
                      </a:cubicBezTo>
                      <a:cubicBezTo>
                        <a:pt x="482631" y="1293447"/>
                        <a:pt x="481837" y="1387110"/>
                        <a:pt x="485806" y="1466485"/>
                      </a:cubicBezTo>
                      <a:cubicBezTo>
                        <a:pt x="488264" y="1515644"/>
                        <a:pt x="486764" y="1570588"/>
                        <a:pt x="491052" y="1618253"/>
                      </a:cubicBezTo>
                      <a:cubicBezTo>
                        <a:pt x="410332" y="1566195"/>
                        <a:pt x="328150" y="1493901"/>
                        <a:pt x="318496" y="1475757"/>
                      </a:cubicBezTo>
                      <a:cubicBezTo>
                        <a:pt x="315899" y="1471251"/>
                        <a:pt x="311051" y="1464346"/>
                        <a:pt x="304709" y="1455294"/>
                      </a:cubicBezTo>
                      <a:cubicBezTo>
                        <a:pt x="315763" y="1411159"/>
                        <a:pt x="324775" y="1369039"/>
                        <a:pt x="328644" y="1342660"/>
                      </a:cubicBezTo>
                      <a:cubicBezTo>
                        <a:pt x="337375" y="1283129"/>
                        <a:pt x="327056" y="1275191"/>
                        <a:pt x="314356" y="1247410"/>
                      </a:cubicBezTo>
                      <a:cubicBezTo>
                        <a:pt x="301656" y="1219629"/>
                        <a:pt x="261969" y="1202959"/>
                        <a:pt x="252444" y="1175972"/>
                      </a:cubicBezTo>
                      <a:cubicBezTo>
                        <a:pt x="242919" y="1148985"/>
                        <a:pt x="260381" y="1112473"/>
                        <a:pt x="257206" y="1085485"/>
                      </a:cubicBezTo>
                      <a:cubicBezTo>
                        <a:pt x="254031" y="1058497"/>
                        <a:pt x="224663" y="1025953"/>
                        <a:pt x="233394" y="1014047"/>
                      </a:cubicBezTo>
                      <a:cubicBezTo>
                        <a:pt x="242125" y="1002141"/>
                        <a:pt x="284194" y="1028334"/>
                        <a:pt x="309594" y="1014047"/>
                      </a:cubicBezTo>
                      <a:cubicBezTo>
                        <a:pt x="334994" y="999760"/>
                        <a:pt x="373888" y="964834"/>
                        <a:pt x="385794" y="928322"/>
                      </a:cubicBezTo>
                      <a:cubicBezTo>
                        <a:pt x="397700" y="891810"/>
                        <a:pt x="396112" y="839422"/>
                        <a:pt x="381031" y="794972"/>
                      </a:cubicBezTo>
                      <a:cubicBezTo>
                        <a:pt x="365950" y="750522"/>
                        <a:pt x="332612" y="708453"/>
                        <a:pt x="295306" y="661622"/>
                      </a:cubicBezTo>
                      <a:cubicBezTo>
                        <a:pt x="258000" y="614791"/>
                        <a:pt x="208788" y="566372"/>
                        <a:pt x="157194" y="513985"/>
                      </a:cubicBezTo>
                      <a:cubicBezTo>
                        <a:pt x="115841" y="471996"/>
                        <a:pt x="97944" y="422357"/>
                        <a:pt x="38211" y="378976"/>
                      </a:cubicBezTo>
                      <a:cubicBezTo>
                        <a:pt x="59848" y="225643"/>
                        <a:pt x="139125" y="44593"/>
                        <a:pt x="385784" y="55964"/>
                      </a:cubicBezTo>
                      <a:cubicBezTo>
                        <a:pt x="445955" y="14377"/>
                        <a:pt x="518318" y="-3408"/>
                        <a:pt x="594957" y="534"/>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637" name="Man's Body">
                  <a:extLst>
                    <a:ext uri="{FF2B5EF4-FFF2-40B4-BE49-F238E27FC236}">
                      <a16:creationId xmlns:a16="http://schemas.microsoft.com/office/drawing/2014/main" id="{725F9FEA-EFEA-4594-98AB-892AA8E25C16}"/>
                    </a:ext>
                  </a:extLst>
                </p:cNvPr>
                <p:cNvSpPr>
                  <a:spLocks/>
                </p:cNvSpPr>
                <p:nvPr/>
              </p:nvSpPr>
              <p:spPr bwMode="auto">
                <a:xfrm>
                  <a:off x="7167183" y="2655935"/>
                  <a:ext cx="1791043" cy="3077332"/>
                </a:xfrm>
                <a:custGeom>
                  <a:avLst/>
                  <a:gdLst/>
                  <a:ahLst/>
                  <a:cxnLst/>
                  <a:rect l="l" t="t" r="r" b="b"/>
                  <a:pathLst>
                    <a:path w="1791043" h="3077332">
                      <a:moveTo>
                        <a:pt x="1025015" y="1789010"/>
                      </a:moveTo>
                      <a:cubicBezTo>
                        <a:pt x="1052456" y="1797149"/>
                        <a:pt x="1104448" y="2023401"/>
                        <a:pt x="1163660" y="2039679"/>
                      </a:cubicBezTo>
                      <a:cubicBezTo>
                        <a:pt x="1305194" y="2077117"/>
                        <a:pt x="1705242" y="2228494"/>
                        <a:pt x="1763012" y="2334297"/>
                      </a:cubicBezTo>
                      <a:cubicBezTo>
                        <a:pt x="1819336" y="2441727"/>
                        <a:pt x="1797673" y="2617520"/>
                        <a:pt x="1634476" y="2912138"/>
                      </a:cubicBezTo>
                      <a:cubicBezTo>
                        <a:pt x="1581040" y="2785176"/>
                        <a:pt x="1492942" y="2694024"/>
                        <a:pt x="1466947" y="2677746"/>
                      </a:cubicBezTo>
                      <a:cubicBezTo>
                        <a:pt x="1510273" y="2767271"/>
                        <a:pt x="1536270" y="2931671"/>
                        <a:pt x="1550711" y="3037473"/>
                      </a:cubicBezTo>
                      <a:cubicBezTo>
                        <a:pt x="1272518" y="3065184"/>
                        <a:pt x="1017016" y="3074577"/>
                        <a:pt x="836493" y="3077332"/>
                      </a:cubicBezTo>
                      <a:cubicBezTo>
                        <a:pt x="905753" y="2981037"/>
                        <a:pt x="872415" y="2957070"/>
                        <a:pt x="886206" y="2901903"/>
                      </a:cubicBezTo>
                      <a:cubicBezTo>
                        <a:pt x="901287" y="2841578"/>
                        <a:pt x="906844" y="2798715"/>
                        <a:pt x="905256" y="2744740"/>
                      </a:cubicBezTo>
                      <a:cubicBezTo>
                        <a:pt x="903669" y="2690765"/>
                        <a:pt x="915575" y="2629647"/>
                        <a:pt x="876681" y="2578053"/>
                      </a:cubicBezTo>
                      <a:cubicBezTo>
                        <a:pt x="837787" y="2526459"/>
                        <a:pt x="764762" y="2482009"/>
                        <a:pt x="671893" y="2435178"/>
                      </a:cubicBezTo>
                      <a:cubicBezTo>
                        <a:pt x="579024" y="2388347"/>
                        <a:pt x="408368" y="2336753"/>
                        <a:pt x="319468" y="2297065"/>
                      </a:cubicBezTo>
                      <a:cubicBezTo>
                        <a:pt x="230568" y="2257378"/>
                        <a:pt x="183737" y="2238328"/>
                        <a:pt x="138493" y="2197053"/>
                      </a:cubicBezTo>
                      <a:cubicBezTo>
                        <a:pt x="114008" y="2174716"/>
                        <a:pt x="89523" y="2140522"/>
                        <a:pt x="72566" y="2109744"/>
                      </a:cubicBezTo>
                      <a:cubicBezTo>
                        <a:pt x="161803" y="2180615"/>
                        <a:pt x="342491" y="2318445"/>
                        <a:pt x="583084" y="2314764"/>
                      </a:cubicBezTo>
                      <a:cubicBezTo>
                        <a:pt x="894952" y="2309883"/>
                        <a:pt x="961434" y="2134181"/>
                        <a:pt x="961470" y="2134087"/>
                      </a:cubicBezTo>
                      <a:cubicBezTo>
                        <a:pt x="961431" y="2134155"/>
                        <a:pt x="905040" y="2231748"/>
                        <a:pt x="600415" y="2225240"/>
                      </a:cubicBezTo>
                      <a:cubicBezTo>
                        <a:pt x="448124" y="2222935"/>
                        <a:pt x="290769" y="2127693"/>
                        <a:pt x="210656" y="2058477"/>
                      </a:cubicBezTo>
                      <a:cubicBezTo>
                        <a:pt x="247111" y="2063660"/>
                        <a:pt x="286103" y="2068919"/>
                        <a:pt x="314706" y="2068465"/>
                      </a:cubicBezTo>
                      <a:cubicBezTo>
                        <a:pt x="364712" y="2067671"/>
                        <a:pt x="409162" y="2072434"/>
                        <a:pt x="438531" y="2044653"/>
                      </a:cubicBezTo>
                      <a:cubicBezTo>
                        <a:pt x="462255" y="2022212"/>
                        <a:pt x="476137" y="1982161"/>
                        <a:pt x="483486" y="1935462"/>
                      </a:cubicBezTo>
                      <a:cubicBezTo>
                        <a:pt x="533060" y="1967097"/>
                        <a:pt x="580637" y="1990306"/>
                        <a:pt x="613413" y="1989219"/>
                      </a:cubicBezTo>
                      <a:cubicBezTo>
                        <a:pt x="877705" y="1977826"/>
                        <a:pt x="999020" y="1779243"/>
                        <a:pt x="1025015" y="1789010"/>
                      </a:cubicBezTo>
                      <a:close/>
                      <a:moveTo>
                        <a:pt x="585448" y="596"/>
                      </a:moveTo>
                      <a:cubicBezTo>
                        <a:pt x="727992" y="7927"/>
                        <a:pt x="935211" y="76180"/>
                        <a:pt x="1038898" y="151026"/>
                      </a:cubicBezTo>
                      <a:cubicBezTo>
                        <a:pt x="1142584" y="225871"/>
                        <a:pt x="1211900" y="407326"/>
                        <a:pt x="1207568" y="449665"/>
                      </a:cubicBezTo>
                      <a:cubicBezTo>
                        <a:pt x="1203236" y="490376"/>
                        <a:pt x="1199071" y="612532"/>
                        <a:pt x="1188131" y="664973"/>
                      </a:cubicBezTo>
                      <a:cubicBezTo>
                        <a:pt x="1177190" y="717413"/>
                        <a:pt x="1149623" y="723595"/>
                        <a:pt x="1141921" y="764306"/>
                      </a:cubicBezTo>
                      <a:cubicBezTo>
                        <a:pt x="1157802" y="803380"/>
                        <a:pt x="1141928" y="909191"/>
                        <a:pt x="1141921" y="909236"/>
                      </a:cubicBezTo>
                      <a:cubicBezTo>
                        <a:pt x="1141991" y="909241"/>
                        <a:pt x="1208348" y="914147"/>
                        <a:pt x="1208348" y="962974"/>
                      </a:cubicBezTo>
                      <a:cubicBezTo>
                        <a:pt x="1208348" y="1011818"/>
                        <a:pt x="1137615" y="1280417"/>
                        <a:pt x="1137589" y="1280518"/>
                      </a:cubicBezTo>
                      <a:cubicBezTo>
                        <a:pt x="1137566" y="1280557"/>
                        <a:pt x="1118803" y="1313084"/>
                        <a:pt x="1097155" y="1308200"/>
                      </a:cubicBezTo>
                      <a:cubicBezTo>
                        <a:pt x="1074050" y="1506868"/>
                        <a:pt x="994626" y="1630630"/>
                        <a:pt x="926755" y="1690881"/>
                      </a:cubicBezTo>
                      <a:cubicBezTo>
                        <a:pt x="860327" y="1749505"/>
                        <a:pt x="705811" y="1868380"/>
                        <a:pt x="613391" y="1868380"/>
                      </a:cubicBezTo>
                      <a:cubicBezTo>
                        <a:pt x="583727" y="1868380"/>
                        <a:pt x="540227" y="1848919"/>
                        <a:pt x="494585" y="1820862"/>
                      </a:cubicBezTo>
                      <a:cubicBezTo>
                        <a:pt x="495428" y="1780245"/>
                        <a:pt x="492769" y="1734980"/>
                        <a:pt x="490918" y="1682703"/>
                      </a:cubicBezTo>
                      <a:cubicBezTo>
                        <a:pt x="487743" y="1593009"/>
                        <a:pt x="490124" y="1492202"/>
                        <a:pt x="471868" y="1363615"/>
                      </a:cubicBezTo>
                      <a:cubicBezTo>
                        <a:pt x="453612" y="1235028"/>
                        <a:pt x="405987" y="1022303"/>
                        <a:pt x="381381" y="911178"/>
                      </a:cubicBezTo>
                      <a:cubicBezTo>
                        <a:pt x="356775" y="800053"/>
                        <a:pt x="352806" y="754809"/>
                        <a:pt x="324231" y="696865"/>
                      </a:cubicBezTo>
                      <a:cubicBezTo>
                        <a:pt x="295656" y="638921"/>
                        <a:pt x="255968" y="620665"/>
                        <a:pt x="209931" y="563515"/>
                      </a:cubicBezTo>
                      <a:cubicBezTo>
                        <a:pt x="163894" y="506365"/>
                        <a:pt x="103569" y="415084"/>
                        <a:pt x="48006" y="353965"/>
                      </a:cubicBezTo>
                      <a:cubicBezTo>
                        <a:pt x="28279" y="332265"/>
                        <a:pt x="14655" y="310564"/>
                        <a:pt x="0" y="290327"/>
                      </a:cubicBezTo>
                      <a:cubicBezTo>
                        <a:pt x="45987" y="162254"/>
                        <a:pt x="147389" y="53021"/>
                        <a:pt x="352016" y="62454"/>
                      </a:cubicBezTo>
                      <a:cubicBezTo>
                        <a:pt x="419165" y="16044"/>
                        <a:pt x="499920" y="-3803"/>
                        <a:pt x="585448" y="59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638" name="Man's Body">
                  <a:extLst>
                    <a:ext uri="{FF2B5EF4-FFF2-40B4-BE49-F238E27FC236}">
                      <a16:creationId xmlns:a16="http://schemas.microsoft.com/office/drawing/2014/main" id="{7D7D4FCA-7C7B-468E-A424-0311F9776C3A}"/>
                    </a:ext>
                  </a:extLst>
                </p:cNvPr>
                <p:cNvSpPr>
                  <a:spLocks/>
                </p:cNvSpPr>
                <p:nvPr/>
              </p:nvSpPr>
              <p:spPr bwMode="auto">
                <a:xfrm>
                  <a:off x="3394954" y="2270725"/>
                  <a:ext cx="1220879" cy="2577721"/>
                </a:xfrm>
                <a:custGeom>
                  <a:avLst/>
                  <a:gdLst/>
                  <a:ahLst/>
                  <a:cxnLst/>
                  <a:rect l="l" t="t" r="r" b="b"/>
                  <a:pathLst>
                    <a:path w="1220879" h="2577721">
                      <a:moveTo>
                        <a:pt x="1000694" y="1726538"/>
                      </a:moveTo>
                      <a:cubicBezTo>
                        <a:pt x="1015159" y="1730828"/>
                        <a:pt x="1036692" y="1797918"/>
                        <a:pt x="1062780" y="1860398"/>
                      </a:cubicBezTo>
                      <a:lnTo>
                        <a:pt x="1072271" y="1886939"/>
                      </a:lnTo>
                      <a:cubicBezTo>
                        <a:pt x="1100846" y="1947264"/>
                        <a:pt x="1157203" y="2022670"/>
                        <a:pt x="1181809" y="2063151"/>
                      </a:cubicBezTo>
                      <a:cubicBezTo>
                        <a:pt x="1206415" y="2103632"/>
                        <a:pt x="1225465" y="2098076"/>
                        <a:pt x="1219909" y="2129826"/>
                      </a:cubicBezTo>
                      <a:cubicBezTo>
                        <a:pt x="1214353" y="2161576"/>
                        <a:pt x="1178633" y="2203645"/>
                        <a:pt x="1148471" y="2253651"/>
                      </a:cubicBezTo>
                      <a:cubicBezTo>
                        <a:pt x="1118309" y="2303657"/>
                        <a:pt x="1085765" y="2388589"/>
                        <a:pt x="1038934" y="2429864"/>
                      </a:cubicBezTo>
                      <a:cubicBezTo>
                        <a:pt x="992103" y="2471139"/>
                        <a:pt x="926222" y="2476695"/>
                        <a:pt x="867484" y="2501301"/>
                      </a:cubicBezTo>
                      <a:cubicBezTo>
                        <a:pt x="867484" y="2501301"/>
                        <a:pt x="738896" y="2574326"/>
                        <a:pt x="686509" y="2577501"/>
                      </a:cubicBezTo>
                      <a:cubicBezTo>
                        <a:pt x="634122" y="2580676"/>
                        <a:pt x="626184" y="2548926"/>
                        <a:pt x="553159" y="2520351"/>
                      </a:cubicBezTo>
                      <a:cubicBezTo>
                        <a:pt x="480134" y="2491776"/>
                        <a:pt x="311859" y="2440182"/>
                        <a:pt x="248359" y="2406051"/>
                      </a:cubicBezTo>
                      <a:cubicBezTo>
                        <a:pt x="184859" y="2371920"/>
                        <a:pt x="187240" y="2346520"/>
                        <a:pt x="172159" y="2315564"/>
                      </a:cubicBezTo>
                      <a:cubicBezTo>
                        <a:pt x="157078" y="2284608"/>
                        <a:pt x="140409" y="2261589"/>
                        <a:pt x="157871" y="2220314"/>
                      </a:cubicBezTo>
                      <a:cubicBezTo>
                        <a:pt x="168198" y="2195906"/>
                        <a:pt x="198233" y="2167333"/>
                        <a:pt x="226485" y="2135786"/>
                      </a:cubicBezTo>
                      <a:cubicBezTo>
                        <a:pt x="316982" y="2189270"/>
                        <a:pt x="435235" y="2236059"/>
                        <a:pt x="574195" y="2233933"/>
                      </a:cubicBezTo>
                      <a:cubicBezTo>
                        <a:pt x="875173" y="2229222"/>
                        <a:pt x="939333" y="2059656"/>
                        <a:pt x="939368" y="2059565"/>
                      </a:cubicBezTo>
                      <a:cubicBezTo>
                        <a:pt x="939349" y="2059598"/>
                        <a:pt x="884958" y="2153817"/>
                        <a:pt x="590920" y="2147535"/>
                      </a:cubicBezTo>
                      <a:cubicBezTo>
                        <a:pt x="481175" y="2145874"/>
                        <a:pt x="368705" y="2094204"/>
                        <a:pt x="286708" y="2040070"/>
                      </a:cubicBezTo>
                      <a:cubicBezTo>
                        <a:pt x="307092" y="1982179"/>
                        <a:pt x="314374" y="1903887"/>
                        <a:pt x="324559" y="1872651"/>
                      </a:cubicBezTo>
                      <a:cubicBezTo>
                        <a:pt x="333489" y="1845267"/>
                        <a:pt x="333488" y="1864317"/>
                        <a:pt x="339628" y="1861489"/>
                      </a:cubicBezTo>
                      <a:lnTo>
                        <a:pt x="348371" y="1848839"/>
                      </a:lnTo>
                      <a:cubicBezTo>
                        <a:pt x="354151" y="1836701"/>
                        <a:pt x="363405" y="1817932"/>
                        <a:pt x="373314" y="1796017"/>
                      </a:cubicBezTo>
                      <a:cubicBezTo>
                        <a:pt x="451017" y="1853032"/>
                        <a:pt x="548670" y="1921572"/>
                        <a:pt x="603465" y="1919756"/>
                      </a:cubicBezTo>
                      <a:cubicBezTo>
                        <a:pt x="858528" y="1908760"/>
                        <a:pt x="975606" y="1717113"/>
                        <a:pt x="1000694" y="1726538"/>
                      </a:cubicBezTo>
                      <a:close/>
                      <a:moveTo>
                        <a:pt x="576476" y="576"/>
                      </a:moveTo>
                      <a:cubicBezTo>
                        <a:pt x="714043" y="7650"/>
                        <a:pt x="864404" y="79722"/>
                        <a:pt x="988090" y="206429"/>
                      </a:cubicBezTo>
                      <a:cubicBezTo>
                        <a:pt x="1037022" y="256557"/>
                        <a:pt x="1077264" y="300727"/>
                        <a:pt x="1110031" y="339462"/>
                      </a:cubicBezTo>
                      <a:cubicBezTo>
                        <a:pt x="1051415" y="362041"/>
                        <a:pt x="1030281" y="393446"/>
                        <a:pt x="996071" y="424851"/>
                      </a:cubicBezTo>
                      <a:cubicBezTo>
                        <a:pt x="979245" y="440298"/>
                        <a:pt x="967211" y="456704"/>
                        <a:pt x="958497" y="474522"/>
                      </a:cubicBezTo>
                      <a:cubicBezTo>
                        <a:pt x="793415" y="374586"/>
                        <a:pt x="664033" y="400614"/>
                        <a:pt x="603444" y="421733"/>
                      </a:cubicBezTo>
                      <a:cubicBezTo>
                        <a:pt x="733011" y="434023"/>
                        <a:pt x="843377" y="487838"/>
                        <a:pt x="927312" y="549009"/>
                      </a:cubicBezTo>
                      <a:lnTo>
                        <a:pt x="915109" y="582014"/>
                      </a:lnTo>
                      <a:cubicBezTo>
                        <a:pt x="891297" y="642339"/>
                        <a:pt x="862721" y="710601"/>
                        <a:pt x="853196" y="786801"/>
                      </a:cubicBezTo>
                      <a:cubicBezTo>
                        <a:pt x="843671" y="863001"/>
                        <a:pt x="847640" y="966983"/>
                        <a:pt x="857959" y="1039214"/>
                      </a:cubicBezTo>
                      <a:cubicBezTo>
                        <a:pt x="868278" y="1111445"/>
                        <a:pt x="900028" y="1178120"/>
                        <a:pt x="915109" y="1220189"/>
                      </a:cubicBezTo>
                      <a:cubicBezTo>
                        <a:pt x="930190" y="1262258"/>
                        <a:pt x="946859" y="1272576"/>
                        <a:pt x="948446" y="1291626"/>
                      </a:cubicBezTo>
                      <a:cubicBezTo>
                        <a:pt x="950033" y="1310676"/>
                        <a:pt x="930984" y="1315439"/>
                        <a:pt x="924634" y="1334489"/>
                      </a:cubicBezTo>
                      <a:cubicBezTo>
                        <a:pt x="918284" y="1353539"/>
                        <a:pt x="907171" y="1371001"/>
                        <a:pt x="910346" y="1405926"/>
                      </a:cubicBezTo>
                      <a:cubicBezTo>
                        <a:pt x="913521" y="1440851"/>
                        <a:pt x="927015" y="1494827"/>
                        <a:pt x="943684" y="1544039"/>
                      </a:cubicBezTo>
                      <a:cubicBezTo>
                        <a:pt x="947240" y="1554538"/>
                        <a:pt x="951338" y="1565109"/>
                        <a:pt x="956769" y="1575392"/>
                      </a:cubicBezTo>
                      <a:cubicBezTo>
                        <a:pt x="939866" y="1598334"/>
                        <a:pt x="922505" y="1617063"/>
                        <a:pt x="905864" y="1631836"/>
                      </a:cubicBezTo>
                      <a:cubicBezTo>
                        <a:pt x="841757" y="1688412"/>
                        <a:pt x="692637" y="1803136"/>
                        <a:pt x="603444" y="1803136"/>
                      </a:cubicBezTo>
                      <a:cubicBezTo>
                        <a:pt x="557961" y="1803136"/>
                        <a:pt x="478776" y="1755732"/>
                        <a:pt x="409934" y="1705014"/>
                      </a:cubicBezTo>
                      <a:lnTo>
                        <a:pt x="419809" y="1672626"/>
                      </a:lnTo>
                      <a:cubicBezTo>
                        <a:pt x="433303" y="1613095"/>
                        <a:pt x="419809" y="1540070"/>
                        <a:pt x="429334" y="1491651"/>
                      </a:cubicBezTo>
                      <a:cubicBezTo>
                        <a:pt x="438859" y="1443232"/>
                        <a:pt x="464259" y="1418627"/>
                        <a:pt x="476959" y="1382114"/>
                      </a:cubicBezTo>
                      <a:cubicBezTo>
                        <a:pt x="489659" y="1345602"/>
                        <a:pt x="506328" y="1301151"/>
                        <a:pt x="505534" y="1272576"/>
                      </a:cubicBezTo>
                      <a:cubicBezTo>
                        <a:pt x="504740" y="1244001"/>
                        <a:pt x="472990" y="1247177"/>
                        <a:pt x="472196" y="1210664"/>
                      </a:cubicBezTo>
                      <a:cubicBezTo>
                        <a:pt x="471402" y="1174152"/>
                        <a:pt x="493627" y="1105095"/>
                        <a:pt x="500771" y="1053501"/>
                      </a:cubicBezTo>
                      <a:cubicBezTo>
                        <a:pt x="507915" y="1001907"/>
                        <a:pt x="519028" y="948726"/>
                        <a:pt x="515059" y="901101"/>
                      </a:cubicBezTo>
                      <a:cubicBezTo>
                        <a:pt x="511090" y="853476"/>
                        <a:pt x="496009" y="818551"/>
                        <a:pt x="476959" y="767751"/>
                      </a:cubicBezTo>
                      <a:cubicBezTo>
                        <a:pt x="457909" y="716951"/>
                        <a:pt x="430128" y="646307"/>
                        <a:pt x="400759" y="596301"/>
                      </a:cubicBezTo>
                      <a:cubicBezTo>
                        <a:pt x="371390" y="546295"/>
                        <a:pt x="342021" y="502639"/>
                        <a:pt x="300746" y="467714"/>
                      </a:cubicBezTo>
                      <a:cubicBezTo>
                        <a:pt x="259471" y="432789"/>
                        <a:pt x="207878" y="412151"/>
                        <a:pt x="153109" y="386751"/>
                      </a:cubicBezTo>
                      <a:cubicBezTo>
                        <a:pt x="102114" y="363101"/>
                        <a:pt x="114428" y="279585"/>
                        <a:pt x="0" y="308275"/>
                      </a:cubicBezTo>
                      <a:cubicBezTo>
                        <a:pt x="41291" y="173605"/>
                        <a:pt x="138419" y="50464"/>
                        <a:pt x="351195" y="60273"/>
                      </a:cubicBezTo>
                      <a:cubicBezTo>
                        <a:pt x="415999" y="15484"/>
                        <a:pt x="493935" y="-3670"/>
                        <a:pt x="576476" y="57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639" name="Man's Body">
                  <a:extLst>
                    <a:ext uri="{FF2B5EF4-FFF2-40B4-BE49-F238E27FC236}">
                      <a16:creationId xmlns:a16="http://schemas.microsoft.com/office/drawing/2014/main" id="{3EBEA13B-3BE1-4997-9BCB-01A0960485AD}"/>
                    </a:ext>
                  </a:extLst>
                </p:cNvPr>
                <p:cNvSpPr>
                  <a:spLocks/>
                </p:cNvSpPr>
                <p:nvPr/>
              </p:nvSpPr>
              <p:spPr bwMode="auto">
                <a:xfrm>
                  <a:off x="4129215" y="2588754"/>
                  <a:ext cx="1942154" cy="3289752"/>
                </a:xfrm>
                <a:custGeom>
                  <a:avLst/>
                  <a:gdLst/>
                  <a:ahLst/>
                  <a:cxnLst/>
                  <a:rect l="l" t="t" r="r" b="b"/>
                  <a:pathLst>
                    <a:path w="1942154" h="3289752">
                      <a:moveTo>
                        <a:pt x="501915" y="1906497"/>
                      </a:moveTo>
                      <a:cubicBezTo>
                        <a:pt x="531238" y="1899539"/>
                        <a:pt x="778162" y="2129136"/>
                        <a:pt x="883105" y="2125656"/>
                      </a:cubicBezTo>
                      <a:cubicBezTo>
                        <a:pt x="1165524" y="2113482"/>
                        <a:pt x="1295160" y="1901279"/>
                        <a:pt x="1322938" y="1911715"/>
                      </a:cubicBezTo>
                      <a:cubicBezTo>
                        <a:pt x="1352261" y="1920412"/>
                        <a:pt x="1407819" y="2162183"/>
                        <a:pt x="1471092" y="2179577"/>
                      </a:cubicBezTo>
                      <a:cubicBezTo>
                        <a:pt x="1569955" y="2205728"/>
                        <a:pt x="1786855" y="2283903"/>
                        <a:pt x="1942154" y="2367099"/>
                      </a:cubicBezTo>
                      <a:lnTo>
                        <a:pt x="1623885" y="2492834"/>
                      </a:lnTo>
                      <a:cubicBezTo>
                        <a:pt x="1505616" y="2541253"/>
                        <a:pt x="1369885" y="2582527"/>
                        <a:pt x="1300035" y="2630946"/>
                      </a:cubicBezTo>
                      <a:cubicBezTo>
                        <a:pt x="1230185" y="2679365"/>
                        <a:pt x="1216691" y="2727784"/>
                        <a:pt x="1204785" y="2783346"/>
                      </a:cubicBezTo>
                      <a:cubicBezTo>
                        <a:pt x="1192879" y="2838909"/>
                        <a:pt x="1211929" y="2896059"/>
                        <a:pt x="1228598" y="2964321"/>
                      </a:cubicBezTo>
                      <a:cubicBezTo>
                        <a:pt x="1245267" y="3032583"/>
                        <a:pt x="1281779" y="3120690"/>
                        <a:pt x="1304798" y="3192921"/>
                      </a:cubicBezTo>
                      <a:cubicBezTo>
                        <a:pt x="1314321" y="3222803"/>
                        <a:pt x="1341505" y="3252414"/>
                        <a:pt x="1363493" y="3281583"/>
                      </a:cubicBezTo>
                      <a:cubicBezTo>
                        <a:pt x="1152486" y="3290141"/>
                        <a:pt x="985631" y="3290297"/>
                        <a:pt x="900081" y="3289292"/>
                      </a:cubicBezTo>
                      <a:cubicBezTo>
                        <a:pt x="817878" y="3290370"/>
                        <a:pt x="658124" y="3290113"/>
                        <a:pt x="456018" y="3282293"/>
                      </a:cubicBezTo>
                      <a:cubicBezTo>
                        <a:pt x="462393" y="3274575"/>
                        <a:pt x="465552" y="3265168"/>
                        <a:pt x="466598" y="3254834"/>
                      </a:cubicBezTo>
                      <a:cubicBezTo>
                        <a:pt x="472948" y="3192128"/>
                        <a:pt x="470567" y="3114340"/>
                        <a:pt x="466598" y="3021471"/>
                      </a:cubicBezTo>
                      <a:cubicBezTo>
                        <a:pt x="462629" y="2928602"/>
                        <a:pt x="461835" y="2782552"/>
                        <a:pt x="442785" y="2697621"/>
                      </a:cubicBezTo>
                      <a:cubicBezTo>
                        <a:pt x="423735" y="2612690"/>
                        <a:pt x="407860" y="2565859"/>
                        <a:pt x="352298" y="2511884"/>
                      </a:cubicBezTo>
                      <a:cubicBezTo>
                        <a:pt x="296736" y="2457909"/>
                        <a:pt x="186404" y="2415046"/>
                        <a:pt x="109410" y="2373771"/>
                      </a:cubicBezTo>
                      <a:cubicBezTo>
                        <a:pt x="63909" y="2349379"/>
                        <a:pt x="39200" y="2319443"/>
                        <a:pt x="0" y="2298223"/>
                      </a:cubicBezTo>
                      <a:cubicBezTo>
                        <a:pt x="117461" y="2244929"/>
                        <a:pt x="226792" y="2206801"/>
                        <a:pt x="244189" y="2210886"/>
                      </a:cubicBezTo>
                      <a:cubicBezTo>
                        <a:pt x="281228" y="2217843"/>
                        <a:pt x="509632" y="2478748"/>
                        <a:pt x="850696" y="2473530"/>
                      </a:cubicBezTo>
                      <a:cubicBezTo>
                        <a:pt x="1183954" y="2468314"/>
                        <a:pt x="1254996" y="2280562"/>
                        <a:pt x="1255035" y="2280461"/>
                      </a:cubicBezTo>
                      <a:cubicBezTo>
                        <a:pt x="1255005" y="2280512"/>
                        <a:pt x="1194766" y="2384821"/>
                        <a:pt x="869215" y="2377865"/>
                      </a:cubicBezTo>
                      <a:cubicBezTo>
                        <a:pt x="639268" y="2374386"/>
                        <a:pt x="398517" y="2172620"/>
                        <a:pt x="393887" y="2132615"/>
                      </a:cubicBezTo>
                      <a:cubicBezTo>
                        <a:pt x="389256" y="2090869"/>
                        <a:pt x="471051" y="1911715"/>
                        <a:pt x="501915" y="1906497"/>
                      </a:cubicBezTo>
                      <a:close/>
                      <a:moveTo>
                        <a:pt x="853221" y="637"/>
                      </a:moveTo>
                      <a:cubicBezTo>
                        <a:pt x="1005543" y="8471"/>
                        <a:pt x="1226975" y="81406"/>
                        <a:pt x="1337772" y="161384"/>
                      </a:cubicBezTo>
                      <a:cubicBezTo>
                        <a:pt x="1448570" y="241363"/>
                        <a:pt x="1522641" y="435263"/>
                        <a:pt x="1518012" y="480506"/>
                      </a:cubicBezTo>
                      <a:cubicBezTo>
                        <a:pt x="1513382" y="524010"/>
                        <a:pt x="1508932" y="654545"/>
                        <a:pt x="1497241" y="710582"/>
                      </a:cubicBezTo>
                      <a:cubicBezTo>
                        <a:pt x="1485550" y="766620"/>
                        <a:pt x="1456092" y="773225"/>
                        <a:pt x="1447862" y="816729"/>
                      </a:cubicBezTo>
                      <a:cubicBezTo>
                        <a:pt x="1464832" y="858482"/>
                        <a:pt x="1447870" y="971551"/>
                        <a:pt x="1447862" y="971599"/>
                      </a:cubicBezTo>
                      <a:cubicBezTo>
                        <a:pt x="1447887" y="971601"/>
                        <a:pt x="1518845" y="976828"/>
                        <a:pt x="1518845" y="1029023"/>
                      </a:cubicBezTo>
                      <a:cubicBezTo>
                        <a:pt x="1518845" y="1081217"/>
                        <a:pt x="1443261" y="1368239"/>
                        <a:pt x="1443233" y="1368346"/>
                      </a:cubicBezTo>
                      <a:cubicBezTo>
                        <a:pt x="1443216" y="1368375"/>
                        <a:pt x="1423163" y="1403147"/>
                        <a:pt x="1400025" y="1397928"/>
                      </a:cubicBezTo>
                      <a:cubicBezTo>
                        <a:pt x="1375336" y="1610222"/>
                        <a:pt x="1290464" y="1742472"/>
                        <a:pt x="1217938" y="1806856"/>
                      </a:cubicBezTo>
                      <a:cubicBezTo>
                        <a:pt x="1146955" y="1869501"/>
                        <a:pt x="981841" y="1996529"/>
                        <a:pt x="883082" y="1996529"/>
                      </a:cubicBezTo>
                      <a:cubicBezTo>
                        <a:pt x="784323" y="1996529"/>
                        <a:pt x="542053" y="1794675"/>
                        <a:pt x="523537" y="1759872"/>
                      </a:cubicBezTo>
                      <a:cubicBezTo>
                        <a:pt x="503477" y="1725071"/>
                        <a:pt x="370768" y="1570199"/>
                        <a:pt x="366139" y="1380528"/>
                      </a:cubicBezTo>
                      <a:cubicBezTo>
                        <a:pt x="301328" y="1375306"/>
                        <a:pt x="264293" y="1183894"/>
                        <a:pt x="239604" y="1082967"/>
                      </a:cubicBezTo>
                      <a:cubicBezTo>
                        <a:pt x="219550" y="997735"/>
                        <a:pt x="288930" y="999439"/>
                        <a:pt x="288983" y="999441"/>
                      </a:cubicBezTo>
                      <a:cubicBezTo>
                        <a:pt x="288957" y="999371"/>
                        <a:pt x="191766" y="731458"/>
                        <a:pt x="184051" y="694921"/>
                      </a:cubicBezTo>
                      <a:cubicBezTo>
                        <a:pt x="177878" y="660118"/>
                        <a:pt x="113068" y="44116"/>
                        <a:pt x="603779" y="66738"/>
                      </a:cubicBezTo>
                      <a:cubicBezTo>
                        <a:pt x="675533" y="17144"/>
                        <a:pt x="761828" y="-4064"/>
                        <a:pt x="853221" y="63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640" name="Man's Body">
                  <a:extLst>
                    <a:ext uri="{FF2B5EF4-FFF2-40B4-BE49-F238E27FC236}">
                      <a16:creationId xmlns:a16="http://schemas.microsoft.com/office/drawing/2014/main" id="{F5C823B7-518C-4EA9-A648-A10D31E782EB}"/>
                    </a:ext>
                  </a:extLst>
                </p:cNvPr>
                <p:cNvSpPr>
                  <a:spLocks/>
                </p:cNvSpPr>
                <p:nvPr/>
              </p:nvSpPr>
              <p:spPr bwMode="auto">
                <a:xfrm>
                  <a:off x="335107" y="2540761"/>
                  <a:ext cx="1927374" cy="3278271"/>
                </a:xfrm>
                <a:custGeom>
                  <a:avLst/>
                  <a:gdLst/>
                  <a:ahLst/>
                  <a:cxnLst/>
                  <a:rect l="l" t="t" r="r" b="b"/>
                  <a:pathLst>
                    <a:path w="1927374" h="3278271">
                      <a:moveTo>
                        <a:pt x="586126" y="2210886"/>
                      </a:moveTo>
                      <a:cubicBezTo>
                        <a:pt x="616330" y="2216559"/>
                        <a:pt x="773790" y="2391106"/>
                        <a:pt x="1016388" y="2450287"/>
                      </a:cubicBezTo>
                      <a:cubicBezTo>
                        <a:pt x="976291" y="2480726"/>
                        <a:pt x="940784" y="2511617"/>
                        <a:pt x="912668" y="2540828"/>
                      </a:cubicBezTo>
                      <a:cubicBezTo>
                        <a:pt x="851549" y="2604328"/>
                        <a:pt x="830912" y="2661478"/>
                        <a:pt x="803131" y="2726565"/>
                      </a:cubicBezTo>
                      <a:cubicBezTo>
                        <a:pt x="775350" y="2791652"/>
                        <a:pt x="757093" y="2855947"/>
                        <a:pt x="745981" y="2931353"/>
                      </a:cubicBezTo>
                      <a:cubicBezTo>
                        <a:pt x="734869" y="3006759"/>
                        <a:pt x="738837" y="3105978"/>
                        <a:pt x="736456" y="3179003"/>
                      </a:cubicBezTo>
                      <a:cubicBezTo>
                        <a:pt x="735337" y="3213335"/>
                        <a:pt x="717901" y="3247141"/>
                        <a:pt x="707639" y="3278271"/>
                      </a:cubicBezTo>
                      <a:cubicBezTo>
                        <a:pt x="607261" y="3273701"/>
                        <a:pt x="498668" y="3267095"/>
                        <a:pt x="385500" y="3257984"/>
                      </a:cubicBezTo>
                      <a:cubicBezTo>
                        <a:pt x="387043" y="3144926"/>
                        <a:pt x="428711" y="2960553"/>
                        <a:pt x="475010" y="2861409"/>
                      </a:cubicBezTo>
                      <a:cubicBezTo>
                        <a:pt x="439515" y="2884020"/>
                        <a:pt x="288274" y="3042302"/>
                        <a:pt x="258951" y="3247548"/>
                      </a:cubicBezTo>
                      <a:cubicBezTo>
                        <a:pt x="-18839" y="2890978"/>
                        <a:pt x="-32728" y="2605722"/>
                        <a:pt x="32090" y="2494403"/>
                      </a:cubicBezTo>
                      <a:cubicBezTo>
                        <a:pt x="95364" y="2384822"/>
                        <a:pt x="549088" y="2202189"/>
                        <a:pt x="586126" y="2210886"/>
                      </a:cubicBezTo>
                      <a:close/>
                      <a:moveTo>
                        <a:pt x="843852" y="1906497"/>
                      </a:moveTo>
                      <a:cubicBezTo>
                        <a:pt x="873175" y="1899539"/>
                        <a:pt x="1120099" y="2129136"/>
                        <a:pt x="1225042" y="2125656"/>
                      </a:cubicBezTo>
                      <a:cubicBezTo>
                        <a:pt x="1507461" y="2113482"/>
                        <a:pt x="1637096" y="1901279"/>
                        <a:pt x="1664875" y="1911715"/>
                      </a:cubicBezTo>
                      <a:cubicBezTo>
                        <a:pt x="1681451" y="1916632"/>
                        <a:pt x="1706410" y="1996028"/>
                        <a:pt x="1736668" y="2067160"/>
                      </a:cubicBezTo>
                      <a:cubicBezTo>
                        <a:pt x="1645277" y="2089552"/>
                        <a:pt x="1598007" y="2141189"/>
                        <a:pt x="1512743" y="2178878"/>
                      </a:cubicBezTo>
                      <a:cubicBezTo>
                        <a:pt x="1403206" y="2227297"/>
                        <a:pt x="1269855" y="2285240"/>
                        <a:pt x="1169843" y="2345565"/>
                      </a:cubicBezTo>
                      <a:lnTo>
                        <a:pt x="1134882" y="2369115"/>
                      </a:lnTo>
                      <a:cubicBezTo>
                        <a:pt x="930801" y="2331702"/>
                        <a:pt x="739941" y="2168192"/>
                        <a:pt x="735824" y="2132615"/>
                      </a:cubicBezTo>
                      <a:cubicBezTo>
                        <a:pt x="731193" y="2090869"/>
                        <a:pt x="812988" y="1911715"/>
                        <a:pt x="843852" y="1906497"/>
                      </a:cubicBezTo>
                      <a:close/>
                      <a:moveTo>
                        <a:pt x="1195158" y="637"/>
                      </a:moveTo>
                      <a:cubicBezTo>
                        <a:pt x="1347480" y="8471"/>
                        <a:pt x="1513967" y="88272"/>
                        <a:pt x="1650919" y="228569"/>
                      </a:cubicBezTo>
                      <a:cubicBezTo>
                        <a:pt x="1870041" y="453045"/>
                        <a:pt x="1931766" y="569632"/>
                        <a:pt x="1927136" y="614875"/>
                      </a:cubicBezTo>
                      <a:cubicBezTo>
                        <a:pt x="1922506" y="658378"/>
                        <a:pt x="1877757" y="719282"/>
                        <a:pt x="1839178" y="710582"/>
                      </a:cubicBezTo>
                      <a:cubicBezTo>
                        <a:pt x="1799058" y="701882"/>
                        <a:pt x="1794429" y="663598"/>
                        <a:pt x="1772824" y="642718"/>
                      </a:cubicBezTo>
                      <a:cubicBezTo>
                        <a:pt x="1516667" y="399101"/>
                        <a:pt x="1309890" y="437383"/>
                        <a:pt x="1225019" y="466966"/>
                      </a:cubicBezTo>
                      <a:cubicBezTo>
                        <a:pt x="1555245" y="498288"/>
                        <a:pt x="1772824" y="773225"/>
                        <a:pt x="1789799" y="816729"/>
                      </a:cubicBezTo>
                      <a:cubicBezTo>
                        <a:pt x="1806769" y="858482"/>
                        <a:pt x="1789807" y="971551"/>
                        <a:pt x="1789799" y="971599"/>
                      </a:cubicBezTo>
                      <a:cubicBezTo>
                        <a:pt x="1789819" y="971601"/>
                        <a:pt x="1860782" y="976826"/>
                        <a:pt x="1860782" y="1029023"/>
                      </a:cubicBezTo>
                      <a:cubicBezTo>
                        <a:pt x="1860782" y="1081217"/>
                        <a:pt x="1785198" y="1368239"/>
                        <a:pt x="1785170" y="1368346"/>
                      </a:cubicBezTo>
                      <a:cubicBezTo>
                        <a:pt x="1785153" y="1368375"/>
                        <a:pt x="1765100" y="1403147"/>
                        <a:pt x="1741962" y="1397928"/>
                      </a:cubicBezTo>
                      <a:cubicBezTo>
                        <a:pt x="1717273" y="1610222"/>
                        <a:pt x="1632401" y="1742472"/>
                        <a:pt x="1559875" y="1806856"/>
                      </a:cubicBezTo>
                      <a:cubicBezTo>
                        <a:pt x="1488892" y="1869501"/>
                        <a:pt x="1323778" y="1996529"/>
                        <a:pt x="1225019" y="1996529"/>
                      </a:cubicBezTo>
                      <a:cubicBezTo>
                        <a:pt x="1126260" y="1996529"/>
                        <a:pt x="883990" y="1794675"/>
                        <a:pt x="865473" y="1759872"/>
                      </a:cubicBezTo>
                      <a:cubicBezTo>
                        <a:pt x="845414" y="1725071"/>
                        <a:pt x="712705" y="1570199"/>
                        <a:pt x="708075" y="1380528"/>
                      </a:cubicBezTo>
                      <a:cubicBezTo>
                        <a:pt x="643265" y="1375306"/>
                        <a:pt x="606230" y="1183894"/>
                        <a:pt x="581541" y="1082967"/>
                      </a:cubicBezTo>
                      <a:cubicBezTo>
                        <a:pt x="561487" y="997735"/>
                        <a:pt x="630866" y="999439"/>
                        <a:pt x="630919" y="999441"/>
                      </a:cubicBezTo>
                      <a:cubicBezTo>
                        <a:pt x="630881" y="999337"/>
                        <a:pt x="533702" y="731455"/>
                        <a:pt x="525988" y="694921"/>
                      </a:cubicBezTo>
                      <a:cubicBezTo>
                        <a:pt x="519815" y="660118"/>
                        <a:pt x="455005" y="44116"/>
                        <a:pt x="945716" y="66738"/>
                      </a:cubicBezTo>
                      <a:cubicBezTo>
                        <a:pt x="1017470" y="17144"/>
                        <a:pt x="1103765" y="-4064"/>
                        <a:pt x="1195158" y="63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641" name="Freeform 227">
                  <a:extLst>
                    <a:ext uri="{FF2B5EF4-FFF2-40B4-BE49-F238E27FC236}">
                      <a16:creationId xmlns:a16="http://schemas.microsoft.com/office/drawing/2014/main" id="{EF40BD40-B544-4BA4-80E0-CB5D339DEA83}"/>
                    </a:ext>
                  </a:extLst>
                </p:cNvPr>
                <p:cNvSpPr/>
                <p:nvPr/>
              </p:nvSpPr>
              <p:spPr>
                <a:xfrm flipH="1">
                  <a:off x="1116816" y="2629054"/>
                  <a:ext cx="3436629" cy="3474566"/>
                </a:xfrm>
                <a:custGeom>
                  <a:avLst/>
                  <a:gdLst/>
                  <a:ahLst/>
                  <a:cxnLst/>
                  <a:rect l="l" t="t" r="r" b="b"/>
                  <a:pathLst>
                    <a:path w="852601" h="862013">
                      <a:moveTo>
                        <a:pt x="339688" y="551599"/>
                      </a:moveTo>
                      <a:cubicBezTo>
                        <a:pt x="336200" y="550660"/>
                        <a:pt x="332712" y="552270"/>
                        <a:pt x="329224" y="555624"/>
                      </a:cubicBezTo>
                      <a:lnTo>
                        <a:pt x="318760" y="571723"/>
                      </a:lnTo>
                      <a:cubicBezTo>
                        <a:pt x="317687" y="576955"/>
                        <a:pt x="320907" y="582723"/>
                        <a:pt x="322785" y="587017"/>
                      </a:cubicBezTo>
                      <a:cubicBezTo>
                        <a:pt x="324663" y="591310"/>
                        <a:pt x="331370" y="593322"/>
                        <a:pt x="330029" y="597481"/>
                      </a:cubicBezTo>
                      <a:cubicBezTo>
                        <a:pt x="328687" y="601641"/>
                        <a:pt x="318894" y="606739"/>
                        <a:pt x="314735" y="611971"/>
                      </a:cubicBezTo>
                      <a:cubicBezTo>
                        <a:pt x="310576" y="617202"/>
                        <a:pt x="308563" y="620288"/>
                        <a:pt x="303465" y="629679"/>
                      </a:cubicBezTo>
                      <a:cubicBezTo>
                        <a:pt x="298368" y="639070"/>
                        <a:pt x="292062" y="654230"/>
                        <a:pt x="284147" y="668317"/>
                      </a:cubicBezTo>
                      <a:cubicBezTo>
                        <a:pt x="276232" y="682403"/>
                        <a:pt x="261340" y="698637"/>
                        <a:pt x="255974" y="714199"/>
                      </a:cubicBezTo>
                      <a:cubicBezTo>
                        <a:pt x="250607" y="729762"/>
                        <a:pt x="252754" y="745727"/>
                        <a:pt x="251949" y="761691"/>
                      </a:cubicBezTo>
                      <a:cubicBezTo>
                        <a:pt x="251144" y="777656"/>
                        <a:pt x="252351" y="796036"/>
                        <a:pt x="251143" y="809989"/>
                      </a:cubicBezTo>
                      <a:cubicBezTo>
                        <a:pt x="249937" y="823941"/>
                        <a:pt x="245778" y="837357"/>
                        <a:pt x="244705" y="845406"/>
                      </a:cubicBezTo>
                      <a:cubicBezTo>
                        <a:pt x="243631" y="853456"/>
                        <a:pt x="243095" y="855603"/>
                        <a:pt x="244705" y="858286"/>
                      </a:cubicBezTo>
                      <a:cubicBezTo>
                        <a:pt x="245509" y="859627"/>
                        <a:pt x="245945" y="860298"/>
                        <a:pt x="247169" y="860701"/>
                      </a:cubicBezTo>
                      <a:lnTo>
                        <a:pt x="254364" y="861506"/>
                      </a:lnTo>
                      <a:cubicBezTo>
                        <a:pt x="262279" y="862042"/>
                        <a:pt x="277305" y="862310"/>
                        <a:pt x="292196" y="861506"/>
                      </a:cubicBezTo>
                      <a:cubicBezTo>
                        <a:pt x="307088" y="860701"/>
                        <a:pt x="333115" y="857749"/>
                        <a:pt x="343713" y="856676"/>
                      </a:cubicBezTo>
                      <a:cubicBezTo>
                        <a:pt x="343747" y="856684"/>
                        <a:pt x="352708" y="858681"/>
                        <a:pt x="355787" y="855066"/>
                      </a:cubicBezTo>
                      <a:cubicBezTo>
                        <a:pt x="358873" y="851443"/>
                        <a:pt x="361288" y="845675"/>
                        <a:pt x="362227" y="834943"/>
                      </a:cubicBezTo>
                      <a:cubicBezTo>
                        <a:pt x="363166" y="824210"/>
                        <a:pt x="363568" y="808110"/>
                        <a:pt x="361422" y="790670"/>
                      </a:cubicBezTo>
                      <a:cubicBezTo>
                        <a:pt x="359275" y="773229"/>
                        <a:pt x="352299" y="754313"/>
                        <a:pt x="349348" y="730298"/>
                      </a:cubicBezTo>
                      <a:cubicBezTo>
                        <a:pt x="346396" y="706284"/>
                        <a:pt x="344786" y="666439"/>
                        <a:pt x="343713" y="646584"/>
                      </a:cubicBezTo>
                      <a:cubicBezTo>
                        <a:pt x="342640" y="626728"/>
                        <a:pt x="342505" y="619886"/>
                        <a:pt x="342908" y="611166"/>
                      </a:cubicBezTo>
                      <a:cubicBezTo>
                        <a:pt x="343310" y="602446"/>
                        <a:pt x="343713" y="600299"/>
                        <a:pt x="346128" y="594262"/>
                      </a:cubicBezTo>
                      <a:cubicBezTo>
                        <a:pt x="348543" y="588224"/>
                        <a:pt x="356727" y="580443"/>
                        <a:pt x="357397" y="574942"/>
                      </a:cubicBezTo>
                      <a:cubicBezTo>
                        <a:pt x="358068" y="569442"/>
                        <a:pt x="353104" y="565149"/>
                        <a:pt x="350153" y="561258"/>
                      </a:cubicBezTo>
                      <a:close/>
                      <a:moveTo>
                        <a:pt x="287206" y="507649"/>
                      </a:moveTo>
                      <a:cubicBezTo>
                        <a:pt x="299226" y="561742"/>
                        <a:pt x="284201" y="574621"/>
                        <a:pt x="274326" y="617123"/>
                      </a:cubicBezTo>
                      <a:cubicBezTo>
                        <a:pt x="272445" y="626330"/>
                        <a:pt x="270907" y="639718"/>
                        <a:pt x="269556" y="655910"/>
                      </a:cubicBezTo>
                      <a:cubicBezTo>
                        <a:pt x="284442" y="632717"/>
                        <a:pt x="299146" y="601494"/>
                        <a:pt x="316184" y="596515"/>
                      </a:cubicBezTo>
                      <a:cubicBezTo>
                        <a:pt x="314038" y="589217"/>
                        <a:pt x="305451" y="583528"/>
                        <a:pt x="306524" y="574621"/>
                      </a:cubicBezTo>
                      <a:cubicBezTo>
                        <a:pt x="307147" y="563679"/>
                        <a:pt x="314405" y="554950"/>
                        <a:pt x="319949" y="545622"/>
                      </a:cubicBezTo>
                      <a:cubicBezTo>
                        <a:pt x="307786" y="539695"/>
                        <a:pt x="298568" y="525281"/>
                        <a:pt x="287206" y="507649"/>
                      </a:cubicBezTo>
                      <a:close/>
                      <a:moveTo>
                        <a:pt x="264023" y="488330"/>
                      </a:moveTo>
                      <a:cubicBezTo>
                        <a:pt x="251143" y="497345"/>
                        <a:pt x="249856" y="517952"/>
                        <a:pt x="240841" y="523104"/>
                      </a:cubicBezTo>
                      <a:cubicBezTo>
                        <a:pt x="177304" y="542852"/>
                        <a:pt x="103463" y="578055"/>
                        <a:pt x="46365" y="613259"/>
                      </a:cubicBezTo>
                      <a:cubicBezTo>
                        <a:pt x="17601" y="630002"/>
                        <a:pt x="12021" y="649320"/>
                        <a:pt x="6440" y="682806"/>
                      </a:cubicBezTo>
                      <a:lnTo>
                        <a:pt x="0" y="793568"/>
                      </a:lnTo>
                      <a:cubicBezTo>
                        <a:pt x="60532" y="849807"/>
                        <a:pt x="154551" y="840362"/>
                        <a:pt x="230537" y="859252"/>
                      </a:cubicBezTo>
                      <a:cubicBezTo>
                        <a:pt x="242128" y="755359"/>
                        <a:pt x="233113" y="597374"/>
                        <a:pt x="265311" y="542422"/>
                      </a:cubicBezTo>
                      <a:close/>
                      <a:moveTo>
                        <a:pt x="473953" y="438101"/>
                      </a:moveTo>
                      <a:cubicBezTo>
                        <a:pt x="449999" y="476765"/>
                        <a:pt x="395188" y="525303"/>
                        <a:pt x="351750" y="542487"/>
                      </a:cubicBezTo>
                      <a:cubicBezTo>
                        <a:pt x="364570" y="553524"/>
                        <a:pt x="369815" y="566569"/>
                        <a:pt x="371564" y="577519"/>
                      </a:cubicBezTo>
                      <a:cubicBezTo>
                        <a:pt x="371510" y="588305"/>
                        <a:pt x="363407" y="591042"/>
                        <a:pt x="359329" y="597803"/>
                      </a:cubicBezTo>
                      <a:cubicBezTo>
                        <a:pt x="364928" y="652187"/>
                        <a:pt x="355161" y="701683"/>
                        <a:pt x="373271" y="759858"/>
                      </a:cubicBezTo>
                      <a:cubicBezTo>
                        <a:pt x="382583" y="726860"/>
                        <a:pt x="394118" y="694072"/>
                        <a:pt x="406981" y="659624"/>
                      </a:cubicBezTo>
                      <a:cubicBezTo>
                        <a:pt x="434458" y="598661"/>
                        <a:pt x="476100" y="510653"/>
                        <a:pt x="473953" y="438101"/>
                      </a:cubicBezTo>
                      <a:close/>
                      <a:moveTo>
                        <a:pt x="444331" y="425221"/>
                      </a:moveTo>
                      <a:cubicBezTo>
                        <a:pt x="417365" y="457420"/>
                        <a:pt x="365446" y="490423"/>
                        <a:pt x="342908" y="490423"/>
                      </a:cubicBezTo>
                      <a:cubicBezTo>
                        <a:pt x="312722" y="489752"/>
                        <a:pt x="309100" y="473787"/>
                        <a:pt x="292196" y="465469"/>
                      </a:cubicBezTo>
                      <a:cubicBezTo>
                        <a:pt x="308026" y="468152"/>
                        <a:pt x="323455" y="474056"/>
                        <a:pt x="339687" y="473519"/>
                      </a:cubicBezTo>
                      <a:cubicBezTo>
                        <a:pt x="376180" y="473116"/>
                        <a:pt x="416695" y="446955"/>
                        <a:pt x="444331" y="425221"/>
                      </a:cubicBezTo>
                      <a:close/>
                      <a:moveTo>
                        <a:pt x="488121" y="409767"/>
                      </a:moveTo>
                      <a:cubicBezTo>
                        <a:pt x="533198" y="465576"/>
                        <a:pt x="410846" y="692681"/>
                        <a:pt x="376072" y="855388"/>
                      </a:cubicBezTo>
                      <a:cubicBezTo>
                        <a:pt x="489409" y="838216"/>
                        <a:pt x="600169" y="850665"/>
                        <a:pt x="716082" y="803871"/>
                      </a:cubicBezTo>
                      <a:cubicBezTo>
                        <a:pt x="761588" y="800437"/>
                        <a:pt x="808382" y="816321"/>
                        <a:pt x="852601" y="793568"/>
                      </a:cubicBezTo>
                      <a:cubicBezTo>
                        <a:pt x="845303" y="743338"/>
                        <a:pt x="867627" y="646745"/>
                        <a:pt x="772750" y="588788"/>
                      </a:cubicBezTo>
                      <a:cubicBezTo>
                        <a:pt x="729391" y="552726"/>
                        <a:pt x="648681" y="519241"/>
                        <a:pt x="565395" y="492193"/>
                      </a:cubicBezTo>
                      <a:cubicBezTo>
                        <a:pt x="534486" y="468582"/>
                        <a:pt x="515167" y="433379"/>
                        <a:pt x="488121" y="409767"/>
                      </a:cubicBezTo>
                      <a:close/>
                      <a:moveTo>
                        <a:pt x="314467" y="207"/>
                      </a:moveTo>
                      <a:cubicBezTo>
                        <a:pt x="302302" y="922"/>
                        <a:pt x="297652" y="4142"/>
                        <a:pt x="285488" y="8794"/>
                      </a:cubicBezTo>
                      <a:cubicBezTo>
                        <a:pt x="273325" y="13444"/>
                        <a:pt x="253826" y="20241"/>
                        <a:pt x="241485" y="28112"/>
                      </a:cubicBezTo>
                      <a:cubicBezTo>
                        <a:pt x="229142" y="35983"/>
                        <a:pt x="220377" y="43853"/>
                        <a:pt x="211433" y="56017"/>
                      </a:cubicBezTo>
                      <a:cubicBezTo>
                        <a:pt x="202489" y="68180"/>
                        <a:pt x="193724" y="87320"/>
                        <a:pt x="187821" y="101095"/>
                      </a:cubicBezTo>
                      <a:cubicBezTo>
                        <a:pt x="181919" y="114868"/>
                        <a:pt x="176194" y="121665"/>
                        <a:pt x="176015" y="138658"/>
                      </a:cubicBezTo>
                      <a:cubicBezTo>
                        <a:pt x="175837" y="155652"/>
                        <a:pt x="182813" y="191249"/>
                        <a:pt x="186748" y="203055"/>
                      </a:cubicBezTo>
                      <a:lnTo>
                        <a:pt x="187520" y="204007"/>
                      </a:lnTo>
                      <a:lnTo>
                        <a:pt x="191027" y="223887"/>
                      </a:lnTo>
                      <a:cubicBezTo>
                        <a:pt x="185407" y="222374"/>
                        <a:pt x="182724" y="232570"/>
                        <a:pt x="184333" y="241693"/>
                      </a:cubicBezTo>
                      <a:cubicBezTo>
                        <a:pt x="185943" y="250815"/>
                        <a:pt x="196139" y="265841"/>
                        <a:pt x="198822" y="277111"/>
                      </a:cubicBezTo>
                      <a:cubicBezTo>
                        <a:pt x="201505" y="288380"/>
                        <a:pt x="200298" y="299113"/>
                        <a:pt x="200432" y="309308"/>
                      </a:cubicBezTo>
                      <a:cubicBezTo>
                        <a:pt x="200566" y="319505"/>
                        <a:pt x="198285" y="331579"/>
                        <a:pt x="199627" y="338286"/>
                      </a:cubicBezTo>
                      <a:cubicBezTo>
                        <a:pt x="200969" y="344995"/>
                        <a:pt x="205128" y="346739"/>
                        <a:pt x="208482" y="349556"/>
                      </a:cubicBezTo>
                      <a:cubicBezTo>
                        <a:pt x="211836" y="352373"/>
                        <a:pt x="218275" y="343385"/>
                        <a:pt x="219751" y="355191"/>
                      </a:cubicBezTo>
                      <a:cubicBezTo>
                        <a:pt x="221227" y="366997"/>
                        <a:pt x="229008" y="395036"/>
                        <a:pt x="236655" y="410733"/>
                      </a:cubicBezTo>
                      <a:cubicBezTo>
                        <a:pt x="244301" y="426429"/>
                        <a:pt x="259999" y="439845"/>
                        <a:pt x="265633" y="449370"/>
                      </a:cubicBezTo>
                      <a:cubicBezTo>
                        <a:pt x="271268" y="458895"/>
                        <a:pt x="266438" y="460372"/>
                        <a:pt x="270463" y="467884"/>
                      </a:cubicBezTo>
                      <a:cubicBezTo>
                        <a:pt x="274487" y="475397"/>
                        <a:pt x="281330" y="484118"/>
                        <a:pt x="289781" y="494447"/>
                      </a:cubicBezTo>
                      <a:cubicBezTo>
                        <a:pt x="298233" y="504778"/>
                        <a:pt x="311246" y="524097"/>
                        <a:pt x="321175" y="529866"/>
                      </a:cubicBezTo>
                      <a:cubicBezTo>
                        <a:pt x="331102" y="535634"/>
                        <a:pt x="333383" y="536305"/>
                        <a:pt x="349348" y="529061"/>
                      </a:cubicBezTo>
                      <a:cubicBezTo>
                        <a:pt x="365312" y="521816"/>
                        <a:pt x="399657" y="499680"/>
                        <a:pt x="416963" y="486398"/>
                      </a:cubicBezTo>
                      <a:cubicBezTo>
                        <a:pt x="434270" y="473116"/>
                        <a:pt x="444331" y="459298"/>
                        <a:pt x="453186" y="449370"/>
                      </a:cubicBezTo>
                      <a:cubicBezTo>
                        <a:pt x="462041" y="439443"/>
                        <a:pt x="466601" y="434746"/>
                        <a:pt x="470089" y="426831"/>
                      </a:cubicBezTo>
                      <a:cubicBezTo>
                        <a:pt x="473577" y="418917"/>
                        <a:pt x="471968" y="409526"/>
                        <a:pt x="474115" y="401878"/>
                      </a:cubicBezTo>
                      <a:cubicBezTo>
                        <a:pt x="476261" y="394231"/>
                        <a:pt x="480688" y="390341"/>
                        <a:pt x="482969" y="380949"/>
                      </a:cubicBezTo>
                      <a:cubicBezTo>
                        <a:pt x="485249" y="371558"/>
                        <a:pt x="484847" y="352373"/>
                        <a:pt x="487799" y="345532"/>
                      </a:cubicBezTo>
                      <a:cubicBezTo>
                        <a:pt x="490750" y="338689"/>
                        <a:pt x="496788" y="343787"/>
                        <a:pt x="500678" y="339897"/>
                      </a:cubicBezTo>
                      <a:cubicBezTo>
                        <a:pt x="504569" y="336006"/>
                        <a:pt x="508996" y="331177"/>
                        <a:pt x="511142" y="322188"/>
                      </a:cubicBezTo>
                      <a:cubicBezTo>
                        <a:pt x="513289" y="313199"/>
                        <a:pt x="511947" y="299515"/>
                        <a:pt x="513557" y="285965"/>
                      </a:cubicBezTo>
                      <a:cubicBezTo>
                        <a:pt x="515167" y="272415"/>
                        <a:pt x="520131" y="252425"/>
                        <a:pt x="520801" y="240888"/>
                      </a:cubicBezTo>
                      <a:cubicBezTo>
                        <a:pt x="521473" y="229350"/>
                        <a:pt x="520131" y="222508"/>
                        <a:pt x="517582" y="216739"/>
                      </a:cubicBezTo>
                      <a:lnTo>
                        <a:pt x="505508" y="206274"/>
                      </a:lnTo>
                      <a:cubicBezTo>
                        <a:pt x="501482" y="205872"/>
                        <a:pt x="496788" y="209897"/>
                        <a:pt x="493433" y="214324"/>
                      </a:cubicBezTo>
                      <a:cubicBezTo>
                        <a:pt x="490893" y="217677"/>
                        <a:pt x="489661" y="229032"/>
                        <a:pt x="487525" y="232413"/>
                      </a:cubicBezTo>
                      <a:lnTo>
                        <a:pt x="486770" y="223363"/>
                      </a:lnTo>
                      <a:lnTo>
                        <a:pt x="488165" y="195462"/>
                      </a:lnTo>
                      <a:lnTo>
                        <a:pt x="490482" y="198762"/>
                      </a:lnTo>
                      <a:cubicBezTo>
                        <a:pt x="492986" y="200550"/>
                        <a:pt x="494238" y="195185"/>
                        <a:pt x="496921" y="194469"/>
                      </a:cubicBezTo>
                      <a:cubicBezTo>
                        <a:pt x="499604" y="193754"/>
                        <a:pt x="503002" y="193217"/>
                        <a:pt x="506581" y="194469"/>
                      </a:cubicBezTo>
                      <a:cubicBezTo>
                        <a:pt x="510158" y="195721"/>
                        <a:pt x="516419" y="202876"/>
                        <a:pt x="518386" y="201981"/>
                      </a:cubicBezTo>
                      <a:cubicBezTo>
                        <a:pt x="519370" y="201534"/>
                        <a:pt x="519370" y="200774"/>
                        <a:pt x="519124" y="198896"/>
                      </a:cubicBezTo>
                      <a:lnTo>
                        <a:pt x="518386" y="189102"/>
                      </a:lnTo>
                      <a:cubicBezTo>
                        <a:pt x="518391" y="189053"/>
                        <a:pt x="521603" y="159753"/>
                        <a:pt x="518386" y="142952"/>
                      </a:cubicBezTo>
                      <a:cubicBezTo>
                        <a:pt x="515167" y="126137"/>
                        <a:pt x="506760" y="103778"/>
                        <a:pt x="499068" y="88215"/>
                      </a:cubicBezTo>
                      <a:cubicBezTo>
                        <a:pt x="491376" y="72652"/>
                        <a:pt x="479213" y="57627"/>
                        <a:pt x="472236" y="49577"/>
                      </a:cubicBezTo>
                      <a:cubicBezTo>
                        <a:pt x="465260" y="41528"/>
                        <a:pt x="466154" y="44211"/>
                        <a:pt x="457210" y="39918"/>
                      </a:cubicBezTo>
                      <a:cubicBezTo>
                        <a:pt x="448266" y="35625"/>
                        <a:pt x="435030" y="29722"/>
                        <a:pt x="418572" y="23818"/>
                      </a:cubicBezTo>
                      <a:cubicBezTo>
                        <a:pt x="402117" y="17916"/>
                        <a:pt x="375821" y="8435"/>
                        <a:pt x="358470" y="4500"/>
                      </a:cubicBezTo>
                      <a:cubicBezTo>
                        <a:pt x="341118" y="564"/>
                        <a:pt x="326630" y="-509"/>
                        <a:pt x="314467" y="20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578">
                    <a:defRPr/>
                  </a:pPr>
                  <a:endParaRPr lang="en-US" sz="1797" kern="0">
                    <a:solidFill>
                      <a:srgbClr val="FFFFFF"/>
                    </a:solidFill>
                    <a:latin typeface="Segoe UI"/>
                  </a:endParaRPr>
                </a:p>
              </p:txBody>
            </p:sp>
            <p:sp>
              <p:nvSpPr>
                <p:cNvPr id="642" name="Freeform 231">
                  <a:extLst>
                    <a:ext uri="{FF2B5EF4-FFF2-40B4-BE49-F238E27FC236}">
                      <a16:creationId xmlns:a16="http://schemas.microsoft.com/office/drawing/2014/main" id="{9F86C3BB-737F-4C6C-820C-E8E7F0AAA1CC}"/>
                    </a:ext>
                  </a:extLst>
                </p:cNvPr>
                <p:cNvSpPr/>
                <p:nvPr/>
              </p:nvSpPr>
              <p:spPr>
                <a:xfrm>
                  <a:off x="5391990" y="2823081"/>
                  <a:ext cx="2628060" cy="3263867"/>
                </a:xfrm>
                <a:custGeom>
                  <a:avLst/>
                  <a:gdLst>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338138 w 3900488"/>
                    <a:gd name="connsiteY63" fmla="*/ 4760516 h 4808141"/>
                    <a:gd name="connsiteX64" fmla="*/ 161925 w 3900488"/>
                    <a:gd name="connsiteY64" fmla="*/ 4436666 h 4808141"/>
                    <a:gd name="connsiteX65" fmla="*/ 57150 w 3900488"/>
                    <a:gd name="connsiteY65" fmla="*/ 4141391 h 4808141"/>
                    <a:gd name="connsiteX66" fmla="*/ 0 w 3900488"/>
                    <a:gd name="connsiteY66" fmla="*/ 3855641 h 4808141"/>
                    <a:gd name="connsiteX67" fmla="*/ 23813 w 3900488"/>
                    <a:gd name="connsiteY67" fmla="*/ 3703241 h 4808141"/>
                    <a:gd name="connsiteX68" fmla="*/ 219075 w 3900488"/>
                    <a:gd name="connsiteY68" fmla="*/ 3584179 h 4808141"/>
                    <a:gd name="connsiteX69" fmla="*/ 533400 w 3900488"/>
                    <a:gd name="connsiteY69" fmla="*/ 3450829 h 4808141"/>
                    <a:gd name="connsiteX70" fmla="*/ 933450 w 3900488"/>
                    <a:gd name="connsiteY70" fmla="*/ 3293666 h 4808141"/>
                    <a:gd name="connsiteX71" fmla="*/ 1133475 w 3900488"/>
                    <a:gd name="connsiteY71" fmla="*/ 3217466 h 4808141"/>
                    <a:gd name="connsiteX72" fmla="*/ 1276350 w 3900488"/>
                    <a:gd name="connsiteY72" fmla="*/ 2950766 h 4808141"/>
                    <a:gd name="connsiteX73" fmla="*/ 1371600 w 3900488"/>
                    <a:gd name="connsiteY73" fmla="*/ 2888854 h 4808141"/>
                    <a:gd name="connsiteX74" fmla="*/ 1443038 w 3900488"/>
                    <a:gd name="connsiteY74" fmla="*/ 2750741 h 4808141"/>
                    <a:gd name="connsiteX75" fmla="*/ 1428750 w 3900488"/>
                    <a:gd name="connsiteY75" fmla="*/ 2665016 h 4808141"/>
                    <a:gd name="connsiteX76" fmla="*/ 1432339 w 3900488"/>
                    <a:gd name="connsiteY76" fmla="*/ 2655556 h 4808141"/>
                    <a:gd name="connsiteX77" fmla="*/ 1411332 w 3900488"/>
                    <a:gd name="connsiteY77" fmla="*/ 2630242 h 4808141"/>
                    <a:gd name="connsiteX78" fmla="*/ 1169833 w 3900488"/>
                    <a:gd name="connsiteY78" fmla="*/ 2059985 h 4808141"/>
                    <a:gd name="connsiteX79" fmla="*/ 975688 w 3900488"/>
                    <a:gd name="connsiteY79" fmla="*/ 1612672 h 4808141"/>
                    <a:gd name="connsiteX80" fmla="*/ 1051451 w 3900488"/>
                    <a:gd name="connsiteY80" fmla="*/ 1487109 h 4808141"/>
                    <a:gd name="connsiteX81" fmla="*/ 1016847 w 3900488"/>
                    <a:gd name="connsiteY81" fmla="*/ 1277790 h 4808141"/>
                    <a:gd name="connsiteX82" fmla="*/ 933449 w 3900488"/>
                    <a:gd name="connsiteY82" fmla="*/ 1341041 h 4808141"/>
                    <a:gd name="connsiteX83" fmla="*/ 882649 w 3900488"/>
                    <a:gd name="connsiteY83" fmla="*/ 1404541 h 4808141"/>
                    <a:gd name="connsiteX84" fmla="*/ 838199 w 3900488"/>
                    <a:gd name="connsiteY84" fmla="*/ 1525191 h 4808141"/>
                    <a:gd name="connsiteX85" fmla="*/ 857249 w 3900488"/>
                    <a:gd name="connsiteY85" fmla="*/ 1645841 h 4808141"/>
                    <a:gd name="connsiteX86" fmla="*/ 888999 w 3900488"/>
                    <a:gd name="connsiteY86" fmla="*/ 1829991 h 4808141"/>
                    <a:gd name="connsiteX87" fmla="*/ 965199 w 3900488"/>
                    <a:gd name="connsiteY87" fmla="*/ 2128441 h 4808141"/>
                    <a:gd name="connsiteX88" fmla="*/ 1047749 w 3900488"/>
                    <a:gd name="connsiteY88" fmla="*/ 2198291 h 4808141"/>
                    <a:gd name="connsiteX89" fmla="*/ 1098549 w 3900488"/>
                    <a:gd name="connsiteY89" fmla="*/ 2331641 h 4808141"/>
                    <a:gd name="connsiteX90" fmla="*/ 1219199 w 3900488"/>
                    <a:gd name="connsiteY90" fmla="*/ 2566591 h 4808141"/>
                    <a:gd name="connsiteX91" fmla="*/ 1269999 w 3900488"/>
                    <a:gd name="connsiteY91" fmla="*/ 2712641 h 4808141"/>
                    <a:gd name="connsiteX92" fmla="*/ 1130299 w 3900488"/>
                    <a:gd name="connsiteY92" fmla="*/ 2750741 h 4808141"/>
                    <a:gd name="connsiteX93" fmla="*/ 927099 w 3900488"/>
                    <a:gd name="connsiteY93" fmla="*/ 2776141 h 4808141"/>
                    <a:gd name="connsiteX94" fmla="*/ 742949 w 3900488"/>
                    <a:gd name="connsiteY94" fmla="*/ 2731691 h 4808141"/>
                    <a:gd name="connsiteX95" fmla="*/ 660399 w 3900488"/>
                    <a:gd name="connsiteY95" fmla="*/ 2591991 h 4808141"/>
                    <a:gd name="connsiteX96" fmla="*/ 622299 w 3900488"/>
                    <a:gd name="connsiteY96" fmla="*/ 2344341 h 4808141"/>
                    <a:gd name="connsiteX97" fmla="*/ 634999 w 3900488"/>
                    <a:gd name="connsiteY97" fmla="*/ 2020491 h 4808141"/>
                    <a:gd name="connsiteX98" fmla="*/ 736599 w 3900488"/>
                    <a:gd name="connsiteY98" fmla="*/ 1328341 h 4808141"/>
                    <a:gd name="connsiteX99" fmla="*/ 971549 w 3900488"/>
                    <a:gd name="connsiteY99" fmla="*/ 623491 h 4808141"/>
                    <a:gd name="connsiteX100" fmla="*/ 1168399 w 3900488"/>
                    <a:gd name="connsiteY100" fmla="*/ 299641 h 4808141"/>
                    <a:gd name="connsiteX101" fmla="*/ 1358899 w 3900488"/>
                    <a:gd name="connsiteY101" fmla="*/ 140891 h 4808141"/>
                    <a:gd name="connsiteX102" fmla="*/ 1530349 w 3900488"/>
                    <a:gd name="connsiteY102" fmla="*/ 115491 h 4808141"/>
                    <a:gd name="connsiteX103" fmla="*/ 1676399 w 3900488"/>
                    <a:gd name="connsiteY103" fmla="*/ 13891 h 4808141"/>
                    <a:gd name="connsiteX104" fmla="*/ 1813321 w 3900488"/>
                    <a:gd name="connsiteY104" fmla="*/ 0 h 4808141"/>
                    <a:gd name="connsiteX0" fmla="*/ 3060949 w 3900488"/>
                    <a:gd name="connsiteY0" fmla="*/ 1005769 h 4760516"/>
                    <a:gd name="connsiteX1" fmla="*/ 3081338 w 3900488"/>
                    <a:gd name="connsiteY1" fmla="*/ 1026716 h 4760516"/>
                    <a:gd name="connsiteX2" fmla="*/ 3167063 w 3900488"/>
                    <a:gd name="connsiteY2" fmla="*/ 1369616 h 4760516"/>
                    <a:gd name="connsiteX3" fmla="*/ 3252788 w 3900488"/>
                    <a:gd name="connsiteY3" fmla="*/ 1822054 h 4760516"/>
                    <a:gd name="connsiteX4" fmla="*/ 3281363 w 3900488"/>
                    <a:gd name="connsiteY4" fmla="*/ 2255441 h 4760516"/>
                    <a:gd name="connsiteX5" fmla="*/ 3271838 w 3900488"/>
                    <a:gd name="connsiteY5" fmla="*/ 2526904 h 4760516"/>
                    <a:gd name="connsiteX6" fmla="*/ 3190875 w 3900488"/>
                    <a:gd name="connsiteY6" fmla="*/ 2722166 h 4760516"/>
                    <a:gd name="connsiteX7" fmla="*/ 3043238 w 3900488"/>
                    <a:gd name="connsiteY7" fmla="*/ 2750741 h 4760516"/>
                    <a:gd name="connsiteX8" fmla="*/ 2809875 w 3900488"/>
                    <a:gd name="connsiteY8" fmla="*/ 2731691 h 4760516"/>
                    <a:gd name="connsiteX9" fmla="*/ 2633663 w 3900488"/>
                    <a:gd name="connsiteY9" fmla="*/ 2669779 h 4760516"/>
                    <a:gd name="connsiteX10" fmla="*/ 2657475 w 3900488"/>
                    <a:gd name="connsiteY10" fmla="*/ 2603104 h 4760516"/>
                    <a:gd name="connsiteX11" fmla="*/ 2752725 w 3900488"/>
                    <a:gd name="connsiteY11" fmla="*/ 2474516 h 4760516"/>
                    <a:gd name="connsiteX12" fmla="*/ 2843213 w 3900488"/>
                    <a:gd name="connsiteY12" fmla="*/ 2255441 h 4760516"/>
                    <a:gd name="connsiteX13" fmla="*/ 2862263 w 3900488"/>
                    <a:gd name="connsiteY13" fmla="*/ 2160191 h 4760516"/>
                    <a:gd name="connsiteX14" fmla="*/ 2919413 w 3900488"/>
                    <a:gd name="connsiteY14" fmla="*/ 2098279 h 4760516"/>
                    <a:gd name="connsiteX15" fmla="*/ 3000375 w 3900488"/>
                    <a:gd name="connsiteY15" fmla="*/ 1855391 h 4760516"/>
                    <a:gd name="connsiteX16" fmla="*/ 3057525 w 3900488"/>
                    <a:gd name="connsiteY16" fmla="*/ 1598216 h 4760516"/>
                    <a:gd name="connsiteX17" fmla="*/ 3062288 w 3900488"/>
                    <a:gd name="connsiteY17" fmla="*/ 1483916 h 4760516"/>
                    <a:gd name="connsiteX18" fmla="*/ 3009900 w 3900488"/>
                    <a:gd name="connsiteY18" fmla="*/ 1379141 h 4760516"/>
                    <a:gd name="connsiteX19" fmla="*/ 2957513 w 3900488"/>
                    <a:gd name="connsiteY19" fmla="*/ 1331516 h 4760516"/>
                    <a:gd name="connsiteX20" fmla="*/ 2947988 w 3900488"/>
                    <a:gd name="connsiteY20" fmla="*/ 1236266 h 4760516"/>
                    <a:gd name="connsiteX21" fmla="*/ 2957513 w 3900488"/>
                    <a:gd name="connsiteY21" fmla="*/ 1121966 h 4760516"/>
                    <a:gd name="connsiteX22" fmla="*/ 3005138 w 3900488"/>
                    <a:gd name="connsiteY22" fmla="*/ 1050529 h 4760516"/>
                    <a:gd name="connsiteX23" fmla="*/ 3060949 w 3900488"/>
                    <a:gd name="connsiteY23" fmla="*/ 1005769 h 4760516"/>
                    <a:gd name="connsiteX24" fmla="*/ 1813321 w 3900488"/>
                    <a:gd name="connsiteY24" fmla="*/ 0 h 4760516"/>
                    <a:gd name="connsiteX25" fmla="*/ 1955799 w 3900488"/>
                    <a:gd name="connsiteY25" fmla="*/ 1191 h 4760516"/>
                    <a:gd name="connsiteX26" fmla="*/ 2152649 w 3900488"/>
                    <a:gd name="connsiteY26" fmla="*/ 20241 h 4760516"/>
                    <a:gd name="connsiteX27" fmla="*/ 2381249 w 3900488"/>
                    <a:gd name="connsiteY27" fmla="*/ 121841 h 4760516"/>
                    <a:gd name="connsiteX28" fmla="*/ 2641599 w 3900488"/>
                    <a:gd name="connsiteY28" fmla="*/ 331391 h 4760516"/>
                    <a:gd name="connsiteX29" fmla="*/ 2946399 w 3900488"/>
                    <a:gd name="connsiteY29" fmla="*/ 693341 h 4760516"/>
                    <a:gd name="connsiteX30" fmla="*/ 3060699 w 3900488"/>
                    <a:gd name="connsiteY30" fmla="*/ 883841 h 4760516"/>
                    <a:gd name="connsiteX31" fmla="*/ 3009899 w 3900488"/>
                    <a:gd name="connsiteY31" fmla="*/ 1004491 h 4760516"/>
                    <a:gd name="connsiteX32" fmla="*/ 2901949 w 3900488"/>
                    <a:gd name="connsiteY32" fmla="*/ 1061641 h 4760516"/>
                    <a:gd name="connsiteX33" fmla="*/ 2825749 w 3900488"/>
                    <a:gd name="connsiteY33" fmla="*/ 998141 h 4760516"/>
                    <a:gd name="connsiteX34" fmla="*/ 2654299 w 3900488"/>
                    <a:gd name="connsiteY34" fmla="*/ 820341 h 4760516"/>
                    <a:gd name="connsiteX35" fmla="*/ 2349499 w 3900488"/>
                    <a:gd name="connsiteY35" fmla="*/ 674291 h 4760516"/>
                    <a:gd name="connsiteX36" fmla="*/ 2019299 w 3900488"/>
                    <a:gd name="connsiteY36" fmla="*/ 674291 h 4760516"/>
                    <a:gd name="connsiteX37" fmla="*/ 2343149 w 3900488"/>
                    <a:gd name="connsiteY37" fmla="*/ 769541 h 4760516"/>
                    <a:gd name="connsiteX38" fmla="*/ 2552699 w 3900488"/>
                    <a:gd name="connsiteY38" fmla="*/ 909241 h 4760516"/>
                    <a:gd name="connsiteX39" fmla="*/ 2629040 w 3900488"/>
                    <a:gd name="connsiteY39" fmla="*/ 973620 h 4760516"/>
                    <a:gd name="connsiteX40" fmla="*/ 2900212 w 3900488"/>
                    <a:gd name="connsiteY40" fmla="*/ 1067700 h 4760516"/>
                    <a:gd name="connsiteX41" fmla="*/ 2829545 w 3900488"/>
                    <a:gd name="connsiteY41" fmla="*/ 1212445 h 4760516"/>
                    <a:gd name="connsiteX42" fmla="*/ 2829545 w 3900488"/>
                    <a:gd name="connsiteY42" fmla="*/ 1445256 h 4760516"/>
                    <a:gd name="connsiteX43" fmla="*/ 2938456 w 3900488"/>
                    <a:gd name="connsiteY43" fmla="*/ 1531580 h 4760516"/>
                    <a:gd name="connsiteX44" fmla="*/ 2822442 w 3900488"/>
                    <a:gd name="connsiteY44" fmla="*/ 2041674 h 4760516"/>
                    <a:gd name="connsiteX45" fmla="*/ 2756148 w 3900488"/>
                    <a:gd name="connsiteY45" fmla="*/ 2086142 h 4760516"/>
                    <a:gd name="connsiteX46" fmla="*/ 2479547 w 3900488"/>
                    <a:gd name="connsiteY46" fmla="*/ 2698176 h 4760516"/>
                    <a:gd name="connsiteX47" fmla="*/ 2528888 w 3900488"/>
                    <a:gd name="connsiteY47" fmla="*/ 2817416 h 4760516"/>
                    <a:gd name="connsiteX48" fmla="*/ 2590800 w 3900488"/>
                    <a:gd name="connsiteY48" fmla="*/ 2874566 h 4760516"/>
                    <a:gd name="connsiteX49" fmla="*/ 2657475 w 3900488"/>
                    <a:gd name="connsiteY49" fmla="*/ 2884091 h 4760516"/>
                    <a:gd name="connsiteX50" fmla="*/ 2681288 w 3900488"/>
                    <a:gd name="connsiteY50" fmla="*/ 2912666 h 4760516"/>
                    <a:gd name="connsiteX51" fmla="*/ 2747963 w 3900488"/>
                    <a:gd name="connsiteY51" fmla="*/ 3079354 h 4760516"/>
                    <a:gd name="connsiteX52" fmla="*/ 2843213 w 3900488"/>
                    <a:gd name="connsiteY52" fmla="*/ 3174604 h 4760516"/>
                    <a:gd name="connsiteX53" fmla="*/ 2938463 w 3900488"/>
                    <a:gd name="connsiteY53" fmla="*/ 3207941 h 4760516"/>
                    <a:gd name="connsiteX54" fmla="*/ 3281363 w 3900488"/>
                    <a:gd name="connsiteY54" fmla="*/ 3317479 h 4760516"/>
                    <a:gd name="connsiteX55" fmla="*/ 3657600 w 3900488"/>
                    <a:gd name="connsiteY55" fmla="*/ 3493691 h 4760516"/>
                    <a:gd name="connsiteX56" fmla="*/ 3867150 w 3900488"/>
                    <a:gd name="connsiteY56" fmla="*/ 3641329 h 4760516"/>
                    <a:gd name="connsiteX57" fmla="*/ 3900488 w 3900488"/>
                    <a:gd name="connsiteY57" fmla="*/ 3769916 h 4760516"/>
                    <a:gd name="connsiteX58" fmla="*/ 3876675 w 3900488"/>
                    <a:gd name="connsiteY58" fmla="*/ 4027091 h 4760516"/>
                    <a:gd name="connsiteX59" fmla="*/ 3790950 w 3900488"/>
                    <a:gd name="connsiteY59" fmla="*/ 4236641 h 4760516"/>
                    <a:gd name="connsiteX60" fmla="*/ 3619500 w 3900488"/>
                    <a:gd name="connsiteY60" fmla="*/ 4598591 h 4760516"/>
                    <a:gd name="connsiteX61" fmla="*/ 3471863 w 3900488"/>
                    <a:gd name="connsiteY61" fmla="*/ 4760516 h 4760516"/>
                    <a:gd name="connsiteX62" fmla="*/ 338138 w 3900488"/>
                    <a:gd name="connsiteY62" fmla="*/ 4760516 h 4760516"/>
                    <a:gd name="connsiteX63" fmla="*/ 161925 w 3900488"/>
                    <a:gd name="connsiteY63" fmla="*/ 4436666 h 4760516"/>
                    <a:gd name="connsiteX64" fmla="*/ 57150 w 3900488"/>
                    <a:gd name="connsiteY64" fmla="*/ 4141391 h 4760516"/>
                    <a:gd name="connsiteX65" fmla="*/ 0 w 3900488"/>
                    <a:gd name="connsiteY65" fmla="*/ 3855641 h 4760516"/>
                    <a:gd name="connsiteX66" fmla="*/ 23813 w 3900488"/>
                    <a:gd name="connsiteY66" fmla="*/ 3703241 h 4760516"/>
                    <a:gd name="connsiteX67" fmla="*/ 219075 w 3900488"/>
                    <a:gd name="connsiteY67" fmla="*/ 3584179 h 4760516"/>
                    <a:gd name="connsiteX68" fmla="*/ 533400 w 3900488"/>
                    <a:gd name="connsiteY68" fmla="*/ 3450829 h 4760516"/>
                    <a:gd name="connsiteX69" fmla="*/ 933450 w 3900488"/>
                    <a:gd name="connsiteY69" fmla="*/ 3293666 h 4760516"/>
                    <a:gd name="connsiteX70" fmla="*/ 1133475 w 3900488"/>
                    <a:gd name="connsiteY70" fmla="*/ 3217466 h 4760516"/>
                    <a:gd name="connsiteX71" fmla="*/ 1276350 w 3900488"/>
                    <a:gd name="connsiteY71" fmla="*/ 2950766 h 4760516"/>
                    <a:gd name="connsiteX72" fmla="*/ 1371600 w 3900488"/>
                    <a:gd name="connsiteY72" fmla="*/ 2888854 h 4760516"/>
                    <a:gd name="connsiteX73" fmla="*/ 1443038 w 3900488"/>
                    <a:gd name="connsiteY73" fmla="*/ 2750741 h 4760516"/>
                    <a:gd name="connsiteX74" fmla="*/ 1428750 w 3900488"/>
                    <a:gd name="connsiteY74" fmla="*/ 2665016 h 4760516"/>
                    <a:gd name="connsiteX75" fmla="*/ 1432339 w 3900488"/>
                    <a:gd name="connsiteY75" fmla="*/ 2655556 h 4760516"/>
                    <a:gd name="connsiteX76" fmla="*/ 1411332 w 3900488"/>
                    <a:gd name="connsiteY76" fmla="*/ 2630242 h 4760516"/>
                    <a:gd name="connsiteX77" fmla="*/ 1169833 w 3900488"/>
                    <a:gd name="connsiteY77" fmla="*/ 2059985 h 4760516"/>
                    <a:gd name="connsiteX78" fmla="*/ 975688 w 3900488"/>
                    <a:gd name="connsiteY78" fmla="*/ 1612672 h 4760516"/>
                    <a:gd name="connsiteX79" fmla="*/ 1051451 w 3900488"/>
                    <a:gd name="connsiteY79" fmla="*/ 1487109 h 4760516"/>
                    <a:gd name="connsiteX80" fmla="*/ 1016847 w 3900488"/>
                    <a:gd name="connsiteY80" fmla="*/ 1277790 h 4760516"/>
                    <a:gd name="connsiteX81" fmla="*/ 933449 w 3900488"/>
                    <a:gd name="connsiteY81" fmla="*/ 1341041 h 4760516"/>
                    <a:gd name="connsiteX82" fmla="*/ 882649 w 3900488"/>
                    <a:gd name="connsiteY82" fmla="*/ 1404541 h 4760516"/>
                    <a:gd name="connsiteX83" fmla="*/ 838199 w 3900488"/>
                    <a:gd name="connsiteY83" fmla="*/ 1525191 h 4760516"/>
                    <a:gd name="connsiteX84" fmla="*/ 857249 w 3900488"/>
                    <a:gd name="connsiteY84" fmla="*/ 1645841 h 4760516"/>
                    <a:gd name="connsiteX85" fmla="*/ 888999 w 3900488"/>
                    <a:gd name="connsiteY85" fmla="*/ 1829991 h 4760516"/>
                    <a:gd name="connsiteX86" fmla="*/ 965199 w 3900488"/>
                    <a:gd name="connsiteY86" fmla="*/ 2128441 h 4760516"/>
                    <a:gd name="connsiteX87" fmla="*/ 1047749 w 3900488"/>
                    <a:gd name="connsiteY87" fmla="*/ 2198291 h 4760516"/>
                    <a:gd name="connsiteX88" fmla="*/ 1098549 w 3900488"/>
                    <a:gd name="connsiteY88" fmla="*/ 2331641 h 4760516"/>
                    <a:gd name="connsiteX89" fmla="*/ 1219199 w 3900488"/>
                    <a:gd name="connsiteY89" fmla="*/ 2566591 h 4760516"/>
                    <a:gd name="connsiteX90" fmla="*/ 1269999 w 3900488"/>
                    <a:gd name="connsiteY90" fmla="*/ 2712641 h 4760516"/>
                    <a:gd name="connsiteX91" fmla="*/ 1130299 w 3900488"/>
                    <a:gd name="connsiteY91" fmla="*/ 2750741 h 4760516"/>
                    <a:gd name="connsiteX92" fmla="*/ 927099 w 3900488"/>
                    <a:gd name="connsiteY92" fmla="*/ 2776141 h 4760516"/>
                    <a:gd name="connsiteX93" fmla="*/ 742949 w 3900488"/>
                    <a:gd name="connsiteY93" fmla="*/ 2731691 h 4760516"/>
                    <a:gd name="connsiteX94" fmla="*/ 660399 w 3900488"/>
                    <a:gd name="connsiteY94" fmla="*/ 2591991 h 4760516"/>
                    <a:gd name="connsiteX95" fmla="*/ 622299 w 3900488"/>
                    <a:gd name="connsiteY95" fmla="*/ 2344341 h 4760516"/>
                    <a:gd name="connsiteX96" fmla="*/ 634999 w 3900488"/>
                    <a:gd name="connsiteY96" fmla="*/ 2020491 h 4760516"/>
                    <a:gd name="connsiteX97" fmla="*/ 736599 w 3900488"/>
                    <a:gd name="connsiteY97" fmla="*/ 1328341 h 4760516"/>
                    <a:gd name="connsiteX98" fmla="*/ 971549 w 3900488"/>
                    <a:gd name="connsiteY98" fmla="*/ 623491 h 4760516"/>
                    <a:gd name="connsiteX99" fmla="*/ 1168399 w 3900488"/>
                    <a:gd name="connsiteY99" fmla="*/ 299641 h 4760516"/>
                    <a:gd name="connsiteX100" fmla="*/ 1358899 w 3900488"/>
                    <a:gd name="connsiteY100" fmla="*/ 140891 h 4760516"/>
                    <a:gd name="connsiteX101" fmla="*/ 1530349 w 3900488"/>
                    <a:gd name="connsiteY101" fmla="*/ 115491 h 4760516"/>
                    <a:gd name="connsiteX102" fmla="*/ 1676399 w 3900488"/>
                    <a:gd name="connsiteY102" fmla="*/ 13891 h 4760516"/>
                    <a:gd name="connsiteX103" fmla="*/ 1813321 w 3900488"/>
                    <a:gd name="connsiteY103" fmla="*/ 0 h 4760516"/>
                    <a:gd name="connsiteX0" fmla="*/ 3061653 w 3901192"/>
                    <a:gd name="connsiteY0" fmla="*/ 1005769 h 4760516"/>
                    <a:gd name="connsiteX1" fmla="*/ 3082042 w 3901192"/>
                    <a:gd name="connsiteY1" fmla="*/ 1026716 h 4760516"/>
                    <a:gd name="connsiteX2" fmla="*/ 3167767 w 3901192"/>
                    <a:gd name="connsiteY2" fmla="*/ 1369616 h 4760516"/>
                    <a:gd name="connsiteX3" fmla="*/ 3253492 w 3901192"/>
                    <a:gd name="connsiteY3" fmla="*/ 1822054 h 4760516"/>
                    <a:gd name="connsiteX4" fmla="*/ 3282067 w 3901192"/>
                    <a:gd name="connsiteY4" fmla="*/ 2255441 h 4760516"/>
                    <a:gd name="connsiteX5" fmla="*/ 3272542 w 3901192"/>
                    <a:gd name="connsiteY5" fmla="*/ 2526904 h 4760516"/>
                    <a:gd name="connsiteX6" fmla="*/ 3191579 w 3901192"/>
                    <a:gd name="connsiteY6" fmla="*/ 2722166 h 4760516"/>
                    <a:gd name="connsiteX7" fmla="*/ 3043942 w 3901192"/>
                    <a:gd name="connsiteY7" fmla="*/ 2750741 h 4760516"/>
                    <a:gd name="connsiteX8" fmla="*/ 2810579 w 3901192"/>
                    <a:gd name="connsiteY8" fmla="*/ 2731691 h 4760516"/>
                    <a:gd name="connsiteX9" fmla="*/ 2634367 w 3901192"/>
                    <a:gd name="connsiteY9" fmla="*/ 2669779 h 4760516"/>
                    <a:gd name="connsiteX10" fmla="*/ 2658179 w 3901192"/>
                    <a:gd name="connsiteY10" fmla="*/ 2603104 h 4760516"/>
                    <a:gd name="connsiteX11" fmla="*/ 2753429 w 3901192"/>
                    <a:gd name="connsiteY11" fmla="*/ 2474516 h 4760516"/>
                    <a:gd name="connsiteX12" fmla="*/ 2843917 w 3901192"/>
                    <a:gd name="connsiteY12" fmla="*/ 2255441 h 4760516"/>
                    <a:gd name="connsiteX13" fmla="*/ 2862967 w 3901192"/>
                    <a:gd name="connsiteY13" fmla="*/ 2160191 h 4760516"/>
                    <a:gd name="connsiteX14" fmla="*/ 2920117 w 3901192"/>
                    <a:gd name="connsiteY14" fmla="*/ 2098279 h 4760516"/>
                    <a:gd name="connsiteX15" fmla="*/ 3001079 w 3901192"/>
                    <a:gd name="connsiteY15" fmla="*/ 1855391 h 4760516"/>
                    <a:gd name="connsiteX16" fmla="*/ 3058229 w 3901192"/>
                    <a:gd name="connsiteY16" fmla="*/ 1598216 h 4760516"/>
                    <a:gd name="connsiteX17" fmla="*/ 3062992 w 3901192"/>
                    <a:gd name="connsiteY17" fmla="*/ 1483916 h 4760516"/>
                    <a:gd name="connsiteX18" fmla="*/ 3010604 w 3901192"/>
                    <a:gd name="connsiteY18" fmla="*/ 1379141 h 4760516"/>
                    <a:gd name="connsiteX19" fmla="*/ 2958217 w 3901192"/>
                    <a:gd name="connsiteY19" fmla="*/ 1331516 h 4760516"/>
                    <a:gd name="connsiteX20" fmla="*/ 2948692 w 3901192"/>
                    <a:gd name="connsiteY20" fmla="*/ 1236266 h 4760516"/>
                    <a:gd name="connsiteX21" fmla="*/ 2958217 w 3901192"/>
                    <a:gd name="connsiteY21" fmla="*/ 1121966 h 4760516"/>
                    <a:gd name="connsiteX22" fmla="*/ 3005842 w 3901192"/>
                    <a:gd name="connsiteY22" fmla="*/ 1050529 h 4760516"/>
                    <a:gd name="connsiteX23" fmla="*/ 3061653 w 3901192"/>
                    <a:gd name="connsiteY23" fmla="*/ 1005769 h 4760516"/>
                    <a:gd name="connsiteX24" fmla="*/ 1814025 w 3901192"/>
                    <a:gd name="connsiteY24" fmla="*/ 0 h 4760516"/>
                    <a:gd name="connsiteX25" fmla="*/ 1956503 w 3901192"/>
                    <a:gd name="connsiteY25" fmla="*/ 1191 h 4760516"/>
                    <a:gd name="connsiteX26" fmla="*/ 2153353 w 3901192"/>
                    <a:gd name="connsiteY26" fmla="*/ 20241 h 4760516"/>
                    <a:gd name="connsiteX27" fmla="*/ 2381953 w 3901192"/>
                    <a:gd name="connsiteY27" fmla="*/ 121841 h 4760516"/>
                    <a:gd name="connsiteX28" fmla="*/ 2642303 w 3901192"/>
                    <a:gd name="connsiteY28" fmla="*/ 331391 h 4760516"/>
                    <a:gd name="connsiteX29" fmla="*/ 2947103 w 3901192"/>
                    <a:gd name="connsiteY29" fmla="*/ 693341 h 4760516"/>
                    <a:gd name="connsiteX30" fmla="*/ 3061403 w 3901192"/>
                    <a:gd name="connsiteY30" fmla="*/ 883841 h 4760516"/>
                    <a:gd name="connsiteX31" fmla="*/ 3010603 w 3901192"/>
                    <a:gd name="connsiteY31" fmla="*/ 1004491 h 4760516"/>
                    <a:gd name="connsiteX32" fmla="*/ 2902653 w 3901192"/>
                    <a:gd name="connsiteY32" fmla="*/ 1061641 h 4760516"/>
                    <a:gd name="connsiteX33" fmla="*/ 2826453 w 3901192"/>
                    <a:gd name="connsiteY33" fmla="*/ 998141 h 4760516"/>
                    <a:gd name="connsiteX34" fmla="*/ 2655003 w 3901192"/>
                    <a:gd name="connsiteY34" fmla="*/ 820341 h 4760516"/>
                    <a:gd name="connsiteX35" fmla="*/ 2350203 w 3901192"/>
                    <a:gd name="connsiteY35" fmla="*/ 674291 h 4760516"/>
                    <a:gd name="connsiteX36" fmla="*/ 2020003 w 3901192"/>
                    <a:gd name="connsiteY36" fmla="*/ 674291 h 4760516"/>
                    <a:gd name="connsiteX37" fmla="*/ 2343853 w 3901192"/>
                    <a:gd name="connsiteY37" fmla="*/ 769541 h 4760516"/>
                    <a:gd name="connsiteX38" fmla="*/ 2553403 w 3901192"/>
                    <a:gd name="connsiteY38" fmla="*/ 909241 h 4760516"/>
                    <a:gd name="connsiteX39" fmla="*/ 2629744 w 3901192"/>
                    <a:gd name="connsiteY39" fmla="*/ 973620 h 4760516"/>
                    <a:gd name="connsiteX40" fmla="*/ 2900916 w 3901192"/>
                    <a:gd name="connsiteY40" fmla="*/ 1067700 h 4760516"/>
                    <a:gd name="connsiteX41" fmla="*/ 2830249 w 3901192"/>
                    <a:gd name="connsiteY41" fmla="*/ 1212445 h 4760516"/>
                    <a:gd name="connsiteX42" fmla="*/ 2830249 w 3901192"/>
                    <a:gd name="connsiteY42" fmla="*/ 1445256 h 4760516"/>
                    <a:gd name="connsiteX43" fmla="*/ 2939160 w 3901192"/>
                    <a:gd name="connsiteY43" fmla="*/ 1531580 h 4760516"/>
                    <a:gd name="connsiteX44" fmla="*/ 2823146 w 3901192"/>
                    <a:gd name="connsiteY44" fmla="*/ 2041674 h 4760516"/>
                    <a:gd name="connsiteX45" fmla="*/ 2756852 w 3901192"/>
                    <a:gd name="connsiteY45" fmla="*/ 2086142 h 4760516"/>
                    <a:gd name="connsiteX46" fmla="*/ 2480251 w 3901192"/>
                    <a:gd name="connsiteY46" fmla="*/ 2698176 h 4760516"/>
                    <a:gd name="connsiteX47" fmla="*/ 2529592 w 3901192"/>
                    <a:gd name="connsiteY47" fmla="*/ 2817416 h 4760516"/>
                    <a:gd name="connsiteX48" fmla="*/ 2591504 w 3901192"/>
                    <a:gd name="connsiteY48" fmla="*/ 2874566 h 4760516"/>
                    <a:gd name="connsiteX49" fmla="*/ 2658179 w 3901192"/>
                    <a:gd name="connsiteY49" fmla="*/ 2884091 h 4760516"/>
                    <a:gd name="connsiteX50" fmla="*/ 2681992 w 3901192"/>
                    <a:gd name="connsiteY50" fmla="*/ 2912666 h 4760516"/>
                    <a:gd name="connsiteX51" fmla="*/ 2748667 w 3901192"/>
                    <a:gd name="connsiteY51" fmla="*/ 3079354 h 4760516"/>
                    <a:gd name="connsiteX52" fmla="*/ 2843917 w 3901192"/>
                    <a:gd name="connsiteY52" fmla="*/ 3174604 h 4760516"/>
                    <a:gd name="connsiteX53" fmla="*/ 2939167 w 3901192"/>
                    <a:gd name="connsiteY53" fmla="*/ 3207941 h 4760516"/>
                    <a:gd name="connsiteX54" fmla="*/ 3282067 w 3901192"/>
                    <a:gd name="connsiteY54" fmla="*/ 3317479 h 4760516"/>
                    <a:gd name="connsiteX55" fmla="*/ 3658304 w 3901192"/>
                    <a:gd name="connsiteY55" fmla="*/ 3493691 h 4760516"/>
                    <a:gd name="connsiteX56" fmla="*/ 3867854 w 3901192"/>
                    <a:gd name="connsiteY56" fmla="*/ 3641329 h 4760516"/>
                    <a:gd name="connsiteX57" fmla="*/ 3901192 w 3901192"/>
                    <a:gd name="connsiteY57" fmla="*/ 3769916 h 4760516"/>
                    <a:gd name="connsiteX58" fmla="*/ 3877379 w 3901192"/>
                    <a:gd name="connsiteY58" fmla="*/ 4027091 h 4760516"/>
                    <a:gd name="connsiteX59" fmla="*/ 3791654 w 3901192"/>
                    <a:gd name="connsiteY59" fmla="*/ 4236641 h 4760516"/>
                    <a:gd name="connsiteX60" fmla="*/ 3620204 w 3901192"/>
                    <a:gd name="connsiteY60" fmla="*/ 4598591 h 4760516"/>
                    <a:gd name="connsiteX61" fmla="*/ 3472567 w 3901192"/>
                    <a:gd name="connsiteY61" fmla="*/ 4760516 h 4760516"/>
                    <a:gd name="connsiteX62" fmla="*/ 338842 w 3901192"/>
                    <a:gd name="connsiteY62" fmla="*/ 4760516 h 4760516"/>
                    <a:gd name="connsiteX63" fmla="*/ 162629 w 3901192"/>
                    <a:gd name="connsiteY63" fmla="*/ 4436666 h 4760516"/>
                    <a:gd name="connsiteX64" fmla="*/ 57854 w 3901192"/>
                    <a:gd name="connsiteY64" fmla="*/ 4141391 h 4760516"/>
                    <a:gd name="connsiteX65" fmla="*/ 704 w 3901192"/>
                    <a:gd name="connsiteY65" fmla="*/ 3855641 h 4760516"/>
                    <a:gd name="connsiteX66" fmla="*/ 24517 w 3901192"/>
                    <a:gd name="connsiteY66" fmla="*/ 3703241 h 4760516"/>
                    <a:gd name="connsiteX67" fmla="*/ 219779 w 3901192"/>
                    <a:gd name="connsiteY67" fmla="*/ 3584179 h 4760516"/>
                    <a:gd name="connsiteX68" fmla="*/ 534104 w 3901192"/>
                    <a:gd name="connsiteY68" fmla="*/ 3450829 h 4760516"/>
                    <a:gd name="connsiteX69" fmla="*/ 934154 w 3901192"/>
                    <a:gd name="connsiteY69" fmla="*/ 3293666 h 4760516"/>
                    <a:gd name="connsiteX70" fmla="*/ 1134179 w 3901192"/>
                    <a:gd name="connsiteY70" fmla="*/ 3217466 h 4760516"/>
                    <a:gd name="connsiteX71" fmla="*/ 1277054 w 3901192"/>
                    <a:gd name="connsiteY71" fmla="*/ 2950766 h 4760516"/>
                    <a:gd name="connsiteX72" fmla="*/ 1372304 w 3901192"/>
                    <a:gd name="connsiteY72" fmla="*/ 2888854 h 4760516"/>
                    <a:gd name="connsiteX73" fmla="*/ 1443742 w 3901192"/>
                    <a:gd name="connsiteY73" fmla="*/ 2750741 h 4760516"/>
                    <a:gd name="connsiteX74" fmla="*/ 1429454 w 3901192"/>
                    <a:gd name="connsiteY74" fmla="*/ 2665016 h 4760516"/>
                    <a:gd name="connsiteX75" fmla="*/ 1433043 w 3901192"/>
                    <a:gd name="connsiteY75" fmla="*/ 2655556 h 4760516"/>
                    <a:gd name="connsiteX76" fmla="*/ 1412036 w 3901192"/>
                    <a:gd name="connsiteY76" fmla="*/ 2630242 h 4760516"/>
                    <a:gd name="connsiteX77" fmla="*/ 1170537 w 3901192"/>
                    <a:gd name="connsiteY77" fmla="*/ 2059985 h 4760516"/>
                    <a:gd name="connsiteX78" fmla="*/ 976392 w 3901192"/>
                    <a:gd name="connsiteY78" fmla="*/ 1612672 h 4760516"/>
                    <a:gd name="connsiteX79" fmla="*/ 1052155 w 3901192"/>
                    <a:gd name="connsiteY79" fmla="*/ 1487109 h 4760516"/>
                    <a:gd name="connsiteX80" fmla="*/ 1017551 w 3901192"/>
                    <a:gd name="connsiteY80" fmla="*/ 1277790 h 4760516"/>
                    <a:gd name="connsiteX81" fmla="*/ 934153 w 3901192"/>
                    <a:gd name="connsiteY81" fmla="*/ 1341041 h 4760516"/>
                    <a:gd name="connsiteX82" fmla="*/ 883353 w 3901192"/>
                    <a:gd name="connsiteY82" fmla="*/ 1404541 h 4760516"/>
                    <a:gd name="connsiteX83" fmla="*/ 838903 w 3901192"/>
                    <a:gd name="connsiteY83" fmla="*/ 1525191 h 4760516"/>
                    <a:gd name="connsiteX84" fmla="*/ 857953 w 3901192"/>
                    <a:gd name="connsiteY84" fmla="*/ 1645841 h 4760516"/>
                    <a:gd name="connsiteX85" fmla="*/ 889703 w 3901192"/>
                    <a:gd name="connsiteY85" fmla="*/ 1829991 h 4760516"/>
                    <a:gd name="connsiteX86" fmla="*/ 965903 w 3901192"/>
                    <a:gd name="connsiteY86" fmla="*/ 2128441 h 4760516"/>
                    <a:gd name="connsiteX87" fmla="*/ 1048453 w 3901192"/>
                    <a:gd name="connsiteY87" fmla="*/ 2198291 h 4760516"/>
                    <a:gd name="connsiteX88" fmla="*/ 1099253 w 3901192"/>
                    <a:gd name="connsiteY88" fmla="*/ 2331641 h 4760516"/>
                    <a:gd name="connsiteX89" fmla="*/ 1219903 w 3901192"/>
                    <a:gd name="connsiteY89" fmla="*/ 2566591 h 4760516"/>
                    <a:gd name="connsiteX90" fmla="*/ 1270703 w 3901192"/>
                    <a:gd name="connsiteY90" fmla="*/ 2712641 h 4760516"/>
                    <a:gd name="connsiteX91" fmla="*/ 1131003 w 3901192"/>
                    <a:gd name="connsiteY91" fmla="*/ 2750741 h 4760516"/>
                    <a:gd name="connsiteX92" fmla="*/ 927803 w 3901192"/>
                    <a:gd name="connsiteY92" fmla="*/ 2776141 h 4760516"/>
                    <a:gd name="connsiteX93" fmla="*/ 743653 w 3901192"/>
                    <a:gd name="connsiteY93" fmla="*/ 2731691 h 4760516"/>
                    <a:gd name="connsiteX94" fmla="*/ 661103 w 3901192"/>
                    <a:gd name="connsiteY94" fmla="*/ 2591991 h 4760516"/>
                    <a:gd name="connsiteX95" fmla="*/ 623003 w 3901192"/>
                    <a:gd name="connsiteY95" fmla="*/ 2344341 h 4760516"/>
                    <a:gd name="connsiteX96" fmla="*/ 635703 w 3901192"/>
                    <a:gd name="connsiteY96" fmla="*/ 2020491 h 4760516"/>
                    <a:gd name="connsiteX97" fmla="*/ 737303 w 3901192"/>
                    <a:gd name="connsiteY97" fmla="*/ 1328341 h 4760516"/>
                    <a:gd name="connsiteX98" fmla="*/ 972253 w 3901192"/>
                    <a:gd name="connsiteY98" fmla="*/ 623491 h 4760516"/>
                    <a:gd name="connsiteX99" fmla="*/ 1169103 w 3901192"/>
                    <a:gd name="connsiteY99" fmla="*/ 299641 h 4760516"/>
                    <a:gd name="connsiteX100" fmla="*/ 1359603 w 3901192"/>
                    <a:gd name="connsiteY100" fmla="*/ 140891 h 4760516"/>
                    <a:gd name="connsiteX101" fmla="*/ 1531053 w 3901192"/>
                    <a:gd name="connsiteY101" fmla="*/ 115491 h 4760516"/>
                    <a:gd name="connsiteX102" fmla="*/ 1677103 w 3901192"/>
                    <a:gd name="connsiteY102" fmla="*/ 13891 h 4760516"/>
                    <a:gd name="connsiteX103" fmla="*/ 1814025 w 3901192"/>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2384"/>
                    <a:gd name="connsiteY0" fmla="*/ 1005769 h 4760516"/>
                    <a:gd name="connsiteX1" fmla="*/ 3082677 w 3902384"/>
                    <a:gd name="connsiteY1" fmla="*/ 1026716 h 4760516"/>
                    <a:gd name="connsiteX2" fmla="*/ 3168402 w 3902384"/>
                    <a:gd name="connsiteY2" fmla="*/ 1369616 h 4760516"/>
                    <a:gd name="connsiteX3" fmla="*/ 3254127 w 3902384"/>
                    <a:gd name="connsiteY3" fmla="*/ 1822054 h 4760516"/>
                    <a:gd name="connsiteX4" fmla="*/ 3282702 w 3902384"/>
                    <a:gd name="connsiteY4" fmla="*/ 2255441 h 4760516"/>
                    <a:gd name="connsiteX5" fmla="*/ 3273177 w 3902384"/>
                    <a:gd name="connsiteY5" fmla="*/ 2526904 h 4760516"/>
                    <a:gd name="connsiteX6" fmla="*/ 3192214 w 3902384"/>
                    <a:gd name="connsiteY6" fmla="*/ 2722166 h 4760516"/>
                    <a:gd name="connsiteX7" fmla="*/ 3044577 w 3902384"/>
                    <a:gd name="connsiteY7" fmla="*/ 2750741 h 4760516"/>
                    <a:gd name="connsiteX8" fmla="*/ 2811214 w 3902384"/>
                    <a:gd name="connsiteY8" fmla="*/ 2731691 h 4760516"/>
                    <a:gd name="connsiteX9" fmla="*/ 2635002 w 3902384"/>
                    <a:gd name="connsiteY9" fmla="*/ 2669779 h 4760516"/>
                    <a:gd name="connsiteX10" fmla="*/ 2658814 w 3902384"/>
                    <a:gd name="connsiteY10" fmla="*/ 2603104 h 4760516"/>
                    <a:gd name="connsiteX11" fmla="*/ 2754064 w 3902384"/>
                    <a:gd name="connsiteY11" fmla="*/ 2474516 h 4760516"/>
                    <a:gd name="connsiteX12" fmla="*/ 2844552 w 3902384"/>
                    <a:gd name="connsiteY12" fmla="*/ 2255441 h 4760516"/>
                    <a:gd name="connsiteX13" fmla="*/ 2863602 w 3902384"/>
                    <a:gd name="connsiteY13" fmla="*/ 2160191 h 4760516"/>
                    <a:gd name="connsiteX14" fmla="*/ 2920752 w 3902384"/>
                    <a:gd name="connsiteY14" fmla="*/ 2098279 h 4760516"/>
                    <a:gd name="connsiteX15" fmla="*/ 3001714 w 3902384"/>
                    <a:gd name="connsiteY15" fmla="*/ 1855391 h 4760516"/>
                    <a:gd name="connsiteX16" fmla="*/ 3058864 w 3902384"/>
                    <a:gd name="connsiteY16" fmla="*/ 1598216 h 4760516"/>
                    <a:gd name="connsiteX17" fmla="*/ 3063627 w 3902384"/>
                    <a:gd name="connsiteY17" fmla="*/ 1483916 h 4760516"/>
                    <a:gd name="connsiteX18" fmla="*/ 3011239 w 3902384"/>
                    <a:gd name="connsiteY18" fmla="*/ 1379141 h 4760516"/>
                    <a:gd name="connsiteX19" fmla="*/ 2958852 w 3902384"/>
                    <a:gd name="connsiteY19" fmla="*/ 1331516 h 4760516"/>
                    <a:gd name="connsiteX20" fmla="*/ 2949327 w 3902384"/>
                    <a:gd name="connsiteY20" fmla="*/ 1236266 h 4760516"/>
                    <a:gd name="connsiteX21" fmla="*/ 2958852 w 3902384"/>
                    <a:gd name="connsiteY21" fmla="*/ 1121966 h 4760516"/>
                    <a:gd name="connsiteX22" fmla="*/ 3006477 w 3902384"/>
                    <a:gd name="connsiteY22" fmla="*/ 1050529 h 4760516"/>
                    <a:gd name="connsiteX23" fmla="*/ 3062288 w 3902384"/>
                    <a:gd name="connsiteY23" fmla="*/ 1005769 h 4760516"/>
                    <a:gd name="connsiteX24" fmla="*/ 1814660 w 3902384"/>
                    <a:gd name="connsiteY24" fmla="*/ 0 h 4760516"/>
                    <a:gd name="connsiteX25" fmla="*/ 1957138 w 3902384"/>
                    <a:gd name="connsiteY25" fmla="*/ 1191 h 4760516"/>
                    <a:gd name="connsiteX26" fmla="*/ 2153988 w 3902384"/>
                    <a:gd name="connsiteY26" fmla="*/ 20241 h 4760516"/>
                    <a:gd name="connsiteX27" fmla="*/ 2382588 w 3902384"/>
                    <a:gd name="connsiteY27" fmla="*/ 121841 h 4760516"/>
                    <a:gd name="connsiteX28" fmla="*/ 2642938 w 3902384"/>
                    <a:gd name="connsiteY28" fmla="*/ 331391 h 4760516"/>
                    <a:gd name="connsiteX29" fmla="*/ 2947738 w 3902384"/>
                    <a:gd name="connsiteY29" fmla="*/ 693341 h 4760516"/>
                    <a:gd name="connsiteX30" fmla="*/ 3062038 w 3902384"/>
                    <a:gd name="connsiteY30" fmla="*/ 883841 h 4760516"/>
                    <a:gd name="connsiteX31" fmla="*/ 3011238 w 3902384"/>
                    <a:gd name="connsiteY31" fmla="*/ 1004491 h 4760516"/>
                    <a:gd name="connsiteX32" fmla="*/ 2903288 w 3902384"/>
                    <a:gd name="connsiteY32" fmla="*/ 1061641 h 4760516"/>
                    <a:gd name="connsiteX33" fmla="*/ 2827088 w 3902384"/>
                    <a:gd name="connsiteY33" fmla="*/ 998141 h 4760516"/>
                    <a:gd name="connsiteX34" fmla="*/ 2655638 w 3902384"/>
                    <a:gd name="connsiteY34" fmla="*/ 820341 h 4760516"/>
                    <a:gd name="connsiteX35" fmla="*/ 2350838 w 3902384"/>
                    <a:gd name="connsiteY35" fmla="*/ 674291 h 4760516"/>
                    <a:gd name="connsiteX36" fmla="*/ 2020638 w 3902384"/>
                    <a:gd name="connsiteY36" fmla="*/ 674291 h 4760516"/>
                    <a:gd name="connsiteX37" fmla="*/ 2344488 w 3902384"/>
                    <a:gd name="connsiteY37" fmla="*/ 769541 h 4760516"/>
                    <a:gd name="connsiteX38" fmla="*/ 2554038 w 3902384"/>
                    <a:gd name="connsiteY38" fmla="*/ 909241 h 4760516"/>
                    <a:gd name="connsiteX39" fmla="*/ 2630379 w 3902384"/>
                    <a:gd name="connsiteY39" fmla="*/ 973620 h 4760516"/>
                    <a:gd name="connsiteX40" fmla="*/ 2901551 w 3902384"/>
                    <a:gd name="connsiteY40" fmla="*/ 1067700 h 4760516"/>
                    <a:gd name="connsiteX41" fmla="*/ 2830884 w 3902384"/>
                    <a:gd name="connsiteY41" fmla="*/ 1212445 h 4760516"/>
                    <a:gd name="connsiteX42" fmla="*/ 2830884 w 3902384"/>
                    <a:gd name="connsiteY42" fmla="*/ 1445256 h 4760516"/>
                    <a:gd name="connsiteX43" fmla="*/ 2939795 w 3902384"/>
                    <a:gd name="connsiteY43" fmla="*/ 1531580 h 4760516"/>
                    <a:gd name="connsiteX44" fmla="*/ 2823781 w 3902384"/>
                    <a:gd name="connsiteY44" fmla="*/ 2041674 h 4760516"/>
                    <a:gd name="connsiteX45" fmla="*/ 2757487 w 3902384"/>
                    <a:gd name="connsiteY45" fmla="*/ 2086142 h 4760516"/>
                    <a:gd name="connsiteX46" fmla="*/ 2480886 w 3902384"/>
                    <a:gd name="connsiteY46" fmla="*/ 2698176 h 4760516"/>
                    <a:gd name="connsiteX47" fmla="*/ 2530227 w 3902384"/>
                    <a:gd name="connsiteY47" fmla="*/ 2817416 h 4760516"/>
                    <a:gd name="connsiteX48" fmla="*/ 2592139 w 3902384"/>
                    <a:gd name="connsiteY48" fmla="*/ 2874566 h 4760516"/>
                    <a:gd name="connsiteX49" fmla="*/ 2658814 w 3902384"/>
                    <a:gd name="connsiteY49" fmla="*/ 2884091 h 4760516"/>
                    <a:gd name="connsiteX50" fmla="*/ 2682627 w 3902384"/>
                    <a:gd name="connsiteY50" fmla="*/ 2912666 h 4760516"/>
                    <a:gd name="connsiteX51" fmla="*/ 2749302 w 3902384"/>
                    <a:gd name="connsiteY51" fmla="*/ 3079354 h 4760516"/>
                    <a:gd name="connsiteX52" fmla="*/ 2844552 w 3902384"/>
                    <a:gd name="connsiteY52" fmla="*/ 3174604 h 4760516"/>
                    <a:gd name="connsiteX53" fmla="*/ 2939802 w 3902384"/>
                    <a:gd name="connsiteY53" fmla="*/ 3207941 h 4760516"/>
                    <a:gd name="connsiteX54" fmla="*/ 3282702 w 3902384"/>
                    <a:gd name="connsiteY54" fmla="*/ 3317479 h 4760516"/>
                    <a:gd name="connsiteX55" fmla="*/ 3658939 w 3902384"/>
                    <a:gd name="connsiteY55" fmla="*/ 3493691 h 4760516"/>
                    <a:gd name="connsiteX56" fmla="*/ 3868489 w 3902384"/>
                    <a:gd name="connsiteY56" fmla="*/ 3641329 h 4760516"/>
                    <a:gd name="connsiteX57" fmla="*/ 3901827 w 3902384"/>
                    <a:gd name="connsiteY57" fmla="*/ 3769916 h 4760516"/>
                    <a:gd name="connsiteX58" fmla="*/ 3878014 w 3902384"/>
                    <a:gd name="connsiteY58" fmla="*/ 4027091 h 4760516"/>
                    <a:gd name="connsiteX59" fmla="*/ 3792289 w 3902384"/>
                    <a:gd name="connsiteY59" fmla="*/ 4236641 h 4760516"/>
                    <a:gd name="connsiteX60" fmla="*/ 3620839 w 3902384"/>
                    <a:gd name="connsiteY60" fmla="*/ 4598591 h 4760516"/>
                    <a:gd name="connsiteX61" fmla="*/ 3473202 w 3902384"/>
                    <a:gd name="connsiteY61" fmla="*/ 4760516 h 4760516"/>
                    <a:gd name="connsiteX62" fmla="*/ 339477 w 3902384"/>
                    <a:gd name="connsiteY62" fmla="*/ 4760516 h 4760516"/>
                    <a:gd name="connsiteX63" fmla="*/ 163264 w 3902384"/>
                    <a:gd name="connsiteY63" fmla="*/ 4436666 h 4760516"/>
                    <a:gd name="connsiteX64" fmla="*/ 58489 w 3902384"/>
                    <a:gd name="connsiteY64" fmla="*/ 4141391 h 4760516"/>
                    <a:gd name="connsiteX65" fmla="*/ 1339 w 3902384"/>
                    <a:gd name="connsiteY65" fmla="*/ 3855641 h 4760516"/>
                    <a:gd name="connsiteX66" fmla="*/ 25152 w 3902384"/>
                    <a:gd name="connsiteY66" fmla="*/ 3703241 h 4760516"/>
                    <a:gd name="connsiteX67" fmla="*/ 220414 w 3902384"/>
                    <a:gd name="connsiteY67" fmla="*/ 3584179 h 4760516"/>
                    <a:gd name="connsiteX68" fmla="*/ 534739 w 3902384"/>
                    <a:gd name="connsiteY68" fmla="*/ 3450829 h 4760516"/>
                    <a:gd name="connsiteX69" fmla="*/ 934789 w 3902384"/>
                    <a:gd name="connsiteY69" fmla="*/ 3293666 h 4760516"/>
                    <a:gd name="connsiteX70" fmla="*/ 1134814 w 3902384"/>
                    <a:gd name="connsiteY70" fmla="*/ 3217466 h 4760516"/>
                    <a:gd name="connsiteX71" fmla="*/ 1277689 w 3902384"/>
                    <a:gd name="connsiteY71" fmla="*/ 2950766 h 4760516"/>
                    <a:gd name="connsiteX72" fmla="*/ 1372939 w 3902384"/>
                    <a:gd name="connsiteY72" fmla="*/ 2888854 h 4760516"/>
                    <a:gd name="connsiteX73" fmla="*/ 1444377 w 3902384"/>
                    <a:gd name="connsiteY73" fmla="*/ 2750741 h 4760516"/>
                    <a:gd name="connsiteX74" fmla="*/ 1430089 w 3902384"/>
                    <a:gd name="connsiteY74" fmla="*/ 2665016 h 4760516"/>
                    <a:gd name="connsiteX75" fmla="*/ 1433678 w 3902384"/>
                    <a:gd name="connsiteY75" fmla="*/ 2655556 h 4760516"/>
                    <a:gd name="connsiteX76" fmla="*/ 1412671 w 3902384"/>
                    <a:gd name="connsiteY76" fmla="*/ 2630242 h 4760516"/>
                    <a:gd name="connsiteX77" fmla="*/ 1171172 w 3902384"/>
                    <a:gd name="connsiteY77" fmla="*/ 2059985 h 4760516"/>
                    <a:gd name="connsiteX78" fmla="*/ 977027 w 3902384"/>
                    <a:gd name="connsiteY78" fmla="*/ 1612672 h 4760516"/>
                    <a:gd name="connsiteX79" fmla="*/ 1052790 w 3902384"/>
                    <a:gd name="connsiteY79" fmla="*/ 1487109 h 4760516"/>
                    <a:gd name="connsiteX80" fmla="*/ 1018186 w 3902384"/>
                    <a:gd name="connsiteY80" fmla="*/ 1277790 h 4760516"/>
                    <a:gd name="connsiteX81" fmla="*/ 934788 w 3902384"/>
                    <a:gd name="connsiteY81" fmla="*/ 1341041 h 4760516"/>
                    <a:gd name="connsiteX82" fmla="*/ 883988 w 3902384"/>
                    <a:gd name="connsiteY82" fmla="*/ 1404541 h 4760516"/>
                    <a:gd name="connsiteX83" fmla="*/ 839538 w 3902384"/>
                    <a:gd name="connsiteY83" fmla="*/ 1525191 h 4760516"/>
                    <a:gd name="connsiteX84" fmla="*/ 858588 w 3902384"/>
                    <a:gd name="connsiteY84" fmla="*/ 1645841 h 4760516"/>
                    <a:gd name="connsiteX85" fmla="*/ 890338 w 3902384"/>
                    <a:gd name="connsiteY85" fmla="*/ 1829991 h 4760516"/>
                    <a:gd name="connsiteX86" fmla="*/ 966538 w 3902384"/>
                    <a:gd name="connsiteY86" fmla="*/ 2128441 h 4760516"/>
                    <a:gd name="connsiteX87" fmla="*/ 1049088 w 3902384"/>
                    <a:gd name="connsiteY87" fmla="*/ 2198291 h 4760516"/>
                    <a:gd name="connsiteX88" fmla="*/ 1099888 w 3902384"/>
                    <a:gd name="connsiteY88" fmla="*/ 2331641 h 4760516"/>
                    <a:gd name="connsiteX89" fmla="*/ 1220538 w 3902384"/>
                    <a:gd name="connsiteY89" fmla="*/ 2566591 h 4760516"/>
                    <a:gd name="connsiteX90" fmla="*/ 1271338 w 3902384"/>
                    <a:gd name="connsiteY90" fmla="*/ 2712641 h 4760516"/>
                    <a:gd name="connsiteX91" fmla="*/ 1131638 w 3902384"/>
                    <a:gd name="connsiteY91" fmla="*/ 2750741 h 4760516"/>
                    <a:gd name="connsiteX92" fmla="*/ 928438 w 3902384"/>
                    <a:gd name="connsiteY92" fmla="*/ 2776141 h 4760516"/>
                    <a:gd name="connsiteX93" fmla="*/ 744288 w 3902384"/>
                    <a:gd name="connsiteY93" fmla="*/ 2731691 h 4760516"/>
                    <a:gd name="connsiteX94" fmla="*/ 661738 w 3902384"/>
                    <a:gd name="connsiteY94" fmla="*/ 2591991 h 4760516"/>
                    <a:gd name="connsiteX95" fmla="*/ 623638 w 3902384"/>
                    <a:gd name="connsiteY95" fmla="*/ 2344341 h 4760516"/>
                    <a:gd name="connsiteX96" fmla="*/ 636338 w 3902384"/>
                    <a:gd name="connsiteY96" fmla="*/ 2020491 h 4760516"/>
                    <a:gd name="connsiteX97" fmla="*/ 737938 w 3902384"/>
                    <a:gd name="connsiteY97" fmla="*/ 1328341 h 4760516"/>
                    <a:gd name="connsiteX98" fmla="*/ 972888 w 3902384"/>
                    <a:gd name="connsiteY98" fmla="*/ 623491 h 4760516"/>
                    <a:gd name="connsiteX99" fmla="*/ 1169738 w 3902384"/>
                    <a:gd name="connsiteY99" fmla="*/ 299641 h 4760516"/>
                    <a:gd name="connsiteX100" fmla="*/ 1360238 w 3902384"/>
                    <a:gd name="connsiteY100" fmla="*/ 140891 h 4760516"/>
                    <a:gd name="connsiteX101" fmla="*/ 1531688 w 3902384"/>
                    <a:gd name="connsiteY101" fmla="*/ 115491 h 4760516"/>
                    <a:gd name="connsiteX102" fmla="*/ 1677738 w 3902384"/>
                    <a:gd name="connsiteY102" fmla="*/ 13891 h 4760516"/>
                    <a:gd name="connsiteX103" fmla="*/ 1814660 w 3902384"/>
                    <a:gd name="connsiteY103" fmla="*/ 0 h 4760516"/>
                    <a:gd name="connsiteX0" fmla="*/ 3062288 w 3903424"/>
                    <a:gd name="connsiteY0" fmla="*/ 1005769 h 4760516"/>
                    <a:gd name="connsiteX1" fmla="*/ 3082677 w 3903424"/>
                    <a:gd name="connsiteY1" fmla="*/ 1026716 h 4760516"/>
                    <a:gd name="connsiteX2" fmla="*/ 3168402 w 3903424"/>
                    <a:gd name="connsiteY2" fmla="*/ 1369616 h 4760516"/>
                    <a:gd name="connsiteX3" fmla="*/ 3254127 w 3903424"/>
                    <a:gd name="connsiteY3" fmla="*/ 1822054 h 4760516"/>
                    <a:gd name="connsiteX4" fmla="*/ 3282702 w 3903424"/>
                    <a:gd name="connsiteY4" fmla="*/ 2255441 h 4760516"/>
                    <a:gd name="connsiteX5" fmla="*/ 3273177 w 3903424"/>
                    <a:gd name="connsiteY5" fmla="*/ 2526904 h 4760516"/>
                    <a:gd name="connsiteX6" fmla="*/ 3192214 w 3903424"/>
                    <a:gd name="connsiteY6" fmla="*/ 2722166 h 4760516"/>
                    <a:gd name="connsiteX7" fmla="*/ 3044577 w 3903424"/>
                    <a:gd name="connsiteY7" fmla="*/ 2750741 h 4760516"/>
                    <a:gd name="connsiteX8" fmla="*/ 2811214 w 3903424"/>
                    <a:gd name="connsiteY8" fmla="*/ 2731691 h 4760516"/>
                    <a:gd name="connsiteX9" fmla="*/ 2635002 w 3903424"/>
                    <a:gd name="connsiteY9" fmla="*/ 2669779 h 4760516"/>
                    <a:gd name="connsiteX10" fmla="*/ 2658814 w 3903424"/>
                    <a:gd name="connsiteY10" fmla="*/ 2603104 h 4760516"/>
                    <a:gd name="connsiteX11" fmla="*/ 2754064 w 3903424"/>
                    <a:gd name="connsiteY11" fmla="*/ 2474516 h 4760516"/>
                    <a:gd name="connsiteX12" fmla="*/ 2844552 w 3903424"/>
                    <a:gd name="connsiteY12" fmla="*/ 2255441 h 4760516"/>
                    <a:gd name="connsiteX13" fmla="*/ 2863602 w 3903424"/>
                    <a:gd name="connsiteY13" fmla="*/ 2160191 h 4760516"/>
                    <a:gd name="connsiteX14" fmla="*/ 2920752 w 3903424"/>
                    <a:gd name="connsiteY14" fmla="*/ 2098279 h 4760516"/>
                    <a:gd name="connsiteX15" fmla="*/ 3001714 w 3903424"/>
                    <a:gd name="connsiteY15" fmla="*/ 1855391 h 4760516"/>
                    <a:gd name="connsiteX16" fmla="*/ 3058864 w 3903424"/>
                    <a:gd name="connsiteY16" fmla="*/ 1598216 h 4760516"/>
                    <a:gd name="connsiteX17" fmla="*/ 3063627 w 3903424"/>
                    <a:gd name="connsiteY17" fmla="*/ 1483916 h 4760516"/>
                    <a:gd name="connsiteX18" fmla="*/ 3011239 w 3903424"/>
                    <a:gd name="connsiteY18" fmla="*/ 1379141 h 4760516"/>
                    <a:gd name="connsiteX19" fmla="*/ 2958852 w 3903424"/>
                    <a:gd name="connsiteY19" fmla="*/ 1331516 h 4760516"/>
                    <a:gd name="connsiteX20" fmla="*/ 2949327 w 3903424"/>
                    <a:gd name="connsiteY20" fmla="*/ 1236266 h 4760516"/>
                    <a:gd name="connsiteX21" fmla="*/ 2958852 w 3903424"/>
                    <a:gd name="connsiteY21" fmla="*/ 1121966 h 4760516"/>
                    <a:gd name="connsiteX22" fmla="*/ 3006477 w 3903424"/>
                    <a:gd name="connsiteY22" fmla="*/ 1050529 h 4760516"/>
                    <a:gd name="connsiteX23" fmla="*/ 3062288 w 3903424"/>
                    <a:gd name="connsiteY23" fmla="*/ 1005769 h 4760516"/>
                    <a:gd name="connsiteX24" fmla="*/ 1814660 w 3903424"/>
                    <a:gd name="connsiteY24" fmla="*/ 0 h 4760516"/>
                    <a:gd name="connsiteX25" fmla="*/ 1957138 w 3903424"/>
                    <a:gd name="connsiteY25" fmla="*/ 1191 h 4760516"/>
                    <a:gd name="connsiteX26" fmla="*/ 2153988 w 3903424"/>
                    <a:gd name="connsiteY26" fmla="*/ 20241 h 4760516"/>
                    <a:gd name="connsiteX27" fmla="*/ 2382588 w 3903424"/>
                    <a:gd name="connsiteY27" fmla="*/ 121841 h 4760516"/>
                    <a:gd name="connsiteX28" fmla="*/ 2642938 w 3903424"/>
                    <a:gd name="connsiteY28" fmla="*/ 331391 h 4760516"/>
                    <a:gd name="connsiteX29" fmla="*/ 2947738 w 3903424"/>
                    <a:gd name="connsiteY29" fmla="*/ 693341 h 4760516"/>
                    <a:gd name="connsiteX30" fmla="*/ 3062038 w 3903424"/>
                    <a:gd name="connsiteY30" fmla="*/ 883841 h 4760516"/>
                    <a:gd name="connsiteX31" fmla="*/ 3011238 w 3903424"/>
                    <a:gd name="connsiteY31" fmla="*/ 1004491 h 4760516"/>
                    <a:gd name="connsiteX32" fmla="*/ 2903288 w 3903424"/>
                    <a:gd name="connsiteY32" fmla="*/ 1061641 h 4760516"/>
                    <a:gd name="connsiteX33" fmla="*/ 2827088 w 3903424"/>
                    <a:gd name="connsiteY33" fmla="*/ 998141 h 4760516"/>
                    <a:gd name="connsiteX34" fmla="*/ 2655638 w 3903424"/>
                    <a:gd name="connsiteY34" fmla="*/ 820341 h 4760516"/>
                    <a:gd name="connsiteX35" fmla="*/ 2350838 w 3903424"/>
                    <a:gd name="connsiteY35" fmla="*/ 674291 h 4760516"/>
                    <a:gd name="connsiteX36" fmla="*/ 2020638 w 3903424"/>
                    <a:gd name="connsiteY36" fmla="*/ 674291 h 4760516"/>
                    <a:gd name="connsiteX37" fmla="*/ 2344488 w 3903424"/>
                    <a:gd name="connsiteY37" fmla="*/ 769541 h 4760516"/>
                    <a:gd name="connsiteX38" fmla="*/ 2554038 w 3903424"/>
                    <a:gd name="connsiteY38" fmla="*/ 909241 h 4760516"/>
                    <a:gd name="connsiteX39" fmla="*/ 2630379 w 3903424"/>
                    <a:gd name="connsiteY39" fmla="*/ 973620 h 4760516"/>
                    <a:gd name="connsiteX40" fmla="*/ 2901551 w 3903424"/>
                    <a:gd name="connsiteY40" fmla="*/ 1067700 h 4760516"/>
                    <a:gd name="connsiteX41" fmla="*/ 2830884 w 3903424"/>
                    <a:gd name="connsiteY41" fmla="*/ 1212445 h 4760516"/>
                    <a:gd name="connsiteX42" fmla="*/ 2830884 w 3903424"/>
                    <a:gd name="connsiteY42" fmla="*/ 1445256 h 4760516"/>
                    <a:gd name="connsiteX43" fmla="*/ 2939795 w 3903424"/>
                    <a:gd name="connsiteY43" fmla="*/ 1531580 h 4760516"/>
                    <a:gd name="connsiteX44" fmla="*/ 2823781 w 3903424"/>
                    <a:gd name="connsiteY44" fmla="*/ 2041674 h 4760516"/>
                    <a:gd name="connsiteX45" fmla="*/ 2757487 w 3903424"/>
                    <a:gd name="connsiteY45" fmla="*/ 2086142 h 4760516"/>
                    <a:gd name="connsiteX46" fmla="*/ 2480886 w 3903424"/>
                    <a:gd name="connsiteY46" fmla="*/ 2698176 h 4760516"/>
                    <a:gd name="connsiteX47" fmla="*/ 2530227 w 3903424"/>
                    <a:gd name="connsiteY47" fmla="*/ 2817416 h 4760516"/>
                    <a:gd name="connsiteX48" fmla="*/ 2592139 w 3903424"/>
                    <a:gd name="connsiteY48" fmla="*/ 2874566 h 4760516"/>
                    <a:gd name="connsiteX49" fmla="*/ 2658814 w 3903424"/>
                    <a:gd name="connsiteY49" fmla="*/ 2884091 h 4760516"/>
                    <a:gd name="connsiteX50" fmla="*/ 2682627 w 3903424"/>
                    <a:gd name="connsiteY50" fmla="*/ 2912666 h 4760516"/>
                    <a:gd name="connsiteX51" fmla="*/ 2749302 w 3903424"/>
                    <a:gd name="connsiteY51" fmla="*/ 3079354 h 4760516"/>
                    <a:gd name="connsiteX52" fmla="*/ 2844552 w 3903424"/>
                    <a:gd name="connsiteY52" fmla="*/ 3174604 h 4760516"/>
                    <a:gd name="connsiteX53" fmla="*/ 2939802 w 3903424"/>
                    <a:gd name="connsiteY53" fmla="*/ 3207941 h 4760516"/>
                    <a:gd name="connsiteX54" fmla="*/ 3282702 w 3903424"/>
                    <a:gd name="connsiteY54" fmla="*/ 3317479 h 4760516"/>
                    <a:gd name="connsiteX55" fmla="*/ 3658939 w 3903424"/>
                    <a:gd name="connsiteY55" fmla="*/ 3493691 h 4760516"/>
                    <a:gd name="connsiteX56" fmla="*/ 3868489 w 3903424"/>
                    <a:gd name="connsiteY56" fmla="*/ 3641329 h 4760516"/>
                    <a:gd name="connsiteX57" fmla="*/ 3901827 w 3903424"/>
                    <a:gd name="connsiteY57" fmla="*/ 3769916 h 4760516"/>
                    <a:gd name="connsiteX58" fmla="*/ 3878014 w 3903424"/>
                    <a:gd name="connsiteY58" fmla="*/ 4027091 h 4760516"/>
                    <a:gd name="connsiteX59" fmla="*/ 3792289 w 3903424"/>
                    <a:gd name="connsiteY59" fmla="*/ 4236641 h 4760516"/>
                    <a:gd name="connsiteX60" fmla="*/ 3620839 w 3903424"/>
                    <a:gd name="connsiteY60" fmla="*/ 4598591 h 4760516"/>
                    <a:gd name="connsiteX61" fmla="*/ 3473202 w 3903424"/>
                    <a:gd name="connsiteY61" fmla="*/ 4760516 h 4760516"/>
                    <a:gd name="connsiteX62" fmla="*/ 339477 w 3903424"/>
                    <a:gd name="connsiteY62" fmla="*/ 4760516 h 4760516"/>
                    <a:gd name="connsiteX63" fmla="*/ 163264 w 3903424"/>
                    <a:gd name="connsiteY63" fmla="*/ 4436666 h 4760516"/>
                    <a:gd name="connsiteX64" fmla="*/ 58489 w 3903424"/>
                    <a:gd name="connsiteY64" fmla="*/ 4141391 h 4760516"/>
                    <a:gd name="connsiteX65" fmla="*/ 1339 w 3903424"/>
                    <a:gd name="connsiteY65" fmla="*/ 3855641 h 4760516"/>
                    <a:gd name="connsiteX66" fmla="*/ 25152 w 3903424"/>
                    <a:gd name="connsiteY66" fmla="*/ 3703241 h 4760516"/>
                    <a:gd name="connsiteX67" fmla="*/ 220414 w 3903424"/>
                    <a:gd name="connsiteY67" fmla="*/ 3584179 h 4760516"/>
                    <a:gd name="connsiteX68" fmla="*/ 534739 w 3903424"/>
                    <a:gd name="connsiteY68" fmla="*/ 3450829 h 4760516"/>
                    <a:gd name="connsiteX69" fmla="*/ 934789 w 3903424"/>
                    <a:gd name="connsiteY69" fmla="*/ 3293666 h 4760516"/>
                    <a:gd name="connsiteX70" fmla="*/ 1134814 w 3903424"/>
                    <a:gd name="connsiteY70" fmla="*/ 3217466 h 4760516"/>
                    <a:gd name="connsiteX71" fmla="*/ 1277689 w 3903424"/>
                    <a:gd name="connsiteY71" fmla="*/ 2950766 h 4760516"/>
                    <a:gd name="connsiteX72" fmla="*/ 1372939 w 3903424"/>
                    <a:gd name="connsiteY72" fmla="*/ 2888854 h 4760516"/>
                    <a:gd name="connsiteX73" fmla="*/ 1444377 w 3903424"/>
                    <a:gd name="connsiteY73" fmla="*/ 2750741 h 4760516"/>
                    <a:gd name="connsiteX74" fmla="*/ 1430089 w 3903424"/>
                    <a:gd name="connsiteY74" fmla="*/ 2665016 h 4760516"/>
                    <a:gd name="connsiteX75" fmla="*/ 1433678 w 3903424"/>
                    <a:gd name="connsiteY75" fmla="*/ 2655556 h 4760516"/>
                    <a:gd name="connsiteX76" fmla="*/ 1412671 w 3903424"/>
                    <a:gd name="connsiteY76" fmla="*/ 2630242 h 4760516"/>
                    <a:gd name="connsiteX77" fmla="*/ 1171172 w 3903424"/>
                    <a:gd name="connsiteY77" fmla="*/ 2059985 h 4760516"/>
                    <a:gd name="connsiteX78" fmla="*/ 977027 w 3903424"/>
                    <a:gd name="connsiteY78" fmla="*/ 1612672 h 4760516"/>
                    <a:gd name="connsiteX79" fmla="*/ 1052790 w 3903424"/>
                    <a:gd name="connsiteY79" fmla="*/ 1487109 h 4760516"/>
                    <a:gd name="connsiteX80" fmla="*/ 1018186 w 3903424"/>
                    <a:gd name="connsiteY80" fmla="*/ 1277790 h 4760516"/>
                    <a:gd name="connsiteX81" fmla="*/ 934788 w 3903424"/>
                    <a:gd name="connsiteY81" fmla="*/ 1341041 h 4760516"/>
                    <a:gd name="connsiteX82" fmla="*/ 883988 w 3903424"/>
                    <a:gd name="connsiteY82" fmla="*/ 1404541 h 4760516"/>
                    <a:gd name="connsiteX83" fmla="*/ 839538 w 3903424"/>
                    <a:gd name="connsiteY83" fmla="*/ 1525191 h 4760516"/>
                    <a:gd name="connsiteX84" fmla="*/ 858588 w 3903424"/>
                    <a:gd name="connsiteY84" fmla="*/ 1645841 h 4760516"/>
                    <a:gd name="connsiteX85" fmla="*/ 890338 w 3903424"/>
                    <a:gd name="connsiteY85" fmla="*/ 1829991 h 4760516"/>
                    <a:gd name="connsiteX86" fmla="*/ 966538 w 3903424"/>
                    <a:gd name="connsiteY86" fmla="*/ 2128441 h 4760516"/>
                    <a:gd name="connsiteX87" fmla="*/ 1049088 w 3903424"/>
                    <a:gd name="connsiteY87" fmla="*/ 2198291 h 4760516"/>
                    <a:gd name="connsiteX88" fmla="*/ 1099888 w 3903424"/>
                    <a:gd name="connsiteY88" fmla="*/ 2331641 h 4760516"/>
                    <a:gd name="connsiteX89" fmla="*/ 1220538 w 3903424"/>
                    <a:gd name="connsiteY89" fmla="*/ 2566591 h 4760516"/>
                    <a:gd name="connsiteX90" fmla="*/ 1271338 w 3903424"/>
                    <a:gd name="connsiteY90" fmla="*/ 2712641 h 4760516"/>
                    <a:gd name="connsiteX91" fmla="*/ 1131638 w 3903424"/>
                    <a:gd name="connsiteY91" fmla="*/ 2750741 h 4760516"/>
                    <a:gd name="connsiteX92" fmla="*/ 928438 w 3903424"/>
                    <a:gd name="connsiteY92" fmla="*/ 2776141 h 4760516"/>
                    <a:gd name="connsiteX93" fmla="*/ 744288 w 3903424"/>
                    <a:gd name="connsiteY93" fmla="*/ 2731691 h 4760516"/>
                    <a:gd name="connsiteX94" fmla="*/ 661738 w 3903424"/>
                    <a:gd name="connsiteY94" fmla="*/ 2591991 h 4760516"/>
                    <a:gd name="connsiteX95" fmla="*/ 623638 w 3903424"/>
                    <a:gd name="connsiteY95" fmla="*/ 2344341 h 4760516"/>
                    <a:gd name="connsiteX96" fmla="*/ 636338 w 3903424"/>
                    <a:gd name="connsiteY96" fmla="*/ 2020491 h 4760516"/>
                    <a:gd name="connsiteX97" fmla="*/ 737938 w 3903424"/>
                    <a:gd name="connsiteY97" fmla="*/ 1328341 h 4760516"/>
                    <a:gd name="connsiteX98" fmla="*/ 972888 w 3903424"/>
                    <a:gd name="connsiteY98" fmla="*/ 623491 h 4760516"/>
                    <a:gd name="connsiteX99" fmla="*/ 1169738 w 3903424"/>
                    <a:gd name="connsiteY99" fmla="*/ 299641 h 4760516"/>
                    <a:gd name="connsiteX100" fmla="*/ 1360238 w 3903424"/>
                    <a:gd name="connsiteY100" fmla="*/ 140891 h 4760516"/>
                    <a:gd name="connsiteX101" fmla="*/ 1531688 w 3903424"/>
                    <a:gd name="connsiteY101" fmla="*/ 115491 h 4760516"/>
                    <a:gd name="connsiteX102" fmla="*/ 1677738 w 3903424"/>
                    <a:gd name="connsiteY102" fmla="*/ 13891 h 4760516"/>
                    <a:gd name="connsiteX103" fmla="*/ 1814660 w 3903424"/>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810829"/>
                    <a:gd name="connsiteX1" fmla="*/ 3082677 w 3904400"/>
                    <a:gd name="connsiteY1" fmla="*/ 1026716 h 4810829"/>
                    <a:gd name="connsiteX2" fmla="*/ 3168402 w 3904400"/>
                    <a:gd name="connsiteY2" fmla="*/ 1369616 h 4810829"/>
                    <a:gd name="connsiteX3" fmla="*/ 3254127 w 3904400"/>
                    <a:gd name="connsiteY3" fmla="*/ 1822054 h 4810829"/>
                    <a:gd name="connsiteX4" fmla="*/ 3282702 w 3904400"/>
                    <a:gd name="connsiteY4" fmla="*/ 2255441 h 4810829"/>
                    <a:gd name="connsiteX5" fmla="*/ 3273177 w 3904400"/>
                    <a:gd name="connsiteY5" fmla="*/ 2526904 h 4810829"/>
                    <a:gd name="connsiteX6" fmla="*/ 3192214 w 3904400"/>
                    <a:gd name="connsiteY6" fmla="*/ 2722166 h 4810829"/>
                    <a:gd name="connsiteX7" fmla="*/ 3044577 w 3904400"/>
                    <a:gd name="connsiteY7" fmla="*/ 2750741 h 4810829"/>
                    <a:gd name="connsiteX8" fmla="*/ 2811214 w 3904400"/>
                    <a:gd name="connsiteY8" fmla="*/ 2731691 h 4810829"/>
                    <a:gd name="connsiteX9" fmla="*/ 2635002 w 3904400"/>
                    <a:gd name="connsiteY9" fmla="*/ 2669779 h 4810829"/>
                    <a:gd name="connsiteX10" fmla="*/ 2658814 w 3904400"/>
                    <a:gd name="connsiteY10" fmla="*/ 2603104 h 4810829"/>
                    <a:gd name="connsiteX11" fmla="*/ 2754064 w 3904400"/>
                    <a:gd name="connsiteY11" fmla="*/ 2474516 h 4810829"/>
                    <a:gd name="connsiteX12" fmla="*/ 2844552 w 3904400"/>
                    <a:gd name="connsiteY12" fmla="*/ 2255441 h 4810829"/>
                    <a:gd name="connsiteX13" fmla="*/ 2863602 w 3904400"/>
                    <a:gd name="connsiteY13" fmla="*/ 2160191 h 4810829"/>
                    <a:gd name="connsiteX14" fmla="*/ 2920752 w 3904400"/>
                    <a:gd name="connsiteY14" fmla="*/ 2098279 h 4810829"/>
                    <a:gd name="connsiteX15" fmla="*/ 3001714 w 3904400"/>
                    <a:gd name="connsiteY15" fmla="*/ 1855391 h 4810829"/>
                    <a:gd name="connsiteX16" fmla="*/ 3058864 w 3904400"/>
                    <a:gd name="connsiteY16" fmla="*/ 1598216 h 4810829"/>
                    <a:gd name="connsiteX17" fmla="*/ 3063627 w 3904400"/>
                    <a:gd name="connsiteY17" fmla="*/ 1483916 h 4810829"/>
                    <a:gd name="connsiteX18" fmla="*/ 3011239 w 3904400"/>
                    <a:gd name="connsiteY18" fmla="*/ 1379141 h 4810829"/>
                    <a:gd name="connsiteX19" fmla="*/ 2958852 w 3904400"/>
                    <a:gd name="connsiteY19" fmla="*/ 1331516 h 4810829"/>
                    <a:gd name="connsiteX20" fmla="*/ 2949327 w 3904400"/>
                    <a:gd name="connsiteY20" fmla="*/ 1236266 h 4810829"/>
                    <a:gd name="connsiteX21" fmla="*/ 2958852 w 3904400"/>
                    <a:gd name="connsiteY21" fmla="*/ 1121966 h 4810829"/>
                    <a:gd name="connsiteX22" fmla="*/ 3006477 w 3904400"/>
                    <a:gd name="connsiteY22" fmla="*/ 1050529 h 4810829"/>
                    <a:gd name="connsiteX23" fmla="*/ 3062288 w 3904400"/>
                    <a:gd name="connsiteY23" fmla="*/ 1005769 h 4810829"/>
                    <a:gd name="connsiteX24" fmla="*/ 1814660 w 3904400"/>
                    <a:gd name="connsiteY24" fmla="*/ 0 h 4810829"/>
                    <a:gd name="connsiteX25" fmla="*/ 1957138 w 3904400"/>
                    <a:gd name="connsiteY25" fmla="*/ 1191 h 4810829"/>
                    <a:gd name="connsiteX26" fmla="*/ 2153988 w 3904400"/>
                    <a:gd name="connsiteY26" fmla="*/ 20241 h 4810829"/>
                    <a:gd name="connsiteX27" fmla="*/ 2382588 w 3904400"/>
                    <a:gd name="connsiteY27" fmla="*/ 121841 h 4810829"/>
                    <a:gd name="connsiteX28" fmla="*/ 2642938 w 3904400"/>
                    <a:gd name="connsiteY28" fmla="*/ 331391 h 4810829"/>
                    <a:gd name="connsiteX29" fmla="*/ 2947738 w 3904400"/>
                    <a:gd name="connsiteY29" fmla="*/ 693341 h 4810829"/>
                    <a:gd name="connsiteX30" fmla="*/ 3062038 w 3904400"/>
                    <a:gd name="connsiteY30" fmla="*/ 883841 h 4810829"/>
                    <a:gd name="connsiteX31" fmla="*/ 3011238 w 3904400"/>
                    <a:gd name="connsiteY31" fmla="*/ 1004491 h 4810829"/>
                    <a:gd name="connsiteX32" fmla="*/ 2903288 w 3904400"/>
                    <a:gd name="connsiteY32" fmla="*/ 1061641 h 4810829"/>
                    <a:gd name="connsiteX33" fmla="*/ 2827088 w 3904400"/>
                    <a:gd name="connsiteY33" fmla="*/ 998141 h 4810829"/>
                    <a:gd name="connsiteX34" fmla="*/ 2655638 w 3904400"/>
                    <a:gd name="connsiteY34" fmla="*/ 820341 h 4810829"/>
                    <a:gd name="connsiteX35" fmla="*/ 2350838 w 3904400"/>
                    <a:gd name="connsiteY35" fmla="*/ 674291 h 4810829"/>
                    <a:gd name="connsiteX36" fmla="*/ 2020638 w 3904400"/>
                    <a:gd name="connsiteY36" fmla="*/ 674291 h 4810829"/>
                    <a:gd name="connsiteX37" fmla="*/ 2344488 w 3904400"/>
                    <a:gd name="connsiteY37" fmla="*/ 769541 h 4810829"/>
                    <a:gd name="connsiteX38" fmla="*/ 2554038 w 3904400"/>
                    <a:gd name="connsiteY38" fmla="*/ 909241 h 4810829"/>
                    <a:gd name="connsiteX39" fmla="*/ 2630379 w 3904400"/>
                    <a:gd name="connsiteY39" fmla="*/ 973620 h 4810829"/>
                    <a:gd name="connsiteX40" fmla="*/ 2901551 w 3904400"/>
                    <a:gd name="connsiteY40" fmla="*/ 1067700 h 4810829"/>
                    <a:gd name="connsiteX41" fmla="*/ 2830884 w 3904400"/>
                    <a:gd name="connsiteY41" fmla="*/ 1212445 h 4810829"/>
                    <a:gd name="connsiteX42" fmla="*/ 2830884 w 3904400"/>
                    <a:gd name="connsiteY42" fmla="*/ 1445256 h 4810829"/>
                    <a:gd name="connsiteX43" fmla="*/ 2939795 w 3904400"/>
                    <a:gd name="connsiteY43" fmla="*/ 1531580 h 4810829"/>
                    <a:gd name="connsiteX44" fmla="*/ 2823781 w 3904400"/>
                    <a:gd name="connsiteY44" fmla="*/ 2041674 h 4810829"/>
                    <a:gd name="connsiteX45" fmla="*/ 2757487 w 3904400"/>
                    <a:gd name="connsiteY45" fmla="*/ 2086142 h 4810829"/>
                    <a:gd name="connsiteX46" fmla="*/ 2480886 w 3904400"/>
                    <a:gd name="connsiteY46" fmla="*/ 2698176 h 4810829"/>
                    <a:gd name="connsiteX47" fmla="*/ 2530227 w 3904400"/>
                    <a:gd name="connsiteY47" fmla="*/ 2817416 h 4810829"/>
                    <a:gd name="connsiteX48" fmla="*/ 2592139 w 3904400"/>
                    <a:gd name="connsiteY48" fmla="*/ 2874566 h 4810829"/>
                    <a:gd name="connsiteX49" fmla="*/ 2658814 w 3904400"/>
                    <a:gd name="connsiteY49" fmla="*/ 2884091 h 4810829"/>
                    <a:gd name="connsiteX50" fmla="*/ 2682627 w 3904400"/>
                    <a:gd name="connsiteY50" fmla="*/ 2912666 h 4810829"/>
                    <a:gd name="connsiteX51" fmla="*/ 2749302 w 3904400"/>
                    <a:gd name="connsiteY51" fmla="*/ 3079354 h 4810829"/>
                    <a:gd name="connsiteX52" fmla="*/ 2844552 w 3904400"/>
                    <a:gd name="connsiteY52" fmla="*/ 3174604 h 4810829"/>
                    <a:gd name="connsiteX53" fmla="*/ 2939802 w 3904400"/>
                    <a:gd name="connsiteY53" fmla="*/ 3207941 h 4810829"/>
                    <a:gd name="connsiteX54" fmla="*/ 3282702 w 3904400"/>
                    <a:gd name="connsiteY54" fmla="*/ 3317479 h 4810829"/>
                    <a:gd name="connsiteX55" fmla="*/ 3658939 w 3904400"/>
                    <a:gd name="connsiteY55" fmla="*/ 3493691 h 4810829"/>
                    <a:gd name="connsiteX56" fmla="*/ 3868489 w 3904400"/>
                    <a:gd name="connsiteY56" fmla="*/ 3641329 h 4810829"/>
                    <a:gd name="connsiteX57" fmla="*/ 3901827 w 3904400"/>
                    <a:gd name="connsiteY57" fmla="*/ 3769916 h 4810829"/>
                    <a:gd name="connsiteX58" fmla="*/ 3878014 w 3904400"/>
                    <a:gd name="connsiteY58" fmla="*/ 4027091 h 4810829"/>
                    <a:gd name="connsiteX59" fmla="*/ 3792289 w 3904400"/>
                    <a:gd name="connsiteY59" fmla="*/ 4236641 h 4810829"/>
                    <a:gd name="connsiteX60" fmla="*/ 3620839 w 3904400"/>
                    <a:gd name="connsiteY60" fmla="*/ 4598591 h 4810829"/>
                    <a:gd name="connsiteX61" fmla="*/ 3473202 w 3904400"/>
                    <a:gd name="connsiteY61" fmla="*/ 4760516 h 4810829"/>
                    <a:gd name="connsiteX62" fmla="*/ 339477 w 3904400"/>
                    <a:gd name="connsiteY62" fmla="*/ 4760516 h 4810829"/>
                    <a:gd name="connsiteX63" fmla="*/ 163264 w 3904400"/>
                    <a:gd name="connsiteY63" fmla="*/ 4436666 h 4810829"/>
                    <a:gd name="connsiteX64" fmla="*/ 58489 w 3904400"/>
                    <a:gd name="connsiteY64" fmla="*/ 4141391 h 4810829"/>
                    <a:gd name="connsiteX65" fmla="*/ 1339 w 3904400"/>
                    <a:gd name="connsiteY65" fmla="*/ 3855641 h 4810829"/>
                    <a:gd name="connsiteX66" fmla="*/ 25152 w 3904400"/>
                    <a:gd name="connsiteY66" fmla="*/ 3703241 h 4810829"/>
                    <a:gd name="connsiteX67" fmla="*/ 220414 w 3904400"/>
                    <a:gd name="connsiteY67" fmla="*/ 3584179 h 4810829"/>
                    <a:gd name="connsiteX68" fmla="*/ 534739 w 3904400"/>
                    <a:gd name="connsiteY68" fmla="*/ 3450829 h 4810829"/>
                    <a:gd name="connsiteX69" fmla="*/ 934789 w 3904400"/>
                    <a:gd name="connsiteY69" fmla="*/ 3293666 h 4810829"/>
                    <a:gd name="connsiteX70" fmla="*/ 1134814 w 3904400"/>
                    <a:gd name="connsiteY70" fmla="*/ 3217466 h 4810829"/>
                    <a:gd name="connsiteX71" fmla="*/ 1277689 w 3904400"/>
                    <a:gd name="connsiteY71" fmla="*/ 2950766 h 4810829"/>
                    <a:gd name="connsiteX72" fmla="*/ 1372939 w 3904400"/>
                    <a:gd name="connsiteY72" fmla="*/ 2888854 h 4810829"/>
                    <a:gd name="connsiteX73" fmla="*/ 1444377 w 3904400"/>
                    <a:gd name="connsiteY73" fmla="*/ 2750741 h 4810829"/>
                    <a:gd name="connsiteX74" fmla="*/ 1430089 w 3904400"/>
                    <a:gd name="connsiteY74" fmla="*/ 2665016 h 4810829"/>
                    <a:gd name="connsiteX75" fmla="*/ 1433678 w 3904400"/>
                    <a:gd name="connsiteY75" fmla="*/ 2655556 h 4810829"/>
                    <a:gd name="connsiteX76" fmla="*/ 1412671 w 3904400"/>
                    <a:gd name="connsiteY76" fmla="*/ 2630242 h 4810829"/>
                    <a:gd name="connsiteX77" fmla="*/ 1171172 w 3904400"/>
                    <a:gd name="connsiteY77" fmla="*/ 2059985 h 4810829"/>
                    <a:gd name="connsiteX78" fmla="*/ 977027 w 3904400"/>
                    <a:gd name="connsiteY78" fmla="*/ 1612672 h 4810829"/>
                    <a:gd name="connsiteX79" fmla="*/ 1052790 w 3904400"/>
                    <a:gd name="connsiteY79" fmla="*/ 1487109 h 4810829"/>
                    <a:gd name="connsiteX80" fmla="*/ 1018186 w 3904400"/>
                    <a:gd name="connsiteY80" fmla="*/ 1277790 h 4810829"/>
                    <a:gd name="connsiteX81" fmla="*/ 934788 w 3904400"/>
                    <a:gd name="connsiteY81" fmla="*/ 1341041 h 4810829"/>
                    <a:gd name="connsiteX82" fmla="*/ 883988 w 3904400"/>
                    <a:gd name="connsiteY82" fmla="*/ 1404541 h 4810829"/>
                    <a:gd name="connsiteX83" fmla="*/ 839538 w 3904400"/>
                    <a:gd name="connsiteY83" fmla="*/ 1525191 h 4810829"/>
                    <a:gd name="connsiteX84" fmla="*/ 858588 w 3904400"/>
                    <a:gd name="connsiteY84" fmla="*/ 1645841 h 4810829"/>
                    <a:gd name="connsiteX85" fmla="*/ 890338 w 3904400"/>
                    <a:gd name="connsiteY85" fmla="*/ 1829991 h 4810829"/>
                    <a:gd name="connsiteX86" fmla="*/ 966538 w 3904400"/>
                    <a:gd name="connsiteY86" fmla="*/ 2128441 h 4810829"/>
                    <a:gd name="connsiteX87" fmla="*/ 1049088 w 3904400"/>
                    <a:gd name="connsiteY87" fmla="*/ 2198291 h 4810829"/>
                    <a:gd name="connsiteX88" fmla="*/ 1099888 w 3904400"/>
                    <a:gd name="connsiteY88" fmla="*/ 2331641 h 4810829"/>
                    <a:gd name="connsiteX89" fmla="*/ 1220538 w 3904400"/>
                    <a:gd name="connsiteY89" fmla="*/ 2566591 h 4810829"/>
                    <a:gd name="connsiteX90" fmla="*/ 1271338 w 3904400"/>
                    <a:gd name="connsiteY90" fmla="*/ 2712641 h 4810829"/>
                    <a:gd name="connsiteX91" fmla="*/ 1131638 w 3904400"/>
                    <a:gd name="connsiteY91" fmla="*/ 2750741 h 4810829"/>
                    <a:gd name="connsiteX92" fmla="*/ 928438 w 3904400"/>
                    <a:gd name="connsiteY92" fmla="*/ 2776141 h 4810829"/>
                    <a:gd name="connsiteX93" fmla="*/ 744288 w 3904400"/>
                    <a:gd name="connsiteY93" fmla="*/ 2731691 h 4810829"/>
                    <a:gd name="connsiteX94" fmla="*/ 661738 w 3904400"/>
                    <a:gd name="connsiteY94" fmla="*/ 2591991 h 4810829"/>
                    <a:gd name="connsiteX95" fmla="*/ 623638 w 3904400"/>
                    <a:gd name="connsiteY95" fmla="*/ 2344341 h 4810829"/>
                    <a:gd name="connsiteX96" fmla="*/ 636338 w 3904400"/>
                    <a:gd name="connsiteY96" fmla="*/ 2020491 h 4810829"/>
                    <a:gd name="connsiteX97" fmla="*/ 737938 w 3904400"/>
                    <a:gd name="connsiteY97" fmla="*/ 1328341 h 4810829"/>
                    <a:gd name="connsiteX98" fmla="*/ 972888 w 3904400"/>
                    <a:gd name="connsiteY98" fmla="*/ 623491 h 4810829"/>
                    <a:gd name="connsiteX99" fmla="*/ 1169738 w 3904400"/>
                    <a:gd name="connsiteY99" fmla="*/ 299641 h 4810829"/>
                    <a:gd name="connsiteX100" fmla="*/ 1360238 w 3904400"/>
                    <a:gd name="connsiteY100" fmla="*/ 140891 h 4810829"/>
                    <a:gd name="connsiteX101" fmla="*/ 1531688 w 3904400"/>
                    <a:gd name="connsiteY101" fmla="*/ 115491 h 4810829"/>
                    <a:gd name="connsiteX102" fmla="*/ 1677738 w 3904400"/>
                    <a:gd name="connsiteY102" fmla="*/ 13891 h 4810829"/>
                    <a:gd name="connsiteX103" fmla="*/ 1814660 w 3904400"/>
                    <a:gd name="connsiteY103" fmla="*/ 0 h 4810829"/>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630379 w 3904400"/>
                    <a:gd name="connsiteY39" fmla="*/ 973620 h 4848994"/>
                    <a:gd name="connsiteX40" fmla="*/ 2901551 w 3904400"/>
                    <a:gd name="connsiteY40" fmla="*/ 1067700 h 4848994"/>
                    <a:gd name="connsiteX41" fmla="*/ 2830884 w 3904400"/>
                    <a:gd name="connsiteY41" fmla="*/ 1212445 h 4848994"/>
                    <a:gd name="connsiteX42" fmla="*/ 2830884 w 3904400"/>
                    <a:gd name="connsiteY42" fmla="*/ 1445256 h 4848994"/>
                    <a:gd name="connsiteX43" fmla="*/ 2939795 w 3904400"/>
                    <a:gd name="connsiteY43" fmla="*/ 1531580 h 4848994"/>
                    <a:gd name="connsiteX44" fmla="*/ 2823781 w 3904400"/>
                    <a:gd name="connsiteY44" fmla="*/ 2041674 h 4848994"/>
                    <a:gd name="connsiteX45" fmla="*/ 2757487 w 3904400"/>
                    <a:gd name="connsiteY45" fmla="*/ 2086142 h 4848994"/>
                    <a:gd name="connsiteX46" fmla="*/ 2480886 w 3904400"/>
                    <a:gd name="connsiteY46" fmla="*/ 2698176 h 4848994"/>
                    <a:gd name="connsiteX47" fmla="*/ 2530227 w 3904400"/>
                    <a:gd name="connsiteY47" fmla="*/ 2817416 h 4848994"/>
                    <a:gd name="connsiteX48" fmla="*/ 2592139 w 3904400"/>
                    <a:gd name="connsiteY48" fmla="*/ 2874566 h 4848994"/>
                    <a:gd name="connsiteX49" fmla="*/ 2658814 w 3904400"/>
                    <a:gd name="connsiteY49" fmla="*/ 2884091 h 4848994"/>
                    <a:gd name="connsiteX50" fmla="*/ 2682627 w 3904400"/>
                    <a:gd name="connsiteY50" fmla="*/ 2912666 h 4848994"/>
                    <a:gd name="connsiteX51" fmla="*/ 2749302 w 3904400"/>
                    <a:gd name="connsiteY51" fmla="*/ 3079354 h 4848994"/>
                    <a:gd name="connsiteX52" fmla="*/ 2844552 w 3904400"/>
                    <a:gd name="connsiteY52" fmla="*/ 3174604 h 4848994"/>
                    <a:gd name="connsiteX53" fmla="*/ 2939802 w 3904400"/>
                    <a:gd name="connsiteY53" fmla="*/ 3207941 h 4848994"/>
                    <a:gd name="connsiteX54" fmla="*/ 3282702 w 3904400"/>
                    <a:gd name="connsiteY54" fmla="*/ 3317479 h 4848994"/>
                    <a:gd name="connsiteX55" fmla="*/ 3658939 w 3904400"/>
                    <a:gd name="connsiteY55" fmla="*/ 3493691 h 4848994"/>
                    <a:gd name="connsiteX56" fmla="*/ 3868489 w 3904400"/>
                    <a:gd name="connsiteY56" fmla="*/ 3641329 h 4848994"/>
                    <a:gd name="connsiteX57" fmla="*/ 3901827 w 3904400"/>
                    <a:gd name="connsiteY57" fmla="*/ 3769916 h 4848994"/>
                    <a:gd name="connsiteX58" fmla="*/ 3878014 w 3904400"/>
                    <a:gd name="connsiteY58" fmla="*/ 4027091 h 4848994"/>
                    <a:gd name="connsiteX59" fmla="*/ 3792289 w 3904400"/>
                    <a:gd name="connsiteY59" fmla="*/ 4236641 h 4848994"/>
                    <a:gd name="connsiteX60" fmla="*/ 3620839 w 3904400"/>
                    <a:gd name="connsiteY60" fmla="*/ 4598591 h 4848994"/>
                    <a:gd name="connsiteX61" fmla="*/ 3473202 w 3904400"/>
                    <a:gd name="connsiteY61" fmla="*/ 4760516 h 4848994"/>
                    <a:gd name="connsiteX62" fmla="*/ 339477 w 3904400"/>
                    <a:gd name="connsiteY62" fmla="*/ 4760516 h 4848994"/>
                    <a:gd name="connsiteX63" fmla="*/ 163264 w 3904400"/>
                    <a:gd name="connsiteY63" fmla="*/ 4436666 h 4848994"/>
                    <a:gd name="connsiteX64" fmla="*/ 58489 w 3904400"/>
                    <a:gd name="connsiteY64" fmla="*/ 4141391 h 4848994"/>
                    <a:gd name="connsiteX65" fmla="*/ 1339 w 3904400"/>
                    <a:gd name="connsiteY65" fmla="*/ 3855641 h 4848994"/>
                    <a:gd name="connsiteX66" fmla="*/ 25152 w 3904400"/>
                    <a:gd name="connsiteY66" fmla="*/ 3703241 h 4848994"/>
                    <a:gd name="connsiteX67" fmla="*/ 220414 w 3904400"/>
                    <a:gd name="connsiteY67" fmla="*/ 3584179 h 4848994"/>
                    <a:gd name="connsiteX68" fmla="*/ 534739 w 3904400"/>
                    <a:gd name="connsiteY68" fmla="*/ 3450829 h 4848994"/>
                    <a:gd name="connsiteX69" fmla="*/ 934789 w 3904400"/>
                    <a:gd name="connsiteY69" fmla="*/ 3293666 h 4848994"/>
                    <a:gd name="connsiteX70" fmla="*/ 1134814 w 3904400"/>
                    <a:gd name="connsiteY70" fmla="*/ 3217466 h 4848994"/>
                    <a:gd name="connsiteX71" fmla="*/ 1277689 w 3904400"/>
                    <a:gd name="connsiteY71" fmla="*/ 2950766 h 4848994"/>
                    <a:gd name="connsiteX72" fmla="*/ 1372939 w 3904400"/>
                    <a:gd name="connsiteY72" fmla="*/ 2888854 h 4848994"/>
                    <a:gd name="connsiteX73" fmla="*/ 1444377 w 3904400"/>
                    <a:gd name="connsiteY73" fmla="*/ 2750741 h 4848994"/>
                    <a:gd name="connsiteX74" fmla="*/ 1430089 w 3904400"/>
                    <a:gd name="connsiteY74" fmla="*/ 2665016 h 4848994"/>
                    <a:gd name="connsiteX75" fmla="*/ 1433678 w 3904400"/>
                    <a:gd name="connsiteY75" fmla="*/ 2655556 h 4848994"/>
                    <a:gd name="connsiteX76" fmla="*/ 1412671 w 3904400"/>
                    <a:gd name="connsiteY76" fmla="*/ 2630242 h 4848994"/>
                    <a:gd name="connsiteX77" fmla="*/ 1171172 w 3904400"/>
                    <a:gd name="connsiteY77" fmla="*/ 2059985 h 4848994"/>
                    <a:gd name="connsiteX78" fmla="*/ 977027 w 3904400"/>
                    <a:gd name="connsiteY78" fmla="*/ 1612672 h 4848994"/>
                    <a:gd name="connsiteX79" fmla="*/ 1052790 w 3904400"/>
                    <a:gd name="connsiteY79" fmla="*/ 1487109 h 4848994"/>
                    <a:gd name="connsiteX80" fmla="*/ 1018186 w 3904400"/>
                    <a:gd name="connsiteY80" fmla="*/ 1277790 h 4848994"/>
                    <a:gd name="connsiteX81" fmla="*/ 934788 w 3904400"/>
                    <a:gd name="connsiteY81" fmla="*/ 1341041 h 4848994"/>
                    <a:gd name="connsiteX82" fmla="*/ 883988 w 3904400"/>
                    <a:gd name="connsiteY82" fmla="*/ 1404541 h 4848994"/>
                    <a:gd name="connsiteX83" fmla="*/ 839538 w 3904400"/>
                    <a:gd name="connsiteY83" fmla="*/ 1525191 h 4848994"/>
                    <a:gd name="connsiteX84" fmla="*/ 858588 w 3904400"/>
                    <a:gd name="connsiteY84" fmla="*/ 1645841 h 4848994"/>
                    <a:gd name="connsiteX85" fmla="*/ 890338 w 3904400"/>
                    <a:gd name="connsiteY85" fmla="*/ 1829991 h 4848994"/>
                    <a:gd name="connsiteX86" fmla="*/ 966538 w 3904400"/>
                    <a:gd name="connsiteY86" fmla="*/ 2128441 h 4848994"/>
                    <a:gd name="connsiteX87" fmla="*/ 1049088 w 3904400"/>
                    <a:gd name="connsiteY87" fmla="*/ 2198291 h 4848994"/>
                    <a:gd name="connsiteX88" fmla="*/ 1099888 w 3904400"/>
                    <a:gd name="connsiteY88" fmla="*/ 2331641 h 4848994"/>
                    <a:gd name="connsiteX89" fmla="*/ 1220538 w 3904400"/>
                    <a:gd name="connsiteY89" fmla="*/ 2566591 h 4848994"/>
                    <a:gd name="connsiteX90" fmla="*/ 1271338 w 3904400"/>
                    <a:gd name="connsiteY90" fmla="*/ 2712641 h 4848994"/>
                    <a:gd name="connsiteX91" fmla="*/ 1131638 w 3904400"/>
                    <a:gd name="connsiteY91" fmla="*/ 2750741 h 4848994"/>
                    <a:gd name="connsiteX92" fmla="*/ 928438 w 3904400"/>
                    <a:gd name="connsiteY92" fmla="*/ 2776141 h 4848994"/>
                    <a:gd name="connsiteX93" fmla="*/ 744288 w 3904400"/>
                    <a:gd name="connsiteY93" fmla="*/ 2731691 h 4848994"/>
                    <a:gd name="connsiteX94" fmla="*/ 661738 w 3904400"/>
                    <a:gd name="connsiteY94" fmla="*/ 2591991 h 4848994"/>
                    <a:gd name="connsiteX95" fmla="*/ 623638 w 3904400"/>
                    <a:gd name="connsiteY95" fmla="*/ 2344341 h 4848994"/>
                    <a:gd name="connsiteX96" fmla="*/ 636338 w 3904400"/>
                    <a:gd name="connsiteY96" fmla="*/ 2020491 h 4848994"/>
                    <a:gd name="connsiteX97" fmla="*/ 737938 w 3904400"/>
                    <a:gd name="connsiteY97" fmla="*/ 1328341 h 4848994"/>
                    <a:gd name="connsiteX98" fmla="*/ 972888 w 3904400"/>
                    <a:gd name="connsiteY98" fmla="*/ 623491 h 4848994"/>
                    <a:gd name="connsiteX99" fmla="*/ 1169738 w 3904400"/>
                    <a:gd name="connsiteY99" fmla="*/ 299641 h 4848994"/>
                    <a:gd name="connsiteX100" fmla="*/ 1360238 w 3904400"/>
                    <a:gd name="connsiteY100" fmla="*/ 140891 h 4848994"/>
                    <a:gd name="connsiteX101" fmla="*/ 1531688 w 3904400"/>
                    <a:gd name="connsiteY101" fmla="*/ 115491 h 4848994"/>
                    <a:gd name="connsiteX102" fmla="*/ 1677738 w 3904400"/>
                    <a:gd name="connsiteY102" fmla="*/ 13891 h 4848994"/>
                    <a:gd name="connsiteX103" fmla="*/ 1814660 w 3904400"/>
                    <a:gd name="connsiteY103"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859098 w 3904400"/>
                    <a:gd name="connsiteY39" fmla="*/ 1103077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904400" h="4848994">
                      <a:moveTo>
                        <a:pt x="3062288" y="1005769"/>
                      </a:moveTo>
                      <a:lnTo>
                        <a:pt x="3082677" y="1026716"/>
                      </a:lnTo>
                      <a:cubicBezTo>
                        <a:pt x="3109664" y="1079897"/>
                        <a:pt x="3139827" y="1237060"/>
                        <a:pt x="3168402" y="1369616"/>
                      </a:cubicBezTo>
                      <a:cubicBezTo>
                        <a:pt x="3196977" y="1502172"/>
                        <a:pt x="3235077" y="1674417"/>
                        <a:pt x="3254127" y="1822054"/>
                      </a:cubicBezTo>
                      <a:cubicBezTo>
                        <a:pt x="3273177" y="1969691"/>
                        <a:pt x="3279527" y="2137966"/>
                        <a:pt x="3282702" y="2255441"/>
                      </a:cubicBezTo>
                      <a:cubicBezTo>
                        <a:pt x="3285877" y="2372916"/>
                        <a:pt x="3288258" y="2449116"/>
                        <a:pt x="3273177" y="2526904"/>
                      </a:cubicBezTo>
                      <a:cubicBezTo>
                        <a:pt x="3258096" y="2604692"/>
                        <a:pt x="3230314" y="2684860"/>
                        <a:pt x="3192214" y="2722166"/>
                      </a:cubicBezTo>
                      <a:cubicBezTo>
                        <a:pt x="3154114" y="2759472"/>
                        <a:pt x="3108077" y="2749154"/>
                        <a:pt x="3044577" y="2750741"/>
                      </a:cubicBezTo>
                      <a:cubicBezTo>
                        <a:pt x="2981077" y="2752328"/>
                        <a:pt x="2879476" y="2745185"/>
                        <a:pt x="2811214" y="2731691"/>
                      </a:cubicBezTo>
                      <a:cubicBezTo>
                        <a:pt x="2742952" y="2718197"/>
                        <a:pt x="2660402" y="2691210"/>
                        <a:pt x="2635002" y="2669779"/>
                      </a:cubicBezTo>
                      <a:cubicBezTo>
                        <a:pt x="2609602" y="2648348"/>
                        <a:pt x="2638970" y="2635648"/>
                        <a:pt x="2658814" y="2603104"/>
                      </a:cubicBezTo>
                      <a:cubicBezTo>
                        <a:pt x="2678658" y="2570560"/>
                        <a:pt x="2723108" y="2532460"/>
                        <a:pt x="2754064" y="2474516"/>
                      </a:cubicBezTo>
                      <a:cubicBezTo>
                        <a:pt x="2785020" y="2416572"/>
                        <a:pt x="2826296" y="2307828"/>
                        <a:pt x="2844552" y="2255441"/>
                      </a:cubicBezTo>
                      <a:cubicBezTo>
                        <a:pt x="2862808" y="2203054"/>
                        <a:pt x="2850902" y="2186385"/>
                        <a:pt x="2863602" y="2160191"/>
                      </a:cubicBezTo>
                      <a:cubicBezTo>
                        <a:pt x="2876302" y="2133997"/>
                        <a:pt x="2897733" y="2149079"/>
                        <a:pt x="2920752" y="2098279"/>
                      </a:cubicBezTo>
                      <a:cubicBezTo>
                        <a:pt x="2943771" y="2047479"/>
                        <a:pt x="2978695" y="1938735"/>
                        <a:pt x="3001714" y="1855391"/>
                      </a:cubicBezTo>
                      <a:cubicBezTo>
                        <a:pt x="3024733" y="1772047"/>
                        <a:pt x="3048545" y="1660129"/>
                        <a:pt x="3058864" y="1598216"/>
                      </a:cubicBezTo>
                      <a:cubicBezTo>
                        <a:pt x="3069183" y="1536303"/>
                        <a:pt x="3071564" y="1520428"/>
                        <a:pt x="3063627" y="1483916"/>
                      </a:cubicBezTo>
                      <a:cubicBezTo>
                        <a:pt x="3055690" y="1447404"/>
                        <a:pt x="3028702" y="1404541"/>
                        <a:pt x="3011239" y="1379141"/>
                      </a:cubicBezTo>
                      <a:cubicBezTo>
                        <a:pt x="2993776" y="1353741"/>
                        <a:pt x="2969171" y="1355329"/>
                        <a:pt x="2958852" y="1331516"/>
                      </a:cubicBezTo>
                      <a:cubicBezTo>
                        <a:pt x="2948533" y="1307704"/>
                        <a:pt x="2949327" y="1271191"/>
                        <a:pt x="2949327" y="1236266"/>
                      </a:cubicBezTo>
                      <a:cubicBezTo>
                        <a:pt x="2949327" y="1201341"/>
                        <a:pt x="2949327" y="1152922"/>
                        <a:pt x="2958852" y="1121966"/>
                      </a:cubicBezTo>
                      <a:cubicBezTo>
                        <a:pt x="2968377" y="1091010"/>
                        <a:pt x="2985839" y="1066404"/>
                        <a:pt x="3006477" y="1050529"/>
                      </a:cubicBezTo>
                      <a:cubicBezTo>
                        <a:pt x="3021955" y="1038623"/>
                        <a:pt x="3041898" y="1001267"/>
                        <a:pt x="3062288" y="1005769"/>
                      </a:cubicBezTo>
                      <a:close/>
                      <a:moveTo>
                        <a:pt x="1814660" y="0"/>
                      </a:moveTo>
                      <a:lnTo>
                        <a:pt x="1957138" y="1191"/>
                      </a:lnTo>
                      <a:cubicBezTo>
                        <a:pt x="2036513" y="2249"/>
                        <a:pt x="2083080" y="133"/>
                        <a:pt x="2153988" y="20241"/>
                      </a:cubicBezTo>
                      <a:cubicBezTo>
                        <a:pt x="2224896" y="40349"/>
                        <a:pt x="2301096" y="69983"/>
                        <a:pt x="2382588" y="121841"/>
                      </a:cubicBezTo>
                      <a:cubicBezTo>
                        <a:pt x="2464080" y="173699"/>
                        <a:pt x="2548747" y="236141"/>
                        <a:pt x="2642938" y="331391"/>
                      </a:cubicBezTo>
                      <a:cubicBezTo>
                        <a:pt x="2737129" y="426641"/>
                        <a:pt x="2877888" y="601266"/>
                        <a:pt x="2947738" y="693341"/>
                      </a:cubicBezTo>
                      <a:cubicBezTo>
                        <a:pt x="3017588" y="785416"/>
                        <a:pt x="3051455" y="831983"/>
                        <a:pt x="3062038" y="883841"/>
                      </a:cubicBezTo>
                      <a:cubicBezTo>
                        <a:pt x="3072621" y="935699"/>
                        <a:pt x="3037696" y="974858"/>
                        <a:pt x="3011238" y="1004491"/>
                      </a:cubicBezTo>
                      <a:cubicBezTo>
                        <a:pt x="2984780" y="1034124"/>
                        <a:pt x="2933980" y="1062699"/>
                        <a:pt x="2903288" y="1061641"/>
                      </a:cubicBezTo>
                      <a:cubicBezTo>
                        <a:pt x="2872596" y="1060583"/>
                        <a:pt x="2868363" y="1038358"/>
                        <a:pt x="2827088" y="998141"/>
                      </a:cubicBezTo>
                      <a:cubicBezTo>
                        <a:pt x="2785813" y="957924"/>
                        <a:pt x="2735013" y="874316"/>
                        <a:pt x="2655638" y="820341"/>
                      </a:cubicBezTo>
                      <a:cubicBezTo>
                        <a:pt x="2576263" y="766366"/>
                        <a:pt x="2456671" y="698633"/>
                        <a:pt x="2350838" y="674291"/>
                      </a:cubicBezTo>
                      <a:cubicBezTo>
                        <a:pt x="2245005" y="649949"/>
                        <a:pt x="2004008" y="658416"/>
                        <a:pt x="2020638" y="674291"/>
                      </a:cubicBezTo>
                      <a:cubicBezTo>
                        <a:pt x="2037268" y="690166"/>
                        <a:pt x="2322805" y="697365"/>
                        <a:pt x="2450619" y="769542"/>
                      </a:cubicBezTo>
                      <a:cubicBezTo>
                        <a:pt x="2578433" y="841719"/>
                        <a:pt x="2592091" y="839501"/>
                        <a:pt x="2660171" y="895090"/>
                      </a:cubicBezTo>
                      <a:cubicBezTo>
                        <a:pt x="2728251" y="950679"/>
                        <a:pt x="2812957" y="1052543"/>
                        <a:pt x="2859098" y="1103077"/>
                      </a:cubicBezTo>
                      <a:cubicBezTo>
                        <a:pt x="2840639" y="1173982"/>
                        <a:pt x="2842709" y="1151206"/>
                        <a:pt x="2830884" y="1212445"/>
                      </a:cubicBezTo>
                      <a:cubicBezTo>
                        <a:pt x="2856921" y="1275211"/>
                        <a:pt x="2830896" y="1445184"/>
                        <a:pt x="2830884" y="1445256"/>
                      </a:cubicBezTo>
                      <a:cubicBezTo>
                        <a:pt x="2830987" y="1445263"/>
                        <a:pt x="2939795" y="1453141"/>
                        <a:pt x="2939795" y="1531580"/>
                      </a:cubicBezTo>
                      <a:cubicBezTo>
                        <a:pt x="2939795" y="1610041"/>
                        <a:pt x="2823824" y="2041512"/>
                        <a:pt x="2823781" y="2041674"/>
                      </a:cubicBezTo>
                      <a:cubicBezTo>
                        <a:pt x="2823748" y="2041731"/>
                        <a:pt x="2792983" y="2093987"/>
                        <a:pt x="2757487" y="2086142"/>
                      </a:cubicBezTo>
                      <a:cubicBezTo>
                        <a:pt x="2719935" y="2402501"/>
                        <a:pt x="2591644" y="2600616"/>
                        <a:pt x="2480886" y="2698176"/>
                      </a:cubicBezTo>
                      <a:cubicBezTo>
                        <a:pt x="2497333" y="2737923"/>
                        <a:pt x="2509017" y="2787194"/>
                        <a:pt x="2530227" y="2817416"/>
                      </a:cubicBezTo>
                      <a:lnTo>
                        <a:pt x="2592139" y="2874566"/>
                      </a:lnTo>
                      <a:lnTo>
                        <a:pt x="2658814" y="2884091"/>
                      </a:lnTo>
                      <a:lnTo>
                        <a:pt x="2682627" y="2912666"/>
                      </a:lnTo>
                      <a:lnTo>
                        <a:pt x="2749302" y="3079354"/>
                      </a:lnTo>
                      <a:lnTo>
                        <a:pt x="2844552" y="3174604"/>
                      </a:lnTo>
                      <a:lnTo>
                        <a:pt x="2939802" y="3207941"/>
                      </a:lnTo>
                      <a:lnTo>
                        <a:pt x="3282702" y="3317479"/>
                      </a:lnTo>
                      <a:lnTo>
                        <a:pt x="3658939" y="3493691"/>
                      </a:lnTo>
                      <a:lnTo>
                        <a:pt x="3868489" y="3641329"/>
                      </a:lnTo>
                      <a:cubicBezTo>
                        <a:pt x="3879602" y="3684191"/>
                        <a:pt x="3906589" y="3708004"/>
                        <a:pt x="3901827" y="3769916"/>
                      </a:cubicBezTo>
                      <a:cubicBezTo>
                        <a:pt x="3909764" y="3830241"/>
                        <a:pt x="3898652" y="3938191"/>
                        <a:pt x="3878014" y="4027091"/>
                      </a:cubicBezTo>
                      <a:cubicBezTo>
                        <a:pt x="3855789" y="4119166"/>
                        <a:pt x="3820864" y="4166791"/>
                        <a:pt x="3792289" y="4236641"/>
                      </a:cubicBezTo>
                      <a:lnTo>
                        <a:pt x="3620839" y="4598591"/>
                      </a:lnTo>
                      <a:lnTo>
                        <a:pt x="3473202" y="4760516"/>
                      </a:lnTo>
                      <a:cubicBezTo>
                        <a:pt x="2419193" y="4883157"/>
                        <a:pt x="1553862" y="4873723"/>
                        <a:pt x="339477" y="4760516"/>
                      </a:cubicBezTo>
                      <a:lnTo>
                        <a:pt x="163264" y="4436666"/>
                      </a:lnTo>
                      <a:lnTo>
                        <a:pt x="58489" y="4141391"/>
                      </a:lnTo>
                      <a:cubicBezTo>
                        <a:pt x="39439" y="4046141"/>
                        <a:pt x="14039" y="3992166"/>
                        <a:pt x="1339" y="3855641"/>
                      </a:cubicBezTo>
                      <a:cubicBezTo>
                        <a:pt x="-3423" y="3795316"/>
                        <a:pt x="4514" y="3744516"/>
                        <a:pt x="25152" y="3703241"/>
                      </a:cubicBezTo>
                      <a:lnTo>
                        <a:pt x="220414" y="3584179"/>
                      </a:lnTo>
                      <a:lnTo>
                        <a:pt x="534739" y="3450829"/>
                      </a:lnTo>
                      <a:lnTo>
                        <a:pt x="934789" y="3293666"/>
                      </a:lnTo>
                      <a:lnTo>
                        <a:pt x="1134814" y="3217466"/>
                      </a:lnTo>
                      <a:cubicBezTo>
                        <a:pt x="1234827" y="3090466"/>
                        <a:pt x="1241971" y="3068241"/>
                        <a:pt x="1277689" y="2950766"/>
                      </a:cubicBezTo>
                      <a:lnTo>
                        <a:pt x="1372939" y="2888854"/>
                      </a:lnTo>
                      <a:lnTo>
                        <a:pt x="1444377" y="2750741"/>
                      </a:lnTo>
                      <a:lnTo>
                        <a:pt x="1430089" y="2665016"/>
                      </a:lnTo>
                      <a:lnTo>
                        <a:pt x="1433678" y="2655556"/>
                      </a:lnTo>
                      <a:cubicBezTo>
                        <a:pt x="1422983" y="2644679"/>
                        <a:pt x="1415776" y="2635961"/>
                        <a:pt x="1412671" y="2630242"/>
                      </a:cubicBezTo>
                      <a:cubicBezTo>
                        <a:pt x="1381893" y="2577926"/>
                        <a:pt x="1178275" y="2345112"/>
                        <a:pt x="1171172" y="2059985"/>
                      </a:cubicBezTo>
                      <a:cubicBezTo>
                        <a:pt x="1071731" y="2052136"/>
                        <a:pt x="1014908" y="1764391"/>
                        <a:pt x="977027" y="1612672"/>
                      </a:cubicBezTo>
                      <a:cubicBezTo>
                        <a:pt x="946258" y="1484545"/>
                        <a:pt x="1052708" y="1487108"/>
                        <a:pt x="1052790" y="1487109"/>
                      </a:cubicBezTo>
                      <a:cubicBezTo>
                        <a:pt x="1052758" y="1487025"/>
                        <a:pt x="992834" y="1362590"/>
                        <a:pt x="1018186" y="1277790"/>
                      </a:cubicBezTo>
                      <a:cubicBezTo>
                        <a:pt x="962383" y="1308036"/>
                        <a:pt x="957154" y="1319916"/>
                        <a:pt x="934788" y="1341041"/>
                      </a:cubicBezTo>
                      <a:cubicBezTo>
                        <a:pt x="912422" y="1362166"/>
                        <a:pt x="899863" y="1373849"/>
                        <a:pt x="883988" y="1404541"/>
                      </a:cubicBezTo>
                      <a:cubicBezTo>
                        <a:pt x="868113" y="1435233"/>
                        <a:pt x="843771" y="1484974"/>
                        <a:pt x="839538" y="1525191"/>
                      </a:cubicBezTo>
                      <a:cubicBezTo>
                        <a:pt x="835305" y="1565408"/>
                        <a:pt x="850121" y="1595041"/>
                        <a:pt x="858588" y="1645841"/>
                      </a:cubicBezTo>
                      <a:cubicBezTo>
                        <a:pt x="867055" y="1696641"/>
                        <a:pt x="872346" y="1749558"/>
                        <a:pt x="890338" y="1829991"/>
                      </a:cubicBezTo>
                      <a:cubicBezTo>
                        <a:pt x="908330" y="1910424"/>
                        <a:pt x="940080" y="2067058"/>
                        <a:pt x="966538" y="2128441"/>
                      </a:cubicBezTo>
                      <a:cubicBezTo>
                        <a:pt x="992996" y="2189824"/>
                        <a:pt x="1026863" y="2164424"/>
                        <a:pt x="1049088" y="2198291"/>
                      </a:cubicBezTo>
                      <a:cubicBezTo>
                        <a:pt x="1071313" y="2232158"/>
                        <a:pt x="1071313" y="2270258"/>
                        <a:pt x="1099888" y="2331641"/>
                      </a:cubicBezTo>
                      <a:cubicBezTo>
                        <a:pt x="1128463" y="2393024"/>
                        <a:pt x="1191963" y="2503091"/>
                        <a:pt x="1220538" y="2566591"/>
                      </a:cubicBezTo>
                      <a:cubicBezTo>
                        <a:pt x="1249113" y="2630091"/>
                        <a:pt x="1286155" y="2681949"/>
                        <a:pt x="1271338" y="2712641"/>
                      </a:cubicBezTo>
                      <a:cubicBezTo>
                        <a:pt x="1256521" y="2743333"/>
                        <a:pt x="1188788" y="2740158"/>
                        <a:pt x="1131638" y="2750741"/>
                      </a:cubicBezTo>
                      <a:cubicBezTo>
                        <a:pt x="1074488" y="2761324"/>
                        <a:pt x="992996" y="2779316"/>
                        <a:pt x="928438" y="2776141"/>
                      </a:cubicBezTo>
                      <a:cubicBezTo>
                        <a:pt x="863880" y="2772966"/>
                        <a:pt x="788738" y="2762383"/>
                        <a:pt x="744288" y="2731691"/>
                      </a:cubicBezTo>
                      <a:cubicBezTo>
                        <a:pt x="699838" y="2700999"/>
                        <a:pt x="681846" y="2656549"/>
                        <a:pt x="661738" y="2591991"/>
                      </a:cubicBezTo>
                      <a:cubicBezTo>
                        <a:pt x="641630" y="2527433"/>
                        <a:pt x="627871" y="2439591"/>
                        <a:pt x="623638" y="2344341"/>
                      </a:cubicBezTo>
                      <a:cubicBezTo>
                        <a:pt x="619405" y="2249091"/>
                        <a:pt x="617288" y="2189824"/>
                        <a:pt x="636338" y="2020491"/>
                      </a:cubicBezTo>
                      <a:cubicBezTo>
                        <a:pt x="655388" y="1851158"/>
                        <a:pt x="681846" y="1561174"/>
                        <a:pt x="737938" y="1328341"/>
                      </a:cubicBezTo>
                      <a:cubicBezTo>
                        <a:pt x="794030" y="1095508"/>
                        <a:pt x="900921" y="794941"/>
                        <a:pt x="972888" y="623491"/>
                      </a:cubicBezTo>
                      <a:cubicBezTo>
                        <a:pt x="1044855" y="452041"/>
                        <a:pt x="1105180" y="380074"/>
                        <a:pt x="1169738" y="299641"/>
                      </a:cubicBezTo>
                      <a:cubicBezTo>
                        <a:pt x="1234296" y="219208"/>
                        <a:pt x="1299913" y="171583"/>
                        <a:pt x="1360238" y="140891"/>
                      </a:cubicBezTo>
                      <a:cubicBezTo>
                        <a:pt x="1420563" y="110199"/>
                        <a:pt x="1478771" y="136658"/>
                        <a:pt x="1531688" y="115491"/>
                      </a:cubicBezTo>
                      <a:cubicBezTo>
                        <a:pt x="1584605" y="94324"/>
                        <a:pt x="1605771" y="32941"/>
                        <a:pt x="1677738" y="13891"/>
                      </a:cubicBezTo>
                      <a:cubicBezTo>
                        <a:pt x="1713722" y="4366"/>
                        <a:pt x="1763728" y="926"/>
                        <a:pt x="181466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578">
                    <a:defRPr/>
                  </a:pPr>
                  <a:endParaRPr lang="en-US" sz="1797" kern="0" dirty="0">
                    <a:solidFill>
                      <a:srgbClr val="FFFFFF"/>
                    </a:solidFill>
                    <a:latin typeface="Segoe UI"/>
                  </a:endParaRPr>
                </a:p>
              </p:txBody>
            </p:sp>
          </p:grpSp>
          <p:sp>
            <p:nvSpPr>
              <p:cNvPr id="633" name="TextBox 632">
                <a:extLst>
                  <a:ext uri="{FF2B5EF4-FFF2-40B4-BE49-F238E27FC236}">
                    <a16:creationId xmlns:a16="http://schemas.microsoft.com/office/drawing/2014/main" id="{217F686E-43F3-4DC9-915A-68506711F69C}"/>
                  </a:ext>
                </a:extLst>
              </p:cNvPr>
              <p:cNvSpPr txBox="1"/>
              <p:nvPr/>
            </p:nvSpPr>
            <p:spPr>
              <a:xfrm>
                <a:off x="8938551" y="2633132"/>
                <a:ext cx="1137916" cy="463893"/>
              </a:xfrm>
              <a:prstGeom prst="rect">
                <a:avLst/>
              </a:prstGeom>
            </p:spPr>
            <p:txBody>
              <a:bodyPr vert="horz" wrap="none" lIns="0" tIns="0" rIns="0" bIns="0" rtlCol="0" anchor="t">
                <a:spAutoFit/>
              </a:bodyPr>
              <a:lstStyle>
                <a:defPPr>
                  <a:defRPr lang="en-US"/>
                </a:defPPr>
                <a:lvl1pPr algn="ctr" defTabSz="1088105">
                  <a:defRPr sz="1200">
                    <a:solidFill>
                      <a:srgbClr val="505050"/>
                    </a:solidFill>
                    <a:ea typeface="Segoe UI" pitchFamily="34" charset="0"/>
                    <a:cs typeface="Segoe UI" pitchFamily="34" charset="0"/>
                  </a:defRPr>
                </a:lvl1pPr>
              </a:lstStyle>
              <a:p>
                <a:pPr defTabSz="1087779">
                  <a:defRPr/>
                </a:pPr>
                <a:r>
                  <a:rPr lang="en-US" kern="0" dirty="0">
                    <a:latin typeface="Segoe UI Semibold" panose="020B0702040204020203" pitchFamily="34" charset="0"/>
                    <a:cs typeface="Segoe UI Semibold" panose="020B0702040204020203" pitchFamily="34" charset="0"/>
                  </a:rPr>
                  <a:t>Product </a:t>
                </a:r>
                <a:br>
                  <a:rPr lang="en-US" kern="0" dirty="0">
                    <a:latin typeface="Segoe UI Semibold" panose="020B0702040204020203" pitchFamily="34" charset="0"/>
                    <a:cs typeface="Segoe UI Semibold" panose="020B0702040204020203" pitchFamily="34" charset="0"/>
                  </a:rPr>
                </a:br>
                <a:r>
                  <a:rPr lang="en-US" kern="0" dirty="0">
                    <a:latin typeface="Segoe UI Semibold" panose="020B0702040204020203" pitchFamily="34" charset="0"/>
                    <a:cs typeface="Segoe UI Semibold" panose="020B0702040204020203" pitchFamily="34" charset="0"/>
                  </a:rPr>
                  <a:t>Development</a:t>
                </a:r>
              </a:p>
            </p:txBody>
          </p:sp>
        </p:grpSp>
        <p:grpSp>
          <p:nvGrpSpPr>
            <p:cNvPr id="643" name="Group 642">
              <a:extLst>
                <a:ext uri="{FF2B5EF4-FFF2-40B4-BE49-F238E27FC236}">
                  <a16:creationId xmlns:a16="http://schemas.microsoft.com/office/drawing/2014/main" id="{A7F5B911-F986-49B2-B253-4DF00C773DAC}"/>
                </a:ext>
              </a:extLst>
            </p:cNvPr>
            <p:cNvGrpSpPr/>
            <p:nvPr/>
          </p:nvGrpSpPr>
          <p:grpSpPr>
            <a:xfrm>
              <a:off x="10187329" y="1653109"/>
              <a:ext cx="718658" cy="678617"/>
              <a:chOff x="1053588" y="4035082"/>
              <a:chExt cx="718658" cy="678617"/>
            </a:xfrm>
          </p:grpSpPr>
          <p:sp>
            <p:nvSpPr>
              <p:cNvPr id="644" name="TextBox 643">
                <a:extLst>
                  <a:ext uri="{FF2B5EF4-FFF2-40B4-BE49-F238E27FC236}">
                    <a16:creationId xmlns:a16="http://schemas.microsoft.com/office/drawing/2014/main" id="{5A9E2CB9-6604-4D44-AF95-716124A90ECF}"/>
                  </a:ext>
                </a:extLst>
              </p:cNvPr>
              <p:cNvSpPr txBox="1"/>
              <p:nvPr/>
            </p:nvSpPr>
            <p:spPr>
              <a:xfrm>
                <a:off x="1053588" y="4344367"/>
                <a:ext cx="718658" cy="369332"/>
              </a:xfrm>
              <a:prstGeom prst="rect">
                <a:avLst/>
              </a:prstGeom>
            </p:spPr>
            <p:txBody>
              <a:bodyPr vert="horz" wrap="none" lIns="0" tIns="0" rIns="0" bIns="0" rtlCol="0" anchor="t">
                <a:spAutoFit/>
              </a:bodyPr>
              <a:lstStyle>
                <a:defPPr>
                  <a:defRPr lang="en-US"/>
                </a:defPPr>
                <a:lvl1pPr algn="ctr" defTabSz="1088105">
                  <a:defRPr sz="1200">
                    <a:solidFill>
                      <a:srgbClr val="505050"/>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dirty="0"/>
                  <a:t>Sales &amp; </a:t>
                </a:r>
                <a:br>
                  <a:rPr lang="en-US" dirty="0"/>
                </a:br>
                <a:r>
                  <a:rPr lang="en-US" dirty="0"/>
                  <a:t>Marketing</a:t>
                </a:r>
              </a:p>
            </p:txBody>
          </p:sp>
          <p:grpSp>
            <p:nvGrpSpPr>
              <p:cNvPr id="645" name="Group 644">
                <a:extLst>
                  <a:ext uri="{FF2B5EF4-FFF2-40B4-BE49-F238E27FC236}">
                    <a16:creationId xmlns:a16="http://schemas.microsoft.com/office/drawing/2014/main" id="{4E11AA82-6C51-41B6-A0BD-B7E74063FC07}"/>
                  </a:ext>
                </a:extLst>
              </p:cNvPr>
              <p:cNvGrpSpPr>
                <a:grpSpLocks noChangeAspect="1"/>
              </p:cNvGrpSpPr>
              <p:nvPr/>
            </p:nvGrpSpPr>
            <p:grpSpPr>
              <a:xfrm>
                <a:off x="1117207" y="4035082"/>
                <a:ext cx="504247" cy="247157"/>
                <a:chOff x="335107" y="1984056"/>
                <a:chExt cx="8623119" cy="4119564"/>
              </a:xfrm>
              <a:solidFill>
                <a:srgbClr val="7F7F7F"/>
              </a:solidFill>
            </p:grpSpPr>
            <p:sp>
              <p:nvSpPr>
                <p:cNvPr id="646" name="Freeform 485">
                  <a:extLst>
                    <a:ext uri="{FF2B5EF4-FFF2-40B4-BE49-F238E27FC236}">
                      <a16:creationId xmlns:a16="http://schemas.microsoft.com/office/drawing/2014/main" id="{F083FD05-2BAB-493F-94D6-86C2117210C3}"/>
                    </a:ext>
                  </a:extLst>
                </p:cNvPr>
                <p:cNvSpPr/>
                <p:nvPr/>
              </p:nvSpPr>
              <p:spPr>
                <a:xfrm>
                  <a:off x="5423935" y="2187537"/>
                  <a:ext cx="1275676" cy="3054785"/>
                </a:xfrm>
                <a:custGeom>
                  <a:avLst/>
                  <a:gdLst/>
                  <a:ahLst/>
                  <a:cxnLst/>
                  <a:rect l="l" t="t" r="r" b="b"/>
                  <a:pathLst>
                    <a:path w="1275676" h="3054785">
                      <a:moveTo>
                        <a:pt x="909893" y="2571265"/>
                      </a:moveTo>
                      <a:cubicBezTo>
                        <a:pt x="927578" y="2591556"/>
                        <a:pt x="943146" y="2624131"/>
                        <a:pt x="953053" y="2679738"/>
                      </a:cubicBezTo>
                      <a:cubicBezTo>
                        <a:pt x="966614" y="2755857"/>
                        <a:pt x="1015135" y="2902136"/>
                        <a:pt x="1032104" y="3045768"/>
                      </a:cubicBezTo>
                      <a:lnTo>
                        <a:pt x="926033" y="3054785"/>
                      </a:lnTo>
                      <a:lnTo>
                        <a:pt x="843515" y="2994064"/>
                      </a:lnTo>
                      <a:lnTo>
                        <a:pt x="791128" y="2951202"/>
                      </a:lnTo>
                      <a:lnTo>
                        <a:pt x="789242" y="2950511"/>
                      </a:lnTo>
                      <a:cubicBezTo>
                        <a:pt x="821800" y="2828680"/>
                        <a:pt x="864407" y="2700040"/>
                        <a:pt x="909893" y="2571265"/>
                      </a:cubicBezTo>
                      <a:close/>
                      <a:moveTo>
                        <a:pt x="810922" y="2515507"/>
                      </a:moveTo>
                      <a:cubicBezTo>
                        <a:pt x="813163" y="2515338"/>
                        <a:pt x="815461" y="2515417"/>
                        <a:pt x="817564" y="2517542"/>
                      </a:cubicBezTo>
                      <a:cubicBezTo>
                        <a:pt x="792015" y="2589329"/>
                        <a:pt x="769100" y="2660102"/>
                        <a:pt x="749052" y="2731145"/>
                      </a:cubicBezTo>
                      <a:cubicBezTo>
                        <a:pt x="728674" y="2665687"/>
                        <a:pt x="718117" y="2603286"/>
                        <a:pt x="714164" y="2542305"/>
                      </a:cubicBezTo>
                      <a:cubicBezTo>
                        <a:pt x="724867" y="2542383"/>
                        <a:pt x="734802" y="2542128"/>
                        <a:pt x="743503" y="2541626"/>
                      </a:cubicBezTo>
                      <a:cubicBezTo>
                        <a:pt x="774459" y="2539840"/>
                        <a:pt x="790235" y="2517070"/>
                        <a:pt x="810922" y="2515507"/>
                      </a:cubicBezTo>
                      <a:close/>
                      <a:moveTo>
                        <a:pt x="396204" y="2451912"/>
                      </a:moveTo>
                      <a:cubicBezTo>
                        <a:pt x="411647" y="2483872"/>
                        <a:pt x="433855" y="2503483"/>
                        <a:pt x="462515" y="2517813"/>
                      </a:cubicBezTo>
                      <a:cubicBezTo>
                        <a:pt x="495852" y="2534482"/>
                        <a:pt x="539509" y="2532894"/>
                        <a:pt x="586340" y="2536863"/>
                      </a:cubicBezTo>
                      <a:cubicBezTo>
                        <a:pt x="606520" y="2538574"/>
                        <a:pt x="630828" y="2540136"/>
                        <a:pt x="655265" y="2541066"/>
                      </a:cubicBezTo>
                      <a:cubicBezTo>
                        <a:pt x="657458" y="2571620"/>
                        <a:pt x="660070" y="2600527"/>
                        <a:pt x="663066" y="2624898"/>
                      </a:cubicBezTo>
                      <a:cubicBezTo>
                        <a:pt x="668463" y="2668822"/>
                        <a:pt x="677606" y="2707999"/>
                        <a:pt x="686242" y="2744162"/>
                      </a:cubicBezTo>
                      <a:cubicBezTo>
                        <a:pt x="632838" y="2717984"/>
                        <a:pt x="514903" y="2670213"/>
                        <a:pt x="514903" y="2670213"/>
                      </a:cubicBezTo>
                      <a:lnTo>
                        <a:pt x="333928" y="2589251"/>
                      </a:lnTo>
                      <a:lnTo>
                        <a:pt x="323202" y="2584990"/>
                      </a:lnTo>
                      <a:lnTo>
                        <a:pt x="327453" y="2567034"/>
                      </a:lnTo>
                      <a:cubicBezTo>
                        <a:pt x="340667" y="2528713"/>
                        <a:pt x="369951" y="2489259"/>
                        <a:pt x="396204" y="2451912"/>
                      </a:cubicBezTo>
                      <a:close/>
                      <a:moveTo>
                        <a:pt x="356384" y="1755197"/>
                      </a:moveTo>
                      <a:lnTo>
                        <a:pt x="361013" y="1949619"/>
                      </a:lnTo>
                      <a:cubicBezTo>
                        <a:pt x="293278" y="2065222"/>
                        <a:pt x="276288" y="2307687"/>
                        <a:pt x="265731" y="2563792"/>
                      </a:cubicBezTo>
                      <a:cubicBezTo>
                        <a:pt x="245616" y="2556203"/>
                        <a:pt x="227467" y="2546676"/>
                        <a:pt x="210103" y="2527338"/>
                      </a:cubicBezTo>
                      <a:cubicBezTo>
                        <a:pt x="175178" y="2488444"/>
                        <a:pt x="152159" y="2401925"/>
                        <a:pt x="124378" y="2355888"/>
                      </a:cubicBezTo>
                      <a:cubicBezTo>
                        <a:pt x="96597" y="2309851"/>
                        <a:pt x="64052" y="2271750"/>
                        <a:pt x="43415" y="2251113"/>
                      </a:cubicBezTo>
                      <a:cubicBezTo>
                        <a:pt x="22778" y="2230476"/>
                        <a:pt x="-4209" y="2253494"/>
                        <a:pt x="553" y="2232063"/>
                      </a:cubicBezTo>
                      <a:cubicBezTo>
                        <a:pt x="5315" y="2210632"/>
                        <a:pt x="48177" y="2180470"/>
                        <a:pt x="71990" y="2122526"/>
                      </a:cubicBezTo>
                      <a:cubicBezTo>
                        <a:pt x="90351" y="2077850"/>
                        <a:pt x="107767" y="1994009"/>
                        <a:pt x="126665" y="1932199"/>
                      </a:cubicBezTo>
                      <a:lnTo>
                        <a:pt x="273061" y="1880184"/>
                      </a:lnTo>
                      <a:cubicBezTo>
                        <a:pt x="305463" y="1861666"/>
                        <a:pt x="310089" y="1787599"/>
                        <a:pt x="356384" y="1755197"/>
                      </a:cubicBezTo>
                      <a:close/>
                      <a:moveTo>
                        <a:pt x="537693" y="744"/>
                      </a:moveTo>
                      <a:cubicBezTo>
                        <a:pt x="581411" y="-1830"/>
                        <a:pt x="633485" y="2027"/>
                        <a:pt x="695853" y="16174"/>
                      </a:cubicBezTo>
                      <a:cubicBezTo>
                        <a:pt x="758217" y="30318"/>
                        <a:pt x="852732" y="64395"/>
                        <a:pt x="911876" y="85609"/>
                      </a:cubicBezTo>
                      <a:cubicBezTo>
                        <a:pt x="971031" y="106829"/>
                        <a:pt x="1018605" y="128046"/>
                        <a:pt x="1050752" y="143477"/>
                      </a:cubicBezTo>
                      <a:cubicBezTo>
                        <a:pt x="1082899" y="158907"/>
                        <a:pt x="1079686" y="149264"/>
                        <a:pt x="1104760" y="178194"/>
                      </a:cubicBezTo>
                      <a:cubicBezTo>
                        <a:pt x="1129837" y="207128"/>
                        <a:pt x="1173554" y="261132"/>
                        <a:pt x="1201202" y="317070"/>
                      </a:cubicBezTo>
                      <a:cubicBezTo>
                        <a:pt x="1228849" y="373008"/>
                        <a:pt x="1259066" y="453372"/>
                        <a:pt x="1270636" y="513810"/>
                      </a:cubicBezTo>
                      <a:cubicBezTo>
                        <a:pt x="1275863" y="541109"/>
                        <a:pt x="1276368" y="577588"/>
                        <a:pt x="1275078" y="609376"/>
                      </a:cubicBezTo>
                      <a:cubicBezTo>
                        <a:pt x="1207919" y="610739"/>
                        <a:pt x="1256062" y="594379"/>
                        <a:pt x="1219753" y="593763"/>
                      </a:cubicBezTo>
                      <a:cubicBezTo>
                        <a:pt x="1172922" y="592969"/>
                        <a:pt x="1123709" y="585032"/>
                        <a:pt x="1086403" y="598526"/>
                      </a:cubicBezTo>
                      <a:cubicBezTo>
                        <a:pt x="1049097" y="612020"/>
                        <a:pt x="1027665" y="660439"/>
                        <a:pt x="995915" y="674726"/>
                      </a:cubicBezTo>
                      <a:cubicBezTo>
                        <a:pt x="964165" y="689014"/>
                        <a:pt x="933209" y="669964"/>
                        <a:pt x="895903" y="684251"/>
                      </a:cubicBezTo>
                      <a:cubicBezTo>
                        <a:pt x="858597" y="698539"/>
                        <a:pt x="813353" y="722351"/>
                        <a:pt x="772078" y="760451"/>
                      </a:cubicBezTo>
                      <a:cubicBezTo>
                        <a:pt x="730803" y="798551"/>
                        <a:pt x="685559" y="851732"/>
                        <a:pt x="648253" y="912851"/>
                      </a:cubicBezTo>
                      <a:cubicBezTo>
                        <a:pt x="610947" y="973970"/>
                        <a:pt x="579196" y="1048582"/>
                        <a:pt x="548240" y="1127163"/>
                      </a:cubicBezTo>
                      <a:cubicBezTo>
                        <a:pt x="517284" y="1205744"/>
                        <a:pt x="486327" y="1295438"/>
                        <a:pt x="462515" y="1384338"/>
                      </a:cubicBezTo>
                      <a:cubicBezTo>
                        <a:pt x="438702" y="1473238"/>
                        <a:pt x="418065" y="1592300"/>
                        <a:pt x="405365" y="1660563"/>
                      </a:cubicBezTo>
                      <a:cubicBezTo>
                        <a:pt x="401622" y="1680683"/>
                        <a:pt x="398982" y="1695769"/>
                        <a:pt x="397031" y="1708455"/>
                      </a:cubicBezTo>
                      <a:lnTo>
                        <a:pt x="379531" y="1681708"/>
                      </a:lnTo>
                      <a:cubicBezTo>
                        <a:pt x="365064" y="1654708"/>
                        <a:pt x="382424" y="1649399"/>
                        <a:pt x="362170" y="1615163"/>
                      </a:cubicBezTo>
                      <a:cubicBezTo>
                        <a:pt x="346337" y="1588394"/>
                        <a:pt x="308388" y="1553075"/>
                        <a:pt x="279806" y="1511723"/>
                      </a:cubicBezTo>
                      <a:cubicBezTo>
                        <a:pt x="283185" y="1487626"/>
                        <a:pt x="285447" y="1466602"/>
                        <a:pt x="286303" y="1451013"/>
                      </a:cubicBezTo>
                      <a:cubicBezTo>
                        <a:pt x="290272" y="1378782"/>
                        <a:pt x="259315" y="1385926"/>
                        <a:pt x="248203" y="1351001"/>
                      </a:cubicBezTo>
                      <a:cubicBezTo>
                        <a:pt x="237090" y="1316076"/>
                        <a:pt x="217247" y="1279563"/>
                        <a:pt x="219628" y="1241463"/>
                      </a:cubicBezTo>
                      <a:cubicBezTo>
                        <a:pt x="222009" y="1203363"/>
                        <a:pt x="252171" y="1173995"/>
                        <a:pt x="262490" y="1122401"/>
                      </a:cubicBezTo>
                      <a:cubicBezTo>
                        <a:pt x="272809" y="1070807"/>
                        <a:pt x="281540" y="992226"/>
                        <a:pt x="281540" y="931901"/>
                      </a:cubicBezTo>
                      <a:cubicBezTo>
                        <a:pt x="281540" y="871576"/>
                        <a:pt x="281540" y="816807"/>
                        <a:pt x="262490" y="760451"/>
                      </a:cubicBezTo>
                      <a:cubicBezTo>
                        <a:pt x="251559" y="728114"/>
                        <a:pt x="235402" y="693947"/>
                        <a:pt x="214848" y="662136"/>
                      </a:cubicBezTo>
                      <a:lnTo>
                        <a:pt x="267253" y="612813"/>
                      </a:lnTo>
                      <a:lnTo>
                        <a:pt x="500615" y="488988"/>
                      </a:lnTo>
                      <a:lnTo>
                        <a:pt x="786365" y="479463"/>
                      </a:lnTo>
                      <a:lnTo>
                        <a:pt x="486328" y="446126"/>
                      </a:lnTo>
                      <a:lnTo>
                        <a:pt x="286303" y="531851"/>
                      </a:lnTo>
                      <a:lnTo>
                        <a:pt x="188793" y="624717"/>
                      </a:lnTo>
                      <a:cubicBezTo>
                        <a:pt x="183072" y="613128"/>
                        <a:pt x="175276" y="603190"/>
                        <a:pt x="167240" y="593763"/>
                      </a:cubicBezTo>
                      <a:cubicBezTo>
                        <a:pt x="128567" y="548397"/>
                        <a:pt x="168636" y="489094"/>
                        <a:pt x="42501" y="473501"/>
                      </a:cubicBezTo>
                      <a:cubicBezTo>
                        <a:pt x="46825" y="429492"/>
                        <a:pt x="64428" y="405518"/>
                        <a:pt x="82492" y="363364"/>
                      </a:cubicBezTo>
                      <a:cubicBezTo>
                        <a:pt x="103709" y="313853"/>
                        <a:pt x="135213" y="245058"/>
                        <a:pt x="167360" y="201341"/>
                      </a:cubicBezTo>
                      <a:cubicBezTo>
                        <a:pt x="199507" y="157620"/>
                        <a:pt x="231011" y="129333"/>
                        <a:pt x="275376" y="101043"/>
                      </a:cubicBezTo>
                      <a:cubicBezTo>
                        <a:pt x="319733" y="72752"/>
                        <a:pt x="389818" y="48322"/>
                        <a:pt x="433535" y="31608"/>
                      </a:cubicBezTo>
                      <a:cubicBezTo>
                        <a:pt x="477256" y="14888"/>
                        <a:pt x="493969" y="3314"/>
                        <a:pt x="537693" y="74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2">
                    <a:defRPr/>
                  </a:pPr>
                  <a:endParaRPr lang="en-US" sz="1798">
                    <a:solidFill>
                      <a:prstClr val="white"/>
                    </a:solidFill>
                    <a:latin typeface="Segoe UI"/>
                  </a:endParaRPr>
                </a:p>
              </p:txBody>
            </p:sp>
            <p:sp>
              <p:nvSpPr>
                <p:cNvPr id="647" name="Man's Body">
                  <a:extLst>
                    <a:ext uri="{FF2B5EF4-FFF2-40B4-BE49-F238E27FC236}">
                      <a16:creationId xmlns:a16="http://schemas.microsoft.com/office/drawing/2014/main" id="{7AD8FE08-1B37-4B36-88E7-C9E46628FA32}"/>
                    </a:ext>
                  </a:extLst>
                </p:cNvPr>
                <p:cNvSpPr>
                  <a:spLocks/>
                </p:cNvSpPr>
                <p:nvPr/>
              </p:nvSpPr>
              <p:spPr bwMode="auto">
                <a:xfrm>
                  <a:off x="4286421" y="1984056"/>
                  <a:ext cx="1109019" cy="638618"/>
                </a:xfrm>
                <a:custGeom>
                  <a:avLst/>
                  <a:gdLst/>
                  <a:ahLst/>
                  <a:cxnLst/>
                  <a:rect l="l" t="t" r="r" b="b"/>
                  <a:pathLst>
                    <a:path w="1109019" h="638618">
                      <a:moveTo>
                        <a:pt x="527057" y="506"/>
                      </a:moveTo>
                      <a:cubicBezTo>
                        <a:pt x="648121" y="6732"/>
                        <a:pt x="780445" y="70158"/>
                        <a:pt x="889294" y="181665"/>
                      </a:cubicBezTo>
                      <a:cubicBezTo>
                        <a:pt x="1063451" y="360077"/>
                        <a:pt x="1112509" y="452740"/>
                        <a:pt x="1108830" y="488699"/>
                      </a:cubicBezTo>
                      <a:cubicBezTo>
                        <a:pt x="1105150" y="523275"/>
                        <a:pt x="1069584" y="571681"/>
                        <a:pt x="1038921" y="564767"/>
                      </a:cubicBezTo>
                      <a:cubicBezTo>
                        <a:pt x="1007034" y="557851"/>
                        <a:pt x="1003354" y="527424"/>
                        <a:pt x="986183" y="510828"/>
                      </a:cubicBezTo>
                      <a:cubicBezTo>
                        <a:pt x="782591" y="317203"/>
                        <a:pt x="618246" y="347629"/>
                        <a:pt x="550790" y="371142"/>
                      </a:cubicBezTo>
                      <a:cubicBezTo>
                        <a:pt x="760068" y="390992"/>
                        <a:pt x="912422" y="533945"/>
                        <a:pt x="972020" y="608911"/>
                      </a:cubicBezTo>
                      <a:cubicBezTo>
                        <a:pt x="891545" y="581606"/>
                        <a:pt x="869616" y="586916"/>
                        <a:pt x="814218" y="578169"/>
                      </a:cubicBezTo>
                      <a:cubicBezTo>
                        <a:pt x="753893" y="568644"/>
                        <a:pt x="686424" y="559913"/>
                        <a:pt x="633243" y="559119"/>
                      </a:cubicBezTo>
                      <a:cubicBezTo>
                        <a:pt x="580062" y="558325"/>
                        <a:pt x="534818" y="561501"/>
                        <a:pt x="495131" y="573407"/>
                      </a:cubicBezTo>
                      <a:cubicBezTo>
                        <a:pt x="455444" y="585313"/>
                        <a:pt x="430837" y="621032"/>
                        <a:pt x="395118" y="630557"/>
                      </a:cubicBezTo>
                      <a:cubicBezTo>
                        <a:pt x="359399" y="640082"/>
                        <a:pt x="312568" y="642463"/>
                        <a:pt x="280818" y="630557"/>
                      </a:cubicBezTo>
                      <a:cubicBezTo>
                        <a:pt x="249068" y="618651"/>
                        <a:pt x="230812" y="588488"/>
                        <a:pt x="204618" y="559119"/>
                      </a:cubicBezTo>
                      <a:cubicBezTo>
                        <a:pt x="178424" y="529750"/>
                        <a:pt x="156200" y="486888"/>
                        <a:pt x="123656" y="454344"/>
                      </a:cubicBezTo>
                      <a:cubicBezTo>
                        <a:pt x="91112" y="421800"/>
                        <a:pt x="52218" y="394019"/>
                        <a:pt x="9356" y="363857"/>
                      </a:cubicBezTo>
                      <a:cubicBezTo>
                        <a:pt x="6109" y="361572"/>
                        <a:pt x="2861" y="359100"/>
                        <a:pt x="0" y="355996"/>
                      </a:cubicBezTo>
                      <a:cubicBezTo>
                        <a:pt x="20998" y="211335"/>
                        <a:pt x="96747" y="42345"/>
                        <a:pt x="328801" y="53043"/>
                      </a:cubicBezTo>
                      <a:cubicBezTo>
                        <a:pt x="385831" y="13626"/>
                        <a:pt x="454418" y="-3230"/>
                        <a:pt x="527057" y="50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70" tIns="54836" rIns="109670" bIns="54836" numCol="1" rtlCol="0" anchor="ctr" anchorCtr="0" compatLnSpc="1">
                  <a:prstTxWarp prst="textNoShape">
                    <a:avLst/>
                  </a:prstTxWarp>
                </a:bodyPr>
                <a:lstStyle/>
                <a:p>
                  <a:pPr algn="ctr" defTabSz="1096261" fontAlgn="base">
                    <a:lnSpc>
                      <a:spcPct val="70000"/>
                    </a:lnSpc>
                    <a:spcBef>
                      <a:spcPct val="0"/>
                    </a:spcBef>
                    <a:spcAft>
                      <a:spcPct val="0"/>
                    </a:spcAft>
                    <a:defRPr/>
                  </a:pPr>
                  <a:endParaRPr lang="en-US" sz="2798">
                    <a:solidFill>
                      <a:srgbClr val="FFFFFF"/>
                    </a:solidFill>
                    <a:effectLst>
                      <a:outerShdw blurRad="38100" dist="38100" dir="2700000" algn="tl">
                        <a:srgbClr val="000000">
                          <a:alpha val="43137"/>
                        </a:srgbClr>
                      </a:outerShdw>
                    </a:effectLst>
                    <a:latin typeface="Segoe UI"/>
                  </a:endParaRPr>
                </a:p>
              </p:txBody>
            </p:sp>
            <p:sp>
              <p:nvSpPr>
                <p:cNvPr id="648" name="Man's Body">
                  <a:extLst>
                    <a:ext uri="{FF2B5EF4-FFF2-40B4-BE49-F238E27FC236}">
                      <a16:creationId xmlns:a16="http://schemas.microsoft.com/office/drawing/2014/main" id="{2F1B2486-C8D3-4E25-A6B2-32E750AFB89E}"/>
                    </a:ext>
                  </a:extLst>
                </p:cNvPr>
                <p:cNvSpPr>
                  <a:spLocks/>
                </p:cNvSpPr>
                <p:nvPr/>
              </p:nvSpPr>
              <p:spPr bwMode="auto">
                <a:xfrm>
                  <a:off x="1933544" y="2281603"/>
                  <a:ext cx="1087125" cy="2339128"/>
                </a:xfrm>
                <a:custGeom>
                  <a:avLst/>
                  <a:gdLst/>
                  <a:ahLst/>
                  <a:cxnLst/>
                  <a:rect l="l" t="t" r="r" b="b"/>
                  <a:pathLst>
                    <a:path w="1087125" h="2339128">
                      <a:moveTo>
                        <a:pt x="148114" y="1900284"/>
                      </a:moveTo>
                      <a:cubicBezTo>
                        <a:pt x="220874" y="1957568"/>
                        <a:pt x="348888" y="2049369"/>
                        <a:pt x="516243" y="2068258"/>
                      </a:cubicBezTo>
                      <a:lnTo>
                        <a:pt x="495331" y="2090372"/>
                      </a:lnTo>
                      <a:cubicBezTo>
                        <a:pt x="449294" y="2138791"/>
                        <a:pt x="388175" y="2211022"/>
                        <a:pt x="338169" y="2252297"/>
                      </a:cubicBezTo>
                      <a:cubicBezTo>
                        <a:pt x="288163" y="2293572"/>
                        <a:pt x="225456" y="2347547"/>
                        <a:pt x="195294" y="2338022"/>
                      </a:cubicBezTo>
                      <a:cubicBezTo>
                        <a:pt x="165132" y="2328497"/>
                        <a:pt x="175450" y="2234834"/>
                        <a:pt x="157194" y="2195147"/>
                      </a:cubicBezTo>
                      <a:cubicBezTo>
                        <a:pt x="138938" y="2155460"/>
                        <a:pt x="111950" y="2112597"/>
                        <a:pt x="85756" y="2099897"/>
                      </a:cubicBezTo>
                      <a:cubicBezTo>
                        <a:pt x="59562" y="2087197"/>
                        <a:pt x="-1556" y="2133234"/>
                        <a:pt x="31" y="2118947"/>
                      </a:cubicBezTo>
                      <a:cubicBezTo>
                        <a:pt x="1618" y="2104660"/>
                        <a:pt x="65912" y="2063384"/>
                        <a:pt x="95281" y="2014172"/>
                      </a:cubicBezTo>
                      <a:cubicBezTo>
                        <a:pt x="112544" y="1985245"/>
                        <a:pt x="132002" y="1941507"/>
                        <a:pt x="148114" y="1900284"/>
                      </a:cubicBezTo>
                      <a:close/>
                      <a:moveTo>
                        <a:pt x="300366" y="1598710"/>
                      </a:moveTo>
                      <a:cubicBezTo>
                        <a:pt x="322928" y="1593356"/>
                        <a:pt x="499132" y="1755026"/>
                        <a:pt x="596386" y="1777949"/>
                      </a:cubicBezTo>
                      <a:lnTo>
                        <a:pt x="614394" y="1795097"/>
                      </a:lnTo>
                      <a:cubicBezTo>
                        <a:pt x="638206" y="1830816"/>
                        <a:pt x="647731" y="1881616"/>
                        <a:pt x="647731" y="1909397"/>
                      </a:cubicBezTo>
                      <a:cubicBezTo>
                        <a:pt x="647731" y="1937178"/>
                        <a:pt x="639794" y="1931622"/>
                        <a:pt x="614394" y="1961785"/>
                      </a:cubicBezTo>
                      <a:cubicBezTo>
                        <a:pt x="607207" y="1970320"/>
                        <a:pt x="598240" y="1980444"/>
                        <a:pt x="588003" y="1991644"/>
                      </a:cubicBezTo>
                      <a:cubicBezTo>
                        <a:pt x="401521" y="1979273"/>
                        <a:pt x="213522" y="1820684"/>
                        <a:pt x="209777" y="1788323"/>
                      </a:cubicBezTo>
                      <a:cubicBezTo>
                        <a:pt x="205894" y="1753317"/>
                        <a:pt x="274484" y="1603086"/>
                        <a:pt x="300366" y="1598710"/>
                      </a:cubicBezTo>
                      <a:close/>
                      <a:moveTo>
                        <a:pt x="594957" y="534"/>
                      </a:moveTo>
                      <a:cubicBezTo>
                        <a:pt x="722687" y="7103"/>
                        <a:pt x="862297" y="74022"/>
                        <a:pt x="977139" y="191669"/>
                      </a:cubicBezTo>
                      <a:cubicBezTo>
                        <a:pt x="1021009" y="236610"/>
                        <a:pt x="1057355" y="276395"/>
                        <a:pt x="1087125" y="311518"/>
                      </a:cubicBezTo>
                      <a:cubicBezTo>
                        <a:pt x="1049367" y="328933"/>
                        <a:pt x="1022410" y="352709"/>
                        <a:pt x="981106" y="366347"/>
                      </a:cubicBezTo>
                      <a:cubicBezTo>
                        <a:pt x="944893" y="378304"/>
                        <a:pt x="910738" y="390997"/>
                        <a:pt x="878907" y="405059"/>
                      </a:cubicBezTo>
                      <a:cubicBezTo>
                        <a:pt x="759679" y="355398"/>
                        <a:pt x="667278" y="375098"/>
                        <a:pt x="619996" y="391578"/>
                      </a:cubicBezTo>
                      <a:cubicBezTo>
                        <a:pt x="686882" y="397922"/>
                        <a:pt x="748256" y="416185"/>
                        <a:pt x="802895" y="441165"/>
                      </a:cubicBezTo>
                      <a:lnTo>
                        <a:pt x="762031" y="461597"/>
                      </a:lnTo>
                      <a:cubicBezTo>
                        <a:pt x="700119" y="497316"/>
                        <a:pt x="650112" y="528273"/>
                        <a:pt x="609631" y="580660"/>
                      </a:cubicBezTo>
                      <a:cubicBezTo>
                        <a:pt x="569150" y="633047"/>
                        <a:pt x="541369" y="702897"/>
                        <a:pt x="519144" y="775922"/>
                      </a:cubicBezTo>
                      <a:cubicBezTo>
                        <a:pt x="496919" y="848947"/>
                        <a:pt x="482631" y="944991"/>
                        <a:pt x="476281" y="1018810"/>
                      </a:cubicBezTo>
                      <a:cubicBezTo>
                        <a:pt x="469931" y="1092629"/>
                        <a:pt x="479457" y="1144223"/>
                        <a:pt x="481044" y="1218835"/>
                      </a:cubicBezTo>
                      <a:cubicBezTo>
                        <a:pt x="482631" y="1293447"/>
                        <a:pt x="481837" y="1387110"/>
                        <a:pt x="485806" y="1466485"/>
                      </a:cubicBezTo>
                      <a:cubicBezTo>
                        <a:pt x="488264" y="1515644"/>
                        <a:pt x="486764" y="1570588"/>
                        <a:pt x="491052" y="1618253"/>
                      </a:cubicBezTo>
                      <a:cubicBezTo>
                        <a:pt x="410332" y="1566195"/>
                        <a:pt x="328150" y="1493901"/>
                        <a:pt x="318496" y="1475757"/>
                      </a:cubicBezTo>
                      <a:cubicBezTo>
                        <a:pt x="315899" y="1471251"/>
                        <a:pt x="311051" y="1464346"/>
                        <a:pt x="304709" y="1455294"/>
                      </a:cubicBezTo>
                      <a:cubicBezTo>
                        <a:pt x="315763" y="1411159"/>
                        <a:pt x="324775" y="1369039"/>
                        <a:pt x="328644" y="1342660"/>
                      </a:cubicBezTo>
                      <a:cubicBezTo>
                        <a:pt x="337375" y="1283129"/>
                        <a:pt x="327056" y="1275191"/>
                        <a:pt x="314356" y="1247410"/>
                      </a:cubicBezTo>
                      <a:cubicBezTo>
                        <a:pt x="301656" y="1219629"/>
                        <a:pt x="261969" y="1202959"/>
                        <a:pt x="252444" y="1175972"/>
                      </a:cubicBezTo>
                      <a:cubicBezTo>
                        <a:pt x="242919" y="1148985"/>
                        <a:pt x="260381" y="1112473"/>
                        <a:pt x="257206" y="1085485"/>
                      </a:cubicBezTo>
                      <a:cubicBezTo>
                        <a:pt x="254031" y="1058497"/>
                        <a:pt x="224663" y="1025953"/>
                        <a:pt x="233394" y="1014047"/>
                      </a:cubicBezTo>
                      <a:cubicBezTo>
                        <a:pt x="242125" y="1002141"/>
                        <a:pt x="284194" y="1028334"/>
                        <a:pt x="309594" y="1014047"/>
                      </a:cubicBezTo>
                      <a:cubicBezTo>
                        <a:pt x="334994" y="999760"/>
                        <a:pt x="373888" y="964834"/>
                        <a:pt x="385794" y="928322"/>
                      </a:cubicBezTo>
                      <a:cubicBezTo>
                        <a:pt x="397700" y="891810"/>
                        <a:pt x="396112" y="839422"/>
                        <a:pt x="381031" y="794972"/>
                      </a:cubicBezTo>
                      <a:cubicBezTo>
                        <a:pt x="365950" y="750522"/>
                        <a:pt x="332612" y="708453"/>
                        <a:pt x="295306" y="661622"/>
                      </a:cubicBezTo>
                      <a:cubicBezTo>
                        <a:pt x="258000" y="614791"/>
                        <a:pt x="208788" y="566372"/>
                        <a:pt x="157194" y="513985"/>
                      </a:cubicBezTo>
                      <a:cubicBezTo>
                        <a:pt x="115841" y="471996"/>
                        <a:pt x="97944" y="422357"/>
                        <a:pt x="38211" y="378976"/>
                      </a:cubicBezTo>
                      <a:cubicBezTo>
                        <a:pt x="59848" y="225643"/>
                        <a:pt x="139125" y="44593"/>
                        <a:pt x="385784" y="55964"/>
                      </a:cubicBezTo>
                      <a:cubicBezTo>
                        <a:pt x="445955" y="14377"/>
                        <a:pt x="518318" y="-3408"/>
                        <a:pt x="594957" y="534"/>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70" tIns="54836" rIns="109670" bIns="54836" numCol="1" rtlCol="0" anchor="ctr" anchorCtr="0" compatLnSpc="1">
                  <a:prstTxWarp prst="textNoShape">
                    <a:avLst/>
                  </a:prstTxWarp>
                </a:bodyPr>
                <a:lstStyle/>
                <a:p>
                  <a:pPr algn="ctr" defTabSz="1096261" fontAlgn="base">
                    <a:lnSpc>
                      <a:spcPct val="70000"/>
                    </a:lnSpc>
                    <a:spcBef>
                      <a:spcPct val="0"/>
                    </a:spcBef>
                    <a:spcAft>
                      <a:spcPct val="0"/>
                    </a:spcAft>
                    <a:defRPr/>
                  </a:pPr>
                  <a:endParaRPr lang="en-US" sz="2798">
                    <a:solidFill>
                      <a:srgbClr val="FFFFFF"/>
                    </a:solidFill>
                    <a:effectLst>
                      <a:outerShdw blurRad="38100" dist="38100" dir="2700000" algn="tl">
                        <a:srgbClr val="000000">
                          <a:alpha val="43137"/>
                        </a:srgbClr>
                      </a:outerShdw>
                    </a:effectLst>
                    <a:latin typeface="Segoe UI"/>
                  </a:endParaRPr>
                </a:p>
              </p:txBody>
            </p:sp>
            <p:sp>
              <p:nvSpPr>
                <p:cNvPr id="649" name="Man's Body">
                  <a:extLst>
                    <a:ext uri="{FF2B5EF4-FFF2-40B4-BE49-F238E27FC236}">
                      <a16:creationId xmlns:a16="http://schemas.microsoft.com/office/drawing/2014/main" id="{485C4954-F152-42F7-9D7E-83068B136E70}"/>
                    </a:ext>
                  </a:extLst>
                </p:cNvPr>
                <p:cNvSpPr>
                  <a:spLocks/>
                </p:cNvSpPr>
                <p:nvPr/>
              </p:nvSpPr>
              <p:spPr bwMode="auto">
                <a:xfrm>
                  <a:off x="7167183" y="2655935"/>
                  <a:ext cx="1791043" cy="3077332"/>
                </a:xfrm>
                <a:custGeom>
                  <a:avLst/>
                  <a:gdLst/>
                  <a:ahLst/>
                  <a:cxnLst/>
                  <a:rect l="l" t="t" r="r" b="b"/>
                  <a:pathLst>
                    <a:path w="1791043" h="3077332">
                      <a:moveTo>
                        <a:pt x="1025015" y="1789010"/>
                      </a:moveTo>
                      <a:cubicBezTo>
                        <a:pt x="1052456" y="1797149"/>
                        <a:pt x="1104448" y="2023401"/>
                        <a:pt x="1163660" y="2039679"/>
                      </a:cubicBezTo>
                      <a:cubicBezTo>
                        <a:pt x="1305194" y="2077117"/>
                        <a:pt x="1705242" y="2228494"/>
                        <a:pt x="1763012" y="2334297"/>
                      </a:cubicBezTo>
                      <a:cubicBezTo>
                        <a:pt x="1819336" y="2441727"/>
                        <a:pt x="1797673" y="2617520"/>
                        <a:pt x="1634476" y="2912138"/>
                      </a:cubicBezTo>
                      <a:cubicBezTo>
                        <a:pt x="1581040" y="2785176"/>
                        <a:pt x="1492942" y="2694024"/>
                        <a:pt x="1466947" y="2677746"/>
                      </a:cubicBezTo>
                      <a:cubicBezTo>
                        <a:pt x="1510273" y="2767271"/>
                        <a:pt x="1536270" y="2931671"/>
                        <a:pt x="1550711" y="3037473"/>
                      </a:cubicBezTo>
                      <a:cubicBezTo>
                        <a:pt x="1272518" y="3065184"/>
                        <a:pt x="1017016" y="3074577"/>
                        <a:pt x="836493" y="3077332"/>
                      </a:cubicBezTo>
                      <a:cubicBezTo>
                        <a:pt x="905753" y="2981037"/>
                        <a:pt x="872415" y="2957070"/>
                        <a:pt x="886206" y="2901903"/>
                      </a:cubicBezTo>
                      <a:cubicBezTo>
                        <a:pt x="901287" y="2841578"/>
                        <a:pt x="906844" y="2798715"/>
                        <a:pt x="905256" y="2744740"/>
                      </a:cubicBezTo>
                      <a:cubicBezTo>
                        <a:pt x="903669" y="2690765"/>
                        <a:pt x="915575" y="2629647"/>
                        <a:pt x="876681" y="2578053"/>
                      </a:cubicBezTo>
                      <a:cubicBezTo>
                        <a:pt x="837787" y="2526459"/>
                        <a:pt x="764762" y="2482009"/>
                        <a:pt x="671893" y="2435178"/>
                      </a:cubicBezTo>
                      <a:cubicBezTo>
                        <a:pt x="579024" y="2388347"/>
                        <a:pt x="408368" y="2336753"/>
                        <a:pt x="319468" y="2297065"/>
                      </a:cubicBezTo>
                      <a:cubicBezTo>
                        <a:pt x="230568" y="2257378"/>
                        <a:pt x="183737" y="2238328"/>
                        <a:pt x="138493" y="2197053"/>
                      </a:cubicBezTo>
                      <a:cubicBezTo>
                        <a:pt x="114008" y="2174716"/>
                        <a:pt x="89523" y="2140522"/>
                        <a:pt x="72566" y="2109744"/>
                      </a:cubicBezTo>
                      <a:cubicBezTo>
                        <a:pt x="161803" y="2180615"/>
                        <a:pt x="342491" y="2318445"/>
                        <a:pt x="583084" y="2314764"/>
                      </a:cubicBezTo>
                      <a:cubicBezTo>
                        <a:pt x="894952" y="2309883"/>
                        <a:pt x="961434" y="2134181"/>
                        <a:pt x="961470" y="2134087"/>
                      </a:cubicBezTo>
                      <a:cubicBezTo>
                        <a:pt x="961431" y="2134155"/>
                        <a:pt x="905040" y="2231748"/>
                        <a:pt x="600415" y="2225240"/>
                      </a:cubicBezTo>
                      <a:cubicBezTo>
                        <a:pt x="448124" y="2222935"/>
                        <a:pt x="290769" y="2127693"/>
                        <a:pt x="210656" y="2058477"/>
                      </a:cubicBezTo>
                      <a:cubicBezTo>
                        <a:pt x="247111" y="2063660"/>
                        <a:pt x="286103" y="2068919"/>
                        <a:pt x="314706" y="2068465"/>
                      </a:cubicBezTo>
                      <a:cubicBezTo>
                        <a:pt x="364712" y="2067671"/>
                        <a:pt x="409162" y="2072434"/>
                        <a:pt x="438531" y="2044653"/>
                      </a:cubicBezTo>
                      <a:cubicBezTo>
                        <a:pt x="462255" y="2022212"/>
                        <a:pt x="476137" y="1982161"/>
                        <a:pt x="483486" y="1935462"/>
                      </a:cubicBezTo>
                      <a:cubicBezTo>
                        <a:pt x="533060" y="1967097"/>
                        <a:pt x="580637" y="1990306"/>
                        <a:pt x="613413" y="1989219"/>
                      </a:cubicBezTo>
                      <a:cubicBezTo>
                        <a:pt x="877705" y="1977826"/>
                        <a:pt x="999020" y="1779243"/>
                        <a:pt x="1025015" y="1789010"/>
                      </a:cubicBezTo>
                      <a:close/>
                      <a:moveTo>
                        <a:pt x="585448" y="596"/>
                      </a:moveTo>
                      <a:cubicBezTo>
                        <a:pt x="727992" y="7927"/>
                        <a:pt x="935211" y="76180"/>
                        <a:pt x="1038898" y="151026"/>
                      </a:cubicBezTo>
                      <a:cubicBezTo>
                        <a:pt x="1142584" y="225871"/>
                        <a:pt x="1211900" y="407326"/>
                        <a:pt x="1207568" y="449665"/>
                      </a:cubicBezTo>
                      <a:cubicBezTo>
                        <a:pt x="1203236" y="490376"/>
                        <a:pt x="1199071" y="612532"/>
                        <a:pt x="1188131" y="664973"/>
                      </a:cubicBezTo>
                      <a:cubicBezTo>
                        <a:pt x="1177190" y="717413"/>
                        <a:pt x="1149623" y="723595"/>
                        <a:pt x="1141921" y="764306"/>
                      </a:cubicBezTo>
                      <a:cubicBezTo>
                        <a:pt x="1157802" y="803380"/>
                        <a:pt x="1141928" y="909191"/>
                        <a:pt x="1141921" y="909236"/>
                      </a:cubicBezTo>
                      <a:cubicBezTo>
                        <a:pt x="1141991" y="909241"/>
                        <a:pt x="1208348" y="914147"/>
                        <a:pt x="1208348" y="962974"/>
                      </a:cubicBezTo>
                      <a:cubicBezTo>
                        <a:pt x="1208348" y="1011818"/>
                        <a:pt x="1137615" y="1280417"/>
                        <a:pt x="1137589" y="1280518"/>
                      </a:cubicBezTo>
                      <a:cubicBezTo>
                        <a:pt x="1137566" y="1280557"/>
                        <a:pt x="1118803" y="1313084"/>
                        <a:pt x="1097155" y="1308200"/>
                      </a:cubicBezTo>
                      <a:cubicBezTo>
                        <a:pt x="1074050" y="1506868"/>
                        <a:pt x="994626" y="1630630"/>
                        <a:pt x="926755" y="1690881"/>
                      </a:cubicBezTo>
                      <a:cubicBezTo>
                        <a:pt x="860327" y="1749505"/>
                        <a:pt x="705811" y="1868380"/>
                        <a:pt x="613391" y="1868380"/>
                      </a:cubicBezTo>
                      <a:cubicBezTo>
                        <a:pt x="583727" y="1868380"/>
                        <a:pt x="540227" y="1848919"/>
                        <a:pt x="494585" y="1820862"/>
                      </a:cubicBezTo>
                      <a:cubicBezTo>
                        <a:pt x="495428" y="1780245"/>
                        <a:pt x="492769" y="1734980"/>
                        <a:pt x="490918" y="1682703"/>
                      </a:cubicBezTo>
                      <a:cubicBezTo>
                        <a:pt x="487743" y="1593009"/>
                        <a:pt x="490124" y="1492202"/>
                        <a:pt x="471868" y="1363615"/>
                      </a:cubicBezTo>
                      <a:cubicBezTo>
                        <a:pt x="453612" y="1235028"/>
                        <a:pt x="405987" y="1022303"/>
                        <a:pt x="381381" y="911178"/>
                      </a:cubicBezTo>
                      <a:cubicBezTo>
                        <a:pt x="356775" y="800053"/>
                        <a:pt x="352806" y="754809"/>
                        <a:pt x="324231" y="696865"/>
                      </a:cubicBezTo>
                      <a:cubicBezTo>
                        <a:pt x="295656" y="638921"/>
                        <a:pt x="255968" y="620665"/>
                        <a:pt x="209931" y="563515"/>
                      </a:cubicBezTo>
                      <a:cubicBezTo>
                        <a:pt x="163894" y="506365"/>
                        <a:pt x="103569" y="415084"/>
                        <a:pt x="48006" y="353965"/>
                      </a:cubicBezTo>
                      <a:cubicBezTo>
                        <a:pt x="28279" y="332265"/>
                        <a:pt x="14655" y="310564"/>
                        <a:pt x="0" y="290327"/>
                      </a:cubicBezTo>
                      <a:cubicBezTo>
                        <a:pt x="45987" y="162254"/>
                        <a:pt x="147389" y="53021"/>
                        <a:pt x="352016" y="62454"/>
                      </a:cubicBezTo>
                      <a:cubicBezTo>
                        <a:pt x="419165" y="16044"/>
                        <a:pt x="499920" y="-3803"/>
                        <a:pt x="585448" y="59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70" tIns="54836" rIns="109670" bIns="54836" numCol="1" rtlCol="0" anchor="ctr" anchorCtr="0" compatLnSpc="1">
                  <a:prstTxWarp prst="textNoShape">
                    <a:avLst/>
                  </a:prstTxWarp>
                </a:bodyPr>
                <a:lstStyle/>
                <a:p>
                  <a:pPr algn="ctr" defTabSz="1096261" fontAlgn="base">
                    <a:lnSpc>
                      <a:spcPct val="70000"/>
                    </a:lnSpc>
                    <a:spcBef>
                      <a:spcPct val="0"/>
                    </a:spcBef>
                    <a:spcAft>
                      <a:spcPct val="0"/>
                    </a:spcAft>
                    <a:defRPr/>
                  </a:pPr>
                  <a:endParaRPr lang="en-US" sz="2798">
                    <a:solidFill>
                      <a:srgbClr val="FFFFFF"/>
                    </a:solidFill>
                    <a:effectLst>
                      <a:outerShdw blurRad="38100" dist="38100" dir="2700000" algn="tl">
                        <a:srgbClr val="000000">
                          <a:alpha val="43137"/>
                        </a:srgbClr>
                      </a:outerShdw>
                    </a:effectLst>
                    <a:latin typeface="Segoe UI"/>
                  </a:endParaRPr>
                </a:p>
              </p:txBody>
            </p:sp>
            <p:sp>
              <p:nvSpPr>
                <p:cNvPr id="650" name="Man's Body">
                  <a:extLst>
                    <a:ext uri="{FF2B5EF4-FFF2-40B4-BE49-F238E27FC236}">
                      <a16:creationId xmlns:a16="http://schemas.microsoft.com/office/drawing/2014/main" id="{0EE34760-67F7-43B2-8DFC-DF7D74465F6B}"/>
                    </a:ext>
                  </a:extLst>
                </p:cNvPr>
                <p:cNvSpPr>
                  <a:spLocks/>
                </p:cNvSpPr>
                <p:nvPr/>
              </p:nvSpPr>
              <p:spPr bwMode="auto">
                <a:xfrm>
                  <a:off x="3394954" y="2270725"/>
                  <a:ext cx="1220879" cy="2577721"/>
                </a:xfrm>
                <a:custGeom>
                  <a:avLst/>
                  <a:gdLst/>
                  <a:ahLst/>
                  <a:cxnLst/>
                  <a:rect l="l" t="t" r="r" b="b"/>
                  <a:pathLst>
                    <a:path w="1220879" h="2577721">
                      <a:moveTo>
                        <a:pt x="1000694" y="1726538"/>
                      </a:moveTo>
                      <a:cubicBezTo>
                        <a:pt x="1015159" y="1730828"/>
                        <a:pt x="1036692" y="1797918"/>
                        <a:pt x="1062780" y="1860398"/>
                      </a:cubicBezTo>
                      <a:lnTo>
                        <a:pt x="1072271" y="1886939"/>
                      </a:lnTo>
                      <a:cubicBezTo>
                        <a:pt x="1100846" y="1947264"/>
                        <a:pt x="1157203" y="2022670"/>
                        <a:pt x="1181809" y="2063151"/>
                      </a:cubicBezTo>
                      <a:cubicBezTo>
                        <a:pt x="1206415" y="2103632"/>
                        <a:pt x="1225465" y="2098076"/>
                        <a:pt x="1219909" y="2129826"/>
                      </a:cubicBezTo>
                      <a:cubicBezTo>
                        <a:pt x="1214353" y="2161576"/>
                        <a:pt x="1178633" y="2203645"/>
                        <a:pt x="1148471" y="2253651"/>
                      </a:cubicBezTo>
                      <a:cubicBezTo>
                        <a:pt x="1118309" y="2303657"/>
                        <a:pt x="1085765" y="2388589"/>
                        <a:pt x="1038934" y="2429864"/>
                      </a:cubicBezTo>
                      <a:cubicBezTo>
                        <a:pt x="992103" y="2471139"/>
                        <a:pt x="926222" y="2476695"/>
                        <a:pt x="867484" y="2501301"/>
                      </a:cubicBezTo>
                      <a:cubicBezTo>
                        <a:pt x="867484" y="2501301"/>
                        <a:pt x="738896" y="2574326"/>
                        <a:pt x="686509" y="2577501"/>
                      </a:cubicBezTo>
                      <a:cubicBezTo>
                        <a:pt x="634122" y="2580676"/>
                        <a:pt x="626184" y="2548926"/>
                        <a:pt x="553159" y="2520351"/>
                      </a:cubicBezTo>
                      <a:cubicBezTo>
                        <a:pt x="480134" y="2491776"/>
                        <a:pt x="311859" y="2440182"/>
                        <a:pt x="248359" y="2406051"/>
                      </a:cubicBezTo>
                      <a:cubicBezTo>
                        <a:pt x="184859" y="2371920"/>
                        <a:pt x="187240" y="2346520"/>
                        <a:pt x="172159" y="2315564"/>
                      </a:cubicBezTo>
                      <a:cubicBezTo>
                        <a:pt x="157078" y="2284608"/>
                        <a:pt x="140409" y="2261589"/>
                        <a:pt x="157871" y="2220314"/>
                      </a:cubicBezTo>
                      <a:cubicBezTo>
                        <a:pt x="168198" y="2195906"/>
                        <a:pt x="198233" y="2167333"/>
                        <a:pt x="226485" y="2135786"/>
                      </a:cubicBezTo>
                      <a:cubicBezTo>
                        <a:pt x="316982" y="2189270"/>
                        <a:pt x="435235" y="2236059"/>
                        <a:pt x="574195" y="2233933"/>
                      </a:cubicBezTo>
                      <a:cubicBezTo>
                        <a:pt x="875173" y="2229222"/>
                        <a:pt x="939333" y="2059656"/>
                        <a:pt x="939368" y="2059565"/>
                      </a:cubicBezTo>
                      <a:cubicBezTo>
                        <a:pt x="939349" y="2059598"/>
                        <a:pt x="884958" y="2153817"/>
                        <a:pt x="590920" y="2147535"/>
                      </a:cubicBezTo>
                      <a:cubicBezTo>
                        <a:pt x="481175" y="2145874"/>
                        <a:pt x="368705" y="2094204"/>
                        <a:pt x="286708" y="2040070"/>
                      </a:cubicBezTo>
                      <a:cubicBezTo>
                        <a:pt x="307092" y="1982179"/>
                        <a:pt x="314374" y="1903887"/>
                        <a:pt x="324559" y="1872651"/>
                      </a:cubicBezTo>
                      <a:cubicBezTo>
                        <a:pt x="333489" y="1845267"/>
                        <a:pt x="333488" y="1864317"/>
                        <a:pt x="339628" y="1861489"/>
                      </a:cubicBezTo>
                      <a:lnTo>
                        <a:pt x="348371" y="1848839"/>
                      </a:lnTo>
                      <a:cubicBezTo>
                        <a:pt x="354151" y="1836701"/>
                        <a:pt x="363405" y="1817932"/>
                        <a:pt x="373314" y="1796017"/>
                      </a:cubicBezTo>
                      <a:cubicBezTo>
                        <a:pt x="451017" y="1853032"/>
                        <a:pt x="548670" y="1921572"/>
                        <a:pt x="603465" y="1919756"/>
                      </a:cubicBezTo>
                      <a:cubicBezTo>
                        <a:pt x="858528" y="1908760"/>
                        <a:pt x="975606" y="1717113"/>
                        <a:pt x="1000694" y="1726538"/>
                      </a:cubicBezTo>
                      <a:close/>
                      <a:moveTo>
                        <a:pt x="576476" y="576"/>
                      </a:moveTo>
                      <a:cubicBezTo>
                        <a:pt x="714043" y="7650"/>
                        <a:pt x="864404" y="79722"/>
                        <a:pt x="988090" y="206429"/>
                      </a:cubicBezTo>
                      <a:cubicBezTo>
                        <a:pt x="1037022" y="256557"/>
                        <a:pt x="1077264" y="300727"/>
                        <a:pt x="1110031" y="339462"/>
                      </a:cubicBezTo>
                      <a:cubicBezTo>
                        <a:pt x="1051415" y="362041"/>
                        <a:pt x="1030281" y="393446"/>
                        <a:pt x="996071" y="424851"/>
                      </a:cubicBezTo>
                      <a:cubicBezTo>
                        <a:pt x="979245" y="440298"/>
                        <a:pt x="967211" y="456704"/>
                        <a:pt x="958497" y="474522"/>
                      </a:cubicBezTo>
                      <a:cubicBezTo>
                        <a:pt x="793415" y="374586"/>
                        <a:pt x="664033" y="400614"/>
                        <a:pt x="603444" y="421733"/>
                      </a:cubicBezTo>
                      <a:cubicBezTo>
                        <a:pt x="733011" y="434023"/>
                        <a:pt x="843377" y="487838"/>
                        <a:pt x="927312" y="549009"/>
                      </a:cubicBezTo>
                      <a:lnTo>
                        <a:pt x="915109" y="582014"/>
                      </a:lnTo>
                      <a:cubicBezTo>
                        <a:pt x="891297" y="642339"/>
                        <a:pt x="862721" y="710601"/>
                        <a:pt x="853196" y="786801"/>
                      </a:cubicBezTo>
                      <a:cubicBezTo>
                        <a:pt x="843671" y="863001"/>
                        <a:pt x="847640" y="966983"/>
                        <a:pt x="857959" y="1039214"/>
                      </a:cubicBezTo>
                      <a:cubicBezTo>
                        <a:pt x="868278" y="1111445"/>
                        <a:pt x="900028" y="1178120"/>
                        <a:pt x="915109" y="1220189"/>
                      </a:cubicBezTo>
                      <a:cubicBezTo>
                        <a:pt x="930190" y="1262258"/>
                        <a:pt x="946859" y="1272576"/>
                        <a:pt x="948446" y="1291626"/>
                      </a:cubicBezTo>
                      <a:cubicBezTo>
                        <a:pt x="950033" y="1310676"/>
                        <a:pt x="930984" y="1315439"/>
                        <a:pt x="924634" y="1334489"/>
                      </a:cubicBezTo>
                      <a:cubicBezTo>
                        <a:pt x="918284" y="1353539"/>
                        <a:pt x="907171" y="1371001"/>
                        <a:pt x="910346" y="1405926"/>
                      </a:cubicBezTo>
                      <a:cubicBezTo>
                        <a:pt x="913521" y="1440851"/>
                        <a:pt x="927015" y="1494827"/>
                        <a:pt x="943684" y="1544039"/>
                      </a:cubicBezTo>
                      <a:cubicBezTo>
                        <a:pt x="947240" y="1554538"/>
                        <a:pt x="951338" y="1565109"/>
                        <a:pt x="956769" y="1575392"/>
                      </a:cubicBezTo>
                      <a:cubicBezTo>
                        <a:pt x="939866" y="1598334"/>
                        <a:pt x="922505" y="1617063"/>
                        <a:pt x="905864" y="1631836"/>
                      </a:cubicBezTo>
                      <a:cubicBezTo>
                        <a:pt x="841757" y="1688412"/>
                        <a:pt x="692637" y="1803136"/>
                        <a:pt x="603444" y="1803136"/>
                      </a:cubicBezTo>
                      <a:cubicBezTo>
                        <a:pt x="557961" y="1803136"/>
                        <a:pt x="478776" y="1755732"/>
                        <a:pt x="409934" y="1705014"/>
                      </a:cubicBezTo>
                      <a:lnTo>
                        <a:pt x="419809" y="1672626"/>
                      </a:lnTo>
                      <a:cubicBezTo>
                        <a:pt x="433303" y="1613095"/>
                        <a:pt x="419809" y="1540070"/>
                        <a:pt x="429334" y="1491651"/>
                      </a:cubicBezTo>
                      <a:cubicBezTo>
                        <a:pt x="438859" y="1443232"/>
                        <a:pt x="464259" y="1418627"/>
                        <a:pt x="476959" y="1382114"/>
                      </a:cubicBezTo>
                      <a:cubicBezTo>
                        <a:pt x="489659" y="1345602"/>
                        <a:pt x="506328" y="1301151"/>
                        <a:pt x="505534" y="1272576"/>
                      </a:cubicBezTo>
                      <a:cubicBezTo>
                        <a:pt x="504740" y="1244001"/>
                        <a:pt x="472990" y="1247177"/>
                        <a:pt x="472196" y="1210664"/>
                      </a:cubicBezTo>
                      <a:cubicBezTo>
                        <a:pt x="471402" y="1174152"/>
                        <a:pt x="493627" y="1105095"/>
                        <a:pt x="500771" y="1053501"/>
                      </a:cubicBezTo>
                      <a:cubicBezTo>
                        <a:pt x="507915" y="1001907"/>
                        <a:pt x="519028" y="948726"/>
                        <a:pt x="515059" y="901101"/>
                      </a:cubicBezTo>
                      <a:cubicBezTo>
                        <a:pt x="511090" y="853476"/>
                        <a:pt x="496009" y="818551"/>
                        <a:pt x="476959" y="767751"/>
                      </a:cubicBezTo>
                      <a:cubicBezTo>
                        <a:pt x="457909" y="716951"/>
                        <a:pt x="430128" y="646307"/>
                        <a:pt x="400759" y="596301"/>
                      </a:cubicBezTo>
                      <a:cubicBezTo>
                        <a:pt x="371390" y="546295"/>
                        <a:pt x="342021" y="502639"/>
                        <a:pt x="300746" y="467714"/>
                      </a:cubicBezTo>
                      <a:cubicBezTo>
                        <a:pt x="259471" y="432789"/>
                        <a:pt x="207878" y="412151"/>
                        <a:pt x="153109" y="386751"/>
                      </a:cubicBezTo>
                      <a:cubicBezTo>
                        <a:pt x="102114" y="363101"/>
                        <a:pt x="114428" y="279585"/>
                        <a:pt x="0" y="308275"/>
                      </a:cubicBezTo>
                      <a:cubicBezTo>
                        <a:pt x="41291" y="173605"/>
                        <a:pt x="138419" y="50464"/>
                        <a:pt x="351195" y="60273"/>
                      </a:cubicBezTo>
                      <a:cubicBezTo>
                        <a:pt x="415999" y="15484"/>
                        <a:pt x="493935" y="-3670"/>
                        <a:pt x="576476" y="57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70" tIns="54836" rIns="109670" bIns="54836" numCol="1" rtlCol="0" anchor="ctr" anchorCtr="0" compatLnSpc="1">
                  <a:prstTxWarp prst="textNoShape">
                    <a:avLst/>
                  </a:prstTxWarp>
                </a:bodyPr>
                <a:lstStyle/>
                <a:p>
                  <a:pPr algn="ctr" defTabSz="1096261" fontAlgn="base">
                    <a:lnSpc>
                      <a:spcPct val="70000"/>
                    </a:lnSpc>
                    <a:spcBef>
                      <a:spcPct val="0"/>
                    </a:spcBef>
                    <a:spcAft>
                      <a:spcPct val="0"/>
                    </a:spcAft>
                    <a:defRPr/>
                  </a:pPr>
                  <a:endParaRPr lang="en-US" sz="2798">
                    <a:solidFill>
                      <a:srgbClr val="FFFFFF"/>
                    </a:solidFill>
                    <a:effectLst>
                      <a:outerShdw blurRad="38100" dist="38100" dir="2700000" algn="tl">
                        <a:srgbClr val="000000">
                          <a:alpha val="43137"/>
                        </a:srgbClr>
                      </a:outerShdw>
                    </a:effectLst>
                    <a:latin typeface="Segoe UI"/>
                  </a:endParaRPr>
                </a:p>
              </p:txBody>
            </p:sp>
            <p:sp>
              <p:nvSpPr>
                <p:cNvPr id="651" name="Man's Body">
                  <a:extLst>
                    <a:ext uri="{FF2B5EF4-FFF2-40B4-BE49-F238E27FC236}">
                      <a16:creationId xmlns:a16="http://schemas.microsoft.com/office/drawing/2014/main" id="{A35704E8-8992-4606-9BE5-589AC27C24CA}"/>
                    </a:ext>
                  </a:extLst>
                </p:cNvPr>
                <p:cNvSpPr>
                  <a:spLocks/>
                </p:cNvSpPr>
                <p:nvPr/>
              </p:nvSpPr>
              <p:spPr bwMode="auto">
                <a:xfrm>
                  <a:off x="4129215" y="2588754"/>
                  <a:ext cx="1942154" cy="3289752"/>
                </a:xfrm>
                <a:custGeom>
                  <a:avLst/>
                  <a:gdLst/>
                  <a:ahLst/>
                  <a:cxnLst/>
                  <a:rect l="l" t="t" r="r" b="b"/>
                  <a:pathLst>
                    <a:path w="1942154" h="3289752">
                      <a:moveTo>
                        <a:pt x="501915" y="1906497"/>
                      </a:moveTo>
                      <a:cubicBezTo>
                        <a:pt x="531238" y="1899539"/>
                        <a:pt x="778162" y="2129136"/>
                        <a:pt x="883105" y="2125656"/>
                      </a:cubicBezTo>
                      <a:cubicBezTo>
                        <a:pt x="1165524" y="2113482"/>
                        <a:pt x="1295160" y="1901279"/>
                        <a:pt x="1322938" y="1911715"/>
                      </a:cubicBezTo>
                      <a:cubicBezTo>
                        <a:pt x="1352261" y="1920412"/>
                        <a:pt x="1407819" y="2162183"/>
                        <a:pt x="1471092" y="2179577"/>
                      </a:cubicBezTo>
                      <a:cubicBezTo>
                        <a:pt x="1569955" y="2205728"/>
                        <a:pt x="1786855" y="2283903"/>
                        <a:pt x="1942154" y="2367099"/>
                      </a:cubicBezTo>
                      <a:lnTo>
                        <a:pt x="1623885" y="2492834"/>
                      </a:lnTo>
                      <a:cubicBezTo>
                        <a:pt x="1505616" y="2541253"/>
                        <a:pt x="1369885" y="2582527"/>
                        <a:pt x="1300035" y="2630946"/>
                      </a:cubicBezTo>
                      <a:cubicBezTo>
                        <a:pt x="1230185" y="2679365"/>
                        <a:pt x="1216691" y="2727784"/>
                        <a:pt x="1204785" y="2783346"/>
                      </a:cubicBezTo>
                      <a:cubicBezTo>
                        <a:pt x="1192879" y="2838909"/>
                        <a:pt x="1211929" y="2896059"/>
                        <a:pt x="1228598" y="2964321"/>
                      </a:cubicBezTo>
                      <a:cubicBezTo>
                        <a:pt x="1245267" y="3032583"/>
                        <a:pt x="1281779" y="3120690"/>
                        <a:pt x="1304798" y="3192921"/>
                      </a:cubicBezTo>
                      <a:cubicBezTo>
                        <a:pt x="1314321" y="3222803"/>
                        <a:pt x="1341505" y="3252414"/>
                        <a:pt x="1363493" y="3281583"/>
                      </a:cubicBezTo>
                      <a:cubicBezTo>
                        <a:pt x="1152486" y="3290141"/>
                        <a:pt x="985631" y="3290297"/>
                        <a:pt x="900081" y="3289292"/>
                      </a:cubicBezTo>
                      <a:cubicBezTo>
                        <a:pt x="817878" y="3290370"/>
                        <a:pt x="658124" y="3290113"/>
                        <a:pt x="456018" y="3282293"/>
                      </a:cubicBezTo>
                      <a:cubicBezTo>
                        <a:pt x="462393" y="3274575"/>
                        <a:pt x="465552" y="3265168"/>
                        <a:pt x="466598" y="3254834"/>
                      </a:cubicBezTo>
                      <a:cubicBezTo>
                        <a:pt x="472948" y="3192128"/>
                        <a:pt x="470567" y="3114340"/>
                        <a:pt x="466598" y="3021471"/>
                      </a:cubicBezTo>
                      <a:cubicBezTo>
                        <a:pt x="462629" y="2928602"/>
                        <a:pt x="461835" y="2782552"/>
                        <a:pt x="442785" y="2697621"/>
                      </a:cubicBezTo>
                      <a:cubicBezTo>
                        <a:pt x="423735" y="2612690"/>
                        <a:pt x="407860" y="2565859"/>
                        <a:pt x="352298" y="2511884"/>
                      </a:cubicBezTo>
                      <a:cubicBezTo>
                        <a:pt x="296736" y="2457909"/>
                        <a:pt x="186404" y="2415046"/>
                        <a:pt x="109410" y="2373771"/>
                      </a:cubicBezTo>
                      <a:cubicBezTo>
                        <a:pt x="63909" y="2349379"/>
                        <a:pt x="39200" y="2319443"/>
                        <a:pt x="0" y="2298223"/>
                      </a:cubicBezTo>
                      <a:cubicBezTo>
                        <a:pt x="117461" y="2244929"/>
                        <a:pt x="226792" y="2206801"/>
                        <a:pt x="244189" y="2210886"/>
                      </a:cubicBezTo>
                      <a:cubicBezTo>
                        <a:pt x="281228" y="2217843"/>
                        <a:pt x="509632" y="2478748"/>
                        <a:pt x="850696" y="2473530"/>
                      </a:cubicBezTo>
                      <a:cubicBezTo>
                        <a:pt x="1183954" y="2468314"/>
                        <a:pt x="1254996" y="2280562"/>
                        <a:pt x="1255035" y="2280461"/>
                      </a:cubicBezTo>
                      <a:cubicBezTo>
                        <a:pt x="1255005" y="2280512"/>
                        <a:pt x="1194766" y="2384821"/>
                        <a:pt x="869215" y="2377865"/>
                      </a:cubicBezTo>
                      <a:cubicBezTo>
                        <a:pt x="639268" y="2374386"/>
                        <a:pt x="398517" y="2172620"/>
                        <a:pt x="393887" y="2132615"/>
                      </a:cubicBezTo>
                      <a:cubicBezTo>
                        <a:pt x="389256" y="2090869"/>
                        <a:pt x="471051" y="1911715"/>
                        <a:pt x="501915" y="1906497"/>
                      </a:cubicBezTo>
                      <a:close/>
                      <a:moveTo>
                        <a:pt x="853221" y="637"/>
                      </a:moveTo>
                      <a:cubicBezTo>
                        <a:pt x="1005543" y="8471"/>
                        <a:pt x="1226975" y="81406"/>
                        <a:pt x="1337772" y="161384"/>
                      </a:cubicBezTo>
                      <a:cubicBezTo>
                        <a:pt x="1448570" y="241363"/>
                        <a:pt x="1522641" y="435263"/>
                        <a:pt x="1518012" y="480506"/>
                      </a:cubicBezTo>
                      <a:cubicBezTo>
                        <a:pt x="1513382" y="524010"/>
                        <a:pt x="1508932" y="654545"/>
                        <a:pt x="1497241" y="710582"/>
                      </a:cubicBezTo>
                      <a:cubicBezTo>
                        <a:pt x="1485550" y="766620"/>
                        <a:pt x="1456092" y="773225"/>
                        <a:pt x="1447862" y="816729"/>
                      </a:cubicBezTo>
                      <a:cubicBezTo>
                        <a:pt x="1464832" y="858482"/>
                        <a:pt x="1447870" y="971551"/>
                        <a:pt x="1447862" y="971599"/>
                      </a:cubicBezTo>
                      <a:cubicBezTo>
                        <a:pt x="1447887" y="971601"/>
                        <a:pt x="1518845" y="976828"/>
                        <a:pt x="1518845" y="1029023"/>
                      </a:cubicBezTo>
                      <a:cubicBezTo>
                        <a:pt x="1518845" y="1081217"/>
                        <a:pt x="1443261" y="1368239"/>
                        <a:pt x="1443233" y="1368346"/>
                      </a:cubicBezTo>
                      <a:cubicBezTo>
                        <a:pt x="1443216" y="1368375"/>
                        <a:pt x="1423163" y="1403147"/>
                        <a:pt x="1400025" y="1397928"/>
                      </a:cubicBezTo>
                      <a:cubicBezTo>
                        <a:pt x="1375336" y="1610222"/>
                        <a:pt x="1290464" y="1742472"/>
                        <a:pt x="1217938" y="1806856"/>
                      </a:cubicBezTo>
                      <a:cubicBezTo>
                        <a:pt x="1146955" y="1869501"/>
                        <a:pt x="981841" y="1996529"/>
                        <a:pt x="883082" y="1996529"/>
                      </a:cubicBezTo>
                      <a:cubicBezTo>
                        <a:pt x="784323" y="1996529"/>
                        <a:pt x="542053" y="1794675"/>
                        <a:pt x="523537" y="1759872"/>
                      </a:cubicBezTo>
                      <a:cubicBezTo>
                        <a:pt x="503477" y="1725071"/>
                        <a:pt x="370768" y="1570199"/>
                        <a:pt x="366139" y="1380528"/>
                      </a:cubicBezTo>
                      <a:cubicBezTo>
                        <a:pt x="301328" y="1375306"/>
                        <a:pt x="264293" y="1183894"/>
                        <a:pt x="239604" y="1082967"/>
                      </a:cubicBezTo>
                      <a:cubicBezTo>
                        <a:pt x="219550" y="997735"/>
                        <a:pt x="288930" y="999439"/>
                        <a:pt x="288983" y="999441"/>
                      </a:cubicBezTo>
                      <a:cubicBezTo>
                        <a:pt x="288957" y="999371"/>
                        <a:pt x="191766" y="731458"/>
                        <a:pt x="184051" y="694921"/>
                      </a:cubicBezTo>
                      <a:cubicBezTo>
                        <a:pt x="177878" y="660118"/>
                        <a:pt x="113068" y="44116"/>
                        <a:pt x="603779" y="66738"/>
                      </a:cubicBezTo>
                      <a:cubicBezTo>
                        <a:pt x="675533" y="17144"/>
                        <a:pt x="761828" y="-4064"/>
                        <a:pt x="853221" y="63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70" tIns="54836" rIns="109670" bIns="54836" numCol="1" rtlCol="0" anchor="ctr" anchorCtr="0" compatLnSpc="1">
                  <a:prstTxWarp prst="textNoShape">
                    <a:avLst/>
                  </a:prstTxWarp>
                </a:bodyPr>
                <a:lstStyle/>
                <a:p>
                  <a:pPr algn="ctr" defTabSz="1096261" fontAlgn="base">
                    <a:lnSpc>
                      <a:spcPct val="70000"/>
                    </a:lnSpc>
                    <a:spcBef>
                      <a:spcPct val="0"/>
                    </a:spcBef>
                    <a:spcAft>
                      <a:spcPct val="0"/>
                    </a:spcAft>
                    <a:defRPr/>
                  </a:pPr>
                  <a:endParaRPr lang="en-US" sz="2798">
                    <a:solidFill>
                      <a:srgbClr val="FFFFFF"/>
                    </a:solidFill>
                    <a:effectLst>
                      <a:outerShdw blurRad="38100" dist="38100" dir="2700000" algn="tl">
                        <a:srgbClr val="000000">
                          <a:alpha val="43137"/>
                        </a:srgbClr>
                      </a:outerShdw>
                    </a:effectLst>
                    <a:latin typeface="Segoe UI"/>
                  </a:endParaRPr>
                </a:p>
              </p:txBody>
            </p:sp>
            <p:sp>
              <p:nvSpPr>
                <p:cNvPr id="652" name="Man's Body">
                  <a:extLst>
                    <a:ext uri="{FF2B5EF4-FFF2-40B4-BE49-F238E27FC236}">
                      <a16:creationId xmlns:a16="http://schemas.microsoft.com/office/drawing/2014/main" id="{4C15C98C-BE88-4DC5-9CD4-B9EEFF7ACB8D}"/>
                    </a:ext>
                  </a:extLst>
                </p:cNvPr>
                <p:cNvSpPr>
                  <a:spLocks/>
                </p:cNvSpPr>
                <p:nvPr/>
              </p:nvSpPr>
              <p:spPr bwMode="auto">
                <a:xfrm>
                  <a:off x="335107" y="2540761"/>
                  <a:ext cx="1927374" cy="3278271"/>
                </a:xfrm>
                <a:custGeom>
                  <a:avLst/>
                  <a:gdLst/>
                  <a:ahLst/>
                  <a:cxnLst/>
                  <a:rect l="l" t="t" r="r" b="b"/>
                  <a:pathLst>
                    <a:path w="1927374" h="3278271">
                      <a:moveTo>
                        <a:pt x="586126" y="2210886"/>
                      </a:moveTo>
                      <a:cubicBezTo>
                        <a:pt x="616330" y="2216559"/>
                        <a:pt x="773790" y="2391106"/>
                        <a:pt x="1016388" y="2450287"/>
                      </a:cubicBezTo>
                      <a:cubicBezTo>
                        <a:pt x="976291" y="2480726"/>
                        <a:pt x="940784" y="2511617"/>
                        <a:pt x="912668" y="2540828"/>
                      </a:cubicBezTo>
                      <a:cubicBezTo>
                        <a:pt x="851549" y="2604328"/>
                        <a:pt x="830912" y="2661478"/>
                        <a:pt x="803131" y="2726565"/>
                      </a:cubicBezTo>
                      <a:cubicBezTo>
                        <a:pt x="775350" y="2791652"/>
                        <a:pt x="757093" y="2855947"/>
                        <a:pt x="745981" y="2931353"/>
                      </a:cubicBezTo>
                      <a:cubicBezTo>
                        <a:pt x="734869" y="3006759"/>
                        <a:pt x="738837" y="3105978"/>
                        <a:pt x="736456" y="3179003"/>
                      </a:cubicBezTo>
                      <a:cubicBezTo>
                        <a:pt x="735337" y="3213335"/>
                        <a:pt x="717901" y="3247141"/>
                        <a:pt x="707639" y="3278271"/>
                      </a:cubicBezTo>
                      <a:cubicBezTo>
                        <a:pt x="607261" y="3273701"/>
                        <a:pt x="498668" y="3267095"/>
                        <a:pt x="385500" y="3257984"/>
                      </a:cubicBezTo>
                      <a:cubicBezTo>
                        <a:pt x="387043" y="3144926"/>
                        <a:pt x="428711" y="2960553"/>
                        <a:pt x="475010" y="2861409"/>
                      </a:cubicBezTo>
                      <a:cubicBezTo>
                        <a:pt x="439515" y="2884020"/>
                        <a:pt x="288274" y="3042302"/>
                        <a:pt x="258951" y="3247548"/>
                      </a:cubicBezTo>
                      <a:cubicBezTo>
                        <a:pt x="-18839" y="2890978"/>
                        <a:pt x="-32728" y="2605722"/>
                        <a:pt x="32090" y="2494403"/>
                      </a:cubicBezTo>
                      <a:cubicBezTo>
                        <a:pt x="95364" y="2384822"/>
                        <a:pt x="549088" y="2202189"/>
                        <a:pt x="586126" y="2210886"/>
                      </a:cubicBezTo>
                      <a:close/>
                      <a:moveTo>
                        <a:pt x="843852" y="1906497"/>
                      </a:moveTo>
                      <a:cubicBezTo>
                        <a:pt x="873175" y="1899539"/>
                        <a:pt x="1120099" y="2129136"/>
                        <a:pt x="1225042" y="2125656"/>
                      </a:cubicBezTo>
                      <a:cubicBezTo>
                        <a:pt x="1507461" y="2113482"/>
                        <a:pt x="1637096" y="1901279"/>
                        <a:pt x="1664875" y="1911715"/>
                      </a:cubicBezTo>
                      <a:cubicBezTo>
                        <a:pt x="1681451" y="1916632"/>
                        <a:pt x="1706410" y="1996028"/>
                        <a:pt x="1736668" y="2067160"/>
                      </a:cubicBezTo>
                      <a:cubicBezTo>
                        <a:pt x="1645277" y="2089552"/>
                        <a:pt x="1598007" y="2141189"/>
                        <a:pt x="1512743" y="2178878"/>
                      </a:cubicBezTo>
                      <a:cubicBezTo>
                        <a:pt x="1403206" y="2227297"/>
                        <a:pt x="1269855" y="2285240"/>
                        <a:pt x="1169843" y="2345565"/>
                      </a:cubicBezTo>
                      <a:lnTo>
                        <a:pt x="1134882" y="2369115"/>
                      </a:lnTo>
                      <a:cubicBezTo>
                        <a:pt x="930801" y="2331702"/>
                        <a:pt x="739941" y="2168192"/>
                        <a:pt x="735824" y="2132615"/>
                      </a:cubicBezTo>
                      <a:cubicBezTo>
                        <a:pt x="731193" y="2090869"/>
                        <a:pt x="812988" y="1911715"/>
                        <a:pt x="843852" y="1906497"/>
                      </a:cubicBezTo>
                      <a:close/>
                      <a:moveTo>
                        <a:pt x="1195158" y="637"/>
                      </a:moveTo>
                      <a:cubicBezTo>
                        <a:pt x="1347480" y="8471"/>
                        <a:pt x="1513967" y="88272"/>
                        <a:pt x="1650919" y="228569"/>
                      </a:cubicBezTo>
                      <a:cubicBezTo>
                        <a:pt x="1870041" y="453045"/>
                        <a:pt x="1931766" y="569632"/>
                        <a:pt x="1927136" y="614875"/>
                      </a:cubicBezTo>
                      <a:cubicBezTo>
                        <a:pt x="1922506" y="658378"/>
                        <a:pt x="1877757" y="719282"/>
                        <a:pt x="1839178" y="710582"/>
                      </a:cubicBezTo>
                      <a:cubicBezTo>
                        <a:pt x="1799058" y="701882"/>
                        <a:pt x="1794429" y="663598"/>
                        <a:pt x="1772824" y="642718"/>
                      </a:cubicBezTo>
                      <a:cubicBezTo>
                        <a:pt x="1516667" y="399101"/>
                        <a:pt x="1309890" y="437383"/>
                        <a:pt x="1225019" y="466966"/>
                      </a:cubicBezTo>
                      <a:cubicBezTo>
                        <a:pt x="1555245" y="498288"/>
                        <a:pt x="1772824" y="773225"/>
                        <a:pt x="1789799" y="816729"/>
                      </a:cubicBezTo>
                      <a:cubicBezTo>
                        <a:pt x="1806769" y="858482"/>
                        <a:pt x="1789807" y="971551"/>
                        <a:pt x="1789799" y="971599"/>
                      </a:cubicBezTo>
                      <a:cubicBezTo>
                        <a:pt x="1789819" y="971601"/>
                        <a:pt x="1860782" y="976826"/>
                        <a:pt x="1860782" y="1029023"/>
                      </a:cubicBezTo>
                      <a:cubicBezTo>
                        <a:pt x="1860782" y="1081217"/>
                        <a:pt x="1785198" y="1368239"/>
                        <a:pt x="1785170" y="1368346"/>
                      </a:cubicBezTo>
                      <a:cubicBezTo>
                        <a:pt x="1785153" y="1368375"/>
                        <a:pt x="1765100" y="1403147"/>
                        <a:pt x="1741962" y="1397928"/>
                      </a:cubicBezTo>
                      <a:cubicBezTo>
                        <a:pt x="1717273" y="1610222"/>
                        <a:pt x="1632401" y="1742472"/>
                        <a:pt x="1559875" y="1806856"/>
                      </a:cubicBezTo>
                      <a:cubicBezTo>
                        <a:pt x="1488892" y="1869501"/>
                        <a:pt x="1323778" y="1996529"/>
                        <a:pt x="1225019" y="1996529"/>
                      </a:cubicBezTo>
                      <a:cubicBezTo>
                        <a:pt x="1126260" y="1996529"/>
                        <a:pt x="883990" y="1794675"/>
                        <a:pt x="865473" y="1759872"/>
                      </a:cubicBezTo>
                      <a:cubicBezTo>
                        <a:pt x="845414" y="1725071"/>
                        <a:pt x="712705" y="1570199"/>
                        <a:pt x="708075" y="1380528"/>
                      </a:cubicBezTo>
                      <a:cubicBezTo>
                        <a:pt x="643265" y="1375306"/>
                        <a:pt x="606230" y="1183894"/>
                        <a:pt x="581541" y="1082967"/>
                      </a:cubicBezTo>
                      <a:cubicBezTo>
                        <a:pt x="561487" y="997735"/>
                        <a:pt x="630866" y="999439"/>
                        <a:pt x="630919" y="999441"/>
                      </a:cubicBezTo>
                      <a:cubicBezTo>
                        <a:pt x="630881" y="999337"/>
                        <a:pt x="533702" y="731455"/>
                        <a:pt x="525988" y="694921"/>
                      </a:cubicBezTo>
                      <a:cubicBezTo>
                        <a:pt x="519815" y="660118"/>
                        <a:pt x="455005" y="44116"/>
                        <a:pt x="945716" y="66738"/>
                      </a:cubicBezTo>
                      <a:cubicBezTo>
                        <a:pt x="1017470" y="17144"/>
                        <a:pt x="1103765" y="-4064"/>
                        <a:pt x="1195158" y="63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70" tIns="54836" rIns="109670" bIns="54836" numCol="1" rtlCol="0" anchor="ctr" anchorCtr="0" compatLnSpc="1">
                  <a:prstTxWarp prst="textNoShape">
                    <a:avLst/>
                  </a:prstTxWarp>
                </a:bodyPr>
                <a:lstStyle/>
                <a:p>
                  <a:pPr algn="ctr" defTabSz="1096261" fontAlgn="base">
                    <a:lnSpc>
                      <a:spcPct val="70000"/>
                    </a:lnSpc>
                    <a:spcBef>
                      <a:spcPct val="0"/>
                    </a:spcBef>
                    <a:spcAft>
                      <a:spcPct val="0"/>
                    </a:spcAft>
                    <a:defRPr/>
                  </a:pPr>
                  <a:endParaRPr lang="en-US" sz="2798">
                    <a:solidFill>
                      <a:srgbClr val="FFFFFF"/>
                    </a:solidFill>
                    <a:effectLst>
                      <a:outerShdw blurRad="38100" dist="38100" dir="2700000" algn="tl">
                        <a:srgbClr val="000000">
                          <a:alpha val="43137"/>
                        </a:srgbClr>
                      </a:outerShdw>
                    </a:effectLst>
                    <a:latin typeface="Segoe UI"/>
                  </a:endParaRPr>
                </a:p>
              </p:txBody>
            </p:sp>
            <p:sp>
              <p:nvSpPr>
                <p:cNvPr id="653" name="Freeform 492">
                  <a:extLst>
                    <a:ext uri="{FF2B5EF4-FFF2-40B4-BE49-F238E27FC236}">
                      <a16:creationId xmlns:a16="http://schemas.microsoft.com/office/drawing/2014/main" id="{27D7B692-C832-4B09-B5A1-29C533559459}"/>
                    </a:ext>
                  </a:extLst>
                </p:cNvPr>
                <p:cNvSpPr/>
                <p:nvPr/>
              </p:nvSpPr>
              <p:spPr>
                <a:xfrm flipH="1">
                  <a:off x="1116816" y="2629054"/>
                  <a:ext cx="3436629" cy="3474566"/>
                </a:xfrm>
                <a:custGeom>
                  <a:avLst/>
                  <a:gdLst/>
                  <a:ahLst/>
                  <a:cxnLst/>
                  <a:rect l="l" t="t" r="r" b="b"/>
                  <a:pathLst>
                    <a:path w="852601" h="862013">
                      <a:moveTo>
                        <a:pt x="339688" y="551599"/>
                      </a:moveTo>
                      <a:cubicBezTo>
                        <a:pt x="336200" y="550660"/>
                        <a:pt x="332712" y="552270"/>
                        <a:pt x="329224" y="555624"/>
                      </a:cubicBezTo>
                      <a:lnTo>
                        <a:pt x="318760" y="571723"/>
                      </a:lnTo>
                      <a:cubicBezTo>
                        <a:pt x="317687" y="576955"/>
                        <a:pt x="320907" y="582723"/>
                        <a:pt x="322785" y="587017"/>
                      </a:cubicBezTo>
                      <a:cubicBezTo>
                        <a:pt x="324663" y="591310"/>
                        <a:pt x="331370" y="593322"/>
                        <a:pt x="330029" y="597481"/>
                      </a:cubicBezTo>
                      <a:cubicBezTo>
                        <a:pt x="328687" y="601641"/>
                        <a:pt x="318894" y="606739"/>
                        <a:pt x="314735" y="611971"/>
                      </a:cubicBezTo>
                      <a:cubicBezTo>
                        <a:pt x="310576" y="617202"/>
                        <a:pt x="308563" y="620288"/>
                        <a:pt x="303465" y="629679"/>
                      </a:cubicBezTo>
                      <a:cubicBezTo>
                        <a:pt x="298368" y="639070"/>
                        <a:pt x="292062" y="654230"/>
                        <a:pt x="284147" y="668317"/>
                      </a:cubicBezTo>
                      <a:cubicBezTo>
                        <a:pt x="276232" y="682403"/>
                        <a:pt x="261340" y="698637"/>
                        <a:pt x="255974" y="714199"/>
                      </a:cubicBezTo>
                      <a:cubicBezTo>
                        <a:pt x="250607" y="729762"/>
                        <a:pt x="252754" y="745727"/>
                        <a:pt x="251949" y="761691"/>
                      </a:cubicBezTo>
                      <a:cubicBezTo>
                        <a:pt x="251144" y="777656"/>
                        <a:pt x="252351" y="796036"/>
                        <a:pt x="251143" y="809989"/>
                      </a:cubicBezTo>
                      <a:cubicBezTo>
                        <a:pt x="249937" y="823941"/>
                        <a:pt x="245778" y="837357"/>
                        <a:pt x="244705" y="845406"/>
                      </a:cubicBezTo>
                      <a:cubicBezTo>
                        <a:pt x="243631" y="853456"/>
                        <a:pt x="243095" y="855603"/>
                        <a:pt x="244705" y="858286"/>
                      </a:cubicBezTo>
                      <a:cubicBezTo>
                        <a:pt x="245509" y="859627"/>
                        <a:pt x="245945" y="860298"/>
                        <a:pt x="247169" y="860701"/>
                      </a:cubicBezTo>
                      <a:lnTo>
                        <a:pt x="254364" y="861506"/>
                      </a:lnTo>
                      <a:cubicBezTo>
                        <a:pt x="262279" y="862042"/>
                        <a:pt x="277305" y="862310"/>
                        <a:pt x="292196" y="861506"/>
                      </a:cubicBezTo>
                      <a:cubicBezTo>
                        <a:pt x="307088" y="860701"/>
                        <a:pt x="333115" y="857749"/>
                        <a:pt x="343713" y="856676"/>
                      </a:cubicBezTo>
                      <a:cubicBezTo>
                        <a:pt x="343747" y="856684"/>
                        <a:pt x="352708" y="858681"/>
                        <a:pt x="355787" y="855066"/>
                      </a:cubicBezTo>
                      <a:cubicBezTo>
                        <a:pt x="358873" y="851443"/>
                        <a:pt x="361288" y="845675"/>
                        <a:pt x="362227" y="834943"/>
                      </a:cubicBezTo>
                      <a:cubicBezTo>
                        <a:pt x="363166" y="824210"/>
                        <a:pt x="363568" y="808110"/>
                        <a:pt x="361422" y="790670"/>
                      </a:cubicBezTo>
                      <a:cubicBezTo>
                        <a:pt x="359275" y="773229"/>
                        <a:pt x="352299" y="754313"/>
                        <a:pt x="349348" y="730298"/>
                      </a:cubicBezTo>
                      <a:cubicBezTo>
                        <a:pt x="346396" y="706284"/>
                        <a:pt x="344786" y="666439"/>
                        <a:pt x="343713" y="646584"/>
                      </a:cubicBezTo>
                      <a:cubicBezTo>
                        <a:pt x="342640" y="626728"/>
                        <a:pt x="342505" y="619886"/>
                        <a:pt x="342908" y="611166"/>
                      </a:cubicBezTo>
                      <a:cubicBezTo>
                        <a:pt x="343310" y="602446"/>
                        <a:pt x="343713" y="600299"/>
                        <a:pt x="346128" y="594262"/>
                      </a:cubicBezTo>
                      <a:cubicBezTo>
                        <a:pt x="348543" y="588224"/>
                        <a:pt x="356727" y="580443"/>
                        <a:pt x="357397" y="574942"/>
                      </a:cubicBezTo>
                      <a:cubicBezTo>
                        <a:pt x="358068" y="569442"/>
                        <a:pt x="353104" y="565149"/>
                        <a:pt x="350153" y="561258"/>
                      </a:cubicBezTo>
                      <a:close/>
                      <a:moveTo>
                        <a:pt x="287206" y="507649"/>
                      </a:moveTo>
                      <a:cubicBezTo>
                        <a:pt x="299226" y="561742"/>
                        <a:pt x="284201" y="574621"/>
                        <a:pt x="274326" y="617123"/>
                      </a:cubicBezTo>
                      <a:cubicBezTo>
                        <a:pt x="272445" y="626330"/>
                        <a:pt x="270907" y="639718"/>
                        <a:pt x="269556" y="655910"/>
                      </a:cubicBezTo>
                      <a:cubicBezTo>
                        <a:pt x="284442" y="632717"/>
                        <a:pt x="299146" y="601494"/>
                        <a:pt x="316184" y="596515"/>
                      </a:cubicBezTo>
                      <a:cubicBezTo>
                        <a:pt x="314038" y="589217"/>
                        <a:pt x="305451" y="583528"/>
                        <a:pt x="306524" y="574621"/>
                      </a:cubicBezTo>
                      <a:cubicBezTo>
                        <a:pt x="307147" y="563679"/>
                        <a:pt x="314405" y="554950"/>
                        <a:pt x="319949" y="545622"/>
                      </a:cubicBezTo>
                      <a:cubicBezTo>
                        <a:pt x="307786" y="539695"/>
                        <a:pt x="298568" y="525281"/>
                        <a:pt x="287206" y="507649"/>
                      </a:cubicBezTo>
                      <a:close/>
                      <a:moveTo>
                        <a:pt x="264023" y="488330"/>
                      </a:moveTo>
                      <a:cubicBezTo>
                        <a:pt x="251143" y="497345"/>
                        <a:pt x="249856" y="517952"/>
                        <a:pt x="240841" y="523104"/>
                      </a:cubicBezTo>
                      <a:cubicBezTo>
                        <a:pt x="177304" y="542852"/>
                        <a:pt x="103463" y="578055"/>
                        <a:pt x="46365" y="613259"/>
                      </a:cubicBezTo>
                      <a:cubicBezTo>
                        <a:pt x="17601" y="630002"/>
                        <a:pt x="12021" y="649320"/>
                        <a:pt x="6440" y="682806"/>
                      </a:cubicBezTo>
                      <a:lnTo>
                        <a:pt x="0" y="793568"/>
                      </a:lnTo>
                      <a:cubicBezTo>
                        <a:pt x="60532" y="849807"/>
                        <a:pt x="154551" y="840362"/>
                        <a:pt x="230537" y="859252"/>
                      </a:cubicBezTo>
                      <a:cubicBezTo>
                        <a:pt x="242128" y="755359"/>
                        <a:pt x="233113" y="597374"/>
                        <a:pt x="265311" y="542422"/>
                      </a:cubicBezTo>
                      <a:close/>
                      <a:moveTo>
                        <a:pt x="473953" y="438101"/>
                      </a:moveTo>
                      <a:cubicBezTo>
                        <a:pt x="449999" y="476765"/>
                        <a:pt x="395188" y="525303"/>
                        <a:pt x="351750" y="542487"/>
                      </a:cubicBezTo>
                      <a:cubicBezTo>
                        <a:pt x="364570" y="553524"/>
                        <a:pt x="369815" y="566569"/>
                        <a:pt x="371564" y="577519"/>
                      </a:cubicBezTo>
                      <a:cubicBezTo>
                        <a:pt x="371510" y="588305"/>
                        <a:pt x="363407" y="591042"/>
                        <a:pt x="359329" y="597803"/>
                      </a:cubicBezTo>
                      <a:cubicBezTo>
                        <a:pt x="364928" y="652187"/>
                        <a:pt x="355161" y="701683"/>
                        <a:pt x="373271" y="759858"/>
                      </a:cubicBezTo>
                      <a:cubicBezTo>
                        <a:pt x="382583" y="726860"/>
                        <a:pt x="394118" y="694072"/>
                        <a:pt x="406981" y="659624"/>
                      </a:cubicBezTo>
                      <a:cubicBezTo>
                        <a:pt x="434458" y="598661"/>
                        <a:pt x="476100" y="510653"/>
                        <a:pt x="473953" y="438101"/>
                      </a:cubicBezTo>
                      <a:close/>
                      <a:moveTo>
                        <a:pt x="444331" y="425221"/>
                      </a:moveTo>
                      <a:cubicBezTo>
                        <a:pt x="417365" y="457420"/>
                        <a:pt x="365446" y="490423"/>
                        <a:pt x="342908" y="490423"/>
                      </a:cubicBezTo>
                      <a:cubicBezTo>
                        <a:pt x="312722" y="489752"/>
                        <a:pt x="309100" y="473787"/>
                        <a:pt x="292196" y="465469"/>
                      </a:cubicBezTo>
                      <a:cubicBezTo>
                        <a:pt x="308026" y="468152"/>
                        <a:pt x="323455" y="474056"/>
                        <a:pt x="339687" y="473519"/>
                      </a:cubicBezTo>
                      <a:cubicBezTo>
                        <a:pt x="376180" y="473116"/>
                        <a:pt x="416695" y="446955"/>
                        <a:pt x="444331" y="425221"/>
                      </a:cubicBezTo>
                      <a:close/>
                      <a:moveTo>
                        <a:pt x="488121" y="409767"/>
                      </a:moveTo>
                      <a:cubicBezTo>
                        <a:pt x="533198" y="465576"/>
                        <a:pt x="410846" y="692681"/>
                        <a:pt x="376072" y="855388"/>
                      </a:cubicBezTo>
                      <a:cubicBezTo>
                        <a:pt x="489409" y="838216"/>
                        <a:pt x="600169" y="850665"/>
                        <a:pt x="716082" y="803871"/>
                      </a:cubicBezTo>
                      <a:cubicBezTo>
                        <a:pt x="761588" y="800437"/>
                        <a:pt x="808382" y="816321"/>
                        <a:pt x="852601" y="793568"/>
                      </a:cubicBezTo>
                      <a:cubicBezTo>
                        <a:pt x="845303" y="743338"/>
                        <a:pt x="867627" y="646745"/>
                        <a:pt x="772750" y="588788"/>
                      </a:cubicBezTo>
                      <a:cubicBezTo>
                        <a:pt x="729391" y="552726"/>
                        <a:pt x="648681" y="519241"/>
                        <a:pt x="565395" y="492193"/>
                      </a:cubicBezTo>
                      <a:cubicBezTo>
                        <a:pt x="534486" y="468582"/>
                        <a:pt x="515167" y="433379"/>
                        <a:pt x="488121" y="409767"/>
                      </a:cubicBezTo>
                      <a:close/>
                      <a:moveTo>
                        <a:pt x="314467" y="207"/>
                      </a:moveTo>
                      <a:cubicBezTo>
                        <a:pt x="302302" y="922"/>
                        <a:pt x="297652" y="4142"/>
                        <a:pt x="285488" y="8794"/>
                      </a:cubicBezTo>
                      <a:cubicBezTo>
                        <a:pt x="273325" y="13444"/>
                        <a:pt x="253826" y="20241"/>
                        <a:pt x="241485" y="28112"/>
                      </a:cubicBezTo>
                      <a:cubicBezTo>
                        <a:pt x="229142" y="35983"/>
                        <a:pt x="220377" y="43853"/>
                        <a:pt x="211433" y="56017"/>
                      </a:cubicBezTo>
                      <a:cubicBezTo>
                        <a:pt x="202489" y="68180"/>
                        <a:pt x="193724" y="87320"/>
                        <a:pt x="187821" y="101095"/>
                      </a:cubicBezTo>
                      <a:cubicBezTo>
                        <a:pt x="181919" y="114868"/>
                        <a:pt x="176194" y="121665"/>
                        <a:pt x="176015" y="138658"/>
                      </a:cubicBezTo>
                      <a:cubicBezTo>
                        <a:pt x="175837" y="155652"/>
                        <a:pt x="182813" y="191249"/>
                        <a:pt x="186748" y="203055"/>
                      </a:cubicBezTo>
                      <a:lnTo>
                        <a:pt x="187520" y="204007"/>
                      </a:lnTo>
                      <a:lnTo>
                        <a:pt x="191027" y="223887"/>
                      </a:lnTo>
                      <a:cubicBezTo>
                        <a:pt x="185407" y="222374"/>
                        <a:pt x="182724" y="232570"/>
                        <a:pt x="184333" y="241693"/>
                      </a:cubicBezTo>
                      <a:cubicBezTo>
                        <a:pt x="185943" y="250815"/>
                        <a:pt x="196139" y="265841"/>
                        <a:pt x="198822" y="277111"/>
                      </a:cubicBezTo>
                      <a:cubicBezTo>
                        <a:pt x="201505" y="288380"/>
                        <a:pt x="200298" y="299113"/>
                        <a:pt x="200432" y="309308"/>
                      </a:cubicBezTo>
                      <a:cubicBezTo>
                        <a:pt x="200566" y="319505"/>
                        <a:pt x="198285" y="331579"/>
                        <a:pt x="199627" y="338286"/>
                      </a:cubicBezTo>
                      <a:cubicBezTo>
                        <a:pt x="200969" y="344995"/>
                        <a:pt x="205128" y="346739"/>
                        <a:pt x="208482" y="349556"/>
                      </a:cubicBezTo>
                      <a:cubicBezTo>
                        <a:pt x="211836" y="352373"/>
                        <a:pt x="218275" y="343385"/>
                        <a:pt x="219751" y="355191"/>
                      </a:cubicBezTo>
                      <a:cubicBezTo>
                        <a:pt x="221227" y="366997"/>
                        <a:pt x="229008" y="395036"/>
                        <a:pt x="236655" y="410733"/>
                      </a:cubicBezTo>
                      <a:cubicBezTo>
                        <a:pt x="244301" y="426429"/>
                        <a:pt x="259999" y="439845"/>
                        <a:pt x="265633" y="449370"/>
                      </a:cubicBezTo>
                      <a:cubicBezTo>
                        <a:pt x="271268" y="458895"/>
                        <a:pt x="266438" y="460372"/>
                        <a:pt x="270463" y="467884"/>
                      </a:cubicBezTo>
                      <a:cubicBezTo>
                        <a:pt x="274487" y="475397"/>
                        <a:pt x="281330" y="484118"/>
                        <a:pt x="289781" y="494447"/>
                      </a:cubicBezTo>
                      <a:cubicBezTo>
                        <a:pt x="298233" y="504778"/>
                        <a:pt x="311246" y="524097"/>
                        <a:pt x="321175" y="529866"/>
                      </a:cubicBezTo>
                      <a:cubicBezTo>
                        <a:pt x="331102" y="535634"/>
                        <a:pt x="333383" y="536305"/>
                        <a:pt x="349348" y="529061"/>
                      </a:cubicBezTo>
                      <a:cubicBezTo>
                        <a:pt x="365312" y="521816"/>
                        <a:pt x="399657" y="499680"/>
                        <a:pt x="416963" y="486398"/>
                      </a:cubicBezTo>
                      <a:cubicBezTo>
                        <a:pt x="434270" y="473116"/>
                        <a:pt x="444331" y="459298"/>
                        <a:pt x="453186" y="449370"/>
                      </a:cubicBezTo>
                      <a:cubicBezTo>
                        <a:pt x="462041" y="439443"/>
                        <a:pt x="466601" y="434746"/>
                        <a:pt x="470089" y="426831"/>
                      </a:cubicBezTo>
                      <a:cubicBezTo>
                        <a:pt x="473577" y="418917"/>
                        <a:pt x="471968" y="409526"/>
                        <a:pt x="474115" y="401878"/>
                      </a:cubicBezTo>
                      <a:cubicBezTo>
                        <a:pt x="476261" y="394231"/>
                        <a:pt x="480688" y="390341"/>
                        <a:pt x="482969" y="380949"/>
                      </a:cubicBezTo>
                      <a:cubicBezTo>
                        <a:pt x="485249" y="371558"/>
                        <a:pt x="484847" y="352373"/>
                        <a:pt x="487799" y="345532"/>
                      </a:cubicBezTo>
                      <a:cubicBezTo>
                        <a:pt x="490750" y="338689"/>
                        <a:pt x="496788" y="343787"/>
                        <a:pt x="500678" y="339897"/>
                      </a:cubicBezTo>
                      <a:cubicBezTo>
                        <a:pt x="504569" y="336006"/>
                        <a:pt x="508996" y="331177"/>
                        <a:pt x="511142" y="322188"/>
                      </a:cubicBezTo>
                      <a:cubicBezTo>
                        <a:pt x="513289" y="313199"/>
                        <a:pt x="511947" y="299515"/>
                        <a:pt x="513557" y="285965"/>
                      </a:cubicBezTo>
                      <a:cubicBezTo>
                        <a:pt x="515167" y="272415"/>
                        <a:pt x="520131" y="252425"/>
                        <a:pt x="520801" y="240888"/>
                      </a:cubicBezTo>
                      <a:cubicBezTo>
                        <a:pt x="521473" y="229350"/>
                        <a:pt x="520131" y="222508"/>
                        <a:pt x="517582" y="216739"/>
                      </a:cubicBezTo>
                      <a:lnTo>
                        <a:pt x="505508" y="206274"/>
                      </a:lnTo>
                      <a:cubicBezTo>
                        <a:pt x="501482" y="205872"/>
                        <a:pt x="496788" y="209897"/>
                        <a:pt x="493433" y="214324"/>
                      </a:cubicBezTo>
                      <a:cubicBezTo>
                        <a:pt x="490893" y="217677"/>
                        <a:pt x="489661" y="229032"/>
                        <a:pt x="487525" y="232413"/>
                      </a:cubicBezTo>
                      <a:lnTo>
                        <a:pt x="486770" y="223363"/>
                      </a:lnTo>
                      <a:lnTo>
                        <a:pt x="488165" y="195462"/>
                      </a:lnTo>
                      <a:lnTo>
                        <a:pt x="490482" y="198762"/>
                      </a:lnTo>
                      <a:cubicBezTo>
                        <a:pt x="492986" y="200550"/>
                        <a:pt x="494238" y="195185"/>
                        <a:pt x="496921" y="194469"/>
                      </a:cubicBezTo>
                      <a:cubicBezTo>
                        <a:pt x="499604" y="193754"/>
                        <a:pt x="503002" y="193217"/>
                        <a:pt x="506581" y="194469"/>
                      </a:cubicBezTo>
                      <a:cubicBezTo>
                        <a:pt x="510158" y="195721"/>
                        <a:pt x="516419" y="202876"/>
                        <a:pt x="518386" y="201981"/>
                      </a:cubicBezTo>
                      <a:cubicBezTo>
                        <a:pt x="519370" y="201534"/>
                        <a:pt x="519370" y="200774"/>
                        <a:pt x="519124" y="198896"/>
                      </a:cubicBezTo>
                      <a:lnTo>
                        <a:pt x="518386" y="189102"/>
                      </a:lnTo>
                      <a:cubicBezTo>
                        <a:pt x="518391" y="189053"/>
                        <a:pt x="521603" y="159753"/>
                        <a:pt x="518386" y="142952"/>
                      </a:cubicBezTo>
                      <a:cubicBezTo>
                        <a:pt x="515167" y="126137"/>
                        <a:pt x="506760" y="103778"/>
                        <a:pt x="499068" y="88215"/>
                      </a:cubicBezTo>
                      <a:cubicBezTo>
                        <a:pt x="491376" y="72652"/>
                        <a:pt x="479213" y="57627"/>
                        <a:pt x="472236" y="49577"/>
                      </a:cubicBezTo>
                      <a:cubicBezTo>
                        <a:pt x="465260" y="41528"/>
                        <a:pt x="466154" y="44211"/>
                        <a:pt x="457210" y="39918"/>
                      </a:cubicBezTo>
                      <a:cubicBezTo>
                        <a:pt x="448266" y="35625"/>
                        <a:pt x="435030" y="29722"/>
                        <a:pt x="418572" y="23818"/>
                      </a:cubicBezTo>
                      <a:cubicBezTo>
                        <a:pt x="402117" y="17916"/>
                        <a:pt x="375821" y="8435"/>
                        <a:pt x="358470" y="4500"/>
                      </a:cubicBezTo>
                      <a:cubicBezTo>
                        <a:pt x="341118" y="564"/>
                        <a:pt x="326630" y="-509"/>
                        <a:pt x="314467" y="20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2">
                    <a:defRPr/>
                  </a:pPr>
                  <a:endParaRPr lang="en-US" sz="1798">
                    <a:solidFill>
                      <a:prstClr val="white"/>
                    </a:solidFill>
                    <a:latin typeface="Segoe UI"/>
                  </a:endParaRPr>
                </a:p>
              </p:txBody>
            </p:sp>
            <p:sp>
              <p:nvSpPr>
                <p:cNvPr id="654" name="Freeform 493">
                  <a:extLst>
                    <a:ext uri="{FF2B5EF4-FFF2-40B4-BE49-F238E27FC236}">
                      <a16:creationId xmlns:a16="http://schemas.microsoft.com/office/drawing/2014/main" id="{D70F9A79-DD60-45A6-BB1F-52FACB96AB7A}"/>
                    </a:ext>
                  </a:extLst>
                </p:cNvPr>
                <p:cNvSpPr/>
                <p:nvPr/>
              </p:nvSpPr>
              <p:spPr>
                <a:xfrm>
                  <a:off x="5391990" y="2823081"/>
                  <a:ext cx="2628060" cy="3263867"/>
                </a:xfrm>
                <a:custGeom>
                  <a:avLst/>
                  <a:gdLst>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338138 w 3900488"/>
                    <a:gd name="connsiteY63" fmla="*/ 4760516 h 4808141"/>
                    <a:gd name="connsiteX64" fmla="*/ 161925 w 3900488"/>
                    <a:gd name="connsiteY64" fmla="*/ 4436666 h 4808141"/>
                    <a:gd name="connsiteX65" fmla="*/ 57150 w 3900488"/>
                    <a:gd name="connsiteY65" fmla="*/ 4141391 h 4808141"/>
                    <a:gd name="connsiteX66" fmla="*/ 0 w 3900488"/>
                    <a:gd name="connsiteY66" fmla="*/ 3855641 h 4808141"/>
                    <a:gd name="connsiteX67" fmla="*/ 23813 w 3900488"/>
                    <a:gd name="connsiteY67" fmla="*/ 3703241 h 4808141"/>
                    <a:gd name="connsiteX68" fmla="*/ 219075 w 3900488"/>
                    <a:gd name="connsiteY68" fmla="*/ 3584179 h 4808141"/>
                    <a:gd name="connsiteX69" fmla="*/ 533400 w 3900488"/>
                    <a:gd name="connsiteY69" fmla="*/ 3450829 h 4808141"/>
                    <a:gd name="connsiteX70" fmla="*/ 933450 w 3900488"/>
                    <a:gd name="connsiteY70" fmla="*/ 3293666 h 4808141"/>
                    <a:gd name="connsiteX71" fmla="*/ 1133475 w 3900488"/>
                    <a:gd name="connsiteY71" fmla="*/ 3217466 h 4808141"/>
                    <a:gd name="connsiteX72" fmla="*/ 1276350 w 3900488"/>
                    <a:gd name="connsiteY72" fmla="*/ 2950766 h 4808141"/>
                    <a:gd name="connsiteX73" fmla="*/ 1371600 w 3900488"/>
                    <a:gd name="connsiteY73" fmla="*/ 2888854 h 4808141"/>
                    <a:gd name="connsiteX74" fmla="*/ 1443038 w 3900488"/>
                    <a:gd name="connsiteY74" fmla="*/ 2750741 h 4808141"/>
                    <a:gd name="connsiteX75" fmla="*/ 1428750 w 3900488"/>
                    <a:gd name="connsiteY75" fmla="*/ 2665016 h 4808141"/>
                    <a:gd name="connsiteX76" fmla="*/ 1432339 w 3900488"/>
                    <a:gd name="connsiteY76" fmla="*/ 2655556 h 4808141"/>
                    <a:gd name="connsiteX77" fmla="*/ 1411332 w 3900488"/>
                    <a:gd name="connsiteY77" fmla="*/ 2630242 h 4808141"/>
                    <a:gd name="connsiteX78" fmla="*/ 1169833 w 3900488"/>
                    <a:gd name="connsiteY78" fmla="*/ 2059985 h 4808141"/>
                    <a:gd name="connsiteX79" fmla="*/ 975688 w 3900488"/>
                    <a:gd name="connsiteY79" fmla="*/ 1612672 h 4808141"/>
                    <a:gd name="connsiteX80" fmla="*/ 1051451 w 3900488"/>
                    <a:gd name="connsiteY80" fmla="*/ 1487109 h 4808141"/>
                    <a:gd name="connsiteX81" fmla="*/ 1016847 w 3900488"/>
                    <a:gd name="connsiteY81" fmla="*/ 1277790 h 4808141"/>
                    <a:gd name="connsiteX82" fmla="*/ 933449 w 3900488"/>
                    <a:gd name="connsiteY82" fmla="*/ 1341041 h 4808141"/>
                    <a:gd name="connsiteX83" fmla="*/ 882649 w 3900488"/>
                    <a:gd name="connsiteY83" fmla="*/ 1404541 h 4808141"/>
                    <a:gd name="connsiteX84" fmla="*/ 838199 w 3900488"/>
                    <a:gd name="connsiteY84" fmla="*/ 1525191 h 4808141"/>
                    <a:gd name="connsiteX85" fmla="*/ 857249 w 3900488"/>
                    <a:gd name="connsiteY85" fmla="*/ 1645841 h 4808141"/>
                    <a:gd name="connsiteX86" fmla="*/ 888999 w 3900488"/>
                    <a:gd name="connsiteY86" fmla="*/ 1829991 h 4808141"/>
                    <a:gd name="connsiteX87" fmla="*/ 965199 w 3900488"/>
                    <a:gd name="connsiteY87" fmla="*/ 2128441 h 4808141"/>
                    <a:gd name="connsiteX88" fmla="*/ 1047749 w 3900488"/>
                    <a:gd name="connsiteY88" fmla="*/ 2198291 h 4808141"/>
                    <a:gd name="connsiteX89" fmla="*/ 1098549 w 3900488"/>
                    <a:gd name="connsiteY89" fmla="*/ 2331641 h 4808141"/>
                    <a:gd name="connsiteX90" fmla="*/ 1219199 w 3900488"/>
                    <a:gd name="connsiteY90" fmla="*/ 2566591 h 4808141"/>
                    <a:gd name="connsiteX91" fmla="*/ 1269999 w 3900488"/>
                    <a:gd name="connsiteY91" fmla="*/ 2712641 h 4808141"/>
                    <a:gd name="connsiteX92" fmla="*/ 1130299 w 3900488"/>
                    <a:gd name="connsiteY92" fmla="*/ 2750741 h 4808141"/>
                    <a:gd name="connsiteX93" fmla="*/ 927099 w 3900488"/>
                    <a:gd name="connsiteY93" fmla="*/ 2776141 h 4808141"/>
                    <a:gd name="connsiteX94" fmla="*/ 742949 w 3900488"/>
                    <a:gd name="connsiteY94" fmla="*/ 2731691 h 4808141"/>
                    <a:gd name="connsiteX95" fmla="*/ 660399 w 3900488"/>
                    <a:gd name="connsiteY95" fmla="*/ 2591991 h 4808141"/>
                    <a:gd name="connsiteX96" fmla="*/ 622299 w 3900488"/>
                    <a:gd name="connsiteY96" fmla="*/ 2344341 h 4808141"/>
                    <a:gd name="connsiteX97" fmla="*/ 634999 w 3900488"/>
                    <a:gd name="connsiteY97" fmla="*/ 2020491 h 4808141"/>
                    <a:gd name="connsiteX98" fmla="*/ 736599 w 3900488"/>
                    <a:gd name="connsiteY98" fmla="*/ 1328341 h 4808141"/>
                    <a:gd name="connsiteX99" fmla="*/ 971549 w 3900488"/>
                    <a:gd name="connsiteY99" fmla="*/ 623491 h 4808141"/>
                    <a:gd name="connsiteX100" fmla="*/ 1168399 w 3900488"/>
                    <a:gd name="connsiteY100" fmla="*/ 299641 h 4808141"/>
                    <a:gd name="connsiteX101" fmla="*/ 1358899 w 3900488"/>
                    <a:gd name="connsiteY101" fmla="*/ 140891 h 4808141"/>
                    <a:gd name="connsiteX102" fmla="*/ 1530349 w 3900488"/>
                    <a:gd name="connsiteY102" fmla="*/ 115491 h 4808141"/>
                    <a:gd name="connsiteX103" fmla="*/ 1676399 w 3900488"/>
                    <a:gd name="connsiteY103" fmla="*/ 13891 h 4808141"/>
                    <a:gd name="connsiteX104" fmla="*/ 1813321 w 3900488"/>
                    <a:gd name="connsiteY104" fmla="*/ 0 h 4808141"/>
                    <a:gd name="connsiteX0" fmla="*/ 3060949 w 3900488"/>
                    <a:gd name="connsiteY0" fmla="*/ 1005769 h 4760516"/>
                    <a:gd name="connsiteX1" fmla="*/ 3081338 w 3900488"/>
                    <a:gd name="connsiteY1" fmla="*/ 1026716 h 4760516"/>
                    <a:gd name="connsiteX2" fmla="*/ 3167063 w 3900488"/>
                    <a:gd name="connsiteY2" fmla="*/ 1369616 h 4760516"/>
                    <a:gd name="connsiteX3" fmla="*/ 3252788 w 3900488"/>
                    <a:gd name="connsiteY3" fmla="*/ 1822054 h 4760516"/>
                    <a:gd name="connsiteX4" fmla="*/ 3281363 w 3900488"/>
                    <a:gd name="connsiteY4" fmla="*/ 2255441 h 4760516"/>
                    <a:gd name="connsiteX5" fmla="*/ 3271838 w 3900488"/>
                    <a:gd name="connsiteY5" fmla="*/ 2526904 h 4760516"/>
                    <a:gd name="connsiteX6" fmla="*/ 3190875 w 3900488"/>
                    <a:gd name="connsiteY6" fmla="*/ 2722166 h 4760516"/>
                    <a:gd name="connsiteX7" fmla="*/ 3043238 w 3900488"/>
                    <a:gd name="connsiteY7" fmla="*/ 2750741 h 4760516"/>
                    <a:gd name="connsiteX8" fmla="*/ 2809875 w 3900488"/>
                    <a:gd name="connsiteY8" fmla="*/ 2731691 h 4760516"/>
                    <a:gd name="connsiteX9" fmla="*/ 2633663 w 3900488"/>
                    <a:gd name="connsiteY9" fmla="*/ 2669779 h 4760516"/>
                    <a:gd name="connsiteX10" fmla="*/ 2657475 w 3900488"/>
                    <a:gd name="connsiteY10" fmla="*/ 2603104 h 4760516"/>
                    <a:gd name="connsiteX11" fmla="*/ 2752725 w 3900488"/>
                    <a:gd name="connsiteY11" fmla="*/ 2474516 h 4760516"/>
                    <a:gd name="connsiteX12" fmla="*/ 2843213 w 3900488"/>
                    <a:gd name="connsiteY12" fmla="*/ 2255441 h 4760516"/>
                    <a:gd name="connsiteX13" fmla="*/ 2862263 w 3900488"/>
                    <a:gd name="connsiteY13" fmla="*/ 2160191 h 4760516"/>
                    <a:gd name="connsiteX14" fmla="*/ 2919413 w 3900488"/>
                    <a:gd name="connsiteY14" fmla="*/ 2098279 h 4760516"/>
                    <a:gd name="connsiteX15" fmla="*/ 3000375 w 3900488"/>
                    <a:gd name="connsiteY15" fmla="*/ 1855391 h 4760516"/>
                    <a:gd name="connsiteX16" fmla="*/ 3057525 w 3900488"/>
                    <a:gd name="connsiteY16" fmla="*/ 1598216 h 4760516"/>
                    <a:gd name="connsiteX17" fmla="*/ 3062288 w 3900488"/>
                    <a:gd name="connsiteY17" fmla="*/ 1483916 h 4760516"/>
                    <a:gd name="connsiteX18" fmla="*/ 3009900 w 3900488"/>
                    <a:gd name="connsiteY18" fmla="*/ 1379141 h 4760516"/>
                    <a:gd name="connsiteX19" fmla="*/ 2957513 w 3900488"/>
                    <a:gd name="connsiteY19" fmla="*/ 1331516 h 4760516"/>
                    <a:gd name="connsiteX20" fmla="*/ 2947988 w 3900488"/>
                    <a:gd name="connsiteY20" fmla="*/ 1236266 h 4760516"/>
                    <a:gd name="connsiteX21" fmla="*/ 2957513 w 3900488"/>
                    <a:gd name="connsiteY21" fmla="*/ 1121966 h 4760516"/>
                    <a:gd name="connsiteX22" fmla="*/ 3005138 w 3900488"/>
                    <a:gd name="connsiteY22" fmla="*/ 1050529 h 4760516"/>
                    <a:gd name="connsiteX23" fmla="*/ 3060949 w 3900488"/>
                    <a:gd name="connsiteY23" fmla="*/ 1005769 h 4760516"/>
                    <a:gd name="connsiteX24" fmla="*/ 1813321 w 3900488"/>
                    <a:gd name="connsiteY24" fmla="*/ 0 h 4760516"/>
                    <a:gd name="connsiteX25" fmla="*/ 1955799 w 3900488"/>
                    <a:gd name="connsiteY25" fmla="*/ 1191 h 4760516"/>
                    <a:gd name="connsiteX26" fmla="*/ 2152649 w 3900488"/>
                    <a:gd name="connsiteY26" fmla="*/ 20241 h 4760516"/>
                    <a:gd name="connsiteX27" fmla="*/ 2381249 w 3900488"/>
                    <a:gd name="connsiteY27" fmla="*/ 121841 h 4760516"/>
                    <a:gd name="connsiteX28" fmla="*/ 2641599 w 3900488"/>
                    <a:gd name="connsiteY28" fmla="*/ 331391 h 4760516"/>
                    <a:gd name="connsiteX29" fmla="*/ 2946399 w 3900488"/>
                    <a:gd name="connsiteY29" fmla="*/ 693341 h 4760516"/>
                    <a:gd name="connsiteX30" fmla="*/ 3060699 w 3900488"/>
                    <a:gd name="connsiteY30" fmla="*/ 883841 h 4760516"/>
                    <a:gd name="connsiteX31" fmla="*/ 3009899 w 3900488"/>
                    <a:gd name="connsiteY31" fmla="*/ 1004491 h 4760516"/>
                    <a:gd name="connsiteX32" fmla="*/ 2901949 w 3900488"/>
                    <a:gd name="connsiteY32" fmla="*/ 1061641 h 4760516"/>
                    <a:gd name="connsiteX33" fmla="*/ 2825749 w 3900488"/>
                    <a:gd name="connsiteY33" fmla="*/ 998141 h 4760516"/>
                    <a:gd name="connsiteX34" fmla="*/ 2654299 w 3900488"/>
                    <a:gd name="connsiteY34" fmla="*/ 820341 h 4760516"/>
                    <a:gd name="connsiteX35" fmla="*/ 2349499 w 3900488"/>
                    <a:gd name="connsiteY35" fmla="*/ 674291 h 4760516"/>
                    <a:gd name="connsiteX36" fmla="*/ 2019299 w 3900488"/>
                    <a:gd name="connsiteY36" fmla="*/ 674291 h 4760516"/>
                    <a:gd name="connsiteX37" fmla="*/ 2343149 w 3900488"/>
                    <a:gd name="connsiteY37" fmla="*/ 769541 h 4760516"/>
                    <a:gd name="connsiteX38" fmla="*/ 2552699 w 3900488"/>
                    <a:gd name="connsiteY38" fmla="*/ 909241 h 4760516"/>
                    <a:gd name="connsiteX39" fmla="*/ 2629040 w 3900488"/>
                    <a:gd name="connsiteY39" fmla="*/ 973620 h 4760516"/>
                    <a:gd name="connsiteX40" fmla="*/ 2900212 w 3900488"/>
                    <a:gd name="connsiteY40" fmla="*/ 1067700 h 4760516"/>
                    <a:gd name="connsiteX41" fmla="*/ 2829545 w 3900488"/>
                    <a:gd name="connsiteY41" fmla="*/ 1212445 h 4760516"/>
                    <a:gd name="connsiteX42" fmla="*/ 2829545 w 3900488"/>
                    <a:gd name="connsiteY42" fmla="*/ 1445256 h 4760516"/>
                    <a:gd name="connsiteX43" fmla="*/ 2938456 w 3900488"/>
                    <a:gd name="connsiteY43" fmla="*/ 1531580 h 4760516"/>
                    <a:gd name="connsiteX44" fmla="*/ 2822442 w 3900488"/>
                    <a:gd name="connsiteY44" fmla="*/ 2041674 h 4760516"/>
                    <a:gd name="connsiteX45" fmla="*/ 2756148 w 3900488"/>
                    <a:gd name="connsiteY45" fmla="*/ 2086142 h 4760516"/>
                    <a:gd name="connsiteX46" fmla="*/ 2479547 w 3900488"/>
                    <a:gd name="connsiteY46" fmla="*/ 2698176 h 4760516"/>
                    <a:gd name="connsiteX47" fmla="*/ 2528888 w 3900488"/>
                    <a:gd name="connsiteY47" fmla="*/ 2817416 h 4760516"/>
                    <a:gd name="connsiteX48" fmla="*/ 2590800 w 3900488"/>
                    <a:gd name="connsiteY48" fmla="*/ 2874566 h 4760516"/>
                    <a:gd name="connsiteX49" fmla="*/ 2657475 w 3900488"/>
                    <a:gd name="connsiteY49" fmla="*/ 2884091 h 4760516"/>
                    <a:gd name="connsiteX50" fmla="*/ 2681288 w 3900488"/>
                    <a:gd name="connsiteY50" fmla="*/ 2912666 h 4760516"/>
                    <a:gd name="connsiteX51" fmla="*/ 2747963 w 3900488"/>
                    <a:gd name="connsiteY51" fmla="*/ 3079354 h 4760516"/>
                    <a:gd name="connsiteX52" fmla="*/ 2843213 w 3900488"/>
                    <a:gd name="connsiteY52" fmla="*/ 3174604 h 4760516"/>
                    <a:gd name="connsiteX53" fmla="*/ 2938463 w 3900488"/>
                    <a:gd name="connsiteY53" fmla="*/ 3207941 h 4760516"/>
                    <a:gd name="connsiteX54" fmla="*/ 3281363 w 3900488"/>
                    <a:gd name="connsiteY54" fmla="*/ 3317479 h 4760516"/>
                    <a:gd name="connsiteX55" fmla="*/ 3657600 w 3900488"/>
                    <a:gd name="connsiteY55" fmla="*/ 3493691 h 4760516"/>
                    <a:gd name="connsiteX56" fmla="*/ 3867150 w 3900488"/>
                    <a:gd name="connsiteY56" fmla="*/ 3641329 h 4760516"/>
                    <a:gd name="connsiteX57" fmla="*/ 3900488 w 3900488"/>
                    <a:gd name="connsiteY57" fmla="*/ 3769916 h 4760516"/>
                    <a:gd name="connsiteX58" fmla="*/ 3876675 w 3900488"/>
                    <a:gd name="connsiteY58" fmla="*/ 4027091 h 4760516"/>
                    <a:gd name="connsiteX59" fmla="*/ 3790950 w 3900488"/>
                    <a:gd name="connsiteY59" fmla="*/ 4236641 h 4760516"/>
                    <a:gd name="connsiteX60" fmla="*/ 3619500 w 3900488"/>
                    <a:gd name="connsiteY60" fmla="*/ 4598591 h 4760516"/>
                    <a:gd name="connsiteX61" fmla="*/ 3471863 w 3900488"/>
                    <a:gd name="connsiteY61" fmla="*/ 4760516 h 4760516"/>
                    <a:gd name="connsiteX62" fmla="*/ 338138 w 3900488"/>
                    <a:gd name="connsiteY62" fmla="*/ 4760516 h 4760516"/>
                    <a:gd name="connsiteX63" fmla="*/ 161925 w 3900488"/>
                    <a:gd name="connsiteY63" fmla="*/ 4436666 h 4760516"/>
                    <a:gd name="connsiteX64" fmla="*/ 57150 w 3900488"/>
                    <a:gd name="connsiteY64" fmla="*/ 4141391 h 4760516"/>
                    <a:gd name="connsiteX65" fmla="*/ 0 w 3900488"/>
                    <a:gd name="connsiteY65" fmla="*/ 3855641 h 4760516"/>
                    <a:gd name="connsiteX66" fmla="*/ 23813 w 3900488"/>
                    <a:gd name="connsiteY66" fmla="*/ 3703241 h 4760516"/>
                    <a:gd name="connsiteX67" fmla="*/ 219075 w 3900488"/>
                    <a:gd name="connsiteY67" fmla="*/ 3584179 h 4760516"/>
                    <a:gd name="connsiteX68" fmla="*/ 533400 w 3900488"/>
                    <a:gd name="connsiteY68" fmla="*/ 3450829 h 4760516"/>
                    <a:gd name="connsiteX69" fmla="*/ 933450 w 3900488"/>
                    <a:gd name="connsiteY69" fmla="*/ 3293666 h 4760516"/>
                    <a:gd name="connsiteX70" fmla="*/ 1133475 w 3900488"/>
                    <a:gd name="connsiteY70" fmla="*/ 3217466 h 4760516"/>
                    <a:gd name="connsiteX71" fmla="*/ 1276350 w 3900488"/>
                    <a:gd name="connsiteY71" fmla="*/ 2950766 h 4760516"/>
                    <a:gd name="connsiteX72" fmla="*/ 1371600 w 3900488"/>
                    <a:gd name="connsiteY72" fmla="*/ 2888854 h 4760516"/>
                    <a:gd name="connsiteX73" fmla="*/ 1443038 w 3900488"/>
                    <a:gd name="connsiteY73" fmla="*/ 2750741 h 4760516"/>
                    <a:gd name="connsiteX74" fmla="*/ 1428750 w 3900488"/>
                    <a:gd name="connsiteY74" fmla="*/ 2665016 h 4760516"/>
                    <a:gd name="connsiteX75" fmla="*/ 1432339 w 3900488"/>
                    <a:gd name="connsiteY75" fmla="*/ 2655556 h 4760516"/>
                    <a:gd name="connsiteX76" fmla="*/ 1411332 w 3900488"/>
                    <a:gd name="connsiteY76" fmla="*/ 2630242 h 4760516"/>
                    <a:gd name="connsiteX77" fmla="*/ 1169833 w 3900488"/>
                    <a:gd name="connsiteY77" fmla="*/ 2059985 h 4760516"/>
                    <a:gd name="connsiteX78" fmla="*/ 975688 w 3900488"/>
                    <a:gd name="connsiteY78" fmla="*/ 1612672 h 4760516"/>
                    <a:gd name="connsiteX79" fmla="*/ 1051451 w 3900488"/>
                    <a:gd name="connsiteY79" fmla="*/ 1487109 h 4760516"/>
                    <a:gd name="connsiteX80" fmla="*/ 1016847 w 3900488"/>
                    <a:gd name="connsiteY80" fmla="*/ 1277790 h 4760516"/>
                    <a:gd name="connsiteX81" fmla="*/ 933449 w 3900488"/>
                    <a:gd name="connsiteY81" fmla="*/ 1341041 h 4760516"/>
                    <a:gd name="connsiteX82" fmla="*/ 882649 w 3900488"/>
                    <a:gd name="connsiteY82" fmla="*/ 1404541 h 4760516"/>
                    <a:gd name="connsiteX83" fmla="*/ 838199 w 3900488"/>
                    <a:gd name="connsiteY83" fmla="*/ 1525191 h 4760516"/>
                    <a:gd name="connsiteX84" fmla="*/ 857249 w 3900488"/>
                    <a:gd name="connsiteY84" fmla="*/ 1645841 h 4760516"/>
                    <a:gd name="connsiteX85" fmla="*/ 888999 w 3900488"/>
                    <a:gd name="connsiteY85" fmla="*/ 1829991 h 4760516"/>
                    <a:gd name="connsiteX86" fmla="*/ 965199 w 3900488"/>
                    <a:gd name="connsiteY86" fmla="*/ 2128441 h 4760516"/>
                    <a:gd name="connsiteX87" fmla="*/ 1047749 w 3900488"/>
                    <a:gd name="connsiteY87" fmla="*/ 2198291 h 4760516"/>
                    <a:gd name="connsiteX88" fmla="*/ 1098549 w 3900488"/>
                    <a:gd name="connsiteY88" fmla="*/ 2331641 h 4760516"/>
                    <a:gd name="connsiteX89" fmla="*/ 1219199 w 3900488"/>
                    <a:gd name="connsiteY89" fmla="*/ 2566591 h 4760516"/>
                    <a:gd name="connsiteX90" fmla="*/ 1269999 w 3900488"/>
                    <a:gd name="connsiteY90" fmla="*/ 2712641 h 4760516"/>
                    <a:gd name="connsiteX91" fmla="*/ 1130299 w 3900488"/>
                    <a:gd name="connsiteY91" fmla="*/ 2750741 h 4760516"/>
                    <a:gd name="connsiteX92" fmla="*/ 927099 w 3900488"/>
                    <a:gd name="connsiteY92" fmla="*/ 2776141 h 4760516"/>
                    <a:gd name="connsiteX93" fmla="*/ 742949 w 3900488"/>
                    <a:gd name="connsiteY93" fmla="*/ 2731691 h 4760516"/>
                    <a:gd name="connsiteX94" fmla="*/ 660399 w 3900488"/>
                    <a:gd name="connsiteY94" fmla="*/ 2591991 h 4760516"/>
                    <a:gd name="connsiteX95" fmla="*/ 622299 w 3900488"/>
                    <a:gd name="connsiteY95" fmla="*/ 2344341 h 4760516"/>
                    <a:gd name="connsiteX96" fmla="*/ 634999 w 3900488"/>
                    <a:gd name="connsiteY96" fmla="*/ 2020491 h 4760516"/>
                    <a:gd name="connsiteX97" fmla="*/ 736599 w 3900488"/>
                    <a:gd name="connsiteY97" fmla="*/ 1328341 h 4760516"/>
                    <a:gd name="connsiteX98" fmla="*/ 971549 w 3900488"/>
                    <a:gd name="connsiteY98" fmla="*/ 623491 h 4760516"/>
                    <a:gd name="connsiteX99" fmla="*/ 1168399 w 3900488"/>
                    <a:gd name="connsiteY99" fmla="*/ 299641 h 4760516"/>
                    <a:gd name="connsiteX100" fmla="*/ 1358899 w 3900488"/>
                    <a:gd name="connsiteY100" fmla="*/ 140891 h 4760516"/>
                    <a:gd name="connsiteX101" fmla="*/ 1530349 w 3900488"/>
                    <a:gd name="connsiteY101" fmla="*/ 115491 h 4760516"/>
                    <a:gd name="connsiteX102" fmla="*/ 1676399 w 3900488"/>
                    <a:gd name="connsiteY102" fmla="*/ 13891 h 4760516"/>
                    <a:gd name="connsiteX103" fmla="*/ 1813321 w 3900488"/>
                    <a:gd name="connsiteY103" fmla="*/ 0 h 4760516"/>
                    <a:gd name="connsiteX0" fmla="*/ 3061653 w 3901192"/>
                    <a:gd name="connsiteY0" fmla="*/ 1005769 h 4760516"/>
                    <a:gd name="connsiteX1" fmla="*/ 3082042 w 3901192"/>
                    <a:gd name="connsiteY1" fmla="*/ 1026716 h 4760516"/>
                    <a:gd name="connsiteX2" fmla="*/ 3167767 w 3901192"/>
                    <a:gd name="connsiteY2" fmla="*/ 1369616 h 4760516"/>
                    <a:gd name="connsiteX3" fmla="*/ 3253492 w 3901192"/>
                    <a:gd name="connsiteY3" fmla="*/ 1822054 h 4760516"/>
                    <a:gd name="connsiteX4" fmla="*/ 3282067 w 3901192"/>
                    <a:gd name="connsiteY4" fmla="*/ 2255441 h 4760516"/>
                    <a:gd name="connsiteX5" fmla="*/ 3272542 w 3901192"/>
                    <a:gd name="connsiteY5" fmla="*/ 2526904 h 4760516"/>
                    <a:gd name="connsiteX6" fmla="*/ 3191579 w 3901192"/>
                    <a:gd name="connsiteY6" fmla="*/ 2722166 h 4760516"/>
                    <a:gd name="connsiteX7" fmla="*/ 3043942 w 3901192"/>
                    <a:gd name="connsiteY7" fmla="*/ 2750741 h 4760516"/>
                    <a:gd name="connsiteX8" fmla="*/ 2810579 w 3901192"/>
                    <a:gd name="connsiteY8" fmla="*/ 2731691 h 4760516"/>
                    <a:gd name="connsiteX9" fmla="*/ 2634367 w 3901192"/>
                    <a:gd name="connsiteY9" fmla="*/ 2669779 h 4760516"/>
                    <a:gd name="connsiteX10" fmla="*/ 2658179 w 3901192"/>
                    <a:gd name="connsiteY10" fmla="*/ 2603104 h 4760516"/>
                    <a:gd name="connsiteX11" fmla="*/ 2753429 w 3901192"/>
                    <a:gd name="connsiteY11" fmla="*/ 2474516 h 4760516"/>
                    <a:gd name="connsiteX12" fmla="*/ 2843917 w 3901192"/>
                    <a:gd name="connsiteY12" fmla="*/ 2255441 h 4760516"/>
                    <a:gd name="connsiteX13" fmla="*/ 2862967 w 3901192"/>
                    <a:gd name="connsiteY13" fmla="*/ 2160191 h 4760516"/>
                    <a:gd name="connsiteX14" fmla="*/ 2920117 w 3901192"/>
                    <a:gd name="connsiteY14" fmla="*/ 2098279 h 4760516"/>
                    <a:gd name="connsiteX15" fmla="*/ 3001079 w 3901192"/>
                    <a:gd name="connsiteY15" fmla="*/ 1855391 h 4760516"/>
                    <a:gd name="connsiteX16" fmla="*/ 3058229 w 3901192"/>
                    <a:gd name="connsiteY16" fmla="*/ 1598216 h 4760516"/>
                    <a:gd name="connsiteX17" fmla="*/ 3062992 w 3901192"/>
                    <a:gd name="connsiteY17" fmla="*/ 1483916 h 4760516"/>
                    <a:gd name="connsiteX18" fmla="*/ 3010604 w 3901192"/>
                    <a:gd name="connsiteY18" fmla="*/ 1379141 h 4760516"/>
                    <a:gd name="connsiteX19" fmla="*/ 2958217 w 3901192"/>
                    <a:gd name="connsiteY19" fmla="*/ 1331516 h 4760516"/>
                    <a:gd name="connsiteX20" fmla="*/ 2948692 w 3901192"/>
                    <a:gd name="connsiteY20" fmla="*/ 1236266 h 4760516"/>
                    <a:gd name="connsiteX21" fmla="*/ 2958217 w 3901192"/>
                    <a:gd name="connsiteY21" fmla="*/ 1121966 h 4760516"/>
                    <a:gd name="connsiteX22" fmla="*/ 3005842 w 3901192"/>
                    <a:gd name="connsiteY22" fmla="*/ 1050529 h 4760516"/>
                    <a:gd name="connsiteX23" fmla="*/ 3061653 w 3901192"/>
                    <a:gd name="connsiteY23" fmla="*/ 1005769 h 4760516"/>
                    <a:gd name="connsiteX24" fmla="*/ 1814025 w 3901192"/>
                    <a:gd name="connsiteY24" fmla="*/ 0 h 4760516"/>
                    <a:gd name="connsiteX25" fmla="*/ 1956503 w 3901192"/>
                    <a:gd name="connsiteY25" fmla="*/ 1191 h 4760516"/>
                    <a:gd name="connsiteX26" fmla="*/ 2153353 w 3901192"/>
                    <a:gd name="connsiteY26" fmla="*/ 20241 h 4760516"/>
                    <a:gd name="connsiteX27" fmla="*/ 2381953 w 3901192"/>
                    <a:gd name="connsiteY27" fmla="*/ 121841 h 4760516"/>
                    <a:gd name="connsiteX28" fmla="*/ 2642303 w 3901192"/>
                    <a:gd name="connsiteY28" fmla="*/ 331391 h 4760516"/>
                    <a:gd name="connsiteX29" fmla="*/ 2947103 w 3901192"/>
                    <a:gd name="connsiteY29" fmla="*/ 693341 h 4760516"/>
                    <a:gd name="connsiteX30" fmla="*/ 3061403 w 3901192"/>
                    <a:gd name="connsiteY30" fmla="*/ 883841 h 4760516"/>
                    <a:gd name="connsiteX31" fmla="*/ 3010603 w 3901192"/>
                    <a:gd name="connsiteY31" fmla="*/ 1004491 h 4760516"/>
                    <a:gd name="connsiteX32" fmla="*/ 2902653 w 3901192"/>
                    <a:gd name="connsiteY32" fmla="*/ 1061641 h 4760516"/>
                    <a:gd name="connsiteX33" fmla="*/ 2826453 w 3901192"/>
                    <a:gd name="connsiteY33" fmla="*/ 998141 h 4760516"/>
                    <a:gd name="connsiteX34" fmla="*/ 2655003 w 3901192"/>
                    <a:gd name="connsiteY34" fmla="*/ 820341 h 4760516"/>
                    <a:gd name="connsiteX35" fmla="*/ 2350203 w 3901192"/>
                    <a:gd name="connsiteY35" fmla="*/ 674291 h 4760516"/>
                    <a:gd name="connsiteX36" fmla="*/ 2020003 w 3901192"/>
                    <a:gd name="connsiteY36" fmla="*/ 674291 h 4760516"/>
                    <a:gd name="connsiteX37" fmla="*/ 2343853 w 3901192"/>
                    <a:gd name="connsiteY37" fmla="*/ 769541 h 4760516"/>
                    <a:gd name="connsiteX38" fmla="*/ 2553403 w 3901192"/>
                    <a:gd name="connsiteY38" fmla="*/ 909241 h 4760516"/>
                    <a:gd name="connsiteX39" fmla="*/ 2629744 w 3901192"/>
                    <a:gd name="connsiteY39" fmla="*/ 973620 h 4760516"/>
                    <a:gd name="connsiteX40" fmla="*/ 2900916 w 3901192"/>
                    <a:gd name="connsiteY40" fmla="*/ 1067700 h 4760516"/>
                    <a:gd name="connsiteX41" fmla="*/ 2830249 w 3901192"/>
                    <a:gd name="connsiteY41" fmla="*/ 1212445 h 4760516"/>
                    <a:gd name="connsiteX42" fmla="*/ 2830249 w 3901192"/>
                    <a:gd name="connsiteY42" fmla="*/ 1445256 h 4760516"/>
                    <a:gd name="connsiteX43" fmla="*/ 2939160 w 3901192"/>
                    <a:gd name="connsiteY43" fmla="*/ 1531580 h 4760516"/>
                    <a:gd name="connsiteX44" fmla="*/ 2823146 w 3901192"/>
                    <a:gd name="connsiteY44" fmla="*/ 2041674 h 4760516"/>
                    <a:gd name="connsiteX45" fmla="*/ 2756852 w 3901192"/>
                    <a:gd name="connsiteY45" fmla="*/ 2086142 h 4760516"/>
                    <a:gd name="connsiteX46" fmla="*/ 2480251 w 3901192"/>
                    <a:gd name="connsiteY46" fmla="*/ 2698176 h 4760516"/>
                    <a:gd name="connsiteX47" fmla="*/ 2529592 w 3901192"/>
                    <a:gd name="connsiteY47" fmla="*/ 2817416 h 4760516"/>
                    <a:gd name="connsiteX48" fmla="*/ 2591504 w 3901192"/>
                    <a:gd name="connsiteY48" fmla="*/ 2874566 h 4760516"/>
                    <a:gd name="connsiteX49" fmla="*/ 2658179 w 3901192"/>
                    <a:gd name="connsiteY49" fmla="*/ 2884091 h 4760516"/>
                    <a:gd name="connsiteX50" fmla="*/ 2681992 w 3901192"/>
                    <a:gd name="connsiteY50" fmla="*/ 2912666 h 4760516"/>
                    <a:gd name="connsiteX51" fmla="*/ 2748667 w 3901192"/>
                    <a:gd name="connsiteY51" fmla="*/ 3079354 h 4760516"/>
                    <a:gd name="connsiteX52" fmla="*/ 2843917 w 3901192"/>
                    <a:gd name="connsiteY52" fmla="*/ 3174604 h 4760516"/>
                    <a:gd name="connsiteX53" fmla="*/ 2939167 w 3901192"/>
                    <a:gd name="connsiteY53" fmla="*/ 3207941 h 4760516"/>
                    <a:gd name="connsiteX54" fmla="*/ 3282067 w 3901192"/>
                    <a:gd name="connsiteY54" fmla="*/ 3317479 h 4760516"/>
                    <a:gd name="connsiteX55" fmla="*/ 3658304 w 3901192"/>
                    <a:gd name="connsiteY55" fmla="*/ 3493691 h 4760516"/>
                    <a:gd name="connsiteX56" fmla="*/ 3867854 w 3901192"/>
                    <a:gd name="connsiteY56" fmla="*/ 3641329 h 4760516"/>
                    <a:gd name="connsiteX57" fmla="*/ 3901192 w 3901192"/>
                    <a:gd name="connsiteY57" fmla="*/ 3769916 h 4760516"/>
                    <a:gd name="connsiteX58" fmla="*/ 3877379 w 3901192"/>
                    <a:gd name="connsiteY58" fmla="*/ 4027091 h 4760516"/>
                    <a:gd name="connsiteX59" fmla="*/ 3791654 w 3901192"/>
                    <a:gd name="connsiteY59" fmla="*/ 4236641 h 4760516"/>
                    <a:gd name="connsiteX60" fmla="*/ 3620204 w 3901192"/>
                    <a:gd name="connsiteY60" fmla="*/ 4598591 h 4760516"/>
                    <a:gd name="connsiteX61" fmla="*/ 3472567 w 3901192"/>
                    <a:gd name="connsiteY61" fmla="*/ 4760516 h 4760516"/>
                    <a:gd name="connsiteX62" fmla="*/ 338842 w 3901192"/>
                    <a:gd name="connsiteY62" fmla="*/ 4760516 h 4760516"/>
                    <a:gd name="connsiteX63" fmla="*/ 162629 w 3901192"/>
                    <a:gd name="connsiteY63" fmla="*/ 4436666 h 4760516"/>
                    <a:gd name="connsiteX64" fmla="*/ 57854 w 3901192"/>
                    <a:gd name="connsiteY64" fmla="*/ 4141391 h 4760516"/>
                    <a:gd name="connsiteX65" fmla="*/ 704 w 3901192"/>
                    <a:gd name="connsiteY65" fmla="*/ 3855641 h 4760516"/>
                    <a:gd name="connsiteX66" fmla="*/ 24517 w 3901192"/>
                    <a:gd name="connsiteY66" fmla="*/ 3703241 h 4760516"/>
                    <a:gd name="connsiteX67" fmla="*/ 219779 w 3901192"/>
                    <a:gd name="connsiteY67" fmla="*/ 3584179 h 4760516"/>
                    <a:gd name="connsiteX68" fmla="*/ 534104 w 3901192"/>
                    <a:gd name="connsiteY68" fmla="*/ 3450829 h 4760516"/>
                    <a:gd name="connsiteX69" fmla="*/ 934154 w 3901192"/>
                    <a:gd name="connsiteY69" fmla="*/ 3293666 h 4760516"/>
                    <a:gd name="connsiteX70" fmla="*/ 1134179 w 3901192"/>
                    <a:gd name="connsiteY70" fmla="*/ 3217466 h 4760516"/>
                    <a:gd name="connsiteX71" fmla="*/ 1277054 w 3901192"/>
                    <a:gd name="connsiteY71" fmla="*/ 2950766 h 4760516"/>
                    <a:gd name="connsiteX72" fmla="*/ 1372304 w 3901192"/>
                    <a:gd name="connsiteY72" fmla="*/ 2888854 h 4760516"/>
                    <a:gd name="connsiteX73" fmla="*/ 1443742 w 3901192"/>
                    <a:gd name="connsiteY73" fmla="*/ 2750741 h 4760516"/>
                    <a:gd name="connsiteX74" fmla="*/ 1429454 w 3901192"/>
                    <a:gd name="connsiteY74" fmla="*/ 2665016 h 4760516"/>
                    <a:gd name="connsiteX75" fmla="*/ 1433043 w 3901192"/>
                    <a:gd name="connsiteY75" fmla="*/ 2655556 h 4760516"/>
                    <a:gd name="connsiteX76" fmla="*/ 1412036 w 3901192"/>
                    <a:gd name="connsiteY76" fmla="*/ 2630242 h 4760516"/>
                    <a:gd name="connsiteX77" fmla="*/ 1170537 w 3901192"/>
                    <a:gd name="connsiteY77" fmla="*/ 2059985 h 4760516"/>
                    <a:gd name="connsiteX78" fmla="*/ 976392 w 3901192"/>
                    <a:gd name="connsiteY78" fmla="*/ 1612672 h 4760516"/>
                    <a:gd name="connsiteX79" fmla="*/ 1052155 w 3901192"/>
                    <a:gd name="connsiteY79" fmla="*/ 1487109 h 4760516"/>
                    <a:gd name="connsiteX80" fmla="*/ 1017551 w 3901192"/>
                    <a:gd name="connsiteY80" fmla="*/ 1277790 h 4760516"/>
                    <a:gd name="connsiteX81" fmla="*/ 934153 w 3901192"/>
                    <a:gd name="connsiteY81" fmla="*/ 1341041 h 4760516"/>
                    <a:gd name="connsiteX82" fmla="*/ 883353 w 3901192"/>
                    <a:gd name="connsiteY82" fmla="*/ 1404541 h 4760516"/>
                    <a:gd name="connsiteX83" fmla="*/ 838903 w 3901192"/>
                    <a:gd name="connsiteY83" fmla="*/ 1525191 h 4760516"/>
                    <a:gd name="connsiteX84" fmla="*/ 857953 w 3901192"/>
                    <a:gd name="connsiteY84" fmla="*/ 1645841 h 4760516"/>
                    <a:gd name="connsiteX85" fmla="*/ 889703 w 3901192"/>
                    <a:gd name="connsiteY85" fmla="*/ 1829991 h 4760516"/>
                    <a:gd name="connsiteX86" fmla="*/ 965903 w 3901192"/>
                    <a:gd name="connsiteY86" fmla="*/ 2128441 h 4760516"/>
                    <a:gd name="connsiteX87" fmla="*/ 1048453 w 3901192"/>
                    <a:gd name="connsiteY87" fmla="*/ 2198291 h 4760516"/>
                    <a:gd name="connsiteX88" fmla="*/ 1099253 w 3901192"/>
                    <a:gd name="connsiteY88" fmla="*/ 2331641 h 4760516"/>
                    <a:gd name="connsiteX89" fmla="*/ 1219903 w 3901192"/>
                    <a:gd name="connsiteY89" fmla="*/ 2566591 h 4760516"/>
                    <a:gd name="connsiteX90" fmla="*/ 1270703 w 3901192"/>
                    <a:gd name="connsiteY90" fmla="*/ 2712641 h 4760516"/>
                    <a:gd name="connsiteX91" fmla="*/ 1131003 w 3901192"/>
                    <a:gd name="connsiteY91" fmla="*/ 2750741 h 4760516"/>
                    <a:gd name="connsiteX92" fmla="*/ 927803 w 3901192"/>
                    <a:gd name="connsiteY92" fmla="*/ 2776141 h 4760516"/>
                    <a:gd name="connsiteX93" fmla="*/ 743653 w 3901192"/>
                    <a:gd name="connsiteY93" fmla="*/ 2731691 h 4760516"/>
                    <a:gd name="connsiteX94" fmla="*/ 661103 w 3901192"/>
                    <a:gd name="connsiteY94" fmla="*/ 2591991 h 4760516"/>
                    <a:gd name="connsiteX95" fmla="*/ 623003 w 3901192"/>
                    <a:gd name="connsiteY95" fmla="*/ 2344341 h 4760516"/>
                    <a:gd name="connsiteX96" fmla="*/ 635703 w 3901192"/>
                    <a:gd name="connsiteY96" fmla="*/ 2020491 h 4760516"/>
                    <a:gd name="connsiteX97" fmla="*/ 737303 w 3901192"/>
                    <a:gd name="connsiteY97" fmla="*/ 1328341 h 4760516"/>
                    <a:gd name="connsiteX98" fmla="*/ 972253 w 3901192"/>
                    <a:gd name="connsiteY98" fmla="*/ 623491 h 4760516"/>
                    <a:gd name="connsiteX99" fmla="*/ 1169103 w 3901192"/>
                    <a:gd name="connsiteY99" fmla="*/ 299641 h 4760516"/>
                    <a:gd name="connsiteX100" fmla="*/ 1359603 w 3901192"/>
                    <a:gd name="connsiteY100" fmla="*/ 140891 h 4760516"/>
                    <a:gd name="connsiteX101" fmla="*/ 1531053 w 3901192"/>
                    <a:gd name="connsiteY101" fmla="*/ 115491 h 4760516"/>
                    <a:gd name="connsiteX102" fmla="*/ 1677103 w 3901192"/>
                    <a:gd name="connsiteY102" fmla="*/ 13891 h 4760516"/>
                    <a:gd name="connsiteX103" fmla="*/ 1814025 w 3901192"/>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2384"/>
                    <a:gd name="connsiteY0" fmla="*/ 1005769 h 4760516"/>
                    <a:gd name="connsiteX1" fmla="*/ 3082677 w 3902384"/>
                    <a:gd name="connsiteY1" fmla="*/ 1026716 h 4760516"/>
                    <a:gd name="connsiteX2" fmla="*/ 3168402 w 3902384"/>
                    <a:gd name="connsiteY2" fmla="*/ 1369616 h 4760516"/>
                    <a:gd name="connsiteX3" fmla="*/ 3254127 w 3902384"/>
                    <a:gd name="connsiteY3" fmla="*/ 1822054 h 4760516"/>
                    <a:gd name="connsiteX4" fmla="*/ 3282702 w 3902384"/>
                    <a:gd name="connsiteY4" fmla="*/ 2255441 h 4760516"/>
                    <a:gd name="connsiteX5" fmla="*/ 3273177 w 3902384"/>
                    <a:gd name="connsiteY5" fmla="*/ 2526904 h 4760516"/>
                    <a:gd name="connsiteX6" fmla="*/ 3192214 w 3902384"/>
                    <a:gd name="connsiteY6" fmla="*/ 2722166 h 4760516"/>
                    <a:gd name="connsiteX7" fmla="*/ 3044577 w 3902384"/>
                    <a:gd name="connsiteY7" fmla="*/ 2750741 h 4760516"/>
                    <a:gd name="connsiteX8" fmla="*/ 2811214 w 3902384"/>
                    <a:gd name="connsiteY8" fmla="*/ 2731691 h 4760516"/>
                    <a:gd name="connsiteX9" fmla="*/ 2635002 w 3902384"/>
                    <a:gd name="connsiteY9" fmla="*/ 2669779 h 4760516"/>
                    <a:gd name="connsiteX10" fmla="*/ 2658814 w 3902384"/>
                    <a:gd name="connsiteY10" fmla="*/ 2603104 h 4760516"/>
                    <a:gd name="connsiteX11" fmla="*/ 2754064 w 3902384"/>
                    <a:gd name="connsiteY11" fmla="*/ 2474516 h 4760516"/>
                    <a:gd name="connsiteX12" fmla="*/ 2844552 w 3902384"/>
                    <a:gd name="connsiteY12" fmla="*/ 2255441 h 4760516"/>
                    <a:gd name="connsiteX13" fmla="*/ 2863602 w 3902384"/>
                    <a:gd name="connsiteY13" fmla="*/ 2160191 h 4760516"/>
                    <a:gd name="connsiteX14" fmla="*/ 2920752 w 3902384"/>
                    <a:gd name="connsiteY14" fmla="*/ 2098279 h 4760516"/>
                    <a:gd name="connsiteX15" fmla="*/ 3001714 w 3902384"/>
                    <a:gd name="connsiteY15" fmla="*/ 1855391 h 4760516"/>
                    <a:gd name="connsiteX16" fmla="*/ 3058864 w 3902384"/>
                    <a:gd name="connsiteY16" fmla="*/ 1598216 h 4760516"/>
                    <a:gd name="connsiteX17" fmla="*/ 3063627 w 3902384"/>
                    <a:gd name="connsiteY17" fmla="*/ 1483916 h 4760516"/>
                    <a:gd name="connsiteX18" fmla="*/ 3011239 w 3902384"/>
                    <a:gd name="connsiteY18" fmla="*/ 1379141 h 4760516"/>
                    <a:gd name="connsiteX19" fmla="*/ 2958852 w 3902384"/>
                    <a:gd name="connsiteY19" fmla="*/ 1331516 h 4760516"/>
                    <a:gd name="connsiteX20" fmla="*/ 2949327 w 3902384"/>
                    <a:gd name="connsiteY20" fmla="*/ 1236266 h 4760516"/>
                    <a:gd name="connsiteX21" fmla="*/ 2958852 w 3902384"/>
                    <a:gd name="connsiteY21" fmla="*/ 1121966 h 4760516"/>
                    <a:gd name="connsiteX22" fmla="*/ 3006477 w 3902384"/>
                    <a:gd name="connsiteY22" fmla="*/ 1050529 h 4760516"/>
                    <a:gd name="connsiteX23" fmla="*/ 3062288 w 3902384"/>
                    <a:gd name="connsiteY23" fmla="*/ 1005769 h 4760516"/>
                    <a:gd name="connsiteX24" fmla="*/ 1814660 w 3902384"/>
                    <a:gd name="connsiteY24" fmla="*/ 0 h 4760516"/>
                    <a:gd name="connsiteX25" fmla="*/ 1957138 w 3902384"/>
                    <a:gd name="connsiteY25" fmla="*/ 1191 h 4760516"/>
                    <a:gd name="connsiteX26" fmla="*/ 2153988 w 3902384"/>
                    <a:gd name="connsiteY26" fmla="*/ 20241 h 4760516"/>
                    <a:gd name="connsiteX27" fmla="*/ 2382588 w 3902384"/>
                    <a:gd name="connsiteY27" fmla="*/ 121841 h 4760516"/>
                    <a:gd name="connsiteX28" fmla="*/ 2642938 w 3902384"/>
                    <a:gd name="connsiteY28" fmla="*/ 331391 h 4760516"/>
                    <a:gd name="connsiteX29" fmla="*/ 2947738 w 3902384"/>
                    <a:gd name="connsiteY29" fmla="*/ 693341 h 4760516"/>
                    <a:gd name="connsiteX30" fmla="*/ 3062038 w 3902384"/>
                    <a:gd name="connsiteY30" fmla="*/ 883841 h 4760516"/>
                    <a:gd name="connsiteX31" fmla="*/ 3011238 w 3902384"/>
                    <a:gd name="connsiteY31" fmla="*/ 1004491 h 4760516"/>
                    <a:gd name="connsiteX32" fmla="*/ 2903288 w 3902384"/>
                    <a:gd name="connsiteY32" fmla="*/ 1061641 h 4760516"/>
                    <a:gd name="connsiteX33" fmla="*/ 2827088 w 3902384"/>
                    <a:gd name="connsiteY33" fmla="*/ 998141 h 4760516"/>
                    <a:gd name="connsiteX34" fmla="*/ 2655638 w 3902384"/>
                    <a:gd name="connsiteY34" fmla="*/ 820341 h 4760516"/>
                    <a:gd name="connsiteX35" fmla="*/ 2350838 w 3902384"/>
                    <a:gd name="connsiteY35" fmla="*/ 674291 h 4760516"/>
                    <a:gd name="connsiteX36" fmla="*/ 2020638 w 3902384"/>
                    <a:gd name="connsiteY36" fmla="*/ 674291 h 4760516"/>
                    <a:gd name="connsiteX37" fmla="*/ 2344488 w 3902384"/>
                    <a:gd name="connsiteY37" fmla="*/ 769541 h 4760516"/>
                    <a:gd name="connsiteX38" fmla="*/ 2554038 w 3902384"/>
                    <a:gd name="connsiteY38" fmla="*/ 909241 h 4760516"/>
                    <a:gd name="connsiteX39" fmla="*/ 2630379 w 3902384"/>
                    <a:gd name="connsiteY39" fmla="*/ 973620 h 4760516"/>
                    <a:gd name="connsiteX40" fmla="*/ 2901551 w 3902384"/>
                    <a:gd name="connsiteY40" fmla="*/ 1067700 h 4760516"/>
                    <a:gd name="connsiteX41" fmla="*/ 2830884 w 3902384"/>
                    <a:gd name="connsiteY41" fmla="*/ 1212445 h 4760516"/>
                    <a:gd name="connsiteX42" fmla="*/ 2830884 w 3902384"/>
                    <a:gd name="connsiteY42" fmla="*/ 1445256 h 4760516"/>
                    <a:gd name="connsiteX43" fmla="*/ 2939795 w 3902384"/>
                    <a:gd name="connsiteY43" fmla="*/ 1531580 h 4760516"/>
                    <a:gd name="connsiteX44" fmla="*/ 2823781 w 3902384"/>
                    <a:gd name="connsiteY44" fmla="*/ 2041674 h 4760516"/>
                    <a:gd name="connsiteX45" fmla="*/ 2757487 w 3902384"/>
                    <a:gd name="connsiteY45" fmla="*/ 2086142 h 4760516"/>
                    <a:gd name="connsiteX46" fmla="*/ 2480886 w 3902384"/>
                    <a:gd name="connsiteY46" fmla="*/ 2698176 h 4760516"/>
                    <a:gd name="connsiteX47" fmla="*/ 2530227 w 3902384"/>
                    <a:gd name="connsiteY47" fmla="*/ 2817416 h 4760516"/>
                    <a:gd name="connsiteX48" fmla="*/ 2592139 w 3902384"/>
                    <a:gd name="connsiteY48" fmla="*/ 2874566 h 4760516"/>
                    <a:gd name="connsiteX49" fmla="*/ 2658814 w 3902384"/>
                    <a:gd name="connsiteY49" fmla="*/ 2884091 h 4760516"/>
                    <a:gd name="connsiteX50" fmla="*/ 2682627 w 3902384"/>
                    <a:gd name="connsiteY50" fmla="*/ 2912666 h 4760516"/>
                    <a:gd name="connsiteX51" fmla="*/ 2749302 w 3902384"/>
                    <a:gd name="connsiteY51" fmla="*/ 3079354 h 4760516"/>
                    <a:gd name="connsiteX52" fmla="*/ 2844552 w 3902384"/>
                    <a:gd name="connsiteY52" fmla="*/ 3174604 h 4760516"/>
                    <a:gd name="connsiteX53" fmla="*/ 2939802 w 3902384"/>
                    <a:gd name="connsiteY53" fmla="*/ 3207941 h 4760516"/>
                    <a:gd name="connsiteX54" fmla="*/ 3282702 w 3902384"/>
                    <a:gd name="connsiteY54" fmla="*/ 3317479 h 4760516"/>
                    <a:gd name="connsiteX55" fmla="*/ 3658939 w 3902384"/>
                    <a:gd name="connsiteY55" fmla="*/ 3493691 h 4760516"/>
                    <a:gd name="connsiteX56" fmla="*/ 3868489 w 3902384"/>
                    <a:gd name="connsiteY56" fmla="*/ 3641329 h 4760516"/>
                    <a:gd name="connsiteX57" fmla="*/ 3901827 w 3902384"/>
                    <a:gd name="connsiteY57" fmla="*/ 3769916 h 4760516"/>
                    <a:gd name="connsiteX58" fmla="*/ 3878014 w 3902384"/>
                    <a:gd name="connsiteY58" fmla="*/ 4027091 h 4760516"/>
                    <a:gd name="connsiteX59" fmla="*/ 3792289 w 3902384"/>
                    <a:gd name="connsiteY59" fmla="*/ 4236641 h 4760516"/>
                    <a:gd name="connsiteX60" fmla="*/ 3620839 w 3902384"/>
                    <a:gd name="connsiteY60" fmla="*/ 4598591 h 4760516"/>
                    <a:gd name="connsiteX61" fmla="*/ 3473202 w 3902384"/>
                    <a:gd name="connsiteY61" fmla="*/ 4760516 h 4760516"/>
                    <a:gd name="connsiteX62" fmla="*/ 339477 w 3902384"/>
                    <a:gd name="connsiteY62" fmla="*/ 4760516 h 4760516"/>
                    <a:gd name="connsiteX63" fmla="*/ 163264 w 3902384"/>
                    <a:gd name="connsiteY63" fmla="*/ 4436666 h 4760516"/>
                    <a:gd name="connsiteX64" fmla="*/ 58489 w 3902384"/>
                    <a:gd name="connsiteY64" fmla="*/ 4141391 h 4760516"/>
                    <a:gd name="connsiteX65" fmla="*/ 1339 w 3902384"/>
                    <a:gd name="connsiteY65" fmla="*/ 3855641 h 4760516"/>
                    <a:gd name="connsiteX66" fmla="*/ 25152 w 3902384"/>
                    <a:gd name="connsiteY66" fmla="*/ 3703241 h 4760516"/>
                    <a:gd name="connsiteX67" fmla="*/ 220414 w 3902384"/>
                    <a:gd name="connsiteY67" fmla="*/ 3584179 h 4760516"/>
                    <a:gd name="connsiteX68" fmla="*/ 534739 w 3902384"/>
                    <a:gd name="connsiteY68" fmla="*/ 3450829 h 4760516"/>
                    <a:gd name="connsiteX69" fmla="*/ 934789 w 3902384"/>
                    <a:gd name="connsiteY69" fmla="*/ 3293666 h 4760516"/>
                    <a:gd name="connsiteX70" fmla="*/ 1134814 w 3902384"/>
                    <a:gd name="connsiteY70" fmla="*/ 3217466 h 4760516"/>
                    <a:gd name="connsiteX71" fmla="*/ 1277689 w 3902384"/>
                    <a:gd name="connsiteY71" fmla="*/ 2950766 h 4760516"/>
                    <a:gd name="connsiteX72" fmla="*/ 1372939 w 3902384"/>
                    <a:gd name="connsiteY72" fmla="*/ 2888854 h 4760516"/>
                    <a:gd name="connsiteX73" fmla="*/ 1444377 w 3902384"/>
                    <a:gd name="connsiteY73" fmla="*/ 2750741 h 4760516"/>
                    <a:gd name="connsiteX74" fmla="*/ 1430089 w 3902384"/>
                    <a:gd name="connsiteY74" fmla="*/ 2665016 h 4760516"/>
                    <a:gd name="connsiteX75" fmla="*/ 1433678 w 3902384"/>
                    <a:gd name="connsiteY75" fmla="*/ 2655556 h 4760516"/>
                    <a:gd name="connsiteX76" fmla="*/ 1412671 w 3902384"/>
                    <a:gd name="connsiteY76" fmla="*/ 2630242 h 4760516"/>
                    <a:gd name="connsiteX77" fmla="*/ 1171172 w 3902384"/>
                    <a:gd name="connsiteY77" fmla="*/ 2059985 h 4760516"/>
                    <a:gd name="connsiteX78" fmla="*/ 977027 w 3902384"/>
                    <a:gd name="connsiteY78" fmla="*/ 1612672 h 4760516"/>
                    <a:gd name="connsiteX79" fmla="*/ 1052790 w 3902384"/>
                    <a:gd name="connsiteY79" fmla="*/ 1487109 h 4760516"/>
                    <a:gd name="connsiteX80" fmla="*/ 1018186 w 3902384"/>
                    <a:gd name="connsiteY80" fmla="*/ 1277790 h 4760516"/>
                    <a:gd name="connsiteX81" fmla="*/ 934788 w 3902384"/>
                    <a:gd name="connsiteY81" fmla="*/ 1341041 h 4760516"/>
                    <a:gd name="connsiteX82" fmla="*/ 883988 w 3902384"/>
                    <a:gd name="connsiteY82" fmla="*/ 1404541 h 4760516"/>
                    <a:gd name="connsiteX83" fmla="*/ 839538 w 3902384"/>
                    <a:gd name="connsiteY83" fmla="*/ 1525191 h 4760516"/>
                    <a:gd name="connsiteX84" fmla="*/ 858588 w 3902384"/>
                    <a:gd name="connsiteY84" fmla="*/ 1645841 h 4760516"/>
                    <a:gd name="connsiteX85" fmla="*/ 890338 w 3902384"/>
                    <a:gd name="connsiteY85" fmla="*/ 1829991 h 4760516"/>
                    <a:gd name="connsiteX86" fmla="*/ 966538 w 3902384"/>
                    <a:gd name="connsiteY86" fmla="*/ 2128441 h 4760516"/>
                    <a:gd name="connsiteX87" fmla="*/ 1049088 w 3902384"/>
                    <a:gd name="connsiteY87" fmla="*/ 2198291 h 4760516"/>
                    <a:gd name="connsiteX88" fmla="*/ 1099888 w 3902384"/>
                    <a:gd name="connsiteY88" fmla="*/ 2331641 h 4760516"/>
                    <a:gd name="connsiteX89" fmla="*/ 1220538 w 3902384"/>
                    <a:gd name="connsiteY89" fmla="*/ 2566591 h 4760516"/>
                    <a:gd name="connsiteX90" fmla="*/ 1271338 w 3902384"/>
                    <a:gd name="connsiteY90" fmla="*/ 2712641 h 4760516"/>
                    <a:gd name="connsiteX91" fmla="*/ 1131638 w 3902384"/>
                    <a:gd name="connsiteY91" fmla="*/ 2750741 h 4760516"/>
                    <a:gd name="connsiteX92" fmla="*/ 928438 w 3902384"/>
                    <a:gd name="connsiteY92" fmla="*/ 2776141 h 4760516"/>
                    <a:gd name="connsiteX93" fmla="*/ 744288 w 3902384"/>
                    <a:gd name="connsiteY93" fmla="*/ 2731691 h 4760516"/>
                    <a:gd name="connsiteX94" fmla="*/ 661738 w 3902384"/>
                    <a:gd name="connsiteY94" fmla="*/ 2591991 h 4760516"/>
                    <a:gd name="connsiteX95" fmla="*/ 623638 w 3902384"/>
                    <a:gd name="connsiteY95" fmla="*/ 2344341 h 4760516"/>
                    <a:gd name="connsiteX96" fmla="*/ 636338 w 3902384"/>
                    <a:gd name="connsiteY96" fmla="*/ 2020491 h 4760516"/>
                    <a:gd name="connsiteX97" fmla="*/ 737938 w 3902384"/>
                    <a:gd name="connsiteY97" fmla="*/ 1328341 h 4760516"/>
                    <a:gd name="connsiteX98" fmla="*/ 972888 w 3902384"/>
                    <a:gd name="connsiteY98" fmla="*/ 623491 h 4760516"/>
                    <a:gd name="connsiteX99" fmla="*/ 1169738 w 3902384"/>
                    <a:gd name="connsiteY99" fmla="*/ 299641 h 4760516"/>
                    <a:gd name="connsiteX100" fmla="*/ 1360238 w 3902384"/>
                    <a:gd name="connsiteY100" fmla="*/ 140891 h 4760516"/>
                    <a:gd name="connsiteX101" fmla="*/ 1531688 w 3902384"/>
                    <a:gd name="connsiteY101" fmla="*/ 115491 h 4760516"/>
                    <a:gd name="connsiteX102" fmla="*/ 1677738 w 3902384"/>
                    <a:gd name="connsiteY102" fmla="*/ 13891 h 4760516"/>
                    <a:gd name="connsiteX103" fmla="*/ 1814660 w 3902384"/>
                    <a:gd name="connsiteY103" fmla="*/ 0 h 4760516"/>
                    <a:gd name="connsiteX0" fmla="*/ 3062288 w 3903424"/>
                    <a:gd name="connsiteY0" fmla="*/ 1005769 h 4760516"/>
                    <a:gd name="connsiteX1" fmla="*/ 3082677 w 3903424"/>
                    <a:gd name="connsiteY1" fmla="*/ 1026716 h 4760516"/>
                    <a:gd name="connsiteX2" fmla="*/ 3168402 w 3903424"/>
                    <a:gd name="connsiteY2" fmla="*/ 1369616 h 4760516"/>
                    <a:gd name="connsiteX3" fmla="*/ 3254127 w 3903424"/>
                    <a:gd name="connsiteY3" fmla="*/ 1822054 h 4760516"/>
                    <a:gd name="connsiteX4" fmla="*/ 3282702 w 3903424"/>
                    <a:gd name="connsiteY4" fmla="*/ 2255441 h 4760516"/>
                    <a:gd name="connsiteX5" fmla="*/ 3273177 w 3903424"/>
                    <a:gd name="connsiteY5" fmla="*/ 2526904 h 4760516"/>
                    <a:gd name="connsiteX6" fmla="*/ 3192214 w 3903424"/>
                    <a:gd name="connsiteY6" fmla="*/ 2722166 h 4760516"/>
                    <a:gd name="connsiteX7" fmla="*/ 3044577 w 3903424"/>
                    <a:gd name="connsiteY7" fmla="*/ 2750741 h 4760516"/>
                    <a:gd name="connsiteX8" fmla="*/ 2811214 w 3903424"/>
                    <a:gd name="connsiteY8" fmla="*/ 2731691 h 4760516"/>
                    <a:gd name="connsiteX9" fmla="*/ 2635002 w 3903424"/>
                    <a:gd name="connsiteY9" fmla="*/ 2669779 h 4760516"/>
                    <a:gd name="connsiteX10" fmla="*/ 2658814 w 3903424"/>
                    <a:gd name="connsiteY10" fmla="*/ 2603104 h 4760516"/>
                    <a:gd name="connsiteX11" fmla="*/ 2754064 w 3903424"/>
                    <a:gd name="connsiteY11" fmla="*/ 2474516 h 4760516"/>
                    <a:gd name="connsiteX12" fmla="*/ 2844552 w 3903424"/>
                    <a:gd name="connsiteY12" fmla="*/ 2255441 h 4760516"/>
                    <a:gd name="connsiteX13" fmla="*/ 2863602 w 3903424"/>
                    <a:gd name="connsiteY13" fmla="*/ 2160191 h 4760516"/>
                    <a:gd name="connsiteX14" fmla="*/ 2920752 w 3903424"/>
                    <a:gd name="connsiteY14" fmla="*/ 2098279 h 4760516"/>
                    <a:gd name="connsiteX15" fmla="*/ 3001714 w 3903424"/>
                    <a:gd name="connsiteY15" fmla="*/ 1855391 h 4760516"/>
                    <a:gd name="connsiteX16" fmla="*/ 3058864 w 3903424"/>
                    <a:gd name="connsiteY16" fmla="*/ 1598216 h 4760516"/>
                    <a:gd name="connsiteX17" fmla="*/ 3063627 w 3903424"/>
                    <a:gd name="connsiteY17" fmla="*/ 1483916 h 4760516"/>
                    <a:gd name="connsiteX18" fmla="*/ 3011239 w 3903424"/>
                    <a:gd name="connsiteY18" fmla="*/ 1379141 h 4760516"/>
                    <a:gd name="connsiteX19" fmla="*/ 2958852 w 3903424"/>
                    <a:gd name="connsiteY19" fmla="*/ 1331516 h 4760516"/>
                    <a:gd name="connsiteX20" fmla="*/ 2949327 w 3903424"/>
                    <a:gd name="connsiteY20" fmla="*/ 1236266 h 4760516"/>
                    <a:gd name="connsiteX21" fmla="*/ 2958852 w 3903424"/>
                    <a:gd name="connsiteY21" fmla="*/ 1121966 h 4760516"/>
                    <a:gd name="connsiteX22" fmla="*/ 3006477 w 3903424"/>
                    <a:gd name="connsiteY22" fmla="*/ 1050529 h 4760516"/>
                    <a:gd name="connsiteX23" fmla="*/ 3062288 w 3903424"/>
                    <a:gd name="connsiteY23" fmla="*/ 1005769 h 4760516"/>
                    <a:gd name="connsiteX24" fmla="*/ 1814660 w 3903424"/>
                    <a:gd name="connsiteY24" fmla="*/ 0 h 4760516"/>
                    <a:gd name="connsiteX25" fmla="*/ 1957138 w 3903424"/>
                    <a:gd name="connsiteY25" fmla="*/ 1191 h 4760516"/>
                    <a:gd name="connsiteX26" fmla="*/ 2153988 w 3903424"/>
                    <a:gd name="connsiteY26" fmla="*/ 20241 h 4760516"/>
                    <a:gd name="connsiteX27" fmla="*/ 2382588 w 3903424"/>
                    <a:gd name="connsiteY27" fmla="*/ 121841 h 4760516"/>
                    <a:gd name="connsiteX28" fmla="*/ 2642938 w 3903424"/>
                    <a:gd name="connsiteY28" fmla="*/ 331391 h 4760516"/>
                    <a:gd name="connsiteX29" fmla="*/ 2947738 w 3903424"/>
                    <a:gd name="connsiteY29" fmla="*/ 693341 h 4760516"/>
                    <a:gd name="connsiteX30" fmla="*/ 3062038 w 3903424"/>
                    <a:gd name="connsiteY30" fmla="*/ 883841 h 4760516"/>
                    <a:gd name="connsiteX31" fmla="*/ 3011238 w 3903424"/>
                    <a:gd name="connsiteY31" fmla="*/ 1004491 h 4760516"/>
                    <a:gd name="connsiteX32" fmla="*/ 2903288 w 3903424"/>
                    <a:gd name="connsiteY32" fmla="*/ 1061641 h 4760516"/>
                    <a:gd name="connsiteX33" fmla="*/ 2827088 w 3903424"/>
                    <a:gd name="connsiteY33" fmla="*/ 998141 h 4760516"/>
                    <a:gd name="connsiteX34" fmla="*/ 2655638 w 3903424"/>
                    <a:gd name="connsiteY34" fmla="*/ 820341 h 4760516"/>
                    <a:gd name="connsiteX35" fmla="*/ 2350838 w 3903424"/>
                    <a:gd name="connsiteY35" fmla="*/ 674291 h 4760516"/>
                    <a:gd name="connsiteX36" fmla="*/ 2020638 w 3903424"/>
                    <a:gd name="connsiteY36" fmla="*/ 674291 h 4760516"/>
                    <a:gd name="connsiteX37" fmla="*/ 2344488 w 3903424"/>
                    <a:gd name="connsiteY37" fmla="*/ 769541 h 4760516"/>
                    <a:gd name="connsiteX38" fmla="*/ 2554038 w 3903424"/>
                    <a:gd name="connsiteY38" fmla="*/ 909241 h 4760516"/>
                    <a:gd name="connsiteX39" fmla="*/ 2630379 w 3903424"/>
                    <a:gd name="connsiteY39" fmla="*/ 973620 h 4760516"/>
                    <a:gd name="connsiteX40" fmla="*/ 2901551 w 3903424"/>
                    <a:gd name="connsiteY40" fmla="*/ 1067700 h 4760516"/>
                    <a:gd name="connsiteX41" fmla="*/ 2830884 w 3903424"/>
                    <a:gd name="connsiteY41" fmla="*/ 1212445 h 4760516"/>
                    <a:gd name="connsiteX42" fmla="*/ 2830884 w 3903424"/>
                    <a:gd name="connsiteY42" fmla="*/ 1445256 h 4760516"/>
                    <a:gd name="connsiteX43" fmla="*/ 2939795 w 3903424"/>
                    <a:gd name="connsiteY43" fmla="*/ 1531580 h 4760516"/>
                    <a:gd name="connsiteX44" fmla="*/ 2823781 w 3903424"/>
                    <a:gd name="connsiteY44" fmla="*/ 2041674 h 4760516"/>
                    <a:gd name="connsiteX45" fmla="*/ 2757487 w 3903424"/>
                    <a:gd name="connsiteY45" fmla="*/ 2086142 h 4760516"/>
                    <a:gd name="connsiteX46" fmla="*/ 2480886 w 3903424"/>
                    <a:gd name="connsiteY46" fmla="*/ 2698176 h 4760516"/>
                    <a:gd name="connsiteX47" fmla="*/ 2530227 w 3903424"/>
                    <a:gd name="connsiteY47" fmla="*/ 2817416 h 4760516"/>
                    <a:gd name="connsiteX48" fmla="*/ 2592139 w 3903424"/>
                    <a:gd name="connsiteY48" fmla="*/ 2874566 h 4760516"/>
                    <a:gd name="connsiteX49" fmla="*/ 2658814 w 3903424"/>
                    <a:gd name="connsiteY49" fmla="*/ 2884091 h 4760516"/>
                    <a:gd name="connsiteX50" fmla="*/ 2682627 w 3903424"/>
                    <a:gd name="connsiteY50" fmla="*/ 2912666 h 4760516"/>
                    <a:gd name="connsiteX51" fmla="*/ 2749302 w 3903424"/>
                    <a:gd name="connsiteY51" fmla="*/ 3079354 h 4760516"/>
                    <a:gd name="connsiteX52" fmla="*/ 2844552 w 3903424"/>
                    <a:gd name="connsiteY52" fmla="*/ 3174604 h 4760516"/>
                    <a:gd name="connsiteX53" fmla="*/ 2939802 w 3903424"/>
                    <a:gd name="connsiteY53" fmla="*/ 3207941 h 4760516"/>
                    <a:gd name="connsiteX54" fmla="*/ 3282702 w 3903424"/>
                    <a:gd name="connsiteY54" fmla="*/ 3317479 h 4760516"/>
                    <a:gd name="connsiteX55" fmla="*/ 3658939 w 3903424"/>
                    <a:gd name="connsiteY55" fmla="*/ 3493691 h 4760516"/>
                    <a:gd name="connsiteX56" fmla="*/ 3868489 w 3903424"/>
                    <a:gd name="connsiteY56" fmla="*/ 3641329 h 4760516"/>
                    <a:gd name="connsiteX57" fmla="*/ 3901827 w 3903424"/>
                    <a:gd name="connsiteY57" fmla="*/ 3769916 h 4760516"/>
                    <a:gd name="connsiteX58" fmla="*/ 3878014 w 3903424"/>
                    <a:gd name="connsiteY58" fmla="*/ 4027091 h 4760516"/>
                    <a:gd name="connsiteX59" fmla="*/ 3792289 w 3903424"/>
                    <a:gd name="connsiteY59" fmla="*/ 4236641 h 4760516"/>
                    <a:gd name="connsiteX60" fmla="*/ 3620839 w 3903424"/>
                    <a:gd name="connsiteY60" fmla="*/ 4598591 h 4760516"/>
                    <a:gd name="connsiteX61" fmla="*/ 3473202 w 3903424"/>
                    <a:gd name="connsiteY61" fmla="*/ 4760516 h 4760516"/>
                    <a:gd name="connsiteX62" fmla="*/ 339477 w 3903424"/>
                    <a:gd name="connsiteY62" fmla="*/ 4760516 h 4760516"/>
                    <a:gd name="connsiteX63" fmla="*/ 163264 w 3903424"/>
                    <a:gd name="connsiteY63" fmla="*/ 4436666 h 4760516"/>
                    <a:gd name="connsiteX64" fmla="*/ 58489 w 3903424"/>
                    <a:gd name="connsiteY64" fmla="*/ 4141391 h 4760516"/>
                    <a:gd name="connsiteX65" fmla="*/ 1339 w 3903424"/>
                    <a:gd name="connsiteY65" fmla="*/ 3855641 h 4760516"/>
                    <a:gd name="connsiteX66" fmla="*/ 25152 w 3903424"/>
                    <a:gd name="connsiteY66" fmla="*/ 3703241 h 4760516"/>
                    <a:gd name="connsiteX67" fmla="*/ 220414 w 3903424"/>
                    <a:gd name="connsiteY67" fmla="*/ 3584179 h 4760516"/>
                    <a:gd name="connsiteX68" fmla="*/ 534739 w 3903424"/>
                    <a:gd name="connsiteY68" fmla="*/ 3450829 h 4760516"/>
                    <a:gd name="connsiteX69" fmla="*/ 934789 w 3903424"/>
                    <a:gd name="connsiteY69" fmla="*/ 3293666 h 4760516"/>
                    <a:gd name="connsiteX70" fmla="*/ 1134814 w 3903424"/>
                    <a:gd name="connsiteY70" fmla="*/ 3217466 h 4760516"/>
                    <a:gd name="connsiteX71" fmla="*/ 1277689 w 3903424"/>
                    <a:gd name="connsiteY71" fmla="*/ 2950766 h 4760516"/>
                    <a:gd name="connsiteX72" fmla="*/ 1372939 w 3903424"/>
                    <a:gd name="connsiteY72" fmla="*/ 2888854 h 4760516"/>
                    <a:gd name="connsiteX73" fmla="*/ 1444377 w 3903424"/>
                    <a:gd name="connsiteY73" fmla="*/ 2750741 h 4760516"/>
                    <a:gd name="connsiteX74" fmla="*/ 1430089 w 3903424"/>
                    <a:gd name="connsiteY74" fmla="*/ 2665016 h 4760516"/>
                    <a:gd name="connsiteX75" fmla="*/ 1433678 w 3903424"/>
                    <a:gd name="connsiteY75" fmla="*/ 2655556 h 4760516"/>
                    <a:gd name="connsiteX76" fmla="*/ 1412671 w 3903424"/>
                    <a:gd name="connsiteY76" fmla="*/ 2630242 h 4760516"/>
                    <a:gd name="connsiteX77" fmla="*/ 1171172 w 3903424"/>
                    <a:gd name="connsiteY77" fmla="*/ 2059985 h 4760516"/>
                    <a:gd name="connsiteX78" fmla="*/ 977027 w 3903424"/>
                    <a:gd name="connsiteY78" fmla="*/ 1612672 h 4760516"/>
                    <a:gd name="connsiteX79" fmla="*/ 1052790 w 3903424"/>
                    <a:gd name="connsiteY79" fmla="*/ 1487109 h 4760516"/>
                    <a:gd name="connsiteX80" fmla="*/ 1018186 w 3903424"/>
                    <a:gd name="connsiteY80" fmla="*/ 1277790 h 4760516"/>
                    <a:gd name="connsiteX81" fmla="*/ 934788 w 3903424"/>
                    <a:gd name="connsiteY81" fmla="*/ 1341041 h 4760516"/>
                    <a:gd name="connsiteX82" fmla="*/ 883988 w 3903424"/>
                    <a:gd name="connsiteY82" fmla="*/ 1404541 h 4760516"/>
                    <a:gd name="connsiteX83" fmla="*/ 839538 w 3903424"/>
                    <a:gd name="connsiteY83" fmla="*/ 1525191 h 4760516"/>
                    <a:gd name="connsiteX84" fmla="*/ 858588 w 3903424"/>
                    <a:gd name="connsiteY84" fmla="*/ 1645841 h 4760516"/>
                    <a:gd name="connsiteX85" fmla="*/ 890338 w 3903424"/>
                    <a:gd name="connsiteY85" fmla="*/ 1829991 h 4760516"/>
                    <a:gd name="connsiteX86" fmla="*/ 966538 w 3903424"/>
                    <a:gd name="connsiteY86" fmla="*/ 2128441 h 4760516"/>
                    <a:gd name="connsiteX87" fmla="*/ 1049088 w 3903424"/>
                    <a:gd name="connsiteY87" fmla="*/ 2198291 h 4760516"/>
                    <a:gd name="connsiteX88" fmla="*/ 1099888 w 3903424"/>
                    <a:gd name="connsiteY88" fmla="*/ 2331641 h 4760516"/>
                    <a:gd name="connsiteX89" fmla="*/ 1220538 w 3903424"/>
                    <a:gd name="connsiteY89" fmla="*/ 2566591 h 4760516"/>
                    <a:gd name="connsiteX90" fmla="*/ 1271338 w 3903424"/>
                    <a:gd name="connsiteY90" fmla="*/ 2712641 h 4760516"/>
                    <a:gd name="connsiteX91" fmla="*/ 1131638 w 3903424"/>
                    <a:gd name="connsiteY91" fmla="*/ 2750741 h 4760516"/>
                    <a:gd name="connsiteX92" fmla="*/ 928438 w 3903424"/>
                    <a:gd name="connsiteY92" fmla="*/ 2776141 h 4760516"/>
                    <a:gd name="connsiteX93" fmla="*/ 744288 w 3903424"/>
                    <a:gd name="connsiteY93" fmla="*/ 2731691 h 4760516"/>
                    <a:gd name="connsiteX94" fmla="*/ 661738 w 3903424"/>
                    <a:gd name="connsiteY94" fmla="*/ 2591991 h 4760516"/>
                    <a:gd name="connsiteX95" fmla="*/ 623638 w 3903424"/>
                    <a:gd name="connsiteY95" fmla="*/ 2344341 h 4760516"/>
                    <a:gd name="connsiteX96" fmla="*/ 636338 w 3903424"/>
                    <a:gd name="connsiteY96" fmla="*/ 2020491 h 4760516"/>
                    <a:gd name="connsiteX97" fmla="*/ 737938 w 3903424"/>
                    <a:gd name="connsiteY97" fmla="*/ 1328341 h 4760516"/>
                    <a:gd name="connsiteX98" fmla="*/ 972888 w 3903424"/>
                    <a:gd name="connsiteY98" fmla="*/ 623491 h 4760516"/>
                    <a:gd name="connsiteX99" fmla="*/ 1169738 w 3903424"/>
                    <a:gd name="connsiteY99" fmla="*/ 299641 h 4760516"/>
                    <a:gd name="connsiteX100" fmla="*/ 1360238 w 3903424"/>
                    <a:gd name="connsiteY100" fmla="*/ 140891 h 4760516"/>
                    <a:gd name="connsiteX101" fmla="*/ 1531688 w 3903424"/>
                    <a:gd name="connsiteY101" fmla="*/ 115491 h 4760516"/>
                    <a:gd name="connsiteX102" fmla="*/ 1677738 w 3903424"/>
                    <a:gd name="connsiteY102" fmla="*/ 13891 h 4760516"/>
                    <a:gd name="connsiteX103" fmla="*/ 1814660 w 3903424"/>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810829"/>
                    <a:gd name="connsiteX1" fmla="*/ 3082677 w 3904400"/>
                    <a:gd name="connsiteY1" fmla="*/ 1026716 h 4810829"/>
                    <a:gd name="connsiteX2" fmla="*/ 3168402 w 3904400"/>
                    <a:gd name="connsiteY2" fmla="*/ 1369616 h 4810829"/>
                    <a:gd name="connsiteX3" fmla="*/ 3254127 w 3904400"/>
                    <a:gd name="connsiteY3" fmla="*/ 1822054 h 4810829"/>
                    <a:gd name="connsiteX4" fmla="*/ 3282702 w 3904400"/>
                    <a:gd name="connsiteY4" fmla="*/ 2255441 h 4810829"/>
                    <a:gd name="connsiteX5" fmla="*/ 3273177 w 3904400"/>
                    <a:gd name="connsiteY5" fmla="*/ 2526904 h 4810829"/>
                    <a:gd name="connsiteX6" fmla="*/ 3192214 w 3904400"/>
                    <a:gd name="connsiteY6" fmla="*/ 2722166 h 4810829"/>
                    <a:gd name="connsiteX7" fmla="*/ 3044577 w 3904400"/>
                    <a:gd name="connsiteY7" fmla="*/ 2750741 h 4810829"/>
                    <a:gd name="connsiteX8" fmla="*/ 2811214 w 3904400"/>
                    <a:gd name="connsiteY8" fmla="*/ 2731691 h 4810829"/>
                    <a:gd name="connsiteX9" fmla="*/ 2635002 w 3904400"/>
                    <a:gd name="connsiteY9" fmla="*/ 2669779 h 4810829"/>
                    <a:gd name="connsiteX10" fmla="*/ 2658814 w 3904400"/>
                    <a:gd name="connsiteY10" fmla="*/ 2603104 h 4810829"/>
                    <a:gd name="connsiteX11" fmla="*/ 2754064 w 3904400"/>
                    <a:gd name="connsiteY11" fmla="*/ 2474516 h 4810829"/>
                    <a:gd name="connsiteX12" fmla="*/ 2844552 w 3904400"/>
                    <a:gd name="connsiteY12" fmla="*/ 2255441 h 4810829"/>
                    <a:gd name="connsiteX13" fmla="*/ 2863602 w 3904400"/>
                    <a:gd name="connsiteY13" fmla="*/ 2160191 h 4810829"/>
                    <a:gd name="connsiteX14" fmla="*/ 2920752 w 3904400"/>
                    <a:gd name="connsiteY14" fmla="*/ 2098279 h 4810829"/>
                    <a:gd name="connsiteX15" fmla="*/ 3001714 w 3904400"/>
                    <a:gd name="connsiteY15" fmla="*/ 1855391 h 4810829"/>
                    <a:gd name="connsiteX16" fmla="*/ 3058864 w 3904400"/>
                    <a:gd name="connsiteY16" fmla="*/ 1598216 h 4810829"/>
                    <a:gd name="connsiteX17" fmla="*/ 3063627 w 3904400"/>
                    <a:gd name="connsiteY17" fmla="*/ 1483916 h 4810829"/>
                    <a:gd name="connsiteX18" fmla="*/ 3011239 w 3904400"/>
                    <a:gd name="connsiteY18" fmla="*/ 1379141 h 4810829"/>
                    <a:gd name="connsiteX19" fmla="*/ 2958852 w 3904400"/>
                    <a:gd name="connsiteY19" fmla="*/ 1331516 h 4810829"/>
                    <a:gd name="connsiteX20" fmla="*/ 2949327 w 3904400"/>
                    <a:gd name="connsiteY20" fmla="*/ 1236266 h 4810829"/>
                    <a:gd name="connsiteX21" fmla="*/ 2958852 w 3904400"/>
                    <a:gd name="connsiteY21" fmla="*/ 1121966 h 4810829"/>
                    <a:gd name="connsiteX22" fmla="*/ 3006477 w 3904400"/>
                    <a:gd name="connsiteY22" fmla="*/ 1050529 h 4810829"/>
                    <a:gd name="connsiteX23" fmla="*/ 3062288 w 3904400"/>
                    <a:gd name="connsiteY23" fmla="*/ 1005769 h 4810829"/>
                    <a:gd name="connsiteX24" fmla="*/ 1814660 w 3904400"/>
                    <a:gd name="connsiteY24" fmla="*/ 0 h 4810829"/>
                    <a:gd name="connsiteX25" fmla="*/ 1957138 w 3904400"/>
                    <a:gd name="connsiteY25" fmla="*/ 1191 h 4810829"/>
                    <a:gd name="connsiteX26" fmla="*/ 2153988 w 3904400"/>
                    <a:gd name="connsiteY26" fmla="*/ 20241 h 4810829"/>
                    <a:gd name="connsiteX27" fmla="*/ 2382588 w 3904400"/>
                    <a:gd name="connsiteY27" fmla="*/ 121841 h 4810829"/>
                    <a:gd name="connsiteX28" fmla="*/ 2642938 w 3904400"/>
                    <a:gd name="connsiteY28" fmla="*/ 331391 h 4810829"/>
                    <a:gd name="connsiteX29" fmla="*/ 2947738 w 3904400"/>
                    <a:gd name="connsiteY29" fmla="*/ 693341 h 4810829"/>
                    <a:gd name="connsiteX30" fmla="*/ 3062038 w 3904400"/>
                    <a:gd name="connsiteY30" fmla="*/ 883841 h 4810829"/>
                    <a:gd name="connsiteX31" fmla="*/ 3011238 w 3904400"/>
                    <a:gd name="connsiteY31" fmla="*/ 1004491 h 4810829"/>
                    <a:gd name="connsiteX32" fmla="*/ 2903288 w 3904400"/>
                    <a:gd name="connsiteY32" fmla="*/ 1061641 h 4810829"/>
                    <a:gd name="connsiteX33" fmla="*/ 2827088 w 3904400"/>
                    <a:gd name="connsiteY33" fmla="*/ 998141 h 4810829"/>
                    <a:gd name="connsiteX34" fmla="*/ 2655638 w 3904400"/>
                    <a:gd name="connsiteY34" fmla="*/ 820341 h 4810829"/>
                    <a:gd name="connsiteX35" fmla="*/ 2350838 w 3904400"/>
                    <a:gd name="connsiteY35" fmla="*/ 674291 h 4810829"/>
                    <a:gd name="connsiteX36" fmla="*/ 2020638 w 3904400"/>
                    <a:gd name="connsiteY36" fmla="*/ 674291 h 4810829"/>
                    <a:gd name="connsiteX37" fmla="*/ 2344488 w 3904400"/>
                    <a:gd name="connsiteY37" fmla="*/ 769541 h 4810829"/>
                    <a:gd name="connsiteX38" fmla="*/ 2554038 w 3904400"/>
                    <a:gd name="connsiteY38" fmla="*/ 909241 h 4810829"/>
                    <a:gd name="connsiteX39" fmla="*/ 2630379 w 3904400"/>
                    <a:gd name="connsiteY39" fmla="*/ 973620 h 4810829"/>
                    <a:gd name="connsiteX40" fmla="*/ 2901551 w 3904400"/>
                    <a:gd name="connsiteY40" fmla="*/ 1067700 h 4810829"/>
                    <a:gd name="connsiteX41" fmla="*/ 2830884 w 3904400"/>
                    <a:gd name="connsiteY41" fmla="*/ 1212445 h 4810829"/>
                    <a:gd name="connsiteX42" fmla="*/ 2830884 w 3904400"/>
                    <a:gd name="connsiteY42" fmla="*/ 1445256 h 4810829"/>
                    <a:gd name="connsiteX43" fmla="*/ 2939795 w 3904400"/>
                    <a:gd name="connsiteY43" fmla="*/ 1531580 h 4810829"/>
                    <a:gd name="connsiteX44" fmla="*/ 2823781 w 3904400"/>
                    <a:gd name="connsiteY44" fmla="*/ 2041674 h 4810829"/>
                    <a:gd name="connsiteX45" fmla="*/ 2757487 w 3904400"/>
                    <a:gd name="connsiteY45" fmla="*/ 2086142 h 4810829"/>
                    <a:gd name="connsiteX46" fmla="*/ 2480886 w 3904400"/>
                    <a:gd name="connsiteY46" fmla="*/ 2698176 h 4810829"/>
                    <a:gd name="connsiteX47" fmla="*/ 2530227 w 3904400"/>
                    <a:gd name="connsiteY47" fmla="*/ 2817416 h 4810829"/>
                    <a:gd name="connsiteX48" fmla="*/ 2592139 w 3904400"/>
                    <a:gd name="connsiteY48" fmla="*/ 2874566 h 4810829"/>
                    <a:gd name="connsiteX49" fmla="*/ 2658814 w 3904400"/>
                    <a:gd name="connsiteY49" fmla="*/ 2884091 h 4810829"/>
                    <a:gd name="connsiteX50" fmla="*/ 2682627 w 3904400"/>
                    <a:gd name="connsiteY50" fmla="*/ 2912666 h 4810829"/>
                    <a:gd name="connsiteX51" fmla="*/ 2749302 w 3904400"/>
                    <a:gd name="connsiteY51" fmla="*/ 3079354 h 4810829"/>
                    <a:gd name="connsiteX52" fmla="*/ 2844552 w 3904400"/>
                    <a:gd name="connsiteY52" fmla="*/ 3174604 h 4810829"/>
                    <a:gd name="connsiteX53" fmla="*/ 2939802 w 3904400"/>
                    <a:gd name="connsiteY53" fmla="*/ 3207941 h 4810829"/>
                    <a:gd name="connsiteX54" fmla="*/ 3282702 w 3904400"/>
                    <a:gd name="connsiteY54" fmla="*/ 3317479 h 4810829"/>
                    <a:gd name="connsiteX55" fmla="*/ 3658939 w 3904400"/>
                    <a:gd name="connsiteY55" fmla="*/ 3493691 h 4810829"/>
                    <a:gd name="connsiteX56" fmla="*/ 3868489 w 3904400"/>
                    <a:gd name="connsiteY56" fmla="*/ 3641329 h 4810829"/>
                    <a:gd name="connsiteX57" fmla="*/ 3901827 w 3904400"/>
                    <a:gd name="connsiteY57" fmla="*/ 3769916 h 4810829"/>
                    <a:gd name="connsiteX58" fmla="*/ 3878014 w 3904400"/>
                    <a:gd name="connsiteY58" fmla="*/ 4027091 h 4810829"/>
                    <a:gd name="connsiteX59" fmla="*/ 3792289 w 3904400"/>
                    <a:gd name="connsiteY59" fmla="*/ 4236641 h 4810829"/>
                    <a:gd name="connsiteX60" fmla="*/ 3620839 w 3904400"/>
                    <a:gd name="connsiteY60" fmla="*/ 4598591 h 4810829"/>
                    <a:gd name="connsiteX61" fmla="*/ 3473202 w 3904400"/>
                    <a:gd name="connsiteY61" fmla="*/ 4760516 h 4810829"/>
                    <a:gd name="connsiteX62" fmla="*/ 339477 w 3904400"/>
                    <a:gd name="connsiteY62" fmla="*/ 4760516 h 4810829"/>
                    <a:gd name="connsiteX63" fmla="*/ 163264 w 3904400"/>
                    <a:gd name="connsiteY63" fmla="*/ 4436666 h 4810829"/>
                    <a:gd name="connsiteX64" fmla="*/ 58489 w 3904400"/>
                    <a:gd name="connsiteY64" fmla="*/ 4141391 h 4810829"/>
                    <a:gd name="connsiteX65" fmla="*/ 1339 w 3904400"/>
                    <a:gd name="connsiteY65" fmla="*/ 3855641 h 4810829"/>
                    <a:gd name="connsiteX66" fmla="*/ 25152 w 3904400"/>
                    <a:gd name="connsiteY66" fmla="*/ 3703241 h 4810829"/>
                    <a:gd name="connsiteX67" fmla="*/ 220414 w 3904400"/>
                    <a:gd name="connsiteY67" fmla="*/ 3584179 h 4810829"/>
                    <a:gd name="connsiteX68" fmla="*/ 534739 w 3904400"/>
                    <a:gd name="connsiteY68" fmla="*/ 3450829 h 4810829"/>
                    <a:gd name="connsiteX69" fmla="*/ 934789 w 3904400"/>
                    <a:gd name="connsiteY69" fmla="*/ 3293666 h 4810829"/>
                    <a:gd name="connsiteX70" fmla="*/ 1134814 w 3904400"/>
                    <a:gd name="connsiteY70" fmla="*/ 3217466 h 4810829"/>
                    <a:gd name="connsiteX71" fmla="*/ 1277689 w 3904400"/>
                    <a:gd name="connsiteY71" fmla="*/ 2950766 h 4810829"/>
                    <a:gd name="connsiteX72" fmla="*/ 1372939 w 3904400"/>
                    <a:gd name="connsiteY72" fmla="*/ 2888854 h 4810829"/>
                    <a:gd name="connsiteX73" fmla="*/ 1444377 w 3904400"/>
                    <a:gd name="connsiteY73" fmla="*/ 2750741 h 4810829"/>
                    <a:gd name="connsiteX74" fmla="*/ 1430089 w 3904400"/>
                    <a:gd name="connsiteY74" fmla="*/ 2665016 h 4810829"/>
                    <a:gd name="connsiteX75" fmla="*/ 1433678 w 3904400"/>
                    <a:gd name="connsiteY75" fmla="*/ 2655556 h 4810829"/>
                    <a:gd name="connsiteX76" fmla="*/ 1412671 w 3904400"/>
                    <a:gd name="connsiteY76" fmla="*/ 2630242 h 4810829"/>
                    <a:gd name="connsiteX77" fmla="*/ 1171172 w 3904400"/>
                    <a:gd name="connsiteY77" fmla="*/ 2059985 h 4810829"/>
                    <a:gd name="connsiteX78" fmla="*/ 977027 w 3904400"/>
                    <a:gd name="connsiteY78" fmla="*/ 1612672 h 4810829"/>
                    <a:gd name="connsiteX79" fmla="*/ 1052790 w 3904400"/>
                    <a:gd name="connsiteY79" fmla="*/ 1487109 h 4810829"/>
                    <a:gd name="connsiteX80" fmla="*/ 1018186 w 3904400"/>
                    <a:gd name="connsiteY80" fmla="*/ 1277790 h 4810829"/>
                    <a:gd name="connsiteX81" fmla="*/ 934788 w 3904400"/>
                    <a:gd name="connsiteY81" fmla="*/ 1341041 h 4810829"/>
                    <a:gd name="connsiteX82" fmla="*/ 883988 w 3904400"/>
                    <a:gd name="connsiteY82" fmla="*/ 1404541 h 4810829"/>
                    <a:gd name="connsiteX83" fmla="*/ 839538 w 3904400"/>
                    <a:gd name="connsiteY83" fmla="*/ 1525191 h 4810829"/>
                    <a:gd name="connsiteX84" fmla="*/ 858588 w 3904400"/>
                    <a:gd name="connsiteY84" fmla="*/ 1645841 h 4810829"/>
                    <a:gd name="connsiteX85" fmla="*/ 890338 w 3904400"/>
                    <a:gd name="connsiteY85" fmla="*/ 1829991 h 4810829"/>
                    <a:gd name="connsiteX86" fmla="*/ 966538 w 3904400"/>
                    <a:gd name="connsiteY86" fmla="*/ 2128441 h 4810829"/>
                    <a:gd name="connsiteX87" fmla="*/ 1049088 w 3904400"/>
                    <a:gd name="connsiteY87" fmla="*/ 2198291 h 4810829"/>
                    <a:gd name="connsiteX88" fmla="*/ 1099888 w 3904400"/>
                    <a:gd name="connsiteY88" fmla="*/ 2331641 h 4810829"/>
                    <a:gd name="connsiteX89" fmla="*/ 1220538 w 3904400"/>
                    <a:gd name="connsiteY89" fmla="*/ 2566591 h 4810829"/>
                    <a:gd name="connsiteX90" fmla="*/ 1271338 w 3904400"/>
                    <a:gd name="connsiteY90" fmla="*/ 2712641 h 4810829"/>
                    <a:gd name="connsiteX91" fmla="*/ 1131638 w 3904400"/>
                    <a:gd name="connsiteY91" fmla="*/ 2750741 h 4810829"/>
                    <a:gd name="connsiteX92" fmla="*/ 928438 w 3904400"/>
                    <a:gd name="connsiteY92" fmla="*/ 2776141 h 4810829"/>
                    <a:gd name="connsiteX93" fmla="*/ 744288 w 3904400"/>
                    <a:gd name="connsiteY93" fmla="*/ 2731691 h 4810829"/>
                    <a:gd name="connsiteX94" fmla="*/ 661738 w 3904400"/>
                    <a:gd name="connsiteY94" fmla="*/ 2591991 h 4810829"/>
                    <a:gd name="connsiteX95" fmla="*/ 623638 w 3904400"/>
                    <a:gd name="connsiteY95" fmla="*/ 2344341 h 4810829"/>
                    <a:gd name="connsiteX96" fmla="*/ 636338 w 3904400"/>
                    <a:gd name="connsiteY96" fmla="*/ 2020491 h 4810829"/>
                    <a:gd name="connsiteX97" fmla="*/ 737938 w 3904400"/>
                    <a:gd name="connsiteY97" fmla="*/ 1328341 h 4810829"/>
                    <a:gd name="connsiteX98" fmla="*/ 972888 w 3904400"/>
                    <a:gd name="connsiteY98" fmla="*/ 623491 h 4810829"/>
                    <a:gd name="connsiteX99" fmla="*/ 1169738 w 3904400"/>
                    <a:gd name="connsiteY99" fmla="*/ 299641 h 4810829"/>
                    <a:gd name="connsiteX100" fmla="*/ 1360238 w 3904400"/>
                    <a:gd name="connsiteY100" fmla="*/ 140891 h 4810829"/>
                    <a:gd name="connsiteX101" fmla="*/ 1531688 w 3904400"/>
                    <a:gd name="connsiteY101" fmla="*/ 115491 h 4810829"/>
                    <a:gd name="connsiteX102" fmla="*/ 1677738 w 3904400"/>
                    <a:gd name="connsiteY102" fmla="*/ 13891 h 4810829"/>
                    <a:gd name="connsiteX103" fmla="*/ 1814660 w 3904400"/>
                    <a:gd name="connsiteY103" fmla="*/ 0 h 4810829"/>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630379 w 3904400"/>
                    <a:gd name="connsiteY39" fmla="*/ 973620 h 4848994"/>
                    <a:gd name="connsiteX40" fmla="*/ 2901551 w 3904400"/>
                    <a:gd name="connsiteY40" fmla="*/ 1067700 h 4848994"/>
                    <a:gd name="connsiteX41" fmla="*/ 2830884 w 3904400"/>
                    <a:gd name="connsiteY41" fmla="*/ 1212445 h 4848994"/>
                    <a:gd name="connsiteX42" fmla="*/ 2830884 w 3904400"/>
                    <a:gd name="connsiteY42" fmla="*/ 1445256 h 4848994"/>
                    <a:gd name="connsiteX43" fmla="*/ 2939795 w 3904400"/>
                    <a:gd name="connsiteY43" fmla="*/ 1531580 h 4848994"/>
                    <a:gd name="connsiteX44" fmla="*/ 2823781 w 3904400"/>
                    <a:gd name="connsiteY44" fmla="*/ 2041674 h 4848994"/>
                    <a:gd name="connsiteX45" fmla="*/ 2757487 w 3904400"/>
                    <a:gd name="connsiteY45" fmla="*/ 2086142 h 4848994"/>
                    <a:gd name="connsiteX46" fmla="*/ 2480886 w 3904400"/>
                    <a:gd name="connsiteY46" fmla="*/ 2698176 h 4848994"/>
                    <a:gd name="connsiteX47" fmla="*/ 2530227 w 3904400"/>
                    <a:gd name="connsiteY47" fmla="*/ 2817416 h 4848994"/>
                    <a:gd name="connsiteX48" fmla="*/ 2592139 w 3904400"/>
                    <a:gd name="connsiteY48" fmla="*/ 2874566 h 4848994"/>
                    <a:gd name="connsiteX49" fmla="*/ 2658814 w 3904400"/>
                    <a:gd name="connsiteY49" fmla="*/ 2884091 h 4848994"/>
                    <a:gd name="connsiteX50" fmla="*/ 2682627 w 3904400"/>
                    <a:gd name="connsiteY50" fmla="*/ 2912666 h 4848994"/>
                    <a:gd name="connsiteX51" fmla="*/ 2749302 w 3904400"/>
                    <a:gd name="connsiteY51" fmla="*/ 3079354 h 4848994"/>
                    <a:gd name="connsiteX52" fmla="*/ 2844552 w 3904400"/>
                    <a:gd name="connsiteY52" fmla="*/ 3174604 h 4848994"/>
                    <a:gd name="connsiteX53" fmla="*/ 2939802 w 3904400"/>
                    <a:gd name="connsiteY53" fmla="*/ 3207941 h 4848994"/>
                    <a:gd name="connsiteX54" fmla="*/ 3282702 w 3904400"/>
                    <a:gd name="connsiteY54" fmla="*/ 3317479 h 4848994"/>
                    <a:gd name="connsiteX55" fmla="*/ 3658939 w 3904400"/>
                    <a:gd name="connsiteY55" fmla="*/ 3493691 h 4848994"/>
                    <a:gd name="connsiteX56" fmla="*/ 3868489 w 3904400"/>
                    <a:gd name="connsiteY56" fmla="*/ 3641329 h 4848994"/>
                    <a:gd name="connsiteX57" fmla="*/ 3901827 w 3904400"/>
                    <a:gd name="connsiteY57" fmla="*/ 3769916 h 4848994"/>
                    <a:gd name="connsiteX58" fmla="*/ 3878014 w 3904400"/>
                    <a:gd name="connsiteY58" fmla="*/ 4027091 h 4848994"/>
                    <a:gd name="connsiteX59" fmla="*/ 3792289 w 3904400"/>
                    <a:gd name="connsiteY59" fmla="*/ 4236641 h 4848994"/>
                    <a:gd name="connsiteX60" fmla="*/ 3620839 w 3904400"/>
                    <a:gd name="connsiteY60" fmla="*/ 4598591 h 4848994"/>
                    <a:gd name="connsiteX61" fmla="*/ 3473202 w 3904400"/>
                    <a:gd name="connsiteY61" fmla="*/ 4760516 h 4848994"/>
                    <a:gd name="connsiteX62" fmla="*/ 339477 w 3904400"/>
                    <a:gd name="connsiteY62" fmla="*/ 4760516 h 4848994"/>
                    <a:gd name="connsiteX63" fmla="*/ 163264 w 3904400"/>
                    <a:gd name="connsiteY63" fmla="*/ 4436666 h 4848994"/>
                    <a:gd name="connsiteX64" fmla="*/ 58489 w 3904400"/>
                    <a:gd name="connsiteY64" fmla="*/ 4141391 h 4848994"/>
                    <a:gd name="connsiteX65" fmla="*/ 1339 w 3904400"/>
                    <a:gd name="connsiteY65" fmla="*/ 3855641 h 4848994"/>
                    <a:gd name="connsiteX66" fmla="*/ 25152 w 3904400"/>
                    <a:gd name="connsiteY66" fmla="*/ 3703241 h 4848994"/>
                    <a:gd name="connsiteX67" fmla="*/ 220414 w 3904400"/>
                    <a:gd name="connsiteY67" fmla="*/ 3584179 h 4848994"/>
                    <a:gd name="connsiteX68" fmla="*/ 534739 w 3904400"/>
                    <a:gd name="connsiteY68" fmla="*/ 3450829 h 4848994"/>
                    <a:gd name="connsiteX69" fmla="*/ 934789 w 3904400"/>
                    <a:gd name="connsiteY69" fmla="*/ 3293666 h 4848994"/>
                    <a:gd name="connsiteX70" fmla="*/ 1134814 w 3904400"/>
                    <a:gd name="connsiteY70" fmla="*/ 3217466 h 4848994"/>
                    <a:gd name="connsiteX71" fmla="*/ 1277689 w 3904400"/>
                    <a:gd name="connsiteY71" fmla="*/ 2950766 h 4848994"/>
                    <a:gd name="connsiteX72" fmla="*/ 1372939 w 3904400"/>
                    <a:gd name="connsiteY72" fmla="*/ 2888854 h 4848994"/>
                    <a:gd name="connsiteX73" fmla="*/ 1444377 w 3904400"/>
                    <a:gd name="connsiteY73" fmla="*/ 2750741 h 4848994"/>
                    <a:gd name="connsiteX74" fmla="*/ 1430089 w 3904400"/>
                    <a:gd name="connsiteY74" fmla="*/ 2665016 h 4848994"/>
                    <a:gd name="connsiteX75" fmla="*/ 1433678 w 3904400"/>
                    <a:gd name="connsiteY75" fmla="*/ 2655556 h 4848994"/>
                    <a:gd name="connsiteX76" fmla="*/ 1412671 w 3904400"/>
                    <a:gd name="connsiteY76" fmla="*/ 2630242 h 4848994"/>
                    <a:gd name="connsiteX77" fmla="*/ 1171172 w 3904400"/>
                    <a:gd name="connsiteY77" fmla="*/ 2059985 h 4848994"/>
                    <a:gd name="connsiteX78" fmla="*/ 977027 w 3904400"/>
                    <a:gd name="connsiteY78" fmla="*/ 1612672 h 4848994"/>
                    <a:gd name="connsiteX79" fmla="*/ 1052790 w 3904400"/>
                    <a:gd name="connsiteY79" fmla="*/ 1487109 h 4848994"/>
                    <a:gd name="connsiteX80" fmla="*/ 1018186 w 3904400"/>
                    <a:gd name="connsiteY80" fmla="*/ 1277790 h 4848994"/>
                    <a:gd name="connsiteX81" fmla="*/ 934788 w 3904400"/>
                    <a:gd name="connsiteY81" fmla="*/ 1341041 h 4848994"/>
                    <a:gd name="connsiteX82" fmla="*/ 883988 w 3904400"/>
                    <a:gd name="connsiteY82" fmla="*/ 1404541 h 4848994"/>
                    <a:gd name="connsiteX83" fmla="*/ 839538 w 3904400"/>
                    <a:gd name="connsiteY83" fmla="*/ 1525191 h 4848994"/>
                    <a:gd name="connsiteX84" fmla="*/ 858588 w 3904400"/>
                    <a:gd name="connsiteY84" fmla="*/ 1645841 h 4848994"/>
                    <a:gd name="connsiteX85" fmla="*/ 890338 w 3904400"/>
                    <a:gd name="connsiteY85" fmla="*/ 1829991 h 4848994"/>
                    <a:gd name="connsiteX86" fmla="*/ 966538 w 3904400"/>
                    <a:gd name="connsiteY86" fmla="*/ 2128441 h 4848994"/>
                    <a:gd name="connsiteX87" fmla="*/ 1049088 w 3904400"/>
                    <a:gd name="connsiteY87" fmla="*/ 2198291 h 4848994"/>
                    <a:gd name="connsiteX88" fmla="*/ 1099888 w 3904400"/>
                    <a:gd name="connsiteY88" fmla="*/ 2331641 h 4848994"/>
                    <a:gd name="connsiteX89" fmla="*/ 1220538 w 3904400"/>
                    <a:gd name="connsiteY89" fmla="*/ 2566591 h 4848994"/>
                    <a:gd name="connsiteX90" fmla="*/ 1271338 w 3904400"/>
                    <a:gd name="connsiteY90" fmla="*/ 2712641 h 4848994"/>
                    <a:gd name="connsiteX91" fmla="*/ 1131638 w 3904400"/>
                    <a:gd name="connsiteY91" fmla="*/ 2750741 h 4848994"/>
                    <a:gd name="connsiteX92" fmla="*/ 928438 w 3904400"/>
                    <a:gd name="connsiteY92" fmla="*/ 2776141 h 4848994"/>
                    <a:gd name="connsiteX93" fmla="*/ 744288 w 3904400"/>
                    <a:gd name="connsiteY93" fmla="*/ 2731691 h 4848994"/>
                    <a:gd name="connsiteX94" fmla="*/ 661738 w 3904400"/>
                    <a:gd name="connsiteY94" fmla="*/ 2591991 h 4848994"/>
                    <a:gd name="connsiteX95" fmla="*/ 623638 w 3904400"/>
                    <a:gd name="connsiteY95" fmla="*/ 2344341 h 4848994"/>
                    <a:gd name="connsiteX96" fmla="*/ 636338 w 3904400"/>
                    <a:gd name="connsiteY96" fmla="*/ 2020491 h 4848994"/>
                    <a:gd name="connsiteX97" fmla="*/ 737938 w 3904400"/>
                    <a:gd name="connsiteY97" fmla="*/ 1328341 h 4848994"/>
                    <a:gd name="connsiteX98" fmla="*/ 972888 w 3904400"/>
                    <a:gd name="connsiteY98" fmla="*/ 623491 h 4848994"/>
                    <a:gd name="connsiteX99" fmla="*/ 1169738 w 3904400"/>
                    <a:gd name="connsiteY99" fmla="*/ 299641 h 4848994"/>
                    <a:gd name="connsiteX100" fmla="*/ 1360238 w 3904400"/>
                    <a:gd name="connsiteY100" fmla="*/ 140891 h 4848994"/>
                    <a:gd name="connsiteX101" fmla="*/ 1531688 w 3904400"/>
                    <a:gd name="connsiteY101" fmla="*/ 115491 h 4848994"/>
                    <a:gd name="connsiteX102" fmla="*/ 1677738 w 3904400"/>
                    <a:gd name="connsiteY102" fmla="*/ 13891 h 4848994"/>
                    <a:gd name="connsiteX103" fmla="*/ 1814660 w 3904400"/>
                    <a:gd name="connsiteY103"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859098 w 3904400"/>
                    <a:gd name="connsiteY39" fmla="*/ 1103077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904400" h="4848994">
                      <a:moveTo>
                        <a:pt x="3062288" y="1005769"/>
                      </a:moveTo>
                      <a:lnTo>
                        <a:pt x="3082677" y="1026716"/>
                      </a:lnTo>
                      <a:cubicBezTo>
                        <a:pt x="3109664" y="1079897"/>
                        <a:pt x="3139827" y="1237060"/>
                        <a:pt x="3168402" y="1369616"/>
                      </a:cubicBezTo>
                      <a:cubicBezTo>
                        <a:pt x="3196977" y="1502172"/>
                        <a:pt x="3235077" y="1674417"/>
                        <a:pt x="3254127" y="1822054"/>
                      </a:cubicBezTo>
                      <a:cubicBezTo>
                        <a:pt x="3273177" y="1969691"/>
                        <a:pt x="3279527" y="2137966"/>
                        <a:pt x="3282702" y="2255441"/>
                      </a:cubicBezTo>
                      <a:cubicBezTo>
                        <a:pt x="3285877" y="2372916"/>
                        <a:pt x="3288258" y="2449116"/>
                        <a:pt x="3273177" y="2526904"/>
                      </a:cubicBezTo>
                      <a:cubicBezTo>
                        <a:pt x="3258096" y="2604692"/>
                        <a:pt x="3230314" y="2684860"/>
                        <a:pt x="3192214" y="2722166"/>
                      </a:cubicBezTo>
                      <a:cubicBezTo>
                        <a:pt x="3154114" y="2759472"/>
                        <a:pt x="3108077" y="2749154"/>
                        <a:pt x="3044577" y="2750741"/>
                      </a:cubicBezTo>
                      <a:cubicBezTo>
                        <a:pt x="2981077" y="2752328"/>
                        <a:pt x="2879476" y="2745185"/>
                        <a:pt x="2811214" y="2731691"/>
                      </a:cubicBezTo>
                      <a:cubicBezTo>
                        <a:pt x="2742952" y="2718197"/>
                        <a:pt x="2660402" y="2691210"/>
                        <a:pt x="2635002" y="2669779"/>
                      </a:cubicBezTo>
                      <a:cubicBezTo>
                        <a:pt x="2609602" y="2648348"/>
                        <a:pt x="2638970" y="2635648"/>
                        <a:pt x="2658814" y="2603104"/>
                      </a:cubicBezTo>
                      <a:cubicBezTo>
                        <a:pt x="2678658" y="2570560"/>
                        <a:pt x="2723108" y="2532460"/>
                        <a:pt x="2754064" y="2474516"/>
                      </a:cubicBezTo>
                      <a:cubicBezTo>
                        <a:pt x="2785020" y="2416572"/>
                        <a:pt x="2826296" y="2307828"/>
                        <a:pt x="2844552" y="2255441"/>
                      </a:cubicBezTo>
                      <a:cubicBezTo>
                        <a:pt x="2862808" y="2203054"/>
                        <a:pt x="2850902" y="2186385"/>
                        <a:pt x="2863602" y="2160191"/>
                      </a:cubicBezTo>
                      <a:cubicBezTo>
                        <a:pt x="2876302" y="2133997"/>
                        <a:pt x="2897733" y="2149079"/>
                        <a:pt x="2920752" y="2098279"/>
                      </a:cubicBezTo>
                      <a:cubicBezTo>
                        <a:pt x="2943771" y="2047479"/>
                        <a:pt x="2978695" y="1938735"/>
                        <a:pt x="3001714" y="1855391"/>
                      </a:cubicBezTo>
                      <a:cubicBezTo>
                        <a:pt x="3024733" y="1772047"/>
                        <a:pt x="3048545" y="1660129"/>
                        <a:pt x="3058864" y="1598216"/>
                      </a:cubicBezTo>
                      <a:cubicBezTo>
                        <a:pt x="3069183" y="1536303"/>
                        <a:pt x="3071564" y="1520428"/>
                        <a:pt x="3063627" y="1483916"/>
                      </a:cubicBezTo>
                      <a:cubicBezTo>
                        <a:pt x="3055690" y="1447404"/>
                        <a:pt x="3028702" y="1404541"/>
                        <a:pt x="3011239" y="1379141"/>
                      </a:cubicBezTo>
                      <a:cubicBezTo>
                        <a:pt x="2993776" y="1353741"/>
                        <a:pt x="2969171" y="1355329"/>
                        <a:pt x="2958852" y="1331516"/>
                      </a:cubicBezTo>
                      <a:cubicBezTo>
                        <a:pt x="2948533" y="1307704"/>
                        <a:pt x="2949327" y="1271191"/>
                        <a:pt x="2949327" y="1236266"/>
                      </a:cubicBezTo>
                      <a:cubicBezTo>
                        <a:pt x="2949327" y="1201341"/>
                        <a:pt x="2949327" y="1152922"/>
                        <a:pt x="2958852" y="1121966"/>
                      </a:cubicBezTo>
                      <a:cubicBezTo>
                        <a:pt x="2968377" y="1091010"/>
                        <a:pt x="2985839" y="1066404"/>
                        <a:pt x="3006477" y="1050529"/>
                      </a:cubicBezTo>
                      <a:cubicBezTo>
                        <a:pt x="3021955" y="1038623"/>
                        <a:pt x="3041898" y="1001267"/>
                        <a:pt x="3062288" y="1005769"/>
                      </a:cubicBezTo>
                      <a:close/>
                      <a:moveTo>
                        <a:pt x="1814660" y="0"/>
                      </a:moveTo>
                      <a:lnTo>
                        <a:pt x="1957138" y="1191"/>
                      </a:lnTo>
                      <a:cubicBezTo>
                        <a:pt x="2036513" y="2249"/>
                        <a:pt x="2083080" y="133"/>
                        <a:pt x="2153988" y="20241"/>
                      </a:cubicBezTo>
                      <a:cubicBezTo>
                        <a:pt x="2224896" y="40349"/>
                        <a:pt x="2301096" y="69983"/>
                        <a:pt x="2382588" y="121841"/>
                      </a:cubicBezTo>
                      <a:cubicBezTo>
                        <a:pt x="2464080" y="173699"/>
                        <a:pt x="2548747" y="236141"/>
                        <a:pt x="2642938" y="331391"/>
                      </a:cubicBezTo>
                      <a:cubicBezTo>
                        <a:pt x="2737129" y="426641"/>
                        <a:pt x="2877888" y="601266"/>
                        <a:pt x="2947738" y="693341"/>
                      </a:cubicBezTo>
                      <a:cubicBezTo>
                        <a:pt x="3017588" y="785416"/>
                        <a:pt x="3051455" y="831983"/>
                        <a:pt x="3062038" y="883841"/>
                      </a:cubicBezTo>
                      <a:cubicBezTo>
                        <a:pt x="3072621" y="935699"/>
                        <a:pt x="3037696" y="974858"/>
                        <a:pt x="3011238" y="1004491"/>
                      </a:cubicBezTo>
                      <a:cubicBezTo>
                        <a:pt x="2984780" y="1034124"/>
                        <a:pt x="2933980" y="1062699"/>
                        <a:pt x="2903288" y="1061641"/>
                      </a:cubicBezTo>
                      <a:cubicBezTo>
                        <a:pt x="2872596" y="1060583"/>
                        <a:pt x="2868363" y="1038358"/>
                        <a:pt x="2827088" y="998141"/>
                      </a:cubicBezTo>
                      <a:cubicBezTo>
                        <a:pt x="2785813" y="957924"/>
                        <a:pt x="2735013" y="874316"/>
                        <a:pt x="2655638" y="820341"/>
                      </a:cubicBezTo>
                      <a:cubicBezTo>
                        <a:pt x="2576263" y="766366"/>
                        <a:pt x="2456671" y="698633"/>
                        <a:pt x="2350838" y="674291"/>
                      </a:cubicBezTo>
                      <a:cubicBezTo>
                        <a:pt x="2245005" y="649949"/>
                        <a:pt x="2004008" y="658416"/>
                        <a:pt x="2020638" y="674291"/>
                      </a:cubicBezTo>
                      <a:cubicBezTo>
                        <a:pt x="2037268" y="690166"/>
                        <a:pt x="2322805" y="697365"/>
                        <a:pt x="2450619" y="769542"/>
                      </a:cubicBezTo>
                      <a:cubicBezTo>
                        <a:pt x="2578433" y="841719"/>
                        <a:pt x="2592091" y="839501"/>
                        <a:pt x="2660171" y="895090"/>
                      </a:cubicBezTo>
                      <a:cubicBezTo>
                        <a:pt x="2728251" y="950679"/>
                        <a:pt x="2812957" y="1052543"/>
                        <a:pt x="2859098" y="1103077"/>
                      </a:cubicBezTo>
                      <a:cubicBezTo>
                        <a:pt x="2840639" y="1173982"/>
                        <a:pt x="2842709" y="1151206"/>
                        <a:pt x="2830884" y="1212445"/>
                      </a:cubicBezTo>
                      <a:cubicBezTo>
                        <a:pt x="2856921" y="1275211"/>
                        <a:pt x="2830896" y="1445184"/>
                        <a:pt x="2830884" y="1445256"/>
                      </a:cubicBezTo>
                      <a:cubicBezTo>
                        <a:pt x="2830987" y="1445263"/>
                        <a:pt x="2939795" y="1453141"/>
                        <a:pt x="2939795" y="1531580"/>
                      </a:cubicBezTo>
                      <a:cubicBezTo>
                        <a:pt x="2939795" y="1610041"/>
                        <a:pt x="2823824" y="2041512"/>
                        <a:pt x="2823781" y="2041674"/>
                      </a:cubicBezTo>
                      <a:cubicBezTo>
                        <a:pt x="2823748" y="2041731"/>
                        <a:pt x="2792983" y="2093987"/>
                        <a:pt x="2757487" y="2086142"/>
                      </a:cubicBezTo>
                      <a:cubicBezTo>
                        <a:pt x="2719935" y="2402501"/>
                        <a:pt x="2591644" y="2600616"/>
                        <a:pt x="2480886" y="2698176"/>
                      </a:cubicBezTo>
                      <a:cubicBezTo>
                        <a:pt x="2497333" y="2737923"/>
                        <a:pt x="2509017" y="2787194"/>
                        <a:pt x="2530227" y="2817416"/>
                      </a:cubicBezTo>
                      <a:lnTo>
                        <a:pt x="2592139" y="2874566"/>
                      </a:lnTo>
                      <a:lnTo>
                        <a:pt x="2658814" y="2884091"/>
                      </a:lnTo>
                      <a:lnTo>
                        <a:pt x="2682627" y="2912666"/>
                      </a:lnTo>
                      <a:lnTo>
                        <a:pt x="2749302" y="3079354"/>
                      </a:lnTo>
                      <a:lnTo>
                        <a:pt x="2844552" y="3174604"/>
                      </a:lnTo>
                      <a:lnTo>
                        <a:pt x="2939802" y="3207941"/>
                      </a:lnTo>
                      <a:lnTo>
                        <a:pt x="3282702" y="3317479"/>
                      </a:lnTo>
                      <a:lnTo>
                        <a:pt x="3658939" y="3493691"/>
                      </a:lnTo>
                      <a:lnTo>
                        <a:pt x="3868489" y="3641329"/>
                      </a:lnTo>
                      <a:cubicBezTo>
                        <a:pt x="3879602" y="3684191"/>
                        <a:pt x="3906589" y="3708004"/>
                        <a:pt x="3901827" y="3769916"/>
                      </a:cubicBezTo>
                      <a:cubicBezTo>
                        <a:pt x="3909764" y="3830241"/>
                        <a:pt x="3898652" y="3938191"/>
                        <a:pt x="3878014" y="4027091"/>
                      </a:cubicBezTo>
                      <a:cubicBezTo>
                        <a:pt x="3855789" y="4119166"/>
                        <a:pt x="3820864" y="4166791"/>
                        <a:pt x="3792289" y="4236641"/>
                      </a:cubicBezTo>
                      <a:lnTo>
                        <a:pt x="3620839" y="4598591"/>
                      </a:lnTo>
                      <a:lnTo>
                        <a:pt x="3473202" y="4760516"/>
                      </a:lnTo>
                      <a:cubicBezTo>
                        <a:pt x="2419193" y="4883157"/>
                        <a:pt x="1553862" y="4873723"/>
                        <a:pt x="339477" y="4760516"/>
                      </a:cubicBezTo>
                      <a:lnTo>
                        <a:pt x="163264" y="4436666"/>
                      </a:lnTo>
                      <a:lnTo>
                        <a:pt x="58489" y="4141391"/>
                      </a:lnTo>
                      <a:cubicBezTo>
                        <a:pt x="39439" y="4046141"/>
                        <a:pt x="14039" y="3992166"/>
                        <a:pt x="1339" y="3855641"/>
                      </a:cubicBezTo>
                      <a:cubicBezTo>
                        <a:pt x="-3423" y="3795316"/>
                        <a:pt x="4514" y="3744516"/>
                        <a:pt x="25152" y="3703241"/>
                      </a:cubicBezTo>
                      <a:lnTo>
                        <a:pt x="220414" y="3584179"/>
                      </a:lnTo>
                      <a:lnTo>
                        <a:pt x="534739" y="3450829"/>
                      </a:lnTo>
                      <a:lnTo>
                        <a:pt x="934789" y="3293666"/>
                      </a:lnTo>
                      <a:lnTo>
                        <a:pt x="1134814" y="3217466"/>
                      </a:lnTo>
                      <a:cubicBezTo>
                        <a:pt x="1234827" y="3090466"/>
                        <a:pt x="1241971" y="3068241"/>
                        <a:pt x="1277689" y="2950766"/>
                      </a:cubicBezTo>
                      <a:lnTo>
                        <a:pt x="1372939" y="2888854"/>
                      </a:lnTo>
                      <a:lnTo>
                        <a:pt x="1444377" y="2750741"/>
                      </a:lnTo>
                      <a:lnTo>
                        <a:pt x="1430089" y="2665016"/>
                      </a:lnTo>
                      <a:lnTo>
                        <a:pt x="1433678" y="2655556"/>
                      </a:lnTo>
                      <a:cubicBezTo>
                        <a:pt x="1422983" y="2644679"/>
                        <a:pt x="1415776" y="2635961"/>
                        <a:pt x="1412671" y="2630242"/>
                      </a:cubicBezTo>
                      <a:cubicBezTo>
                        <a:pt x="1381893" y="2577926"/>
                        <a:pt x="1178275" y="2345112"/>
                        <a:pt x="1171172" y="2059985"/>
                      </a:cubicBezTo>
                      <a:cubicBezTo>
                        <a:pt x="1071731" y="2052136"/>
                        <a:pt x="1014908" y="1764391"/>
                        <a:pt x="977027" y="1612672"/>
                      </a:cubicBezTo>
                      <a:cubicBezTo>
                        <a:pt x="946258" y="1484545"/>
                        <a:pt x="1052708" y="1487108"/>
                        <a:pt x="1052790" y="1487109"/>
                      </a:cubicBezTo>
                      <a:cubicBezTo>
                        <a:pt x="1052758" y="1487025"/>
                        <a:pt x="992834" y="1362590"/>
                        <a:pt x="1018186" y="1277790"/>
                      </a:cubicBezTo>
                      <a:cubicBezTo>
                        <a:pt x="962383" y="1308036"/>
                        <a:pt x="957154" y="1319916"/>
                        <a:pt x="934788" y="1341041"/>
                      </a:cubicBezTo>
                      <a:cubicBezTo>
                        <a:pt x="912422" y="1362166"/>
                        <a:pt x="899863" y="1373849"/>
                        <a:pt x="883988" y="1404541"/>
                      </a:cubicBezTo>
                      <a:cubicBezTo>
                        <a:pt x="868113" y="1435233"/>
                        <a:pt x="843771" y="1484974"/>
                        <a:pt x="839538" y="1525191"/>
                      </a:cubicBezTo>
                      <a:cubicBezTo>
                        <a:pt x="835305" y="1565408"/>
                        <a:pt x="850121" y="1595041"/>
                        <a:pt x="858588" y="1645841"/>
                      </a:cubicBezTo>
                      <a:cubicBezTo>
                        <a:pt x="867055" y="1696641"/>
                        <a:pt x="872346" y="1749558"/>
                        <a:pt x="890338" y="1829991"/>
                      </a:cubicBezTo>
                      <a:cubicBezTo>
                        <a:pt x="908330" y="1910424"/>
                        <a:pt x="940080" y="2067058"/>
                        <a:pt x="966538" y="2128441"/>
                      </a:cubicBezTo>
                      <a:cubicBezTo>
                        <a:pt x="992996" y="2189824"/>
                        <a:pt x="1026863" y="2164424"/>
                        <a:pt x="1049088" y="2198291"/>
                      </a:cubicBezTo>
                      <a:cubicBezTo>
                        <a:pt x="1071313" y="2232158"/>
                        <a:pt x="1071313" y="2270258"/>
                        <a:pt x="1099888" y="2331641"/>
                      </a:cubicBezTo>
                      <a:cubicBezTo>
                        <a:pt x="1128463" y="2393024"/>
                        <a:pt x="1191963" y="2503091"/>
                        <a:pt x="1220538" y="2566591"/>
                      </a:cubicBezTo>
                      <a:cubicBezTo>
                        <a:pt x="1249113" y="2630091"/>
                        <a:pt x="1286155" y="2681949"/>
                        <a:pt x="1271338" y="2712641"/>
                      </a:cubicBezTo>
                      <a:cubicBezTo>
                        <a:pt x="1256521" y="2743333"/>
                        <a:pt x="1188788" y="2740158"/>
                        <a:pt x="1131638" y="2750741"/>
                      </a:cubicBezTo>
                      <a:cubicBezTo>
                        <a:pt x="1074488" y="2761324"/>
                        <a:pt x="992996" y="2779316"/>
                        <a:pt x="928438" y="2776141"/>
                      </a:cubicBezTo>
                      <a:cubicBezTo>
                        <a:pt x="863880" y="2772966"/>
                        <a:pt x="788738" y="2762383"/>
                        <a:pt x="744288" y="2731691"/>
                      </a:cubicBezTo>
                      <a:cubicBezTo>
                        <a:pt x="699838" y="2700999"/>
                        <a:pt x="681846" y="2656549"/>
                        <a:pt x="661738" y="2591991"/>
                      </a:cubicBezTo>
                      <a:cubicBezTo>
                        <a:pt x="641630" y="2527433"/>
                        <a:pt x="627871" y="2439591"/>
                        <a:pt x="623638" y="2344341"/>
                      </a:cubicBezTo>
                      <a:cubicBezTo>
                        <a:pt x="619405" y="2249091"/>
                        <a:pt x="617288" y="2189824"/>
                        <a:pt x="636338" y="2020491"/>
                      </a:cubicBezTo>
                      <a:cubicBezTo>
                        <a:pt x="655388" y="1851158"/>
                        <a:pt x="681846" y="1561174"/>
                        <a:pt x="737938" y="1328341"/>
                      </a:cubicBezTo>
                      <a:cubicBezTo>
                        <a:pt x="794030" y="1095508"/>
                        <a:pt x="900921" y="794941"/>
                        <a:pt x="972888" y="623491"/>
                      </a:cubicBezTo>
                      <a:cubicBezTo>
                        <a:pt x="1044855" y="452041"/>
                        <a:pt x="1105180" y="380074"/>
                        <a:pt x="1169738" y="299641"/>
                      </a:cubicBezTo>
                      <a:cubicBezTo>
                        <a:pt x="1234296" y="219208"/>
                        <a:pt x="1299913" y="171583"/>
                        <a:pt x="1360238" y="140891"/>
                      </a:cubicBezTo>
                      <a:cubicBezTo>
                        <a:pt x="1420563" y="110199"/>
                        <a:pt x="1478771" y="136658"/>
                        <a:pt x="1531688" y="115491"/>
                      </a:cubicBezTo>
                      <a:cubicBezTo>
                        <a:pt x="1584605" y="94324"/>
                        <a:pt x="1605771" y="32941"/>
                        <a:pt x="1677738" y="13891"/>
                      </a:cubicBezTo>
                      <a:cubicBezTo>
                        <a:pt x="1713722" y="4366"/>
                        <a:pt x="1763728" y="926"/>
                        <a:pt x="181466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2">
                    <a:defRPr/>
                  </a:pPr>
                  <a:endParaRPr lang="en-US" sz="1798" dirty="0">
                    <a:solidFill>
                      <a:prstClr val="white"/>
                    </a:solidFill>
                    <a:latin typeface="Segoe UI"/>
                  </a:endParaRPr>
                </a:p>
              </p:txBody>
            </p:sp>
          </p:grpSp>
        </p:grpSp>
      </p:grpSp>
      <p:grpSp>
        <p:nvGrpSpPr>
          <p:cNvPr id="655" name="Group 654">
            <a:extLst>
              <a:ext uri="{FF2B5EF4-FFF2-40B4-BE49-F238E27FC236}">
                <a16:creationId xmlns:a16="http://schemas.microsoft.com/office/drawing/2014/main" id="{6442D977-00BF-4431-81D4-61C04C6B1625}"/>
              </a:ext>
            </a:extLst>
          </p:cNvPr>
          <p:cNvGrpSpPr/>
          <p:nvPr/>
        </p:nvGrpSpPr>
        <p:grpSpPr>
          <a:xfrm rot="2913744">
            <a:off x="2856098" y="4416464"/>
            <a:ext cx="1193268" cy="552227"/>
            <a:chOff x="3013512" y="1616132"/>
            <a:chExt cx="1165746" cy="552371"/>
          </a:xfrm>
        </p:grpSpPr>
        <p:sp>
          <p:nvSpPr>
            <p:cNvPr id="656" name="Arrow: Left-Right 655">
              <a:extLst>
                <a:ext uri="{FF2B5EF4-FFF2-40B4-BE49-F238E27FC236}">
                  <a16:creationId xmlns:a16="http://schemas.microsoft.com/office/drawing/2014/main" id="{8D750D7D-FEDB-43D6-A48C-3B71C0422960}"/>
                </a:ext>
              </a:extLst>
            </p:cNvPr>
            <p:cNvSpPr/>
            <p:nvPr/>
          </p:nvSpPr>
          <p:spPr>
            <a:xfrm>
              <a:off x="3013512" y="1616132"/>
              <a:ext cx="1165746" cy="552371"/>
            </a:xfrm>
            <a:prstGeom prst="lef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914126">
                <a:defRPr/>
              </a:pPr>
              <a:endParaRPr lang="en-US" sz="1200" dirty="0" err="1">
                <a:solidFill>
                  <a:prstClr val="white"/>
                </a:solidFill>
                <a:latin typeface="Segoe UI"/>
              </a:endParaRPr>
            </a:p>
          </p:txBody>
        </p:sp>
        <p:sp>
          <p:nvSpPr>
            <p:cNvPr id="657" name="TextBox 656">
              <a:extLst>
                <a:ext uri="{FF2B5EF4-FFF2-40B4-BE49-F238E27FC236}">
                  <a16:creationId xmlns:a16="http://schemas.microsoft.com/office/drawing/2014/main" id="{68EE7F2B-1381-45FE-85C4-683842586B02}"/>
                </a:ext>
              </a:extLst>
            </p:cNvPr>
            <p:cNvSpPr txBox="1"/>
            <p:nvPr/>
          </p:nvSpPr>
          <p:spPr>
            <a:xfrm>
              <a:off x="3284058" y="1774778"/>
              <a:ext cx="744682" cy="212603"/>
            </a:xfrm>
            <a:prstGeom prst="rect">
              <a:avLst/>
            </a:prstGeom>
          </p:spPr>
          <p:txBody>
            <a:bodyPr vert="horz" wrap="none" lIns="0" tIns="0" rIns="0" bIns="0" rtlCol="0" anchor="ctr">
              <a:noAutofit/>
            </a:bodyPr>
            <a:lstStyle>
              <a:defPPr>
                <a:defRPr lang="en-US"/>
              </a:defPPr>
              <a:lvl1pPr algn="ctr" defTabSz="1088105">
                <a:defRPr sz="1200">
                  <a:solidFill>
                    <a:srgbClr val="505050"/>
                  </a:solidFill>
                  <a:latin typeface="Segoe UI Semibold" panose="020B0702040204020203" pitchFamily="34" charset="0"/>
                  <a:ea typeface="Segoe UI" pitchFamily="34" charset="0"/>
                  <a:cs typeface="Segoe UI Semibold" panose="020B0702040204020203" pitchFamily="34" charset="0"/>
                </a:defRPr>
              </a:lvl1pPr>
            </a:lstStyle>
            <a:p>
              <a:pPr algn="l" defTabSz="1087779">
                <a:defRPr/>
              </a:pPr>
              <a:r>
                <a:rPr lang="en-US" kern="0" dirty="0">
                  <a:solidFill>
                    <a:prstClr val="white"/>
                  </a:solidFill>
                </a:rPr>
                <a:t>Telemetry</a:t>
              </a:r>
            </a:p>
          </p:txBody>
        </p:sp>
      </p:grpSp>
      <p:grpSp>
        <p:nvGrpSpPr>
          <p:cNvPr id="658" name="Group 657">
            <a:extLst>
              <a:ext uri="{FF2B5EF4-FFF2-40B4-BE49-F238E27FC236}">
                <a16:creationId xmlns:a16="http://schemas.microsoft.com/office/drawing/2014/main" id="{47AF1A1E-0242-45B5-8ABA-1DDB7663D95B}"/>
              </a:ext>
            </a:extLst>
          </p:cNvPr>
          <p:cNvGrpSpPr/>
          <p:nvPr/>
        </p:nvGrpSpPr>
        <p:grpSpPr>
          <a:xfrm rot="3395965">
            <a:off x="1933625" y="3043379"/>
            <a:ext cx="825816" cy="552227"/>
            <a:chOff x="3017445" y="1641745"/>
            <a:chExt cx="767340" cy="552371"/>
          </a:xfrm>
        </p:grpSpPr>
        <p:sp>
          <p:nvSpPr>
            <p:cNvPr id="659" name="Arrow: Left-Right 658">
              <a:extLst>
                <a:ext uri="{FF2B5EF4-FFF2-40B4-BE49-F238E27FC236}">
                  <a16:creationId xmlns:a16="http://schemas.microsoft.com/office/drawing/2014/main" id="{C1B137E3-EC98-4F64-A943-B939EB26A790}"/>
                </a:ext>
              </a:extLst>
            </p:cNvPr>
            <p:cNvSpPr/>
            <p:nvPr/>
          </p:nvSpPr>
          <p:spPr>
            <a:xfrm>
              <a:off x="3017445" y="1641745"/>
              <a:ext cx="767340" cy="552371"/>
            </a:xfrm>
            <a:prstGeom prst="lef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914126">
                <a:defRPr/>
              </a:pPr>
              <a:endParaRPr lang="en-US" sz="1200" dirty="0" err="1">
                <a:solidFill>
                  <a:prstClr val="white"/>
                </a:solidFill>
                <a:latin typeface="Segoe UI"/>
              </a:endParaRPr>
            </a:p>
          </p:txBody>
        </p:sp>
        <p:sp>
          <p:nvSpPr>
            <p:cNvPr id="660" name="TextBox 659">
              <a:extLst>
                <a:ext uri="{FF2B5EF4-FFF2-40B4-BE49-F238E27FC236}">
                  <a16:creationId xmlns:a16="http://schemas.microsoft.com/office/drawing/2014/main" id="{9D6CBC7F-7B42-4468-8D8E-C45FA5A162CB}"/>
                </a:ext>
              </a:extLst>
            </p:cNvPr>
            <p:cNvSpPr txBox="1"/>
            <p:nvPr/>
          </p:nvSpPr>
          <p:spPr>
            <a:xfrm>
              <a:off x="3284058" y="1774778"/>
              <a:ext cx="327134" cy="271259"/>
            </a:xfrm>
            <a:prstGeom prst="rect">
              <a:avLst/>
            </a:prstGeom>
          </p:spPr>
          <p:txBody>
            <a:bodyPr vert="horz" wrap="none" lIns="0" tIns="0" rIns="0" bIns="0" rtlCol="0" anchor="ctr">
              <a:noAutofit/>
            </a:bodyPr>
            <a:lstStyle>
              <a:defPPr>
                <a:defRPr lang="en-US"/>
              </a:defPPr>
              <a:lvl1pPr algn="ctr" defTabSz="1088105">
                <a:defRPr sz="1200">
                  <a:solidFill>
                    <a:srgbClr val="505050"/>
                  </a:solidFill>
                  <a:latin typeface="Segoe UI Semibold" panose="020B0702040204020203" pitchFamily="34" charset="0"/>
                  <a:ea typeface="Segoe UI" pitchFamily="34" charset="0"/>
                  <a:cs typeface="Segoe UI Semibold" panose="020B0702040204020203" pitchFamily="34" charset="0"/>
                </a:defRPr>
              </a:lvl1pPr>
            </a:lstStyle>
            <a:p>
              <a:pPr algn="l" defTabSz="1087779">
                <a:defRPr/>
              </a:pPr>
              <a:r>
                <a:rPr lang="en-US" kern="0" dirty="0">
                  <a:solidFill>
                    <a:prstClr val="white"/>
                  </a:solidFill>
                </a:rPr>
                <a:t>Use</a:t>
              </a:r>
            </a:p>
          </p:txBody>
        </p:sp>
      </p:grpSp>
      <p:grpSp>
        <p:nvGrpSpPr>
          <p:cNvPr id="663" name="Group 662">
            <a:extLst>
              <a:ext uri="{FF2B5EF4-FFF2-40B4-BE49-F238E27FC236}">
                <a16:creationId xmlns:a16="http://schemas.microsoft.com/office/drawing/2014/main" id="{69DC0CA7-25B5-4BEB-A81D-878C0F287135}"/>
              </a:ext>
            </a:extLst>
          </p:cNvPr>
          <p:cNvGrpSpPr/>
          <p:nvPr/>
        </p:nvGrpSpPr>
        <p:grpSpPr>
          <a:xfrm rot="4743365">
            <a:off x="10528206" y="2612436"/>
            <a:ext cx="1254582" cy="552227"/>
            <a:chOff x="3013512" y="1616132"/>
            <a:chExt cx="1165746" cy="552371"/>
          </a:xfrm>
        </p:grpSpPr>
        <p:sp>
          <p:nvSpPr>
            <p:cNvPr id="664" name="Arrow: Left-Right 663">
              <a:extLst>
                <a:ext uri="{FF2B5EF4-FFF2-40B4-BE49-F238E27FC236}">
                  <a16:creationId xmlns:a16="http://schemas.microsoft.com/office/drawing/2014/main" id="{56362F2F-62C1-4964-B832-4BBF81115DCE}"/>
                </a:ext>
              </a:extLst>
            </p:cNvPr>
            <p:cNvSpPr/>
            <p:nvPr/>
          </p:nvSpPr>
          <p:spPr>
            <a:xfrm>
              <a:off x="3013512" y="1616132"/>
              <a:ext cx="1165746" cy="552371"/>
            </a:xfrm>
            <a:prstGeom prst="lef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914126">
                <a:defRPr/>
              </a:pPr>
              <a:endParaRPr lang="en-US" sz="1200" dirty="0" err="1">
                <a:solidFill>
                  <a:prstClr val="white"/>
                </a:solidFill>
                <a:latin typeface="Segoe UI"/>
              </a:endParaRPr>
            </a:p>
          </p:txBody>
        </p:sp>
        <p:sp>
          <p:nvSpPr>
            <p:cNvPr id="665" name="TextBox 664">
              <a:extLst>
                <a:ext uri="{FF2B5EF4-FFF2-40B4-BE49-F238E27FC236}">
                  <a16:creationId xmlns:a16="http://schemas.microsoft.com/office/drawing/2014/main" id="{278F971E-CE95-4268-A66B-5C35B98245FD}"/>
                </a:ext>
              </a:extLst>
            </p:cNvPr>
            <p:cNvSpPr txBox="1"/>
            <p:nvPr/>
          </p:nvSpPr>
          <p:spPr>
            <a:xfrm>
              <a:off x="3284058" y="1774778"/>
              <a:ext cx="744682" cy="212603"/>
            </a:xfrm>
            <a:prstGeom prst="rect">
              <a:avLst/>
            </a:prstGeom>
          </p:spPr>
          <p:txBody>
            <a:bodyPr vert="horz" wrap="none" lIns="0" tIns="0" rIns="0" bIns="0" rtlCol="0" anchor="ctr">
              <a:noAutofit/>
            </a:bodyPr>
            <a:lstStyle>
              <a:defPPr>
                <a:defRPr lang="en-US"/>
              </a:defPPr>
              <a:lvl1pPr algn="ctr" defTabSz="1088105">
                <a:defRPr sz="1200">
                  <a:solidFill>
                    <a:srgbClr val="505050"/>
                  </a:solidFill>
                  <a:latin typeface="Segoe UI Semibold" panose="020B0702040204020203" pitchFamily="34" charset="0"/>
                  <a:ea typeface="Segoe UI" pitchFamily="34" charset="0"/>
                  <a:cs typeface="Segoe UI Semibold" panose="020B0702040204020203" pitchFamily="34" charset="0"/>
                </a:defRPr>
              </a:lvl1pPr>
            </a:lstStyle>
            <a:p>
              <a:pPr algn="l" defTabSz="1087779">
                <a:defRPr/>
              </a:pPr>
              <a:r>
                <a:rPr lang="en-US" kern="0" dirty="0">
                  <a:solidFill>
                    <a:prstClr val="white"/>
                  </a:solidFill>
                </a:rPr>
                <a:t>Insights</a:t>
              </a:r>
            </a:p>
          </p:txBody>
        </p:sp>
      </p:grpSp>
      <p:grpSp>
        <p:nvGrpSpPr>
          <p:cNvPr id="22" name="Group 21">
            <a:extLst>
              <a:ext uri="{FF2B5EF4-FFF2-40B4-BE49-F238E27FC236}">
                <a16:creationId xmlns:a16="http://schemas.microsoft.com/office/drawing/2014/main" id="{21283924-3938-4CB2-A621-F30811F08575}"/>
              </a:ext>
            </a:extLst>
          </p:cNvPr>
          <p:cNvGrpSpPr/>
          <p:nvPr/>
        </p:nvGrpSpPr>
        <p:grpSpPr>
          <a:xfrm>
            <a:off x="7963391" y="960446"/>
            <a:ext cx="2045521" cy="552227"/>
            <a:chOff x="7873143" y="511112"/>
            <a:chExt cx="2046054" cy="552371"/>
          </a:xfrm>
        </p:grpSpPr>
        <p:sp>
          <p:nvSpPr>
            <p:cNvPr id="670" name="Arrow: Left-Right 669">
              <a:extLst>
                <a:ext uri="{FF2B5EF4-FFF2-40B4-BE49-F238E27FC236}">
                  <a16:creationId xmlns:a16="http://schemas.microsoft.com/office/drawing/2014/main" id="{8A7693C8-8DFE-4E40-9336-7F74235D6E1B}"/>
                </a:ext>
              </a:extLst>
            </p:cNvPr>
            <p:cNvSpPr/>
            <p:nvPr/>
          </p:nvSpPr>
          <p:spPr>
            <a:xfrm>
              <a:off x="7873143" y="511112"/>
              <a:ext cx="2046054" cy="552371"/>
            </a:xfrm>
            <a:prstGeom prst="lef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914126">
                <a:defRPr/>
              </a:pPr>
              <a:endParaRPr lang="en-US" sz="1200" dirty="0" err="1">
                <a:solidFill>
                  <a:prstClr val="white"/>
                </a:solidFill>
                <a:latin typeface="Segoe UI"/>
              </a:endParaRPr>
            </a:p>
          </p:txBody>
        </p:sp>
        <p:sp>
          <p:nvSpPr>
            <p:cNvPr id="671" name="TextBox 670">
              <a:extLst>
                <a:ext uri="{FF2B5EF4-FFF2-40B4-BE49-F238E27FC236}">
                  <a16:creationId xmlns:a16="http://schemas.microsoft.com/office/drawing/2014/main" id="{66325EA9-B99B-4008-BECA-EEBD3F8CC590}"/>
                </a:ext>
              </a:extLst>
            </p:cNvPr>
            <p:cNvSpPr txBox="1"/>
            <p:nvPr/>
          </p:nvSpPr>
          <p:spPr>
            <a:xfrm>
              <a:off x="8178498" y="671439"/>
              <a:ext cx="1709404" cy="212603"/>
            </a:xfrm>
            <a:prstGeom prst="rect">
              <a:avLst/>
            </a:prstGeom>
          </p:spPr>
          <p:txBody>
            <a:bodyPr vert="horz" wrap="none" lIns="0" tIns="0" rIns="0" bIns="0" rtlCol="0" anchor="ctr">
              <a:noAutofit/>
            </a:bodyPr>
            <a:lstStyle>
              <a:defPPr>
                <a:defRPr lang="en-US"/>
              </a:defPPr>
              <a:lvl1pPr algn="ctr" defTabSz="1088105">
                <a:defRPr sz="1200">
                  <a:solidFill>
                    <a:srgbClr val="505050"/>
                  </a:solidFill>
                  <a:latin typeface="Segoe UI Semibold" panose="020B0702040204020203" pitchFamily="34" charset="0"/>
                  <a:ea typeface="Segoe UI" pitchFamily="34" charset="0"/>
                  <a:cs typeface="Segoe UI Semibold" panose="020B0702040204020203" pitchFamily="34" charset="0"/>
                </a:defRPr>
              </a:lvl1pPr>
            </a:lstStyle>
            <a:p>
              <a:pPr algn="l" defTabSz="1087779">
                <a:defRPr/>
              </a:pPr>
              <a:r>
                <a:rPr lang="en-US" kern="0" dirty="0">
                  <a:solidFill>
                    <a:prstClr val="white"/>
                  </a:solidFill>
                </a:rPr>
                <a:t>Supply Chain Insights</a:t>
              </a:r>
            </a:p>
          </p:txBody>
        </p:sp>
      </p:grpSp>
      <p:grpSp>
        <p:nvGrpSpPr>
          <p:cNvPr id="21" name="Group 20">
            <a:extLst>
              <a:ext uri="{FF2B5EF4-FFF2-40B4-BE49-F238E27FC236}">
                <a16:creationId xmlns:a16="http://schemas.microsoft.com/office/drawing/2014/main" id="{BBA7887F-1ACA-445E-A9BA-9FBE75EAE33E}"/>
              </a:ext>
            </a:extLst>
          </p:cNvPr>
          <p:cNvGrpSpPr/>
          <p:nvPr/>
        </p:nvGrpSpPr>
        <p:grpSpPr>
          <a:xfrm>
            <a:off x="8365308" y="1463728"/>
            <a:ext cx="2014234" cy="552227"/>
            <a:chOff x="8122004" y="1105080"/>
            <a:chExt cx="2014759" cy="552371"/>
          </a:xfrm>
        </p:grpSpPr>
        <p:sp>
          <p:nvSpPr>
            <p:cNvPr id="672" name="Arrow: Left-Right 671">
              <a:extLst>
                <a:ext uri="{FF2B5EF4-FFF2-40B4-BE49-F238E27FC236}">
                  <a16:creationId xmlns:a16="http://schemas.microsoft.com/office/drawing/2014/main" id="{9E408E08-8EC8-4560-A40E-7DFB42A6A102}"/>
                </a:ext>
              </a:extLst>
            </p:cNvPr>
            <p:cNvSpPr/>
            <p:nvPr/>
          </p:nvSpPr>
          <p:spPr>
            <a:xfrm>
              <a:off x="8122004" y="1105080"/>
              <a:ext cx="1779192" cy="552371"/>
            </a:xfrm>
            <a:prstGeom prst="lef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914126">
                <a:defRPr/>
              </a:pPr>
              <a:endParaRPr lang="en-US" sz="1200" dirty="0" err="1">
                <a:solidFill>
                  <a:prstClr val="white"/>
                </a:solidFill>
                <a:latin typeface="Segoe UI"/>
              </a:endParaRPr>
            </a:p>
          </p:txBody>
        </p:sp>
        <p:sp>
          <p:nvSpPr>
            <p:cNvPr id="673" name="TextBox 672">
              <a:extLst>
                <a:ext uri="{FF2B5EF4-FFF2-40B4-BE49-F238E27FC236}">
                  <a16:creationId xmlns:a16="http://schemas.microsoft.com/office/drawing/2014/main" id="{0DA6D985-56A1-4FF5-9BBF-00381DC66857}"/>
                </a:ext>
              </a:extLst>
            </p:cNvPr>
            <p:cNvSpPr txBox="1"/>
            <p:nvPr/>
          </p:nvSpPr>
          <p:spPr>
            <a:xfrm>
              <a:off x="8427359" y="1265407"/>
              <a:ext cx="1709404" cy="212603"/>
            </a:xfrm>
            <a:prstGeom prst="rect">
              <a:avLst/>
            </a:prstGeom>
          </p:spPr>
          <p:txBody>
            <a:bodyPr vert="horz" wrap="none" lIns="0" tIns="0" rIns="0" bIns="0" rtlCol="0" anchor="ctr">
              <a:noAutofit/>
            </a:bodyPr>
            <a:lstStyle>
              <a:defPPr>
                <a:defRPr lang="en-US"/>
              </a:defPPr>
              <a:lvl1pPr algn="ctr" defTabSz="1088105">
                <a:defRPr sz="1200">
                  <a:solidFill>
                    <a:srgbClr val="505050"/>
                  </a:solidFill>
                  <a:latin typeface="Segoe UI Semibold" panose="020B0702040204020203" pitchFamily="34" charset="0"/>
                  <a:ea typeface="Segoe UI" pitchFamily="34" charset="0"/>
                  <a:cs typeface="Segoe UI Semibold" panose="020B0702040204020203" pitchFamily="34" charset="0"/>
                </a:defRPr>
              </a:lvl1pPr>
            </a:lstStyle>
            <a:p>
              <a:pPr algn="l" defTabSz="1087779">
                <a:defRPr/>
              </a:pPr>
              <a:r>
                <a:rPr lang="en-US" kern="0" dirty="0">
                  <a:solidFill>
                    <a:prstClr val="white"/>
                  </a:solidFill>
                </a:rPr>
                <a:t>Customer Insights</a:t>
              </a:r>
            </a:p>
          </p:txBody>
        </p:sp>
      </p:grpSp>
      <p:grpSp>
        <p:nvGrpSpPr>
          <p:cNvPr id="675" name="Group 674">
            <a:extLst>
              <a:ext uri="{FF2B5EF4-FFF2-40B4-BE49-F238E27FC236}">
                <a16:creationId xmlns:a16="http://schemas.microsoft.com/office/drawing/2014/main" id="{26CA6292-084A-4A8F-8DF8-59DF2E086948}"/>
              </a:ext>
            </a:extLst>
          </p:cNvPr>
          <p:cNvGrpSpPr/>
          <p:nvPr/>
        </p:nvGrpSpPr>
        <p:grpSpPr>
          <a:xfrm>
            <a:off x="8690999" y="1954122"/>
            <a:ext cx="1766180" cy="552227"/>
            <a:chOff x="8122004" y="1105080"/>
            <a:chExt cx="1766640" cy="552371"/>
          </a:xfrm>
        </p:grpSpPr>
        <p:sp>
          <p:nvSpPr>
            <p:cNvPr id="676" name="Arrow: Left-Right 675">
              <a:extLst>
                <a:ext uri="{FF2B5EF4-FFF2-40B4-BE49-F238E27FC236}">
                  <a16:creationId xmlns:a16="http://schemas.microsoft.com/office/drawing/2014/main" id="{B0112013-F654-4422-91EC-968338BBD18F}"/>
                </a:ext>
              </a:extLst>
            </p:cNvPr>
            <p:cNvSpPr/>
            <p:nvPr/>
          </p:nvSpPr>
          <p:spPr>
            <a:xfrm>
              <a:off x="8122004" y="1105080"/>
              <a:ext cx="1766640" cy="552371"/>
            </a:xfrm>
            <a:prstGeom prst="lef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914126">
                <a:defRPr/>
              </a:pPr>
              <a:endParaRPr lang="en-US" sz="1200" dirty="0" err="1">
                <a:solidFill>
                  <a:prstClr val="white"/>
                </a:solidFill>
                <a:latin typeface="Segoe UI"/>
              </a:endParaRPr>
            </a:p>
          </p:txBody>
        </p:sp>
        <p:sp>
          <p:nvSpPr>
            <p:cNvPr id="677" name="TextBox 676">
              <a:extLst>
                <a:ext uri="{FF2B5EF4-FFF2-40B4-BE49-F238E27FC236}">
                  <a16:creationId xmlns:a16="http://schemas.microsoft.com/office/drawing/2014/main" id="{731B6A2E-B808-47EB-B08A-08C57BF65D76}"/>
                </a:ext>
              </a:extLst>
            </p:cNvPr>
            <p:cNvSpPr txBox="1"/>
            <p:nvPr/>
          </p:nvSpPr>
          <p:spPr>
            <a:xfrm>
              <a:off x="8427359" y="1265407"/>
              <a:ext cx="1191416" cy="212603"/>
            </a:xfrm>
            <a:prstGeom prst="rect">
              <a:avLst/>
            </a:prstGeom>
          </p:spPr>
          <p:txBody>
            <a:bodyPr vert="horz" wrap="none" lIns="0" tIns="0" rIns="0" bIns="0" rtlCol="0" anchor="ctr">
              <a:noAutofit/>
            </a:bodyPr>
            <a:lstStyle>
              <a:defPPr>
                <a:defRPr lang="en-US"/>
              </a:defPPr>
              <a:lvl1pPr algn="ctr" defTabSz="1088105">
                <a:defRPr sz="1200">
                  <a:solidFill>
                    <a:srgbClr val="505050"/>
                  </a:solidFill>
                  <a:latin typeface="Segoe UI Semibold" panose="020B0702040204020203" pitchFamily="34" charset="0"/>
                  <a:ea typeface="Segoe UI" pitchFamily="34" charset="0"/>
                  <a:cs typeface="Segoe UI Semibold" panose="020B0702040204020203" pitchFamily="34" charset="0"/>
                </a:defRPr>
              </a:lvl1pPr>
            </a:lstStyle>
            <a:p>
              <a:pPr algn="l" defTabSz="1087779">
                <a:defRPr/>
              </a:pPr>
              <a:r>
                <a:rPr lang="en-US" kern="0" dirty="0">
                  <a:solidFill>
                    <a:prstClr val="white"/>
                  </a:solidFill>
                </a:rPr>
                <a:t>Product Insights</a:t>
              </a:r>
            </a:p>
          </p:txBody>
        </p:sp>
      </p:grpSp>
      <p:grpSp>
        <p:nvGrpSpPr>
          <p:cNvPr id="678" name="Group 677">
            <a:extLst>
              <a:ext uri="{FF2B5EF4-FFF2-40B4-BE49-F238E27FC236}">
                <a16:creationId xmlns:a16="http://schemas.microsoft.com/office/drawing/2014/main" id="{2F57B1FC-2732-4DC1-B197-78297AD22A32}"/>
              </a:ext>
            </a:extLst>
          </p:cNvPr>
          <p:cNvGrpSpPr/>
          <p:nvPr/>
        </p:nvGrpSpPr>
        <p:grpSpPr>
          <a:xfrm rot="21204266">
            <a:off x="8708388" y="3908733"/>
            <a:ext cx="1254582" cy="552227"/>
            <a:chOff x="3013512" y="1616132"/>
            <a:chExt cx="1165746" cy="552371"/>
          </a:xfrm>
        </p:grpSpPr>
        <p:sp>
          <p:nvSpPr>
            <p:cNvPr id="679" name="Arrow: Left-Right 678">
              <a:extLst>
                <a:ext uri="{FF2B5EF4-FFF2-40B4-BE49-F238E27FC236}">
                  <a16:creationId xmlns:a16="http://schemas.microsoft.com/office/drawing/2014/main" id="{341E5A91-E4D0-4FA8-A60B-70618DF3586B}"/>
                </a:ext>
              </a:extLst>
            </p:cNvPr>
            <p:cNvSpPr/>
            <p:nvPr/>
          </p:nvSpPr>
          <p:spPr>
            <a:xfrm>
              <a:off x="3013512" y="1616132"/>
              <a:ext cx="1165746" cy="552371"/>
            </a:xfrm>
            <a:prstGeom prst="lef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914126">
                <a:defRPr/>
              </a:pPr>
              <a:endParaRPr lang="en-US" sz="1200" dirty="0" err="1">
                <a:solidFill>
                  <a:prstClr val="white"/>
                </a:solidFill>
                <a:latin typeface="Segoe UI"/>
              </a:endParaRPr>
            </a:p>
          </p:txBody>
        </p:sp>
        <p:sp>
          <p:nvSpPr>
            <p:cNvPr id="680" name="TextBox 679">
              <a:extLst>
                <a:ext uri="{FF2B5EF4-FFF2-40B4-BE49-F238E27FC236}">
                  <a16:creationId xmlns:a16="http://schemas.microsoft.com/office/drawing/2014/main" id="{1825C5D3-882E-4991-AFA7-8ED777DD8D73}"/>
                </a:ext>
              </a:extLst>
            </p:cNvPr>
            <p:cNvSpPr txBox="1"/>
            <p:nvPr/>
          </p:nvSpPr>
          <p:spPr>
            <a:xfrm>
              <a:off x="3284058" y="1774779"/>
              <a:ext cx="744682" cy="212603"/>
            </a:xfrm>
            <a:prstGeom prst="rect">
              <a:avLst/>
            </a:prstGeom>
          </p:spPr>
          <p:txBody>
            <a:bodyPr vert="horz" wrap="none" lIns="0" tIns="0" rIns="0" bIns="0" rtlCol="0" anchor="ctr">
              <a:noAutofit/>
            </a:bodyPr>
            <a:lstStyle>
              <a:defPPr>
                <a:defRPr lang="en-US"/>
              </a:defPPr>
              <a:lvl1pPr algn="ctr" defTabSz="1088105">
                <a:defRPr sz="1200">
                  <a:solidFill>
                    <a:srgbClr val="505050"/>
                  </a:solidFill>
                  <a:latin typeface="Segoe UI Semibold" panose="020B0702040204020203" pitchFamily="34" charset="0"/>
                  <a:ea typeface="Segoe UI" pitchFamily="34" charset="0"/>
                  <a:cs typeface="Segoe UI Semibold" panose="020B0702040204020203" pitchFamily="34" charset="0"/>
                </a:defRPr>
              </a:lvl1pPr>
            </a:lstStyle>
            <a:p>
              <a:pPr algn="l" defTabSz="1087779">
                <a:defRPr/>
              </a:pPr>
              <a:r>
                <a:rPr lang="en-US" kern="0" dirty="0">
                  <a:solidFill>
                    <a:prstClr val="white"/>
                  </a:solidFill>
                </a:rPr>
                <a:t>Insights</a:t>
              </a:r>
            </a:p>
          </p:txBody>
        </p:sp>
      </p:grpSp>
      <p:grpSp>
        <p:nvGrpSpPr>
          <p:cNvPr id="681" name="Group 680">
            <a:extLst>
              <a:ext uri="{FF2B5EF4-FFF2-40B4-BE49-F238E27FC236}">
                <a16:creationId xmlns:a16="http://schemas.microsoft.com/office/drawing/2014/main" id="{E2BC11EB-C855-4A20-A6FA-18C58FE69B19}"/>
              </a:ext>
            </a:extLst>
          </p:cNvPr>
          <p:cNvGrpSpPr/>
          <p:nvPr/>
        </p:nvGrpSpPr>
        <p:grpSpPr>
          <a:xfrm rot="1193792">
            <a:off x="1567701" y="5017762"/>
            <a:ext cx="1536908" cy="552227"/>
            <a:chOff x="3013513" y="1616132"/>
            <a:chExt cx="1015227" cy="552371"/>
          </a:xfrm>
        </p:grpSpPr>
        <p:sp>
          <p:nvSpPr>
            <p:cNvPr id="682" name="Arrow: Left-Right 681">
              <a:extLst>
                <a:ext uri="{FF2B5EF4-FFF2-40B4-BE49-F238E27FC236}">
                  <a16:creationId xmlns:a16="http://schemas.microsoft.com/office/drawing/2014/main" id="{C48DB0C4-7B0D-46A6-9754-61CC117F95EE}"/>
                </a:ext>
              </a:extLst>
            </p:cNvPr>
            <p:cNvSpPr/>
            <p:nvPr/>
          </p:nvSpPr>
          <p:spPr>
            <a:xfrm>
              <a:off x="3013513" y="1616132"/>
              <a:ext cx="955799" cy="552371"/>
            </a:xfrm>
            <a:prstGeom prst="lef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914126">
                <a:defRPr/>
              </a:pPr>
              <a:endParaRPr lang="en-US" sz="1200" dirty="0" err="1">
                <a:solidFill>
                  <a:prstClr val="white"/>
                </a:solidFill>
                <a:latin typeface="Segoe UI"/>
              </a:endParaRPr>
            </a:p>
          </p:txBody>
        </p:sp>
        <p:sp>
          <p:nvSpPr>
            <p:cNvPr id="683" name="TextBox 682">
              <a:extLst>
                <a:ext uri="{FF2B5EF4-FFF2-40B4-BE49-F238E27FC236}">
                  <a16:creationId xmlns:a16="http://schemas.microsoft.com/office/drawing/2014/main" id="{7D123112-6D0D-4DAF-B813-EEF66D32089F}"/>
                </a:ext>
              </a:extLst>
            </p:cNvPr>
            <p:cNvSpPr txBox="1"/>
            <p:nvPr/>
          </p:nvSpPr>
          <p:spPr>
            <a:xfrm>
              <a:off x="3284058" y="1774779"/>
              <a:ext cx="744682" cy="212603"/>
            </a:xfrm>
            <a:prstGeom prst="rect">
              <a:avLst/>
            </a:prstGeom>
          </p:spPr>
          <p:txBody>
            <a:bodyPr vert="horz" wrap="none" lIns="0" tIns="0" rIns="0" bIns="0" rtlCol="0" anchor="ctr">
              <a:noAutofit/>
            </a:bodyPr>
            <a:lstStyle>
              <a:defPPr>
                <a:defRPr lang="en-US"/>
              </a:defPPr>
              <a:lvl1pPr algn="ctr" defTabSz="1088105">
                <a:defRPr sz="1200">
                  <a:solidFill>
                    <a:srgbClr val="505050"/>
                  </a:solidFill>
                  <a:latin typeface="Segoe UI Semibold" panose="020B0702040204020203" pitchFamily="34" charset="0"/>
                  <a:ea typeface="Segoe UI" pitchFamily="34" charset="0"/>
                  <a:cs typeface="Segoe UI Semibold" panose="020B0702040204020203" pitchFamily="34" charset="0"/>
                </a:defRPr>
              </a:lvl1pPr>
            </a:lstStyle>
            <a:p>
              <a:pPr algn="l" defTabSz="1087779">
                <a:defRPr/>
              </a:pPr>
              <a:r>
                <a:rPr lang="en-US" kern="0" dirty="0">
                  <a:solidFill>
                    <a:prstClr val="white"/>
                  </a:solidFill>
                </a:rPr>
                <a:t>Insights</a:t>
              </a:r>
            </a:p>
          </p:txBody>
        </p:sp>
      </p:grpSp>
      <p:grpSp>
        <p:nvGrpSpPr>
          <p:cNvPr id="684" name="Group 683">
            <a:extLst>
              <a:ext uri="{FF2B5EF4-FFF2-40B4-BE49-F238E27FC236}">
                <a16:creationId xmlns:a16="http://schemas.microsoft.com/office/drawing/2014/main" id="{E0184230-EF4A-457B-AF37-3C193AF422D1}"/>
              </a:ext>
            </a:extLst>
          </p:cNvPr>
          <p:cNvGrpSpPr/>
          <p:nvPr/>
        </p:nvGrpSpPr>
        <p:grpSpPr>
          <a:xfrm>
            <a:off x="1759961" y="6215379"/>
            <a:ext cx="1104661" cy="552227"/>
            <a:chOff x="3013512" y="1616132"/>
            <a:chExt cx="877514" cy="552371"/>
          </a:xfrm>
        </p:grpSpPr>
        <p:sp>
          <p:nvSpPr>
            <p:cNvPr id="685" name="Arrow: Left-Right 684">
              <a:extLst>
                <a:ext uri="{FF2B5EF4-FFF2-40B4-BE49-F238E27FC236}">
                  <a16:creationId xmlns:a16="http://schemas.microsoft.com/office/drawing/2014/main" id="{1892ECDB-B92A-4308-8EBE-E774D5C8277F}"/>
                </a:ext>
              </a:extLst>
            </p:cNvPr>
            <p:cNvSpPr/>
            <p:nvPr/>
          </p:nvSpPr>
          <p:spPr>
            <a:xfrm>
              <a:off x="3013512" y="1616132"/>
              <a:ext cx="841520" cy="552371"/>
            </a:xfrm>
            <a:prstGeom prst="lef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914126">
                <a:defRPr/>
              </a:pPr>
              <a:endParaRPr lang="en-US" sz="1200" dirty="0" err="1">
                <a:solidFill>
                  <a:prstClr val="white"/>
                </a:solidFill>
                <a:latin typeface="Segoe UI"/>
              </a:endParaRPr>
            </a:p>
          </p:txBody>
        </p:sp>
        <p:sp>
          <p:nvSpPr>
            <p:cNvPr id="686" name="TextBox 685">
              <a:extLst>
                <a:ext uri="{FF2B5EF4-FFF2-40B4-BE49-F238E27FC236}">
                  <a16:creationId xmlns:a16="http://schemas.microsoft.com/office/drawing/2014/main" id="{E5CD5C5C-5E84-48C8-B641-58530F98B8C7}"/>
                </a:ext>
              </a:extLst>
            </p:cNvPr>
            <p:cNvSpPr txBox="1"/>
            <p:nvPr/>
          </p:nvSpPr>
          <p:spPr>
            <a:xfrm>
              <a:off x="3146344" y="1762385"/>
              <a:ext cx="744682" cy="212603"/>
            </a:xfrm>
            <a:prstGeom prst="rect">
              <a:avLst/>
            </a:prstGeom>
          </p:spPr>
          <p:txBody>
            <a:bodyPr vert="horz" wrap="none" lIns="0" tIns="0" rIns="0" bIns="0" rtlCol="0" anchor="ctr">
              <a:noAutofit/>
            </a:bodyPr>
            <a:lstStyle>
              <a:defPPr>
                <a:defRPr lang="en-US"/>
              </a:defPPr>
              <a:lvl1pPr algn="ctr" defTabSz="1088105">
                <a:defRPr sz="1200">
                  <a:solidFill>
                    <a:srgbClr val="505050"/>
                  </a:solidFill>
                  <a:latin typeface="Segoe UI Semibold" panose="020B0702040204020203" pitchFamily="34" charset="0"/>
                  <a:ea typeface="Segoe UI" pitchFamily="34" charset="0"/>
                  <a:cs typeface="Segoe UI Semibold" panose="020B0702040204020203" pitchFamily="34" charset="0"/>
                </a:defRPr>
              </a:lvl1pPr>
            </a:lstStyle>
            <a:p>
              <a:pPr algn="l" defTabSz="1087779">
                <a:defRPr/>
              </a:pPr>
              <a:r>
                <a:rPr lang="en-US" kern="0" dirty="0">
                  <a:solidFill>
                    <a:prstClr val="white"/>
                  </a:solidFill>
                </a:rPr>
                <a:t>Telemetry</a:t>
              </a:r>
            </a:p>
          </p:txBody>
        </p:sp>
      </p:grpSp>
      <p:grpSp>
        <p:nvGrpSpPr>
          <p:cNvPr id="687" name="Group 686">
            <a:extLst>
              <a:ext uri="{FF2B5EF4-FFF2-40B4-BE49-F238E27FC236}">
                <a16:creationId xmlns:a16="http://schemas.microsoft.com/office/drawing/2014/main" id="{08BA6BAD-8D0C-420A-BBCD-E665848CA775}"/>
              </a:ext>
            </a:extLst>
          </p:cNvPr>
          <p:cNvGrpSpPr/>
          <p:nvPr/>
        </p:nvGrpSpPr>
        <p:grpSpPr>
          <a:xfrm>
            <a:off x="7682676" y="472076"/>
            <a:ext cx="2461647" cy="552227"/>
            <a:chOff x="8122003" y="1105080"/>
            <a:chExt cx="2182241" cy="552371"/>
          </a:xfrm>
        </p:grpSpPr>
        <p:sp>
          <p:nvSpPr>
            <p:cNvPr id="688" name="Arrow: Left-Right 687">
              <a:extLst>
                <a:ext uri="{FF2B5EF4-FFF2-40B4-BE49-F238E27FC236}">
                  <a16:creationId xmlns:a16="http://schemas.microsoft.com/office/drawing/2014/main" id="{9CCBC128-2C0E-4D48-81B2-5F7D19B607DA}"/>
                </a:ext>
              </a:extLst>
            </p:cNvPr>
            <p:cNvSpPr/>
            <p:nvPr/>
          </p:nvSpPr>
          <p:spPr>
            <a:xfrm>
              <a:off x="8122003" y="1105080"/>
              <a:ext cx="2182241" cy="552371"/>
            </a:xfrm>
            <a:prstGeom prst="lef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914126">
                <a:defRPr/>
              </a:pPr>
              <a:endParaRPr lang="en-US" sz="1200" dirty="0" err="1">
                <a:solidFill>
                  <a:prstClr val="white"/>
                </a:solidFill>
                <a:latin typeface="Segoe UI"/>
              </a:endParaRPr>
            </a:p>
          </p:txBody>
        </p:sp>
        <p:sp>
          <p:nvSpPr>
            <p:cNvPr id="689" name="TextBox 688">
              <a:extLst>
                <a:ext uri="{FF2B5EF4-FFF2-40B4-BE49-F238E27FC236}">
                  <a16:creationId xmlns:a16="http://schemas.microsoft.com/office/drawing/2014/main" id="{DFDA5DCB-8216-4091-9BF9-96597392E367}"/>
                </a:ext>
              </a:extLst>
            </p:cNvPr>
            <p:cNvSpPr txBox="1"/>
            <p:nvPr/>
          </p:nvSpPr>
          <p:spPr>
            <a:xfrm>
              <a:off x="8427359" y="1265407"/>
              <a:ext cx="1709404" cy="212603"/>
            </a:xfrm>
            <a:prstGeom prst="rect">
              <a:avLst/>
            </a:prstGeom>
          </p:spPr>
          <p:txBody>
            <a:bodyPr vert="horz" wrap="none" lIns="0" tIns="0" rIns="0" bIns="0" rtlCol="0" anchor="ctr">
              <a:noAutofit/>
            </a:bodyPr>
            <a:lstStyle>
              <a:defPPr>
                <a:defRPr lang="en-US"/>
              </a:defPPr>
              <a:lvl1pPr algn="ctr" defTabSz="1088105">
                <a:defRPr sz="1200">
                  <a:solidFill>
                    <a:srgbClr val="505050"/>
                  </a:solidFill>
                  <a:latin typeface="Segoe UI Semibold" panose="020B0702040204020203" pitchFamily="34" charset="0"/>
                  <a:ea typeface="Segoe UI" pitchFamily="34" charset="0"/>
                  <a:cs typeface="Segoe UI Semibold" panose="020B0702040204020203" pitchFamily="34" charset="0"/>
                </a:defRPr>
              </a:lvl1pPr>
            </a:lstStyle>
            <a:p>
              <a:pPr algn="l" defTabSz="1087779">
                <a:defRPr/>
              </a:pPr>
              <a:r>
                <a:rPr lang="en-US" kern="0" dirty="0">
                  <a:solidFill>
                    <a:prstClr val="white"/>
                  </a:solidFill>
                </a:rPr>
                <a:t>Supply &amp; Demand Insights</a:t>
              </a:r>
            </a:p>
          </p:txBody>
        </p:sp>
      </p:grpSp>
      <p:grpSp>
        <p:nvGrpSpPr>
          <p:cNvPr id="690" name="Group 689">
            <a:extLst>
              <a:ext uri="{FF2B5EF4-FFF2-40B4-BE49-F238E27FC236}">
                <a16:creationId xmlns:a16="http://schemas.microsoft.com/office/drawing/2014/main" id="{99BDB5BF-234A-4193-B37B-C99E86D55939}"/>
              </a:ext>
            </a:extLst>
          </p:cNvPr>
          <p:cNvGrpSpPr/>
          <p:nvPr/>
        </p:nvGrpSpPr>
        <p:grpSpPr>
          <a:xfrm>
            <a:off x="284365" y="4401183"/>
            <a:ext cx="1033398" cy="819860"/>
            <a:chOff x="8990539" y="2182174"/>
            <a:chExt cx="1033936" cy="820288"/>
          </a:xfrm>
        </p:grpSpPr>
        <p:grpSp>
          <p:nvGrpSpPr>
            <p:cNvPr id="691" name="Group 690">
              <a:extLst>
                <a:ext uri="{FF2B5EF4-FFF2-40B4-BE49-F238E27FC236}">
                  <a16:creationId xmlns:a16="http://schemas.microsoft.com/office/drawing/2014/main" id="{077338EA-B4D8-4AE0-AE31-106836BDC115}"/>
                </a:ext>
              </a:extLst>
            </p:cNvPr>
            <p:cNvGrpSpPr>
              <a:grpSpLocks noChangeAspect="1"/>
            </p:cNvGrpSpPr>
            <p:nvPr/>
          </p:nvGrpSpPr>
          <p:grpSpPr>
            <a:xfrm>
              <a:off x="9113399" y="2182174"/>
              <a:ext cx="788196" cy="376549"/>
              <a:chOff x="335107" y="1984056"/>
              <a:chExt cx="8623119" cy="4119564"/>
            </a:xfrm>
            <a:solidFill>
              <a:srgbClr val="7F7F7F"/>
            </a:solidFill>
          </p:grpSpPr>
          <p:sp>
            <p:nvSpPr>
              <p:cNvPr id="693" name="Freeform 216">
                <a:extLst>
                  <a:ext uri="{FF2B5EF4-FFF2-40B4-BE49-F238E27FC236}">
                    <a16:creationId xmlns:a16="http://schemas.microsoft.com/office/drawing/2014/main" id="{71BF079F-B050-4531-93DE-FCCF09A879AC}"/>
                  </a:ext>
                </a:extLst>
              </p:cNvPr>
              <p:cNvSpPr/>
              <p:nvPr/>
            </p:nvSpPr>
            <p:spPr>
              <a:xfrm>
                <a:off x="5423935" y="2187537"/>
                <a:ext cx="1275676" cy="3054785"/>
              </a:xfrm>
              <a:custGeom>
                <a:avLst/>
                <a:gdLst/>
                <a:ahLst/>
                <a:cxnLst/>
                <a:rect l="l" t="t" r="r" b="b"/>
                <a:pathLst>
                  <a:path w="1275676" h="3054785">
                    <a:moveTo>
                      <a:pt x="909893" y="2571265"/>
                    </a:moveTo>
                    <a:cubicBezTo>
                      <a:pt x="927578" y="2591556"/>
                      <a:pt x="943146" y="2624131"/>
                      <a:pt x="953053" y="2679738"/>
                    </a:cubicBezTo>
                    <a:cubicBezTo>
                      <a:pt x="966614" y="2755857"/>
                      <a:pt x="1015135" y="2902136"/>
                      <a:pt x="1032104" y="3045768"/>
                    </a:cubicBezTo>
                    <a:lnTo>
                      <a:pt x="926033" y="3054785"/>
                    </a:lnTo>
                    <a:lnTo>
                      <a:pt x="843515" y="2994064"/>
                    </a:lnTo>
                    <a:lnTo>
                      <a:pt x="791128" y="2951202"/>
                    </a:lnTo>
                    <a:lnTo>
                      <a:pt x="789242" y="2950511"/>
                    </a:lnTo>
                    <a:cubicBezTo>
                      <a:pt x="821800" y="2828680"/>
                      <a:pt x="864407" y="2700040"/>
                      <a:pt x="909893" y="2571265"/>
                    </a:cubicBezTo>
                    <a:close/>
                    <a:moveTo>
                      <a:pt x="810922" y="2515507"/>
                    </a:moveTo>
                    <a:cubicBezTo>
                      <a:pt x="813163" y="2515338"/>
                      <a:pt x="815461" y="2515417"/>
                      <a:pt x="817564" y="2517542"/>
                    </a:cubicBezTo>
                    <a:cubicBezTo>
                      <a:pt x="792015" y="2589329"/>
                      <a:pt x="769100" y="2660102"/>
                      <a:pt x="749052" y="2731145"/>
                    </a:cubicBezTo>
                    <a:cubicBezTo>
                      <a:pt x="728674" y="2665687"/>
                      <a:pt x="718117" y="2603286"/>
                      <a:pt x="714164" y="2542305"/>
                    </a:cubicBezTo>
                    <a:cubicBezTo>
                      <a:pt x="724867" y="2542383"/>
                      <a:pt x="734802" y="2542128"/>
                      <a:pt x="743503" y="2541626"/>
                    </a:cubicBezTo>
                    <a:cubicBezTo>
                      <a:pt x="774459" y="2539840"/>
                      <a:pt x="790235" y="2517070"/>
                      <a:pt x="810922" y="2515507"/>
                    </a:cubicBezTo>
                    <a:close/>
                    <a:moveTo>
                      <a:pt x="396204" y="2451912"/>
                    </a:moveTo>
                    <a:cubicBezTo>
                      <a:pt x="411647" y="2483872"/>
                      <a:pt x="433855" y="2503483"/>
                      <a:pt x="462515" y="2517813"/>
                    </a:cubicBezTo>
                    <a:cubicBezTo>
                      <a:pt x="495852" y="2534482"/>
                      <a:pt x="539509" y="2532894"/>
                      <a:pt x="586340" y="2536863"/>
                    </a:cubicBezTo>
                    <a:cubicBezTo>
                      <a:pt x="606520" y="2538574"/>
                      <a:pt x="630828" y="2540136"/>
                      <a:pt x="655265" y="2541066"/>
                    </a:cubicBezTo>
                    <a:cubicBezTo>
                      <a:pt x="657458" y="2571620"/>
                      <a:pt x="660070" y="2600527"/>
                      <a:pt x="663066" y="2624898"/>
                    </a:cubicBezTo>
                    <a:cubicBezTo>
                      <a:pt x="668463" y="2668822"/>
                      <a:pt x="677606" y="2707999"/>
                      <a:pt x="686242" y="2744162"/>
                    </a:cubicBezTo>
                    <a:cubicBezTo>
                      <a:pt x="632838" y="2717984"/>
                      <a:pt x="514903" y="2670213"/>
                      <a:pt x="514903" y="2670213"/>
                    </a:cubicBezTo>
                    <a:lnTo>
                      <a:pt x="333928" y="2589251"/>
                    </a:lnTo>
                    <a:lnTo>
                      <a:pt x="323202" y="2584990"/>
                    </a:lnTo>
                    <a:lnTo>
                      <a:pt x="327453" y="2567034"/>
                    </a:lnTo>
                    <a:cubicBezTo>
                      <a:pt x="340667" y="2528713"/>
                      <a:pt x="369951" y="2489259"/>
                      <a:pt x="396204" y="2451912"/>
                    </a:cubicBezTo>
                    <a:close/>
                    <a:moveTo>
                      <a:pt x="356384" y="1755197"/>
                    </a:moveTo>
                    <a:lnTo>
                      <a:pt x="361013" y="1949619"/>
                    </a:lnTo>
                    <a:cubicBezTo>
                      <a:pt x="293278" y="2065222"/>
                      <a:pt x="276288" y="2307687"/>
                      <a:pt x="265731" y="2563792"/>
                    </a:cubicBezTo>
                    <a:cubicBezTo>
                      <a:pt x="245616" y="2556203"/>
                      <a:pt x="227467" y="2546676"/>
                      <a:pt x="210103" y="2527338"/>
                    </a:cubicBezTo>
                    <a:cubicBezTo>
                      <a:pt x="175178" y="2488444"/>
                      <a:pt x="152159" y="2401925"/>
                      <a:pt x="124378" y="2355888"/>
                    </a:cubicBezTo>
                    <a:cubicBezTo>
                      <a:pt x="96597" y="2309851"/>
                      <a:pt x="64052" y="2271750"/>
                      <a:pt x="43415" y="2251113"/>
                    </a:cubicBezTo>
                    <a:cubicBezTo>
                      <a:pt x="22778" y="2230476"/>
                      <a:pt x="-4209" y="2253494"/>
                      <a:pt x="553" y="2232063"/>
                    </a:cubicBezTo>
                    <a:cubicBezTo>
                      <a:pt x="5315" y="2210632"/>
                      <a:pt x="48177" y="2180470"/>
                      <a:pt x="71990" y="2122526"/>
                    </a:cubicBezTo>
                    <a:cubicBezTo>
                      <a:pt x="90351" y="2077850"/>
                      <a:pt x="107767" y="1994009"/>
                      <a:pt x="126665" y="1932199"/>
                    </a:cubicBezTo>
                    <a:lnTo>
                      <a:pt x="273061" y="1880184"/>
                    </a:lnTo>
                    <a:cubicBezTo>
                      <a:pt x="305463" y="1861666"/>
                      <a:pt x="310089" y="1787599"/>
                      <a:pt x="356384" y="1755197"/>
                    </a:cubicBezTo>
                    <a:close/>
                    <a:moveTo>
                      <a:pt x="537693" y="744"/>
                    </a:moveTo>
                    <a:cubicBezTo>
                      <a:pt x="581411" y="-1830"/>
                      <a:pt x="633485" y="2027"/>
                      <a:pt x="695853" y="16174"/>
                    </a:cubicBezTo>
                    <a:cubicBezTo>
                      <a:pt x="758217" y="30318"/>
                      <a:pt x="852732" y="64395"/>
                      <a:pt x="911876" y="85609"/>
                    </a:cubicBezTo>
                    <a:cubicBezTo>
                      <a:pt x="971031" y="106829"/>
                      <a:pt x="1018605" y="128046"/>
                      <a:pt x="1050752" y="143477"/>
                    </a:cubicBezTo>
                    <a:cubicBezTo>
                      <a:pt x="1082899" y="158907"/>
                      <a:pt x="1079686" y="149264"/>
                      <a:pt x="1104760" y="178194"/>
                    </a:cubicBezTo>
                    <a:cubicBezTo>
                      <a:pt x="1129837" y="207128"/>
                      <a:pt x="1173554" y="261132"/>
                      <a:pt x="1201202" y="317070"/>
                    </a:cubicBezTo>
                    <a:cubicBezTo>
                      <a:pt x="1228849" y="373008"/>
                      <a:pt x="1259066" y="453372"/>
                      <a:pt x="1270636" y="513810"/>
                    </a:cubicBezTo>
                    <a:cubicBezTo>
                      <a:pt x="1275863" y="541109"/>
                      <a:pt x="1276368" y="577588"/>
                      <a:pt x="1275078" y="609376"/>
                    </a:cubicBezTo>
                    <a:cubicBezTo>
                      <a:pt x="1207919" y="610739"/>
                      <a:pt x="1256062" y="594379"/>
                      <a:pt x="1219753" y="593763"/>
                    </a:cubicBezTo>
                    <a:cubicBezTo>
                      <a:pt x="1172922" y="592969"/>
                      <a:pt x="1123709" y="585032"/>
                      <a:pt x="1086403" y="598526"/>
                    </a:cubicBezTo>
                    <a:cubicBezTo>
                      <a:pt x="1049097" y="612020"/>
                      <a:pt x="1027665" y="660439"/>
                      <a:pt x="995915" y="674726"/>
                    </a:cubicBezTo>
                    <a:cubicBezTo>
                      <a:pt x="964165" y="689014"/>
                      <a:pt x="933209" y="669964"/>
                      <a:pt x="895903" y="684251"/>
                    </a:cubicBezTo>
                    <a:cubicBezTo>
                      <a:pt x="858597" y="698539"/>
                      <a:pt x="813353" y="722351"/>
                      <a:pt x="772078" y="760451"/>
                    </a:cubicBezTo>
                    <a:cubicBezTo>
                      <a:pt x="730803" y="798551"/>
                      <a:pt x="685559" y="851732"/>
                      <a:pt x="648253" y="912851"/>
                    </a:cubicBezTo>
                    <a:cubicBezTo>
                      <a:pt x="610947" y="973970"/>
                      <a:pt x="579196" y="1048582"/>
                      <a:pt x="548240" y="1127163"/>
                    </a:cubicBezTo>
                    <a:cubicBezTo>
                      <a:pt x="517284" y="1205744"/>
                      <a:pt x="486327" y="1295438"/>
                      <a:pt x="462515" y="1384338"/>
                    </a:cubicBezTo>
                    <a:cubicBezTo>
                      <a:pt x="438702" y="1473238"/>
                      <a:pt x="418065" y="1592300"/>
                      <a:pt x="405365" y="1660563"/>
                    </a:cubicBezTo>
                    <a:cubicBezTo>
                      <a:pt x="401622" y="1680683"/>
                      <a:pt x="398982" y="1695769"/>
                      <a:pt x="397031" y="1708455"/>
                    </a:cubicBezTo>
                    <a:lnTo>
                      <a:pt x="379531" y="1681708"/>
                    </a:lnTo>
                    <a:cubicBezTo>
                      <a:pt x="365064" y="1654708"/>
                      <a:pt x="382424" y="1649399"/>
                      <a:pt x="362170" y="1615163"/>
                    </a:cubicBezTo>
                    <a:cubicBezTo>
                      <a:pt x="346337" y="1588394"/>
                      <a:pt x="308388" y="1553075"/>
                      <a:pt x="279806" y="1511723"/>
                    </a:cubicBezTo>
                    <a:cubicBezTo>
                      <a:pt x="283185" y="1487626"/>
                      <a:pt x="285447" y="1466602"/>
                      <a:pt x="286303" y="1451013"/>
                    </a:cubicBezTo>
                    <a:cubicBezTo>
                      <a:pt x="290272" y="1378782"/>
                      <a:pt x="259315" y="1385926"/>
                      <a:pt x="248203" y="1351001"/>
                    </a:cubicBezTo>
                    <a:cubicBezTo>
                      <a:pt x="237090" y="1316076"/>
                      <a:pt x="217247" y="1279563"/>
                      <a:pt x="219628" y="1241463"/>
                    </a:cubicBezTo>
                    <a:cubicBezTo>
                      <a:pt x="222009" y="1203363"/>
                      <a:pt x="252171" y="1173995"/>
                      <a:pt x="262490" y="1122401"/>
                    </a:cubicBezTo>
                    <a:cubicBezTo>
                      <a:pt x="272809" y="1070807"/>
                      <a:pt x="281540" y="992226"/>
                      <a:pt x="281540" y="931901"/>
                    </a:cubicBezTo>
                    <a:cubicBezTo>
                      <a:pt x="281540" y="871576"/>
                      <a:pt x="281540" y="816807"/>
                      <a:pt x="262490" y="760451"/>
                    </a:cubicBezTo>
                    <a:cubicBezTo>
                      <a:pt x="251559" y="728114"/>
                      <a:pt x="235402" y="693947"/>
                      <a:pt x="214848" y="662136"/>
                    </a:cubicBezTo>
                    <a:lnTo>
                      <a:pt x="267253" y="612813"/>
                    </a:lnTo>
                    <a:lnTo>
                      <a:pt x="500615" y="488988"/>
                    </a:lnTo>
                    <a:lnTo>
                      <a:pt x="786365" y="479463"/>
                    </a:lnTo>
                    <a:lnTo>
                      <a:pt x="486328" y="446126"/>
                    </a:lnTo>
                    <a:lnTo>
                      <a:pt x="286303" y="531851"/>
                    </a:lnTo>
                    <a:lnTo>
                      <a:pt x="188793" y="624717"/>
                    </a:lnTo>
                    <a:cubicBezTo>
                      <a:pt x="183072" y="613128"/>
                      <a:pt x="175276" y="603190"/>
                      <a:pt x="167240" y="593763"/>
                    </a:cubicBezTo>
                    <a:cubicBezTo>
                      <a:pt x="128567" y="548397"/>
                      <a:pt x="168636" y="489094"/>
                      <a:pt x="42501" y="473501"/>
                    </a:cubicBezTo>
                    <a:cubicBezTo>
                      <a:pt x="46825" y="429492"/>
                      <a:pt x="64428" y="405518"/>
                      <a:pt x="82492" y="363364"/>
                    </a:cubicBezTo>
                    <a:cubicBezTo>
                      <a:pt x="103709" y="313853"/>
                      <a:pt x="135213" y="245058"/>
                      <a:pt x="167360" y="201341"/>
                    </a:cubicBezTo>
                    <a:cubicBezTo>
                      <a:pt x="199507" y="157620"/>
                      <a:pt x="231011" y="129333"/>
                      <a:pt x="275376" y="101043"/>
                    </a:cubicBezTo>
                    <a:cubicBezTo>
                      <a:pt x="319733" y="72752"/>
                      <a:pt x="389818" y="48322"/>
                      <a:pt x="433535" y="31608"/>
                    </a:cubicBezTo>
                    <a:cubicBezTo>
                      <a:pt x="477256" y="14888"/>
                      <a:pt x="493969" y="3314"/>
                      <a:pt x="537693" y="74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578">
                  <a:defRPr/>
                </a:pPr>
                <a:endParaRPr lang="en-US" sz="1797" kern="0">
                  <a:solidFill>
                    <a:srgbClr val="FFFFFF"/>
                  </a:solidFill>
                  <a:latin typeface="Segoe UI"/>
                </a:endParaRPr>
              </a:p>
            </p:txBody>
          </p:sp>
          <p:sp>
            <p:nvSpPr>
              <p:cNvPr id="694" name="Man's Body">
                <a:extLst>
                  <a:ext uri="{FF2B5EF4-FFF2-40B4-BE49-F238E27FC236}">
                    <a16:creationId xmlns:a16="http://schemas.microsoft.com/office/drawing/2014/main" id="{2DAE5831-6030-427E-8643-523E1B34DFB0}"/>
                  </a:ext>
                </a:extLst>
              </p:cNvPr>
              <p:cNvSpPr>
                <a:spLocks/>
              </p:cNvSpPr>
              <p:nvPr/>
            </p:nvSpPr>
            <p:spPr bwMode="auto">
              <a:xfrm>
                <a:off x="4286421" y="1984056"/>
                <a:ext cx="1109019" cy="638618"/>
              </a:xfrm>
              <a:custGeom>
                <a:avLst/>
                <a:gdLst/>
                <a:ahLst/>
                <a:cxnLst/>
                <a:rect l="l" t="t" r="r" b="b"/>
                <a:pathLst>
                  <a:path w="1109019" h="638618">
                    <a:moveTo>
                      <a:pt x="527057" y="506"/>
                    </a:moveTo>
                    <a:cubicBezTo>
                      <a:pt x="648121" y="6732"/>
                      <a:pt x="780445" y="70158"/>
                      <a:pt x="889294" y="181665"/>
                    </a:cubicBezTo>
                    <a:cubicBezTo>
                      <a:pt x="1063451" y="360077"/>
                      <a:pt x="1112509" y="452740"/>
                      <a:pt x="1108830" y="488699"/>
                    </a:cubicBezTo>
                    <a:cubicBezTo>
                      <a:pt x="1105150" y="523275"/>
                      <a:pt x="1069584" y="571681"/>
                      <a:pt x="1038921" y="564767"/>
                    </a:cubicBezTo>
                    <a:cubicBezTo>
                      <a:pt x="1007034" y="557851"/>
                      <a:pt x="1003354" y="527424"/>
                      <a:pt x="986183" y="510828"/>
                    </a:cubicBezTo>
                    <a:cubicBezTo>
                      <a:pt x="782591" y="317203"/>
                      <a:pt x="618246" y="347629"/>
                      <a:pt x="550790" y="371142"/>
                    </a:cubicBezTo>
                    <a:cubicBezTo>
                      <a:pt x="760068" y="390992"/>
                      <a:pt x="912422" y="533945"/>
                      <a:pt x="972020" y="608911"/>
                    </a:cubicBezTo>
                    <a:cubicBezTo>
                      <a:pt x="891545" y="581606"/>
                      <a:pt x="869616" y="586916"/>
                      <a:pt x="814218" y="578169"/>
                    </a:cubicBezTo>
                    <a:cubicBezTo>
                      <a:pt x="753893" y="568644"/>
                      <a:pt x="686424" y="559913"/>
                      <a:pt x="633243" y="559119"/>
                    </a:cubicBezTo>
                    <a:cubicBezTo>
                      <a:pt x="580062" y="558325"/>
                      <a:pt x="534818" y="561501"/>
                      <a:pt x="495131" y="573407"/>
                    </a:cubicBezTo>
                    <a:cubicBezTo>
                      <a:pt x="455444" y="585313"/>
                      <a:pt x="430837" y="621032"/>
                      <a:pt x="395118" y="630557"/>
                    </a:cubicBezTo>
                    <a:cubicBezTo>
                      <a:pt x="359399" y="640082"/>
                      <a:pt x="312568" y="642463"/>
                      <a:pt x="280818" y="630557"/>
                    </a:cubicBezTo>
                    <a:cubicBezTo>
                      <a:pt x="249068" y="618651"/>
                      <a:pt x="230812" y="588488"/>
                      <a:pt x="204618" y="559119"/>
                    </a:cubicBezTo>
                    <a:cubicBezTo>
                      <a:pt x="178424" y="529750"/>
                      <a:pt x="156200" y="486888"/>
                      <a:pt x="123656" y="454344"/>
                    </a:cubicBezTo>
                    <a:cubicBezTo>
                      <a:pt x="91112" y="421800"/>
                      <a:pt x="52218" y="394019"/>
                      <a:pt x="9356" y="363857"/>
                    </a:cubicBezTo>
                    <a:cubicBezTo>
                      <a:pt x="6109" y="361572"/>
                      <a:pt x="2861" y="359100"/>
                      <a:pt x="0" y="355996"/>
                    </a:cubicBezTo>
                    <a:cubicBezTo>
                      <a:pt x="20998" y="211335"/>
                      <a:pt x="96747" y="42345"/>
                      <a:pt x="328801" y="53043"/>
                    </a:cubicBezTo>
                    <a:cubicBezTo>
                      <a:pt x="385831" y="13626"/>
                      <a:pt x="454418" y="-3230"/>
                      <a:pt x="527057" y="50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695" name="Man's Body">
                <a:extLst>
                  <a:ext uri="{FF2B5EF4-FFF2-40B4-BE49-F238E27FC236}">
                    <a16:creationId xmlns:a16="http://schemas.microsoft.com/office/drawing/2014/main" id="{886DCAD2-02AC-4A7A-AAFC-F0EBFAA80BBB}"/>
                  </a:ext>
                </a:extLst>
              </p:cNvPr>
              <p:cNvSpPr>
                <a:spLocks/>
              </p:cNvSpPr>
              <p:nvPr/>
            </p:nvSpPr>
            <p:spPr bwMode="auto">
              <a:xfrm>
                <a:off x="1933544" y="2281603"/>
                <a:ext cx="1087125" cy="2339128"/>
              </a:xfrm>
              <a:custGeom>
                <a:avLst/>
                <a:gdLst/>
                <a:ahLst/>
                <a:cxnLst/>
                <a:rect l="l" t="t" r="r" b="b"/>
                <a:pathLst>
                  <a:path w="1087125" h="2339128">
                    <a:moveTo>
                      <a:pt x="148114" y="1900284"/>
                    </a:moveTo>
                    <a:cubicBezTo>
                      <a:pt x="220874" y="1957568"/>
                      <a:pt x="348888" y="2049369"/>
                      <a:pt x="516243" y="2068258"/>
                    </a:cubicBezTo>
                    <a:lnTo>
                      <a:pt x="495331" y="2090372"/>
                    </a:lnTo>
                    <a:cubicBezTo>
                      <a:pt x="449294" y="2138791"/>
                      <a:pt x="388175" y="2211022"/>
                      <a:pt x="338169" y="2252297"/>
                    </a:cubicBezTo>
                    <a:cubicBezTo>
                      <a:pt x="288163" y="2293572"/>
                      <a:pt x="225456" y="2347547"/>
                      <a:pt x="195294" y="2338022"/>
                    </a:cubicBezTo>
                    <a:cubicBezTo>
                      <a:pt x="165132" y="2328497"/>
                      <a:pt x="175450" y="2234834"/>
                      <a:pt x="157194" y="2195147"/>
                    </a:cubicBezTo>
                    <a:cubicBezTo>
                      <a:pt x="138938" y="2155460"/>
                      <a:pt x="111950" y="2112597"/>
                      <a:pt x="85756" y="2099897"/>
                    </a:cubicBezTo>
                    <a:cubicBezTo>
                      <a:pt x="59562" y="2087197"/>
                      <a:pt x="-1556" y="2133234"/>
                      <a:pt x="31" y="2118947"/>
                    </a:cubicBezTo>
                    <a:cubicBezTo>
                      <a:pt x="1618" y="2104660"/>
                      <a:pt x="65912" y="2063384"/>
                      <a:pt x="95281" y="2014172"/>
                    </a:cubicBezTo>
                    <a:cubicBezTo>
                      <a:pt x="112544" y="1985245"/>
                      <a:pt x="132002" y="1941507"/>
                      <a:pt x="148114" y="1900284"/>
                    </a:cubicBezTo>
                    <a:close/>
                    <a:moveTo>
                      <a:pt x="300366" y="1598710"/>
                    </a:moveTo>
                    <a:cubicBezTo>
                      <a:pt x="322928" y="1593356"/>
                      <a:pt x="499132" y="1755026"/>
                      <a:pt x="596386" y="1777949"/>
                    </a:cubicBezTo>
                    <a:lnTo>
                      <a:pt x="614394" y="1795097"/>
                    </a:lnTo>
                    <a:cubicBezTo>
                      <a:pt x="638206" y="1830816"/>
                      <a:pt x="647731" y="1881616"/>
                      <a:pt x="647731" y="1909397"/>
                    </a:cubicBezTo>
                    <a:cubicBezTo>
                      <a:pt x="647731" y="1937178"/>
                      <a:pt x="639794" y="1931622"/>
                      <a:pt x="614394" y="1961785"/>
                    </a:cubicBezTo>
                    <a:cubicBezTo>
                      <a:pt x="607207" y="1970320"/>
                      <a:pt x="598240" y="1980444"/>
                      <a:pt x="588003" y="1991644"/>
                    </a:cubicBezTo>
                    <a:cubicBezTo>
                      <a:pt x="401521" y="1979273"/>
                      <a:pt x="213522" y="1820684"/>
                      <a:pt x="209777" y="1788323"/>
                    </a:cubicBezTo>
                    <a:cubicBezTo>
                      <a:pt x="205894" y="1753317"/>
                      <a:pt x="274484" y="1603086"/>
                      <a:pt x="300366" y="1598710"/>
                    </a:cubicBezTo>
                    <a:close/>
                    <a:moveTo>
                      <a:pt x="594957" y="534"/>
                    </a:moveTo>
                    <a:cubicBezTo>
                      <a:pt x="722687" y="7103"/>
                      <a:pt x="862297" y="74022"/>
                      <a:pt x="977139" y="191669"/>
                    </a:cubicBezTo>
                    <a:cubicBezTo>
                      <a:pt x="1021009" y="236610"/>
                      <a:pt x="1057355" y="276395"/>
                      <a:pt x="1087125" y="311518"/>
                    </a:cubicBezTo>
                    <a:cubicBezTo>
                      <a:pt x="1049367" y="328933"/>
                      <a:pt x="1022410" y="352709"/>
                      <a:pt x="981106" y="366347"/>
                    </a:cubicBezTo>
                    <a:cubicBezTo>
                      <a:pt x="944893" y="378304"/>
                      <a:pt x="910738" y="390997"/>
                      <a:pt x="878907" y="405059"/>
                    </a:cubicBezTo>
                    <a:cubicBezTo>
                      <a:pt x="759679" y="355398"/>
                      <a:pt x="667278" y="375098"/>
                      <a:pt x="619996" y="391578"/>
                    </a:cubicBezTo>
                    <a:cubicBezTo>
                      <a:pt x="686882" y="397922"/>
                      <a:pt x="748256" y="416185"/>
                      <a:pt x="802895" y="441165"/>
                    </a:cubicBezTo>
                    <a:lnTo>
                      <a:pt x="762031" y="461597"/>
                    </a:lnTo>
                    <a:cubicBezTo>
                      <a:pt x="700119" y="497316"/>
                      <a:pt x="650112" y="528273"/>
                      <a:pt x="609631" y="580660"/>
                    </a:cubicBezTo>
                    <a:cubicBezTo>
                      <a:pt x="569150" y="633047"/>
                      <a:pt x="541369" y="702897"/>
                      <a:pt x="519144" y="775922"/>
                    </a:cubicBezTo>
                    <a:cubicBezTo>
                      <a:pt x="496919" y="848947"/>
                      <a:pt x="482631" y="944991"/>
                      <a:pt x="476281" y="1018810"/>
                    </a:cubicBezTo>
                    <a:cubicBezTo>
                      <a:pt x="469931" y="1092629"/>
                      <a:pt x="479457" y="1144223"/>
                      <a:pt x="481044" y="1218835"/>
                    </a:cubicBezTo>
                    <a:cubicBezTo>
                      <a:pt x="482631" y="1293447"/>
                      <a:pt x="481837" y="1387110"/>
                      <a:pt x="485806" y="1466485"/>
                    </a:cubicBezTo>
                    <a:cubicBezTo>
                      <a:pt x="488264" y="1515644"/>
                      <a:pt x="486764" y="1570588"/>
                      <a:pt x="491052" y="1618253"/>
                    </a:cubicBezTo>
                    <a:cubicBezTo>
                      <a:pt x="410332" y="1566195"/>
                      <a:pt x="328150" y="1493901"/>
                      <a:pt x="318496" y="1475757"/>
                    </a:cubicBezTo>
                    <a:cubicBezTo>
                      <a:pt x="315899" y="1471251"/>
                      <a:pt x="311051" y="1464346"/>
                      <a:pt x="304709" y="1455294"/>
                    </a:cubicBezTo>
                    <a:cubicBezTo>
                      <a:pt x="315763" y="1411159"/>
                      <a:pt x="324775" y="1369039"/>
                      <a:pt x="328644" y="1342660"/>
                    </a:cubicBezTo>
                    <a:cubicBezTo>
                      <a:pt x="337375" y="1283129"/>
                      <a:pt x="327056" y="1275191"/>
                      <a:pt x="314356" y="1247410"/>
                    </a:cubicBezTo>
                    <a:cubicBezTo>
                      <a:pt x="301656" y="1219629"/>
                      <a:pt x="261969" y="1202959"/>
                      <a:pt x="252444" y="1175972"/>
                    </a:cubicBezTo>
                    <a:cubicBezTo>
                      <a:pt x="242919" y="1148985"/>
                      <a:pt x="260381" y="1112473"/>
                      <a:pt x="257206" y="1085485"/>
                    </a:cubicBezTo>
                    <a:cubicBezTo>
                      <a:pt x="254031" y="1058497"/>
                      <a:pt x="224663" y="1025953"/>
                      <a:pt x="233394" y="1014047"/>
                    </a:cubicBezTo>
                    <a:cubicBezTo>
                      <a:pt x="242125" y="1002141"/>
                      <a:pt x="284194" y="1028334"/>
                      <a:pt x="309594" y="1014047"/>
                    </a:cubicBezTo>
                    <a:cubicBezTo>
                      <a:pt x="334994" y="999760"/>
                      <a:pt x="373888" y="964834"/>
                      <a:pt x="385794" y="928322"/>
                    </a:cubicBezTo>
                    <a:cubicBezTo>
                      <a:pt x="397700" y="891810"/>
                      <a:pt x="396112" y="839422"/>
                      <a:pt x="381031" y="794972"/>
                    </a:cubicBezTo>
                    <a:cubicBezTo>
                      <a:pt x="365950" y="750522"/>
                      <a:pt x="332612" y="708453"/>
                      <a:pt x="295306" y="661622"/>
                    </a:cubicBezTo>
                    <a:cubicBezTo>
                      <a:pt x="258000" y="614791"/>
                      <a:pt x="208788" y="566372"/>
                      <a:pt x="157194" y="513985"/>
                    </a:cubicBezTo>
                    <a:cubicBezTo>
                      <a:pt x="115841" y="471996"/>
                      <a:pt x="97944" y="422357"/>
                      <a:pt x="38211" y="378976"/>
                    </a:cubicBezTo>
                    <a:cubicBezTo>
                      <a:pt x="59848" y="225643"/>
                      <a:pt x="139125" y="44593"/>
                      <a:pt x="385784" y="55964"/>
                    </a:cubicBezTo>
                    <a:cubicBezTo>
                      <a:pt x="445955" y="14377"/>
                      <a:pt x="518318" y="-3408"/>
                      <a:pt x="594957" y="534"/>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696" name="Man's Body">
                <a:extLst>
                  <a:ext uri="{FF2B5EF4-FFF2-40B4-BE49-F238E27FC236}">
                    <a16:creationId xmlns:a16="http://schemas.microsoft.com/office/drawing/2014/main" id="{62FA1A42-6FF6-4761-AF99-74320489E2CD}"/>
                  </a:ext>
                </a:extLst>
              </p:cNvPr>
              <p:cNvSpPr>
                <a:spLocks/>
              </p:cNvSpPr>
              <p:nvPr/>
            </p:nvSpPr>
            <p:spPr bwMode="auto">
              <a:xfrm>
                <a:off x="7167183" y="2655935"/>
                <a:ext cx="1791043" cy="3077332"/>
              </a:xfrm>
              <a:custGeom>
                <a:avLst/>
                <a:gdLst/>
                <a:ahLst/>
                <a:cxnLst/>
                <a:rect l="l" t="t" r="r" b="b"/>
                <a:pathLst>
                  <a:path w="1791043" h="3077332">
                    <a:moveTo>
                      <a:pt x="1025015" y="1789010"/>
                    </a:moveTo>
                    <a:cubicBezTo>
                      <a:pt x="1052456" y="1797149"/>
                      <a:pt x="1104448" y="2023401"/>
                      <a:pt x="1163660" y="2039679"/>
                    </a:cubicBezTo>
                    <a:cubicBezTo>
                      <a:pt x="1305194" y="2077117"/>
                      <a:pt x="1705242" y="2228494"/>
                      <a:pt x="1763012" y="2334297"/>
                    </a:cubicBezTo>
                    <a:cubicBezTo>
                      <a:pt x="1819336" y="2441727"/>
                      <a:pt x="1797673" y="2617520"/>
                      <a:pt x="1634476" y="2912138"/>
                    </a:cubicBezTo>
                    <a:cubicBezTo>
                      <a:pt x="1581040" y="2785176"/>
                      <a:pt x="1492942" y="2694024"/>
                      <a:pt x="1466947" y="2677746"/>
                    </a:cubicBezTo>
                    <a:cubicBezTo>
                      <a:pt x="1510273" y="2767271"/>
                      <a:pt x="1536270" y="2931671"/>
                      <a:pt x="1550711" y="3037473"/>
                    </a:cubicBezTo>
                    <a:cubicBezTo>
                      <a:pt x="1272518" y="3065184"/>
                      <a:pt x="1017016" y="3074577"/>
                      <a:pt x="836493" y="3077332"/>
                    </a:cubicBezTo>
                    <a:cubicBezTo>
                      <a:pt x="905753" y="2981037"/>
                      <a:pt x="872415" y="2957070"/>
                      <a:pt x="886206" y="2901903"/>
                    </a:cubicBezTo>
                    <a:cubicBezTo>
                      <a:pt x="901287" y="2841578"/>
                      <a:pt x="906844" y="2798715"/>
                      <a:pt x="905256" y="2744740"/>
                    </a:cubicBezTo>
                    <a:cubicBezTo>
                      <a:pt x="903669" y="2690765"/>
                      <a:pt x="915575" y="2629647"/>
                      <a:pt x="876681" y="2578053"/>
                    </a:cubicBezTo>
                    <a:cubicBezTo>
                      <a:pt x="837787" y="2526459"/>
                      <a:pt x="764762" y="2482009"/>
                      <a:pt x="671893" y="2435178"/>
                    </a:cubicBezTo>
                    <a:cubicBezTo>
                      <a:pt x="579024" y="2388347"/>
                      <a:pt x="408368" y="2336753"/>
                      <a:pt x="319468" y="2297065"/>
                    </a:cubicBezTo>
                    <a:cubicBezTo>
                      <a:pt x="230568" y="2257378"/>
                      <a:pt x="183737" y="2238328"/>
                      <a:pt x="138493" y="2197053"/>
                    </a:cubicBezTo>
                    <a:cubicBezTo>
                      <a:pt x="114008" y="2174716"/>
                      <a:pt x="89523" y="2140522"/>
                      <a:pt x="72566" y="2109744"/>
                    </a:cubicBezTo>
                    <a:cubicBezTo>
                      <a:pt x="161803" y="2180615"/>
                      <a:pt x="342491" y="2318445"/>
                      <a:pt x="583084" y="2314764"/>
                    </a:cubicBezTo>
                    <a:cubicBezTo>
                      <a:pt x="894952" y="2309883"/>
                      <a:pt x="961434" y="2134181"/>
                      <a:pt x="961470" y="2134087"/>
                    </a:cubicBezTo>
                    <a:cubicBezTo>
                      <a:pt x="961431" y="2134155"/>
                      <a:pt x="905040" y="2231748"/>
                      <a:pt x="600415" y="2225240"/>
                    </a:cubicBezTo>
                    <a:cubicBezTo>
                      <a:pt x="448124" y="2222935"/>
                      <a:pt x="290769" y="2127693"/>
                      <a:pt x="210656" y="2058477"/>
                    </a:cubicBezTo>
                    <a:cubicBezTo>
                      <a:pt x="247111" y="2063660"/>
                      <a:pt x="286103" y="2068919"/>
                      <a:pt x="314706" y="2068465"/>
                    </a:cubicBezTo>
                    <a:cubicBezTo>
                      <a:pt x="364712" y="2067671"/>
                      <a:pt x="409162" y="2072434"/>
                      <a:pt x="438531" y="2044653"/>
                    </a:cubicBezTo>
                    <a:cubicBezTo>
                      <a:pt x="462255" y="2022212"/>
                      <a:pt x="476137" y="1982161"/>
                      <a:pt x="483486" y="1935462"/>
                    </a:cubicBezTo>
                    <a:cubicBezTo>
                      <a:pt x="533060" y="1967097"/>
                      <a:pt x="580637" y="1990306"/>
                      <a:pt x="613413" y="1989219"/>
                    </a:cubicBezTo>
                    <a:cubicBezTo>
                      <a:pt x="877705" y="1977826"/>
                      <a:pt x="999020" y="1779243"/>
                      <a:pt x="1025015" y="1789010"/>
                    </a:cubicBezTo>
                    <a:close/>
                    <a:moveTo>
                      <a:pt x="585448" y="596"/>
                    </a:moveTo>
                    <a:cubicBezTo>
                      <a:pt x="727992" y="7927"/>
                      <a:pt x="935211" y="76180"/>
                      <a:pt x="1038898" y="151026"/>
                    </a:cubicBezTo>
                    <a:cubicBezTo>
                      <a:pt x="1142584" y="225871"/>
                      <a:pt x="1211900" y="407326"/>
                      <a:pt x="1207568" y="449665"/>
                    </a:cubicBezTo>
                    <a:cubicBezTo>
                      <a:pt x="1203236" y="490376"/>
                      <a:pt x="1199071" y="612532"/>
                      <a:pt x="1188131" y="664973"/>
                    </a:cubicBezTo>
                    <a:cubicBezTo>
                      <a:pt x="1177190" y="717413"/>
                      <a:pt x="1149623" y="723595"/>
                      <a:pt x="1141921" y="764306"/>
                    </a:cubicBezTo>
                    <a:cubicBezTo>
                      <a:pt x="1157802" y="803380"/>
                      <a:pt x="1141928" y="909191"/>
                      <a:pt x="1141921" y="909236"/>
                    </a:cubicBezTo>
                    <a:cubicBezTo>
                      <a:pt x="1141991" y="909241"/>
                      <a:pt x="1208348" y="914147"/>
                      <a:pt x="1208348" y="962974"/>
                    </a:cubicBezTo>
                    <a:cubicBezTo>
                      <a:pt x="1208348" y="1011818"/>
                      <a:pt x="1137615" y="1280417"/>
                      <a:pt x="1137589" y="1280518"/>
                    </a:cubicBezTo>
                    <a:cubicBezTo>
                      <a:pt x="1137566" y="1280557"/>
                      <a:pt x="1118803" y="1313084"/>
                      <a:pt x="1097155" y="1308200"/>
                    </a:cubicBezTo>
                    <a:cubicBezTo>
                      <a:pt x="1074050" y="1506868"/>
                      <a:pt x="994626" y="1630630"/>
                      <a:pt x="926755" y="1690881"/>
                    </a:cubicBezTo>
                    <a:cubicBezTo>
                      <a:pt x="860327" y="1749505"/>
                      <a:pt x="705811" y="1868380"/>
                      <a:pt x="613391" y="1868380"/>
                    </a:cubicBezTo>
                    <a:cubicBezTo>
                      <a:pt x="583727" y="1868380"/>
                      <a:pt x="540227" y="1848919"/>
                      <a:pt x="494585" y="1820862"/>
                    </a:cubicBezTo>
                    <a:cubicBezTo>
                      <a:pt x="495428" y="1780245"/>
                      <a:pt x="492769" y="1734980"/>
                      <a:pt x="490918" y="1682703"/>
                    </a:cubicBezTo>
                    <a:cubicBezTo>
                      <a:pt x="487743" y="1593009"/>
                      <a:pt x="490124" y="1492202"/>
                      <a:pt x="471868" y="1363615"/>
                    </a:cubicBezTo>
                    <a:cubicBezTo>
                      <a:pt x="453612" y="1235028"/>
                      <a:pt x="405987" y="1022303"/>
                      <a:pt x="381381" y="911178"/>
                    </a:cubicBezTo>
                    <a:cubicBezTo>
                      <a:pt x="356775" y="800053"/>
                      <a:pt x="352806" y="754809"/>
                      <a:pt x="324231" y="696865"/>
                    </a:cubicBezTo>
                    <a:cubicBezTo>
                      <a:pt x="295656" y="638921"/>
                      <a:pt x="255968" y="620665"/>
                      <a:pt x="209931" y="563515"/>
                    </a:cubicBezTo>
                    <a:cubicBezTo>
                      <a:pt x="163894" y="506365"/>
                      <a:pt x="103569" y="415084"/>
                      <a:pt x="48006" y="353965"/>
                    </a:cubicBezTo>
                    <a:cubicBezTo>
                      <a:pt x="28279" y="332265"/>
                      <a:pt x="14655" y="310564"/>
                      <a:pt x="0" y="290327"/>
                    </a:cubicBezTo>
                    <a:cubicBezTo>
                      <a:pt x="45987" y="162254"/>
                      <a:pt x="147389" y="53021"/>
                      <a:pt x="352016" y="62454"/>
                    </a:cubicBezTo>
                    <a:cubicBezTo>
                      <a:pt x="419165" y="16044"/>
                      <a:pt x="499920" y="-3803"/>
                      <a:pt x="585448" y="59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697" name="Man's Body">
                <a:extLst>
                  <a:ext uri="{FF2B5EF4-FFF2-40B4-BE49-F238E27FC236}">
                    <a16:creationId xmlns:a16="http://schemas.microsoft.com/office/drawing/2014/main" id="{C7F5DD89-5FD2-437D-A2A3-EE3F26480CAC}"/>
                  </a:ext>
                </a:extLst>
              </p:cNvPr>
              <p:cNvSpPr>
                <a:spLocks/>
              </p:cNvSpPr>
              <p:nvPr/>
            </p:nvSpPr>
            <p:spPr bwMode="auto">
              <a:xfrm>
                <a:off x="3394954" y="2270725"/>
                <a:ext cx="1220879" cy="2577721"/>
              </a:xfrm>
              <a:custGeom>
                <a:avLst/>
                <a:gdLst/>
                <a:ahLst/>
                <a:cxnLst/>
                <a:rect l="l" t="t" r="r" b="b"/>
                <a:pathLst>
                  <a:path w="1220879" h="2577721">
                    <a:moveTo>
                      <a:pt x="1000694" y="1726538"/>
                    </a:moveTo>
                    <a:cubicBezTo>
                      <a:pt x="1015159" y="1730828"/>
                      <a:pt x="1036692" y="1797918"/>
                      <a:pt x="1062780" y="1860398"/>
                    </a:cubicBezTo>
                    <a:lnTo>
                      <a:pt x="1072271" y="1886939"/>
                    </a:lnTo>
                    <a:cubicBezTo>
                      <a:pt x="1100846" y="1947264"/>
                      <a:pt x="1157203" y="2022670"/>
                      <a:pt x="1181809" y="2063151"/>
                    </a:cubicBezTo>
                    <a:cubicBezTo>
                      <a:pt x="1206415" y="2103632"/>
                      <a:pt x="1225465" y="2098076"/>
                      <a:pt x="1219909" y="2129826"/>
                    </a:cubicBezTo>
                    <a:cubicBezTo>
                      <a:pt x="1214353" y="2161576"/>
                      <a:pt x="1178633" y="2203645"/>
                      <a:pt x="1148471" y="2253651"/>
                    </a:cubicBezTo>
                    <a:cubicBezTo>
                      <a:pt x="1118309" y="2303657"/>
                      <a:pt x="1085765" y="2388589"/>
                      <a:pt x="1038934" y="2429864"/>
                    </a:cubicBezTo>
                    <a:cubicBezTo>
                      <a:pt x="992103" y="2471139"/>
                      <a:pt x="926222" y="2476695"/>
                      <a:pt x="867484" y="2501301"/>
                    </a:cubicBezTo>
                    <a:cubicBezTo>
                      <a:pt x="867484" y="2501301"/>
                      <a:pt x="738896" y="2574326"/>
                      <a:pt x="686509" y="2577501"/>
                    </a:cubicBezTo>
                    <a:cubicBezTo>
                      <a:pt x="634122" y="2580676"/>
                      <a:pt x="626184" y="2548926"/>
                      <a:pt x="553159" y="2520351"/>
                    </a:cubicBezTo>
                    <a:cubicBezTo>
                      <a:pt x="480134" y="2491776"/>
                      <a:pt x="311859" y="2440182"/>
                      <a:pt x="248359" y="2406051"/>
                    </a:cubicBezTo>
                    <a:cubicBezTo>
                      <a:pt x="184859" y="2371920"/>
                      <a:pt x="187240" y="2346520"/>
                      <a:pt x="172159" y="2315564"/>
                    </a:cubicBezTo>
                    <a:cubicBezTo>
                      <a:pt x="157078" y="2284608"/>
                      <a:pt x="140409" y="2261589"/>
                      <a:pt x="157871" y="2220314"/>
                    </a:cubicBezTo>
                    <a:cubicBezTo>
                      <a:pt x="168198" y="2195906"/>
                      <a:pt x="198233" y="2167333"/>
                      <a:pt x="226485" y="2135786"/>
                    </a:cubicBezTo>
                    <a:cubicBezTo>
                      <a:pt x="316982" y="2189270"/>
                      <a:pt x="435235" y="2236059"/>
                      <a:pt x="574195" y="2233933"/>
                    </a:cubicBezTo>
                    <a:cubicBezTo>
                      <a:pt x="875173" y="2229222"/>
                      <a:pt x="939333" y="2059656"/>
                      <a:pt x="939368" y="2059565"/>
                    </a:cubicBezTo>
                    <a:cubicBezTo>
                      <a:pt x="939349" y="2059598"/>
                      <a:pt x="884958" y="2153817"/>
                      <a:pt x="590920" y="2147535"/>
                    </a:cubicBezTo>
                    <a:cubicBezTo>
                      <a:pt x="481175" y="2145874"/>
                      <a:pt x="368705" y="2094204"/>
                      <a:pt x="286708" y="2040070"/>
                    </a:cubicBezTo>
                    <a:cubicBezTo>
                      <a:pt x="307092" y="1982179"/>
                      <a:pt x="314374" y="1903887"/>
                      <a:pt x="324559" y="1872651"/>
                    </a:cubicBezTo>
                    <a:cubicBezTo>
                      <a:pt x="333489" y="1845267"/>
                      <a:pt x="333488" y="1864317"/>
                      <a:pt x="339628" y="1861489"/>
                    </a:cubicBezTo>
                    <a:lnTo>
                      <a:pt x="348371" y="1848839"/>
                    </a:lnTo>
                    <a:cubicBezTo>
                      <a:pt x="354151" y="1836701"/>
                      <a:pt x="363405" y="1817932"/>
                      <a:pt x="373314" y="1796017"/>
                    </a:cubicBezTo>
                    <a:cubicBezTo>
                      <a:pt x="451017" y="1853032"/>
                      <a:pt x="548670" y="1921572"/>
                      <a:pt x="603465" y="1919756"/>
                    </a:cubicBezTo>
                    <a:cubicBezTo>
                      <a:pt x="858528" y="1908760"/>
                      <a:pt x="975606" y="1717113"/>
                      <a:pt x="1000694" y="1726538"/>
                    </a:cubicBezTo>
                    <a:close/>
                    <a:moveTo>
                      <a:pt x="576476" y="576"/>
                    </a:moveTo>
                    <a:cubicBezTo>
                      <a:pt x="714043" y="7650"/>
                      <a:pt x="864404" y="79722"/>
                      <a:pt x="988090" y="206429"/>
                    </a:cubicBezTo>
                    <a:cubicBezTo>
                      <a:pt x="1037022" y="256557"/>
                      <a:pt x="1077264" y="300727"/>
                      <a:pt x="1110031" y="339462"/>
                    </a:cubicBezTo>
                    <a:cubicBezTo>
                      <a:pt x="1051415" y="362041"/>
                      <a:pt x="1030281" y="393446"/>
                      <a:pt x="996071" y="424851"/>
                    </a:cubicBezTo>
                    <a:cubicBezTo>
                      <a:pt x="979245" y="440298"/>
                      <a:pt x="967211" y="456704"/>
                      <a:pt x="958497" y="474522"/>
                    </a:cubicBezTo>
                    <a:cubicBezTo>
                      <a:pt x="793415" y="374586"/>
                      <a:pt x="664033" y="400614"/>
                      <a:pt x="603444" y="421733"/>
                    </a:cubicBezTo>
                    <a:cubicBezTo>
                      <a:pt x="733011" y="434023"/>
                      <a:pt x="843377" y="487838"/>
                      <a:pt x="927312" y="549009"/>
                    </a:cubicBezTo>
                    <a:lnTo>
                      <a:pt x="915109" y="582014"/>
                    </a:lnTo>
                    <a:cubicBezTo>
                      <a:pt x="891297" y="642339"/>
                      <a:pt x="862721" y="710601"/>
                      <a:pt x="853196" y="786801"/>
                    </a:cubicBezTo>
                    <a:cubicBezTo>
                      <a:pt x="843671" y="863001"/>
                      <a:pt x="847640" y="966983"/>
                      <a:pt x="857959" y="1039214"/>
                    </a:cubicBezTo>
                    <a:cubicBezTo>
                      <a:pt x="868278" y="1111445"/>
                      <a:pt x="900028" y="1178120"/>
                      <a:pt x="915109" y="1220189"/>
                    </a:cubicBezTo>
                    <a:cubicBezTo>
                      <a:pt x="930190" y="1262258"/>
                      <a:pt x="946859" y="1272576"/>
                      <a:pt x="948446" y="1291626"/>
                    </a:cubicBezTo>
                    <a:cubicBezTo>
                      <a:pt x="950033" y="1310676"/>
                      <a:pt x="930984" y="1315439"/>
                      <a:pt x="924634" y="1334489"/>
                    </a:cubicBezTo>
                    <a:cubicBezTo>
                      <a:pt x="918284" y="1353539"/>
                      <a:pt x="907171" y="1371001"/>
                      <a:pt x="910346" y="1405926"/>
                    </a:cubicBezTo>
                    <a:cubicBezTo>
                      <a:pt x="913521" y="1440851"/>
                      <a:pt x="927015" y="1494827"/>
                      <a:pt x="943684" y="1544039"/>
                    </a:cubicBezTo>
                    <a:cubicBezTo>
                      <a:pt x="947240" y="1554538"/>
                      <a:pt x="951338" y="1565109"/>
                      <a:pt x="956769" y="1575392"/>
                    </a:cubicBezTo>
                    <a:cubicBezTo>
                      <a:pt x="939866" y="1598334"/>
                      <a:pt x="922505" y="1617063"/>
                      <a:pt x="905864" y="1631836"/>
                    </a:cubicBezTo>
                    <a:cubicBezTo>
                      <a:pt x="841757" y="1688412"/>
                      <a:pt x="692637" y="1803136"/>
                      <a:pt x="603444" y="1803136"/>
                    </a:cubicBezTo>
                    <a:cubicBezTo>
                      <a:pt x="557961" y="1803136"/>
                      <a:pt x="478776" y="1755732"/>
                      <a:pt x="409934" y="1705014"/>
                    </a:cubicBezTo>
                    <a:lnTo>
                      <a:pt x="419809" y="1672626"/>
                    </a:lnTo>
                    <a:cubicBezTo>
                      <a:pt x="433303" y="1613095"/>
                      <a:pt x="419809" y="1540070"/>
                      <a:pt x="429334" y="1491651"/>
                    </a:cubicBezTo>
                    <a:cubicBezTo>
                      <a:pt x="438859" y="1443232"/>
                      <a:pt x="464259" y="1418627"/>
                      <a:pt x="476959" y="1382114"/>
                    </a:cubicBezTo>
                    <a:cubicBezTo>
                      <a:pt x="489659" y="1345602"/>
                      <a:pt x="506328" y="1301151"/>
                      <a:pt x="505534" y="1272576"/>
                    </a:cubicBezTo>
                    <a:cubicBezTo>
                      <a:pt x="504740" y="1244001"/>
                      <a:pt x="472990" y="1247177"/>
                      <a:pt x="472196" y="1210664"/>
                    </a:cubicBezTo>
                    <a:cubicBezTo>
                      <a:pt x="471402" y="1174152"/>
                      <a:pt x="493627" y="1105095"/>
                      <a:pt x="500771" y="1053501"/>
                    </a:cubicBezTo>
                    <a:cubicBezTo>
                      <a:pt x="507915" y="1001907"/>
                      <a:pt x="519028" y="948726"/>
                      <a:pt x="515059" y="901101"/>
                    </a:cubicBezTo>
                    <a:cubicBezTo>
                      <a:pt x="511090" y="853476"/>
                      <a:pt x="496009" y="818551"/>
                      <a:pt x="476959" y="767751"/>
                    </a:cubicBezTo>
                    <a:cubicBezTo>
                      <a:pt x="457909" y="716951"/>
                      <a:pt x="430128" y="646307"/>
                      <a:pt x="400759" y="596301"/>
                    </a:cubicBezTo>
                    <a:cubicBezTo>
                      <a:pt x="371390" y="546295"/>
                      <a:pt x="342021" y="502639"/>
                      <a:pt x="300746" y="467714"/>
                    </a:cubicBezTo>
                    <a:cubicBezTo>
                      <a:pt x="259471" y="432789"/>
                      <a:pt x="207878" y="412151"/>
                      <a:pt x="153109" y="386751"/>
                    </a:cubicBezTo>
                    <a:cubicBezTo>
                      <a:pt x="102114" y="363101"/>
                      <a:pt x="114428" y="279585"/>
                      <a:pt x="0" y="308275"/>
                    </a:cubicBezTo>
                    <a:cubicBezTo>
                      <a:pt x="41291" y="173605"/>
                      <a:pt x="138419" y="50464"/>
                      <a:pt x="351195" y="60273"/>
                    </a:cubicBezTo>
                    <a:cubicBezTo>
                      <a:pt x="415999" y="15484"/>
                      <a:pt x="493935" y="-3670"/>
                      <a:pt x="576476" y="57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698" name="Man's Body">
                <a:extLst>
                  <a:ext uri="{FF2B5EF4-FFF2-40B4-BE49-F238E27FC236}">
                    <a16:creationId xmlns:a16="http://schemas.microsoft.com/office/drawing/2014/main" id="{4FA1CA7A-0A46-49F7-A0FE-85AC3DCDD990}"/>
                  </a:ext>
                </a:extLst>
              </p:cNvPr>
              <p:cNvSpPr>
                <a:spLocks/>
              </p:cNvSpPr>
              <p:nvPr/>
            </p:nvSpPr>
            <p:spPr bwMode="auto">
              <a:xfrm>
                <a:off x="4129215" y="2588754"/>
                <a:ext cx="1942154" cy="3289752"/>
              </a:xfrm>
              <a:custGeom>
                <a:avLst/>
                <a:gdLst/>
                <a:ahLst/>
                <a:cxnLst/>
                <a:rect l="l" t="t" r="r" b="b"/>
                <a:pathLst>
                  <a:path w="1942154" h="3289752">
                    <a:moveTo>
                      <a:pt x="501915" y="1906497"/>
                    </a:moveTo>
                    <a:cubicBezTo>
                      <a:pt x="531238" y="1899539"/>
                      <a:pt x="778162" y="2129136"/>
                      <a:pt x="883105" y="2125656"/>
                    </a:cubicBezTo>
                    <a:cubicBezTo>
                      <a:pt x="1165524" y="2113482"/>
                      <a:pt x="1295160" y="1901279"/>
                      <a:pt x="1322938" y="1911715"/>
                    </a:cubicBezTo>
                    <a:cubicBezTo>
                      <a:pt x="1352261" y="1920412"/>
                      <a:pt x="1407819" y="2162183"/>
                      <a:pt x="1471092" y="2179577"/>
                    </a:cubicBezTo>
                    <a:cubicBezTo>
                      <a:pt x="1569955" y="2205728"/>
                      <a:pt x="1786855" y="2283903"/>
                      <a:pt x="1942154" y="2367099"/>
                    </a:cubicBezTo>
                    <a:lnTo>
                      <a:pt x="1623885" y="2492834"/>
                    </a:lnTo>
                    <a:cubicBezTo>
                      <a:pt x="1505616" y="2541253"/>
                      <a:pt x="1369885" y="2582527"/>
                      <a:pt x="1300035" y="2630946"/>
                    </a:cubicBezTo>
                    <a:cubicBezTo>
                      <a:pt x="1230185" y="2679365"/>
                      <a:pt x="1216691" y="2727784"/>
                      <a:pt x="1204785" y="2783346"/>
                    </a:cubicBezTo>
                    <a:cubicBezTo>
                      <a:pt x="1192879" y="2838909"/>
                      <a:pt x="1211929" y="2896059"/>
                      <a:pt x="1228598" y="2964321"/>
                    </a:cubicBezTo>
                    <a:cubicBezTo>
                      <a:pt x="1245267" y="3032583"/>
                      <a:pt x="1281779" y="3120690"/>
                      <a:pt x="1304798" y="3192921"/>
                    </a:cubicBezTo>
                    <a:cubicBezTo>
                      <a:pt x="1314321" y="3222803"/>
                      <a:pt x="1341505" y="3252414"/>
                      <a:pt x="1363493" y="3281583"/>
                    </a:cubicBezTo>
                    <a:cubicBezTo>
                      <a:pt x="1152486" y="3290141"/>
                      <a:pt x="985631" y="3290297"/>
                      <a:pt x="900081" y="3289292"/>
                    </a:cubicBezTo>
                    <a:cubicBezTo>
                      <a:pt x="817878" y="3290370"/>
                      <a:pt x="658124" y="3290113"/>
                      <a:pt x="456018" y="3282293"/>
                    </a:cubicBezTo>
                    <a:cubicBezTo>
                      <a:pt x="462393" y="3274575"/>
                      <a:pt x="465552" y="3265168"/>
                      <a:pt x="466598" y="3254834"/>
                    </a:cubicBezTo>
                    <a:cubicBezTo>
                      <a:pt x="472948" y="3192128"/>
                      <a:pt x="470567" y="3114340"/>
                      <a:pt x="466598" y="3021471"/>
                    </a:cubicBezTo>
                    <a:cubicBezTo>
                      <a:pt x="462629" y="2928602"/>
                      <a:pt x="461835" y="2782552"/>
                      <a:pt x="442785" y="2697621"/>
                    </a:cubicBezTo>
                    <a:cubicBezTo>
                      <a:pt x="423735" y="2612690"/>
                      <a:pt x="407860" y="2565859"/>
                      <a:pt x="352298" y="2511884"/>
                    </a:cubicBezTo>
                    <a:cubicBezTo>
                      <a:pt x="296736" y="2457909"/>
                      <a:pt x="186404" y="2415046"/>
                      <a:pt x="109410" y="2373771"/>
                    </a:cubicBezTo>
                    <a:cubicBezTo>
                      <a:pt x="63909" y="2349379"/>
                      <a:pt x="39200" y="2319443"/>
                      <a:pt x="0" y="2298223"/>
                    </a:cubicBezTo>
                    <a:cubicBezTo>
                      <a:pt x="117461" y="2244929"/>
                      <a:pt x="226792" y="2206801"/>
                      <a:pt x="244189" y="2210886"/>
                    </a:cubicBezTo>
                    <a:cubicBezTo>
                      <a:pt x="281228" y="2217843"/>
                      <a:pt x="509632" y="2478748"/>
                      <a:pt x="850696" y="2473530"/>
                    </a:cubicBezTo>
                    <a:cubicBezTo>
                      <a:pt x="1183954" y="2468314"/>
                      <a:pt x="1254996" y="2280562"/>
                      <a:pt x="1255035" y="2280461"/>
                    </a:cubicBezTo>
                    <a:cubicBezTo>
                      <a:pt x="1255005" y="2280512"/>
                      <a:pt x="1194766" y="2384821"/>
                      <a:pt x="869215" y="2377865"/>
                    </a:cubicBezTo>
                    <a:cubicBezTo>
                      <a:pt x="639268" y="2374386"/>
                      <a:pt x="398517" y="2172620"/>
                      <a:pt x="393887" y="2132615"/>
                    </a:cubicBezTo>
                    <a:cubicBezTo>
                      <a:pt x="389256" y="2090869"/>
                      <a:pt x="471051" y="1911715"/>
                      <a:pt x="501915" y="1906497"/>
                    </a:cubicBezTo>
                    <a:close/>
                    <a:moveTo>
                      <a:pt x="853221" y="637"/>
                    </a:moveTo>
                    <a:cubicBezTo>
                      <a:pt x="1005543" y="8471"/>
                      <a:pt x="1226975" y="81406"/>
                      <a:pt x="1337772" y="161384"/>
                    </a:cubicBezTo>
                    <a:cubicBezTo>
                      <a:pt x="1448570" y="241363"/>
                      <a:pt x="1522641" y="435263"/>
                      <a:pt x="1518012" y="480506"/>
                    </a:cubicBezTo>
                    <a:cubicBezTo>
                      <a:pt x="1513382" y="524010"/>
                      <a:pt x="1508932" y="654545"/>
                      <a:pt x="1497241" y="710582"/>
                    </a:cubicBezTo>
                    <a:cubicBezTo>
                      <a:pt x="1485550" y="766620"/>
                      <a:pt x="1456092" y="773225"/>
                      <a:pt x="1447862" y="816729"/>
                    </a:cubicBezTo>
                    <a:cubicBezTo>
                      <a:pt x="1464832" y="858482"/>
                      <a:pt x="1447870" y="971551"/>
                      <a:pt x="1447862" y="971599"/>
                    </a:cubicBezTo>
                    <a:cubicBezTo>
                      <a:pt x="1447887" y="971601"/>
                      <a:pt x="1518845" y="976828"/>
                      <a:pt x="1518845" y="1029023"/>
                    </a:cubicBezTo>
                    <a:cubicBezTo>
                      <a:pt x="1518845" y="1081217"/>
                      <a:pt x="1443261" y="1368239"/>
                      <a:pt x="1443233" y="1368346"/>
                    </a:cubicBezTo>
                    <a:cubicBezTo>
                      <a:pt x="1443216" y="1368375"/>
                      <a:pt x="1423163" y="1403147"/>
                      <a:pt x="1400025" y="1397928"/>
                    </a:cubicBezTo>
                    <a:cubicBezTo>
                      <a:pt x="1375336" y="1610222"/>
                      <a:pt x="1290464" y="1742472"/>
                      <a:pt x="1217938" y="1806856"/>
                    </a:cubicBezTo>
                    <a:cubicBezTo>
                      <a:pt x="1146955" y="1869501"/>
                      <a:pt x="981841" y="1996529"/>
                      <a:pt x="883082" y="1996529"/>
                    </a:cubicBezTo>
                    <a:cubicBezTo>
                      <a:pt x="784323" y="1996529"/>
                      <a:pt x="542053" y="1794675"/>
                      <a:pt x="523537" y="1759872"/>
                    </a:cubicBezTo>
                    <a:cubicBezTo>
                      <a:pt x="503477" y="1725071"/>
                      <a:pt x="370768" y="1570199"/>
                      <a:pt x="366139" y="1380528"/>
                    </a:cubicBezTo>
                    <a:cubicBezTo>
                      <a:pt x="301328" y="1375306"/>
                      <a:pt x="264293" y="1183894"/>
                      <a:pt x="239604" y="1082967"/>
                    </a:cubicBezTo>
                    <a:cubicBezTo>
                      <a:pt x="219550" y="997735"/>
                      <a:pt x="288930" y="999439"/>
                      <a:pt x="288983" y="999441"/>
                    </a:cubicBezTo>
                    <a:cubicBezTo>
                      <a:pt x="288957" y="999371"/>
                      <a:pt x="191766" y="731458"/>
                      <a:pt x="184051" y="694921"/>
                    </a:cubicBezTo>
                    <a:cubicBezTo>
                      <a:pt x="177878" y="660118"/>
                      <a:pt x="113068" y="44116"/>
                      <a:pt x="603779" y="66738"/>
                    </a:cubicBezTo>
                    <a:cubicBezTo>
                      <a:pt x="675533" y="17144"/>
                      <a:pt x="761828" y="-4064"/>
                      <a:pt x="853221" y="63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699" name="Man's Body">
                <a:extLst>
                  <a:ext uri="{FF2B5EF4-FFF2-40B4-BE49-F238E27FC236}">
                    <a16:creationId xmlns:a16="http://schemas.microsoft.com/office/drawing/2014/main" id="{1526F183-032A-4C5F-A7D8-261C64887C27}"/>
                  </a:ext>
                </a:extLst>
              </p:cNvPr>
              <p:cNvSpPr>
                <a:spLocks/>
              </p:cNvSpPr>
              <p:nvPr/>
            </p:nvSpPr>
            <p:spPr bwMode="auto">
              <a:xfrm>
                <a:off x="335107" y="2540761"/>
                <a:ext cx="1927374" cy="3278271"/>
              </a:xfrm>
              <a:custGeom>
                <a:avLst/>
                <a:gdLst/>
                <a:ahLst/>
                <a:cxnLst/>
                <a:rect l="l" t="t" r="r" b="b"/>
                <a:pathLst>
                  <a:path w="1927374" h="3278271">
                    <a:moveTo>
                      <a:pt x="586126" y="2210886"/>
                    </a:moveTo>
                    <a:cubicBezTo>
                      <a:pt x="616330" y="2216559"/>
                      <a:pt x="773790" y="2391106"/>
                      <a:pt x="1016388" y="2450287"/>
                    </a:cubicBezTo>
                    <a:cubicBezTo>
                      <a:pt x="976291" y="2480726"/>
                      <a:pt x="940784" y="2511617"/>
                      <a:pt x="912668" y="2540828"/>
                    </a:cubicBezTo>
                    <a:cubicBezTo>
                      <a:pt x="851549" y="2604328"/>
                      <a:pt x="830912" y="2661478"/>
                      <a:pt x="803131" y="2726565"/>
                    </a:cubicBezTo>
                    <a:cubicBezTo>
                      <a:pt x="775350" y="2791652"/>
                      <a:pt x="757093" y="2855947"/>
                      <a:pt x="745981" y="2931353"/>
                    </a:cubicBezTo>
                    <a:cubicBezTo>
                      <a:pt x="734869" y="3006759"/>
                      <a:pt x="738837" y="3105978"/>
                      <a:pt x="736456" y="3179003"/>
                    </a:cubicBezTo>
                    <a:cubicBezTo>
                      <a:pt x="735337" y="3213335"/>
                      <a:pt x="717901" y="3247141"/>
                      <a:pt x="707639" y="3278271"/>
                    </a:cubicBezTo>
                    <a:cubicBezTo>
                      <a:pt x="607261" y="3273701"/>
                      <a:pt x="498668" y="3267095"/>
                      <a:pt x="385500" y="3257984"/>
                    </a:cubicBezTo>
                    <a:cubicBezTo>
                      <a:pt x="387043" y="3144926"/>
                      <a:pt x="428711" y="2960553"/>
                      <a:pt x="475010" y="2861409"/>
                    </a:cubicBezTo>
                    <a:cubicBezTo>
                      <a:pt x="439515" y="2884020"/>
                      <a:pt x="288274" y="3042302"/>
                      <a:pt x="258951" y="3247548"/>
                    </a:cubicBezTo>
                    <a:cubicBezTo>
                      <a:pt x="-18839" y="2890978"/>
                      <a:pt x="-32728" y="2605722"/>
                      <a:pt x="32090" y="2494403"/>
                    </a:cubicBezTo>
                    <a:cubicBezTo>
                      <a:pt x="95364" y="2384822"/>
                      <a:pt x="549088" y="2202189"/>
                      <a:pt x="586126" y="2210886"/>
                    </a:cubicBezTo>
                    <a:close/>
                    <a:moveTo>
                      <a:pt x="843852" y="1906497"/>
                    </a:moveTo>
                    <a:cubicBezTo>
                      <a:pt x="873175" y="1899539"/>
                      <a:pt x="1120099" y="2129136"/>
                      <a:pt x="1225042" y="2125656"/>
                    </a:cubicBezTo>
                    <a:cubicBezTo>
                      <a:pt x="1507461" y="2113482"/>
                      <a:pt x="1637096" y="1901279"/>
                      <a:pt x="1664875" y="1911715"/>
                    </a:cubicBezTo>
                    <a:cubicBezTo>
                      <a:pt x="1681451" y="1916632"/>
                      <a:pt x="1706410" y="1996028"/>
                      <a:pt x="1736668" y="2067160"/>
                    </a:cubicBezTo>
                    <a:cubicBezTo>
                      <a:pt x="1645277" y="2089552"/>
                      <a:pt x="1598007" y="2141189"/>
                      <a:pt x="1512743" y="2178878"/>
                    </a:cubicBezTo>
                    <a:cubicBezTo>
                      <a:pt x="1403206" y="2227297"/>
                      <a:pt x="1269855" y="2285240"/>
                      <a:pt x="1169843" y="2345565"/>
                    </a:cubicBezTo>
                    <a:lnTo>
                      <a:pt x="1134882" y="2369115"/>
                    </a:lnTo>
                    <a:cubicBezTo>
                      <a:pt x="930801" y="2331702"/>
                      <a:pt x="739941" y="2168192"/>
                      <a:pt x="735824" y="2132615"/>
                    </a:cubicBezTo>
                    <a:cubicBezTo>
                      <a:pt x="731193" y="2090869"/>
                      <a:pt x="812988" y="1911715"/>
                      <a:pt x="843852" y="1906497"/>
                    </a:cubicBezTo>
                    <a:close/>
                    <a:moveTo>
                      <a:pt x="1195158" y="637"/>
                    </a:moveTo>
                    <a:cubicBezTo>
                      <a:pt x="1347480" y="8471"/>
                      <a:pt x="1513967" y="88272"/>
                      <a:pt x="1650919" y="228569"/>
                    </a:cubicBezTo>
                    <a:cubicBezTo>
                      <a:pt x="1870041" y="453045"/>
                      <a:pt x="1931766" y="569632"/>
                      <a:pt x="1927136" y="614875"/>
                    </a:cubicBezTo>
                    <a:cubicBezTo>
                      <a:pt x="1922506" y="658378"/>
                      <a:pt x="1877757" y="719282"/>
                      <a:pt x="1839178" y="710582"/>
                    </a:cubicBezTo>
                    <a:cubicBezTo>
                      <a:pt x="1799058" y="701882"/>
                      <a:pt x="1794429" y="663598"/>
                      <a:pt x="1772824" y="642718"/>
                    </a:cubicBezTo>
                    <a:cubicBezTo>
                      <a:pt x="1516667" y="399101"/>
                      <a:pt x="1309890" y="437383"/>
                      <a:pt x="1225019" y="466966"/>
                    </a:cubicBezTo>
                    <a:cubicBezTo>
                      <a:pt x="1555245" y="498288"/>
                      <a:pt x="1772824" y="773225"/>
                      <a:pt x="1789799" y="816729"/>
                    </a:cubicBezTo>
                    <a:cubicBezTo>
                      <a:pt x="1806769" y="858482"/>
                      <a:pt x="1789807" y="971551"/>
                      <a:pt x="1789799" y="971599"/>
                    </a:cubicBezTo>
                    <a:cubicBezTo>
                      <a:pt x="1789819" y="971601"/>
                      <a:pt x="1860782" y="976826"/>
                      <a:pt x="1860782" y="1029023"/>
                    </a:cubicBezTo>
                    <a:cubicBezTo>
                      <a:pt x="1860782" y="1081217"/>
                      <a:pt x="1785198" y="1368239"/>
                      <a:pt x="1785170" y="1368346"/>
                    </a:cubicBezTo>
                    <a:cubicBezTo>
                      <a:pt x="1785153" y="1368375"/>
                      <a:pt x="1765100" y="1403147"/>
                      <a:pt x="1741962" y="1397928"/>
                    </a:cubicBezTo>
                    <a:cubicBezTo>
                      <a:pt x="1717273" y="1610222"/>
                      <a:pt x="1632401" y="1742472"/>
                      <a:pt x="1559875" y="1806856"/>
                    </a:cubicBezTo>
                    <a:cubicBezTo>
                      <a:pt x="1488892" y="1869501"/>
                      <a:pt x="1323778" y="1996529"/>
                      <a:pt x="1225019" y="1996529"/>
                    </a:cubicBezTo>
                    <a:cubicBezTo>
                      <a:pt x="1126260" y="1996529"/>
                      <a:pt x="883990" y="1794675"/>
                      <a:pt x="865473" y="1759872"/>
                    </a:cubicBezTo>
                    <a:cubicBezTo>
                      <a:pt x="845414" y="1725071"/>
                      <a:pt x="712705" y="1570199"/>
                      <a:pt x="708075" y="1380528"/>
                    </a:cubicBezTo>
                    <a:cubicBezTo>
                      <a:pt x="643265" y="1375306"/>
                      <a:pt x="606230" y="1183894"/>
                      <a:pt x="581541" y="1082967"/>
                    </a:cubicBezTo>
                    <a:cubicBezTo>
                      <a:pt x="561487" y="997735"/>
                      <a:pt x="630866" y="999439"/>
                      <a:pt x="630919" y="999441"/>
                    </a:cubicBezTo>
                    <a:cubicBezTo>
                      <a:pt x="630881" y="999337"/>
                      <a:pt x="533702" y="731455"/>
                      <a:pt x="525988" y="694921"/>
                    </a:cubicBezTo>
                    <a:cubicBezTo>
                      <a:pt x="519815" y="660118"/>
                      <a:pt x="455005" y="44116"/>
                      <a:pt x="945716" y="66738"/>
                    </a:cubicBezTo>
                    <a:cubicBezTo>
                      <a:pt x="1017470" y="17144"/>
                      <a:pt x="1103765" y="-4064"/>
                      <a:pt x="1195158" y="63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700" name="Freeform 227">
                <a:extLst>
                  <a:ext uri="{FF2B5EF4-FFF2-40B4-BE49-F238E27FC236}">
                    <a16:creationId xmlns:a16="http://schemas.microsoft.com/office/drawing/2014/main" id="{3CFCF8EF-6C96-46C6-B1BC-4DCEBA63D66A}"/>
                  </a:ext>
                </a:extLst>
              </p:cNvPr>
              <p:cNvSpPr/>
              <p:nvPr/>
            </p:nvSpPr>
            <p:spPr>
              <a:xfrm flipH="1">
                <a:off x="1116816" y="2629054"/>
                <a:ext cx="3436629" cy="3474566"/>
              </a:xfrm>
              <a:custGeom>
                <a:avLst/>
                <a:gdLst/>
                <a:ahLst/>
                <a:cxnLst/>
                <a:rect l="l" t="t" r="r" b="b"/>
                <a:pathLst>
                  <a:path w="852601" h="862013">
                    <a:moveTo>
                      <a:pt x="339688" y="551599"/>
                    </a:moveTo>
                    <a:cubicBezTo>
                      <a:pt x="336200" y="550660"/>
                      <a:pt x="332712" y="552270"/>
                      <a:pt x="329224" y="555624"/>
                    </a:cubicBezTo>
                    <a:lnTo>
                      <a:pt x="318760" y="571723"/>
                    </a:lnTo>
                    <a:cubicBezTo>
                      <a:pt x="317687" y="576955"/>
                      <a:pt x="320907" y="582723"/>
                      <a:pt x="322785" y="587017"/>
                    </a:cubicBezTo>
                    <a:cubicBezTo>
                      <a:pt x="324663" y="591310"/>
                      <a:pt x="331370" y="593322"/>
                      <a:pt x="330029" y="597481"/>
                    </a:cubicBezTo>
                    <a:cubicBezTo>
                      <a:pt x="328687" y="601641"/>
                      <a:pt x="318894" y="606739"/>
                      <a:pt x="314735" y="611971"/>
                    </a:cubicBezTo>
                    <a:cubicBezTo>
                      <a:pt x="310576" y="617202"/>
                      <a:pt x="308563" y="620288"/>
                      <a:pt x="303465" y="629679"/>
                    </a:cubicBezTo>
                    <a:cubicBezTo>
                      <a:pt x="298368" y="639070"/>
                      <a:pt x="292062" y="654230"/>
                      <a:pt x="284147" y="668317"/>
                    </a:cubicBezTo>
                    <a:cubicBezTo>
                      <a:pt x="276232" y="682403"/>
                      <a:pt x="261340" y="698637"/>
                      <a:pt x="255974" y="714199"/>
                    </a:cubicBezTo>
                    <a:cubicBezTo>
                      <a:pt x="250607" y="729762"/>
                      <a:pt x="252754" y="745727"/>
                      <a:pt x="251949" y="761691"/>
                    </a:cubicBezTo>
                    <a:cubicBezTo>
                      <a:pt x="251144" y="777656"/>
                      <a:pt x="252351" y="796036"/>
                      <a:pt x="251143" y="809989"/>
                    </a:cubicBezTo>
                    <a:cubicBezTo>
                      <a:pt x="249937" y="823941"/>
                      <a:pt x="245778" y="837357"/>
                      <a:pt x="244705" y="845406"/>
                    </a:cubicBezTo>
                    <a:cubicBezTo>
                      <a:pt x="243631" y="853456"/>
                      <a:pt x="243095" y="855603"/>
                      <a:pt x="244705" y="858286"/>
                    </a:cubicBezTo>
                    <a:cubicBezTo>
                      <a:pt x="245509" y="859627"/>
                      <a:pt x="245945" y="860298"/>
                      <a:pt x="247169" y="860701"/>
                    </a:cubicBezTo>
                    <a:lnTo>
                      <a:pt x="254364" y="861506"/>
                    </a:lnTo>
                    <a:cubicBezTo>
                      <a:pt x="262279" y="862042"/>
                      <a:pt x="277305" y="862310"/>
                      <a:pt x="292196" y="861506"/>
                    </a:cubicBezTo>
                    <a:cubicBezTo>
                      <a:pt x="307088" y="860701"/>
                      <a:pt x="333115" y="857749"/>
                      <a:pt x="343713" y="856676"/>
                    </a:cubicBezTo>
                    <a:cubicBezTo>
                      <a:pt x="343747" y="856684"/>
                      <a:pt x="352708" y="858681"/>
                      <a:pt x="355787" y="855066"/>
                    </a:cubicBezTo>
                    <a:cubicBezTo>
                      <a:pt x="358873" y="851443"/>
                      <a:pt x="361288" y="845675"/>
                      <a:pt x="362227" y="834943"/>
                    </a:cubicBezTo>
                    <a:cubicBezTo>
                      <a:pt x="363166" y="824210"/>
                      <a:pt x="363568" y="808110"/>
                      <a:pt x="361422" y="790670"/>
                    </a:cubicBezTo>
                    <a:cubicBezTo>
                      <a:pt x="359275" y="773229"/>
                      <a:pt x="352299" y="754313"/>
                      <a:pt x="349348" y="730298"/>
                    </a:cubicBezTo>
                    <a:cubicBezTo>
                      <a:pt x="346396" y="706284"/>
                      <a:pt x="344786" y="666439"/>
                      <a:pt x="343713" y="646584"/>
                    </a:cubicBezTo>
                    <a:cubicBezTo>
                      <a:pt x="342640" y="626728"/>
                      <a:pt x="342505" y="619886"/>
                      <a:pt x="342908" y="611166"/>
                    </a:cubicBezTo>
                    <a:cubicBezTo>
                      <a:pt x="343310" y="602446"/>
                      <a:pt x="343713" y="600299"/>
                      <a:pt x="346128" y="594262"/>
                    </a:cubicBezTo>
                    <a:cubicBezTo>
                      <a:pt x="348543" y="588224"/>
                      <a:pt x="356727" y="580443"/>
                      <a:pt x="357397" y="574942"/>
                    </a:cubicBezTo>
                    <a:cubicBezTo>
                      <a:pt x="358068" y="569442"/>
                      <a:pt x="353104" y="565149"/>
                      <a:pt x="350153" y="561258"/>
                    </a:cubicBezTo>
                    <a:close/>
                    <a:moveTo>
                      <a:pt x="287206" y="507649"/>
                    </a:moveTo>
                    <a:cubicBezTo>
                      <a:pt x="299226" y="561742"/>
                      <a:pt x="284201" y="574621"/>
                      <a:pt x="274326" y="617123"/>
                    </a:cubicBezTo>
                    <a:cubicBezTo>
                      <a:pt x="272445" y="626330"/>
                      <a:pt x="270907" y="639718"/>
                      <a:pt x="269556" y="655910"/>
                    </a:cubicBezTo>
                    <a:cubicBezTo>
                      <a:pt x="284442" y="632717"/>
                      <a:pt x="299146" y="601494"/>
                      <a:pt x="316184" y="596515"/>
                    </a:cubicBezTo>
                    <a:cubicBezTo>
                      <a:pt x="314038" y="589217"/>
                      <a:pt x="305451" y="583528"/>
                      <a:pt x="306524" y="574621"/>
                    </a:cubicBezTo>
                    <a:cubicBezTo>
                      <a:pt x="307147" y="563679"/>
                      <a:pt x="314405" y="554950"/>
                      <a:pt x="319949" y="545622"/>
                    </a:cubicBezTo>
                    <a:cubicBezTo>
                      <a:pt x="307786" y="539695"/>
                      <a:pt x="298568" y="525281"/>
                      <a:pt x="287206" y="507649"/>
                    </a:cubicBezTo>
                    <a:close/>
                    <a:moveTo>
                      <a:pt x="264023" y="488330"/>
                    </a:moveTo>
                    <a:cubicBezTo>
                      <a:pt x="251143" y="497345"/>
                      <a:pt x="249856" y="517952"/>
                      <a:pt x="240841" y="523104"/>
                    </a:cubicBezTo>
                    <a:cubicBezTo>
                      <a:pt x="177304" y="542852"/>
                      <a:pt x="103463" y="578055"/>
                      <a:pt x="46365" y="613259"/>
                    </a:cubicBezTo>
                    <a:cubicBezTo>
                      <a:pt x="17601" y="630002"/>
                      <a:pt x="12021" y="649320"/>
                      <a:pt x="6440" y="682806"/>
                    </a:cubicBezTo>
                    <a:lnTo>
                      <a:pt x="0" y="793568"/>
                    </a:lnTo>
                    <a:cubicBezTo>
                      <a:pt x="60532" y="849807"/>
                      <a:pt x="154551" y="840362"/>
                      <a:pt x="230537" y="859252"/>
                    </a:cubicBezTo>
                    <a:cubicBezTo>
                      <a:pt x="242128" y="755359"/>
                      <a:pt x="233113" y="597374"/>
                      <a:pt x="265311" y="542422"/>
                    </a:cubicBezTo>
                    <a:close/>
                    <a:moveTo>
                      <a:pt x="473953" y="438101"/>
                    </a:moveTo>
                    <a:cubicBezTo>
                      <a:pt x="449999" y="476765"/>
                      <a:pt x="395188" y="525303"/>
                      <a:pt x="351750" y="542487"/>
                    </a:cubicBezTo>
                    <a:cubicBezTo>
                      <a:pt x="364570" y="553524"/>
                      <a:pt x="369815" y="566569"/>
                      <a:pt x="371564" y="577519"/>
                    </a:cubicBezTo>
                    <a:cubicBezTo>
                      <a:pt x="371510" y="588305"/>
                      <a:pt x="363407" y="591042"/>
                      <a:pt x="359329" y="597803"/>
                    </a:cubicBezTo>
                    <a:cubicBezTo>
                      <a:pt x="364928" y="652187"/>
                      <a:pt x="355161" y="701683"/>
                      <a:pt x="373271" y="759858"/>
                    </a:cubicBezTo>
                    <a:cubicBezTo>
                      <a:pt x="382583" y="726860"/>
                      <a:pt x="394118" y="694072"/>
                      <a:pt x="406981" y="659624"/>
                    </a:cubicBezTo>
                    <a:cubicBezTo>
                      <a:pt x="434458" y="598661"/>
                      <a:pt x="476100" y="510653"/>
                      <a:pt x="473953" y="438101"/>
                    </a:cubicBezTo>
                    <a:close/>
                    <a:moveTo>
                      <a:pt x="444331" y="425221"/>
                    </a:moveTo>
                    <a:cubicBezTo>
                      <a:pt x="417365" y="457420"/>
                      <a:pt x="365446" y="490423"/>
                      <a:pt x="342908" y="490423"/>
                    </a:cubicBezTo>
                    <a:cubicBezTo>
                      <a:pt x="312722" y="489752"/>
                      <a:pt x="309100" y="473787"/>
                      <a:pt x="292196" y="465469"/>
                    </a:cubicBezTo>
                    <a:cubicBezTo>
                      <a:pt x="308026" y="468152"/>
                      <a:pt x="323455" y="474056"/>
                      <a:pt x="339687" y="473519"/>
                    </a:cubicBezTo>
                    <a:cubicBezTo>
                      <a:pt x="376180" y="473116"/>
                      <a:pt x="416695" y="446955"/>
                      <a:pt x="444331" y="425221"/>
                    </a:cubicBezTo>
                    <a:close/>
                    <a:moveTo>
                      <a:pt x="488121" y="409767"/>
                    </a:moveTo>
                    <a:cubicBezTo>
                      <a:pt x="533198" y="465576"/>
                      <a:pt x="410846" y="692681"/>
                      <a:pt x="376072" y="855388"/>
                    </a:cubicBezTo>
                    <a:cubicBezTo>
                      <a:pt x="489409" y="838216"/>
                      <a:pt x="600169" y="850665"/>
                      <a:pt x="716082" y="803871"/>
                    </a:cubicBezTo>
                    <a:cubicBezTo>
                      <a:pt x="761588" y="800437"/>
                      <a:pt x="808382" y="816321"/>
                      <a:pt x="852601" y="793568"/>
                    </a:cubicBezTo>
                    <a:cubicBezTo>
                      <a:pt x="845303" y="743338"/>
                      <a:pt x="867627" y="646745"/>
                      <a:pt x="772750" y="588788"/>
                    </a:cubicBezTo>
                    <a:cubicBezTo>
                      <a:pt x="729391" y="552726"/>
                      <a:pt x="648681" y="519241"/>
                      <a:pt x="565395" y="492193"/>
                    </a:cubicBezTo>
                    <a:cubicBezTo>
                      <a:pt x="534486" y="468582"/>
                      <a:pt x="515167" y="433379"/>
                      <a:pt x="488121" y="409767"/>
                    </a:cubicBezTo>
                    <a:close/>
                    <a:moveTo>
                      <a:pt x="314467" y="207"/>
                    </a:moveTo>
                    <a:cubicBezTo>
                      <a:pt x="302302" y="922"/>
                      <a:pt x="297652" y="4142"/>
                      <a:pt x="285488" y="8794"/>
                    </a:cubicBezTo>
                    <a:cubicBezTo>
                      <a:pt x="273325" y="13444"/>
                      <a:pt x="253826" y="20241"/>
                      <a:pt x="241485" y="28112"/>
                    </a:cubicBezTo>
                    <a:cubicBezTo>
                      <a:pt x="229142" y="35983"/>
                      <a:pt x="220377" y="43853"/>
                      <a:pt x="211433" y="56017"/>
                    </a:cubicBezTo>
                    <a:cubicBezTo>
                      <a:pt x="202489" y="68180"/>
                      <a:pt x="193724" y="87320"/>
                      <a:pt x="187821" y="101095"/>
                    </a:cubicBezTo>
                    <a:cubicBezTo>
                      <a:pt x="181919" y="114868"/>
                      <a:pt x="176194" y="121665"/>
                      <a:pt x="176015" y="138658"/>
                    </a:cubicBezTo>
                    <a:cubicBezTo>
                      <a:pt x="175837" y="155652"/>
                      <a:pt x="182813" y="191249"/>
                      <a:pt x="186748" y="203055"/>
                    </a:cubicBezTo>
                    <a:lnTo>
                      <a:pt x="187520" y="204007"/>
                    </a:lnTo>
                    <a:lnTo>
                      <a:pt x="191027" y="223887"/>
                    </a:lnTo>
                    <a:cubicBezTo>
                      <a:pt x="185407" y="222374"/>
                      <a:pt x="182724" y="232570"/>
                      <a:pt x="184333" y="241693"/>
                    </a:cubicBezTo>
                    <a:cubicBezTo>
                      <a:pt x="185943" y="250815"/>
                      <a:pt x="196139" y="265841"/>
                      <a:pt x="198822" y="277111"/>
                    </a:cubicBezTo>
                    <a:cubicBezTo>
                      <a:pt x="201505" y="288380"/>
                      <a:pt x="200298" y="299113"/>
                      <a:pt x="200432" y="309308"/>
                    </a:cubicBezTo>
                    <a:cubicBezTo>
                      <a:pt x="200566" y="319505"/>
                      <a:pt x="198285" y="331579"/>
                      <a:pt x="199627" y="338286"/>
                    </a:cubicBezTo>
                    <a:cubicBezTo>
                      <a:pt x="200969" y="344995"/>
                      <a:pt x="205128" y="346739"/>
                      <a:pt x="208482" y="349556"/>
                    </a:cubicBezTo>
                    <a:cubicBezTo>
                      <a:pt x="211836" y="352373"/>
                      <a:pt x="218275" y="343385"/>
                      <a:pt x="219751" y="355191"/>
                    </a:cubicBezTo>
                    <a:cubicBezTo>
                      <a:pt x="221227" y="366997"/>
                      <a:pt x="229008" y="395036"/>
                      <a:pt x="236655" y="410733"/>
                    </a:cubicBezTo>
                    <a:cubicBezTo>
                      <a:pt x="244301" y="426429"/>
                      <a:pt x="259999" y="439845"/>
                      <a:pt x="265633" y="449370"/>
                    </a:cubicBezTo>
                    <a:cubicBezTo>
                      <a:pt x="271268" y="458895"/>
                      <a:pt x="266438" y="460372"/>
                      <a:pt x="270463" y="467884"/>
                    </a:cubicBezTo>
                    <a:cubicBezTo>
                      <a:pt x="274487" y="475397"/>
                      <a:pt x="281330" y="484118"/>
                      <a:pt x="289781" y="494447"/>
                    </a:cubicBezTo>
                    <a:cubicBezTo>
                      <a:pt x="298233" y="504778"/>
                      <a:pt x="311246" y="524097"/>
                      <a:pt x="321175" y="529866"/>
                    </a:cubicBezTo>
                    <a:cubicBezTo>
                      <a:pt x="331102" y="535634"/>
                      <a:pt x="333383" y="536305"/>
                      <a:pt x="349348" y="529061"/>
                    </a:cubicBezTo>
                    <a:cubicBezTo>
                      <a:pt x="365312" y="521816"/>
                      <a:pt x="399657" y="499680"/>
                      <a:pt x="416963" y="486398"/>
                    </a:cubicBezTo>
                    <a:cubicBezTo>
                      <a:pt x="434270" y="473116"/>
                      <a:pt x="444331" y="459298"/>
                      <a:pt x="453186" y="449370"/>
                    </a:cubicBezTo>
                    <a:cubicBezTo>
                      <a:pt x="462041" y="439443"/>
                      <a:pt x="466601" y="434746"/>
                      <a:pt x="470089" y="426831"/>
                    </a:cubicBezTo>
                    <a:cubicBezTo>
                      <a:pt x="473577" y="418917"/>
                      <a:pt x="471968" y="409526"/>
                      <a:pt x="474115" y="401878"/>
                    </a:cubicBezTo>
                    <a:cubicBezTo>
                      <a:pt x="476261" y="394231"/>
                      <a:pt x="480688" y="390341"/>
                      <a:pt x="482969" y="380949"/>
                    </a:cubicBezTo>
                    <a:cubicBezTo>
                      <a:pt x="485249" y="371558"/>
                      <a:pt x="484847" y="352373"/>
                      <a:pt x="487799" y="345532"/>
                    </a:cubicBezTo>
                    <a:cubicBezTo>
                      <a:pt x="490750" y="338689"/>
                      <a:pt x="496788" y="343787"/>
                      <a:pt x="500678" y="339897"/>
                    </a:cubicBezTo>
                    <a:cubicBezTo>
                      <a:pt x="504569" y="336006"/>
                      <a:pt x="508996" y="331177"/>
                      <a:pt x="511142" y="322188"/>
                    </a:cubicBezTo>
                    <a:cubicBezTo>
                      <a:pt x="513289" y="313199"/>
                      <a:pt x="511947" y="299515"/>
                      <a:pt x="513557" y="285965"/>
                    </a:cubicBezTo>
                    <a:cubicBezTo>
                      <a:pt x="515167" y="272415"/>
                      <a:pt x="520131" y="252425"/>
                      <a:pt x="520801" y="240888"/>
                    </a:cubicBezTo>
                    <a:cubicBezTo>
                      <a:pt x="521473" y="229350"/>
                      <a:pt x="520131" y="222508"/>
                      <a:pt x="517582" y="216739"/>
                    </a:cubicBezTo>
                    <a:lnTo>
                      <a:pt x="505508" y="206274"/>
                    </a:lnTo>
                    <a:cubicBezTo>
                      <a:pt x="501482" y="205872"/>
                      <a:pt x="496788" y="209897"/>
                      <a:pt x="493433" y="214324"/>
                    </a:cubicBezTo>
                    <a:cubicBezTo>
                      <a:pt x="490893" y="217677"/>
                      <a:pt x="489661" y="229032"/>
                      <a:pt x="487525" y="232413"/>
                    </a:cubicBezTo>
                    <a:lnTo>
                      <a:pt x="486770" y="223363"/>
                    </a:lnTo>
                    <a:lnTo>
                      <a:pt x="488165" y="195462"/>
                    </a:lnTo>
                    <a:lnTo>
                      <a:pt x="490482" y="198762"/>
                    </a:lnTo>
                    <a:cubicBezTo>
                      <a:pt x="492986" y="200550"/>
                      <a:pt x="494238" y="195185"/>
                      <a:pt x="496921" y="194469"/>
                    </a:cubicBezTo>
                    <a:cubicBezTo>
                      <a:pt x="499604" y="193754"/>
                      <a:pt x="503002" y="193217"/>
                      <a:pt x="506581" y="194469"/>
                    </a:cubicBezTo>
                    <a:cubicBezTo>
                      <a:pt x="510158" y="195721"/>
                      <a:pt x="516419" y="202876"/>
                      <a:pt x="518386" y="201981"/>
                    </a:cubicBezTo>
                    <a:cubicBezTo>
                      <a:pt x="519370" y="201534"/>
                      <a:pt x="519370" y="200774"/>
                      <a:pt x="519124" y="198896"/>
                    </a:cubicBezTo>
                    <a:lnTo>
                      <a:pt x="518386" y="189102"/>
                    </a:lnTo>
                    <a:cubicBezTo>
                      <a:pt x="518391" y="189053"/>
                      <a:pt x="521603" y="159753"/>
                      <a:pt x="518386" y="142952"/>
                    </a:cubicBezTo>
                    <a:cubicBezTo>
                      <a:pt x="515167" y="126137"/>
                      <a:pt x="506760" y="103778"/>
                      <a:pt x="499068" y="88215"/>
                    </a:cubicBezTo>
                    <a:cubicBezTo>
                      <a:pt x="491376" y="72652"/>
                      <a:pt x="479213" y="57627"/>
                      <a:pt x="472236" y="49577"/>
                    </a:cubicBezTo>
                    <a:cubicBezTo>
                      <a:pt x="465260" y="41528"/>
                      <a:pt x="466154" y="44211"/>
                      <a:pt x="457210" y="39918"/>
                    </a:cubicBezTo>
                    <a:cubicBezTo>
                      <a:pt x="448266" y="35625"/>
                      <a:pt x="435030" y="29722"/>
                      <a:pt x="418572" y="23818"/>
                    </a:cubicBezTo>
                    <a:cubicBezTo>
                      <a:pt x="402117" y="17916"/>
                      <a:pt x="375821" y="8435"/>
                      <a:pt x="358470" y="4500"/>
                    </a:cubicBezTo>
                    <a:cubicBezTo>
                      <a:pt x="341118" y="564"/>
                      <a:pt x="326630" y="-509"/>
                      <a:pt x="314467" y="20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578">
                  <a:defRPr/>
                </a:pPr>
                <a:endParaRPr lang="en-US" sz="1797" kern="0">
                  <a:solidFill>
                    <a:srgbClr val="FFFFFF"/>
                  </a:solidFill>
                  <a:latin typeface="Segoe UI"/>
                </a:endParaRPr>
              </a:p>
            </p:txBody>
          </p:sp>
          <p:sp>
            <p:nvSpPr>
              <p:cNvPr id="701" name="Freeform 231">
                <a:extLst>
                  <a:ext uri="{FF2B5EF4-FFF2-40B4-BE49-F238E27FC236}">
                    <a16:creationId xmlns:a16="http://schemas.microsoft.com/office/drawing/2014/main" id="{514C35A1-D1D9-401C-835A-B7136E106A54}"/>
                  </a:ext>
                </a:extLst>
              </p:cNvPr>
              <p:cNvSpPr/>
              <p:nvPr/>
            </p:nvSpPr>
            <p:spPr>
              <a:xfrm>
                <a:off x="5391990" y="2823081"/>
                <a:ext cx="2628060" cy="3263867"/>
              </a:xfrm>
              <a:custGeom>
                <a:avLst/>
                <a:gdLst>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338138 w 3900488"/>
                  <a:gd name="connsiteY63" fmla="*/ 4760516 h 4808141"/>
                  <a:gd name="connsiteX64" fmla="*/ 161925 w 3900488"/>
                  <a:gd name="connsiteY64" fmla="*/ 4436666 h 4808141"/>
                  <a:gd name="connsiteX65" fmla="*/ 57150 w 3900488"/>
                  <a:gd name="connsiteY65" fmla="*/ 4141391 h 4808141"/>
                  <a:gd name="connsiteX66" fmla="*/ 0 w 3900488"/>
                  <a:gd name="connsiteY66" fmla="*/ 3855641 h 4808141"/>
                  <a:gd name="connsiteX67" fmla="*/ 23813 w 3900488"/>
                  <a:gd name="connsiteY67" fmla="*/ 3703241 h 4808141"/>
                  <a:gd name="connsiteX68" fmla="*/ 219075 w 3900488"/>
                  <a:gd name="connsiteY68" fmla="*/ 3584179 h 4808141"/>
                  <a:gd name="connsiteX69" fmla="*/ 533400 w 3900488"/>
                  <a:gd name="connsiteY69" fmla="*/ 3450829 h 4808141"/>
                  <a:gd name="connsiteX70" fmla="*/ 933450 w 3900488"/>
                  <a:gd name="connsiteY70" fmla="*/ 3293666 h 4808141"/>
                  <a:gd name="connsiteX71" fmla="*/ 1133475 w 3900488"/>
                  <a:gd name="connsiteY71" fmla="*/ 3217466 h 4808141"/>
                  <a:gd name="connsiteX72" fmla="*/ 1276350 w 3900488"/>
                  <a:gd name="connsiteY72" fmla="*/ 2950766 h 4808141"/>
                  <a:gd name="connsiteX73" fmla="*/ 1371600 w 3900488"/>
                  <a:gd name="connsiteY73" fmla="*/ 2888854 h 4808141"/>
                  <a:gd name="connsiteX74" fmla="*/ 1443038 w 3900488"/>
                  <a:gd name="connsiteY74" fmla="*/ 2750741 h 4808141"/>
                  <a:gd name="connsiteX75" fmla="*/ 1428750 w 3900488"/>
                  <a:gd name="connsiteY75" fmla="*/ 2665016 h 4808141"/>
                  <a:gd name="connsiteX76" fmla="*/ 1432339 w 3900488"/>
                  <a:gd name="connsiteY76" fmla="*/ 2655556 h 4808141"/>
                  <a:gd name="connsiteX77" fmla="*/ 1411332 w 3900488"/>
                  <a:gd name="connsiteY77" fmla="*/ 2630242 h 4808141"/>
                  <a:gd name="connsiteX78" fmla="*/ 1169833 w 3900488"/>
                  <a:gd name="connsiteY78" fmla="*/ 2059985 h 4808141"/>
                  <a:gd name="connsiteX79" fmla="*/ 975688 w 3900488"/>
                  <a:gd name="connsiteY79" fmla="*/ 1612672 h 4808141"/>
                  <a:gd name="connsiteX80" fmla="*/ 1051451 w 3900488"/>
                  <a:gd name="connsiteY80" fmla="*/ 1487109 h 4808141"/>
                  <a:gd name="connsiteX81" fmla="*/ 1016847 w 3900488"/>
                  <a:gd name="connsiteY81" fmla="*/ 1277790 h 4808141"/>
                  <a:gd name="connsiteX82" fmla="*/ 933449 w 3900488"/>
                  <a:gd name="connsiteY82" fmla="*/ 1341041 h 4808141"/>
                  <a:gd name="connsiteX83" fmla="*/ 882649 w 3900488"/>
                  <a:gd name="connsiteY83" fmla="*/ 1404541 h 4808141"/>
                  <a:gd name="connsiteX84" fmla="*/ 838199 w 3900488"/>
                  <a:gd name="connsiteY84" fmla="*/ 1525191 h 4808141"/>
                  <a:gd name="connsiteX85" fmla="*/ 857249 w 3900488"/>
                  <a:gd name="connsiteY85" fmla="*/ 1645841 h 4808141"/>
                  <a:gd name="connsiteX86" fmla="*/ 888999 w 3900488"/>
                  <a:gd name="connsiteY86" fmla="*/ 1829991 h 4808141"/>
                  <a:gd name="connsiteX87" fmla="*/ 965199 w 3900488"/>
                  <a:gd name="connsiteY87" fmla="*/ 2128441 h 4808141"/>
                  <a:gd name="connsiteX88" fmla="*/ 1047749 w 3900488"/>
                  <a:gd name="connsiteY88" fmla="*/ 2198291 h 4808141"/>
                  <a:gd name="connsiteX89" fmla="*/ 1098549 w 3900488"/>
                  <a:gd name="connsiteY89" fmla="*/ 2331641 h 4808141"/>
                  <a:gd name="connsiteX90" fmla="*/ 1219199 w 3900488"/>
                  <a:gd name="connsiteY90" fmla="*/ 2566591 h 4808141"/>
                  <a:gd name="connsiteX91" fmla="*/ 1269999 w 3900488"/>
                  <a:gd name="connsiteY91" fmla="*/ 2712641 h 4808141"/>
                  <a:gd name="connsiteX92" fmla="*/ 1130299 w 3900488"/>
                  <a:gd name="connsiteY92" fmla="*/ 2750741 h 4808141"/>
                  <a:gd name="connsiteX93" fmla="*/ 927099 w 3900488"/>
                  <a:gd name="connsiteY93" fmla="*/ 2776141 h 4808141"/>
                  <a:gd name="connsiteX94" fmla="*/ 742949 w 3900488"/>
                  <a:gd name="connsiteY94" fmla="*/ 2731691 h 4808141"/>
                  <a:gd name="connsiteX95" fmla="*/ 660399 w 3900488"/>
                  <a:gd name="connsiteY95" fmla="*/ 2591991 h 4808141"/>
                  <a:gd name="connsiteX96" fmla="*/ 622299 w 3900488"/>
                  <a:gd name="connsiteY96" fmla="*/ 2344341 h 4808141"/>
                  <a:gd name="connsiteX97" fmla="*/ 634999 w 3900488"/>
                  <a:gd name="connsiteY97" fmla="*/ 2020491 h 4808141"/>
                  <a:gd name="connsiteX98" fmla="*/ 736599 w 3900488"/>
                  <a:gd name="connsiteY98" fmla="*/ 1328341 h 4808141"/>
                  <a:gd name="connsiteX99" fmla="*/ 971549 w 3900488"/>
                  <a:gd name="connsiteY99" fmla="*/ 623491 h 4808141"/>
                  <a:gd name="connsiteX100" fmla="*/ 1168399 w 3900488"/>
                  <a:gd name="connsiteY100" fmla="*/ 299641 h 4808141"/>
                  <a:gd name="connsiteX101" fmla="*/ 1358899 w 3900488"/>
                  <a:gd name="connsiteY101" fmla="*/ 140891 h 4808141"/>
                  <a:gd name="connsiteX102" fmla="*/ 1530349 w 3900488"/>
                  <a:gd name="connsiteY102" fmla="*/ 115491 h 4808141"/>
                  <a:gd name="connsiteX103" fmla="*/ 1676399 w 3900488"/>
                  <a:gd name="connsiteY103" fmla="*/ 13891 h 4808141"/>
                  <a:gd name="connsiteX104" fmla="*/ 1813321 w 3900488"/>
                  <a:gd name="connsiteY104" fmla="*/ 0 h 4808141"/>
                  <a:gd name="connsiteX0" fmla="*/ 3060949 w 3900488"/>
                  <a:gd name="connsiteY0" fmla="*/ 1005769 h 4760516"/>
                  <a:gd name="connsiteX1" fmla="*/ 3081338 w 3900488"/>
                  <a:gd name="connsiteY1" fmla="*/ 1026716 h 4760516"/>
                  <a:gd name="connsiteX2" fmla="*/ 3167063 w 3900488"/>
                  <a:gd name="connsiteY2" fmla="*/ 1369616 h 4760516"/>
                  <a:gd name="connsiteX3" fmla="*/ 3252788 w 3900488"/>
                  <a:gd name="connsiteY3" fmla="*/ 1822054 h 4760516"/>
                  <a:gd name="connsiteX4" fmla="*/ 3281363 w 3900488"/>
                  <a:gd name="connsiteY4" fmla="*/ 2255441 h 4760516"/>
                  <a:gd name="connsiteX5" fmla="*/ 3271838 w 3900488"/>
                  <a:gd name="connsiteY5" fmla="*/ 2526904 h 4760516"/>
                  <a:gd name="connsiteX6" fmla="*/ 3190875 w 3900488"/>
                  <a:gd name="connsiteY6" fmla="*/ 2722166 h 4760516"/>
                  <a:gd name="connsiteX7" fmla="*/ 3043238 w 3900488"/>
                  <a:gd name="connsiteY7" fmla="*/ 2750741 h 4760516"/>
                  <a:gd name="connsiteX8" fmla="*/ 2809875 w 3900488"/>
                  <a:gd name="connsiteY8" fmla="*/ 2731691 h 4760516"/>
                  <a:gd name="connsiteX9" fmla="*/ 2633663 w 3900488"/>
                  <a:gd name="connsiteY9" fmla="*/ 2669779 h 4760516"/>
                  <a:gd name="connsiteX10" fmla="*/ 2657475 w 3900488"/>
                  <a:gd name="connsiteY10" fmla="*/ 2603104 h 4760516"/>
                  <a:gd name="connsiteX11" fmla="*/ 2752725 w 3900488"/>
                  <a:gd name="connsiteY11" fmla="*/ 2474516 h 4760516"/>
                  <a:gd name="connsiteX12" fmla="*/ 2843213 w 3900488"/>
                  <a:gd name="connsiteY12" fmla="*/ 2255441 h 4760516"/>
                  <a:gd name="connsiteX13" fmla="*/ 2862263 w 3900488"/>
                  <a:gd name="connsiteY13" fmla="*/ 2160191 h 4760516"/>
                  <a:gd name="connsiteX14" fmla="*/ 2919413 w 3900488"/>
                  <a:gd name="connsiteY14" fmla="*/ 2098279 h 4760516"/>
                  <a:gd name="connsiteX15" fmla="*/ 3000375 w 3900488"/>
                  <a:gd name="connsiteY15" fmla="*/ 1855391 h 4760516"/>
                  <a:gd name="connsiteX16" fmla="*/ 3057525 w 3900488"/>
                  <a:gd name="connsiteY16" fmla="*/ 1598216 h 4760516"/>
                  <a:gd name="connsiteX17" fmla="*/ 3062288 w 3900488"/>
                  <a:gd name="connsiteY17" fmla="*/ 1483916 h 4760516"/>
                  <a:gd name="connsiteX18" fmla="*/ 3009900 w 3900488"/>
                  <a:gd name="connsiteY18" fmla="*/ 1379141 h 4760516"/>
                  <a:gd name="connsiteX19" fmla="*/ 2957513 w 3900488"/>
                  <a:gd name="connsiteY19" fmla="*/ 1331516 h 4760516"/>
                  <a:gd name="connsiteX20" fmla="*/ 2947988 w 3900488"/>
                  <a:gd name="connsiteY20" fmla="*/ 1236266 h 4760516"/>
                  <a:gd name="connsiteX21" fmla="*/ 2957513 w 3900488"/>
                  <a:gd name="connsiteY21" fmla="*/ 1121966 h 4760516"/>
                  <a:gd name="connsiteX22" fmla="*/ 3005138 w 3900488"/>
                  <a:gd name="connsiteY22" fmla="*/ 1050529 h 4760516"/>
                  <a:gd name="connsiteX23" fmla="*/ 3060949 w 3900488"/>
                  <a:gd name="connsiteY23" fmla="*/ 1005769 h 4760516"/>
                  <a:gd name="connsiteX24" fmla="*/ 1813321 w 3900488"/>
                  <a:gd name="connsiteY24" fmla="*/ 0 h 4760516"/>
                  <a:gd name="connsiteX25" fmla="*/ 1955799 w 3900488"/>
                  <a:gd name="connsiteY25" fmla="*/ 1191 h 4760516"/>
                  <a:gd name="connsiteX26" fmla="*/ 2152649 w 3900488"/>
                  <a:gd name="connsiteY26" fmla="*/ 20241 h 4760516"/>
                  <a:gd name="connsiteX27" fmla="*/ 2381249 w 3900488"/>
                  <a:gd name="connsiteY27" fmla="*/ 121841 h 4760516"/>
                  <a:gd name="connsiteX28" fmla="*/ 2641599 w 3900488"/>
                  <a:gd name="connsiteY28" fmla="*/ 331391 h 4760516"/>
                  <a:gd name="connsiteX29" fmla="*/ 2946399 w 3900488"/>
                  <a:gd name="connsiteY29" fmla="*/ 693341 h 4760516"/>
                  <a:gd name="connsiteX30" fmla="*/ 3060699 w 3900488"/>
                  <a:gd name="connsiteY30" fmla="*/ 883841 h 4760516"/>
                  <a:gd name="connsiteX31" fmla="*/ 3009899 w 3900488"/>
                  <a:gd name="connsiteY31" fmla="*/ 1004491 h 4760516"/>
                  <a:gd name="connsiteX32" fmla="*/ 2901949 w 3900488"/>
                  <a:gd name="connsiteY32" fmla="*/ 1061641 h 4760516"/>
                  <a:gd name="connsiteX33" fmla="*/ 2825749 w 3900488"/>
                  <a:gd name="connsiteY33" fmla="*/ 998141 h 4760516"/>
                  <a:gd name="connsiteX34" fmla="*/ 2654299 w 3900488"/>
                  <a:gd name="connsiteY34" fmla="*/ 820341 h 4760516"/>
                  <a:gd name="connsiteX35" fmla="*/ 2349499 w 3900488"/>
                  <a:gd name="connsiteY35" fmla="*/ 674291 h 4760516"/>
                  <a:gd name="connsiteX36" fmla="*/ 2019299 w 3900488"/>
                  <a:gd name="connsiteY36" fmla="*/ 674291 h 4760516"/>
                  <a:gd name="connsiteX37" fmla="*/ 2343149 w 3900488"/>
                  <a:gd name="connsiteY37" fmla="*/ 769541 h 4760516"/>
                  <a:gd name="connsiteX38" fmla="*/ 2552699 w 3900488"/>
                  <a:gd name="connsiteY38" fmla="*/ 909241 h 4760516"/>
                  <a:gd name="connsiteX39" fmla="*/ 2629040 w 3900488"/>
                  <a:gd name="connsiteY39" fmla="*/ 973620 h 4760516"/>
                  <a:gd name="connsiteX40" fmla="*/ 2900212 w 3900488"/>
                  <a:gd name="connsiteY40" fmla="*/ 1067700 h 4760516"/>
                  <a:gd name="connsiteX41" fmla="*/ 2829545 w 3900488"/>
                  <a:gd name="connsiteY41" fmla="*/ 1212445 h 4760516"/>
                  <a:gd name="connsiteX42" fmla="*/ 2829545 w 3900488"/>
                  <a:gd name="connsiteY42" fmla="*/ 1445256 h 4760516"/>
                  <a:gd name="connsiteX43" fmla="*/ 2938456 w 3900488"/>
                  <a:gd name="connsiteY43" fmla="*/ 1531580 h 4760516"/>
                  <a:gd name="connsiteX44" fmla="*/ 2822442 w 3900488"/>
                  <a:gd name="connsiteY44" fmla="*/ 2041674 h 4760516"/>
                  <a:gd name="connsiteX45" fmla="*/ 2756148 w 3900488"/>
                  <a:gd name="connsiteY45" fmla="*/ 2086142 h 4760516"/>
                  <a:gd name="connsiteX46" fmla="*/ 2479547 w 3900488"/>
                  <a:gd name="connsiteY46" fmla="*/ 2698176 h 4760516"/>
                  <a:gd name="connsiteX47" fmla="*/ 2528888 w 3900488"/>
                  <a:gd name="connsiteY47" fmla="*/ 2817416 h 4760516"/>
                  <a:gd name="connsiteX48" fmla="*/ 2590800 w 3900488"/>
                  <a:gd name="connsiteY48" fmla="*/ 2874566 h 4760516"/>
                  <a:gd name="connsiteX49" fmla="*/ 2657475 w 3900488"/>
                  <a:gd name="connsiteY49" fmla="*/ 2884091 h 4760516"/>
                  <a:gd name="connsiteX50" fmla="*/ 2681288 w 3900488"/>
                  <a:gd name="connsiteY50" fmla="*/ 2912666 h 4760516"/>
                  <a:gd name="connsiteX51" fmla="*/ 2747963 w 3900488"/>
                  <a:gd name="connsiteY51" fmla="*/ 3079354 h 4760516"/>
                  <a:gd name="connsiteX52" fmla="*/ 2843213 w 3900488"/>
                  <a:gd name="connsiteY52" fmla="*/ 3174604 h 4760516"/>
                  <a:gd name="connsiteX53" fmla="*/ 2938463 w 3900488"/>
                  <a:gd name="connsiteY53" fmla="*/ 3207941 h 4760516"/>
                  <a:gd name="connsiteX54" fmla="*/ 3281363 w 3900488"/>
                  <a:gd name="connsiteY54" fmla="*/ 3317479 h 4760516"/>
                  <a:gd name="connsiteX55" fmla="*/ 3657600 w 3900488"/>
                  <a:gd name="connsiteY55" fmla="*/ 3493691 h 4760516"/>
                  <a:gd name="connsiteX56" fmla="*/ 3867150 w 3900488"/>
                  <a:gd name="connsiteY56" fmla="*/ 3641329 h 4760516"/>
                  <a:gd name="connsiteX57" fmla="*/ 3900488 w 3900488"/>
                  <a:gd name="connsiteY57" fmla="*/ 3769916 h 4760516"/>
                  <a:gd name="connsiteX58" fmla="*/ 3876675 w 3900488"/>
                  <a:gd name="connsiteY58" fmla="*/ 4027091 h 4760516"/>
                  <a:gd name="connsiteX59" fmla="*/ 3790950 w 3900488"/>
                  <a:gd name="connsiteY59" fmla="*/ 4236641 h 4760516"/>
                  <a:gd name="connsiteX60" fmla="*/ 3619500 w 3900488"/>
                  <a:gd name="connsiteY60" fmla="*/ 4598591 h 4760516"/>
                  <a:gd name="connsiteX61" fmla="*/ 3471863 w 3900488"/>
                  <a:gd name="connsiteY61" fmla="*/ 4760516 h 4760516"/>
                  <a:gd name="connsiteX62" fmla="*/ 338138 w 3900488"/>
                  <a:gd name="connsiteY62" fmla="*/ 4760516 h 4760516"/>
                  <a:gd name="connsiteX63" fmla="*/ 161925 w 3900488"/>
                  <a:gd name="connsiteY63" fmla="*/ 4436666 h 4760516"/>
                  <a:gd name="connsiteX64" fmla="*/ 57150 w 3900488"/>
                  <a:gd name="connsiteY64" fmla="*/ 4141391 h 4760516"/>
                  <a:gd name="connsiteX65" fmla="*/ 0 w 3900488"/>
                  <a:gd name="connsiteY65" fmla="*/ 3855641 h 4760516"/>
                  <a:gd name="connsiteX66" fmla="*/ 23813 w 3900488"/>
                  <a:gd name="connsiteY66" fmla="*/ 3703241 h 4760516"/>
                  <a:gd name="connsiteX67" fmla="*/ 219075 w 3900488"/>
                  <a:gd name="connsiteY67" fmla="*/ 3584179 h 4760516"/>
                  <a:gd name="connsiteX68" fmla="*/ 533400 w 3900488"/>
                  <a:gd name="connsiteY68" fmla="*/ 3450829 h 4760516"/>
                  <a:gd name="connsiteX69" fmla="*/ 933450 w 3900488"/>
                  <a:gd name="connsiteY69" fmla="*/ 3293666 h 4760516"/>
                  <a:gd name="connsiteX70" fmla="*/ 1133475 w 3900488"/>
                  <a:gd name="connsiteY70" fmla="*/ 3217466 h 4760516"/>
                  <a:gd name="connsiteX71" fmla="*/ 1276350 w 3900488"/>
                  <a:gd name="connsiteY71" fmla="*/ 2950766 h 4760516"/>
                  <a:gd name="connsiteX72" fmla="*/ 1371600 w 3900488"/>
                  <a:gd name="connsiteY72" fmla="*/ 2888854 h 4760516"/>
                  <a:gd name="connsiteX73" fmla="*/ 1443038 w 3900488"/>
                  <a:gd name="connsiteY73" fmla="*/ 2750741 h 4760516"/>
                  <a:gd name="connsiteX74" fmla="*/ 1428750 w 3900488"/>
                  <a:gd name="connsiteY74" fmla="*/ 2665016 h 4760516"/>
                  <a:gd name="connsiteX75" fmla="*/ 1432339 w 3900488"/>
                  <a:gd name="connsiteY75" fmla="*/ 2655556 h 4760516"/>
                  <a:gd name="connsiteX76" fmla="*/ 1411332 w 3900488"/>
                  <a:gd name="connsiteY76" fmla="*/ 2630242 h 4760516"/>
                  <a:gd name="connsiteX77" fmla="*/ 1169833 w 3900488"/>
                  <a:gd name="connsiteY77" fmla="*/ 2059985 h 4760516"/>
                  <a:gd name="connsiteX78" fmla="*/ 975688 w 3900488"/>
                  <a:gd name="connsiteY78" fmla="*/ 1612672 h 4760516"/>
                  <a:gd name="connsiteX79" fmla="*/ 1051451 w 3900488"/>
                  <a:gd name="connsiteY79" fmla="*/ 1487109 h 4760516"/>
                  <a:gd name="connsiteX80" fmla="*/ 1016847 w 3900488"/>
                  <a:gd name="connsiteY80" fmla="*/ 1277790 h 4760516"/>
                  <a:gd name="connsiteX81" fmla="*/ 933449 w 3900488"/>
                  <a:gd name="connsiteY81" fmla="*/ 1341041 h 4760516"/>
                  <a:gd name="connsiteX82" fmla="*/ 882649 w 3900488"/>
                  <a:gd name="connsiteY82" fmla="*/ 1404541 h 4760516"/>
                  <a:gd name="connsiteX83" fmla="*/ 838199 w 3900488"/>
                  <a:gd name="connsiteY83" fmla="*/ 1525191 h 4760516"/>
                  <a:gd name="connsiteX84" fmla="*/ 857249 w 3900488"/>
                  <a:gd name="connsiteY84" fmla="*/ 1645841 h 4760516"/>
                  <a:gd name="connsiteX85" fmla="*/ 888999 w 3900488"/>
                  <a:gd name="connsiteY85" fmla="*/ 1829991 h 4760516"/>
                  <a:gd name="connsiteX86" fmla="*/ 965199 w 3900488"/>
                  <a:gd name="connsiteY86" fmla="*/ 2128441 h 4760516"/>
                  <a:gd name="connsiteX87" fmla="*/ 1047749 w 3900488"/>
                  <a:gd name="connsiteY87" fmla="*/ 2198291 h 4760516"/>
                  <a:gd name="connsiteX88" fmla="*/ 1098549 w 3900488"/>
                  <a:gd name="connsiteY88" fmla="*/ 2331641 h 4760516"/>
                  <a:gd name="connsiteX89" fmla="*/ 1219199 w 3900488"/>
                  <a:gd name="connsiteY89" fmla="*/ 2566591 h 4760516"/>
                  <a:gd name="connsiteX90" fmla="*/ 1269999 w 3900488"/>
                  <a:gd name="connsiteY90" fmla="*/ 2712641 h 4760516"/>
                  <a:gd name="connsiteX91" fmla="*/ 1130299 w 3900488"/>
                  <a:gd name="connsiteY91" fmla="*/ 2750741 h 4760516"/>
                  <a:gd name="connsiteX92" fmla="*/ 927099 w 3900488"/>
                  <a:gd name="connsiteY92" fmla="*/ 2776141 h 4760516"/>
                  <a:gd name="connsiteX93" fmla="*/ 742949 w 3900488"/>
                  <a:gd name="connsiteY93" fmla="*/ 2731691 h 4760516"/>
                  <a:gd name="connsiteX94" fmla="*/ 660399 w 3900488"/>
                  <a:gd name="connsiteY94" fmla="*/ 2591991 h 4760516"/>
                  <a:gd name="connsiteX95" fmla="*/ 622299 w 3900488"/>
                  <a:gd name="connsiteY95" fmla="*/ 2344341 h 4760516"/>
                  <a:gd name="connsiteX96" fmla="*/ 634999 w 3900488"/>
                  <a:gd name="connsiteY96" fmla="*/ 2020491 h 4760516"/>
                  <a:gd name="connsiteX97" fmla="*/ 736599 w 3900488"/>
                  <a:gd name="connsiteY97" fmla="*/ 1328341 h 4760516"/>
                  <a:gd name="connsiteX98" fmla="*/ 971549 w 3900488"/>
                  <a:gd name="connsiteY98" fmla="*/ 623491 h 4760516"/>
                  <a:gd name="connsiteX99" fmla="*/ 1168399 w 3900488"/>
                  <a:gd name="connsiteY99" fmla="*/ 299641 h 4760516"/>
                  <a:gd name="connsiteX100" fmla="*/ 1358899 w 3900488"/>
                  <a:gd name="connsiteY100" fmla="*/ 140891 h 4760516"/>
                  <a:gd name="connsiteX101" fmla="*/ 1530349 w 3900488"/>
                  <a:gd name="connsiteY101" fmla="*/ 115491 h 4760516"/>
                  <a:gd name="connsiteX102" fmla="*/ 1676399 w 3900488"/>
                  <a:gd name="connsiteY102" fmla="*/ 13891 h 4760516"/>
                  <a:gd name="connsiteX103" fmla="*/ 1813321 w 3900488"/>
                  <a:gd name="connsiteY103" fmla="*/ 0 h 4760516"/>
                  <a:gd name="connsiteX0" fmla="*/ 3061653 w 3901192"/>
                  <a:gd name="connsiteY0" fmla="*/ 1005769 h 4760516"/>
                  <a:gd name="connsiteX1" fmla="*/ 3082042 w 3901192"/>
                  <a:gd name="connsiteY1" fmla="*/ 1026716 h 4760516"/>
                  <a:gd name="connsiteX2" fmla="*/ 3167767 w 3901192"/>
                  <a:gd name="connsiteY2" fmla="*/ 1369616 h 4760516"/>
                  <a:gd name="connsiteX3" fmla="*/ 3253492 w 3901192"/>
                  <a:gd name="connsiteY3" fmla="*/ 1822054 h 4760516"/>
                  <a:gd name="connsiteX4" fmla="*/ 3282067 w 3901192"/>
                  <a:gd name="connsiteY4" fmla="*/ 2255441 h 4760516"/>
                  <a:gd name="connsiteX5" fmla="*/ 3272542 w 3901192"/>
                  <a:gd name="connsiteY5" fmla="*/ 2526904 h 4760516"/>
                  <a:gd name="connsiteX6" fmla="*/ 3191579 w 3901192"/>
                  <a:gd name="connsiteY6" fmla="*/ 2722166 h 4760516"/>
                  <a:gd name="connsiteX7" fmla="*/ 3043942 w 3901192"/>
                  <a:gd name="connsiteY7" fmla="*/ 2750741 h 4760516"/>
                  <a:gd name="connsiteX8" fmla="*/ 2810579 w 3901192"/>
                  <a:gd name="connsiteY8" fmla="*/ 2731691 h 4760516"/>
                  <a:gd name="connsiteX9" fmla="*/ 2634367 w 3901192"/>
                  <a:gd name="connsiteY9" fmla="*/ 2669779 h 4760516"/>
                  <a:gd name="connsiteX10" fmla="*/ 2658179 w 3901192"/>
                  <a:gd name="connsiteY10" fmla="*/ 2603104 h 4760516"/>
                  <a:gd name="connsiteX11" fmla="*/ 2753429 w 3901192"/>
                  <a:gd name="connsiteY11" fmla="*/ 2474516 h 4760516"/>
                  <a:gd name="connsiteX12" fmla="*/ 2843917 w 3901192"/>
                  <a:gd name="connsiteY12" fmla="*/ 2255441 h 4760516"/>
                  <a:gd name="connsiteX13" fmla="*/ 2862967 w 3901192"/>
                  <a:gd name="connsiteY13" fmla="*/ 2160191 h 4760516"/>
                  <a:gd name="connsiteX14" fmla="*/ 2920117 w 3901192"/>
                  <a:gd name="connsiteY14" fmla="*/ 2098279 h 4760516"/>
                  <a:gd name="connsiteX15" fmla="*/ 3001079 w 3901192"/>
                  <a:gd name="connsiteY15" fmla="*/ 1855391 h 4760516"/>
                  <a:gd name="connsiteX16" fmla="*/ 3058229 w 3901192"/>
                  <a:gd name="connsiteY16" fmla="*/ 1598216 h 4760516"/>
                  <a:gd name="connsiteX17" fmla="*/ 3062992 w 3901192"/>
                  <a:gd name="connsiteY17" fmla="*/ 1483916 h 4760516"/>
                  <a:gd name="connsiteX18" fmla="*/ 3010604 w 3901192"/>
                  <a:gd name="connsiteY18" fmla="*/ 1379141 h 4760516"/>
                  <a:gd name="connsiteX19" fmla="*/ 2958217 w 3901192"/>
                  <a:gd name="connsiteY19" fmla="*/ 1331516 h 4760516"/>
                  <a:gd name="connsiteX20" fmla="*/ 2948692 w 3901192"/>
                  <a:gd name="connsiteY20" fmla="*/ 1236266 h 4760516"/>
                  <a:gd name="connsiteX21" fmla="*/ 2958217 w 3901192"/>
                  <a:gd name="connsiteY21" fmla="*/ 1121966 h 4760516"/>
                  <a:gd name="connsiteX22" fmla="*/ 3005842 w 3901192"/>
                  <a:gd name="connsiteY22" fmla="*/ 1050529 h 4760516"/>
                  <a:gd name="connsiteX23" fmla="*/ 3061653 w 3901192"/>
                  <a:gd name="connsiteY23" fmla="*/ 1005769 h 4760516"/>
                  <a:gd name="connsiteX24" fmla="*/ 1814025 w 3901192"/>
                  <a:gd name="connsiteY24" fmla="*/ 0 h 4760516"/>
                  <a:gd name="connsiteX25" fmla="*/ 1956503 w 3901192"/>
                  <a:gd name="connsiteY25" fmla="*/ 1191 h 4760516"/>
                  <a:gd name="connsiteX26" fmla="*/ 2153353 w 3901192"/>
                  <a:gd name="connsiteY26" fmla="*/ 20241 h 4760516"/>
                  <a:gd name="connsiteX27" fmla="*/ 2381953 w 3901192"/>
                  <a:gd name="connsiteY27" fmla="*/ 121841 h 4760516"/>
                  <a:gd name="connsiteX28" fmla="*/ 2642303 w 3901192"/>
                  <a:gd name="connsiteY28" fmla="*/ 331391 h 4760516"/>
                  <a:gd name="connsiteX29" fmla="*/ 2947103 w 3901192"/>
                  <a:gd name="connsiteY29" fmla="*/ 693341 h 4760516"/>
                  <a:gd name="connsiteX30" fmla="*/ 3061403 w 3901192"/>
                  <a:gd name="connsiteY30" fmla="*/ 883841 h 4760516"/>
                  <a:gd name="connsiteX31" fmla="*/ 3010603 w 3901192"/>
                  <a:gd name="connsiteY31" fmla="*/ 1004491 h 4760516"/>
                  <a:gd name="connsiteX32" fmla="*/ 2902653 w 3901192"/>
                  <a:gd name="connsiteY32" fmla="*/ 1061641 h 4760516"/>
                  <a:gd name="connsiteX33" fmla="*/ 2826453 w 3901192"/>
                  <a:gd name="connsiteY33" fmla="*/ 998141 h 4760516"/>
                  <a:gd name="connsiteX34" fmla="*/ 2655003 w 3901192"/>
                  <a:gd name="connsiteY34" fmla="*/ 820341 h 4760516"/>
                  <a:gd name="connsiteX35" fmla="*/ 2350203 w 3901192"/>
                  <a:gd name="connsiteY35" fmla="*/ 674291 h 4760516"/>
                  <a:gd name="connsiteX36" fmla="*/ 2020003 w 3901192"/>
                  <a:gd name="connsiteY36" fmla="*/ 674291 h 4760516"/>
                  <a:gd name="connsiteX37" fmla="*/ 2343853 w 3901192"/>
                  <a:gd name="connsiteY37" fmla="*/ 769541 h 4760516"/>
                  <a:gd name="connsiteX38" fmla="*/ 2553403 w 3901192"/>
                  <a:gd name="connsiteY38" fmla="*/ 909241 h 4760516"/>
                  <a:gd name="connsiteX39" fmla="*/ 2629744 w 3901192"/>
                  <a:gd name="connsiteY39" fmla="*/ 973620 h 4760516"/>
                  <a:gd name="connsiteX40" fmla="*/ 2900916 w 3901192"/>
                  <a:gd name="connsiteY40" fmla="*/ 1067700 h 4760516"/>
                  <a:gd name="connsiteX41" fmla="*/ 2830249 w 3901192"/>
                  <a:gd name="connsiteY41" fmla="*/ 1212445 h 4760516"/>
                  <a:gd name="connsiteX42" fmla="*/ 2830249 w 3901192"/>
                  <a:gd name="connsiteY42" fmla="*/ 1445256 h 4760516"/>
                  <a:gd name="connsiteX43" fmla="*/ 2939160 w 3901192"/>
                  <a:gd name="connsiteY43" fmla="*/ 1531580 h 4760516"/>
                  <a:gd name="connsiteX44" fmla="*/ 2823146 w 3901192"/>
                  <a:gd name="connsiteY44" fmla="*/ 2041674 h 4760516"/>
                  <a:gd name="connsiteX45" fmla="*/ 2756852 w 3901192"/>
                  <a:gd name="connsiteY45" fmla="*/ 2086142 h 4760516"/>
                  <a:gd name="connsiteX46" fmla="*/ 2480251 w 3901192"/>
                  <a:gd name="connsiteY46" fmla="*/ 2698176 h 4760516"/>
                  <a:gd name="connsiteX47" fmla="*/ 2529592 w 3901192"/>
                  <a:gd name="connsiteY47" fmla="*/ 2817416 h 4760516"/>
                  <a:gd name="connsiteX48" fmla="*/ 2591504 w 3901192"/>
                  <a:gd name="connsiteY48" fmla="*/ 2874566 h 4760516"/>
                  <a:gd name="connsiteX49" fmla="*/ 2658179 w 3901192"/>
                  <a:gd name="connsiteY49" fmla="*/ 2884091 h 4760516"/>
                  <a:gd name="connsiteX50" fmla="*/ 2681992 w 3901192"/>
                  <a:gd name="connsiteY50" fmla="*/ 2912666 h 4760516"/>
                  <a:gd name="connsiteX51" fmla="*/ 2748667 w 3901192"/>
                  <a:gd name="connsiteY51" fmla="*/ 3079354 h 4760516"/>
                  <a:gd name="connsiteX52" fmla="*/ 2843917 w 3901192"/>
                  <a:gd name="connsiteY52" fmla="*/ 3174604 h 4760516"/>
                  <a:gd name="connsiteX53" fmla="*/ 2939167 w 3901192"/>
                  <a:gd name="connsiteY53" fmla="*/ 3207941 h 4760516"/>
                  <a:gd name="connsiteX54" fmla="*/ 3282067 w 3901192"/>
                  <a:gd name="connsiteY54" fmla="*/ 3317479 h 4760516"/>
                  <a:gd name="connsiteX55" fmla="*/ 3658304 w 3901192"/>
                  <a:gd name="connsiteY55" fmla="*/ 3493691 h 4760516"/>
                  <a:gd name="connsiteX56" fmla="*/ 3867854 w 3901192"/>
                  <a:gd name="connsiteY56" fmla="*/ 3641329 h 4760516"/>
                  <a:gd name="connsiteX57" fmla="*/ 3901192 w 3901192"/>
                  <a:gd name="connsiteY57" fmla="*/ 3769916 h 4760516"/>
                  <a:gd name="connsiteX58" fmla="*/ 3877379 w 3901192"/>
                  <a:gd name="connsiteY58" fmla="*/ 4027091 h 4760516"/>
                  <a:gd name="connsiteX59" fmla="*/ 3791654 w 3901192"/>
                  <a:gd name="connsiteY59" fmla="*/ 4236641 h 4760516"/>
                  <a:gd name="connsiteX60" fmla="*/ 3620204 w 3901192"/>
                  <a:gd name="connsiteY60" fmla="*/ 4598591 h 4760516"/>
                  <a:gd name="connsiteX61" fmla="*/ 3472567 w 3901192"/>
                  <a:gd name="connsiteY61" fmla="*/ 4760516 h 4760516"/>
                  <a:gd name="connsiteX62" fmla="*/ 338842 w 3901192"/>
                  <a:gd name="connsiteY62" fmla="*/ 4760516 h 4760516"/>
                  <a:gd name="connsiteX63" fmla="*/ 162629 w 3901192"/>
                  <a:gd name="connsiteY63" fmla="*/ 4436666 h 4760516"/>
                  <a:gd name="connsiteX64" fmla="*/ 57854 w 3901192"/>
                  <a:gd name="connsiteY64" fmla="*/ 4141391 h 4760516"/>
                  <a:gd name="connsiteX65" fmla="*/ 704 w 3901192"/>
                  <a:gd name="connsiteY65" fmla="*/ 3855641 h 4760516"/>
                  <a:gd name="connsiteX66" fmla="*/ 24517 w 3901192"/>
                  <a:gd name="connsiteY66" fmla="*/ 3703241 h 4760516"/>
                  <a:gd name="connsiteX67" fmla="*/ 219779 w 3901192"/>
                  <a:gd name="connsiteY67" fmla="*/ 3584179 h 4760516"/>
                  <a:gd name="connsiteX68" fmla="*/ 534104 w 3901192"/>
                  <a:gd name="connsiteY68" fmla="*/ 3450829 h 4760516"/>
                  <a:gd name="connsiteX69" fmla="*/ 934154 w 3901192"/>
                  <a:gd name="connsiteY69" fmla="*/ 3293666 h 4760516"/>
                  <a:gd name="connsiteX70" fmla="*/ 1134179 w 3901192"/>
                  <a:gd name="connsiteY70" fmla="*/ 3217466 h 4760516"/>
                  <a:gd name="connsiteX71" fmla="*/ 1277054 w 3901192"/>
                  <a:gd name="connsiteY71" fmla="*/ 2950766 h 4760516"/>
                  <a:gd name="connsiteX72" fmla="*/ 1372304 w 3901192"/>
                  <a:gd name="connsiteY72" fmla="*/ 2888854 h 4760516"/>
                  <a:gd name="connsiteX73" fmla="*/ 1443742 w 3901192"/>
                  <a:gd name="connsiteY73" fmla="*/ 2750741 h 4760516"/>
                  <a:gd name="connsiteX74" fmla="*/ 1429454 w 3901192"/>
                  <a:gd name="connsiteY74" fmla="*/ 2665016 h 4760516"/>
                  <a:gd name="connsiteX75" fmla="*/ 1433043 w 3901192"/>
                  <a:gd name="connsiteY75" fmla="*/ 2655556 h 4760516"/>
                  <a:gd name="connsiteX76" fmla="*/ 1412036 w 3901192"/>
                  <a:gd name="connsiteY76" fmla="*/ 2630242 h 4760516"/>
                  <a:gd name="connsiteX77" fmla="*/ 1170537 w 3901192"/>
                  <a:gd name="connsiteY77" fmla="*/ 2059985 h 4760516"/>
                  <a:gd name="connsiteX78" fmla="*/ 976392 w 3901192"/>
                  <a:gd name="connsiteY78" fmla="*/ 1612672 h 4760516"/>
                  <a:gd name="connsiteX79" fmla="*/ 1052155 w 3901192"/>
                  <a:gd name="connsiteY79" fmla="*/ 1487109 h 4760516"/>
                  <a:gd name="connsiteX80" fmla="*/ 1017551 w 3901192"/>
                  <a:gd name="connsiteY80" fmla="*/ 1277790 h 4760516"/>
                  <a:gd name="connsiteX81" fmla="*/ 934153 w 3901192"/>
                  <a:gd name="connsiteY81" fmla="*/ 1341041 h 4760516"/>
                  <a:gd name="connsiteX82" fmla="*/ 883353 w 3901192"/>
                  <a:gd name="connsiteY82" fmla="*/ 1404541 h 4760516"/>
                  <a:gd name="connsiteX83" fmla="*/ 838903 w 3901192"/>
                  <a:gd name="connsiteY83" fmla="*/ 1525191 h 4760516"/>
                  <a:gd name="connsiteX84" fmla="*/ 857953 w 3901192"/>
                  <a:gd name="connsiteY84" fmla="*/ 1645841 h 4760516"/>
                  <a:gd name="connsiteX85" fmla="*/ 889703 w 3901192"/>
                  <a:gd name="connsiteY85" fmla="*/ 1829991 h 4760516"/>
                  <a:gd name="connsiteX86" fmla="*/ 965903 w 3901192"/>
                  <a:gd name="connsiteY86" fmla="*/ 2128441 h 4760516"/>
                  <a:gd name="connsiteX87" fmla="*/ 1048453 w 3901192"/>
                  <a:gd name="connsiteY87" fmla="*/ 2198291 h 4760516"/>
                  <a:gd name="connsiteX88" fmla="*/ 1099253 w 3901192"/>
                  <a:gd name="connsiteY88" fmla="*/ 2331641 h 4760516"/>
                  <a:gd name="connsiteX89" fmla="*/ 1219903 w 3901192"/>
                  <a:gd name="connsiteY89" fmla="*/ 2566591 h 4760516"/>
                  <a:gd name="connsiteX90" fmla="*/ 1270703 w 3901192"/>
                  <a:gd name="connsiteY90" fmla="*/ 2712641 h 4760516"/>
                  <a:gd name="connsiteX91" fmla="*/ 1131003 w 3901192"/>
                  <a:gd name="connsiteY91" fmla="*/ 2750741 h 4760516"/>
                  <a:gd name="connsiteX92" fmla="*/ 927803 w 3901192"/>
                  <a:gd name="connsiteY92" fmla="*/ 2776141 h 4760516"/>
                  <a:gd name="connsiteX93" fmla="*/ 743653 w 3901192"/>
                  <a:gd name="connsiteY93" fmla="*/ 2731691 h 4760516"/>
                  <a:gd name="connsiteX94" fmla="*/ 661103 w 3901192"/>
                  <a:gd name="connsiteY94" fmla="*/ 2591991 h 4760516"/>
                  <a:gd name="connsiteX95" fmla="*/ 623003 w 3901192"/>
                  <a:gd name="connsiteY95" fmla="*/ 2344341 h 4760516"/>
                  <a:gd name="connsiteX96" fmla="*/ 635703 w 3901192"/>
                  <a:gd name="connsiteY96" fmla="*/ 2020491 h 4760516"/>
                  <a:gd name="connsiteX97" fmla="*/ 737303 w 3901192"/>
                  <a:gd name="connsiteY97" fmla="*/ 1328341 h 4760516"/>
                  <a:gd name="connsiteX98" fmla="*/ 972253 w 3901192"/>
                  <a:gd name="connsiteY98" fmla="*/ 623491 h 4760516"/>
                  <a:gd name="connsiteX99" fmla="*/ 1169103 w 3901192"/>
                  <a:gd name="connsiteY99" fmla="*/ 299641 h 4760516"/>
                  <a:gd name="connsiteX100" fmla="*/ 1359603 w 3901192"/>
                  <a:gd name="connsiteY100" fmla="*/ 140891 h 4760516"/>
                  <a:gd name="connsiteX101" fmla="*/ 1531053 w 3901192"/>
                  <a:gd name="connsiteY101" fmla="*/ 115491 h 4760516"/>
                  <a:gd name="connsiteX102" fmla="*/ 1677103 w 3901192"/>
                  <a:gd name="connsiteY102" fmla="*/ 13891 h 4760516"/>
                  <a:gd name="connsiteX103" fmla="*/ 1814025 w 3901192"/>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2384"/>
                  <a:gd name="connsiteY0" fmla="*/ 1005769 h 4760516"/>
                  <a:gd name="connsiteX1" fmla="*/ 3082677 w 3902384"/>
                  <a:gd name="connsiteY1" fmla="*/ 1026716 h 4760516"/>
                  <a:gd name="connsiteX2" fmla="*/ 3168402 w 3902384"/>
                  <a:gd name="connsiteY2" fmla="*/ 1369616 h 4760516"/>
                  <a:gd name="connsiteX3" fmla="*/ 3254127 w 3902384"/>
                  <a:gd name="connsiteY3" fmla="*/ 1822054 h 4760516"/>
                  <a:gd name="connsiteX4" fmla="*/ 3282702 w 3902384"/>
                  <a:gd name="connsiteY4" fmla="*/ 2255441 h 4760516"/>
                  <a:gd name="connsiteX5" fmla="*/ 3273177 w 3902384"/>
                  <a:gd name="connsiteY5" fmla="*/ 2526904 h 4760516"/>
                  <a:gd name="connsiteX6" fmla="*/ 3192214 w 3902384"/>
                  <a:gd name="connsiteY6" fmla="*/ 2722166 h 4760516"/>
                  <a:gd name="connsiteX7" fmla="*/ 3044577 w 3902384"/>
                  <a:gd name="connsiteY7" fmla="*/ 2750741 h 4760516"/>
                  <a:gd name="connsiteX8" fmla="*/ 2811214 w 3902384"/>
                  <a:gd name="connsiteY8" fmla="*/ 2731691 h 4760516"/>
                  <a:gd name="connsiteX9" fmla="*/ 2635002 w 3902384"/>
                  <a:gd name="connsiteY9" fmla="*/ 2669779 h 4760516"/>
                  <a:gd name="connsiteX10" fmla="*/ 2658814 w 3902384"/>
                  <a:gd name="connsiteY10" fmla="*/ 2603104 h 4760516"/>
                  <a:gd name="connsiteX11" fmla="*/ 2754064 w 3902384"/>
                  <a:gd name="connsiteY11" fmla="*/ 2474516 h 4760516"/>
                  <a:gd name="connsiteX12" fmla="*/ 2844552 w 3902384"/>
                  <a:gd name="connsiteY12" fmla="*/ 2255441 h 4760516"/>
                  <a:gd name="connsiteX13" fmla="*/ 2863602 w 3902384"/>
                  <a:gd name="connsiteY13" fmla="*/ 2160191 h 4760516"/>
                  <a:gd name="connsiteX14" fmla="*/ 2920752 w 3902384"/>
                  <a:gd name="connsiteY14" fmla="*/ 2098279 h 4760516"/>
                  <a:gd name="connsiteX15" fmla="*/ 3001714 w 3902384"/>
                  <a:gd name="connsiteY15" fmla="*/ 1855391 h 4760516"/>
                  <a:gd name="connsiteX16" fmla="*/ 3058864 w 3902384"/>
                  <a:gd name="connsiteY16" fmla="*/ 1598216 h 4760516"/>
                  <a:gd name="connsiteX17" fmla="*/ 3063627 w 3902384"/>
                  <a:gd name="connsiteY17" fmla="*/ 1483916 h 4760516"/>
                  <a:gd name="connsiteX18" fmla="*/ 3011239 w 3902384"/>
                  <a:gd name="connsiteY18" fmla="*/ 1379141 h 4760516"/>
                  <a:gd name="connsiteX19" fmla="*/ 2958852 w 3902384"/>
                  <a:gd name="connsiteY19" fmla="*/ 1331516 h 4760516"/>
                  <a:gd name="connsiteX20" fmla="*/ 2949327 w 3902384"/>
                  <a:gd name="connsiteY20" fmla="*/ 1236266 h 4760516"/>
                  <a:gd name="connsiteX21" fmla="*/ 2958852 w 3902384"/>
                  <a:gd name="connsiteY21" fmla="*/ 1121966 h 4760516"/>
                  <a:gd name="connsiteX22" fmla="*/ 3006477 w 3902384"/>
                  <a:gd name="connsiteY22" fmla="*/ 1050529 h 4760516"/>
                  <a:gd name="connsiteX23" fmla="*/ 3062288 w 3902384"/>
                  <a:gd name="connsiteY23" fmla="*/ 1005769 h 4760516"/>
                  <a:gd name="connsiteX24" fmla="*/ 1814660 w 3902384"/>
                  <a:gd name="connsiteY24" fmla="*/ 0 h 4760516"/>
                  <a:gd name="connsiteX25" fmla="*/ 1957138 w 3902384"/>
                  <a:gd name="connsiteY25" fmla="*/ 1191 h 4760516"/>
                  <a:gd name="connsiteX26" fmla="*/ 2153988 w 3902384"/>
                  <a:gd name="connsiteY26" fmla="*/ 20241 h 4760516"/>
                  <a:gd name="connsiteX27" fmla="*/ 2382588 w 3902384"/>
                  <a:gd name="connsiteY27" fmla="*/ 121841 h 4760516"/>
                  <a:gd name="connsiteX28" fmla="*/ 2642938 w 3902384"/>
                  <a:gd name="connsiteY28" fmla="*/ 331391 h 4760516"/>
                  <a:gd name="connsiteX29" fmla="*/ 2947738 w 3902384"/>
                  <a:gd name="connsiteY29" fmla="*/ 693341 h 4760516"/>
                  <a:gd name="connsiteX30" fmla="*/ 3062038 w 3902384"/>
                  <a:gd name="connsiteY30" fmla="*/ 883841 h 4760516"/>
                  <a:gd name="connsiteX31" fmla="*/ 3011238 w 3902384"/>
                  <a:gd name="connsiteY31" fmla="*/ 1004491 h 4760516"/>
                  <a:gd name="connsiteX32" fmla="*/ 2903288 w 3902384"/>
                  <a:gd name="connsiteY32" fmla="*/ 1061641 h 4760516"/>
                  <a:gd name="connsiteX33" fmla="*/ 2827088 w 3902384"/>
                  <a:gd name="connsiteY33" fmla="*/ 998141 h 4760516"/>
                  <a:gd name="connsiteX34" fmla="*/ 2655638 w 3902384"/>
                  <a:gd name="connsiteY34" fmla="*/ 820341 h 4760516"/>
                  <a:gd name="connsiteX35" fmla="*/ 2350838 w 3902384"/>
                  <a:gd name="connsiteY35" fmla="*/ 674291 h 4760516"/>
                  <a:gd name="connsiteX36" fmla="*/ 2020638 w 3902384"/>
                  <a:gd name="connsiteY36" fmla="*/ 674291 h 4760516"/>
                  <a:gd name="connsiteX37" fmla="*/ 2344488 w 3902384"/>
                  <a:gd name="connsiteY37" fmla="*/ 769541 h 4760516"/>
                  <a:gd name="connsiteX38" fmla="*/ 2554038 w 3902384"/>
                  <a:gd name="connsiteY38" fmla="*/ 909241 h 4760516"/>
                  <a:gd name="connsiteX39" fmla="*/ 2630379 w 3902384"/>
                  <a:gd name="connsiteY39" fmla="*/ 973620 h 4760516"/>
                  <a:gd name="connsiteX40" fmla="*/ 2901551 w 3902384"/>
                  <a:gd name="connsiteY40" fmla="*/ 1067700 h 4760516"/>
                  <a:gd name="connsiteX41" fmla="*/ 2830884 w 3902384"/>
                  <a:gd name="connsiteY41" fmla="*/ 1212445 h 4760516"/>
                  <a:gd name="connsiteX42" fmla="*/ 2830884 w 3902384"/>
                  <a:gd name="connsiteY42" fmla="*/ 1445256 h 4760516"/>
                  <a:gd name="connsiteX43" fmla="*/ 2939795 w 3902384"/>
                  <a:gd name="connsiteY43" fmla="*/ 1531580 h 4760516"/>
                  <a:gd name="connsiteX44" fmla="*/ 2823781 w 3902384"/>
                  <a:gd name="connsiteY44" fmla="*/ 2041674 h 4760516"/>
                  <a:gd name="connsiteX45" fmla="*/ 2757487 w 3902384"/>
                  <a:gd name="connsiteY45" fmla="*/ 2086142 h 4760516"/>
                  <a:gd name="connsiteX46" fmla="*/ 2480886 w 3902384"/>
                  <a:gd name="connsiteY46" fmla="*/ 2698176 h 4760516"/>
                  <a:gd name="connsiteX47" fmla="*/ 2530227 w 3902384"/>
                  <a:gd name="connsiteY47" fmla="*/ 2817416 h 4760516"/>
                  <a:gd name="connsiteX48" fmla="*/ 2592139 w 3902384"/>
                  <a:gd name="connsiteY48" fmla="*/ 2874566 h 4760516"/>
                  <a:gd name="connsiteX49" fmla="*/ 2658814 w 3902384"/>
                  <a:gd name="connsiteY49" fmla="*/ 2884091 h 4760516"/>
                  <a:gd name="connsiteX50" fmla="*/ 2682627 w 3902384"/>
                  <a:gd name="connsiteY50" fmla="*/ 2912666 h 4760516"/>
                  <a:gd name="connsiteX51" fmla="*/ 2749302 w 3902384"/>
                  <a:gd name="connsiteY51" fmla="*/ 3079354 h 4760516"/>
                  <a:gd name="connsiteX52" fmla="*/ 2844552 w 3902384"/>
                  <a:gd name="connsiteY52" fmla="*/ 3174604 h 4760516"/>
                  <a:gd name="connsiteX53" fmla="*/ 2939802 w 3902384"/>
                  <a:gd name="connsiteY53" fmla="*/ 3207941 h 4760516"/>
                  <a:gd name="connsiteX54" fmla="*/ 3282702 w 3902384"/>
                  <a:gd name="connsiteY54" fmla="*/ 3317479 h 4760516"/>
                  <a:gd name="connsiteX55" fmla="*/ 3658939 w 3902384"/>
                  <a:gd name="connsiteY55" fmla="*/ 3493691 h 4760516"/>
                  <a:gd name="connsiteX56" fmla="*/ 3868489 w 3902384"/>
                  <a:gd name="connsiteY56" fmla="*/ 3641329 h 4760516"/>
                  <a:gd name="connsiteX57" fmla="*/ 3901827 w 3902384"/>
                  <a:gd name="connsiteY57" fmla="*/ 3769916 h 4760516"/>
                  <a:gd name="connsiteX58" fmla="*/ 3878014 w 3902384"/>
                  <a:gd name="connsiteY58" fmla="*/ 4027091 h 4760516"/>
                  <a:gd name="connsiteX59" fmla="*/ 3792289 w 3902384"/>
                  <a:gd name="connsiteY59" fmla="*/ 4236641 h 4760516"/>
                  <a:gd name="connsiteX60" fmla="*/ 3620839 w 3902384"/>
                  <a:gd name="connsiteY60" fmla="*/ 4598591 h 4760516"/>
                  <a:gd name="connsiteX61" fmla="*/ 3473202 w 3902384"/>
                  <a:gd name="connsiteY61" fmla="*/ 4760516 h 4760516"/>
                  <a:gd name="connsiteX62" fmla="*/ 339477 w 3902384"/>
                  <a:gd name="connsiteY62" fmla="*/ 4760516 h 4760516"/>
                  <a:gd name="connsiteX63" fmla="*/ 163264 w 3902384"/>
                  <a:gd name="connsiteY63" fmla="*/ 4436666 h 4760516"/>
                  <a:gd name="connsiteX64" fmla="*/ 58489 w 3902384"/>
                  <a:gd name="connsiteY64" fmla="*/ 4141391 h 4760516"/>
                  <a:gd name="connsiteX65" fmla="*/ 1339 w 3902384"/>
                  <a:gd name="connsiteY65" fmla="*/ 3855641 h 4760516"/>
                  <a:gd name="connsiteX66" fmla="*/ 25152 w 3902384"/>
                  <a:gd name="connsiteY66" fmla="*/ 3703241 h 4760516"/>
                  <a:gd name="connsiteX67" fmla="*/ 220414 w 3902384"/>
                  <a:gd name="connsiteY67" fmla="*/ 3584179 h 4760516"/>
                  <a:gd name="connsiteX68" fmla="*/ 534739 w 3902384"/>
                  <a:gd name="connsiteY68" fmla="*/ 3450829 h 4760516"/>
                  <a:gd name="connsiteX69" fmla="*/ 934789 w 3902384"/>
                  <a:gd name="connsiteY69" fmla="*/ 3293666 h 4760516"/>
                  <a:gd name="connsiteX70" fmla="*/ 1134814 w 3902384"/>
                  <a:gd name="connsiteY70" fmla="*/ 3217466 h 4760516"/>
                  <a:gd name="connsiteX71" fmla="*/ 1277689 w 3902384"/>
                  <a:gd name="connsiteY71" fmla="*/ 2950766 h 4760516"/>
                  <a:gd name="connsiteX72" fmla="*/ 1372939 w 3902384"/>
                  <a:gd name="connsiteY72" fmla="*/ 2888854 h 4760516"/>
                  <a:gd name="connsiteX73" fmla="*/ 1444377 w 3902384"/>
                  <a:gd name="connsiteY73" fmla="*/ 2750741 h 4760516"/>
                  <a:gd name="connsiteX74" fmla="*/ 1430089 w 3902384"/>
                  <a:gd name="connsiteY74" fmla="*/ 2665016 h 4760516"/>
                  <a:gd name="connsiteX75" fmla="*/ 1433678 w 3902384"/>
                  <a:gd name="connsiteY75" fmla="*/ 2655556 h 4760516"/>
                  <a:gd name="connsiteX76" fmla="*/ 1412671 w 3902384"/>
                  <a:gd name="connsiteY76" fmla="*/ 2630242 h 4760516"/>
                  <a:gd name="connsiteX77" fmla="*/ 1171172 w 3902384"/>
                  <a:gd name="connsiteY77" fmla="*/ 2059985 h 4760516"/>
                  <a:gd name="connsiteX78" fmla="*/ 977027 w 3902384"/>
                  <a:gd name="connsiteY78" fmla="*/ 1612672 h 4760516"/>
                  <a:gd name="connsiteX79" fmla="*/ 1052790 w 3902384"/>
                  <a:gd name="connsiteY79" fmla="*/ 1487109 h 4760516"/>
                  <a:gd name="connsiteX80" fmla="*/ 1018186 w 3902384"/>
                  <a:gd name="connsiteY80" fmla="*/ 1277790 h 4760516"/>
                  <a:gd name="connsiteX81" fmla="*/ 934788 w 3902384"/>
                  <a:gd name="connsiteY81" fmla="*/ 1341041 h 4760516"/>
                  <a:gd name="connsiteX82" fmla="*/ 883988 w 3902384"/>
                  <a:gd name="connsiteY82" fmla="*/ 1404541 h 4760516"/>
                  <a:gd name="connsiteX83" fmla="*/ 839538 w 3902384"/>
                  <a:gd name="connsiteY83" fmla="*/ 1525191 h 4760516"/>
                  <a:gd name="connsiteX84" fmla="*/ 858588 w 3902384"/>
                  <a:gd name="connsiteY84" fmla="*/ 1645841 h 4760516"/>
                  <a:gd name="connsiteX85" fmla="*/ 890338 w 3902384"/>
                  <a:gd name="connsiteY85" fmla="*/ 1829991 h 4760516"/>
                  <a:gd name="connsiteX86" fmla="*/ 966538 w 3902384"/>
                  <a:gd name="connsiteY86" fmla="*/ 2128441 h 4760516"/>
                  <a:gd name="connsiteX87" fmla="*/ 1049088 w 3902384"/>
                  <a:gd name="connsiteY87" fmla="*/ 2198291 h 4760516"/>
                  <a:gd name="connsiteX88" fmla="*/ 1099888 w 3902384"/>
                  <a:gd name="connsiteY88" fmla="*/ 2331641 h 4760516"/>
                  <a:gd name="connsiteX89" fmla="*/ 1220538 w 3902384"/>
                  <a:gd name="connsiteY89" fmla="*/ 2566591 h 4760516"/>
                  <a:gd name="connsiteX90" fmla="*/ 1271338 w 3902384"/>
                  <a:gd name="connsiteY90" fmla="*/ 2712641 h 4760516"/>
                  <a:gd name="connsiteX91" fmla="*/ 1131638 w 3902384"/>
                  <a:gd name="connsiteY91" fmla="*/ 2750741 h 4760516"/>
                  <a:gd name="connsiteX92" fmla="*/ 928438 w 3902384"/>
                  <a:gd name="connsiteY92" fmla="*/ 2776141 h 4760516"/>
                  <a:gd name="connsiteX93" fmla="*/ 744288 w 3902384"/>
                  <a:gd name="connsiteY93" fmla="*/ 2731691 h 4760516"/>
                  <a:gd name="connsiteX94" fmla="*/ 661738 w 3902384"/>
                  <a:gd name="connsiteY94" fmla="*/ 2591991 h 4760516"/>
                  <a:gd name="connsiteX95" fmla="*/ 623638 w 3902384"/>
                  <a:gd name="connsiteY95" fmla="*/ 2344341 h 4760516"/>
                  <a:gd name="connsiteX96" fmla="*/ 636338 w 3902384"/>
                  <a:gd name="connsiteY96" fmla="*/ 2020491 h 4760516"/>
                  <a:gd name="connsiteX97" fmla="*/ 737938 w 3902384"/>
                  <a:gd name="connsiteY97" fmla="*/ 1328341 h 4760516"/>
                  <a:gd name="connsiteX98" fmla="*/ 972888 w 3902384"/>
                  <a:gd name="connsiteY98" fmla="*/ 623491 h 4760516"/>
                  <a:gd name="connsiteX99" fmla="*/ 1169738 w 3902384"/>
                  <a:gd name="connsiteY99" fmla="*/ 299641 h 4760516"/>
                  <a:gd name="connsiteX100" fmla="*/ 1360238 w 3902384"/>
                  <a:gd name="connsiteY100" fmla="*/ 140891 h 4760516"/>
                  <a:gd name="connsiteX101" fmla="*/ 1531688 w 3902384"/>
                  <a:gd name="connsiteY101" fmla="*/ 115491 h 4760516"/>
                  <a:gd name="connsiteX102" fmla="*/ 1677738 w 3902384"/>
                  <a:gd name="connsiteY102" fmla="*/ 13891 h 4760516"/>
                  <a:gd name="connsiteX103" fmla="*/ 1814660 w 3902384"/>
                  <a:gd name="connsiteY103" fmla="*/ 0 h 4760516"/>
                  <a:gd name="connsiteX0" fmla="*/ 3062288 w 3903424"/>
                  <a:gd name="connsiteY0" fmla="*/ 1005769 h 4760516"/>
                  <a:gd name="connsiteX1" fmla="*/ 3082677 w 3903424"/>
                  <a:gd name="connsiteY1" fmla="*/ 1026716 h 4760516"/>
                  <a:gd name="connsiteX2" fmla="*/ 3168402 w 3903424"/>
                  <a:gd name="connsiteY2" fmla="*/ 1369616 h 4760516"/>
                  <a:gd name="connsiteX3" fmla="*/ 3254127 w 3903424"/>
                  <a:gd name="connsiteY3" fmla="*/ 1822054 h 4760516"/>
                  <a:gd name="connsiteX4" fmla="*/ 3282702 w 3903424"/>
                  <a:gd name="connsiteY4" fmla="*/ 2255441 h 4760516"/>
                  <a:gd name="connsiteX5" fmla="*/ 3273177 w 3903424"/>
                  <a:gd name="connsiteY5" fmla="*/ 2526904 h 4760516"/>
                  <a:gd name="connsiteX6" fmla="*/ 3192214 w 3903424"/>
                  <a:gd name="connsiteY6" fmla="*/ 2722166 h 4760516"/>
                  <a:gd name="connsiteX7" fmla="*/ 3044577 w 3903424"/>
                  <a:gd name="connsiteY7" fmla="*/ 2750741 h 4760516"/>
                  <a:gd name="connsiteX8" fmla="*/ 2811214 w 3903424"/>
                  <a:gd name="connsiteY8" fmla="*/ 2731691 h 4760516"/>
                  <a:gd name="connsiteX9" fmla="*/ 2635002 w 3903424"/>
                  <a:gd name="connsiteY9" fmla="*/ 2669779 h 4760516"/>
                  <a:gd name="connsiteX10" fmla="*/ 2658814 w 3903424"/>
                  <a:gd name="connsiteY10" fmla="*/ 2603104 h 4760516"/>
                  <a:gd name="connsiteX11" fmla="*/ 2754064 w 3903424"/>
                  <a:gd name="connsiteY11" fmla="*/ 2474516 h 4760516"/>
                  <a:gd name="connsiteX12" fmla="*/ 2844552 w 3903424"/>
                  <a:gd name="connsiteY12" fmla="*/ 2255441 h 4760516"/>
                  <a:gd name="connsiteX13" fmla="*/ 2863602 w 3903424"/>
                  <a:gd name="connsiteY13" fmla="*/ 2160191 h 4760516"/>
                  <a:gd name="connsiteX14" fmla="*/ 2920752 w 3903424"/>
                  <a:gd name="connsiteY14" fmla="*/ 2098279 h 4760516"/>
                  <a:gd name="connsiteX15" fmla="*/ 3001714 w 3903424"/>
                  <a:gd name="connsiteY15" fmla="*/ 1855391 h 4760516"/>
                  <a:gd name="connsiteX16" fmla="*/ 3058864 w 3903424"/>
                  <a:gd name="connsiteY16" fmla="*/ 1598216 h 4760516"/>
                  <a:gd name="connsiteX17" fmla="*/ 3063627 w 3903424"/>
                  <a:gd name="connsiteY17" fmla="*/ 1483916 h 4760516"/>
                  <a:gd name="connsiteX18" fmla="*/ 3011239 w 3903424"/>
                  <a:gd name="connsiteY18" fmla="*/ 1379141 h 4760516"/>
                  <a:gd name="connsiteX19" fmla="*/ 2958852 w 3903424"/>
                  <a:gd name="connsiteY19" fmla="*/ 1331516 h 4760516"/>
                  <a:gd name="connsiteX20" fmla="*/ 2949327 w 3903424"/>
                  <a:gd name="connsiteY20" fmla="*/ 1236266 h 4760516"/>
                  <a:gd name="connsiteX21" fmla="*/ 2958852 w 3903424"/>
                  <a:gd name="connsiteY21" fmla="*/ 1121966 h 4760516"/>
                  <a:gd name="connsiteX22" fmla="*/ 3006477 w 3903424"/>
                  <a:gd name="connsiteY22" fmla="*/ 1050529 h 4760516"/>
                  <a:gd name="connsiteX23" fmla="*/ 3062288 w 3903424"/>
                  <a:gd name="connsiteY23" fmla="*/ 1005769 h 4760516"/>
                  <a:gd name="connsiteX24" fmla="*/ 1814660 w 3903424"/>
                  <a:gd name="connsiteY24" fmla="*/ 0 h 4760516"/>
                  <a:gd name="connsiteX25" fmla="*/ 1957138 w 3903424"/>
                  <a:gd name="connsiteY25" fmla="*/ 1191 h 4760516"/>
                  <a:gd name="connsiteX26" fmla="*/ 2153988 w 3903424"/>
                  <a:gd name="connsiteY26" fmla="*/ 20241 h 4760516"/>
                  <a:gd name="connsiteX27" fmla="*/ 2382588 w 3903424"/>
                  <a:gd name="connsiteY27" fmla="*/ 121841 h 4760516"/>
                  <a:gd name="connsiteX28" fmla="*/ 2642938 w 3903424"/>
                  <a:gd name="connsiteY28" fmla="*/ 331391 h 4760516"/>
                  <a:gd name="connsiteX29" fmla="*/ 2947738 w 3903424"/>
                  <a:gd name="connsiteY29" fmla="*/ 693341 h 4760516"/>
                  <a:gd name="connsiteX30" fmla="*/ 3062038 w 3903424"/>
                  <a:gd name="connsiteY30" fmla="*/ 883841 h 4760516"/>
                  <a:gd name="connsiteX31" fmla="*/ 3011238 w 3903424"/>
                  <a:gd name="connsiteY31" fmla="*/ 1004491 h 4760516"/>
                  <a:gd name="connsiteX32" fmla="*/ 2903288 w 3903424"/>
                  <a:gd name="connsiteY32" fmla="*/ 1061641 h 4760516"/>
                  <a:gd name="connsiteX33" fmla="*/ 2827088 w 3903424"/>
                  <a:gd name="connsiteY33" fmla="*/ 998141 h 4760516"/>
                  <a:gd name="connsiteX34" fmla="*/ 2655638 w 3903424"/>
                  <a:gd name="connsiteY34" fmla="*/ 820341 h 4760516"/>
                  <a:gd name="connsiteX35" fmla="*/ 2350838 w 3903424"/>
                  <a:gd name="connsiteY35" fmla="*/ 674291 h 4760516"/>
                  <a:gd name="connsiteX36" fmla="*/ 2020638 w 3903424"/>
                  <a:gd name="connsiteY36" fmla="*/ 674291 h 4760516"/>
                  <a:gd name="connsiteX37" fmla="*/ 2344488 w 3903424"/>
                  <a:gd name="connsiteY37" fmla="*/ 769541 h 4760516"/>
                  <a:gd name="connsiteX38" fmla="*/ 2554038 w 3903424"/>
                  <a:gd name="connsiteY38" fmla="*/ 909241 h 4760516"/>
                  <a:gd name="connsiteX39" fmla="*/ 2630379 w 3903424"/>
                  <a:gd name="connsiteY39" fmla="*/ 973620 h 4760516"/>
                  <a:gd name="connsiteX40" fmla="*/ 2901551 w 3903424"/>
                  <a:gd name="connsiteY40" fmla="*/ 1067700 h 4760516"/>
                  <a:gd name="connsiteX41" fmla="*/ 2830884 w 3903424"/>
                  <a:gd name="connsiteY41" fmla="*/ 1212445 h 4760516"/>
                  <a:gd name="connsiteX42" fmla="*/ 2830884 w 3903424"/>
                  <a:gd name="connsiteY42" fmla="*/ 1445256 h 4760516"/>
                  <a:gd name="connsiteX43" fmla="*/ 2939795 w 3903424"/>
                  <a:gd name="connsiteY43" fmla="*/ 1531580 h 4760516"/>
                  <a:gd name="connsiteX44" fmla="*/ 2823781 w 3903424"/>
                  <a:gd name="connsiteY44" fmla="*/ 2041674 h 4760516"/>
                  <a:gd name="connsiteX45" fmla="*/ 2757487 w 3903424"/>
                  <a:gd name="connsiteY45" fmla="*/ 2086142 h 4760516"/>
                  <a:gd name="connsiteX46" fmla="*/ 2480886 w 3903424"/>
                  <a:gd name="connsiteY46" fmla="*/ 2698176 h 4760516"/>
                  <a:gd name="connsiteX47" fmla="*/ 2530227 w 3903424"/>
                  <a:gd name="connsiteY47" fmla="*/ 2817416 h 4760516"/>
                  <a:gd name="connsiteX48" fmla="*/ 2592139 w 3903424"/>
                  <a:gd name="connsiteY48" fmla="*/ 2874566 h 4760516"/>
                  <a:gd name="connsiteX49" fmla="*/ 2658814 w 3903424"/>
                  <a:gd name="connsiteY49" fmla="*/ 2884091 h 4760516"/>
                  <a:gd name="connsiteX50" fmla="*/ 2682627 w 3903424"/>
                  <a:gd name="connsiteY50" fmla="*/ 2912666 h 4760516"/>
                  <a:gd name="connsiteX51" fmla="*/ 2749302 w 3903424"/>
                  <a:gd name="connsiteY51" fmla="*/ 3079354 h 4760516"/>
                  <a:gd name="connsiteX52" fmla="*/ 2844552 w 3903424"/>
                  <a:gd name="connsiteY52" fmla="*/ 3174604 h 4760516"/>
                  <a:gd name="connsiteX53" fmla="*/ 2939802 w 3903424"/>
                  <a:gd name="connsiteY53" fmla="*/ 3207941 h 4760516"/>
                  <a:gd name="connsiteX54" fmla="*/ 3282702 w 3903424"/>
                  <a:gd name="connsiteY54" fmla="*/ 3317479 h 4760516"/>
                  <a:gd name="connsiteX55" fmla="*/ 3658939 w 3903424"/>
                  <a:gd name="connsiteY55" fmla="*/ 3493691 h 4760516"/>
                  <a:gd name="connsiteX56" fmla="*/ 3868489 w 3903424"/>
                  <a:gd name="connsiteY56" fmla="*/ 3641329 h 4760516"/>
                  <a:gd name="connsiteX57" fmla="*/ 3901827 w 3903424"/>
                  <a:gd name="connsiteY57" fmla="*/ 3769916 h 4760516"/>
                  <a:gd name="connsiteX58" fmla="*/ 3878014 w 3903424"/>
                  <a:gd name="connsiteY58" fmla="*/ 4027091 h 4760516"/>
                  <a:gd name="connsiteX59" fmla="*/ 3792289 w 3903424"/>
                  <a:gd name="connsiteY59" fmla="*/ 4236641 h 4760516"/>
                  <a:gd name="connsiteX60" fmla="*/ 3620839 w 3903424"/>
                  <a:gd name="connsiteY60" fmla="*/ 4598591 h 4760516"/>
                  <a:gd name="connsiteX61" fmla="*/ 3473202 w 3903424"/>
                  <a:gd name="connsiteY61" fmla="*/ 4760516 h 4760516"/>
                  <a:gd name="connsiteX62" fmla="*/ 339477 w 3903424"/>
                  <a:gd name="connsiteY62" fmla="*/ 4760516 h 4760516"/>
                  <a:gd name="connsiteX63" fmla="*/ 163264 w 3903424"/>
                  <a:gd name="connsiteY63" fmla="*/ 4436666 h 4760516"/>
                  <a:gd name="connsiteX64" fmla="*/ 58489 w 3903424"/>
                  <a:gd name="connsiteY64" fmla="*/ 4141391 h 4760516"/>
                  <a:gd name="connsiteX65" fmla="*/ 1339 w 3903424"/>
                  <a:gd name="connsiteY65" fmla="*/ 3855641 h 4760516"/>
                  <a:gd name="connsiteX66" fmla="*/ 25152 w 3903424"/>
                  <a:gd name="connsiteY66" fmla="*/ 3703241 h 4760516"/>
                  <a:gd name="connsiteX67" fmla="*/ 220414 w 3903424"/>
                  <a:gd name="connsiteY67" fmla="*/ 3584179 h 4760516"/>
                  <a:gd name="connsiteX68" fmla="*/ 534739 w 3903424"/>
                  <a:gd name="connsiteY68" fmla="*/ 3450829 h 4760516"/>
                  <a:gd name="connsiteX69" fmla="*/ 934789 w 3903424"/>
                  <a:gd name="connsiteY69" fmla="*/ 3293666 h 4760516"/>
                  <a:gd name="connsiteX70" fmla="*/ 1134814 w 3903424"/>
                  <a:gd name="connsiteY70" fmla="*/ 3217466 h 4760516"/>
                  <a:gd name="connsiteX71" fmla="*/ 1277689 w 3903424"/>
                  <a:gd name="connsiteY71" fmla="*/ 2950766 h 4760516"/>
                  <a:gd name="connsiteX72" fmla="*/ 1372939 w 3903424"/>
                  <a:gd name="connsiteY72" fmla="*/ 2888854 h 4760516"/>
                  <a:gd name="connsiteX73" fmla="*/ 1444377 w 3903424"/>
                  <a:gd name="connsiteY73" fmla="*/ 2750741 h 4760516"/>
                  <a:gd name="connsiteX74" fmla="*/ 1430089 w 3903424"/>
                  <a:gd name="connsiteY74" fmla="*/ 2665016 h 4760516"/>
                  <a:gd name="connsiteX75" fmla="*/ 1433678 w 3903424"/>
                  <a:gd name="connsiteY75" fmla="*/ 2655556 h 4760516"/>
                  <a:gd name="connsiteX76" fmla="*/ 1412671 w 3903424"/>
                  <a:gd name="connsiteY76" fmla="*/ 2630242 h 4760516"/>
                  <a:gd name="connsiteX77" fmla="*/ 1171172 w 3903424"/>
                  <a:gd name="connsiteY77" fmla="*/ 2059985 h 4760516"/>
                  <a:gd name="connsiteX78" fmla="*/ 977027 w 3903424"/>
                  <a:gd name="connsiteY78" fmla="*/ 1612672 h 4760516"/>
                  <a:gd name="connsiteX79" fmla="*/ 1052790 w 3903424"/>
                  <a:gd name="connsiteY79" fmla="*/ 1487109 h 4760516"/>
                  <a:gd name="connsiteX80" fmla="*/ 1018186 w 3903424"/>
                  <a:gd name="connsiteY80" fmla="*/ 1277790 h 4760516"/>
                  <a:gd name="connsiteX81" fmla="*/ 934788 w 3903424"/>
                  <a:gd name="connsiteY81" fmla="*/ 1341041 h 4760516"/>
                  <a:gd name="connsiteX82" fmla="*/ 883988 w 3903424"/>
                  <a:gd name="connsiteY82" fmla="*/ 1404541 h 4760516"/>
                  <a:gd name="connsiteX83" fmla="*/ 839538 w 3903424"/>
                  <a:gd name="connsiteY83" fmla="*/ 1525191 h 4760516"/>
                  <a:gd name="connsiteX84" fmla="*/ 858588 w 3903424"/>
                  <a:gd name="connsiteY84" fmla="*/ 1645841 h 4760516"/>
                  <a:gd name="connsiteX85" fmla="*/ 890338 w 3903424"/>
                  <a:gd name="connsiteY85" fmla="*/ 1829991 h 4760516"/>
                  <a:gd name="connsiteX86" fmla="*/ 966538 w 3903424"/>
                  <a:gd name="connsiteY86" fmla="*/ 2128441 h 4760516"/>
                  <a:gd name="connsiteX87" fmla="*/ 1049088 w 3903424"/>
                  <a:gd name="connsiteY87" fmla="*/ 2198291 h 4760516"/>
                  <a:gd name="connsiteX88" fmla="*/ 1099888 w 3903424"/>
                  <a:gd name="connsiteY88" fmla="*/ 2331641 h 4760516"/>
                  <a:gd name="connsiteX89" fmla="*/ 1220538 w 3903424"/>
                  <a:gd name="connsiteY89" fmla="*/ 2566591 h 4760516"/>
                  <a:gd name="connsiteX90" fmla="*/ 1271338 w 3903424"/>
                  <a:gd name="connsiteY90" fmla="*/ 2712641 h 4760516"/>
                  <a:gd name="connsiteX91" fmla="*/ 1131638 w 3903424"/>
                  <a:gd name="connsiteY91" fmla="*/ 2750741 h 4760516"/>
                  <a:gd name="connsiteX92" fmla="*/ 928438 w 3903424"/>
                  <a:gd name="connsiteY92" fmla="*/ 2776141 h 4760516"/>
                  <a:gd name="connsiteX93" fmla="*/ 744288 w 3903424"/>
                  <a:gd name="connsiteY93" fmla="*/ 2731691 h 4760516"/>
                  <a:gd name="connsiteX94" fmla="*/ 661738 w 3903424"/>
                  <a:gd name="connsiteY94" fmla="*/ 2591991 h 4760516"/>
                  <a:gd name="connsiteX95" fmla="*/ 623638 w 3903424"/>
                  <a:gd name="connsiteY95" fmla="*/ 2344341 h 4760516"/>
                  <a:gd name="connsiteX96" fmla="*/ 636338 w 3903424"/>
                  <a:gd name="connsiteY96" fmla="*/ 2020491 h 4760516"/>
                  <a:gd name="connsiteX97" fmla="*/ 737938 w 3903424"/>
                  <a:gd name="connsiteY97" fmla="*/ 1328341 h 4760516"/>
                  <a:gd name="connsiteX98" fmla="*/ 972888 w 3903424"/>
                  <a:gd name="connsiteY98" fmla="*/ 623491 h 4760516"/>
                  <a:gd name="connsiteX99" fmla="*/ 1169738 w 3903424"/>
                  <a:gd name="connsiteY99" fmla="*/ 299641 h 4760516"/>
                  <a:gd name="connsiteX100" fmla="*/ 1360238 w 3903424"/>
                  <a:gd name="connsiteY100" fmla="*/ 140891 h 4760516"/>
                  <a:gd name="connsiteX101" fmla="*/ 1531688 w 3903424"/>
                  <a:gd name="connsiteY101" fmla="*/ 115491 h 4760516"/>
                  <a:gd name="connsiteX102" fmla="*/ 1677738 w 3903424"/>
                  <a:gd name="connsiteY102" fmla="*/ 13891 h 4760516"/>
                  <a:gd name="connsiteX103" fmla="*/ 1814660 w 3903424"/>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810829"/>
                  <a:gd name="connsiteX1" fmla="*/ 3082677 w 3904400"/>
                  <a:gd name="connsiteY1" fmla="*/ 1026716 h 4810829"/>
                  <a:gd name="connsiteX2" fmla="*/ 3168402 w 3904400"/>
                  <a:gd name="connsiteY2" fmla="*/ 1369616 h 4810829"/>
                  <a:gd name="connsiteX3" fmla="*/ 3254127 w 3904400"/>
                  <a:gd name="connsiteY3" fmla="*/ 1822054 h 4810829"/>
                  <a:gd name="connsiteX4" fmla="*/ 3282702 w 3904400"/>
                  <a:gd name="connsiteY4" fmla="*/ 2255441 h 4810829"/>
                  <a:gd name="connsiteX5" fmla="*/ 3273177 w 3904400"/>
                  <a:gd name="connsiteY5" fmla="*/ 2526904 h 4810829"/>
                  <a:gd name="connsiteX6" fmla="*/ 3192214 w 3904400"/>
                  <a:gd name="connsiteY6" fmla="*/ 2722166 h 4810829"/>
                  <a:gd name="connsiteX7" fmla="*/ 3044577 w 3904400"/>
                  <a:gd name="connsiteY7" fmla="*/ 2750741 h 4810829"/>
                  <a:gd name="connsiteX8" fmla="*/ 2811214 w 3904400"/>
                  <a:gd name="connsiteY8" fmla="*/ 2731691 h 4810829"/>
                  <a:gd name="connsiteX9" fmla="*/ 2635002 w 3904400"/>
                  <a:gd name="connsiteY9" fmla="*/ 2669779 h 4810829"/>
                  <a:gd name="connsiteX10" fmla="*/ 2658814 w 3904400"/>
                  <a:gd name="connsiteY10" fmla="*/ 2603104 h 4810829"/>
                  <a:gd name="connsiteX11" fmla="*/ 2754064 w 3904400"/>
                  <a:gd name="connsiteY11" fmla="*/ 2474516 h 4810829"/>
                  <a:gd name="connsiteX12" fmla="*/ 2844552 w 3904400"/>
                  <a:gd name="connsiteY12" fmla="*/ 2255441 h 4810829"/>
                  <a:gd name="connsiteX13" fmla="*/ 2863602 w 3904400"/>
                  <a:gd name="connsiteY13" fmla="*/ 2160191 h 4810829"/>
                  <a:gd name="connsiteX14" fmla="*/ 2920752 w 3904400"/>
                  <a:gd name="connsiteY14" fmla="*/ 2098279 h 4810829"/>
                  <a:gd name="connsiteX15" fmla="*/ 3001714 w 3904400"/>
                  <a:gd name="connsiteY15" fmla="*/ 1855391 h 4810829"/>
                  <a:gd name="connsiteX16" fmla="*/ 3058864 w 3904400"/>
                  <a:gd name="connsiteY16" fmla="*/ 1598216 h 4810829"/>
                  <a:gd name="connsiteX17" fmla="*/ 3063627 w 3904400"/>
                  <a:gd name="connsiteY17" fmla="*/ 1483916 h 4810829"/>
                  <a:gd name="connsiteX18" fmla="*/ 3011239 w 3904400"/>
                  <a:gd name="connsiteY18" fmla="*/ 1379141 h 4810829"/>
                  <a:gd name="connsiteX19" fmla="*/ 2958852 w 3904400"/>
                  <a:gd name="connsiteY19" fmla="*/ 1331516 h 4810829"/>
                  <a:gd name="connsiteX20" fmla="*/ 2949327 w 3904400"/>
                  <a:gd name="connsiteY20" fmla="*/ 1236266 h 4810829"/>
                  <a:gd name="connsiteX21" fmla="*/ 2958852 w 3904400"/>
                  <a:gd name="connsiteY21" fmla="*/ 1121966 h 4810829"/>
                  <a:gd name="connsiteX22" fmla="*/ 3006477 w 3904400"/>
                  <a:gd name="connsiteY22" fmla="*/ 1050529 h 4810829"/>
                  <a:gd name="connsiteX23" fmla="*/ 3062288 w 3904400"/>
                  <a:gd name="connsiteY23" fmla="*/ 1005769 h 4810829"/>
                  <a:gd name="connsiteX24" fmla="*/ 1814660 w 3904400"/>
                  <a:gd name="connsiteY24" fmla="*/ 0 h 4810829"/>
                  <a:gd name="connsiteX25" fmla="*/ 1957138 w 3904400"/>
                  <a:gd name="connsiteY25" fmla="*/ 1191 h 4810829"/>
                  <a:gd name="connsiteX26" fmla="*/ 2153988 w 3904400"/>
                  <a:gd name="connsiteY26" fmla="*/ 20241 h 4810829"/>
                  <a:gd name="connsiteX27" fmla="*/ 2382588 w 3904400"/>
                  <a:gd name="connsiteY27" fmla="*/ 121841 h 4810829"/>
                  <a:gd name="connsiteX28" fmla="*/ 2642938 w 3904400"/>
                  <a:gd name="connsiteY28" fmla="*/ 331391 h 4810829"/>
                  <a:gd name="connsiteX29" fmla="*/ 2947738 w 3904400"/>
                  <a:gd name="connsiteY29" fmla="*/ 693341 h 4810829"/>
                  <a:gd name="connsiteX30" fmla="*/ 3062038 w 3904400"/>
                  <a:gd name="connsiteY30" fmla="*/ 883841 h 4810829"/>
                  <a:gd name="connsiteX31" fmla="*/ 3011238 w 3904400"/>
                  <a:gd name="connsiteY31" fmla="*/ 1004491 h 4810829"/>
                  <a:gd name="connsiteX32" fmla="*/ 2903288 w 3904400"/>
                  <a:gd name="connsiteY32" fmla="*/ 1061641 h 4810829"/>
                  <a:gd name="connsiteX33" fmla="*/ 2827088 w 3904400"/>
                  <a:gd name="connsiteY33" fmla="*/ 998141 h 4810829"/>
                  <a:gd name="connsiteX34" fmla="*/ 2655638 w 3904400"/>
                  <a:gd name="connsiteY34" fmla="*/ 820341 h 4810829"/>
                  <a:gd name="connsiteX35" fmla="*/ 2350838 w 3904400"/>
                  <a:gd name="connsiteY35" fmla="*/ 674291 h 4810829"/>
                  <a:gd name="connsiteX36" fmla="*/ 2020638 w 3904400"/>
                  <a:gd name="connsiteY36" fmla="*/ 674291 h 4810829"/>
                  <a:gd name="connsiteX37" fmla="*/ 2344488 w 3904400"/>
                  <a:gd name="connsiteY37" fmla="*/ 769541 h 4810829"/>
                  <a:gd name="connsiteX38" fmla="*/ 2554038 w 3904400"/>
                  <a:gd name="connsiteY38" fmla="*/ 909241 h 4810829"/>
                  <a:gd name="connsiteX39" fmla="*/ 2630379 w 3904400"/>
                  <a:gd name="connsiteY39" fmla="*/ 973620 h 4810829"/>
                  <a:gd name="connsiteX40" fmla="*/ 2901551 w 3904400"/>
                  <a:gd name="connsiteY40" fmla="*/ 1067700 h 4810829"/>
                  <a:gd name="connsiteX41" fmla="*/ 2830884 w 3904400"/>
                  <a:gd name="connsiteY41" fmla="*/ 1212445 h 4810829"/>
                  <a:gd name="connsiteX42" fmla="*/ 2830884 w 3904400"/>
                  <a:gd name="connsiteY42" fmla="*/ 1445256 h 4810829"/>
                  <a:gd name="connsiteX43" fmla="*/ 2939795 w 3904400"/>
                  <a:gd name="connsiteY43" fmla="*/ 1531580 h 4810829"/>
                  <a:gd name="connsiteX44" fmla="*/ 2823781 w 3904400"/>
                  <a:gd name="connsiteY44" fmla="*/ 2041674 h 4810829"/>
                  <a:gd name="connsiteX45" fmla="*/ 2757487 w 3904400"/>
                  <a:gd name="connsiteY45" fmla="*/ 2086142 h 4810829"/>
                  <a:gd name="connsiteX46" fmla="*/ 2480886 w 3904400"/>
                  <a:gd name="connsiteY46" fmla="*/ 2698176 h 4810829"/>
                  <a:gd name="connsiteX47" fmla="*/ 2530227 w 3904400"/>
                  <a:gd name="connsiteY47" fmla="*/ 2817416 h 4810829"/>
                  <a:gd name="connsiteX48" fmla="*/ 2592139 w 3904400"/>
                  <a:gd name="connsiteY48" fmla="*/ 2874566 h 4810829"/>
                  <a:gd name="connsiteX49" fmla="*/ 2658814 w 3904400"/>
                  <a:gd name="connsiteY49" fmla="*/ 2884091 h 4810829"/>
                  <a:gd name="connsiteX50" fmla="*/ 2682627 w 3904400"/>
                  <a:gd name="connsiteY50" fmla="*/ 2912666 h 4810829"/>
                  <a:gd name="connsiteX51" fmla="*/ 2749302 w 3904400"/>
                  <a:gd name="connsiteY51" fmla="*/ 3079354 h 4810829"/>
                  <a:gd name="connsiteX52" fmla="*/ 2844552 w 3904400"/>
                  <a:gd name="connsiteY52" fmla="*/ 3174604 h 4810829"/>
                  <a:gd name="connsiteX53" fmla="*/ 2939802 w 3904400"/>
                  <a:gd name="connsiteY53" fmla="*/ 3207941 h 4810829"/>
                  <a:gd name="connsiteX54" fmla="*/ 3282702 w 3904400"/>
                  <a:gd name="connsiteY54" fmla="*/ 3317479 h 4810829"/>
                  <a:gd name="connsiteX55" fmla="*/ 3658939 w 3904400"/>
                  <a:gd name="connsiteY55" fmla="*/ 3493691 h 4810829"/>
                  <a:gd name="connsiteX56" fmla="*/ 3868489 w 3904400"/>
                  <a:gd name="connsiteY56" fmla="*/ 3641329 h 4810829"/>
                  <a:gd name="connsiteX57" fmla="*/ 3901827 w 3904400"/>
                  <a:gd name="connsiteY57" fmla="*/ 3769916 h 4810829"/>
                  <a:gd name="connsiteX58" fmla="*/ 3878014 w 3904400"/>
                  <a:gd name="connsiteY58" fmla="*/ 4027091 h 4810829"/>
                  <a:gd name="connsiteX59" fmla="*/ 3792289 w 3904400"/>
                  <a:gd name="connsiteY59" fmla="*/ 4236641 h 4810829"/>
                  <a:gd name="connsiteX60" fmla="*/ 3620839 w 3904400"/>
                  <a:gd name="connsiteY60" fmla="*/ 4598591 h 4810829"/>
                  <a:gd name="connsiteX61" fmla="*/ 3473202 w 3904400"/>
                  <a:gd name="connsiteY61" fmla="*/ 4760516 h 4810829"/>
                  <a:gd name="connsiteX62" fmla="*/ 339477 w 3904400"/>
                  <a:gd name="connsiteY62" fmla="*/ 4760516 h 4810829"/>
                  <a:gd name="connsiteX63" fmla="*/ 163264 w 3904400"/>
                  <a:gd name="connsiteY63" fmla="*/ 4436666 h 4810829"/>
                  <a:gd name="connsiteX64" fmla="*/ 58489 w 3904400"/>
                  <a:gd name="connsiteY64" fmla="*/ 4141391 h 4810829"/>
                  <a:gd name="connsiteX65" fmla="*/ 1339 w 3904400"/>
                  <a:gd name="connsiteY65" fmla="*/ 3855641 h 4810829"/>
                  <a:gd name="connsiteX66" fmla="*/ 25152 w 3904400"/>
                  <a:gd name="connsiteY66" fmla="*/ 3703241 h 4810829"/>
                  <a:gd name="connsiteX67" fmla="*/ 220414 w 3904400"/>
                  <a:gd name="connsiteY67" fmla="*/ 3584179 h 4810829"/>
                  <a:gd name="connsiteX68" fmla="*/ 534739 w 3904400"/>
                  <a:gd name="connsiteY68" fmla="*/ 3450829 h 4810829"/>
                  <a:gd name="connsiteX69" fmla="*/ 934789 w 3904400"/>
                  <a:gd name="connsiteY69" fmla="*/ 3293666 h 4810829"/>
                  <a:gd name="connsiteX70" fmla="*/ 1134814 w 3904400"/>
                  <a:gd name="connsiteY70" fmla="*/ 3217466 h 4810829"/>
                  <a:gd name="connsiteX71" fmla="*/ 1277689 w 3904400"/>
                  <a:gd name="connsiteY71" fmla="*/ 2950766 h 4810829"/>
                  <a:gd name="connsiteX72" fmla="*/ 1372939 w 3904400"/>
                  <a:gd name="connsiteY72" fmla="*/ 2888854 h 4810829"/>
                  <a:gd name="connsiteX73" fmla="*/ 1444377 w 3904400"/>
                  <a:gd name="connsiteY73" fmla="*/ 2750741 h 4810829"/>
                  <a:gd name="connsiteX74" fmla="*/ 1430089 w 3904400"/>
                  <a:gd name="connsiteY74" fmla="*/ 2665016 h 4810829"/>
                  <a:gd name="connsiteX75" fmla="*/ 1433678 w 3904400"/>
                  <a:gd name="connsiteY75" fmla="*/ 2655556 h 4810829"/>
                  <a:gd name="connsiteX76" fmla="*/ 1412671 w 3904400"/>
                  <a:gd name="connsiteY76" fmla="*/ 2630242 h 4810829"/>
                  <a:gd name="connsiteX77" fmla="*/ 1171172 w 3904400"/>
                  <a:gd name="connsiteY77" fmla="*/ 2059985 h 4810829"/>
                  <a:gd name="connsiteX78" fmla="*/ 977027 w 3904400"/>
                  <a:gd name="connsiteY78" fmla="*/ 1612672 h 4810829"/>
                  <a:gd name="connsiteX79" fmla="*/ 1052790 w 3904400"/>
                  <a:gd name="connsiteY79" fmla="*/ 1487109 h 4810829"/>
                  <a:gd name="connsiteX80" fmla="*/ 1018186 w 3904400"/>
                  <a:gd name="connsiteY80" fmla="*/ 1277790 h 4810829"/>
                  <a:gd name="connsiteX81" fmla="*/ 934788 w 3904400"/>
                  <a:gd name="connsiteY81" fmla="*/ 1341041 h 4810829"/>
                  <a:gd name="connsiteX82" fmla="*/ 883988 w 3904400"/>
                  <a:gd name="connsiteY82" fmla="*/ 1404541 h 4810829"/>
                  <a:gd name="connsiteX83" fmla="*/ 839538 w 3904400"/>
                  <a:gd name="connsiteY83" fmla="*/ 1525191 h 4810829"/>
                  <a:gd name="connsiteX84" fmla="*/ 858588 w 3904400"/>
                  <a:gd name="connsiteY84" fmla="*/ 1645841 h 4810829"/>
                  <a:gd name="connsiteX85" fmla="*/ 890338 w 3904400"/>
                  <a:gd name="connsiteY85" fmla="*/ 1829991 h 4810829"/>
                  <a:gd name="connsiteX86" fmla="*/ 966538 w 3904400"/>
                  <a:gd name="connsiteY86" fmla="*/ 2128441 h 4810829"/>
                  <a:gd name="connsiteX87" fmla="*/ 1049088 w 3904400"/>
                  <a:gd name="connsiteY87" fmla="*/ 2198291 h 4810829"/>
                  <a:gd name="connsiteX88" fmla="*/ 1099888 w 3904400"/>
                  <a:gd name="connsiteY88" fmla="*/ 2331641 h 4810829"/>
                  <a:gd name="connsiteX89" fmla="*/ 1220538 w 3904400"/>
                  <a:gd name="connsiteY89" fmla="*/ 2566591 h 4810829"/>
                  <a:gd name="connsiteX90" fmla="*/ 1271338 w 3904400"/>
                  <a:gd name="connsiteY90" fmla="*/ 2712641 h 4810829"/>
                  <a:gd name="connsiteX91" fmla="*/ 1131638 w 3904400"/>
                  <a:gd name="connsiteY91" fmla="*/ 2750741 h 4810829"/>
                  <a:gd name="connsiteX92" fmla="*/ 928438 w 3904400"/>
                  <a:gd name="connsiteY92" fmla="*/ 2776141 h 4810829"/>
                  <a:gd name="connsiteX93" fmla="*/ 744288 w 3904400"/>
                  <a:gd name="connsiteY93" fmla="*/ 2731691 h 4810829"/>
                  <a:gd name="connsiteX94" fmla="*/ 661738 w 3904400"/>
                  <a:gd name="connsiteY94" fmla="*/ 2591991 h 4810829"/>
                  <a:gd name="connsiteX95" fmla="*/ 623638 w 3904400"/>
                  <a:gd name="connsiteY95" fmla="*/ 2344341 h 4810829"/>
                  <a:gd name="connsiteX96" fmla="*/ 636338 w 3904400"/>
                  <a:gd name="connsiteY96" fmla="*/ 2020491 h 4810829"/>
                  <a:gd name="connsiteX97" fmla="*/ 737938 w 3904400"/>
                  <a:gd name="connsiteY97" fmla="*/ 1328341 h 4810829"/>
                  <a:gd name="connsiteX98" fmla="*/ 972888 w 3904400"/>
                  <a:gd name="connsiteY98" fmla="*/ 623491 h 4810829"/>
                  <a:gd name="connsiteX99" fmla="*/ 1169738 w 3904400"/>
                  <a:gd name="connsiteY99" fmla="*/ 299641 h 4810829"/>
                  <a:gd name="connsiteX100" fmla="*/ 1360238 w 3904400"/>
                  <a:gd name="connsiteY100" fmla="*/ 140891 h 4810829"/>
                  <a:gd name="connsiteX101" fmla="*/ 1531688 w 3904400"/>
                  <a:gd name="connsiteY101" fmla="*/ 115491 h 4810829"/>
                  <a:gd name="connsiteX102" fmla="*/ 1677738 w 3904400"/>
                  <a:gd name="connsiteY102" fmla="*/ 13891 h 4810829"/>
                  <a:gd name="connsiteX103" fmla="*/ 1814660 w 3904400"/>
                  <a:gd name="connsiteY103" fmla="*/ 0 h 4810829"/>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630379 w 3904400"/>
                  <a:gd name="connsiteY39" fmla="*/ 973620 h 4848994"/>
                  <a:gd name="connsiteX40" fmla="*/ 2901551 w 3904400"/>
                  <a:gd name="connsiteY40" fmla="*/ 1067700 h 4848994"/>
                  <a:gd name="connsiteX41" fmla="*/ 2830884 w 3904400"/>
                  <a:gd name="connsiteY41" fmla="*/ 1212445 h 4848994"/>
                  <a:gd name="connsiteX42" fmla="*/ 2830884 w 3904400"/>
                  <a:gd name="connsiteY42" fmla="*/ 1445256 h 4848994"/>
                  <a:gd name="connsiteX43" fmla="*/ 2939795 w 3904400"/>
                  <a:gd name="connsiteY43" fmla="*/ 1531580 h 4848994"/>
                  <a:gd name="connsiteX44" fmla="*/ 2823781 w 3904400"/>
                  <a:gd name="connsiteY44" fmla="*/ 2041674 h 4848994"/>
                  <a:gd name="connsiteX45" fmla="*/ 2757487 w 3904400"/>
                  <a:gd name="connsiteY45" fmla="*/ 2086142 h 4848994"/>
                  <a:gd name="connsiteX46" fmla="*/ 2480886 w 3904400"/>
                  <a:gd name="connsiteY46" fmla="*/ 2698176 h 4848994"/>
                  <a:gd name="connsiteX47" fmla="*/ 2530227 w 3904400"/>
                  <a:gd name="connsiteY47" fmla="*/ 2817416 h 4848994"/>
                  <a:gd name="connsiteX48" fmla="*/ 2592139 w 3904400"/>
                  <a:gd name="connsiteY48" fmla="*/ 2874566 h 4848994"/>
                  <a:gd name="connsiteX49" fmla="*/ 2658814 w 3904400"/>
                  <a:gd name="connsiteY49" fmla="*/ 2884091 h 4848994"/>
                  <a:gd name="connsiteX50" fmla="*/ 2682627 w 3904400"/>
                  <a:gd name="connsiteY50" fmla="*/ 2912666 h 4848994"/>
                  <a:gd name="connsiteX51" fmla="*/ 2749302 w 3904400"/>
                  <a:gd name="connsiteY51" fmla="*/ 3079354 h 4848994"/>
                  <a:gd name="connsiteX52" fmla="*/ 2844552 w 3904400"/>
                  <a:gd name="connsiteY52" fmla="*/ 3174604 h 4848994"/>
                  <a:gd name="connsiteX53" fmla="*/ 2939802 w 3904400"/>
                  <a:gd name="connsiteY53" fmla="*/ 3207941 h 4848994"/>
                  <a:gd name="connsiteX54" fmla="*/ 3282702 w 3904400"/>
                  <a:gd name="connsiteY54" fmla="*/ 3317479 h 4848994"/>
                  <a:gd name="connsiteX55" fmla="*/ 3658939 w 3904400"/>
                  <a:gd name="connsiteY55" fmla="*/ 3493691 h 4848994"/>
                  <a:gd name="connsiteX56" fmla="*/ 3868489 w 3904400"/>
                  <a:gd name="connsiteY56" fmla="*/ 3641329 h 4848994"/>
                  <a:gd name="connsiteX57" fmla="*/ 3901827 w 3904400"/>
                  <a:gd name="connsiteY57" fmla="*/ 3769916 h 4848994"/>
                  <a:gd name="connsiteX58" fmla="*/ 3878014 w 3904400"/>
                  <a:gd name="connsiteY58" fmla="*/ 4027091 h 4848994"/>
                  <a:gd name="connsiteX59" fmla="*/ 3792289 w 3904400"/>
                  <a:gd name="connsiteY59" fmla="*/ 4236641 h 4848994"/>
                  <a:gd name="connsiteX60" fmla="*/ 3620839 w 3904400"/>
                  <a:gd name="connsiteY60" fmla="*/ 4598591 h 4848994"/>
                  <a:gd name="connsiteX61" fmla="*/ 3473202 w 3904400"/>
                  <a:gd name="connsiteY61" fmla="*/ 4760516 h 4848994"/>
                  <a:gd name="connsiteX62" fmla="*/ 339477 w 3904400"/>
                  <a:gd name="connsiteY62" fmla="*/ 4760516 h 4848994"/>
                  <a:gd name="connsiteX63" fmla="*/ 163264 w 3904400"/>
                  <a:gd name="connsiteY63" fmla="*/ 4436666 h 4848994"/>
                  <a:gd name="connsiteX64" fmla="*/ 58489 w 3904400"/>
                  <a:gd name="connsiteY64" fmla="*/ 4141391 h 4848994"/>
                  <a:gd name="connsiteX65" fmla="*/ 1339 w 3904400"/>
                  <a:gd name="connsiteY65" fmla="*/ 3855641 h 4848994"/>
                  <a:gd name="connsiteX66" fmla="*/ 25152 w 3904400"/>
                  <a:gd name="connsiteY66" fmla="*/ 3703241 h 4848994"/>
                  <a:gd name="connsiteX67" fmla="*/ 220414 w 3904400"/>
                  <a:gd name="connsiteY67" fmla="*/ 3584179 h 4848994"/>
                  <a:gd name="connsiteX68" fmla="*/ 534739 w 3904400"/>
                  <a:gd name="connsiteY68" fmla="*/ 3450829 h 4848994"/>
                  <a:gd name="connsiteX69" fmla="*/ 934789 w 3904400"/>
                  <a:gd name="connsiteY69" fmla="*/ 3293666 h 4848994"/>
                  <a:gd name="connsiteX70" fmla="*/ 1134814 w 3904400"/>
                  <a:gd name="connsiteY70" fmla="*/ 3217466 h 4848994"/>
                  <a:gd name="connsiteX71" fmla="*/ 1277689 w 3904400"/>
                  <a:gd name="connsiteY71" fmla="*/ 2950766 h 4848994"/>
                  <a:gd name="connsiteX72" fmla="*/ 1372939 w 3904400"/>
                  <a:gd name="connsiteY72" fmla="*/ 2888854 h 4848994"/>
                  <a:gd name="connsiteX73" fmla="*/ 1444377 w 3904400"/>
                  <a:gd name="connsiteY73" fmla="*/ 2750741 h 4848994"/>
                  <a:gd name="connsiteX74" fmla="*/ 1430089 w 3904400"/>
                  <a:gd name="connsiteY74" fmla="*/ 2665016 h 4848994"/>
                  <a:gd name="connsiteX75" fmla="*/ 1433678 w 3904400"/>
                  <a:gd name="connsiteY75" fmla="*/ 2655556 h 4848994"/>
                  <a:gd name="connsiteX76" fmla="*/ 1412671 w 3904400"/>
                  <a:gd name="connsiteY76" fmla="*/ 2630242 h 4848994"/>
                  <a:gd name="connsiteX77" fmla="*/ 1171172 w 3904400"/>
                  <a:gd name="connsiteY77" fmla="*/ 2059985 h 4848994"/>
                  <a:gd name="connsiteX78" fmla="*/ 977027 w 3904400"/>
                  <a:gd name="connsiteY78" fmla="*/ 1612672 h 4848994"/>
                  <a:gd name="connsiteX79" fmla="*/ 1052790 w 3904400"/>
                  <a:gd name="connsiteY79" fmla="*/ 1487109 h 4848994"/>
                  <a:gd name="connsiteX80" fmla="*/ 1018186 w 3904400"/>
                  <a:gd name="connsiteY80" fmla="*/ 1277790 h 4848994"/>
                  <a:gd name="connsiteX81" fmla="*/ 934788 w 3904400"/>
                  <a:gd name="connsiteY81" fmla="*/ 1341041 h 4848994"/>
                  <a:gd name="connsiteX82" fmla="*/ 883988 w 3904400"/>
                  <a:gd name="connsiteY82" fmla="*/ 1404541 h 4848994"/>
                  <a:gd name="connsiteX83" fmla="*/ 839538 w 3904400"/>
                  <a:gd name="connsiteY83" fmla="*/ 1525191 h 4848994"/>
                  <a:gd name="connsiteX84" fmla="*/ 858588 w 3904400"/>
                  <a:gd name="connsiteY84" fmla="*/ 1645841 h 4848994"/>
                  <a:gd name="connsiteX85" fmla="*/ 890338 w 3904400"/>
                  <a:gd name="connsiteY85" fmla="*/ 1829991 h 4848994"/>
                  <a:gd name="connsiteX86" fmla="*/ 966538 w 3904400"/>
                  <a:gd name="connsiteY86" fmla="*/ 2128441 h 4848994"/>
                  <a:gd name="connsiteX87" fmla="*/ 1049088 w 3904400"/>
                  <a:gd name="connsiteY87" fmla="*/ 2198291 h 4848994"/>
                  <a:gd name="connsiteX88" fmla="*/ 1099888 w 3904400"/>
                  <a:gd name="connsiteY88" fmla="*/ 2331641 h 4848994"/>
                  <a:gd name="connsiteX89" fmla="*/ 1220538 w 3904400"/>
                  <a:gd name="connsiteY89" fmla="*/ 2566591 h 4848994"/>
                  <a:gd name="connsiteX90" fmla="*/ 1271338 w 3904400"/>
                  <a:gd name="connsiteY90" fmla="*/ 2712641 h 4848994"/>
                  <a:gd name="connsiteX91" fmla="*/ 1131638 w 3904400"/>
                  <a:gd name="connsiteY91" fmla="*/ 2750741 h 4848994"/>
                  <a:gd name="connsiteX92" fmla="*/ 928438 w 3904400"/>
                  <a:gd name="connsiteY92" fmla="*/ 2776141 h 4848994"/>
                  <a:gd name="connsiteX93" fmla="*/ 744288 w 3904400"/>
                  <a:gd name="connsiteY93" fmla="*/ 2731691 h 4848994"/>
                  <a:gd name="connsiteX94" fmla="*/ 661738 w 3904400"/>
                  <a:gd name="connsiteY94" fmla="*/ 2591991 h 4848994"/>
                  <a:gd name="connsiteX95" fmla="*/ 623638 w 3904400"/>
                  <a:gd name="connsiteY95" fmla="*/ 2344341 h 4848994"/>
                  <a:gd name="connsiteX96" fmla="*/ 636338 w 3904400"/>
                  <a:gd name="connsiteY96" fmla="*/ 2020491 h 4848994"/>
                  <a:gd name="connsiteX97" fmla="*/ 737938 w 3904400"/>
                  <a:gd name="connsiteY97" fmla="*/ 1328341 h 4848994"/>
                  <a:gd name="connsiteX98" fmla="*/ 972888 w 3904400"/>
                  <a:gd name="connsiteY98" fmla="*/ 623491 h 4848994"/>
                  <a:gd name="connsiteX99" fmla="*/ 1169738 w 3904400"/>
                  <a:gd name="connsiteY99" fmla="*/ 299641 h 4848994"/>
                  <a:gd name="connsiteX100" fmla="*/ 1360238 w 3904400"/>
                  <a:gd name="connsiteY100" fmla="*/ 140891 h 4848994"/>
                  <a:gd name="connsiteX101" fmla="*/ 1531688 w 3904400"/>
                  <a:gd name="connsiteY101" fmla="*/ 115491 h 4848994"/>
                  <a:gd name="connsiteX102" fmla="*/ 1677738 w 3904400"/>
                  <a:gd name="connsiteY102" fmla="*/ 13891 h 4848994"/>
                  <a:gd name="connsiteX103" fmla="*/ 1814660 w 3904400"/>
                  <a:gd name="connsiteY103"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859098 w 3904400"/>
                  <a:gd name="connsiteY39" fmla="*/ 1103077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904400" h="4848994">
                    <a:moveTo>
                      <a:pt x="3062288" y="1005769"/>
                    </a:moveTo>
                    <a:lnTo>
                      <a:pt x="3082677" y="1026716"/>
                    </a:lnTo>
                    <a:cubicBezTo>
                      <a:pt x="3109664" y="1079897"/>
                      <a:pt x="3139827" y="1237060"/>
                      <a:pt x="3168402" y="1369616"/>
                    </a:cubicBezTo>
                    <a:cubicBezTo>
                      <a:pt x="3196977" y="1502172"/>
                      <a:pt x="3235077" y="1674417"/>
                      <a:pt x="3254127" y="1822054"/>
                    </a:cubicBezTo>
                    <a:cubicBezTo>
                      <a:pt x="3273177" y="1969691"/>
                      <a:pt x="3279527" y="2137966"/>
                      <a:pt x="3282702" y="2255441"/>
                    </a:cubicBezTo>
                    <a:cubicBezTo>
                      <a:pt x="3285877" y="2372916"/>
                      <a:pt x="3288258" y="2449116"/>
                      <a:pt x="3273177" y="2526904"/>
                    </a:cubicBezTo>
                    <a:cubicBezTo>
                      <a:pt x="3258096" y="2604692"/>
                      <a:pt x="3230314" y="2684860"/>
                      <a:pt x="3192214" y="2722166"/>
                    </a:cubicBezTo>
                    <a:cubicBezTo>
                      <a:pt x="3154114" y="2759472"/>
                      <a:pt x="3108077" y="2749154"/>
                      <a:pt x="3044577" y="2750741"/>
                    </a:cubicBezTo>
                    <a:cubicBezTo>
                      <a:pt x="2981077" y="2752328"/>
                      <a:pt x="2879476" y="2745185"/>
                      <a:pt x="2811214" y="2731691"/>
                    </a:cubicBezTo>
                    <a:cubicBezTo>
                      <a:pt x="2742952" y="2718197"/>
                      <a:pt x="2660402" y="2691210"/>
                      <a:pt x="2635002" y="2669779"/>
                    </a:cubicBezTo>
                    <a:cubicBezTo>
                      <a:pt x="2609602" y="2648348"/>
                      <a:pt x="2638970" y="2635648"/>
                      <a:pt x="2658814" y="2603104"/>
                    </a:cubicBezTo>
                    <a:cubicBezTo>
                      <a:pt x="2678658" y="2570560"/>
                      <a:pt x="2723108" y="2532460"/>
                      <a:pt x="2754064" y="2474516"/>
                    </a:cubicBezTo>
                    <a:cubicBezTo>
                      <a:pt x="2785020" y="2416572"/>
                      <a:pt x="2826296" y="2307828"/>
                      <a:pt x="2844552" y="2255441"/>
                    </a:cubicBezTo>
                    <a:cubicBezTo>
                      <a:pt x="2862808" y="2203054"/>
                      <a:pt x="2850902" y="2186385"/>
                      <a:pt x="2863602" y="2160191"/>
                    </a:cubicBezTo>
                    <a:cubicBezTo>
                      <a:pt x="2876302" y="2133997"/>
                      <a:pt x="2897733" y="2149079"/>
                      <a:pt x="2920752" y="2098279"/>
                    </a:cubicBezTo>
                    <a:cubicBezTo>
                      <a:pt x="2943771" y="2047479"/>
                      <a:pt x="2978695" y="1938735"/>
                      <a:pt x="3001714" y="1855391"/>
                    </a:cubicBezTo>
                    <a:cubicBezTo>
                      <a:pt x="3024733" y="1772047"/>
                      <a:pt x="3048545" y="1660129"/>
                      <a:pt x="3058864" y="1598216"/>
                    </a:cubicBezTo>
                    <a:cubicBezTo>
                      <a:pt x="3069183" y="1536303"/>
                      <a:pt x="3071564" y="1520428"/>
                      <a:pt x="3063627" y="1483916"/>
                    </a:cubicBezTo>
                    <a:cubicBezTo>
                      <a:pt x="3055690" y="1447404"/>
                      <a:pt x="3028702" y="1404541"/>
                      <a:pt x="3011239" y="1379141"/>
                    </a:cubicBezTo>
                    <a:cubicBezTo>
                      <a:pt x="2993776" y="1353741"/>
                      <a:pt x="2969171" y="1355329"/>
                      <a:pt x="2958852" y="1331516"/>
                    </a:cubicBezTo>
                    <a:cubicBezTo>
                      <a:pt x="2948533" y="1307704"/>
                      <a:pt x="2949327" y="1271191"/>
                      <a:pt x="2949327" y="1236266"/>
                    </a:cubicBezTo>
                    <a:cubicBezTo>
                      <a:pt x="2949327" y="1201341"/>
                      <a:pt x="2949327" y="1152922"/>
                      <a:pt x="2958852" y="1121966"/>
                    </a:cubicBezTo>
                    <a:cubicBezTo>
                      <a:pt x="2968377" y="1091010"/>
                      <a:pt x="2985839" y="1066404"/>
                      <a:pt x="3006477" y="1050529"/>
                    </a:cubicBezTo>
                    <a:cubicBezTo>
                      <a:pt x="3021955" y="1038623"/>
                      <a:pt x="3041898" y="1001267"/>
                      <a:pt x="3062288" y="1005769"/>
                    </a:cubicBezTo>
                    <a:close/>
                    <a:moveTo>
                      <a:pt x="1814660" y="0"/>
                    </a:moveTo>
                    <a:lnTo>
                      <a:pt x="1957138" y="1191"/>
                    </a:lnTo>
                    <a:cubicBezTo>
                      <a:pt x="2036513" y="2249"/>
                      <a:pt x="2083080" y="133"/>
                      <a:pt x="2153988" y="20241"/>
                    </a:cubicBezTo>
                    <a:cubicBezTo>
                      <a:pt x="2224896" y="40349"/>
                      <a:pt x="2301096" y="69983"/>
                      <a:pt x="2382588" y="121841"/>
                    </a:cubicBezTo>
                    <a:cubicBezTo>
                      <a:pt x="2464080" y="173699"/>
                      <a:pt x="2548747" y="236141"/>
                      <a:pt x="2642938" y="331391"/>
                    </a:cubicBezTo>
                    <a:cubicBezTo>
                      <a:pt x="2737129" y="426641"/>
                      <a:pt x="2877888" y="601266"/>
                      <a:pt x="2947738" y="693341"/>
                    </a:cubicBezTo>
                    <a:cubicBezTo>
                      <a:pt x="3017588" y="785416"/>
                      <a:pt x="3051455" y="831983"/>
                      <a:pt x="3062038" y="883841"/>
                    </a:cubicBezTo>
                    <a:cubicBezTo>
                      <a:pt x="3072621" y="935699"/>
                      <a:pt x="3037696" y="974858"/>
                      <a:pt x="3011238" y="1004491"/>
                    </a:cubicBezTo>
                    <a:cubicBezTo>
                      <a:pt x="2984780" y="1034124"/>
                      <a:pt x="2933980" y="1062699"/>
                      <a:pt x="2903288" y="1061641"/>
                    </a:cubicBezTo>
                    <a:cubicBezTo>
                      <a:pt x="2872596" y="1060583"/>
                      <a:pt x="2868363" y="1038358"/>
                      <a:pt x="2827088" y="998141"/>
                    </a:cubicBezTo>
                    <a:cubicBezTo>
                      <a:pt x="2785813" y="957924"/>
                      <a:pt x="2735013" y="874316"/>
                      <a:pt x="2655638" y="820341"/>
                    </a:cubicBezTo>
                    <a:cubicBezTo>
                      <a:pt x="2576263" y="766366"/>
                      <a:pt x="2456671" y="698633"/>
                      <a:pt x="2350838" y="674291"/>
                    </a:cubicBezTo>
                    <a:cubicBezTo>
                      <a:pt x="2245005" y="649949"/>
                      <a:pt x="2004008" y="658416"/>
                      <a:pt x="2020638" y="674291"/>
                    </a:cubicBezTo>
                    <a:cubicBezTo>
                      <a:pt x="2037268" y="690166"/>
                      <a:pt x="2322805" y="697365"/>
                      <a:pt x="2450619" y="769542"/>
                    </a:cubicBezTo>
                    <a:cubicBezTo>
                      <a:pt x="2578433" y="841719"/>
                      <a:pt x="2592091" y="839501"/>
                      <a:pt x="2660171" y="895090"/>
                    </a:cubicBezTo>
                    <a:cubicBezTo>
                      <a:pt x="2728251" y="950679"/>
                      <a:pt x="2812957" y="1052543"/>
                      <a:pt x="2859098" y="1103077"/>
                    </a:cubicBezTo>
                    <a:cubicBezTo>
                      <a:pt x="2840639" y="1173982"/>
                      <a:pt x="2842709" y="1151206"/>
                      <a:pt x="2830884" y="1212445"/>
                    </a:cubicBezTo>
                    <a:cubicBezTo>
                      <a:pt x="2856921" y="1275211"/>
                      <a:pt x="2830896" y="1445184"/>
                      <a:pt x="2830884" y="1445256"/>
                    </a:cubicBezTo>
                    <a:cubicBezTo>
                      <a:pt x="2830987" y="1445263"/>
                      <a:pt x="2939795" y="1453141"/>
                      <a:pt x="2939795" y="1531580"/>
                    </a:cubicBezTo>
                    <a:cubicBezTo>
                      <a:pt x="2939795" y="1610041"/>
                      <a:pt x="2823824" y="2041512"/>
                      <a:pt x="2823781" y="2041674"/>
                    </a:cubicBezTo>
                    <a:cubicBezTo>
                      <a:pt x="2823748" y="2041731"/>
                      <a:pt x="2792983" y="2093987"/>
                      <a:pt x="2757487" y="2086142"/>
                    </a:cubicBezTo>
                    <a:cubicBezTo>
                      <a:pt x="2719935" y="2402501"/>
                      <a:pt x="2591644" y="2600616"/>
                      <a:pt x="2480886" y="2698176"/>
                    </a:cubicBezTo>
                    <a:cubicBezTo>
                      <a:pt x="2497333" y="2737923"/>
                      <a:pt x="2509017" y="2787194"/>
                      <a:pt x="2530227" y="2817416"/>
                    </a:cubicBezTo>
                    <a:lnTo>
                      <a:pt x="2592139" y="2874566"/>
                    </a:lnTo>
                    <a:lnTo>
                      <a:pt x="2658814" y="2884091"/>
                    </a:lnTo>
                    <a:lnTo>
                      <a:pt x="2682627" y="2912666"/>
                    </a:lnTo>
                    <a:lnTo>
                      <a:pt x="2749302" y="3079354"/>
                    </a:lnTo>
                    <a:lnTo>
                      <a:pt x="2844552" y="3174604"/>
                    </a:lnTo>
                    <a:lnTo>
                      <a:pt x="2939802" y="3207941"/>
                    </a:lnTo>
                    <a:lnTo>
                      <a:pt x="3282702" y="3317479"/>
                    </a:lnTo>
                    <a:lnTo>
                      <a:pt x="3658939" y="3493691"/>
                    </a:lnTo>
                    <a:lnTo>
                      <a:pt x="3868489" y="3641329"/>
                    </a:lnTo>
                    <a:cubicBezTo>
                      <a:pt x="3879602" y="3684191"/>
                      <a:pt x="3906589" y="3708004"/>
                      <a:pt x="3901827" y="3769916"/>
                    </a:cubicBezTo>
                    <a:cubicBezTo>
                      <a:pt x="3909764" y="3830241"/>
                      <a:pt x="3898652" y="3938191"/>
                      <a:pt x="3878014" y="4027091"/>
                    </a:cubicBezTo>
                    <a:cubicBezTo>
                      <a:pt x="3855789" y="4119166"/>
                      <a:pt x="3820864" y="4166791"/>
                      <a:pt x="3792289" y="4236641"/>
                    </a:cubicBezTo>
                    <a:lnTo>
                      <a:pt x="3620839" y="4598591"/>
                    </a:lnTo>
                    <a:lnTo>
                      <a:pt x="3473202" y="4760516"/>
                    </a:lnTo>
                    <a:cubicBezTo>
                      <a:pt x="2419193" y="4883157"/>
                      <a:pt x="1553862" y="4873723"/>
                      <a:pt x="339477" y="4760516"/>
                    </a:cubicBezTo>
                    <a:lnTo>
                      <a:pt x="163264" y="4436666"/>
                    </a:lnTo>
                    <a:lnTo>
                      <a:pt x="58489" y="4141391"/>
                    </a:lnTo>
                    <a:cubicBezTo>
                      <a:pt x="39439" y="4046141"/>
                      <a:pt x="14039" y="3992166"/>
                      <a:pt x="1339" y="3855641"/>
                    </a:cubicBezTo>
                    <a:cubicBezTo>
                      <a:pt x="-3423" y="3795316"/>
                      <a:pt x="4514" y="3744516"/>
                      <a:pt x="25152" y="3703241"/>
                    </a:cubicBezTo>
                    <a:lnTo>
                      <a:pt x="220414" y="3584179"/>
                    </a:lnTo>
                    <a:lnTo>
                      <a:pt x="534739" y="3450829"/>
                    </a:lnTo>
                    <a:lnTo>
                      <a:pt x="934789" y="3293666"/>
                    </a:lnTo>
                    <a:lnTo>
                      <a:pt x="1134814" y="3217466"/>
                    </a:lnTo>
                    <a:cubicBezTo>
                      <a:pt x="1234827" y="3090466"/>
                      <a:pt x="1241971" y="3068241"/>
                      <a:pt x="1277689" y="2950766"/>
                    </a:cubicBezTo>
                    <a:lnTo>
                      <a:pt x="1372939" y="2888854"/>
                    </a:lnTo>
                    <a:lnTo>
                      <a:pt x="1444377" y="2750741"/>
                    </a:lnTo>
                    <a:lnTo>
                      <a:pt x="1430089" y="2665016"/>
                    </a:lnTo>
                    <a:lnTo>
                      <a:pt x="1433678" y="2655556"/>
                    </a:lnTo>
                    <a:cubicBezTo>
                      <a:pt x="1422983" y="2644679"/>
                      <a:pt x="1415776" y="2635961"/>
                      <a:pt x="1412671" y="2630242"/>
                    </a:cubicBezTo>
                    <a:cubicBezTo>
                      <a:pt x="1381893" y="2577926"/>
                      <a:pt x="1178275" y="2345112"/>
                      <a:pt x="1171172" y="2059985"/>
                    </a:cubicBezTo>
                    <a:cubicBezTo>
                      <a:pt x="1071731" y="2052136"/>
                      <a:pt x="1014908" y="1764391"/>
                      <a:pt x="977027" y="1612672"/>
                    </a:cubicBezTo>
                    <a:cubicBezTo>
                      <a:pt x="946258" y="1484545"/>
                      <a:pt x="1052708" y="1487108"/>
                      <a:pt x="1052790" y="1487109"/>
                    </a:cubicBezTo>
                    <a:cubicBezTo>
                      <a:pt x="1052758" y="1487025"/>
                      <a:pt x="992834" y="1362590"/>
                      <a:pt x="1018186" y="1277790"/>
                    </a:cubicBezTo>
                    <a:cubicBezTo>
                      <a:pt x="962383" y="1308036"/>
                      <a:pt x="957154" y="1319916"/>
                      <a:pt x="934788" y="1341041"/>
                    </a:cubicBezTo>
                    <a:cubicBezTo>
                      <a:pt x="912422" y="1362166"/>
                      <a:pt x="899863" y="1373849"/>
                      <a:pt x="883988" y="1404541"/>
                    </a:cubicBezTo>
                    <a:cubicBezTo>
                      <a:pt x="868113" y="1435233"/>
                      <a:pt x="843771" y="1484974"/>
                      <a:pt x="839538" y="1525191"/>
                    </a:cubicBezTo>
                    <a:cubicBezTo>
                      <a:pt x="835305" y="1565408"/>
                      <a:pt x="850121" y="1595041"/>
                      <a:pt x="858588" y="1645841"/>
                    </a:cubicBezTo>
                    <a:cubicBezTo>
                      <a:pt x="867055" y="1696641"/>
                      <a:pt x="872346" y="1749558"/>
                      <a:pt x="890338" y="1829991"/>
                    </a:cubicBezTo>
                    <a:cubicBezTo>
                      <a:pt x="908330" y="1910424"/>
                      <a:pt x="940080" y="2067058"/>
                      <a:pt x="966538" y="2128441"/>
                    </a:cubicBezTo>
                    <a:cubicBezTo>
                      <a:pt x="992996" y="2189824"/>
                      <a:pt x="1026863" y="2164424"/>
                      <a:pt x="1049088" y="2198291"/>
                    </a:cubicBezTo>
                    <a:cubicBezTo>
                      <a:pt x="1071313" y="2232158"/>
                      <a:pt x="1071313" y="2270258"/>
                      <a:pt x="1099888" y="2331641"/>
                    </a:cubicBezTo>
                    <a:cubicBezTo>
                      <a:pt x="1128463" y="2393024"/>
                      <a:pt x="1191963" y="2503091"/>
                      <a:pt x="1220538" y="2566591"/>
                    </a:cubicBezTo>
                    <a:cubicBezTo>
                      <a:pt x="1249113" y="2630091"/>
                      <a:pt x="1286155" y="2681949"/>
                      <a:pt x="1271338" y="2712641"/>
                    </a:cubicBezTo>
                    <a:cubicBezTo>
                      <a:pt x="1256521" y="2743333"/>
                      <a:pt x="1188788" y="2740158"/>
                      <a:pt x="1131638" y="2750741"/>
                    </a:cubicBezTo>
                    <a:cubicBezTo>
                      <a:pt x="1074488" y="2761324"/>
                      <a:pt x="992996" y="2779316"/>
                      <a:pt x="928438" y="2776141"/>
                    </a:cubicBezTo>
                    <a:cubicBezTo>
                      <a:pt x="863880" y="2772966"/>
                      <a:pt x="788738" y="2762383"/>
                      <a:pt x="744288" y="2731691"/>
                    </a:cubicBezTo>
                    <a:cubicBezTo>
                      <a:pt x="699838" y="2700999"/>
                      <a:pt x="681846" y="2656549"/>
                      <a:pt x="661738" y="2591991"/>
                    </a:cubicBezTo>
                    <a:cubicBezTo>
                      <a:pt x="641630" y="2527433"/>
                      <a:pt x="627871" y="2439591"/>
                      <a:pt x="623638" y="2344341"/>
                    </a:cubicBezTo>
                    <a:cubicBezTo>
                      <a:pt x="619405" y="2249091"/>
                      <a:pt x="617288" y="2189824"/>
                      <a:pt x="636338" y="2020491"/>
                    </a:cubicBezTo>
                    <a:cubicBezTo>
                      <a:pt x="655388" y="1851158"/>
                      <a:pt x="681846" y="1561174"/>
                      <a:pt x="737938" y="1328341"/>
                    </a:cubicBezTo>
                    <a:cubicBezTo>
                      <a:pt x="794030" y="1095508"/>
                      <a:pt x="900921" y="794941"/>
                      <a:pt x="972888" y="623491"/>
                    </a:cubicBezTo>
                    <a:cubicBezTo>
                      <a:pt x="1044855" y="452041"/>
                      <a:pt x="1105180" y="380074"/>
                      <a:pt x="1169738" y="299641"/>
                    </a:cubicBezTo>
                    <a:cubicBezTo>
                      <a:pt x="1234296" y="219208"/>
                      <a:pt x="1299913" y="171583"/>
                      <a:pt x="1360238" y="140891"/>
                    </a:cubicBezTo>
                    <a:cubicBezTo>
                      <a:pt x="1420563" y="110199"/>
                      <a:pt x="1478771" y="136658"/>
                      <a:pt x="1531688" y="115491"/>
                    </a:cubicBezTo>
                    <a:cubicBezTo>
                      <a:pt x="1584605" y="94324"/>
                      <a:pt x="1605771" y="32941"/>
                      <a:pt x="1677738" y="13891"/>
                    </a:cubicBezTo>
                    <a:cubicBezTo>
                      <a:pt x="1713722" y="4366"/>
                      <a:pt x="1763728" y="926"/>
                      <a:pt x="181466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578">
                  <a:defRPr/>
                </a:pPr>
                <a:endParaRPr lang="en-US" sz="1797" kern="0">
                  <a:solidFill>
                    <a:srgbClr val="FFFFFF"/>
                  </a:solidFill>
                  <a:latin typeface="Segoe UI"/>
                </a:endParaRPr>
              </a:p>
            </p:txBody>
          </p:sp>
        </p:grpSp>
        <p:sp>
          <p:nvSpPr>
            <p:cNvPr id="692" name="TextBox 691">
              <a:extLst>
                <a:ext uri="{FF2B5EF4-FFF2-40B4-BE49-F238E27FC236}">
                  <a16:creationId xmlns:a16="http://schemas.microsoft.com/office/drawing/2014/main" id="{07607574-61D2-4F73-B9E6-84AEE111A696}"/>
                </a:ext>
              </a:extLst>
            </p:cNvPr>
            <p:cNvSpPr txBox="1"/>
            <p:nvPr/>
          </p:nvSpPr>
          <p:spPr>
            <a:xfrm>
              <a:off x="8990539" y="2633130"/>
              <a:ext cx="1033936" cy="369332"/>
            </a:xfrm>
            <a:prstGeom prst="rect">
              <a:avLst/>
            </a:prstGeom>
          </p:spPr>
          <p:txBody>
            <a:bodyPr vert="horz" wrap="none" lIns="0" tIns="0" rIns="0" bIns="0" rtlCol="0" anchor="t">
              <a:spAutoFit/>
            </a:bodyPr>
            <a:lstStyle>
              <a:defPPr>
                <a:defRPr lang="en-US"/>
              </a:defPPr>
              <a:lvl1pPr algn="ctr" defTabSz="1088105">
                <a:defRPr sz="1200">
                  <a:solidFill>
                    <a:srgbClr val="505050"/>
                  </a:solidFill>
                  <a:ea typeface="Segoe UI" pitchFamily="34" charset="0"/>
                  <a:cs typeface="Segoe UI" pitchFamily="34" charset="0"/>
                </a:defRPr>
              </a:lvl1pPr>
            </a:lstStyle>
            <a:p>
              <a:pPr defTabSz="1087779">
                <a:defRPr/>
              </a:pPr>
              <a:r>
                <a:rPr lang="en-US" kern="0">
                  <a:latin typeface="Segoe UI Semibold" panose="020B0702040204020203" pitchFamily="34" charset="0"/>
                  <a:cs typeface="Segoe UI Semibold" panose="020B0702040204020203" pitchFamily="34" charset="0"/>
                </a:rPr>
                <a:t>Manufacturing</a:t>
              </a:r>
              <a:br>
                <a:rPr lang="en-US" kern="0">
                  <a:latin typeface="Segoe UI Semibold" panose="020B0702040204020203" pitchFamily="34" charset="0"/>
                  <a:cs typeface="Segoe UI Semibold" panose="020B0702040204020203" pitchFamily="34" charset="0"/>
                </a:rPr>
              </a:br>
              <a:r>
                <a:rPr lang="en-US" kern="0">
                  <a:latin typeface="Segoe UI Semibold" panose="020B0702040204020203" pitchFamily="34" charset="0"/>
                  <a:cs typeface="Segoe UI Semibold" panose="020B0702040204020203" pitchFamily="34" charset="0"/>
                </a:rPr>
                <a:t>Plant Crew</a:t>
              </a:r>
            </a:p>
          </p:txBody>
        </p:sp>
      </p:grpSp>
      <p:grpSp>
        <p:nvGrpSpPr>
          <p:cNvPr id="702" name="Group 701">
            <a:extLst>
              <a:ext uri="{FF2B5EF4-FFF2-40B4-BE49-F238E27FC236}">
                <a16:creationId xmlns:a16="http://schemas.microsoft.com/office/drawing/2014/main" id="{E49C77A7-D5A5-48D7-BDAD-029487BCC387}"/>
              </a:ext>
            </a:extLst>
          </p:cNvPr>
          <p:cNvGrpSpPr/>
          <p:nvPr/>
        </p:nvGrpSpPr>
        <p:grpSpPr>
          <a:xfrm>
            <a:off x="5410458" y="3130526"/>
            <a:ext cx="1852227" cy="1837932"/>
            <a:chOff x="9576217" y="619135"/>
            <a:chExt cx="1852709" cy="1838411"/>
          </a:xfrm>
        </p:grpSpPr>
        <p:sp>
          <p:nvSpPr>
            <p:cNvPr id="703" name="Oval 702">
              <a:extLst>
                <a:ext uri="{FF2B5EF4-FFF2-40B4-BE49-F238E27FC236}">
                  <a16:creationId xmlns:a16="http://schemas.microsoft.com/office/drawing/2014/main" id="{E61F87B9-A912-40AF-980F-50F281093370}"/>
                </a:ext>
              </a:extLst>
            </p:cNvPr>
            <p:cNvSpPr/>
            <p:nvPr/>
          </p:nvSpPr>
          <p:spPr>
            <a:xfrm>
              <a:off x="9576217" y="619135"/>
              <a:ext cx="1852709" cy="1838411"/>
            </a:xfrm>
            <a:prstGeom prst="ellipse">
              <a:avLst/>
            </a:prstGeom>
            <a:solidFill>
              <a:sysClr val="window" lastClr="FFFFFF">
                <a:lumMod val="95000"/>
              </a:sysClr>
            </a:solidFill>
            <a:ln w="25400" cap="flat" cmpd="sng" algn="ctr">
              <a:noFill/>
              <a:prstDash val="solid"/>
            </a:ln>
            <a:effectLst/>
          </p:spPr>
          <p:txBody>
            <a:bodyPr rot="0" spcFirstLastPara="0" vertOverflow="overflow" horzOverflow="overflow" vert="horz" wrap="square" lIns="91392" tIns="91392" rIns="91392" bIns="91392" numCol="1" spcCol="0" rtlCol="0" fromWordArt="0" anchor="b" anchorCtr="0" forceAA="0" compatLnSpc="1">
              <a:prstTxWarp prst="textNoShape">
                <a:avLst/>
              </a:prstTxWarp>
              <a:noAutofit/>
            </a:bodyPr>
            <a:lstStyle/>
            <a:p>
              <a:pPr algn="r" defTabSz="913852">
                <a:defRPr/>
              </a:pPr>
              <a:endParaRPr lang="en-US" sz="1200" kern="0" dirty="0">
                <a:solidFill>
                  <a:prstClr val="white"/>
                </a:solidFill>
                <a:latin typeface="Segoe UI"/>
              </a:endParaRPr>
            </a:p>
          </p:txBody>
        </p:sp>
        <p:grpSp>
          <p:nvGrpSpPr>
            <p:cNvPr id="704" name="Group 703">
              <a:extLst>
                <a:ext uri="{FF2B5EF4-FFF2-40B4-BE49-F238E27FC236}">
                  <a16:creationId xmlns:a16="http://schemas.microsoft.com/office/drawing/2014/main" id="{77D00D90-8474-4DC1-BFD9-F1DE9A2A8D01}"/>
                </a:ext>
              </a:extLst>
            </p:cNvPr>
            <p:cNvGrpSpPr/>
            <p:nvPr/>
          </p:nvGrpSpPr>
          <p:grpSpPr>
            <a:xfrm>
              <a:off x="10013077" y="830993"/>
              <a:ext cx="982641" cy="728366"/>
              <a:chOff x="8913351" y="2182174"/>
              <a:chExt cx="1188318" cy="914851"/>
            </a:xfrm>
          </p:grpSpPr>
          <p:grpSp>
            <p:nvGrpSpPr>
              <p:cNvPr id="717" name="Group 716">
                <a:extLst>
                  <a:ext uri="{FF2B5EF4-FFF2-40B4-BE49-F238E27FC236}">
                    <a16:creationId xmlns:a16="http://schemas.microsoft.com/office/drawing/2014/main" id="{EA2E6BE7-2B15-4846-9ED9-D612F06ACAB2}"/>
                  </a:ext>
                </a:extLst>
              </p:cNvPr>
              <p:cNvGrpSpPr>
                <a:grpSpLocks noChangeAspect="1"/>
              </p:cNvGrpSpPr>
              <p:nvPr/>
            </p:nvGrpSpPr>
            <p:grpSpPr>
              <a:xfrm>
                <a:off x="9113399" y="2182174"/>
                <a:ext cx="788196" cy="376549"/>
                <a:chOff x="335107" y="1984056"/>
                <a:chExt cx="8623119" cy="4119564"/>
              </a:xfrm>
              <a:solidFill>
                <a:srgbClr val="7F7F7F"/>
              </a:solidFill>
            </p:grpSpPr>
            <p:sp>
              <p:nvSpPr>
                <p:cNvPr id="719" name="Freeform 216">
                  <a:extLst>
                    <a:ext uri="{FF2B5EF4-FFF2-40B4-BE49-F238E27FC236}">
                      <a16:creationId xmlns:a16="http://schemas.microsoft.com/office/drawing/2014/main" id="{7FEDD3C2-F35D-4AEF-B49C-CB1E740E3B2F}"/>
                    </a:ext>
                  </a:extLst>
                </p:cNvPr>
                <p:cNvSpPr/>
                <p:nvPr/>
              </p:nvSpPr>
              <p:spPr>
                <a:xfrm>
                  <a:off x="5423935" y="2187537"/>
                  <a:ext cx="1275676" cy="3054785"/>
                </a:xfrm>
                <a:custGeom>
                  <a:avLst/>
                  <a:gdLst/>
                  <a:ahLst/>
                  <a:cxnLst/>
                  <a:rect l="l" t="t" r="r" b="b"/>
                  <a:pathLst>
                    <a:path w="1275676" h="3054785">
                      <a:moveTo>
                        <a:pt x="909893" y="2571265"/>
                      </a:moveTo>
                      <a:cubicBezTo>
                        <a:pt x="927578" y="2591556"/>
                        <a:pt x="943146" y="2624131"/>
                        <a:pt x="953053" y="2679738"/>
                      </a:cubicBezTo>
                      <a:cubicBezTo>
                        <a:pt x="966614" y="2755857"/>
                        <a:pt x="1015135" y="2902136"/>
                        <a:pt x="1032104" y="3045768"/>
                      </a:cubicBezTo>
                      <a:lnTo>
                        <a:pt x="926033" y="3054785"/>
                      </a:lnTo>
                      <a:lnTo>
                        <a:pt x="843515" y="2994064"/>
                      </a:lnTo>
                      <a:lnTo>
                        <a:pt x="791128" y="2951202"/>
                      </a:lnTo>
                      <a:lnTo>
                        <a:pt x="789242" y="2950511"/>
                      </a:lnTo>
                      <a:cubicBezTo>
                        <a:pt x="821800" y="2828680"/>
                        <a:pt x="864407" y="2700040"/>
                        <a:pt x="909893" y="2571265"/>
                      </a:cubicBezTo>
                      <a:close/>
                      <a:moveTo>
                        <a:pt x="810922" y="2515507"/>
                      </a:moveTo>
                      <a:cubicBezTo>
                        <a:pt x="813163" y="2515338"/>
                        <a:pt x="815461" y="2515417"/>
                        <a:pt x="817564" y="2517542"/>
                      </a:cubicBezTo>
                      <a:cubicBezTo>
                        <a:pt x="792015" y="2589329"/>
                        <a:pt x="769100" y="2660102"/>
                        <a:pt x="749052" y="2731145"/>
                      </a:cubicBezTo>
                      <a:cubicBezTo>
                        <a:pt x="728674" y="2665687"/>
                        <a:pt x="718117" y="2603286"/>
                        <a:pt x="714164" y="2542305"/>
                      </a:cubicBezTo>
                      <a:cubicBezTo>
                        <a:pt x="724867" y="2542383"/>
                        <a:pt x="734802" y="2542128"/>
                        <a:pt x="743503" y="2541626"/>
                      </a:cubicBezTo>
                      <a:cubicBezTo>
                        <a:pt x="774459" y="2539840"/>
                        <a:pt x="790235" y="2517070"/>
                        <a:pt x="810922" y="2515507"/>
                      </a:cubicBezTo>
                      <a:close/>
                      <a:moveTo>
                        <a:pt x="396204" y="2451912"/>
                      </a:moveTo>
                      <a:cubicBezTo>
                        <a:pt x="411647" y="2483872"/>
                        <a:pt x="433855" y="2503483"/>
                        <a:pt x="462515" y="2517813"/>
                      </a:cubicBezTo>
                      <a:cubicBezTo>
                        <a:pt x="495852" y="2534482"/>
                        <a:pt x="539509" y="2532894"/>
                        <a:pt x="586340" y="2536863"/>
                      </a:cubicBezTo>
                      <a:cubicBezTo>
                        <a:pt x="606520" y="2538574"/>
                        <a:pt x="630828" y="2540136"/>
                        <a:pt x="655265" y="2541066"/>
                      </a:cubicBezTo>
                      <a:cubicBezTo>
                        <a:pt x="657458" y="2571620"/>
                        <a:pt x="660070" y="2600527"/>
                        <a:pt x="663066" y="2624898"/>
                      </a:cubicBezTo>
                      <a:cubicBezTo>
                        <a:pt x="668463" y="2668822"/>
                        <a:pt x="677606" y="2707999"/>
                        <a:pt x="686242" y="2744162"/>
                      </a:cubicBezTo>
                      <a:cubicBezTo>
                        <a:pt x="632838" y="2717984"/>
                        <a:pt x="514903" y="2670213"/>
                        <a:pt x="514903" y="2670213"/>
                      </a:cubicBezTo>
                      <a:lnTo>
                        <a:pt x="333928" y="2589251"/>
                      </a:lnTo>
                      <a:lnTo>
                        <a:pt x="323202" y="2584990"/>
                      </a:lnTo>
                      <a:lnTo>
                        <a:pt x="327453" y="2567034"/>
                      </a:lnTo>
                      <a:cubicBezTo>
                        <a:pt x="340667" y="2528713"/>
                        <a:pt x="369951" y="2489259"/>
                        <a:pt x="396204" y="2451912"/>
                      </a:cubicBezTo>
                      <a:close/>
                      <a:moveTo>
                        <a:pt x="356384" y="1755197"/>
                      </a:moveTo>
                      <a:lnTo>
                        <a:pt x="361013" y="1949619"/>
                      </a:lnTo>
                      <a:cubicBezTo>
                        <a:pt x="293278" y="2065222"/>
                        <a:pt x="276288" y="2307687"/>
                        <a:pt x="265731" y="2563792"/>
                      </a:cubicBezTo>
                      <a:cubicBezTo>
                        <a:pt x="245616" y="2556203"/>
                        <a:pt x="227467" y="2546676"/>
                        <a:pt x="210103" y="2527338"/>
                      </a:cubicBezTo>
                      <a:cubicBezTo>
                        <a:pt x="175178" y="2488444"/>
                        <a:pt x="152159" y="2401925"/>
                        <a:pt x="124378" y="2355888"/>
                      </a:cubicBezTo>
                      <a:cubicBezTo>
                        <a:pt x="96597" y="2309851"/>
                        <a:pt x="64052" y="2271750"/>
                        <a:pt x="43415" y="2251113"/>
                      </a:cubicBezTo>
                      <a:cubicBezTo>
                        <a:pt x="22778" y="2230476"/>
                        <a:pt x="-4209" y="2253494"/>
                        <a:pt x="553" y="2232063"/>
                      </a:cubicBezTo>
                      <a:cubicBezTo>
                        <a:pt x="5315" y="2210632"/>
                        <a:pt x="48177" y="2180470"/>
                        <a:pt x="71990" y="2122526"/>
                      </a:cubicBezTo>
                      <a:cubicBezTo>
                        <a:pt x="90351" y="2077850"/>
                        <a:pt x="107767" y="1994009"/>
                        <a:pt x="126665" y="1932199"/>
                      </a:cubicBezTo>
                      <a:lnTo>
                        <a:pt x="273061" y="1880184"/>
                      </a:lnTo>
                      <a:cubicBezTo>
                        <a:pt x="305463" y="1861666"/>
                        <a:pt x="310089" y="1787599"/>
                        <a:pt x="356384" y="1755197"/>
                      </a:cubicBezTo>
                      <a:close/>
                      <a:moveTo>
                        <a:pt x="537693" y="744"/>
                      </a:moveTo>
                      <a:cubicBezTo>
                        <a:pt x="581411" y="-1830"/>
                        <a:pt x="633485" y="2027"/>
                        <a:pt x="695853" y="16174"/>
                      </a:cubicBezTo>
                      <a:cubicBezTo>
                        <a:pt x="758217" y="30318"/>
                        <a:pt x="852732" y="64395"/>
                        <a:pt x="911876" y="85609"/>
                      </a:cubicBezTo>
                      <a:cubicBezTo>
                        <a:pt x="971031" y="106829"/>
                        <a:pt x="1018605" y="128046"/>
                        <a:pt x="1050752" y="143477"/>
                      </a:cubicBezTo>
                      <a:cubicBezTo>
                        <a:pt x="1082899" y="158907"/>
                        <a:pt x="1079686" y="149264"/>
                        <a:pt x="1104760" y="178194"/>
                      </a:cubicBezTo>
                      <a:cubicBezTo>
                        <a:pt x="1129837" y="207128"/>
                        <a:pt x="1173554" y="261132"/>
                        <a:pt x="1201202" y="317070"/>
                      </a:cubicBezTo>
                      <a:cubicBezTo>
                        <a:pt x="1228849" y="373008"/>
                        <a:pt x="1259066" y="453372"/>
                        <a:pt x="1270636" y="513810"/>
                      </a:cubicBezTo>
                      <a:cubicBezTo>
                        <a:pt x="1275863" y="541109"/>
                        <a:pt x="1276368" y="577588"/>
                        <a:pt x="1275078" y="609376"/>
                      </a:cubicBezTo>
                      <a:cubicBezTo>
                        <a:pt x="1207919" y="610739"/>
                        <a:pt x="1256062" y="594379"/>
                        <a:pt x="1219753" y="593763"/>
                      </a:cubicBezTo>
                      <a:cubicBezTo>
                        <a:pt x="1172922" y="592969"/>
                        <a:pt x="1123709" y="585032"/>
                        <a:pt x="1086403" y="598526"/>
                      </a:cubicBezTo>
                      <a:cubicBezTo>
                        <a:pt x="1049097" y="612020"/>
                        <a:pt x="1027665" y="660439"/>
                        <a:pt x="995915" y="674726"/>
                      </a:cubicBezTo>
                      <a:cubicBezTo>
                        <a:pt x="964165" y="689014"/>
                        <a:pt x="933209" y="669964"/>
                        <a:pt x="895903" y="684251"/>
                      </a:cubicBezTo>
                      <a:cubicBezTo>
                        <a:pt x="858597" y="698539"/>
                        <a:pt x="813353" y="722351"/>
                        <a:pt x="772078" y="760451"/>
                      </a:cubicBezTo>
                      <a:cubicBezTo>
                        <a:pt x="730803" y="798551"/>
                        <a:pt x="685559" y="851732"/>
                        <a:pt x="648253" y="912851"/>
                      </a:cubicBezTo>
                      <a:cubicBezTo>
                        <a:pt x="610947" y="973970"/>
                        <a:pt x="579196" y="1048582"/>
                        <a:pt x="548240" y="1127163"/>
                      </a:cubicBezTo>
                      <a:cubicBezTo>
                        <a:pt x="517284" y="1205744"/>
                        <a:pt x="486327" y="1295438"/>
                        <a:pt x="462515" y="1384338"/>
                      </a:cubicBezTo>
                      <a:cubicBezTo>
                        <a:pt x="438702" y="1473238"/>
                        <a:pt x="418065" y="1592300"/>
                        <a:pt x="405365" y="1660563"/>
                      </a:cubicBezTo>
                      <a:cubicBezTo>
                        <a:pt x="401622" y="1680683"/>
                        <a:pt x="398982" y="1695769"/>
                        <a:pt x="397031" y="1708455"/>
                      </a:cubicBezTo>
                      <a:lnTo>
                        <a:pt x="379531" y="1681708"/>
                      </a:lnTo>
                      <a:cubicBezTo>
                        <a:pt x="365064" y="1654708"/>
                        <a:pt x="382424" y="1649399"/>
                        <a:pt x="362170" y="1615163"/>
                      </a:cubicBezTo>
                      <a:cubicBezTo>
                        <a:pt x="346337" y="1588394"/>
                        <a:pt x="308388" y="1553075"/>
                        <a:pt x="279806" y="1511723"/>
                      </a:cubicBezTo>
                      <a:cubicBezTo>
                        <a:pt x="283185" y="1487626"/>
                        <a:pt x="285447" y="1466602"/>
                        <a:pt x="286303" y="1451013"/>
                      </a:cubicBezTo>
                      <a:cubicBezTo>
                        <a:pt x="290272" y="1378782"/>
                        <a:pt x="259315" y="1385926"/>
                        <a:pt x="248203" y="1351001"/>
                      </a:cubicBezTo>
                      <a:cubicBezTo>
                        <a:pt x="237090" y="1316076"/>
                        <a:pt x="217247" y="1279563"/>
                        <a:pt x="219628" y="1241463"/>
                      </a:cubicBezTo>
                      <a:cubicBezTo>
                        <a:pt x="222009" y="1203363"/>
                        <a:pt x="252171" y="1173995"/>
                        <a:pt x="262490" y="1122401"/>
                      </a:cubicBezTo>
                      <a:cubicBezTo>
                        <a:pt x="272809" y="1070807"/>
                        <a:pt x="281540" y="992226"/>
                        <a:pt x="281540" y="931901"/>
                      </a:cubicBezTo>
                      <a:cubicBezTo>
                        <a:pt x="281540" y="871576"/>
                        <a:pt x="281540" y="816807"/>
                        <a:pt x="262490" y="760451"/>
                      </a:cubicBezTo>
                      <a:cubicBezTo>
                        <a:pt x="251559" y="728114"/>
                        <a:pt x="235402" y="693947"/>
                        <a:pt x="214848" y="662136"/>
                      </a:cubicBezTo>
                      <a:lnTo>
                        <a:pt x="267253" y="612813"/>
                      </a:lnTo>
                      <a:lnTo>
                        <a:pt x="500615" y="488988"/>
                      </a:lnTo>
                      <a:lnTo>
                        <a:pt x="786365" y="479463"/>
                      </a:lnTo>
                      <a:lnTo>
                        <a:pt x="486328" y="446126"/>
                      </a:lnTo>
                      <a:lnTo>
                        <a:pt x="286303" y="531851"/>
                      </a:lnTo>
                      <a:lnTo>
                        <a:pt x="188793" y="624717"/>
                      </a:lnTo>
                      <a:cubicBezTo>
                        <a:pt x="183072" y="613128"/>
                        <a:pt x="175276" y="603190"/>
                        <a:pt x="167240" y="593763"/>
                      </a:cubicBezTo>
                      <a:cubicBezTo>
                        <a:pt x="128567" y="548397"/>
                        <a:pt x="168636" y="489094"/>
                        <a:pt x="42501" y="473501"/>
                      </a:cubicBezTo>
                      <a:cubicBezTo>
                        <a:pt x="46825" y="429492"/>
                        <a:pt x="64428" y="405518"/>
                        <a:pt x="82492" y="363364"/>
                      </a:cubicBezTo>
                      <a:cubicBezTo>
                        <a:pt x="103709" y="313853"/>
                        <a:pt x="135213" y="245058"/>
                        <a:pt x="167360" y="201341"/>
                      </a:cubicBezTo>
                      <a:cubicBezTo>
                        <a:pt x="199507" y="157620"/>
                        <a:pt x="231011" y="129333"/>
                        <a:pt x="275376" y="101043"/>
                      </a:cubicBezTo>
                      <a:cubicBezTo>
                        <a:pt x="319733" y="72752"/>
                        <a:pt x="389818" y="48322"/>
                        <a:pt x="433535" y="31608"/>
                      </a:cubicBezTo>
                      <a:cubicBezTo>
                        <a:pt x="477256" y="14888"/>
                        <a:pt x="493969" y="3314"/>
                        <a:pt x="537693" y="74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578">
                    <a:defRPr/>
                  </a:pPr>
                  <a:endParaRPr lang="en-US" sz="1797" kern="0">
                    <a:solidFill>
                      <a:srgbClr val="FFFFFF"/>
                    </a:solidFill>
                    <a:latin typeface="Segoe UI"/>
                  </a:endParaRPr>
                </a:p>
              </p:txBody>
            </p:sp>
            <p:sp>
              <p:nvSpPr>
                <p:cNvPr id="720" name="Man's Body">
                  <a:extLst>
                    <a:ext uri="{FF2B5EF4-FFF2-40B4-BE49-F238E27FC236}">
                      <a16:creationId xmlns:a16="http://schemas.microsoft.com/office/drawing/2014/main" id="{EF60B398-27E6-4568-AB10-8ACE4A9C1173}"/>
                    </a:ext>
                  </a:extLst>
                </p:cNvPr>
                <p:cNvSpPr>
                  <a:spLocks/>
                </p:cNvSpPr>
                <p:nvPr/>
              </p:nvSpPr>
              <p:spPr bwMode="auto">
                <a:xfrm>
                  <a:off x="4286421" y="1984056"/>
                  <a:ext cx="1109019" cy="638618"/>
                </a:xfrm>
                <a:custGeom>
                  <a:avLst/>
                  <a:gdLst/>
                  <a:ahLst/>
                  <a:cxnLst/>
                  <a:rect l="l" t="t" r="r" b="b"/>
                  <a:pathLst>
                    <a:path w="1109019" h="638618">
                      <a:moveTo>
                        <a:pt x="527057" y="506"/>
                      </a:moveTo>
                      <a:cubicBezTo>
                        <a:pt x="648121" y="6732"/>
                        <a:pt x="780445" y="70158"/>
                        <a:pt x="889294" y="181665"/>
                      </a:cubicBezTo>
                      <a:cubicBezTo>
                        <a:pt x="1063451" y="360077"/>
                        <a:pt x="1112509" y="452740"/>
                        <a:pt x="1108830" y="488699"/>
                      </a:cubicBezTo>
                      <a:cubicBezTo>
                        <a:pt x="1105150" y="523275"/>
                        <a:pt x="1069584" y="571681"/>
                        <a:pt x="1038921" y="564767"/>
                      </a:cubicBezTo>
                      <a:cubicBezTo>
                        <a:pt x="1007034" y="557851"/>
                        <a:pt x="1003354" y="527424"/>
                        <a:pt x="986183" y="510828"/>
                      </a:cubicBezTo>
                      <a:cubicBezTo>
                        <a:pt x="782591" y="317203"/>
                        <a:pt x="618246" y="347629"/>
                        <a:pt x="550790" y="371142"/>
                      </a:cubicBezTo>
                      <a:cubicBezTo>
                        <a:pt x="760068" y="390992"/>
                        <a:pt x="912422" y="533945"/>
                        <a:pt x="972020" y="608911"/>
                      </a:cubicBezTo>
                      <a:cubicBezTo>
                        <a:pt x="891545" y="581606"/>
                        <a:pt x="869616" y="586916"/>
                        <a:pt x="814218" y="578169"/>
                      </a:cubicBezTo>
                      <a:cubicBezTo>
                        <a:pt x="753893" y="568644"/>
                        <a:pt x="686424" y="559913"/>
                        <a:pt x="633243" y="559119"/>
                      </a:cubicBezTo>
                      <a:cubicBezTo>
                        <a:pt x="580062" y="558325"/>
                        <a:pt x="534818" y="561501"/>
                        <a:pt x="495131" y="573407"/>
                      </a:cubicBezTo>
                      <a:cubicBezTo>
                        <a:pt x="455444" y="585313"/>
                        <a:pt x="430837" y="621032"/>
                        <a:pt x="395118" y="630557"/>
                      </a:cubicBezTo>
                      <a:cubicBezTo>
                        <a:pt x="359399" y="640082"/>
                        <a:pt x="312568" y="642463"/>
                        <a:pt x="280818" y="630557"/>
                      </a:cubicBezTo>
                      <a:cubicBezTo>
                        <a:pt x="249068" y="618651"/>
                        <a:pt x="230812" y="588488"/>
                        <a:pt x="204618" y="559119"/>
                      </a:cubicBezTo>
                      <a:cubicBezTo>
                        <a:pt x="178424" y="529750"/>
                        <a:pt x="156200" y="486888"/>
                        <a:pt x="123656" y="454344"/>
                      </a:cubicBezTo>
                      <a:cubicBezTo>
                        <a:pt x="91112" y="421800"/>
                        <a:pt x="52218" y="394019"/>
                        <a:pt x="9356" y="363857"/>
                      </a:cubicBezTo>
                      <a:cubicBezTo>
                        <a:pt x="6109" y="361572"/>
                        <a:pt x="2861" y="359100"/>
                        <a:pt x="0" y="355996"/>
                      </a:cubicBezTo>
                      <a:cubicBezTo>
                        <a:pt x="20998" y="211335"/>
                        <a:pt x="96747" y="42345"/>
                        <a:pt x="328801" y="53043"/>
                      </a:cubicBezTo>
                      <a:cubicBezTo>
                        <a:pt x="385831" y="13626"/>
                        <a:pt x="454418" y="-3230"/>
                        <a:pt x="527057" y="50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721" name="Man's Body">
                  <a:extLst>
                    <a:ext uri="{FF2B5EF4-FFF2-40B4-BE49-F238E27FC236}">
                      <a16:creationId xmlns:a16="http://schemas.microsoft.com/office/drawing/2014/main" id="{D203D783-7FDB-4C6D-902E-A70F164CE3E1}"/>
                    </a:ext>
                  </a:extLst>
                </p:cNvPr>
                <p:cNvSpPr>
                  <a:spLocks/>
                </p:cNvSpPr>
                <p:nvPr/>
              </p:nvSpPr>
              <p:spPr bwMode="auto">
                <a:xfrm>
                  <a:off x="1933544" y="2281603"/>
                  <a:ext cx="1087125" cy="2339128"/>
                </a:xfrm>
                <a:custGeom>
                  <a:avLst/>
                  <a:gdLst/>
                  <a:ahLst/>
                  <a:cxnLst/>
                  <a:rect l="l" t="t" r="r" b="b"/>
                  <a:pathLst>
                    <a:path w="1087125" h="2339128">
                      <a:moveTo>
                        <a:pt x="148114" y="1900284"/>
                      </a:moveTo>
                      <a:cubicBezTo>
                        <a:pt x="220874" y="1957568"/>
                        <a:pt x="348888" y="2049369"/>
                        <a:pt x="516243" y="2068258"/>
                      </a:cubicBezTo>
                      <a:lnTo>
                        <a:pt x="495331" y="2090372"/>
                      </a:lnTo>
                      <a:cubicBezTo>
                        <a:pt x="449294" y="2138791"/>
                        <a:pt x="388175" y="2211022"/>
                        <a:pt x="338169" y="2252297"/>
                      </a:cubicBezTo>
                      <a:cubicBezTo>
                        <a:pt x="288163" y="2293572"/>
                        <a:pt x="225456" y="2347547"/>
                        <a:pt x="195294" y="2338022"/>
                      </a:cubicBezTo>
                      <a:cubicBezTo>
                        <a:pt x="165132" y="2328497"/>
                        <a:pt x="175450" y="2234834"/>
                        <a:pt x="157194" y="2195147"/>
                      </a:cubicBezTo>
                      <a:cubicBezTo>
                        <a:pt x="138938" y="2155460"/>
                        <a:pt x="111950" y="2112597"/>
                        <a:pt x="85756" y="2099897"/>
                      </a:cubicBezTo>
                      <a:cubicBezTo>
                        <a:pt x="59562" y="2087197"/>
                        <a:pt x="-1556" y="2133234"/>
                        <a:pt x="31" y="2118947"/>
                      </a:cubicBezTo>
                      <a:cubicBezTo>
                        <a:pt x="1618" y="2104660"/>
                        <a:pt x="65912" y="2063384"/>
                        <a:pt x="95281" y="2014172"/>
                      </a:cubicBezTo>
                      <a:cubicBezTo>
                        <a:pt x="112544" y="1985245"/>
                        <a:pt x="132002" y="1941507"/>
                        <a:pt x="148114" y="1900284"/>
                      </a:cubicBezTo>
                      <a:close/>
                      <a:moveTo>
                        <a:pt x="300366" y="1598710"/>
                      </a:moveTo>
                      <a:cubicBezTo>
                        <a:pt x="322928" y="1593356"/>
                        <a:pt x="499132" y="1755026"/>
                        <a:pt x="596386" y="1777949"/>
                      </a:cubicBezTo>
                      <a:lnTo>
                        <a:pt x="614394" y="1795097"/>
                      </a:lnTo>
                      <a:cubicBezTo>
                        <a:pt x="638206" y="1830816"/>
                        <a:pt x="647731" y="1881616"/>
                        <a:pt x="647731" y="1909397"/>
                      </a:cubicBezTo>
                      <a:cubicBezTo>
                        <a:pt x="647731" y="1937178"/>
                        <a:pt x="639794" y="1931622"/>
                        <a:pt x="614394" y="1961785"/>
                      </a:cubicBezTo>
                      <a:cubicBezTo>
                        <a:pt x="607207" y="1970320"/>
                        <a:pt x="598240" y="1980444"/>
                        <a:pt x="588003" y="1991644"/>
                      </a:cubicBezTo>
                      <a:cubicBezTo>
                        <a:pt x="401521" y="1979273"/>
                        <a:pt x="213522" y="1820684"/>
                        <a:pt x="209777" y="1788323"/>
                      </a:cubicBezTo>
                      <a:cubicBezTo>
                        <a:pt x="205894" y="1753317"/>
                        <a:pt x="274484" y="1603086"/>
                        <a:pt x="300366" y="1598710"/>
                      </a:cubicBezTo>
                      <a:close/>
                      <a:moveTo>
                        <a:pt x="594957" y="534"/>
                      </a:moveTo>
                      <a:cubicBezTo>
                        <a:pt x="722687" y="7103"/>
                        <a:pt x="862297" y="74022"/>
                        <a:pt x="977139" y="191669"/>
                      </a:cubicBezTo>
                      <a:cubicBezTo>
                        <a:pt x="1021009" y="236610"/>
                        <a:pt x="1057355" y="276395"/>
                        <a:pt x="1087125" y="311518"/>
                      </a:cubicBezTo>
                      <a:cubicBezTo>
                        <a:pt x="1049367" y="328933"/>
                        <a:pt x="1022410" y="352709"/>
                        <a:pt x="981106" y="366347"/>
                      </a:cubicBezTo>
                      <a:cubicBezTo>
                        <a:pt x="944893" y="378304"/>
                        <a:pt x="910738" y="390997"/>
                        <a:pt x="878907" y="405059"/>
                      </a:cubicBezTo>
                      <a:cubicBezTo>
                        <a:pt x="759679" y="355398"/>
                        <a:pt x="667278" y="375098"/>
                        <a:pt x="619996" y="391578"/>
                      </a:cubicBezTo>
                      <a:cubicBezTo>
                        <a:pt x="686882" y="397922"/>
                        <a:pt x="748256" y="416185"/>
                        <a:pt x="802895" y="441165"/>
                      </a:cubicBezTo>
                      <a:lnTo>
                        <a:pt x="762031" y="461597"/>
                      </a:lnTo>
                      <a:cubicBezTo>
                        <a:pt x="700119" y="497316"/>
                        <a:pt x="650112" y="528273"/>
                        <a:pt x="609631" y="580660"/>
                      </a:cubicBezTo>
                      <a:cubicBezTo>
                        <a:pt x="569150" y="633047"/>
                        <a:pt x="541369" y="702897"/>
                        <a:pt x="519144" y="775922"/>
                      </a:cubicBezTo>
                      <a:cubicBezTo>
                        <a:pt x="496919" y="848947"/>
                        <a:pt x="482631" y="944991"/>
                        <a:pt x="476281" y="1018810"/>
                      </a:cubicBezTo>
                      <a:cubicBezTo>
                        <a:pt x="469931" y="1092629"/>
                        <a:pt x="479457" y="1144223"/>
                        <a:pt x="481044" y="1218835"/>
                      </a:cubicBezTo>
                      <a:cubicBezTo>
                        <a:pt x="482631" y="1293447"/>
                        <a:pt x="481837" y="1387110"/>
                        <a:pt x="485806" y="1466485"/>
                      </a:cubicBezTo>
                      <a:cubicBezTo>
                        <a:pt x="488264" y="1515644"/>
                        <a:pt x="486764" y="1570588"/>
                        <a:pt x="491052" y="1618253"/>
                      </a:cubicBezTo>
                      <a:cubicBezTo>
                        <a:pt x="410332" y="1566195"/>
                        <a:pt x="328150" y="1493901"/>
                        <a:pt x="318496" y="1475757"/>
                      </a:cubicBezTo>
                      <a:cubicBezTo>
                        <a:pt x="315899" y="1471251"/>
                        <a:pt x="311051" y="1464346"/>
                        <a:pt x="304709" y="1455294"/>
                      </a:cubicBezTo>
                      <a:cubicBezTo>
                        <a:pt x="315763" y="1411159"/>
                        <a:pt x="324775" y="1369039"/>
                        <a:pt x="328644" y="1342660"/>
                      </a:cubicBezTo>
                      <a:cubicBezTo>
                        <a:pt x="337375" y="1283129"/>
                        <a:pt x="327056" y="1275191"/>
                        <a:pt x="314356" y="1247410"/>
                      </a:cubicBezTo>
                      <a:cubicBezTo>
                        <a:pt x="301656" y="1219629"/>
                        <a:pt x="261969" y="1202959"/>
                        <a:pt x="252444" y="1175972"/>
                      </a:cubicBezTo>
                      <a:cubicBezTo>
                        <a:pt x="242919" y="1148985"/>
                        <a:pt x="260381" y="1112473"/>
                        <a:pt x="257206" y="1085485"/>
                      </a:cubicBezTo>
                      <a:cubicBezTo>
                        <a:pt x="254031" y="1058497"/>
                        <a:pt x="224663" y="1025953"/>
                        <a:pt x="233394" y="1014047"/>
                      </a:cubicBezTo>
                      <a:cubicBezTo>
                        <a:pt x="242125" y="1002141"/>
                        <a:pt x="284194" y="1028334"/>
                        <a:pt x="309594" y="1014047"/>
                      </a:cubicBezTo>
                      <a:cubicBezTo>
                        <a:pt x="334994" y="999760"/>
                        <a:pt x="373888" y="964834"/>
                        <a:pt x="385794" y="928322"/>
                      </a:cubicBezTo>
                      <a:cubicBezTo>
                        <a:pt x="397700" y="891810"/>
                        <a:pt x="396112" y="839422"/>
                        <a:pt x="381031" y="794972"/>
                      </a:cubicBezTo>
                      <a:cubicBezTo>
                        <a:pt x="365950" y="750522"/>
                        <a:pt x="332612" y="708453"/>
                        <a:pt x="295306" y="661622"/>
                      </a:cubicBezTo>
                      <a:cubicBezTo>
                        <a:pt x="258000" y="614791"/>
                        <a:pt x="208788" y="566372"/>
                        <a:pt x="157194" y="513985"/>
                      </a:cubicBezTo>
                      <a:cubicBezTo>
                        <a:pt x="115841" y="471996"/>
                        <a:pt x="97944" y="422357"/>
                        <a:pt x="38211" y="378976"/>
                      </a:cubicBezTo>
                      <a:cubicBezTo>
                        <a:pt x="59848" y="225643"/>
                        <a:pt x="139125" y="44593"/>
                        <a:pt x="385784" y="55964"/>
                      </a:cubicBezTo>
                      <a:cubicBezTo>
                        <a:pt x="445955" y="14377"/>
                        <a:pt x="518318" y="-3408"/>
                        <a:pt x="594957" y="534"/>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722" name="Man's Body">
                  <a:extLst>
                    <a:ext uri="{FF2B5EF4-FFF2-40B4-BE49-F238E27FC236}">
                      <a16:creationId xmlns:a16="http://schemas.microsoft.com/office/drawing/2014/main" id="{49C43566-595D-4B43-87FD-57052F1761D4}"/>
                    </a:ext>
                  </a:extLst>
                </p:cNvPr>
                <p:cNvSpPr>
                  <a:spLocks/>
                </p:cNvSpPr>
                <p:nvPr/>
              </p:nvSpPr>
              <p:spPr bwMode="auto">
                <a:xfrm>
                  <a:off x="7167183" y="2655935"/>
                  <a:ext cx="1791043" cy="3077332"/>
                </a:xfrm>
                <a:custGeom>
                  <a:avLst/>
                  <a:gdLst/>
                  <a:ahLst/>
                  <a:cxnLst/>
                  <a:rect l="l" t="t" r="r" b="b"/>
                  <a:pathLst>
                    <a:path w="1791043" h="3077332">
                      <a:moveTo>
                        <a:pt x="1025015" y="1789010"/>
                      </a:moveTo>
                      <a:cubicBezTo>
                        <a:pt x="1052456" y="1797149"/>
                        <a:pt x="1104448" y="2023401"/>
                        <a:pt x="1163660" y="2039679"/>
                      </a:cubicBezTo>
                      <a:cubicBezTo>
                        <a:pt x="1305194" y="2077117"/>
                        <a:pt x="1705242" y="2228494"/>
                        <a:pt x="1763012" y="2334297"/>
                      </a:cubicBezTo>
                      <a:cubicBezTo>
                        <a:pt x="1819336" y="2441727"/>
                        <a:pt x="1797673" y="2617520"/>
                        <a:pt x="1634476" y="2912138"/>
                      </a:cubicBezTo>
                      <a:cubicBezTo>
                        <a:pt x="1581040" y="2785176"/>
                        <a:pt x="1492942" y="2694024"/>
                        <a:pt x="1466947" y="2677746"/>
                      </a:cubicBezTo>
                      <a:cubicBezTo>
                        <a:pt x="1510273" y="2767271"/>
                        <a:pt x="1536270" y="2931671"/>
                        <a:pt x="1550711" y="3037473"/>
                      </a:cubicBezTo>
                      <a:cubicBezTo>
                        <a:pt x="1272518" y="3065184"/>
                        <a:pt x="1017016" y="3074577"/>
                        <a:pt x="836493" y="3077332"/>
                      </a:cubicBezTo>
                      <a:cubicBezTo>
                        <a:pt x="905753" y="2981037"/>
                        <a:pt x="872415" y="2957070"/>
                        <a:pt x="886206" y="2901903"/>
                      </a:cubicBezTo>
                      <a:cubicBezTo>
                        <a:pt x="901287" y="2841578"/>
                        <a:pt x="906844" y="2798715"/>
                        <a:pt x="905256" y="2744740"/>
                      </a:cubicBezTo>
                      <a:cubicBezTo>
                        <a:pt x="903669" y="2690765"/>
                        <a:pt x="915575" y="2629647"/>
                        <a:pt x="876681" y="2578053"/>
                      </a:cubicBezTo>
                      <a:cubicBezTo>
                        <a:pt x="837787" y="2526459"/>
                        <a:pt x="764762" y="2482009"/>
                        <a:pt x="671893" y="2435178"/>
                      </a:cubicBezTo>
                      <a:cubicBezTo>
                        <a:pt x="579024" y="2388347"/>
                        <a:pt x="408368" y="2336753"/>
                        <a:pt x="319468" y="2297065"/>
                      </a:cubicBezTo>
                      <a:cubicBezTo>
                        <a:pt x="230568" y="2257378"/>
                        <a:pt x="183737" y="2238328"/>
                        <a:pt x="138493" y="2197053"/>
                      </a:cubicBezTo>
                      <a:cubicBezTo>
                        <a:pt x="114008" y="2174716"/>
                        <a:pt x="89523" y="2140522"/>
                        <a:pt x="72566" y="2109744"/>
                      </a:cubicBezTo>
                      <a:cubicBezTo>
                        <a:pt x="161803" y="2180615"/>
                        <a:pt x="342491" y="2318445"/>
                        <a:pt x="583084" y="2314764"/>
                      </a:cubicBezTo>
                      <a:cubicBezTo>
                        <a:pt x="894952" y="2309883"/>
                        <a:pt x="961434" y="2134181"/>
                        <a:pt x="961470" y="2134087"/>
                      </a:cubicBezTo>
                      <a:cubicBezTo>
                        <a:pt x="961431" y="2134155"/>
                        <a:pt x="905040" y="2231748"/>
                        <a:pt x="600415" y="2225240"/>
                      </a:cubicBezTo>
                      <a:cubicBezTo>
                        <a:pt x="448124" y="2222935"/>
                        <a:pt x="290769" y="2127693"/>
                        <a:pt x="210656" y="2058477"/>
                      </a:cubicBezTo>
                      <a:cubicBezTo>
                        <a:pt x="247111" y="2063660"/>
                        <a:pt x="286103" y="2068919"/>
                        <a:pt x="314706" y="2068465"/>
                      </a:cubicBezTo>
                      <a:cubicBezTo>
                        <a:pt x="364712" y="2067671"/>
                        <a:pt x="409162" y="2072434"/>
                        <a:pt x="438531" y="2044653"/>
                      </a:cubicBezTo>
                      <a:cubicBezTo>
                        <a:pt x="462255" y="2022212"/>
                        <a:pt x="476137" y="1982161"/>
                        <a:pt x="483486" y="1935462"/>
                      </a:cubicBezTo>
                      <a:cubicBezTo>
                        <a:pt x="533060" y="1967097"/>
                        <a:pt x="580637" y="1990306"/>
                        <a:pt x="613413" y="1989219"/>
                      </a:cubicBezTo>
                      <a:cubicBezTo>
                        <a:pt x="877705" y="1977826"/>
                        <a:pt x="999020" y="1779243"/>
                        <a:pt x="1025015" y="1789010"/>
                      </a:cubicBezTo>
                      <a:close/>
                      <a:moveTo>
                        <a:pt x="585448" y="596"/>
                      </a:moveTo>
                      <a:cubicBezTo>
                        <a:pt x="727992" y="7927"/>
                        <a:pt x="935211" y="76180"/>
                        <a:pt x="1038898" y="151026"/>
                      </a:cubicBezTo>
                      <a:cubicBezTo>
                        <a:pt x="1142584" y="225871"/>
                        <a:pt x="1211900" y="407326"/>
                        <a:pt x="1207568" y="449665"/>
                      </a:cubicBezTo>
                      <a:cubicBezTo>
                        <a:pt x="1203236" y="490376"/>
                        <a:pt x="1199071" y="612532"/>
                        <a:pt x="1188131" y="664973"/>
                      </a:cubicBezTo>
                      <a:cubicBezTo>
                        <a:pt x="1177190" y="717413"/>
                        <a:pt x="1149623" y="723595"/>
                        <a:pt x="1141921" y="764306"/>
                      </a:cubicBezTo>
                      <a:cubicBezTo>
                        <a:pt x="1157802" y="803380"/>
                        <a:pt x="1141928" y="909191"/>
                        <a:pt x="1141921" y="909236"/>
                      </a:cubicBezTo>
                      <a:cubicBezTo>
                        <a:pt x="1141991" y="909241"/>
                        <a:pt x="1208348" y="914147"/>
                        <a:pt x="1208348" y="962974"/>
                      </a:cubicBezTo>
                      <a:cubicBezTo>
                        <a:pt x="1208348" y="1011818"/>
                        <a:pt x="1137615" y="1280417"/>
                        <a:pt x="1137589" y="1280518"/>
                      </a:cubicBezTo>
                      <a:cubicBezTo>
                        <a:pt x="1137566" y="1280557"/>
                        <a:pt x="1118803" y="1313084"/>
                        <a:pt x="1097155" y="1308200"/>
                      </a:cubicBezTo>
                      <a:cubicBezTo>
                        <a:pt x="1074050" y="1506868"/>
                        <a:pt x="994626" y="1630630"/>
                        <a:pt x="926755" y="1690881"/>
                      </a:cubicBezTo>
                      <a:cubicBezTo>
                        <a:pt x="860327" y="1749505"/>
                        <a:pt x="705811" y="1868380"/>
                        <a:pt x="613391" y="1868380"/>
                      </a:cubicBezTo>
                      <a:cubicBezTo>
                        <a:pt x="583727" y="1868380"/>
                        <a:pt x="540227" y="1848919"/>
                        <a:pt x="494585" y="1820862"/>
                      </a:cubicBezTo>
                      <a:cubicBezTo>
                        <a:pt x="495428" y="1780245"/>
                        <a:pt x="492769" y="1734980"/>
                        <a:pt x="490918" y="1682703"/>
                      </a:cubicBezTo>
                      <a:cubicBezTo>
                        <a:pt x="487743" y="1593009"/>
                        <a:pt x="490124" y="1492202"/>
                        <a:pt x="471868" y="1363615"/>
                      </a:cubicBezTo>
                      <a:cubicBezTo>
                        <a:pt x="453612" y="1235028"/>
                        <a:pt x="405987" y="1022303"/>
                        <a:pt x="381381" y="911178"/>
                      </a:cubicBezTo>
                      <a:cubicBezTo>
                        <a:pt x="356775" y="800053"/>
                        <a:pt x="352806" y="754809"/>
                        <a:pt x="324231" y="696865"/>
                      </a:cubicBezTo>
                      <a:cubicBezTo>
                        <a:pt x="295656" y="638921"/>
                        <a:pt x="255968" y="620665"/>
                        <a:pt x="209931" y="563515"/>
                      </a:cubicBezTo>
                      <a:cubicBezTo>
                        <a:pt x="163894" y="506365"/>
                        <a:pt x="103569" y="415084"/>
                        <a:pt x="48006" y="353965"/>
                      </a:cubicBezTo>
                      <a:cubicBezTo>
                        <a:pt x="28279" y="332265"/>
                        <a:pt x="14655" y="310564"/>
                        <a:pt x="0" y="290327"/>
                      </a:cubicBezTo>
                      <a:cubicBezTo>
                        <a:pt x="45987" y="162254"/>
                        <a:pt x="147389" y="53021"/>
                        <a:pt x="352016" y="62454"/>
                      </a:cubicBezTo>
                      <a:cubicBezTo>
                        <a:pt x="419165" y="16044"/>
                        <a:pt x="499920" y="-3803"/>
                        <a:pt x="585448" y="59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723" name="Man's Body">
                  <a:extLst>
                    <a:ext uri="{FF2B5EF4-FFF2-40B4-BE49-F238E27FC236}">
                      <a16:creationId xmlns:a16="http://schemas.microsoft.com/office/drawing/2014/main" id="{96615612-77AF-4B2B-A953-A885E83E75CF}"/>
                    </a:ext>
                  </a:extLst>
                </p:cNvPr>
                <p:cNvSpPr>
                  <a:spLocks/>
                </p:cNvSpPr>
                <p:nvPr/>
              </p:nvSpPr>
              <p:spPr bwMode="auto">
                <a:xfrm>
                  <a:off x="3394954" y="2270725"/>
                  <a:ext cx="1220879" cy="2577721"/>
                </a:xfrm>
                <a:custGeom>
                  <a:avLst/>
                  <a:gdLst/>
                  <a:ahLst/>
                  <a:cxnLst/>
                  <a:rect l="l" t="t" r="r" b="b"/>
                  <a:pathLst>
                    <a:path w="1220879" h="2577721">
                      <a:moveTo>
                        <a:pt x="1000694" y="1726538"/>
                      </a:moveTo>
                      <a:cubicBezTo>
                        <a:pt x="1015159" y="1730828"/>
                        <a:pt x="1036692" y="1797918"/>
                        <a:pt x="1062780" y="1860398"/>
                      </a:cubicBezTo>
                      <a:lnTo>
                        <a:pt x="1072271" y="1886939"/>
                      </a:lnTo>
                      <a:cubicBezTo>
                        <a:pt x="1100846" y="1947264"/>
                        <a:pt x="1157203" y="2022670"/>
                        <a:pt x="1181809" y="2063151"/>
                      </a:cubicBezTo>
                      <a:cubicBezTo>
                        <a:pt x="1206415" y="2103632"/>
                        <a:pt x="1225465" y="2098076"/>
                        <a:pt x="1219909" y="2129826"/>
                      </a:cubicBezTo>
                      <a:cubicBezTo>
                        <a:pt x="1214353" y="2161576"/>
                        <a:pt x="1178633" y="2203645"/>
                        <a:pt x="1148471" y="2253651"/>
                      </a:cubicBezTo>
                      <a:cubicBezTo>
                        <a:pt x="1118309" y="2303657"/>
                        <a:pt x="1085765" y="2388589"/>
                        <a:pt x="1038934" y="2429864"/>
                      </a:cubicBezTo>
                      <a:cubicBezTo>
                        <a:pt x="992103" y="2471139"/>
                        <a:pt x="926222" y="2476695"/>
                        <a:pt x="867484" y="2501301"/>
                      </a:cubicBezTo>
                      <a:cubicBezTo>
                        <a:pt x="867484" y="2501301"/>
                        <a:pt x="738896" y="2574326"/>
                        <a:pt x="686509" y="2577501"/>
                      </a:cubicBezTo>
                      <a:cubicBezTo>
                        <a:pt x="634122" y="2580676"/>
                        <a:pt x="626184" y="2548926"/>
                        <a:pt x="553159" y="2520351"/>
                      </a:cubicBezTo>
                      <a:cubicBezTo>
                        <a:pt x="480134" y="2491776"/>
                        <a:pt x="311859" y="2440182"/>
                        <a:pt x="248359" y="2406051"/>
                      </a:cubicBezTo>
                      <a:cubicBezTo>
                        <a:pt x="184859" y="2371920"/>
                        <a:pt x="187240" y="2346520"/>
                        <a:pt x="172159" y="2315564"/>
                      </a:cubicBezTo>
                      <a:cubicBezTo>
                        <a:pt x="157078" y="2284608"/>
                        <a:pt x="140409" y="2261589"/>
                        <a:pt x="157871" y="2220314"/>
                      </a:cubicBezTo>
                      <a:cubicBezTo>
                        <a:pt x="168198" y="2195906"/>
                        <a:pt x="198233" y="2167333"/>
                        <a:pt x="226485" y="2135786"/>
                      </a:cubicBezTo>
                      <a:cubicBezTo>
                        <a:pt x="316982" y="2189270"/>
                        <a:pt x="435235" y="2236059"/>
                        <a:pt x="574195" y="2233933"/>
                      </a:cubicBezTo>
                      <a:cubicBezTo>
                        <a:pt x="875173" y="2229222"/>
                        <a:pt x="939333" y="2059656"/>
                        <a:pt x="939368" y="2059565"/>
                      </a:cubicBezTo>
                      <a:cubicBezTo>
                        <a:pt x="939349" y="2059598"/>
                        <a:pt x="884958" y="2153817"/>
                        <a:pt x="590920" y="2147535"/>
                      </a:cubicBezTo>
                      <a:cubicBezTo>
                        <a:pt x="481175" y="2145874"/>
                        <a:pt x="368705" y="2094204"/>
                        <a:pt x="286708" y="2040070"/>
                      </a:cubicBezTo>
                      <a:cubicBezTo>
                        <a:pt x="307092" y="1982179"/>
                        <a:pt x="314374" y="1903887"/>
                        <a:pt x="324559" y="1872651"/>
                      </a:cubicBezTo>
                      <a:cubicBezTo>
                        <a:pt x="333489" y="1845267"/>
                        <a:pt x="333488" y="1864317"/>
                        <a:pt x="339628" y="1861489"/>
                      </a:cubicBezTo>
                      <a:lnTo>
                        <a:pt x="348371" y="1848839"/>
                      </a:lnTo>
                      <a:cubicBezTo>
                        <a:pt x="354151" y="1836701"/>
                        <a:pt x="363405" y="1817932"/>
                        <a:pt x="373314" y="1796017"/>
                      </a:cubicBezTo>
                      <a:cubicBezTo>
                        <a:pt x="451017" y="1853032"/>
                        <a:pt x="548670" y="1921572"/>
                        <a:pt x="603465" y="1919756"/>
                      </a:cubicBezTo>
                      <a:cubicBezTo>
                        <a:pt x="858528" y="1908760"/>
                        <a:pt x="975606" y="1717113"/>
                        <a:pt x="1000694" y="1726538"/>
                      </a:cubicBezTo>
                      <a:close/>
                      <a:moveTo>
                        <a:pt x="576476" y="576"/>
                      </a:moveTo>
                      <a:cubicBezTo>
                        <a:pt x="714043" y="7650"/>
                        <a:pt x="864404" y="79722"/>
                        <a:pt x="988090" y="206429"/>
                      </a:cubicBezTo>
                      <a:cubicBezTo>
                        <a:pt x="1037022" y="256557"/>
                        <a:pt x="1077264" y="300727"/>
                        <a:pt x="1110031" y="339462"/>
                      </a:cubicBezTo>
                      <a:cubicBezTo>
                        <a:pt x="1051415" y="362041"/>
                        <a:pt x="1030281" y="393446"/>
                        <a:pt x="996071" y="424851"/>
                      </a:cubicBezTo>
                      <a:cubicBezTo>
                        <a:pt x="979245" y="440298"/>
                        <a:pt x="967211" y="456704"/>
                        <a:pt x="958497" y="474522"/>
                      </a:cubicBezTo>
                      <a:cubicBezTo>
                        <a:pt x="793415" y="374586"/>
                        <a:pt x="664033" y="400614"/>
                        <a:pt x="603444" y="421733"/>
                      </a:cubicBezTo>
                      <a:cubicBezTo>
                        <a:pt x="733011" y="434023"/>
                        <a:pt x="843377" y="487838"/>
                        <a:pt x="927312" y="549009"/>
                      </a:cubicBezTo>
                      <a:lnTo>
                        <a:pt x="915109" y="582014"/>
                      </a:lnTo>
                      <a:cubicBezTo>
                        <a:pt x="891297" y="642339"/>
                        <a:pt x="862721" y="710601"/>
                        <a:pt x="853196" y="786801"/>
                      </a:cubicBezTo>
                      <a:cubicBezTo>
                        <a:pt x="843671" y="863001"/>
                        <a:pt x="847640" y="966983"/>
                        <a:pt x="857959" y="1039214"/>
                      </a:cubicBezTo>
                      <a:cubicBezTo>
                        <a:pt x="868278" y="1111445"/>
                        <a:pt x="900028" y="1178120"/>
                        <a:pt x="915109" y="1220189"/>
                      </a:cubicBezTo>
                      <a:cubicBezTo>
                        <a:pt x="930190" y="1262258"/>
                        <a:pt x="946859" y="1272576"/>
                        <a:pt x="948446" y="1291626"/>
                      </a:cubicBezTo>
                      <a:cubicBezTo>
                        <a:pt x="950033" y="1310676"/>
                        <a:pt x="930984" y="1315439"/>
                        <a:pt x="924634" y="1334489"/>
                      </a:cubicBezTo>
                      <a:cubicBezTo>
                        <a:pt x="918284" y="1353539"/>
                        <a:pt x="907171" y="1371001"/>
                        <a:pt x="910346" y="1405926"/>
                      </a:cubicBezTo>
                      <a:cubicBezTo>
                        <a:pt x="913521" y="1440851"/>
                        <a:pt x="927015" y="1494827"/>
                        <a:pt x="943684" y="1544039"/>
                      </a:cubicBezTo>
                      <a:cubicBezTo>
                        <a:pt x="947240" y="1554538"/>
                        <a:pt x="951338" y="1565109"/>
                        <a:pt x="956769" y="1575392"/>
                      </a:cubicBezTo>
                      <a:cubicBezTo>
                        <a:pt x="939866" y="1598334"/>
                        <a:pt x="922505" y="1617063"/>
                        <a:pt x="905864" y="1631836"/>
                      </a:cubicBezTo>
                      <a:cubicBezTo>
                        <a:pt x="841757" y="1688412"/>
                        <a:pt x="692637" y="1803136"/>
                        <a:pt x="603444" y="1803136"/>
                      </a:cubicBezTo>
                      <a:cubicBezTo>
                        <a:pt x="557961" y="1803136"/>
                        <a:pt x="478776" y="1755732"/>
                        <a:pt x="409934" y="1705014"/>
                      </a:cubicBezTo>
                      <a:lnTo>
                        <a:pt x="419809" y="1672626"/>
                      </a:lnTo>
                      <a:cubicBezTo>
                        <a:pt x="433303" y="1613095"/>
                        <a:pt x="419809" y="1540070"/>
                        <a:pt x="429334" y="1491651"/>
                      </a:cubicBezTo>
                      <a:cubicBezTo>
                        <a:pt x="438859" y="1443232"/>
                        <a:pt x="464259" y="1418627"/>
                        <a:pt x="476959" y="1382114"/>
                      </a:cubicBezTo>
                      <a:cubicBezTo>
                        <a:pt x="489659" y="1345602"/>
                        <a:pt x="506328" y="1301151"/>
                        <a:pt x="505534" y="1272576"/>
                      </a:cubicBezTo>
                      <a:cubicBezTo>
                        <a:pt x="504740" y="1244001"/>
                        <a:pt x="472990" y="1247177"/>
                        <a:pt x="472196" y="1210664"/>
                      </a:cubicBezTo>
                      <a:cubicBezTo>
                        <a:pt x="471402" y="1174152"/>
                        <a:pt x="493627" y="1105095"/>
                        <a:pt x="500771" y="1053501"/>
                      </a:cubicBezTo>
                      <a:cubicBezTo>
                        <a:pt x="507915" y="1001907"/>
                        <a:pt x="519028" y="948726"/>
                        <a:pt x="515059" y="901101"/>
                      </a:cubicBezTo>
                      <a:cubicBezTo>
                        <a:pt x="511090" y="853476"/>
                        <a:pt x="496009" y="818551"/>
                        <a:pt x="476959" y="767751"/>
                      </a:cubicBezTo>
                      <a:cubicBezTo>
                        <a:pt x="457909" y="716951"/>
                        <a:pt x="430128" y="646307"/>
                        <a:pt x="400759" y="596301"/>
                      </a:cubicBezTo>
                      <a:cubicBezTo>
                        <a:pt x="371390" y="546295"/>
                        <a:pt x="342021" y="502639"/>
                        <a:pt x="300746" y="467714"/>
                      </a:cubicBezTo>
                      <a:cubicBezTo>
                        <a:pt x="259471" y="432789"/>
                        <a:pt x="207878" y="412151"/>
                        <a:pt x="153109" y="386751"/>
                      </a:cubicBezTo>
                      <a:cubicBezTo>
                        <a:pt x="102114" y="363101"/>
                        <a:pt x="114428" y="279585"/>
                        <a:pt x="0" y="308275"/>
                      </a:cubicBezTo>
                      <a:cubicBezTo>
                        <a:pt x="41291" y="173605"/>
                        <a:pt x="138419" y="50464"/>
                        <a:pt x="351195" y="60273"/>
                      </a:cubicBezTo>
                      <a:cubicBezTo>
                        <a:pt x="415999" y="15484"/>
                        <a:pt x="493935" y="-3670"/>
                        <a:pt x="576476" y="57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724" name="Man's Body">
                  <a:extLst>
                    <a:ext uri="{FF2B5EF4-FFF2-40B4-BE49-F238E27FC236}">
                      <a16:creationId xmlns:a16="http://schemas.microsoft.com/office/drawing/2014/main" id="{FD33ED24-04A4-47CE-ABEB-C6699FA02F66}"/>
                    </a:ext>
                  </a:extLst>
                </p:cNvPr>
                <p:cNvSpPr>
                  <a:spLocks/>
                </p:cNvSpPr>
                <p:nvPr/>
              </p:nvSpPr>
              <p:spPr bwMode="auto">
                <a:xfrm>
                  <a:off x="4129215" y="2588754"/>
                  <a:ext cx="1942154" cy="3289752"/>
                </a:xfrm>
                <a:custGeom>
                  <a:avLst/>
                  <a:gdLst/>
                  <a:ahLst/>
                  <a:cxnLst/>
                  <a:rect l="l" t="t" r="r" b="b"/>
                  <a:pathLst>
                    <a:path w="1942154" h="3289752">
                      <a:moveTo>
                        <a:pt x="501915" y="1906497"/>
                      </a:moveTo>
                      <a:cubicBezTo>
                        <a:pt x="531238" y="1899539"/>
                        <a:pt x="778162" y="2129136"/>
                        <a:pt x="883105" y="2125656"/>
                      </a:cubicBezTo>
                      <a:cubicBezTo>
                        <a:pt x="1165524" y="2113482"/>
                        <a:pt x="1295160" y="1901279"/>
                        <a:pt x="1322938" y="1911715"/>
                      </a:cubicBezTo>
                      <a:cubicBezTo>
                        <a:pt x="1352261" y="1920412"/>
                        <a:pt x="1407819" y="2162183"/>
                        <a:pt x="1471092" y="2179577"/>
                      </a:cubicBezTo>
                      <a:cubicBezTo>
                        <a:pt x="1569955" y="2205728"/>
                        <a:pt x="1786855" y="2283903"/>
                        <a:pt x="1942154" y="2367099"/>
                      </a:cubicBezTo>
                      <a:lnTo>
                        <a:pt x="1623885" y="2492834"/>
                      </a:lnTo>
                      <a:cubicBezTo>
                        <a:pt x="1505616" y="2541253"/>
                        <a:pt x="1369885" y="2582527"/>
                        <a:pt x="1300035" y="2630946"/>
                      </a:cubicBezTo>
                      <a:cubicBezTo>
                        <a:pt x="1230185" y="2679365"/>
                        <a:pt x="1216691" y="2727784"/>
                        <a:pt x="1204785" y="2783346"/>
                      </a:cubicBezTo>
                      <a:cubicBezTo>
                        <a:pt x="1192879" y="2838909"/>
                        <a:pt x="1211929" y="2896059"/>
                        <a:pt x="1228598" y="2964321"/>
                      </a:cubicBezTo>
                      <a:cubicBezTo>
                        <a:pt x="1245267" y="3032583"/>
                        <a:pt x="1281779" y="3120690"/>
                        <a:pt x="1304798" y="3192921"/>
                      </a:cubicBezTo>
                      <a:cubicBezTo>
                        <a:pt x="1314321" y="3222803"/>
                        <a:pt x="1341505" y="3252414"/>
                        <a:pt x="1363493" y="3281583"/>
                      </a:cubicBezTo>
                      <a:cubicBezTo>
                        <a:pt x="1152486" y="3290141"/>
                        <a:pt x="985631" y="3290297"/>
                        <a:pt x="900081" y="3289292"/>
                      </a:cubicBezTo>
                      <a:cubicBezTo>
                        <a:pt x="817878" y="3290370"/>
                        <a:pt x="658124" y="3290113"/>
                        <a:pt x="456018" y="3282293"/>
                      </a:cubicBezTo>
                      <a:cubicBezTo>
                        <a:pt x="462393" y="3274575"/>
                        <a:pt x="465552" y="3265168"/>
                        <a:pt x="466598" y="3254834"/>
                      </a:cubicBezTo>
                      <a:cubicBezTo>
                        <a:pt x="472948" y="3192128"/>
                        <a:pt x="470567" y="3114340"/>
                        <a:pt x="466598" y="3021471"/>
                      </a:cubicBezTo>
                      <a:cubicBezTo>
                        <a:pt x="462629" y="2928602"/>
                        <a:pt x="461835" y="2782552"/>
                        <a:pt x="442785" y="2697621"/>
                      </a:cubicBezTo>
                      <a:cubicBezTo>
                        <a:pt x="423735" y="2612690"/>
                        <a:pt x="407860" y="2565859"/>
                        <a:pt x="352298" y="2511884"/>
                      </a:cubicBezTo>
                      <a:cubicBezTo>
                        <a:pt x="296736" y="2457909"/>
                        <a:pt x="186404" y="2415046"/>
                        <a:pt x="109410" y="2373771"/>
                      </a:cubicBezTo>
                      <a:cubicBezTo>
                        <a:pt x="63909" y="2349379"/>
                        <a:pt x="39200" y="2319443"/>
                        <a:pt x="0" y="2298223"/>
                      </a:cubicBezTo>
                      <a:cubicBezTo>
                        <a:pt x="117461" y="2244929"/>
                        <a:pt x="226792" y="2206801"/>
                        <a:pt x="244189" y="2210886"/>
                      </a:cubicBezTo>
                      <a:cubicBezTo>
                        <a:pt x="281228" y="2217843"/>
                        <a:pt x="509632" y="2478748"/>
                        <a:pt x="850696" y="2473530"/>
                      </a:cubicBezTo>
                      <a:cubicBezTo>
                        <a:pt x="1183954" y="2468314"/>
                        <a:pt x="1254996" y="2280562"/>
                        <a:pt x="1255035" y="2280461"/>
                      </a:cubicBezTo>
                      <a:cubicBezTo>
                        <a:pt x="1255005" y="2280512"/>
                        <a:pt x="1194766" y="2384821"/>
                        <a:pt x="869215" y="2377865"/>
                      </a:cubicBezTo>
                      <a:cubicBezTo>
                        <a:pt x="639268" y="2374386"/>
                        <a:pt x="398517" y="2172620"/>
                        <a:pt x="393887" y="2132615"/>
                      </a:cubicBezTo>
                      <a:cubicBezTo>
                        <a:pt x="389256" y="2090869"/>
                        <a:pt x="471051" y="1911715"/>
                        <a:pt x="501915" y="1906497"/>
                      </a:cubicBezTo>
                      <a:close/>
                      <a:moveTo>
                        <a:pt x="853221" y="637"/>
                      </a:moveTo>
                      <a:cubicBezTo>
                        <a:pt x="1005543" y="8471"/>
                        <a:pt x="1226975" y="81406"/>
                        <a:pt x="1337772" y="161384"/>
                      </a:cubicBezTo>
                      <a:cubicBezTo>
                        <a:pt x="1448570" y="241363"/>
                        <a:pt x="1522641" y="435263"/>
                        <a:pt x="1518012" y="480506"/>
                      </a:cubicBezTo>
                      <a:cubicBezTo>
                        <a:pt x="1513382" y="524010"/>
                        <a:pt x="1508932" y="654545"/>
                        <a:pt x="1497241" y="710582"/>
                      </a:cubicBezTo>
                      <a:cubicBezTo>
                        <a:pt x="1485550" y="766620"/>
                        <a:pt x="1456092" y="773225"/>
                        <a:pt x="1447862" y="816729"/>
                      </a:cubicBezTo>
                      <a:cubicBezTo>
                        <a:pt x="1464832" y="858482"/>
                        <a:pt x="1447870" y="971551"/>
                        <a:pt x="1447862" y="971599"/>
                      </a:cubicBezTo>
                      <a:cubicBezTo>
                        <a:pt x="1447887" y="971601"/>
                        <a:pt x="1518845" y="976828"/>
                        <a:pt x="1518845" y="1029023"/>
                      </a:cubicBezTo>
                      <a:cubicBezTo>
                        <a:pt x="1518845" y="1081217"/>
                        <a:pt x="1443261" y="1368239"/>
                        <a:pt x="1443233" y="1368346"/>
                      </a:cubicBezTo>
                      <a:cubicBezTo>
                        <a:pt x="1443216" y="1368375"/>
                        <a:pt x="1423163" y="1403147"/>
                        <a:pt x="1400025" y="1397928"/>
                      </a:cubicBezTo>
                      <a:cubicBezTo>
                        <a:pt x="1375336" y="1610222"/>
                        <a:pt x="1290464" y="1742472"/>
                        <a:pt x="1217938" y="1806856"/>
                      </a:cubicBezTo>
                      <a:cubicBezTo>
                        <a:pt x="1146955" y="1869501"/>
                        <a:pt x="981841" y="1996529"/>
                        <a:pt x="883082" y="1996529"/>
                      </a:cubicBezTo>
                      <a:cubicBezTo>
                        <a:pt x="784323" y="1996529"/>
                        <a:pt x="542053" y="1794675"/>
                        <a:pt x="523537" y="1759872"/>
                      </a:cubicBezTo>
                      <a:cubicBezTo>
                        <a:pt x="503477" y="1725071"/>
                        <a:pt x="370768" y="1570199"/>
                        <a:pt x="366139" y="1380528"/>
                      </a:cubicBezTo>
                      <a:cubicBezTo>
                        <a:pt x="301328" y="1375306"/>
                        <a:pt x="264293" y="1183894"/>
                        <a:pt x="239604" y="1082967"/>
                      </a:cubicBezTo>
                      <a:cubicBezTo>
                        <a:pt x="219550" y="997735"/>
                        <a:pt x="288930" y="999439"/>
                        <a:pt x="288983" y="999441"/>
                      </a:cubicBezTo>
                      <a:cubicBezTo>
                        <a:pt x="288957" y="999371"/>
                        <a:pt x="191766" y="731458"/>
                        <a:pt x="184051" y="694921"/>
                      </a:cubicBezTo>
                      <a:cubicBezTo>
                        <a:pt x="177878" y="660118"/>
                        <a:pt x="113068" y="44116"/>
                        <a:pt x="603779" y="66738"/>
                      </a:cubicBezTo>
                      <a:cubicBezTo>
                        <a:pt x="675533" y="17144"/>
                        <a:pt x="761828" y="-4064"/>
                        <a:pt x="853221" y="63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725" name="Man's Body">
                  <a:extLst>
                    <a:ext uri="{FF2B5EF4-FFF2-40B4-BE49-F238E27FC236}">
                      <a16:creationId xmlns:a16="http://schemas.microsoft.com/office/drawing/2014/main" id="{5A654168-74D9-4190-B42D-B52B30176C24}"/>
                    </a:ext>
                  </a:extLst>
                </p:cNvPr>
                <p:cNvSpPr>
                  <a:spLocks/>
                </p:cNvSpPr>
                <p:nvPr/>
              </p:nvSpPr>
              <p:spPr bwMode="auto">
                <a:xfrm>
                  <a:off x="335107" y="2540761"/>
                  <a:ext cx="1927374" cy="3278271"/>
                </a:xfrm>
                <a:custGeom>
                  <a:avLst/>
                  <a:gdLst/>
                  <a:ahLst/>
                  <a:cxnLst/>
                  <a:rect l="l" t="t" r="r" b="b"/>
                  <a:pathLst>
                    <a:path w="1927374" h="3278271">
                      <a:moveTo>
                        <a:pt x="586126" y="2210886"/>
                      </a:moveTo>
                      <a:cubicBezTo>
                        <a:pt x="616330" y="2216559"/>
                        <a:pt x="773790" y="2391106"/>
                        <a:pt x="1016388" y="2450287"/>
                      </a:cubicBezTo>
                      <a:cubicBezTo>
                        <a:pt x="976291" y="2480726"/>
                        <a:pt x="940784" y="2511617"/>
                        <a:pt x="912668" y="2540828"/>
                      </a:cubicBezTo>
                      <a:cubicBezTo>
                        <a:pt x="851549" y="2604328"/>
                        <a:pt x="830912" y="2661478"/>
                        <a:pt x="803131" y="2726565"/>
                      </a:cubicBezTo>
                      <a:cubicBezTo>
                        <a:pt x="775350" y="2791652"/>
                        <a:pt x="757093" y="2855947"/>
                        <a:pt x="745981" y="2931353"/>
                      </a:cubicBezTo>
                      <a:cubicBezTo>
                        <a:pt x="734869" y="3006759"/>
                        <a:pt x="738837" y="3105978"/>
                        <a:pt x="736456" y="3179003"/>
                      </a:cubicBezTo>
                      <a:cubicBezTo>
                        <a:pt x="735337" y="3213335"/>
                        <a:pt x="717901" y="3247141"/>
                        <a:pt x="707639" y="3278271"/>
                      </a:cubicBezTo>
                      <a:cubicBezTo>
                        <a:pt x="607261" y="3273701"/>
                        <a:pt x="498668" y="3267095"/>
                        <a:pt x="385500" y="3257984"/>
                      </a:cubicBezTo>
                      <a:cubicBezTo>
                        <a:pt x="387043" y="3144926"/>
                        <a:pt x="428711" y="2960553"/>
                        <a:pt x="475010" y="2861409"/>
                      </a:cubicBezTo>
                      <a:cubicBezTo>
                        <a:pt x="439515" y="2884020"/>
                        <a:pt x="288274" y="3042302"/>
                        <a:pt x="258951" y="3247548"/>
                      </a:cubicBezTo>
                      <a:cubicBezTo>
                        <a:pt x="-18839" y="2890978"/>
                        <a:pt x="-32728" y="2605722"/>
                        <a:pt x="32090" y="2494403"/>
                      </a:cubicBezTo>
                      <a:cubicBezTo>
                        <a:pt x="95364" y="2384822"/>
                        <a:pt x="549088" y="2202189"/>
                        <a:pt x="586126" y="2210886"/>
                      </a:cubicBezTo>
                      <a:close/>
                      <a:moveTo>
                        <a:pt x="843852" y="1906497"/>
                      </a:moveTo>
                      <a:cubicBezTo>
                        <a:pt x="873175" y="1899539"/>
                        <a:pt x="1120099" y="2129136"/>
                        <a:pt x="1225042" y="2125656"/>
                      </a:cubicBezTo>
                      <a:cubicBezTo>
                        <a:pt x="1507461" y="2113482"/>
                        <a:pt x="1637096" y="1901279"/>
                        <a:pt x="1664875" y="1911715"/>
                      </a:cubicBezTo>
                      <a:cubicBezTo>
                        <a:pt x="1681451" y="1916632"/>
                        <a:pt x="1706410" y="1996028"/>
                        <a:pt x="1736668" y="2067160"/>
                      </a:cubicBezTo>
                      <a:cubicBezTo>
                        <a:pt x="1645277" y="2089552"/>
                        <a:pt x="1598007" y="2141189"/>
                        <a:pt x="1512743" y="2178878"/>
                      </a:cubicBezTo>
                      <a:cubicBezTo>
                        <a:pt x="1403206" y="2227297"/>
                        <a:pt x="1269855" y="2285240"/>
                        <a:pt x="1169843" y="2345565"/>
                      </a:cubicBezTo>
                      <a:lnTo>
                        <a:pt x="1134882" y="2369115"/>
                      </a:lnTo>
                      <a:cubicBezTo>
                        <a:pt x="930801" y="2331702"/>
                        <a:pt x="739941" y="2168192"/>
                        <a:pt x="735824" y="2132615"/>
                      </a:cubicBezTo>
                      <a:cubicBezTo>
                        <a:pt x="731193" y="2090869"/>
                        <a:pt x="812988" y="1911715"/>
                        <a:pt x="843852" y="1906497"/>
                      </a:cubicBezTo>
                      <a:close/>
                      <a:moveTo>
                        <a:pt x="1195158" y="637"/>
                      </a:moveTo>
                      <a:cubicBezTo>
                        <a:pt x="1347480" y="8471"/>
                        <a:pt x="1513967" y="88272"/>
                        <a:pt x="1650919" y="228569"/>
                      </a:cubicBezTo>
                      <a:cubicBezTo>
                        <a:pt x="1870041" y="453045"/>
                        <a:pt x="1931766" y="569632"/>
                        <a:pt x="1927136" y="614875"/>
                      </a:cubicBezTo>
                      <a:cubicBezTo>
                        <a:pt x="1922506" y="658378"/>
                        <a:pt x="1877757" y="719282"/>
                        <a:pt x="1839178" y="710582"/>
                      </a:cubicBezTo>
                      <a:cubicBezTo>
                        <a:pt x="1799058" y="701882"/>
                        <a:pt x="1794429" y="663598"/>
                        <a:pt x="1772824" y="642718"/>
                      </a:cubicBezTo>
                      <a:cubicBezTo>
                        <a:pt x="1516667" y="399101"/>
                        <a:pt x="1309890" y="437383"/>
                        <a:pt x="1225019" y="466966"/>
                      </a:cubicBezTo>
                      <a:cubicBezTo>
                        <a:pt x="1555245" y="498288"/>
                        <a:pt x="1772824" y="773225"/>
                        <a:pt x="1789799" y="816729"/>
                      </a:cubicBezTo>
                      <a:cubicBezTo>
                        <a:pt x="1806769" y="858482"/>
                        <a:pt x="1789807" y="971551"/>
                        <a:pt x="1789799" y="971599"/>
                      </a:cubicBezTo>
                      <a:cubicBezTo>
                        <a:pt x="1789819" y="971601"/>
                        <a:pt x="1860782" y="976826"/>
                        <a:pt x="1860782" y="1029023"/>
                      </a:cubicBezTo>
                      <a:cubicBezTo>
                        <a:pt x="1860782" y="1081217"/>
                        <a:pt x="1785198" y="1368239"/>
                        <a:pt x="1785170" y="1368346"/>
                      </a:cubicBezTo>
                      <a:cubicBezTo>
                        <a:pt x="1785153" y="1368375"/>
                        <a:pt x="1765100" y="1403147"/>
                        <a:pt x="1741962" y="1397928"/>
                      </a:cubicBezTo>
                      <a:cubicBezTo>
                        <a:pt x="1717273" y="1610222"/>
                        <a:pt x="1632401" y="1742472"/>
                        <a:pt x="1559875" y="1806856"/>
                      </a:cubicBezTo>
                      <a:cubicBezTo>
                        <a:pt x="1488892" y="1869501"/>
                        <a:pt x="1323778" y="1996529"/>
                        <a:pt x="1225019" y="1996529"/>
                      </a:cubicBezTo>
                      <a:cubicBezTo>
                        <a:pt x="1126260" y="1996529"/>
                        <a:pt x="883990" y="1794675"/>
                        <a:pt x="865473" y="1759872"/>
                      </a:cubicBezTo>
                      <a:cubicBezTo>
                        <a:pt x="845414" y="1725071"/>
                        <a:pt x="712705" y="1570199"/>
                        <a:pt x="708075" y="1380528"/>
                      </a:cubicBezTo>
                      <a:cubicBezTo>
                        <a:pt x="643265" y="1375306"/>
                        <a:pt x="606230" y="1183894"/>
                        <a:pt x="581541" y="1082967"/>
                      </a:cubicBezTo>
                      <a:cubicBezTo>
                        <a:pt x="561487" y="997735"/>
                        <a:pt x="630866" y="999439"/>
                        <a:pt x="630919" y="999441"/>
                      </a:cubicBezTo>
                      <a:cubicBezTo>
                        <a:pt x="630881" y="999337"/>
                        <a:pt x="533702" y="731455"/>
                        <a:pt x="525988" y="694921"/>
                      </a:cubicBezTo>
                      <a:cubicBezTo>
                        <a:pt x="519815" y="660118"/>
                        <a:pt x="455005" y="44116"/>
                        <a:pt x="945716" y="66738"/>
                      </a:cubicBezTo>
                      <a:cubicBezTo>
                        <a:pt x="1017470" y="17144"/>
                        <a:pt x="1103765" y="-4064"/>
                        <a:pt x="1195158" y="63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41" tIns="54822" rIns="109641" bIns="54822" numCol="1" rtlCol="0" anchor="ctr" anchorCtr="0" compatLnSpc="1">
                  <a:prstTxWarp prst="textNoShape">
                    <a:avLst/>
                  </a:prstTxWarp>
                </a:bodyPr>
                <a:lstStyle/>
                <a:p>
                  <a:pPr algn="ctr" defTabSz="1095932" fontAlgn="base">
                    <a:spcBef>
                      <a:spcPct val="0"/>
                    </a:spcBef>
                    <a:spcAft>
                      <a:spcPct val="0"/>
                    </a:spcAft>
                    <a:defRPr/>
                  </a:pPr>
                  <a:endParaRPr lang="en-US" sz="2797" kern="0">
                    <a:solidFill>
                      <a:srgbClr val="FFFFFF"/>
                    </a:solidFill>
                    <a:effectLst>
                      <a:outerShdw blurRad="38100" dist="38100" dir="2700000" algn="tl">
                        <a:srgbClr val="000000">
                          <a:alpha val="43137"/>
                        </a:srgbClr>
                      </a:outerShdw>
                    </a:effectLst>
                    <a:latin typeface="Segoe UI"/>
                  </a:endParaRPr>
                </a:p>
              </p:txBody>
            </p:sp>
            <p:sp>
              <p:nvSpPr>
                <p:cNvPr id="726" name="Freeform 227">
                  <a:extLst>
                    <a:ext uri="{FF2B5EF4-FFF2-40B4-BE49-F238E27FC236}">
                      <a16:creationId xmlns:a16="http://schemas.microsoft.com/office/drawing/2014/main" id="{8101E102-6E78-4283-B1C4-8044BB5FFEDE}"/>
                    </a:ext>
                  </a:extLst>
                </p:cNvPr>
                <p:cNvSpPr/>
                <p:nvPr/>
              </p:nvSpPr>
              <p:spPr>
                <a:xfrm flipH="1">
                  <a:off x="1116816" y="2629054"/>
                  <a:ext cx="3436629" cy="3474566"/>
                </a:xfrm>
                <a:custGeom>
                  <a:avLst/>
                  <a:gdLst/>
                  <a:ahLst/>
                  <a:cxnLst/>
                  <a:rect l="l" t="t" r="r" b="b"/>
                  <a:pathLst>
                    <a:path w="852601" h="862013">
                      <a:moveTo>
                        <a:pt x="339688" y="551599"/>
                      </a:moveTo>
                      <a:cubicBezTo>
                        <a:pt x="336200" y="550660"/>
                        <a:pt x="332712" y="552270"/>
                        <a:pt x="329224" y="555624"/>
                      </a:cubicBezTo>
                      <a:lnTo>
                        <a:pt x="318760" y="571723"/>
                      </a:lnTo>
                      <a:cubicBezTo>
                        <a:pt x="317687" y="576955"/>
                        <a:pt x="320907" y="582723"/>
                        <a:pt x="322785" y="587017"/>
                      </a:cubicBezTo>
                      <a:cubicBezTo>
                        <a:pt x="324663" y="591310"/>
                        <a:pt x="331370" y="593322"/>
                        <a:pt x="330029" y="597481"/>
                      </a:cubicBezTo>
                      <a:cubicBezTo>
                        <a:pt x="328687" y="601641"/>
                        <a:pt x="318894" y="606739"/>
                        <a:pt x="314735" y="611971"/>
                      </a:cubicBezTo>
                      <a:cubicBezTo>
                        <a:pt x="310576" y="617202"/>
                        <a:pt x="308563" y="620288"/>
                        <a:pt x="303465" y="629679"/>
                      </a:cubicBezTo>
                      <a:cubicBezTo>
                        <a:pt x="298368" y="639070"/>
                        <a:pt x="292062" y="654230"/>
                        <a:pt x="284147" y="668317"/>
                      </a:cubicBezTo>
                      <a:cubicBezTo>
                        <a:pt x="276232" y="682403"/>
                        <a:pt x="261340" y="698637"/>
                        <a:pt x="255974" y="714199"/>
                      </a:cubicBezTo>
                      <a:cubicBezTo>
                        <a:pt x="250607" y="729762"/>
                        <a:pt x="252754" y="745727"/>
                        <a:pt x="251949" y="761691"/>
                      </a:cubicBezTo>
                      <a:cubicBezTo>
                        <a:pt x="251144" y="777656"/>
                        <a:pt x="252351" y="796036"/>
                        <a:pt x="251143" y="809989"/>
                      </a:cubicBezTo>
                      <a:cubicBezTo>
                        <a:pt x="249937" y="823941"/>
                        <a:pt x="245778" y="837357"/>
                        <a:pt x="244705" y="845406"/>
                      </a:cubicBezTo>
                      <a:cubicBezTo>
                        <a:pt x="243631" y="853456"/>
                        <a:pt x="243095" y="855603"/>
                        <a:pt x="244705" y="858286"/>
                      </a:cubicBezTo>
                      <a:cubicBezTo>
                        <a:pt x="245509" y="859627"/>
                        <a:pt x="245945" y="860298"/>
                        <a:pt x="247169" y="860701"/>
                      </a:cubicBezTo>
                      <a:lnTo>
                        <a:pt x="254364" y="861506"/>
                      </a:lnTo>
                      <a:cubicBezTo>
                        <a:pt x="262279" y="862042"/>
                        <a:pt x="277305" y="862310"/>
                        <a:pt x="292196" y="861506"/>
                      </a:cubicBezTo>
                      <a:cubicBezTo>
                        <a:pt x="307088" y="860701"/>
                        <a:pt x="333115" y="857749"/>
                        <a:pt x="343713" y="856676"/>
                      </a:cubicBezTo>
                      <a:cubicBezTo>
                        <a:pt x="343747" y="856684"/>
                        <a:pt x="352708" y="858681"/>
                        <a:pt x="355787" y="855066"/>
                      </a:cubicBezTo>
                      <a:cubicBezTo>
                        <a:pt x="358873" y="851443"/>
                        <a:pt x="361288" y="845675"/>
                        <a:pt x="362227" y="834943"/>
                      </a:cubicBezTo>
                      <a:cubicBezTo>
                        <a:pt x="363166" y="824210"/>
                        <a:pt x="363568" y="808110"/>
                        <a:pt x="361422" y="790670"/>
                      </a:cubicBezTo>
                      <a:cubicBezTo>
                        <a:pt x="359275" y="773229"/>
                        <a:pt x="352299" y="754313"/>
                        <a:pt x="349348" y="730298"/>
                      </a:cubicBezTo>
                      <a:cubicBezTo>
                        <a:pt x="346396" y="706284"/>
                        <a:pt x="344786" y="666439"/>
                        <a:pt x="343713" y="646584"/>
                      </a:cubicBezTo>
                      <a:cubicBezTo>
                        <a:pt x="342640" y="626728"/>
                        <a:pt x="342505" y="619886"/>
                        <a:pt x="342908" y="611166"/>
                      </a:cubicBezTo>
                      <a:cubicBezTo>
                        <a:pt x="343310" y="602446"/>
                        <a:pt x="343713" y="600299"/>
                        <a:pt x="346128" y="594262"/>
                      </a:cubicBezTo>
                      <a:cubicBezTo>
                        <a:pt x="348543" y="588224"/>
                        <a:pt x="356727" y="580443"/>
                        <a:pt x="357397" y="574942"/>
                      </a:cubicBezTo>
                      <a:cubicBezTo>
                        <a:pt x="358068" y="569442"/>
                        <a:pt x="353104" y="565149"/>
                        <a:pt x="350153" y="561258"/>
                      </a:cubicBezTo>
                      <a:close/>
                      <a:moveTo>
                        <a:pt x="287206" y="507649"/>
                      </a:moveTo>
                      <a:cubicBezTo>
                        <a:pt x="299226" y="561742"/>
                        <a:pt x="284201" y="574621"/>
                        <a:pt x="274326" y="617123"/>
                      </a:cubicBezTo>
                      <a:cubicBezTo>
                        <a:pt x="272445" y="626330"/>
                        <a:pt x="270907" y="639718"/>
                        <a:pt x="269556" y="655910"/>
                      </a:cubicBezTo>
                      <a:cubicBezTo>
                        <a:pt x="284442" y="632717"/>
                        <a:pt x="299146" y="601494"/>
                        <a:pt x="316184" y="596515"/>
                      </a:cubicBezTo>
                      <a:cubicBezTo>
                        <a:pt x="314038" y="589217"/>
                        <a:pt x="305451" y="583528"/>
                        <a:pt x="306524" y="574621"/>
                      </a:cubicBezTo>
                      <a:cubicBezTo>
                        <a:pt x="307147" y="563679"/>
                        <a:pt x="314405" y="554950"/>
                        <a:pt x="319949" y="545622"/>
                      </a:cubicBezTo>
                      <a:cubicBezTo>
                        <a:pt x="307786" y="539695"/>
                        <a:pt x="298568" y="525281"/>
                        <a:pt x="287206" y="507649"/>
                      </a:cubicBezTo>
                      <a:close/>
                      <a:moveTo>
                        <a:pt x="264023" y="488330"/>
                      </a:moveTo>
                      <a:cubicBezTo>
                        <a:pt x="251143" y="497345"/>
                        <a:pt x="249856" y="517952"/>
                        <a:pt x="240841" y="523104"/>
                      </a:cubicBezTo>
                      <a:cubicBezTo>
                        <a:pt x="177304" y="542852"/>
                        <a:pt x="103463" y="578055"/>
                        <a:pt x="46365" y="613259"/>
                      </a:cubicBezTo>
                      <a:cubicBezTo>
                        <a:pt x="17601" y="630002"/>
                        <a:pt x="12021" y="649320"/>
                        <a:pt x="6440" y="682806"/>
                      </a:cubicBezTo>
                      <a:lnTo>
                        <a:pt x="0" y="793568"/>
                      </a:lnTo>
                      <a:cubicBezTo>
                        <a:pt x="60532" y="849807"/>
                        <a:pt x="154551" y="840362"/>
                        <a:pt x="230537" y="859252"/>
                      </a:cubicBezTo>
                      <a:cubicBezTo>
                        <a:pt x="242128" y="755359"/>
                        <a:pt x="233113" y="597374"/>
                        <a:pt x="265311" y="542422"/>
                      </a:cubicBezTo>
                      <a:close/>
                      <a:moveTo>
                        <a:pt x="473953" y="438101"/>
                      </a:moveTo>
                      <a:cubicBezTo>
                        <a:pt x="449999" y="476765"/>
                        <a:pt x="395188" y="525303"/>
                        <a:pt x="351750" y="542487"/>
                      </a:cubicBezTo>
                      <a:cubicBezTo>
                        <a:pt x="364570" y="553524"/>
                        <a:pt x="369815" y="566569"/>
                        <a:pt x="371564" y="577519"/>
                      </a:cubicBezTo>
                      <a:cubicBezTo>
                        <a:pt x="371510" y="588305"/>
                        <a:pt x="363407" y="591042"/>
                        <a:pt x="359329" y="597803"/>
                      </a:cubicBezTo>
                      <a:cubicBezTo>
                        <a:pt x="364928" y="652187"/>
                        <a:pt x="355161" y="701683"/>
                        <a:pt x="373271" y="759858"/>
                      </a:cubicBezTo>
                      <a:cubicBezTo>
                        <a:pt x="382583" y="726860"/>
                        <a:pt x="394118" y="694072"/>
                        <a:pt x="406981" y="659624"/>
                      </a:cubicBezTo>
                      <a:cubicBezTo>
                        <a:pt x="434458" y="598661"/>
                        <a:pt x="476100" y="510653"/>
                        <a:pt x="473953" y="438101"/>
                      </a:cubicBezTo>
                      <a:close/>
                      <a:moveTo>
                        <a:pt x="444331" y="425221"/>
                      </a:moveTo>
                      <a:cubicBezTo>
                        <a:pt x="417365" y="457420"/>
                        <a:pt x="365446" y="490423"/>
                        <a:pt x="342908" y="490423"/>
                      </a:cubicBezTo>
                      <a:cubicBezTo>
                        <a:pt x="312722" y="489752"/>
                        <a:pt x="309100" y="473787"/>
                        <a:pt x="292196" y="465469"/>
                      </a:cubicBezTo>
                      <a:cubicBezTo>
                        <a:pt x="308026" y="468152"/>
                        <a:pt x="323455" y="474056"/>
                        <a:pt x="339687" y="473519"/>
                      </a:cubicBezTo>
                      <a:cubicBezTo>
                        <a:pt x="376180" y="473116"/>
                        <a:pt x="416695" y="446955"/>
                        <a:pt x="444331" y="425221"/>
                      </a:cubicBezTo>
                      <a:close/>
                      <a:moveTo>
                        <a:pt x="488121" y="409767"/>
                      </a:moveTo>
                      <a:cubicBezTo>
                        <a:pt x="533198" y="465576"/>
                        <a:pt x="410846" y="692681"/>
                        <a:pt x="376072" y="855388"/>
                      </a:cubicBezTo>
                      <a:cubicBezTo>
                        <a:pt x="489409" y="838216"/>
                        <a:pt x="600169" y="850665"/>
                        <a:pt x="716082" y="803871"/>
                      </a:cubicBezTo>
                      <a:cubicBezTo>
                        <a:pt x="761588" y="800437"/>
                        <a:pt x="808382" y="816321"/>
                        <a:pt x="852601" y="793568"/>
                      </a:cubicBezTo>
                      <a:cubicBezTo>
                        <a:pt x="845303" y="743338"/>
                        <a:pt x="867627" y="646745"/>
                        <a:pt x="772750" y="588788"/>
                      </a:cubicBezTo>
                      <a:cubicBezTo>
                        <a:pt x="729391" y="552726"/>
                        <a:pt x="648681" y="519241"/>
                        <a:pt x="565395" y="492193"/>
                      </a:cubicBezTo>
                      <a:cubicBezTo>
                        <a:pt x="534486" y="468582"/>
                        <a:pt x="515167" y="433379"/>
                        <a:pt x="488121" y="409767"/>
                      </a:cubicBezTo>
                      <a:close/>
                      <a:moveTo>
                        <a:pt x="314467" y="207"/>
                      </a:moveTo>
                      <a:cubicBezTo>
                        <a:pt x="302302" y="922"/>
                        <a:pt x="297652" y="4142"/>
                        <a:pt x="285488" y="8794"/>
                      </a:cubicBezTo>
                      <a:cubicBezTo>
                        <a:pt x="273325" y="13444"/>
                        <a:pt x="253826" y="20241"/>
                        <a:pt x="241485" y="28112"/>
                      </a:cubicBezTo>
                      <a:cubicBezTo>
                        <a:pt x="229142" y="35983"/>
                        <a:pt x="220377" y="43853"/>
                        <a:pt x="211433" y="56017"/>
                      </a:cubicBezTo>
                      <a:cubicBezTo>
                        <a:pt x="202489" y="68180"/>
                        <a:pt x="193724" y="87320"/>
                        <a:pt x="187821" y="101095"/>
                      </a:cubicBezTo>
                      <a:cubicBezTo>
                        <a:pt x="181919" y="114868"/>
                        <a:pt x="176194" y="121665"/>
                        <a:pt x="176015" y="138658"/>
                      </a:cubicBezTo>
                      <a:cubicBezTo>
                        <a:pt x="175837" y="155652"/>
                        <a:pt x="182813" y="191249"/>
                        <a:pt x="186748" y="203055"/>
                      </a:cubicBezTo>
                      <a:lnTo>
                        <a:pt x="187520" y="204007"/>
                      </a:lnTo>
                      <a:lnTo>
                        <a:pt x="191027" y="223887"/>
                      </a:lnTo>
                      <a:cubicBezTo>
                        <a:pt x="185407" y="222374"/>
                        <a:pt x="182724" y="232570"/>
                        <a:pt x="184333" y="241693"/>
                      </a:cubicBezTo>
                      <a:cubicBezTo>
                        <a:pt x="185943" y="250815"/>
                        <a:pt x="196139" y="265841"/>
                        <a:pt x="198822" y="277111"/>
                      </a:cubicBezTo>
                      <a:cubicBezTo>
                        <a:pt x="201505" y="288380"/>
                        <a:pt x="200298" y="299113"/>
                        <a:pt x="200432" y="309308"/>
                      </a:cubicBezTo>
                      <a:cubicBezTo>
                        <a:pt x="200566" y="319505"/>
                        <a:pt x="198285" y="331579"/>
                        <a:pt x="199627" y="338286"/>
                      </a:cubicBezTo>
                      <a:cubicBezTo>
                        <a:pt x="200969" y="344995"/>
                        <a:pt x="205128" y="346739"/>
                        <a:pt x="208482" y="349556"/>
                      </a:cubicBezTo>
                      <a:cubicBezTo>
                        <a:pt x="211836" y="352373"/>
                        <a:pt x="218275" y="343385"/>
                        <a:pt x="219751" y="355191"/>
                      </a:cubicBezTo>
                      <a:cubicBezTo>
                        <a:pt x="221227" y="366997"/>
                        <a:pt x="229008" y="395036"/>
                        <a:pt x="236655" y="410733"/>
                      </a:cubicBezTo>
                      <a:cubicBezTo>
                        <a:pt x="244301" y="426429"/>
                        <a:pt x="259999" y="439845"/>
                        <a:pt x="265633" y="449370"/>
                      </a:cubicBezTo>
                      <a:cubicBezTo>
                        <a:pt x="271268" y="458895"/>
                        <a:pt x="266438" y="460372"/>
                        <a:pt x="270463" y="467884"/>
                      </a:cubicBezTo>
                      <a:cubicBezTo>
                        <a:pt x="274487" y="475397"/>
                        <a:pt x="281330" y="484118"/>
                        <a:pt x="289781" y="494447"/>
                      </a:cubicBezTo>
                      <a:cubicBezTo>
                        <a:pt x="298233" y="504778"/>
                        <a:pt x="311246" y="524097"/>
                        <a:pt x="321175" y="529866"/>
                      </a:cubicBezTo>
                      <a:cubicBezTo>
                        <a:pt x="331102" y="535634"/>
                        <a:pt x="333383" y="536305"/>
                        <a:pt x="349348" y="529061"/>
                      </a:cubicBezTo>
                      <a:cubicBezTo>
                        <a:pt x="365312" y="521816"/>
                        <a:pt x="399657" y="499680"/>
                        <a:pt x="416963" y="486398"/>
                      </a:cubicBezTo>
                      <a:cubicBezTo>
                        <a:pt x="434270" y="473116"/>
                        <a:pt x="444331" y="459298"/>
                        <a:pt x="453186" y="449370"/>
                      </a:cubicBezTo>
                      <a:cubicBezTo>
                        <a:pt x="462041" y="439443"/>
                        <a:pt x="466601" y="434746"/>
                        <a:pt x="470089" y="426831"/>
                      </a:cubicBezTo>
                      <a:cubicBezTo>
                        <a:pt x="473577" y="418917"/>
                        <a:pt x="471968" y="409526"/>
                        <a:pt x="474115" y="401878"/>
                      </a:cubicBezTo>
                      <a:cubicBezTo>
                        <a:pt x="476261" y="394231"/>
                        <a:pt x="480688" y="390341"/>
                        <a:pt x="482969" y="380949"/>
                      </a:cubicBezTo>
                      <a:cubicBezTo>
                        <a:pt x="485249" y="371558"/>
                        <a:pt x="484847" y="352373"/>
                        <a:pt x="487799" y="345532"/>
                      </a:cubicBezTo>
                      <a:cubicBezTo>
                        <a:pt x="490750" y="338689"/>
                        <a:pt x="496788" y="343787"/>
                        <a:pt x="500678" y="339897"/>
                      </a:cubicBezTo>
                      <a:cubicBezTo>
                        <a:pt x="504569" y="336006"/>
                        <a:pt x="508996" y="331177"/>
                        <a:pt x="511142" y="322188"/>
                      </a:cubicBezTo>
                      <a:cubicBezTo>
                        <a:pt x="513289" y="313199"/>
                        <a:pt x="511947" y="299515"/>
                        <a:pt x="513557" y="285965"/>
                      </a:cubicBezTo>
                      <a:cubicBezTo>
                        <a:pt x="515167" y="272415"/>
                        <a:pt x="520131" y="252425"/>
                        <a:pt x="520801" y="240888"/>
                      </a:cubicBezTo>
                      <a:cubicBezTo>
                        <a:pt x="521473" y="229350"/>
                        <a:pt x="520131" y="222508"/>
                        <a:pt x="517582" y="216739"/>
                      </a:cubicBezTo>
                      <a:lnTo>
                        <a:pt x="505508" y="206274"/>
                      </a:lnTo>
                      <a:cubicBezTo>
                        <a:pt x="501482" y="205872"/>
                        <a:pt x="496788" y="209897"/>
                        <a:pt x="493433" y="214324"/>
                      </a:cubicBezTo>
                      <a:cubicBezTo>
                        <a:pt x="490893" y="217677"/>
                        <a:pt x="489661" y="229032"/>
                        <a:pt x="487525" y="232413"/>
                      </a:cubicBezTo>
                      <a:lnTo>
                        <a:pt x="486770" y="223363"/>
                      </a:lnTo>
                      <a:lnTo>
                        <a:pt x="488165" y="195462"/>
                      </a:lnTo>
                      <a:lnTo>
                        <a:pt x="490482" y="198762"/>
                      </a:lnTo>
                      <a:cubicBezTo>
                        <a:pt x="492986" y="200550"/>
                        <a:pt x="494238" y="195185"/>
                        <a:pt x="496921" y="194469"/>
                      </a:cubicBezTo>
                      <a:cubicBezTo>
                        <a:pt x="499604" y="193754"/>
                        <a:pt x="503002" y="193217"/>
                        <a:pt x="506581" y="194469"/>
                      </a:cubicBezTo>
                      <a:cubicBezTo>
                        <a:pt x="510158" y="195721"/>
                        <a:pt x="516419" y="202876"/>
                        <a:pt x="518386" y="201981"/>
                      </a:cubicBezTo>
                      <a:cubicBezTo>
                        <a:pt x="519370" y="201534"/>
                        <a:pt x="519370" y="200774"/>
                        <a:pt x="519124" y="198896"/>
                      </a:cubicBezTo>
                      <a:lnTo>
                        <a:pt x="518386" y="189102"/>
                      </a:lnTo>
                      <a:cubicBezTo>
                        <a:pt x="518391" y="189053"/>
                        <a:pt x="521603" y="159753"/>
                        <a:pt x="518386" y="142952"/>
                      </a:cubicBezTo>
                      <a:cubicBezTo>
                        <a:pt x="515167" y="126137"/>
                        <a:pt x="506760" y="103778"/>
                        <a:pt x="499068" y="88215"/>
                      </a:cubicBezTo>
                      <a:cubicBezTo>
                        <a:pt x="491376" y="72652"/>
                        <a:pt x="479213" y="57627"/>
                        <a:pt x="472236" y="49577"/>
                      </a:cubicBezTo>
                      <a:cubicBezTo>
                        <a:pt x="465260" y="41528"/>
                        <a:pt x="466154" y="44211"/>
                        <a:pt x="457210" y="39918"/>
                      </a:cubicBezTo>
                      <a:cubicBezTo>
                        <a:pt x="448266" y="35625"/>
                        <a:pt x="435030" y="29722"/>
                        <a:pt x="418572" y="23818"/>
                      </a:cubicBezTo>
                      <a:cubicBezTo>
                        <a:pt x="402117" y="17916"/>
                        <a:pt x="375821" y="8435"/>
                        <a:pt x="358470" y="4500"/>
                      </a:cubicBezTo>
                      <a:cubicBezTo>
                        <a:pt x="341118" y="564"/>
                        <a:pt x="326630" y="-509"/>
                        <a:pt x="314467" y="20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578">
                    <a:defRPr/>
                  </a:pPr>
                  <a:endParaRPr lang="en-US" sz="1797" kern="0">
                    <a:solidFill>
                      <a:srgbClr val="FFFFFF"/>
                    </a:solidFill>
                    <a:latin typeface="Segoe UI"/>
                  </a:endParaRPr>
                </a:p>
              </p:txBody>
            </p:sp>
            <p:sp>
              <p:nvSpPr>
                <p:cNvPr id="727" name="Freeform 231">
                  <a:extLst>
                    <a:ext uri="{FF2B5EF4-FFF2-40B4-BE49-F238E27FC236}">
                      <a16:creationId xmlns:a16="http://schemas.microsoft.com/office/drawing/2014/main" id="{7C1DAA6A-33C9-4AD9-A778-7EB09ACFC350}"/>
                    </a:ext>
                  </a:extLst>
                </p:cNvPr>
                <p:cNvSpPr/>
                <p:nvPr/>
              </p:nvSpPr>
              <p:spPr>
                <a:xfrm>
                  <a:off x="5391990" y="2823081"/>
                  <a:ext cx="2628060" cy="3263867"/>
                </a:xfrm>
                <a:custGeom>
                  <a:avLst/>
                  <a:gdLst>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338138 w 3900488"/>
                    <a:gd name="connsiteY63" fmla="*/ 4760516 h 4808141"/>
                    <a:gd name="connsiteX64" fmla="*/ 161925 w 3900488"/>
                    <a:gd name="connsiteY64" fmla="*/ 4436666 h 4808141"/>
                    <a:gd name="connsiteX65" fmla="*/ 57150 w 3900488"/>
                    <a:gd name="connsiteY65" fmla="*/ 4141391 h 4808141"/>
                    <a:gd name="connsiteX66" fmla="*/ 0 w 3900488"/>
                    <a:gd name="connsiteY66" fmla="*/ 3855641 h 4808141"/>
                    <a:gd name="connsiteX67" fmla="*/ 23813 w 3900488"/>
                    <a:gd name="connsiteY67" fmla="*/ 3703241 h 4808141"/>
                    <a:gd name="connsiteX68" fmla="*/ 219075 w 3900488"/>
                    <a:gd name="connsiteY68" fmla="*/ 3584179 h 4808141"/>
                    <a:gd name="connsiteX69" fmla="*/ 533400 w 3900488"/>
                    <a:gd name="connsiteY69" fmla="*/ 3450829 h 4808141"/>
                    <a:gd name="connsiteX70" fmla="*/ 933450 w 3900488"/>
                    <a:gd name="connsiteY70" fmla="*/ 3293666 h 4808141"/>
                    <a:gd name="connsiteX71" fmla="*/ 1133475 w 3900488"/>
                    <a:gd name="connsiteY71" fmla="*/ 3217466 h 4808141"/>
                    <a:gd name="connsiteX72" fmla="*/ 1276350 w 3900488"/>
                    <a:gd name="connsiteY72" fmla="*/ 2950766 h 4808141"/>
                    <a:gd name="connsiteX73" fmla="*/ 1371600 w 3900488"/>
                    <a:gd name="connsiteY73" fmla="*/ 2888854 h 4808141"/>
                    <a:gd name="connsiteX74" fmla="*/ 1443038 w 3900488"/>
                    <a:gd name="connsiteY74" fmla="*/ 2750741 h 4808141"/>
                    <a:gd name="connsiteX75" fmla="*/ 1428750 w 3900488"/>
                    <a:gd name="connsiteY75" fmla="*/ 2665016 h 4808141"/>
                    <a:gd name="connsiteX76" fmla="*/ 1432339 w 3900488"/>
                    <a:gd name="connsiteY76" fmla="*/ 2655556 h 4808141"/>
                    <a:gd name="connsiteX77" fmla="*/ 1411332 w 3900488"/>
                    <a:gd name="connsiteY77" fmla="*/ 2630242 h 4808141"/>
                    <a:gd name="connsiteX78" fmla="*/ 1169833 w 3900488"/>
                    <a:gd name="connsiteY78" fmla="*/ 2059985 h 4808141"/>
                    <a:gd name="connsiteX79" fmla="*/ 975688 w 3900488"/>
                    <a:gd name="connsiteY79" fmla="*/ 1612672 h 4808141"/>
                    <a:gd name="connsiteX80" fmla="*/ 1051451 w 3900488"/>
                    <a:gd name="connsiteY80" fmla="*/ 1487109 h 4808141"/>
                    <a:gd name="connsiteX81" fmla="*/ 1016847 w 3900488"/>
                    <a:gd name="connsiteY81" fmla="*/ 1277790 h 4808141"/>
                    <a:gd name="connsiteX82" fmla="*/ 933449 w 3900488"/>
                    <a:gd name="connsiteY82" fmla="*/ 1341041 h 4808141"/>
                    <a:gd name="connsiteX83" fmla="*/ 882649 w 3900488"/>
                    <a:gd name="connsiteY83" fmla="*/ 1404541 h 4808141"/>
                    <a:gd name="connsiteX84" fmla="*/ 838199 w 3900488"/>
                    <a:gd name="connsiteY84" fmla="*/ 1525191 h 4808141"/>
                    <a:gd name="connsiteX85" fmla="*/ 857249 w 3900488"/>
                    <a:gd name="connsiteY85" fmla="*/ 1645841 h 4808141"/>
                    <a:gd name="connsiteX86" fmla="*/ 888999 w 3900488"/>
                    <a:gd name="connsiteY86" fmla="*/ 1829991 h 4808141"/>
                    <a:gd name="connsiteX87" fmla="*/ 965199 w 3900488"/>
                    <a:gd name="connsiteY87" fmla="*/ 2128441 h 4808141"/>
                    <a:gd name="connsiteX88" fmla="*/ 1047749 w 3900488"/>
                    <a:gd name="connsiteY88" fmla="*/ 2198291 h 4808141"/>
                    <a:gd name="connsiteX89" fmla="*/ 1098549 w 3900488"/>
                    <a:gd name="connsiteY89" fmla="*/ 2331641 h 4808141"/>
                    <a:gd name="connsiteX90" fmla="*/ 1219199 w 3900488"/>
                    <a:gd name="connsiteY90" fmla="*/ 2566591 h 4808141"/>
                    <a:gd name="connsiteX91" fmla="*/ 1269999 w 3900488"/>
                    <a:gd name="connsiteY91" fmla="*/ 2712641 h 4808141"/>
                    <a:gd name="connsiteX92" fmla="*/ 1130299 w 3900488"/>
                    <a:gd name="connsiteY92" fmla="*/ 2750741 h 4808141"/>
                    <a:gd name="connsiteX93" fmla="*/ 927099 w 3900488"/>
                    <a:gd name="connsiteY93" fmla="*/ 2776141 h 4808141"/>
                    <a:gd name="connsiteX94" fmla="*/ 742949 w 3900488"/>
                    <a:gd name="connsiteY94" fmla="*/ 2731691 h 4808141"/>
                    <a:gd name="connsiteX95" fmla="*/ 660399 w 3900488"/>
                    <a:gd name="connsiteY95" fmla="*/ 2591991 h 4808141"/>
                    <a:gd name="connsiteX96" fmla="*/ 622299 w 3900488"/>
                    <a:gd name="connsiteY96" fmla="*/ 2344341 h 4808141"/>
                    <a:gd name="connsiteX97" fmla="*/ 634999 w 3900488"/>
                    <a:gd name="connsiteY97" fmla="*/ 2020491 h 4808141"/>
                    <a:gd name="connsiteX98" fmla="*/ 736599 w 3900488"/>
                    <a:gd name="connsiteY98" fmla="*/ 1328341 h 4808141"/>
                    <a:gd name="connsiteX99" fmla="*/ 971549 w 3900488"/>
                    <a:gd name="connsiteY99" fmla="*/ 623491 h 4808141"/>
                    <a:gd name="connsiteX100" fmla="*/ 1168399 w 3900488"/>
                    <a:gd name="connsiteY100" fmla="*/ 299641 h 4808141"/>
                    <a:gd name="connsiteX101" fmla="*/ 1358899 w 3900488"/>
                    <a:gd name="connsiteY101" fmla="*/ 140891 h 4808141"/>
                    <a:gd name="connsiteX102" fmla="*/ 1530349 w 3900488"/>
                    <a:gd name="connsiteY102" fmla="*/ 115491 h 4808141"/>
                    <a:gd name="connsiteX103" fmla="*/ 1676399 w 3900488"/>
                    <a:gd name="connsiteY103" fmla="*/ 13891 h 4808141"/>
                    <a:gd name="connsiteX104" fmla="*/ 1813321 w 3900488"/>
                    <a:gd name="connsiteY104" fmla="*/ 0 h 4808141"/>
                    <a:gd name="connsiteX0" fmla="*/ 3060949 w 3900488"/>
                    <a:gd name="connsiteY0" fmla="*/ 1005769 h 4760516"/>
                    <a:gd name="connsiteX1" fmla="*/ 3081338 w 3900488"/>
                    <a:gd name="connsiteY1" fmla="*/ 1026716 h 4760516"/>
                    <a:gd name="connsiteX2" fmla="*/ 3167063 w 3900488"/>
                    <a:gd name="connsiteY2" fmla="*/ 1369616 h 4760516"/>
                    <a:gd name="connsiteX3" fmla="*/ 3252788 w 3900488"/>
                    <a:gd name="connsiteY3" fmla="*/ 1822054 h 4760516"/>
                    <a:gd name="connsiteX4" fmla="*/ 3281363 w 3900488"/>
                    <a:gd name="connsiteY4" fmla="*/ 2255441 h 4760516"/>
                    <a:gd name="connsiteX5" fmla="*/ 3271838 w 3900488"/>
                    <a:gd name="connsiteY5" fmla="*/ 2526904 h 4760516"/>
                    <a:gd name="connsiteX6" fmla="*/ 3190875 w 3900488"/>
                    <a:gd name="connsiteY6" fmla="*/ 2722166 h 4760516"/>
                    <a:gd name="connsiteX7" fmla="*/ 3043238 w 3900488"/>
                    <a:gd name="connsiteY7" fmla="*/ 2750741 h 4760516"/>
                    <a:gd name="connsiteX8" fmla="*/ 2809875 w 3900488"/>
                    <a:gd name="connsiteY8" fmla="*/ 2731691 h 4760516"/>
                    <a:gd name="connsiteX9" fmla="*/ 2633663 w 3900488"/>
                    <a:gd name="connsiteY9" fmla="*/ 2669779 h 4760516"/>
                    <a:gd name="connsiteX10" fmla="*/ 2657475 w 3900488"/>
                    <a:gd name="connsiteY10" fmla="*/ 2603104 h 4760516"/>
                    <a:gd name="connsiteX11" fmla="*/ 2752725 w 3900488"/>
                    <a:gd name="connsiteY11" fmla="*/ 2474516 h 4760516"/>
                    <a:gd name="connsiteX12" fmla="*/ 2843213 w 3900488"/>
                    <a:gd name="connsiteY12" fmla="*/ 2255441 h 4760516"/>
                    <a:gd name="connsiteX13" fmla="*/ 2862263 w 3900488"/>
                    <a:gd name="connsiteY13" fmla="*/ 2160191 h 4760516"/>
                    <a:gd name="connsiteX14" fmla="*/ 2919413 w 3900488"/>
                    <a:gd name="connsiteY14" fmla="*/ 2098279 h 4760516"/>
                    <a:gd name="connsiteX15" fmla="*/ 3000375 w 3900488"/>
                    <a:gd name="connsiteY15" fmla="*/ 1855391 h 4760516"/>
                    <a:gd name="connsiteX16" fmla="*/ 3057525 w 3900488"/>
                    <a:gd name="connsiteY16" fmla="*/ 1598216 h 4760516"/>
                    <a:gd name="connsiteX17" fmla="*/ 3062288 w 3900488"/>
                    <a:gd name="connsiteY17" fmla="*/ 1483916 h 4760516"/>
                    <a:gd name="connsiteX18" fmla="*/ 3009900 w 3900488"/>
                    <a:gd name="connsiteY18" fmla="*/ 1379141 h 4760516"/>
                    <a:gd name="connsiteX19" fmla="*/ 2957513 w 3900488"/>
                    <a:gd name="connsiteY19" fmla="*/ 1331516 h 4760516"/>
                    <a:gd name="connsiteX20" fmla="*/ 2947988 w 3900488"/>
                    <a:gd name="connsiteY20" fmla="*/ 1236266 h 4760516"/>
                    <a:gd name="connsiteX21" fmla="*/ 2957513 w 3900488"/>
                    <a:gd name="connsiteY21" fmla="*/ 1121966 h 4760516"/>
                    <a:gd name="connsiteX22" fmla="*/ 3005138 w 3900488"/>
                    <a:gd name="connsiteY22" fmla="*/ 1050529 h 4760516"/>
                    <a:gd name="connsiteX23" fmla="*/ 3060949 w 3900488"/>
                    <a:gd name="connsiteY23" fmla="*/ 1005769 h 4760516"/>
                    <a:gd name="connsiteX24" fmla="*/ 1813321 w 3900488"/>
                    <a:gd name="connsiteY24" fmla="*/ 0 h 4760516"/>
                    <a:gd name="connsiteX25" fmla="*/ 1955799 w 3900488"/>
                    <a:gd name="connsiteY25" fmla="*/ 1191 h 4760516"/>
                    <a:gd name="connsiteX26" fmla="*/ 2152649 w 3900488"/>
                    <a:gd name="connsiteY26" fmla="*/ 20241 h 4760516"/>
                    <a:gd name="connsiteX27" fmla="*/ 2381249 w 3900488"/>
                    <a:gd name="connsiteY27" fmla="*/ 121841 h 4760516"/>
                    <a:gd name="connsiteX28" fmla="*/ 2641599 w 3900488"/>
                    <a:gd name="connsiteY28" fmla="*/ 331391 h 4760516"/>
                    <a:gd name="connsiteX29" fmla="*/ 2946399 w 3900488"/>
                    <a:gd name="connsiteY29" fmla="*/ 693341 h 4760516"/>
                    <a:gd name="connsiteX30" fmla="*/ 3060699 w 3900488"/>
                    <a:gd name="connsiteY30" fmla="*/ 883841 h 4760516"/>
                    <a:gd name="connsiteX31" fmla="*/ 3009899 w 3900488"/>
                    <a:gd name="connsiteY31" fmla="*/ 1004491 h 4760516"/>
                    <a:gd name="connsiteX32" fmla="*/ 2901949 w 3900488"/>
                    <a:gd name="connsiteY32" fmla="*/ 1061641 h 4760516"/>
                    <a:gd name="connsiteX33" fmla="*/ 2825749 w 3900488"/>
                    <a:gd name="connsiteY33" fmla="*/ 998141 h 4760516"/>
                    <a:gd name="connsiteX34" fmla="*/ 2654299 w 3900488"/>
                    <a:gd name="connsiteY34" fmla="*/ 820341 h 4760516"/>
                    <a:gd name="connsiteX35" fmla="*/ 2349499 w 3900488"/>
                    <a:gd name="connsiteY35" fmla="*/ 674291 h 4760516"/>
                    <a:gd name="connsiteX36" fmla="*/ 2019299 w 3900488"/>
                    <a:gd name="connsiteY36" fmla="*/ 674291 h 4760516"/>
                    <a:gd name="connsiteX37" fmla="*/ 2343149 w 3900488"/>
                    <a:gd name="connsiteY37" fmla="*/ 769541 h 4760516"/>
                    <a:gd name="connsiteX38" fmla="*/ 2552699 w 3900488"/>
                    <a:gd name="connsiteY38" fmla="*/ 909241 h 4760516"/>
                    <a:gd name="connsiteX39" fmla="*/ 2629040 w 3900488"/>
                    <a:gd name="connsiteY39" fmla="*/ 973620 h 4760516"/>
                    <a:gd name="connsiteX40" fmla="*/ 2900212 w 3900488"/>
                    <a:gd name="connsiteY40" fmla="*/ 1067700 h 4760516"/>
                    <a:gd name="connsiteX41" fmla="*/ 2829545 w 3900488"/>
                    <a:gd name="connsiteY41" fmla="*/ 1212445 h 4760516"/>
                    <a:gd name="connsiteX42" fmla="*/ 2829545 w 3900488"/>
                    <a:gd name="connsiteY42" fmla="*/ 1445256 h 4760516"/>
                    <a:gd name="connsiteX43" fmla="*/ 2938456 w 3900488"/>
                    <a:gd name="connsiteY43" fmla="*/ 1531580 h 4760516"/>
                    <a:gd name="connsiteX44" fmla="*/ 2822442 w 3900488"/>
                    <a:gd name="connsiteY44" fmla="*/ 2041674 h 4760516"/>
                    <a:gd name="connsiteX45" fmla="*/ 2756148 w 3900488"/>
                    <a:gd name="connsiteY45" fmla="*/ 2086142 h 4760516"/>
                    <a:gd name="connsiteX46" fmla="*/ 2479547 w 3900488"/>
                    <a:gd name="connsiteY46" fmla="*/ 2698176 h 4760516"/>
                    <a:gd name="connsiteX47" fmla="*/ 2528888 w 3900488"/>
                    <a:gd name="connsiteY47" fmla="*/ 2817416 h 4760516"/>
                    <a:gd name="connsiteX48" fmla="*/ 2590800 w 3900488"/>
                    <a:gd name="connsiteY48" fmla="*/ 2874566 h 4760516"/>
                    <a:gd name="connsiteX49" fmla="*/ 2657475 w 3900488"/>
                    <a:gd name="connsiteY49" fmla="*/ 2884091 h 4760516"/>
                    <a:gd name="connsiteX50" fmla="*/ 2681288 w 3900488"/>
                    <a:gd name="connsiteY50" fmla="*/ 2912666 h 4760516"/>
                    <a:gd name="connsiteX51" fmla="*/ 2747963 w 3900488"/>
                    <a:gd name="connsiteY51" fmla="*/ 3079354 h 4760516"/>
                    <a:gd name="connsiteX52" fmla="*/ 2843213 w 3900488"/>
                    <a:gd name="connsiteY52" fmla="*/ 3174604 h 4760516"/>
                    <a:gd name="connsiteX53" fmla="*/ 2938463 w 3900488"/>
                    <a:gd name="connsiteY53" fmla="*/ 3207941 h 4760516"/>
                    <a:gd name="connsiteX54" fmla="*/ 3281363 w 3900488"/>
                    <a:gd name="connsiteY54" fmla="*/ 3317479 h 4760516"/>
                    <a:gd name="connsiteX55" fmla="*/ 3657600 w 3900488"/>
                    <a:gd name="connsiteY55" fmla="*/ 3493691 h 4760516"/>
                    <a:gd name="connsiteX56" fmla="*/ 3867150 w 3900488"/>
                    <a:gd name="connsiteY56" fmla="*/ 3641329 h 4760516"/>
                    <a:gd name="connsiteX57" fmla="*/ 3900488 w 3900488"/>
                    <a:gd name="connsiteY57" fmla="*/ 3769916 h 4760516"/>
                    <a:gd name="connsiteX58" fmla="*/ 3876675 w 3900488"/>
                    <a:gd name="connsiteY58" fmla="*/ 4027091 h 4760516"/>
                    <a:gd name="connsiteX59" fmla="*/ 3790950 w 3900488"/>
                    <a:gd name="connsiteY59" fmla="*/ 4236641 h 4760516"/>
                    <a:gd name="connsiteX60" fmla="*/ 3619500 w 3900488"/>
                    <a:gd name="connsiteY60" fmla="*/ 4598591 h 4760516"/>
                    <a:gd name="connsiteX61" fmla="*/ 3471863 w 3900488"/>
                    <a:gd name="connsiteY61" fmla="*/ 4760516 h 4760516"/>
                    <a:gd name="connsiteX62" fmla="*/ 338138 w 3900488"/>
                    <a:gd name="connsiteY62" fmla="*/ 4760516 h 4760516"/>
                    <a:gd name="connsiteX63" fmla="*/ 161925 w 3900488"/>
                    <a:gd name="connsiteY63" fmla="*/ 4436666 h 4760516"/>
                    <a:gd name="connsiteX64" fmla="*/ 57150 w 3900488"/>
                    <a:gd name="connsiteY64" fmla="*/ 4141391 h 4760516"/>
                    <a:gd name="connsiteX65" fmla="*/ 0 w 3900488"/>
                    <a:gd name="connsiteY65" fmla="*/ 3855641 h 4760516"/>
                    <a:gd name="connsiteX66" fmla="*/ 23813 w 3900488"/>
                    <a:gd name="connsiteY66" fmla="*/ 3703241 h 4760516"/>
                    <a:gd name="connsiteX67" fmla="*/ 219075 w 3900488"/>
                    <a:gd name="connsiteY67" fmla="*/ 3584179 h 4760516"/>
                    <a:gd name="connsiteX68" fmla="*/ 533400 w 3900488"/>
                    <a:gd name="connsiteY68" fmla="*/ 3450829 h 4760516"/>
                    <a:gd name="connsiteX69" fmla="*/ 933450 w 3900488"/>
                    <a:gd name="connsiteY69" fmla="*/ 3293666 h 4760516"/>
                    <a:gd name="connsiteX70" fmla="*/ 1133475 w 3900488"/>
                    <a:gd name="connsiteY70" fmla="*/ 3217466 h 4760516"/>
                    <a:gd name="connsiteX71" fmla="*/ 1276350 w 3900488"/>
                    <a:gd name="connsiteY71" fmla="*/ 2950766 h 4760516"/>
                    <a:gd name="connsiteX72" fmla="*/ 1371600 w 3900488"/>
                    <a:gd name="connsiteY72" fmla="*/ 2888854 h 4760516"/>
                    <a:gd name="connsiteX73" fmla="*/ 1443038 w 3900488"/>
                    <a:gd name="connsiteY73" fmla="*/ 2750741 h 4760516"/>
                    <a:gd name="connsiteX74" fmla="*/ 1428750 w 3900488"/>
                    <a:gd name="connsiteY74" fmla="*/ 2665016 h 4760516"/>
                    <a:gd name="connsiteX75" fmla="*/ 1432339 w 3900488"/>
                    <a:gd name="connsiteY75" fmla="*/ 2655556 h 4760516"/>
                    <a:gd name="connsiteX76" fmla="*/ 1411332 w 3900488"/>
                    <a:gd name="connsiteY76" fmla="*/ 2630242 h 4760516"/>
                    <a:gd name="connsiteX77" fmla="*/ 1169833 w 3900488"/>
                    <a:gd name="connsiteY77" fmla="*/ 2059985 h 4760516"/>
                    <a:gd name="connsiteX78" fmla="*/ 975688 w 3900488"/>
                    <a:gd name="connsiteY78" fmla="*/ 1612672 h 4760516"/>
                    <a:gd name="connsiteX79" fmla="*/ 1051451 w 3900488"/>
                    <a:gd name="connsiteY79" fmla="*/ 1487109 h 4760516"/>
                    <a:gd name="connsiteX80" fmla="*/ 1016847 w 3900488"/>
                    <a:gd name="connsiteY80" fmla="*/ 1277790 h 4760516"/>
                    <a:gd name="connsiteX81" fmla="*/ 933449 w 3900488"/>
                    <a:gd name="connsiteY81" fmla="*/ 1341041 h 4760516"/>
                    <a:gd name="connsiteX82" fmla="*/ 882649 w 3900488"/>
                    <a:gd name="connsiteY82" fmla="*/ 1404541 h 4760516"/>
                    <a:gd name="connsiteX83" fmla="*/ 838199 w 3900488"/>
                    <a:gd name="connsiteY83" fmla="*/ 1525191 h 4760516"/>
                    <a:gd name="connsiteX84" fmla="*/ 857249 w 3900488"/>
                    <a:gd name="connsiteY84" fmla="*/ 1645841 h 4760516"/>
                    <a:gd name="connsiteX85" fmla="*/ 888999 w 3900488"/>
                    <a:gd name="connsiteY85" fmla="*/ 1829991 h 4760516"/>
                    <a:gd name="connsiteX86" fmla="*/ 965199 w 3900488"/>
                    <a:gd name="connsiteY86" fmla="*/ 2128441 h 4760516"/>
                    <a:gd name="connsiteX87" fmla="*/ 1047749 w 3900488"/>
                    <a:gd name="connsiteY87" fmla="*/ 2198291 h 4760516"/>
                    <a:gd name="connsiteX88" fmla="*/ 1098549 w 3900488"/>
                    <a:gd name="connsiteY88" fmla="*/ 2331641 h 4760516"/>
                    <a:gd name="connsiteX89" fmla="*/ 1219199 w 3900488"/>
                    <a:gd name="connsiteY89" fmla="*/ 2566591 h 4760516"/>
                    <a:gd name="connsiteX90" fmla="*/ 1269999 w 3900488"/>
                    <a:gd name="connsiteY90" fmla="*/ 2712641 h 4760516"/>
                    <a:gd name="connsiteX91" fmla="*/ 1130299 w 3900488"/>
                    <a:gd name="connsiteY91" fmla="*/ 2750741 h 4760516"/>
                    <a:gd name="connsiteX92" fmla="*/ 927099 w 3900488"/>
                    <a:gd name="connsiteY92" fmla="*/ 2776141 h 4760516"/>
                    <a:gd name="connsiteX93" fmla="*/ 742949 w 3900488"/>
                    <a:gd name="connsiteY93" fmla="*/ 2731691 h 4760516"/>
                    <a:gd name="connsiteX94" fmla="*/ 660399 w 3900488"/>
                    <a:gd name="connsiteY94" fmla="*/ 2591991 h 4760516"/>
                    <a:gd name="connsiteX95" fmla="*/ 622299 w 3900488"/>
                    <a:gd name="connsiteY95" fmla="*/ 2344341 h 4760516"/>
                    <a:gd name="connsiteX96" fmla="*/ 634999 w 3900488"/>
                    <a:gd name="connsiteY96" fmla="*/ 2020491 h 4760516"/>
                    <a:gd name="connsiteX97" fmla="*/ 736599 w 3900488"/>
                    <a:gd name="connsiteY97" fmla="*/ 1328341 h 4760516"/>
                    <a:gd name="connsiteX98" fmla="*/ 971549 w 3900488"/>
                    <a:gd name="connsiteY98" fmla="*/ 623491 h 4760516"/>
                    <a:gd name="connsiteX99" fmla="*/ 1168399 w 3900488"/>
                    <a:gd name="connsiteY99" fmla="*/ 299641 h 4760516"/>
                    <a:gd name="connsiteX100" fmla="*/ 1358899 w 3900488"/>
                    <a:gd name="connsiteY100" fmla="*/ 140891 h 4760516"/>
                    <a:gd name="connsiteX101" fmla="*/ 1530349 w 3900488"/>
                    <a:gd name="connsiteY101" fmla="*/ 115491 h 4760516"/>
                    <a:gd name="connsiteX102" fmla="*/ 1676399 w 3900488"/>
                    <a:gd name="connsiteY102" fmla="*/ 13891 h 4760516"/>
                    <a:gd name="connsiteX103" fmla="*/ 1813321 w 3900488"/>
                    <a:gd name="connsiteY103" fmla="*/ 0 h 4760516"/>
                    <a:gd name="connsiteX0" fmla="*/ 3061653 w 3901192"/>
                    <a:gd name="connsiteY0" fmla="*/ 1005769 h 4760516"/>
                    <a:gd name="connsiteX1" fmla="*/ 3082042 w 3901192"/>
                    <a:gd name="connsiteY1" fmla="*/ 1026716 h 4760516"/>
                    <a:gd name="connsiteX2" fmla="*/ 3167767 w 3901192"/>
                    <a:gd name="connsiteY2" fmla="*/ 1369616 h 4760516"/>
                    <a:gd name="connsiteX3" fmla="*/ 3253492 w 3901192"/>
                    <a:gd name="connsiteY3" fmla="*/ 1822054 h 4760516"/>
                    <a:gd name="connsiteX4" fmla="*/ 3282067 w 3901192"/>
                    <a:gd name="connsiteY4" fmla="*/ 2255441 h 4760516"/>
                    <a:gd name="connsiteX5" fmla="*/ 3272542 w 3901192"/>
                    <a:gd name="connsiteY5" fmla="*/ 2526904 h 4760516"/>
                    <a:gd name="connsiteX6" fmla="*/ 3191579 w 3901192"/>
                    <a:gd name="connsiteY6" fmla="*/ 2722166 h 4760516"/>
                    <a:gd name="connsiteX7" fmla="*/ 3043942 w 3901192"/>
                    <a:gd name="connsiteY7" fmla="*/ 2750741 h 4760516"/>
                    <a:gd name="connsiteX8" fmla="*/ 2810579 w 3901192"/>
                    <a:gd name="connsiteY8" fmla="*/ 2731691 h 4760516"/>
                    <a:gd name="connsiteX9" fmla="*/ 2634367 w 3901192"/>
                    <a:gd name="connsiteY9" fmla="*/ 2669779 h 4760516"/>
                    <a:gd name="connsiteX10" fmla="*/ 2658179 w 3901192"/>
                    <a:gd name="connsiteY10" fmla="*/ 2603104 h 4760516"/>
                    <a:gd name="connsiteX11" fmla="*/ 2753429 w 3901192"/>
                    <a:gd name="connsiteY11" fmla="*/ 2474516 h 4760516"/>
                    <a:gd name="connsiteX12" fmla="*/ 2843917 w 3901192"/>
                    <a:gd name="connsiteY12" fmla="*/ 2255441 h 4760516"/>
                    <a:gd name="connsiteX13" fmla="*/ 2862967 w 3901192"/>
                    <a:gd name="connsiteY13" fmla="*/ 2160191 h 4760516"/>
                    <a:gd name="connsiteX14" fmla="*/ 2920117 w 3901192"/>
                    <a:gd name="connsiteY14" fmla="*/ 2098279 h 4760516"/>
                    <a:gd name="connsiteX15" fmla="*/ 3001079 w 3901192"/>
                    <a:gd name="connsiteY15" fmla="*/ 1855391 h 4760516"/>
                    <a:gd name="connsiteX16" fmla="*/ 3058229 w 3901192"/>
                    <a:gd name="connsiteY16" fmla="*/ 1598216 h 4760516"/>
                    <a:gd name="connsiteX17" fmla="*/ 3062992 w 3901192"/>
                    <a:gd name="connsiteY17" fmla="*/ 1483916 h 4760516"/>
                    <a:gd name="connsiteX18" fmla="*/ 3010604 w 3901192"/>
                    <a:gd name="connsiteY18" fmla="*/ 1379141 h 4760516"/>
                    <a:gd name="connsiteX19" fmla="*/ 2958217 w 3901192"/>
                    <a:gd name="connsiteY19" fmla="*/ 1331516 h 4760516"/>
                    <a:gd name="connsiteX20" fmla="*/ 2948692 w 3901192"/>
                    <a:gd name="connsiteY20" fmla="*/ 1236266 h 4760516"/>
                    <a:gd name="connsiteX21" fmla="*/ 2958217 w 3901192"/>
                    <a:gd name="connsiteY21" fmla="*/ 1121966 h 4760516"/>
                    <a:gd name="connsiteX22" fmla="*/ 3005842 w 3901192"/>
                    <a:gd name="connsiteY22" fmla="*/ 1050529 h 4760516"/>
                    <a:gd name="connsiteX23" fmla="*/ 3061653 w 3901192"/>
                    <a:gd name="connsiteY23" fmla="*/ 1005769 h 4760516"/>
                    <a:gd name="connsiteX24" fmla="*/ 1814025 w 3901192"/>
                    <a:gd name="connsiteY24" fmla="*/ 0 h 4760516"/>
                    <a:gd name="connsiteX25" fmla="*/ 1956503 w 3901192"/>
                    <a:gd name="connsiteY25" fmla="*/ 1191 h 4760516"/>
                    <a:gd name="connsiteX26" fmla="*/ 2153353 w 3901192"/>
                    <a:gd name="connsiteY26" fmla="*/ 20241 h 4760516"/>
                    <a:gd name="connsiteX27" fmla="*/ 2381953 w 3901192"/>
                    <a:gd name="connsiteY27" fmla="*/ 121841 h 4760516"/>
                    <a:gd name="connsiteX28" fmla="*/ 2642303 w 3901192"/>
                    <a:gd name="connsiteY28" fmla="*/ 331391 h 4760516"/>
                    <a:gd name="connsiteX29" fmla="*/ 2947103 w 3901192"/>
                    <a:gd name="connsiteY29" fmla="*/ 693341 h 4760516"/>
                    <a:gd name="connsiteX30" fmla="*/ 3061403 w 3901192"/>
                    <a:gd name="connsiteY30" fmla="*/ 883841 h 4760516"/>
                    <a:gd name="connsiteX31" fmla="*/ 3010603 w 3901192"/>
                    <a:gd name="connsiteY31" fmla="*/ 1004491 h 4760516"/>
                    <a:gd name="connsiteX32" fmla="*/ 2902653 w 3901192"/>
                    <a:gd name="connsiteY32" fmla="*/ 1061641 h 4760516"/>
                    <a:gd name="connsiteX33" fmla="*/ 2826453 w 3901192"/>
                    <a:gd name="connsiteY33" fmla="*/ 998141 h 4760516"/>
                    <a:gd name="connsiteX34" fmla="*/ 2655003 w 3901192"/>
                    <a:gd name="connsiteY34" fmla="*/ 820341 h 4760516"/>
                    <a:gd name="connsiteX35" fmla="*/ 2350203 w 3901192"/>
                    <a:gd name="connsiteY35" fmla="*/ 674291 h 4760516"/>
                    <a:gd name="connsiteX36" fmla="*/ 2020003 w 3901192"/>
                    <a:gd name="connsiteY36" fmla="*/ 674291 h 4760516"/>
                    <a:gd name="connsiteX37" fmla="*/ 2343853 w 3901192"/>
                    <a:gd name="connsiteY37" fmla="*/ 769541 h 4760516"/>
                    <a:gd name="connsiteX38" fmla="*/ 2553403 w 3901192"/>
                    <a:gd name="connsiteY38" fmla="*/ 909241 h 4760516"/>
                    <a:gd name="connsiteX39" fmla="*/ 2629744 w 3901192"/>
                    <a:gd name="connsiteY39" fmla="*/ 973620 h 4760516"/>
                    <a:gd name="connsiteX40" fmla="*/ 2900916 w 3901192"/>
                    <a:gd name="connsiteY40" fmla="*/ 1067700 h 4760516"/>
                    <a:gd name="connsiteX41" fmla="*/ 2830249 w 3901192"/>
                    <a:gd name="connsiteY41" fmla="*/ 1212445 h 4760516"/>
                    <a:gd name="connsiteX42" fmla="*/ 2830249 w 3901192"/>
                    <a:gd name="connsiteY42" fmla="*/ 1445256 h 4760516"/>
                    <a:gd name="connsiteX43" fmla="*/ 2939160 w 3901192"/>
                    <a:gd name="connsiteY43" fmla="*/ 1531580 h 4760516"/>
                    <a:gd name="connsiteX44" fmla="*/ 2823146 w 3901192"/>
                    <a:gd name="connsiteY44" fmla="*/ 2041674 h 4760516"/>
                    <a:gd name="connsiteX45" fmla="*/ 2756852 w 3901192"/>
                    <a:gd name="connsiteY45" fmla="*/ 2086142 h 4760516"/>
                    <a:gd name="connsiteX46" fmla="*/ 2480251 w 3901192"/>
                    <a:gd name="connsiteY46" fmla="*/ 2698176 h 4760516"/>
                    <a:gd name="connsiteX47" fmla="*/ 2529592 w 3901192"/>
                    <a:gd name="connsiteY47" fmla="*/ 2817416 h 4760516"/>
                    <a:gd name="connsiteX48" fmla="*/ 2591504 w 3901192"/>
                    <a:gd name="connsiteY48" fmla="*/ 2874566 h 4760516"/>
                    <a:gd name="connsiteX49" fmla="*/ 2658179 w 3901192"/>
                    <a:gd name="connsiteY49" fmla="*/ 2884091 h 4760516"/>
                    <a:gd name="connsiteX50" fmla="*/ 2681992 w 3901192"/>
                    <a:gd name="connsiteY50" fmla="*/ 2912666 h 4760516"/>
                    <a:gd name="connsiteX51" fmla="*/ 2748667 w 3901192"/>
                    <a:gd name="connsiteY51" fmla="*/ 3079354 h 4760516"/>
                    <a:gd name="connsiteX52" fmla="*/ 2843917 w 3901192"/>
                    <a:gd name="connsiteY52" fmla="*/ 3174604 h 4760516"/>
                    <a:gd name="connsiteX53" fmla="*/ 2939167 w 3901192"/>
                    <a:gd name="connsiteY53" fmla="*/ 3207941 h 4760516"/>
                    <a:gd name="connsiteX54" fmla="*/ 3282067 w 3901192"/>
                    <a:gd name="connsiteY54" fmla="*/ 3317479 h 4760516"/>
                    <a:gd name="connsiteX55" fmla="*/ 3658304 w 3901192"/>
                    <a:gd name="connsiteY55" fmla="*/ 3493691 h 4760516"/>
                    <a:gd name="connsiteX56" fmla="*/ 3867854 w 3901192"/>
                    <a:gd name="connsiteY56" fmla="*/ 3641329 h 4760516"/>
                    <a:gd name="connsiteX57" fmla="*/ 3901192 w 3901192"/>
                    <a:gd name="connsiteY57" fmla="*/ 3769916 h 4760516"/>
                    <a:gd name="connsiteX58" fmla="*/ 3877379 w 3901192"/>
                    <a:gd name="connsiteY58" fmla="*/ 4027091 h 4760516"/>
                    <a:gd name="connsiteX59" fmla="*/ 3791654 w 3901192"/>
                    <a:gd name="connsiteY59" fmla="*/ 4236641 h 4760516"/>
                    <a:gd name="connsiteX60" fmla="*/ 3620204 w 3901192"/>
                    <a:gd name="connsiteY60" fmla="*/ 4598591 h 4760516"/>
                    <a:gd name="connsiteX61" fmla="*/ 3472567 w 3901192"/>
                    <a:gd name="connsiteY61" fmla="*/ 4760516 h 4760516"/>
                    <a:gd name="connsiteX62" fmla="*/ 338842 w 3901192"/>
                    <a:gd name="connsiteY62" fmla="*/ 4760516 h 4760516"/>
                    <a:gd name="connsiteX63" fmla="*/ 162629 w 3901192"/>
                    <a:gd name="connsiteY63" fmla="*/ 4436666 h 4760516"/>
                    <a:gd name="connsiteX64" fmla="*/ 57854 w 3901192"/>
                    <a:gd name="connsiteY64" fmla="*/ 4141391 h 4760516"/>
                    <a:gd name="connsiteX65" fmla="*/ 704 w 3901192"/>
                    <a:gd name="connsiteY65" fmla="*/ 3855641 h 4760516"/>
                    <a:gd name="connsiteX66" fmla="*/ 24517 w 3901192"/>
                    <a:gd name="connsiteY66" fmla="*/ 3703241 h 4760516"/>
                    <a:gd name="connsiteX67" fmla="*/ 219779 w 3901192"/>
                    <a:gd name="connsiteY67" fmla="*/ 3584179 h 4760516"/>
                    <a:gd name="connsiteX68" fmla="*/ 534104 w 3901192"/>
                    <a:gd name="connsiteY68" fmla="*/ 3450829 h 4760516"/>
                    <a:gd name="connsiteX69" fmla="*/ 934154 w 3901192"/>
                    <a:gd name="connsiteY69" fmla="*/ 3293666 h 4760516"/>
                    <a:gd name="connsiteX70" fmla="*/ 1134179 w 3901192"/>
                    <a:gd name="connsiteY70" fmla="*/ 3217466 h 4760516"/>
                    <a:gd name="connsiteX71" fmla="*/ 1277054 w 3901192"/>
                    <a:gd name="connsiteY71" fmla="*/ 2950766 h 4760516"/>
                    <a:gd name="connsiteX72" fmla="*/ 1372304 w 3901192"/>
                    <a:gd name="connsiteY72" fmla="*/ 2888854 h 4760516"/>
                    <a:gd name="connsiteX73" fmla="*/ 1443742 w 3901192"/>
                    <a:gd name="connsiteY73" fmla="*/ 2750741 h 4760516"/>
                    <a:gd name="connsiteX74" fmla="*/ 1429454 w 3901192"/>
                    <a:gd name="connsiteY74" fmla="*/ 2665016 h 4760516"/>
                    <a:gd name="connsiteX75" fmla="*/ 1433043 w 3901192"/>
                    <a:gd name="connsiteY75" fmla="*/ 2655556 h 4760516"/>
                    <a:gd name="connsiteX76" fmla="*/ 1412036 w 3901192"/>
                    <a:gd name="connsiteY76" fmla="*/ 2630242 h 4760516"/>
                    <a:gd name="connsiteX77" fmla="*/ 1170537 w 3901192"/>
                    <a:gd name="connsiteY77" fmla="*/ 2059985 h 4760516"/>
                    <a:gd name="connsiteX78" fmla="*/ 976392 w 3901192"/>
                    <a:gd name="connsiteY78" fmla="*/ 1612672 h 4760516"/>
                    <a:gd name="connsiteX79" fmla="*/ 1052155 w 3901192"/>
                    <a:gd name="connsiteY79" fmla="*/ 1487109 h 4760516"/>
                    <a:gd name="connsiteX80" fmla="*/ 1017551 w 3901192"/>
                    <a:gd name="connsiteY80" fmla="*/ 1277790 h 4760516"/>
                    <a:gd name="connsiteX81" fmla="*/ 934153 w 3901192"/>
                    <a:gd name="connsiteY81" fmla="*/ 1341041 h 4760516"/>
                    <a:gd name="connsiteX82" fmla="*/ 883353 w 3901192"/>
                    <a:gd name="connsiteY82" fmla="*/ 1404541 h 4760516"/>
                    <a:gd name="connsiteX83" fmla="*/ 838903 w 3901192"/>
                    <a:gd name="connsiteY83" fmla="*/ 1525191 h 4760516"/>
                    <a:gd name="connsiteX84" fmla="*/ 857953 w 3901192"/>
                    <a:gd name="connsiteY84" fmla="*/ 1645841 h 4760516"/>
                    <a:gd name="connsiteX85" fmla="*/ 889703 w 3901192"/>
                    <a:gd name="connsiteY85" fmla="*/ 1829991 h 4760516"/>
                    <a:gd name="connsiteX86" fmla="*/ 965903 w 3901192"/>
                    <a:gd name="connsiteY86" fmla="*/ 2128441 h 4760516"/>
                    <a:gd name="connsiteX87" fmla="*/ 1048453 w 3901192"/>
                    <a:gd name="connsiteY87" fmla="*/ 2198291 h 4760516"/>
                    <a:gd name="connsiteX88" fmla="*/ 1099253 w 3901192"/>
                    <a:gd name="connsiteY88" fmla="*/ 2331641 h 4760516"/>
                    <a:gd name="connsiteX89" fmla="*/ 1219903 w 3901192"/>
                    <a:gd name="connsiteY89" fmla="*/ 2566591 h 4760516"/>
                    <a:gd name="connsiteX90" fmla="*/ 1270703 w 3901192"/>
                    <a:gd name="connsiteY90" fmla="*/ 2712641 h 4760516"/>
                    <a:gd name="connsiteX91" fmla="*/ 1131003 w 3901192"/>
                    <a:gd name="connsiteY91" fmla="*/ 2750741 h 4760516"/>
                    <a:gd name="connsiteX92" fmla="*/ 927803 w 3901192"/>
                    <a:gd name="connsiteY92" fmla="*/ 2776141 h 4760516"/>
                    <a:gd name="connsiteX93" fmla="*/ 743653 w 3901192"/>
                    <a:gd name="connsiteY93" fmla="*/ 2731691 h 4760516"/>
                    <a:gd name="connsiteX94" fmla="*/ 661103 w 3901192"/>
                    <a:gd name="connsiteY94" fmla="*/ 2591991 h 4760516"/>
                    <a:gd name="connsiteX95" fmla="*/ 623003 w 3901192"/>
                    <a:gd name="connsiteY95" fmla="*/ 2344341 h 4760516"/>
                    <a:gd name="connsiteX96" fmla="*/ 635703 w 3901192"/>
                    <a:gd name="connsiteY96" fmla="*/ 2020491 h 4760516"/>
                    <a:gd name="connsiteX97" fmla="*/ 737303 w 3901192"/>
                    <a:gd name="connsiteY97" fmla="*/ 1328341 h 4760516"/>
                    <a:gd name="connsiteX98" fmla="*/ 972253 w 3901192"/>
                    <a:gd name="connsiteY98" fmla="*/ 623491 h 4760516"/>
                    <a:gd name="connsiteX99" fmla="*/ 1169103 w 3901192"/>
                    <a:gd name="connsiteY99" fmla="*/ 299641 h 4760516"/>
                    <a:gd name="connsiteX100" fmla="*/ 1359603 w 3901192"/>
                    <a:gd name="connsiteY100" fmla="*/ 140891 h 4760516"/>
                    <a:gd name="connsiteX101" fmla="*/ 1531053 w 3901192"/>
                    <a:gd name="connsiteY101" fmla="*/ 115491 h 4760516"/>
                    <a:gd name="connsiteX102" fmla="*/ 1677103 w 3901192"/>
                    <a:gd name="connsiteY102" fmla="*/ 13891 h 4760516"/>
                    <a:gd name="connsiteX103" fmla="*/ 1814025 w 3901192"/>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2384"/>
                    <a:gd name="connsiteY0" fmla="*/ 1005769 h 4760516"/>
                    <a:gd name="connsiteX1" fmla="*/ 3082677 w 3902384"/>
                    <a:gd name="connsiteY1" fmla="*/ 1026716 h 4760516"/>
                    <a:gd name="connsiteX2" fmla="*/ 3168402 w 3902384"/>
                    <a:gd name="connsiteY2" fmla="*/ 1369616 h 4760516"/>
                    <a:gd name="connsiteX3" fmla="*/ 3254127 w 3902384"/>
                    <a:gd name="connsiteY3" fmla="*/ 1822054 h 4760516"/>
                    <a:gd name="connsiteX4" fmla="*/ 3282702 w 3902384"/>
                    <a:gd name="connsiteY4" fmla="*/ 2255441 h 4760516"/>
                    <a:gd name="connsiteX5" fmla="*/ 3273177 w 3902384"/>
                    <a:gd name="connsiteY5" fmla="*/ 2526904 h 4760516"/>
                    <a:gd name="connsiteX6" fmla="*/ 3192214 w 3902384"/>
                    <a:gd name="connsiteY6" fmla="*/ 2722166 h 4760516"/>
                    <a:gd name="connsiteX7" fmla="*/ 3044577 w 3902384"/>
                    <a:gd name="connsiteY7" fmla="*/ 2750741 h 4760516"/>
                    <a:gd name="connsiteX8" fmla="*/ 2811214 w 3902384"/>
                    <a:gd name="connsiteY8" fmla="*/ 2731691 h 4760516"/>
                    <a:gd name="connsiteX9" fmla="*/ 2635002 w 3902384"/>
                    <a:gd name="connsiteY9" fmla="*/ 2669779 h 4760516"/>
                    <a:gd name="connsiteX10" fmla="*/ 2658814 w 3902384"/>
                    <a:gd name="connsiteY10" fmla="*/ 2603104 h 4760516"/>
                    <a:gd name="connsiteX11" fmla="*/ 2754064 w 3902384"/>
                    <a:gd name="connsiteY11" fmla="*/ 2474516 h 4760516"/>
                    <a:gd name="connsiteX12" fmla="*/ 2844552 w 3902384"/>
                    <a:gd name="connsiteY12" fmla="*/ 2255441 h 4760516"/>
                    <a:gd name="connsiteX13" fmla="*/ 2863602 w 3902384"/>
                    <a:gd name="connsiteY13" fmla="*/ 2160191 h 4760516"/>
                    <a:gd name="connsiteX14" fmla="*/ 2920752 w 3902384"/>
                    <a:gd name="connsiteY14" fmla="*/ 2098279 h 4760516"/>
                    <a:gd name="connsiteX15" fmla="*/ 3001714 w 3902384"/>
                    <a:gd name="connsiteY15" fmla="*/ 1855391 h 4760516"/>
                    <a:gd name="connsiteX16" fmla="*/ 3058864 w 3902384"/>
                    <a:gd name="connsiteY16" fmla="*/ 1598216 h 4760516"/>
                    <a:gd name="connsiteX17" fmla="*/ 3063627 w 3902384"/>
                    <a:gd name="connsiteY17" fmla="*/ 1483916 h 4760516"/>
                    <a:gd name="connsiteX18" fmla="*/ 3011239 w 3902384"/>
                    <a:gd name="connsiteY18" fmla="*/ 1379141 h 4760516"/>
                    <a:gd name="connsiteX19" fmla="*/ 2958852 w 3902384"/>
                    <a:gd name="connsiteY19" fmla="*/ 1331516 h 4760516"/>
                    <a:gd name="connsiteX20" fmla="*/ 2949327 w 3902384"/>
                    <a:gd name="connsiteY20" fmla="*/ 1236266 h 4760516"/>
                    <a:gd name="connsiteX21" fmla="*/ 2958852 w 3902384"/>
                    <a:gd name="connsiteY21" fmla="*/ 1121966 h 4760516"/>
                    <a:gd name="connsiteX22" fmla="*/ 3006477 w 3902384"/>
                    <a:gd name="connsiteY22" fmla="*/ 1050529 h 4760516"/>
                    <a:gd name="connsiteX23" fmla="*/ 3062288 w 3902384"/>
                    <a:gd name="connsiteY23" fmla="*/ 1005769 h 4760516"/>
                    <a:gd name="connsiteX24" fmla="*/ 1814660 w 3902384"/>
                    <a:gd name="connsiteY24" fmla="*/ 0 h 4760516"/>
                    <a:gd name="connsiteX25" fmla="*/ 1957138 w 3902384"/>
                    <a:gd name="connsiteY25" fmla="*/ 1191 h 4760516"/>
                    <a:gd name="connsiteX26" fmla="*/ 2153988 w 3902384"/>
                    <a:gd name="connsiteY26" fmla="*/ 20241 h 4760516"/>
                    <a:gd name="connsiteX27" fmla="*/ 2382588 w 3902384"/>
                    <a:gd name="connsiteY27" fmla="*/ 121841 h 4760516"/>
                    <a:gd name="connsiteX28" fmla="*/ 2642938 w 3902384"/>
                    <a:gd name="connsiteY28" fmla="*/ 331391 h 4760516"/>
                    <a:gd name="connsiteX29" fmla="*/ 2947738 w 3902384"/>
                    <a:gd name="connsiteY29" fmla="*/ 693341 h 4760516"/>
                    <a:gd name="connsiteX30" fmla="*/ 3062038 w 3902384"/>
                    <a:gd name="connsiteY30" fmla="*/ 883841 h 4760516"/>
                    <a:gd name="connsiteX31" fmla="*/ 3011238 w 3902384"/>
                    <a:gd name="connsiteY31" fmla="*/ 1004491 h 4760516"/>
                    <a:gd name="connsiteX32" fmla="*/ 2903288 w 3902384"/>
                    <a:gd name="connsiteY32" fmla="*/ 1061641 h 4760516"/>
                    <a:gd name="connsiteX33" fmla="*/ 2827088 w 3902384"/>
                    <a:gd name="connsiteY33" fmla="*/ 998141 h 4760516"/>
                    <a:gd name="connsiteX34" fmla="*/ 2655638 w 3902384"/>
                    <a:gd name="connsiteY34" fmla="*/ 820341 h 4760516"/>
                    <a:gd name="connsiteX35" fmla="*/ 2350838 w 3902384"/>
                    <a:gd name="connsiteY35" fmla="*/ 674291 h 4760516"/>
                    <a:gd name="connsiteX36" fmla="*/ 2020638 w 3902384"/>
                    <a:gd name="connsiteY36" fmla="*/ 674291 h 4760516"/>
                    <a:gd name="connsiteX37" fmla="*/ 2344488 w 3902384"/>
                    <a:gd name="connsiteY37" fmla="*/ 769541 h 4760516"/>
                    <a:gd name="connsiteX38" fmla="*/ 2554038 w 3902384"/>
                    <a:gd name="connsiteY38" fmla="*/ 909241 h 4760516"/>
                    <a:gd name="connsiteX39" fmla="*/ 2630379 w 3902384"/>
                    <a:gd name="connsiteY39" fmla="*/ 973620 h 4760516"/>
                    <a:gd name="connsiteX40" fmla="*/ 2901551 w 3902384"/>
                    <a:gd name="connsiteY40" fmla="*/ 1067700 h 4760516"/>
                    <a:gd name="connsiteX41" fmla="*/ 2830884 w 3902384"/>
                    <a:gd name="connsiteY41" fmla="*/ 1212445 h 4760516"/>
                    <a:gd name="connsiteX42" fmla="*/ 2830884 w 3902384"/>
                    <a:gd name="connsiteY42" fmla="*/ 1445256 h 4760516"/>
                    <a:gd name="connsiteX43" fmla="*/ 2939795 w 3902384"/>
                    <a:gd name="connsiteY43" fmla="*/ 1531580 h 4760516"/>
                    <a:gd name="connsiteX44" fmla="*/ 2823781 w 3902384"/>
                    <a:gd name="connsiteY44" fmla="*/ 2041674 h 4760516"/>
                    <a:gd name="connsiteX45" fmla="*/ 2757487 w 3902384"/>
                    <a:gd name="connsiteY45" fmla="*/ 2086142 h 4760516"/>
                    <a:gd name="connsiteX46" fmla="*/ 2480886 w 3902384"/>
                    <a:gd name="connsiteY46" fmla="*/ 2698176 h 4760516"/>
                    <a:gd name="connsiteX47" fmla="*/ 2530227 w 3902384"/>
                    <a:gd name="connsiteY47" fmla="*/ 2817416 h 4760516"/>
                    <a:gd name="connsiteX48" fmla="*/ 2592139 w 3902384"/>
                    <a:gd name="connsiteY48" fmla="*/ 2874566 h 4760516"/>
                    <a:gd name="connsiteX49" fmla="*/ 2658814 w 3902384"/>
                    <a:gd name="connsiteY49" fmla="*/ 2884091 h 4760516"/>
                    <a:gd name="connsiteX50" fmla="*/ 2682627 w 3902384"/>
                    <a:gd name="connsiteY50" fmla="*/ 2912666 h 4760516"/>
                    <a:gd name="connsiteX51" fmla="*/ 2749302 w 3902384"/>
                    <a:gd name="connsiteY51" fmla="*/ 3079354 h 4760516"/>
                    <a:gd name="connsiteX52" fmla="*/ 2844552 w 3902384"/>
                    <a:gd name="connsiteY52" fmla="*/ 3174604 h 4760516"/>
                    <a:gd name="connsiteX53" fmla="*/ 2939802 w 3902384"/>
                    <a:gd name="connsiteY53" fmla="*/ 3207941 h 4760516"/>
                    <a:gd name="connsiteX54" fmla="*/ 3282702 w 3902384"/>
                    <a:gd name="connsiteY54" fmla="*/ 3317479 h 4760516"/>
                    <a:gd name="connsiteX55" fmla="*/ 3658939 w 3902384"/>
                    <a:gd name="connsiteY55" fmla="*/ 3493691 h 4760516"/>
                    <a:gd name="connsiteX56" fmla="*/ 3868489 w 3902384"/>
                    <a:gd name="connsiteY56" fmla="*/ 3641329 h 4760516"/>
                    <a:gd name="connsiteX57" fmla="*/ 3901827 w 3902384"/>
                    <a:gd name="connsiteY57" fmla="*/ 3769916 h 4760516"/>
                    <a:gd name="connsiteX58" fmla="*/ 3878014 w 3902384"/>
                    <a:gd name="connsiteY58" fmla="*/ 4027091 h 4760516"/>
                    <a:gd name="connsiteX59" fmla="*/ 3792289 w 3902384"/>
                    <a:gd name="connsiteY59" fmla="*/ 4236641 h 4760516"/>
                    <a:gd name="connsiteX60" fmla="*/ 3620839 w 3902384"/>
                    <a:gd name="connsiteY60" fmla="*/ 4598591 h 4760516"/>
                    <a:gd name="connsiteX61" fmla="*/ 3473202 w 3902384"/>
                    <a:gd name="connsiteY61" fmla="*/ 4760516 h 4760516"/>
                    <a:gd name="connsiteX62" fmla="*/ 339477 w 3902384"/>
                    <a:gd name="connsiteY62" fmla="*/ 4760516 h 4760516"/>
                    <a:gd name="connsiteX63" fmla="*/ 163264 w 3902384"/>
                    <a:gd name="connsiteY63" fmla="*/ 4436666 h 4760516"/>
                    <a:gd name="connsiteX64" fmla="*/ 58489 w 3902384"/>
                    <a:gd name="connsiteY64" fmla="*/ 4141391 h 4760516"/>
                    <a:gd name="connsiteX65" fmla="*/ 1339 w 3902384"/>
                    <a:gd name="connsiteY65" fmla="*/ 3855641 h 4760516"/>
                    <a:gd name="connsiteX66" fmla="*/ 25152 w 3902384"/>
                    <a:gd name="connsiteY66" fmla="*/ 3703241 h 4760516"/>
                    <a:gd name="connsiteX67" fmla="*/ 220414 w 3902384"/>
                    <a:gd name="connsiteY67" fmla="*/ 3584179 h 4760516"/>
                    <a:gd name="connsiteX68" fmla="*/ 534739 w 3902384"/>
                    <a:gd name="connsiteY68" fmla="*/ 3450829 h 4760516"/>
                    <a:gd name="connsiteX69" fmla="*/ 934789 w 3902384"/>
                    <a:gd name="connsiteY69" fmla="*/ 3293666 h 4760516"/>
                    <a:gd name="connsiteX70" fmla="*/ 1134814 w 3902384"/>
                    <a:gd name="connsiteY70" fmla="*/ 3217466 h 4760516"/>
                    <a:gd name="connsiteX71" fmla="*/ 1277689 w 3902384"/>
                    <a:gd name="connsiteY71" fmla="*/ 2950766 h 4760516"/>
                    <a:gd name="connsiteX72" fmla="*/ 1372939 w 3902384"/>
                    <a:gd name="connsiteY72" fmla="*/ 2888854 h 4760516"/>
                    <a:gd name="connsiteX73" fmla="*/ 1444377 w 3902384"/>
                    <a:gd name="connsiteY73" fmla="*/ 2750741 h 4760516"/>
                    <a:gd name="connsiteX74" fmla="*/ 1430089 w 3902384"/>
                    <a:gd name="connsiteY74" fmla="*/ 2665016 h 4760516"/>
                    <a:gd name="connsiteX75" fmla="*/ 1433678 w 3902384"/>
                    <a:gd name="connsiteY75" fmla="*/ 2655556 h 4760516"/>
                    <a:gd name="connsiteX76" fmla="*/ 1412671 w 3902384"/>
                    <a:gd name="connsiteY76" fmla="*/ 2630242 h 4760516"/>
                    <a:gd name="connsiteX77" fmla="*/ 1171172 w 3902384"/>
                    <a:gd name="connsiteY77" fmla="*/ 2059985 h 4760516"/>
                    <a:gd name="connsiteX78" fmla="*/ 977027 w 3902384"/>
                    <a:gd name="connsiteY78" fmla="*/ 1612672 h 4760516"/>
                    <a:gd name="connsiteX79" fmla="*/ 1052790 w 3902384"/>
                    <a:gd name="connsiteY79" fmla="*/ 1487109 h 4760516"/>
                    <a:gd name="connsiteX80" fmla="*/ 1018186 w 3902384"/>
                    <a:gd name="connsiteY80" fmla="*/ 1277790 h 4760516"/>
                    <a:gd name="connsiteX81" fmla="*/ 934788 w 3902384"/>
                    <a:gd name="connsiteY81" fmla="*/ 1341041 h 4760516"/>
                    <a:gd name="connsiteX82" fmla="*/ 883988 w 3902384"/>
                    <a:gd name="connsiteY82" fmla="*/ 1404541 h 4760516"/>
                    <a:gd name="connsiteX83" fmla="*/ 839538 w 3902384"/>
                    <a:gd name="connsiteY83" fmla="*/ 1525191 h 4760516"/>
                    <a:gd name="connsiteX84" fmla="*/ 858588 w 3902384"/>
                    <a:gd name="connsiteY84" fmla="*/ 1645841 h 4760516"/>
                    <a:gd name="connsiteX85" fmla="*/ 890338 w 3902384"/>
                    <a:gd name="connsiteY85" fmla="*/ 1829991 h 4760516"/>
                    <a:gd name="connsiteX86" fmla="*/ 966538 w 3902384"/>
                    <a:gd name="connsiteY86" fmla="*/ 2128441 h 4760516"/>
                    <a:gd name="connsiteX87" fmla="*/ 1049088 w 3902384"/>
                    <a:gd name="connsiteY87" fmla="*/ 2198291 h 4760516"/>
                    <a:gd name="connsiteX88" fmla="*/ 1099888 w 3902384"/>
                    <a:gd name="connsiteY88" fmla="*/ 2331641 h 4760516"/>
                    <a:gd name="connsiteX89" fmla="*/ 1220538 w 3902384"/>
                    <a:gd name="connsiteY89" fmla="*/ 2566591 h 4760516"/>
                    <a:gd name="connsiteX90" fmla="*/ 1271338 w 3902384"/>
                    <a:gd name="connsiteY90" fmla="*/ 2712641 h 4760516"/>
                    <a:gd name="connsiteX91" fmla="*/ 1131638 w 3902384"/>
                    <a:gd name="connsiteY91" fmla="*/ 2750741 h 4760516"/>
                    <a:gd name="connsiteX92" fmla="*/ 928438 w 3902384"/>
                    <a:gd name="connsiteY92" fmla="*/ 2776141 h 4760516"/>
                    <a:gd name="connsiteX93" fmla="*/ 744288 w 3902384"/>
                    <a:gd name="connsiteY93" fmla="*/ 2731691 h 4760516"/>
                    <a:gd name="connsiteX94" fmla="*/ 661738 w 3902384"/>
                    <a:gd name="connsiteY94" fmla="*/ 2591991 h 4760516"/>
                    <a:gd name="connsiteX95" fmla="*/ 623638 w 3902384"/>
                    <a:gd name="connsiteY95" fmla="*/ 2344341 h 4760516"/>
                    <a:gd name="connsiteX96" fmla="*/ 636338 w 3902384"/>
                    <a:gd name="connsiteY96" fmla="*/ 2020491 h 4760516"/>
                    <a:gd name="connsiteX97" fmla="*/ 737938 w 3902384"/>
                    <a:gd name="connsiteY97" fmla="*/ 1328341 h 4760516"/>
                    <a:gd name="connsiteX98" fmla="*/ 972888 w 3902384"/>
                    <a:gd name="connsiteY98" fmla="*/ 623491 h 4760516"/>
                    <a:gd name="connsiteX99" fmla="*/ 1169738 w 3902384"/>
                    <a:gd name="connsiteY99" fmla="*/ 299641 h 4760516"/>
                    <a:gd name="connsiteX100" fmla="*/ 1360238 w 3902384"/>
                    <a:gd name="connsiteY100" fmla="*/ 140891 h 4760516"/>
                    <a:gd name="connsiteX101" fmla="*/ 1531688 w 3902384"/>
                    <a:gd name="connsiteY101" fmla="*/ 115491 h 4760516"/>
                    <a:gd name="connsiteX102" fmla="*/ 1677738 w 3902384"/>
                    <a:gd name="connsiteY102" fmla="*/ 13891 h 4760516"/>
                    <a:gd name="connsiteX103" fmla="*/ 1814660 w 3902384"/>
                    <a:gd name="connsiteY103" fmla="*/ 0 h 4760516"/>
                    <a:gd name="connsiteX0" fmla="*/ 3062288 w 3903424"/>
                    <a:gd name="connsiteY0" fmla="*/ 1005769 h 4760516"/>
                    <a:gd name="connsiteX1" fmla="*/ 3082677 w 3903424"/>
                    <a:gd name="connsiteY1" fmla="*/ 1026716 h 4760516"/>
                    <a:gd name="connsiteX2" fmla="*/ 3168402 w 3903424"/>
                    <a:gd name="connsiteY2" fmla="*/ 1369616 h 4760516"/>
                    <a:gd name="connsiteX3" fmla="*/ 3254127 w 3903424"/>
                    <a:gd name="connsiteY3" fmla="*/ 1822054 h 4760516"/>
                    <a:gd name="connsiteX4" fmla="*/ 3282702 w 3903424"/>
                    <a:gd name="connsiteY4" fmla="*/ 2255441 h 4760516"/>
                    <a:gd name="connsiteX5" fmla="*/ 3273177 w 3903424"/>
                    <a:gd name="connsiteY5" fmla="*/ 2526904 h 4760516"/>
                    <a:gd name="connsiteX6" fmla="*/ 3192214 w 3903424"/>
                    <a:gd name="connsiteY6" fmla="*/ 2722166 h 4760516"/>
                    <a:gd name="connsiteX7" fmla="*/ 3044577 w 3903424"/>
                    <a:gd name="connsiteY7" fmla="*/ 2750741 h 4760516"/>
                    <a:gd name="connsiteX8" fmla="*/ 2811214 w 3903424"/>
                    <a:gd name="connsiteY8" fmla="*/ 2731691 h 4760516"/>
                    <a:gd name="connsiteX9" fmla="*/ 2635002 w 3903424"/>
                    <a:gd name="connsiteY9" fmla="*/ 2669779 h 4760516"/>
                    <a:gd name="connsiteX10" fmla="*/ 2658814 w 3903424"/>
                    <a:gd name="connsiteY10" fmla="*/ 2603104 h 4760516"/>
                    <a:gd name="connsiteX11" fmla="*/ 2754064 w 3903424"/>
                    <a:gd name="connsiteY11" fmla="*/ 2474516 h 4760516"/>
                    <a:gd name="connsiteX12" fmla="*/ 2844552 w 3903424"/>
                    <a:gd name="connsiteY12" fmla="*/ 2255441 h 4760516"/>
                    <a:gd name="connsiteX13" fmla="*/ 2863602 w 3903424"/>
                    <a:gd name="connsiteY13" fmla="*/ 2160191 h 4760516"/>
                    <a:gd name="connsiteX14" fmla="*/ 2920752 w 3903424"/>
                    <a:gd name="connsiteY14" fmla="*/ 2098279 h 4760516"/>
                    <a:gd name="connsiteX15" fmla="*/ 3001714 w 3903424"/>
                    <a:gd name="connsiteY15" fmla="*/ 1855391 h 4760516"/>
                    <a:gd name="connsiteX16" fmla="*/ 3058864 w 3903424"/>
                    <a:gd name="connsiteY16" fmla="*/ 1598216 h 4760516"/>
                    <a:gd name="connsiteX17" fmla="*/ 3063627 w 3903424"/>
                    <a:gd name="connsiteY17" fmla="*/ 1483916 h 4760516"/>
                    <a:gd name="connsiteX18" fmla="*/ 3011239 w 3903424"/>
                    <a:gd name="connsiteY18" fmla="*/ 1379141 h 4760516"/>
                    <a:gd name="connsiteX19" fmla="*/ 2958852 w 3903424"/>
                    <a:gd name="connsiteY19" fmla="*/ 1331516 h 4760516"/>
                    <a:gd name="connsiteX20" fmla="*/ 2949327 w 3903424"/>
                    <a:gd name="connsiteY20" fmla="*/ 1236266 h 4760516"/>
                    <a:gd name="connsiteX21" fmla="*/ 2958852 w 3903424"/>
                    <a:gd name="connsiteY21" fmla="*/ 1121966 h 4760516"/>
                    <a:gd name="connsiteX22" fmla="*/ 3006477 w 3903424"/>
                    <a:gd name="connsiteY22" fmla="*/ 1050529 h 4760516"/>
                    <a:gd name="connsiteX23" fmla="*/ 3062288 w 3903424"/>
                    <a:gd name="connsiteY23" fmla="*/ 1005769 h 4760516"/>
                    <a:gd name="connsiteX24" fmla="*/ 1814660 w 3903424"/>
                    <a:gd name="connsiteY24" fmla="*/ 0 h 4760516"/>
                    <a:gd name="connsiteX25" fmla="*/ 1957138 w 3903424"/>
                    <a:gd name="connsiteY25" fmla="*/ 1191 h 4760516"/>
                    <a:gd name="connsiteX26" fmla="*/ 2153988 w 3903424"/>
                    <a:gd name="connsiteY26" fmla="*/ 20241 h 4760516"/>
                    <a:gd name="connsiteX27" fmla="*/ 2382588 w 3903424"/>
                    <a:gd name="connsiteY27" fmla="*/ 121841 h 4760516"/>
                    <a:gd name="connsiteX28" fmla="*/ 2642938 w 3903424"/>
                    <a:gd name="connsiteY28" fmla="*/ 331391 h 4760516"/>
                    <a:gd name="connsiteX29" fmla="*/ 2947738 w 3903424"/>
                    <a:gd name="connsiteY29" fmla="*/ 693341 h 4760516"/>
                    <a:gd name="connsiteX30" fmla="*/ 3062038 w 3903424"/>
                    <a:gd name="connsiteY30" fmla="*/ 883841 h 4760516"/>
                    <a:gd name="connsiteX31" fmla="*/ 3011238 w 3903424"/>
                    <a:gd name="connsiteY31" fmla="*/ 1004491 h 4760516"/>
                    <a:gd name="connsiteX32" fmla="*/ 2903288 w 3903424"/>
                    <a:gd name="connsiteY32" fmla="*/ 1061641 h 4760516"/>
                    <a:gd name="connsiteX33" fmla="*/ 2827088 w 3903424"/>
                    <a:gd name="connsiteY33" fmla="*/ 998141 h 4760516"/>
                    <a:gd name="connsiteX34" fmla="*/ 2655638 w 3903424"/>
                    <a:gd name="connsiteY34" fmla="*/ 820341 h 4760516"/>
                    <a:gd name="connsiteX35" fmla="*/ 2350838 w 3903424"/>
                    <a:gd name="connsiteY35" fmla="*/ 674291 h 4760516"/>
                    <a:gd name="connsiteX36" fmla="*/ 2020638 w 3903424"/>
                    <a:gd name="connsiteY36" fmla="*/ 674291 h 4760516"/>
                    <a:gd name="connsiteX37" fmla="*/ 2344488 w 3903424"/>
                    <a:gd name="connsiteY37" fmla="*/ 769541 h 4760516"/>
                    <a:gd name="connsiteX38" fmla="*/ 2554038 w 3903424"/>
                    <a:gd name="connsiteY38" fmla="*/ 909241 h 4760516"/>
                    <a:gd name="connsiteX39" fmla="*/ 2630379 w 3903424"/>
                    <a:gd name="connsiteY39" fmla="*/ 973620 h 4760516"/>
                    <a:gd name="connsiteX40" fmla="*/ 2901551 w 3903424"/>
                    <a:gd name="connsiteY40" fmla="*/ 1067700 h 4760516"/>
                    <a:gd name="connsiteX41" fmla="*/ 2830884 w 3903424"/>
                    <a:gd name="connsiteY41" fmla="*/ 1212445 h 4760516"/>
                    <a:gd name="connsiteX42" fmla="*/ 2830884 w 3903424"/>
                    <a:gd name="connsiteY42" fmla="*/ 1445256 h 4760516"/>
                    <a:gd name="connsiteX43" fmla="*/ 2939795 w 3903424"/>
                    <a:gd name="connsiteY43" fmla="*/ 1531580 h 4760516"/>
                    <a:gd name="connsiteX44" fmla="*/ 2823781 w 3903424"/>
                    <a:gd name="connsiteY44" fmla="*/ 2041674 h 4760516"/>
                    <a:gd name="connsiteX45" fmla="*/ 2757487 w 3903424"/>
                    <a:gd name="connsiteY45" fmla="*/ 2086142 h 4760516"/>
                    <a:gd name="connsiteX46" fmla="*/ 2480886 w 3903424"/>
                    <a:gd name="connsiteY46" fmla="*/ 2698176 h 4760516"/>
                    <a:gd name="connsiteX47" fmla="*/ 2530227 w 3903424"/>
                    <a:gd name="connsiteY47" fmla="*/ 2817416 h 4760516"/>
                    <a:gd name="connsiteX48" fmla="*/ 2592139 w 3903424"/>
                    <a:gd name="connsiteY48" fmla="*/ 2874566 h 4760516"/>
                    <a:gd name="connsiteX49" fmla="*/ 2658814 w 3903424"/>
                    <a:gd name="connsiteY49" fmla="*/ 2884091 h 4760516"/>
                    <a:gd name="connsiteX50" fmla="*/ 2682627 w 3903424"/>
                    <a:gd name="connsiteY50" fmla="*/ 2912666 h 4760516"/>
                    <a:gd name="connsiteX51" fmla="*/ 2749302 w 3903424"/>
                    <a:gd name="connsiteY51" fmla="*/ 3079354 h 4760516"/>
                    <a:gd name="connsiteX52" fmla="*/ 2844552 w 3903424"/>
                    <a:gd name="connsiteY52" fmla="*/ 3174604 h 4760516"/>
                    <a:gd name="connsiteX53" fmla="*/ 2939802 w 3903424"/>
                    <a:gd name="connsiteY53" fmla="*/ 3207941 h 4760516"/>
                    <a:gd name="connsiteX54" fmla="*/ 3282702 w 3903424"/>
                    <a:gd name="connsiteY54" fmla="*/ 3317479 h 4760516"/>
                    <a:gd name="connsiteX55" fmla="*/ 3658939 w 3903424"/>
                    <a:gd name="connsiteY55" fmla="*/ 3493691 h 4760516"/>
                    <a:gd name="connsiteX56" fmla="*/ 3868489 w 3903424"/>
                    <a:gd name="connsiteY56" fmla="*/ 3641329 h 4760516"/>
                    <a:gd name="connsiteX57" fmla="*/ 3901827 w 3903424"/>
                    <a:gd name="connsiteY57" fmla="*/ 3769916 h 4760516"/>
                    <a:gd name="connsiteX58" fmla="*/ 3878014 w 3903424"/>
                    <a:gd name="connsiteY58" fmla="*/ 4027091 h 4760516"/>
                    <a:gd name="connsiteX59" fmla="*/ 3792289 w 3903424"/>
                    <a:gd name="connsiteY59" fmla="*/ 4236641 h 4760516"/>
                    <a:gd name="connsiteX60" fmla="*/ 3620839 w 3903424"/>
                    <a:gd name="connsiteY60" fmla="*/ 4598591 h 4760516"/>
                    <a:gd name="connsiteX61" fmla="*/ 3473202 w 3903424"/>
                    <a:gd name="connsiteY61" fmla="*/ 4760516 h 4760516"/>
                    <a:gd name="connsiteX62" fmla="*/ 339477 w 3903424"/>
                    <a:gd name="connsiteY62" fmla="*/ 4760516 h 4760516"/>
                    <a:gd name="connsiteX63" fmla="*/ 163264 w 3903424"/>
                    <a:gd name="connsiteY63" fmla="*/ 4436666 h 4760516"/>
                    <a:gd name="connsiteX64" fmla="*/ 58489 w 3903424"/>
                    <a:gd name="connsiteY64" fmla="*/ 4141391 h 4760516"/>
                    <a:gd name="connsiteX65" fmla="*/ 1339 w 3903424"/>
                    <a:gd name="connsiteY65" fmla="*/ 3855641 h 4760516"/>
                    <a:gd name="connsiteX66" fmla="*/ 25152 w 3903424"/>
                    <a:gd name="connsiteY66" fmla="*/ 3703241 h 4760516"/>
                    <a:gd name="connsiteX67" fmla="*/ 220414 w 3903424"/>
                    <a:gd name="connsiteY67" fmla="*/ 3584179 h 4760516"/>
                    <a:gd name="connsiteX68" fmla="*/ 534739 w 3903424"/>
                    <a:gd name="connsiteY68" fmla="*/ 3450829 h 4760516"/>
                    <a:gd name="connsiteX69" fmla="*/ 934789 w 3903424"/>
                    <a:gd name="connsiteY69" fmla="*/ 3293666 h 4760516"/>
                    <a:gd name="connsiteX70" fmla="*/ 1134814 w 3903424"/>
                    <a:gd name="connsiteY70" fmla="*/ 3217466 h 4760516"/>
                    <a:gd name="connsiteX71" fmla="*/ 1277689 w 3903424"/>
                    <a:gd name="connsiteY71" fmla="*/ 2950766 h 4760516"/>
                    <a:gd name="connsiteX72" fmla="*/ 1372939 w 3903424"/>
                    <a:gd name="connsiteY72" fmla="*/ 2888854 h 4760516"/>
                    <a:gd name="connsiteX73" fmla="*/ 1444377 w 3903424"/>
                    <a:gd name="connsiteY73" fmla="*/ 2750741 h 4760516"/>
                    <a:gd name="connsiteX74" fmla="*/ 1430089 w 3903424"/>
                    <a:gd name="connsiteY74" fmla="*/ 2665016 h 4760516"/>
                    <a:gd name="connsiteX75" fmla="*/ 1433678 w 3903424"/>
                    <a:gd name="connsiteY75" fmla="*/ 2655556 h 4760516"/>
                    <a:gd name="connsiteX76" fmla="*/ 1412671 w 3903424"/>
                    <a:gd name="connsiteY76" fmla="*/ 2630242 h 4760516"/>
                    <a:gd name="connsiteX77" fmla="*/ 1171172 w 3903424"/>
                    <a:gd name="connsiteY77" fmla="*/ 2059985 h 4760516"/>
                    <a:gd name="connsiteX78" fmla="*/ 977027 w 3903424"/>
                    <a:gd name="connsiteY78" fmla="*/ 1612672 h 4760516"/>
                    <a:gd name="connsiteX79" fmla="*/ 1052790 w 3903424"/>
                    <a:gd name="connsiteY79" fmla="*/ 1487109 h 4760516"/>
                    <a:gd name="connsiteX80" fmla="*/ 1018186 w 3903424"/>
                    <a:gd name="connsiteY80" fmla="*/ 1277790 h 4760516"/>
                    <a:gd name="connsiteX81" fmla="*/ 934788 w 3903424"/>
                    <a:gd name="connsiteY81" fmla="*/ 1341041 h 4760516"/>
                    <a:gd name="connsiteX82" fmla="*/ 883988 w 3903424"/>
                    <a:gd name="connsiteY82" fmla="*/ 1404541 h 4760516"/>
                    <a:gd name="connsiteX83" fmla="*/ 839538 w 3903424"/>
                    <a:gd name="connsiteY83" fmla="*/ 1525191 h 4760516"/>
                    <a:gd name="connsiteX84" fmla="*/ 858588 w 3903424"/>
                    <a:gd name="connsiteY84" fmla="*/ 1645841 h 4760516"/>
                    <a:gd name="connsiteX85" fmla="*/ 890338 w 3903424"/>
                    <a:gd name="connsiteY85" fmla="*/ 1829991 h 4760516"/>
                    <a:gd name="connsiteX86" fmla="*/ 966538 w 3903424"/>
                    <a:gd name="connsiteY86" fmla="*/ 2128441 h 4760516"/>
                    <a:gd name="connsiteX87" fmla="*/ 1049088 w 3903424"/>
                    <a:gd name="connsiteY87" fmla="*/ 2198291 h 4760516"/>
                    <a:gd name="connsiteX88" fmla="*/ 1099888 w 3903424"/>
                    <a:gd name="connsiteY88" fmla="*/ 2331641 h 4760516"/>
                    <a:gd name="connsiteX89" fmla="*/ 1220538 w 3903424"/>
                    <a:gd name="connsiteY89" fmla="*/ 2566591 h 4760516"/>
                    <a:gd name="connsiteX90" fmla="*/ 1271338 w 3903424"/>
                    <a:gd name="connsiteY90" fmla="*/ 2712641 h 4760516"/>
                    <a:gd name="connsiteX91" fmla="*/ 1131638 w 3903424"/>
                    <a:gd name="connsiteY91" fmla="*/ 2750741 h 4760516"/>
                    <a:gd name="connsiteX92" fmla="*/ 928438 w 3903424"/>
                    <a:gd name="connsiteY92" fmla="*/ 2776141 h 4760516"/>
                    <a:gd name="connsiteX93" fmla="*/ 744288 w 3903424"/>
                    <a:gd name="connsiteY93" fmla="*/ 2731691 h 4760516"/>
                    <a:gd name="connsiteX94" fmla="*/ 661738 w 3903424"/>
                    <a:gd name="connsiteY94" fmla="*/ 2591991 h 4760516"/>
                    <a:gd name="connsiteX95" fmla="*/ 623638 w 3903424"/>
                    <a:gd name="connsiteY95" fmla="*/ 2344341 h 4760516"/>
                    <a:gd name="connsiteX96" fmla="*/ 636338 w 3903424"/>
                    <a:gd name="connsiteY96" fmla="*/ 2020491 h 4760516"/>
                    <a:gd name="connsiteX97" fmla="*/ 737938 w 3903424"/>
                    <a:gd name="connsiteY97" fmla="*/ 1328341 h 4760516"/>
                    <a:gd name="connsiteX98" fmla="*/ 972888 w 3903424"/>
                    <a:gd name="connsiteY98" fmla="*/ 623491 h 4760516"/>
                    <a:gd name="connsiteX99" fmla="*/ 1169738 w 3903424"/>
                    <a:gd name="connsiteY99" fmla="*/ 299641 h 4760516"/>
                    <a:gd name="connsiteX100" fmla="*/ 1360238 w 3903424"/>
                    <a:gd name="connsiteY100" fmla="*/ 140891 h 4760516"/>
                    <a:gd name="connsiteX101" fmla="*/ 1531688 w 3903424"/>
                    <a:gd name="connsiteY101" fmla="*/ 115491 h 4760516"/>
                    <a:gd name="connsiteX102" fmla="*/ 1677738 w 3903424"/>
                    <a:gd name="connsiteY102" fmla="*/ 13891 h 4760516"/>
                    <a:gd name="connsiteX103" fmla="*/ 1814660 w 3903424"/>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810829"/>
                    <a:gd name="connsiteX1" fmla="*/ 3082677 w 3904400"/>
                    <a:gd name="connsiteY1" fmla="*/ 1026716 h 4810829"/>
                    <a:gd name="connsiteX2" fmla="*/ 3168402 w 3904400"/>
                    <a:gd name="connsiteY2" fmla="*/ 1369616 h 4810829"/>
                    <a:gd name="connsiteX3" fmla="*/ 3254127 w 3904400"/>
                    <a:gd name="connsiteY3" fmla="*/ 1822054 h 4810829"/>
                    <a:gd name="connsiteX4" fmla="*/ 3282702 w 3904400"/>
                    <a:gd name="connsiteY4" fmla="*/ 2255441 h 4810829"/>
                    <a:gd name="connsiteX5" fmla="*/ 3273177 w 3904400"/>
                    <a:gd name="connsiteY5" fmla="*/ 2526904 h 4810829"/>
                    <a:gd name="connsiteX6" fmla="*/ 3192214 w 3904400"/>
                    <a:gd name="connsiteY6" fmla="*/ 2722166 h 4810829"/>
                    <a:gd name="connsiteX7" fmla="*/ 3044577 w 3904400"/>
                    <a:gd name="connsiteY7" fmla="*/ 2750741 h 4810829"/>
                    <a:gd name="connsiteX8" fmla="*/ 2811214 w 3904400"/>
                    <a:gd name="connsiteY8" fmla="*/ 2731691 h 4810829"/>
                    <a:gd name="connsiteX9" fmla="*/ 2635002 w 3904400"/>
                    <a:gd name="connsiteY9" fmla="*/ 2669779 h 4810829"/>
                    <a:gd name="connsiteX10" fmla="*/ 2658814 w 3904400"/>
                    <a:gd name="connsiteY10" fmla="*/ 2603104 h 4810829"/>
                    <a:gd name="connsiteX11" fmla="*/ 2754064 w 3904400"/>
                    <a:gd name="connsiteY11" fmla="*/ 2474516 h 4810829"/>
                    <a:gd name="connsiteX12" fmla="*/ 2844552 w 3904400"/>
                    <a:gd name="connsiteY12" fmla="*/ 2255441 h 4810829"/>
                    <a:gd name="connsiteX13" fmla="*/ 2863602 w 3904400"/>
                    <a:gd name="connsiteY13" fmla="*/ 2160191 h 4810829"/>
                    <a:gd name="connsiteX14" fmla="*/ 2920752 w 3904400"/>
                    <a:gd name="connsiteY14" fmla="*/ 2098279 h 4810829"/>
                    <a:gd name="connsiteX15" fmla="*/ 3001714 w 3904400"/>
                    <a:gd name="connsiteY15" fmla="*/ 1855391 h 4810829"/>
                    <a:gd name="connsiteX16" fmla="*/ 3058864 w 3904400"/>
                    <a:gd name="connsiteY16" fmla="*/ 1598216 h 4810829"/>
                    <a:gd name="connsiteX17" fmla="*/ 3063627 w 3904400"/>
                    <a:gd name="connsiteY17" fmla="*/ 1483916 h 4810829"/>
                    <a:gd name="connsiteX18" fmla="*/ 3011239 w 3904400"/>
                    <a:gd name="connsiteY18" fmla="*/ 1379141 h 4810829"/>
                    <a:gd name="connsiteX19" fmla="*/ 2958852 w 3904400"/>
                    <a:gd name="connsiteY19" fmla="*/ 1331516 h 4810829"/>
                    <a:gd name="connsiteX20" fmla="*/ 2949327 w 3904400"/>
                    <a:gd name="connsiteY20" fmla="*/ 1236266 h 4810829"/>
                    <a:gd name="connsiteX21" fmla="*/ 2958852 w 3904400"/>
                    <a:gd name="connsiteY21" fmla="*/ 1121966 h 4810829"/>
                    <a:gd name="connsiteX22" fmla="*/ 3006477 w 3904400"/>
                    <a:gd name="connsiteY22" fmla="*/ 1050529 h 4810829"/>
                    <a:gd name="connsiteX23" fmla="*/ 3062288 w 3904400"/>
                    <a:gd name="connsiteY23" fmla="*/ 1005769 h 4810829"/>
                    <a:gd name="connsiteX24" fmla="*/ 1814660 w 3904400"/>
                    <a:gd name="connsiteY24" fmla="*/ 0 h 4810829"/>
                    <a:gd name="connsiteX25" fmla="*/ 1957138 w 3904400"/>
                    <a:gd name="connsiteY25" fmla="*/ 1191 h 4810829"/>
                    <a:gd name="connsiteX26" fmla="*/ 2153988 w 3904400"/>
                    <a:gd name="connsiteY26" fmla="*/ 20241 h 4810829"/>
                    <a:gd name="connsiteX27" fmla="*/ 2382588 w 3904400"/>
                    <a:gd name="connsiteY27" fmla="*/ 121841 h 4810829"/>
                    <a:gd name="connsiteX28" fmla="*/ 2642938 w 3904400"/>
                    <a:gd name="connsiteY28" fmla="*/ 331391 h 4810829"/>
                    <a:gd name="connsiteX29" fmla="*/ 2947738 w 3904400"/>
                    <a:gd name="connsiteY29" fmla="*/ 693341 h 4810829"/>
                    <a:gd name="connsiteX30" fmla="*/ 3062038 w 3904400"/>
                    <a:gd name="connsiteY30" fmla="*/ 883841 h 4810829"/>
                    <a:gd name="connsiteX31" fmla="*/ 3011238 w 3904400"/>
                    <a:gd name="connsiteY31" fmla="*/ 1004491 h 4810829"/>
                    <a:gd name="connsiteX32" fmla="*/ 2903288 w 3904400"/>
                    <a:gd name="connsiteY32" fmla="*/ 1061641 h 4810829"/>
                    <a:gd name="connsiteX33" fmla="*/ 2827088 w 3904400"/>
                    <a:gd name="connsiteY33" fmla="*/ 998141 h 4810829"/>
                    <a:gd name="connsiteX34" fmla="*/ 2655638 w 3904400"/>
                    <a:gd name="connsiteY34" fmla="*/ 820341 h 4810829"/>
                    <a:gd name="connsiteX35" fmla="*/ 2350838 w 3904400"/>
                    <a:gd name="connsiteY35" fmla="*/ 674291 h 4810829"/>
                    <a:gd name="connsiteX36" fmla="*/ 2020638 w 3904400"/>
                    <a:gd name="connsiteY36" fmla="*/ 674291 h 4810829"/>
                    <a:gd name="connsiteX37" fmla="*/ 2344488 w 3904400"/>
                    <a:gd name="connsiteY37" fmla="*/ 769541 h 4810829"/>
                    <a:gd name="connsiteX38" fmla="*/ 2554038 w 3904400"/>
                    <a:gd name="connsiteY38" fmla="*/ 909241 h 4810829"/>
                    <a:gd name="connsiteX39" fmla="*/ 2630379 w 3904400"/>
                    <a:gd name="connsiteY39" fmla="*/ 973620 h 4810829"/>
                    <a:gd name="connsiteX40" fmla="*/ 2901551 w 3904400"/>
                    <a:gd name="connsiteY40" fmla="*/ 1067700 h 4810829"/>
                    <a:gd name="connsiteX41" fmla="*/ 2830884 w 3904400"/>
                    <a:gd name="connsiteY41" fmla="*/ 1212445 h 4810829"/>
                    <a:gd name="connsiteX42" fmla="*/ 2830884 w 3904400"/>
                    <a:gd name="connsiteY42" fmla="*/ 1445256 h 4810829"/>
                    <a:gd name="connsiteX43" fmla="*/ 2939795 w 3904400"/>
                    <a:gd name="connsiteY43" fmla="*/ 1531580 h 4810829"/>
                    <a:gd name="connsiteX44" fmla="*/ 2823781 w 3904400"/>
                    <a:gd name="connsiteY44" fmla="*/ 2041674 h 4810829"/>
                    <a:gd name="connsiteX45" fmla="*/ 2757487 w 3904400"/>
                    <a:gd name="connsiteY45" fmla="*/ 2086142 h 4810829"/>
                    <a:gd name="connsiteX46" fmla="*/ 2480886 w 3904400"/>
                    <a:gd name="connsiteY46" fmla="*/ 2698176 h 4810829"/>
                    <a:gd name="connsiteX47" fmla="*/ 2530227 w 3904400"/>
                    <a:gd name="connsiteY47" fmla="*/ 2817416 h 4810829"/>
                    <a:gd name="connsiteX48" fmla="*/ 2592139 w 3904400"/>
                    <a:gd name="connsiteY48" fmla="*/ 2874566 h 4810829"/>
                    <a:gd name="connsiteX49" fmla="*/ 2658814 w 3904400"/>
                    <a:gd name="connsiteY49" fmla="*/ 2884091 h 4810829"/>
                    <a:gd name="connsiteX50" fmla="*/ 2682627 w 3904400"/>
                    <a:gd name="connsiteY50" fmla="*/ 2912666 h 4810829"/>
                    <a:gd name="connsiteX51" fmla="*/ 2749302 w 3904400"/>
                    <a:gd name="connsiteY51" fmla="*/ 3079354 h 4810829"/>
                    <a:gd name="connsiteX52" fmla="*/ 2844552 w 3904400"/>
                    <a:gd name="connsiteY52" fmla="*/ 3174604 h 4810829"/>
                    <a:gd name="connsiteX53" fmla="*/ 2939802 w 3904400"/>
                    <a:gd name="connsiteY53" fmla="*/ 3207941 h 4810829"/>
                    <a:gd name="connsiteX54" fmla="*/ 3282702 w 3904400"/>
                    <a:gd name="connsiteY54" fmla="*/ 3317479 h 4810829"/>
                    <a:gd name="connsiteX55" fmla="*/ 3658939 w 3904400"/>
                    <a:gd name="connsiteY55" fmla="*/ 3493691 h 4810829"/>
                    <a:gd name="connsiteX56" fmla="*/ 3868489 w 3904400"/>
                    <a:gd name="connsiteY56" fmla="*/ 3641329 h 4810829"/>
                    <a:gd name="connsiteX57" fmla="*/ 3901827 w 3904400"/>
                    <a:gd name="connsiteY57" fmla="*/ 3769916 h 4810829"/>
                    <a:gd name="connsiteX58" fmla="*/ 3878014 w 3904400"/>
                    <a:gd name="connsiteY58" fmla="*/ 4027091 h 4810829"/>
                    <a:gd name="connsiteX59" fmla="*/ 3792289 w 3904400"/>
                    <a:gd name="connsiteY59" fmla="*/ 4236641 h 4810829"/>
                    <a:gd name="connsiteX60" fmla="*/ 3620839 w 3904400"/>
                    <a:gd name="connsiteY60" fmla="*/ 4598591 h 4810829"/>
                    <a:gd name="connsiteX61" fmla="*/ 3473202 w 3904400"/>
                    <a:gd name="connsiteY61" fmla="*/ 4760516 h 4810829"/>
                    <a:gd name="connsiteX62" fmla="*/ 339477 w 3904400"/>
                    <a:gd name="connsiteY62" fmla="*/ 4760516 h 4810829"/>
                    <a:gd name="connsiteX63" fmla="*/ 163264 w 3904400"/>
                    <a:gd name="connsiteY63" fmla="*/ 4436666 h 4810829"/>
                    <a:gd name="connsiteX64" fmla="*/ 58489 w 3904400"/>
                    <a:gd name="connsiteY64" fmla="*/ 4141391 h 4810829"/>
                    <a:gd name="connsiteX65" fmla="*/ 1339 w 3904400"/>
                    <a:gd name="connsiteY65" fmla="*/ 3855641 h 4810829"/>
                    <a:gd name="connsiteX66" fmla="*/ 25152 w 3904400"/>
                    <a:gd name="connsiteY66" fmla="*/ 3703241 h 4810829"/>
                    <a:gd name="connsiteX67" fmla="*/ 220414 w 3904400"/>
                    <a:gd name="connsiteY67" fmla="*/ 3584179 h 4810829"/>
                    <a:gd name="connsiteX68" fmla="*/ 534739 w 3904400"/>
                    <a:gd name="connsiteY68" fmla="*/ 3450829 h 4810829"/>
                    <a:gd name="connsiteX69" fmla="*/ 934789 w 3904400"/>
                    <a:gd name="connsiteY69" fmla="*/ 3293666 h 4810829"/>
                    <a:gd name="connsiteX70" fmla="*/ 1134814 w 3904400"/>
                    <a:gd name="connsiteY70" fmla="*/ 3217466 h 4810829"/>
                    <a:gd name="connsiteX71" fmla="*/ 1277689 w 3904400"/>
                    <a:gd name="connsiteY71" fmla="*/ 2950766 h 4810829"/>
                    <a:gd name="connsiteX72" fmla="*/ 1372939 w 3904400"/>
                    <a:gd name="connsiteY72" fmla="*/ 2888854 h 4810829"/>
                    <a:gd name="connsiteX73" fmla="*/ 1444377 w 3904400"/>
                    <a:gd name="connsiteY73" fmla="*/ 2750741 h 4810829"/>
                    <a:gd name="connsiteX74" fmla="*/ 1430089 w 3904400"/>
                    <a:gd name="connsiteY74" fmla="*/ 2665016 h 4810829"/>
                    <a:gd name="connsiteX75" fmla="*/ 1433678 w 3904400"/>
                    <a:gd name="connsiteY75" fmla="*/ 2655556 h 4810829"/>
                    <a:gd name="connsiteX76" fmla="*/ 1412671 w 3904400"/>
                    <a:gd name="connsiteY76" fmla="*/ 2630242 h 4810829"/>
                    <a:gd name="connsiteX77" fmla="*/ 1171172 w 3904400"/>
                    <a:gd name="connsiteY77" fmla="*/ 2059985 h 4810829"/>
                    <a:gd name="connsiteX78" fmla="*/ 977027 w 3904400"/>
                    <a:gd name="connsiteY78" fmla="*/ 1612672 h 4810829"/>
                    <a:gd name="connsiteX79" fmla="*/ 1052790 w 3904400"/>
                    <a:gd name="connsiteY79" fmla="*/ 1487109 h 4810829"/>
                    <a:gd name="connsiteX80" fmla="*/ 1018186 w 3904400"/>
                    <a:gd name="connsiteY80" fmla="*/ 1277790 h 4810829"/>
                    <a:gd name="connsiteX81" fmla="*/ 934788 w 3904400"/>
                    <a:gd name="connsiteY81" fmla="*/ 1341041 h 4810829"/>
                    <a:gd name="connsiteX82" fmla="*/ 883988 w 3904400"/>
                    <a:gd name="connsiteY82" fmla="*/ 1404541 h 4810829"/>
                    <a:gd name="connsiteX83" fmla="*/ 839538 w 3904400"/>
                    <a:gd name="connsiteY83" fmla="*/ 1525191 h 4810829"/>
                    <a:gd name="connsiteX84" fmla="*/ 858588 w 3904400"/>
                    <a:gd name="connsiteY84" fmla="*/ 1645841 h 4810829"/>
                    <a:gd name="connsiteX85" fmla="*/ 890338 w 3904400"/>
                    <a:gd name="connsiteY85" fmla="*/ 1829991 h 4810829"/>
                    <a:gd name="connsiteX86" fmla="*/ 966538 w 3904400"/>
                    <a:gd name="connsiteY86" fmla="*/ 2128441 h 4810829"/>
                    <a:gd name="connsiteX87" fmla="*/ 1049088 w 3904400"/>
                    <a:gd name="connsiteY87" fmla="*/ 2198291 h 4810829"/>
                    <a:gd name="connsiteX88" fmla="*/ 1099888 w 3904400"/>
                    <a:gd name="connsiteY88" fmla="*/ 2331641 h 4810829"/>
                    <a:gd name="connsiteX89" fmla="*/ 1220538 w 3904400"/>
                    <a:gd name="connsiteY89" fmla="*/ 2566591 h 4810829"/>
                    <a:gd name="connsiteX90" fmla="*/ 1271338 w 3904400"/>
                    <a:gd name="connsiteY90" fmla="*/ 2712641 h 4810829"/>
                    <a:gd name="connsiteX91" fmla="*/ 1131638 w 3904400"/>
                    <a:gd name="connsiteY91" fmla="*/ 2750741 h 4810829"/>
                    <a:gd name="connsiteX92" fmla="*/ 928438 w 3904400"/>
                    <a:gd name="connsiteY92" fmla="*/ 2776141 h 4810829"/>
                    <a:gd name="connsiteX93" fmla="*/ 744288 w 3904400"/>
                    <a:gd name="connsiteY93" fmla="*/ 2731691 h 4810829"/>
                    <a:gd name="connsiteX94" fmla="*/ 661738 w 3904400"/>
                    <a:gd name="connsiteY94" fmla="*/ 2591991 h 4810829"/>
                    <a:gd name="connsiteX95" fmla="*/ 623638 w 3904400"/>
                    <a:gd name="connsiteY95" fmla="*/ 2344341 h 4810829"/>
                    <a:gd name="connsiteX96" fmla="*/ 636338 w 3904400"/>
                    <a:gd name="connsiteY96" fmla="*/ 2020491 h 4810829"/>
                    <a:gd name="connsiteX97" fmla="*/ 737938 w 3904400"/>
                    <a:gd name="connsiteY97" fmla="*/ 1328341 h 4810829"/>
                    <a:gd name="connsiteX98" fmla="*/ 972888 w 3904400"/>
                    <a:gd name="connsiteY98" fmla="*/ 623491 h 4810829"/>
                    <a:gd name="connsiteX99" fmla="*/ 1169738 w 3904400"/>
                    <a:gd name="connsiteY99" fmla="*/ 299641 h 4810829"/>
                    <a:gd name="connsiteX100" fmla="*/ 1360238 w 3904400"/>
                    <a:gd name="connsiteY100" fmla="*/ 140891 h 4810829"/>
                    <a:gd name="connsiteX101" fmla="*/ 1531688 w 3904400"/>
                    <a:gd name="connsiteY101" fmla="*/ 115491 h 4810829"/>
                    <a:gd name="connsiteX102" fmla="*/ 1677738 w 3904400"/>
                    <a:gd name="connsiteY102" fmla="*/ 13891 h 4810829"/>
                    <a:gd name="connsiteX103" fmla="*/ 1814660 w 3904400"/>
                    <a:gd name="connsiteY103" fmla="*/ 0 h 4810829"/>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630379 w 3904400"/>
                    <a:gd name="connsiteY39" fmla="*/ 973620 h 4848994"/>
                    <a:gd name="connsiteX40" fmla="*/ 2901551 w 3904400"/>
                    <a:gd name="connsiteY40" fmla="*/ 1067700 h 4848994"/>
                    <a:gd name="connsiteX41" fmla="*/ 2830884 w 3904400"/>
                    <a:gd name="connsiteY41" fmla="*/ 1212445 h 4848994"/>
                    <a:gd name="connsiteX42" fmla="*/ 2830884 w 3904400"/>
                    <a:gd name="connsiteY42" fmla="*/ 1445256 h 4848994"/>
                    <a:gd name="connsiteX43" fmla="*/ 2939795 w 3904400"/>
                    <a:gd name="connsiteY43" fmla="*/ 1531580 h 4848994"/>
                    <a:gd name="connsiteX44" fmla="*/ 2823781 w 3904400"/>
                    <a:gd name="connsiteY44" fmla="*/ 2041674 h 4848994"/>
                    <a:gd name="connsiteX45" fmla="*/ 2757487 w 3904400"/>
                    <a:gd name="connsiteY45" fmla="*/ 2086142 h 4848994"/>
                    <a:gd name="connsiteX46" fmla="*/ 2480886 w 3904400"/>
                    <a:gd name="connsiteY46" fmla="*/ 2698176 h 4848994"/>
                    <a:gd name="connsiteX47" fmla="*/ 2530227 w 3904400"/>
                    <a:gd name="connsiteY47" fmla="*/ 2817416 h 4848994"/>
                    <a:gd name="connsiteX48" fmla="*/ 2592139 w 3904400"/>
                    <a:gd name="connsiteY48" fmla="*/ 2874566 h 4848994"/>
                    <a:gd name="connsiteX49" fmla="*/ 2658814 w 3904400"/>
                    <a:gd name="connsiteY49" fmla="*/ 2884091 h 4848994"/>
                    <a:gd name="connsiteX50" fmla="*/ 2682627 w 3904400"/>
                    <a:gd name="connsiteY50" fmla="*/ 2912666 h 4848994"/>
                    <a:gd name="connsiteX51" fmla="*/ 2749302 w 3904400"/>
                    <a:gd name="connsiteY51" fmla="*/ 3079354 h 4848994"/>
                    <a:gd name="connsiteX52" fmla="*/ 2844552 w 3904400"/>
                    <a:gd name="connsiteY52" fmla="*/ 3174604 h 4848994"/>
                    <a:gd name="connsiteX53" fmla="*/ 2939802 w 3904400"/>
                    <a:gd name="connsiteY53" fmla="*/ 3207941 h 4848994"/>
                    <a:gd name="connsiteX54" fmla="*/ 3282702 w 3904400"/>
                    <a:gd name="connsiteY54" fmla="*/ 3317479 h 4848994"/>
                    <a:gd name="connsiteX55" fmla="*/ 3658939 w 3904400"/>
                    <a:gd name="connsiteY55" fmla="*/ 3493691 h 4848994"/>
                    <a:gd name="connsiteX56" fmla="*/ 3868489 w 3904400"/>
                    <a:gd name="connsiteY56" fmla="*/ 3641329 h 4848994"/>
                    <a:gd name="connsiteX57" fmla="*/ 3901827 w 3904400"/>
                    <a:gd name="connsiteY57" fmla="*/ 3769916 h 4848994"/>
                    <a:gd name="connsiteX58" fmla="*/ 3878014 w 3904400"/>
                    <a:gd name="connsiteY58" fmla="*/ 4027091 h 4848994"/>
                    <a:gd name="connsiteX59" fmla="*/ 3792289 w 3904400"/>
                    <a:gd name="connsiteY59" fmla="*/ 4236641 h 4848994"/>
                    <a:gd name="connsiteX60" fmla="*/ 3620839 w 3904400"/>
                    <a:gd name="connsiteY60" fmla="*/ 4598591 h 4848994"/>
                    <a:gd name="connsiteX61" fmla="*/ 3473202 w 3904400"/>
                    <a:gd name="connsiteY61" fmla="*/ 4760516 h 4848994"/>
                    <a:gd name="connsiteX62" fmla="*/ 339477 w 3904400"/>
                    <a:gd name="connsiteY62" fmla="*/ 4760516 h 4848994"/>
                    <a:gd name="connsiteX63" fmla="*/ 163264 w 3904400"/>
                    <a:gd name="connsiteY63" fmla="*/ 4436666 h 4848994"/>
                    <a:gd name="connsiteX64" fmla="*/ 58489 w 3904400"/>
                    <a:gd name="connsiteY64" fmla="*/ 4141391 h 4848994"/>
                    <a:gd name="connsiteX65" fmla="*/ 1339 w 3904400"/>
                    <a:gd name="connsiteY65" fmla="*/ 3855641 h 4848994"/>
                    <a:gd name="connsiteX66" fmla="*/ 25152 w 3904400"/>
                    <a:gd name="connsiteY66" fmla="*/ 3703241 h 4848994"/>
                    <a:gd name="connsiteX67" fmla="*/ 220414 w 3904400"/>
                    <a:gd name="connsiteY67" fmla="*/ 3584179 h 4848994"/>
                    <a:gd name="connsiteX68" fmla="*/ 534739 w 3904400"/>
                    <a:gd name="connsiteY68" fmla="*/ 3450829 h 4848994"/>
                    <a:gd name="connsiteX69" fmla="*/ 934789 w 3904400"/>
                    <a:gd name="connsiteY69" fmla="*/ 3293666 h 4848994"/>
                    <a:gd name="connsiteX70" fmla="*/ 1134814 w 3904400"/>
                    <a:gd name="connsiteY70" fmla="*/ 3217466 h 4848994"/>
                    <a:gd name="connsiteX71" fmla="*/ 1277689 w 3904400"/>
                    <a:gd name="connsiteY71" fmla="*/ 2950766 h 4848994"/>
                    <a:gd name="connsiteX72" fmla="*/ 1372939 w 3904400"/>
                    <a:gd name="connsiteY72" fmla="*/ 2888854 h 4848994"/>
                    <a:gd name="connsiteX73" fmla="*/ 1444377 w 3904400"/>
                    <a:gd name="connsiteY73" fmla="*/ 2750741 h 4848994"/>
                    <a:gd name="connsiteX74" fmla="*/ 1430089 w 3904400"/>
                    <a:gd name="connsiteY74" fmla="*/ 2665016 h 4848994"/>
                    <a:gd name="connsiteX75" fmla="*/ 1433678 w 3904400"/>
                    <a:gd name="connsiteY75" fmla="*/ 2655556 h 4848994"/>
                    <a:gd name="connsiteX76" fmla="*/ 1412671 w 3904400"/>
                    <a:gd name="connsiteY76" fmla="*/ 2630242 h 4848994"/>
                    <a:gd name="connsiteX77" fmla="*/ 1171172 w 3904400"/>
                    <a:gd name="connsiteY77" fmla="*/ 2059985 h 4848994"/>
                    <a:gd name="connsiteX78" fmla="*/ 977027 w 3904400"/>
                    <a:gd name="connsiteY78" fmla="*/ 1612672 h 4848994"/>
                    <a:gd name="connsiteX79" fmla="*/ 1052790 w 3904400"/>
                    <a:gd name="connsiteY79" fmla="*/ 1487109 h 4848994"/>
                    <a:gd name="connsiteX80" fmla="*/ 1018186 w 3904400"/>
                    <a:gd name="connsiteY80" fmla="*/ 1277790 h 4848994"/>
                    <a:gd name="connsiteX81" fmla="*/ 934788 w 3904400"/>
                    <a:gd name="connsiteY81" fmla="*/ 1341041 h 4848994"/>
                    <a:gd name="connsiteX82" fmla="*/ 883988 w 3904400"/>
                    <a:gd name="connsiteY82" fmla="*/ 1404541 h 4848994"/>
                    <a:gd name="connsiteX83" fmla="*/ 839538 w 3904400"/>
                    <a:gd name="connsiteY83" fmla="*/ 1525191 h 4848994"/>
                    <a:gd name="connsiteX84" fmla="*/ 858588 w 3904400"/>
                    <a:gd name="connsiteY84" fmla="*/ 1645841 h 4848994"/>
                    <a:gd name="connsiteX85" fmla="*/ 890338 w 3904400"/>
                    <a:gd name="connsiteY85" fmla="*/ 1829991 h 4848994"/>
                    <a:gd name="connsiteX86" fmla="*/ 966538 w 3904400"/>
                    <a:gd name="connsiteY86" fmla="*/ 2128441 h 4848994"/>
                    <a:gd name="connsiteX87" fmla="*/ 1049088 w 3904400"/>
                    <a:gd name="connsiteY87" fmla="*/ 2198291 h 4848994"/>
                    <a:gd name="connsiteX88" fmla="*/ 1099888 w 3904400"/>
                    <a:gd name="connsiteY88" fmla="*/ 2331641 h 4848994"/>
                    <a:gd name="connsiteX89" fmla="*/ 1220538 w 3904400"/>
                    <a:gd name="connsiteY89" fmla="*/ 2566591 h 4848994"/>
                    <a:gd name="connsiteX90" fmla="*/ 1271338 w 3904400"/>
                    <a:gd name="connsiteY90" fmla="*/ 2712641 h 4848994"/>
                    <a:gd name="connsiteX91" fmla="*/ 1131638 w 3904400"/>
                    <a:gd name="connsiteY91" fmla="*/ 2750741 h 4848994"/>
                    <a:gd name="connsiteX92" fmla="*/ 928438 w 3904400"/>
                    <a:gd name="connsiteY92" fmla="*/ 2776141 h 4848994"/>
                    <a:gd name="connsiteX93" fmla="*/ 744288 w 3904400"/>
                    <a:gd name="connsiteY93" fmla="*/ 2731691 h 4848994"/>
                    <a:gd name="connsiteX94" fmla="*/ 661738 w 3904400"/>
                    <a:gd name="connsiteY94" fmla="*/ 2591991 h 4848994"/>
                    <a:gd name="connsiteX95" fmla="*/ 623638 w 3904400"/>
                    <a:gd name="connsiteY95" fmla="*/ 2344341 h 4848994"/>
                    <a:gd name="connsiteX96" fmla="*/ 636338 w 3904400"/>
                    <a:gd name="connsiteY96" fmla="*/ 2020491 h 4848994"/>
                    <a:gd name="connsiteX97" fmla="*/ 737938 w 3904400"/>
                    <a:gd name="connsiteY97" fmla="*/ 1328341 h 4848994"/>
                    <a:gd name="connsiteX98" fmla="*/ 972888 w 3904400"/>
                    <a:gd name="connsiteY98" fmla="*/ 623491 h 4848994"/>
                    <a:gd name="connsiteX99" fmla="*/ 1169738 w 3904400"/>
                    <a:gd name="connsiteY99" fmla="*/ 299641 h 4848994"/>
                    <a:gd name="connsiteX100" fmla="*/ 1360238 w 3904400"/>
                    <a:gd name="connsiteY100" fmla="*/ 140891 h 4848994"/>
                    <a:gd name="connsiteX101" fmla="*/ 1531688 w 3904400"/>
                    <a:gd name="connsiteY101" fmla="*/ 115491 h 4848994"/>
                    <a:gd name="connsiteX102" fmla="*/ 1677738 w 3904400"/>
                    <a:gd name="connsiteY102" fmla="*/ 13891 h 4848994"/>
                    <a:gd name="connsiteX103" fmla="*/ 1814660 w 3904400"/>
                    <a:gd name="connsiteY103"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859098 w 3904400"/>
                    <a:gd name="connsiteY39" fmla="*/ 1103077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904400" h="4848994">
                      <a:moveTo>
                        <a:pt x="3062288" y="1005769"/>
                      </a:moveTo>
                      <a:lnTo>
                        <a:pt x="3082677" y="1026716"/>
                      </a:lnTo>
                      <a:cubicBezTo>
                        <a:pt x="3109664" y="1079897"/>
                        <a:pt x="3139827" y="1237060"/>
                        <a:pt x="3168402" y="1369616"/>
                      </a:cubicBezTo>
                      <a:cubicBezTo>
                        <a:pt x="3196977" y="1502172"/>
                        <a:pt x="3235077" y="1674417"/>
                        <a:pt x="3254127" y="1822054"/>
                      </a:cubicBezTo>
                      <a:cubicBezTo>
                        <a:pt x="3273177" y="1969691"/>
                        <a:pt x="3279527" y="2137966"/>
                        <a:pt x="3282702" y="2255441"/>
                      </a:cubicBezTo>
                      <a:cubicBezTo>
                        <a:pt x="3285877" y="2372916"/>
                        <a:pt x="3288258" y="2449116"/>
                        <a:pt x="3273177" y="2526904"/>
                      </a:cubicBezTo>
                      <a:cubicBezTo>
                        <a:pt x="3258096" y="2604692"/>
                        <a:pt x="3230314" y="2684860"/>
                        <a:pt x="3192214" y="2722166"/>
                      </a:cubicBezTo>
                      <a:cubicBezTo>
                        <a:pt x="3154114" y="2759472"/>
                        <a:pt x="3108077" y="2749154"/>
                        <a:pt x="3044577" y="2750741"/>
                      </a:cubicBezTo>
                      <a:cubicBezTo>
                        <a:pt x="2981077" y="2752328"/>
                        <a:pt x="2879476" y="2745185"/>
                        <a:pt x="2811214" y="2731691"/>
                      </a:cubicBezTo>
                      <a:cubicBezTo>
                        <a:pt x="2742952" y="2718197"/>
                        <a:pt x="2660402" y="2691210"/>
                        <a:pt x="2635002" y="2669779"/>
                      </a:cubicBezTo>
                      <a:cubicBezTo>
                        <a:pt x="2609602" y="2648348"/>
                        <a:pt x="2638970" y="2635648"/>
                        <a:pt x="2658814" y="2603104"/>
                      </a:cubicBezTo>
                      <a:cubicBezTo>
                        <a:pt x="2678658" y="2570560"/>
                        <a:pt x="2723108" y="2532460"/>
                        <a:pt x="2754064" y="2474516"/>
                      </a:cubicBezTo>
                      <a:cubicBezTo>
                        <a:pt x="2785020" y="2416572"/>
                        <a:pt x="2826296" y="2307828"/>
                        <a:pt x="2844552" y="2255441"/>
                      </a:cubicBezTo>
                      <a:cubicBezTo>
                        <a:pt x="2862808" y="2203054"/>
                        <a:pt x="2850902" y="2186385"/>
                        <a:pt x="2863602" y="2160191"/>
                      </a:cubicBezTo>
                      <a:cubicBezTo>
                        <a:pt x="2876302" y="2133997"/>
                        <a:pt x="2897733" y="2149079"/>
                        <a:pt x="2920752" y="2098279"/>
                      </a:cubicBezTo>
                      <a:cubicBezTo>
                        <a:pt x="2943771" y="2047479"/>
                        <a:pt x="2978695" y="1938735"/>
                        <a:pt x="3001714" y="1855391"/>
                      </a:cubicBezTo>
                      <a:cubicBezTo>
                        <a:pt x="3024733" y="1772047"/>
                        <a:pt x="3048545" y="1660129"/>
                        <a:pt x="3058864" y="1598216"/>
                      </a:cubicBezTo>
                      <a:cubicBezTo>
                        <a:pt x="3069183" y="1536303"/>
                        <a:pt x="3071564" y="1520428"/>
                        <a:pt x="3063627" y="1483916"/>
                      </a:cubicBezTo>
                      <a:cubicBezTo>
                        <a:pt x="3055690" y="1447404"/>
                        <a:pt x="3028702" y="1404541"/>
                        <a:pt x="3011239" y="1379141"/>
                      </a:cubicBezTo>
                      <a:cubicBezTo>
                        <a:pt x="2993776" y="1353741"/>
                        <a:pt x="2969171" y="1355329"/>
                        <a:pt x="2958852" y="1331516"/>
                      </a:cubicBezTo>
                      <a:cubicBezTo>
                        <a:pt x="2948533" y="1307704"/>
                        <a:pt x="2949327" y="1271191"/>
                        <a:pt x="2949327" y="1236266"/>
                      </a:cubicBezTo>
                      <a:cubicBezTo>
                        <a:pt x="2949327" y="1201341"/>
                        <a:pt x="2949327" y="1152922"/>
                        <a:pt x="2958852" y="1121966"/>
                      </a:cubicBezTo>
                      <a:cubicBezTo>
                        <a:pt x="2968377" y="1091010"/>
                        <a:pt x="2985839" y="1066404"/>
                        <a:pt x="3006477" y="1050529"/>
                      </a:cubicBezTo>
                      <a:cubicBezTo>
                        <a:pt x="3021955" y="1038623"/>
                        <a:pt x="3041898" y="1001267"/>
                        <a:pt x="3062288" y="1005769"/>
                      </a:cubicBezTo>
                      <a:close/>
                      <a:moveTo>
                        <a:pt x="1814660" y="0"/>
                      </a:moveTo>
                      <a:lnTo>
                        <a:pt x="1957138" y="1191"/>
                      </a:lnTo>
                      <a:cubicBezTo>
                        <a:pt x="2036513" y="2249"/>
                        <a:pt x="2083080" y="133"/>
                        <a:pt x="2153988" y="20241"/>
                      </a:cubicBezTo>
                      <a:cubicBezTo>
                        <a:pt x="2224896" y="40349"/>
                        <a:pt x="2301096" y="69983"/>
                        <a:pt x="2382588" y="121841"/>
                      </a:cubicBezTo>
                      <a:cubicBezTo>
                        <a:pt x="2464080" y="173699"/>
                        <a:pt x="2548747" y="236141"/>
                        <a:pt x="2642938" y="331391"/>
                      </a:cubicBezTo>
                      <a:cubicBezTo>
                        <a:pt x="2737129" y="426641"/>
                        <a:pt x="2877888" y="601266"/>
                        <a:pt x="2947738" y="693341"/>
                      </a:cubicBezTo>
                      <a:cubicBezTo>
                        <a:pt x="3017588" y="785416"/>
                        <a:pt x="3051455" y="831983"/>
                        <a:pt x="3062038" y="883841"/>
                      </a:cubicBezTo>
                      <a:cubicBezTo>
                        <a:pt x="3072621" y="935699"/>
                        <a:pt x="3037696" y="974858"/>
                        <a:pt x="3011238" y="1004491"/>
                      </a:cubicBezTo>
                      <a:cubicBezTo>
                        <a:pt x="2984780" y="1034124"/>
                        <a:pt x="2933980" y="1062699"/>
                        <a:pt x="2903288" y="1061641"/>
                      </a:cubicBezTo>
                      <a:cubicBezTo>
                        <a:pt x="2872596" y="1060583"/>
                        <a:pt x="2868363" y="1038358"/>
                        <a:pt x="2827088" y="998141"/>
                      </a:cubicBezTo>
                      <a:cubicBezTo>
                        <a:pt x="2785813" y="957924"/>
                        <a:pt x="2735013" y="874316"/>
                        <a:pt x="2655638" y="820341"/>
                      </a:cubicBezTo>
                      <a:cubicBezTo>
                        <a:pt x="2576263" y="766366"/>
                        <a:pt x="2456671" y="698633"/>
                        <a:pt x="2350838" y="674291"/>
                      </a:cubicBezTo>
                      <a:cubicBezTo>
                        <a:pt x="2245005" y="649949"/>
                        <a:pt x="2004008" y="658416"/>
                        <a:pt x="2020638" y="674291"/>
                      </a:cubicBezTo>
                      <a:cubicBezTo>
                        <a:pt x="2037268" y="690166"/>
                        <a:pt x="2322805" y="697365"/>
                        <a:pt x="2450619" y="769542"/>
                      </a:cubicBezTo>
                      <a:cubicBezTo>
                        <a:pt x="2578433" y="841719"/>
                        <a:pt x="2592091" y="839501"/>
                        <a:pt x="2660171" y="895090"/>
                      </a:cubicBezTo>
                      <a:cubicBezTo>
                        <a:pt x="2728251" y="950679"/>
                        <a:pt x="2812957" y="1052543"/>
                        <a:pt x="2859098" y="1103077"/>
                      </a:cubicBezTo>
                      <a:cubicBezTo>
                        <a:pt x="2840639" y="1173982"/>
                        <a:pt x="2842709" y="1151206"/>
                        <a:pt x="2830884" y="1212445"/>
                      </a:cubicBezTo>
                      <a:cubicBezTo>
                        <a:pt x="2856921" y="1275211"/>
                        <a:pt x="2830896" y="1445184"/>
                        <a:pt x="2830884" y="1445256"/>
                      </a:cubicBezTo>
                      <a:cubicBezTo>
                        <a:pt x="2830987" y="1445263"/>
                        <a:pt x="2939795" y="1453141"/>
                        <a:pt x="2939795" y="1531580"/>
                      </a:cubicBezTo>
                      <a:cubicBezTo>
                        <a:pt x="2939795" y="1610041"/>
                        <a:pt x="2823824" y="2041512"/>
                        <a:pt x="2823781" y="2041674"/>
                      </a:cubicBezTo>
                      <a:cubicBezTo>
                        <a:pt x="2823748" y="2041731"/>
                        <a:pt x="2792983" y="2093987"/>
                        <a:pt x="2757487" y="2086142"/>
                      </a:cubicBezTo>
                      <a:cubicBezTo>
                        <a:pt x="2719935" y="2402501"/>
                        <a:pt x="2591644" y="2600616"/>
                        <a:pt x="2480886" y="2698176"/>
                      </a:cubicBezTo>
                      <a:cubicBezTo>
                        <a:pt x="2497333" y="2737923"/>
                        <a:pt x="2509017" y="2787194"/>
                        <a:pt x="2530227" y="2817416"/>
                      </a:cubicBezTo>
                      <a:lnTo>
                        <a:pt x="2592139" y="2874566"/>
                      </a:lnTo>
                      <a:lnTo>
                        <a:pt x="2658814" y="2884091"/>
                      </a:lnTo>
                      <a:lnTo>
                        <a:pt x="2682627" y="2912666"/>
                      </a:lnTo>
                      <a:lnTo>
                        <a:pt x="2749302" y="3079354"/>
                      </a:lnTo>
                      <a:lnTo>
                        <a:pt x="2844552" y="3174604"/>
                      </a:lnTo>
                      <a:lnTo>
                        <a:pt x="2939802" y="3207941"/>
                      </a:lnTo>
                      <a:lnTo>
                        <a:pt x="3282702" y="3317479"/>
                      </a:lnTo>
                      <a:lnTo>
                        <a:pt x="3658939" y="3493691"/>
                      </a:lnTo>
                      <a:lnTo>
                        <a:pt x="3868489" y="3641329"/>
                      </a:lnTo>
                      <a:cubicBezTo>
                        <a:pt x="3879602" y="3684191"/>
                        <a:pt x="3906589" y="3708004"/>
                        <a:pt x="3901827" y="3769916"/>
                      </a:cubicBezTo>
                      <a:cubicBezTo>
                        <a:pt x="3909764" y="3830241"/>
                        <a:pt x="3898652" y="3938191"/>
                        <a:pt x="3878014" y="4027091"/>
                      </a:cubicBezTo>
                      <a:cubicBezTo>
                        <a:pt x="3855789" y="4119166"/>
                        <a:pt x="3820864" y="4166791"/>
                        <a:pt x="3792289" y="4236641"/>
                      </a:cubicBezTo>
                      <a:lnTo>
                        <a:pt x="3620839" y="4598591"/>
                      </a:lnTo>
                      <a:lnTo>
                        <a:pt x="3473202" y="4760516"/>
                      </a:lnTo>
                      <a:cubicBezTo>
                        <a:pt x="2419193" y="4883157"/>
                        <a:pt x="1553862" y="4873723"/>
                        <a:pt x="339477" y="4760516"/>
                      </a:cubicBezTo>
                      <a:lnTo>
                        <a:pt x="163264" y="4436666"/>
                      </a:lnTo>
                      <a:lnTo>
                        <a:pt x="58489" y="4141391"/>
                      </a:lnTo>
                      <a:cubicBezTo>
                        <a:pt x="39439" y="4046141"/>
                        <a:pt x="14039" y="3992166"/>
                        <a:pt x="1339" y="3855641"/>
                      </a:cubicBezTo>
                      <a:cubicBezTo>
                        <a:pt x="-3423" y="3795316"/>
                        <a:pt x="4514" y="3744516"/>
                        <a:pt x="25152" y="3703241"/>
                      </a:cubicBezTo>
                      <a:lnTo>
                        <a:pt x="220414" y="3584179"/>
                      </a:lnTo>
                      <a:lnTo>
                        <a:pt x="534739" y="3450829"/>
                      </a:lnTo>
                      <a:lnTo>
                        <a:pt x="934789" y="3293666"/>
                      </a:lnTo>
                      <a:lnTo>
                        <a:pt x="1134814" y="3217466"/>
                      </a:lnTo>
                      <a:cubicBezTo>
                        <a:pt x="1234827" y="3090466"/>
                        <a:pt x="1241971" y="3068241"/>
                        <a:pt x="1277689" y="2950766"/>
                      </a:cubicBezTo>
                      <a:lnTo>
                        <a:pt x="1372939" y="2888854"/>
                      </a:lnTo>
                      <a:lnTo>
                        <a:pt x="1444377" y="2750741"/>
                      </a:lnTo>
                      <a:lnTo>
                        <a:pt x="1430089" y="2665016"/>
                      </a:lnTo>
                      <a:lnTo>
                        <a:pt x="1433678" y="2655556"/>
                      </a:lnTo>
                      <a:cubicBezTo>
                        <a:pt x="1422983" y="2644679"/>
                        <a:pt x="1415776" y="2635961"/>
                        <a:pt x="1412671" y="2630242"/>
                      </a:cubicBezTo>
                      <a:cubicBezTo>
                        <a:pt x="1381893" y="2577926"/>
                        <a:pt x="1178275" y="2345112"/>
                        <a:pt x="1171172" y="2059985"/>
                      </a:cubicBezTo>
                      <a:cubicBezTo>
                        <a:pt x="1071731" y="2052136"/>
                        <a:pt x="1014908" y="1764391"/>
                        <a:pt x="977027" y="1612672"/>
                      </a:cubicBezTo>
                      <a:cubicBezTo>
                        <a:pt x="946258" y="1484545"/>
                        <a:pt x="1052708" y="1487108"/>
                        <a:pt x="1052790" y="1487109"/>
                      </a:cubicBezTo>
                      <a:cubicBezTo>
                        <a:pt x="1052758" y="1487025"/>
                        <a:pt x="992834" y="1362590"/>
                        <a:pt x="1018186" y="1277790"/>
                      </a:cubicBezTo>
                      <a:cubicBezTo>
                        <a:pt x="962383" y="1308036"/>
                        <a:pt x="957154" y="1319916"/>
                        <a:pt x="934788" y="1341041"/>
                      </a:cubicBezTo>
                      <a:cubicBezTo>
                        <a:pt x="912422" y="1362166"/>
                        <a:pt x="899863" y="1373849"/>
                        <a:pt x="883988" y="1404541"/>
                      </a:cubicBezTo>
                      <a:cubicBezTo>
                        <a:pt x="868113" y="1435233"/>
                        <a:pt x="843771" y="1484974"/>
                        <a:pt x="839538" y="1525191"/>
                      </a:cubicBezTo>
                      <a:cubicBezTo>
                        <a:pt x="835305" y="1565408"/>
                        <a:pt x="850121" y="1595041"/>
                        <a:pt x="858588" y="1645841"/>
                      </a:cubicBezTo>
                      <a:cubicBezTo>
                        <a:pt x="867055" y="1696641"/>
                        <a:pt x="872346" y="1749558"/>
                        <a:pt x="890338" y="1829991"/>
                      </a:cubicBezTo>
                      <a:cubicBezTo>
                        <a:pt x="908330" y="1910424"/>
                        <a:pt x="940080" y="2067058"/>
                        <a:pt x="966538" y="2128441"/>
                      </a:cubicBezTo>
                      <a:cubicBezTo>
                        <a:pt x="992996" y="2189824"/>
                        <a:pt x="1026863" y="2164424"/>
                        <a:pt x="1049088" y="2198291"/>
                      </a:cubicBezTo>
                      <a:cubicBezTo>
                        <a:pt x="1071313" y="2232158"/>
                        <a:pt x="1071313" y="2270258"/>
                        <a:pt x="1099888" y="2331641"/>
                      </a:cubicBezTo>
                      <a:cubicBezTo>
                        <a:pt x="1128463" y="2393024"/>
                        <a:pt x="1191963" y="2503091"/>
                        <a:pt x="1220538" y="2566591"/>
                      </a:cubicBezTo>
                      <a:cubicBezTo>
                        <a:pt x="1249113" y="2630091"/>
                        <a:pt x="1286155" y="2681949"/>
                        <a:pt x="1271338" y="2712641"/>
                      </a:cubicBezTo>
                      <a:cubicBezTo>
                        <a:pt x="1256521" y="2743333"/>
                        <a:pt x="1188788" y="2740158"/>
                        <a:pt x="1131638" y="2750741"/>
                      </a:cubicBezTo>
                      <a:cubicBezTo>
                        <a:pt x="1074488" y="2761324"/>
                        <a:pt x="992996" y="2779316"/>
                        <a:pt x="928438" y="2776141"/>
                      </a:cubicBezTo>
                      <a:cubicBezTo>
                        <a:pt x="863880" y="2772966"/>
                        <a:pt x="788738" y="2762383"/>
                        <a:pt x="744288" y="2731691"/>
                      </a:cubicBezTo>
                      <a:cubicBezTo>
                        <a:pt x="699838" y="2700999"/>
                        <a:pt x="681846" y="2656549"/>
                        <a:pt x="661738" y="2591991"/>
                      </a:cubicBezTo>
                      <a:cubicBezTo>
                        <a:pt x="641630" y="2527433"/>
                        <a:pt x="627871" y="2439591"/>
                        <a:pt x="623638" y="2344341"/>
                      </a:cubicBezTo>
                      <a:cubicBezTo>
                        <a:pt x="619405" y="2249091"/>
                        <a:pt x="617288" y="2189824"/>
                        <a:pt x="636338" y="2020491"/>
                      </a:cubicBezTo>
                      <a:cubicBezTo>
                        <a:pt x="655388" y="1851158"/>
                        <a:pt x="681846" y="1561174"/>
                        <a:pt x="737938" y="1328341"/>
                      </a:cubicBezTo>
                      <a:cubicBezTo>
                        <a:pt x="794030" y="1095508"/>
                        <a:pt x="900921" y="794941"/>
                        <a:pt x="972888" y="623491"/>
                      </a:cubicBezTo>
                      <a:cubicBezTo>
                        <a:pt x="1044855" y="452041"/>
                        <a:pt x="1105180" y="380074"/>
                        <a:pt x="1169738" y="299641"/>
                      </a:cubicBezTo>
                      <a:cubicBezTo>
                        <a:pt x="1234296" y="219208"/>
                        <a:pt x="1299913" y="171583"/>
                        <a:pt x="1360238" y="140891"/>
                      </a:cubicBezTo>
                      <a:cubicBezTo>
                        <a:pt x="1420563" y="110199"/>
                        <a:pt x="1478771" y="136658"/>
                        <a:pt x="1531688" y="115491"/>
                      </a:cubicBezTo>
                      <a:cubicBezTo>
                        <a:pt x="1584605" y="94324"/>
                        <a:pt x="1605771" y="32941"/>
                        <a:pt x="1677738" y="13891"/>
                      </a:cubicBezTo>
                      <a:cubicBezTo>
                        <a:pt x="1713722" y="4366"/>
                        <a:pt x="1763728" y="926"/>
                        <a:pt x="181466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578">
                    <a:defRPr/>
                  </a:pPr>
                  <a:endParaRPr lang="en-US" sz="1797" kern="0" dirty="0">
                    <a:solidFill>
                      <a:srgbClr val="FFFFFF"/>
                    </a:solidFill>
                    <a:latin typeface="Segoe UI"/>
                  </a:endParaRPr>
                </a:p>
              </p:txBody>
            </p:sp>
          </p:grpSp>
          <p:sp>
            <p:nvSpPr>
              <p:cNvPr id="718" name="TextBox 717">
                <a:extLst>
                  <a:ext uri="{FF2B5EF4-FFF2-40B4-BE49-F238E27FC236}">
                    <a16:creationId xmlns:a16="http://schemas.microsoft.com/office/drawing/2014/main" id="{C88D2E9A-8038-46CA-846A-50535F1DF647}"/>
                  </a:ext>
                </a:extLst>
              </p:cNvPr>
              <p:cNvSpPr txBox="1"/>
              <p:nvPr/>
            </p:nvSpPr>
            <p:spPr>
              <a:xfrm>
                <a:off x="8913351" y="2633132"/>
                <a:ext cx="1188318" cy="463893"/>
              </a:xfrm>
              <a:prstGeom prst="rect">
                <a:avLst/>
              </a:prstGeom>
            </p:spPr>
            <p:txBody>
              <a:bodyPr vert="horz" wrap="none" lIns="0" tIns="0" rIns="0" bIns="0" rtlCol="0" anchor="t">
                <a:spAutoFit/>
              </a:bodyPr>
              <a:lstStyle>
                <a:defPPr>
                  <a:defRPr lang="en-US"/>
                </a:defPPr>
                <a:lvl1pPr algn="ctr" defTabSz="1088105">
                  <a:defRPr sz="1200">
                    <a:solidFill>
                      <a:srgbClr val="505050"/>
                    </a:solidFill>
                    <a:ea typeface="Segoe UI" pitchFamily="34" charset="0"/>
                    <a:cs typeface="Segoe UI" pitchFamily="34" charset="0"/>
                  </a:defRPr>
                </a:lvl1pPr>
              </a:lstStyle>
              <a:p>
                <a:pPr defTabSz="1087779">
                  <a:defRPr/>
                </a:pPr>
                <a:r>
                  <a:rPr lang="en-US" kern="0" dirty="0">
                    <a:latin typeface="Segoe UI Semibold" panose="020B0702040204020203" pitchFamily="34" charset="0"/>
                    <a:cs typeface="Segoe UI Semibold" panose="020B0702040204020203" pitchFamily="34" charset="0"/>
                  </a:rPr>
                  <a:t>Development </a:t>
                </a:r>
                <a:br>
                  <a:rPr lang="en-US" kern="0" dirty="0">
                    <a:latin typeface="Segoe UI Semibold" panose="020B0702040204020203" pitchFamily="34" charset="0"/>
                    <a:cs typeface="Segoe UI Semibold" panose="020B0702040204020203" pitchFamily="34" charset="0"/>
                  </a:rPr>
                </a:br>
                <a:r>
                  <a:rPr lang="en-US" kern="0" dirty="0">
                    <a:latin typeface="Segoe UI Semibold" panose="020B0702040204020203" pitchFamily="34" charset="0"/>
                    <a:cs typeface="Segoe UI Semibold" panose="020B0702040204020203" pitchFamily="34" charset="0"/>
                  </a:rPr>
                  <a:t>Partners</a:t>
                </a:r>
              </a:p>
            </p:txBody>
          </p:sp>
        </p:grpSp>
        <p:grpSp>
          <p:nvGrpSpPr>
            <p:cNvPr id="705" name="Group 704">
              <a:extLst>
                <a:ext uri="{FF2B5EF4-FFF2-40B4-BE49-F238E27FC236}">
                  <a16:creationId xmlns:a16="http://schemas.microsoft.com/office/drawing/2014/main" id="{381557C4-8322-492A-8EF7-04EBF26504F6}"/>
                </a:ext>
              </a:extLst>
            </p:cNvPr>
            <p:cNvGrpSpPr/>
            <p:nvPr/>
          </p:nvGrpSpPr>
          <p:grpSpPr>
            <a:xfrm>
              <a:off x="10219036" y="1653109"/>
              <a:ext cx="655244" cy="678617"/>
              <a:chOff x="1085295" y="4035082"/>
              <a:chExt cx="655244" cy="678617"/>
            </a:xfrm>
          </p:grpSpPr>
          <p:sp>
            <p:nvSpPr>
              <p:cNvPr id="706" name="TextBox 705">
                <a:extLst>
                  <a:ext uri="{FF2B5EF4-FFF2-40B4-BE49-F238E27FC236}">
                    <a16:creationId xmlns:a16="http://schemas.microsoft.com/office/drawing/2014/main" id="{881DA0CF-9C04-4CA5-A012-05AB7C73A9AD}"/>
                  </a:ext>
                </a:extLst>
              </p:cNvPr>
              <p:cNvSpPr txBox="1"/>
              <p:nvPr/>
            </p:nvSpPr>
            <p:spPr>
              <a:xfrm>
                <a:off x="1085295" y="4344367"/>
                <a:ext cx="655244" cy="369332"/>
              </a:xfrm>
              <a:prstGeom prst="rect">
                <a:avLst/>
              </a:prstGeom>
            </p:spPr>
            <p:txBody>
              <a:bodyPr vert="horz" wrap="none" lIns="0" tIns="0" rIns="0" bIns="0" rtlCol="0" anchor="t">
                <a:spAutoFit/>
              </a:bodyPr>
              <a:lstStyle>
                <a:defPPr>
                  <a:defRPr lang="en-US"/>
                </a:defPPr>
                <a:lvl1pPr algn="ctr" defTabSz="1088105">
                  <a:defRPr sz="1200">
                    <a:solidFill>
                      <a:srgbClr val="505050"/>
                    </a:solidFill>
                    <a:latin typeface="Segoe UI Semibold" panose="020B0702040204020203" pitchFamily="34" charset="0"/>
                    <a:ea typeface="Segoe UI" pitchFamily="34" charset="0"/>
                    <a:cs typeface="Segoe UI Semibold" panose="020B0702040204020203" pitchFamily="34" charset="0"/>
                  </a:defRPr>
                </a:lvl1pPr>
              </a:lstStyle>
              <a:p>
                <a:pPr defTabSz="1087779">
                  <a:defRPr/>
                </a:pPr>
                <a:r>
                  <a:rPr lang="en-US" dirty="0"/>
                  <a:t>Service </a:t>
                </a:r>
                <a:br>
                  <a:rPr lang="en-US" dirty="0"/>
                </a:br>
                <a:r>
                  <a:rPr lang="en-US" dirty="0"/>
                  <a:t>Providers</a:t>
                </a:r>
              </a:p>
            </p:txBody>
          </p:sp>
          <p:grpSp>
            <p:nvGrpSpPr>
              <p:cNvPr id="707" name="Group 706">
                <a:extLst>
                  <a:ext uri="{FF2B5EF4-FFF2-40B4-BE49-F238E27FC236}">
                    <a16:creationId xmlns:a16="http://schemas.microsoft.com/office/drawing/2014/main" id="{E17C260E-70A9-410E-98E8-9491C43D27AE}"/>
                  </a:ext>
                </a:extLst>
              </p:cNvPr>
              <p:cNvGrpSpPr>
                <a:grpSpLocks noChangeAspect="1"/>
              </p:cNvGrpSpPr>
              <p:nvPr/>
            </p:nvGrpSpPr>
            <p:grpSpPr>
              <a:xfrm>
                <a:off x="1117207" y="4035082"/>
                <a:ext cx="504247" cy="247157"/>
                <a:chOff x="335107" y="1984056"/>
                <a:chExt cx="8623119" cy="4119564"/>
              </a:xfrm>
              <a:solidFill>
                <a:srgbClr val="7F7F7F"/>
              </a:solidFill>
            </p:grpSpPr>
            <p:sp>
              <p:nvSpPr>
                <p:cNvPr id="708" name="Freeform 485">
                  <a:extLst>
                    <a:ext uri="{FF2B5EF4-FFF2-40B4-BE49-F238E27FC236}">
                      <a16:creationId xmlns:a16="http://schemas.microsoft.com/office/drawing/2014/main" id="{D8EB7B32-F2A9-4037-BEAA-B15C542395EE}"/>
                    </a:ext>
                  </a:extLst>
                </p:cNvPr>
                <p:cNvSpPr/>
                <p:nvPr/>
              </p:nvSpPr>
              <p:spPr>
                <a:xfrm>
                  <a:off x="5423935" y="2187537"/>
                  <a:ext cx="1275676" cy="3054785"/>
                </a:xfrm>
                <a:custGeom>
                  <a:avLst/>
                  <a:gdLst/>
                  <a:ahLst/>
                  <a:cxnLst/>
                  <a:rect l="l" t="t" r="r" b="b"/>
                  <a:pathLst>
                    <a:path w="1275676" h="3054785">
                      <a:moveTo>
                        <a:pt x="909893" y="2571265"/>
                      </a:moveTo>
                      <a:cubicBezTo>
                        <a:pt x="927578" y="2591556"/>
                        <a:pt x="943146" y="2624131"/>
                        <a:pt x="953053" y="2679738"/>
                      </a:cubicBezTo>
                      <a:cubicBezTo>
                        <a:pt x="966614" y="2755857"/>
                        <a:pt x="1015135" y="2902136"/>
                        <a:pt x="1032104" y="3045768"/>
                      </a:cubicBezTo>
                      <a:lnTo>
                        <a:pt x="926033" y="3054785"/>
                      </a:lnTo>
                      <a:lnTo>
                        <a:pt x="843515" y="2994064"/>
                      </a:lnTo>
                      <a:lnTo>
                        <a:pt x="791128" y="2951202"/>
                      </a:lnTo>
                      <a:lnTo>
                        <a:pt x="789242" y="2950511"/>
                      </a:lnTo>
                      <a:cubicBezTo>
                        <a:pt x="821800" y="2828680"/>
                        <a:pt x="864407" y="2700040"/>
                        <a:pt x="909893" y="2571265"/>
                      </a:cubicBezTo>
                      <a:close/>
                      <a:moveTo>
                        <a:pt x="810922" y="2515507"/>
                      </a:moveTo>
                      <a:cubicBezTo>
                        <a:pt x="813163" y="2515338"/>
                        <a:pt x="815461" y="2515417"/>
                        <a:pt x="817564" y="2517542"/>
                      </a:cubicBezTo>
                      <a:cubicBezTo>
                        <a:pt x="792015" y="2589329"/>
                        <a:pt x="769100" y="2660102"/>
                        <a:pt x="749052" y="2731145"/>
                      </a:cubicBezTo>
                      <a:cubicBezTo>
                        <a:pt x="728674" y="2665687"/>
                        <a:pt x="718117" y="2603286"/>
                        <a:pt x="714164" y="2542305"/>
                      </a:cubicBezTo>
                      <a:cubicBezTo>
                        <a:pt x="724867" y="2542383"/>
                        <a:pt x="734802" y="2542128"/>
                        <a:pt x="743503" y="2541626"/>
                      </a:cubicBezTo>
                      <a:cubicBezTo>
                        <a:pt x="774459" y="2539840"/>
                        <a:pt x="790235" y="2517070"/>
                        <a:pt x="810922" y="2515507"/>
                      </a:cubicBezTo>
                      <a:close/>
                      <a:moveTo>
                        <a:pt x="396204" y="2451912"/>
                      </a:moveTo>
                      <a:cubicBezTo>
                        <a:pt x="411647" y="2483872"/>
                        <a:pt x="433855" y="2503483"/>
                        <a:pt x="462515" y="2517813"/>
                      </a:cubicBezTo>
                      <a:cubicBezTo>
                        <a:pt x="495852" y="2534482"/>
                        <a:pt x="539509" y="2532894"/>
                        <a:pt x="586340" y="2536863"/>
                      </a:cubicBezTo>
                      <a:cubicBezTo>
                        <a:pt x="606520" y="2538574"/>
                        <a:pt x="630828" y="2540136"/>
                        <a:pt x="655265" y="2541066"/>
                      </a:cubicBezTo>
                      <a:cubicBezTo>
                        <a:pt x="657458" y="2571620"/>
                        <a:pt x="660070" y="2600527"/>
                        <a:pt x="663066" y="2624898"/>
                      </a:cubicBezTo>
                      <a:cubicBezTo>
                        <a:pt x="668463" y="2668822"/>
                        <a:pt x="677606" y="2707999"/>
                        <a:pt x="686242" y="2744162"/>
                      </a:cubicBezTo>
                      <a:cubicBezTo>
                        <a:pt x="632838" y="2717984"/>
                        <a:pt x="514903" y="2670213"/>
                        <a:pt x="514903" y="2670213"/>
                      </a:cubicBezTo>
                      <a:lnTo>
                        <a:pt x="333928" y="2589251"/>
                      </a:lnTo>
                      <a:lnTo>
                        <a:pt x="323202" y="2584990"/>
                      </a:lnTo>
                      <a:lnTo>
                        <a:pt x="327453" y="2567034"/>
                      </a:lnTo>
                      <a:cubicBezTo>
                        <a:pt x="340667" y="2528713"/>
                        <a:pt x="369951" y="2489259"/>
                        <a:pt x="396204" y="2451912"/>
                      </a:cubicBezTo>
                      <a:close/>
                      <a:moveTo>
                        <a:pt x="356384" y="1755197"/>
                      </a:moveTo>
                      <a:lnTo>
                        <a:pt x="361013" y="1949619"/>
                      </a:lnTo>
                      <a:cubicBezTo>
                        <a:pt x="293278" y="2065222"/>
                        <a:pt x="276288" y="2307687"/>
                        <a:pt x="265731" y="2563792"/>
                      </a:cubicBezTo>
                      <a:cubicBezTo>
                        <a:pt x="245616" y="2556203"/>
                        <a:pt x="227467" y="2546676"/>
                        <a:pt x="210103" y="2527338"/>
                      </a:cubicBezTo>
                      <a:cubicBezTo>
                        <a:pt x="175178" y="2488444"/>
                        <a:pt x="152159" y="2401925"/>
                        <a:pt x="124378" y="2355888"/>
                      </a:cubicBezTo>
                      <a:cubicBezTo>
                        <a:pt x="96597" y="2309851"/>
                        <a:pt x="64052" y="2271750"/>
                        <a:pt x="43415" y="2251113"/>
                      </a:cubicBezTo>
                      <a:cubicBezTo>
                        <a:pt x="22778" y="2230476"/>
                        <a:pt x="-4209" y="2253494"/>
                        <a:pt x="553" y="2232063"/>
                      </a:cubicBezTo>
                      <a:cubicBezTo>
                        <a:pt x="5315" y="2210632"/>
                        <a:pt x="48177" y="2180470"/>
                        <a:pt x="71990" y="2122526"/>
                      </a:cubicBezTo>
                      <a:cubicBezTo>
                        <a:pt x="90351" y="2077850"/>
                        <a:pt x="107767" y="1994009"/>
                        <a:pt x="126665" y="1932199"/>
                      </a:cubicBezTo>
                      <a:lnTo>
                        <a:pt x="273061" y="1880184"/>
                      </a:lnTo>
                      <a:cubicBezTo>
                        <a:pt x="305463" y="1861666"/>
                        <a:pt x="310089" y="1787599"/>
                        <a:pt x="356384" y="1755197"/>
                      </a:cubicBezTo>
                      <a:close/>
                      <a:moveTo>
                        <a:pt x="537693" y="744"/>
                      </a:moveTo>
                      <a:cubicBezTo>
                        <a:pt x="581411" y="-1830"/>
                        <a:pt x="633485" y="2027"/>
                        <a:pt x="695853" y="16174"/>
                      </a:cubicBezTo>
                      <a:cubicBezTo>
                        <a:pt x="758217" y="30318"/>
                        <a:pt x="852732" y="64395"/>
                        <a:pt x="911876" y="85609"/>
                      </a:cubicBezTo>
                      <a:cubicBezTo>
                        <a:pt x="971031" y="106829"/>
                        <a:pt x="1018605" y="128046"/>
                        <a:pt x="1050752" y="143477"/>
                      </a:cubicBezTo>
                      <a:cubicBezTo>
                        <a:pt x="1082899" y="158907"/>
                        <a:pt x="1079686" y="149264"/>
                        <a:pt x="1104760" y="178194"/>
                      </a:cubicBezTo>
                      <a:cubicBezTo>
                        <a:pt x="1129837" y="207128"/>
                        <a:pt x="1173554" y="261132"/>
                        <a:pt x="1201202" y="317070"/>
                      </a:cubicBezTo>
                      <a:cubicBezTo>
                        <a:pt x="1228849" y="373008"/>
                        <a:pt x="1259066" y="453372"/>
                        <a:pt x="1270636" y="513810"/>
                      </a:cubicBezTo>
                      <a:cubicBezTo>
                        <a:pt x="1275863" y="541109"/>
                        <a:pt x="1276368" y="577588"/>
                        <a:pt x="1275078" y="609376"/>
                      </a:cubicBezTo>
                      <a:cubicBezTo>
                        <a:pt x="1207919" y="610739"/>
                        <a:pt x="1256062" y="594379"/>
                        <a:pt x="1219753" y="593763"/>
                      </a:cubicBezTo>
                      <a:cubicBezTo>
                        <a:pt x="1172922" y="592969"/>
                        <a:pt x="1123709" y="585032"/>
                        <a:pt x="1086403" y="598526"/>
                      </a:cubicBezTo>
                      <a:cubicBezTo>
                        <a:pt x="1049097" y="612020"/>
                        <a:pt x="1027665" y="660439"/>
                        <a:pt x="995915" y="674726"/>
                      </a:cubicBezTo>
                      <a:cubicBezTo>
                        <a:pt x="964165" y="689014"/>
                        <a:pt x="933209" y="669964"/>
                        <a:pt x="895903" y="684251"/>
                      </a:cubicBezTo>
                      <a:cubicBezTo>
                        <a:pt x="858597" y="698539"/>
                        <a:pt x="813353" y="722351"/>
                        <a:pt x="772078" y="760451"/>
                      </a:cubicBezTo>
                      <a:cubicBezTo>
                        <a:pt x="730803" y="798551"/>
                        <a:pt x="685559" y="851732"/>
                        <a:pt x="648253" y="912851"/>
                      </a:cubicBezTo>
                      <a:cubicBezTo>
                        <a:pt x="610947" y="973970"/>
                        <a:pt x="579196" y="1048582"/>
                        <a:pt x="548240" y="1127163"/>
                      </a:cubicBezTo>
                      <a:cubicBezTo>
                        <a:pt x="517284" y="1205744"/>
                        <a:pt x="486327" y="1295438"/>
                        <a:pt x="462515" y="1384338"/>
                      </a:cubicBezTo>
                      <a:cubicBezTo>
                        <a:pt x="438702" y="1473238"/>
                        <a:pt x="418065" y="1592300"/>
                        <a:pt x="405365" y="1660563"/>
                      </a:cubicBezTo>
                      <a:cubicBezTo>
                        <a:pt x="401622" y="1680683"/>
                        <a:pt x="398982" y="1695769"/>
                        <a:pt x="397031" y="1708455"/>
                      </a:cubicBezTo>
                      <a:lnTo>
                        <a:pt x="379531" y="1681708"/>
                      </a:lnTo>
                      <a:cubicBezTo>
                        <a:pt x="365064" y="1654708"/>
                        <a:pt x="382424" y="1649399"/>
                        <a:pt x="362170" y="1615163"/>
                      </a:cubicBezTo>
                      <a:cubicBezTo>
                        <a:pt x="346337" y="1588394"/>
                        <a:pt x="308388" y="1553075"/>
                        <a:pt x="279806" y="1511723"/>
                      </a:cubicBezTo>
                      <a:cubicBezTo>
                        <a:pt x="283185" y="1487626"/>
                        <a:pt x="285447" y="1466602"/>
                        <a:pt x="286303" y="1451013"/>
                      </a:cubicBezTo>
                      <a:cubicBezTo>
                        <a:pt x="290272" y="1378782"/>
                        <a:pt x="259315" y="1385926"/>
                        <a:pt x="248203" y="1351001"/>
                      </a:cubicBezTo>
                      <a:cubicBezTo>
                        <a:pt x="237090" y="1316076"/>
                        <a:pt x="217247" y="1279563"/>
                        <a:pt x="219628" y="1241463"/>
                      </a:cubicBezTo>
                      <a:cubicBezTo>
                        <a:pt x="222009" y="1203363"/>
                        <a:pt x="252171" y="1173995"/>
                        <a:pt x="262490" y="1122401"/>
                      </a:cubicBezTo>
                      <a:cubicBezTo>
                        <a:pt x="272809" y="1070807"/>
                        <a:pt x="281540" y="992226"/>
                        <a:pt x="281540" y="931901"/>
                      </a:cubicBezTo>
                      <a:cubicBezTo>
                        <a:pt x="281540" y="871576"/>
                        <a:pt x="281540" y="816807"/>
                        <a:pt x="262490" y="760451"/>
                      </a:cubicBezTo>
                      <a:cubicBezTo>
                        <a:pt x="251559" y="728114"/>
                        <a:pt x="235402" y="693947"/>
                        <a:pt x="214848" y="662136"/>
                      </a:cubicBezTo>
                      <a:lnTo>
                        <a:pt x="267253" y="612813"/>
                      </a:lnTo>
                      <a:lnTo>
                        <a:pt x="500615" y="488988"/>
                      </a:lnTo>
                      <a:lnTo>
                        <a:pt x="786365" y="479463"/>
                      </a:lnTo>
                      <a:lnTo>
                        <a:pt x="486328" y="446126"/>
                      </a:lnTo>
                      <a:lnTo>
                        <a:pt x="286303" y="531851"/>
                      </a:lnTo>
                      <a:lnTo>
                        <a:pt x="188793" y="624717"/>
                      </a:lnTo>
                      <a:cubicBezTo>
                        <a:pt x="183072" y="613128"/>
                        <a:pt x="175276" y="603190"/>
                        <a:pt x="167240" y="593763"/>
                      </a:cubicBezTo>
                      <a:cubicBezTo>
                        <a:pt x="128567" y="548397"/>
                        <a:pt x="168636" y="489094"/>
                        <a:pt x="42501" y="473501"/>
                      </a:cubicBezTo>
                      <a:cubicBezTo>
                        <a:pt x="46825" y="429492"/>
                        <a:pt x="64428" y="405518"/>
                        <a:pt x="82492" y="363364"/>
                      </a:cubicBezTo>
                      <a:cubicBezTo>
                        <a:pt x="103709" y="313853"/>
                        <a:pt x="135213" y="245058"/>
                        <a:pt x="167360" y="201341"/>
                      </a:cubicBezTo>
                      <a:cubicBezTo>
                        <a:pt x="199507" y="157620"/>
                        <a:pt x="231011" y="129333"/>
                        <a:pt x="275376" y="101043"/>
                      </a:cubicBezTo>
                      <a:cubicBezTo>
                        <a:pt x="319733" y="72752"/>
                        <a:pt x="389818" y="48322"/>
                        <a:pt x="433535" y="31608"/>
                      </a:cubicBezTo>
                      <a:cubicBezTo>
                        <a:pt x="477256" y="14888"/>
                        <a:pt x="493969" y="3314"/>
                        <a:pt x="537693" y="74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2">
                    <a:defRPr/>
                  </a:pPr>
                  <a:endParaRPr lang="en-US" sz="1798">
                    <a:solidFill>
                      <a:prstClr val="white"/>
                    </a:solidFill>
                    <a:latin typeface="Segoe UI"/>
                  </a:endParaRPr>
                </a:p>
              </p:txBody>
            </p:sp>
            <p:sp>
              <p:nvSpPr>
                <p:cNvPr id="709" name="Man's Body">
                  <a:extLst>
                    <a:ext uri="{FF2B5EF4-FFF2-40B4-BE49-F238E27FC236}">
                      <a16:creationId xmlns:a16="http://schemas.microsoft.com/office/drawing/2014/main" id="{CF5F808F-AED4-48F9-8F61-2EB361C6BF31}"/>
                    </a:ext>
                  </a:extLst>
                </p:cNvPr>
                <p:cNvSpPr>
                  <a:spLocks/>
                </p:cNvSpPr>
                <p:nvPr/>
              </p:nvSpPr>
              <p:spPr bwMode="auto">
                <a:xfrm>
                  <a:off x="4286421" y="1984056"/>
                  <a:ext cx="1109019" cy="638618"/>
                </a:xfrm>
                <a:custGeom>
                  <a:avLst/>
                  <a:gdLst/>
                  <a:ahLst/>
                  <a:cxnLst/>
                  <a:rect l="l" t="t" r="r" b="b"/>
                  <a:pathLst>
                    <a:path w="1109019" h="638618">
                      <a:moveTo>
                        <a:pt x="527057" y="506"/>
                      </a:moveTo>
                      <a:cubicBezTo>
                        <a:pt x="648121" y="6732"/>
                        <a:pt x="780445" y="70158"/>
                        <a:pt x="889294" y="181665"/>
                      </a:cubicBezTo>
                      <a:cubicBezTo>
                        <a:pt x="1063451" y="360077"/>
                        <a:pt x="1112509" y="452740"/>
                        <a:pt x="1108830" y="488699"/>
                      </a:cubicBezTo>
                      <a:cubicBezTo>
                        <a:pt x="1105150" y="523275"/>
                        <a:pt x="1069584" y="571681"/>
                        <a:pt x="1038921" y="564767"/>
                      </a:cubicBezTo>
                      <a:cubicBezTo>
                        <a:pt x="1007034" y="557851"/>
                        <a:pt x="1003354" y="527424"/>
                        <a:pt x="986183" y="510828"/>
                      </a:cubicBezTo>
                      <a:cubicBezTo>
                        <a:pt x="782591" y="317203"/>
                        <a:pt x="618246" y="347629"/>
                        <a:pt x="550790" y="371142"/>
                      </a:cubicBezTo>
                      <a:cubicBezTo>
                        <a:pt x="760068" y="390992"/>
                        <a:pt x="912422" y="533945"/>
                        <a:pt x="972020" y="608911"/>
                      </a:cubicBezTo>
                      <a:cubicBezTo>
                        <a:pt x="891545" y="581606"/>
                        <a:pt x="869616" y="586916"/>
                        <a:pt x="814218" y="578169"/>
                      </a:cubicBezTo>
                      <a:cubicBezTo>
                        <a:pt x="753893" y="568644"/>
                        <a:pt x="686424" y="559913"/>
                        <a:pt x="633243" y="559119"/>
                      </a:cubicBezTo>
                      <a:cubicBezTo>
                        <a:pt x="580062" y="558325"/>
                        <a:pt x="534818" y="561501"/>
                        <a:pt x="495131" y="573407"/>
                      </a:cubicBezTo>
                      <a:cubicBezTo>
                        <a:pt x="455444" y="585313"/>
                        <a:pt x="430837" y="621032"/>
                        <a:pt x="395118" y="630557"/>
                      </a:cubicBezTo>
                      <a:cubicBezTo>
                        <a:pt x="359399" y="640082"/>
                        <a:pt x="312568" y="642463"/>
                        <a:pt x="280818" y="630557"/>
                      </a:cubicBezTo>
                      <a:cubicBezTo>
                        <a:pt x="249068" y="618651"/>
                        <a:pt x="230812" y="588488"/>
                        <a:pt x="204618" y="559119"/>
                      </a:cubicBezTo>
                      <a:cubicBezTo>
                        <a:pt x="178424" y="529750"/>
                        <a:pt x="156200" y="486888"/>
                        <a:pt x="123656" y="454344"/>
                      </a:cubicBezTo>
                      <a:cubicBezTo>
                        <a:pt x="91112" y="421800"/>
                        <a:pt x="52218" y="394019"/>
                        <a:pt x="9356" y="363857"/>
                      </a:cubicBezTo>
                      <a:cubicBezTo>
                        <a:pt x="6109" y="361572"/>
                        <a:pt x="2861" y="359100"/>
                        <a:pt x="0" y="355996"/>
                      </a:cubicBezTo>
                      <a:cubicBezTo>
                        <a:pt x="20998" y="211335"/>
                        <a:pt x="96747" y="42345"/>
                        <a:pt x="328801" y="53043"/>
                      </a:cubicBezTo>
                      <a:cubicBezTo>
                        <a:pt x="385831" y="13626"/>
                        <a:pt x="454418" y="-3230"/>
                        <a:pt x="527057" y="50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70" tIns="54836" rIns="109670" bIns="54836" numCol="1" rtlCol="0" anchor="ctr" anchorCtr="0" compatLnSpc="1">
                  <a:prstTxWarp prst="textNoShape">
                    <a:avLst/>
                  </a:prstTxWarp>
                </a:bodyPr>
                <a:lstStyle/>
                <a:p>
                  <a:pPr algn="ctr" defTabSz="1096261" fontAlgn="base">
                    <a:lnSpc>
                      <a:spcPct val="70000"/>
                    </a:lnSpc>
                    <a:spcBef>
                      <a:spcPct val="0"/>
                    </a:spcBef>
                    <a:spcAft>
                      <a:spcPct val="0"/>
                    </a:spcAft>
                    <a:defRPr/>
                  </a:pPr>
                  <a:endParaRPr lang="en-US" sz="2798">
                    <a:solidFill>
                      <a:srgbClr val="FFFFFF"/>
                    </a:solidFill>
                    <a:effectLst>
                      <a:outerShdw blurRad="38100" dist="38100" dir="2700000" algn="tl">
                        <a:srgbClr val="000000">
                          <a:alpha val="43137"/>
                        </a:srgbClr>
                      </a:outerShdw>
                    </a:effectLst>
                    <a:latin typeface="Segoe UI"/>
                  </a:endParaRPr>
                </a:p>
              </p:txBody>
            </p:sp>
            <p:sp>
              <p:nvSpPr>
                <p:cNvPr id="710" name="Man's Body">
                  <a:extLst>
                    <a:ext uri="{FF2B5EF4-FFF2-40B4-BE49-F238E27FC236}">
                      <a16:creationId xmlns:a16="http://schemas.microsoft.com/office/drawing/2014/main" id="{E1B5EB4E-078B-452A-A968-7625C8AF88AE}"/>
                    </a:ext>
                  </a:extLst>
                </p:cNvPr>
                <p:cNvSpPr>
                  <a:spLocks/>
                </p:cNvSpPr>
                <p:nvPr/>
              </p:nvSpPr>
              <p:spPr bwMode="auto">
                <a:xfrm>
                  <a:off x="1933544" y="2281603"/>
                  <a:ext cx="1087125" cy="2339128"/>
                </a:xfrm>
                <a:custGeom>
                  <a:avLst/>
                  <a:gdLst/>
                  <a:ahLst/>
                  <a:cxnLst/>
                  <a:rect l="l" t="t" r="r" b="b"/>
                  <a:pathLst>
                    <a:path w="1087125" h="2339128">
                      <a:moveTo>
                        <a:pt x="148114" y="1900284"/>
                      </a:moveTo>
                      <a:cubicBezTo>
                        <a:pt x="220874" y="1957568"/>
                        <a:pt x="348888" y="2049369"/>
                        <a:pt x="516243" y="2068258"/>
                      </a:cubicBezTo>
                      <a:lnTo>
                        <a:pt x="495331" y="2090372"/>
                      </a:lnTo>
                      <a:cubicBezTo>
                        <a:pt x="449294" y="2138791"/>
                        <a:pt x="388175" y="2211022"/>
                        <a:pt x="338169" y="2252297"/>
                      </a:cubicBezTo>
                      <a:cubicBezTo>
                        <a:pt x="288163" y="2293572"/>
                        <a:pt x="225456" y="2347547"/>
                        <a:pt x="195294" y="2338022"/>
                      </a:cubicBezTo>
                      <a:cubicBezTo>
                        <a:pt x="165132" y="2328497"/>
                        <a:pt x="175450" y="2234834"/>
                        <a:pt x="157194" y="2195147"/>
                      </a:cubicBezTo>
                      <a:cubicBezTo>
                        <a:pt x="138938" y="2155460"/>
                        <a:pt x="111950" y="2112597"/>
                        <a:pt x="85756" y="2099897"/>
                      </a:cubicBezTo>
                      <a:cubicBezTo>
                        <a:pt x="59562" y="2087197"/>
                        <a:pt x="-1556" y="2133234"/>
                        <a:pt x="31" y="2118947"/>
                      </a:cubicBezTo>
                      <a:cubicBezTo>
                        <a:pt x="1618" y="2104660"/>
                        <a:pt x="65912" y="2063384"/>
                        <a:pt x="95281" y="2014172"/>
                      </a:cubicBezTo>
                      <a:cubicBezTo>
                        <a:pt x="112544" y="1985245"/>
                        <a:pt x="132002" y="1941507"/>
                        <a:pt x="148114" y="1900284"/>
                      </a:cubicBezTo>
                      <a:close/>
                      <a:moveTo>
                        <a:pt x="300366" y="1598710"/>
                      </a:moveTo>
                      <a:cubicBezTo>
                        <a:pt x="322928" y="1593356"/>
                        <a:pt x="499132" y="1755026"/>
                        <a:pt x="596386" y="1777949"/>
                      </a:cubicBezTo>
                      <a:lnTo>
                        <a:pt x="614394" y="1795097"/>
                      </a:lnTo>
                      <a:cubicBezTo>
                        <a:pt x="638206" y="1830816"/>
                        <a:pt x="647731" y="1881616"/>
                        <a:pt x="647731" y="1909397"/>
                      </a:cubicBezTo>
                      <a:cubicBezTo>
                        <a:pt x="647731" y="1937178"/>
                        <a:pt x="639794" y="1931622"/>
                        <a:pt x="614394" y="1961785"/>
                      </a:cubicBezTo>
                      <a:cubicBezTo>
                        <a:pt x="607207" y="1970320"/>
                        <a:pt x="598240" y="1980444"/>
                        <a:pt x="588003" y="1991644"/>
                      </a:cubicBezTo>
                      <a:cubicBezTo>
                        <a:pt x="401521" y="1979273"/>
                        <a:pt x="213522" y="1820684"/>
                        <a:pt x="209777" y="1788323"/>
                      </a:cubicBezTo>
                      <a:cubicBezTo>
                        <a:pt x="205894" y="1753317"/>
                        <a:pt x="274484" y="1603086"/>
                        <a:pt x="300366" y="1598710"/>
                      </a:cubicBezTo>
                      <a:close/>
                      <a:moveTo>
                        <a:pt x="594957" y="534"/>
                      </a:moveTo>
                      <a:cubicBezTo>
                        <a:pt x="722687" y="7103"/>
                        <a:pt x="862297" y="74022"/>
                        <a:pt x="977139" y="191669"/>
                      </a:cubicBezTo>
                      <a:cubicBezTo>
                        <a:pt x="1021009" y="236610"/>
                        <a:pt x="1057355" y="276395"/>
                        <a:pt x="1087125" y="311518"/>
                      </a:cubicBezTo>
                      <a:cubicBezTo>
                        <a:pt x="1049367" y="328933"/>
                        <a:pt x="1022410" y="352709"/>
                        <a:pt x="981106" y="366347"/>
                      </a:cubicBezTo>
                      <a:cubicBezTo>
                        <a:pt x="944893" y="378304"/>
                        <a:pt x="910738" y="390997"/>
                        <a:pt x="878907" y="405059"/>
                      </a:cubicBezTo>
                      <a:cubicBezTo>
                        <a:pt x="759679" y="355398"/>
                        <a:pt x="667278" y="375098"/>
                        <a:pt x="619996" y="391578"/>
                      </a:cubicBezTo>
                      <a:cubicBezTo>
                        <a:pt x="686882" y="397922"/>
                        <a:pt x="748256" y="416185"/>
                        <a:pt x="802895" y="441165"/>
                      </a:cubicBezTo>
                      <a:lnTo>
                        <a:pt x="762031" y="461597"/>
                      </a:lnTo>
                      <a:cubicBezTo>
                        <a:pt x="700119" y="497316"/>
                        <a:pt x="650112" y="528273"/>
                        <a:pt x="609631" y="580660"/>
                      </a:cubicBezTo>
                      <a:cubicBezTo>
                        <a:pt x="569150" y="633047"/>
                        <a:pt x="541369" y="702897"/>
                        <a:pt x="519144" y="775922"/>
                      </a:cubicBezTo>
                      <a:cubicBezTo>
                        <a:pt x="496919" y="848947"/>
                        <a:pt x="482631" y="944991"/>
                        <a:pt x="476281" y="1018810"/>
                      </a:cubicBezTo>
                      <a:cubicBezTo>
                        <a:pt x="469931" y="1092629"/>
                        <a:pt x="479457" y="1144223"/>
                        <a:pt x="481044" y="1218835"/>
                      </a:cubicBezTo>
                      <a:cubicBezTo>
                        <a:pt x="482631" y="1293447"/>
                        <a:pt x="481837" y="1387110"/>
                        <a:pt x="485806" y="1466485"/>
                      </a:cubicBezTo>
                      <a:cubicBezTo>
                        <a:pt x="488264" y="1515644"/>
                        <a:pt x="486764" y="1570588"/>
                        <a:pt x="491052" y="1618253"/>
                      </a:cubicBezTo>
                      <a:cubicBezTo>
                        <a:pt x="410332" y="1566195"/>
                        <a:pt x="328150" y="1493901"/>
                        <a:pt x="318496" y="1475757"/>
                      </a:cubicBezTo>
                      <a:cubicBezTo>
                        <a:pt x="315899" y="1471251"/>
                        <a:pt x="311051" y="1464346"/>
                        <a:pt x="304709" y="1455294"/>
                      </a:cubicBezTo>
                      <a:cubicBezTo>
                        <a:pt x="315763" y="1411159"/>
                        <a:pt x="324775" y="1369039"/>
                        <a:pt x="328644" y="1342660"/>
                      </a:cubicBezTo>
                      <a:cubicBezTo>
                        <a:pt x="337375" y="1283129"/>
                        <a:pt x="327056" y="1275191"/>
                        <a:pt x="314356" y="1247410"/>
                      </a:cubicBezTo>
                      <a:cubicBezTo>
                        <a:pt x="301656" y="1219629"/>
                        <a:pt x="261969" y="1202959"/>
                        <a:pt x="252444" y="1175972"/>
                      </a:cubicBezTo>
                      <a:cubicBezTo>
                        <a:pt x="242919" y="1148985"/>
                        <a:pt x="260381" y="1112473"/>
                        <a:pt x="257206" y="1085485"/>
                      </a:cubicBezTo>
                      <a:cubicBezTo>
                        <a:pt x="254031" y="1058497"/>
                        <a:pt x="224663" y="1025953"/>
                        <a:pt x="233394" y="1014047"/>
                      </a:cubicBezTo>
                      <a:cubicBezTo>
                        <a:pt x="242125" y="1002141"/>
                        <a:pt x="284194" y="1028334"/>
                        <a:pt x="309594" y="1014047"/>
                      </a:cubicBezTo>
                      <a:cubicBezTo>
                        <a:pt x="334994" y="999760"/>
                        <a:pt x="373888" y="964834"/>
                        <a:pt x="385794" y="928322"/>
                      </a:cubicBezTo>
                      <a:cubicBezTo>
                        <a:pt x="397700" y="891810"/>
                        <a:pt x="396112" y="839422"/>
                        <a:pt x="381031" y="794972"/>
                      </a:cubicBezTo>
                      <a:cubicBezTo>
                        <a:pt x="365950" y="750522"/>
                        <a:pt x="332612" y="708453"/>
                        <a:pt x="295306" y="661622"/>
                      </a:cubicBezTo>
                      <a:cubicBezTo>
                        <a:pt x="258000" y="614791"/>
                        <a:pt x="208788" y="566372"/>
                        <a:pt x="157194" y="513985"/>
                      </a:cubicBezTo>
                      <a:cubicBezTo>
                        <a:pt x="115841" y="471996"/>
                        <a:pt x="97944" y="422357"/>
                        <a:pt x="38211" y="378976"/>
                      </a:cubicBezTo>
                      <a:cubicBezTo>
                        <a:pt x="59848" y="225643"/>
                        <a:pt x="139125" y="44593"/>
                        <a:pt x="385784" y="55964"/>
                      </a:cubicBezTo>
                      <a:cubicBezTo>
                        <a:pt x="445955" y="14377"/>
                        <a:pt x="518318" y="-3408"/>
                        <a:pt x="594957" y="534"/>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70" tIns="54836" rIns="109670" bIns="54836" numCol="1" rtlCol="0" anchor="ctr" anchorCtr="0" compatLnSpc="1">
                  <a:prstTxWarp prst="textNoShape">
                    <a:avLst/>
                  </a:prstTxWarp>
                </a:bodyPr>
                <a:lstStyle/>
                <a:p>
                  <a:pPr algn="ctr" defTabSz="1096261" fontAlgn="base">
                    <a:lnSpc>
                      <a:spcPct val="70000"/>
                    </a:lnSpc>
                    <a:spcBef>
                      <a:spcPct val="0"/>
                    </a:spcBef>
                    <a:spcAft>
                      <a:spcPct val="0"/>
                    </a:spcAft>
                    <a:defRPr/>
                  </a:pPr>
                  <a:endParaRPr lang="en-US" sz="2798">
                    <a:solidFill>
                      <a:srgbClr val="FFFFFF"/>
                    </a:solidFill>
                    <a:effectLst>
                      <a:outerShdw blurRad="38100" dist="38100" dir="2700000" algn="tl">
                        <a:srgbClr val="000000">
                          <a:alpha val="43137"/>
                        </a:srgbClr>
                      </a:outerShdw>
                    </a:effectLst>
                    <a:latin typeface="Segoe UI"/>
                  </a:endParaRPr>
                </a:p>
              </p:txBody>
            </p:sp>
            <p:sp>
              <p:nvSpPr>
                <p:cNvPr id="711" name="Man's Body">
                  <a:extLst>
                    <a:ext uri="{FF2B5EF4-FFF2-40B4-BE49-F238E27FC236}">
                      <a16:creationId xmlns:a16="http://schemas.microsoft.com/office/drawing/2014/main" id="{51DB8C9D-ADE1-4FD4-9414-ECE21BDD06B0}"/>
                    </a:ext>
                  </a:extLst>
                </p:cNvPr>
                <p:cNvSpPr>
                  <a:spLocks/>
                </p:cNvSpPr>
                <p:nvPr/>
              </p:nvSpPr>
              <p:spPr bwMode="auto">
                <a:xfrm>
                  <a:off x="7167183" y="2655935"/>
                  <a:ext cx="1791043" cy="3077332"/>
                </a:xfrm>
                <a:custGeom>
                  <a:avLst/>
                  <a:gdLst/>
                  <a:ahLst/>
                  <a:cxnLst/>
                  <a:rect l="l" t="t" r="r" b="b"/>
                  <a:pathLst>
                    <a:path w="1791043" h="3077332">
                      <a:moveTo>
                        <a:pt x="1025015" y="1789010"/>
                      </a:moveTo>
                      <a:cubicBezTo>
                        <a:pt x="1052456" y="1797149"/>
                        <a:pt x="1104448" y="2023401"/>
                        <a:pt x="1163660" y="2039679"/>
                      </a:cubicBezTo>
                      <a:cubicBezTo>
                        <a:pt x="1305194" y="2077117"/>
                        <a:pt x="1705242" y="2228494"/>
                        <a:pt x="1763012" y="2334297"/>
                      </a:cubicBezTo>
                      <a:cubicBezTo>
                        <a:pt x="1819336" y="2441727"/>
                        <a:pt x="1797673" y="2617520"/>
                        <a:pt x="1634476" y="2912138"/>
                      </a:cubicBezTo>
                      <a:cubicBezTo>
                        <a:pt x="1581040" y="2785176"/>
                        <a:pt x="1492942" y="2694024"/>
                        <a:pt x="1466947" y="2677746"/>
                      </a:cubicBezTo>
                      <a:cubicBezTo>
                        <a:pt x="1510273" y="2767271"/>
                        <a:pt x="1536270" y="2931671"/>
                        <a:pt x="1550711" y="3037473"/>
                      </a:cubicBezTo>
                      <a:cubicBezTo>
                        <a:pt x="1272518" y="3065184"/>
                        <a:pt x="1017016" y="3074577"/>
                        <a:pt x="836493" y="3077332"/>
                      </a:cubicBezTo>
                      <a:cubicBezTo>
                        <a:pt x="905753" y="2981037"/>
                        <a:pt x="872415" y="2957070"/>
                        <a:pt x="886206" y="2901903"/>
                      </a:cubicBezTo>
                      <a:cubicBezTo>
                        <a:pt x="901287" y="2841578"/>
                        <a:pt x="906844" y="2798715"/>
                        <a:pt x="905256" y="2744740"/>
                      </a:cubicBezTo>
                      <a:cubicBezTo>
                        <a:pt x="903669" y="2690765"/>
                        <a:pt x="915575" y="2629647"/>
                        <a:pt x="876681" y="2578053"/>
                      </a:cubicBezTo>
                      <a:cubicBezTo>
                        <a:pt x="837787" y="2526459"/>
                        <a:pt x="764762" y="2482009"/>
                        <a:pt x="671893" y="2435178"/>
                      </a:cubicBezTo>
                      <a:cubicBezTo>
                        <a:pt x="579024" y="2388347"/>
                        <a:pt x="408368" y="2336753"/>
                        <a:pt x="319468" y="2297065"/>
                      </a:cubicBezTo>
                      <a:cubicBezTo>
                        <a:pt x="230568" y="2257378"/>
                        <a:pt x="183737" y="2238328"/>
                        <a:pt x="138493" y="2197053"/>
                      </a:cubicBezTo>
                      <a:cubicBezTo>
                        <a:pt x="114008" y="2174716"/>
                        <a:pt x="89523" y="2140522"/>
                        <a:pt x="72566" y="2109744"/>
                      </a:cubicBezTo>
                      <a:cubicBezTo>
                        <a:pt x="161803" y="2180615"/>
                        <a:pt x="342491" y="2318445"/>
                        <a:pt x="583084" y="2314764"/>
                      </a:cubicBezTo>
                      <a:cubicBezTo>
                        <a:pt x="894952" y="2309883"/>
                        <a:pt x="961434" y="2134181"/>
                        <a:pt x="961470" y="2134087"/>
                      </a:cubicBezTo>
                      <a:cubicBezTo>
                        <a:pt x="961431" y="2134155"/>
                        <a:pt x="905040" y="2231748"/>
                        <a:pt x="600415" y="2225240"/>
                      </a:cubicBezTo>
                      <a:cubicBezTo>
                        <a:pt x="448124" y="2222935"/>
                        <a:pt x="290769" y="2127693"/>
                        <a:pt x="210656" y="2058477"/>
                      </a:cubicBezTo>
                      <a:cubicBezTo>
                        <a:pt x="247111" y="2063660"/>
                        <a:pt x="286103" y="2068919"/>
                        <a:pt x="314706" y="2068465"/>
                      </a:cubicBezTo>
                      <a:cubicBezTo>
                        <a:pt x="364712" y="2067671"/>
                        <a:pt x="409162" y="2072434"/>
                        <a:pt x="438531" y="2044653"/>
                      </a:cubicBezTo>
                      <a:cubicBezTo>
                        <a:pt x="462255" y="2022212"/>
                        <a:pt x="476137" y="1982161"/>
                        <a:pt x="483486" y="1935462"/>
                      </a:cubicBezTo>
                      <a:cubicBezTo>
                        <a:pt x="533060" y="1967097"/>
                        <a:pt x="580637" y="1990306"/>
                        <a:pt x="613413" y="1989219"/>
                      </a:cubicBezTo>
                      <a:cubicBezTo>
                        <a:pt x="877705" y="1977826"/>
                        <a:pt x="999020" y="1779243"/>
                        <a:pt x="1025015" y="1789010"/>
                      </a:cubicBezTo>
                      <a:close/>
                      <a:moveTo>
                        <a:pt x="585448" y="596"/>
                      </a:moveTo>
                      <a:cubicBezTo>
                        <a:pt x="727992" y="7927"/>
                        <a:pt x="935211" y="76180"/>
                        <a:pt x="1038898" y="151026"/>
                      </a:cubicBezTo>
                      <a:cubicBezTo>
                        <a:pt x="1142584" y="225871"/>
                        <a:pt x="1211900" y="407326"/>
                        <a:pt x="1207568" y="449665"/>
                      </a:cubicBezTo>
                      <a:cubicBezTo>
                        <a:pt x="1203236" y="490376"/>
                        <a:pt x="1199071" y="612532"/>
                        <a:pt x="1188131" y="664973"/>
                      </a:cubicBezTo>
                      <a:cubicBezTo>
                        <a:pt x="1177190" y="717413"/>
                        <a:pt x="1149623" y="723595"/>
                        <a:pt x="1141921" y="764306"/>
                      </a:cubicBezTo>
                      <a:cubicBezTo>
                        <a:pt x="1157802" y="803380"/>
                        <a:pt x="1141928" y="909191"/>
                        <a:pt x="1141921" y="909236"/>
                      </a:cubicBezTo>
                      <a:cubicBezTo>
                        <a:pt x="1141991" y="909241"/>
                        <a:pt x="1208348" y="914147"/>
                        <a:pt x="1208348" y="962974"/>
                      </a:cubicBezTo>
                      <a:cubicBezTo>
                        <a:pt x="1208348" y="1011818"/>
                        <a:pt x="1137615" y="1280417"/>
                        <a:pt x="1137589" y="1280518"/>
                      </a:cubicBezTo>
                      <a:cubicBezTo>
                        <a:pt x="1137566" y="1280557"/>
                        <a:pt x="1118803" y="1313084"/>
                        <a:pt x="1097155" y="1308200"/>
                      </a:cubicBezTo>
                      <a:cubicBezTo>
                        <a:pt x="1074050" y="1506868"/>
                        <a:pt x="994626" y="1630630"/>
                        <a:pt x="926755" y="1690881"/>
                      </a:cubicBezTo>
                      <a:cubicBezTo>
                        <a:pt x="860327" y="1749505"/>
                        <a:pt x="705811" y="1868380"/>
                        <a:pt x="613391" y="1868380"/>
                      </a:cubicBezTo>
                      <a:cubicBezTo>
                        <a:pt x="583727" y="1868380"/>
                        <a:pt x="540227" y="1848919"/>
                        <a:pt x="494585" y="1820862"/>
                      </a:cubicBezTo>
                      <a:cubicBezTo>
                        <a:pt x="495428" y="1780245"/>
                        <a:pt x="492769" y="1734980"/>
                        <a:pt x="490918" y="1682703"/>
                      </a:cubicBezTo>
                      <a:cubicBezTo>
                        <a:pt x="487743" y="1593009"/>
                        <a:pt x="490124" y="1492202"/>
                        <a:pt x="471868" y="1363615"/>
                      </a:cubicBezTo>
                      <a:cubicBezTo>
                        <a:pt x="453612" y="1235028"/>
                        <a:pt x="405987" y="1022303"/>
                        <a:pt x="381381" y="911178"/>
                      </a:cubicBezTo>
                      <a:cubicBezTo>
                        <a:pt x="356775" y="800053"/>
                        <a:pt x="352806" y="754809"/>
                        <a:pt x="324231" y="696865"/>
                      </a:cubicBezTo>
                      <a:cubicBezTo>
                        <a:pt x="295656" y="638921"/>
                        <a:pt x="255968" y="620665"/>
                        <a:pt x="209931" y="563515"/>
                      </a:cubicBezTo>
                      <a:cubicBezTo>
                        <a:pt x="163894" y="506365"/>
                        <a:pt x="103569" y="415084"/>
                        <a:pt x="48006" y="353965"/>
                      </a:cubicBezTo>
                      <a:cubicBezTo>
                        <a:pt x="28279" y="332265"/>
                        <a:pt x="14655" y="310564"/>
                        <a:pt x="0" y="290327"/>
                      </a:cubicBezTo>
                      <a:cubicBezTo>
                        <a:pt x="45987" y="162254"/>
                        <a:pt x="147389" y="53021"/>
                        <a:pt x="352016" y="62454"/>
                      </a:cubicBezTo>
                      <a:cubicBezTo>
                        <a:pt x="419165" y="16044"/>
                        <a:pt x="499920" y="-3803"/>
                        <a:pt x="585448" y="59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70" tIns="54836" rIns="109670" bIns="54836" numCol="1" rtlCol="0" anchor="ctr" anchorCtr="0" compatLnSpc="1">
                  <a:prstTxWarp prst="textNoShape">
                    <a:avLst/>
                  </a:prstTxWarp>
                </a:bodyPr>
                <a:lstStyle/>
                <a:p>
                  <a:pPr algn="ctr" defTabSz="1096261" fontAlgn="base">
                    <a:lnSpc>
                      <a:spcPct val="70000"/>
                    </a:lnSpc>
                    <a:spcBef>
                      <a:spcPct val="0"/>
                    </a:spcBef>
                    <a:spcAft>
                      <a:spcPct val="0"/>
                    </a:spcAft>
                    <a:defRPr/>
                  </a:pPr>
                  <a:endParaRPr lang="en-US" sz="2798">
                    <a:solidFill>
                      <a:srgbClr val="FFFFFF"/>
                    </a:solidFill>
                    <a:effectLst>
                      <a:outerShdw blurRad="38100" dist="38100" dir="2700000" algn="tl">
                        <a:srgbClr val="000000">
                          <a:alpha val="43137"/>
                        </a:srgbClr>
                      </a:outerShdw>
                    </a:effectLst>
                    <a:latin typeface="Segoe UI"/>
                  </a:endParaRPr>
                </a:p>
              </p:txBody>
            </p:sp>
            <p:sp>
              <p:nvSpPr>
                <p:cNvPr id="712" name="Man's Body">
                  <a:extLst>
                    <a:ext uri="{FF2B5EF4-FFF2-40B4-BE49-F238E27FC236}">
                      <a16:creationId xmlns:a16="http://schemas.microsoft.com/office/drawing/2014/main" id="{A27FFA2C-BFD1-49F6-A5EA-98724B8D849E}"/>
                    </a:ext>
                  </a:extLst>
                </p:cNvPr>
                <p:cNvSpPr>
                  <a:spLocks/>
                </p:cNvSpPr>
                <p:nvPr/>
              </p:nvSpPr>
              <p:spPr bwMode="auto">
                <a:xfrm>
                  <a:off x="3394954" y="2270725"/>
                  <a:ext cx="1220879" cy="2577721"/>
                </a:xfrm>
                <a:custGeom>
                  <a:avLst/>
                  <a:gdLst/>
                  <a:ahLst/>
                  <a:cxnLst/>
                  <a:rect l="l" t="t" r="r" b="b"/>
                  <a:pathLst>
                    <a:path w="1220879" h="2577721">
                      <a:moveTo>
                        <a:pt x="1000694" y="1726538"/>
                      </a:moveTo>
                      <a:cubicBezTo>
                        <a:pt x="1015159" y="1730828"/>
                        <a:pt x="1036692" y="1797918"/>
                        <a:pt x="1062780" y="1860398"/>
                      </a:cubicBezTo>
                      <a:lnTo>
                        <a:pt x="1072271" y="1886939"/>
                      </a:lnTo>
                      <a:cubicBezTo>
                        <a:pt x="1100846" y="1947264"/>
                        <a:pt x="1157203" y="2022670"/>
                        <a:pt x="1181809" y="2063151"/>
                      </a:cubicBezTo>
                      <a:cubicBezTo>
                        <a:pt x="1206415" y="2103632"/>
                        <a:pt x="1225465" y="2098076"/>
                        <a:pt x="1219909" y="2129826"/>
                      </a:cubicBezTo>
                      <a:cubicBezTo>
                        <a:pt x="1214353" y="2161576"/>
                        <a:pt x="1178633" y="2203645"/>
                        <a:pt x="1148471" y="2253651"/>
                      </a:cubicBezTo>
                      <a:cubicBezTo>
                        <a:pt x="1118309" y="2303657"/>
                        <a:pt x="1085765" y="2388589"/>
                        <a:pt x="1038934" y="2429864"/>
                      </a:cubicBezTo>
                      <a:cubicBezTo>
                        <a:pt x="992103" y="2471139"/>
                        <a:pt x="926222" y="2476695"/>
                        <a:pt x="867484" y="2501301"/>
                      </a:cubicBezTo>
                      <a:cubicBezTo>
                        <a:pt x="867484" y="2501301"/>
                        <a:pt x="738896" y="2574326"/>
                        <a:pt x="686509" y="2577501"/>
                      </a:cubicBezTo>
                      <a:cubicBezTo>
                        <a:pt x="634122" y="2580676"/>
                        <a:pt x="626184" y="2548926"/>
                        <a:pt x="553159" y="2520351"/>
                      </a:cubicBezTo>
                      <a:cubicBezTo>
                        <a:pt x="480134" y="2491776"/>
                        <a:pt x="311859" y="2440182"/>
                        <a:pt x="248359" y="2406051"/>
                      </a:cubicBezTo>
                      <a:cubicBezTo>
                        <a:pt x="184859" y="2371920"/>
                        <a:pt x="187240" y="2346520"/>
                        <a:pt x="172159" y="2315564"/>
                      </a:cubicBezTo>
                      <a:cubicBezTo>
                        <a:pt x="157078" y="2284608"/>
                        <a:pt x="140409" y="2261589"/>
                        <a:pt x="157871" y="2220314"/>
                      </a:cubicBezTo>
                      <a:cubicBezTo>
                        <a:pt x="168198" y="2195906"/>
                        <a:pt x="198233" y="2167333"/>
                        <a:pt x="226485" y="2135786"/>
                      </a:cubicBezTo>
                      <a:cubicBezTo>
                        <a:pt x="316982" y="2189270"/>
                        <a:pt x="435235" y="2236059"/>
                        <a:pt x="574195" y="2233933"/>
                      </a:cubicBezTo>
                      <a:cubicBezTo>
                        <a:pt x="875173" y="2229222"/>
                        <a:pt x="939333" y="2059656"/>
                        <a:pt x="939368" y="2059565"/>
                      </a:cubicBezTo>
                      <a:cubicBezTo>
                        <a:pt x="939349" y="2059598"/>
                        <a:pt x="884958" y="2153817"/>
                        <a:pt x="590920" y="2147535"/>
                      </a:cubicBezTo>
                      <a:cubicBezTo>
                        <a:pt x="481175" y="2145874"/>
                        <a:pt x="368705" y="2094204"/>
                        <a:pt x="286708" y="2040070"/>
                      </a:cubicBezTo>
                      <a:cubicBezTo>
                        <a:pt x="307092" y="1982179"/>
                        <a:pt x="314374" y="1903887"/>
                        <a:pt x="324559" y="1872651"/>
                      </a:cubicBezTo>
                      <a:cubicBezTo>
                        <a:pt x="333489" y="1845267"/>
                        <a:pt x="333488" y="1864317"/>
                        <a:pt x="339628" y="1861489"/>
                      </a:cubicBezTo>
                      <a:lnTo>
                        <a:pt x="348371" y="1848839"/>
                      </a:lnTo>
                      <a:cubicBezTo>
                        <a:pt x="354151" y="1836701"/>
                        <a:pt x="363405" y="1817932"/>
                        <a:pt x="373314" y="1796017"/>
                      </a:cubicBezTo>
                      <a:cubicBezTo>
                        <a:pt x="451017" y="1853032"/>
                        <a:pt x="548670" y="1921572"/>
                        <a:pt x="603465" y="1919756"/>
                      </a:cubicBezTo>
                      <a:cubicBezTo>
                        <a:pt x="858528" y="1908760"/>
                        <a:pt x="975606" y="1717113"/>
                        <a:pt x="1000694" y="1726538"/>
                      </a:cubicBezTo>
                      <a:close/>
                      <a:moveTo>
                        <a:pt x="576476" y="576"/>
                      </a:moveTo>
                      <a:cubicBezTo>
                        <a:pt x="714043" y="7650"/>
                        <a:pt x="864404" y="79722"/>
                        <a:pt x="988090" y="206429"/>
                      </a:cubicBezTo>
                      <a:cubicBezTo>
                        <a:pt x="1037022" y="256557"/>
                        <a:pt x="1077264" y="300727"/>
                        <a:pt x="1110031" y="339462"/>
                      </a:cubicBezTo>
                      <a:cubicBezTo>
                        <a:pt x="1051415" y="362041"/>
                        <a:pt x="1030281" y="393446"/>
                        <a:pt x="996071" y="424851"/>
                      </a:cubicBezTo>
                      <a:cubicBezTo>
                        <a:pt x="979245" y="440298"/>
                        <a:pt x="967211" y="456704"/>
                        <a:pt x="958497" y="474522"/>
                      </a:cubicBezTo>
                      <a:cubicBezTo>
                        <a:pt x="793415" y="374586"/>
                        <a:pt x="664033" y="400614"/>
                        <a:pt x="603444" y="421733"/>
                      </a:cubicBezTo>
                      <a:cubicBezTo>
                        <a:pt x="733011" y="434023"/>
                        <a:pt x="843377" y="487838"/>
                        <a:pt x="927312" y="549009"/>
                      </a:cubicBezTo>
                      <a:lnTo>
                        <a:pt x="915109" y="582014"/>
                      </a:lnTo>
                      <a:cubicBezTo>
                        <a:pt x="891297" y="642339"/>
                        <a:pt x="862721" y="710601"/>
                        <a:pt x="853196" y="786801"/>
                      </a:cubicBezTo>
                      <a:cubicBezTo>
                        <a:pt x="843671" y="863001"/>
                        <a:pt x="847640" y="966983"/>
                        <a:pt x="857959" y="1039214"/>
                      </a:cubicBezTo>
                      <a:cubicBezTo>
                        <a:pt x="868278" y="1111445"/>
                        <a:pt x="900028" y="1178120"/>
                        <a:pt x="915109" y="1220189"/>
                      </a:cubicBezTo>
                      <a:cubicBezTo>
                        <a:pt x="930190" y="1262258"/>
                        <a:pt x="946859" y="1272576"/>
                        <a:pt x="948446" y="1291626"/>
                      </a:cubicBezTo>
                      <a:cubicBezTo>
                        <a:pt x="950033" y="1310676"/>
                        <a:pt x="930984" y="1315439"/>
                        <a:pt x="924634" y="1334489"/>
                      </a:cubicBezTo>
                      <a:cubicBezTo>
                        <a:pt x="918284" y="1353539"/>
                        <a:pt x="907171" y="1371001"/>
                        <a:pt x="910346" y="1405926"/>
                      </a:cubicBezTo>
                      <a:cubicBezTo>
                        <a:pt x="913521" y="1440851"/>
                        <a:pt x="927015" y="1494827"/>
                        <a:pt x="943684" y="1544039"/>
                      </a:cubicBezTo>
                      <a:cubicBezTo>
                        <a:pt x="947240" y="1554538"/>
                        <a:pt x="951338" y="1565109"/>
                        <a:pt x="956769" y="1575392"/>
                      </a:cubicBezTo>
                      <a:cubicBezTo>
                        <a:pt x="939866" y="1598334"/>
                        <a:pt x="922505" y="1617063"/>
                        <a:pt x="905864" y="1631836"/>
                      </a:cubicBezTo>
                      <a:cubicBezTo>
                        <a:pt x="841757" y="1688412"/>
                        <a:pt x="692637" y="1803136"/>
                        <a:pt x="603444" y="1803136"/>
                      </a:cubicBezTo>
                      <a:cubicBezTo>
                        <a:pt x="557961" y="1803136"/>
                        <a:pt x="478776" y="1755732"/>
                        <a:pt x="409934" y="1705014"/>
                      </a:cubicBezTo>
                      <a:lnTo>
                        <a:pt x="419809" y="1672626"/>
                      </a:lnTo>
                      <a:cubicBezTo>
                        <a:pt x="433303" y="1613095"/>
                        <a:pt x="419809" y="1540070"/>
                        <a:pt x="429334" y="1491651"/>
                      </a:cubicBezTo>
                      <a:cubicBezTo>
                        <a:pt x="438859" y="1443232"/>
                        <a:pt x="464259" y="1418627"/>
                        <a:pt x="476959" y="1382114"/>
                      </a:cubicBezTo>
                      <a:cubicBezTo>
                        <a:pt x="489659" y="1345602"/>
                        <a:pt x="506328" y="1301151"/>
                        <a:pt x="505534" y="1272576"/>
                      </a:cubicBezTo>
                      <a:cubicBezTo>
                        <a:pt x="504740" y="1244001"/>
                        <a:pt x="472990" y="1247177"/>
                        <a:pt x="472196" y="1210664"/>
                      </a:cubicBezTo>
                      <a:cubicBezTo>
                        <a:pt x="471402" y="1174152"/>
                        <a:pt x="493627" y="1105095"/>
                        <a:pt x="500771" y="1053501"/>
                      </a:cubicBezTo>
                      <a:cubicBezTo>
                        <a:pt x="507915" y="1001907"/>
                        <a:pt x="519028" y="948726"/>
                        <a:pt x="515059" y="901101"/>
                      </a:cubicBezTo>
                      <a:cubicBezTo>
                        <a:pt x="511090" y="853476"/>
                        <a:pt x="496009" y="818551"/>
                        <a:pt x="476959" y="767751"/>
                      </a:cubicBezTo>
                      <a:cubicBezTo>
                        <a:pt x="457909" y="716951"/>
                        <a:pt x="430128" y="646307"/>
                        <a:pt x="400759" y="596301"/>
                      </a:cubicBezTo>
                      <a:cubicBezTo>
                        <a:pt x="371390" y="546295"/>
                        <a:pt x="342021" y="502639"/>
                        <a:pt x="300746" y="467714"/>
                      </a:cubicBezTo>
                      <a:cubicBezTo>
                        <a:pt x="259471" y="432789"/>
                        <a:pt x="207878" y="412151"/>
                        <a:pt x="153109" y="386751"/>
                      </a:cubicBezTo>
                      <a:cubicBezTo>
                        <a:pt x="102114" y="363101"/>
                        <a:pt x="114428" y="279585"/>
                        <a:pt x="0" y="308275"/>
                      </a:cubicBezTo>
                      <a:cubicBezTo>
                        <a:pt x="41291" y="173605"/>
                        <a:pt x="138419" y="50464"/>
                        <a:pt x="351195" y="60273"/>
                      </a:cubicBezTo>
                      <a:cubicBezTo>
                        <a:pt x="415999" y="15484"/>
                        <a:pt x="493935" y="-3670"/>
                        <a:pt x="576476" y="576"/>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70" tIns="54836" rIns="109670" bIns="54836" numCol="1" rtlCol="0" anchor="ctr" anchorCtr="0" compatLnSpc="1">
                  <a:prstTxWarp prst="textNoShape">
                    <a:avLst/>
                  </a:prstTxWarp>
                </a:bodyPr>
                <a:lstStyle/>
                <a:p>
                  <a:pPr algn="ctr" defTabSz="1096261" fontAlgn="base">
                    <a:lnSpc>
                      <a:spcPct val="70000"/>
                    </a:lnSpc>
                    <a:spcBef>
                      <a:spcPct val="0"/>
                    </a:spcBef>
                    <a:spcAft>
                      <a:spcPct val="0"/>
                    </a:spcAft>
                    <a:defRPr/>
                  </a:pPr>
                  <a:endParaRPr lang="en-US" sz="2798">
                    <a:solidFill>
                      <a:srgbClr val="FFFFFF"/>
                    </a:solidFill>
                    <a:effectLst>
                      <a:outerShdw blurRad="38100" dist="38100" dir="2700000" algn="tl">
                        <a:srgbClr val="000000">
                          <a:alpha val="43137"/>
                        </a:srgbClr>
                      </a:outerShdw>
                    </a:effectLst>
                    <a:latin typeface="Segoe UI"/>
                  </a:endParaRPr>
                </a:p>
              </p:txBody>
            </p:sp>
            <p:sp>
              <p:nvSpPr>
                <p:cNvPr id="713" name="Man's Body">
                  <a:extLst>
                    <a:ext uri="{FF2B5EF4-FFF2-40B4-BE49-F238E27FC236}">
                      <a16:creationId xmlns:a16="http://schemas.microsoft.com/office/drawing/2014/main" id="{CA3F17EF-8A89-4043-A48E-AB056BA01E07}"/>
                    </a:ext>
                  </a:extLst>
                </p:cNvPr>
                <p:cNvSpPr>
                  <a:spLocks/>
                </p:cNvSpPr>
                <p:nvPr/>
              </p:nvSpPr>
              <p:spPr bwMode="auto">
                <a:xfrm>
                  <a:off x="4129215" y="2588754"/>
                  <a:ext cx="1942154" cy="3289752"/>
                </a:xfrm>
                <a:custGeom>
                  <a:avLst/>
                  <a:gdLst/>
                  <a:ahLst/>
                  <a:cxnLst/>
                  <a:rect l="l" t="t" r="r" b="b"/>
                  <a:pathLst>
                    <a:path w="1942154" h="3289752">
                      <a:moveTo>
                        <a:pt x="501915" y="1906497"/>
                      </a:moveTo>
                      <a:cubicBezTo>
                        <a:pt x="531238" y="1899539"/>
                        <a:pt x="778162" y="2129136"/>
                        <a:pt x="883105" y="2125656"/>
                      </a:cubicBezTo>
                      <a:cubicBezTo>
                        <a:pt x="1165524" y="2113482"/>
                        <a:pt x="1295160" y="1901279"/>
                        <a:pt x="1322938" y="1911715"/>
                      </a:cubicBezTo>
                      <a:cubicBezTo>
                        <a:pt x="1352261" y="1920412"/>
                        <a:pt x="1407819" y="2162183"/>
                        <a:pt x="1471092" y="2179577"/>
                      </a:cubicBezTo>
                      <a:cubicBezTo>
                        <a:pt x="1569955" y="2205728"/>
                        <a:pt x="1786855" y="2283903"/>
                        <a:pt x="1942154" y="2367099"/>
                      </a:cubicBezTo>
                      <a:lnTo>
                        <a:pt x="1623885" y="2492834"/>
                      </a:lnTo>
                      <a:cubicBezTo>
                        <a:pt x="1505616" y="2541253"/>
                        <a:pt x="1369885" y="2582527"/>
                        <a:pt x="1300035" y="2630946"/>
                      </a:cubicBezTo>
                      <a:cubicBezTo>
                        <a:pt x="1230185" y="2679365"/>
                        <a:pt x="1216691" y="2727784"/>
                        <a:pt x="1204785" y="2783346"/>
                      </a:cubicBezTo>
                      <a:cubicBezTo>
                        <a:pt x="1192879" y="2838909"/>
                        <a:pt x="1211929" y="2896059"/>
                        <a:pt x="1228598" y="2964321"/>
                      </a:cubicBezTo>
                      <a:cubicBezTo>
                        <a:pt x="1245267" y="3032583"/>
                        <a:pt x="1281779" y="3120690"/>
                        <a:pt x="1304798" y="3192921"/>
                      </a:cubicBezTo>
                      <a:cubicBezTo>
                        <a:pt x="1314321" y="3222803"/>
                        <a:pt x="1341505" y="3252414"/>
                        <a:pt x="1363493" y="3281583"/>
                      </a:cubicBezTo>
                      <a:cubicBezTo>
                        <a:pt x="1152486" y="3290141"/>
                        <a:pt x="985631" y="3290297"/>
                        <a:pt x="900081" y="3289292"/>
                      </a:cubicBezTo>
                      <a:cubicBezTo>
                        <a:pt x="817878" y="3290370"/>
                        <a:pt x="658124" y="3290113"/>
                        <a:pt x="456018" y="3282293"/>
                      </a:cubicBezTo>
                      <a:cubicBezTo>
                        <a:pt x="462393" y="3274575"/>
                        <a:pt x="465552" y="3265168"/>
                        <a:pt x="466598" y="3254834"/>
                      </a:cubicBezTo>
                      <a:cubicBezTo>
                        <a:pt x="472948" y="3192128"/>
                        <a:pt x="470567" y="3114340"/>
                        <a:pt x="466598" y="3021471"/>
                      </a:cubicBezTo>
                      <a:cubicBezTo>
                        <a:pt x="462629" y="2928602"/>
                        <a:pt x="461835" y="2782552"/>
                        <a:pt x="442785" y="2697621"/>
                      </a:cubicBezTo>
                      <a:cubicBezTo>
                        <a:pt x="423735" y="2612690"/>
                        <a:pt x="407860" y="2565859"/>
                        <a:pt x="352298" y="2511884"/>
                      </a:cubicBezTo>
                      <a:cubicBezTo>
                        <a:pt x="296736" y="2457909"/>
                        <a:pt x="186404" y="2415046"/>
                        <a:pt x="109410" y="2373771"/>
                      </a:cubicBezTo>
                      <a:cubicBezTo>
                        <a:pt x="63909" y="2349379"/>
                        <a:pt x="39200" y="2319443"/>
                        <a:pt x="0" y="2298223"/>
                      </a:cubicBezTo>
                      <a:cubicBezTo>
                        <a:pt x="117461" y="2244929"/>
                        <a:pt x="226792" y="2206801"/>
                        <a:pt x="244189" y="2210886"/>
                      </a:cubicBezTo>
                      <a:cubicBezTo>
                        <a:pt x="281228" y="2217843"/>
                        <a:pt x="509632" y="2478748"/>
                        <a:pt x="850696" y="2473530"/>
                      </a:cubicBezTo>
                      <a:cubicBezTo>
                        <a:pt x="1183954" y="2468314"/>
                        <a:pt x="1254996" y="2280562"/>
                        <a:pt x="1255035" y="2280461"/>
                      </a:cubicBezTo>
                      <a:cubicBezTo>
                        <a:pt x="1255005" y="2280512"/>
                        <a:pt x="1194766" y="2384821"/>
                        <a:pt x="869215" y="2377865"/>
                      </a:cubicBezTo>
                      <a:cubicBezTo>
                        <a:pt x="639268" y="2374386"/>
                        <a:pt x="398517" y="2172620"/>
                        <a:pt x="393887" y="2132615"/>
                      </a:cubicBezTo>
                      <a:cubicBezTo>
                        <a:pt x="389256" y="2090869"/>
                        <a:pt x="471051" y="1911715"/>
                        <a:pt x="501915" y="1906497"/>
                      </a:cubicBezTo>
                      <a:close/>
                      <a:moveTo>
                        <a:pt x="853221" y="637"/>
                      </a:moveTo>
                      <a:cubicBezTo>
                        <a:pt x="1005543" y="8471"/>
                        <a:pt x="1226975" y="81406"/>
                        <a:pt x="1337772" y="161384"/>
                      </a:cubicBezTo>
                      <a:cubicBezTo>
                        <a:pt x="1448570" y="241363"/>
                        <a:pt x="1522641" y="435263"/>
                        <a:pt x="1518012" y="480506"/>
                      </a:cubicBezTo>
                      <a:cubicBezTo>
                        <a:pt x="1513382" y="524010"/>
                        <a:pt x="1508932" y="654545"/>
                        <a:pt x="1497241" y="710582"/>
                      </a:cubicBezTo>
                      <a:cubicBezTo>
                        <a:pt x="1485550" y="766620"/>
                        <a:pt x="1456092" y="773225"/>
                        <a:pt x="1447862" y="816729"/>
                      </a:cubicBezTo>
                      <a:cubicBezTo>
                        <a:pt x="1464832" y="858482"/>
                        <a:pt x="1447870" y="971551"/>
                        <a:pt x="1447862" y="971599"/>
                      </a:cubicBezTo>
                      <a:cubicBezTo>
                        <a:pt x="1447887" y="971601"/>
                        <a:pt x="1518845" y="976828"/>
                        <a:pt x="1518845" y="1029023"/>
                      </a:cubicBezTo>
                      <a:cubicBezTo>
                        <a:pt x="1518845" y="1081217"/>
                        <a:pt x="1443261" y="1368239"/>
                        <a:pt x="1443233" y="1368346"/>
                      </a:cubicBezTo>
                      <a:cubicBezTo>
                        <a:pt x="1443216" y="1368375"/>
                        <a:pt x="1423163" y="1403147"/>
                        <a:pt x="1400025" y="1397928"/>
                      </a:cubicBezTo>
                      <a:cubicBezTo>
                        <a:pt x="1375336" y="1610222"/>
                        <a:pt x="1290464" y="1742472"/>
                        <a:pt x="1217938" y="1806856"/>
                      </a:cubicBezTo>
                      <a:cubicBezTo>
                        <a:pt x="1146955" y="1869501"/>
                        <a:pt x="981841" y="1996529"/>
                        <a:pt x="883082" y="1996529"/>
                      </a:cubicBezTo>
                      <a:cubicBezTo>
                        <a:pt x="784323" y="1996529"/>
                        <a:pt x="542053" y="1794675"/>
                        <a:pt x="523537" y="1759872"/>
                      </a:cubicBezTo>
                      <a:cubicBezTo>
                        <a:pt x="503477" y="1725071"/>
                        <a:pt x="370768" y="1570199"/>
                        <a:pt x="366139" y="1380528"/>
                      </a:cubicBezTo>
                      <a:cubicBezTo>
                        <a:pt x="301328" y="1375306"/>
                        <a:pt x="264293" y="1183894"/>
                        <a:pt x="239604" y="1082967"/>
                      </a:cubicBezTo>
                      <a:cubicBezTo>
                        <a:pt x="219550" y="997735"/>
                        <a:pt x="288930" y="999439"/>
                        <a:pt x="288983" y="999441"/>
                      </a:cubicBezTo>
                      <a:cubicBezTo>
                        <a:pt x="288957" y="999371"/>
                        <a:pt x="191766" y="731458"/>
                        <a:pt x="184051" y="694921"/>
                      </a:cubicBezTo>
                      <a:cubicBezTo>
                        <a:pt x="177878" y="660118"/>
                        <a:pt x="113068" y="44116"/>
                        <a:pt x="603779" y="66738"/>
                      </a:cubicBezTo>
                      <a:cubicBezTo>
                        <a:pt x="675533" y="17144"/>
                        <a:pt x="761828" y="-4064"/>
                        <a:pt x="853221" y="63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70" tIns="54836" rIns="109670" bIns="54836" numCol="1" rtlCol="0" anchor="ctr" anchorCtr="0" compatLnSpc="1">
                  <a:prstTxWarp prst="textNoShape">
                    <a:avLst/>
                  </a:prstTxWarp>
                </a:bodyPr>
                <a:lstStyle/>
                <a:p>
                  <a:pPr algn="ctr" defTabSz="1096261" fontAlgn="base">
                    <a:lnSpc>
                      <a:spcPct val="70000"/>
                    </a:lnSpc>
                    <a:spcBef>
                      <a:spcPct val="0"/>
                    </a:spcBef>
                    <a:spcAft>
                      <a:spcPct val="0"/>
                    </a:spcAft>
                    <a:defRPr/>
                  </a:pPr>
                  <a:endParaRPr lang="en-US" sz="2798">
                    <a:solidFill>
                      <a:srgbClr val="FFFFFF"/>
                    </a:solidFill>
                    <a:effectLst>
                      <a:outerShdw blurRad="38100" dist="38100" dir="2700000" algn="tl">
                        <a:srgbClr val="000000">
                          <a:alpha val="43137"/>
                        </a:srgbClr>
                      </a:outerShdw>
                    </a:effectLst>
                    <a:latin typeface="Segoe UI"/>
                  </a:endParaRPr>
                </a:p>
              </p:txBody>
            </p:sp>
            <p:sp>
              <p:nvSpPr>
                <p:cNvPr id="714" name="Man's Body">
                  <a:extLst>
                    <a:ext uri="{FF2B5EF4-FFF2-40B4-BE49-F238E27FC236}">
                      <a16:creationId xmlns:a16="http://schemas.microsoft.com/office/drawing/2014/main" id="{FD7E9C65-E528-457B-A077-251CB60E0BDD}"/>
                    </a:ext>
                  </a:extLst>
                </p:cNvPr>
                <p:cNvSpPr>
                  <a:spLocks/>
                </p:cNvSpPr>
                <p:nvPr/>
              </p:nvSpPr>
              <p:spPr bwMode="auto">
                <a:xfrm>
                  <a:off x="335107" y="2540761"/>
                  <a:ext cx="1927374" cy="3278271"/>
                </a:xfrm>
                <a:custGeom>
                  <a:avLst/>
                  <a:gdLst/>
                  <a:ahLst/>
                  <a:cxnLst/>
                  <a:rect l="l" t="t" r="r" b="b"/>
                  <a:pathLst>
                    <a:path w="1927374" h="3278271">
                      <a:moveTo>
                        <a:pt x="586126" y="2210886"/>
                      </a:moveTo>
                      <a:cubicBezTo>
                        <a:pt x="616330" y="2216559"/>
                        <a:pt x="773790" y="2391106"/>
                        <a:pt x="1016388" y="2450287"/>
                      </a:cubicBezTo>
                      <a:cubicBezTo>
                        <a:pt x="976291" y="2480726"/>
                        <a:pt x="940784" y="2511617"/>
                        <a:pt x="912668" y="2540828"/>
                      </a:cubicBezTo>
                      <a:cubicBezTo>
                        <a:pt x="851549" y="2604328"/>
                        <a:pt x="830912" y="2661478"/>
                        <a:pt x="803131" y="2726565"/>
                      </a:cubicBezTo>
                      <a:cubicBezTo>
                        <a:pt x="775350" y="2791652"/>
                        <a:pt x="757093" y="2855947"/>
                        <a:pt x="745981" y="2931353"/>
                      </a:cubicBezTo>
                      <a:cubicBezTo>
                        <a:pt x="734869" y="3006759"/>
                        <a:pt x="738837" y="3105978"/>
                        <a:pt x="736456" y="3179003"/>
                      </a:cubicBezTo>
                      <a:cubicBezTo>
                        <a:pt x="735337" y="3213335"/>
                        <a:pt x="717901" y="3247141"/>
                        <a:pt x="707639" y="3278271"/>
                      </a:cubicBezTo>
                      <a:cubicBezTo>
                        <a:pt x="607261" y="3273701"/>
                        <a:pt x="498668" y="3267095"/>
                        <a:pt x="385500" y="3257984"/>
                      </a:cubicBezTo>
                      <a:cubicBezTo>
                        <a:pt x="387043" y="3144926"/>
                        <a:pt x="428711" y="2960553"/>
                        <a:pt x="475010" y="2861409"/>
                      </a:cubicBezTo>
                      <a:cubicBezTo>
                        <a:pt x="439515" y="2884020"/>
                        <a:pt x="288274" y="3042302"/>
                        <a:pt x="258951" y="3247548"/>
                      </a:cubicBezTo>
                      <a:cubicBezTo>
                        <a:pt x="-18839" y="2890978"/>
                        <a:pt x="-32728" y="2605722"/>
                        <a:pt x="32090" y="2494403"/>
                      </a:cubicBezTo>
                      <a:cubicBezTo>
                        <a:pt x="95364" y="2384822"/>
                        <a:pt x="549088" y="2202189"/>
                        <a:pt x="586126" y="2210886"/>
                      </a:cubicBezTo>
                      <a:close/>
                      <a:moveTo>
                        <a:pt x="843852" y="1906497"/>
                      </a:moveTo>
                      <a:cubicBezTo>
                        <a:pt x="873175" y="1899539"/>
                        <a:pt x="1120099" y="2129136"/>
                        <a:pt x="1225042" y="2125656"/>
                      </a:cubicBezTo>
                      <a:cubicBezTo>
                        <a:pt x="1507461" y="2113482"/>
                        <a:pt x="1637096" y="1901279"/>
                        <a:pt x="1664875" y="1911715"/>
                      </a:cubicBezTo>
                      <a:cubicBezTo>
                        <a:pt x="1681451" y="1916632"/>
                        <a:pt x="1706410" y="1996028"/>
                        <a:pt x="1736668" y="2067160"/>
                      </a:cubicBezTo>
                      <a:cubicBezTo>
                        <a:pt x="1645277" y="2089552"/>
                        <a:pt x="1598007" y="2141189"/>
                        <a:pt x="1512743" y="2178878"/>
                      </a:cubicBezTo>
                      <a:cubicBezTo>
                        <a:pt x="1403206" y="2227297"/>
                        <a:pt x="1269855" y="2285240"/>
                        <a:pt x="1169843" y="2345565"/>
                      </a:cubicBezTo>
                      <a:lnTo>
                        <a:pt x="1134882" y="2369115"/>
                      </a:lnTo>
                      <a:cubicBezTo>
                        <a:pt x="930801" y="2331702"/>
                        <a:pt x="739941" y="2168192"/>
                        <a:pt x="735824" y="2132615"/>
                      </a:cubicBezTo>
                      <a:cubicBezTo>
                        <a:pt x="731193" y="2090869"/>
                        <a:pt x="812988" y="1911715"/>
                        <a:pt x="843852" y="1906497"/>
                      </a:cubicBezTo>
                      <a:close/>
                      <a:moveTo>
                        <a:pt x="1195158" y="637"/>
                      </a:moveTo>
                      <a:cubicBezTo>
                        <a:pt x="1347480" y="8471"/>
                        <a:pt x="1513967" y="88272"/>
                        <a:pt x="1650919" y="228569"/>
                      </a:cubicBezTo>
                      <a:cubicBezTo>
                        <a:pt x="1870041" y="453045"/>
                        <a:pt x="1931766" y="569632"/>
                        <a:pt x="1927136" y="614875"/>
                      </a:cubicBezTo>
                      <a:cubicBezTo>
                        <a:pt x="1922506" y="658378"/>
                        <a:pt x="1877757" y="719282"/>
                        <a:pt x="1839178" y="710582"/>
                      </a:cubicBezTo>
                      <a:cubicBezTo>
                        <a:pt x="1799058" y="701882"/>
                        <a:pt x="1794429" y="663598"/>
                        <a:pt x="1772824" y="642718"/>
                      </a:cubicBezTo>
                      <a:cubicBezTo>
                        <a:pt x="1516667" y="399101"/>
                        <a:pt x="1309890" y="437383"/>
                        <a:pt x="1225019" y="466966"/>
                      </a:cubicBezTo>
                      <a:cubicBezTo>
                        <a:pt x="1555245" y="498288"/>
                        <a:pt x="1772824" y="773225"/>
                        <a:pt x="1789799" y="816729"/>
                      </a:cubicBezTo>
                      <a:cubicBezTo>
                        <a:pt x="1806769" y="858482"/>
                        <a:pt x="1789807" y="971551"/>
                        <a:pt x="1789799" y="971599"/>
                      </a:cubicBezTo>
                      <a:cubicBezTo>
                        <a:pt x="1789819" y="971601"/>
                        <a:pt x="1860782" y="976826"/>
                        <a:pt x="1860782" y="1029023"/>
                      </a:cubicBezTo>
                      <a:cubicBezTo>
                        <a:pt x="1860782" y="1081217"/>
                        <a:pt x="1785198" y="1368239"/>
                        <a:pt x="1785170" y="1368346"/>
                      </a:cubicBezTo>
                      <a:cubicBezTo>
                        <a:pt x="1785153" y="1368375"/>
                        <a:pt x="1765100" y="1403147"/>
                        <a:pt x="1741962" y="1397928"/>
                      </a:cubicBezTo>
                      <a:cubicBezTo>
                        <a:pt x="1717273" y="1610222"/>
                        <a:pt x="1632401" y="1742472"/>
                        <a:pt x="1559875" y="1806856"/>
                      </a:cubicBezTo>
                      <a:cubicBezTo>
                        <a:pt x="1488892" y="1869501"/>
                        <a:pt x="1323778" y="1996529"/>
                        <a:pt x="1225019" y="1996529"/>
                      </a:cubicBezTo>
                      <a:cubicBezTo>
                        <a:pt x="1126260" y="1996529"/>
                        <a:pt x="883990" y="1794675"/>
                        <a:pt x="865473" y="1759872"/>
                      </a:cubicBezTo>
                      <a:cubicBezTo>
                        <a:pt x="845414" y="1725071"/>
                        <a:pt x="712705" y="1570199"/>
                        <a:pt x="708075" y="1380528"/>
                      </a:cubicBezTo>
                      <a:cubicBezTo>
                        <a:pt x="643265" y="1375306"/>
                        <a:pt x="606230" y="1183894"/>
                        <a:pt x="581541" y="1082967"/>
                      </a:cubicBezTo>
                      <a:cubicBezTo>
                        <a:pt x="561487" y="997735"/>
                        <a:pt x="630866" y="999439"/>
                        <a:pt x="630919" y="999441"/>
                      </a:cubicBezTo>
                      <a:cubicBezTo>
                        <a:pt x="630881" y="999337"/>
                        <a:pt x="533702" y="731455"/>
                        <a:pt x="525988" y="694921"/>
                      </a:cubicBezTo>
                      <a:cubicBezTo>
                        <a:pt x="519815" y="660118"/>
                        <a:pt x="455005" y="44116"/>
                        <a:pt x="945716" y="66738"/>
                      </a:cubicBezTo>
                      <a:cubicBezTo>
                        <a:pt x="1017470" y="17144"/>
                        <a:pt x="1103765" y="-4064"/>
                        <a:pt x="1195158" y="637"/>
                      </a:cubicBezTo>
                      <a:close/>
                    </a:path>
                  </a:pathLst>
                </a:custGeom>
                <a:grp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670" tIns="54836" rIns="109670" bIns="54836" numCol="1" rtlCol="0" anchor="ctr" anchorCtr="0" compatLnSpc="1">
                  <a:prstTxWarp prst="textNoShape">
                    <a:avLst/>
                  </a:prstTxWarp>
                </a:bodyPr>
                <a:lstStyle/>
                <a:p>
                  <a:pPr algn="ctr" defTabSz="1096261" fontAlgn="base">
                    <a:lnSpc>
                      <a:spcPct val="70000"/>
                    </a:lnSpc>
                    <a:spcBef>
                      <a:spcPct val="0"/>
                    </a:spcBef>
                    <a:spcAft>
                      <a:spcPct val="0"/>
                    </a:spcAft>
                    <a:defRPr/>
                  </a:pPr>
                  <a:endParaRPr lang="en-US" sz="2798">
                    <a:solidFill>
                      <a:srgbClr val="FFFFFF"/>
                    </a:solidFill>
                    <a:effectLst>
                      <a:outerShdw blurRad="38100" dist="38100" dir="2700000" algn="tl">
                        <a:srgbClr val="000000">
                          <a:alpha val="43137"/>
                        </a:srgbClr>
                      </a:outerShdw>
                    </a:effectLst>
                    <a:latin typeface="Segoe UI"/>
                  </a:endParaRPr>
                </a:p>
              </p:txBody>
            </p:sp>
            <p:sp>
              <p:nvSpPr>
                <p:cNvPr id="715" name="Freeform 492">
                  <a:extLst>
                    <a:ext uri="{FF2B5EF4-FFF2-40B4-BE49-F238E27FC236}">
                      <a16:creationId xmlns:a16="http://schemas.microsoft.com/office/drawing/2014/main" id="{22C7A2BA-5FEC-4EDA-A2F4-EC4B592071AA}"/>
                    </a:ext>
                  </a:extLst>
                </p:cNvPr>
                <p:cNvSpPr/>
                <p:nvPr/>
              </p:nvSpPr>
              <p:spPr>
                <a:xfrm flipH="1">
                  <a:off x="1116816" y="2629054"/>
                  <a:ext cx="3436629" cy="3474566"/>
                </a:xfrm>
                <a:custGeom>
                  <a:avLst/>
                  <a:gdLst/>
                  <a:ahLst/>
                  <a:cxnLst/>
                  <a:rect l="l" t="t" r="r" b="b"/>
                  <a:pathLst>
                    <a:path w="852601" h="862013">
                      <a:moveTo>
                        <a:pt x="339688" y="551599"/>
                      </a:moveTo>
                      <a:cubicBezTo>
                        <a:pt x="336200" y="550660"/>
                        <a:pt x="332712" y="552270"/>
                        <a:pt x="329224" y="555624"/>
                      </a:cubicBezTo>
                      <a:lnTo>
                        <a:pt x="318760" y="571723"/>
                      </a:lnTo>
                      <a:cubicBezTo>
                        <a:pt x="317687" y="576955"/>
                        <a:pt x="320907" y="582723"/>
                        <a:pt x="322785" y="587017"/>
                      </a:cubicBezTo>
                      <a:cubicBezTo>
                        <a:pt x="324663" y="591310"/>
                        <a:pt x="331370" y="593322"/>
                        <a:pt x="330029" y="597481"/>
                      </a:cubicBezTo>
                      <a:cubicBezTo>
                        <a:pt x="328687" y="601641"/>
                        <a:pt x="318894" y="606739"/>
                        <a:pt x="314735" y="611971"/>
                      </a:cubicBezTo>
                      <a:cubicBezTo>
                        <a:pt x="310576" y="617202"/>
                        <a:pt x="308563" y="620288"/>
                        <a:pt x="303465" y="629679"/>
                      </a:cubicBezTo>
                      <a:cubicBezTo>
                        <a:pt x="298368" y="639070"/>
                        <a:pt x="292062" y="654230"/>
                        <a:pt x="284147" y="668317"/>
                      </a:cubicBezTo>
                      <a:cubicBezTo>
                        <a:pt x="276232" y="682403"/>
                        <a:pt x="261340" y="698637"/>
                        <a:pt x="255974" y="714199"/>
                      </a:cubicBezTo>
                      <a:cubicBezTo>
                        <a:pt x="250607" y="729762"/>
                        <a:pt x="252754" y="745727"/>
                        <a:pt x="251949" y="761691"/>
                      </a:cubicBezTo>
                      <a:cubicBezTo>
                        <a:pt x="251144" y="777656"/>
                        <a:pt x="252351" y="796036"/>
                        <a:pt x="251143" y="809989"/>
                      </a:cubicBezTo>
                      <a:cubicBezTo>
                        <a:pt x="249937" y="823941"/>
                        <a:pt x="245778" y="837357"/>
                        <a:pt x="244705" y="845406"/>
                      </a:cubicBezTo>
                      <a:cubicBezTo>
                        <a:pt x="243631" y="853456"/>
                        <a:pt x="243095" y="855603"/>
                        <a:pt x="244705" y="858286"/>
                      </a:cubicBezTo>
                      <a:cubicBezTo>
                        <a:pt x="245509" y="859627"/>
                        <a:pt x="245945" y="860298"/>
                        <a:pt x="247169" y="860701"/>
                      </a:cubicBezTo>
                      <a:lnTo>
                        <a:pt x="254364" y="861506"/>
                      </a:lnTo>
                      <a:cubicBezTo>
                        <a:pt x="262279" y="862042"/>
                        <a:pt x="277305" y="862310"/>
                        <a:pt x="292196" y="861506"/>
                      </a:cubicBezTo>
                      <a:cubicBezTo>
                        <a:pt x="307088" y="860701"/>
                        <a:pt x="333115" y="857749"/>
                        <a:pt x="343713" y="856676"/>
                      </a:cubicBezTo>
                      <a:cubicBezTo>
                        <a:pt x="343747" y="856684"/>
                        <a:pt x="352708" y="858681"/>
                        <a:pt x="355787" y="855066"/>
                      </a:cubicBezTo>
                      <a:cubicBezTo>
                        <a:pt x="358873" y="851443"/>
                        <a:pt x="361288" y="845675"/>
                        <a:pt x="362227" y="834943"/>
                      </a:cubicBezTo>
                      <a:cubicBezTo>
                        <a:pt x="363166" y="824210"/>
                        <a:pt x="363568" y="808110"/>
                        <a:pt x="361422" y="790670"/>
                      </a:cubicBezTo>
                      <a:cubicBezTo>
                        <a:pt x="359275" y="773229"/>
                        <a:pt x="352299" y="754313"/>
                        <a:pt x="349348" y="730298"/>
                      </a:cubicBezTo>
                      <a:cubicBezTo>
                        <a:pt x="346396" y="706284"/>
                        <a:pt x="344786" y="666439"/>
                        <a:pt x="343713" y="646584"/>
                      </a:cubicBezTo>
                      <a:cubicBezTo>
                        <a:pt x="342640" y="626728"/>
                        <a:pt x="342505" y="619886"/>
                        <a:pt x="342908" y="611166"/>
                      </a:cubicBezTo>
                      <a:cubicBezTo>
                        <a:pt x="343310" y="602446"/>
                        <a:pt x="343713" y="600299"/>
                        <a:pt x="346128" y="594262"/>
                      </a:cubicBezTo>
                      <a:cubicBezTo>
                        <a:pt x="348543" y="588224"/>
                        <a:pt x="356727" y="580443"/>
                        <a:pt x="357397" y="574942"/>
                      </a:cubicBezTo>
                      <a:cubicBezTo>
                        <a:pt x="358068" y="569442"/>
                        <a:pt x="353104" y="565149"/>
                        <a:pt x="350153" y="561258"/>
                      </a:cubicBezTo>
                      <a:close/>
                      <a:moveTo>
                        <a:pt x="287206" y="507649"/>
                      </a:moveTo>
                      <a:cubicBezTo>
                        <a:pt x="299226" y="561742"/>
                        <a:pt x="284201" y="574621"/>
                        <a:pt x="274326" y="617123"/>
                      </a:cubicBezTo>
                      <a:cubicBezTo>
                        <a:pt x="272445" y="626330"/>
                        <a:pt x="270907" y="639718"/>
                        <a:pt x="269556" y="655910"/>
                      </a:cubicBezTo>
                      <a:cubicBezTo>
                        <a:pt x="284442" y="632717"/>
                        <a:pt x="299146" y="601494"/>
                        <a:pt x="316184" y="596515"/>
                      </a:cubicBezTo>
                      <a:cubicBezTo>
                        <a:pt x="314038" y="589217"/>
                        <a:pt x="305451" y="583528"/>
                        <a:pt x="306524" y="574621"/>
                      </a:cubicBezTo>
                      <a:cubicBezTo>
                        <a:pt x="307147" y="563679"/>
                        <a:pt x="314405" y="554950"/>
                        <a:pt x="319949" y="545622"/>
                      </a:cubicBezTo>
                      <a:cubicBezTo>
                        <a:pt x="307786" y="539695"/>
                        <a:pt x="298568" y="525281"/>
                        <a:pt x="287206" y="507649"/>
                      </a:cubicBezTo>
                      <a:close/>
                      <a:moveTo>
                        <a:pt x="264023" y="488330"/>
                      </a:moveTo>
                      <a:cubicBezTo>
                        <a:pt x="251143" y="497345"/>
                        <a:pt x="249856" y="517952"/>
                        <a:pt x="240841" y="523104"/>
                      </a:cubicBezTo>
                      <a:cubicBezTo>
                        <a:pt x="177304" y="542852"/>
                        <a:pt x="103463" y="578055"/>
                        <a:pt x="46365" y="613259"/>
                      </a:cubicBezTo>
                      <a:cubicBezTo>
                        <a:pt x="17601" y="630002"/>
                        <a:pt x="12021" y="649320"/>
                        <a:pt x="6440" y="682806"/>
                      </a:cubicBezTo>
                      <a:lnTo>
                        <a:pt x="0" y="793568"/>
                      </a:lnTo>
                      <a:cubicBezTo>
                        <a:pt x="60532" y="849807"/>
                        <a:pt x="154551" y="840362"/>
                        <a:pt x="230537" y="859252"/>
                      </a:cubicBezTo>
                      <a:cubicBezTo>
                        <a:pt x="242128" y="755359"/>
                        <a:pt x="233113" y="597374"/>
                        <a:pt x="265311" y="542422"/>
                      </a:cubicBezTo>
                      <a:close/>
                      <a:moveTo>
                        <a:pt x="473953" y="438101"/>
                      </a:moveTo>
                      <a:cubicBezTo>
                        <a:pt x="449999" y="476765"/>
                        <a:pt x="395188" y="525303"/>
                        <a:pt x="351750" y="542487"/>
                      </a:cubicBezTo>
                      <a:cubicBezTo>
                        <a:pt x="364570" y="553524"/>
                        <a:pt x="369815" y="566569"/>
                        <a:pt x="371564" y="577519"/>
                      </a:cubicBezTo>
                      <a:cubicBezTo>
                        <a:pt x="371510" y="588305"/>
                        <a:pt x="363407" y="591042"/>
                        <a:pt x="359329" y="597803"/>
                      </a:cubicBezTo>
                      <a:cubicBezTo>
                        <a:pt x="364928" y="652187"/>
                        <a:pt x="355161" y="701683"/>
                        <a:pt x="373271" y="759858"/>
                      </a:cubicBezTo>
                      <a:cubicBezTo>
                        <a:pt x="382583" y="726860"/>
                        <a:pt x="394118" y="694072"/>
                        <a:pt x="406981" y="659624"/>
                      </a:cubicBezTo>
                      <a:cubicBezTo>
                        <a:pt x="434458" y="598661"/>
                        <a:pt x="476100" y="510653"/>
                        <a:pt x="473953" y="438101"/>
                      </a:cubicBezTo>
                      <a:close/>
                      <a:moveTo>
                        <a:pt x="444331" y="425221"/>
                      </a:moveTo>
                      <a:cubicBezTo>
                        <a:pt x="417365" y="457420"/>
                        <a:pt x="365446" y="490423"/>
                        <a:pt x="342908" y="490423"/>
                      </a:cubicBezTo>
                      <a:cubicBezTo>
                        <a:pt x="312722" y="489752"/>
                        <a:pt x="309100" y="473787"/>
                        <a:pt x="292196" y="465469"/>
                      </a:cubicBezTo>
                      <a:cubicBezTo>
                        <a:pt x="308026" y="468152"/>
                        <a:pt x="323455" y="474056"/>
                        <a:pt x="339687" y="473519"/>
                      </a:cubicBezTo>
                      <a:cubicBezTo>
                        <a:pt x="376180" y="473116"/>
                        <a:pt x="416695" y="446955"/>
                        <a:pt x="444331" y="425221"/>
                      </a:cubicBezTo>
                      <a:close/>
                      <a:moveTo>
                        <a:pt x="488121" y="409767"/>
                      </a:moveTo>
                      <a:cubicBezTo>
                        <a:pt x="533198" y="465576"/>
                        <a:pt x="410846" y="692681"/>
                        <a:pt x="376072" y="855388"/>
                      </a:cubicBezTo>
                      <a:cubicBezTo>
                        <a:pt x="489409" y="838216"/>
                        <a:pt x="600169" y="850665"/>
                        <a:pt x="716082" y="803871"/>
                      </a:cubicBezTo>
                      <a:cubicBezTo>
                        <a:pt x="761588" y="800437"/>
                        <a:pt x="808382" y="816321"/>
                        <a:pt x="852601" y="793568"/>
                      </a:cubicBezTo>
                      <a:cubicBezTo>
                        <a:pt x="845303" y="743338"/>
                        <a:pt x="867627" y="646745"/>
                        <a:pt x="772750" y="588788"/>
                      </a:cubicBezTo>
                      <a:cubicBezTo>
                        <a:pt x="729391" y="552726"/>
                        <a:pt x="648681" y="519241"/>
                        <a:pt x="565395" y="492193"/>
                      </a:cubicBezTo>
                      <a:cubicBezTo>
                        <a:pt x="534486" y="468582"/>
                        <a:pt x="515167" y="433379"/>
                        <a:pt x="488121" y="409767"/>
                      </a:cubicBezTo>
                      <a:close/>
                      <a:moveTo>
                        <a:pt x="314467" y="207"/>
                      </a:moveTo>
                      <a:cubicBezTo>
                        <a:pt x="302302" y="922"/>
                        <a:pt x="297652" y="4142"/>
                        <a:pt x="285488" y="8794"/>
                      </a:cubicBezTo>
                      <a:cubicBezTo>
                        <a:pt x="273325" y="13444"/>
                        <a:pt x="253826" y="20241"/>
                        <a:pt x="241485" y="28112"/>
                      </a:cubicBezTo>
                      <a:cubicBezTo>
                        <a:pt x="229142" y="35983"/>
                        <a:pt x="220377" y="43853"/>
                        <a:pt x="211433" y="56017"/>
                      </a:cubicBezTo>
                      <a:cubicBezTo>
                        <a:pt x="202489" y="68180"/>
                        <a:pt x="193724" y="87320"/>
                        <a:pt x="187821" y="101095"/>
                      </a:cubicBezTo>
                      <a:cubicBezTo>
                        <a:pt x="181919" y="114868"/>
                        <a:pt x="176194" y="121665"/>
                        <a:pt x="176015" y="138658"/>
                      </a:cubicBezTo>
                      <a:cubicBezTo>
                        <a:pt x="175837" y="155652"/>
                        <a:pt x="182813" y="191249"/>
                        <a:pt x="186748" y="203055"/>
                      </a:cubicBezTo>
                      <a:lnTo>
                        <a:pt x="187520" y="204007"/>
                      </a:lnTo>
                      <a:lnTo>
                        <a:pt x="191027" y="223887"/>
                      </a:lnTo>
                      <a:cubicBezTo>
                        <a:pt x="185407" y="222374"/>
                        <a:pt x="182724" y="232570"/>
                        <a:pt x="184333" y="241693"/>
                      </a:cubicBezTo>
                      <a:cubicBezTo>
                        <a:pt x="185943" y="250815"/>
                        <a:pt x="196139" y="265841"/>
                        <a:pt x="198822" y="277111"/>
                      </a:cubicBezTo>
                      <a:cubicBezTo>
                        <a:pt x="201505" y="288380"/>
                        <a:pt x="200298" y="299113"/>
                        <a:pt x="200432" y="309308"/>
                      </a:cubicBezTo>
                      <a:cubicBezTo>
                        <a:pt x="200566" y="319505"/>
                        <a:pt x="198285" y="331579"/>
                        <a:pt x="199627" y="338286"/>
                      </a:cubicBezTo>
                      <a:cubicBezTo>
                        <a:pt x="200969" y="344995"/>
                        <a:pt x="205128" y="346739"/>
                        <a:pt x="208482" y="349556"/>
                      </a:cubicBezTo>
                      <a:cubicBezTo>
                        <a:pt x="211836" y="352373"/>
                        <a:pt x="218275" y="343385"/>
                        <a:pt x="219751" y="355191"/>
                      </a:cubicBezTo>
                      <a:cubicBezTo>
                        <a:pt x="221227" y="366997"/>
                        <a:pt x="229008" y="395036"/>
                        <a:pt x="236655" y="410733"/>
                      </a:cubicBezTo>
                      <a:cubicBezTo>
                        <a:pt x="244301" y="426429"/>
                        <a:pt x="259999" y="439845"/>
                        <a:pt x="265633" y="449370"/>
                      </a:cubicBezTo>
                      <a:cubicBezTo>
                        <a:pt x="271268" y="458895"/>
                        <a:pt x="266438" y="460372"/>
                        <a:pt x="270463" y="467884"/>
                      </a:cubicBezTo>
                      <a:cubicBezTo>
                        <a:pt x="274487" y="475397"/>
                        <a:pt x="281330" y="484118"/>
                        <a:pt x="289781" y="494447"/>
                      </a:cubicBezTo>
                      <a:cubicBezTo>
                        <a:pt x="298233" y="504778"/>
                        <a:pt x="311246" y="524097"/>
                        <a:pt x="321175" y="529866"/>
                      </a:cubicBezTo>
                      <a:cubicBezTo>
                        <a:pt x="331102" y="535634"/>
                        <a:pt x="333383" y="536305"/>
                        <a:pt x="349348" y="529061"/>
                      </a:cubicBezTo>
                      <a:cubicBezTo>
                        <a:pt x="365312" y="521816"/>
                        <a:pt x="399657" y="499680"/>
                        <a:pt x="416963" y="486398"/>
                      </a:cubicBezTo>
                      <a:cubicBezTo>
                        <a:pt x="434270" y="473116"/>
                        <a:pt x="444331" y="459298"/>
                        <a:pt x="453186" y="449370"/>
                      </a:cubicBezTo>
                      <a:cubicBezTo>
                        <a:pt x="462041" y="439443"/>
                        <a:pt x="466601" y="434746"/>
                        <a:pt x="470089" y="426831"/>
                      </a:cubicBezTo>
                      <a:cubicBezTo>
                        <a:pt x="473577" y="418917"/>
                        <a:pt x="471968" y="409526"/>
                        <a:pt x="474115" y="401878"/>
                      </a:cubicBezTo>
                      <a:cubicBezTo>
                        <a:pt x="476261" y="394231"/>
                        <a:pt x="480688" y="390341"/>
                        <a:pt x="482969" y="380949"/>
                      </a:cubicBezTo>
                      <a:cubicBezTo>
                        <a:pt x="485249" y="371558"/>
                        <a:pt x="484847" y="352373"/>
                        <a:pt x="487799" y="345532"/>
                      </a:cubicBezTo>
                      <a:cubicBezTo>
                        <a:pt x="490750" y="338689"/>
                        <a:pt x="496788" y="343787"/>
                        <a:pt x="500678" y="339897"/>
                      </a:cubicBezTo>
                      <a:cubicBezTo>
                        <a:pt x="504569" y="336006"/>
                        <a:pt x="508996" y="331177"/>
                        <a:pt x="511142" y="322188"/>
                      </a:cubicBezTo>
                      <a:cubicBezTo>
                        <a:pt x="513289" y="313199"/>
                        <a:pt x="511947" y="299515"/>
                        <a:pt x="513557" y="285965"/>
                      </a:cubicBezTo>
                      <a:cubicBezTo>
                        <a:pt x="515167" y="272415"/>
                        <a:pt x="520131" y="252425"/>
                        <a:pt x="520801" y="240888"/>
                      </a:cubicBezTo>
                      <a:cubicBezTo>
                        <a:pt x="521473" y="229350"/>
                        <a:pt x="520131" y="222508"/>
                        <a:pt x="517582" y="216739"/>
                      </a:cubicBezTo>
                      <a:lnTo>
                        <a:pt x="505508" y="206274"/>
                      </a:lnTo>
                      <a:cubicBezTo>
                        <a:pt x="501482" y="205872"/>
                        <a:pt x="496788" y="209897"/>
                        <a:pt x="493433" y="214324"/>
                      </a:cubicBezTo>
                      <a:cubicBezTo>
                        <a:pt x="490893" y="217677"/>
                        <a:pt x="489661" y="229032"/>
                        <a:pt x="487525" y="232413"/>
                      </a:cubicBezTo>
                      <a:lnTo>
                        <a:pt x="486770" y="223363"/>
                      </a:lnTo>
                      <a:lnTo>
                        <a:pt x="488165" y="195462"/>
                      </a:lnTo>
                      <a:lnTo>
                        <a:pt x="490482" y="198762"/>
                      </a:lnTo>
                      <a:cubicBezTo>
                        <a:pt x="492986" y="200550"/>
                        <a:pt x="494238" y="195185"/>
                        <a:pt x="496921" y="194469"/>
                      </a:cubicBezTo>
                      <a:cubicBezTo>
                        <a:pt x="499604" y="193754"/>
                        <a:pt x="503002" y="193217"/>
                        <a:pt x="506581" y="194469"/>
                      </a:cubicBezTo>
                      <a:cubicBezTo>
                        <a:pt x="510158" y="195721"/>
                        <a:pt x="516419" y="202876"/>
                        <a:pt x="518386" y="201981"/>
                      </a:cubicBezTo>
                      <a:cubicBezTo>
                        <a:pt x="519370" y="201534"/>
                        <a:pt x="519370" y="200774"/>
                        <a:pt x="519124" y="198896"/>
                      </a:cubicBezTo>
                      <a:lnTo>
                        <a:pt x="518386" y="189102"/>
                      </a:lnTo>
                      <a:cubicBezTo>
                        <a:pt x="518391" y="189053"/>
                        <a:pt x="521603" y="159753"/>
                        <a:pt x="518386" y="142952"/>
                      </a:cubicBezTo>
                      <a:cubicBezTo>
                        <a:pt x="515167" y="126137"/>
                        <a:pt x="506760" y="103778"/>
                        <a:pt x="499068" y="88215"/>
                      </a:cubicBezTo>
                      <a:cubicBezTo>
                        <a:pt x="491376" y="72652"/>
                        <a:pt x="479213" y="57627"/>
                        <a:pt x="472236" y="49577"/>
                      </a:cubicBezTo>
                      <a:cubicBezTo>
                        <a:pt x="465260" y="41528"/>
                        <a:pt x="466154" y="44211"/>
                        <a:pt x="457210" y="39918"/>
                      </a:cubicBezTo>
                      <a:cubicBezTo>
                        <a:pt x="448266" y="35625"/>
                        <a:pt x="435030" y="29722"/>
                        <a:pt x="418572" y="23818"/>
                      </a:cubicBezTo>
                      <a:cubicBezTo>
                        <a:pt x="402117" y="17916"/>
                        <a:pt x="375821" y="8435"/>
                        <a:pt x="358470" y="4500"/>
                      </a:cubicBezTo>
                      <a:cubicBezTo>
                        <a:pt x="341118" y="564"/>
                        <a:pt x="326630" y="-509"/>
                        <a:pt x="314467" y="20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2">
                    <a:defRPr/>
                  </a:pPr>
                  <a:endParaRPr lang="en-US" sz="1798">
                    <a:solidFill>
                      <a:prstClr val="white"/>
                    </a:solidFill>
                    <a:latin typeface="Segoe UI"/>
                  </a:endParaRPr>
                </a:p>
              </p:txBody>
            </p:sp>
            <p:sp>
              <p:nvSpPr>
                <p:cNvPr id="716" name="Freeform 493">
                  <a:extLst>
                    <a:ext uri="{FF2B5EF4-FFF2-40B4-BE49-F238E27FC236}">
                      <a16:creationId xmlns:a16="http://schemas.microsoft.com/office/drawing/2014/main" id="{813F93CF-86B7-46B7-989E-9B070E35B9DE}"/>
                    </a:ext>
                  </a:extLst>
                </p:cNvPr>
                <p:cNvSpPr/>
                <p:nvPr/>
              </p:nvSpPr>
              <p:spPr>
                <a:xfrm>
                  <a:off x="5391990" y="2823081"/>
                  <a:ext cx="2628060" cy="3263867"/>
                </a:xfrm>
                <a:custGeom>
                  <a:avLst/>
                  <a:gdLst>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1547813 w 3900488"/>
                    <a:gd name="connsiteY63" fmla="*/ 4808141 h 4808141"/>
                    <a:gd name="connsiteX64" fmla="*/ 338138 w 3900488"/>
                    <a:gd name="connsiteY64" fmla="*/ 4760516 h 4808141"/>
                    <a:gd name="connsiteX65" fmla="*/ 161925 w 3900488"/>
                    <a:gd name="connsiteY65" fmla="*/ 4436666 h 4808141"/>
                    <a:gd name="connsiteX66" fmla="*/ 57150 w 3900488"/>
                    <a:gd name="connsiteY66" fmla="*/ 4141391 h 4808141"/>
                    <a:gd name="connsiteX67" fmla="*/ 0 w 3900488"/>
                    <a:gd name="connsiteY67" fmla="*/ 3855641 h 4808141"/>
                    <a:gd name="connsiteX68" fmla="*/ 23813 w 3900488"/>
                    <a:gd name="connsiteY68" fmla="*/ 3703241 h 4808141"/>
                    <a:gd name="connsiteX69" fmla="*/ 219075 w 3900488"/>
                    <a:gd name="connsiteY69" fmla="*/ 3584179 h 4808141"/>
                    <a:gd name="connsiteX70" fmla="*/ 533400 w 3900488"/>
                    <a:gd name="connsiteY70" fmla="*/ 3450829 h 4808141"/>
                    <a:gd name="connsiteX71" fmla="*/ 933450 w 3900488"/>
                    <a:gd name="connsiteY71" fmla="*/ 3293666 h 4808141"/>
                    <a:gd name="connsiteX72" fmla="*/ 1133475 w 3900488"/>
                    <a:gd name="connsiteY72" fmla="*/ 3217466 h 4808141"/>
                    <a:gd name="connsiteX73" fmla="*/ 1276350 w 3900488"/>
                    <a:gd name="connsiteY73" fmla="*/ 2950766 h 4808141"/>
                    <a:gd name="connsiteX74" fmla="*/ 1371600 w 3900488"/>
                    <a:gd name="connsiteY74" fmla="*/ 2888854 h 4808141"/>
                    <a:gd name="connsiteX75" fmla="*/ 1443038 w 3900488"/>
                    <a:gd name="connsiteY75" fmla="*/ 2750741 h 4808141"/>
                    <a:gd name="connsiteX76" fmla="*/ 1428750 w 3900488"/>
                    <a:gd name="connsiteY76" fmla="*/ 2665016 h 4808141"/>
                    <a:gd name="connsiteX77" fmla="*/ 1432339 w 3900488"/>
                    <a:gd name="connsiteY77" fmla="*/ 2655556 h 4808141"/>
                    <a:gd name="connsiteX78" fmla="*/ 1411332 w 3900488"/>
                    <a:gd name="connsiteY78" fmla="*/ 2630242 h 4808141"/>
                    <a:gd name="connsiteX79" fmla="*/ 1169833 w 3900488"/>
                    <a:gd name="connsiteY79" fmla="*/ 2059985 h 4808141"/>
                    <a:gd name="connsiteX80" fmla="*/ 975688 w 3900488"/>
                    <a:gd name="connsiteY80" fmla="*/ 1612672 h 4808141"/>
                    <a:gd name="connsiteX81" fmla="*/ 1051451 w 3900488"/>
                    <a:gd name="connsiteY81" fmla="*/ 1487109 h 4808141"/>
                    <a:gd name="connsiteX82" fmla="*/ 1016847 w 3900488"/>
                    <a:gd name="connsiteY82" fmla="*/ 1277790 h 4808141"/>
                    <a:gd name="connsiteX83" fmla="*/ 933449 w 3900488"/>
                    <a:gd name="connsiteY83" fmla="*/ 1341041 h 4808141"/>
                    <a:gd name="connsiteX84" fmla="*/ 882649 w 3900488"/>
                    <a:gd name="connsiteY84" fmla="*/ 1404541 h 4808141"/>
                    <a:gd name="connsiteX85" fmla="*/ 838199 w 3900488"/>
                    <a:gd name="connsiteY85" fmla="*/ 1525191 h 4808141"/>
                    <a:gd name="connsiteX86" fmla="*/ 857249 w 3900488"/>
                    <a:gd name="connsiteY86" fmla="*/ 1645841 h 4808141"/>
                    <a:gd name="connsiteX87" fmla="*/ 888999 w 3900488"/>
                    <a:gd name="connsiteY87" fmla="*/ 1829991 h 4808141"/>
                    <a:gd name="connsiteX88" fmla="*/ 965199 w 3900488"/>
                    <a:gd name="connsiteY88" fmla="*/ 2128441 h 4808141"/>
                    <a:gd name="connsiteX89" fmla="*/ 1047749 w 3900488"/>
                    <a:gd name="connsiteY89" fmla="*/ 2198291 h 4808141"/>
                    <a:gd name="connsiteX90" fmla="*/ 1098549 w 3900488"/>
                    <a:gd name="connsiteY90" fmla="*/ 2331641 h 4808141"/>
                    <a:gd name="connsiteX91" fmla="*/ 1219199 w 3900488"/>
                    <a:gd name="connsiteY91" fmla="*/ 2566591 h 4808141"/>
                    <a:gd name="connsiteX92" fmla="*/ 1269999 w 3900488"/>
                    <a:gd name="connsiteY92" fmla="*/ 2712641 h 4808141"/>
                    <a:gd name="connsiteX93" fmla="*/ 1130299 w 3900488"/>
                    <a:gd name="connsiteY93" fmla="*/ 2750741 h 4808141"/>
                    <a:gd name="connsiteX94" fmla="*/ 927099 w 3900488"/>
                    <a:gd name="connsiteY94" fmla="*/ 2776141 h 4808141"/>
                    <a:gd name="connsiteX95" fmla="*/ 742949 w 3900488"/>
                    <a:gd name="connsiteY95" fmla="*/ 2731691 h 4808141"/>
                    <a:gd name="connsiteX96" fmla="*/ 660399 w 3900488"/>
                    <a:gd name="connsiteY96" fmla="*/ 2591991 h 4808141"/>
                    <a:gd name="connsiteX97" fmla="*/ 622299 w 3900488"/>
                    <a:gd name="connsiteY97" fmla="*/ 2344341 h 4808141"/>
                    <a:gd name="connsiteX98" fmla="*/ 634999 w 3900488"/>
                    <a:gd name="connsiteY98" fmla="*/ 2020491 h 4808141"/>
                    <a:gd name="connsiteX99" fmla="*/ 736599 w 3900488"/>
                    <a:gd name="connsiteY99" fmla="*/ 1328341 h 4808141"/>
                    <a:gd name="connsiteX100" fmla="*/ 971549 w 3900488"/>
                    <a:gd name="connsiteY100" fmla="*/ 623491 h 4808141"/>
                    <a:gd name="connsiteX101" fmla="*/ 1168399 w 3900488"/>
                    <a:gd name="connsiteY101" fmla="*/ 299641 h 4808141"/>
                    <a:gd name="connsiteX102" fmla="*/ 1358899 w 3900488"/>
                    <a:gd name="connsiteY102" fmla="*/ 140891 h 4808141"/>
                    <a:gd name="connsiteX103" fmla="*/ 1530349 w 3900488"/>
                    <a:gd name="connsiteY103" fmla="*/ 115491 h 4808141"/>
                    <a:gd name="connsiteX104" fmla="*/ 1676399 w 3900488"/>
                    <a:gd name="connsiteY104" fmla="*/ 13891 h 4808141"/>
                    <a:gd name="connsiteX105" fmla="*/ 1813321 w 3900488"/>
                    <a:gd name="connsiteY105" fmla="*/ 0 h 4808141"/>
                    <a:gd name="connsiteX0" fmla="*/ 3060949 w 3900488"/>
                    <a:gd name="connsiteY0" fmla="*/ 1005769 h 4808141"/>
                    <a:gd name="connsiteX1" fmla="*/ 3081338 w 3900488"/>
                    <a:gd name="connsiteY1" fmla="*/ 1026716 h 4808141"/>
                    <a:gd name="connsiteX2" fmla="*/ 3167063 w 3900488"/>
                    <a:gd name="connsiteY2" fmla="*/ 1369616 h 4808141"/>
                    <a:gd name="connsiteX3" fmla="*/ 3252788 w 3900488"/>
                    <a:gd name="connsiteY3" fmla="*/ 1822054 h 4808141"/>
                    <a:gd name="connsiteX4" fmla="*/ 3281363 w 3900488"/>
                    <a:gd name="connsiteY4" fmla="*/ 2255441 h 4808141"/>
                    <a:gd name="connsiteX5" fmla="*/ 3271838 w 3900488"/>
                    <a:gd name="connsiteY5" fmla="*/ 2526904 h 4808141"/>
                    <a:gd name="connsiteX6" fmla="*/ 3190875 w 3900488"/>
                    <a:gd name="connsiteY6" fmla="*/ 2722166 h 4808141"/>
                    <a:gd name="connsiteX7" fmla="*/ 3043238 w 3900488"/>
                    <a:gd name="connsiteY7" fmla="*/ 2750741 h 4808141"/>
                    <a:gd name="connsiteX8" fmla="*/ 2809875 w 3900488"/>
                    <a:gd name="connsiteY8" fmla="*/ 2731691 h 4808141"/>
                    <a:gd name="connsiteX9" fmla="*/ 2633663 w 3900488"/>
                    <a:gd name="connsiteY9" fmla="*/ 2669779 h 4808141"/>
                    <a:gd name="connsiteX10" fmla="*/ 2657475 w 3900488"/>
                    <a:gd name="connsiteY10" fmla="*/ 2603104 h 4808141"/>
                    <a:gd name="connsiteX11" fmla="*/ 2752725 w 3900488"/>
                    <a:gd name="connsiteY11" fmla="*/ 2474516 h 4808141"/>
                    <a:gd name="connsiteX12" fmla="*/ 2843213 w 3900488"/>
                    <a:gd name="connsiteY12" fmla="*/ 2255441 h 4808141"/>
                    <a:gd name="connsiteX13" fmla="*/ 2862263 w 3900488"/>
                    <a:gd name="connsiteY13" fmla="*/ 2160191 h 4808141"/>
                    <a:gd name="connsiteX14" fmla="*/ 2919413 w 3900488"/>
                    <a:gd name="connsiteY14" fmla="*/ 2098279 h 4808141"/>
                    <a:gd name="connsiteX15" fmla="*/ 3000375 w 3900488"/>
                    <a:gd name="connsiteY15" fmla="*/ 1855391 h 4808141"/>
                    <a:gd name="connsiteX16" fmla="*/ 3057525 w 3900488"/>
                    <a:gd name="connsiteY16" fmla="*/ 1598216 h 4808141"/>
                    <a:gd name="connsiteX17" fmla="*/ 3062288 w 3900488"/>
                    <a:gd name="connsiteY17" fmla="*/ 1483916 h 4808141"/>
                    <a:gd name="connsiteX18" fmla="*/ 3009900 w 3900488"/>
                    <a:gd name="connsiteY18" fmla="*/ 1379141 h 4808141"/>
                    <a:gd name="connsiteX19" fmla="*/ 2957513 w 3900488"/>
                    <a:gd name="connsiteY19" fmla="*/ 1331516 h 4808141"/>
                    <a:gd name="connsiteX20" fmla="*/ 2947988 w 3900488"/>
                    <a:gd name="connsiteY20" fmla="*/ 1236266 h 4808141"/>
                    <a:gd name="connsiteX21" fmla="*/ 2957513 w 3900488"/>
                    <a:gd name="connsiteY21" fmla="*/ 1121966 h 4808141"/>
                    <a:gd name="connsiteX22" fmla="*/ 3005138 w 3900488"/>
                    <a:gd name="connsiteY22" fmla="*/ 1050529 h 4808141"/>
                    <a:gd name="connsiteX23" fmla="*/ 3060949 w 3900488"/>
                    <a:gd name="connsiteY23" fmla="*/ 1005769 h 4808141"/>
                    <a:gd name="connsiteX24" fmla="*/ 1813321 w 3900488"/>
                    <a:gd name="connsiteY24" fmla="*/ 0 h 4808141"/>
                    <a:gd name="connsiteX25" fmla="*/ 1955799 w 3900488"/>
                    <a:gd name="connsiteY25" fmla="*/ 1191 h 4808141"/>
                    <a:gd name="connsiteX26" fmla="*/ 2152649 w 3900488"/>
                    <a:gd name="connsiteY26" fmla="*/ 20241 h 4808141"/>
                    <a:gd name="connsiteX27" fmla="*/ 2381249 w 3900488"/>
                    <a:gd name="connsiteY27" fmla="*/ 121841 h 4808141"/>
                    <a:gd name="connsiteX28" fmla="*/ 2641599 w 3900488"/>
                    <a:gd name="connsiteY28" fmla="*/ 331391 h 4808141"/>
                    <a:gd name="connsiteX29" fmla="*/ 2946399 w 3900488"/>
                    <a:gd name="connsiteY29" fmla="*/ 693341 h 4808141"/>
                    <a:gd name="connsiteX30" fmla="*/ 3060699 w 3900488"/>
                    <a:gd name="connsiteY30" fmla="*/ 883841 h 4808141"/>
                    <a:gd name="connsiteX31" fmla="*/ 3009899 w 3900488"/>
                    <a:gd name="connsiteY31" fmla="*/ 1004491 h 4808141"/>
                    <a:gd name="connsiteX32" fmla="*/ 2901949 w 3900488"/>
                    <a:gd name="connsiteY32" fmla="*/ 1061641 h 4808141"/>
                    <a:gd name="connsiteX33" fmla="*/ 2825749 w 3900488"/>
                    <a:gd name="connsiteY33" fmla="*/ 998141 h 4808141"/>
                    <a:gd name="connsiteX34" fmla="*/ 2654299 w 3900488"/>
                    <a:gd name="connsiteY34" fmla="*/ 820341 h 4808141"/>
                    <a:gd name="connsiteX35" fmla="*/ 2349499 w 3900488"/>
                    <a:gd name="connsiteY35" fmla="*/ 674291 h 4808141"/>
                    <a:gd name="connsiteX36" fmla="*/ 2019299 w 3900488"/>
                    <a:gd name="connsiteY36" fmla="*/ 674291 h 4808141"/>
                    <a:gd name="connsiteX37" fmla="*/ 2343149 w 3900488"/>
                    <a:gd name="connsiteY37" fmla="*/ 769541 h 4808141"/>
                    <a:gd name="connsiteX38" fmla="*/ 2552699 w 3900488"/>
                    <a:gd name="connsiteY38" fmla="*/ 909241 h 4808141"/>
                    <a:gd name="connsiteX39" fmla="*/ 2629040 w 3900488"/>
                    <a:gd name="connsiteY39" fmla="*/ 973620 h 4808141"/>
                    <a:gd name="connsiteX40" fmla="*/ 2900212 w 3900488"/>
                    <a:gd name="connsiteY40" fmla="*/ 1067700 h 4808141"/>
                    <a:gd name="connsiteX41" fmla="*/ 2829545 w 3900488"/>
                    <a:gd name="connsiteY41" fmla="*/ 1212445 h 4808141"/>
                    <a:gd name="connsiteX42" fmla="*/ 2829545 w 3900488"/>
                    <a:gd name="connsiteY42" fmla="*/ 1445256 h 4808141"/>
                    <a:gd name="connsiteX43" fmla="*/ 2938456 w 3900488"/>
                    <a:gd name="connsiteY43" fmla="*/ 1531580 h 4808141"/>
                    <a:gd name="connsiteX44" fmla="*/ 2822442 w 3900488"/>
                    <a:gd name="connsiteY44" fmla="*/ 2041674 h 4808141"/>
                    <a:gd name="connsiteX45" fmla="*/ 2756148 w 3900488"/>
                    <a:gd name="connsiteY45" fmla="*/ 2086142 h 4808141"/>
                    <a:gd name="connsiteX46" fmla="*/ 2479547 w 3900488"/>
                    <a:gd name="connsiteY46" fmla="*/ 2698176 h 4808141"/>
                    <a:gd name="connsiteX47" fmla="*/ 2528888 w 3900488"/>
                    <a:gd name="connsiteY47" fmla="*/ 2817416 h 4808141"/>
                    <a:gd name="connsiteX48" fmla="*/ 2590800 w 3900488"/>
                    <a:gd name="connsiteY48" fmla="*/ 2874566 h 4808141"/>
                    <a:gd name="connsiteX49" fmla="*/ 2657475 w 3900488"/>
                    <a:gd name="connsiteY49" fmla="*/ 2884091 h 4808141"/>
                    <a:gd name="connsiteX50" fmla="*/ 2681288 w 3900488"/>
                    <a:gd name="connsiteY50" fmla="*/ 2912666 h 4808141"/>
                    <a:gd name="connsiteX51" fmla="*/ 2747963 w 3900488"/>
                    <a:gd name="connsiteY51" fmla="*/ 3079354 h 4808141"/>
                    <a:gd name="connsiteX52" fmla="*/ 2843213 w 3900488"/>
                    <a:gd name="connsiteY52" fmla="*/ 3174604 h 4808141"/>
                    <a:gd name="connsiteX53" fmla="*/ 2938463 w 3900488"/>
                    <a:gd name="connsiteY53" fmla="*/ 3207941 h 4808141"/>
                    <a:gd name="connsiteX54" fmla="*/ 3281363 w 3900488"/>
                    <a:gd name="connsiteY54" fmla="*/ 3317479 h 4808141"/>
                    <a:gd name="connsiteX55" fmla="*/ 3657600 w 3900488"/>
                    <a:gd name="connsiteY55" fmla="*/ 3493691 h 4808141"/>
                    <a:gd name="connsiteX56" fmla="*/ 3867150 w 3900488"/>
                    <a:gd name="connsiteY56" fmla="*/ 3641329 h 4808141"/>
                    <a:gd name="connsiteX57" fmla="*/ 3900488 w 3900488"/>
                    <a:gd name="connsiteY57" fmla="*/ 3769916 h 4808141"/>
                    <a:gd name="connsiteX58" fmla="*/ 3876675 w 3900488"/>
                    <a:gd name="connsiteY58" fmla="*/ 4027091 h 4808141"/>
                    <a:gd name="connsiteX59" fmla="*/ 3790950 w 3900488"/>
                    <a:gd name="connsiteY59" fmla="*/ 4236641 h 4808141"/>
                    <a:gd name="connsiteX60" fmla="*/ 3619500 w 3900488"/>
                    <a:gd name="connsiteY60" fmla="*/ 4598591 h 4808141"/>
                    <a:gd name="connsiteX61" fmla="*/ 3471863 w 3900488"/>
                    <a:gd name="connsiteY61" fmla="*/ 4760516 h 4808141"/>
                    <a:gd name="connsiteX62" fmla="*/ 2538413 w 3900488"/>
                    <a:gd name="connsiteY62" fmla="*/ 4808141 h 4808141"/>
                    <a:gd name="connsiteX63" fmla="*/ 338138 w 3900488"/>
                    <a:gd name="connsiteY63" fmla="*/ 4760516 h 4808141"/>
                    <a:gd name="connsiteX64" fmla="*/ 161925 w 3900488"/>
                    <a:gd name="connsiteY64" fmla="*/ 4436666 h 4808141"/>
                    <a:gd name="connsiteX65" fmla="*/ 57150 w 3900488"/>
                    <a:gd name="connsiteY65" fmla="*/ 4141391 h 4808141"/>
                    <a:gd name="connsiteX66" fmla="*/ 0 w 3900488"/>
                    <a:gd name="connsiteY66" fmla="*/ 3855641 h 4808141"/>
                    <a:gd name="connsiteX67" fmla="*/ 23813 w 3900488"/>
                    <a:gd name="connsiteY67" fmla="*/ 3703241 h 4808141"/>
                    <a:gd name="connsiteX68" fmla="*/ 219075 w 3900488"/>
                    <a:gd name="connsiteY68" fmla="*/ 3584179 h 4808141"/>
                    <a:gd name="connsiteX69" fmla="*/ 533400 w 3900488"/>
                    <a:gd name="connsiteY69" fmla="*/ 3450829 h 4808141"/>
                    <a:gd name="connsiteX70" fmla="*/ 933450 w 3900488"/>
                    <a:gd name="connsiteY70" fmla="*/ 3293666 h 4808141"/>
                    <a:gd name="connsiteX71" fmla="*/ 1133475 w 3900488"/>
                    <a:gd name="connsiteY71" fmla="*/ 3217466 h 4808141"/>
                    <a:gd name="connsiteX72" fmla="*/ 1276350 w 3900488"/>
                    <a:gd name="connsiteY72" fmla="*/ 2950766 h 4808141"/>
                    <a:gd name="connsiteX73" fmla="*/ 1371600 w 3900488"/>
                    <a:gd name="connsiteY73" fmla="*/ 2888854 h 4808141"/>
                    <a:gd name="connsiteX74" fmla="*/ 1443038 w 3900488"/>
                    <a:gd name="connsiteY74" fmla="*/ 2750741 h 4808141"/>
                    <a:gd name="connsiteX75" fmla="*/ 1428750 w 3900488"/>
                    <a:gd name="connsiteY75" fmla="*/ 2665016 h 4808141"/>
                    <a:gd name="connsiteX76" fmla="*/ 1432339 w 3900488"/>
                    <a:gd name="connsiteY76" fmla="*/ 2655556 h 4808141"/>
                    <a:gd name="connsiteX77" fmla="*/ 1411332 w 3900488"/>
                    <a:gd name="connsiteY77" fmla="*/ 2630242 h 4808141"/>
                    <a:gd name="connsiteX78" fmla="*/ 1169833 w 3900488"/>
                    <a:gd name="connsiteY78" fmla="*/ 2059985 h 4808141"/>
                    <a:gd name="connsiteX79" fmla="*/ 975688 w 3900488"/>
                    <a:gd name="connsiteY79" fmla="*/ 1612672 h 4808141"/>
                    <a:gd name="connsiteX80" fmla="*/ 1051451 w 3900488"/>
                    <a:gd name="connsiteY80" fmla="*/ 1487109 h 4808141"/>
                    <a:gd name="connsiteX81" fmla="*/ 1016847 w 3900488"/>
                    <a:gd name="connsiteY81" fmla="*/ 1277790 h 4808141"/>
                    <a:gd name="connsiteX82" fmla="*/ 933449 w 3900488"/>
                    <a:gd name="connsiteY82" fmla="*/ 1341041 h 4808141"/>
                    <a:gd name="connsiteX83" fmla="*/ 882649 w 3900488"/>
                    <a:gd name="connsiteY83" fmla="*/ 1404541 h 4808141"/>
                    <a:gd name="connsiteX84" fmla="*/ 838199 w 3900488"/>
                    <a:gd name="connsiteY84" fmla="*/ 1525191 h 4808141"/>
                    <a:gd name="connsiteX85" fmla="*/ 857249 w 3900488"/>
                    <a:gd name="connsiteY85" fmla="*/ 1645841 h 4808141"/>
                    <a:gd name="connsiteX86" fmla="*/ 888999 w 3900488"/>
                    <a:gd name="connsiteY86" fmla="*/ 1829991 h 4808141"/>
                    <a:gd name="connsiteX87" fmla="*/ 965199 w 3900488"/>
                    <a:gd name="connsiteY87" fmla="*/ 2128441 h 4808141"/>
                    <a:gd name="connsiteX88" fmla="*/ 1047749 w 3900488"/>
                    <a:gd name="connsiteY88" fmla="*/ 2198291 h 4808141"/>
                    <a:gd name="connsiteX89" fmla="*/ 1098549 w 3900488"/>
                    <a:gd name="connsiteY89" fmla="*/ 2331641 h 4808141"/>
                    <a:gd name="connsiteX90" fmla="*/ 1219199 w 3900488"/>
                    <a:gd name="connsiteY90" fmla="*/ 2566591 h 4808141"/>
                    <a:gd name="connsiteX91" fmla="*/ 1269999 w 3900488"/>
                    <a:gd name="connsiteY91" fmla="*/ 2712641 h 4808141"/>
                    <a:gd name="connsiteX92" fmla="*/ 1130299 w 3900488"/>
                    <a:gd name="connsiteY92" fmla="*/ 2750741 h 4808141"/>
                    <a:gd name="connsiteX93" fmla="*/ 927099 w 3900488"/>
                    <a:gd name="connsiteY93" fmla="*/ 2776141 h 4808141"/>
                    <a:gd name="connsiteX94" fmla="*/ 742949 w 3900488"/>
                    <a:gd name="connsiteY94" fmla="*/ 2731691 h 4808141"/>
                    <a:gd name="connsiteX95" fmla="*/ 660399 w 3900488"/>
                    <a:gd name="connsiteY95" fmla="*/ 2591991 h 4808141"/>
                    <a:gd name="connsiteX96" fmla="*/ 622299 w 3900488"/>
                    <a:gd name="connsiteY96" fmla="*/ 2344341 h 4808141"/>
                    <a:gd name="connsiteX97" fmla="*/ 634999 w 3900488"/>
                    <a:gd name="connsiteY97" fmla="*/ 2020491 h 4808141"/>
                    <a:gd name="connsiteX98" fmla="*/ 736599 w 3900488"/>
                    <a:gd name="connsiteY98" fmla="*/ 1328341 h 4808141"/>
                    <a:gd name="connsiteX99" fmla="*/ 971549 w 3900488"/>
                    <a:gd name="connsiteY99" fmla="*/ 623491 h 4808141"/>
                    <a:gd name="connsiteX100" fmla="*/ 1168399 w 3900488"/>
                    <a:gd name="connsiteY100" fmla="*/ 299641 h 4808141"/>
                    <a:gd name="connsiteX101" fmla="*/ 1358899 w 3900488"/>
                    <a:gd name="connsiteY101" fmla="*/ 140891 h 4808141"/>
                    <a:gd name="connsiteX102" fmla="*/ 1530349 w 3900488"/>
                    <a:gd name="connsiteY102" fmla="*/ 115491 h 4808141"/>
                    <a:gd name="connsiteX103" fmla="*/ 1676399 w 3900488"/>
                    <a:gd name="connsiteY103" fmla="*/ 13891 h 4808141"/>
                    <a:gd name="connsiteX104" fmla="*/ 1813321 w 3900488"/>
                    <a:gd name="connsiteY104" fmla="*/ 0 h 4808141"/>
                    <a:gd name="connsiteX0" fmla="*/ 3060949 w 3900488"/>
                    <a:gd name="connsiteY0" fmla="*/ 1005769 h 4760516"/>
                    <a:gd name="connsiteX1" fmla="*/ 3081338 w 3900488"/>
                    <a:gd name="connsiteY1" fmla="*/ 1026716 h 4760516"/>
                    <a:gd name="connsiteX2" fmla="*/ 3167063 w 3900488"/>
                    <a:gd name="connsiteY2" fmla="*/ 1369616 h 4760516"/>
                    <a:gd name="connsiteX3" fmla="*/ 3252788 w 3900488"/>
                    <a:gd name="connsiteY3" fmla="*/ 1822054 h 4760516"/>
                    <a:gd name="connsiteX4" fmla="*/ 3281363 w 3900488"/>
                    <a:gd name="connsiteY4" fmla="*/ 2255441 h 4760516"/>
                    <a:gd name="connsiteX5" fmla="*/ 3271838 w 3900488"/>
                    <a:gd name="connsiteY5" fmla="*/ 2526904 h 4760516"/>
                    <a:gd name="connsiteX6" fmla="*/ 3190875 w 3900488"/>
                    <a:gd name="connsiteY6" fmla="*/ 2722166 h 4760516"/>
                    <a:gd name="connsiteX7" fmla="*/ 3043238 w 3900488"/>
                    <a:gd name="connsiteY7" fmla="*/ 2750741 h 4760516"/>
                    <a:gd name="connsiteX8" fmla="*/ 2809875 w 3900488"/>
                    <a:gd name="connsiteY8" fmla="*/ 2731691 h 4760516"/>
                    <a:gd name="connsiteX9" fmla="*/ 2633663 w 3900488"/>
                    <a:gd name="connsiteY9" fmla="*/ 2669779 h 4760516"/>
                    <a:gd name="connsiteX10" fmla="*/ 2657475 w 3900488"/>
                    <a:gd name="connsiteY10" fmla="*/ 2603104 h 4760516"/>
                    <a:gd name="connsiteX11" fmla="*/ 2752725 w 3900488"/>
                    <a:gd name="connsiteY11" fmla="*/ 2474516 h 4760516"/>
                    <a:gd name="connsiteX12" fmla="*/ 2843213 w 3900488"/>
                    <a:gd name="connsiteY12" fmla="*/ 2255441 h 4760516"/>
                    <a:gd name="connsiteX13" fmla="*/ 2862263 w 3900488"/>
                    <a:gd name="connsiteY13" fmla="*/ 2160191 h 4760516"/>
                    <a:gd name="connsiteX14" fmla="*/ 2919413 w 3900488"/>
                    <a:gd name="connsiteY14" fmla="*/ 2098279 h 4760516"/>
                    <a:gd name="connsiteX15" fmla="*/ 3000375 w 3900488"/>
                    <a:gd name="connsiteY15" fmla="*/ 1855391 h 4760516"/>
                    <a:gd name="connsiteX16" fmla="*/ 3057525 w 3900488"/>
                    <a:gd name="connsiteY16" fmla="*/ 1598216 h 4760516"/>
                    <a:gd name="connsiteX17" fmla="*/ 3062288 w 3900488"/>
                    <a:gd name="connsiteY17" fmla="*/ 1483916 h 4760516"/>
                    <a:gd name="connsiteX18" fmla="*/ 3009900 w 3900488"/>
                    <a:gd name="connsiteY18" fmla="*/ 1379141 h 4760516"/>
                    <a:gd name="connsiteX19" fmla="*/ 2957513 w 3900488"/>
                    <a:gd name="connsiteY19" fmla="*/ 1331516 h 4760516"/>
                    <a:gd name="connsiteX20" fmla="*/ 2947988 w 3900488"/>
                    <a:gd name="connsiteY20" fmla="*/ 1236266 h 4760516"/>
                    <a:gd name="connsiteX21" fmla="*/ 2957513 w 3900488"/>
                    <a:gd name="connsiteY21" fmla="*/ 1121966 h 4760516"/>
                    <a:gd name="connsiteX22" fmla="*/ 3005138 w 3900488"/>
                    <a:gd name="connsiteY22" fmla="*/ 1050529 h 4760516"/>
                    <a:gd name="connsiteX23" fmla="*/ 3060949 w 3900488"/>
                    <a:gd name="connsiteY23" fmla="*/ 1005769 h 4760516"/>
                    <a:gd name="connsiteX24" fmla="*/ 1813321 w 3900488"/>
                    <a:gd name="connsiteY24" fmla="*/ 0 h 4760516"/>
                    <a:gd name="connsiteX25" fmla="*/ 1955799 w 3900488"/>
                    <a:gd name="connsiteY25" fmla="*/ 1191 h 4760516"/>
                    <a:gd name="connsiteX26" fmla="*/ 2152649 w 3900488"/>
                    <a:gd name="connsiteY26" fmla="*/ 20241 h 4760516"/>
                    <a:gd name="connsiteX27" fmla="*/ 2381249 w 3900488"/>
                    <a:gd name="connsiteY27" fmla="*/ 121841 h 4760516"/>
                    <a:gd name="connsiteX28" fmla="*/ 2641599 w 3900488"/>
                    <a:gd name="connsiteY28" fmla="*/ 331391 h 4760516"/>
                    <a:gd name="connsiteX29" fmla="*/ 2946399 w 3900488"/>
                    <a:gd name="connsiteY29" fmla="*/ 693341 h 4760516"/>
                    <a:gd name="connsiteX30" fmla="*/ 3060699 w 3900488"/>
                    <a:gd name="connsiteY30" fmla="*/ 883841 h 4760516"/>
                    <a:gd name="connsiteX31" fmla="*/ 3009899 w 3900488"/>
                    <a:gd name="connsiteY31" fmla="*/ 1004491 h 4760516"/>
                    <a:gd name="connsiteX32" fmla="*/ 2901949 w 3900488"/>
                    <a:gd name="connsiteY32" fmla="*/ 1061641 h 4760516"/>
                    <a:gd name="connsiteX33" fmla="*/ 2825749 w 3900488"/>
                    <a:gd name="connsiteY33" fmla="*/ 998141 h 4760516"/>
                    <a:gd name="connsiteX34" fmla="*/ 2654299 w 3900488"/>
                    <a:gd name="connsiteY34" fmla="*/ 820341 h 4760516"/>
                    <a:gd name="connsiteX35" fmla="*/ 2349499 w 3900488"/>
                    <a:gd name="connsiteY35" fmla="*/ 674291 h 4760516"/>
                    <a:gd name="connsiteX36" fmla="*/ 2019299 w 3900488"/>
                    <a:gd name="connsiteY36" fmla="*/ 674291 h 4760516"/>
                    <a:gd name="connsiteX37" fmla="*/ 2343149 w 3900488"/>
                    <a:gd name="connsiteY37" fmla="*/ 769541 h 4760516"/>
                    <a:gd name="connsiteX38" fmla="*/ 2552699 w 3900488"/>
                    <a:gd name="connsiteY38" fmla="*/ 909241 h 4760516"/>
                    <a:gd name="connsiteX39" fmla="*/ 2629040 w 3900488"/>
                    <a:gd name="connsiteY39" fmla="*/ 973620 h 4760516"/>
                    <a:gd name="connsiteX40" fmla="*/ 2900212 w 3900488"/>
                    <a:gd name="connsiteY40" fmla="*/ 1067700 h 4760516"/>
                    <a:gd name="connsiteX41" fmla="*/ 2829545 w 3900488"/>
                    <a:gd name="connsiteY41" fmla="*/ 1212445 h 4760516"/>
                    <a:gd name="connsiteX42" fmla="*/ 2829545 w 3900488"/>
                    <a:gd name="connsiteY42" fmla="*/ 1445256 h 4760516"/>
                    <a:gd name="connsiteX43" fmla="*/ 2938456 w 3900488"/>
                    <a:gd name="connsiteY43" fmla="*/ 1531580 h 4760516"/>
                    <a:gd name="connsiteX44" fmla="*/ 2822442 w 3900488"/>
                    <a:gd name="connsiteY44" fmla="*/ 2041674 h 4760516"/>
                    <a:gd name="connsiteX45" fmla="*/ 2756148 w 3900488"/>
                    <a:gd name="connsiteY45" fmla="*/ 2086142 h 4760516"/>
                    <a:gd name="connsiteX46" fmla="*/ 2479547 w 3900488"/>
                    <a:gd name="connsiteY46" fmla="*/ 2698176 h 4760516"/>
                    <a:gd name="connsiteX47" fmla="*/ 2528888 w 3900488"/>
                    <a:gd name="connsiteY47" fmla="*/ 2817416 h 4760516"/>
                    <a:gd name="connsiteX48" fmla="*/ 2590800 w 3900488"/>
                    <a:gd name="connsiteY48" fmla="*/ 2874566 h 4760516"/>
                    <a:gd name="connsiteX49" fmla="*/ 2657475 w 3900488"/>
                    <a:gd name="connsiteY49" fmla="*/ 2884091 h 4760516"/>
                    <a:gd name="connsiteX50" fmla="*/ 2681288 w 3900488"/>
                    <a:gd name="connsiteY50" fmla="*/ 2912666 h 4760516"/>
                    <a:gd name="connsiteX51" fmla="*/ 2747963 w 3900488"/>
                    <a:gd name="connsiteY51" fmla="*/ 3079354 h 4760516"/>
                    <a:gd name="connsiteX52" fmla="*/ 2843213 w 3900488"/>
                    <a:gd name="connsiteY52" fmla="*/ 3174604 h 4760516"/>
                    <a:gd name="connsiteX53" fmla="*/ 2938463 w 3900488"/>
                    <a:gd name="connsiteY53" fmla="*/ 3207941 h 4760516"/>
                    <a:gd name="connsiteX54" fmla="*/ 3281363 w 3900488"/>
                    <a:gd name="connsiteY54" fmla="*/ 3317479 h 4760516"/>
                    <a:gd name="connsiteX55" fmla="*/ 3657600 w 3900488"/>
                    <a:gd name="connsiteY55" fmla="*/ 3493691 h 4760516"/>
                    <a:gd name="connsiteX56" fmla="*/ 3867150 w 3900488"/>
                    <a:gd name="connsiteY56" fmla="*/ 3641329 h 4760516"/>
                    <a:gd name="connsiteX57" fmla="*/ 3900488 w 3900488"/>
                    <a:gd name="connsiteY57" fmla="*/ 3769916 h 4760516"/>
                    <a:gd name="connsiteX58" fmla="*/ 3876675 w 3900488"/>
                    <a:gd name="connsiteY58" fmla="*/ 4027091 h 4760516"/>
                    <a:gd name="connsiteX59" fmla="*/ 3790950 w 3900488"/>
                    <a:gd name="connsiteY59" fmla="*/ 4236641 h 4760516"/>
                    <a:gd name="connsiteX60" fmla="*/ 3619500 w 3900488"/>
                    <a:gd name="connsiteY60" fmla="*/ 4598591 h 4760516"/>
                    <a:gd name="connsiteX61" fmla="*/ 3471863 w 3900488"/>
                    <a:gd name="connsiteY61" fmla="*/ 4760516 h 4760516"/>
                    <a:gd name="connsiteX62" fmla="*/ 338138 w 3900488"/>
                    <a:gd name="connsiteY62" fmla="*/ 4760516 h 4760516"/>
                    <a:gd name="connsiteX63" fmla="*/ 161925 w 3900488"/>
                    <a:gd name="connsiteY63" fmla="*/ 4436666 h 4760516"/>
                    <a:gd name="connsiteX64" fmla="*/ 57150 w 3900488"/>
                    <a:gd name="connsiteY64" fmla="*/ 4141391 h 4760516"/>
                    <a:gd name="connsiteX65" fmla="*/ 0 w 3900488"/>
                    <a:gd name="connsiteY65" fmla="*/ 3855641 h 4760516"/>
                    <a:gd name="connsiteX66" fmla="*/ 23813 w 3900488"/>
                    <a:gd name="connsiteY66" fmla="*/ 3703241 h 4760516"/>
                    <a:gd name="connsiteX67" fmla="*/ 219075 w 3900488"/>
                    <a:gd name="connsiteY67" fmla="*/ 3584179 h 4760516"/>
                    <a:gd name="connsiteX68" fmla="*/ 533400 w 3900488"/>
                    <a:gd name="connsiteY68" fmla="*/ 3450829 h 4760516"/>
                    <a:gd name="connsiteX69" fmla="*/ 933450 w 3900488"/>
                    <a:gd name="connsiteY69" fmla="*/ 3293666 h 4760516"/>
                    <a:gd name="connsiteX70" fmla="*/ 1133475 w 3900488"/>
                    <a:gd name="connsiteY70" fmla="*/ 3217466 h 4760516"/>
                    <a:gd name="connsiteX71" fmla="*/ 1276350 w 3900488"/>
                    <a:gd name="connsiteY71" fmla="*/ 2950766 h 4760516"/>
                    <a:gd name="connsiteX72" fmla="*/ 1371600 w 3900488"/>
                    <a:gd name="connsiteY72" fmla="*/ 2888854 h 4760516"/>
                    <a:gd name="connsiteX73" fmla="*/ 1443038 w 3900488"/>
                    <a:gd name="connsiteY73" fmla="*/ 2750741 h 4760516"/>
                    <a:gd name="connsiteX74" fmla="*/ 1428750 w 3900488"/>
                    <a:gd name="connsiteY74" fmla="*/ 2665016 h 4760516"/>
                    <a:gd name="connsiteX75" fmla="*/ 1432339 w 3900488"/>
                    <a:gd name="connsiteY75" fmla="*/ 2655556 h 4760516"/>
                    <a:gd name="connsiteX76" fmla="*/ 1411332 w 3900488"/>
                    <a:gd name="connsiteY76" fmla="*/ 2630242 h 4760516"/>
                    <a:gd name="connsiteX77" fmla="*/ 1169833 w 3900488"/>
                    <a:gd name="connsiteY77" fmla="*/ 2059985 h 4760516"/>
                    <a:gd name="connsiteX78" fmla="*/ 975688 w 3900488"/>
                    <a:gd name="connsiteY78" fmla="*/ 1612672 h 4760516"/>
                    <a:gd name="connsiteX79" fmla="*/ 1051451 w 3900488"/>
                    <a:gd name="connsiteY79" fmla="*/ 1487109 h 4760516"/>
                    <a:gd name="connsiteX80" fmla="*/ 1016847 w 3900488"/>
                    <a:gd name="connsiteY80" fmla="*/ 1277790 h 4760516"/>
                    <a:gd name="connsiteX81" fmla="*/ 933449 w 3900488"/>
                    <a:gd name="connsiteY81" fmla="*/ 1341041 h 4760516"/>
                    <a:gd name="connsiteX82" fmla="*/ 882649 w 3900488"/>
                    <a:gd name="connsiteY82" fmla="*/ 1404541 h 4760516"/>
                    <a:gd name="connsiteX83" fmla="*/ 838199 w 3900488"/>
                    <a:gd name="connsiteY83" fmla="*/ 1525191 h 4760516"/>
                    <a:gd name="connsiteX84" fmla="*/ 857249 w 3900488"/>
                    <a:gd name="connsiteY84" fmla="*/ 1645841 h 4760516"/>
                    <a:gd name="connsiteX85" fmla="*/ 888999 w 3900488"/>
                    <a:gd name="connsiteY85" fmla="*/ 1829991 h 4760516"/>
                    <a:gd name="connsiteX86" fmla="*/ 965199 w 3900488"/>
                    <a:gd name="connsiteY86" fmla="*/ 2128441 h 4760516"/>
                    <a:gd name="connsiteX87" fmla="*/ 1047749 w 3900488"/>
                    <a:gd name="connsiteY87" fmla="*/ 2198291 h 4760516"/>
                    <a:gd name="connsiteX88" fmla="*/ 1098549 w 3900488"/>
                    <a:gd name="connsiteY88" fmla="*/ 2331641 h 4760516"/>
                    <a:gd name="connsiteX89" fmla="*/ 1219199 w 3900488"/>
                    <a:gd name="connsiteY89" fmla="*/ 2566591 h 4760516"/>
                    <a:gd name="connsiteX90" fmla="*/ 1269999 w 3900488"/>
                    <a:gd name="connsiteY90" fmla="*/ 2712641 h 4760516"/>
                    <a:gd name="connsiteX91" fmla="*/ 1130299 w 3900488"/>
                    <a:gd name="connsiteY91" fmla="*/ 2750741 h 4760516"/>
                    <a:gd name="connsiteX92" fmla="*/ 927099 w 3900488"/>
                    <a:gd name="connsiteY92" fmla="*/ 2776141 h 4760516"/>
                    <a:gd name="connsiteX93" fmla="*/ 742949 w 3900488"/>
                    <a:gd name="connsiteY93" fmla="*/ 2731691 h 4760516"/>
                    <a:gd name="connsiteX94" fmla="*/ 660399 w 3900488"/>
                    <a:gd name="connsiteY94" fmla="*/ 2591991 h 4760516"/>
                    <a:gd name="connsiteX95" fmla="*/ 622299 w 3900488"/>
                    <a:gd name="connsiteY95" fmla="*/ 2344341 h 4760516"/>
                    <a:gd name="connsiteX96" fmla="*/ 634999 w 3900488"/>
                    <a:gd name="connsiteY96" fmla="*/ 2020491 h 4760516"/>
                    <a:gd name="connsiteX97" fmla="*/ 736599 w 3900488"/>
                    <a:gd name="connsiteY97" fmla="*/ 1328341 h 4760516"/>
                    <a:gd name="connsiteX98" fmla="*/ 971549 w 3900488"/>
                    <a:gd name="connsiteY98" fmla="*/ 623491 h 4760516"/>
                    <a:gd name="connsiteX99" fmla="*/ 1168399 w 3900488"/>
                    <a:gd name="connsiteY99" fmla="*/ 299641 h 4760516"/>
                    <a:gd name="connsiteX100" fmla="*/ 1358899 w 3900488"/>
                    <a:gd name="connsiteY100" fmla="*/ 140891 h 4760516"/>
                    <a:gd name="connsiteX101" fmla="*/ 1530349 w 3900488"/>
                    <a:gd name="connsiteY101" fmla="*/ 115491 h 4760516"/>
                    <a:gd name="connsiteX102" fmla="*/ 1676399 w 3900488"/>
                    <a:gd name="connsiteY102" fmla="*/ 13891 h 4760516"/>
                    <a:gd name="connsiteX103" fmla="*/ 1813321 w 3900488"/>
                    <a:gd name="connsiteY103" fmla="*/ 0 h 4760516"/>
                    <a:gd name="connsiteX0" fmla="*/ 3061653 w 3901192"/>
                    <a:gd name="connsiteY0" fmla="*/ 1005769 h 4760516"/>
                    <a:gd name="connsiteX1" fmla="*/ 3082042 w 3901192"/>
                    <a:gd name="connsiteY1" fmla="*/ 1026716 h 4760516"/>
                    <a:gd name="connsiteX2" fmla="*/ 3167767 w 3901192"/>
                    <a:gd name="connsiteY2" fmla="*/ 1369616 h 4760516"/>
                    <a:gd name="connsiteX3" fmla="*/ 3253492 w 3901192"/>
                    <a:gd name="connsiteY3" fmla="*/ 1822054 h 4760516"/>
                    <a:gd name="connsiteX4" fmla="*/ 3282067 w 3901192"/>
                    <a:gd name="connsiteY4" fmla="*/ 2255441 h 4760516"/>
                    <a:gd name="connsiteX5" fmla="*/ 3272542 w 3901192"/>
                    <a:gd name="connsiteY5" fmla="*/ 2526904 h 4760516"/>
                    <a:gd name="connsiteX6" fmla="*/ 3191579 w 3901192"/>
                    <a:gd name="connsiteY6" fmla="*/ 2722166 h 4760516"/>
                    <a:gd name="connsiteX7" fmla="*/ 3043942 w 3901192"/>
                    <a:gd name="connsiteY7" fmla="*/ 2750741 h 4760516"/>
                    <a:gd name="connsiteX8" fmla="*/ 2810579 w 3901192"/>
                    <a:gd name="connsiteY8" fmla="*/ 2731691 h 4760516"/>
                    <a:gd name="connsiteX9" fmla="*/ 2634367 w 3901192"/>
                    <a:gd name="connsiteY9" fmla="*/ 2669779 h 4760516"/>
                    <a:gd name="connsiteX10" fmla="*/ 2658179 w 3901192"/>
                    <a:gd name="connsiteY10" fmla="*/ 2603104 h 4760516"/>
                    <a:gd name="connsiteX11" fmla="*/ 2753429 w 3901192"/>
                    <a:gd name="connsiteY11" fmla="*/ 2474516 h 4760516"/>
                    <a:gd name="connsiteX12" fmla="*/ 2843917 w 3901192"/>
                    <a:gd name="connsiteY12" fmla="*/ 2255441 h 4760516"/>
                    <a:gd name="connsiteX13" fmla="*/ 2862967 w 3901192"/>
                    <a:gd name="connsiteY13" fmla="*/ 2160191 h 4760516"/>
                    <a:gd name="connsiteX14" fmla="*/ 2920117 w 3901192"/>
                    <a:gd name="connsiteY14" fmla="*/ 2098279 h 4760516"/>
                    <a:gd name="connsiteX15" fmla="*/ 3001079 w 3901192"/>
                    <a:gd name="connsiteY15" fmla="*/ 1855391 h 4760516"/>
                    <a:gd name="connsiteX16" fmla="*/ 3058229 w 3901192"/>
                    <a:gd name="connsiteY16" fmla="*/ 1598216 h 4760516"/>
                    <a:gd name="connsiteX17" fmla="*/ 3062992 w 3901192"/>
                    <a:gd name="connsiteY17" fmla="*/ 1483916 h 4760516"/>
                    <a:gd name="connsiteX18" fmla="*/ 3010604 w 3901192"/>
                    <a:gd name="connsiteY18" fmla="*/ 1379141 h 4760516"/>
                    <a:gd name="connsiteX19" fmla="*/ 2958217 w 3901192"/>
                    <a:gd name="connsiteY19" fmla="*/ 1331516 h 4760516"/>
                    <a:gd name="connsiteX20" fmla="*/ 2948692 w 3901192"/>
                    <a:gd name="connsiteY20" fmla="*/ 1236266 h 4760516"/>
                    <a:gd name="connsiteX21" fmla="*/ 2958217 w 3901192"/>
                    <a:gd name="connsiteY21" fmla="*/ 1121966 h 4760516"/>
                    <a:gd name="connsiteX22" fmla="*/ 3005842 w 3901192"/>
                    <a:gd name="connsiteY22" fmla="*/ 1050529 h 4760516"/>
                    <a:gd name="connsiteX23" fmla="*/ 3061653 w 3901192"/>
                    <a:gd name="connsiteY23" fmla="*/ 1005769 h 4760516"/>
                    <a:gd name="connsiteX24" fmla="*/ 1814025 w 3901192"/>
                    <a:gd name="connsiteY24" fmla="*/ 0 h 4760516"/>
                    <a:gd name="connsiteX25" fmla="*/ 1956503 w 3901192"/>
                    <a:gd name="connsiteY25" fmla="*/ 1191 h 4760516"/>
                    <a:gd name="connsiteX26" fmla="*/ 2153353 w 3901192"/>
                    <a:gd name="connsiteY26" fmla="*/ 20241 h 4760516"/>
                    <a:gd name="connsiteX27" fmla="*/ 2381953 w 3901192"/>
                    <a:gd name="connsiteY27" fmla="*/ 121841 h 4760516"/>
                    <a:gd name="connsiteX28" fmla="*/ 2642303 w 3901192"/>
                    <a:gd name="connsiteY28" fmla="*/ 331391 h 4760516"/>
                    <a:gd name="connsiteX29" fmla="*/ 2947103 w 3901192"/>
                    <a:gd name="connsiteY29" fmla="*/ 693341 h 4760516"/>
                    <a:gd name="connsiteX30" fmla="*/ 3061403 w 3901192"/>
                    <a:gd name="connsiteY30" fmla="*/ 883841 h 4760516"/>
                    <a:gd name="connsiteX31" fmla="*/ 3010603 w 3901192"/>
                    <a:gd name="connsiteY31" fmla="*/ 1004491 h 4760516"/>
                    <a:gd name="connsiteX32" fmla="*/ 2902653 w 3901192"/>
                    <a:gd name="connsiteY32" fmla="*/ 1061641 h 4760516"/>
                    <a:gd name="connsiteX33" fmla="*/ 2826453 w 3901192"/>
                    <a:gd name="connsiteY33" fmla="*/ 998141 h 4760516"/>
                    <a:gd name="connsiteX34" fmla="*/ 2655003 w 3901192"/>
                    <a:gd name="connsiteY34" fmla="*/ 820341 h 4760516"/>
                    <a:gd name="connsiteX35" fmla="*/ 2350203 w 3901192"/>
                    <a:gd name="connsiteY35" fmla="*/ 674291 h 4760516"/>
                    <a:gd name="connsiteX36" fmla="*/ 2020003 w 3901192"/>
                    <a:gd name="connsiteY36" fmla="*/ 674291 h 4760516"/>
                    <a:gd name="connsiteX37" fmla="*/ 2343853 w 3901192"/>
                    <a:gd name="connsiteY37" fmla="*/ 769541 h 4760516"/>
                    <a:gd name="connsiteX38" fmla="*/ 2553403 w 3901192"/>
                    <a:gd name="connsiteY38" fmla="*/ 909241 h 4760516"/>
                    <a:gd name="connsiteX39" fmla="*/ 2629744 w 3901192"/>
                    <a:gd name="connsiteY39" fmla="*/ 973620 h 4760516"/>
                    <a:gd name="connsiteX40" fmla="*/ 2900916 w 3901192"/>
                    <a:gd name="connsiteY40" fmla="*/ 1067700 h 4760516"/>
                    <a:gd name="connsiteX41" fmla="*/ 2830249 w 3901192"/>
                    <a:gd name="connsiteY41" fmla="*/ 1212445 h 4760516"/>
                    <a:gd name="connsiteX42" fmla="*/ 2830249 w 3901192"/>
                    <a:gd name="connsiteY42" fmla="*/ 1445256 h 4760516"/>
                    <a:gd name="connsiteX43" fmla="*/ 2939160 w 3901192"/>
                    <a:gd name="connsiteY43" fmla="*/ 1531580 h 4760516"/>
                    <a:gd name="connsiteX44" fmla="*/ 2823146 w 3901192"/>
                    <a:gd name="connsiteY44" fmla="*/ 2041674 h 4760516"/>
                    <a:gd name="connsiteX45" fmla="*/ 2756852 w 3901192"/>
                    <a:gd name="connsiteY45" fmla="*/ 2086142 h 4760516"/>
                    <a:gd name="connsiteX46" fmla="*/ 2480251 w 3901192"/>
                    <a:gd name="connsiteY46" fmla="*/ 2698176 h 4760516"/>
                    <a:gd name="connsiteX47" fmla="*/ 2529592 w 3901192"/>
                    <a:gd name="connsiteY47" fmla="*/ 2817416 h 4760516"/>
                    <a:gd name="connsiteX48" fmla="*/ 2591504 w 3901192"/>
                    <a:gd name="connsiteY48" fmla="*/ 2874566 h 4760516"/>
                    <a:gd name="connsiteX49" fmla="*/ 2658179 w 3901192"/>
                    <a:gd name="connsiteY49" fmla="*/ 2884091 h 4760516"/>
                    <a:gd name="connsiteX50" fmla="*/ 2681992 w 3901192"/>
                    <a:gd name="connsiteY50" fmla="*/ 2912666 h 4760516"/>
                    <a:gd name="connsiteX51" fmla="*/ 2748667 w 3901192"/>
                    <a:gd name="connsiteY51" fmla="*/ 3079354 h 4760516"/>
                    <a:gd name="connsiteX52" fmla="*/ 2843917 w 3901192"/>
                    <a:gd name="connsiteY52" fmla="*/ 3174604 h 4760516"/>
                    <a:gd name="connsiteX53" fmla="*/ 2939167 w 3901192"/>
                    <a:gd name="connsiteY53" fmla="*/ 3207941 h 4760516"/>
                    <a:gd name="connsiteX54" fmla="*/ 3282067 w 3901192"/>
                    <a:gd name="connsiteY54" fmla="*/ 3317479 h 4760516"/>
                    <a:gd name="connsiteX55" fmla="*/ 3658304 w 3901192"/>
                    <a:gd name="connsiteY55" fmla="*/ 3493691 h 4760516"/>
                    <a:gd name="connsiteX56" fmla="*/ 3867854 w 3901192"/>
                    <a:gd name="connsiteY56" fmla="*/ 3641329 h 4760516"/>
                    <a:gd name="connsiteX57" fmla="*/ 3901192 w 3901192"/>
                    <a:gd name="connsiteY57" fmla="*/ 3769916 h 4760516"/>
                    <a:gd name="connsiteX58" fmla="*/ 3877379 w 3901192"/>
                    <a:gd name="connsiteY58" fmla="*/ 4027091 h 4760516"/>
                    <a:gd name="connsiteX59" fmla="*/ 3791654 w 3901192"/>
                    <a:gd name="connsiteY59" fmla="*/ 4236641 h 4760516"/>
                    <a:gd name="connsiteX60" fmla="*/ 3620204 w 3901192"/>
                    <a:gd name="connsiteY60" fmla="*/ 4598591 h 4760516"/>
                    <a:gd name="connsiteX61" fmla="*/ 3472567 w 3901192"/>
                    <a:gd name="connsiteY61" fmla="*/ 4760516 h 4760516"/>
                    <a:gd name="connsiteX62" fmla="*/ 338842 w 3901192"/>
                    <a:gd name="connsiteY62" fmla="*/ 4760516 h 4760516"/>
                    <a:gd name="connsiteX63" fmla="*/ 162629 w 3901192"/>
                    <a:gd name="connsiteY63" fmla="*/ 4436666 h 4760516"/>
                    <a:gd name="connsiteX64" fmla="*/ 57854 w 3901192"/>
                    <a:gd name="connsiteY64" fmla="*/ 4141391 h 4760516"/>
                    <a:gd name="connsiteX65" fmla="*/ 704 w 3901192"/>
                    <a:gd name="connsiteY65" fmla="*/ 3855641 h 4760516"/>
                    <a:gd name="connsiteX66" fmla="*/ 24517 w 3901192"/>
                    <a:gd name="connsiteY66" fmla="*/ 3703241 h 4760516"/>
                    <a:gd name="connsiteX67" fmla="*/ 219779 w 3901192"/>
                    <a:gd name="connsiteY67" fmla="*/ 3584179 h 4760516"/>
                    <a:gd name="connsiteX68" fmla="*/ 534104 w 3901192"/>
                    <a:gd name="connsiteY68" fmla="*/ 3450829 h 4760516"/>
                    <a:gd name="connsiteX69" fmla="*/ 934154 w 3901192"/>
                    <a:gd name="connsiteY69" fmla="*/ 3293666 h 4760516"/>
                    <a:gd name="connsiteX70" fmla="*/ 1134179 w 3901192"/>
                    <a:gd name="connsiteY70" fmla="*/ 3217466 h 4760516"/>
                    <a:gd name="connsiteX71" fmla="*/ 1277054 w 3901192"/>
                    <a:gd name="connsiteY71" fmla="*/ 2950766 h 4760516"/>
                    <a:gd name="connsiteX72" fmla="*/ 1372304 w 3901192"/>
                    <a:gd name="connsiteY72" fmla="*/ 2888854 h 4760516"/>
                    <a:gd name="connsiteX73" fmla="*/ 1443742 w 3901192"/>
                    <a:gd name="connsiteY73" fmla="*/ 2750741 h 4760516"/>
                    <a:gd name="connsiteX74" fmla="*/ 1429454 w 3901192"/>
                    <a:gd name="connsiteY74" fmla="*/ 2665016 h 4760516"/>
                    <a:gd name="connsiteX75" fmla="*/ 1433043 w 3901192"/>
                    <a:gd name="connsiteY75" fmla="*/ 2655556 h 4760516"/>
                    <a:gd name="connsiteX76" fmla="*/ 1412036 w 3901192"/>
                    <a:gd name="connsiteY76" fmla="*/ 2630242 h 4760516"/>
                    <a:gd name="connsiteX77" fmla="*/ 1170537 w 3901192"/>
                    <a:gd name="connsiteY77" fmla="*/ 2059985 h 4760516"/>
                    <a:gd name="connsiteX78" fmla="*/ 976392 w 3901192"/>
                    <a:gd name="connsiteY78" fmla="*/ 1612672 h 4760516"/>
                    <a:gd name="connsiteX79" fmla="*/ 1052155 w 3901192"/>
                    <a:gd name="connsiteY79" fmla="*/ 1487109 h 4760516"/>
                    <a:gd name="connsiteX80" fmla="*/ 1017551 w 3901192"/>
                    <a:gd name="connsiteY80" fmla="*/ 1277790 h 4760516"/>
                    <a:gd name="connsiteX81" fmla="*/ 934153 w 3901192"/>
                    <a:gd name="connsiteY81" fmla="*/ 1341041 h 4760516"/>
                    <a:gd name="connsiteX82" fmla="*/ 883353 w 3901192"/>
                    <a:gd name="connsiteY82" fmla="*/ 1404541 h 4760516"/>
                    <a:gd name="connsiteX83" fmla="*/ 838903 w 3901192"/>
                    <a:gd name="connsiteY83" fmla="*/ 1525191 h 4760516"/>
                    <a:gd name="connsiteX84" fmla="*/ 857953 w 3901192"/>
                    <a:gd name="connsiteY84" fmla="*/ 1645841 h 4760516"/>
                    <a:gd name="connsiteX85" fmla="*/ 889703 w 3901192"/>
                    <a:gd name="connsiteY85" fmla="*/ 1829991 h 4760516"/>
                    <a:gd name="connsiteX86" fmla="*/ 965903 w 3901192"/>
                    <a:gd name="connsiteY86" fmla="*/ 2128441 h 4760516"/>
                    <a:gd name="connsiteX87" fmla="*/ 1048453 w 3901192"/>
                    <a:gd name="connsiteY87" fmla="*/ 2198291 h 4760516"/>
                    <a:gd name="connsiteX88" fmla="*/ 1099253 w 3901192"/>
                    <a:gd name="connsiteY88" fmla="*/ 2331641 h 4760516"/>
                    <a:gd name="connsiteX89" fmla="*/ 1219903 w 3901192"/>
                    <a:gd name="connsiteY89" fmla="*/ 2566591 h 4760516"/>
                    <a:gd name="connsiteX90" fmla="*/ 1270703 w 3901192"/>
                    <a:gd name="connsiteY90" fmla="*/ 2712641 h 4760516"/>
                    <a:gd name="connsiteX91" fmla="*/ 1131003 w 3901192"/>
                    <a:gd name="connsiteY91" fmla="*/ 2750741 h 4760516"/>
                    <a:gd name="connsiteX92" fmla="*/ 927803 w 3901192"/>
                    <a:gd name="connsiteY92" fmla="*/ 2776141 h 4760516"/>
                    <a:gd name="connsiteX93" fmla="*/ 743653 w 3901192"/>
                    <a:gd name="connsiteY93" fmla="*/ 2731691 h 4760516"/>
                    <a:gd name="connsiteX94" fmla="*/ 661103 w 3901192"/>
                    <a:gd name="connsiteY94" fmla="*/ 2591991 h 4760516"/>
                    <a:gd name="connsiteX95" fmla="*/ 623003 w 3901192"/>
                    <a:gd name="connsiteY95" fmla="*/ 2344341 h 4760516"/>
                    <a:gd name="connsiteX96" fmla="*/ 635703 w 3901192"/>
                    <a:gd name="connsiteY96" fmla="*/ 2020491 h 4760516"/>
                    <a:gd name="connsiteX97" fmla="*/ 737303 w 3901192"/>
                    <a:gd name="connsiteY97" fmla="*/ 1328341 h 4760516"/>
                    <a:gd name="connsiteX98" fmla="*/ 972253 w 3901192"/>
                    <a:gd name="connsiteY98" fmla="*/ 623491 h 4760516"/>
                    <a:gd name="connsiteX99" fmla="*/ 1169103 w 3901192"/>
                    <a:gd name="connsiteY99" fmla="*/ 299641 h 4760516"/>
                    <a:gd name="connsiteX100" fmla="*/ 1359603 w 3901192"/>
                    <a:gd name="connsiteY100" fmla="*/ 140891 h 4760516"/>
                    <a:gd name="connsiteX101" fmla="*/ 1531053 w 3901192"/>
                    <a:gd name="connsiteY101" fmla="*/ 115491 h 4760516"/>
                    <a:gd name="connsiteX102" fmla="*/ 1677103 w 3901192"/>
                    <a:gd name="connsiteY102" fmla="*/ 13891 h 4760516"/>
                    <a:gd name="connsiteX103" fmla="*/ 1814025 w 3901192"/>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1827"/>
                    <a:gd name="connsiteY0" fmla="*/ 1005769 h 4760516"/>
                    <a:gd name="connsiteX1" fmla="*/ 3082677 w 3901827"/>
                    <a:gd name="connsiteY1" fmla="*/ 1026716 h 4760516"/>
                    <a:gd name="connsiteX2" fmla="*/ 3168402 w 3901827"/>
                    <a:gd name="connsiteY2" fmla="*/ 1369616 h 4760516"/>
                    <a:gd name="connsiteX3" fmla="*/ 3254127 w 3901827"/>
                    <a:gd name="connsiteY3" fmla="*/ 1822054 h 4760516"/>
                    <a:gd name="connsiteX4" fmla="*/ 3282702 w 3901827"/>
                    <a:gd name="connsiteY4" fmla="*/ 2255441 h 4760516"/>
                    <a:gd name="connsiteX5" fmla="*/ 3273177 w 3901827"/>
                    <a:gd name="connsiteY5" fmla="*/ 2526904 h 4760516"/>
                    <a:gd name="connsiteX6" fmla="*/ 3192214 w 3901827"/>
                    <a:gd name="connsiteY6" fmla="*/ 2722166 h 4760516"/>
                    <a:gd name="connsiteX7" fmla="*/ 3044577 w 3901827"/>
                    <a:gd name="connsiteY7" fmla="*/ 2750741 h 4760516"/>
                    <a:gd name="connsiteX8" fmla="*/ 2811214 w 3901827"/>
                    <a:gd name="connsiteY8" fmla="*/ 2731691 h 4760516"/>
                    <a:gd name="connsiteX9" fmla="*/ 2635002 w 3901827"/>
                    <a:gd name="connsiteY9" fmla="*/ 2669779 h 4760516"/>
                    <a:gd name="connsiteX10" fmla="*/ 2658814 w 3901827"/>
                    <a:gd name="connsiteY10" fmla="*/ 2603104 h 4760516"/>
                    <a:gd name="connsiteX11" fmla="*/ 2754064 w 3901827"/>
                    <a:gd name="connsiteY11" fmla="*/ 2474516 h 4760516"/>
                    <a:gd name="connsiteX12" fmla="*/ 2844552 w 3901827"/>
                    <a:gd name="connsiteY12" fmla="*/ 2255441 h 4760516"/>
                    <a:gd name="connsiteX13" fmla="*/ 2863602 w 3901827"/>
                    <a:gd name="connsiteY13" fmla="*/ 2160191 h 4760516"/>
                    <a:gd name="connsiteX14" fmla="*/ 2920752 w 3901827"/>
                    <a:gd name="connsiteY14" fmla="*/ 2098279 h 4760516"/>
                    <a:gd name="connsiteX15" fmla="*/ 3001714 w 3901827"/>
                    <a:gd name="connsiteY15" fmla="*/ 1855391 h 4760516"/>
                    <a:gd name="connsiteX16" fmla="*/ 3058864 w 3901827"/>
                    <a:gd name="connsiteY16" fmla="*/ 1598216 h 4760516"/>
                    <a:gd name="connsiteX17" fmla="*/ 3063627 w 3901827"/>
                    <a:gd name="connsiteY17" fmla="*/ 1483916 h 4760516"/>
                    <a:gd name="connsiteX18" fmla="*/ 3011239 w 3901827"/>
                    <a:gd name="connsiteY18" fmla="*/ 1379141 h 4760516"/>
                    <a:gd name="connsiteX19" fmla="*/ 2958852 w 3901827"/>
                    <a:gd name="connsiteY19" fmla="*/ 1331516 h 4760516"/>
                    <a:gd name="connsiteX20" fmla="*/ 2949327 w 3901827"/>
                    <a:gd name="connsiteY20" fmla="*/ 1236266 h 4760516"/>
                    <a:gd name="connsiteX21" fmla="*/ 2958852 w 3901827"/>
                    <a:gd name="connsiteY21" fmla="*/ 1121966 h 4760516"/>
                    <a:gd name="connsiteX22" fmla="*/ 3006477 w 3901827"/>
                    <a:gd name="connsiteY22" fmla="*/ 1050529 h 4760516"/>
                    <a:gd name="connsiteX23" fmla="*/ 3062288 w 3901827"/>
                    <a:gd name="connsiteY23" fmla="*/ 1005769 h 4760516"/>
                    <a:gd name="connsiteX24" fmla="*/ 1814660 w 3901827"/>
                    <a:gd name="connsiteY24" fmla="*/ 0 h 4760516"/>
                    <a:gd name="connsiteX25" fmla="*/ 1957138 w 3901827"/>
                    <a:gd name="connsiteY25" fmla="*/ 1191 h 4760516"/>
                    <a:gd name="connsiteX26" fmla="*/ 2153988 w 3901827"/>
                    <a:gd name="connsiteY26" fmla="*/ 20241 h 4760516"/>
                    <a:gd name="connsiteX27" fmla="*/ 2382588 w 3901827"/>
                    <a:gd name="connsiteY27" fmla="*/ 121841 h 4760516"/>
                    <a:gd name="connsiteX28" fmla="*/ 2642938 w 3901827"/>
                    <a:gd name="connsiteY28" fmla="*/ 331391 h 4760516"/>
                    <a:gd name="connsiteX29" fmla="*/ 2947738 w 3901827"/>
                    <a:gd name="connsiteY29" fmla="*/ 693341 h 4760516"/>
                    <a:gd name="connsiteX30" fmla="*/ 3062038 w 3901827"/>
                    <a:gd name="connsiteY30" fmla="*/ 883841 h 4760516"/>
                    <a:gd name="connsiteX31" fmla="*/ 3011238 w 3901827"/>
                    <a:gd name="connsiteY31" fmla="*/ 1004491 h 4760516"/>
                    <a:gd name="connsiteX32" fmla="*/ 2903288 w 3901827"/>
                    <a:gd name="connsiteY32" fmla="*/ 1061641 h 4760516"/>
                    <a:gd name="connsiteX33" fmla="*/ 2827088 w 3901827"/>
                    <a:gd name="connsiteY33" fmla="*/ 998141 h 4760516"/>
                    <a:gd name="connsiteX34" fmla="*/ 2655638 w 3901827"/>
                    <a:gd name="connsiteY34" fmla="*/ 820341 h 4760516"/>
                    <a:gd name="connsiteX35" fmla="*/ 2350838 w 3901827"/>
                    <a:gd name="connsiteY35" fmla="*/ 674291 h 4760516"/>
                    <a:gd name="connsiteX36" fmla="*/ 2020638 w 3901827"/>
                    <a:gd name="connsiteY36" fmla="*/ 674291 h 4760516"/>
                    <a:gd name="connsiteX37" fmla="*/ 2344488 w 3901827"/>
                    <a:gd name="connsiteY37" fmla="*/ 769541 h 4760516"/>
                    <a:gd name="connsiteX38" fmla="*/ 2554038 w 3901827"/>
                    <a:gd name="connsiteY38" fmla="*/ 909241 h 4760516"/>
                    <a:gd name="connsiteX39" fmla="*/ 2630379 w 3901827"/>
                    <a:gd name="connsiteY39" fmla="*/ 973620 h 4760516"/>
                    <a:gd name="connsiteX40" fmla="*/ 2901551 w 3901827"/>
                    <a:gd name="connsiteY40" fmla="*/ 1067700 h 4760516"/>
                    <a:gd name="connsiteX41" fmla="*/ 2830884 w 3901827"/>
                    <a:gd name="connsiteY41" fmla="*/ 1212445 h 4760516"/>
                    <a:gd name="connsiteX42" fmla="*/ 2830884 w 3901827"/>
                    <a:gd name="connsiteY42" fmla="*/ 1445256 h 4760516"/>
                    <a:gd name="connsiteX43" fmla="*/ 2939795 w 3901827"/>
                    <a:gd name="connsiteY43" fmla="*/ 1531580 h 4760516"/>
                    <a:gd name="connsiteX44" fmla="*/ 2823781 w 3901827"/>
                    <a:gd name="connsiteY44" fmla="*/ 2041674 h 4760516"/>
                    <a:gd name="connsiteX45" fmla="*/ 2757487 w 3901827"/>
                    <a:gd name="connsiteY45" fmla="*/ 2086142 h 4760516"/>
                    <a:gd name="connsiteX46" fmla="*/ 2480886 w 3901827"/>
                    <a:gd name="connsiteY46" fmla="*/ 2698176 h 4760516"/>
                    <a:gd name="connsiteX47" fmla="*/ 2530227 w 3901827"/>
                    <a:gd name="connsiteY47" fmla="*/ 2817416 h 4760516"/>
                    <a:gd name="connsiteX48" fmla="*/ 2592139 w 3901827"/>
                    <a:gd name="connsiteY48" fmla="*/ 2874566 h 4760516"/>
                    <a:gd name="connsiteX49" fmla="*/ 2658814 w 3901827"/>
                    <a:gd name="connsiteY49" fmla="*/ 2884091 h 4760516"/>
                    <a:gd name="connsiteX50" fmla="*/ 2682627 w 3901827"/>
                    <a:gd name="connsiteY50" fmla="*/ 2912666 h 4760516"/>
                    <a:gd name="connsiteX51" fmla="*/ 2749302 w 3901827"/>
                    <a:gd name="connsiteY51" fmla="*/ 3079354 h 4760516"/>
                    <a:gd name="connsiteX52" fmla="*/ 2844552 w 3901827"/>
                    <a:gd name="connsiteY52" fmla="*/ 3174604 h 4760516"/>
                    <a:gd name="connsiteX53" fmla="*/ 2939802 w 3901827"/>
                    <a:gd name="connsiteY53" fmla="*/ 3207941 h 4760516"/>
                    <a:gd name="connsiteX54" fmla="*/ 3282702 w 3901827"/>
                    <a:gd name="connsiteY54" fmla="*/ 3317479 h 4760516"/>
                    <a:gd name="connsiteX55" fmla="*/ 3658939 w 3901827"/>
                    <a:gd name="connsiteY55" fmla="*/ 3493691 h 4760516"/>
                    <a:gd name="connsiteX56" fmla="*/ 3868489 w 3901827"/>
                    <a:gd name="connsiteY56" fmla="*/ 3641329 h 4760516"/>
                    <a:gd name="connsiteX57" fmla="*/ 3901827 w 3901827"/>
                    <a:gd name="connsiteY57" fmla="*/ 3769916 h 4760516"/>
                    <a:gd name="connsiteX58" fmla="*/ 3878014 w 3901827"/>
                    <a:gd name="connsiteY58" fmla="*/ 4027091 h 4760516"/>
                    <a:gd name="connsiteX59" fmla="*/ 3792289 w 3901827"/>
                    <a:gd name="connsiteY59" fmla="*/ 4236641 h 4760516"/>
                    <a:gd name="connsiteX60" fmla="*/ 3620839 w 3901827"/>
                    <a:gd name="connsiteY60" fmla="*/ 4598591 h 4760516"/>
                    <a:gd name="connsiteX61" fmla="*/ 3473202 w 3901827"/>
                    <a:gd name="connsiteY61" fmla="*/ 4760516 h 4760516"/>
                    <a:gd name="connsiteX62" fmla="*/ 339477 w 3901827"/>
                    <a:gd name="connsiteY62" fmla="*/ 4760516 h 4760516"/>
                    <a:gd name="connsiteX63" fmla="*/ 163264 w 3901827"/>
                    <a:gd name="connsiteY63" fmla="*/ 4436666 h 4760516"/>
                    <a:gd name="connsiteX64" fmla="*/ 58489 w 3901827"/>
                    <a:gd name="connsiteY64" fmla="*/ 4141391 h 4760516"/>
                    <a:gd name="connsiteX65" fmla="*/ 1339 w 3901827"/>
                    <a:gd name="connsiteY65" fmla="*/ 3855641 h 4760516"/>
                    <a:gd name="connsiteX66" fmla="*/ 25152 w 3901827"/>
                    <a:gd name="connsiteY66" fmla="*/ 3703241 h 4760516"/>
                    <a:gd name="connsiteX67" fmla="*/ 220414 w 3901827"/>
                    <a:gd name="connsiteY67" fmla="*/ 3584179 h 4760516"/>
                    <a:gd name="connsiteX68" fmla="*/ 534739 w 3901827"/>
                    <a:gd name="connsiteY68" fmla="*/ 3450829 h 4760516"/>
                    <a:gd name="connsiteX69" fmla="*/ 934789 w 3901827"/>
                    <a:gd name="connsiteY69" fmla="*/ 3293666 h 4760516"/>
                    <a:gd name="connsiteX70" fmla="*/ 1134814 w 3901827"/>
                    <a:gd name="connsiteY70" fmla="*/ 3217466 h 4760516"/>
                    <a:gd name="connsiteX71" fmla="*/ 1277689 w 3901827"/>
                    <a:gd name="connsiteY71" fmla="*/ 2950766 h 4760516"/>
                    <a:gd name="connsiteX72" fmla="*/ 1372939 w 3901827"/>
                    <a:gd name="connsiteY72" fmla="*/ 2888854 h 4760516"/>
                    <a:gd name="connsiteX73" fmla="*/ 1444377 w 3901827"/>
                    <a:gd name="connsiteY73" fmla="*/ 2750741 h 4760516"/>
                    <a:gd name="connsiteX74" fmla="*/ 1430089 w 3901827"/>
                    <a:gd name="connsiteY74" fmla="*/ 2665016 h 4760516"/>
                    <a:gd name="connsiteX75" fmla="*/ 1433678 w 3901827"/>
                    <a:gd name="connsiteY75" fmla="*/ 2655556 h 4760516"/>
                    <a:gd name="connsiteX76" fmla="*/ 1412671 w 3901827"/>
                    <a:gd name="connsiteY76" fmla="*/ 2630242 h 4760516"/>
                    <a:gd name="connsiteX77" fmla="*/ 1171172 w 3901827"/>
                    <a:gd name="connsiteY77" fmla="*/ 2059985 h 4760516"/>
                    <a:gd name="connsiteX78" fmla="*/ 977027 w 3901827"/>
                    <a:gd name="connsiteY78" fmla="*/ 1612672 h 4760516"/>
                    <a:gd name="connsiteX79" fmla="*/ 1052790 w 3901827"/>
                    <a:gd name="connsiteY79" fmla="*/ 1487109 h 4760516"/>
                    <a:gd name="connsiteX80" fmla="*/ 1018186 w 3901827"/>
                    <a:gd name="connsiteY80" fmla="*/ 1277790 h 4760516"/>
                    <a:gd name="connsiteX81" fmla="*/ 934788 w 3901827"/>
                    <a:gd name="connsiteY81" fmla="*/ 1341041 h 4760516"/>
                    <a:gd name="connsiteX82" fmla="*/ 883988 w 3901827"/>
                    <a:gd name="connsiteY82" fmla="*/ 1404541 h 4760516"/>
                    <a:gd name="connsiteX83" fmla="*/ 839538 w 3901827"/>
                    <a:gd name="connsiteY83" fmla="*/ 1525191 h 4760516"/>
                    <a:gd name="connsiteX84" fmla="*/ 858588 w 3901827"/>
                    <a:gd name="connsiteY84" fmla="*/ 1645841 h 4760516"/>
                    <a:gd name="connsiteX85" fmla="*/ 890338 w 3901827"/>
                    <a:gd name="connsiteY85" fmla="*/ 1829991 h 4760516"/>
                    <a:gd name="connsiteX86" fmla="*/ 966538 w 3901827"/>
                    <a:gd name="connsiteY86" fmla="*/ 2128441 h 4760516"/>
                    <a:gd name="connsiteX87" fmla="*/ 1049088 w 3901827"/>
                    <a:gd name="connsiteY87" fmla="*/ 2198291 h 4760516"/>
                    <a:gd name="connsiteX88" fmla="*/ 1099888 w 3901827"/>
                    <a:gd name="connsiteY88" fmla="*/ 2331641 h 4760516"/>
                    <a:gd name="connsiteX89" fmla="*/ 1220538 w 3901827"/>
                    <a:gd name="connsiteY89" fmla="*/ 2566591 h 4760516"/>
                    <a:gd name="connsiteX90" fmla="*/ 1271338 w 3901827"/>
                    <a:gd name="connsiteY90" fmla="*/ 2712641 h 4760516"/>
                    <a:gd name="connsiteX91" fmla="*/ 1131638 w 3901827"/>
                    <a:gd name="connsiteY91" fmla="*/ 2750741 h 4760516"/>
                    <a:gd name="connsiteX92" fmla="*/ 928438 w 3901827"/>
                    <a:gd name="connsiteY92" fmla="*/ 2776141 h 4760516"/>
                    <a:gd name="connsiteX93" fmla="*/ 744288 w 3901827"/>
                    <a:gd name="connsiteY93" fmla="*/ 2731691 h 4760516"/>
                    <a:gd name="connsiteX94" fmla="*/ 661738 w 3901827"/>
                    <a:gd name="connsiteY94" fmla="*/ 2591991 h 4760516"/>
                    <a:gd name="connsiteX95" fmla="*/ 623638 w 3901827"/>
                    <a:gd name="connsiteY95" fmla="*/ 2344341 h 4760516"/>
                    <a:gd name="connsiteX96" fmla="*/ 636338 w 3901827"/>
                    <a:gd name="connsiteY96" fmla="*/ 2020491 h 4760516"/>
                    <a:gd name="connsiteX97" fmla="*/ 737938 w 3901827"/>
                    <a:gd name="connsiteY97" fmla="*/ 1328341 h 4760516"/>
                    <a:gd name="connsiteX98" fmla="*/ 972888 w 3901827"/>
                    <a:gd name="connsiteY98" fmla="*/ 623491 h 4760516"/>
                    <a:gd name="connsiteX99" fmla="*/ 1169738 w 3901827"/>
                    <a:gd name="connsiteY99" fmla="*/ 299641 h 4760516"/>
                    <a:gd name="connsiteX100" fmla="*/ 1360238 w 3901827"/>
                    <a:gd name="connsiteY100" fmla="*/ 140891 h 4760516"/>
                    <a:gd name="connsiteX101" fmla="*/ 1531688 w 3901827"/>
                    <a:gd name="connsiteY101" fmla="*/ 115491 h 4760516"/>
                    <a:gd name="connsiteX102" fmla="*/ 1677738 w 3901827"/>
                    <a:gd name="connsiteY102" fmla="*/ 13891 h 4760516"/>
                    <a:gd name="connsiteX103" fmla="*/ 1814660 w 3901827"/>
                    <a:gd name="connsiteY103" fmla="*/ 0 h 4760516"/>
                    <a:gd name="connsiteX0" fmla="*/ 3062288 w 3902384"/>
                    <a:gd name="connsiteY0" fmla="*/ 1005769 h 4760516"/>
                    <a:gd name="connsiteX1" fmla="*/ 3082677 w 3902384"/>
                    <a:gd name="connsiteY1" fmla="*/ 1026716 h 4760516"/>
                    <a:gd name="connsiteX2" fmla="*/ 3168402 w 3902384"/>
                    <a:gd name="connsiteY2" fmla="*/ 1369616 h 4760516"/>
                    <a:gd name="connsiteX3" fmla="*/ 3254127 w 3902384"/>
                    <a:gd name="connsiteY3" fmla="*/ 1822054 h 4760516"/>
                    <a:gd name="connsiteX4" fmla="*/ 3282702 w 3902384"/>
                    <a:gd name="connsiteY4" fmla="*/ 2255441 h 4760516"/>
                    <a:gd name="connsiteX5" fmla="*/ 3273177 w 3902384"/>
                    <a:gd name="connsiteY5" fmla="*/ 2526904 h 4760516"/>
                    <a:gd name="connsiteX6" fmla="*/ 3192214 w 3902384"/>
                    <a:gd name="connsiteY6" fmla="*/ 2722166 h 4760516"/>
                    <a:gd name="connsiteX7" fmla="*/ 3044577 w 3902384"/>
                    <a:gd name="connsiteY7" fmla="*/ 2750741 h 4760516"/>
                    <a:gd name="connsiteX8" fmla="*/ 2811214 w 3902384"/>
                    <a:gd name="connsiteY8" fmla="*/ 2731691 h 4760516"/>
                    <a:gd name="connsiteX9" fmla="*/ 2635002 w 3902384"/>
                    <a:gd name="connsiteY9" fmla="*/ 2669779 h 4760516"/>
                    <a:gd name="connsiteX10" fmla="*/ 2658814 w 3902384"/>
                    <a:gd name="connsiteY10" fmla="*/ 2603104 h 4760516"/>
                    <a:gd name="connsiteX11" fmla="*/ 2754064 w 3902384"/>
                    <a:gd name="connsiteY11" fmla="*/ 2474516 h 4760516"/>
                    <a:gd name="connsiteX12" fmla="*/ 2844552 w 3902384"/>
                    <a:gd name="connsiteY12" fmla="*/ 2255441 h 4760516"/>
                    <a:gd name="connsiteX13" fmla="*/ 2863602 w 3902384"/>
                    <a:gd name="connsiteY13" fmla="*/ 2160191 h 4760516"/>
                    <a:gd name="connsiteX14" fmla="*/ 2920752 w 3902384"/>
                    <a:gd name="connsiteY14" fmla="*/ 2098279 h 4760516"/>
                    <a:gd name="connsiteX15" fmla="*/ 3001714 w 3902384"/>
                    <a:gd name="connsiteY15" fmla="*/ 1855391 h 4760516"/>
                    <a:gd name="connsiteX16" fmla="*/ 3058864 w 3902384"/>
                    <a:gd name="connsiteY16" fmla="*/ 1598216 h 4760516"/>
                    <a:gd name="connsiteX17" fmla="*/ 3063627 w 3902384"/>
                    <a:gd name="connsiteY17" fmla="*/ 1483916 h 4760516"/>
                    <a:gd name="connsiteX18" fmla="*/ 3011239 w 3902384"/>
                    <a:gd name="connsiteY18" fmla="*/ 1379141 h 4760516"/>
                    <a:gd name="connsiteX19" fmla="*/ 2958852 w 3902384"/>
                    <a:gd name="connsiteY19" fmla="*/ 1331516 h 4760516"/>
                    <a:gd name="connsiteX20" fmla="*/ 2949327 w 3902384"/>
                    <a:gd name="connsiteY20" fmla="*/ 1236266 h 4760516"/>
                    <a:gd name="connsiteX21" fmla="*/ 2958852 w 3902384"/>
                    <a:gd name="connsiteY21" fmla="*/ 1121966 h 4760516"/>
                    <a:gd name="connsiteX22" fmla="*/ 3006477 w 3902384"/>
                    <a:gd name="connsiteY22" fmla="*/ 1050529 h 4760516"/>
                    <a:gd name="connsiteX23" fmla="*/ 3062288 w 3902384"/>
                    <a:gd name="connsiteY23" fmla="*/ 1005769 h 4760516"/>
                    <a:gd name="connsiteX24" fmla="*/ 1814660 w 3902384"/>
                    <a:gd name="connsiteY24" fmla="*/ 0 h 4760516"/>
                    <a:gd name="connsiteX25" fmla="*/ 1957138 w 3902384"/>
                    <a:gd name="connsiteY25" fmla="*/ 1191 h 4760516"/>
                    <a:gd name="connsiteX26" fmla="*/ 2153988 w 3902384"/>
                    <a:gd name="connsiteY26" fmla="*/ 20241 h 4760516"/>
                    <a:gd name="connsiteX27" fmla="*/ 2382588 w 3902384"/>
                    <a:gd name="connsiteY27" fmla="*/ 121841 h 4760516"/>
                    <a:gd name="connsiteX28" fmla="*/ 2642938 w 3902384"/>
                    <a:gd name="connsiteY28" fmla="*/ 331391 h 4760516"/>
                    <a:gd name="connsiteX29" fmla="*/ 2947738 w 3902384"/>
                    <a:gd name="connsiteY29" fmla="*/ 693341 h 4760516"/>
                    <a:gd name="connsiteX30" fmla="*/ 3062038 w 3902384"/>
                    <a:gd name="connsiteY30" fmla="*/ 883841 h 4760516"/>
                    <a:gd name="connsiteX31" fmla="*/ 3011238 w 3902384"/>
                    <a:gd name="connsiteY31" fmla="*/ 1004491 h 4760516"/>
                    <a:gd name="connsiteX32" fmla="*/ 2903288 w 3902384"/>
                    <a:gd name="connsiteY32" fmla="*/ 1061641 h 4760516"/>
                    <a:gd name="connsiteX33" fmla="*/ 2827088 w 3902384"/>
                    <a:gd name="connsiteY33" fmla="*/ 998141 h 4760516"/>
                    <a:gd name="connsiteX34" fmla="*/ 2655638 w 3902384"/>
                    <a:gd name="connsiteY34" fmla="*/ 820341 h 4760516"/>
                    <a:gd name="connsiteX35" fmla="*/ 2350838 w 3902384"/>
                    <a:gd name="connsiteY35" fmla="*/ 674291 h 4760516"/>
                    <a:gd name="connsiteX36" fmla="*/ 2020638 w 3902384"/>
                    <a:gd name="connsiteY36" fmla="*/ 674291 h 4760516"/>
                    <a:gd name="connsiteX37" fmla="*/ 2344488 w 3902384"/>
                    <a:gd name="connsiteY37" fmla="*/ 769541 h 4760516"/>
                    <a:gd name="connsiteX38" fmla="*/ 2554038 w 3902384"/>
                    <a:gd name="connsiteY38" fmla="*/ 909241 h 4760516"/>
                    <a:gd name="connsiteX39" fmla="*/ 2630379 w 3902384"/>
                    <a:gd name="connsiteY39" fmla="*/ 973620 h 4760516"/>
                    <a:gd name="connsiteX40" fmla="*/ 2901551 w 3902384"/>
                    <a:gd name="connsiteY40" fmla="*/ 1067700 h 4760516"/>
                    <a:gd name="connsiteX41" fmla="*/ 2830884 w 3902384"/>
                    <a:gd name="connsiteY41" fmla="*/ 1212445 h 4760516"/>
                    <a:gd name="connsiteX42" fmla="*/ 2830884 w 3902384"/>
                    <a:gd name="connsiteY42" fmla="*/ 1445256 h 4760516"/>
                    <a:gd name="connsiteX43" fmla="*/ 2939795 w 3902384"/>
                    <a:gd name="connsiteY43" fmla="*/ 1531580 h 4760516"/>
                    <a:gd name="connsiteX44" fmla="*/ 2823781 w 3902384"/>
                    <a:gd name="connsiteY44" fmla="*/ 2041674 h 4760516"/>
                    <a:gd name="connsiteX45" fmla="*/ 2757487 w 3902384"/>
                    <a:gd name="connsiteY45" fmla="*/ 2086142 h 4760516"/>
                    <a:gd name="connsiteX46" fmla="*/ 2480886 w 3902384"/>
                    <a:gd name="connsiteY46" fmla="*/ 2698176 h 4760516"/>
                    <a:gd name="connsiteX47" fmla="*/ 2530227 w 3902384"/>
                    <a:gd name="connsiteY47" fmla="*/ 2817416 h 4760516"/>
                    <a:gd name="connsiteX48" fmla="*/ 2592139 w 3902384"/>
                    <a:gd name="connsiteY48" fmla="*/ 2874566 h 4760516"/>
                    <a:gd name="connsiteX49" fmla="*/ 2658814 w 3902384"/>
                    <a:gd name="connsiteY49" fmla="*/ 2884091 h 4760516"/>
                    <a:gd name="connsiteX50" fmla="*/ 2682627 w 3902384"/>
                    <a:gd name="connsiteY50" fmla="*/ 2912666 h 4760516"/>
                    <a:gd name="connsiteX51" fmla="*/ 2749302 w 3902384"/>
                    <a:gd name="connsiteY51" fmla="*/ 3079354 h 4760516"/>
                    <a:gd name="connsiteX52" fmla="*/ 2844552 w 3902384"/>
                    <a:gd name="connsiteY52" fmla="*/ 3174604 h 4760516"/>
                    <a:gd name="connsiteX53" fmla="*/ 2939802 w 3902384"/>
                    <a:gd name="connsiteY53" fmla="*/ 3207941 h 4760516"/>
                    <a:gd name="connsiteX54" fmla="*/ 3282702 w 3902384"/>
                    <a:gd name="connsiteY54" fmla="*/ 3317479 h 4760516"/>
                    <a:gd name="connsiteX55" fmla="*/ 3658939 w 3902384"/>
                    <a:gd name="connsiteY55" fmla="*/ 3493691 h 4760516"/>
                    <a:gd name="connsiteX56" fmla="*/ 3868489 w 3902384"/>
                    <a:gd name="connsiteY56" fmla="*/ 3641329 h 4760516"/>
                    <a:gd name="connsiteX57" fmla="*/ 3901827 w 3902384"/>
                    <a:gd name="connsiteY57" fmla="*/ 3769916 h 4760516"/>
                    <a:gd name="connsiteX58" fmla="*/ 3878014 w 3902384"/>
                    <a:gd name="connsiteY58" fmla="*/ 4027091 h 4760516"/>
                    <a:gd name="connsiteX59" fmla="*/ 3792289 w 3902384"/>
                    <a:gd name="connsiteY59" fmla="*/ 4236641 h 4760516"/>
                    <a:gd name="connsiteX60" fmla="*/ 3620839 w 3902384"/>
                    <a:gd name="connsiteY60" fmla="*/ 4598591 h 4760516"/>
                    <a:gd name="connsiteX61" fmla="*/ 3473202 w 3902384"/>
                    <a:gd name="connsiteY61" fmla="*/ 4760516 h 4760516"/>
                    <a:gd name="connsiteX62" fmla="*/ 339477 w 3902384"/>
                    <a:gd name="connsiteY62" fmla="*/ 4760516 h 4760516"/>
                    <a:gd name="connsiteX63" fmla="*/ 163264 w 3902384"/>
                    <a:gd name="connsiteY63" fmla="*/ 4436666 h 4760516"/>
                    <a:gd name="connsiteX64" fmla="*/ 58489 w 3902384"/>
                    <a:gd name="connsiteY64" fmla="*/ 4141391 h 4760516"/>
                    <a:gd name="connsiteX65" fmla="*/ 1339 w 3902384"/>
                    <a:gd name="connsiteY65" fmla="*/ 3855641 h 4760516"/>
                    <a:gd name="connsiteX66" fmla="*/ 25152 w 3902384"/>
                    <a:gd name="connsiteY66" fmla="*/ 3703241 h 4760516"/>
                    <a:gd name="connsiteX67" fmla="*/ 220414 w 3902384"/>
                    <a:gd name="connsiteY67" fmla="*/ 3584179 h 4760516"/>
                    <a:gd name="connsiteX68" fmla="*/ 534739 w 3902384"/>
                    <a:gd name="connsiteY68" fmla="*/ 3450829 h 4760516"/>
                    <a:gd name="connsiteX69" fmla="*/ 934789 w 3902384"/>
                    <a:gd name="connsiteY69" fmla="*/ 3293666 h 4760516"/>
                    <a:gd name="connsiteX70" fmla="*/ 1134814 w 3902384"/>
                    <a:gd name="connsiteY70" fmla="*/ 3217466 h 4760516"/>
                    <a:gd name="connsiteX71" fmla="*/ 1277689 w 3902384"/>
                    <a:gd name="connsiteY71" fmla="*/ 2950766 h 4760516"/>
                    <a:gd name="connsiteX72" fmla="*/ 1372939 w 3902384"/>
                    <a:gd name="connsiteY72" fmla="*/ 2888854 h 4760516"/>
                    <a:gd name="connsiteX73" fmla="*/ 1444377 w 3902384"/>
                    <a:gd name="connsiteY73" fmla="*/ 2750741 h 4760516"/>
                    <a:gd name="connsiteX74" fmla="*/ 1430089 w 3902384"/>
                    <a:gd name="connsiteY74" fmla="*/ 2665016 h 4760516"/>
                    <a:gd name="connsiteX75" fmla="*/ 1433678 w 3902384"/>
                    <a:gd name="connsiteY75" fmla="*/ 2655556 h 4760516"/>
                    <a:gd name="connsiteX76" fmla="*/ 1412671 w 3902384"/>
                    <a:gd name="connsiteY76" fmla="*/ 2630242 h 4760516"/>
                    <a:gd name="connsiteX77" fmla="*/ 1171172 w 3902384"/>
                    <a:gd name="connsiteY77" fmla="*/ 2059985 h 4760516"/>
                    <a:gd name="connsiteX78" fmla="*/ 977027 w 3902384"/>
                    <a:gd name="connsiteY78" fmla="*/ 1612672 h 4760516"/>
                    <a:gd name="connsiteX79" fmla="*/ 1052790 w 3902384"/>
                    <a:gd name="connsiteY79" fmla="*/ 1487109 h 4760516"/>
                    <a:gd name="connsiteX80" fmla="*/ 1018186 w 3902384"/>
                    <a:gd name="connsiteY80" fmla="*/ 1277790 h 4760516"/>
                    <a:gd name="connsiteX81" fmla="*/ 934788 w 3902384"/>
                    <a:gd name="connsiteY81" fmla="*/ 1341041 h 4760516"/>
                    <a:gd name="connsiteX82" fmla="*/ 883988 w 3902384"/>
                    <a:gd name="connsiteY82" fmla="*/ 1404541 h 4760516"/>
                    <a:gd name="connsiteX83" fmla="*/ 839538 w 3902384"/>
                    <a:gd name="connsiteY83" fmla="*/ 1525191 h 4760516"/>
                    <a:gd name="connsiteX84" fmla="*/ 858588 w 3902384"/>
                    <a:gd name="connsiteY84" fmla="*/ 1645841 h 4760516"/>
                    <a:gd name="connsiteX85" fmla="*/ 890338 w 3902384"/>
                    <a:gd name="connsiteY85" fmla="*/ 1829991 h 4760516"/>
                    <a:gd name="connsiteX86" fmla="*/ 966538 w 3902384"/>
                    <a:gd name="connsiteY86" fmla="*/ 2128441 h 4760516"/>
                    <a:gd name="connsiteX87" fmla="*/ 1049088 w 3902384"/>
                    <a:gd name="connsiteY87" fmla="*/ 2198291 h 4760516"/>
                    <a:gd name="connsiteX88" fmla="*/ 1099888 w 3902384"/>
                    <a:gd name="connsiteY88" fmla="*/ 2331641 h 4760516"/>
                    <a:gd name="connsiteX89" fmla="*/ 1220538 w 3902384"/>
                    <a:gd name="connsiteY89" fmla="*/ 2566591 h 4760516"/>
                    <a:gd name="connsiteX90" fmla="*/ 1271338 w 3902384"/>
                    <a:gd name="connsiteY90" fmla="*/ 2712641 h 4760516"/>
                    <a:gd name="connsiteX91" fmla="*/ 1131638 w 3902384"/>
                    <a:gd name="connsiteY91" fmla="*/ 2750741 h 4760516"/>
                    <a:gd name="connsiteX92" fmla="*/ 928438 w 3902384"/>
                    <a:gd name="connsiteY92" fmla="*/ 2776141 h 4760516"/>
                    <a:gd name="connsiteX93" fmla="*/ 744288 w 3902384"/>
                    <a:gd name="connsiteY93" fmla="*/ 2731691 h 4760516"/>
                    <a:gd name="connsiteX94" fmla="*/ 661738 w 3902384"/>
                    <a:gd name="connsiteY94" fmla="*/ 2591991 h 4760516"/>
                    <a:gd name="connsiteX95" fmla="*/ 623638 w 3902384"/>
                    <a:gd name="connsiteY95" fmla="*/ 2344341 h 4760516"/>
                    <a:gd name="connsiteX96" fmla="*/ 636338 w 3902384"/>
                    <a:gd name="connsiteY96" fmla="*/ 2020491 h 4760516"/>
                    <a:gd name="connsiteX97" fmla="*/ 737938 w 3902384"/>
                    <a:gd name="connsiteY97" fmla="*/ 1328341 h 4760516"/>
                    <a:gd name="connsiteX98" fmla="*/ 972888 w 3902384"/>
                    <a:gd name="connsiteY98" fmla="*/ 623491 h 4760516"/>
                    <a:gd name="connsiteX99" fmla="*/ 1169738 w 3902384"/>
                    <a:gd name="connsiteY99" fmla="*/ 299641 h 4760516"/>
                    <a:gd name="connsiteX100" fmla="*/ 1360238 w 3902384"/>
                    <a:gd name="connsiteY100" fmla="*/ 140891 h 4760516"/>
                    <a:gd name="connsiteX101" fmla="*/ 1531688 w 3902384"/>
                    <a:gd name="connsiteY101" fmla="*/ 115491 h 4760516"/>
                    <a:gd name="connsiteX102" fmla="*/ 1677738 w 3902384"/>
                    <a:gd name="connsiteY102" fmla="*/ 13891 h 4760516"/>
                    <a:gd name="connsiteX103" fmla="*/ 1814660 w 3902384"/>
                    <a:gd name="connsiteY103" fmla="*/ 0 h 4760516"/>
                    <a:gd name="connsiteX0" fmla="*/ 3062288 w 3903424"/>
                    <a:gd name="connsiteY0" fmla="*/ 1005769 h 4760516"/>
                    <a:gd name="connsiteX1" fmla="*/ 3082677 w 3903424"/>
                    <a:gd name="connsiteY1" fmla="*/ 1026716 h 4760516"/>
                    <a:gd name="connsiteX2" fmla="*/ 3168402 w 3903424"/>
                    <a:gd name="connsiteY2" fmla="*/ 1369616 h 4760516"/>
                    <a:gd name="connsiteX3" fmla="*/ 3254127 w 3903424"/>
                    <a:gd name="connsiteY3" fmla="*/ 1822054 h 4760516"/>
                    <a:gd name="connsiteX4" fmla="*/ 3282702 w 3903424"/>
                    <a:gd name="connsiteY4" fmla="*/ 2255441 h 4760516"/>
                    <a:gd name="connsiteX5" fmla="*/ 3273177 w 3903424"/>
                    <a:gd name="connsiteY5" fmla="*/ 2526904 h 4760516"/>
                    <a:gd name="connsiteX6" fmla="*/ 3192214 w 3903424"/>
                    <a:gd name="connsiteY6" fmla="*/ 2722166 h 4760516"/>
                    <a:gd name="connsiteX7" fmla="*/ 3044577 w 3903424"/>
                    <a:gd name="connsiteY7" fmla="*/ 2750741 h 4760516"/>
                    <a:gd name="connsiteX8" fmla="*/ 2811214 w 3903424"/>
                    <a:gd name="connsiteY8" fmla="*/ 2731691 h 4760516"/>
                    <a:gd name="connsiteX9" fmla="*/ 2635002 w 3903424"/>
                    <a:gd name="connsiteY9" fmla="*/ 2669779 h 4760516"/>
                    <a:gd name="connsiteX10" fmla="*/ 2658814 w 3903424"/>
                    <a:gd name="connsiteY10" fmla="*/ 2603104 h 4760516"/>
                    <a:gd name="connsiteX11" fmla="*/ 2754064 w 3903424"/>
                    <a:gd name="connsiteY11" fmla="*/ 2474516 h 4760516"/>
                    <a:gd name="connsiteX12" fmla="*/ 2844552 w 3903424"/>
                    <a:gd name="connsiteY12" fmla="*/ 2255441 h 4760516"/>
                    <a:gd name="connsiteX13" fmla="*/ 2863602 w 3903424"/>
                    <a:gd name="connsiteY13" fmla="*/ 2160191 h 4760516"/>
                    <a:gd name="connsiteX14" fmla="*/ 2920752 w 3903424"/>
                    <a:gd name="connsiteY14" fmla="*/ 2098279 h 4760516"/>
                    <a:gd name="connsiteX15" fmla="*/ 3001714 w 3903424"/>
                    <a:gd name="connsiteY15" fmla="*/ 1855391 h 4760516"/>
                    <a:gd name="connsiteX16" fmla="*/ 3058864 w 3903424"/>
                    <a:gd name="connsiteY16" fmla="*/ 1598216 h 4760516"/>
                    <a:gd name="connsiteX17" fmla="*/ 3063627 w 3903424"/>
                    <a:gd name="connsiteY17" fmla="*/ 1483916 h 4760516"/>
                    <a:gd name="connsiteX18" fmla="*/ 3011239 w 3903424"/>
                    <a:gd name="connsiteY18" fmla="*/ 1379141 h 4760516"/>
                    <a:gd name="connsiteX19" fmla="*/ 2958852 w 3903424"/>
                    <a:gd name="connsiteY19" fmla="*/ 1331516 h 4760516"/>
                    <a:gd name="connsiteX20" fmla="*/ 2949327 w 3903424"/>
                    <a:gd name="connsiteY20" fmla="*/ 1236266 h 4760516"/>
                    <a:gd name="connsiteX21" fmla="*/ 2958852 w 3903424"/>
                    <a:gd name="connsiteY21" fmla="*/ 1121966 h 4760516"/>
                    <a:gd name="connsiteX22" fmla="*/ 3006477 w 3903424"/>
                    <a:gd name="connsiteY22" fmla="*/ 1050529 h 4760516"/>
                    <a:gd name="connsiteX23" fmla="*/ 3062288 w 3903424"/>
                    <a:gd name="connsiteY23" fmla="*/ 1005769 h 4760516"/>
                    <a:gd name="connsiteX24" fmla="*/ 1814660 w 3903424"/>
                    <a:gd name="connsiteY24" fmla="*/ 0 h 4760516"/>
                    <a:gd name="connsiteX25" fmla="*/ 1957138 w 3903424"/>
                    <a:gd name="connsiteY25" fmla="*/ 1191 h 4760516"/>
                    <a:gd name="connsiteX26" fmla="*/ 2153988 w 3903424"/>
                    <a:gd name="connsiteY26" fmla="*/ 20241 h 4760516"/>
                    <a:gd name="connsiteX27" fmla="*/ 2382588 w 3903424"/>
                    <a:gd name="connsiteY27" fmla="*/ 121841 h 4760516"/>
                    <a:gd name="connsiteX28" fmla="*/ 2642938 w 3903424"/>
                    <a:gd name="connsiteY28" fmla="*/ 331391 h 4760516"/>
                    <a:gd name="connsiteX29" fmla="*/ 2947738 w 3903424"/>
                    <a:gd name="connsiteY29" fmla="*/ 693341 h 4760516"/>
                    <a:gd name="connsiteX30" fmla="*/ 3062038 w 3903424"/>
                    <a:gd name="connsiteY30" fmla="*/ 883841 h 4760516"/>
                    <a:gd name="connsiteX31" fmla="*/ 3011238 w 3903424"/>
                    <a:gd name="connsiteY31" fmla="*/ 1004491 h 4760516"/>
                    <a:gd name="connsiteX32" fmla="*/ 2903288 w 3903424"/>
                    <a:gd name="connsiteY32" fmla="*/ 1061641 h 4760516"/>
                    <a:gd name="connsiteX33" fmla="*/ 2827088 w 3903424"/>
                    <a:gd name="connsiteY33" fmla="*/ 998141 h 4760516"/>
                    <a:gd name="connsiteX34" fmla="*/ 2655638 w 3903424"/>
                    <a:gd name="connsiteY34" fmla="*/ 820341 h 4760516"/>
                    <a:gd name="connsiteX35" fmla="*/ 2350838 w 3903424"/>
                    <a:gd name="connsiteY35" fmla="*/ 674291 h 4760516"/>
                    <a:gd name="connsiteX36" fmla="*/ 2020638 w 3903424"/>
                    <a:gd name="connsiteY36" fmla="*/ 674291 h 4760516"/>
                    <a:gd name="connsiteX37" fmla="*/ 2344488 w 3903424"/>
                    <a:gd name="connsiteY37" fmla="*/ 769541 h 4760516"/>
                    <a:gd name="connsiteX38" fmla="*/ 2554038 w 3903424"/>
                    <a:gd name="connsiteY38" fmla="*/ 909241 h 4760516"/>
                    <a:gd name="connsiteX39" fmla="*/ 2630379 w 3903424"/>
                    <a:gd name="connsiteY39" fmla="*/ 973620 h 4760516"/>
                    <a:gd name="connsiteX40" fmla="*/ 2901551 w 3903424"/>
                    <a:gd name="connsiteY40" fmla="*/ 1067700 h 4760516"/>
                    <a:gd name="connsiteX41" fmla="*/ 2830884 w 3903424"/>
                    <a:gd name="connsiteY41" fmla="*/ 1212445 h 4760516"/>
                    <a:gd name="connsiteX42" fmla="*/ 2830884 w 3903424"/>
                    <a:gd name="connsiteY42" fmla="*/ 1445256 h 4760516"/>
                    <a:gd name="connsiteX43" fmla="*/ 2939795 w 3903424"/>
                    <a:gd name="connsiteY43" fmla="*/ 1531580 h 4760516"/>
                    <a:gd name="connsiteX44" fmla="*/ 2823781 w 3903424"/>
                    <a:gd name="connsiteY44" fmla="*/ 2041674 h 4760516"/>
                    <a:gd name="connsiteX45" fmla="*/ 2757487 w 3903424"/>
                    <a:gd name="connsiteY45" fmla="*/ 2086142 h 4760516"/>
                    <a:gd name="connsiteX46" fmla="*/ 2480886 w 3903424"/>
                    <a:gd name="connsiteY46" fmla="*/ 2698176 h 4760516"/>
                    <a:gd name="connsiteX47" fmla="*/ 2530227 w 3903424"/>
                    <a:gd name="connsiteY47" fmla="*/ 2817416 h 4760516"/>
                    <a:gd name="connsiteX48" fmla="*/ 2592139 w 3903424"/>
                    <a:gd name="connsiteY48" fmla="*/ 2874566 h 4760516"/>
                    <a:gd name="connsiteX49" fmla="*/ 2658814 w 3903424"/>
                    <a:gd name="connsiteY49" fmla="*/ 2884091 h 4760516"/>
                    <a:gd name="connsiteX50" fmla="*/ 2682627 w 3903424"/>
                    <a:gd name="connsiteY50" fmla="*/ 2912666 h 4760516"/>
                    <a:gd name="connsiteX51" fmla="*/ 2749302 w 3903424"/>
                    <a:gd name="connsiteY51" fmla="*/ 3079354 h 4760516"/>
                    <a:gd name="connsiteX52" fmla="*/ 2844552 w 3903424"/>
                    <a:gd name="connsiteY52" fmla="*/ 3174604 h 4760516"/>
                    <a:gd name="connsiteX53" fmla="*/ 2939802 w 3903424"/>
                    <a:gd name="connsiteY53" fmla="*/ 3207941 h 4760516"/>
                    <a:gd name="connsiteX54" fmla="*/ 3282702 w 3903424"/>
                    <a:gd name="connsiteY54" fmla="*/ 3317479 h 4760516"/>
                    <a:gd name="connsiteX55" fmla="*/ 3658939 w 3903424"/>
                    <a:gd name="connsiteY55" fmla="*/ 3493691 h 4760516"/>
                    <a:gd name="connsiteX56" fmla="*/ 3868489 w 3903424"/>
                    <a:gd name="connsiteY56" fmla="*/ 3641329 h 4760516"/>
                    <a:gd name="connsiteX57" fmla="*/ 3901827 w 3903424"/>
                    <a:gd name="connsiteY57" fmla="*/ 3769916 h 4760516"/>
                    <a:gd name="connsiteX58" fmla="*/ 3878014 w 3903424"/>
                    <a:gd name="connsiteY58" fmla="*/ 4027091 h 4760516"/>
                    <a:gd name="connsiteX59" fmla="*/ 3792289 w 3903424"/>
                    <a:gd name="connsiteY59" fmla="*/ 4236641 h 4760516"/>
                    <a:gd name="connsiteX60" fmla="*/ 3620839 w 3903424"/>
                    <a:gd name="connsiteY60" fmla="*/ 4598591 h 4760516"/>
                    <a:gd name="connsiteX61" fmla="*/ 3473202 w 3903424"/>
                    <a:gd name="connsiteY61" fmla="*/ 4760516 h 4760516"/>
                    <a:gd name="connsiteX62" fmla="*/ 339477 w 3903424"/>
                    <a:gd name="connsiteY62" fmla="*/ 4760516 h 4760516"/>
                    <a:gd name="connsiteX63" fmla="*/ 163264 w 3903424"/>
                    <a:gd name="connsiteY63" fmla="*/ 4436666 h 4760516"/>
                    <a:gd name="connsiteX64" fmla="*/ 58489 w 3903424"/>
                    <a:gd name="connsiteY64" fmla="*/ 4141391 h 4760516"/>
                    <a:gd name="connsiteX65" fmla="*/ 1339 w 3903424"/>
                    <a:gd name="connsiteY65" fmla="*/ 3855641 h 4760516"/>
                    <a:gd name="connsiteX66" fmla="*/ 25152 w 3903424"/>
                    <a:gd name="connsiteY66" fmla="*/ 3703241 h 4760516"/>
                    <a:gd name="connsiteX67" fmla="*/ 220414 w 3903424"/>
                    <a:gd name="connsiteY67" fmla="*/ 3584179 h 4760516"/>
                    <a:gd name="connsiteX68" fmla="*/ 534739 w 3903424"/>
                    <a:gd name="connsiteY68" fmla="*/ 3450829 h 4760516"/>
                    <a:gd name="connsiteX69" fmla="*/ 934789 w 3903424"/>
                    <a:gd name="connsiteY69" fmla="*/ 3293666 h 4760516"/>
                    <a:gd name="connsiteX70" fmla="*/ 1134814 w 3903424"/>
                    <a:gd name="connsiteY70" fmla="*/ 3217466 h 4760516"/>
                    <a:gd name="connsiteX71" fmla="*/ 1277689 w 3903424"/>
                    <a:gd name="connsiteY71" fmla="*/ 2950766 h 4760516"/>
                    <a:gd name="connsiteX72" fmla="*/ 1372939 w 3903424"/>
                    <a:gd name="connsiteY72" fmla="*/ 2888854 h 4760516"/>
                    <a:gd name="connsiteX73" fmla="*/ 1444377 w 3903424"/>
                    <a:gd name="connsiteY73" fmla="*/ 2750741 h 4760516"/>
                    <a:gd name="connsiteX74" fmla="*/ 1430089 w 3903424"/>
                    <a:gd name="connsiteY74" fmla="*/ 2665016 h 4760516"/>
                    <a:gd name="connsiteX75" fmla="*/ 1433678 w 3903424"/>
                    <a:gd name="connsiteY75" fmla="*/ 2655556 h 4760516"/>
                    <a:gd name="connsiteX76" fmla="*/ 1412671 w 3903424"/>
                    <a:gd name="connsiteY76" fmla="*/ 2630242 h 4760516"/>
                    <a:gd name="connsiteX77" fmla="*/ 1171172 w 3903424"/>
                    <a:gd name="connsiteY77" fmla="*/ 2059985 h 4760516"/>
                    <a:gd name="connsiteX78" fmla="*/ 977027 w 3903424"/>
                    <a:gd name="connsiteY78" fmla="*/ 1612672 h 4760516"/>
                    <a:gd name="connsiteX79" fmla="*/ 1052790 w 3903424"/>
                    <a:gd name="connsiteY79" fmla="*/ 1487109 h 4760516"/>
                    <a:gd name="connsiteX80" fmla="*/ 1018186 w 3903424"/>
                    <a:gd name="connsiteY80" fmla="*/ 1277790 h 4760516"/>
                    <a:gd name="connsiteX81" fmla="*/ 934788 w 3903424"/>
                    <a:gd name="connsiteY81" fmla="*/ 1341041 h 4760516"/>
                    <a:gd name="connsiteX82" fmla="*/ 883988 w 3903424"/>
                    <a:gd name="connsiteY82" fmla="*/ 1404541 h 4760516"/>
                    <a:gd name="connsiteX83" fmla="*/ 839538 w 3903424"/>
                    <a:gd name="connsiteY83" fmla="*/ 1525191 h 4760516"/>
                    <a:gd name="connsiteX84" fmla="*/ 858588 w 3903424"/>
                    <a:gd name="connsiteY84" fmla="*/ 1645841 h 4760516"/>
                    <a:gd name="connsiteX85" fmla="*/ 890338 w 3903424"/>
                    <a:gd name="connsiteY85" fmla="*/ 1829991 h 4760516"/>
                    <a:gd name="connsiteX86" fmla="*/ 966538 w 3903424"/>
                    <a:gd name="connsiteY86" fmla="*/ 2128441 h 4760516"/>
                    <a:gd name="connsiteX87" fmla="*/ 1049088 w 3903424"/>
                    <a:gd name="connsiteY87" fmla="*/ 2198291 h 4760516"/>
                    <a:gd name="connsiteX88" fmla="*/ 1099888 w 3903424"/>
                    <a:gd name="connsiteY88" fmla="*/ 2331641 h 4760516"/>
                    <a:gd name="connsiteX89" fmla="*/ 1220538 w 3903424"/>
                    <a:gd name="connsiteY89" fmla="*/ 2566591 h 4760516"/>
                    <a:gd name="connsiteX90" fmla="*/ 1271338 w 3903424"/>
                    <a:gd name="connsiteY90" fmla="*/ 2712641 h 4760516"/>
                    <a:gd name="connsiteX91" fmla="*/ 1131638 w 3903424"/>
                    <a:gd name="connsiteY91" fmla="*/ 2750741 h 4760516"/>
                    <a:gd name="connsiteX92" fmla="*/ 928438 w 3903424"/>
                    <a:gd name="connsiteY92" fmla="*/ 2776141 h 4760516"/>
                    <a:gd name="connsiteX93" fmla="*/ 744288 w 3903424"/>
                    <a:gd name="connsiteY93" fmla="*/ 2731691 h 4760516"/>
                    <a:gd name="connsiteX94" fmla="*/ 661738 w 3903424"/>
                    <a:gd name="connsiteY94" fmla="*/ 2591991 h 4760516"/>
                    <a:gd name="connsiteX95" fmla="*/ 623638 w 3903424"/>
                    <a:gd name="connsiteY95" fmla="*/ 2344341 h 4760516"/>
                    <a:gd name="connsiteX96" fmla="*/ 636338 w 3903424"/>
                    <a:gd name="connsiteY96" fmla="*/ 2020491 h 4760516"/>
                    <a:gd name="connsiteX97" fmla="*/ 737938 w 3903424"/>
                    <a:gd name="connsiteY97" fmla="*/ 1328341 h 4760516"/>
                    <a:gd name="connsiteX98" fmla="*/ 972888 w 3903424"/>
                    <a:gd name="connsiteY98" fmla="*/ 623491 h 4760516"/>
                    <a:gd name="connsiteX99" fmla="*/ 1169738 w 3903424"/>
                    <a:gd name="connsiteY99" fmla="*/ 299641 h 4760516"/>
                    <a:gd name="connsiteX100" fmla="*/ 1360238 w 3903424"/>
                    <a:gd name="connsiteY100" fmla="*/ 140891 h 4760516"/>
                    <a:gd name="connsiteX101" fmla="*/ 1531688 w 3903424"/>
                    <a:gd name="connsiteY101" fmla="*/ 115491 h 4760516"/>
                    <a:gd name="connsiteX102" fmla="*/ 1677738 w 3903424"/>
                    <a:gd name="connsiteY102" fmla="*/ 13891 h 4760516"/>
                    <a:gd name="connsiteX103" fmla="*/ 1814660 w 3903424"/>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760516"/>
                    <a:gd name="connsiteX1" fmla="*/ 3082677 w 3904400"/>
                    <a:gd name="connsiteY1" fmla="*/ 1026716 h 4760516"/>
                    <a:gd name="connsiteX2" fmla="*/ 3168402 w 3904400"/>
                    <a:gd name="connsiteY2" fmla="*/ 1369616 h 4760516"/>
                    <a:gd name="connsiteX3" fmla="*/ 3254127 w 3904400"/>
                    <a:gd name="connsiteY3" fmla="*/ 1822054 h 4760516"/>
                    <a:gd name="connsiteX4" fmla="*/ 3282702 w 3904400"/>
                    <a:gd name="connsiteY4" fmla="*/ 2255441 h 4760516"/>
                    <a:gd name="connsiteX5" fmla="*/ 3273177 w 3904400"/>
                    <a:gd name="connsiteY5" fmla="*/ 2526904 h 4760516"/>
                    <a:gd name="connsiteX6" fmla="*/ 3192214 w 3904400"/>
                    <a:gd name="connsiteY6" fmla="*/ 2722166 h 4760516"/>
                    <a:gd name="connsiteX7" fmla="*/ 3044577 w 3904400"/>
                    <a:gd name="connsiteY7" fmla="*/ 2750741 h 4760516"/>
                    <a:gd name="connsiteX8" fmla="*/ 2811214 w 3904400"/>
                    <a:gd name="connsiteY8" fmla="*/ 2731691 h 4760516"/>
                    <a:gd name="connsiteX9" fmla="*/ 2635002 w 3904400"/>
                    <a:gd name="connsiteY9" fmla="*/ 2669779 h 4760516"/>
                    <a:gd name="connsiteX10" fmla="*/ 2658814 w 3904400"/>
                    <a:gd name="connsiteY10" fmla="*/ 2603104 h 4760516"/>
                    <a:gd name="connsiteX11" fmla="*/ 2754064 w 3904400"/>
                    <a:gd name="connsiteY11" fmla="*/ 2474516 h 4760516"/>
                    <a:gd name="connsiteX12" fmla="*/ 2844552 w 3904400"/>
                    <a:gd name="connsiteY12" fmla="*/ 2255441 h 4760516"/>
                    <a:gd name="connsiteX13" fmla="*/ 2863602 w 3904400"/>
                    <a:gd name="connsiteY13" fmla="*/ 2160191 h 4760516"/>
                    <a:gd name="connsiteX14" fmla="*/ 2920752 w 3904400"/>
                    <a:gd name="connsiteY14" fmla="*/ 2098279 h 4760516"/>
                    <a:gd name="connsiteX15" fmla="*/ 3001714 w 3904400"/>
                    <a:gd name="connsiteY15" fmla="*/ 1855391 h 4760516"/>
                    <a:gd name="connsiteX16" fmla="*/ 3058864 w 3904400"/>
                    <a:gd name="connsiteY16" fmla="*/ 1598216 h 4760516"/>
                    <a:gd name="connsiteX17" fmla="*/ 3063627 w 3904400"/>
                    <a:gd name="connsiteY17" fmla="*/ 1483916 h 4760516"/>
                    <a:gd name="connsiteX18" fmla="*/ 3011239 w 3904400"/>
                    <a:gd name="connsiteY18" fmla="*/ 1379141 h 4760516"/>
                    <a:gd name="connsiteX19" fmla="*/ 2958852 w 3904400"/>
                    <a:gd name="connsiteY19" fmla="*/ 1331516 h 4760516"/>
                    <a:gd name="connsiteX20" fmla="*/ 2949327 w 3904400"/>
                    <a:gd name="connsiteY20" fmla="*/ 1236266 h 4760516"/>
                    <a:gd name="connsiteX21" fmla="*/ 2958852 w 3904400"/>
                    <a:gd name="connsiteY21" fmla="*/ 1121966 h 4760516"/>
                    <a:gd name="connsiteX22" fmla="*/ 3006477 w 3904400"/>
                    <a:gd name="connsiteY22" fmla="*/ 1050529 h 4760516"/>
                    <a:gd name="connsiteX23" fmla="*/ 3062288 w 3904400"/>
                    <a:gd name="connsiteY23" fmla="*/ 1005769 h 4760516"/>
                    <a:gd name="connsiteX24" fmla="*/ 1814660 w 3904400"/>
                    <a:gd name="connsiteY24" fmla="*/ 0 h 4760516"/>
                    <a:gd name="connsiteX25" fmla="*/ 1957138 w 3904400"/>
                    <a:gd name="connsiteY25" fmla="*/ 1191 h 4760516"/>
                    <a:gd name="connsiteX26" fmla="*/ 2153988 w 3904400"/>
                    <a:gd name="connsiteY26" fmla="*/ 20241 h 4760516"/>
                    <a:gd name="connsiteX27" fmla="*/ 2382588 w 3904400"/>
                    <a:gd name="connsiteY27" fmla="*/ 121841 h 4760516"/>
                    <a:gd name="connsiteX28" fmla="*/ 2642938 w 3904400"/>
                    <a:gd name="connsiteY28" fmla="*/ 331391 h 4760516"/>
                    <a:gd name="connsiteX29" fmla="*/ 2947738 w 3904400"/>
                    <a:gd name="connsiteY29" fmla="*/ 693341 h 4760516"/>
                    <a:gd name="connsiteX30" fmla="*/ 3062038 w 3904400"/>
                    <a:gd name="connsiteY30" fmla="*/ 883841 h 4760516"/>
                    <a:gd name="connsiteX31" fmla="*/ 3011238 w 3904400"/>
                    <a:gd name="connsiteY31" fmla="*/ 1004491 h 4760516"/>
                    <a:gd name="connsiteX32" fmla="*/ 2903288 w 3904400"/>
                    <a:gd name="connsiteY32" fmla="*/ 1061641 h 4760516"/>
                    <a:gd name="connsiteX33" fmla="*/ 2827088 w 3904400"/>
                    <a:gd name="connsiteY33" fmla="*/ 998141 h 4760516"/>
                    <a:gd name="connsiteX34" fmla="*/ 2655638 w 3904400"/>
                    <a:gd name="connsiteY34" fmla="*/ 820341 h 4760516"/>
                    <a:gd name="connsiteX35" fmla="*/ 2350838 w 3904400"/>
                    <a:gd name="connsiteY35" fmla="*/ 674291 h 4760516"/>
                    <a:gd name="connsiteX36" fmla="*/ 2020638 w 3904400"/>
                    <a:gd name="connsiteY36" fmla="*/ 674291 h 4760516"/>
                    <a:gd name="connsiteX37" fmla="*/ 2344488 w 3904400"/>
                    <a:gd name="connsiteY37" fmla="*/ 769541 h 4760516"/>
                    <a:gd name="connsiteX38" fmla="*/ 2554038 w 3904400"/>
                    <a:gd name="connsiteY38" fmla="*/ 909241 h 4760516"/>
                    <a:gd name="connsiteX39" fmla="*/ 2630379 w 3904400"/>
                    <a:gd name="connsiteY39" fmla="*/ 973620 h 4760516"/>
                    <a:gd name="connsiteX40" fmla="*/ 2901551 w 3904400"/>
                    <a:gd name="connsiteY40" fmla="*/ 1067700 h 4760516"/>
                    <a:gd name="connsiteX41" fmla="*/ 2830884 w 3904400"/>
                    <a:gd name="connsiteY41" fmla="*/ 1212445 h 4760516"/>
                    <a:gd name="connsiteX42" fmla="*/ 2830884 w 3904400"/>
                    <a:gd name="connsiteY42" fmla="*/ 1445256 h 4760516"/>
                    <a:gd name="connsiteX43" fmla="*/ 2939795 w 3904400"/>
                    <a:gd name="connsiteY43" fmla="*/ 1531580 h 4760516"/>
                    <a:gd name="connsiteX44" fmla="*/ 2823781 w 3904400"/>
                    <a:gd name="connsiteY44" fmla="*/ 2041674 h 4760516"/>
                    <a:gd name="connsiteX45" fmla="*/ 2757487 w 3904400"/>
                    <a:gd name="connsiteY45" fmla="*/ 2086142 h 4760516"/>
                    <a:gd name="connsiteX46" fmla="*/ 2480886 w 3904400"/>
                    <a:gd name="connsiteY46" fmla="*/ 2698176 h 4760516"/>
                    <a:gd name="connsiteX47" fmla="*/ 2530227 w 3904400"/>
                    <a:gd name="connsiteY47" fmla="*/ 2817416 h 4760516"/>
                    <a:gd name="connsiteX48" fmla="*/ 2592139 w 3904400"/>
                    <a:gd name="connsiteY48" fmla="*/ 2874566 h 4760516"/>
                    <a:gd name="connsiteX49" fmla="*/ 2658814 w 3904400"/>
                    <a:gd name="connsiteY49" fmla="*/ 2884091 h 4760516"/>
                    <a:gd name="connsiteX50" fmla="*/ 2682627 w 3904400"/>
                    <a:gd name="connsiteY50" fmla="*/ 2912666 h 4760516"/>
                    <a:gd name="connsiteX51" fmla="*/ 2749302 w 3904400"/>
                    <a:gd name="connsiteY51" fmla="*/ 3079354 h 4760516"/>
                    <a:gd name="connsiteX52" fmla="*/ 2844552 w 3904400"/>
                    <a:gd name="connsiteY52" fmla="*/ 3174604 h 4760516"/>
                    <a:gd name="connsiteX53" fmla="*/ 2939802 w 3904400"/>
                    <a:gd name="connsiteY53" fmla="*/ 3207941 h 4760516"/>
                    <a:gd name="connsiteX54" fmla="*/ 3282702 w 3904400"/>
                    <a:gd name="connsiteY54" fmla="*/ 3317479 h 4760516"/>
                    <a:gd name="connsiteX55" fmla="*/ 3658939 w 3904400"/>
                    <a:gd name="connsiteY55" fmla="*/ 3493691 h 4760516"/>
                    <a:gd name="connsiteX56" fmla="*/ 3868489 w 3904400"/>
                    <a:gd name="connsiteY56" fmla="*/ 3641329 h 4760516"/>
                    <a:gd name="connsiteX57" fmla="*/ 3901827 w 3904400"/>
                    <a:gd name="connsiteY57" fmla="*/ 3769916 h 4760516"/>
                    <a:gd name="connsiteX58" fmla="*/ 3878014 w 3904400"/>
                    <a:gd name="connsiteY58" fmla="*/ 4027091 h 4760516"/>
                    <a:gd name="connsiteX59" fmla="*/ 3792289 w 3904400"/>
                    <a:gd name="connsiteY59" fmla="*/ 4236641 h 4760516"/>
                    <a:gd name="connsiteX60" fmla="*/ 3620839 w 3904400"/>
                    <a:gd name="connsiteY60" fmla="*/ 4598591 h 4760516"/>
                    <a:gd name="connsiteX61" fmla="*/ 3473202 w 3904400"/>
                    <a:gd name="connsiteY61" fmla="*/ 4760516 h 4760516"/>
                    <a:gd name="connsiteX62" fmla="*/ 339477 w 3904400"/>
                    <a:gd name="connsiteY62" fmla="*/ 4760516 h 4760516"/>
                    <a:gd name="connsiteX63" fmla="*/ 163264 w 3904400"/>
                    <a:gd name="connsiteY63" fmla="*/ 4436666 h 4760516"/>
                    <a:gd name="connsiteX64" fmla="*/ 58489 w 3904400"/>
                    <a:gd name="connsiteY64" fmla="*/ 4141391 h 4760516"/>
                    <a:gd name="connsiteX65" fmla="*/ 1339 w 3904400"/>
                    <a:gd name="connsiteY65" fmla="*/ 3855641 h 4760516"/>
                    <a:gd name="connsiteX66" fmla="*/ 25152 w 3904400"/>
                    <a:gd name="connsiteY66" fmla="*/ 3703241 h 4760516"/>
                    <a:gd name="connsiteX67" fmla="*/ 220414 w 3904400"/>
                    <a:gd name="connsiteY67" fmla="*/ 3584179 h 4760516"/>
                    <a:gd name="connsiteX68" fmla="*/ 534739 w 3904400"/>
                    <a:gd name="connsiteY68" fmla="*/ 3450829 h 4760516"/>
                    <a:gd name="connsiteX69" fmla="*/ 934789 w 3904400"/>
                    <a:gd name="connsiteY69" fmla="*/ 3293666 h 4760516"/>
                    <a:gd name="connsiteX70" fmla="*/ 1134814 w 3904400"/>
                    <a:gd name="connsiteY70" fmla="*/ 3217466 h 4760516"/>
                    <a:gd name="connsiteX71" fmla="*/ 1277689 w 3904400"/>
                    <a:gd name="connsiteY71" fmla="*/ 2950766 h 4760516"/>
                    <a:gd name="connsiteX72" fmla="*/ 1372939 w 3904400"/>
                    <a:gd name="connsiteY72" fmla="*/ 2888854 h 4760516"/>
                    <a:gd name="connsiteX73" fmla="*/ 1444377 w 3904400"/>
                    <a:gd name="connsiteY73" fmla="*/ 2750741 h 4760516"/>
                    <a:gd name="connsiteX74" fmla="*/ 1430089 w 3904400"/>
                    <a:gd name="connsiteY74" fmla="*/ 2665016 h 4760516"/>
                    <a:gd name="connsiteX75" fmla="*/ 1433678 w 3904400"/>
                    <a:gd name="connsiteY75" fmla="*/ 2655556 h 4760516"/>
                    <a:gd name="connsiteX76" fmla="*/ 1412671 w 3904400"/>
                    <a:gd name="connsiteY76" fmla="*/ 2630242 h 4760516"/>
                    <a:gd name="connsiteX77" fmla="*/ 1171172 w 3904400"/>
                    <a:gd name="connsiteY77" fmla="*/ 2059985 h 4760516"/>
                    <a:gd name="connsiteX78" fmla="*/ 977027 w 3904400"/>
                    <a:gd name="connsiteY78" fmla="*/ 1612672 h 4760516"/>
                    <a:gd name="connsiteX79" fmla="*/ 1052790 w 3904400"/>
                    <a:gd name="connsiteY79" fmla="*/ 1487109 h 4760516"/>
                    <a:gd name="connsiteX80" fmla="*/ 1018186 w 3904400"/>
                    <a:gd name="connsiteY80" fmla="*/ 1277790 h 4760516"/>
                    <a:gd name="connsiteX81" fmla="*/ 934788 w 3904400"/>
                    <a:gd name="connsiteY81" fmla="*/ 1341041 h 4760516"/>
                    <a:gd name="connsiteX82" fmla="*/ 883988 w 3904400"/>
                    <a:gd name="connsiteY82" fmla="*/ 1404541 h 4760516"/>
                    <a:gd name="connsiteX83" fmla="*/ 839538 w 3904400"/>
                    <a:gd name="connsiteY83" fmla="*/ 1525191 h 4760516"/>
                    <a:gd name="connsiteX84" fmla="*/ 858588 w 3904400"/>
                    <a:gd name="connsiteY84" fmla="*/ 1645841 h 4760516"/>
                    <a:gd name="connsiteX85" fmla="*/ 890338 w 3904400"/>
                    <a:gd name="connsiteY85" fmla="*/ 1829991 h 4760516"/>
                    <a:gd name="connsiteX86" fmla="*/ 966538 w 3904400"/>
                    <a:gd name="connsiteY86" fmla="*/ 2128441 h 4760516"/>
                    <a:gd name="connsiteX87" fmla="*/ 1049088 w 3904400"/>
                    <a:gd name="connsiteY87" fmla="*/ 2198291 h 4760516"/>
                    <a:gd name="connsiteX88" fmla="*/ 1099888 w 3904400"/>
                    <a:gd name="connsiteY88" fmla="*/ 2331641 h 4760516"/>
                    <a:gd name="connsiteX89" fmla="*/ 1220538 w 3904400"/>
                    <a:gd name="connsiteY89" fmla="*/ 2566591 h 4760516"/>
                    <a:gd name="connsiteX90" fmla="*/ 1271338 w 3904400"/>
                    <a:gd name="connsiteY90" fmla="*/ 2712641 h 4760516"/>
                    <a:gd name="connsiteX91" fmla="*/ 1131638 w 3904400"/>
                    <a:gd name="connsiteY91" fmla="*/ 2750741 h 4760516"/>
                    <a:gd name="connsiteX92" fmla="*/ 928438 w 3904400"/>
                    <a:gd name="connsiteY92" fmla="*/ 2776141 h 4760516"/>
                    <a:gd name="connsiteX93" fmla="*/ 744288 w 3904400"/>
                    <a:gd name="connsiteY93" fmla="*/ 2731691 h 4760516"/>
                    <a:gd name="connsiteX94" fmla="*/ 661738 w 3904400"/>
                    <a:gd name="connsiteY94" fmla="*/ 2591991 h 4760516"/>
                    <a:gd name="connsiteX95" fmla="*/ 623638 w 3904400"/>
                    <a:gd name="connsiteY95" fmla="*/ 2344341 h 4760516"/>
                    <a:gd name="connsiteX96" fmla="*/ 636338 w 3904400"/>
                    <a:gd name="connsiteY96" fmla="*/ 2020491 h 4760516"/>
                    <a:gd name="connsiteX97" fmla="*/ 737938 w 3904400"/>
                    <a:gd name="connsiteY97" fmla="*/ 1328341 h 4760516"/>
                    <a:gd name="connsiteX98" fmla="*/ 972888 w 3904400"/>
                    <a:gd name="connsiteY98" fmla="*/ 623491 h 4760516"/>
                    <a:gd name="connsiteX99" fmla="*/ 1169738 w 3904400"/>
                    <a:gd name="connsiteY99" fmla="*/ 299641 h 4760516"/>
                    <a:gd name="connsiteX100" fmla="*/ 1360238 w 3904400"/>
                    <a:gd name="connsiteY100" fmla="*/ 140891 h 4760516"/>
                    <a:gd name="connsiteX101" fmla="*/ 1531688 w 3904400"/>
                    <a:gd name="connsiteY101" fmla="*/ 115491 h 4760516"/>
                    <a:gd name="connsiteX102" fmla="*/ 1677738 w 3904400"/>
                    <a:gd name="connsiteY102" fmla="*/ 13891 h 4760516"/>
                    <a:gd name="connsiteX103" fmla="*/ 1814660 w 3904400"/>
                    <a:gd name="connsiteY103" fmla="*/ 0 h 4760516"/>
                    <a:gd name="connsiteX0" fmla="*/ 3062288 w 3904400"/>
                    <a:gd name="connsiteY0" fmla="*/ 1005769 h 4810829"/>
                    <a:gd name="connsiteX1" fmla="*/ 3082677 w 3904400"/>
                    <a:gd name="connsiteY1" fmla="*/ 1026716 h 4810829"/>
                    <a:gd name="connsiteX2" fmla="*/ 3168402 w 3904400"/>
                    <a:gd name="connsiteY2" fmla="*/ 1369616 h 4810829"/>
                    <a:gd name="connsiteX3" fmla="*/ 3254127 w 3904400"/>
                    <a:gd name="connsiteY3" fmla="*/ 1822054 h 4810829"/>
                    <a:gd name="connsiteX4" fmla="*/ 3282702 w 3904400"/>
                    <a:gd name="connsiteY4" fmla="*/ 2255441 h 4810829"/>
                    <a:gd name="connsiteX5" fmla="*/ 3273177 w 3904400"/>
                    <a:gd name="connsiteY5" fmla="*/ 2526904 h 4810829"/>
                    <a:gd name="connsiteX6" fmla="*/ 3192214 w 3904400"/>
                    <a:gd name="connsiteY6" fmla="*/ 2722166 h 4810829"/>
                    <a:gd name="connsiteX7" fmla="*/ 3044577 w 3904400"/>
                    <a:gd name="connsiteY7" fmla="*/ 2750741 h 4810829"/>
                    <a:gd name="connsiteX8" fmla="*/ 2811214 w 3904400"/>
                    <a:gd name="connsiteY8" fmla="*/ 2731691 h 4810829"/>
                    <a:gd name="connsiteX9" fmla="*/ 2635002 w 3904400"/>
                    <a:gd name="connsiteY9" fmla="*/ 2669779 h 4810829"/>
                    <a:gd name="connsiteX10" fmla="*/ 2658814 w 3904400"/>
                    <a:gd name="connsiteY10" fmla="*/ 2603104 h 4810829"/>
                    <a:gd name="connsiteX11" fmla="*/ 2754064 w 3904400"/>
                    <a:gd name="connsiteY11" fmla="*/ 2474516 h 4810829"/>
                    <a:gd name="connsiteX12" fmla="*/ 2844552 w 3904400"/>
                    <a:gd name="connsiteY12" fmla="*/ 2255441 h 4810829"/>
                    <a:gd name="connsiteX13" fmla="*/ 2863602 w 3904400"/>
                    <a:gd name="connsiteY13" fmla="*/ 2160191 h 4810829"/>
                    <a:gd name="connsiteX14" fmla="*/ 2920752 w 3904400"/>
                    <a:gd name="connsiteY14" fmla="*/ 2098279 h 4810829"/>
                    <a:gd name="connsiteX15" fmla="*/ 3001714 w 3904400"/>
                    <a:gd name="connsiteY15" fmla="*/ 1855391 h 4810829"/>
                    <a:gd name="connsiteX16" fmla="*/ 3058864 w 3904400"/>
                    <a:gd name="connsiteY16" fmla="*/ 1598216 h 4810829"/>
                    <a:gd name="connsiteX17" fmla="*/ 3063627 w 3904400"/>
                    <a:gd name="connsiteY17" fmla="*/ 1483916 h 4810829"/>
                    <a:gd name="connsiteX18" fmla="*/ 3011239 w 3904400"/>
                    <a:gd name="connsiteY18" fmla="*/ 1379141 h 4810829"/>
                    <a:gd name="connsiteX19" fmla="*/ 2958852 w 3904400"/>
                    <a:gd name="connsiteY19" fmla="*/ 1331516 h 4810829"/>
                    <a:gd name="connsiteX20" fmla="*/ 2949327 w 3904400"/>
                    <a:gd name="connsiteY20" fmla="*/ 1236266 h 4810829"/>
                    <a:gd name="connsiteX21" fmla="*/ 2958852 w 3904400"/>
                    <a:gd name="connsiteY21" fmla="*/ 1121966 h 4810829"/>
                    <a:gd name="connsiteX22" fmla="*/ 3006477 w 3904400"/>
                    <a:gd name="connsiteY22" fmla="*/ 1050529 h 4810829"/>
                    <a:gd name="connsiteX23" fmla="*/ 3062288 w 3904400"/>
                    <a:gd name="connsiteY23" fmla="*/ 1005769 h 4810829"/>
                    <a:gd name="connsiteX24" fmla="*/ 1814660 w 3904400"/>
                    <a:gd name="connsiteY24" fmla="*/ 0 h 4810829"/>
                    <a:gd name="connsiteX25" fmla="*/ 1957138 w 3904400"/>
                    <a:gd name="connsiteY25" fmla="*/ 1191 h 4810829"/>
                    <a:gd name="connsiteX26" fmla="*/ 2153988 w 3904400"/>
                    <a:gd name="connsiteY26" fmla="*/ 20241 h 4810829"/>
                    <a:gd name="connsiteX27" fmla="*/ 2382588 w 3904400"/>
                    <a:gd name="connsiteY27" fmla="*/ 121841 h 4810829"/>
                    <a:gd name="connsiteX28" fmla="*/ 2642938 w 3904400"/>
                    <a:gd name="connsiteY28" fmla="*/ 331391 h 4810829"/>
                    <a:gd name="connsiteX29" fmla="*/ 2947738 w 3904400"/>
                    <a:gd name="connsiteY29" fmla="*/ 693341 h 4810829"/>
                    <a:gd name="connsiteX30" fmla="*/ 3062038 w 3904400"/>
                    <a:gd name="connsiteY30" fmla="*/ 883841 h 4810829"/>
                    <a:gd name="connsiteX31" fmla="*/ 3011238 w 3904400"/>
                    <a:gd name="connsiteY31" fmla="*/ 1004491 h 4810829"/>
                    <a:gd name="connsiteX32" fmla="*/ 2903288 w 3904400"/>
                    <a:gd name="connsiteY32" fmla="*/ 1061641 h 4810829"/>
                    <a:gd name="connsiteX33" fmla="*/ 2827088 w 3904400"/>
                    <a:gd name="connsiteY33" fmla="*/ 998141 h 4810829"/>
                    <a:gd name="connsiteX34" fmla="*/ 2655638 w 3904400"/>
                    <a:gd name="connsiteY34" fmla="*/ 820341 h 4810829"/>
                    <a:gd name="connsiteX35" fmla="*/ 2350838 w 3904400"/>
                    <a:gd name="connsiteY35" fmla="*/ 674291 h 4810829"/>
                    <a:gd name="connsiteX36" fmla="*/ 2020638 w 3904400"/>
                    <a:gd name="connsiteY36" fmla="*/ 674291 h 4810829"/>
                    <a:gd name="connsiteX37" fmla="*/ 2344488 w 3904400"/>
                    <a:gd name="connsiteY37" fmla="*/ 769541 h 4810829"/>
                    <a:gd name="connsiteX38" fmla="*/ 2554038 w 3904400"/>
                    <a:gd name="connsiteY38" fmla="*/ 909241 h 4810829"/>
                    <a:gd name="connsiteX39" fmla="*/ 2630379 w 3904400"/>
                    <a:gd name="connsiteY39" fmla="*/ 973620 h 4810829"/>
                    <a:gd name="connsiteX40" fmla="*/ 2901551 w 3904400"/>
                    <a:gd name="connsiteY40" fmla="*/ 1067700 h 4810829"/>
                    <a:gd name="connsiteX41" fmla="*/ 2830884 w 3904400"/>
                    <a:gd name="connsiteY41" fmla="*/ 1212445 h 4810829"/>
                    <a:gd name="connsiteX42" fmla="*/ 2830884 w 3904400"/>
                    <a:gd name="connsiteY42" fmla="*/ 1445256 h 4810829"/>
                    <a:gd name="connsiteX43" fmla="*/ 2939795 w 3904400"/>
                    <a:gd name="connsiteY43" fmla="*/ 1531580 h 4810829"/>
                    <a:gd name="connsiteX44" fmla="*/ 2823781 w 3904400"/>
                    <a:gd name="connsiteY44" fmla="*/ 2041674 h 4810829"/>
                    <a:gd name="connsiteX45" fmla="*/ 2757487 w 3904400"/>
                    <a:gd name="connsiteY45" fmla="*/ 2086142 h 4810829"/>
                    <a:gd name="connsiteX46" fmla="*/ 2480886 w 3904400"/>
                    <a:gd name="connsiteY46" fmla="*/ 2698176 h 4810829"/>
                    <a:gd name="connsiteX47" fmla="*/ 2530227 w 3904400"/>
                    <a:gd name="connsiteY47" fmla="*/ 2817416 h 4810829"/>
                    <a:gd name="connsiteX48" fmla="*/ 2592139 w 3904400"/>
                    <a:gd name="connsiteY48" fmla="*/ 2874566 h 4810829"/>
                    <a:gd name="connsiteX49" fmla="*/ 2658814 w 3904400"/>
                    <a:gd name="connsiteY49" fmla="*/ 2884091 h 4810829"/>
                    <a:gd name="connsiteX50" fmla="*/ 2682627 w 3904400"/>
                    <a:gd name="connsiteY50" fmla="*/ 2912666 h 4810829"/>
                    <a:gd name="connsiteX51" fmla="*/ 2749302 w 3904400"/>
                    <a:gd name="connsiteY51" fmla="*/ 3079354 h 4810829"/>
                    <a:gd name="connsiteX52" fmla="*/ 2844552 w 3904400"/>
                    <a:gd name="connsiteY52" fmla="*/ 3174604 h 4810829"/>
                    <a:gd name="connsiteX53" fmla="*/ 2939802 w 3904400"/>
                    <a:gd name="connsiteY53" fmla="*/ 3207941 h 4810829"/>
                    <a:gd name="connsiteX54" fmla="*/ 3282702 w 3904400"/>
                    <a:gd name="connsiteY54" fmla="*/ 3317479 h 4810829"/>
                    <a:gd name="connsiteX55" fmla="*/ 3658939 w 3904400"/>
                    <a:gd name="connsiteY55" fmla="*/ 3493691 h 4810829"/>
                    <a:gd name="connsiteX56" fmla="*/ 3868489 w 3904400"/>
                    <a:gd name="connsiteY56" fmla="*/ 3641329 h 4810829"/>
                    <a:gd name="connsiteX57" fmla="*/ 3901827 w 3904400"/>
                    <a:gd name="connsiteY57" fmla="*/ 3769916 h 4810829"/>
                    <a:gd name="connsiteX58" fmla="*/ 3878014 w 3904400"/>
                    <a:gd name="connsiteY58" fmla="*/ 4027091 h 4810829"/>
                    <a:gd name="connsiteX59" fmla="*/ 3792289 w 3904400"/>
                    <a:gd name="connsiteY59" fmla="*/ 4236641 h 4810829"/>
                    <a:gd name="connsiteX60" fmla="*/ 3620839 w 3904400"/>
                    <a:gd name="connsiteY60" fmla="*/ 4598591 h 4810829"/>
                    <a:gd name="connsiteX61" fmla="*/ 3473202 w 3904400"/>
                    <a:gd name="connsiteY61" fmla="*/ 4760516 h 4810829"/>
                    <a:gd name="connsiteX62" fmla="*/ 339477 w 3904400"/>
                    <a:gd name="connsiteY62" fmla="*/ 4760516 h 4810829"/>
                    <a:gd name="connsiteX63" fmla="*/ 163264 w 3904400"/>
                    <a:gd name="connsiteY63" fmla="*/ 4436666 h 4810829"/>
                    <a:gd name="connsiteX64" fmla="*/ 58489 w 3904400"/>
                    <a:gd name="connsiteY64" fmla="*/ 4141391 h 4810829"/>
                    <a:gd name="connsiteX65" fmla="*/ 1339 w 3904400"/>
                    <a:gd name="connsiteY65" fmla="*/ 3855641 h 4810829"/>
                    <a:gd name="connsiteX66" fmla="*/ 25152 w 3904400"/>
                    <a:gd name="connsiteY66" fmla="*/ 3703241 h 4810829"/>
                    <a:gd name="connsiteX67" fmla="*/ 220414 w 3904400"/>
                    <a:gd name="connsiteY67" fmla="*/ 3584179 h 4810829"/>
                    <a:gd name="connsiteX68" fmla="*/ 534739 w 3904400"/>
                    <a:gd name="connsiteY68" fmla="*/ 3450829 h 4810829"/>
                    <a:gd name="connsiteX69" fmla="*/ 934789 w 3904400"/>
                    <a:gd name="connsiteY69" fmla="*/ 3293666 h 4810829"/>
                    <a:gd name="connsiteX70" fmla="*/ 1134814 w 3904400"/>
                    <a:gd name="connsiteY70" fmla="*/ 3217466 h 4810829"/>
                    <a:gd name="connsiteX71" fmla="*/ 1277689 w 3904400"/>
                    <a:gd name="connsiteY71" fmla="*/ 2950766 h 4810829"/>
                    <a:gd name="connsiteX72" fmla="*/ 1372939 w 3904400"/>
                    <a:gd name="connsiteY72" fmla="*/ 2888854 h 4810829"/>
                    <a:gd name="connsiteX73" fmla="*/ 1444377 w 3904400"/>
                    <a:gd name="connsiteY73" fmla="*/ 2750741 h 4810829"/>
                    <a:gd name="connsiteX74" fmla="*/ 1430089 w 3904400"/>
                    <a:gd name="connsiteY74" fmla="*/ 2665016 h 4810829"/>
                    <a:gd name="connsiteX75" fmla="*/ 1433678 w 3904400"/>
                    <a:gd name="connsiteY75" fmla="*/ 2655556 h 4810829"/>
                    <a:gd name="connsiteX76" fmla="*/ 1412671 w 3904400"/>
                    <a:gd name="connsiteY76" fmla="*/ 2630242 h 4810829"/>
                    <a:gd name="connsiteX77" fmla="*/ 1171172 w 3904400"/>
                    <a:gd name="connsiteY77" fmla="*/ 2059985 h 4810829"/>
                    <a:gd name="connsiteX78" fmla="*/ 977027 w 3904400"/>
                    <a:gd name="connsiteY78" fmla="*/ 1612672 h 4810829"/>
                    <a:gd name="connsiteX79" fmla="*/ 1052790 w 3904400"/>
                    <a:gd name="connsiteY79" fmla="*/ 1487109 h 4810829"/>
                    <a:gd name="connsiteX80" fmla="*/ 1018186 w 3904400"/>
                    <a:gd name="connsiteY80" fmla="*/ 1277790 h 4810829"/>
                    <a:gd name="connsiteX81" fmla="*/ 934788 w 3904400"/>
                    <a:gd name="connsiteY81" fmla="*/ 1341041 h 4810829"/>
                    <a:gd name="connsiteX82" fmla="*/ 883988 w 3904400"/>
                    <a:gd name="connsiteY82" fmla="*/ 1404541 h 4810829"/>
                    <a:gd name="connsiteX83" fmla="*/ 839538 w 3904400"/>
                    <a:gd name="connsiteY83" fmla="*/ 1525191 h 4810829"/>
                    <a:gd name="connsiteX84" fmla="*/ 858588 w 3904400"/>
                    <a:gd name="connsiteY84" fmla="*/ 1645841 h 4810829"/>
                    <a:gd name="connsiteX85" fmla="*/ 890338 w 3904400"/>
                    <a:gd name="connsiteY85" fmla="*/ 1829991 h 4810829"/>
                    <a:gd name="connsiteX86" fmla="*/ 966538 w 3904400"/>
                    <a:gd name="connsiteY86" fmla="*/ 2128441 h 4810829"/>
                    <a:gd name="connsiteX87" fmla="*/ 1049088 w 3904400"/>
                    <a:gd name="connsiteY87" fmla="*/ 2198291 h 4810829"/>
                    <a:gd name="connsiteX88" fmla="*/ 1099888 w 3904400"/>
                    <a:gd name="connsiteY88" fmla="*/ 2331641 h 4810829"/>
                    <a:gd name="connsiteX89" fmla="*/ 1220538 w 3904400"/>
                    <a:gd name="connsiteY89" fmla="*/ 2566591 h 4810829"/>
                    <a:gd name="connsiteX90" fmla="*/ 1271338 w 3904400"/>
                    <a:gd name="connsiteY90" fmla="*/ 2712641 h 4810829"/>
                    <a:gd name="connsiteX91" fmla="*/ 1131638 w 3904400"/>
                    <a:gd name="connsiteY91" fmla="*/ 2750741 h 4810829"/>
                    <a:gd name="connsiteX92" fmla="*/ 928438 w 3904400"/>
                    <a:gd name="connsiteY92" fmla="*/ 2776141 h 4810829"/>
                    <a:gd name="connsiteX93" fmla="*/ 744288 w 3904400"/>
                    <a:gd name="connsiteY93" fmla="*/ 2731691 h 4810829"/>
                    <a:gd name="connsiteX94" fmla="*/ 661738 w 3904400"/>
                    <a:gd name="connsiteY94" fmla="*/ 2591991 h 4810829"/>
                    <a:gd name="connsiteX95" fmla="*/ 623638 w 3904400"/>
                    <a:gd name="connsiteY95" fmla="*/ 2344341 h 4810829"/>
                    <a:gd name="connsiteX96" fmla="*/ 636338 w 3904400"/>
                    <a:gd name="connsiteY96" fmla="*/ 2020491 h 4810829"/>
                    <a:gd name="connsiteX97" fmla="*/ 737938 w 3904400"/>
                    <a:gd name="connsiteY97" fmla="*/ 1328341 h 4810829"/>
                    <a:gd name="connsiteX98" fmla="*/ 972888 w 3904400"/>
                    <a:gd name="connsiteY98" fmla="*/ 623491 h 4810829"/>
                    <a:gd name="connsiteX99" fmla="*/ 1169738 w 3904400"/>
                    <a:gd name="connsiteY99" fmla="*/ 299641 h 4810829"/>
                    <a:gd name="connsiteX100" fmla="*/ 1360238 w 3904400"/>
                    <a:gd name="connsiteY100" fmla="*/ 140891 h 4810829"/>
                    <a:gd name="connsiteX101" fmla="*/ 1531688 w 3904400"/>
                    <a:gd name="connsiteY101" fmla="*/ 115491 h 4810829"/>
                    <a:gd name="connsiteX102" fmla="*/ 1677738 w 3904400"/>
                    <a:gd name="connsiteY102" fmla="*/ 13891 h 4810829"/>
                    <a:gd name="connsiteX103" fmla="*/ 1814660 w 3904400"/>
                    <a:gd name="connsiteY103" fmla="*/ 0 h 4810829"/>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630379 w 3904400"/>
                    <a:gd name="connsiteY39" fmla="*/ 973620 h 4848994"/>
                    <a:gd name="connsiteX40" fmla="*/ 2901551 w 3904400"/>
                    <a:gd name="connsiteY40" fmla="*/ 1067700 h 4848994"/>
                    <a:gd name="connsiteX41" fmla="*/ 2830884 w 3904400"/>
                    <a:gd name="connsiteY41" fmla="*/ 1212445 h 4848994"/>
                    <a:gd name="connsiteX42" fmla="*/ 2830884 w 3904400"/>
                    <a:gd name="connsiteY42" fmla="*/ 1445256 h 4848994"/>
                    <a:gd name="connsiteX43" fmla="*/ 2939795 w 3904400"/>
                    <a:gd name="connsiteY43" fmla="*/ 1531580 h 4848994"/>
                    <a:gd name="connsiteX44" fmla="*/ 2823781 w 3904400"/>
                    <a:gd name="connsiteY44" fmla="*/ 2041674 h 4848994"/>
                    <a:gd name="connsiteX45" fmla="*/ 2757487 w 3904400"/>
                    <a:gd name="connsiteY45" fmla="*/ 2086142 h 4848994"/>
                    <a:gd name="connsiteX46" fmla="*/ 2480886 w 3904400"/>
                    <a:gd name="connsiteY46" fmla="*/ 2698176 h 4848994"/>
                    <a:gd name="connsiteX47" fmla="*/ 2530227 w 3904400"/>
                    <a:gd name="connsiteY47" fmla="*/ 2817416 h 4848994"/>
                    <a:gd name="connsiteX48" fmla="*/ 2592139 w 3904400"/>
                    <a:gd name="connsiteY48" fmla="*/ 2874566 h 4848994"/>
                    <a:gd name="connsiteX49" fmla="*/ 2658814 w 3904400"/>
                    <a:gd name="connsiteY49" fmla="*/ 2884091 h 4848994"/>
                    <a:gd name="connsiteX50" fmla="*/ 2682627 w 3904400"/>
                    <a:gd name="connsiteY50" fmla="*/ 2912666 h 4848994"/>
                    <a:gd name="connsiteX51" fmla="*/ 2749302 w 3904400"/>
                    <a:gd name="connsiteY51" fmla="*/ 3079354 h 4848994"/>
                    <a:gd name="connsiteX52" fmla="*/ 2844552 w 3904400"/>
                    <a:gd name="connsiteY52" fmla="*/ 3174604 h 4848994"/>
                    <a:gd name="connsiteX53" fmla="*/ 2939802 w 3904400"/>
                    <a:gd name="connsiteY53" fmla="*/ 3207941 h 4848994"/>
                    <a:gd name="connsiteX54" fmla="*/ 3282702 w 3904400"/>
                    <a:gd name="connsiteY54" fmla="*/ 3317479 h 4848994"/>
                    <a:gd name="connsiteX55" fmla="*/ 3658939 w 3904400"/>
                    <a:gd name="connsiteY55" fmla="*/ 3493691 h 4848994"/>
                    <a:gd name="connsiteX56" fmla="*/ 3868489 w 3904400"/>
                    <a:gd name="connsiteY56" fmla="*/ 3641329 h 4848994"/>
                    <a:gd name="connsiteX57" fmla="*/ 3901827 w 3904400"/>
                    <a:gd name="connsiteY57" fmla="*/ 3769916 h 4848994"/>
                    <a:gd name="connsiteX58" fmla="*/ 3878014 w 3904400"/>
                    <a:gd name="connsiteY58" fmla="*/ 4027091 h 4848994"/>
                    <a:gd name="connsiteX59" fmla="*/ 3792289 w 3904400"/>
                    <a:gd name="connsiteY59" fmla="*/ 4236641 h 4848994"/>
                    <a:gd name="connsiteX60" fmla="*/ 3620839 w 3904400"/>
                    <a:gd name="connsiteY60" fmla="*/ 4598591 h 4848994"/>
                    <a:gd name="connsiteX61" fmla="*/ 3473202 w 3904400"/>
                    <a:gd name="connsiteY61" fmla="*/ 4760516 h 4848994"/>
                    <a:gd name="connsiteX62" fmla="*/ 339477 w 3904400"/>
                    <a:gd name="connsiteY62" fmla="*/ 4760516 h 4848994"/>
                    <a:gd name="connsiteX63" fmla="*/ 163264 w 3904400"/>
                    <a:gd name="connsiteY63" fmla="*/ 4436666 h 4848994"/>
                    <a:gd name="connsiteX64" fmla="*/ 58489 w 3904400"/>
                    <a:gd name="connsiteY64" fmla="*/ 4141391 h 4848994"/>
                    <a:gd name="connsiteX65" fmla="*/ 1339 w 3904400"/>
                    <a:gd name="connsiteY65" fmla="*/ 3855641 h 4848994"/>
                    <a:gd name="connsiteX66" fmla="*/ 25152 w 3904400"/>
                    <a:gd name="connsiteY66" fmla="*/ 3703241 h 4848994"/>
                    <a:gd name="connsiteX67" fmla="*/ 220414 w 3904400"/>
                    <a:gd name="connsiteY67" fmla="*/ 3584179 h 4848994"/>
                    <a:gd name="connsiteX68" fmla="*/ 534739 w 3904400"/>
                    <a:gd name="connsiteY68" fmla="*/ 3450829 h 4848994"/>
                    <a:gd name="connsiteX69" fmla="*/ 934789 w 3904400"/>
                    <a:gd name="connsiteY69" fmla="*/ 3293666 h 4848994"/>
                    <a:gd name="connsiteX70" fmla="*/ 1134814 w 3904400"/>
                    <a:gd name="connsiteY70" fmla="*/ 3217466 h 4848994"/>
                    <a:gd name="connsiteX71" fmla="*/ 1277689 w 3904400"/>
                    <a:gd name="connsiteY71" fmla="*/ 2950766 h 4848994"/>
                    <a:gd name="connsiteX72" fmla="*/ 1372939 w 3904400"/>
                    <a:gd name="connsiteY72" fmla="*/ 2888854 h 4848994"/>
                    <a:gd name="connsiteX73" fmla="*/ 1444377 w 3904400"/>
                    <a:gd name="connsiteY73" fmla="*/ 2750741 h 4848994"/>
                    <a:gd name="connsiteX74" fmla="*/ 1430089 w 3904400"/>
                    <a:gd name="connsiteY74" fmla="*/ 2665016 h 4848994"/>
                    <a:gd name="connsiteX75" fmla="*/ 1433678 w 3904400"/>
                    <a:gd name="connsiteY75" fmla="*/ 2655556 h 4848994"/>
                    <a:gd name="connsiteX76" fmla="*/ 1412671 w 3904400"/>
                    <a:gd name="connsiteY76" fmla="*/ 2630242 h 4848994"/>
                    <a:gd name="connsiteX77" fmla="*/ 1171172 w 3904400"/>
                    <a:gd name="connsiteY77" fmla="*/ 2059985 h 4848994"/>
                    <a:gd name="connsiteX78" fmla="*/ 977027 w 3904400"/>
                    <a:gd name="connsiteY78" fmla="*/ 1612672 h 4848994"/>
                    <a:gd name="connsiteX79" fmla="*/ 1052790 w 3904400"/>
                    <a:gd name="connsiteY79" fmla="*/ 1487109 h 4848994"/>
                    <a:gd name="connsiteX80" fmla="*/ 1018186 w 3904400"/>
                    <a:gd name="connsiteY80" fmla="*/ 1277790 h 4848994"/>
                    <a:gd name="connsiteX81" fmla="*/ 934788 w 3904400"/>
                    <a:gd name="connsiteY81" fmla="*/ 1341041 h 4848994"/>
                    <a:gd name="connsiteX82" fmla="*/ 883988 w 3904400"/>
                    <a:gd name="connsiteY82" fmla="*/ 1404541 h 4848994"/>
                    <a:gd name="connsiteX83" fmla="*/ 839538 w 3904400"/>
                    <a:gd name="connsiteY83" fmla="*/ 1525191 h 4848994"/>
                    <a:gd name="connsiteX84" fmla="*/ 858588 w 3904400"/>
                    <a:gd name="connsiteY84" fmla="*/ 1645841 h 4848994"/>
                    <a:gd name="connsiteX85" fmla="*/ 890338 w 3904400"/>
                    <a:gd name="connsiteY85" fmla="*/ 1829991 h 4848994"/>
                    <a:gd name="connsiteX86" fmla="*/ 966538 w 3904400"/>
                    <a:gd name="connsiteY86" fmla="*/ 2128441 h 4848994"/>
                    <a:gd name="connsiteX87" fmla="*/ 1049088 w 3904400"/>
                    <a:gd name="connsiteY87" fmla="*/ 2198291 h 4848994"/>
                    <a:gd name="connsiteX88" fmla="*/ 1099888 w 3904400"/>
                    <a:gd name="connsiteY88" fmla="*/ 2331641 h 4848994"/>
                    <a:gd name="connsiteX89" fmla="*/ 1220538 w 3904400"/>
                    <a:gd name="connsiteY89" fmla="*/ 2566591 h 4848994"/>
                    <a:gd name="connsiteX90" fmla="*/ 1271338 w 3904400"/>
                    <a:gd name="connsiteY90" fmla="*/ 2712641 h 4848994"/>
                    <a:gd name="connsiteX91" fmla="*/ 1131638 w 3904400"/>
                    <a:gd name="connsiteY91" fmla="*/ 2750741 h 4848994"/>
                    <a:gd name="connsiteX92" fmla="*/ 928438 w 3904400"/>
                    <a:gd name="connsiteY92" fmla="*/ 2776141 h 4848994"/>
                    <a:gd name="connsiteX93" fmla="*/ 744288 w 3904400"/>
                    <a:gd name="connsiteY93" fmla="*/ 2731691 h 4848994"/>
                    <a:gd name="connsiteX94" fmla="*/ 661738 w 3904400"/>
                    <a:gd name="connsiteY94" fmla="*/ 2591991 h 4848994"/>
                    <a:gd name="connsiteX95" fmla="*/ 623638 w 3904400"/>
                    <a:gd name="connsiteY95" fmla="*/ 2344341 h 4848994"/>
                    <a:gd name="connsiteX96" fmla="*/ 636338 w 3904400"/>
                    <a:gd name="connsiteY96" fmla="*/ 2020491 h 4848994"/>
                    <a:gd name="connsiteX97" fmla="*/ 737938 w 3904400"/>
                    <a:gd name="connsiteY97" fmla="*/ 1328341 h 4848994"/>
                    <a:gd name="connsiteX98" fmla="*/ 972888 w 3904400"/>
                    <a:gd name="connsiteY98" fmla="*/ 623491 h 4848994"/>
                    <a:gd name="connsiteX99" fmla="*/ 1169738 w 3904400"/>
                    <a:gd name="connsiteY99" fmla="*/ 299641 h 4848994"/>
                    <a:gd name="connsiteX100" fmla="*/ 1360238 w 3904400"/>
                    <a:gd name="connsiteY100" fmla="*/ 140891 h 4848994"/>
                    <a:gd name="connsiteX101" fmla="*/ 1531688 w 3904400"/>
                    <a:gd name="connsiteY101" fmla="*/ 115491 h 4848994"/>
                    <a:gd name="connsiteX102" fmla="*/ 1677738 w 3904400"/>
                    <a:gd name="connsiteY102" fmla="*/ 13891 h 4848994"/>
                    <a:gd name="connsiteX103" fmla="*/ 1814660 w 3904400"/>
                    <a:gd name="connsiteY103"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554038 w 3904400"/>
                    <a:gd name="connsiteY38" fmla="*/ 909241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344488 w 3904400"/>
                    <a:gd name="connsiteY37" fmla="*/ 769541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901551 w 3904400"/>
                    <a:gd name="connsiteY39" fmla="*/ 1067700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 name="connsiteX0" fmla="*/ 3062288 w 3904400"/>
                    <a:gd name="connsiteY0" fmla="*/ 1005769 h 4848994"/>
                    <a:gd name="connsiteX1" fmla="*/ 3082677 w 3904400"/>
                    <a:gd name="connsiteY1" fmla="*/ 1026716 h 4848994"/>
                    <a:gd name="connsiteX2" fmla="*/ 3168402 w 3904400"/>
                    <a:gd name="connsiteY2" fmla="*/ 1369616 h 4848994"/>
                    <a:gd name="connsiteX3" fmla="*/ 3254127 w 3904400"/>
                    <a:gd name="connsiteY3" fmla="*/ 1822054 h 4848994"/>
                    <a:gd name="connsiteX4" fmla="*/ 3282702 w 3904400"/>
                    <a:gd name="connsiteY4" fmla="*/ 2255441 h 4848994"/>
                    <a:gd name="connsiteX5" fmla="*/ 3273177 w 3904400"/>
                    <a:gd name="connsiteY5" fmla="*/ 2526904 h 4848994"/>
                    <a:gd name="connsiteX6" fmla="*/ 3192214 w 3904400"/>
                    <a:gd name="connsiteY6" fmla="*/ 2722166 h 4848994"/>
                    <a:gd name="connsiteX7" fmla="*/ 3044577 w 3904400"/>
                    <a:gd name="connsiteY7" fmla="*/ 2750741 h 4848994"/>
                    <a:gd name="connsiteX8" fmla="*/ 2811214 w 3904400"/>
                    <a:gd name="connsiteY8" fmla="*/ 2731691 h 4848994"/>
                    <a:gd name="connsiteX9" fmla="*/ 2635002 w 3904400"/>
                    <a:gd name="connsiteY9" fmla="*/ 2669779 h 4848994"/>
                    <a:gd name="connsiteX10" fmla="*/ 2658814 w 3904400"/>
                    <a:gd name="connsiteY10" fmla="*/ 2603104 h 4848994"/>
                    <a:gd name="connsiteX11" fmla="*/ 2754064 w 3904400"/>
                    <a:gd name="connsiteY11" fmla="*/ 2474516 h 4848994"/>
                    <a:gd name="connsiteX12" fmla="*/ 2844552 w 3904400"/>
                    <a:gd name="connsiteY12" fmla="*/ 2255441 h 4848994"/>
                    <a:gd name="connsiteX13" fmla="*/ 2863602 w 3904400"/>
                    <a:gd name="connsiteY13" fmla="*/ 2160191 h 4848994"/>
                    <a:gd name="connsiteX14" fmla="*/ 2920752 w 3904400"/>
                    <a:gd name="connsiteY14" fmla="*/ 2098279 h 4848994"/>
                    <a:gd name="connsiteX15" fmla="*/ 3001714 w 3904400"/>
                    <a:gd name="connsiteY15" fmla="*/ 1855391 h 4848994"/>
                    <a:gd name="connsiteX16" fmla="*/ 3058864 w 3904400"/>
                    <a:gd name="connsiteY16" fmla="*/ 1598216 h 4848994"/>
                    <a:gd name="connsiteX17" fmla="*/ 3063627 w 3904400"/>
                    <a:gd name="connsiteY17" fmla="*/ 1483916 h 4848994"/>
                    <a:gd name="connsiteX18" fmla="*/ 3011239 w 3904400"/>
                    <a:gd name="connsiteY18" fmla="*/ 1379141 h 4848994"/>
                    <a:gd name="connsiteX19" fmla="*/ 2958852 w 3904400"/>
                    <a:gd name="connsiteY19" fmla="*/ 1331516 h 4848994"/>
                    <a:gd name="connsiteX20" fmla="*/ 2949327 w 3904400"/>
                    <a:gd name="connsiteY20" fmla="*/ 1236266 h 4848994"/>
                    <a:gd name="connsiteX21" fmla="*/ 2958852 w 3904400"/>
                    <a:gd name="connsiteY21" fmla="*/ 1121966 h 4848994"/>
                    <a:gd name="connsiteX22" fmla="*/ 3006477 w 3904400"/>
                    <a:gd name="connsiteY22" fmla="*/ 1050529 h 4848994"/>
                    <a:gd name="connsiteX23" fmla="*/ 3062288 w 3904400"/>
                    <a:gd name="connsiteY23" fmla="*/ 1005769 h 4848994"/>
                    <a:gd name="connsiteX24" fmla="*/ 1814660 w 3904400"/>
                    <a:gd name="connsiteY24" fmla="*/ 0 h 4848994"/>
                    <a:gd name="connsiteX25" fmla="*/ 1957138 w 3904400"/>
                    <a:gd name="connsiteY25" fmla="*/ 1191 h 4848994"/>
                    <a:gd name="connsiteX26" fmla="*/ 2153988 w 3904400"/>
                    <a:gd name="connsiteY26" fmla="*/ 20241 h 4848994"/>
                    <a:gd name="connsiteX27" fmla="*/ 2382588 w 3904400"/>
                    <a:gd name="connsiteY27" fmla="*/ 121841 h 4848994"/>
                    <a:gd name="connsiteX28" fmla="*/ 2642938 w 3904400"/>
                    <a:gd name="connsiteY28" fmla="*/ 331391 h 4848994"/>
                    <a:gd name="connsiteX29" fmla="*/ 2947738 w 3904400"/>
                    <a:gd name="connsiteY29" fmla="*/ 693341 h 4848994"/>
                    <a:gd name="connsiteX30" fmla="*/ 3062038 w 3904400"/>
                    <a:gd name="connsiteY30" fmla="*/ 883841 h 4848994"/>
                    <a:gd name="connsiteX31" fmla="*/ 3011238 w 3904400"/>
                    <a:gd name="connsiteY31" fmla="*/ 1004491 h 4848994"/>
                    <a:gd name="connsiteX32" fmla="*/ 2903288 w 3904400"/>
                    <a:gd name="connsiteY32" fmla="*/ 1061641 h 4848994"/>
                    <a:gd name="connsiteX33" fmla="*/ 2827088 w 3904400"/>
                    <a:gd name="connsiteY33" fmla="*/ 998141 h 4848994"/>
                    <a:gd name="connsiteX34" fmla="*/ 2655638 w 3904400"/>
                    <a:gd name="connsiteY34" fmla="*/ 820341 h 4848994"/>
                    <a:gd name="connsiteX35" fmla="*/ 2350838 w 3904400"/>
                    <a:gd name="connsiteY35" fmla="*/ 674291 h 4848994"/>
                    <a:gd name="connsiteX36" fmla="*/ 2020638 w 3904400"/>
                    <a:gd name="connsiteY36" fmla="*/ 674291 h 4848994"/>
                    <a:gd name="connsiteX37" fmla="*/ 2450619 w 3904400"/>
                    <a:gd name="connsiteY37" fmla="*/ 769542 h 4848994"/>
                    <a:gd name="connsiteX38" fmla="*/ 2660171 w 3904400"/>
                    <a:gd name="connsiteY38" fmla="*/ 895090 h 4848994"/>
                    <a:gd name="connsiteX39" fmla="*/ 2859098 w 3904400"/>
                    <a:gd name="connsiteY39" fmla="*/ 1103077 h 4848994"/>
                    <a:gd name="connsiteX40" fmla="*/ 2830884 w 3904400"/>
                    <a:gd name="connsiteY40" fmla="*/ 1212445 h 4848994"/>
                    <a:gd name="connsiteX41" fmla="*/ 2830884 w 3904400"/>
                    <a:gd name="connsiteY41" fmla="*/ 1445256 h 4848994"/>
                    <a:gd name="connsiteX42" fmla="*/ 2939795 w 3904400"/>
                    <a:gd name="connsiteY42" fmla="*/ 1531580 h 4848994"/>
                    <a:gd name="connsiteX43" fmla="*/ 2823781 w 3904400"/>
                    <a:gd name="connsiteY43" fmla="*/ 2041674 h 4848994"/>
                    <a:gd name="connsiteX44" fmla="*/ 2757487 w 3904400"/>
                    <a:gd name="connsiteY44" fmla="*/ 2086142 h 4848994"/>
                    <a:gd name="connsiteX45" fmla="*/ 2480886 w 3904400"/>
                    <a:gd name="connsiteY45" fmla="*/ 2698176 h 4848994"/>
                    <a:gd name="connsiteX46" fmla="*/ 2530227 w 3904400"/>
                    <a:gd name="connsiteY46" fmla="*/ 2817416 h 4848994"/>
                    <a:gd name="connsiteX47" fmla="*/ 2592139 w 3904400"/>
                    <a:gd name="connsiteY47" fmla="*/ 2874566 h 4848994"/>
                    <a:gd name="connsiteX48" fmla="*/ 2658814 w 3904400"/>
                    <a:gd name="connsiteY48" fmla="*/ 2884091 h 4848994"/>
                    <a:gd name="connsiteX49" fmla="*/ 2682627 w 3904400"/>
                    <a:gd name="connsiteY49" fmla="*/ 2912666 h 4848994"/>
                    <a:gd name="connsiteX50" fmla="*/ 2749302 w 3904400"/>
                    <a:gd name="connsiteY50" fmla="*/ 3079354 h 4848994"/>
                    <a:gd name="connsiteX51" fmla="*/ 2844552 w 3904400"/>
                    <a:gd name="connsiteY51" fmla="*/ 3174604 h 4848994"/>
                    <a:gd name="connsiteX52" fmla="*/ 2939802 w 3904400"/>
                    <a:gd name="connsiteY52" fmla="*/ 3207941 h 4848994"/>
                    <a:gd name="connsiteX53" fmla="*/ 3282702 w 3904400"/>
                    <a:gd name="connsiteY53" fmla="*/ 3317479 h 4848994"/>
                    <a:gd name="connsiteX54" fmla="*/ 3658939 w 3904400"/>
                    <a:gd name="connsiteY54" fmla="*/ 3493691 h 4848994"/>
                    <a:gd name="connsiteX55" fmla="*/ 3868489 w 3904400"/>
                    <a:gd name="connsiteY55" fmla="*/ 3641329 h 4848994"/>
                    <a:gd name="connsiteX56" fmla="*/ 3901827 w 3904400"/>
                    <a:gd name="connsiteY56" fmla="*/ 3769916 h 4848994"/>
                    <a:gd name="connsiteX57" fmla="*/ 3878014 w 3904400"/>
                    <a:gd name="connsiteY57" fmla="*/ 4027091 h 4848994"/>
                    <a:gd name="connsiteX58" fmla="*/ 3792289 w 3904400"/>
                    <a:gd name="connsiteY58" fmla="*/ 4236641 h 4848994"/>
                    <a:gd name="connsiteX59" fmla="*/ 3620839 w 3904400"/>
                    <a:gd name="connsiteY59" fmla="*/ 4598591 h 4848994"/>
                    <a:gd name="connsiteX60" fmla="*/ 3473202 w 3904400"/>
                    <a:gd name="connsiteY60" fmla="*/ 4760516 h 4848994"/>
                    <a:gd name="connsiteX61" fmla="*/ 339477 w 3904400"/>
                    <a:gd name="connsiteY61" fmla="*/ 4760516 h 4848994"/>
                    <a:gd name="connsiteX62" fmla="*/ 163264 w 3904400"/>
                    <a:gd name="connsiteY62" fmla="*/ 4436666 h 4848994"/>
                    <a:gd name="connsiteX63" fmla="*/ 58489 w 3904400"/>
                    <a:gd name="connsiteY63" fmla="*/ 4141391 h 4848994"/>
                    <a:gd name="connsiteX64" fmla="*/ 1339 w 3904400"/>
                    <a:gd name="connsiteY64" fmla="*/ 3855641 h 4848994"/>
                    <a:gd name="connsiteX65" fmla="*/ 25152 w 3904400"/>
                    <a:gd name="connsiteY65" fmla="*/ 3703241 h 4848994"/>
                    <a:gd name="connsiteX66" fmla="*/ 220414 w 3904400"/>
                    <a:gd name="connsiteY66" fmla="*/ 3584179 h 4848994"/>
                    <a:gd name="connsiteX67" fmla="*/ 534739 w 3904400"/>
                    <a:gd name="connsiteY67" fmla="*/ 3450829 h 4848994"/>
                    <a:gd name="connsiteX68" fmla="*/ 934789 w 3904400"/>
                    <a:gd name="connsiteY68" fmla="*/ 3293666 h 4848994"/>
                    <a:gd name="connsiteX69" fmla="*/ 1134814 w 3904400"/>
                    <a:gd name="connsiteY69" fmla="*/ 3217466 h 4848994"/>
                    <a:gd name="connsiteX70" fmla="*/ 1277689 w 3904400"/>
                    <a:gd name="connsiteY70" fmla="*/ 2950766 h 4848994"/>
                    <a:gd name="connsiteX71" fmla="*/ 1372939 w 3904400"/>
                    <a:gd name="connsiteY71" fmla="*/ 2888854 h 4848994"/>
                    <a:gd name="connsiteX72" fmla="*/ 1444377 w 3904400"/>
                    <a:gd name="connsiteY72" fmla="*/ 2750741 h 4848994"/>
                    <a:gd name="connsiteX73" fmla="*/ 1430089 w 3904400"/>
                    <a:gd name="connsiteY73" fmla="*/ 2665016 h 4848994"/>
                    <a:gd name="connsiteX74" fmla="*/ 1433678 w 3904400"/>
                    <a:gd name="connsiteY74" fmla="*/ 2655556 h 4848994"/>
                    <a:gd name="connsiteX75" fmla="*/ 1412671 w 3904400"/>
                    <a:gd name="connsiteY75" fmla="*/ 2630242 h 4848994"/>
                    <a:gd name="connsiteX76" fmla="*/ 1171172 w 3904400"/>
                    <a:gd name="connsiteY76" fmla="*/ 2059985 h 4848994"/>
                    <a:gd name="connsiteX77" fmla="*/ 977027 w 3904400"/>
                    <a:gd name="connsiteY77" fmla="*/ 1612672 h 4848994"/>
                    <a:gd name="connsiteX78" fmla="*/ 1052790 w 3904400"/>
                    <a:gd name="connsiteY78" fmla="*/ 1487109 h 4848994"/>
                    <a:gd name="connsiteX79" fmla="*/ 1018186 w 3904400"/>
                    <a:gd name="connsiteY79" fmla="*/ 1277790 h 4848994"/>
                    <a:gd name="connsiteX80" fmla="*/ 934788 w 3904400"/>
                    <a:gd name="connsiteY80" fmla="*/ 1341041 h 4848994"/>
                    <a:gd name="connsiteX81" fmla="*/ 883988 w 3904400"/>
                    <a:gd name="connsiteY81" fmla="*/ 1404541 h 4848994"/>
                    <a:gd name="connsiteX82" fmla="*/ 839538 w 3904400"/>
                    <a:gd name="connsiteY82" fmla="*/ 1525191 h 4848994"/>
                    <a:gd name="connsiteX83" fmla="*/ 858588 w 3904400"/>
                    <a:gd name="connsiteY83" fmla="*/ 1645841 h 4848994"/>
                    <a:gd name="connsiteX84" fmla="*/ 890338 w 3904400"/>
                    <a:gd name="connsiteY84" fmla="*/ 1829991 h 4848994"/>
                    <a:gd name="connsiteX85" fmla="*/ 966538 w 3904400"/>
                    <a:gd name="connsiteY85" fmla="*/ 2128441 h 4848994"/>
                    <a:gd name="connsiteX86" fmla="*/ 1049088 w 3904400"/>
                    <a:gd name="connsiteY86" fmla="*/ 2198291 h 4848994"/>
                    <a:gd name="connsiteX87" fmla="*/ 1099888 w 3904400"/>
                    <a:gd name="connsiteY87" fmla="*/ 2331641 h 4848994"/>
                    <a:gd name="connsiteX88" fmla="*/ 1220538 w 3904400"/>
                    <a:gd name="connsiteY88" fmla="*/ 2566591 h 4848994"/>
                    <a:gd name="connsiteX89" fmla="*/ 1271338 w 3904400"/>
                    <a:gd name="connsiteY89" fmla="*/ 2712641 h 4848994"/>
                    <a:gd name="connsiteX90" fmla="*/ 1131638 w 3904400"/>
                    <a:gd name="connsiteY90" fmla="*/ 2750741 h 4848994"/>
                    <a:gd name="connsiteX91" fmla="*/ 928438 w 3904400"/>
                    <a:gd name="connsiteY91" fmla="*/ 2776141 h 4848994"/>
                    <a:gd name="connsiteX92" fmla="*/ 744288 w 3904400"/>
                    <a:gd name="connsiteY92" fmla="*/ 2731691 h 4848994"/>
                    <a:gd name="connsiteX93" fmla="*/ 661738 w 3904400"/>
                    <a:gd name="connsiteY93" fmla="*/ 2591991 h 4848994"/>
                    <a:gd name="connsiteX94" fmla="*/ 623638 w 3904400"/>
                    <a:gd name="connsiteY94" fmla="*/ 2344341 h 4848994"/>
                    <a:gd name="connsiteX95" fmla="*/ 636338 w 3904400"/>
                    <a:gd name="connsiteY95" fmla="*/ 2020491 h 4848994"/>
                    <a:gd name="connsiteX96" fmla="*/ 737938 w 3904400"/>
                    <a:gd name="connsiteY96" fmla="*/ 1328341 h 4848994"/>
                    <a:gd name="connsiteX97" fmla="*/ 972888 w 3904400"/>
                    <a:gd name="connsiteY97" fmla="*/ 623491 h 4848994"/>
                    <a:gd name="connsiteX98" fmla="*/ 1169738 w 3904400"/>
                    <a:gd name="connsiteY98" fmla="*/ 299641 h 4848994"/>
                    <a:gd name="connsiteX99" fmla="*/ 1360238 w 3904400"/>
                    <a:gd name="connsiteY99" fmla="*/ 140891 h 4848994"/>
                    <a:gd name="connsiteX100" fmla="*/ 1531688 w 3904400"/>
                    <a:gd name="connsiteY100" fmla="*/ 115491 h 4848994"/>
                    <a:gd name="connsiteX101" fmla="*/ 1677738 w 3904400"/>
                    <a:gd name="connsiteY101" fmla="*/ 13891 h 4848994"/>
                    <a:gd name="connsiteX102" fmla="*/ 1814660 w 3904400"/>
                    <a:gd name="connsiteY102" fmla="*/ 0 h 484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904400" h="4848994">
                      <a:moveTo>
                        <a:pt x="3062288" y="1005769"/>
                      </a:moveTo>
                      <a:lnTo>
                        <a:pt x="3082677" y="1026716"/>
                      </a:lnTo>
                      <a:cubicBezTo>
                        <a:pt x="3109664" y="1079897"/>
                        <a:pt x="3139827" y="1237060"/>
                        <a:pt x="3168402" y="1369616"/>
                      </a:cubicBezTo>
                      <a:cubicBezTo>
                        <a:pt x="3196977" y="1502172"/>
                        <a:pt x="3235077" y="1674417"/>
                        <a:pt x="3254127" y="1822054"/>
                      </a:cubicBezTo>
                      <a:cubicBezTo>
                        <a:pt x="3273177" y="1969691"/>
                        <a:pt x="3279527" y="2137966"/>
                        <a:pt x="3282702" y="2255441"/>
                      </a:cubicBezTo>
                      <a:cubicBezTo>
                        <a:pt x="3285877" y="2372916"/>
                        <a:pt x="3288258" y="2449116"/>
                        <a:pt x="3273177" y="2526904"/>
                      </a:cubicBezTo>
                      <a:cubicBezTo>
                        <a:pt x="3258096" y="2604692"/>
                        <a:pt x="3230314" y="2684860"/>
                        <a:pt x="3192214" y="2722166"/>
                      </a:cubicBezTo>
                      <a:cubicBezTo>
                        <a:pt x="3154114" y="2759472"/>
                        <a:pt x="3108077" y="2749154"/>
                        <a:pt x="3044577" y="2750741"/>
                      </a:cubicBezTo>
                      <a:cubicBezTo>
                        <a:pt x="2981077" y="2752328"/>
                        <a:pt x="2879476" y="2745185"/>
                        <a:pt x="2811214" y="2731691"/>
                      </a:cubicBezTo>
                      <a:cubicBezTo>
                        <a:pt x="2742952" y="2718197"/>
                        <a:pt x="2660402" y="2691210"/>
                        <a:pt x="2635002" y="2669779"/>
                      </a:cubicBezTo>
                      <a:cubicBezTo>
                        <a:pt x="2609602" y="2648348"/>
                        <a:pt x="2638970" y="2635648"/>
                        <a:pt x="2658814" y="2603104"/>
                      </a:cubicBezTo>
                      <a:cubicBezTo>
                        <a:pt x="2678658" y="2570560"/>
                        <a:pt x="2723108" y="2532460"/>
                        <a:pt x="2754064" y="2474516"/>
                      </a:cubicBezTo>
                      <a:cubicBezTo>
                        <a:pt x="2785020" y="2416572"/>
                        <a:pt x="2826296" y="2307828"/>
                        <a:pt x="2844552" y="2255441"/>
                      </a:cubicBezTo>
                      <a:cubicBezTo>
                        <a:pt x="2862808" y="2203054"/>
                        <a:pt x="2850902" y="2186385"/>
                        <a:pt x="2863602" y="2160191"/>
                      </a:cubicBezTo>
                      <a:cubicBezTo>
                        <a:pt x="2876302" y="2133997"/>
                        <a:pt x="2897733" y="2149079"/>
                        <a:pt x="2920752" y="2098279"/>
                      </a:cubicBezTo>
                      <a:cubicBezTo>
                        <a:pt x="2943771" y="2047479"/>
                        <a:pt x="2978695" y="1938735"/>
                        <a:pt x="3001714" y="1855391"/>
                      </a:cubicBezTo>
                      <a:cubicBezTo>
                        <a:pt x="3024733" y="1772047"/>
                        <a:pt x="3048545" y="1660129"/>
                        <a:pt x="3058864" y="1598216"/>
                      </a:cubicBezTo>
                      <a:cubicBezTo>
                        <a:pt x="3069183" y="1536303"/>
                        <a:pt x="3071564" y="1520428"/>
                        <a:pt x="3063627" y="1483916"/>
                      </a:cubicBezTo>
                      <a:cubicBezTo>
                        <a:pt x="3055690" y="1447404"/>
                        <a:pt x="3028702" y="1404541"/>
                        <a:pt x="3011239" y="1379141"/>
                      </a:cubicBezTo>
                      <a:cubicBezTo>
                        <a:pt x="2993776" y="1353741"/>
                        <a:pt x="2969171" y="1355329"/>
                        <a:pt x="2958852" y="1331516"/>
                      </a:cubicBezTo>
                      <a:cubicBezTo>
                        <a:pt x="2948533" y="1307704"/>
                        <a:pt x="2949327" y="1271191"/>
                        <a:pt x="2949327" y="1236266"/>
                      </a:cubicBezTo>
                      <a:cubicBezTo>
                        <a:pt x="2949327" y="1201341"/>
                        <a:pt x="2949327" y="1152922"/>
                        <a:pt x="2958852" y="1121966"/>
                      </a:cubicBezTo>
                      <a:cubicBezTo>
                        <a:pt x="2968377" y="1091010"/>
                        <a:pt x="2985839" y="1066404"/>
                        <a:pt x="3006477" y="1050529"/>
                      </a:cubicBezTo>
                      <a:cubicBezTo>
                        <a:pt x="3021955" y="1038623"/>
                        <a:pt x="3041898" y="1001267"/>
                        <a:pt x="3062288" y="1005769"/>
                      </a:cubicBezTo>
                      <a:close/>
                      <a:moveTo>
                        <a:pt x="1814660" y="0"/>
                      </a:moveTo>
                      <a:lnTo>
                        <a:pt x="1957138" y="1191"/>
                      </a:lnTo>
                      <a:cubicBezTo>
                        <a:pt x="2036513" y="2249"/>
                        <a:pt x="2083080" y="133"/>
                        <a:pt x="2153988" y="20241"/>
                      </a:cubicBezTo>
                      <a:cubicBezTo>
                        <a:pt x="2224896" y="40349"/>
                        <a:pt x="2301096" y="69983"/>
                        <a:pt x="2382588" y="121841"/>
                      </a:cubicBezTo>
                      <a:cubicBezTo>
                        <a:pt x="2464080" y="173699"/>
                        <a:pt x="2548747" y="236141"/>
                        <a:pt x="2642938" y="331391"/>
                      </a:cubicBezTo>
                      <a:cubicBezTo>
                        <a:pt x="2737129" y="426641"/>
                        <a:pt x="2877888" y="601266"/>
                        <a:pt x="2947738" y="693341"/>
                      </a:cubicBezTo>
                      <a:cubicBezTo>
                        <a:pt x="3017588" y="785416"/>
                        <a:pt x="3051455" y="831983"/>
                        <a:pt x="3062038" y="883841"/>
                      </a:cubicBezTo>
                      <a:cubicBezTo>
                        <a:pt x="3072621" y="935699"/>
                        <a:pt x="3037696" y="974858"/>
                        <a:pt x="3011238" y="1004491"/>
                      </a:cubicBezTo>
                      <a:cubicBezTo>
                        <a:pt x="2984780" y="1034124"/>
                        <a:pt x="2933980" y="1062699"/>
                        <a:pt x="2903288" y="1061641"/>
                      </a:cubicBezTo>
                      <a:cubicBezTo>
                        <a:pt x="2872596" y="1060583"/>
                        <a:pt x="2868363" y="1038358"/>
                        <a:pt x="2827088" y="998141"/>
                      </a:cubicBezTo>
                      <a:cubicBezTo>
                        <a:pt x="2785813" y="957924"/>
                        <a:pt x="2735013" y="874316"/>
                        <a:pt x="2655638" y="820341"/>
                      </a:cubicBezTo>
                      <a:cubicBezTo>
                        <a:pt x="2576263" y="766366"/>
                        <a:pt x="2456671" y="698633"/>
                        <a:pt x="2350838" y="674291"/>
                      </a:cubicBezTo>
                      <a:cubicBezTo>
                        <a:pt x="2245005" y="649949"/>
                        <a:pt x="2004008" y="658416"/>
                        <a:pt x="2020638" y="674291"/>
                      </a:cubicBezTo>
                      <a:cubicBezTo>
                        <a:pt x="2037268" y="690166"/>
                        <a:pt x="2322805" y="697365"/>
                        <a:pt x="2450619" y="769542"/>
                      </a:cubicBezTo>
                      <a:cubicBezTo>
                        <a:pt x="2578433" y="841719"/>
                        <a:pt x="2592091" y="839501"/>
                        <a:pt x="2660171" y="895090"/>
                      </a:cubicBezTo>
                      <a:cubicBezTo>
                        <a:pt x="2728251" y="950679"/>
                        <a:pt x="2812957" y="1052543"/>
                        <a:pt x="2859098" y="1103077"/>
                      </a:cubicBezTo>
                      <a:cubicBezTo>
                        <a:pt x="2840639" y="1173982"/>
                        <a:pt x="2842709" y="1151206"/>
                        <a:pt x="2830884" y="1212445"/>
                      </a:cubicBezTo>
                      <a:cubicBezTo>
                        <a:pt x="2856921" y="1275211"/>
                        <a:pt x="2830896" y="1445184"/>
                        <a:pt x="2830884" y="1445256"/>
                      </a:cubicBezTo>
                      <a:cubicBezTo>
                        <a:pt x="2830987" y="1445263"/>
                        <a:pt x="2939795" y="1453141"/>
                        <a:pt x="2939795" y="1531580"/>
                      </a:cubicBezTo>
                      <a:cubicBezTo>
                        <a:pt x="2939795" y="1610041"/>
                        <a:pt x="2823824" y="2041512"/>
                        <a:pt x="2823781" y="2041674"/>
                      </a:cubicBezTo>
                      <a:cubicBezTo>
                        <a:pt x="2823748" y="2041731"/>
                        <a:pt x="2792983" y="2093987"/>
                        <a:pt x="2757487" y="2086142"/>
                      </a:cubicBezTo>
                      <a:cubicBezTo>
                        <a:pt x="2719935" y="2402501"/>
                        <a:pt x="2591644" y="2600616"/>
                        <a:pt x="2480886" y="2698176"/>
                      </a:cubicBezTo>
                      <a:cubicBezTo>
                        <a:pt x="2497333" y="2737923"/>
                        <a:pt x="2509017" y="2787194"/>
                        <a:pt x="2530227" y="2817416"/>
                      </a:cubicBezTo>
                      <a:lnTo>
                        <a:pt x="2592139" y="2874566"/>
                      </a:lnTo>
                      <a:lnTo>
                        <a:pt x="2658814" y="2884091"/>
                      </a:lnTo>
                      <a:lnTo>
                        <a:pt x="2682627" y="2912666"/>
                      </a:lnTo>
                      <a:lnTo>
                        <a:pt x="2749302" y="3079354"/>
                      </a:lnTo>
                      <a:lnTo>
                        <a:pt x="2844552" y="3174604"/>
                      </a:lnTo>
                      <a:lnTo>
                        <a:pt x="2939802" y="3207941"/>
                      </a:lnTo>
                      <a:lnTo>
                        <a:pt x="3282702" y="3317479"/>
                      </a:lnTo>
                      <a:lnTo>
                        <a:pt x="3658939" y="3493691"/>
                      </a:lnTo>
                      <a:lnTo>
                        <a:pt x="3868489" y="3641329"/>
                      </a:lnTo>
                      <a:cubicBezTo>
                        <a:pt x="3879602" y="3684191"/>
                        <a:pt x="3906589" y="3708004"/>
                        <a:pt x="3901827" y="3769916"/>
                      </a:cubicBezTo>
                      <a:cubicBezTo>
                        <a:pt x="3909764" y="3830241"/>
                        <a:pt x="3898652" y="3938191"/>
                        <a:pt x="3878014" y="4027091"/>
                      </a:cubicBezTo>
                      <a:cubicBezTo>
                        <a:pt x="3855789" y="4119166"/>
                        <a:pt x="3820864" y="4166791"/>
                        <a:pt x="3792289" y="4236641"/>
                      </a:cubicBezTo>
                      <a:lnTo>
                        <a:pt x="3620839" y="4598591"/>
                      </a:lnTo>
                      <a:lnTo>
                        <a:pt x="3473202" y="4760516"/>
                      </a:lnTo>
                      <a:cubicBezTo>
                        <a:pt x="2419193" y="4883157"/>
                        <a:pt x="1553862" y="4873723"/>
                        <a:pt x="339477" y="4760516"/>
                      </a:cubicBezTo>
                      <a:lnTo>
                        <a:pt x="163264" y="4436666"/>
                      </a:lnTo>
                      <a:lnTo>
                        <a:pt x="58489" y="4141391"/>
                      </a:lnTo>
                      <a:cubicBezTo>
                        <a:pt x="39439" y="4046141"/>
                        <a:pt x="14039" y="3992166"/>
                        <a:pt x="1339" y="3855641"/>
                      </a:cubicBezTo>
                      <a:cubicBezTo>
                        <a:pt x="-3423" y="3795316"/>
                        <a:pt x="4514" y="3744516"/>
                        <a:pt x="25152" y="3703241"/>
                      </a:cubicBezTo>
                      <a:lnTo>
                        <a:pt x="220414" y="3584179"/>
                      </a:lnTo>
                      <a:lnTo>
                        <a:pt x="534739" y="3450829"/>
                      </a:lnTo>
                      <a:lnTo>
                        <a:pt x="934789" y="3293666"/>
                      </a:lnTo>
                      <a:lnTo>
                        <a:pt x="1134814" y="3217466"/>
                      </a:lnTo>
                      <a:cubicBezTo>
                        <a:pt x="1234827" y="3090466"/>
                        <a:pt x="1241971" y="3068241"/>
                        <a:pt x="1277689" y="2950766"/>
                      </a:cubicBezTo>
                      <a:lnTo>
                        <a:pt x="1372939" y="2888854"/>
                      </a:lnTo>
                      <a:lnTo>
                        <a:pt x="1444377" y="2750741"/>
                      </a:lnTo>
                      <a:lnTo>
                        <a:pt x="1430089" y="2665016"/>
                      </a:lnTo>
                      <a:lnTo>
                        <a:pt x="1433678" y="2655556"/>
                      </a:lnTo>
                      <a:cubicBezTo>
                        <a:pt x="1422983" y="2644679"/>
                        <a:pt x="1415776" y="2635961"/>
                        <a:pt x="1412671" y="2630242"/>
                      </a:cubicBezTo>
                      <a:cubicBezTo>
                        <a:pt x="1381893" y="2577926"/>
                        <a:pt x="1178275" y="2345112"/>
                        <a:pt x="1171172" y="2059985"/>
                      </a:cubicBezTo>
                      <a:cubicBezTo>
                        <a:pt x="1071731" y="2052136"/>
                        <a:pt x="1014908" y="1764391"/>
                        <a:pt x="977027" y="1612672"/>
                      </a:cubicBezTo>
                      <a:cubicBezTo>
                        <a:pt x="946258" y="1484545"/>
                        <a:pt x="1052708" y="1487108"/>
                        <a:pt x="1052790" y="1487109"/>
                      </a:cubicBezTo>
                      <a:cubicBezTo>
                        <a:pt x="1052758" y="1487025"/>
                        <a:pt x="992834" y="1362590"/>
                        <a:pt x="1018186" y="1277790"/>
                      </a:cubicBezTo>
                      <a:cubicBezTo>
                        <a:pt x="962383" y="1308036"/>
                        <a:pt x="957154" y="1319916"/>
                        <a:pt x="934788" y="1341041"/>
                      </a:cubicBezTo>
                      <a:cubicBezTo>
                        <a:pt x="912422" y="1362166"/>
                        <a:pt x="899863" y="1373849"/>
                        <a:pt x="883988" y="1404541"/>
                      </a:cubicBezTo>
                      <a:cubicBezTo>
                        <a:pt x="868113" y="1435233"/>
                        <a:pt x="843771" y="1484974"/>
                        <a:pt x="839538" y="1525191"/>
                      </a:cubicBezTo>
                      <a:cubicBezTo>
                        <a:pt x="835305" y="1565408"/>
                        <a:pt x="850121" y="1595041"/>
                        <a:pt x="858588" y="1645841"/>
                      </a:cubicBezTo>
                      <a:cubicBezTo>
                        <a:pt x="867055" y="1696641"/>
                        <a:pt x="872346" y="1749558"/>
                        <a:pt x="890338" y="1829991"/>
                      </a:cubicBezTo>
                      <a:cubicBezTo>
                        <a:pt x="908330" y="1910424"/>
                        <a:pt x="940080" y="2067058"/>
                        <a:pt x="966538" y="2128441"/>
                      </a:cubicBezTo>
                      <a:cubicBezTo>
                        <a:pt x="992996" y="2189824"/>
                        <a:pt x="1026863" y="2164424"/>
                        <a:pt x="1049088" y="2198291"/>
                      </a:cubicBezTo>
                      <a:cubicBezTo>
                        <a:pt x="1071313" y="2232158"/>
                        <a:pt x="1071313" y="2270258"/>
                        <a:pt x="1099888" y="2331641"/>
                      </a:cubicBezTo>
                      <a:cubicBezTo>
                        <a:pt x="1128463" y="2393024"/>
                        <a:pt x="1191963" y="2503091"/>
                        <a:pt x="1220538" y="2566591"/>
                      </a:cubicBezTo>
                      <a:cubicBezTo>
                        <a:pt x="1249113" y="2630091"/>
                        <a:pt x="1286155" y="2681949"/>
                        <a:pt x="1271338" y="2712641"/>
                      </a:cubicBezTo>
                      <a:cubicBezTo>
                        <a:pt x="1256521" y="2743333"/>
                        <a:pt x="1188788" y="2740158"/>
                        <a:pt x="1131638" y="2750741"/>
                      </a:cubicBezTo>
                      <a:cubicBezTo>
                        <a:pt x="1074488" y="2761324"/>
                        <a:pt x="992996" y="2779316"/>
                        <a:pt x="928438" y="2776141"/>
                      </a:cubicBezTo>
                      <a:cubicBezTo>
                        <a:pt x="863880" y="2772966"/>
                        <a:pt x="788738" y="2762383"/>
                        <a:pt x="744288" y="2731691"/>
                      </a:cubicBezTo>
                      <a:cubicBezTo>
                        <a:pt x="699838" y="2700999"/>
                        <a:pt x="681846" y="2656549"/>
                        <a:pt x="661738" y="2591991"/>
                      </a:cubicBezTo>
                      <a:cubicBezTo>
                        <a:pt x="641630" y="2527433"/>
                        <a:pt x="627871" y="2439591"/>
                        <a:pt x="623638" y="2344341"/>
                      </a:cubicBezTo>
                      <a:cubicBezTo>
                        <a:pt x="619405" y="2249091"/>
                        <a:pt x="617288" y="2189824"/>
                        <a:pt x="636338" y="2020491"/>
                      </a:cubicBezTo>
                      <a:cubicBezTo>
                        <a:pt x="655388" y="1851158"/>
                        <a:pt x="681846" y="1561174"/>
                        <a:pt x="737938" y="1328341"/>
                      </a:cubicBezTo>
                      <a:cubicBezTo>
                        <a:pt x="794030" y="1095508"/>
                        <a:pt x="900921" y="794941"/>
                        <a:pt x="972888" y="623491"/>
                      </a:cubicBezTo>
                      <a:cubicBezTo>
                        <a:pt x="1044855" y="452041"/>
                        <a:pt x="1105180" y="380074"/>
                        <a:pt x="1169738" y="299641"/>
                      </a:cubicBezTo>
                      <a:cubicBezTo>
                        <a:pt x="1234296" y="219208"/>
                        <a:pt x="1299913" y="171583"/>
                        <a:pt x="1360238" y="140891"/>
                      </a:cubicBezTo>
                      <a:cubicBezTo>
                        <a:pt x="1420563" y="110199"/>
                        <a:pt x="1478771" y="136658"/>
                        <a:pt x="1531688" y="115491"/>
                      </a:cubicBezTo>
                      <a:cubicBezTo>
                        <a:pt x="1584605" y="94324"/>
                        <a:pt x="1605771" y="32941"/>
                        <a:pt x="1677738" y="13891"/>
                      </a:cubicBezTo>
                      <a:cubicBezTo>
                        <a:pt x="1713722" y="4366"/>
                        <a:pt x="1763728" y="926"/>
                        <a:pt x="181466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2">
                    <a:defRPr/>
                  </a:pPr>
                  <a:endParaRPr lang="en-US" sz="1798" dirty="0">
                    <a:solidFill>
                      <a:prstClr val="white"/>
                    </a:solidFill>
                    <a:latin typeface="Segoe UI"/>
                  </a:endParaRPr>
                </a:p>
              </p:txBody>
            </p:sp>
          </p:grpSp>
        </p:grpSp>
      </p:grpSp>
      <p:grpSp>
        <p:nvGrpSpPr>
          <p:cNvPr id="728" name="Group 727">
            <a:extLst>
              <a:ext uri="{FF2B5EF4-FFF2-40B4-BE49-F238E27FC236}">
                <a16:creationId xmlns:a16="http://schemas.microsoft.com/office/drawing/2014/main" id="{25D3D2EC-3005-4466-BFF3-C7A3E9ACA0BA}"/>
              </a:ext>
            </a:extLst>
          </p:cNvPr>
          <p:cNvGrpSpPr/>
          <p:nvPr/>
        </p:nvGrpSpPr>
        <p:grpSpPr>
          <a:xfrm rot="20607873">
            <a:off x="7291488" y="2853230"/>
            <a:ext cx="2677702" cy="552227"/>
            <a:chOff x="8122004" y="1105080"/>
            <a:chExt cx="1766640" cy="552371"/>
          </a:xfrm>
        </p:grpSpPr>
        <p:sp>
          <p:nvSpPr>
            <p:cNvPr id="729" name="Arrow: Left-Right 728">
              <a:extLst>
                <a:ext uri="{FF2B5EF4-FFF2-40B4-BE49-F238E27FC236}">
                  <a16:creationId xmlns:a16="http://schemas.microsoft.com/office/drawing/2014/main" id="{EE03344F-C530-4D06-900B-5508E5A3E5F6}"/>
                </a:ext>
              </a:extLst>
            </p:cNvPr>
            <p:cNvSpPr/>
            <p:nvPr/>
          </p:nvSpPr>
          <p:spPr>
            <a:xfrm>
              <a:off x="8122004" y="1105080"/>
              <a:ext cx="1766640" cy="552371"/>
            </a:xfrm>
            <a:prstGeom prst="lef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914126">
                <a:defRPr/>
              </a:pPr>
              <a:endParaRPr lang="en-US" sz="1200" dirty="0" err="1">
                <a:solidFill>
                  <a:prstClr val="white"/>
                </a:solidFill>
                <a:latin typeface="Segoe UI"/>
              </a:endParaRPr>
            </a:p>
          </p:txBody>
        </p:sp>
        <p:sp>
          <p:nvSpPr>
            <p:cNvPr id="730" name="TextBox 729">
              <a:extLst>
                <a:ext uri="{FF2B5EF4-FFF2-40B4-BE49-F238E27FC236}">
                  <a16:creationId xmlns:a16="http://schemas.microsoft.com/office/drawing/2014/main" id="{44551DF5-C595-4449-A426-B4C4C58FA15C}"/>
                </a:ext>
              </a:extLst>
            </p:cNvPr>
            <p:cNvSpPr txBox="1"/>
            <p:nvPr/>
          </p:nvSpPr>
          <p:spPr>
            <a:xfrm>
              <a:off x="8427359" y="1265406"/>
              <a:ext cx="1191416" cy="212603"/>
            </a:xfrm>
            <a:prstGeom prst="rect">
              <a:avLst/>
            </a:prstGeom>
          </p:spPr>
          <p:txBody>
            <a:bodyPr vert="horz" wrap="none" lIns="0" tIns="0" rIns="0" bIns="0" rtlCol="0" anchor="ctr">
              <a:noAutofit/>
            </a:bodyPr>
            <a:lstStyle>
              <a:defPPr>
                <a:defRPr lang="en-US"/>
              </a:defPPr>
              <a:lvl1pPr algn="ctr" defTabSz="1088105">
                <a:defRPr sz="1200">
                  <a:solidFill>
                    <a:srgbClr val="505050"/>
                  </a:solidFill>
                  <a:latin typeface="Segoe UI Semibold" panose="020B0702040204020203" pitchFamily="34" charset="0"/>
                  <a:ea typeface="Segoe UI" pitchFamily="34" charset="0"/>
                  <a:cs typeface="Segoe UI Semibold" panose="020B0702040204020203" pitchFamily="34" charset="0"/>
                </a:defRPr>
              </a:lvl1pPr>
            </a:lstStyle>
            <a:p>
              <a:pPr algn="l" defTabSz="1087779">
                <a:defRPr/>
              </a:pPr>
              <a:r>
                <a:rPr lang="en-US" kern="0" dirty="0">
                  <a:solidFill>
                    <a:prstClr val="white"/>
                  </a:solidFill>
                </a:rPr>
                <a:t>R&amp;D Collaboration</a:t>
              </a:r>
            </a:p>
          </p:txBody>
        </p:sp>
      </p:grpSp>
      <p:grpSp>
        <p:nvGrpSpPr>
          <p:cNvPr id="731" name="Group 730">
            <a:extLst>
              <a:ext uri="{FF2B5EF4-FFF2-40B4-BE49-F238E27FC236}">
                <a16:creationId xmlns:a16="http://schemas.microsoft.com/office/drawing/2014/main" id="{FE61232F-EAE0-4D81-80AE-1B13F849E651}"/>
              </a:ext>
            </a:extLst>
          </p:cNvPr>
          <p:cNvGrpSpPr/>
          <p:nvPr/>
        </p:nvGrpSpPr>
        <p:grpSpPr>
          <a:xfrm>
            <a:off x="3641508" y="3569441"/>
            <a:ext cx="1536908" cy="552227"/>
            <a:chOff x="3013513" y="1616132"/>
            <a:chExt cx="1015227" cy="552371"/>
          </a:xfrm>
        </p:grpSpPr>
        <p:sp>
          <p:nvSpPr>
            <p:cNvPr id="732" name="Arrow: Left-Right 731">
              <a:extLst>
                <a:ext uri="{FF2B5EF4-FFF2-40B4-BE49-F238E27FC236}">
                  <a16:creationId xmlns:a16="http://schemas.microsoft.com/office/drawing/2014/main" id="{871619D4-D3D5-4005-8BE0-50E8DE92B736}"/>
                </a:ext>
              </a:extLst>
            </p:cNvPr>
            <p:cNvSpPr/>
            <p:nvPr/>
          </p:nvSpPr>
          <p:spPr>
            <a:xfrm>
              <a:off x="3013513" y="1616132"/>
              <a:ext cx="955799" cy="552371"/>
            </a:xfrm>
            <a:prstGeom prst="lef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b" anchorCtr="0" forceAA="0" compatLnSpc="1">
              <a:prstTxWarp prst="textNoShape">
                <a:avLst/>
              </a:prstTxWarp>
              <a:noAutofit/>
            </a:bodyPr>
            <a:lstStyle/>
            <a:p>
              <a:pPr algn="r" defTabSz="914126">
                <a:defRPr/>
              </a:pPr>
              <a:endParaRPr lang="en-US" sz="1200" dirty="0" err="1">
                <a:solidFill>
                  <a:prstClr val="white"/>
                </a:solidFill>
                <a:latin typeface="Segoe UI"/>
              </a:endParaRPr>
            </a:p>
          </p:txBody>
        </p:sp>
        <p:sp>
          <p:nvSpPr>
            <p:cNvPr id="733" name="TextBox 732">
              <a:extLst>
                <a:ext uri="{FF2B5EF4-FFF2-40B4-BE49-F238E27FC236}">
                  <a16:creationId xmlns:a16="http://schemas.microsoft.com/office/drawing/2014/main" id="{A1F91D46-1994-43CF-9113-72E243759FA7}"/>
                </a:ext>
              </a:extLst>
            </p:cNvPr>
            <p:cNvSpPr txBox="1"/>
            <p:nvPr/>
          </p:nvSpPr>
          <p:spPr>
            <a:xfrm>
              <a:off x="3284058" y="1774779"/>
              <a:ext cx="744682" cy="212603"/>
            </a:xfrm>
            <a:prstGeom prst="rect">
              <a:avLst/>
            </a:prstGeom>
          </p:spPr>
          <p:txBody>
            <a:bodyPr vert="horz" wrap="none" lIns="0" tIns="0" rIns="0" bIns="0" rtlCol="0" anchor="ctr">
              <a:noAutofit/>
            </a:bodyPr>
            <a:lstStyle>
              <a:defPPr>
                <a:defRPr lang="en-US"/>
              </a:defPPr>
              <a:lvl1pPr algn="ctr" defTabSz="1088105">
                <a:defRPr sz="1200">
                  <a:solidFill>
                    <a:srgbClr val="505050"/>
                  </a:solidFill>
                  <a:latin typeface="Segoe UI Semibold" panose="020B0702040204020203" pitchFamily="34" charset="0"/>
                  <a:ea typeface="Segoe UI" pitchFamily="34" charset="0"/>
                  <a:cs typeface="Segoe UI Semibold" panose="020B0702040204020203" pitchFamily="34" charset="0"/>
                </a:defRPr>
              </a:lvl1pPr>
            </a:lstStyle>
            <a:p>
              <a:pPr algn="l" defTabSz="1087779">
                <a:defRPr/>
              </a:pPr>
              <a:r>
                <a:rPr lang="en-US" kern="0" dirty="0">
                  <a:solidFill>
                    <a:prstClr val="white"/>
                  </a:solidFill>
                </a:rPr>
                <a:t>Insights</a:t>
              </a:r>
            </a:p>
          </p:txBody>
        </p:sp>
      </p:grpSp>
    </p:spTree>
    <p:extLst>
      <p:ext uri="{BB962C8B-B14F-4D97-AF65-F5344CB8AC3E}">
        <p14:creationId xmlns:p14="http://schemas.microsoft.com/office/powerpoint/2010/main" val="18166236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pen Innovation</a:t>
            </a:r>
            <a:endParaRPr lang="en-IN" dirty="0"/>
          </a:p>
        </p:txBody>
      </p:sp>
      <p:sp>
        <p:nvSpPr>
          <p:cNvPr id="4" name="Slide Number Placeholder 3"/>
          <p:cNvSpPr>
            <a:spLocks noGrp="1"/>
          </p:cNvSpPr>
          <p:nvPr>
            <p:ph type="sldNum" sz="quarter" idx="14"/>
          </p:nvPr>
        </p:nvSpPr>
        <p:spPr/>
        <p:txBody>
          <a:bodyPr/>
          <a:lstStyle/>
          <a:p>
            <a:pPr marL="0" marR="0" lvl="0" indent="0" algn="r" defTabSz="1088105"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1088105" rtl="0" eaLnBrk="1" fontAlgn="auto" latinLnBrk="0" hangingPunct="1">
                <a:lnSpc>
                  <a:spcPct val="100000"/>
                </a:lnSpc>
                <a:spcBef>
                  <a:spcPts val="0"/>
                </a:spcBef>
                <a:spcAft>
                  <a:spcPts val="0"/>
                </a:spcAft>
                <a:buClrTx/>
                <a:buSzTx/>
                <a:buFontTx/>
                <a:buNone/>
                <a:tabLst/>
                <a:defRPr/>
              </a:pPr>
              <a:t>52</a:t>
            </a:fld>
            <a:endParaRPr kumimoji="0" lang="en-US" sz="800" b="0" i="0" u="none" strike="noStrike" kern="1200" cap="none" spc="0" normalizeH="0" baseline="0" noProof="0">
              <a:ln>
                <a:noFill/>
              </a:ln>
              <a:solidFill>
                <a:srgbClr val="505050"/>
              </a:solidFill>
              <a:effectLst/>
              <a:uLnTx/>
              <a:uFillTx/>
              <a:latin typeface="Segoe UI" pitchFamily="34" charset="0"/>
              <a:cs typeface="Segoe UI" pitchFamily="34" charset="0"/>
            </a:endParaRPr>
          </a:p>
        </p:txBody>
      </p:sp>
      <p:sp>
        <p:nvSpPr>
          <p:cNvPr id="5" name="Rectangle 4"/>
          <p:cNvSpPr/>
          <p:nvPr>
            <p:custDataLst>
              <p:tags r:id="rId1"/>
            </p:custDataLst>
          </p:nvPr>
        </p:nvSpPr>
        <p:spPr>
          <a:xfrm>
            <a:off x="6329009" y="1917700"/>
            <a:ext cx="1545336" cy="4560174"/>
          </a:xfrm>
          <a:prstGeom prst="rect">
            <a:avLst/>
          </a:prstGeom>
          <a:solidFill>
            <a:schemeClr val="bg1">
              <a:lumMod val="95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1217693" rtl="0" eaLnBrk="1" fontAlgn="auto" latinLnBrk="0" hangingPunct="1">
              <a:lnSpc>
                <a:spcPct val="100000"/>
              </a:lnSpc>
              <a:spcBef>
                <a:spcPts val="0"/>
              </a:spcBef>
              <a:spcAft>
                <a:spcPts val="0"/>
              </a:spcAft>
              <a:buClrTx/>
              <a:buSzTx/>
              <a:buFontTx/>
              <a:buNone/>
              <a:tabLst/>
              <a:defRPr/>
            </a:pPr>
            <a:endParaRPr kumimoji="0" lang="en-US" sz="1899" b="0" i="0" u="none" strike="noStrike" kern="0" cap="none" spc="0" normalizeH="0" baseline="0" noProof="0" err="1">
              <a:ln>
                <a:noFill/>
              </a:ln>
              <a:solidFill>
                <a:srgbClr val="595959">
                  <a:lumMod val="75000"/>
                </a:srgbClr>
              </a:solidFill>
              <a:effectLst/>
              <a:uLnTx/>
              <a:uFillTx/>
              <a:latin typeface="Segoe UI"/>
              <a:ea typeface="+mn-ea"/>
              <a:cs typeface="+mn-cs"/>
            </a:endParaRPr>
          </a:p>
        </p:txBody>
      </p:sp>
      <p:sp>
        <p:nvSpPr>
          <p:cNvPr id="6" name="Rectangle 5"/>
          <p:cNvSpPr/>
          <p:nvPr>
            <p:custDataLst>
              <p:tags r:id="rId2"/>
            </p:custDataLst>
          </p:nvPr>
        </p:nvSpPr>
        <p:spPr>
          <a:xfrm>
            <a:off x="6329009" y="1295400"/>
            <a:ext cx="1545336" cy="622300"/>
          </a:xfrm>
          <a:prstGeom prst="rect">
            <a:avLst/>
          </a:prstGeom>
          <a:solidFill>
            <a:schemeClr val="accent3"/>
          </a:solidFill>
          <a:ln w="25400" cap="flat" cmpd="sng" algn="ctr">
            <a:noFill/>
            <a:prstDash val="solid"/>
          </a:ln>
          <a:effectLst/>
        </p:spPr>
        <p:txBody>
          <a:bodyPr lIns="91440" tIns="45720" rIns="91440" bIns="45720" rtlCol="0" anchor="ctr">
            <a:noAutofit/>
          </a:bodyPr>
          <a:lstStyle/>
          <a:p>
            <a:pPr marL="0" marR="0" lvl="0" indent="0" algn="ctr" defTabSz="78873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Benefits</a:t>
            </a:r>
          </a:p>
        </p:txBody>
      </p:sp>
      <p:sp>
        <p:nvSpPr>
          <p:cNvPr id="7" name="Rectangle 6"/>
          <p:cNvSpPr/>
          <p:nvPr>
            <p:custDataLst>
              <p:tags r:id="rId3"/>
            </p:custDataLst>
          </p:nvPr>
        </p:nvSpPr>
        <p:spPr>
          <a:xfrm>
            <a:off x="6329009" y="2039338"/>
            <a:ext cx="1545336" cy="733045"/>
          </a:xfrm>
          <a:prstGeom prst="rect">
            <a:avLst/>
          </a:prstGeom>
          <a:solidFill>
            <a:schemeClr val="accent3"/>
          </a:solidFill>
          <a:ln w="25400" cap="flat" cmpd="sng" algn="ctr">
            <a:noFill/>
            <a:prstDash val="solid"/>
          </a:ln>
          <a:effectLst/>
        </p:spPr>
        <p:txBody>
          <a:bodyPr lIns="91440" tIns="45720" rIns="91440" bIns="45720" rtlCol="0" anchor="ctr">
            <a:noAutofit/>
          </a:bodyPr>
          <a:lstStyle/>
          <a:p>
            <a:pPr lvl="0" defTabSz="914080">
              <a:spcBef>
                <a:spcPts val="267"/>
              </a:spcBef>
              <a:defRPr/>
            </a:pPr>
            <a:r>
              <a:rPr lang="en-US" sz="1200" kern="0" dirty="0">
                <a:solidFill>
                  <a:prstClr val="white"/>
                </a:solidFill>
              </a:rPr>
              <a:t>Growth in product pipeline</a:t>
            </a:r>
          </a:p>
        </p:txBody>
      </p:sp>
      <p:sp>
        <p:nvSpPr>
          <p:cNvPr id="8" name="Rectangle 7"/>
          <p:cNvSpPr/>
          <p:nvPr>
            <p:custDataLst>
              <p:tags r:id="rId4"/>
            </p:custDataLst>
          </p:nvPr>
        </p:nvSpPr>
        <p:spPr>
          <a:xfrm>
            <a:off x="6329009" y="3936014"/>
            <a:ext cx="1545336" cy="646331"/>
          </a:xfrm>
          <a:prstGeom prst="rect">
            <a:avLst/>
          </a:prstGeom>
          <a:solidFill>
            <a:schemeClr val="accent3"/>
          </a:solidFill>
          <a:ln w="25400" cap="flat" cmpd="sng" algn="ctr">
            <a:noFill/>
            <a:prstDash val="solid"/>
          </a:ln>
          <a:effectLst/>
        </p:spPr>
        <p:txBody>
          <a:bodyPr lIns="91440" tIns="45720" rIns="91440" bIns="45720" rtlCol="0" anchor="ctr">
            <a:noAutofit/>
          </a:bodyPr>
          <a:lstStyle/>
          <a:p>
            <a:pPr lvl="0" defTabSz="914080">
              <a:spcBef>
                <a:spcPts val="267"/>
              </a:spcBef>
              <a:defRPr/>
            </a:pPr>
            <a:r>
              <a:rPr lang="en-US" sz="1200" kern="0" dirty="0">
                <a:solidFill>
                  <a:prstClr val="white"/>
                </a:solidFill>
              </a:rPr>
              <a:t>Increased market relevance</a:t>
            </a:r>
          </a:p>
        </p:txBody>
      </p:sp>
      <p:sp>
        <p:nvSpPr>
          <p:cNvPr id="9" name="Rectangle 8"/>
          <p:cNvSpPr/>
          <p:nvPr>
            <p:custDataLst>
              <p:tags r:id="rId5"/>
            </p:custDataLst>
          </p:nvPr>
        </p:nvSpPr>
        <p:spPr>
          <a:xfrm>
            <a:off x="6329009" y="2938700"/>
            <a:ext cx="1545336" cy="830997"/>
          </a:xfrm>
          <a:prstGeom prst="rect">
            <a:avLst/>
          </a:prstGeom>
          <a:solidFill>
            <a:schemeClr val="accent3"/>
          </a:solidFill>
          <a:ln w="25400" cap="flat" cmpd="sng" algn="ctr">
            <a:noFill/>
            <a:prstDash val="solid"/>
          </a:ln>
          <a:effectLst/>
        </p:spPr>
        <p:txBody>
          <a:bodyPr lIns="91440" tIns="45720" rIns="91440" bIns="45720" rtlCol="0" anchor="ctr">
            <a:noAutofit/>
          </a:bodyPr>
          <a:lstStyle/>
          <a:p>
            <a:pPr lvl="0" defTabSz="914080">
              <a:spcBef>
                <a:spcPts val="267"/>
              </a:spcBef>
              <a:defRPr/>
            </a:pPr>
            <a:r>
              <a:rPr lang="en-US" sz="1200" kern="0" dirty="0">
                <a:solidFill>
                  <a:prstClr val="white"/>
                </a:solidFill>
              </a:rPr>
              <a:t>Reduced time to market for new products and services</a:t>
            </a:r>
          </a:p>
        </p:txBody>
      </p:sp>
      <p:sp>
        <p:nvSpPr>
          <p:cNvPr id="10" name="Rectangle 9"/>
          <p:cNvSpPr/>
          <p:nvPr>
            <p:custDataLst>
              <p:tags r:id="rId6"/>
            </p:custDataLst>
          </p:nvPr>
        </p:nvSpPr>
        <p:spPr>
          <a:xfrm>
            <a:off x="6329009" y="4748662"/>
            <a:ext cx="1545336" cy="729854"/>
          </a:xfrm>
          <a:prstGeom prst="rect">
            <a:avLst/>
          </a:prstGeom>
          <a:solidFill>
            <a:schemeClr val="accent3"/>
          </a:solidFill>
          <a:ln w="25400" cap="flat" cmpd="sng" algn="ctr">
            <a:noFill/>
            <a:prstDash val="solid"/>
          </a:ln>
          <a:effectLst/>
        </p:spPr>
        <p:txBody>
          <a:bodyPr lIns="91440" tIns="45720" rIns="91440" bIns="45720" rtlCol="0" anchor="ctr">
            <a:noAutofit/>
          </a:bodyPr>
          <a:lstStyle/>
          <a:p>
            <a:pPr lvl="0" defTabSz="914080">
              <a:spcBef>
                <a:spcPts val="267"/>
              </a:spcBef>
              <a:defRPr/>
            </a:pPr>
            <a:r>
              <a:rPr lang="en-US" sz="1200" kern="0" dirty="0">
                <a:solidFill>
                  <a:prstClr val="white"/>
                </a:solidFill>
              </a:rPr>
              <a:t>Reduced employee time to value</a:t>
            </a:r>
          </a:p>
        </p:txBody>
      </p:sp>
      <p:sp>
        <p:nvSpPr>
          <p:cNvPr id="11" name="Rectangle 10"/>
          <p:cNvSpPr/>
          <p:nvPr>
            <p:custDataLst>
              <p:tags r:id="rId7"/>
            </p:custDataLst>
          </p:nvPr>
        </p:nvSpPr>
        <p:spPr>
          <a:xfrm>
            <a:off x="303213" y="1917700"/>
            <a:ext cx="1545336" cy="4560174"/>
          </a:xfrm>
          <a:prstGeom prst="rect">
            <a:avLst/>
          </a:prstGeom>
          <a:solidFill>
            <a:schemeClr val="bg1">
              <a:lumMod val="95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1217693" rtl="0" eaLnBrk="1" fontAlgn="auto" latinLnBrk="0" hangingPunct="1">
              <a:lnSpc>
                <a:spcPct val="100000"/>
              </a:lnSpc>
              <a:spcBef>
                <a:spcPts val="0"/>
              </a:spcBef>
              <a:spcAft>
                <a:spcPts val="0"/>
              </a:spcAft>
              <a:buClrTx/>
              <a:buSzTx/>
              <a:buFontTx/>
              <a:buNone/>
              <a:tabLst/>
              <a:defRPr/>
            </a:pPr>
            <a:endParaRPr kumimoji="0" lang="en-US" sz="1899" b="0" i="0" u="none" strike="noStrike" kern="0" cap="none" spc="0" normalizeH="0" baseline="0" noProof="0" err="1">
              <a:ln>
                <a:solidFill>
                  <a:srgbClr val="FFFFFF">
                    <a:alpha val="0"/>
                  </a:srgbClr>
                </a:solidFill>
              </a:ln>
              <a:solidFill>
                <a:prstClr val="white"/>
              </a:solidFill>
              <a:effectLst/>
              <a:uLnTx/>
              <a:uFillTx/>
              <a:latin typeface="Segoe UI"/>
              <a:ea typeface="+mn-ea"/>
              <a:cs typeface="+mn-cs"/>
            </a:endParaRPr>
          </a:p>
        </p:txBody>
      </p:sp>
      <p:sp>
        <p:nvSpPr>
          <p:cNvPr id="12" name="Rectangle 11"/>
          <p:cNvSpPr/>
          <p:nvPr>
            <p:custDataLst>
              <p:tags r:id="rId8"/>
            </p:custDataLst>
          </p:nvPr>
        </p:nvSpPr>
        <p:spPr>
          <a:xfrm>
            <a:off x="303213" y="1295400"/>
            <a:ext cx="1545336" cy="622300"/>
          </a:xfrm>
          <a:prstGeom prst="rect">
            <a:avLst/>
          </a:prstGeom>
          <a:solidFill>
            <a:schemeClr val="tx2"/>
          </a:solidFill>
          <a:ln w="25400" cap="flat" cmpd="sng" algn="ctr">
            <a:noFill/>
            <a:prstDash val="solid"/>
          </a:ln>
          <a:effectLst/>
        </p:spPr>
        <p:txBody>
          <a:bodyPr lIns="91440" tIns="45720" rIns="91440" bIns="45720" rtlCol="0" anchor="ctr">
            <a:noAutofit/>
          </a:bodyPr>
          <a:lstStyle/>
          <a:p>
            <a:pPr marL="0" marR="0" lvl="0" indent="0" algn="ctr" defTabSz="78873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Enabling Technologies</a:t>
            </a:r>
            <a:endParaRPr kumimoji="0" lang="en-CA" sz="14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p:txBody>
      </p:sp>
      <p:sp>
        <p:nvSpPr>
          <p:cNvPr id="13" name="Rectangle 12"/>
          <p:cNvSpPr/>
          <p:nvPr>
            <p:custDataLst>
              <p:tags r:id="rId9"/>
            </p:custDataLst>
          </p:nvPr>
        </p:nvSpPr>
        <p:spPr>
          <a:xfrm>
            <a:off x="2363729" y="1917700"/>
            <a:ext cx="1545336" cy="4560174"/>
          </a:xfrm>
          <a:prstGeom prst="rect">
            <a:avLst/>
          </a:prstGeom>
          <a:solidFill>
            <a:schemeClr val="bg1">
              <a:lumMod val="95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1217693" rtl="0" eaLnBrk="1" fontAlgn="auto" latinLnBrk="0" hangingPunct="1">
              <a:lnSpc>
                <a:spcPct val="100000"/>
              </a:lnSpc>
              <a:spcBef>
                <a:spcPts val="0"/>
              </a:spcBef>
              <a:spcAft>
                <a:spcPts val="0"/>
              </a:spcAft>
              <a:buClrTx/>
              <a:buSzTx/>
              <a:buFontTx/>
              <a:buNone/>
              <a:tabLst/>
              <a:defRPr/>
            </a:pPr>
            <a:endParaRPr kumimoji="0" lang="en-US" sz="1899" b="0" i="0" u="none" strike="noStrike" kern="0" cap="none" spc="0" normalizeH="0" baseline="0" noProof="0" err="1">
              <a:ln>
                <a:noFill/>
              </a:ln>
              <a:solidFill>
                <a:srgbClr val="FFFFFF"/>
              </a:solidFill>
              <a:effectLst/>
              <a:uLnTx/>
              <a:uFillTx/>
              <a:latin typeface="Segoe UI"/>
              <a:ea typeface="+mn-ea"/>
              <a:cs typeface="+mn-cs"/>
            </a:endParaRPr>
          </a:p>
        </p:txBody>
      </p:sp>
      <p:sp>
        <p:nvSpPr>
          <p:cNvPr id="14" name="Rectangle 13"/>
          <p:cNvSpPr/>
          <p:nvPr>
            <p:custDataLst>
              <p:tags r:id="rId10"/>
            </p:custDataLst>
          </p:nvPr>
        </p:nvSpPr>
        <p:spPr>
          <a:xfrm>
            <a:off x="2363729" y="1295400"/>
            <a:ext cx="1545336" cy="622300"/>
          </a:xfrm>
          <a:prstGeom prst="rect">
            <a:avLst/>
          </a:prstGeom>
          <a:solidFill>
            <a:schemeClr val="accent1"/>
          </a:solidFill>
          <a:ln w="25400" cap="flat" cmpd="sng" algn="ctr">
            <a:noFill/>
            <a:prstDash val="solid"/>
          </a:ln>
          <a:effectLst/>
        </p:spPr>
        <p:txBody>
          <a:bodyPr lIns="91440" tIns="45720" rIns="91440" bIns="45720" rtlCol="0" anchor="ctr">
            <a:noAutofit/>
          </a:bodyPr>
          <a:lstStyle/>
          <a:p>
            <a:pPr marL="0" marR="0" lvl="0" indent="0" algn="ctr" defTabSz="78873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Enabling Changes</a:t>
            </a:r>
          </a:p>
        </p:txBody>
      </p:sp>
      <p:sp>
        <p:nvSpPr>
          <p:cNvPr id="15" name="Rectangle 14"/>
          <p:cNvSpPr/>
          <p:nvPr>
            <p:custDataLst>
              <p:tags r:id="rId11"/>
            </p:custDataLst>
          </p:nvPr>
        </p:nvSpPr>
        <p:spPr>
          <a:xfrm>
            <a:off x="2363729" y="2046224"/>
            <a:ext cx="1545336" cy="1027716"/>
          </a:xfrm>
          <a:prstGeom prst="rect">
            <a:avLst/>
          </a:prstGeom>
          <a:solidFill>
            <a:schemeClr val="accent1"/>
          </a:solidFill>
          <a:ln w="25400" cap="flat" cmpd="sng" algn="ctr">
            <a:noFill/>
            <a:prstDash val="solid"/>
          </a:ln>
          <a:effectLst/>
        </p:spPr>
        <p:txBody>
          <a:bodyPr lIns="91440" tIns="45720" rIns="91440" bIns="45720" rtlCol="0" anchor="ctr">
            <a:noAutofit/>
          </a:bodyPr>
          <a:lstStyle/>
          <a:p>
            <a:pPr marL="0" marR="0" lvl="0" indent="0" algn="l" defTabSz="78873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white"/>
                </a:solidFill>
                <a:effectLst/>
                <a:uLnTx/>
                <a:uFillTx/>
                <a:latin typeface="Segoe UI"/>
                <a:ea typeface="+mn-ea"/>
                <a:cs typeface="+mn-cs"/>
              </a:rPr>
              <a:t>Engaging customers – collaborative power of co-creation</a:t>
            </a:r>
          </a:p>
        </p:txBody>
      </p:sp>
      <p:sp>
        <p:nvSpPr>
          <p:cNvPr id="16" name="Rectangle 15"/>
          <p:cNvSpPr/>
          <p:nvPr>
            <p:custDataLst>
              <p:tags r:id="rId12"/>
            </p:custDataLst>
          </p:nvPr>
        </p:nvSpPr>
        <p:spPr>
          <a:xfrm>
            <a:off x="2363729" y="3369092"/>
            <a:ext cx="1545336" cy="1034215"/>
          </a:xfrm>
          <a:prstGeom prst="rect">
            <a:avLst/>
          </a:prstGeom>
          <a:solidFill>
            <a:schemeClr val="accent1"/>
          </a:solidFill>
          <a:ln w="25400" cap="flat" cmpd="sng" algn="ctr">
            <a:noFill/>
            <a:prstDash val="solid"/>
          </a:ln>
          <a:effectLst/>
        </p:spPr>
        <p:txBody>
          <a:bodyPr lIns="91440" tIns="45720" rIns="91440" bIns="45720" rtlCol="0" anchor="ctr">
            <a:noAutofit/>
          </a:bodyPr>
          <a:lstStyle/>
          <a:p>
            <a:pPr marL="0" marR="0" lvl="0" indent="0" algn="l" defTabSz="78873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white"/>
                </a:solidFill>
                <a:effectLst/>
                <a:uLnTx/>
                <a:uFillTx/>
                <a:latin typeface="Segoe UI"/>
                <a:ea typeface="+mn-ea"/>
                <a:cs typeface="+mn-cs"/>
              </a:rPr>
              <a:t>Integration of open innovation information into the company</a:t>
            </a:r>
          </a:p>
        </p:txBody>
      </p:sp>
      <p:sp>
        <p:nvSpPr>
          <p:cNvPr id="18" name="Rectangle 17"/>
          <p:cNvSpPr/>
          <p:nvPr>
            <p:custDataLst>
              <p:tags r:id="rId13"/>
            </p:custDataLst>
          </p:nvPr>
        </p:nvSpPr>
        <p:spPr>
          <a:xfrm>
            <a:off x="2363729" y="4698459"/>
            <a:ext cx="1545336" cy="1103097"/>
          </a:xfrm>
          <a:prstGeom prst="rect">
            <a:avLst/>
          </a:prstGeom>
          <a:solidFill>
            <a:schemeClr val="accent1"/>
          </a:solidFill>
          <a:ln w="25400" cap="flat" cmpd="sng" algn="ctr">
            <a:noFill/>
            <a:prstDash val="solid"/>
          </a:ln>
          <a:effectLst/>
        </p:spPr>
        <p:txBody>
          <a:bodyPr lIns="91440" tIns="45720" rIns="91440" bIns="45720" rtlCol="0" anchor="ctr">
            <a:noAutofit/>
          </a:bodyPr>
          <a:lstStyle/>
          <a:p>
            <a:pPr marL="0" marR="0" lvl="0" indent="0" algn="l" defTabSz="78873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Segoe UI"/>
                <a:ea typeface="+mn-ea"/>
                <a:cs typeface="+mn-cs"/>
              </a:rPr>
              <a:t>Tools for analysis, planning, monitoring and reporting</a:t>
            </a:r>
            <a:endParaRPr kumimoji="0" lang="en-GB" sz="1200" b="0" i="0" u="none" strike="noStrike" kern="0" cap="none" spc="0" normalizeH="0" baseline="0" noProof="0" dirty="0">
              <a:ln>
                <a:noFill/>
              </a:ln>
              <a:solidFill>
                <a:prstClr val="white"/>
              </a:solidFill>
              <a:effectLst/>
              <a:uLnTx/>
              <a:uFillTx/>
              <a:latin typeface="Segoe UI"/>
              <a:ea typeface="+mn-ea"/>
              <a:cs typeface="+mn-cs"/>
            </a:endParaRPr>
          </a:p>
        </p:txBody>
      </p:sp>
      <p:sp>
        <p:nvSpPr>
          <p:cNvPr id="19" name="Rectangle 18"/>
          <p:cNvSpPr/>
          <p:nvPr>
            <p:custDataLst>
              <p:tags r:id="rId14"/>
            </p:custDataLst>
          </p:nvPr>
        </p:nvSpPr>
        <p:spPr>
          <a:xfrm>
            <a:off x="4317443" y="1917700"/>
            <a:ext cx="1545336" cy="4560174"/>
          </a:xfrm>
          <a:prstGeom prst="rect">
            <a:avLst/>
          </a:prstGeom>
          <a:solidFill>
            <a:schemeClr val="bg1">
              <a:lumMod val="95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1217693" rtl="0" eaLnBrk="1" fontAlgn="auto" latinLnBrk="0" hangingPunct="1">
              <a:lnSpc>
                <a:spcPct val="100000"/>
              </a:lnSpc>
              <a:spcBef>
                <a:spcPts val="0"/>
              </a:spcBef>
              <a:spcAft>
                <a:spcPts val="0"/>
              </a:spcAft>
              <a:buClrTx/>
              <a:buSzTx/>
              <a:buFontTx/>
              <a:buNone/>
              <a:tabLst/>
              <a:defRPr/>
            </a:pPr>
            <a:endParaRPr kumimoji="0" lang="en-US" sz="1899" b="0" i="0" u="none" strike="noStrike" kern="0" cap="none" spc="0" normalizeH="0" baseline="0" noProof="0" err="1">
              <a:ln>
                <a:noFill/>
              </a:ln>
              <a:solidFill>
                <a:srgbClr val="FFFFFF"/>
              </a:solidFill>
              <a:effectLst/>
              <a:uLnTx/>
              <a:uFillTx/>
              <a:latin typeface="Segoe UI"/>
              <a:ea typeface="+mn-ea"/>
              <a:cs typeface="+mn-cs"/>
            </a:endParaRPr>
          </a:p>
        </p:txBody>
      </p:sp>
      <p:sp>
        <p:nvSpPr>
          <p:cNvPr id="20" name="Rectangle 19"/>
          <p:cNvSpPr/>
          <p:nvPr>
            <p:custDataLst>
              <p:tags r:id="rId15"/>
            </p:custDataLst>
          </p:nvPr>
        </p:nvSpPr>
        <p:spPr>
          <a:xfrm>
            <a:off x="4317443" y="1295400"/>
            <a:ext cx="1545336" cy="622300"/>
          </a:xfrm>
          <a:prstGeom prst="rect">
            <a:avLst/>
          </a:prstGeom>
          <a:solidFill>
            <a:schemeClr val="accent2"/>
          </a:solidFill>
          <a:ln w="25400" cap="flat" cmpd="sng" algn="ctr">
            <a:noFill/>
            <a:prstDash val="solid"/>
          </a:ln>
          <a:effectLst/>
        </p:spPr>
        <p:txBody>
          <a:bodyPr lIns="91440" tIns="45720" rIns="91440" bIns="45720" rtlCol="0" anchor="ctr">
            <a:noAutofit/>
          </a:bodyPr>
          <a:lstStyle/>
          <a:p>
            <a:pPr marL="0" marR="0" lvl="0" indent="0" algn="ctr" defTabSz="78873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rPr>
              <a:t>Business Changes</a:t>
            </a:r>
          </a:p>
        </p:txBody>
      </p:sp>
      <p:sp>
        <p:nvSpPr>
          <p:cNvPr id="21" name="Rectangle 20"/>
          <p:cNvSpPr/>
          <p:nvPr>
            <p:custDataLst>
              <p:tags r:id="rId16"/>
            </p:custDataLst>
          </p:nvPr>
        </p:nvSpPr>
        <p:spPr>
          <a:xfrm>
            <a:off x="4317443" y="3356043"/>
            <a:ext cx="1545336" cy="1070041"/>
          </a:xfrm>
          <a:prstGeom prst="rect">
            <a:avLst/>
          </a:prstGeom>
          <a:solidFill>
            <a:schemeClr val="accent2"/>
          </a:solidFill>
          <a:ln w="25400" cap="flat" cmpd="sng" algn="ctr">
            <a:noFill/>
            <a:prstDash val="solid"/>
          </a:ln>
          <a:effectLst/>
        </p:spPr>
        <p:txBody>
          <a:bodyPr lIns="91440" tIns="45720" rIns="91440" bIns="45720" rtlCol="0" anchor="ctr">
            <a:noAutofit/>
          </a:bodyPr>
          <a:lstStyle/>
          <a:p>
            <a:pPr marL="0" marR="0" lvl="0" indent="0" algn="l" defTabSz="914080" rtl="0" eaLnBrk="1" fontAlgn="auto" latinLnBrk="0" hangingPunct="1">
              <a:lnSpc>
                <a:spcPct val="100000"/>
              </a:lnSpc>
              <a:spcBef>
                <a:spcPts val="267"/>
              </a:spcBef>
              <a:spcAft>
                <a:spcPts val="0"/>
              </a:spcAft>
              <a:buClrTx/>
              <a:buSzTx/>
              <a:buFontTx/>
              <a:buNone/>
              <a:tabLst/>
              <a:defRPr/>
            </a:pPr>
            <a:r>
              <a:rPr lang="en-US" sz="1200" kern="0" dirty="0">
                <a:solidFill>
                  <a:srgbClr val="505050"/>
                </a:solidFill>
                <a:latin typeface="Segoe UI"/>
              </a:rPr>
              <a:t>Need for greater collaboration between industry players</a:t>
            </a:r>
            <a:endParaRPr kumimoji="0" lang="en-US" sz="1200" b="0" i="0" u="none" strike="noStrike" kern="0" cap="none" spc="0" normalizeH="0" baseline="0" noProof="0" dirty="0">
              <a:ln>
                <a:noFill/>
              </a:ln>
              <a:solidFill>
                <a:srgbClr val="505050"/>
              </a:solidFill>
              <a:effectLst/>
              <a:uLnTx/>
              <a:uFillTx/>
              <a:latin typeface="Segoe UI"/>
              <a:ea typeface="+mn-ea"/>
              <a:cs typeface="+mn-cs"/>
            </a:endParaRPr>
          </a:p>
        </p:txBody>
      </p:sp>
      <p:sp>
        <p:nvSpPr>
          <p:cNvPr id="22" name="Rectangle 21"/>
          <p:cNvSpPr/>
          <p:nvPr>
            <p:custDataLst>
              <p:tags r:id="rId17"/>
            </p:custDataLst>
          </p:nvPr>
        </p:nvSpPr>
        <p:spPr>
          <a:xfrm>
            <a:off x="4317443" y="2039339"/>
            <a:ext cx="1545336" cy="1131878"/>
          </a:xfrm>
          <a:prstGeom prst="rect">
            <a:avLst/>
          </a:prstGeom>
          <a:solidFill>
            <a:schemeClr val="accent2"/>
          </a:solidFill>
          <a:ln w="25400" cap="flat" cmpd="sng" algn="ctr">
            <a:noFill/>
            <a:prstDash val="solid"/>
          </a:ln>
          <a:effectLst/>
        </p:spPr>
        <p:txBody>
          <a:bodyPr lIns="91440" tIns="45720" rIns="91440" bIns="45720" rtlCol="0" anchor="ctr">
            <a:noAutofit/>
          </a:bodyPr>
          <a:lstStyle/>
          <a:p>
            <a:pPr marL="171450" marR="0" lvl="0" indent="-171450" algn="l" defTabSz="914080" rtl="0" eaLnBrk="1" fontAlgn="auto" latinLnBrk="0" hangingPunct="1">
              <a:lnSpc>
                <a:spcPct val="100000"/>
              </a:lnSpc>
              <a:spcBef>
                <a:spcPts val="267"/>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rgbClr val="505050"/>
                </a:solidFill>
                <a:effectLst/>
                <a:uLnTx/>
                <a:uFillTx/>
                <a:latin typeface="Segoe UI"/>
                <a:ea typeface="+mn-ea"/>
                <a:cs typeface="+mn-cs"/>
              </a:rPr>
              <a:t>Technology fusion and technology intensity</a:t>
            </a:r>
          </a:p>
        </p:txBody>
      </p:sp>
      <p:sp>
        <p:nvSpPr>
          <p:cNvPr id="23" name="Rectangle 22"/>
          <p:cNvSpPr/>
          <p:nvPr>
            <p:custDataLst>
              <p:tags r:id="rId18"/>
            </p:custDataLst>
          </p:nvPr>
        </p:nvSpPr>
        <p:spPr>
          <a:xfrm>
            <a:off x="4317443" y="4667258"/>
            <a:ext cx="1545336" cy="1188793"/>
          </a:xfrm>
          <a:prstGeom prst="rect">
            <a:avLst/>
          </a:prstGeom>
          <a:solidFill>
            <a:schemeClr val="accent2"/>
          </a:solidFill>
          <a:ln w="25400" cap="flat" cmpd="sng" algn="ctr">
            <a:noFill/>
            <a:prstDash val="solid"/>
          </a:ln>
          <a:effectLst/>
        </p:spPr>
        <p:txBody>
          <a:bodyPr lIns="91440" tIns="45720" rIns="91440" bIns="45720" rtlCol="0" anchor="ctr">
            <a:noAutofit/>
          </a:bodyPr>
          <a:lstStyle/>
          <a:p>
            <a:pPr marL="0" marR="0" lvl="0" indent="0" algn="l" defTabSz="914080" rtl="0" eaLnBrk="1" fontAlgn="auto" latinLnBrk="0" hangingPunct="1">
              <a:lnSpc>
                <a:spcPct val="100000"/>
              </a:lnSpc>
              <a:spcBef>
                <a:spcPts val="267"/>
              </a:spcBef>
              <a:spcAft>
                <a:spcPts val="0"/>
              </a:spcAft>
              <a:buClrTx/>
              <a:buSzTx/>
              <a:buFontTx/>
              <a:buNone/>
              <a:tabLst/>
              <a:defRPr/>
            </a:pPr>
            <a:r>
              <a:rPr lang="en-US" sz="1200" kern="0" dirty="0">
                <a:solidFill>
                  <a:srgbClr val="505050"/>
                </a:solidFill>
                <a:latin typeface="Segoe UI"/>
              </a:rPr>
              <a:t>Redefined automotive marketing by social media</a:t>
            </a:r>
            <a:endParaRPr kumimoji="0" lang="en-US" sz="1200" b="0" i="0" u="none" strike="noStrike" kern="0" cap="none" spc="0" normalizeH="0" baseline="0" noProof="0" dirty="0">
              <a:ln>
                <a:noFill/>
              </a:ln>
              <a:solidFill>
                <a:srgbClr val="505050"/>
              </a:solidFill>
              <a:effectLst/>
              <a:uLnTx/>
              <a:uFillTx/>
              <a:latin typeface="Segoe UI"/>
              <a:ea typeface="+mn-ea"/>
              <a:cs typeface="+mn-cs"/>
            </a:endParaRPr>
          </a:p>
        </p:txBody>
      </p:sp>
      <p:sp>
        <p:nvSpPr>
          <p:cNvPr id="25" name="Rectangle 24"/>
          <p:cNvSpPr/>
          <p:nvPr>
            <p:custDataLst>
              <p:tags r:id="rId19"/>
            </p:custDataLst>
          </p:nvPr>
        </p:nvSpPr>
        <p:spPr>
          <a:xfrm>
            <a:off x="8363205" y="1917700"/>
            <a:ext cx="1545336" cy="4560174"/>
          </a:xfrm>
          <a:prstGeom prst="rect">
            <a:avLst/>
          </a:prstGeom>
          <a:solidFill>
            <a:schemeClr val="bg1">
              <a:lumMod val="95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1217693" rtl="0" eaLnBrk="1" fontAlgn="auto" latinLnBrk="0" hangingPunct="1">
              <a:lnSpc>
                <a:spcPct val="100000"/>
              </a:lnSpc>
              <a:spcBef>
                <a:spcPts val="0"/>
              </a:spcBef>
              <a:spcAft>
                <a:spcPts val="0"/>
              </a:spcAft>
              <a:buClrTx/>
              <a:buSzTx/>
              <a:buFontTx/>
              <a:buNone/>
              <a:tabLst/>
              <a:defRPr/>
            </a:pPr>
            <a:endParaRPr kumimoji="0" lang="en-US" sz="1899" b="0" i="0" u="none" strike="noStrike" kern="0" cap="none" spc="0" normalizeH="0" baseline="0" noProof="0" err="1">
              <a:ln>
                <a:noFill/>
              </a:ln>
              <a:solidFill>
                <a:srgbClr val="FFFFFF"/>
              </a:solidFill>
              <a:effectLst/>
              <a:uLnTx/>
              <a:uFillTx/>
              <a:latin typeface="Segoe UI"/>
              <a:ea typeface="+mn-ea"/>
              <a:cs typeface="+mn-cs"/>
            </a:endParaRPr>
          </a:p>
        </p:txBody>
      </p:sp>
      <p:sp>
        <p:nvSpPr>
          <p:cNvPr id="26" name="Rectangle 25"/>
          <p:cNvSpPr/>
          <p:nvPr>
            <p:custDataLst>
              <p:tags r:id="rId20"/>
            </p:custDataLst>
          </p:nvPr>
        </p:nvSpPr>
        <p:spPr>
          <a:xfrm>
            <a:off x="8363205" y="1295400"/>
            <a:ext cx="1545336" cy="622300"/>
          </a:xfrm>
          <a:prstGeom prst="rect">
            <a:avLst/>
          </a:prstGeom>
          <a:solidFill>
            <a:schemeClr val="accent4"/>
          </a:solidFill>
          <a:ln w="25400" cap="flat" cmpd="sng" algn="ctr">
            <a:noFill/>
            <a:prstDash val="solid"/>
          </a:ln>
          <a:effectLst/>
        </p:spPr>
        <p:txBody>
          <a:bodyPr lIns="91440" tIns="45720" rIns="91440" bIns="45720" rtlCol="0" anchor="ctr">
            <a:noAutofit/>
          </a:bodyPr>
          <a:lstStyle/>
          <a:p>
            <a:pPr marL="0" marR="0" lvl="0" indent="0" algn="ctr" defTabSz="78873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Investment Objectives</a:t>
            </a:r>
            <a:endParaRPr kumimoji="0" lang="en-CA" sz="14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p:txBody>
      </p:sp>
      <p:sp>
        <p:nvSpPr>
          <p:cNvPr id="27" name="Rectangle 26"/>
          <p:cNvSpPr/>
          <p:nvPr>
            <p:custDataLst>
              <p:tags r:id="rId21"/>
            </p:custDataLst>
          </p:nvPr>
        </p:nvSpPr>
        <p:spPr>
          <a:xfrm>
            <a:off x="8363205" y="3405359"/>
            <a:ext cx="1545336" cy="830997"/>
          </a:xfrm>
          <a:prstGeom prst="rect">
            <a:avLst/>
          </a:prstGeom>
          <a:solidFill>
            <a:schemeClr val="accent4"/>
          </a:solidFill>
          <a:ln w="25400" cap="flat" cmpd="sng" algn="ctr">
            <a:noFill/>
            <a:prstDash val="solid"/>
          </a:ln>
          <a:effectLst/>
        </p:spPr>
        <p:txBody>
          <a:bodyPr lIns="91440" tIns="45720" rIns="91440" bIns="45720" rtlCol="0" anchor="ctr">
            <a:noAutofit/>
          </a:bodyPr>
          <a:lstStyle/>
          <a:p>
            <a:pPr defTabSz="591836">
              <a:lnSpc>
                <a:spcPct val="110000"/>
              </a:lnSpc>
              <a:spcBef>
                <a:spcPts val="100"/>
              </a:spcBef>
              <a:defRPr/>
            </a:pPr>
            <a:r>
              <a:rPr lang="en-US" sz="1200" kern="0" dirty="0">
                <a:solidFill>
                  <a:prstClr val="white"/>
                </a:solidFill>
              </a:rPr>
              <a:t>Build a stronger product pipeline</a:t>
            </a:r>
            <a:endParaRPr lang="en-GB" sz="1200" kern="0" dirty="0">
              <a:solidFill>
                <a:prstClr val="white"/>
              </a:solidFill>
            </a:endParaRPr>
          </a:p>
        </p:txBody>
      </p:sp>
      <p:sp>
        <p:nvSpPr>
          <p:cNvPr id="28" name="Rectangle 27"/>
          <p:cNvSpPr/>
          <p:nvPr>
            <p:custDataLst>
              <p:tags r:id="rId22"/>
            </p:custDataLst>
          </p:nvPr>
        </p:nvSpPr>
        <p:spPr>
          <a:xfrm>
            <a:off x="8363205" y="2039338"/>
            <a:ext cx="1545336" cy="1015663"/>
          </a:xfrm>
          <a:prstGeom prst="rect">
            <a:avLst/>
          </a:prstGeom>
          <a:solidFill>
            <a:schemeClr val="accent4"/>
          </a:solidFill>
          <a:ln w="25400" cap="flat" cmpd="sng" algn="ctr">
            <a:noFill/>
            <a:prstDash val="solid"/>
          </a:ln>
          <a:effectLst/>
        </p:spPr>
        <p:txBody>
          <a:bodyPr lIns="91440" tIns="45720" rIns="91440" bIns="45720" rtlCol="0" anchor="ctr">
            <a:noAutofit/>
          </a:bodyPr>
          <a:lstStyle/>
          <a:p>
            <a:pPr defTabSz="591836">
              <a:lnSpc>
                <a:spcPct val="110000"/>
              </a:lnSpc>
              <a:spcBef>
                <a:spcPts val="100"/>
              </a:spcBef>
              <a:defRPr/>
            </a:pPr>
            <a:r>
              <a:rPr lang="en-US" sz="1200" kern="0" dirty="0">
                <a:solidFill>
                  <a:prstClr val="white"/>
                </a:solidFill>
              </a:rPr>
              <a:t>Increase customer input into Product/Service Development</a:t>
            </a:r>
            <a:endParaRPr lang="en-GB" sz="1200" kern="0" dirty="0">
              <a:solidFill>
                <a:prstClr val="white"/>
              </a:solidFill>
            </a:endParaRPr>
          </a:p>
        </p:txBody>
      </p:sp>
      <p:sp>
        <p:nvSpPr>
          <p:cNvPr id="29" name="Rectangle 28"/>
          <p:cNvSpPr/>
          <p:nvPr>
            <p:custDataLst>
              <p:tags r:id="rId23"/>
            </p:custDataLst>
          </p:nvPr>
        </p:nvSpPr>
        <p:spPr>
          <a:xfrm>
            <a:off x="8363205" y="4586714"/>
            <a:ext cx="1545336" cy="830997"/>
          </a:xfrm>
          <a:prstGeom prst="rect">
            <a:avLst/>
          </a:prstGeom>
          <a:solidFill>
            <a:schemeClr val="accent4"/>
          </a:solidFill>
          <a:ln w="25400" cap="flat" cmpd="sng" algn="ctr">
            <a:noFill/>
            <a:prstDash val="solid"/>
          </a:ln>
          <a:effectLst/>
        </p:spPr>
        <p:txBody>
          <a:bodyPr lIns="91440" tIns="45720" rIns="91440" bIns="45720" rtlCol="0" anchor="ctr">
            <a:noAutofit/>
          </a:bodyPr>
          <a:lstStyle/>
          <a:p>
            <a:pPr defTabSz="591836">
              <a:lnSpc>
                <a:spcPct val="110000"/>
              </a:lnSpc>
              <a:spcBef>
                <a:spcPts val="100"/>
              </a:spcBef>
              <a:defRPr/>
            </a:pPr>
            <a:r>
              <a:rPr lang="en-US" sz="1200" kern="0" dirty="0">
                <a:solidFill>
                  <a:prstClr val="white"/>
                </a:solidFill>
              </a:rPr>
              <a:t>Provide relevant products and services</a:t>
            </a:r>
            <a:endParaRPr lang="en-CA" sz="1200" kern="0" dirty="0">
              <a:solidFill>
                <a:prstClr val="white"/>
              </a:solidFill>
            </a:endParaRPr>
          </a:p>
        </p:txBody>
      </p:sp>
      <p:sp>
        <p:nvSpPr>
          <p:cNvPr id="30" name="Rectangle 29"/>
          <p:cNvSpPr/>
          <p:nvPr>
            <p:custDataLst>
              <p:tags r:id="rId24"/>
            </p:custDataLst>
          </p:nvPr>
        </p:nvSpPr>
        <p:spPr>
          <a:xfrm>
            <a:off x="8363205" y="5768068"/>
            <a:ext cx="1545336" cy="646331"/>
          </a:xfrm>
          <a:prstGeom prst="rect">
            <a:avLst/>
          </a:prstGeom>
          <a:solidFill>
            <a:schemeClr val="accent4"/>
          </a:solidFill>
          <a:ln w="25400" cap="flat" cmpd="sng" algn="ctr">
            <a:noFill/>
            <a:prstDash val="solid"/>
          </a:ln>
          <a:effectLst/>
        </p:spPr>
        <p:txBody>
          <a:bodyPr lIns="91440" tIns="45720" rIns="91440" bIns="45720" rtlCol="0" anchor="ctr">
            <a:noAutofit/>
          </a:bodyPr>
          <a:lstStyle/>
          <a:p>
            <a:pPr defTabSz="591836">
              <a:lnSpc>
                <a:spcPct val="110000"/>
              </a:lnSpc>
              <a:spcBef>
                <a:spcPts val="100"/>
              </a:spcBef>
              <a:defRPr/>
            </a:pPr>
            <a:r>
              <a:rPr lang="en-US" sz="1200" kern="0" dirty="0">
                <a:solidFill>
                  <a:prstClr val="white"/>
                </a:solidFill>
              </a:rPr>
              <a:t>Identify and attract the best employees</a:t>
            </a:r>
          </a:p>
        </p:txBody>
      </p:sp>
      <p:cxnSp>
        <p:nvCxnSpPr>
          <p:cNvPr id="31" name="Straight Connector 30"/>
          <p:cNvCxnSpPr>
            <a:cxnSpLocks/>
            <a:stCxn id="81" idx="3"/>
            <a:endCxn id="15" idx="1"/>
          </p:cNvCxnSpPr>
          <p:nvPr/>
        </p:nvCxnSpPr>
        <p:spPr>
          <a:xfrm>
            <a:off x="1848549" y="2270798"/>
            <a:ext cx="515180" cy="289284"/>
          </a:xfrm>
          <a:prstGeom prst="line">
            <a:avLst/>
          </a:prstGeom>
          <a:noFill/>
          <a:ln w="12700" cap="flat" cmpd="sng" algn="ctr">
            <a:solidFill>
              <a:srgbClr val="FFFFFF">
                <a:lumMod val="65000"/>
              </a:srgbClr>
            </a:solidFill>
            <a:prstDash val="solid"/>
            <a:headEnd type="none"/>
            <a:tailEnd type="triangle" w="med" len="med"/>
          </a:ln>
          <a:effectLst/>
        </p:spPr>
      </p:cxnSp>
      <p:cxnSp>
        <p:nvCxnSpPr>
          <p:cNvPr id="32" name="Straight Connector 31"/>
          <p:cNvCxnSpPr>
            <a:cxnSpLocks/>
            <a:stCxn id="81" idx="3"/>
            <a:endCxn id="16" idx="1"/>
          </p:cNvCxnSpPr>
          <p:nvPr/>
        </p:nvCxnSpPr>
        <p:spPr>
          <a:xfrm>
            <a:off x="1848549" y="2270798"/>
            <a:ext cx="515180" cy="1615402"/>
          </a:xfrm>
          <a:prstGeom prst="line">
            <a:avLst/>
          </a:prstGeom>
          <a:noFill/>
          <a:ln w="12700" cap="flat" cmpd="sng" algn="ctr">
            <a:solidFill>
              <a:srgbClr val="FFFFFF">
                <a:lumMod val="65000"/>
              </a:srgbClr>
            </a:solidFill>
            <a:prstDash val="solid"/>
            <a:headEnd type="none"/>
            <a:tailEnd type="triangle" w="med" len="med"/>
          </a:ln>
          <a:effectLst/>
        </p:spPr>
      </p:cxnSp>
      <p:cxnSp>
        <p:nvCxnSpPr>
          <p:cNvPr id="33" name="Straight Connector 32"/>
          <p:cNvCxnSpPr>
            <a:cxnSpLocks/>
            <a:stCxn id="15" idx="3"/>
            <a:endCxn id="22" idx="1"/>
          </p:cNvCxnSpPr>
          <p:nvPr/>
        </p:nvCxnSpPr>
        <p:spPr>
          <a:xfrm>
            <a:off x="3909065" y="2560082"/>
            <a:ext cx="408378" cy="45196"/>
          </a:xfrm>
          <a:prstGeom prst="line">
            <a:avLst/>
          </a:prstGeom>
          <a:noFill/>
          <a:ln w="12700" cap="flat" cmpd="sng" algn="ctr">
            <a:solidFill>
              <a:srgbClr val="FFFFFF">
                <a:lumMod val="65000"/>
              </a:srgbClr>
            </a:solidFill>
            <a:prstDash val="solid"/>
            <a:headEnd type="none"/>
            <a:tailEnd type="triangle" w="med" len="med"/>
          </a:ln>
          <a:effectLst/>
        </p:spPr>
      </p:cxnSp>
      <p:cxnSp>
        <p:nvCxnSpPr>
          <p:cNvPr id="34" name="Straight Connector 33"/>
          <p:cNvCxnSpPr>
            <a:cxnSpLocks/>
            <a:stCxn id="15" idx="3"/>
            <a:endCxn id="21" idx="1"/>
          </p:cNvCxnSpPr>
          <p:nvPr/>
        </p:nvCxnSpPr>
        <p:spPr>
          <a:xfrm>
            <a:off x="3909065" y="2560082"/>
            <a:ext cx="408378" cy="1330982"/>
          </a:xfrm>
          <a:prstGeom prst="line">
            <a:avLst/>
          </a:prstGeom>
          <a:noFill/>
          <a:ln w="12700" cap="flat" cmpd="sng" algn="ctr">
            <a:solidFill>
              <a:srgbClr val="FFFFFF">
                <a:lumMod val="65000"/>
              </a:srgbClr>
            </a:solidFill>
            <a:prstDash val="solid"/>
            <a:headEnd type="none"/>
            <a:tailEnd type="triangle" w="med" len="med"/>
          </a:ln>
          <a:effectLst/>
        </p:spPr>
      </p:cxnSp>
      <p:cxnSp>
        <p:nvCxnSpPr>
          <p:cNvPr id="36" name="Straight Connector 35"/>
          <p:cNvCxnSpPr>
            <a:cxnSpLocks/>
            <a:stCxn id="16" idx="3"/>
            <a:endCxn id="22" idx="1"/>
          </p:cNvCxnSpPr>
          <p:nvPr/>
        </p:nvCxnSpPr>
        <p:spPr>
          <a:xfrm flipV="1">
            <a:off x="3909065" y="2605278"/>
            <a:ext cx="408378" cy="1280922"/>
          </a:xfrm>
          <a:prstGeom prst="line">
            <a:avLst/>
          </a:prstGeom>
          <a:noFill/>
          <a:ln w="12700" cap="flat" cmpd="sng" algn="ctr">
            <a:solidFill>
              <a:srgbClr val="FFFFFF">
                <a:lumMod val="65000"/>
              </a:srgbClr>
            </a:solidFill>
            <a:prstDash val="solid"/>
            <a:headEnd type="none"/>
            <a:tailEnd type="triangle" w="med" len="med"/>
          </a:ln>
          <a:effectLst/>
        </p:spPr>
      </p:cxnSp>
      <p:cxnSp>
        <p:nvCxnSpPr>
          <p:cNvPr id="37" name="Straight Connector 36"/>
          <p:cNvCxnSpPr>
            <a:cxnSpLocks/>
            <a:stCxn id="16" idx="3"/>
            <a:endCxn id="23" idx="1"/>
          </p:cNvCxnSpPr>
          <p:nvPr/>
        </p:nvCxnSpPr>
        <p:spPr>
          <a:xfrm>
            <a:off x="3909065" y="3886200"/>
            <a:ext cx="408378" cy="1375455"/>
          </a:xfrm>
          <a:prstGeom prst="line">
            <a:avLst/>
          </a:prstGeom>
          <a:noFill/>
          <a:ln w="12700" cap="flat" cmpd="sng" algn="ctr">
            <a:solidFill>
              <a:srgbClr val="FFFFFF">
                <a:lumMod val="65000"/>
              </a:srgbClr>
            </a:solidFill>
            <a:prstDash val="solid"/>
            <a:headEnd type="none"/>
            <a:tailEnd type="triangle" w="med" len="med"/>
          </a:ln>
          <a:effectLst/>
        </p:spPr>
      </p:cxnSp>
      <p:cxnSp>
        <p:nvCxnSpPr>
          <p:cNvPr id="38" name="Straight Connector 37"/>
          <p:cNvCxnSpPr>
            <a:cxnSpLocks/>
            <a:stCxn id="18" idx="3"/>
            <a:endCxn id="21" idx="1"/>
          </p:cNvCxnSpPr>
          <p:nvPr/>
        </p:nvCxnSpPr>
        <p:spPr>
          <a:xfrm flipV="1">
            <a:off x="3909065" y="3891064"/>
            <a:ext cx="408378" cy="1358944"/>
          </a:xfrm>
          <a:prstGeom prst="line">
            <a:avLst/>
          </a:prstGeom>
          <a:noFill/>
          <a:ln w="12700" cap="flat" cmpd="sng" algn="ctr">
            <a:solidFill>
              <a:srgbClr val="FFFFFF">
                <a:lumMod val="65000"/>
              </a:srgbClr>
            </a:solidFill>
            <a:prstDash val="solid"/>
            <a:headEnd type="none"/>
            <a:tailEnd type="triangle" w="med" len="med"/>
          </a:ln>
          <a:effectLst/>
        </p:spPr>
      </p:cxnSp>
      <p:cxnSp>
        <p:nvCxnSpPr>
          <p:cNvPr id="39" name="Straight Connector 38"/>
          <p:cNvCxnSpPr>
            <a:cxnSpLocks/>
            <a:stCxn id="22" idx="3"/>
            <a:endCxn id="7" idx="1"/>
          </p:cNvCxnSpPr>
          <p:nvPr/>
        </p:nvCxnSpPr>
        <p:spPr>
          <a:xfrm flipV="1">
            <a:off x="5862779" y="2405861"/>
            <a:ext cx="466230" cy="199417"/>
          </a:xfrm>
          <a:prstGeom prst="line">
            <a:avLst/>
          </a:prstGeom>
          <a:noFill/>
          <a:ln w="12700" cap="flat" cmpd="sng" algn="ctr">
            <a:solidFill>
              <a:srgbClr val="FFFFFF">
                <a:lumMod val="65000"/>
              </a:srgbClr>
            </a:solidFill>
            <a:prstDash val="solid"/>
            <a:headEnd type="none"/>
            <a:tailEnd type="triangle" w="med" len="med"/>
          </a:ln>
          <a:effectLst/>
        </p:spPr>
      </p:cxnSp>
      <p:cxnSp>
        <p:nvCxnSpPr>
          <p:cNvPr id="40" name="Straight Connector 39"/>
          <p:cNvCxnSpPr>
            <a:cxnSpLocks/>
            <a:stCxn id="22" idx="3"/>
            <a:endCxn id="98" idx="1"/>
          </p:cNvCxnSpPr>
          <p:nvPr/>
        </p:nvCxnSpPr>
        <p:spPr>
          <a:xfrm>
            <a:off x="5862779" y="2605278"/>
            <a:ext cx="492170" cy="3455053"/>
          </a:xfrm>
          <a:prstGeom prst="line">
            <a:avLst/>
          </a:prstGeom>
          <a:noFill/>
          <a:ln w="12700" cap="flat" cmpd="sng" algn="ctr">
            <a:solidFill>
              <a:srgbClr val="FFFFFF">
                <a:lumMod val="65000"/>
              </a:srgbClr>
            </a:solidFill>
            <a:prstDash val="solid"/>
            <a:headEnd type="none"/>
            <a:tailEnd type="triangle" w="med" len="med"/>
          </a:ln>
          <a:effectLst/>
        </p:spPr>
      </p:cxnSp>
      <p:cxnSp>
        <p:nvCxnSpPr>
          <p:cNvPr id="41" name="Straight Connector 40"/>
          <p:cNvCxnSpPr>
            <a:cxnSpLocks/>
            <a:stCxn id="21" idx="3"/>
            <a:endCxn id="9" idx="1"/>
          </p:cNvCxnSpPr>
          <p:nvPr/>
        </p:nvCxnSpPr>
        <p:spPr>
          <a:xfrm flipV="1">
            <a:off x="5862779" y="3354199"/>
            <a:ext cx="466230" cy="536865"/>
          </a:xfrm>
          <a:prstGeom prst="line">
            <a:avLst/>
          </a:prstGeom>
          <a:noFill/>
          <a:ln w="12700" cap="flat" cmpd="sng" algn="ctr">
            <a:solidFill>
              <a:srgbClr val="FFFFFF">
                <a:lumMod val="65000"/>
              </a:srgbClr>
            </a:solidFill>
            <a:prstDash val="solid"/>
            <a:headEnd type="none"/>
            <a:tailEnd type="triangle" w="med" len="med"/>
          </a:ln>
          <a:effectLst/>
        </p:spPr>
      </p:cxnSp>
      <p:cxnSp>
        <p:nvCxnSpPr>
          <p:cNvPr id="42" name="Straight Connector 41"/>
          <p:cNvCxnSpPr>
            <a:cxnSpLocks/>
            <a:stCxn id="21" idx="3"/>
            <a:endCxn id="8" idx="1"/>
          </p:cNvCxnSpPr>
          <p:nvPr/>
        </p:nvCxnSpPr>
        <p:spPr>
          <a:xfrm>
            <a:off x="5862779" y="3891064"/>
            <a:ext cx="466230" cy="368116"/>
          </a:xfrm>
          <a:prstGeom prst="line">
            <a:avLst/>
          </a:prstGeom>
          <a:noFill/>
          <a:ln w="12700" cap="flat" cmpd="sng" algn="ctr">
            <a:solidFill>
              <a:srgbClr val="FFFFFF">
                <a:lumMod val="65000"/>
              </a:srgbClr>
            </a:solidFill>
            <a:prstDash val="solid"/>
            <a:headEnd type="none"/>
            <a:tailEnd type="triangle" w="med" len="med"/>
          </a:ln>
          <a:effectLst/>
        </p:spPr>
      </p:cxnSp>
      <p:cxnSp>
        <p:nvCxnSpPr>
          <p:cNvPr id="43" name="Straight Connector 42"/>
          <p:cNvCxnSpPr>
            <a:cxnSpLocks/>
            <a:stCxn id="23" idx="3"/>
            <a:endCxn id="8" idx="1"/>
          </p:cNvCxnSpPr>
          <p:nvPr/>
        </p:nvCxnSpPr>
        <p:spPr>
          <a:xfrm flipV="1">
            <a:off x="5862779" y="4259180"/>
            <a:ext cx="466230" cy="1002475"/>
          </a:xfrm>
          <a:prstGeom prst="line">
            <a:avLst/>
          </a:prstGeom>
          <a:noFill/>
          <a:ln w="12700" cap="flat" cmpd="sng" algn="ctr">
            <a:solidFill>
              <a:srgbClr val="FFFFFF">
                <a:lumMod val="65000"/>
              </a:srgbClr>
            </a:solidFill>
            <a:prstDash val="solid"/>
            <a:headEnd type="none"/>
            <a:tailEnd type="triangle" w="med" len="med"/>
          </a:ln>
          <a:effectLst/>
        </p:spPr>
      </p:cxnSp>
      <p:cxnSp>
        <p:nvCxnSpPr>
          <p:cNvPr id="45" name="Straight Connector 44"/>
          <p:cNvCxnSpPr>
            <a:cxnSpLocks/>
            <a:stCxn id="23" idx="3"/>
            <a:endCxn id="10" idx="1"/>
          </p:cNvCxnSpPr>
          <p:nvPr/>
        </p:nvCxnSpPr>
        <p:spPr>
          <a:xfrm flipV="1">
            <a:off x="5862779" y="5113589"/>
            <a:ext cx="466230" cy="148066"/>
          </a:xfrm>
          <a:prstGeom prst="line">
            <a:avLst/>
          </a:prstGeom>
          <a:noFill/>
          <a:ln w="12700" cap="flat" cmpd="sng" algn="ctr">
            <a:solidFill>
              <a:srgbClr val="FFFFFF">
                <a:lumMod val="65000"/>
              </a:srgbClr>
            </a:solidFill>
            <a:prstDash val="solid"/>
            <a:headEnd type="none"/>
            <a:tailEnd type="triangle" w="med" len="med"/>
          </a:ln>
          <a:effectLst/>
        </p:spPr>
      </p:cxnSp>
      <p:cxnSp>
        <p:nvCxnSpPr>
          <p:cNvPr id="46" name="Straight Connector 45"/>
          <p:cNvCxnSpPr>
            <a:cxnSpLocks/>
            <a:stCxn id="28" idx="1"/>
            <a:endCxn id="7" idx="3"/>
          </p:cNvCxnSpPr>
          <p:nvPr/>
        </p:nvCxnSpPr>
        <p:spPr>
          <a:xfrm flipH="1" flipV="1">
            <a:off x="7874345" y="2405861"/>
            <a:ext cx="488860" cy="141309"/>
          </a:xfrm>
          <a:prstGeom prst="line">
            <a:avLst/>
          </a:prstGeom>
          <a:noFill/>
          <a:ln w="12700" cap="flat" cmpd="sng" algn="ctr">
            <a:solidFill>
              <a:srgbClr val="FFFFFF">
                <a:lumMod val="65000"/>
              </a:srgbClr>
            </a:solidFill>
            <a:prstDash val="solid"/>
            <a:headEnd type="none"/>
            <a:tailEnd type="triangle" w="med" len="med"/>
          </a:ln>
          <a:effectLst/>
        </p:spPr>
      </p:cxnSp>
      <p:cxnSp>
        <p:nvCxnSpPr>
          <p:cNvPr id="47" name="Straight Connector 46"/>
          <p:cNvCxnSpPr>
            <a:cxnSpLocks/>
            <a:stCxn id="28" idx="1"/>
            <a:endCxn id="8" idx="3"/>
          </p:cNvCxnSpPr>
          <p:nvPr/>
        </p:nvCxnSpPr>
        <p:spPr>
          <a:xfrm flipH="1">
            <a:off x="7874345" y="2547170"/>
            <a:ext cx="488860" cy="1712010"/>
          </a:xfrm>
          <a:prstGeom prst="line">
            <a:avLst/>
          </a:prstGeom>
          <a:noFill/>
          <a:ln w="12700" cap="flat" cmpd="sng" algn="ctr">
            <a:solidFill>
              <a:srgbClr val="FFFFFF">
                <a:lumMod val="65000"/>
              </a:srgbClr>
            </a:solidFill>
            <a:prstDash val="solid"/>
            <a:headEnd type="none"/>
            <a:tailEnd type="triangle" w="med" len="med"/>
          </a:ln>
          <a:effectLst/>
        </p:spPr>
      </p:cxnSp>
      <p:cxnSp>
        <p:nvCxnSpPr>
          <p:cNvPr id="48" name="Straight Connector 47"/>
          <p:cNvCxnSpPr>
            <a:cxnSpLocks/>
            <a:stCxn id="27" idx="1"/>
            <a:endCxn id="9" idx="3"/>
          </p:cNvCxnSpPr>
          <p:nvPr/>
        </p:nvCxnSpPr>
        <p:spPr>
          <a:xfrm flipH="1" flipV="1">
            <a:off x="7874345" y="3354199"/>
            <a:ext cx="488860" cy="466659"/>
          </a:xfrm>
          <a:prstGeom prst="line">
            <a:avLst/>
          </a:prstGeom>
          <a:noFill/>
          <a:ln w="12700" cap="flat" cmpd="sng" algn="ctr">
            <a:solidFill>
              <a:srgbClr val="FFFFFF">
                <a:lumMod val="65000"/>
              </a:srgbClr>
            </a:solidFill>
            <a:prstDash val="solid"/>
            <a:headEnd type="none"/>
            <a:tailEnd type="triangle" w="med" len="med"/>
          </a:ln>
          <a:effectLst/>
        </p:spPr>
      </p:cxnSp>
      <p:cxnSp>
        <p:nvCxnSpPr>
          <p:cNvPr id="49" name="Straight Connector 48"/>
          <p:cNvCxnSpPr>
            <a:cxnSpLocks/>
            <a:stCxn id="29" idx="1"/>
            <a:endCxn id="7" idx="3"/>
          </p:cNvCxnSpPr>
          <p:nvPr/>
        </p:nvCxnSpPr>
        <p:spPr>
          <a:xfrm flipH="1" flipV="1">
            <a:off x="7874345" y="2405861"/>
            <a:ext cx="488860" cy="2596352"/>
          </a:xfrm>
          <a:prstGeom prst="line">
            <a:avLst/>
          </a:prstGeom>
          <a:noFill/>
          <a:ln w="12700" cap="flat" cmpd="sng" algn="ctr">
            <a:solidFill>
              <a:srgbClr val="FFFFFF">
                <a:lumMod val="65000"/>
              </a:srgbClr>
            </a:solidFill>
            <a:prstDash val="solid"/>
            <a:headEnd type="none"/>
            <a:tailEnd type="triangle" w="med" len="med"/>
          </a:ln>
          <a:effectLst/>
        </p:spPr>
      </p:cxnSp>
      <p:cxnSp>
        <p:nvCxnSpPr>
          <p:cNvPr id="50" name="Straight Connector 49"/>
          <p:cNvCxnSpPr>
            <a:cxnSpLocks/>
            <a:stCxn id="29" idx="1"/>
            <a:endCxn id="8" idx="3"/>
          </p:cNvCxnSpPr>
          <p:nvPr/>
        </p:nvCxnSpPr>
        <p:spPr>
          <a:xfrm flipH="1" flipV="1">
            <a:off x="7874345" y="4259180"/>
            <a:ext cx="488860" cy="743033"/>
          </a:xfrm>
          <a:prstGeom prst="line">
            <a:avLst/>
          </a:prstGeom>
          <a:noFill/>
          <a:ln w="12700" cap="flat" cmpd="sng" algn="ctr">
            <a:solidFill>
              <a:srgbClr val="FFFFFF">
                <a:lumMod val="65000"/>
              </a:srgbClr>
            </a:solidFill>
            <a:prstDash val="solid"/>
            <a:headEnd type="none"/>
            <a:tailEnd type="triangle" w="med" len="med"/>
          </a:ln>
          <a:effectLst/>
        </p:spPr>
      </p:cxnSp>
      <p:cxnSp>
        <p:nvCxnSpPr>
          <p:cNvPr id="51" name="Straight Connector 50"/>
          <p:cNvCxnSpPr>
            <a:cxnSpLocks/>
            <a:stCxn id="30" idx="1"/>
            <a:endCxn id="98" idx="3"/>
          </p:cNvCxnSpPr>
          <p:nvPr/>
        </p:nvCxnSpPr>
        <p:spPr>
          <a:xfrm flipH="1" flipV="1">
            <a:off x="7900285" y="6060331"/>
            <a:ext cx="462920" cy="30903"/>
          </a:xfrm>
          <a:prstGeom prst="line">
            <a:avLst/>
          </a:prstGeom>
          <a:noFill/>
          <a:ln w="12700" cap="flat" cmpd="sng" algn="ctr">
            <a:solidFill>
              <a:srgbClr val="FFFFFF">
                <a:lumMod val="65000"/>
              </a:srgbClr>
            </a:solidFill>
            <a:prstDash val="solid"/>
            <a:headEnd type="none"/>
            <a:tailEnd type="triangle" w="med" len="med"/>
          </a:ln>
          <a:effectLst/>
        </p:spPr>
      </p:cxnSp>
      <p:cxnSp>
        <p:nvCxnSpPr>
          <p:cNvPr id="52" name="Straight Connector 51"/>
          <p:cNvCxnSpPr>
            <a:cxnSpLocks/>
            <a:stCxn id="30" idx="1"/>
            <a:endCxn id="10" idx="3"/>
          </p:cNvCxnSpPr>
          <p:nvPr/>
        </p:nvCxnSpPr>
        <p:spPr>
          <a:xfrm flipH="1" flipV="1">
            <a:off x="7874345" y="5113589"/>
            <a:ext cx="488860" cy="977645"/>
          </a:xfrm>
          <a:prstGeom prst="line">
            <a:avLst/>
          </a:prstGeom>
          <a:noFill/>
          <a:ln w="12700" cap="flat" cmpd="sng" algn="ctr">
            <a:solidFill>
              <a:srgbClr val="FFFFFF">
                <a:lumMod val="65000"/>
              </a:srgbClr>
            </a:solidFill>
            <a:prstDash val="solid"/>
            <a:headEnd type="none"/>
            <a:tailEnd type="triangle" w="med" len="med"/>
          </a:ln>
          <a:effectLst/>
        </p:spPr>
      </p:cxnSp>
      <p:sp>
        <p:nvSpPr>
          <p:cNvPr id="53" name="Rectangle 52"/>
          <p:cNvSpPr/>
          <p:nvPr>
            <p:custDataLst>
              <p:tags r:id="rId25"/>
            </p:custDataLst>
          </p:nvPr>
        </p:nvSpPr>
        <p:spPr>
          <a:xfrm>
            <a:off x="10340277" y="1917700"/>
            <a:ext cx="1545336" cy="4560174"/>
          </a:xfrm>
          <a:prstGeom prst="rect">
            <a:avLst/>
          </a:prstGeom>
          <a:solidFill>
            <a:schemeClr val="bg1">
              <a:lumMod val="95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1217693" rtl="0" eaLnBrk="1" fontAlgn="auto" latinLnBrk="0" hangingPunct="1">
              <a:lnSpc>
                <a:spcPct val="100000"/>
              </a:lnSpc>
              <a:spcBef>
                <a:spcPts val="0"/>
              </a:spcBef>
              <a:spcAft>
                <a:spcPts val="0"/>
              </a:spcAft>
              <a:buClrTx/>
              <a:buSzTx/>
              <a:buFontTx/>
              <a:buNone/>
              <a:tabLst/>
              <a:defRPr/>
            </a:pPr>
            <a:endParaRPr kumimoji="0" lang="en-US" sz="1899" b="0" i="0" u="none" strike="noStrike" kern="0" cap="none" spc="0" normalizeH="0" baseline="0" noProof="0" err="1">
              <a:ln>
                <a:noFill/>
              </a:ln>
              <a:solidFill>
                <a:prstClr val="white"/>
              </a:solidFill>
              <a:effectLst/>
              <a:uLnTx/>
              <a:uFillTx/>
              <a:latin typeface="Segoe UI"/>
              <a:ea typeface="+mn-ea"/>
              <a:cs typeface="+mn-cs"/>
            </a:endParaRPr>
          </a:p>
        </p:txBody>
      </p:sp>
      <p:sp>
        <p:nvSpPr>
          <p:cNvPr id="54" name="Rectangle 53"/>
          <p:cNvSpPr/>
          <p:nvPr>
            <p:custDataLst>
              <p:tags r:id="rId26"/>
            </p:custDataLst>
          </p:nvPr>
        </p:nvSpPr>
        <p:spPr>
          <a:xfrm>
            <a:off x="10340277" y="1295400"/>
            <a:ext cx="1545336" cy="622300"/>
          </a:xfrm>
          <a:prstGeom prst="rect">
            <a:avLst/>
          </a:prstGeom>
          <a:solidFill>
            <a:schemeClr val="accent5"/>
          </a:solidFill>
          <a:ln w="25400" cap="flat" cmpd="sng" algn="ctr">
            <a:noFill/>
            <a:prstDash val="solid"/>
          </a:ln>
          <a:effectLst/>
        </p:spPr>
        <p:txBody>
          <a:bodyPr lIns="91440" tIns="45720" rIns="91440" bIns="45720" rtlCol="0" anchor="ctr">
            <a:noAutofit/>
          </a:bodyPr>
          <a:lstStyle/>
          <a:p>
            <a:pPr marL="0" marR="0" lvl="0" indent="0" algn="ctr" defTabSz="78873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Business Drivers</a:t>
            </a:r>
          </a:p>
        </p:txBody>
      </p:sp>
      <p:sp>
        <p:nvSpPr>
          <p:cNvPr id="56" name="Rectangle 55"/>
          <p:cNvSpPr/>
          <p:nvPr>
            <p:custDataLst>
              <p:tags r:id="rId27"/>
            </p:custDataLst>
          </p:nvPr>
        </p:nvSpPr>
        <p:spPr>
          <a:xfrm>
            <a:off x="10340277" y="3223080"/>
            <a:ext cx="1545336" cy="646331"/>
          </a:xfrm>
          <a:prstGeom prst="rect">
            <a:avLst/>
          </a:prstGeom>
          <a:solidFill>
            <a:schemeClr val="accent5"/>
          </a:solidFill>
          <a:ln w="25400" cap="flat" cmpd="sng" algn="ctr">
            <a:noFill/>
            <a:prstDash val="solid"/>
          </a:ln>
          <a:effectLst/>
        </p:spPr>
        <p:txBody>
          <a:bodyPr lIns="91440" tIns="45720" rIns="91440" bIns="45720" rtlCol="0" anchor="ctr">
            <a:noAutofit/>
          </a:bodyPr>
          <a:lstStyle/>
          <a:p>
            <a:pPr marL="0" marR="0" lvl="0" indent="0" algn="l" defTabSz="788730" rtl="0" eaLnBrk="1" fontAlgn="auto" latinLnBrk="0" hangingPunct="1">
              <a:lnSpc>
                <a:spcPct val="100000"/>
              </a:lnSpc>
              <a:spcBef>
                <a:spcPts val="0"/>
              </a:spcBef>
              <a:spcAft>
                <a:spcPts val="0"/>
              </a:spcAft>
              <a:buClrTx/>
              <a:buSzTx/>
              <a:buFontTx/>
              <a:buNone/>
              <a:tabLst/>
              <a:defRPr/>
            </a:pPr>
            <a:r>
              <a:rPr lang="en-GB" sz="1200" kern="0" dirty="0">
                <a:solidFill>
                  <a:prstClr val="white"/>
                </a:solidFill>
                <a:latin typeface="Segoe UI"/>
              </a:rPr>
              <a:t>Attract and retain key talent</a:t>
            </a:r>
            <a:endParaRPr kumimoji="0" lang="en-GB" sz="1200" b="0" i="0" u="none" strike="noStrike" kern="0" cap="none" spc="0" normalizeH="0" baseline="0" noProof="0" dirty="0">
              <a:ln>
                <a:noFill/>
              </a:ln>
              <a:solidFill>
                <a:prstClr val="white"/>
              </a:solidFill>
              <a:effectLst/>
              <a:uLnTx/>
              <a:uFillTx/>
              <a:latin typeface="Segoe UI"/>
              <a:ea typeface="+mn-ea"/>
              <a:cs typeface="+mn-cs"/>
            </a:endParaRPr>
          </a:p>
        </p:txBody>
      </p:sp>
      <p:sp>
        <p:nvSpPr>
          <p:cNvPr id="59" name="Rectangle 58"/>
          <p:cNvSpPr/>
          <p:nvPr>
            <p:custDataLst>
              <p:tags r:id="rId28"/>
            </p:custDataLst>
          </p:nvPr>
        </p:nvSpPr>
        <p:spPr>
          <a:xfrm>
            <a:off x="10340277" y="2039338"/>
            <a:ext cx="1545336" cy="830997"/>
          </a:xfrm>
          <a:prstGeom prst="rect">
            <a:avLst/>
          </a:prstGeom>
          <a:solidFill>
            <a:schemeClr val="accent5"/>
          </a:solidFill>
          <a:ln w="25400" cap="flat" cmpd="sng" algn="ctr">
            <a:noFill/>
            <a:prstDash val="solid"/>
          </a:ln>
          <a:effectLst/>
        </p:spPr>
        <p:txBody>
          <a:bodyPr lIns="91440" tIns="45720" rIns="91440" bIns="45720" rtlCol="0" anchor="ctr">
            <a:noAutofit/>
          </a:bodyPr>
          <a:lstStyle/>
          <a:p>
            <a:pPr marL="0" marR="0" lvl="0" indent="0" algn="l" defTabSz="78873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a:ln>
                  <a:noFill/>
                </a:ln>
                <a:solidFill>
                  <a:prstClr val="white"/>
                </a:solidFill>
                <a:effectLst/>
                <a:uLnTx/>
                <a:uFillTx/>
                <a:latin typeface="Segoe UI"/>
                <a:ea typeface="+mn-ea"/>
                <a:cs typeface="+mn-cs"/>
              </a:rPr>
              <a:t>Stay ahead of customer and market changing trends</a:t>
            </a:r>
          </a:p>
        </p:txBody>
      </p:sp>
      <p:cxnSp>
        <p:nvCxnSpPr>
          <p:cNvPr id="64" name="Straight Connector 63"/>
          <p:cNvCxnSpPr>
            <a:cxnSpLocks/>
            <a:stCxn id="59" idx="1"/>
            <a:endCxn id="28" idx="3"/>
          </p:cNvCxnSpPr>
          <p:nvPr/>
        </p:nvCxnSpPr>
        <p:spPr>
          <a:xfrm flipH="1">
            <a:off x="9908541" y="2454837"/>
            <a:ext cx="431736" cy="92333"/>
          </a:xfrm>
          <a:prstGeom prst="line">
            <a:avLst/>
          </a:prstGeom>
          <a:noFill/>
          <a:ln w="12700" cap="flat" cmpd="sng" algn="ctr">
            <a:solidFill>
              <a:srgbClr val="FFFFFF">
                <a:lumMod val="65000"/>
              </a:srgbClr>
            </a:solidFill>
            <a:prstDash val="solid"/>
            <a:headEnd type="none"/>
            <a:tailEnd type="triangle" w="med" len="med"/>
          </a:ln>
          <a:effectLst/>
        </p:spPr>
      </p:cxnSp>
      <p:cxnSp>
        <p:nvCxnSpPr>
          <p:cNvPr id="73" name="Straight Connector 72"/>
          <p:cNvCxnSpPr>
            <a:cxnSpLocks/>
            <a:stCxn id="82" idx="3"/>
            <a:endCxn id="16" idx="1"/>
          </p:cNvCxnSpPr>
          <p:nvPr/>
        </p:nvCxnSpPr>
        <p:spPr>
          <a:xfrm>
            <a:off x="1848549" y="3564685"/>
            <a:ext cx="515180" cy="321515"/>
          </a:xfrm>
          <a:prstGeom prst="line">
            <a:avLst/>
          </a:prstGeom>
          <a:noFill/>
          <a:ln w="12700" cap="flat" cmpd="sng" algn="ctr">
            <a:solidFill>
              <a:srgbClr val="FFFFFF">
                <a:lumMod val="65000"/>
              </a:srgbClr>
            </a:solidFill>
            <a:prstDash val="solid"/>
            <a:headEnd type="none"/>
            <a:tailEnd type="triangle" w="med" len="med"/>
          </a:ln>
          <a:effectLst/>
        </p:spPr>
      </p:cxnSp>
      <p:cxnSp>
        <p:nvCxnSpPr>
          <p:cNvPr id="74" name="Straight Connector 73"/>
          <p:cNvCxnSpPr>
            <a:cxnSpLocks/>
            <a:stCxn id="83" idx="3"/>
            <a:endCxn id="18" idx="1"/>
          </p:cNvCxnSpPr>
          <p:nvPr/>
        </p:nvCxnSpPr>
        <p:spPr>
          <a:xfrm flipV="1">
            <a:off x="1848549" y="5250008"/>
            <a:ext cx="515180" cy="932932"/>
          </a:xfrm>
          <a:prstGeom prst="line">
            <a:avLst/>
          </a:prstGeom>
          <a:noFill/>
          <a:ln w="12700" cap="flat" cmpd="sng" algn="ctr">
            <a:solidFill>
              <a:srgbClr val="FFFFFF">
                <a:lumMod val="65000"/>
              </a:srgbClr>
            </a:solidFill>
            <a:prstDash val="solid"/>
            <a:headEnd type="none"/>
            <a:tailEnd type="triangle" w="med" len="med"/>
          </a:ln>
          <a:effectLst/>
        </p:spPr>
      </p:cxnSp>
      <p:cxnSp>
        <p:nvCxnSpPr>
          <p:cNvPr id="75" name="Straight Connector 74"/>
          <p:cNvCxnSpPr>
            <a:cxnSpLocks/>
            <a:stCxn id="84" idx="3"/>
            <a:endCxn id="18" idx="1"/>
          </p:cNvCxnSpPr>
          <p:nvPr/>
        </p:nvCxnSpPr>
        <p:spPr>
          <a:xfrm>
            <a:off x="1848549" y="4858572"/>
            <a:ext cx="515180" cy="391436"/>
          </a:xfrm>
          <a:prstGeom prst="line">
            <a:avLst/>
          </a:prstGeom>
          <a:noFill/>
          <a:ln w="12700" cap="flat" cmpd="sng" algn="ctr">
            <a:solidFill>
              <a:srgbClr val="FFFFFF">
                <a:lumMod val="65000"/>
              </a:srgbClr>
            </a:solidFill>
            <a:prstDash val="solid"/>
            <a:headEnd type="none"/>
            <a:tailEnd type="triangle" w="med" len="med"/>
          </a:ln>
          <a:effectLst/>
        </p:spPr>
      </p:cxnSp>
      <p:cxnSp>
        <p:nvCxnSpPr>
          <p:cNvPr id="77" name="Straight Connector 76"/>
          <p:cNvCxnSpPr>
            <a:cxnSpLocks/>
            <a:stCxn id="83" idx="3"/>
            <a:endCxn id="16" idx="1"/>
          </p:cNvCxnSpPr>
          <p:nvPr/>
        </p:nvCxnSpPr>
        <p:spPr>
          <a:xfrm flipV="1">
            <a:off x="1848549" y="3886200"/>
            <a:ext cx="515180" cy="2296740"/>
          </a:xfrm>
          <a:prstGeom prst="line">
            <a:avLst/>
          </a:prstGeom>
          <a:noFill/>
          <a:ln w="12700" cap="flat" cmpd="sng" algn="ctr">
            <a:solidFill>
              <a:srgbClr val="FFFFFF">
                <a:lumMod val="65000"/>
              </a:srgbClr>
            </a:solidFill>
            <a:prstDash val="solid"/>
            <a:headEnd type="none"/>
            <a:tailEnd type="triangle" w="med" len="med"/>
          </a:ln>
          <a:effectLst/>
        </p:spPr>
      </p:cxnSp>
      <p:cxnSp>
        <p:nvCxnSpPr>
          <p:cNvPr id="78" name="Straight Connector 77"/>
          <p:cNvCxnSpPr>
            <a:cxnSpLocks/>
            <a:stCxn id="82" idx="3"/>
            <a:endCxn id="15" idx="1"/>
          </p:cNvCxnSpPr>
          <p:nvPr/>
        </p:nvCxnSpPr>
        <p:spPr>
          <a:xfrm flipV="1">
            <a:off x="1848549" y="2560082"/>
            <a:ext cx="515180" cy="1004603"/>
          </a:xfrm>
          <a:prstGeom prst="line">
            <a:avLst/>
          </a:prstGeom>
          <a:noFill/>
          <a:ln w="12700" cap="flat" cmpd="sng" algn="ctr">
            <a:solidFill>
              <a:srgbClr val="FFFFFF">
                <a:lumMod val="65000"/>
              </a:srgbClr>
            </a:solidFill>
            <a:prstDash val="solid"/>
            <a:headEnd type="none"/>
            <a:tailEnd type="triangle" w="med" len="med"/>
          </a:ln>
          <a:effectLst/>
        </p:spPr>
      </p:cxnSp>
      <p:cxnSp>
        <p:nvCxnSpPr>
          <p:cNvPr id="79" name="Straight Connector 78"/>
          <p:cNvCxnSpPr>
            <a:cxnSpLocks/>
            <a:stCxn id="84" idx="3"/>
            <a:endCxn id="16" idx="1"/>
          </p:cNvCxnSpPr>
          <p:nvPr/>
        </p:nvCxnSpPr>
        <p:spPr>
          <a:xfrm flipV="1">
            <a:off x="1848549" y="3886200"/>
            <a:ext cx="515180" cy="972372"/>
          </a:xfrm>
          <a:prstGeom prst="line">
            <a:avLst/>
          </a:prstGeom>
          <a:noFill/>
          <a:ln w="12700" cap="flat" cmpd="sng" algn="ctr">
            <a:solidFill>
              <a:srgbClr val="FFFFFF">
                <a:lumMod val="65000"/>
              </a:srgbClr>
            </a:solidFill>
            <a:prstDash val="solid"/>
            <a:headEnd type="none"/>
            <a:tailEnd type="triangle" w="med" len="med"/>
          </a:ln>
          <a:effectLst/>
        </p:spPr>
      </p:cxnSp>
      <p:sp>
        <p:nvSpPr>
          <p:cNvPr id="81" name="Rectangle 80"/>
          <p:cNvSpPr/>
          <p:nvPr>
            <p:custDataLst>
              <p:tags r:id="rId29"/>
            </p:custDataLst>
          </p:nvPr>
        </p:nvSpPr>
        <p:spPr>
          <a:xfrm>
            <a:off x="303213" y="2039338"/>
            <a:ext cx="1545336" cy="462919"/>
          </a:xfrm>
          <a:prstGeom prst="rect">
            <a:avLst/>
          </a:prstGeom>
          <a:solidFill>
            <a:schemeClr val="tx2"/>
          </a:solidFill>
          <a:ln w="25400" cap="flat" cmpd="sng" algn="ctr">
            <a:noFill/>
            <a:prstDash val="solid"/>
          </a:ln>
          <a:effectLst/>
        </p:spPr>
        <p:txBody>
          <a:bodyPr wrap="square" lIns="91440" tIns="45720" rIns="91440" bIns="45720" rtlCol="0" anchor="ctr" anchorCtr="0">
            <a:noAutofit/>
          </a:bodyPr>
          <a:lstStyle/>
          <a:p>
            <a:pPr marL="0" marR="0" lvl="0" indent="0" algn="l" defTabSz="788730" rtl="0" eaLnBrk="1" fontAlgn="auto" latinLnBrk="0" hangingPunct="1">
              <a:lnSpc>
                <a:spcPct val="100000"/>
              </a:lnSpc>
              <a:spcBef>
                <a:spcPts val="0"/>
              </a:spcBef>
              <a:spcAft>
                <a:spcPts val="0"/>
              </a:spcAft>
              <a:buClrTx/>
              <a:buSzTx/>
              <a:buFontTx/>
              <a:buNone/>
              <a:tabLst/>
              <a:defRPr/>
            </a:pPr>
            <a:r>
              <a:rPr kumimoji="0" lang="en-CA" sz="1200" b="0" i="0" u="none" strike="noStrike" kern="0" cap="none" spc="0" normalizeH="0" baseline="0" noProof="0">
                <a:ln>
                  <a:noFill/>
                </a:ln>
                <a:solidFill>
                  <a:prstClr val="white"/>
                </a:solidFill>
                <a:effectLst/>
                <a:uLnTx/>
                <a:uFillTx/>
                <a:latin typeface="Segoe UI"/>
                <a:ea typeface="+mn-ea"/>
                <a:cs typeface="+mn-cs"/>
              </a:rPr>
              <a:t>Internet of Things</a:t>
            </a:r>
          </a:p>
        </p:txBody>
      </p:sp>
      <p:sp>
        <p:nvSpPr>
          <p:cNvPr id="82" name="Rectangle 81"/>
          <p:cNvSpPr/>
          <p:nvPr>
            <p:custDataLst>
              <p:tags r:id="rId30"/>
            </p:custDataLst>
          </p:nvPr>
        </p:nvSpPr>
        <p:spPr>
          <a:xfrm>
            <a:off x="303213" y="3333225"/>
            <a:ext cx="1545336" cy="462919"/>
          </a:xfrm>
          <a:prstGeom prst="rect">
            <a:avLst/>
          </a:prstGeom>
          <a:solidFill>
            <a:schemeClr val="tx2"/>
          </a:solidFill>
          <a:ln w="25400" cap="flat" cmpd="sng" algn="ctr">
            <a:noFill/>
            <a:prstDash val="solid"/>
          </a:ln>
          <a:effectLst/>
        </p:spPr>
        <p:txBody>
          <a:bodyPr wrap="square" lIns="91440" tIns="45720" rIns="91440" bIns="45720" rtlCol="0" anchor="ctr" anchorCtr="0">
            <a:noAutofit/>
          </a:bodyPr>
          <a:lstStyle/>
          <a:p>
            <a:pPr marL="0" marR="0" lvl="0" indent="0" algn="l" defTabSz="788730" rtl="0" eaLnBrk="1" fontAlgn="auto" latinLnBrk="0" hangingPunct="1">
              <a:lnSpc>
                <a:spcPct val="100000"/>
              </a:lnSpc>
              <a:spcBef>
                <a:spcPts val="0"/>
              </a:spcBef>
              <a:spcAft>
                <a:spcPts val="0"/>
              </a:spcAft>
              <a:buClrTx/>
              <a:buSzTx/>
              <a:buFontTx/>
              <a:buNone/>
              <a:tabLst/>
              <a:defRPr/>
            </a:pPr>
            <a:r>
              <a:rPr kumimoji="0" lang="en-CA" sz="1200" b="0" i="0" u="none" strike="noStrike" kern="0" cap="none" spc="0" normalizeH="0" baseline="0" noProof="0">
                <a:ln>
                  <a:noFill/>
                </a:ln>
                <a:solidFill>
                  <a:prstClr val="white"/>
                </a:solidFill>
                <a:effectLst/>
                <a:uLnTx/>
                <a:uFillTx/>
                <a:latin typeface="Segoe UI"/>
                <a:ea typeface="+mn-ea"/>
                <a:cs typeface="+mn-cs"/>
              </a:rPr>
              <a:t>Smart Applications</a:t>
            </a:r>
          </a:p>
        </p:txBody>
      </p:sp>
      <p:sp>
        <p:nvSpPr>
          <p:cNvPr id="83" name="Rectangle 82"/>
          <p:cNvSpPr/>
          <p:nvPr>
            <p:custDataLst>
              <p:tags r:id="rId31"/>
            </p:custDataLst>
          </p:nvPr>
        </p:nvSpPr>
        <p:spPr>
          <a:xfrm>
            <a:off x="303213" y="5951480"/>
            <a:ext cx="1545336" cy="462919"/>
          </a:xfrm>
          <a:prstGeom prst="rect">
            <a:avLst/>
          </a:prstGeom>
          <a:solidFill>
            <a:schemeClr val="tx2"/>
          </a:solidFill>
          <a:ln w="25400" cap="flat" cmpd="sng" algn="ctr">
            <a:noFill/>
            <a:prstDash val="solid"/>
          </a:ln>
          <a:effectLst/>
        </p:spPr>
        <p:txBody>
          <a:bodyPr wrap="square" lIns="91440" tIns="45720" rIns="91440" bIns="45720" rtlCol="0" anchor="ctr" anchorCtr="0">
            <a:noAutofit/>
          </a:bodyPr>
          <a:lstStyle/>
          <a:p>
            <a:pPr marL="0" marR="0" lvl="0" indent="0" algn="l" defTabSz="788730" rtl="0" eaLnBrk="1" fontAlgn="auto" latinLnBrk="0" hangingPunct="1">
              <a:lnSpc>
                <a:spcPct val="100000"/>
              </a:lnSpc>
              <a:spcBef>
                <a:spcPts val="0"/>
              </a:spcBef>
              <a:spcAft>
                <a:spcPts val="0"/>
              </a:spcAft>
              <a:buClrTx/>
              <a:buSzTx/>
              <a:buFontTx/>
              <a:buNone/>
              <a:tabLst/>
              <a:defRPr/>
            </a:pPr>
            <a:r>
              <a:rPr kumimoji="0" lang="en-CA" sz="1200" b="0" i="0" u="none" strike="noStrike" kern="0" cap="none" spc="0" normalizeH="0" baseline="0" noProof="0">
                <a:ln>
                  <a:noFill/>
                </a:ln>
                <a:solidFill>
                  <a:prstClr val="white"/>
                </a:solidFill>
                <a:effectLst/>
                <a:uLnTx/>
                <a:uFillTx/>
                <a:latin typeface="Segoe UI"/>
                <a:ea typeface="+mn-ea"/>
                <a:cs typeface="+mn-cs"/>
              </a:rPr>
              <a:t>Big Data and Analytics</a:t>
            </a:r>
          </a:p>
        </p:txBody>
      </p:sp>
      <p:sp>
        <p:nvSpPr>
          <p:cNvPr id="84" name="Rectangle 83"/>
          <p:cNvSpPr/>
          <p:nvPr>
            <p:custDataLst>
              <p:tags r:id="rId32"/>
            </p:custDataLst>
          </p:nvPr>
        </p:nvSpPr>
        <p:spPr>
          <a:xfrm>
            <a:off x="303213" y="4627112"/>
            <a:ext cx="1545336" cy="462919"/>
          </a:xfrm>
          <a:prstGeom prst="rect">
            <a:avLst/>
          </a:prstGeom>
          <a:solidFill>
            <a:schemeClr val="tx2"/>
          </a:solidFill>
          <a:ln w="25400" cap="flat" cmpd="sng" algn="ctr">
            <a:noFill/>
            <a:prstDash val="solid"/>
          </a:ln>
          <a:effectLst/>
        </p:spPr>
        <p:txBody>
          <a:bodyPr wrap="square" lIns="91440" tIns="45720" rIns="91440" bIns="45720" rtlCol="0" anchor="ctr" anchorCtr="0">
            <a:noAutofit/>
          </a:bodyPr>
          <a:lstStyle/>
          <a:p>
            <a:pPr marL="0" marR="0" lvl="0" indent="0" algn="l" defTabSz="788730" rtl="0" eaLnBrk="1" fontAlgn="auto" latinLnBrk="0" hangingPunct="1">
              <a:lnSpc>
                <a:spcPct val="100000"/>
              </a:lnSpc>
              <a:spcBef>
                <a:spcPts val="0"/>
              </a:spcBef>
              <a:spcAft>
                <a:spcPts val="0"/>
              </a:spcAft>
              <a:buClrTx/>
              <a:buSzTx/>
              <a:buFontTx/>
              <a:buNone/>
              <a:tabLst/>
              <a:defRPr/>
            </a:pPr>
            <a:r>
              <a:rPr kumimoji="0" lang="en-CA" sz="1200" b="0" i="0" u="none" strike="noStrike" kern="0" cap="none" spc="0" normalizeH="0" baseline="0" noProof="0">
                <a:ln>
                  <a:noFill/>
                </a:ln>
                <a:solidFill>
                  <a:prstClr val="white"/>
                </a:solidFill>
                <a:effectLst/>
                <a:uLnTx/>
                <a:uFillTx/>
                <a:latin typeface="Segoe UI"/>
                <a:ea typeface="+mn-ea"/>
                <a:cs typeface="+mn-cs"/>
              </a:rPr>
              <a:t>Cloud and Mobile Services</a:t>
            </a:r>
          </a:p>
        </p:txBody>
      </p:sp>
      <p:pic>
        <p:nvPicPr>
          <p:cNvPr id="91" name="Picture 2" descr="https://www.eiseverywhere.com/file_uploads/9385c12ce72fb040cefcd7089e87571c_CranfieldUni_logo.jpg"/>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10524879" y="677100"/>
            <a:ext cx="1452172" cy="563443"/>
          </a:xfrm>
          <a:prstGeom prst="rect">
            <a:avLst/>
          </a:prstGeom>
          <a:noFill/>
          <a:extLst>
            <a:ext uri="{909E8E84-426E-40DD-AFC4-6F175D3DCCD1}">
              <a14:hiddenFill xmlns:a14="http://schemas.microsoft.com/office/drawing/2010/main">
                <a:solidFill>
                  <a:srgbClr val="FFFFFF"/>
                </a:solidFill>
              </a14:hiddenFill>
            </a:ext>
          </a:extLst>
        </p:spPr>
      </p:pic>
      <p:sp>
        <p:nvSpPr>
          <p:cNvPr id="92" name="Text Placeholder 6"/>
          <p:cNvSpPr txBox="1">
            <a:spLocks/>
          </p:cNvSpPr>
          <p:nvPr/>
        </p:nvSpPr>
        <p:spPr>
          <a:xfrm>
            <a:off x="6879771" y="142996"/>
            <a:ext cx="5005842" cy="456230"/>
          </a:xfrm>
          <a:prstGeom prst="rect">
            <a:avLst/>
          </a:prstGeom>
        </p:spPr>
        <p:txBody>
          <a:bodyPr vert="horz" lIns="320040" tIns="53325" rIns="53325" bIns="53325" rtlCol="0">
            <a:noAutofit/>
          </a:bodyPr>
          <a:lstStyle>
            <a:lvl1pPr marL="0" indent="0" algn="l" defTabSz="1088105" rtl="0" eaLnBrk="1" latinLnBrk="0" hangingPunct="1">
              <a:spcBef>
                <a:spcPts val="1800"/>
              </a:spcBef>
              <a:buClr>
                <a:srgbClr val="0072C6"/>
              </a:buClr>
              <a:buSzPct val="100000"/>
              <a:buFont typeface="Wingdings" pitchFamily="2" charset="2"/>
              <a:buNone/>
              <a:defRPr sz="2800" kern="1200">
                <a:solidFill>
                  <a:schemeClr val="tx1"/>
                </a:solidFill>
                <a:latin typeface="Segoe UI Light" pitchFamily="34" charset="0"/>
                <a:ea typeface="Segoe UI" pitchFamily="34" charset="0"/>
                <a:cs typeface="Segoe UI" pitchFamily="34" charset="0"/>
              </a:defRPr>
            </a:lvl1pPr>
            <a:lvl2pPr marL="281674" indent="0" algn="l" defTabSz="1088105" rtl="0" eaLnBrk="1" latinLnBrk="0" hangingPunct="1">
              <a:spcBef>
                <a:spcPct val="20000"/>
              </a:spcBef>
              <a:buFont typeface="Arial" pitchFamily="34" charset="0"/>
              <a:buNone/>
              <a:defRPr sz="1800" kern="1200">
                <a:solidFill>
                  <a:schemeClr val="tx1"/>
                </a:solidFill>
                <a:latin typeface="Segoe UI" pitchFamily="34" charset="0"/>
                <a:ea typeface="Segoe UI" pitchFamily="34" charset="0"/>
                <a:cs typeface="Segoe UI" pitchFamily="34" charset="0"/>
              </a:defRPr>
            </a:lvl2pPr>
            <a:lvl3pPr marL="588476" indent="0" algn="l" defTabSz="1088105" rtl="0" eaLnBrk="1" latinLnBrk="0" hangingPunct="1">
              <a:spcBef>
                <a:spcPct val="20000"/>
              </a:spcBef>
              <a:buFont typeface="Arial" pitchFamily="34" charset="0"/>
              <a:buNone/>
              <a:defRPr sz="1600" kern="1200">
                <a:solidFill>
                  <a:schemeClr val="tx1"/>
                </a:solidFill>
                <a:latin typeface="Segoe UI" pitchFamily="34" charset="0"/>
                <a:ea typeface="Segoe UI" pitchFamily="34" charset="0"/>
                <a:cs typeface="Segoe UI" pitchFamily="34" charset="0"/>
              </a:defRPr>
            </a:lvl3pPr>
            <a:lvl4pPr marL="87015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4pPr>
            <a:lvl5pPr marL="110554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marL="0" marR="0" lvl="0" indent="0" algn="l" defTabSz="1088105" rtl="0" eaLnBrk="1" fontAlgn="auto" latinLnBrk="0" hangingPunct="1">
              <a:lnSpc>
                <a:spcPct val="100000"/>
              </a:lnSpc>
              <a:spcBef>
                <a:spcPts val="1800"/>
              </a:spcBef>
              <a:spcAft>
                <a:spcPts val="0"/>
              </a:spcAft>
              <a:buClr>
                <a:srgbClr val="0072C6"/>
              </a:buClr>
              <a:buSzPct val="100000"/>
              <a:buFont typeface="Wingdings" pitchFamily="2" charset="2"/>
              <a:buNone/>
              <a:tabLst/>
              <a:defRPr/>
            </a:pPr>
            <a:r>
              <a:rPr kumimoji="0" lang="en-US" sz="2800" b="0" i="0" u="none" strike="noStrike" kern="1200" cap="none" spc="0" normalizeH="0" baseline="0" noProof="0">
                <a:ln>
                  <a:noFill/>
                </a:ln>
                <a:solidFill>
                  <a:srgbClr val="505050"/>
                </a:solidFill>
                <a:effectLst/>
                <a:uLnTx/>
                <a:uFillTx/>
                <a:latin typeface="Segoe UI Light" pitchFamily="34" charset="0"/>
                <a:ea typeface="Segoe UI" pitchFamily="34" charset="0"/>
                <a:cs typeface="Segoe UI" pitchFamily="34" charset="0"/>
              </a:rPr>
              <a:t>Benefits Dependency Network</a:t>
            </a:r>
          </a:p>
        </p:txBody>
      </p:sp>
      <p:sp>
        <p:nvSpPr>
          <p:cNvPr id="97" name="Rectangle 96">
            <a:extLst>
              <a:ext uri="{FF2B5EF4-FFF2-40B4-BE49-F238E27FC236}">
                <a16:creationId xmlns:a16="http://schemas.microsoft.com/office/drawing/2014/main" id="{BF57F896-B366-4485-BD4C-398008C5A0F6}"/>
              </a:ext>
            </a:extLst>
          </p:cNvPr>
          <p:cNvSpPr/>
          <p:nvPr>
            <p:custDataLst>
              <p:tags r:id="rId33"/>
            </p:custDataLst>
          </p:nvPr>
        </p:nvSpPr>
        <p:spPr>
          <a:xfrm>
            <a:off x="10340277" y="4222156"/>
            <a:ext cx="1545336" cy="646331"/>
          </a:xfrm>
          <a:prstGeom prst="rect">
            <a:avLst/>
          </a:prstGeom>
          <a:solidFill>
            <a:schemeClr val="accent5"/>
          </a:solidFill>
          <a:ln w="25400" cap="flat" cmpd="sng" algn="ctr">
            <a:noFill/>
            <a:prstDash val="solid"/>
          </a:ln>
          <a:effectLst/>
        </p:spPr>
        <p:txBody>
          <a:bodyPr lIns="91440" tIns="45720" rIns="91440" bIns="45720" rtlCol="0" anchor="ctr">
            <a:noAutofit/>
          </a:bodyPr>
          <a:lstStyle/>
          <a:p>
            <a:pPr marL="0" marR="0" lvl="0" indent="0" algn="l" defTabSz="788730" rtl="0" eaLnBrk="1" fontAlgn="auto" latinLnBrk="0" hangingPunct="1">
              <a:lnSpc>
                <a:spcPct val="100000"/>
              </a:lnSpc>
              <a:spcBef>
                <a:spcPts val="0"/>
              </a:spcBef>
              <a:spcAft>
                <a:spcPts val="0"/>
              </a:spcAft>
              <a:buClrTx/>
              <a:buSzTx/>
              <a:buFontTx/>
              <a:buNone/>
              <a:tabLst/>
              <a:defRPr/>
            </a:pPr>
            <a:r>
              <a:rPr lang="en-GB" sz="1200" kern="0" dirty="0">
                <a:solidFill>
                  <a:prstClr val="white"/>
                </a:solidFill>
                <a:latin typeface="Segoe UI"/>
              </a:rPr>
              <a:t>Maintain and protect brand image</a:t>
            </a:r>
            <a:endParaRPr kumimoji="0" lang="en-GB" sz="1200" b="0" i="0" u="none" strike="noStrike" kern="0" cap="none" spc="0" normalizeH="0" baseline="0" noProof="0" dirty="0">
              <a:ln>
                <a:noFill/>
              </a:ln>
              <a:solidFill>
                <a:prstClr val="white"/>
              </a:solidFill>
              <a:effectLst/>
              <a:uLnTx/>
              <a:uFillTx/>
              <a:latin typeface="Segoe UI"/>
              <a:ea typeface="+mn-ea"/>
              <a:cs typeface="+mn-cs"/>
            </a:endParaRPr>
          </a:p>
        </p:txBody>
      </p:sp>
      <p:sp>
        <p:nvSpPr>
          <p:cNvPr id="98" name="Rectangle 97">
            <a:extLst>
              <a:ext uri="{FF2B5EF4-FFF2-40B4-BE49-F238E27FC236}">
                <a16:creationId xmlns:a16="http://schemas.microsoft.com/office/drawing/2014/main" id="{57BC0F65-4007-46F2-851E-65BD5E980828}"/>
              </a:ext>
            </a:extLst>
          </p:cNvPr>
          <p:cNvSpPr/>
          <p:nvPr>
            <p:custDataLst>
              <p:tags r:id="rId34"/>
            </p:custDataLst>
          </p:nvPr>
        </p:nvSpPr>
        <p:spPr>
          <a:xfrm>
            <a:off x="6354949" y="5644832"/>
            <a:ext cx="1545336" cy="830997"/>
          </a:xfrm>
          <a:prstGeom prst="rect">
            <a:avLst/>
          </a:prstGeom>
          <a:solidFill>
            <a:schemeClr val="accent3"/>
          </a:solidFill>
          <a:ln w="25400" cap="flat" cmpd="sng" algn="ctr">
            <a:noFill/>
            <a:prstDash val="solid"/>
          </a:ln>
          <a:effectLst/>
        </p:spPr>
        <p:txBody>
          <a:bodyPr lIns="91440" tIns="45720" rIns="91440" bIns="45720" rtlCol="0" anchor="ctr">
            <a:noAutofit/>
          </a:bodyPr>
          <a:lstStyle/>
          <a:p>
            <a:pPr lvl="0" defTabSz="914080">
              <a:spcBef>
                <a:spcPts val="267"/>
              </a:spcBef>
              <a:defRPr/>
            </a:pPr>
            <a:r>
              <a:rPr lang="en-US" sz="1200" kern="0" dirty="0">
                <a:solidFill>
                  <a:prstClr val="white"/>
                </a:solidFill>
              </a:rPr>
              <a:t>Better retention of employees</a:t>
            </a:r>
          </a:p>
        </p:txBody>
      </p:sp>
      <p:cxnSp>
        <p:nvCxnSpPr>
          <p:cNvPr id="137" name="Straight Connector 136">
            <a:extLst>
              <a:ext uri="{FF2B5EF4-FFF2-40B4-BE49-F238E27FC236}">
                <a16:creationId xmlns:a16="http://schemas.microsoft.com/office/drawing/2014/main" id="{5123B461-C263-4B1F-99D3-09A36723F77C}"/>
              </a:ext>
            </a:extLst>
          </p:cNvPr>
          <p:cNvCxnSpPr>
            <a:cxnSpLocks/>
            <a:stCxn id="18" idx="3"/>
            <a:endCxn id="22" idx="1"/>
          </p:cNvCxnSpPr>
          <p:nvPr/>
        </p:nvCxnSpPr>
        <p:spPr>
          <a:xfrm flipV="1">
            <a:off x="3909065" y="2605278"/>
            <a:ext cx="408378" cy="2644730"/>
          </a:xfrm>
          <a:prstGeom prst="line">
            <a:avLst/>
          </a:prstGeom>
          <a:noFill/>
          <a:ln w="12700" cap="flat" cmpd="sng" algn="ctr">
            <a:solidFill>
              <a:srgbClr val="FFFFFF">
                <a:lumMod val="65000"/>
              </a:srgbClr>
            </a:solidFill>
            <a:prstDash val="solid"/>
            <a:headEnd type="none"/>
            <a:tailEnd type="triangle" w="med" len="med"/>
          </a:ln>
          <a:effectLst/>
        </p:spPr>
      </p:cxnSp>
      <p:cxnSp>
        <p:nvCxnSpPr>
          <p:cNvPr id="153" name="Straight Connector 152">
            <a:extLst>
              <a:ext uri="{FF2B5EF4-FFF2-40B4-BE49-F238E27FC236}">
                <a16:creationId xmlns:a16="http://schemas.microsoft.com/office/drawing/2014/main" id="{72255B0E-3F30-4823-8A83-7DF680CA08F2}"/>
              </a:ext>
            </a:extLst>
          </p:cNvPr>
          <p:cNvCxnSpPr>
            <a:cxnSpLocks/>
            <a:stCxn id="27" idx="1"/>
            <a:endCxn id="7" idx="3"/>
          </p:cNvCxnSpPr>
          <p:nvPr/>
        </p:nvCxnSpPr>
        <p:spPr>
          <a:xfrm flipH="1" flipV="1">
            <a:off x="7874345" y="2405861"/>
            <a:ext cx="488860" cy="1414997"/>
          </a:xfrm>
          <a:prstGeom prst="line">
            <a:avLst/>
          </a:prstGeom>
          <a:noFill/>
          <a:ln w="12700" cap="flat" cmpd="sng" algn="ctr">
            <a:solidFill>
              <a:srgbClr val="FFFFFF">
                <a:lumMod val="65000"/>
              </a:srgbClr>
            </a:solidFill>
            <a:prstDash val="solid"/>
            <a:headEnd type="none"/>
            <a:tailEnd type="triangle" w="med" len="med"/>
          </a:ln>
          <a:effectLst/>
        </p:spPr>
      </p:cxnSp>
      <p:cxnSp>
        <p:nvCxnSpPr>
          <p:cNvPr id="159" name="Straight Connector 158">
            <a:extLst>
              <a:ext uri="{FF2B5EF4-FFF2-40B4-BE49-F238E27FC236}">
                <a16:creationId xmlns:a16="http://schemas.microsoft.com/office/drawing/2014/main" id="{2B736855-A97F-4BC6-BF09-E87C04CF5828}"/>
              </a:ext>
            </a:extLst>
          </p:cNvPr>
          <p:cNvCxnSpPr>
            <a:cxnSpLocks/>
            <a:stCxn id="56" idx="1"/>
            <a:endCxn id="30" idx="3"/>
          </p:cNvCxnSpPr>
          <p:nvPr/>
        </p:nvCxnSpPr>
        <p:spPr>
          <a:xfrm flipH="1">
            <a:off x="9908541" y="3546246"/>
            <a:ext cx="431736" cy="2544988"/>
          </a:xfrm>
          <a:prstGeom prst="line">
            <a:avLst/>
          </a:prstGeom>
          <a:noFill/>
          <a:ln w="12700" cap="flat" cmpd="sng" algn="ctr">
            <a:solidFill>
              <a:srgbClr val="FFFFFF">
                <a:lumMod val="65000"/>
              </a:srgbClr>
            </a:solidFill>
            <a:prstDash val="solid"/>
            <a:headEnd type="none"/>
            <a:tailEnd type="triangle" w="med" len="med"/>
          </a:ln>
          <a:effectLst/>
        </p:spPr>
      </p:cxnSp>
      <p:cxnSp>
        <p:nvCxnSpPr>
          <p:cNvPr id="162" name="Straight Connector 161">
            <a:extLst>
              <a:ext uri="{FF2B5EF4-FFF2-40B4-BE49-F238E27FC236}">
                <a16:creationId xmlns:a16="http://schemas.microsoft.com/office/drawing/2014/main" id="{09F9509C-C9F8-4931-984E-2CCFB0F5E4A3}"/>
              </a:ext>
            </a:extLst>
          </p:cNvPr>
          <p:cNvCxnSpPr>
            <a:cxnSpLocks/>
            <a:stCxn id="56" idx="1"/>
            <a:endCxn id="27" idx="3"/>
          </p:cNvCxnSpPr>
          <p:nvPr/>
        </p:nvCxnSpPr>
        <p:spPr>
          <a:xfrm flipH="1">
            <a:off x="9908541" y="3546246"/>
            <a:ext cx="431736" cy="274612"/>
          </a:xfrm>
          <a:prstGeom prst="line">
            <a:avLst/>
          </a:prstGeom>
          <a:noFill/>
          <a:ln w="12700" cap="flat" cmpd="sng" algn="ctr">
            <a:solidFill>
              <a:srgbClr val="FFFFFF">
                <a:lumMod val="65000"/>
              </a:srgbClr>
            </a:solidFill>
            <a:prstDash val="solid"/>
            <a:headEnd type="none"/>
            <a:tailEnd type="triangle" w="med" len="med"/>
          </a:ln>
          <a:effectLst/>
        </p:spPr>
      </p:cxnSp>
      <p:cxnSp>
        <p:nvCxnSpPr>
          <p:cNvPr id="165" name="Straight Connector 164">
            <a:extLst>
              <a:ext uri="{FF2B5EF4-FFF2-40B4-BE49-F238E27FC236}">
                <a16:creationId xmlns:a16="http://schemas.microsoft.com/office/drawing/2014/main" id="{66EC78F2-1EE3-4213-9ACA-1C2668966CBB}"/>
              </a:ext>
            </a:extLst>
          </p:cNvPr>
          <p:cNvCxnSpPr>
            <a:cxnSpLocks/>
            <a:stCxn id="27" idx="1"/>
            <a:endCxn id="98" idx="3"/>
          </p:cNvCxnSpPr>
          <p:nvPr/>
        </p:nvCxnSpPr>
        <p:spPr>
          <a:xfrm flipH="1">
            <a:off x="7900285" y="3820858"/>
            <a:ext cx="462920" cy="2239473"/>
          </a:xfrm>
          <a:prstGeom prst="line">
            <a:avLst/>
          </a:prstGeom>
          <a:noFill/>
          <a:ln w="12700" cap="flat" cmpd="sng" algn="ctr">
            <a:solidFill>
              <a:srgbClr val="FFFFFF">
                <a:lumMod val="65000"/>
              </a:srgbClr>
            </a:solidFill>
            <a:prstDash val="solid"/>
            <a:headEnd type="none"/>
            <a:tailEnd type="triangle" w="med" len="med"/>
          </a:ln>
          <a:effectLst/>
        </p:spPr>
      </p:cxnSp>
      <p:cxnSp>
        <p:nvCxnSpPr>
          <p:cNvPr id="168" name="Straight Connector 167">
            <a:extLst>
              <a:ext uri="{FF2B5EF4-FFF2-40B4-BE49-F238E27FC236}">
                <a16:creationId xmlns:a16="http://schemas.microsoft.com/office/drawing/2014/main" id="{2806FC6B-26F0-43B6-8749-98B3ED66D03C}"/>
              </a:ext>
            </a:extLst>
          </p:cNvPr>
          <p:cNvCxnSpPr>
            <a:cxnSpLocks/>
            <a:stCxn id="97" idx="1"/>
            <a:endCxn id="29" idx="3"/>
          </p:cNvCxnSpPr>
          <p:nvPr/>
        </p:nvCxnSpPr>
        <p:spPr>
          <a:xfrm flipH="1">
            <a:off x="9908541" y="4545322"/>
            <a:ext cx="431736" cy="456891"/>
          </a:xfrm>
          <a:prstGeom prst="line">
            <a:avLst/>
          </a:prstGeom>
          <a:noFill/>
          <a:ln w="12700" cap="flat" cmpd="sng" algn="ctr">
            <a:solidFill>
              <a:srgbClr val="FFFFFF">
                <a:lumMod val="65000"/>
              </a:srgbClr>
            </a:solidFill>
            <a:prstDash val="solid"/>
            <a:headEnd type="none"/>
            <a:tailEnd type="triangle" w="med" len="med"/>
          </a:ln>
          <a:effectLst/>
        </p:spPr>
      </p:cxnSp>
    </p:spTree>
    <p:extLst>
      <p:ext uri="{BB962C8B-B14F-4D97-AF65-F5344CB8AC3E}">
        <p14:creationId xmlns:p14="http://schemas.microsoft.com/office/powerpoint/2010/main" val="11166695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pen Innovation</a:t>
            </a:r>
            <a:endParaRPr lang="en-IN" dirty="0"/>
          </a:p>
        </p:txBody>
      </p:sp>
      <p:sp>
        <p:nvSpPr>
          <p:cNvPr id="4" name="Slide Number Placeholder 3"/>
          <p:cNvSpPr>
            <a:spLocks noGrp="1"/>
          </p:cNvSpPr>
          <p:nvPr>
            <p:ph type="sldNum" sz="quarter" idx="14"/>
          </p:nvPr>
        </p:nvSpPr>
        <p:spPr/>
        <p:txBody>
          <a:bodyPr/>
          <a:lstStyle/>
          <a:p>
            <a:pPr marL="0" marR="0" lvl="0" indent="0" algn="r" defTabSz="1088105"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1088105" rtl="0" eaLnBrk="1" fontAlgn="auto" latinLnBrk="0" hangingPunct="1">
                <a:lnSpc>
                  <a:spcPct val="100000"/>
                </a:lnSpc>
                <a:spcBef>
                  <a:spcPts val="0"/>
                </a:spcBef>
                <a:spcAft>
                  <a:spcPts val="0"/>
                </a:spcAft>
                <a:buClrTx/>
                <a:buSzTx/>
                <a:buFontTx/>
                <a:buNone/>
                <a:tabLst/>
                <a:defRPr/>
              </a:pPr>
              <a:t>53</a:t>
            </a:fld>
            <a:endParaRPr kumimoji="0" lang="en-US" sz="800" b="0" i="0" u="none" strike="noStrike" kern="1200" cap="none" spc="0" normalizeH="0" baseline="0" noProof="0">
              <a:ln>
                <a:noFill/>
              </a:ln>
              <a:solidFill>
                <a:srgbClr val="505050"/>
              </a:solidFill>
              <a:effectLst/>
              <a:uLnTx/>
              <a:uFillTx/>
              <a:latin typeface="Segoe UI" pitchFamily="34" charset="0"/>
              <a:cs typeface="Segoe UI" pitchFamily="34" charset="0"/>
            </a:endParaRPr>
          </a:p>
        </p:txBody>
      </p:sp>
      <p:graphicFrame>
        <p:nvGraphicFramePr>
          <p:cNvPr id="5" name="Table 4"/>
          <p:cNvGraphicFramePr>
            <a:graphicFrameLocks noGrp="1"/>
          </p:cNvGraphicFramePr>
          <p:nvPr>
            <p:extLst/>
          </p:nvPr>
        </p:nvGraphicFramePr>
        <p:xfrm>
          <a:off x="303214" y="1085850"/>
          <a:ext cx="11582399" cy="5318376"/>
        </p:xfrm>
        <a:graphic>
          <a:graphicData uri="http://schemas.openxmlformats.org/drawingml/2006/table">
            <a:tbl>
              <a:tblPr firstRow="1" firstCol="1" bandRow="1">
                <a:tableStyleId>{5C22544A-7EE6-4342-B048-85BDC9FD1C3A}</a:tableStyleId>
              </a:tblPr>
              <a:tblGrid>
                <a:gridCol w="1294580">
                  <a:extLst>
                    <a:ext uri="{9D8B030D-6E8A-4147-A177-3AD203B41FA5}">
                      <a16:colId xmlns:a16="http://schemas.microsoft.com/office/drawing/2014/main" val="20000"/>
                    </a:ext>
                  </a:extLst>
                </a:gridCol>
                <a:gridCol w="3274457">
                  <a:extLst>
                    <a:ext uri="{9D8B030D-6E8A-4147-A177-3AD203B41FA5}">
                      <a16:colId xmlns:a16="http://schemas.microsoft.com/office/drawing/2014/main" val="20001"/>
                    </a:ext>
                  </a:extLst>
                </a:gridCol>
                <a:gridCol w="4258101">
                  <a:extLst>
                    <a:ext uri="{9D8B030D-6E8A-4147-A177-3AD203B41FA5}">
                      <a16:colId xmlns:a16="http://schemas.microsoft.com/office/drawing/2014/main" val="20002"/>
                    </a:ext>
                  </a:extLst>
                </a:gridCol>
                <a:gridCol w="2755261">
                  <a:extLst>
                    <a:ext uri="{9D8B030D-6E8A-4147-A177-3AD203B41FA5}">
                      <a16:colId xmlns:a16="http://schemas.microsoft.com/office/drawing/2014/main" val="20003"/>
                    </a:ext>
                  </a:extLst>
                </a:gridCol>
              </a:tblGrid>
              <a:tr h="0">
                <a:tc>
                  <a:txBody>
                    <a:bodyPr/>
                    <a:lstStyle/>
                    <a:p>
                      <a:pPr>
                        <a:lnSpc>
                          <a:spcPct val="100000"/>
                        </a:lnSpc>
                      </a:pPr>
                      <a:endParaRPr lang="en-US" sz="100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US" sz="1200" b="0">
                          <a:latin typeface="Segoe UI Semibold" panose="020B0702040204020203" pitchFamily="34" charset="0"/>
                          <a:cs typeface="Segoe UI Semibold" panose="020B0702040204020203" pitchFamily="34" charset="0"/>
                        </a:rPr>
                        <a:t>Value</a:t>
                      </a:r>
                      <a:r>
                        <a:rPr lang="en-US" sz="1200" b="0" baseline="0">
                          <a:latin typeface="Segoe UI Semibold" panose="020B0702040204020203" pitchFamily="34" charset="0"/>
                          <a:cs typeface="Segoe UI Semibold" panose="020B0702040204020203" pitchFamily="34" charset="0"/>
                        </a:rPr>
                        <a:t> for Customers</a:t>
                      </a:r>
                      <a:endParaRPr lang="en-US" sz="1200" b="0">
                        <a:latin typeface="Segoe UI Semibold" panose="020B0702040204020203" pitchFamily="34" charset="0"/>
                        <a:cs typeface="Segoe UI Semibold" panose="020B0702040204020203" pitchFamily="34" charset="0"/>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lnSpc>
                          <a:spcPct val="100000"/>
                        </a:lnSpc>
                      </a:pPr>
                      <a:r>
                        <a:rPr lang="en-US" sz="1200" b="0">
                          <a:latin typeface="Segoe UI Semibold" panose="020B0702040204020203" pitchFamily="34" charset="0"/>
                          <a:cs typeface="Segoe UI Semibold" panose="020B0702040204020203" pitchFamily="34" charset="0"/>
                        </a:rPr>
                        <a:t>Value for Business Leader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lnSpc>
                          <a:spcPct val="100000"/>
                        </a:lnSpc>
                      </a:pPr>
                      <a:r>
                        <a:rPr lang="en-US" sz="1200" b="0">
                          <a:latin typeface="Segoe UI Semibold" panose="020B0702040204020203" pitchFamily="34" charset="0"/>
                          <a:cs typeface="Segoe UI Semibold" panose="020B0702040204020203" pitchFamily="34" charset="0"/>
                        </a:rPr>
                        <a:t>Value for IT Leader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0">
                <a:tc>
                  <a:txBody>
                    <a:bodyPr/>
                    <a:lstStyle/>
                    <a:p>
                      <a:pPr marL="0" algn="l" defTabSz="1088105" rtl="0" eaLnBrk="1" latinLnBrk="0" hangingPunct="1">
                        <a:lnSpc>
                          <a:spcPct val="100000"/>
                        </a:lnSpc>
                      </a:pPr>
                      <a:r>
                        <a:rPr lang="en-US" sz="1100" b="0" kern="1200">
                          <a:solidFill>
                            <a:schemeClr val="tx1"/>
                          </a:solidFill>
                          <a:latin typeface="Segoe UI Semibold" panose="020B0702040204020203" pitchFamily="34" charset="0"/>
                          <a:ea typeface="+mn-ea"/>
                          <a:cs typeface="Segoe UI Semibold" panose="020B0702040204020203" pitchFamily="34" charset="0"/>
                        </a:rPr>
                        <a:t>Strategic</a:t>
                      </a:r>
                    </a:p>
                  </a:txBody>
                  <a:tcPr marL="121856" marR="121856" marT="60928" marB="6092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lgn="l" defTabSz="1088105" rtl="0" eaLnBrk="1" latinLnBrk="0" hangingPunct="1">
                        <a:lnSpc>
                          <a:spcPct val="100000"/>
                        </a:lnSpc>
                        <a:spcBef>
                          <a:spcPts val="200"/>
                        </a:spcBef>
                        <a:buFont typeface="Arial" panose="020B0604020202020204" pitchFamily="34" charset="0"/>
                        <a:buChar char="•"/>
                      </a:pPr>
                      <a:r>
                        <a:rPr lang="en-US" sz="1050" kern="1200">
                          <a:solidFill>
                            <a:schemeClr val="tx1"/>
                          </a:solidFill>
                          <a:latin typeface="+mn-lt"/>
                          <a:ea typeface="+mn-ea"/>
                          <a:cs typeface="+mn-cs"/>
                        </a:rPr>
                        <a:t>Improved usage, comfort and longevity of products through customer feedback</a:t>
                      </a:r>
                    </a:p>
                    <a:p>
                      <a:pPr marL="171450" indent="-171450" algn="l" defTabSz="1088105" rtl="0" eaLnBrk="1" latinLnBrk="0" hangingPunct="1">
                        <a:lnSpc>
                          <a:spcPct val="100000"/>
                        </a:lnSpc>
                        <a:spcBef>
                          <a:spcPts val="200"/>
                        </a:spcBef>
                        <a:buFont typeface="Arial" panose="020B0604020202020204" pitchFamily="34" charset="0"/>
                        <a:buChar char="•"/>
                      </a:pPr>
                      <a:r>
                        <a:rPr lang="en-US" sz="1050" kern="1200">
                          <a:solidFill>
                            <a:schemeClr val="tx1"/>
                          </a:solidFill>
                          <a:latin typeface="+mn-lt"/>
                          <a:ea typeface="+mn-ea"/>
                          <a:cs typeface="+mn-cs"/>
                        </a:rPr>
                        <a:t>Improved safety through driving support aids (driver alertness, blind spot coverage, emergency braking, and so on)</a:t>
                      </a:r>
                    </a:p>
                    <a:p>
                      <a:pPr marL="171450" indent="-171450" algn="l" defTabSz="1088105" rtl="0" eaLnBrk="1" latinLnBrk="0" hangingPunct="1">
                        <a:lnSpc>
                          <a:spcPct val="100000"/>
                        </a:lnSpc>
                        <a:spcBef>
                          <a:spcPts val="200"/>
                        </a:spcBef>
                        <a:buFont typeface="Arial" panose="020B0604020202020204" pitchFamily="34" charset="0"/>
                        <a:buChar char="•"/>
                      </a:pPr>
                      <a:r>
                        <a:rPr lang="en-US" sz="1050" kern="1200">
                          <a:solidFill>
                            <a:schemeClr val="tx1"/>
                          </a:solidFill>
                          <a:latin typeface="+mn-lt"/>
                          <a:ea typeface="+mn-ea"/>
                          <a:cs typeface="+mn-cs"/>
                        </a:rPr>
                        <a:t>Improved resale value and Total Cost of Ownership to customers</a:t>
                      </a:r>
                    </a:p>
                  </a:txBody>
                  <a:tcPr marL="121856" marR="121856" marT="60928" marB="6092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gn="l" defTabSz="1088105" rtl="0" eaLnBrk="1" latinLnBrk="0" hangingPunct="1">
                        <a:lnSpc>
                          <a:spcPct val="100000"/>
                        </a:lnSpc>
                        <a:spcBef>
                          <a:spcPts val="200"/>
                        </a:spcBef>
                        <a:buFont typeface="Arial" panose="020B0604020202020204" pitchFamily="34" charset="0"/>
                        <a:buChar char="•"/>
                      </a:pPr>
                      <a:r>
                        <a:rPr lang="en-US" sz="1050" kern="1200">
                          <a:solidFill>
                            <a:schemeClr val="tx1"/>
                          </a:solidFill>
                          <a:latin typeface="+mn-lt"/>
                          <a:ea typeface="+mn-ea"/>
                          <a:cs typeface="+mn-cs"/>
                        </a:rPr>
                        <a:t>Increased brand recognition and recall prevention through insightful design robustness</a:t>
                      </a:r>
                    </a:p>
                    <a:p>
                      <a:pPr marL="171450" indent="-171450" algn="l" defTabSz="1088105" rtl="0" eaLnBrk="1" latinLnBrk="0" hangingPunct="1">
                        <a:lnSpc>
                          <a:spcPct val="100000"/>
                        </a:lnSpc>
                        <a:spcBef>
                          <a:spcPts val="200"/>
                        </a:spcBef>
                        <a:buFont typeface="Arial" panose="020B0604020202020204" pitchFamily="34" charset="0"/>
                        <a:buChar char="•"/>
                      </a:pPr>
                      <a:r>
                        <a:rPr lang="en-US" sz="1050" kern="1200">
                          <a:solidFill>
                            <a:schemeClr val="tx1"/>
                          </a:solidFill>
                          <a:latin typeface="+mn-lt"/>
                          <a:ea typeface="+mn-ea"/>
                          <a:cs typeface="+mn-cs"/>
                        </a:rPr>
                        <a:t>New customer acquisition and retention</a:t>
                      </a:r>
                    </a:p>
                    <a:p>
                      <a:pPr marL="171450" indent="-171450" algn="l" defTabSz="1088105" rtl="0" eaLnBrk="1" latinLnBrk="0" hangingPunct="1">
                        <a:lnSpc>
                          <a:spcPct val="100000"/>
                        </a:lnSpc>
                        <a:spcBef>
                          <a:spcPts val="200"/>
                        </a:spcBef>
                        <a:buFont typeface="Arial" panose="020B0604020202020204" pitchFamily="34" charset="0"/>
                        <a:buChar char="•"/>
                      </a:pPr>
                      <a:r>
                        <a:rPr lang="en-US" sz="1050" kern="1200">
                          <a:solidFill>
                            <a:schemeClr val="tx1"/>
                          </a:solidFill>
                          <a:latin typeface="+mn-lt"/>
                          <a:ea typeface="+mn-ea"/>
                          <a:cs typeface="+mn-cs"/>
                        </a:rPr>
                        <a:t>Higher customer satisfaction</a:t>
                      </a:r>
                    </a:p>
                    <a:p>
                      <a:pPr marL="171450" indent="-171450" algn="l" defTabSz="1088105" rtl="0" eaLnBrk="1" latinLnBrk="0" hangingPunct="1">
                        <a:lnSpc>
                          <a:spcPct val="100000"/>
                        </a:lnSpc>
                        <a:spcBef>
                          <a:spcPts val="200"/>
                        </a:spcBef>
                        <a:buFont typeface="Arial" panose="020B0604020202020204" pitchFamily="34" charset="0"/>
                        <a:buChar char="•"/>
                      </a:pPr>
                      <a:r>
                        <a:rPr lang="en-US" sz="1050" kern="1200">
                          <a:solidFill>
                            <a:schemeClr val="tx1"/>
                          </a:solidFill>
                          <a:latin typeface="+mn-lt"/>
                          <a:ea typeface="+mn-ea"/>
                          <a:cs typeface="+mn-cs"/>
                        </a:rPr>
                        <a:t>Increased customer engagement and brand loyalty</a:t>
                      </a:r>
                    </a:p>
                  </a:txBody>
                  <a:tcPr marL="121856" marR="121856" marT="60928" marB="6092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gn="l" defTabSz="1088105" rtl="0" eaLnBrk="1" latinLnBrk="0" hangingPunct="1">
                        <a:lnSpc>
                          <a:spcPct val="100000"/>
                        </a:lnSpc>
                        <a:spcBef>
                          <a:spcPts val="200"/>
                        </a:spcBef>
                        <a:buFont typeface="Arial" panose="020B0604020202020204" pitchFamily="34" charset="0"/>
                        <a:buChar char="•"/>
                      </a:pPr>
                      <a:r>
                        <a:rPr lang="it-IT" sz="1050" kern="1200">
                          <a:solidFill>
                            <a:schemeClr val="tx1"/>
                          </a:solidFill>
                          <a:latin typeface="+mn-lt"/>
                          <a:ea typeface="+mn-ea"/>
                          <a:cs typeface="+mn-cs"/>
                        </a:rPr>
                        <a:t>Improved data processing scalability</a:t>
                      </a:r>
                    </a:p>
                    <a:p>
                      <a:pPr marL="171450" indent="-171450" algn="l" defTabSz="1088105" rtl="0" eaLnBrk="1" latinLnBrk="0" hangingPunct="1">
                        <a:lnSpc>
                          <a:spcPct val="100000"/>
                        </a:lnSpc>
                        <a:spcBef>
                          <a:spcPts val="200"/>
                        </a:spcBef>
                        <a:buFont typeface="Arial" panose="020B0604020202020204" pitchFamily="34" charset="0"/>
                        <a:buChar char="•"/>
                      </a:pPr>
                      <a:r>
                        <a:rPr lang="it-IT" sz="1050" kern="1200">
                          <a:solidFill>
                            <a:schemeClr val="tx1"/>
                          </a:solidFill>
                          <a:latin typeface="+mn-lt"/>
                          <a:ea typeface="+mn-ea"/>
                          <a:cs typeface="+mn-cs"/>
                        </a:rPr>
                        <a:t>Improved data modeling capability</a:t>
                      </a:r>
                    </a:p>
                    <a:p>
                      <a:pPr marL="171450" indent="-171450" algn="l" defTabSz="1088105" rtl="0" eaLnBrk="1" latinLnBrk="0" hangingPunct="1">
                        <a:lnSpc>
                          <a:spcPct val="100000"/>
                        </a:lnSpc>
                        <a:spcBef>
                          <a:spcPts val="200"/>
                        </a:spcBef>
                        <a:buFont typeface="Arial" panose="020B0604020202020204" pitchFamily="34" charset="0"/>
                        <a:buChar char="•"/>
                      </a:pPr>
                      <a:r>
                        <a:rPr lang="it-IT" sz="1050" kern="1200">
                          <a:solidFill>
                            <a:schemeClr val="tx1"/>
                          </a:solidFill>
                          <a:latin typeface="+mn-lt"/>
                          <a:ea typeface="+mn-ea"/>
                          <a:cs typeface="+mn-cs"/>
                        </a:rPr>
                        <a:t>Improved analytical capabilities</a:t>
                      </a:r>
                    </a:p>
                    <a:p>
                      <a:pPr marL="171450" indent="-171450" algn="l" defTabSz="1088105" rtl="0" eaLnBrk="1" latinLnBrk="0" hangingPunct="1">
                        <a:lnSpc>
                          <a:spcPct val="100000"/>
                        </a:lnSpc>
                        <a:spcBef>
                          <a:spcPts val="200"/>
                        </a:spcBef>
                        <a:buFont typeface="Arial" panose="020B0604020202020204" pitchFamily="34" charset="0"/>
                        <a:buChar char="•"/>
                      </a:pPr>
                      <a:r>
                        <a:rPr lang="it-IT" sz="1050" kern="1200">
                          <a:solidFill>
                            <a:schemeClr val="tx1"/>
                          </a:solidFill>
                          <a:latin typeface="+mn-lt"/>
                          <a:ea typeface="+mn-ea"/>
                          <a:cs typeface="+mn-cs"/>
                        </a:rPr>
                        <a:t>Optimized infrastructure</a:t>
                      </a:r>
                    </a:p>
                  </a:txBody>
                  <a:tcPr marL="121856" marR="121856" marT="60928" marB="6092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0">
                <a:tc>
                  <a:txBody>
                    <a:bodyPr/>
                    <a:lstStyle/>
                    <a:p>
                      <a:pPr marL="0" algn="l" defTabSz="1088105" rtl="0" eaLnBrk="1" latinLnBrk="0" hangingPunct="1">
                        <a:lnSpc>
                          <a:spcPct val="100000"/>
                        </a:lnSpc>
                      </a:pPr>
                      <a:r>
                        <a:rPr lang="en-US" sz="1100" b="0" kern="1200">
                          <a:solidFill>
                            <a:schemeClr val="tx1"/>
                          </a:solidFill>
                          <a:latin typeface="Segoe UI Semibold" panose="020B0702040204020203" pitchFamily="34" charset="0"/>
                          <a:ea typeface="+mn-ea"/>
                          <a:cs typeface="Segoe UI Semibold" panose="020B0702040204020203" pitchFamily="34" charset="0"/>
                        </a:rPr>
                        <a:t>Time to Value</a:t>
                      </a:r>
                    </a:p>
                  </a:txBody>
                  <a:tcPr marL="121856" marR="121856" marT="60928" marB="6092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lgn="l" defTabSz="1088105" rtl="0" eaLnBrk="1" latinLnBrk="0" hangingPunct="1">
                        <a:lnSpc>
                          <a:spcPct val="100000"/>
                        </a:lnSpc>
                        <a:spcBef>
                          <a:spcPts val="200"/>
                        </a:spcBef>
                        <a:buFont typeface="Arial" panose="020B0604020202020204" pitchFamily="34" charset="0"/>
                        <a:buChar char="•"/>
                      </a:pPr>
                      <a:r>
                        <a:rPr lang="en-US" sz="1050" kern="1200">
                          <a:solidFill>
                            <a:schemeClr val="tx1"/>
                          </a:solidFill>
                          <a:latin typeface="+mn-lt"/>
                          <a:ea typeface="+mn-ea"/>
                          <a:cs typeface="+mn-cs"/>
                        </a:rPr>
                        <a:t>Robust infotainment and technology performance</a:t>
                      </a:r>
                    </a:p>
                    <a:p>
                      <a:pPr marL="171450" indent="-171450" algn="l" defTabSz="1088105" rtl="0" eaLnBrk="1" latinLnBrk="0" hangingPunct="1">
                        <a:lnSpc>
                          <a:spcPct val="100000"/>
                        </a:lnSpc>
                        <a:spcBef>
                          <a:spcPts val="200"/>
                        </a:spcBef>
                        <a:buFont typeface="Arial" panose="020B0604020202020204" pitchFamily="34" charset="0"/>
                        <a:buChar char="•"/>
                      </a:pPr>
                      <a:r>
                        <a:rPr lang="en-US" sz="1050" kern="1200">
                          <a:solidFill>
                            <a:schemeClr val="tx1"/>
                          </a:solidFill>
                          <a:latin typeface="+mn-lt"/>
                          <a:ea typeface="+mn-ea"/>
                          <a:cs typeface="+mn-cs"/>
                        </a:rPr>
                        <a:t>Reliable connection to OEM</a:t>
                      </a:r>
                    </a:p>
                    <a:p>
                      <a:pPr marL="171450" indent="-171450" algn="l" defTabSz="1088105" rtl="0" eaLnBrk="1" latinLnBrk="0" hangingPunct="1">
                        <a:lnSpc>
                          <a:spcPct val="100000"/>
                        </a:lnSpc>
                        <a:spcBef>
                          <a:spcPts val="200"/>
                        </a:spcBef>
                        <a:buFont typeface="Arial" panose="020B0604020202020204" pitchFamily="34" charset="0"/>
                        <a:buChar char="•"/>
                      </a:pPr>
                      <a:r>
                        <a:rPr lang="en-US" sz="1050" kern="1200">
                          <a:solidFill>
                            <a:schemeClr val="tx1"/>
                          </a:solidFill>
                          <a:latin typeface="+mn-lt"/>
                          <a:ea typeface="+mn-ea"/>
                          <a:cs typeface="+mn-cs"/>
                        </a:rPr>
                        <a:t>Reliable connection to partners and suppliers</a:t>
                      </a:r>
                    </a:p>
                  </a:txBody>
                  <a:tcPr marL="121856" marR="121856" marT="60928" marB="6092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gn="l" defTabSz="1088105" rtl="0" eaLnBrk="1" latinLnBrk="0" hangingPunct="1">
                        <a:lnSpc>
                          <a:spcPct val="100000"/>
                        </a:lnSpc>
                        <a:spcBef>
                          <a:spcPts val="200"/>
                        </a:spcBef>
                        <a:buFont typeface="Arial" panose="020B0604020202020204" pitchFamily="34" charset="0"/>
                        <a:buChar char="•"/>
                      </a:pPr>
                      <a:r>
                        <a:rPr lang="en-US" sz="1050" kern="1200">
                          <a:solidFill>
                            <a:schemeClr val="tx1"/>
                          </a:solidFill>
                          <a:latin typeface="+mn-lt"/>
                          <a:ea typeface="+mn-ea"/>
                          <a:cs typeface="+mn-cs"/>
                        </a:rPr>
                        <a:t>Faster product time to market</a:t>
                      </a:r>
                    </a:p>
                    <a:p>
                      <a:pPr marL="171450" indent="-171450" algn="l" defTabSz="1088105" rtl="0" eaLnBrk="1" latinLnBrk="0" hangingPunct="1">
                        <a:lnSpc>
                          <a:spcPct val="100000"/>
                        </a:lnSpc>
                        <a:spcBef>
                          <a:spcPts val="200"/>
                        </a:spcBef>
                        <a:buFont typeface="Arial" panose="020B0604020202020204" pitchFamily="34" charset="0"/>
                        <a:buChar char="•"/>
                      </a:pPr>
                      <a:r>
                        <a:rPr lang="en-US" sz="1050" kern="1200">
                          <a:solidFill>
                            <a:schemeClr val="tx1"/>
                          </a:solidFill>
                          <a:latin typeface="+mn-lt"/>
                          <a:ea typeface="+mn-ea"/>
                          <a:cs typeface="+mn-cs"/>
                        </a:rPr>
                        <a:t>Lower cost of application development and operations</a:t>
                      </a:r>
                    </a:p>
                  </a:txBody>
                  <a:tcPr marL="121856" marR="121856" marT="60928" marB="6092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gn="l" defTabSz="1088105" rtl="0" eaLnBrk="1" latinLnBrk="0" hangingPunct="1">
                        <a:lnSpc>
                          <a:spcPct val="100000"/>
                        </a:lnSpc>
                        <a:spcBef>
                          <a:spcPts val="200"/>
                        </a:spcBef>
                        <a:buFont typeface="Arial" panose="020B0604020202020204" pitchFamily="34" charset="0"/>
                        <a:buChar char="•"/>
                      </a:pPr>
                      <a:r>
                        <a:rPr lang="en-US" sz="1050" kern="1200">
                          <a:solidFill>
                            <a:schemeClr val="tx1"/>
                          </a:solidFill>
                          <a:latin typeface="+mn-lt"/>
                          <a:ea typeface="+mn-ea"/>
                          <a:cs typeface="+mn-cs"/>
                        </a:rPr>
                        <a:t>Increased agility in responding to new business needs (cloud time)</a:t>
                      </a:r>
                    </a:p>
                    <a:p>
                      <a:pPr marL="171450" indent="-171450" algn="l" defTabSz="1088105" rtl="0" eaLnBrk="1" latinLnBrk="0" hangingPunct="1">
                        <a:lnSpc>
                          <a:spcPct val="100000"/>
                        </a:lnSpc>
                        <a:spcBef>
                          <a:spcPts val="200"/>
                        </a:spcBef>
                        <a:buFont typeface="Arial" panose="020B0604020202020204" pitchFamily="34" charset="0"/>
                        <a:buChar char="•"/>
                      </a:pPr>
                      <a:r>
                        <a:rPr lang="en-US" sz="1050" kern="1200">
                          <a:solidFill>
                            <a:schemeClr val="tx1"/>
                          </a:solidFill>
                          <a:latin typeface="+mn-lt"/>
                          <a:ea typeface="+mn-ea"/>
                          <a:cs typeface="+mn-cs"/>
                        </a:rPr>
                        <a:t>Sustained relevance of IT in manufacturing</a:t>
                      </a:r>
                    </a:p>
                  </a:txBody>
                  <a:tcPr marL="121856" marR="121856" marT="60928" marB="6092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0">
                <a:tc>
                  <a:txBody>
                    <a:bodyPr/>
                    <a:lstStyle/>
                    <a:p>
                      <a:pPr marL="0" algn="l" defTabSz="1088105" rtl="0" eaLnBrk="1" latinLnBrk="0" hangingPunct="1">
                        <a:lnSpc>
                          <a:spcPct val="100000"/>
                        </a:lnSpc>
                      </a:pPr>
                      <a:r>
                        <a:rPr lang="en-US" sz="1100" b="0" kern="1200">
                          <a:solidFill>
                            <a:schemeClr val="tx1"/>
                          </a:solidFill>
                          <a:latin typeface="Segoe UI Semibold" panose="020B0702040204020203" pitchFamily="34" charset="0"/>
                          <a:ea typeface="+mn-ea"/>
                          <a:cs typeface="Segoe UI Semibold" panose="020B0702040204020203" pitchFamily="34" charset="0"/>
                        </a:rPr>
                        <a:t>Increase Revenue</a:t>
                      </a:r>
                    </a:p>
                  </a:txBody>
                  <a:tcPr marL="121856" marR="121856" marT="60928" marB="6092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lgn="l" defTabSz="1088105" rtl="0" eaLnBrk="1" latinLnBrk="0" hangingPunct="1">
                        <a:lnSpc>
                          <a:spcPct val="100000"/>
                        </a:lnSpc>
                        <a:spcBef>
                          <a:spcPts val="200"/>
                        </a:spcBef>
                        <a:buFont typeface="Arial" panose="020B0604020202020204" pitchFamily="34" charset="0"/>
                        <a:buChar char="•"/>
                      </a:pPr>
                      <a:r>
                        <a:rPr lang="en-US" sz="1050" kern="1200">
                          <a:solidFill>
                            <a:schemeClr val="tx1"/>
                          </a:solidFill>
                          <a:latin typeface="+mn-lt"/>
                          <a:ea typeface="+mn-ea"/>
                          <a:cs typeface="+mn-cs"/>
                        </a:rPr>
                        <a:t>Increased resale value</a:t>
                      </a:r>
                    </a:p>
                    <a:p>
                      <a:pPr marL="171450" indent="-171450" algn="l" defTabSz="1088105" rtl="0" eaLnBrk="1" latinLnBrk="0" hangingPunct="1">
                        <a:lnSpc>
                          <a:spcPct val="100000"/>
                        </a:lnSpc>
                        <a:spcBef>
                          <a:spcPts val="200"/>
                        </a:spcBef>
                        <a:buFont typeface="Arial" panose="020B0604020202020204" pitchFamily="34" charset="0"/>
                        <a:buChar char="•"/>
                      </a:pPr>
                      <a:r>
                        <a:rPr lang="en-US" sz="1050" kern="1200">
                          <a:solidFill>
                            <a:schemeClr val="tx1"/>
                          </a:solidFill>
                          <a:latin typeface="+mn-lt"/>
                          <a:ea typeface="+mn-ea"/>
                          <a:cs typeface="+mn-cs"/>
                        </a:rPr>
                        <a:t>Increased value from differentiated offerings</a:t>
                      </a:r>
                    </a:p>
                    <a:p>
                      <a:pPr marL="171450" indent="-171450" algn="l" defTabSz="1088105" rtl="0" eaLnBrk="1" latinLnBrk="0" hangingPunct="1">
                        <a:lnSpc>
                          <a:spcPct val="100000"/>
                        </a:lnSpc>
                        <a:spcBef>
                          <a:spcPts val="200"/>
                        </a:spcBef>
                        <a:buFont typeface="Arial" panose="020B0604020202020204" pitchFamily="34" charset="0"/>
                        <a:buChar char="•"/>
                      </a:pPr>
                      <a:r>
                        <a:rPr lang="en-US" sz="1050" kern="1200">
                          <a:solidFill>
                            <a:schemeClr val="tx1"/>
                          </a:solidFill>
                          <a:latin typeface="+mn-lt"/>
                          <a:ea typeface="+mn-ea"/>
                          <a:cs typeface="+mn-cs"/>
                        </a:rPr>
                        <a:t>Discounts and promotional feeds from partners and programs</a:t>
                      </a:r>
                    </a:p>
                  </a:txBody>
                  <a:tcPr marL="121856" marR="121856" marT="60928" marB="6092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gn="l" defTabSz="1088105" rtl="0" eaLnBrk="1" latinLnBrk="0" hangingPunct="1">
                        <a:lnSpc>
                          <a:spcPct val="100000"/>
                        </a:lnSpc>
                        <a:spcBef>
                          <a:spcPts val="200"/>
                        </a:spcBef>
                        <a:buFont typeface="Arial" panose="020B0604020202020204" pitchFamily="34" charset="0"/>
                        <a:buChar char="•"/>
                      </a:pPr>
                      <a:r>
                        <a:rPr lang="en-US" sz="1050" kern="1200">
                          <a:solidFill>
                            <a:schemeClr val="tx1"/>
                          </a:solidFill>
                          <a:latin typeface="+mn-lt"/>
                          <a:ea typeface="+mn-ea"/>
                          <a:cs typeface="+mn-cs"/>
                        </a:rPr>
                        <a:t>Repeat sales from satisfied customers</a:t>
                      </a:r>
                    </a:p>
                    <a:p>
                      <a:pPr marL="171450" indent="-171450" algn="l" defTabSz="1088105" rtl="0" eaLnBrk="1" latinLnBrk="0" hangingPunct="1">
                        <a:lnSpc>
                          <a:spcPct val="100000"/>
                        </a:lnSpc>
                        <a:spcBef>
                          <a:spcPts val="200"/>
                        </a:spcBef>
                        <a:buFont typeface="Arial" panose="020B0604020202020204" pitchFamily="34" charset="0"/>
                        <a:buChar char="•"/>
                      </a:pPr>
                      <a:r>
                        <a:rPr lang="en-US" sz="1050" kern="1200">
                          <a:solidFill>
                            <a:schemeClr val="tx1"/>
                          </a:solidFill>
                          <a:latin typeface="+mn-lt"/>
                          <a:ea typeface="+mn-ea"/>
                          <a:cs typeface="+mn-cs"/>
                        </a:rPr>
                        <a:t>Increased market share</a:t>
                      </a:r>
                    </a:p>
                    <a:p>
                      <a:pPr marL="171450" indent="-171450" algn="l" defTabSz="1088105" rtl="0" eaLnBrk="1" latinLnBrk="0" hangingPunct="1">
                        <a:lnSpc>
                          <a:spcPct val="100000"/>
                        </a:lnSpc>
                        <a:spcBef>
                          <a:spcPts val="200"/>
                        </a:spcBef>
                        <a:buFont typeface="Arial" panose="020B0604020202020204" pitchFamily="34" charset="0"/>
                        <a:buChar char="•"/>
                      </a:pPr>
                      <a:r>
                        <a:rPr lang="en-US" sz="1050" kern="1200">
                          <a:solidFill>
                            <a:schemeClr val="tx1"/>
                          </a:solidFill>
                          <a:latin typeface="+mn-lt"/>
                          <a:ea typeface="+mn-ea"/>
                          <a:cs typeface="+mn-cs"/>
                        </a:rPr>
                        <a:t>Ancillary revenue</a:t>
                      </a:r>
                    </a:p>
                    <a:p>
                      <a:pPr marL="171450" indent="-171450" algn="l" defTabSz="1088105" rtl="0" eaLnBrk="1" latinLnBrk="0" hangingPunct="1">
                        <a:lnSpc>
                          <a:spcPct val="100000"/>
                        </a:lnSpc>
                        <a:spcBef>
                          <a:spcPts val="200"/>
                        </a:spcBef>
                        <a:buFont typeface="Arial" panose="020B0604020202020204" pitchFamily="34" charset="0"/>
                        <a:buChar char="•"/>
                      </a:pPr>
                      <a:r>
                        <a:rPr lang="en-US" sz="1050" kern="1200">
                          <a:solidFill>
                            <a:schemeClr val="tx1"/>
                          </a:solidFill>
                          <a:latin typeface="+mn-lt"/>
                          <a:ea typeface="+mn-ea"/>
                          <a:cs typeface="+mn-cs"/>
                        </a:rPr>
                        <a:t>Revenue from innovative “first to market” options and services</a:t>
                      </a:r>
                    </a:p>
                  </a:txBody>
                  <a:tcPr marL="121856" marR="121856" marT="60928" marB="6092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gn="l" defTabSz="1088105" rtl="0" eaLnBrk="1" latinLnBrk="0" hangingPunct="1">
                        <a:lnSpc>
                          <a:spcPct val="100000"/>
                        </a:lnSpc>
                        <a:spcBef>
                          <a:spcPts val="200"/>
                        </a:spcBef>
                        <a:buFont typeface="Arial" panose="020B0604020202020204" pitchFamily="34" charset="0"/>
                        <a:buChar char="•"/>
                      </a:pPr>
                      <a:endParaRPr lang="en-US" sz="1050" kern="1200">
                        <a:solidFill>
                          <a:schemeClr val="tx1"/>
                        </a:solidFill>
                        <a:latin typeface="+mn-lt"/>
                        <a:ea typeface="+mn-ea"/>
                        <a:cs typeface="+mn-cs"/>
                      </a:endParaRPr>
                    </a:p>
                  </a:txBody>
                  <a:tcPr marL="121856" marR="121856" marT="60928" marB="6092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0">
                <a:tc>
                  <a:txBody>
                    <a:bodyPr/>
                    <a:lstStyle/>
                    <a:p>
                      <a:pPr marL="0" algn="l" defTabSz="1088105" rtl="0" eaLnBrk="1" latinLnBrk="0" hangingPunct="1">
                        <a:lnSpc>
                          <a:spcPct val="100000"/>
                        </a:lnSpc>
                      </a:pPr>
                      <a:r>
                        <a:rPr lang="en-US" sz="1100" b="0" kern="1200">
                          <a:solidFill>
                            <a:schemeClr val="tx1"/>
                          </a:solidFill>
                          <a:latin typeface="Segoe UI Semibold" panose="020B0702040204020203" pitchFamily="34" charset="0"/>
                          <a:ea typeface="+mn-ea"/>
                          <a:cs typeface="Segoe UI Semibold" panose="020B0702040204020203" pitchFamily="34" charset="0"/>
                        </a:rPr>
                        <a:t>Decrease Cost</a:t>
                      </a:r>
                    </a:p>
                  </a:txBody>
                  <a:tcPr marL="121856" marR="121856" marT="60928" marB="6092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lgn="l" defTabSz="1088105" rtl="0" eaLnBrk="1" latinLnBrk="0" hangingPunct="1">
                        <a:lnSpc>
                          <a:spcPct val="100000"/>
                        </a:lnSpc>
                        <a:spcBef>
                          <a:spcPts val="200"/>
                        </a:spcBef>
                        <a:buFont typeface="Arial" panose="020B0604020202020204" pitchFamily="34" charset="0"/>
                        <a:buChar char="•"/>
                      </a:pPr>
                      <a:r>
                        <a:rPr lang="en-US" sz="1050" kern="1200">
                          <a:solidFill>
                            <a:schemeClr val="tx1"/>
                          </a:solidFill>
                          <a:latin typeface="+mn-lt"/>
                          <a:ea typeface="+mn-ea"/>
                          <a:cs typeface="+mn-cs"/>
                        </a:rPr>
                        <a:t>Reliable vehicles</a:t>
                      </a:r>
                    </a:p>
                    <a:p>
                      <a:pPr marL="171450" indent="-171450" algn="l" defTabSz="1088105" rtl="0" eaLnBrk="1" latinLnBrk="0" hangingPunct="1">
                        <a:lnSpc>
                          <a:spcPct val="100000"/>
                        </a:lnSpc>
                        <a:spcBef>
                          <a:spcPts val="200"/>
                        </a:spcBef>
                        <a:buFont typeface="Arial" panose="020B0604020202020204" pitchFamily="34" charset="0"/>
                        <a:buChar char="•"/>
                      </a:pPr>
                      <a:r>
                        <a:rPr lang="en-US" sz="1050" kern="1200">
                          <a:solidFill>
                            <a:schemeClr val="tx1"/>
                          </a:solidFill>
                          <a:latin typeface="+mn-lt"/>
                          <a:ea typeface="+mn-ea"/>
                          <a:cs typeface="+mn-cs"/>
                        </a:rPr>
                        <a:t>Reduced time to delivery</a:t>
                      </a:r>
                    </a:p>
                    <a:p>
                      <a:pPr marL="171450" indent="-171450" algn="l" defTabSz="1088105" rtl="0" eaLnBrk="1" latinLnBrk="0" hangingPunct="1">
                        <a:lnSpc>
                          <a:spcPct val="100000"/>
                        </a:lnSpc>
                        <a:spcBef>
                          <a:spcPts val="200"/>
                        </a:spcBef>
                        <a:buFont typeface="Arial" panose="020B0604020202020204" pitchFamily="34" charset="0"/>
                        <a:buChar char="•"/>
                      </a:pPr>
                      <a:r>
                        <a:rPr lang="en-US" sz="1050" kern="1200">
                          <a:solidFill>
                            <a:schemeClr val="tx1"/>
                          </a:solidFill>
                          <a:latin typeface="+mn-lt"/>
                          <a:ea typeface="+mn-ea"/>
                          <a:cs typeface="+mn-cs"/>
                        </a:rPr>
                        <a:t>Higher quality products</a:t>
                      </a:r>
                    </a:p>
                  </a:txBody>
                  <a:tcPr marL="121856" marR="121856" marT="60928" marB="6092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gn="l" defTabSz="1088105" rtl="0" eaLnBrk="1" fontAlgn="t" latinLnBrk="0" hangingPunct="1">
                        <a:lnSpc>
                          <a:spcPct val="100000"/>
                        </a:lnSpc>
                        <a:spcBef>
                          <a:spcPts val="200"/>
                        </a:spcBef>
                        <a:buFont typeface="Arial" panose="020B0604020202020204" pitchFamily="34" charset="0"/>
                        <a:buChar char="•"/>
                      </a:pPr>
                      <a:r>
                        <a:rPr lang="en-US" sz="1050" kern="1200">
                          <a:solidFill>
                            <a:schemeClr val="tx1"/>
                          </a:solidFill>
                          <a:latin typeface="+mn-lt"/>
                          <a:ea typeface="+mn-ea"/>
                          <a:cs typeface="+mn-cs"/>
                        </a:rPr>
                        <a:t>Reduced cost of product development</a:t>
                      </a:r>
                    </a:p>
                    <a:p>
                      <a:pPr marL="171450" indent="-171450" algn="l" defTabSz="1088105" rtl="0" eaLnBrk="1" fontAlgn="t" latinLnBrk="0" hangingPunct="1">
                        <a:lnSpc>
                          <a:spcPct val="100000"/>
                        </a:lnSpc>
                        <a:spcBef>
                          <a:spcPts val="200"/>
                        </a:spcBef>
                        <a:buFont typeface="Arial" panose="020B0604020202020204" pitchFamily="34" charset="0"/>
                        <a:buChar char="•"/>
                      </a:pPr>
                      <a:r>
                        <a:rPr lang="en-US" sz="1050" kern="1200">
                          <a:solidFill>
                            <a:schemeClr val="tx1"/>
                          </a:solidFill>
                          <a:latin typeface="+mn-lt"/>
                          <a:ea typeface="+mn-ea"/>
                          <a:cs typeface="+mn-cs"/>
                        </a:rPr>
                        <a:t>Reduced cost of vehicle programs</a:t>
                      </a:r>
                    </a:p>
                    <a:p>
                      <a:pPr marL="171450" indent="-171450" algn="l" defTabSz="1088105" rtl="0" eaLnBrk="1" fontAlgn="t" latinLnBrk="0" hangingPunct="1">
                        <a:lnSpc>
                          <a:spcPct val="100000"/>
                        </a:lnSpc>
                        <a:spcBef>
                          <a:spcPts val="200"/>
                        </a:spcBef>
                        <a:buFont typeface="Arial" panose="020B0604020202020204" pitchFamily="34" charset="0"/>
                        <a:buChar char="•"/>
                      </a:pPr>
                      <a:r>
                        <a:rPr lang="en-US" sz="1050" kern="1200">
                          <a:solidFill>
                            <a:schemeClr val="tx1"/>
                          </a:solidFill>
                          <a:latin typeface="+mn-lt"/>
                          <a:ea typeface="+mn-ea"/>
                          <a:cs typeface="+mn-cs"/>
                        </a:rPr>
                        <a:t>Reduced cost of contracts (hourly and salaried)</a:t>
                      </a:r>
                    </a:p>
                    <a:p>
                      <a:pPr marL="171450" indent="-171450" algn="l" defTabSz="1088105" rtl="0" eaLnBrk="1" fontAlgn="t" latinLnBrk="0" hangingPunct="1">
                        <a:lnSpc>
                          <a:spcPct val="100000"/>
                        </a:lnSpc>
                        <a:spcBef>
                          <a:spcPts val="200"/>
                        </a:spcBef>
                        <a:buFont typeface="Arial" panose="020B0604020202020204" pitchFamily="34" charset="0"/>
                        <a:buChar char="•"/>
                      </a:pPr>
                      <a:r>
                        <a:rPr lang="en-US" sz="1050" kern="1200">
                          <a:solidFill>
                            <a:schemeClr val="tx1"/>
                          </a:solidFill>
                          <a:latin typeface="+mn-lt"/>
                          <a:ea typeface="+mn-ea"/>
                          <a:cs typeface="+mn-cs"/>
                        </a:rPr>
                        <a:t>Reduced cost of prototyping and physical modeling and testing</a:t>
                      </a:r>
                    </a:p>
                    <a:p>
                      <a:pPr marL="171450" indent="-171450" algn="l" defTabSz="1088105" rtl="0" eaLnBrk="1" fontAlgn="t" latinLnBrk="0" hangingPunct="1">
                        <a:lnSpc>
                          <a:spcPct val="100000"/>
                        </a:lnSpc>
                        <a:spcBef>
                          <a:spcPts val="200"/>
                        </a:spcBef>
                        <a:buFont typeface="Arial" panose="020B0604020202020204" pitchFamily="34" charset="0"/>
                        <a:buChar char="•"/>
                      </a:pPr>
                      <a:r>
                        <a:rPr lang="en-US" sz="1050" kern="1200">
                          <a:solidFill>
                            <a:schemeClr val="tx1"/>
                          </a:solidFill>
                          <a:latin typeface="+mn-lt"/>
                          <a:ea typeface="+mn-ea"/>
                          <a:cs typeface="+mn-cs"/>
                        </a:rPr>
                        <a:t>Higher margins in relatively lower margin vehicle lines (small sedans, economy vehicles)</a:t>
                      </a:r>
                    </a:p>
                  </a:txBody>
                  <a:tcPr marL="121856" marR="121856" marT="60928" marB="6092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indent="-171450" algn="l" defTabSz="1088105"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en-US" sz="1050" kern="1200">
                          <a:solidFill>
                            <a:schemeClr val="tx1"/>
                          </a:solidFill>
                          <a:latin typeface="+mn-lt"/>
                          <a:ea typeface="+mn-ea"/>
                          <a:cs typeface="+mn-cs"/>
                        </a:rPr>
                        <a:t>Reduced cost of data management and storage</a:t>
                      </a:r>
                    </a:p>
                    <a:p>
                      <a:pPr marL="171450" indent="-171450" algn="l" defTabSz="1088105" rtl="0" eaLnBrk="1" fontAlgn="t" latinLnBrk="0" hangingPunct="1">
                        <a:lnSpc>
                          <a:spcPct val="100000"/>
                        </a:lnSpc>
                        <a:spcBef>
                          <a:spcPts val="200"/>
                        </a:spcBef>
                        <a:buFont typeface="Arial" panose="020B0604020202020204" pitchFamily="34" charset="0"/>
                        <a:buChar char="•"/>
                      </a:pPr>
                      <a:r>
                        <a:rPr lang="en-US" sz="1050" kern="1200">
                          <a:solidFill>
                            <a:schemeClr val="tx1"/>
                          </a:solidFill>
                          <a:latin typeface="+mn-lt"/>
                          <a:ea typeface="+mn-ea"/>
                          <a:cs typeface="+mn-cs"/>
                        </a:rPr>
                        <a:t>Reduced cost of data acquisition</a:t>
                      </a:r>
                    </a:p>
                    <a:p>
                      <a:pPr marL="171450" indent="-171450" algn="l" defTabSz="1088105" rtl="0" eaLnBrk="1" fontAlgn="t" latinLnBrk="0" hangingPunct="1">
                        <a:lnSpc>
                          <a:spcPct val="100000"/>
                        </a:lnSpc>
                        <a:spcBef>
                          <a:spcPts val="200"/>
                        </a:spcBef>
                        <a:buFont typeface="Arial" panose="020B0604020202020204" pitchFamily="34" charset="0"/>
                        <a:buChar char="•"/>
                      </a:pPr>
                      <a:r>
                        <a:rPr lang="en-US" sz="1050" kern="1200">
                          <a:solidFill>
                            <a:schemeClr val="tx1"/>
                          </a:solidFill>
                          <a:latin typeface="+mn-lt"/>
                          <a:ea typeface="+mn-ea"/>
                          <a:cs typeface="+mn-cs"/>
                        </a:rPr>
                        <a:t>Optimized connectivity costs</a:t>
                      </a:r>
                    </a:p>
                    <a:p>
                      <a:pPr marL="171450" indent="-171450" algn="l" defTabSz="1088105" rtl="0" eaLnBrk="1" fontAlgn="t" latinLnBrk="0" hangingPunct="1">
                        <a:lnSpc>
                          <a:spcPct val="100000"/>
                        </a:lnSpc>
                        <a:spcBef>
                          <a:spcPts val="200"/>
                        </a:spcBef>
                        <a:buFont typeface="Arial" panose="020B0604020202020204" pitchFamily="34" charset="0"/>
                        <a:buChar char="•"/>
                      </a:pPr>
                      <a:r>
                        <a:rPr lang="en-US" sz="1050" kern="1200">
                          <a:solidFill>
                            <a:schemeClr val="tx1"/>
                          </a:solidFill>
                          <a:latin typeface="+mn-lt"/>
                          <a:ea typeface="+mn-ea"/>
                          <a:cs typeface="+mn-cs"/>
                        </a:rPr>
                        <a:t>Reduced cost of data analytics</a:t>
                      </a:r>
                    </a:p>
                  </a:txBody>
                  <a:tcPr marL="121856" marR="121856" marT="60928" marB="6092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0">
                <a:tc>
                  <a:txBody>
                    <a:bodyPr/>
                    <a:lstStyle/>
                    <a:p>
                      <a:pPr marL="0" algn="l" defTabSz="1088105" rtl="0" eaLnBrk="1" latinLnBrk="0" hangingPunct="1">
                        <a:lnSpc>
                          <a:spcPct val="100000"/>
                        </a:lnSpc>
                      </a:pPr>
                      <a:r>
                        <a:rPr lang="en-US" sz="1100" b="0" kern="1200">
                          <a:solidFill>
                            <a:schemeClr val="tx1"/>
                          </a:solidFill>
                          <a:latin typeface="Segoe UI Semibold" panose="020B0702040204020203" pitchFamily="34" charset="0"/>
                          <a:ea typeface="+mn-ea"/>
                          <a:cs typeface="Segoe UI Semibold" panose="020B0702040204020203" pitchFamily="34" charset="0"/>
                        </a:rPr>
                        <a:t>Decrease Risk</a:t>
                      </a:r>
                    </a:p>
                  </a:txBody>
                  <a:tcPr marL="121856" marR="121856" marT="60928" marB="6092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indent="0" algn="l" defTabSz="1088105" rtl="0" eaLnBrk="1" latinLnBrk="0" hangingPunct="1">
                        <a:lnSpc>
                          <a:spcPct val="100000"/>
                        </a:lnSpc>
                        <a:spcBef>
                          <a:spcPts val="200"/>
                        </a:spcBef>
                        <a:buFont typeface="Arial" panose="020B0604020202020204" pitchFamily="34" charset="0"/>
                        <a:buNone/>
                      </a:pPr>
                      <a:r>
                        <a:rPr lang="en-US" sz="1050" kern="1200">
                          <a:solidFill>
                            <a:schemeClr val="tx1"/>
                          </a:solidFill>
                          <a:latin typeface="+mn-lt"/>
                          <a:ea typeface="+mn-ea"/>
                          <a:cs typeface="+mn-cs"/>
                        </a:rPr>
                        <a:t>Significant reduction in likelihood of safety incidents.</a:t>
                      </a:r>
                    </a:p>
                  </a:txBody>
                  <a:tcPr marL="121856" marR="121856" marT="60928" marB="6092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gn="l" defTabSz="1088105" rtl="0" eaLnBrk="1" latinLnBrk="0" hangingPunct="1">
                        <a:lnSpc>
                          <a:spcPct val="100000"/>
                        </a:lnSpc>
                        <a:spcBef>
                          <a:spcPts val="200"/>
                        </a:spcBef>
                        <a:buFont typeface="Arial" panose="020B0604020202020204" pitchFamily="34" charset="0"/>
                        <a:buChar char="•"/>
                      </a:pPr>
                      <a:r>
                        <a:rPr lang="en-US" sz="1050" kern="1200">
                          <a:solidFill>
                            <a:schemeClr val="tx1"/>
                          </a:solidFill>
                          <a:latin typeface="+mn-lt"/>
                          <a:ea typeface="+mn-ea"/>
                          <a:cs typeface="+mn-cs"/>
                        </a:rPr>
                        <a:t>Increased knowledge sharing across product development teams</a:t>
                      </a:r>
                    </a:p>
                    <a:p>
                      <a:pPr marL="171450" indent="-171450" algn="l" defTabSz="1088105" rtl="0" eaLnBrk="1" latinLnBrk="0" hangingPunct="1">
                        <a:lnSpc>
                          <a:spcPct val="100000"/>
                        </a:lnSpc>
                        <a:spcBef>
                          <a:spcPts val="200"/>
                        </a:spcBef>
                        <a:buFont typeface="Arial" panose="020B0604020202020204" pitchFamily="34" charset="0"/>
                        <a:buChar char="•"/>
                      </a:pPr>
                      <a:r>
                        <a:rPr lang="en-US" sz="1050" kern="1200">
                          <a:solidFill>
                            <a:schemeClr val="tx1"/>
                          </a:solidFill>
                          <a:latin typeface="+mn-lt"/>
                          <a:ea typeface="+mn-ea"/>
                          <a:cs typeface="+mn-cs"/>
                        </a:rPr>
                        <a:t>Unlimited ability to run virtual reliability and robustness cycles in the cloud</a:t>
                      </a:r>
                    </a:p>
                  </a:txBody>
                  <a:tcPr marL="121856" marR="121856" marT="60928" marB="6092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gn="l" defTabSz="1088105" rtl="0" eaLnBrk="1" latinLnBrk="0" hangingPunct="1">
                        <a:lnSpc>
                          <a:spcPct val="100000"/>
                        </a:lnSpc>
                        <a:spcBef>
                          <a:spcPts val="200"/>
                        </a:spcBef>
                        <a:buFont typeface="Arial" panose="020B0604020202020204" pitchFamily="34" charset="0"/>
                        <a:buChar char="•"/>
                      </a:pPr>
                      <a:endParaRPr lang="en-US" sz="1050" kern="1200">
                        <a:solidFill>
                          <a:schemeClr val="tx1"/>
                        </a:solidFill>
                        <a:latin typeface="+mn-lt"/>
                        <a:ea typeface="+mn-ea"/>
                        <a:cs typeface="+mn-cs"/>
                      </a:endParaRPr>
                    </a:p>
                  </a:txBody>
                  <a:tcPr marL="121856" marR="121856" marT="60928" marB="6092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r h="0">
                <a:tc>
                  <a:txBody>
                    <a:bodyPr/>
                    <a:lstStyle/>
                    <a:p>
                      <a:pPr marL="0" algn="l" defTabSz="1088105" rtl="0" eaLnBrk="1" latinLnBrk="0" hangingPunct="1">
                        <a:lnSpc>
                          <a:spcPct val="100000"/>
                        </a:lnSpc>
                      </a:pPr>
                      <a:r>
                        <a:rPr lang="en-US" sz="1100" b="0" kern="1200">
                          <a:solidFill>
                            <a:schemeClr val="tx1"/>
                          </a:solidFill>
                          <a:latin typeface="Segoe UI Semibold" panose="020B0702040204020203" pitchFamily="34" charset="0"/>
                          <a:ea typeface="+mn-ea"/>
                          <a:cs typeface="Segoe UI Semibold" panose="020B0702040204020203" pitchFamily="34" charset="0"/>
                        </a:rPr>
                        <a:t>Option value</a:t>
                      </a:r>
                    </a:p>
                  </a:txBody>
                  <a:tcPr marL="121856" marR="121856" marT="60928" marB="6092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171450" indent="-171450" algn="l" defTabSz="1088105" rtl="0" eaLnBrk="1" latinLnBrk="0" hangingPunct="1">
                        <a:lnSpc>
                          <a:spcPct val="100000"/>
                        </a:lnSpc>
                        <a:spcBef>
                          <a:spcPts val="200"/>
                        </a:spcBef>
                        <a:buFont typeface="Arial" panose="020B0604020202020204" pitchFamily="34" charset="0"/>
                        <a:buChar char="•"/>
                      </a:pPr>
                      <a:endParaRPr lang="en-US" sz="1050" kern="1200">
                        <a:solidFill>
                          <a:schemeClr val="tx1"/>
                        </a:solidFill>
                        <a:latin typeface="+mn-lt"/>
                        <a:ea typeface="+mn-ea"/>
                        <a:cs typeface="+mn-cs"/>
                      </a:endParaRPr>
                    </a:p>
                  </a:txBody>
                  <a:tcPr marL="121856" marR="121856" marT="60928" marB="6092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gn="l" defTabSz="1088105" rtl="0" eaLnBrk="1" latinLnBrk="0" hangingPunct="1">
                        <a:lnSpc>
                          <a:spcPct val="100000"/>
                        </a:lnSpc>
                        <a:spcBef>
                          <a:spcPts val="200"/>
                        </a:spcBef>
                        <a:buFont typeface="Arial" panose="020B0604020202020204" pitchFamily="34" charset="0"/>
                        <a:buChar char="•"/>
                      </a:pPr>
                      <a:endParaRPr lang="en-US" sz="1050" kern="1200">
                        <a:solidFill>
                          <a:schemeClr val="tx1"/>
                        </a:solidFill>
                        <a:latin typeface="+mn-lt"/>
                        <a:ea typeface="+mn-ea"/>
                        <a:cs typeface="+mn-cs"/>
                      </a:endParaRPr>
                    </a:p>
                  </a:txBody>
                  <a:tcPr marL="121856" marR="121856" marT="60928" marB="6092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gn="l" defTabSz="1088105" rtl="0" eaLnBrk="1" latinLnBrk="0" hangingPunct="1">
                        <a:lnSpc>
                          <a:spcPct val="100000"/>
                        </a:lnSpc>
                        <a:spcBef>
                          <a:spcPts val="200"/>
                        </a:spcBef>
                        <a:buFont typeface="Arial" panose="020B0604020202020204" pitchFamily="34" charset="0"/>
                        <a:buChar char="•"/>
                      </a:pPr>
                      <a:endParaRPr lang="en-US" sz="1050" kern="1200">
                        <a:solidFill>
                          <a:schemeClr val="tx1"/>
                        </a:solidFill>
                        <a:latin typeface="+mn-lt"/>
                        <a:ea typeface="+mn-ea"/>
                        <a:cs typeface="+mn-cs"/>
                      </a:endParaRPr>
                    </a:p>
                  </a:txBody>
                  <a:tcPr marL="121856" marR="121856" marT="60928" marB="6092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bl>
          </a:graphicData>
        </a:graphic>
      </p:graphicFrame>
      <p:sp>
        <p:nvSpPr>
          <p:cNvPr id="7" name="Text Placeholder 6"/>
          <p:cNvSpPr txBox="1">
            <a:spLocks/>
          </p:cNvSpPr>
          <p:nvPr/>
        </p:nvSpPr>
        <p:spPr>
          <a:xfrm>
            <a:off x="8389559" y="142996"/>
            <a:ext cx="3361765" cy="373063"/>
          </a:xfrm>
          <a:prstGeom prst="rect">
            <a:avLst/>
          </a:prstGeom>
        </p:spPr>
        <p:txBody>
          <a:bodyPr vert="horz" lIns="320040" tIns="53325" rIns="53325" bIns="53325" rtlCol="0">
            <a:noAutofit/>
          </a:bodyPr>
          <a:lstStyle>
            <a:lvl1pPr marL="0" indent="0" algn="l" defTabSz="1088105" rtl="0" eaLnBrk="1" latinLnBrk="0" hangingPunct="1">
              <a:spcBef>
                <a:spcPts val="1800"/>
              </a:spcBef>
              <a:buClr>
                <a:srgbClr val="0072C6"/>
              </a:buClr>
              <a:buSzPct val="100000"/>
              <a:buFont typeface="Wingdings" pitchFamily="2" charset="2"/>
              <a:buNone/>
              <a:defRPr sz="2800" kern="1200">
                <a:solidFill>
                  <a:schemeClr val="tx1"/>
                </a:solidFill>
                <a:latin typeface="Segoe UI Light" pitchFamily="34" charset="0"/>
                <a:ea typeface="Segoe UI" pitchFamily="34" charset="0"/>
                <a:cs typeface="Segoe UI" pitchFamily="34" charset="0"/>
              </a:defRPr>
            </a:lvl1pPr>
            <a:lvl2pPr marL="281674" indent="0" algn="l" defTabSz="1088105" rtl="0" eaLnBrk="1" latinLnBrk="0" hangingPunct="1">
              <a:spcBef>
                <a:spcPct val="20000"/>
              </a:spcBef>
              <a:buFont typeface="Arial" pitchFamily="34" charset="0"/>
              <a:buNone/>
              <a:defRPr sz="1800" kern="1200">
                <a:solidFill>
                  <a:schemeClr val="tx1"/>
                </a:solidFill>
                <a:latin typeface="Segoe UI" pitchFamily="34" charset="0"/>
                <a:ea typeface="Segoe UI" pitchFamily="34" charset="0"/>
                <a:cs typeface="Segoe UI" pitchFamily="34" charset="0"/>
              </a:defRPr>
            </a:lvl2pPr>
            <a:lvl3pPr marL="588476" indent="0" algn="l" defTabSz="1088105" rtl="0" eaLnBrk="1" latinLnBrk="0" hangingPunct="1">
              <a:spcBef>
                <a:spcPct val="20000"/>
              </a:spcBef>
              <a:buFont typeface="Arial" pitchFamily="34" charset="0"/>
              <a:buNone/>
              <a:defRPr sz="1600" kern="1200">
                <a:solidFill>
                  <a:schemeClr val="tx1"/>
                </a:solidFill>
                <a:latin typeface="Segoe UI" pitchFamily="34" charset="0"/>
                <a:ea typeface="Segoe UI" pitchFamily="34" charset="0"/>
                <a:cs typeface="Segoe UI" pitchFamily="34" charset="0"/>
              </a:defRPr>
            </a:lvl3pPr>
            <a:lvl4pPr marL="87015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4pPr>
            <a:lvl5pPr marL="110554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marL="0" marR="0" lvl="0" indent="0" algn="l" defTabSz="1088105" rtl="0" eaLnBrk="1" fontAlgn="auto" latinLnBrk="0" hangingPunct="1">
              <a:lnSpc>
                <a:spcPct val="100000"/>
              </a:lnSpc>
              <a:spcBef>
                <a:spcPts val="1800"/>
              </a:spcBef>
              <a:spcAft>
                <a:spcPts val="0"/>
              </a:spcAft>
              <a:buClr>
                <a:srgbClr val="0072C6"/>
              </a:buClr>
              <a:buSzPct val="100000"/>
              <a:buFont typeface="Wingdings" pitchFamily="2" charset="2"/>
              <a:buNone/>
              <a:tabLst/>
              <a:defRPr/>
            </a:pPr>
            <a:r>
              <a:rPr kumimoji="0" lang="en-US" sz="2800" b="0" i="0" u="none" strike="noStrike" kern="1200" cap="none" spc="0" normalizeH="0" baseline="0" noProof="0">
                <a:ln>
                  <a:noFill/>
                </a:ln>
                <a:solidFill>
                  <a:srgbClr val="505050"/>
                </a:solidFill>
                <a:effectLst/>
                <a:uLnTx/>
                <a:uFillTx/>
                <a:latin typeface="Segoe UI Light" pitchFamily="34" charset="0"/>
                <a:cs typeface="Segoe UI" pitchFamily="34" charset="0"/>
              </a:rPr>
              <a:t>Value Touch Points</a:t>
            </a:r>
          </a:p>
        </p:txBody>
      </p:sp>
    </p:spTree>
    <p:extLst>
      <p:ext uri="{BB962C8B-B14F-4D97-AF65-F5344CB8AC3E}">
        <p14:creationId xmlns:p14="http://schemas.microsoft.com/office/powerpoint/2010/main" val="27555704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pen Innovation</a:t>
            </a:r>
            <a:endParaRPr lang="en-IN" dirty="0"/>
          </a:p>
        </p:txBody>
      </p:sp>
      <p:sp>
        <p:nvSpPr>
          <p:cNvPr id="4" name="Slide Number Placeholder 3"/>
          <p:cNvSpPr>
            <a:spLocks noGrp="1"/>
          </p:cNvSpPr>
          <p:nvPr>
            <p:ph type="sldNum" sz="quarter" idx="14"/>
          </p:nvPr>
        </p:nvSpPr>
        <p:spPr/>
        <p:txBody>
          <a:bodyPr/>
          <a:lstStyle/>
          <a:p>
            <a:pPr marL="0" marR="0" lvl="0" indent="0" algn="r" defTabSz="1088105"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srgbClr val="505050"/>
                </a:solidFill>
                <a:effectLst/>
                <a:uLnTx/>
                <a:uFillTx/>
                <a:latin typeface="Segoe UI" pitchFamily="34" charset="0"/>
                <a:cs typeface="Segoe UI" pitchFamily="34" charset="0"/>
              </a:rPr>
              <a:pPr marL="0" marR="0" lvl="0" indent="0" algn="r" defTabSz="1088105" rtl="0" eaLnBrk="1" fontAlgn="auto" latinLnBrk="0" hangingPunct="1">
                <a:lnSpc>
                  <a:spcPct val="100000"/>
                </a:lnSpc>
                <a:spcBef>
                  <a:spcPts val="0"/>
                </a:spcBef>
                <a:spcAft>
                  <a:spcPts val="0"/>
                </a:spcAft>
                <a:buClrTx/>
                <a:buSzTx/>
                <a:buFontTx/>
                <a:buNone/>
                <a:tabLst/>
                <a:defRPr/>
              </a:pPr>
              <a:t>54</a:t>
            </a:fld>
            <a:endParaRPr kumimoji="0" lang="en-US" sz="800" b="0" i="0" u="none" strike="noStrike" kern="1200" cap="none" spc="0" normalizeH="0" baseline="0" noProof="0">
              <a:ln>
                <a:noFill/>
              </a:ln>
              <a:solidFill>
                <a:srgbClr val="505050"/>
              </a:solidFill>
              <a:effectLst/>
              <a:uLnTx/>
              <a:uFillTx/>
              <a:latin typeface="Segoe UI" pitchFamily="34" charset="0"/>
              <a:cs typeface="Segoe UI" pitchFamily="34" charset="0"/>
            </a:endParaRPr>
          </a:p>
        </p:txBody>
      </p:sp>
      <p:sp>
        <p:nvSpPr>
          <p:cNvPr id="5" name="Rectangle 4"/>
          <p:cNvSpPr/>
          <p:nvPr>
            <p:custDataLst>
              <p:tags r:id="rId1"/>
            </p:custDataLst>
          </p:nvPr>
        </p:nvSpPr>
        <p:spPr>
          <a:xfrm flipH="1">
            <a:off x="303212" y="1600200"/>
            <a:ext cx="6765245" cy="400110"/>
          </a:xfrm>
          <a:prstGeom prst="rect">
            <a:avLst/>
          </a:prstGeom>
          <a:solidFill>
            <a:schemeClr val="tx2"/>
          </a:solidFill>
          <a:ln w="6350">
            <a:noFill/>
          </a:ln>
          <a:effectLst/>
        </p:spPr>
        <p:txBody>
          <a:bodyPr vert="horz" wrap="square" lIns="91440" tIns="45720" rIns="91440" bIns="45720" numCol="1" rtlCol="0" anchor="ctr" anchorCtr="0" compatLnSpc="1">
            <a:prstTxWarp prst="textNoShape">
              <a:avLst/>
            </a:prstTxWarp>
            <a:spAutoFit/>
          </a:bodyPr>
          <a:lstStyle/>
          <a:p>
            <a:pPr marL="0" marR="0" lvl="1" indent="0" algn="ctr" defTabSz="1624019" rtl="0" eaLnBrk="1" fontAlgn="base" latinLnBrk="0" hangingPunct="1">
              <a:lnSpc>
                <a:spcPct val="100000"/>
              </a:lnSpc>
              <a:spcBef>
                <a:spcPts val="0"/>
              </a:spcBef>
              <a:spcAft>
                <a:spcPts val="0"/>
              </a:spcAft>
              <a:buClr>
                <a:srgbClr val="FFFF99"/>
              </a:buClr>
              <a:buSzPct val="90000"/>
              <a:buFontTx/>
              <a:buNone/>
              <a:tabLst/>
              <a:defRPr/>
            </a:pPr>
            <a:r>
              <a:rPr lang="en-IN" altLang="zh-CN" sz="2000" kern="0" dirty="0">
                <a:solidFill>
                  <a:srgbClr val="FFFFFF"/>
                </a:solidFill>
                <a:latin typeface="Segoe UI Semibold" panose="020B0702040204020203" pitchFamily="34" charset="0"/>
                <a:ea typeface="Segoe UI" pitchFamily="34" charset="0"/>
                <a:cs typeface="Segoe UI Semibold" panose="020B0702040204020203" pitchFamily="34" charset="0"/>
              </a:rPr>
              <a:t>Open Innovation</a:t>
            </a:r>
            <a:endParaRPr kumimoji="0" lang="en-IN" altLang="zh-CN" sz="2000" b="0" i="0" u="none" strike="noStrike" kern="0" cap="none" spc="0" normalizeH="0" baseline="0" noProof="0" dirty="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6" name="Rectangle 5"/>
          <p:cNvSpPr/>
          <p:nvPr>
            <p:custDataLst>
              <p:tags r:id="rId2"/>
            </p:custDataLst>
          </p:nvPr>
        </p:nvSpPr>
        <p:spPr bwMode="auto">
          <a:xfrm>
            <a:off x="303212" y="2057400"/>
            <a:ext cx="3345037" cy="2428875"/>
          </a:xfrm>
          <a:prstGeom prst="rect">
            <a:avLst/>
          </a:prstGeom>
          <a:solidFill>
            <a:srgbClr val="FFFFFF">
              <a:lumMod val="95000"/>
            </a:srgbClr>
          </a:solidFill>
          <a:ln w="3175" cap="flat" cmpd="sng" algn="ctr">
            <a:noFill/>
            <a:prstDash val="solid"/>
            <a:round/>
            <a:headEnd type="none" w="med" len="med"/>
            <a:tailEnd type="none" w="med" len="med"/>
          </a:ln>
          <a:effectLst/>
        </p:spPr>
        <p:txBody>
          <a:bodyPr lIns="91440" tIns="45720" rIns="91440" bIns="45720" rtlCol="0" anchor="t" anchorCtr="0">
            <a:noAutofit/>
          </a:bodyPr>
          <a:lstStyle/>
          <a:p>
            <a:pPr marL="0" marR="0" lvl="1" indent="0" algn="l" defTabSz="1624019" rtl="0" eaLnBrk="1" fontAlgn="auto" latinLnBrk="0" hangingPunct="1">
              <a:lnSpc>
                <a:spcPct val="100000"/>
              </a:lnSpc>
              <a:spcBef>
                <a:spcPts val="600"/>
              </a:spcBef>
              <a:spcAft>
                <a:spcPts val="0"/>
              </a:spcAft>
              <a:buClr>
                <a:srgbClr val="595959">
                  <a:lumMod val="75000"/>
                </a:srgbClr>
              </a:buClr>
              <a:buSzTx/>
              <a:buFontTx/>
              <a:buNone/>
              <a:tabLst/>
              <a:defRPr/>
            </a:pPr>
            <a:r>
              <a:rPr kumimoji="0" lang="en-IN" altLang="zh-CN" sz="1600"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rPr>
              <a:t>Innovation</a:t>
            </a:r>
            <a:endParaRPr kumimoji="0" lang="en-US" altLang="zh-CN" sz="1600" b="0" i="0" u="none" strike="noStrike" kern="0" cap="none" spc="0" normalizeH="0" baseline="0" noProof="0" dirty="0">
              <a:ln>
                <a:noFill/>
              </a:ln>
              <a:solidFill>
                <a:srgbClr val="0072C6"/>
              </a:solidFill>
              <a:effectLst/>
              <a:uLnTx/>
              <a:uFillTx/>
              <a:latin typeface="Segoe UI"/>
              <a:ea typeface="Segoe UI" pitchFamily="34" charset="0"/>
              <a:cs typeface="Segoe UI" pitchFamily="34" charset="0"/>
            </a:endParaRPr>
          </a:p>
          <a:p>
            <a:pPr marL="292100" marR="0" lvl="1" indent="-201613" algn="l" defTabSz="1624019" rtl="0" eaLnBrk="1" fontAlgn="auto" latinLnBrk="0" hangingPunct="1">
              <a:lnSpc>
                <a:spcPct val="100000"/>
              </a:lnSpc>
              <a:spcBef>
                <a:spcPts val="100"/>
              </a:spcBef>
              <a:spcAft>
                <a:spcPts val="200"/>
              </a:spcAft>
              <a:buClr>
                <a:srgbClr val="595959">
                  <a:lumMod val="75000"/>
                </a:srgbClr>
              </a:buClr>
              <a:buSzTx/>
              <a:buFont typeface="Arial" pitchFamily="34" charset="0"/>
              <a:buChar char="•"/>
              <a:tabLst/>
              <a:defRPr/>
            </a:pPr>
            <a:r>
              <a:rPr kumimoji="0" lang="en-IN" altLang="zh-CN" sz="16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Enhanced market insight into ideation</a:t>
            </a:r>
          </a:p>
          <a:p>
            <a:pPr marL="292100" marR="0" lvl="1" indent="-201613" algn="l" defTabSz="1624019" rtl="0" eaLnBrk="1" fontAlgn="auto" latinLnBrk="0" hangingPunct="1">
              <a:lnSpc>
                <a:spcPct val="100000"/>
              </a:lnSpc>
              <a:spcBef>
                <a:spcPts val="100"/>
              </a:spcBef>
              <a:spcAft>
                <a:spcPts val="200"/>
              </a:spcAft>
              <a:buClr>
                <a:srgbClr val="595959">
                  <a:lumMod val="75000"/>
                </a:srgbClr>
              </a:buClr>
              <a:buSzTx/>
              <a:buFont typeface="Arial" pitchFamily="34" charset="0"/>
              <a:buChar char="•"/>
              <a:tabLst/>
              <a:defRPr/>
            </a:pPr>
            <a:r>
              <a:rPr kumimoji="0" lang="en-IN" altLang="zh-CN" sz="16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Accelerated pace of new ideas</a:t>
            </a:r>
          </a:p>
          <a:p>
            <a:pPr marL="292100" marR="0" lvl="1" indent="-201613" algn="l" defTabSz="1624019" rtl="0" eaLnBrk="1" fontAlgn="auto" latinLnBrk="0" hangingPunct="1">
              <a:lnSpc>
                <a:spcPct val="100000"/>
              </a:lnSpc>
              <a:spcBef>
                <a:spcPts val="100"/>
              </a:spcBef>
              <a:spcAft>
                <a:spcPts val="200"/>
              </a:spcAft>
              <a:buClr>
                <a:srgbClr val="595959">
                  <a:lumMod val="75000"/>
                </a:srgbClr>
              </a:buClr>
              <a:buSzTx/>
              <a:buFont typeface="Arial" pitchFamily="34" charset="0"/>
              <a:buChar char="•"/>
              <a:tabLst/>
              <a:defRPr/>
            </a:pPr>
            <a:r>
              <a:rPr kumimoji="0" lang="en-IN" altLang="zh-CN" sz="16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Faster time to market</a:t>
            </a:r>
          </a:p>
          <a:p>
            <a:pPr marL="292100" marR="0" lvl="1" indent="-201613" algn="l" defTabSz="1624019" rtl="0" eaLnBrk="1" fontAlgn="auto" latinLnBrk="0" hangingPunct="1">
              <a:lnSpc>
                <a:spcPct val="100000"/>
              </a:lnSpc>
              <a:spcBef>
                <a:spcPts val="100"/>
              </a:spcBef>
              <a:spcAft>
                <a:spcPts val="200"/>
              </a:spcAft>
              <a:buClr>
                <a:srgbClr val="595959">
                  <a:lumMod val="75000"/>
                </a:srgbClr>
              </a:buClr>
              <a:buSzTx/>
              <a:buFont typeface="Arial" pitchFamily="34" charset="0"/>
              <a:buChar char="•"/>
              <a:tabLst/>
              <a:defRPr/>
            </a:pPr>
            <a:r>
              <a:rPr kumimoji="0" lang="en-IN" altLang="zh-CN" sz="16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Increased return on innovation investment</a:t>
            </a:r>
          </a:p>
        </p:txBody>
      </p:sp>
      <p:sp>
        <p:nvSpPr>
          <p:cNvPr id="7" name="Rectangle 6"/>
          <p:cNvSpPr/>
          <p:nvPr>
            <p:custDataLst>
              <p:tags r:id="rId3"/>
            </p:custDataLst>
          </p:nvPr>
        </p:nvSpPr>
        <p:spPr bwMode="auto">
          <a:xfrm>
            <a:off x="303212" y="4543425"/>
            <a:ext cx="6758973" cy="1934448"/>
          </a:xfrm>
          <a:prstGeom prst="rect">
            <a:avLst/>
          </a:prstGeom>
          <a:solidFill>
            <a:srgbClr val="FFFFFF">
              <a:lumMod val="95000"/>
            </a:srgbClr>
          </a:solidFill>
          <a:ln w="3175" cap="flat" cmpd="sng" algn="ctr">
            <a:noFill/>
            <a:prstDash val="solid"/>
            <a:round/>
            <a:headEnd type="none" w="med" len="med"/>
            <a:tailEnd type="none" w="med" len="med"/>
          </a:ln>
          <a:effectLst/>
        </p:spPr>
        <p:txBody>
          <a:bodyPr lIns="91440" tIns="45720" rIns="91440" bIns="45720" rtlCol="0" anchor="t" anchorCtr="0">
            <a:noAutofit/>
          </a:bodyPr>
          <a:lstStyle/>
          <a:p>
            <a:pPr marL="0" marR="0" lvl="1" indent="0" algn="l" defTabSz="1624019" rtl="0" eaLnBrk="1" fontAlgn="auto" latinLnBrk="0" hangingPunct="1">
              <a:lnSpc>
                <a:spcPct val="100000"/>
              </a:lnSpc>
              <a:spcBef>
                <a:spcPts val="600"/>
              </a:spcBef>
              <a:spcAft>
                <a:spcPts val="0"/>
              </a:spcAft>
              <a:buClr>
                <a:srgbClr val="595959">
                  <a:lumMod val="75000"/>
                </a:srgbClr>
              </a:buClr>
              <a:buSzTx/>
              <a:buFontTx/>
              <a:buNone/>
              <a:tabLst/>
              <a:defRPr/>
            </a:pPr>
            <a:r>
              <a:rPr kumimoji="0" lang="en-IN" altLang="zh-CN" sz="1600"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rPr>
              <a:t>Employees</a:t>
            </a:r>
          </a:p>
          <a:p>
            <a:pPr marL="292100" lvl="1" indent="-201613" defTabSz="1624019">
              <a:spcBef>
                <a:spcPts val="100"/>
              </a:spcBef>
              <a:spcAft>
                <a:spcPts val="200"/>
              </a:spcAft>
              <a:buClr>
                <a:srgbClr val="595959">
                  <a:lumMod val="75000"/>
                </a:srgbClr>
              </a:buClr>
              <a:buFont typeface="Arial" pitchFamily="34" charset="0"/>
              <a:buChar char="•"/>
              <a:defRPr/>
            </a:pPr>
            <a:r>
              <a:rPr lang="en-IN" altLang="zh-CN" sz="1600" kern="0" dirty="0">
                <a:solidFill>
                  <a:srgbClr val="505050"/>
                </a:solidFill>
                <a:ea typeface="Segoe UI" pitchFamily="34" charset="0"/>
                <a:cs typeface="Segoe UI" pitchFamily="34" charset="0"/>
              </a:rPr>
              <a:t>Stronger engagement towards innovation goals</a:t>
            </a:r>
          </a:p>
          <a:p>
            <a:pPr marL="292100" marR="0" lvl="1" indent="-201613" algn="l" defTabSz="1624019" rtl="0" eaLnBrk="1" fontAlgn="auto" latinLnBrk="0" hangingPunct="1">
              <a:lnSpc>
                <a:spcPct val="100000"/>
              </a:lnSpc>
              <a:spcBef>
                <a:spcPts val="100"/>
              </a:spcBef>
              <a:spcAft>
                <a:spcPts val="200"/>
              </a:spcAft>
              <a:buClr>
                <a:srgbClr val="595959">
                  <a:lumMod val="75000"/>
                </a:srgbClr>
              </a:buClr>
              <a:buSzTx/>
              <a:buFont typeface="Arial" pitchFamily="34" charset="0"/>
              <a:buChar char="•"/>
              <a:tabLst/>
              <a:defRPr/>
            </a:pPr>
            <a:r>
              <a:rPr kumimoji="0" lang="en-US" altLang="zh-CN" sz="16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Increased employee morale</a:t>
            </a:r>
          </a:p>
          <a:p>
            <a:pPr marL="292100" marR="0" lvl="1" indent="-201613" algn="l" defTabSz="1624019" rtl="0" eaLnBrk="1" fontAlgn="auto" latinLnBrk="0" hangingPunct="1">
              <a:lnSpc>
                <a:spcPct val="100000"/>
              </a:lnSpc>
              <a:spcBef>
                <a:spcPts val="100"/>
              </a:spcBef>
              <a:spcAft>
                <a:spcPts val="200"/>
              </a:spcAft>
              <a:buClr>
                <a:srgbClr val="595959">
                  <a:lumMod val="75000"/>
                </a:srgbClr>
              </a:buClr>
              <a:buSzTx/>
              <a:buFont typeface="Arial" pitchFamily="34" charset="0"/>
              <a:buChar char="•"/>
              <a:tabLst/>
              <a:defRPr/>
            </a:pPr>
            <a:r>
              <a:rPr lang="en-US" altLang="zh-CN" sz="1600" kern="0" dirty="0">
                <a:solidFill>
                  <a:srgbClr val="505050"/>
                </a:solidFill>
                <a:latin typeface="Segoe UI"/>
                <a:ea typeface="Segoe UI" pitchFamily="34" charset="0"/>
                <a:cs typeface="Segoe UI" pitchFamily="34" charset="0"/>
              </a:rPr>
              <a:t>Increased employee contributions</a:t>
            </a:r>
            <a:endParaRPr kumimoji="0" lang="en-US" altLang="zh-CN" sz="16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endParaRPr>
          </a:p>
        </p:txBody>
      </p:sp>
      <p:sp>
        <p:nvSpPr>
          <p:cNvPr id="8" name="Rectangle 7"/>
          <p:cNvSpPr/>
          <p:nvPr>
            <p:custDataLst>
              <p:tags r:id="rId4"/>
            </p:custDataLst>
          </p:nvPr>
        </p:nvSpPr>
        <p:spPr bwMode="auto">
          <a:xfrm>
            <a:off x="3723420" y="2057400"/>
            <a:ext cx="3345037" cy="2428875"/>
          </a:xfrm>
          <a:prstGeom prst="rect">
            <a:avLst/>
          </a:prstGeom>
          <a:solidFill>
            <a:srgbClr val="FFFFFF">
              <a:lumMod val="95000"/>
            </a:srgbClr>
          </a:solidFill>
          <a:ln w="3175" cap="flat" cmpd="sng" algn="ctr">
            <a:noFill/>
            <a:prstDash val="solid"/>
            <a:round/>
            <a:headEnd type="none" w="med" len="med"/>
            <a:tailEnd type="none" w="med" len="med"/>
          </a:ln>
          <a:effectLst/>
        </p:spPr>
        <p:txBody>
          <a:bodyPr lIns="91440" tIns="45720" rIns="91440" bIns="45720" rtlCol="0" anchor="t" anchorCtr="0">
            <a:noAutofit/>
          </a:bodyPr>
          <a:lstStyle/>
          <a:p>
            <a:pPr marL="0" marR="0" lvl="1" indent="0" algn="l" defTabSz="1624019" rtl="0" eaLnBrk="1" fontAlgn="auto" latinLnBrk="0" hangingPunct="1">
              <a:lnSpc>
                <a:spcPct val="100000"/>
              </a:lnSpc>
              <a:spcBef>
                <a:spcPts val="600"/>
              </a:spcBef>
              <a:spcAft>
                <a:spcPts val="0"/>
              </a:spcAft>
              <a:buClr>
                <a:srgbClr val="595959">
                  <a:lumMod val="75000"/>
                </a:srgbClr>
              </a:buClr>
              <a:buSzTx/>
              <a:buFontTx/>
              <a:buNone/>
              <a:tabLst/>
              <a:defRPr/>
            </a:pPr>
            <a:r>
              <a:rPr kumimoji="0" lang="en-US" altLang="zh-CN" sz="1600" b="0" i="0" u="none" strike="noStrike" kern="0" cap="none" spc="0" normalizeH="0" baseline="0" noProof="0" dirty="0">
                <a:ln>
                  <a:noFill/>
                </a:ln>
                <a:solidFill>
                  <a:srgbClr val="0072C6"/>
                </a:solidFill>
                <a:effectLst/>
                <a:uLnTx/>
                <a:uFillTx/>
                <a:latin typeface="Segoe UI Semibold" panose="020B0702040204020203" pitchFamily="34" charset="0"/>
                <a:ea typeface="Segoe UI" pitchFamily="34" charset="0"/>
                <a:cs typeface="Segoe UI Semibold" panose="020B0702040204020203" pitchFamily="34" charset="0"/>
              </a:rPr>
              <a:t>Customers</a:t>
            </a:r>
            <a:endParaRPr kumimoji="0" lang="en-US" altLang="zh-CN" sz="1600" b="0" i="0" u="none" strike="noStrike" kern="0" cap="none" spc="0" normalizeH="0" baseline="0" noProof="0" dirty="0">
              <a:ln>
                <a:noFill/>
              </a:ln>
              <a:solidFill>
                <a:srgbClr val="0072C6"/>
              </a:solidFill>
              <a:effectLst/>
              <a:uLnTx/>
              <a:uFillTx/>
              <a:latin typeface="Segoe UI"/>
              <a:ea typeface="Segoe UI" pitchFamily="34" charset="0"/>
              <a:cs typeface="Segoe UI" pitchFamily="34" charset="0"/>
            </a:endParaRPr>
          </a:p>
          <a:p>
            <a:pPr marL="292100" marR="0" lvl="1" indent="-201613" algn="l" defTabSz="1624019" rtl="0" eaLnBrk="1" fontAlgn="auto" latinLnBrk="0" hangingPunct="1">
              <a:lnSpc>
                <a:spcPct val="100000"/>
              </a:lnSpc>
              <a:spcBef>
                <a:spcPts val="100"/>
              </a:spcBef>
              <a:spcAft>
                <a:spcPts val="200"/>
              </a:spcAft>
              <a:buClr>
                <a:srgbClr val="595959">
                  <a:lumMod val="75000"/>
                </a:srgbClr>
              </a:buClr>
              <a:buSzTx/>
              <a:buFont typeface="Arial" pitchFamily="34" charset="0"/>
              <a:buChar char="•"/>
              <a:tabLst/>
              <a:defRPr/>
            </a:pPr>
            <a:r>
              <a:rPr kumimoji="0" lang="en-IN" altLang="zh-CN" sz="16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Improved brand perception</a:t>
            </a:r>
          </a:p>
          <a:p>
            <a:pPr marL="292100" marR="0" lvl="1" indent="-201613" algn="l" defTabSz="1624019" rtl="0" eaLnBrk="1" fontAlgn="auto" latinLnBrk="0" hangingPunct="1">
              <a:lnSpc>
                <a:spcPct val="100000"/>
              </a:lnSpc>
              <a:spcBef>
                <a:spcPts val="100"/>
              </a:spcBef>
              <a:spcAft>
                <a:spcPts val="200"/>
              </a:spcAft>
              <a:buClr>
                <a:srgbClr val="595959">
                  <a:lumMod val="75000"/>
                </a:srgbClr>
              </a:buClr>
              <a:buSzTx/>
              <a:buFont typeface="Arial" pitchFamily="34" charset="0"/>
              <a:buChar char="•"/>
              <a:tabLst/>
              <a:defRPr/>
            </a:pPr>
            <a:r>
              <a:rPr kumimoji="0" lang="en-IN" altLang="zh-CN" sz="16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Improved market penetration</a:t>
            </a:r>
          </a:p>
          <a:p>
            <a:pPr marL="292100" marR="0" lvl="1" indent="-201613" algn="l" defTabSz="1624019" rtl="0" eaLnBrk="1" fontAlgn="auto" latinLnBrk="0" hangingPunct="1">
              <a:lnSpc>
                <a:spcPct val="100000"/>
              </a:lnSpc>
              <a:spcBef>
                <a:spcPts val="100"/>
              </a:spcBef>
              <a:spcAft>
                <a:spcPts val="200"/>
              </a:spcAft>
              <a:buClr>
                <a:srgbClr val="595959">
                  <a:lumMod val="75000"/>
                </a:srgbClr>
              </a:buClr>
              <a:buSzTx/>
              <a:buFont typeface="Arial" pitchFamily="34" charset="0"/>
              <a:buChar char="•"/>
              <a:tabLst/>
              <a:defRPr/>
            </a:pPr>
            <a:r>
              <a:rPr kumimoji="0" lang="en-IN" altLang="zh-CN" sz="16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Increase in new customers</a:t>
            </a:r>
          </a:p>
          <a:p>
            <a:pPr marL="292100" marR="0" lvl="1" indent="-201613" algn="l" defTabSz="1624019" rtl="0" eaLnBrk="1" fontAlgn="auto" latinLnBrk="0" hangingPunct="1">
              <a:lnSpc>
                <a:spcPct val="100000"/>
              </a:lnSpc>
              <a:spcBef>
                <a:spcPts val="100"/>
              </a:spcBef>
              <a:spcAft>
                <a:spcPts val="200"/>
              </a:spcAft>
              <a:buClr>
                <a:srgbClr val="595959">
                  <a:lumMod val="75000"/>
                </a:srgbClr>
              </a:buClr>
              <a:buSzTx/>
              <a:buFont typeface="Arial" pitchFamily="34" charset="0"/>
              <a:buChar char="•"/>
              <a:tabLst/>
              <a:defRPr/>
            </a:pPr>
            <a:r>
              <a:rPr kumimoji="0" lang="en-IN" altLang="zh-CN" sz="16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Retention of existing customers</a:t>
            </a:r>
          </a:p>
          <a:p>
            <a:pPr marL="292100" marR="0" lvl="1" indent="-201613" algn="l" defTabSz="1624019" rtl="0" eaLnBrk="1" fontAlgn="auto" latinLnBrk="0" hangingPunct="1">
              <a:lnSpc>
                <a:spcPct val="100000"/>
              </a:lnSpc>
              <a:spcBef>
                <a:spcPts val="100"/>
              </a:spcBef>
              <a:spcAft>
                <a:spcPts val="200"/>
              </a:spcAft>
              <a:buClr>
                <a:srgbClr val="595959">
                  <a:lumMod val="75000"/>
                </a:srgbClr>
              </a:buClr>
              <a:buSzTx/>
              <a:buFont typeface="Arial" pitchFamily="34" charset="0"/>
              <a:buChar char="•"/>
              <a:tabLst/>
              <a:defRPr/>
            </a:pPr>
            <a:r>
              <a:rPr kumimoji="0" lang="en-IN" altLang="zh-CN" sz="16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Increased customer satisfaction</a:t>
            </a:r>
          </a:p>
        </p:txBody>
      </p:sp>
      <p:sp>
        <p:nvSpPr>
          <p:cNvPr id="10" name="Rectangle 9"/>
          <p:cNvSpPr/>
          <p:nvPr>
            <p:custDataLst>
              <p:tags r:id="rId5"/>
            </p:custDataLst>
          </p:nvPr>
        </p:nvSpPr>
        <p:spPr bwMode="auto">
          <a:xfrm>
            <a:off x="7569201" y="2057400"/>
            <a:ext cx="4314904" cy="4420474"/>
          </a:xfrm>
          <a:prstGeom prst="rect">
            <a:avLst/>
          </a:prstGeom>
          <a:solidFill>
            <a:srgbClr val="FFFFFF">
              <a:lumMod val="95000"/>
            </a:srgbClr>
          </a:solidFill>
          <a:ln w="3175" cap="flat" cmpd="sng" algn="ctr">
            <a:noFill/>
            <a:prstDash val="solid"/>
            <a:round/>
            <a:headEnd type="none" w="med" len="med"/>
            <a:tailEnd type="none" w="med" len="med"/>
          </a:ln>
          <a:effectLst/>
        </p:spPr>
        <p:txBody>
          <a:bodyPr lIns="91440" tIns="45720" rIns="91440" bIns="45720" rtlCol="0" anchor="t" anchorCtr="0"/>
          <a:lstStyle/>
          <a:p>
            <a:pPr marL="201613" marR="0" lvl="1" indent="-201613" algn="l" defTabSz="1624019" rtl="0" eaLnBrk="1" fontAlgn="auto" latinLnBrk="0" hangingPunct="1">
              <a:lnSpc>
                <a:spcPct val="100000"/>
              </a:lnSpc>
              <a:spcBef>
                <a:spcPts val="100"/>
              </a:spcBef>
              <a:spcAft>
                <a:spcPts val="300"/>
              </a:spcAft>
              <a:buClr>
                <a:srgbClr val="595959">
                  <a:lumMod val="75000"/>
                </a:srgbClr>
              </a:buClr>
              <a:buSzTx/>
              <a:buFont typeface="Arial" pitchFamily="34" charset="0"/>
              <a:buChar char="•"/>
              <a:tabLst/>
              <a:defRPr/>
            </a:pPr>
            <a:r>
              <a:rPr kumimoji="0" lang="en-IN" altLang="zh-CN" sz="16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Increased customer loyalty</a:t>
            </a:r>
          </a:p>
          <a:p>
            <a:pPr marL="201613" marR="0" lvl="1" indent="-201613" algn="l" defTabSz="1624019" rtl="0" eaLnBrk="1" fontAlgn="auto" latinLnBrk="0" hangingPunct="1">
              <a:lnSpc>
                <a:spcPct val="100000"/>
              </a:lnSpc>
              <a:spcBef>
                <a:spcPts val="100"/>
              </a:spcBef>
              <a:spcAft>
                <a:spcPts val="300"/>
              </a:spcAft>
              <a:buClr>
                <a:srgbClr val="595959">
                  <a:lumMod val="75000"/>
                </a:srgbClr>
              </a:buClr>
              <a:buSzTx/>
              <a:buFont typeface="Arial" pitchFamily="34" charset="0"/>
              <a:buChar char="•"/>
              <a:tabLst/>
              <a:defRPr/>
            </a:pPr>
            <a:r>
              <a:rPr kumimoji="0" lang="en-IN" altLang="zh-CN" sz="16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Improved brand perception</a:t>
            </a:r>
          </a:p>
          <a:p>
            <a:pPr marL="201613" marR="0" lvl="1" indent="-201613" algn="l" defTabSz="1624019" rtl="0" eaLnBrk="1" fontAlgn="auto" latinLnBrk="0" hangingPunct="1">
              <a:lnSpc>
                <a:spcPct val="100000"/>
              </a:lnSpc>
              <a:spcBef>
                <a:spcPts val="100"/>
              </a:spcBef>
              <a:spcAft>
                <a:spcPts val="300"/>
              </a:spcAft>
              <a:buClr>
                <a:srgbClr val="595959">
                  <a:lumMod val="75000"/>
                </a:srgbClr>
              </a:buClr>
              <a:buSzTx/>
              <a:buFont typeface="Arial" pitchFamily="34" charset="0"/>
              <a:buChar char="•"/>
              <a:tabLst/>
              <a:defRPr/>
            </a:pPr>
            <a:r>
              <a:rPr kumimoji="0" lang="en-IN" altLang="zh-CN" sz="16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Increased productivity across functional teams, geographical boundaries, and supplier organizations </a:t>
            </a:r>
          </a:p>
          <a:p>
            <a:pPr marL="201613" marR="0" lvl="1" indent="-201613" algn="l" defTabSz="1624019" rtl="0" eaLnBrk="1" fontAlgn="auto" latinLnBrk="0" hangingPunct="1">
              <a:lnSpc>
                <a:spcPct val="100000"/>
              </a:lnSpc>
              <a:spcBef>
                <a:spcPts val="100"/>
              </a:spcBef>
              <a:spcAft>
                <a:spcPts val="300"/>
              </a:spcAft>
              <a:buClr>
                <a:srgbClr val="595959">
                  <a:lumMod val="75000"/>
                </a:srgbClr>
              </a:buClr>
              <a:buSzTx/>
              <a:buFont typeface="Arial" pitchFamily="34" charset="0"/>
              <a:buChar char="•"/>
              <a:tabLst/>
              <a:defRPr/>
            </a:pPr>
            <a:r>
              <a:rPr kumimoji="0" lang="en-IN" altLang="zh-CN" sz="1600" b="0" i="0" u="none" strike="noStrike" kern="0" cap="none" spc="0" normalizeH="0" baseline="0" noProof="0" dirty="0">
                <a:ln>
                  <a:noFill/>
                </a:ln>
                <a:solidFill>
                  <a:srgbClr val="505050"/>
                </a:solidFill>
                <a:effectLst/>
                <a:uLnTx/>
                <a:uFillTx/>
                <a:latin typeface="Segoe UI"/>
                <a:ea typeface="Segoe UI" pitchFamily="34" charset="0"/>
                <a:cs typeface="Segoe UI" pitchFamily="34" charset="0"/>
              </a:rPr>
              <a:t>Leaner product development organization</a:t>
            </a:r>
          </a:p>
        </p:txBody>
      </p:sp>
      <p:sp>
        <p:nvSpPr>
          <p:cNvPr id="11" name="Rectangle 10"/>
          <p:cNvSpPr/>
          <p:nvPr>
            <p:custDataLst>
              <p:tags r:id="rId6"/>
            </p:custDataLst>
          </p:nvPr>
        </p:nvSpPr>
        <p:spPr>
          <a:xfrm flipH="1">
            <a:off x="7569201" y="1600200"/>
            <a:ext cx="4314904" cy="400110"/>
          </a:xfrm>
          <a:prstGeom prst="rect">
            <a:avLst/>
          </a:prstGeom>
          <a:solidFill>
            <a:schemeClr val="accent1"/>
          </a:solidFill>
          <a:ln w="6350">
            <a:noFill/>
          </a:ln>
          <a:effectLst/>
        </p:spPr>
        <p:txBody>
          <a:bodyPr vert="horz" wrap="square" lIns="91440" tIns="45720" rIns="91440" bIns="45720" numCol="1" rtlCol="0" anchor="ctr" anchorCtr="0" compatLnSpc="1">
            <a:prstTxWarp prst="textNoShape">
              <a:avLst/>
            </a:prstTxWarp>
            <a:spAutoFit/>
          </a:bodyPr>
          <a:lstStyle/>
          <a:p>
            <a:pPr marL="0" marR="0" lvl="1" indent="0" algn="ctr" defTabSz="1624019" rtl="0" eaLnBrk="1" fontAlgn="base" latinLnBrk="0" hangingPunct="1">
              <a:lnSpc>
                <a:spcPct val="100000"/>
              </a:lnSpc>
              <a:spcBef>
                <a:spcPts val="0"/>
              </a:spcBef>
              <a:spcAft>
                <a:spcPts val="0"/>
              </a:spcAft>
              <a:buClr>
                <a:srgbClr val="FFFF99"/>
              </a:buClr>
              <a:buSzPct val="90000"/>
              <a:buFontTx/>
              <a:buNone/>
              <a:tabLst/>
              <a:defRPr/>
            </a:pPr>
            <a:r>
              <a:rPr kumimoji="0" lang="en-IN" altLang="zh-CN" sz="2000" b="0" i="0" u="none" strike="noStrike" kern="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rPr>
              <a:t>Business Outcomes/Results</a:t>
            </a:r>
          </a:p>
        </p:txBody>
      </p:sp>
      <p:grpSp>
        <p:nvGrpSpPr>
          <p:cNvPr id="12" name="Group 11"/>
          <p:cNvGrpSpPr/>
          <p:nvPr/>
        </p:nvGrpSpPr>
        <p:grpSpPr>
          <a:xfrm>
            <a:off x="7148469" y="2109820"/>
            <a:ext cx="321806" cy="4367180"/>
            <a:chOff x="7148469" y="2109820"/>
            <a:chExt cx="321806" cy="4367180"/>
          </a:xfrm>
        </p:grpSpPr>
        <p:sp>
          <p:nvSpPr>
            <p:cNvPr id="13" name="Right Bracket 12"/>
            <p:cNvSpPr/>
            <p:nvPr/>
          </p:nvSpPr>
          <p:spPr>
            <a:xfrm>
              <a:off x="7148469" y="2109820"/>
              <a:ext cx="164233" cy="4367180"/>
            </a:xfrm>
            <a:prstGeom prst="rightBracket">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088105" rtl="0" eaLnBrk="1" fontAlgn="auto" latinLnBrk="0" hangingPunct="1">
                <a:lnSpc>
                  <a:spcPct val="100000"/>
                </a:lnSpc>
                <a:spcBef>
                  <a:spcPts val="0"/>
                </a:spcBef>
                <a:spcAft>
                  <a:spcPts val="0"/>
                </a:spcAft>
                <a:buClrTx/>
                <a:buSzTx/>
                <a:buFontTx/>
                <a:buNone/>
                <a:tabLst/>
                <a:defRPr/>
              </a:pPr>
              <a:endParaRPr kumimoji="0" lang="en-IN" sz="2200" b="0" i="0" u="none" strike="noStrike" kern="1200" cap="none" spc="0" normalizeH="0" baseline="0" noProof="0">
                <a:ln>
                  <a:noFill/>
                </a:ln>
                <a:solidFill>
                  <a:srgbClr val="505050"/>
                </a:solidFill>
                <a:effectLst/>
                <a:uLnTx/>
                <a:uFillTx/>
                <a:latin typeface="Segoe UI"/>
                <a:ea typeface="+mn-ea"/>
                <a:cs typeface="+mn-cs"/>
              </a:endParaRPr>
            </a:p>
          </p:txBody>
        </p:sp>
        <p:grpSp>
          <p:nvGrpSpPr>
            <p:cNvPr id="14" name="Group 13"/>
            <p:cNvGrpSpPr/>
            <p:nvPr/>
          </p:nvGrpSpPr>
          <p:grpSpPr>
            <a:xfrm rot="16200000">
              <a:off x="7155128" y="4357278"/>
              <a:ext cx="315149" cy="315144"/>
              <a:chOff x="3676651" y="-638174"/>
              <a:chExt cx="247650" cy="247650"/>
            </a:xfrm>
            <a:effectLst/>
          </p:grpSpPr>
          <p:sp>
            <p:nvSpPr>
              <p:cNvPr id="15" name="Oval 14"/>
              <p:cNvSpPr/>
              <p:nvPr/>
            </p:nvSpPr>
            <p:spPr>
              <a:xfrm>
                <a:off x="3676651" y="-638174"/>
                <a:ext cx="247650" cy="247650"/>
              </a:xfrm>
              <a:prstGeom prst="ellipse">
                <a:avLst/>
              </a:prstGeom>
              <a:solidFill>
                <a:schemeClr val="bg1">
                  <a:lumMod val="75000"/>
                </a:schemeClr>
              </a:solidFill>
              <a:ln w="12700">
                <a:solidFill>
                  <a:schemeClr val="bg1"/>
                </a:solidFill>
              </a:ln>
              <a:effectLst/>
            </p:spPr>
            <p:txBody>
              <a:bodyPr vert="horz" wrap="square" lIns="0" tIns="45720" rIns="0" bIns="45720" rtlCol="0" anchor="ctr">
                <a:noAutofit/>
              </a:bodyPr>
              <a:lstStyle/>
              <a:p>
                <a:pPr marL="0" marR="0" lvl="0" indent="0" algn="ctr" defTabSz="1088105" rtl="0" eaLnBrk="1" fontAlgn="auto" latinLnBrk="0" hangingPunct="1">
                  <a:lnSpc>
                    <a:spcPct val="100000"/>
                  </a:lnSpc>
                  <a:spcBef>
                    <a:spcPts val="0"/>
                  </a:spcBef>
                  <a:spcAft>
                    <a:spcPts val="0"/>
                  </a:spcAft>
                  <a:buClrTx/>
                  <a:buSzTx/>
                  <a:buFont typeface="Arial" pitchFamily="34" charset="0"/>
                  <a:buNone/>
                  <a:tabLst/>
                  <a:defRPr/>
                </a:pPr>
                <a:endParaRPr kumimoji="0" lang="en-IN" sz="2400" b="0" i="0" u="none" strike="noStrike" kern="1200" cap="none" spc="0" normalizeH="0" baseline="0" noProof="0">
                  <a:ln>
                    <a:noFill/>
                  </a:ln>
                  <a:solidFill>
                    <a:prstClr val="white"/>
                  </a:solidFill>
                  <a:effectLst>
                    <a:outerShdw blurRad="38100" dist="25400" dir="2700000" algn="tl">
                      <a:srgbClr val="000000">
                        <a:alpha val="0"/>
                      </a:srgbClr>
                    </a:outerShdw>
                  </a:effectLst>
                  <a:uLnTx/>
                  <a:uFillTx/>
                  <a:latin typeface="Segoe UI Light"/>
                  <a:ea typeface="+mn-ea"/>
                  <a:cs typeface="+mn-cs"/>
                </a:endParaRPr>
              </a:p>
            </p:txBody>
          </p:sp>
          <p:grpSp>
            <p:nvGrpSpPr>
              <p:cNvPr id="16" name="Group 15"/>
              <p:cNvGrpSpPr/>
              <p:nvPr/>
            </p:nvGrpSpPr>
            <p:grpSpPr>
              <a:xfrm>
                <a:off x="3737720" y="-596214"/>
                <a:ext cx="125525" cy="163729"/>
                <a:chOff x="2624724" y="-933452"/>
                <a:chExt cx="289928" cy="378170"/>
              </a:xfrm>
              <a:solidFill>
                <a:schemeClr val="bg1"/>
              </a:solidFill>
            </p:grpSpPr>
            <p:sp>
              <p:nvSpPr>
                <p:cNvPr id="17" name="Rectangle 16"/>
                <p:cNvSpPr/>
                <p:nvPr/>
              </p:nvSpPr>
              <p:spPr>
                <a:xfrm>
                  <a:off x="2713628" y="-933452"/>
                  <a:ext cx="112098" cy="295273"/>
                </a:xfrm>
                <a:prstGeom prst="rect">
                  <a:avLst/>
                </a:prstGeom>
                <a:grpFill/>
                <a:ln>
                  <a:solidFill>
                    <a:schemeClr val="bg1"/>
                  </a:solidFill>
                </a:ln>
              </p:spPr>
              <p:txBody>
                <a:bodyPr vert="horz" wrap="square" lIns="0" tIns="45720" rIns="0" bIns="45720" rtlCol="0" anchor="ctr">
                  <a:noAutofit/>
                </a:bodyPr>
                <a:lstStyle/>
                <a:p>
                  <a:pPr marL="0" marR="0" lvl="0" indent="0" algn="ctr" defTabSz="1088105" rtl="0" eaLnBrk="1" fontAlgn="auto" latinLnBrk="0" hangingPunct="1">
                    <a:lnSpc>
                      <a:spcPct val="100000"/>
                    </a:lnSpc>
                    <a:spcBef>
                      <a:spcPts val="0"/>
                    </a:spcBef>
                    <a:spcAft>
                      <a:spcPts val="0"/>
                    </a:spcAft>
                    <a:buClrTx/>
                    <a:buSzTx/>
                    <a:buFont typeface="Arial" pitchFamily="34" charset="0"/>
                    <a:buNone/>
                    <a:tabLst/>
                    <a:defRPr/>
                  </a:pPr>
                  <a:endParaRPr kumimoji="0" lang="en-IN" sz="2400" b="0" i="0" u="none" strike="noStrike" kern="1200" cap="none" spc="0" normalizeH="0" baseline="0" noProof="0">
                    <a:ln>
                      <a:noFill/>
                    </a:ln>
                    <a:solidFill>
                      <a:prstClr val="white"/>
                    </a:solidFill>
                    <a:effectLst>
                      <a:outerShdw blurRad="38100" dist="25400" dir="2700000" algn="tl">
                        <a:srgbClr val="000000">
                          <a:alpha val="0"/>
                        </a:srgbClr>
                      </a:outerShdw>
                    </a:effectLst>
                    <a:uLnTx/>
                    <a:uFillTx/>
                    <a:latin typeface="Segoe UI Light"/>
                    <a:ea typeface="+mn-ea"/>
                    <a:cs typeface="+mn-cs"/>
                  </a:endParaRPr>
                </a:p>
              </p:txBody>
            </p:sp>
            <p:sp>
              <p:nvSpPr>
                <p:cNvPr id="18" name="Chevron 17"/>
                <p:cNvSpPr/>
                <p:nvPr/>
              </p:nvSpPr>
              <p:spPr>
                <a:xfrm rot="5400000">
                  <a:off x="2642809" y="-827125"/>
                  <a:ext cx="253758" cy="289928"/>
                </a:xfrm>
                <a:prstGeom prst="chevron">
                  <a:avLst>
                    <a:gd name="adj" fmla="val 59856"/>
                  </a:avLst>
                </a:prstGeom>
                <a:grpFill/>
                <a:ln>
                  <a:solidFill>
                    <a:schemeClr val="bg1"/>
                  </a:solidFill>
                </a:ln>
              </p:spPr>
              <p:txBody>
                <a:bodyPr vert="horz" wrap="square" lIns="0" tIns="45720" rIns="0" bIns="45720" rtlCol="0" anchor="ctr">
                  <a:noAutofit/>
                </a:bodyPr>
                <a:lstStyle/>
                <a:p>
                  <a:pPr marL="0" marR="0" lvl="0" indent="0" algn="ctr" defTabSz="1088105" rtl="0" eaLnBrk="1" fontAlgn="auto" latinLnBrk="0" hangingPunct="1">
                    <a:lnSpc>
                      <a:spcPct val="100000"/>
                    </a:lnSpc>
                    <a:spcBef>
                      <a:spcPts val="0"/>
                    </a:spcBef>
                    <a:spcAft>
                      <a:spcPts val="0"/>
                    </a:spcAft>
                    <a:buClrTx/>
                    <a:buSzTx/>
                    <a:buFont typeface="Arial" pitchFamily="34" charset="0"/>
                    <a:buNone/>
                    <a:tabLst/>
                    <a:defRPr/>
                  </a:pPr>
                  <a:endParaRPr kumimoji="0" lang="en-IN" sz="2400" b="0" i="0" u="none" strike="noStrike" kern="1200" cap="none" spc="0" normalizeH="0" baseline="0" noProof="0">
                    <a:ln>
                      <a:noFill/>
                    </a:ln>
                    <a:solidFill>
                      <a:prstClr val="white"/>
                    </a:solidFill>
                    <a:effectLst>
                      <a:outerShdw blurRad="38100" dist="25400" dir="2700000" algn="tl">
                        <a:srgbClr val="000000">
                          <a:alpha val="0"/>
                        </a:srgbClr>
                      </a:outerShdw>
                    </a:effectLst>
                    <a:uLnTx/>
                    <a:uFillTx/>
                    <a:latin typeface="Segoe UI Light"/>
                    <a:ea typeface="+mn-ea"/>
                    <a:cs typeface="+mn-cs"/>
                  </a:endParaRPr>
                </a:p>
              </p:txBody>
            </p:sp>
          </p:grpSp>
        </p:grpSp>
      </p:grpSp>
      <p:sp>
        <p:nvSpPr>
          <p:cNvPr id="20" name="Text Placeholder 6"/>
          <p:cNvSpPr>
            <a:spLocks noGrp="1"/>
          </p:cNvSpPr>
          <p:nvPr>
            <p:ph type="body" sz="quarter" idx="13"/>
          </p:nvPr>
        </p:nvSpPr>
        <p:spPr>
          <a:xfrm>
            <a:off x="0" y="1044590"/>
            <a:ext cx="12188825" cy="373063"/>
          </a:xfrm>
        </p:spPr>
        <p:txBody>
          <a:bodyPr/>
          <a:lstStyle/>
          <a:p>
            <a:r>
              <a:rPr lang="en-US" sz="2000"/>
              <a:t>Continuously managing &amp; measuring clear value levers, success factors, and performance measure</a:t>
            </a:r>
          </a:p>
        </p:txBody>
      </p:sp>
      <p:sp>
        <p:nvSpPr>
          <p:cNvPr id="21" name="Text Placeholder 6"/>
          <p:cNvSpPr txBox="1">
            <a:spLocks/>
          </p:cNvSpPr>
          <p:nvPr/>
        </p:nvSpPr>
        <p:spPr>
          <a:xfrm>
            <a:off x="7351012" y="142996"/>
            <a:ext cx="4533093" cy="503048"/>
          </a:xfrm>
          <a:prstGeom prst="rect">
            <a:avLst/>
          </a:prstGeom>
        </p:spPr>
        <p:txBody>
          <a:bodyPr vert="horz" lIns="320040" tIns="53325" rIns="53325" bIns="53325" rtlCol="0">
            <a:noAutofit/>
          </a:bodyPr>
          <a:lstStyle>
            <a:lvl1pPr marL="0" indent="0" algn="l" defTabSz="1088105" rtl="0" eaLnBrk="1" latinLnBrk="0" hangingPunct="1">
              <a:spcBef>
                <a:spcPts val="1800"/>
              </a:spcBef>
              <a:buClr>
                <a:srgbClr val="0072C6"/>
              </a:buClr>
              <a:buSzPct val="100000"/>
              <a:buFont typeface="Wingdings" pitchFamily="2" charset="2"/>
              <a:buNone/>
              <a:defRPr sz="2800" kern="1200">
                <a:solidFill>
                  <a:schemeClr val="tx1"/>
                </a:solidFill>
                <a:latin typeface="Segoe UI Light" pitchFamily="34" charset="0"/>
                <a:ea typeface="Segoe UI" pitchFamily="34" charset="0"/>
                <a:cs typeface="Segoe UI" pitchFamily="34" charset="0"/>
              </a:defRPr>
            </a:lvl1pPr>
            <a:lvl2pPr marL="281674" indent="0" algn="l" defTabSz="1088105" rtl="0" eaLnBrk="1" latinLnBrk="0" hangingPunct="1">
              <a:spcBef>
                <a:spcPct val="20000"/>
              </a:spcBef>
              <a:buFont typeface="Arial" pitchFamily="34" charset="0"/>
              <a:buNone/>
              <a:defRPr sz="1800" kern="1200">
                <a:solidFill>
                  <a:schemeClr val="tx1"/>
                </a:solidFill>
                <a:latin typeface="Segoe UI" pitchFamily="34" charset="0"/>
                <a:ea typeface="Segoe UI" pitchFamily="34" charset="0"/>
                <a:cs typeface="Segoe UI" pitchFamily="34" charset="0"/>
              </a:defRPr>
            </a:lvl2pPr>
            <a:lvl3pPr marL="588476" indent="0" algn="l" defTabSz="1088105" rtl="0" eaLnBrk="1" latinLnBrk="0" hangingPunct="1">
              <a:spcBef>
                <a:spcPct val="20000"/>
              </a:spcBef>
              <a:buFont typeface="Arial" pitchFamily="34" charset="0"/>
              <a:buNone/>
              <a:defRPr sz="1600" kern="1200">
                <a:solidFill>
                  <a:schemeClr val="tx1"/>
                </a:solidFill>
                <a:latin typeface="Segoe UI" pitchFamily="34" charset="0"/>
                <a:ea typeface="Segoe UI" pitchFamily="34" charset="0"/>
                <a:cs typeface="Segoe UI" pitchFamily="34" charset="0"/>
              </a:defRPr>
            </a:lvl3pPr>
            <a:lvl4pPr marL="87015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4pPr>
            <a:lvl5pPr marL="110554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marL="0" marR="0" lvl="0" indent="0" algn="l" defTabSz="1088105" rtl="0" eaLnBrk="1" fontAlgn="auto" latinLnBrk="0" hangingPunct="1">
              <a:lnSpc>
                <a:spcPct val="100000"/>
              </a:lnSpc>
              <a:spcBef>
                <a:spcPts val="1800"/>
              </a:spcBef>
              <a:spcAft>
                <a:spcPts val="0"/>
              </a:spcAft>
              <a:buClr>
                <a:srgbClr val="0072C6"/>
              </a:buClr>
              <a:buSzPct val="100000"/>
              <a:buFont typeface="Wingdings" pitchFamily="2" charset="2"/>
              <a:buNone/>
              <a:tabLst/>
              <a:defRPr/>
            </a:pPr>
            <a:r>
              <a:rPr kumimoji="0" lang="en-US" sz="2800" b="0" i="0" u="none" strike="noStrike" kern="1200" cap="none" spc="0" normalizeH="0" baseline="0" noProof="0">
                <a:ln>
                  <a:noFill/>
                </a:ln>
                <a:solidFill>
                  <a:srgbClr val="505050"/>
                </a:solidFill>
                <a:effectLst/>
                <a:uLnTx/>
                <a:uFillTx/>
                <a:latin typeface="Segoe UI Light" pitchFamily="34" charset="0"/>
                <a:cs typeface="Segoe UI" pitchFamily="34" charset="0"/>
              </a:rPr>
              <a:t>Value Realization Scorecard</a:t>
            </a:r>
          </a:p>
        </p:txBody>
      </p:sp>
    </p:spTree>
    <p:extLst>
      <p:ext uri="{BB962C8B-B14F-4D97-AF65-F5344CB8AC3E}">
        <p14:creationId xmlns:p14="http://schemas.microsoft.com/office/powerpoint/2010/main" val="18499179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4867"/>
            <a:ext cx="12188825" cy="645874"/>
          </a:xfrm>
        </p:spPr>
        <p:txBody>
          <a:bodyPr/>
          <a:lstStyle/>
          <a:p>
            <a:r>
              <a:rPr lang="en-IN" dirty="0"/>
              <a:t>Open Innovation</a:t>
            </a:r>
            <a:endParaRPr lang="en-US" dirty="0"/>
          </a:p>
        </p:txBody>
      </p:sp>
      <p:sp>
        <p:nvSpPr>
          <p:cNvPr id="4" name="Pentagon 44"/>
          <p:cNvSpPr/>
          <p:nvPr>
            <p:custDataLst>
              <p:tags r:id="rId1"/>
            </p:custDataLst>
          </p:nvPr>
        </p:nvSpPr>
        <p:spPr>
          <a:xfrm>
            <a:off x="2930843" y="3185286"/>
            <a:ext cx="5057111" cy="1296531"/>
          </a:xfrm>
          <a:prstGeom prst="homePlate">
            <a:avLst>
              <a:gd name="adj" fmla="val 25548"/>
            </a:avLst>
          </a:prstGeom>
          <a:solidFill>
            <a:schemeClr val="tx2"/>
          </a:solidFill>
          <a:ln w="25400" cap="flat" cmpd="sng" algn="ctr">
            <a:noFill/>
            <a:prstDash val="solid"/>
          </a:ln>
          <a:effectLst/>
        </p:spPr>
        <p:txBody>
          <a:bodyPr rtlCol="0" anchor="t">
            <a:noAutofit/>
          </a:bodyPr>
          <a:lstStyle/>
          <a:p>
            <a:pPr marL="0" lvl="1" defTabSz="685405">
              <a:spcAft>
                <a:spcPts val="100"/>
              </a:spcAft>
              <a:buClr>
                <a:srgbClr val="595959">
                  <a:lumMod val="75000"/>
                </a:srgbClr>
              </a:buClr>
              <a:defRPr/>
            </a:pPr>
            <a:r>
              <a:rPr lang="en-US" sz="1200" dirty="0">
                <a:solidFill>
                  <a:prstClr val="white"/>
                </a:solidFill>
                <a:latin typeface="Segoe UI Semibold" panose="020B0702040204020203" pitchFamily="34" charset="0"/>
                <a:ea typeface="Segoe UI" pitchFamily="34" charset="0"/>
                <a:cs typeface="Segoe UI Semibold" panose="020B0702040204020203" pitchFamily="34" charset="0"/>
              </a:rPr>
              <a:t>Phase 2: </a:t>
            </a:r>
            <a:r>
              <a:rPr lang="en-IN" sz="1200" dirty="0">
                <a:solidFill>
                  <a:prstClr val="white"/>
                </a:solidFill>
                <a:latin typeface="Segoe UI Semibold" panose="020B0702040204020203" pitchFamily="34" charset="0"/>
                <a:ea typeface="Segoe UI" pitchFamily="34" charset="0"/>
                <a:cs typeface="Segoe UI Semibold" panose="020B0702040204020203" pitchFamily="34" charset="0"/>
              </a:rPr>
              <a:t>Use of additive manufacturing and analytics</a:t>
            </a:r>
          </a:p>
          <a:p>
            <a:pPr marL="228531" lvl="1" indent="-165050" defTabSz="685405">
              <a:spcBef>
                <a:spcPts val="200"/>
              </a:spcBef>
              <a:spcAft>
                <a:spcPts val="200"/>
              </a:spcAft>
              <a:buFont typeface="Arial" pitchFamily="34" charset="0"/>
              <a:buChar char="•"/>
              <a:defRPr/>
            </a:pPr>
            <a:r>
              <a:rPr lang="en-IN" sz="1100" i="1" dirty="0">
                <a:solidFill>
                  <a:prstClr val="white"/>
                </a:solidFill>
                <a:latin typeface="Segoe UI"/>
                <a:ea typeface="Segoe UI" pitchFamily="34" charset="0"/>
                <a:cs typeface="Segoe UI" pitchFamily="34" charset="0"/>
              </a:rPr>
              <a:t>Use mixed reality to accelerate innovation and optimize use of additive manufacturing.</a:t>
            </a:r>
          </a:p>
          <a:p>
            <a:pPr marL="228531" lvl="1" indent="-165050" defTabSz="685405">
              <a:spcBef>
                <a:spcPts val="200"/>
              </a:spcBef>
              <a:spcAft>
                <a:spcPts val="200"/>
              </a:spcAft>
              <a:buFont typeface="Arial" pitchFamily="34" charset="0"/>
              <a:buChar char="•"/>
              <a:defRPr/>
            </a:pPr>
            <a:r>
              <a:rPr lang="en-US" sz="1100" i="1" dirty="0">
                <a:solidFill>
                  <a:prstClr val="white"/>
                </a:solidFill>
                <a:ea typeface="Segoe UI" pitchFamily="34" charset="0"/>
                <a:cs typeface="Segoe UI" pitchFamily="34" charset="0"/>
              </a:rPr>
              <a:t>Gain insights from customer sentiment, product use, and performance telemetry</a:t>
            </a:r>
          </a:p>
          <a:p>
            <a:pPr marL="228531" lvl="1" indent="-165050" defTabSz="685405">
              <a:spcBef>
                <a:spcPts val="200"/>
              </a:spcBef>
              <a:spcAft>
                <a:spcPts val="200"/>
              </a:spcAft>
              <a:buFont typeface="Arial" pitchFamily="34" charset="0"/>
              <a:buChar char="•"/>
              <a:defRPr/>
            </a:pPr>
            <a:r>
              <a:rPr lang="en-US" sz="1100" i="1" dirty="0">
                <a:solidFill>
                  <a:prstClr val="white"/>
                </a:solidFill>
                <a:ea typeface="Segoe UI" pitchFamily="34" charset="0"/>
                <a:cs typeface="Segoe UI" pitchFamily="34" charset="0"/>
              </a:rPr>
              <a:t>Prioritize development activities and drive roadmap decisions</a:t>
            </a:r>
            <a:endParaRPr lang="en-IN" sz="1100" i="1" dirty="0">
              <a:solidFill>
                <a:prstClr val="white"/>
              </a:solidFill>
              <a:latin typeface="Segoe UI"/>
              <a:ea typeface="Segoe UI" pitchFamily="34" charset="0"/>
              <a:cs typeface="Segoe UI" pitchFamily="34" charset="0"/>
            </a:endParaRPr>
          </a:p>
        </p:txBody>
      </p:sp>
      <p:sp>
        <p:nvSpPr>
          <p:cNvPr id="5" name="Pentagon 46"/>
          <p:cNvSpPr/>
          <p:nvPr>
            <p:custDataLst>
              <p:tags r:id="rId2"/>
            </p:custDataLst>
          </p:nvPr>
        </p:nvSpPr>
        <p:spPr>
          <a:xfrm>
            <a:off x="2245203" y="4641893"/>
            <a:ext cx="5030661" cy="1383683"/>
          </a:xfrm>
          <a:prstGeom prst="homePlate">
            <a:avLst>
              <a:gd name="adj" fmla="val 29837"/>
            </a:avLst>
          </a:prstGeom>
          <a:solidFill>
            <a:schemeClr val="tx2"/>
          </a:solidFill>
          <a:ln w="25400" cap="flat" cmpd="sng" algn="ctr">
            <a:noFill/>
            <a:prstDash val="solid"/>
          </a:ln>
          <a:effectLst/>
        </p:spPr>
        <p:txBody>
          <a:bodyPr rtlCol="0" anchor="t"/>
          <a:lstStyle/>
          <a:p>
            <a:pPr marL="0" lvl="1" defTabSz="685405">
              <a:spcAft>
                <a:spcPts val="100"/>
              </a:spcAft>
              <a:buClr>
                <a:srgbClr val="595959">
                  <a:lumMod val="75000"/>
                </a:srgbClr>
              </a:buClr>
              <a:defRPr/>
            </a:pPr>
            <a:r>
              <a:rPr lang="en-US" sz="1200" dirty="0">
                <a:solidFill>
                  <a:prstClr val="white"/>
                </a:solidFill>
                <a:latin typeface="Segoe UI Semibold" panose="020B0702040204020203" pitchFamily="34" charset="0"/>
                <a:ea typeface="Segoe UI" pitchFamily="34" charset="0"/>
                <a:cs typeface="Segoe UI Semibold" panose="020B0702040204020203" pitchFamily="34" charset="0"/>
              </a:rPr>
              <a:t>Phase 1: </a:t>
            </a:r>
            <a:r>
              <a:rPr lang="en-IN" sz="1200" dirty="0">
                <a:solidFill>
                  <a:prstClr val="white"/>
                </a:solidFill>
                <a:latin typeface="Segoe UI Semibold" panose="020B0702040204020203" pitchFamily="34" charset="0"/>
                <a:ea typeface="Segoe UI" pitchFamily="34" charset="0"/>
                <a:cs typeface="Segoe UI Semibold" panose="020B0702040204020203" pitchFamily="34" charset="0"/>
              </a:rPr>
              <a:t>Connected people, teams, and products</a:t>
            </a:r>
          </a:p>
          <a:p>
            <a:pPr marL="171399" lvl="1" indent="-115853" defTabSz="685405">
              <a:spcBef>
                <a:spcPts val="200"/>
              </a:spcBef>
              <a:spcAft>
                <a:spcPts val="200"/>
              </a:spcAft>
              <a:buClr>
                <a:prstClr val="white"/>
              </a:buClr>
              <a:buFont typeface="Arial" pitchFamily="34" charset="0"/>
              <a:buChar char="•"/>
              <a:defRPr/>
            </a:pPr>
            <a:r>
              <a:rPr lang="en-IN" sz="1100" i="1" dirty="0">
                <a:solidFill>
                  <a:prstClr val="white"/>
                </a:solidFill>
                <a:latin typeface="Segoe UI"/>
                <a:ea typeface="Segoe UI" pitchFamily="34" charset="0"/>
                <a:cs typeface="Segoe UI" pitchFamily="34" charset="0"/>
              </a:rPr>
              <a:t>Enable seamless idea sharing and collaborative development between individuals and teams, regardless of location</a:t>
            </a:r>
          </a:p>
          <a:p>
            <a:pPr marL="171399" lvl="1" indent="-115853" defTabSz="685405">
              <a:spcBef>
                <a:spcPts val="200"/>
              </a:spcBef>
              <a:spcAft>
                <a:spcPts val="200"/>
              </a:spcAft>
              <a:buClr>
                <a:prstClr val="white"/>
              </a:buClr>
              <a:buFont typeface="Arial" pitchFamily="34" charset="0"/>
              <a:buChar char="•"/>
              <a:defRPr/>
            </a:pPr>
            <a:r>
              <a:rPr lang="en-IN" sz="1100" i="1" dirty="0">
                <a:solidFill>
                  <a:prstClr val="white"/>
                </a:solidFill>
                <a:latin typeface="Segoe UI"/>
                <a:ea typeface="Segoe UI" pitchFamily="34" charset="0"/>
                <a:cs typeface="Segoe UI" pitchFamily="34" charset="0"/>
              </a:rPr>
              <a:t>Enable productivity across functional teams, geographical boundaries, and supplier organizations </a:t>
            </a:r>
          </a:p>
        </p:txBody>
      </p:sp>
      <p:sp>
        <p:nvSpPr>
          <p:cNvPr id="6" name="Right Arrow 5"/>
          <p:cNvSpPr/>
          <p:nvPr/>
        </p:nvSpPr>
        <p:spPr>
          <a:xfrm>
            <a:off x="305272" y="5998381"/>
            <a:ext cx="11161205" cy="489174"/>
          </a:xfrm>
          <a:prstGeom prst="rightArrow">
            <a:avLst/>
          </a:prstGeom>
          <a:solidFill>
            <a:schemeClr val="bg1">
              <a:lumMod val="75000"/>
            </a:schemeClr>
          </a:solidFill>
          <a:ln w="9525" cap="flat" cmpd="sng" algn="ctr">
            <a:noFill/>
            <a:prstDash val="solid"/>
          </a:ln>
          <a:effectLst/>
        </p:spPr>
        <p:txBody>
          <a:bodyPr rot="0" spcFirstLastPara="0" vertOverflow="overflow" horzOverflow="overflow" vert="horz" wrap="square" lIns="91416" tIns="45696" rIns="91416" bIns="45696" numCol="1" spcCol="0" rtlCol="0" fromWordArt="0" anchor="ctr" anchorCtr="0" forceAA="0" compatLnSpc="1">
            <a:prstTxWarp prst="textNoShape">
              <a:avLst/>
            </a:prstTxWarp>
            <a:noAutofit/>
          </a:bodyPr>
          <a:lstStyle/>
          <a:p>
            <a:pPr algn="ctr" defTabSz="609113">
              <a:defRPr/>
            </a:pPr>
            <a:r>
              <a:rPr lang="en-US" sz="1400" kern="0">
                <a:solidFill>
                  <a:srgbClr val="505050"/>
                </a:solidFill>
                <a:latin typeface="Segoe UI Semibold" panose="020B0702040204020203" pitchFamily="34" charset="0"/>
                <a:cs typeface="Segoe UI Semibold" panose="020B0702040204020203" pitchFamily="34" charset="0"/>
              </a:rPr>
              <a:t>Time</a:t>
            </a:r>
          </a:p>
        </p:txBody>
      </p:sp>
      <p:sp>
        <p:nvSpPr>
          <p:cNvPr id="7" name="Right Arrow 6"/>
          <p:cNvSpPr/>
          <p:nvPr/>
        </p:nvSpPr>
        <p:spPr>
          <a:xfrm rot="5400000" flipH="1">
            <a:off x="9121044" y="3450585"/>
            <a:ext cx="5108127" cy="494149"/>
          </a:xfrm>
          <a:prstGeom prst="rightArrow">
            <a:avLst/>
          </a:prstGeom>
          <a:solidFill>
            <a:schemeClr val="bg1">
              <a:lumMod val="75000"/>
            </a:schemeClr>
          </a:solidFill>
          <a:ln w="9525" cap="flat" cmpd="sng" algn="ctr">
            <a:noFill/>
            <a:prstDash val="solid"/>
          </a:ln>
          <a:effectLst/>
        </p:spPr>
        <p:txBody>
          <a:bodyPr rot="0" spcFirstLastPara="0" vertOverflow="overflow" horzOverflow="overflow" vert="horz" wrap="square" lIns="91416" tIns="45696" rIns="91416" bIns="45696" numCol="1" spcCol="0" rtlCol="0" fromWordArt="0" anchor="ctr" anchorCtr="0" forceAA="0" compatLnSpc="1">
            <a:prstTxWarp prst="textNoShape">
              <a:avLst/>
            </a:prstTxWarp>
            <a:noAutofit/>
          </a:bodyPr>
          <a:lstStyle/>
          <a:p>
            <a:pPr algn="ctr" defTabSz="609113">
              <a:defRPr/>
            </a:pPr>
            <a:r>
              <a:rPr lang="en-US" sz="1400" kern="0">
                <a:solidFill>
                  <a:srgbClr val="505050"/>
                </a:solidFill>
                <a:latin typeface="Segoe UI Semibold" panose="020B0702040204020203" pitchFamily="34" charset="0"/>
                <a:cs typeface="Segoe UI Semibold" panose="020B0702040204020203" pitchFamily="34" charset="0"/>
              </a:rPr>
              <a:t>Value</a:t>
            </a:r>
          </a:p>
        </p:txBody>
      </p:sp>
      <p:sp>
        <p:nvSpPr>
          <p:cNvPr id="8" name="Pentagon 42"/>
          <p:cNvSpPr/>
          <p:nvPr>
            <p:custDataLst>
              <p:tags r:id="rId3"/>
            </p:custDataLst>
          </p:nvPr>
        </p:nvSpPr>
        <p:spPr>
          <a:xfrm>
            <a:off x="3559457" y="1746940"/>
            <a:ext cx="5057111" cy="1278270"/>
          </a:xfrm>
          <a:prstGeom prst="homePlate">
            <a:avLst>
              <a:gd name="adj" fmla="val 26190"/>
            </a:avLst>
          </a:prstGeom>
          <a:solidFill>
            <a:schemeClr val="tx2"/>
          </a:solidFill>
          <a:ln w="25400" cap="flat" cmpd="sng" algn="ctr">
            <a:noFill/>
            <a:prstDash val="solid"/>
          </a:ln>
          <a:effectLst/>
        </p:spPr>
        <p:txBody>
          <a:bodyPr rtlCol="0" anchor="t">
            <a:noAutofit/>
          </a:bodyPr>
          <a:lstStyle/>
          <a:p>
            <a:pPr marL="0" lvl="1" defTabSz="685405">
              <a:spcAft>
                <a:spcPts val="100"/>
              </a:spcAft>
              <a:buClr>
                <a:srgbClr val="595959">
                  <a:lumMod val="75000"/>
                </a:srgbClr>
              </a:buClr>
              <a:defRPr/>
            </a:pPr>
            <a:r>
              <a:rPr lang="en-US" sz="1200" dirty="0">
                <a:solidFill>
                  <a:prstClr val="white"/>
                </a:solidFill>
                <a:latin typeface="Segoe UI Semibold" panose="020B0702040204020203" pitchFamily="34" charset="0"/>
                <a:ea typeface="Segoe UI" pitchFamily="34" charset="0"/>
                <a:cs typeface="Segoe UI Semibold" panose="020B0702040204020203" pitchFamily="34" charset="0"/>
              </a:rPr>
              <a:t>Phase 3: </a:t>
            </a:r>
            <a:r>
              <a:rPr lang="en-IN" sz="1200" dirty="0">
                <a:solidFill>
                  <a:prstClr val="white"/>
                </a:solidFill>
                <a:latin typeface="Segoe UI Semibold" panose="020B0702040204020203" pitchFamily="34" charset="0"/>
                <a:ea typeface="Segoe UI" pitchFamily="34" charset="0"/>
                <a:cs typeface="Segoe UI Semibold" panose="020B0702040204020203" pitchFamily="34" charset="0"/>
              </a:rPr>
              <a:t>Mobile, agile, productive engineering</a:t>
            </a:r>
          </a:p>
          <a:p>
            <a:pPr marL="228531" lvl="1" indent="-165050" defTabSz="685405">
              <a:spcBef>
                <a:spcPts val="200"/>
              </a:spcBef>
              <a:spcAft>
                <a:spcPts val="200"/>
              </a:spcAft>
              <a:buFont typeface="Arial" pitchFamily="34" charset="0"/>
              <a:buChar char="•"/>
              <a:defRPr/>
            </a:pPr>
            <a:r>
              <a:rPr lang="en-IN" sz="1100" i="1" dirty="0">
                <a:solidFill>
                  <a:prstClr val="white"/>
                </a:solidFill>
                <a:latin typeface="Segoe UI"/>
                <a:ea typeface="Segoe UI" pitchFamily="34" charset="0"/>
                <a:cs typeface="Segoe UI" pitchFamily="34" charset="0"/>
              </a:rPr>
              <a:t>Use data from in-market products, social networks, and analytics to uncover new opportunities and roadmap commitments</a:t>
            </a:r>
          </a:p>
          <a:p>
            <a:pPr marL="228531" lvl="1" indent="-165050" defTabSz="685405">
              <a:spcBef>
                <a:spcPts val="200"/>
              </a:spcBef>
              <a:spcAft>
                <a:spcPts val="200"/>
              </a:spcAft>
              <a:buFont typeface="Arial" pitchFamily="34" charset="0"/>
              <a:buChar char="•"/>
              <a:defRPr/>
            </a:pPr>
            <a:r>
              <a:rPr lang="en-IN" sz="1100" i="1" dirty="0">
                <a:solidFill>
                  <a:prstClr val="white"/>
                </a:solidFill>
                <a:latin typeface="Segoe UI"/>
                <a:ea typeface="Segoe UI" pitchFamily="34" charset="0"/>
                <a:cs typeface="Segoe UI" pitchFamily="34" charset="0"/>
              </a:rPr>
              <a:t>Enable a leaner product development organization</a:t>
            </a:r>
          </a:p>
          <a:p>
            <a:pPr marL="228531" lvl="1" indent="-165050" defTabSz="685405">
              <a:spcBef>
                <a:spcPts val="200"/>
              </a:spcBef>
              <a:spcAft>
                <a:spcPts val="200"/>
              </a:spcAft>
              <a:buFont typeface="Arial" pitchFamily="34" charset="0"/>
              <a:buChar char="•"/>
              <a:defRPr/>
            </a:pPr>
            <a:r>
              <a:rPr lang="en-IN" sz="1100" i="1" dirty="0">
                <a:solidFill>
                  <a:prstClr val="white"/>
                </a:solidFill>
                <a:latin typeface="Segoe UI"/>
                <a:ea typeface="Segoe UI" pitchFamily="34" charset="0"/>
                <a:cs typeface="Segoe UI" pitchFamily="34" charset="0"/>
              </a:rPr>
              <a:t>Address customer needs and wants into current and</a:t>
            </a:r>
            <a:br>
              <a:rPr lang="en-IN" sz="1100" i="1" dirty="0">
                <a:solidFill>
                  <a:prstClr val="white"/>
                </a:solidFill>
                <a:latin typeface="Segoe UI"/>
                <a:ea typeface="Segoe UI" pitchFamily="34" charset="0"/>
                <a:cs typeface="Segoe UI" pitchFamily="34" charset="0"/>
              </a:rPr>
            </a:br>
            <a:r>
              <a:rPr lang="en-IN" sz="1100" i="1" dirty="0">
                <a:solidFill>
                  <a:prstClr val="white"/>
                </a:solidFill>
                <a:latin typeface="Segoe UI"/>
                <a:ea typeface="Segoe UI" pitchFamily="34" charset="0"/>
                <a:cs typeface="Segoe UI" pitchFamily="34" charset="0"/>
              </a:rPr>
              <a:t>future designs</a:t>
            </a:r>
          </a:p>
        </p:txBody>
      </p:sp>
      <p:sp>
        <p:nvSpPr>
          <p:cNvPr id="9" name="Rectangle 45"/>
          <p:cNvSpPr/>
          <p:nvPr>
            <p:custDataLst>
              <p:tags r:id="rId4"/>
            </p:custDataLst>
          </p:nvPr>
        </p:nvSpPr>
        <p:spPr>
          <a:xfrm>
            <a:off x="8615583" y="3185286"/>
            <a:ext cx="2754757" cy="748728"/>
          </a:xfrm>
          <a:prstGeom prst="rect">
            <a:avLst/>
          </a:prstGeom>
        </p:spPr>
        <p:txBody>
          <a:bodyPr wrap="square" lIns="0" rIns="0" anchor="t">
            <a:noAutofit/>
          </a:bodyPr>
          <a:lstStyle/>
          <a:p>
            <a:pPr marL="174922" lvl="1" indent="-128512" defTabSz="685405">
              <a:spcBef>
                <a:spcPts val="400"/>
              </a:spcBef>
              <a:buClr>
                <a:srgbClr val="595959">
                  <a:lumMod val="75000"/>
                </a:srgbClr>
              </a:buClr>
              <a:buFont typeface="Arial" pitchFamily="34" charset="0"/>
              <a:buChar char="•"/>
              <a:defRPr/>
            </a:pPr>
            <a:r>
              <a:rPr lang="en-IN" sz="1200" i="1" kern="0" dirty="0">
                <a:solidFill>
                  <a:srgbClr val="505050"/>
                </a:solidFill>
                <a:latin typeface="Segoe UI"/>
                <a:ea typeface="Segoe UI" pitchFamily="34" charset="0"/>
                <a:cs typeface="Segoe UI" pitchFamily="34" charset="0"/>
              </a:rPr>
              <a:t>Additive Manufacturing</a:t>
            </a:r>
          </a:p>
          <a:p>
            <a:pPr marL="174922" lvl="1" indent="-128512" defTabSz="685405">
              <a:spcBef>
                <a:spcPts val="400"/>
              </a:spcBef>
              <a:buClr>
                <a:srgbClr val="595959">
                  <a:lumMod val="75000"/>
                </a:srgbClr>
              </a:buClr>
              <a:buFont typeface="Arial" pitchFamily="34" charset="0"/>
              <a:buChar char="•"/>
              <a:defRPr/>
            </a:pPr>
            <a:r>
              <a:rPr lang="en-IN" sz="1200" i="1" kern="0" dirty="0">
                <a:solidFill>
                  <a:srgbClr val="505050"/>
                </a:solidFill>
                <a:latin typeface="Segoe UI"/>
                <a:ea typeface="Segoe UI" pitchFamily="34" charset="0"/>
                <a:cs typeface="Segoe UI" pitchFamily="34" charset="0"/>
              </a:rPr>
              <a:t>Advanced Analytics</a:t>
            </a:r>
          </a:p>
          <a:p>
            <a:pPr marL="174922" lvl="1" indent="-128512" defTabSz="685405">
              <a:spcBef>
                <a:spcPts val="400"/>
              </a:spcBef>
              <a:buClr>
                <a:srgbClr val="595959">
                  <a:lumMod val="75000"/>
                </a:srgbClr>
              </a:buClr>
              <a:buFont typeface="Arial" pitchFamily="34" charset="0"/>
              <a:buChar char="•"/>
              <a:defRPr/>
            </a:pPr>
            <a:r>
              <a:rPr lang="en-IN" sz="1200" i="1" kern="0" dirty="0">
                <a:solidFill>
                  <a:srgbClr val="505050"/>
                </a:solidFill>
                <a:latin typeface="Segoe UI"/>
                <a:ea typeface="Segoe UI" pitchFamily="34" charset="0"/>
                <a:cs typeface="Segoe UI" pitchFamily="34" charset="0"/>
              </a:rPr>
              <a:t>Design Computing in the Cloud</a:t>
            </a:r>
          </a:p>
        </p:txBody>
      </p:sp>
      <p:sp>
        <p:nvSpPr>
          <p:cNvPr id="10" name="Rectangle 47"/>
          <p:cNvSpPr/>
          <p:nvPr>
            <p:custDataLst>
              <p:tags r:id="rId5"/>
            </p:custDataLst>
          </p:nvPr>
        </p:nvSpPr>
        <p:spPr>
          <a:xfrm>
            <a:off x="8615582" y="4641894"/>
            <a:ext cx="3056120" cy="748728"/>
          </a:xfrm>
          <a:prstGeom prst="rect">
            <a:avLst/>
          </a:prstGeom>
        </p:spPr>
        <p:txBody>
          <a:bodyPr wrap="square" lIns="0" rIns="0" anchor="t">
            <a:noAutofit/>
          </a:bodyPr>
          <a:lstStyle/>
          <a:p>
            <a:pPr marL="174922" lvl="1" indent="-128512" defTabSz="685405">
              <a:spcBef>
                <a:spcPts val="400"/>
              </a:spcBef>
              <a:buClr>
                <a:srgbClr val="595959">
                  <a:lumMod val="75000"/>
                </a:srgbClr>
              </a:buClr>
              <a:buFont typeface="Arial" pitchFamily="34" charset="0"/>
              <a:buChar char="•"/>
              <a:defRPr/>
            </a:pPr>
            <a:r>
              <a:rPr lang="en-IN" sz="1200" i="1" kern="0" dirty="0">
                <a:solidFill>
                  <a:srgbClr val="505050"/>
                </a:solidFill>
                <a:latin typeface="Segoe UI"/>
                <a:ea typeface="Segoe UI" pitchFamily="34" charset="0"/>
                <a:cs typeface="Segoe UI" pitchFamily="34" charset="0"/>
              </a:rPr>
              <a:t>Modern Workplace</a:t>
            </a:r>
          </a:p>
          <a:p>
            <a:pPr marL="174922" lvl="1" indent="-128512" defTabSz="685405">
              <a:spcBef>
                <a:spcPts val="400"/>
              </a:spcBef>
              <a:buClr>
                <a:srgbClr val="595959">
                  <a:lumMod val="75000"/>
                </a:srgbClr>
              </a:buClr>
              <a:buFont typeface="Arial" pitchFamily="34" charset="0"/>
              <a:buChar char="•"/>
              <a:defRPr/>
            </a:pPr>
            <a:r>
              <a:rPr lang="en-IN" sz="1200" i="1" kern="0" dirty="0">
                <a:solidFill>
                  <a:srgbClr val="505050"/>
                </a:solidFill>
                <a:latin typeface="Segoe UI"/>
                <a:ea typeface="Segoe UI" pitchFamily="34" charset="0"/>
                <a:cs typeface="Segoe UI" pitchFamily="34" charset="0"/>
              </a:rPr>
              <a:t>Innovation Platform and Services</a:t>
            </a:r>
          </a:p>
          <a:p>
            <a:pPr marL="174922" lvl="1" indent="-128512" defTabSz="685405">
              <a:spcBef>
                <a:spcPts val="400"/>
              </a:spcBef>
              <a:buClr>
                <a:srgbClr val="595959">
                  <a:lumMod val="75000"/>
                </a:srgbClr>
              </a:buClr>
              <a:buFont typeface="Arial" pitchFamily="34" charset="0"/>
              <a:buChar char="•"/>
              <a:defRPr/>
            </a:pPr>
            <a:r>
              <a:rPr lang="en-IN" sz="1200" i="1" kern="0" dirty="0">
                <a:solidFill>
                  <a:srgbClr val="505050"/>
                </a:solidFill>
                <a:latin typeface="Segoe UI"/>
                <a:ea typeface="Segoe UI" pitchFamily="34" charset="0"/>
                <a:cs typeface="Segoe UI" pitchFamily="34" charset="0"/>
              </a:rPr>
              <a:t>Productivity and Collaboration Tools</a:t>
            </a:r>
          </a:p>
          <a:p>
            <a:pPr marL="174922" lvl="1" indent="-128512" defTabSz="685405">
              <a:spcBef>
                <a:spcPts val="400"/>
              </a:spcBef>
              <a:buClr>
                <a:srgbClr val="595959">
                  <a:lumMod val="75000"/>
                </a:srgbClr>
              </a:buClr>
              <a:buFont typeface="Arial" pitchFamily="34" charset="0"/>
              <a:buChar char="•"/>
              <a:defRPr/>
            </a:pPr>
            <a:r>
              <a:rPr lang="en-IN" sz="1200" i="1" kern="0" dirty="0">
                <a:solidFill>
                  <a:srgbClr val="505050"/>
                </a:solidFill>
                <a:latin typeface="Segoe UI"/>
                <a:ea typeface="Segoe UI" pitchFamily="34" charset="0"/>
                <a:cs typeface="Segoe UI" pitchFamily="34" charset="0"/>
              </a:rPr>
              <a:t>IOT Integration</a:t>
            </a:r>
          </a:p>
        </p:txBody>
      </p:sp>
      <p:sp>
        <p:nvSpPr>
          <p:cNvPr id="11" name="Rectangle 50"/>
          <p:cNvSpPr/>
          <p:nvPr>
            <p:custDataLst>
              <p:tags r:id="rId6"/>
            </p:custDataLst>
          </p:nvPr>
        </p:nvSpPr>
        <p:spPr>
          <a:xfrm>
            <a:off x="305272" y="3185286"/>
            <a:ext cx="2262520" cy="1291824"/>
          </a:xfrm>
          <a:prstGeom prst="rect">
            <a:avLst/>
          </a:prstGeom>
        </p:spPr>
        <p:txBody>
          <a:bodyPr wrap="square" lIns="0" tIns="0" rIns="0" bIns="0" anchor="t">
            <a:noAutofit/>
          </a:bodyPr>
          <a:lstStyle/>
          <a:p>
            <a:pPr marL="171399" indent="-171399" defTabSz="456835">
              <a:spcBef>
                <a:spcPts val="100"/>
              </a:spcBef>
              <a:spcAft>
                <a:spcPts val="200"/>
              </a:spcAft>
              <a:buFont typeface="Arial" panose="020B0604020202020204" pitchFamily="34" charset="0"/>
              <a:buChar char="•"/>
              <a:defRPr/>
            </a:pPr>
            <a:r>
              <a:rPr lang="en-IN" sz="1200" kern="0" dirty="0">
                <a:solidFill>
                  <a:srgbClr val="505050"/>
                </a:solidFill>
                <a:latin typeface="Segoe UI"/>
                <a:ea typeface="Segoe UI" pitchFamily="34" charset="0"/>
                <a:cs typeface="Segoe UI Semibold" panose="020B0702040204020203" pitchFamily="34" charset="0"/>
              </a:rPr>
              <a:t>Enhance market insight into ideation</a:t>
            </a:r>
          </a:p>
          <a:p>
            <a:pPr marL="171399" indent="-171399" defTabSz="456835">
              <a:spcBef>
                <a:spcPts val="100"/>
              </a:spcBef>
              <a:spcAft>
                <a:spcPts val="200"/>
              </a:spcAft>
              <a:buFont typeface="Arial" panose="020B0604020202020204" pitchFamily="34" charset="0"/>
              <a:buChar char="•"/>
              <a:defRPr/>
            </a:pPr>
            <a:r>
              <a:rPr lang="en-IN" sz="1200" kern="0" dirty="0">
                <a:solidFill>
                  <a:srgbClr val="505050"/>
                </a:solidFill>
                <a:latin typeface="Segoe UI"/>
                <a:ea typeface="Segoe UI" pitchFamily="34" charset="0"/>
                <a:cs typeface="Segoe UI Semibold" panose="020B0702040204020203" pitchFamily="34" charset="0"/>
              </a:rPr>
              <a:t>Accelerate innovation</a:t>
            </a:r>
          </a:p>
          <a:p>
            <a:pPr marL="171399" indent="-171399" defTabSz="456835">
              <a:spcBef>
                <a:spcPts val="100"/>
              </a:spcBef>
              <a:spcAft>
                <a:spcPts val="200"/>
              </a:spcAft>
              <a:buFont typeface="Arial" panose="020B0604020202020204" pitchFamily="34" charset="0"/>
              <a:buChar char="•"/>
              <a:defRPr/>
            </a:pPr>
            <a:r>
              <a:rPr lang="en-IN" sz="1200" kern="0" dirty="0">
                <a:solidFill>
                  <a:srgbClr val="505050"/>
                </a:solidFill>
                <a:latin typeface="Segoe UI"/>
                <a:ea typeface="Segoe UI" pitchFamily="34" charset="0"/>
                <a:cs typeface="Segoe UI Semibold" panose="020B0702040204020203" pitchFamily="34" charset="0"/>
              </a:rPr>
              <a:t>Increase revenue from innovative, fast-to-market options and services</a:t>
            </a:r>
          </a:p>
        </p:txBody>
      </p:sp>
      <p:sp>
        <p:nvSpPr>
          <p:cNvPr id="12" name="Rectangle 48"/>
          <p:cNvSpPr/>
          <p:nvPr>
            <p:custDataLst>
              <p:tags r:id="rId7"/>
            </p:custDataLst>
          </p:nvPr>
        </p:nvSpPr>
        <p:spPr>
          <a:xfrm>
            <a:off x="261740" y="4641893"/>
            <a:ext cx="1926436" cy="1351864"/>
          </a:xfrm>
          <a:prstGeom prst="rect">
            <a:avLst/>
          </a:prstGeom>
        </p:spPr>
        <p:txBody>
          <a:bodyPr wrap="square" lIns="0" tIns="0" rIns="0" bIns="0" anchor="t">
            <a:noAutofit/>
          </a:bodyPr>
          <a:lstStyle/>
          <a:p>
            <a:pPr marL="122201" indent="-122201" defTabSz="456835">
              <a:spcBef>
                <a:spcPts val="100"/>
              </a:spcBef>
              <a:spcAft>
                <a:spcPts val="200"/>
              </a:spcAft>
              <a:buFont typeface="Arial" panose="020B0604020202020204" pitchFamily="34" charset="0"/>
              <a:buChar char="•"/>
              <a:defRPr/>
            </a:pPr>
            <a:r>
              <a:rPr lang="en-IN" sz="1200" kern="0" dirty="0">
                <a:solidFill>
                  <a:srgbClr val="505050"/>
                </a:solidFill>
                <a:latin typeface="Segoe UI"/>
                <a:ea typeface="Segoe UI" pitchFamily="34" charset="0"/>
                <a:cs typeface="Segoe UI Semibold" panose="020B0702040204020203" pitchFamily="34" charset="0"/>
              </a:rPr>
              <a:t>Increase exchange of ideas and information</a:t>
            </a:r>
          </a:p>
          <a:p>
            <a:pPr marL="122201" indent="-122201" defTabSz="456835">
              <a:spcBef>
                <a:spcPts val="100"/>
              </a:spcBef>
              <a:spcAft>
                <a:spcPts val="200"/>
              </a:spcAft>
              <a:buFont typeface="Arial" panose="020B0604020202020204" pitchFamily="34" charset="0"/>
              <a:buChar char="•"/>
              <a:defRPr/>
            </a:pPr>
            <a:r>
              <a:rPr lang="en-IN" sz="1200" kern="0" dirty="0">
                <a:solidFill>
                  <a:srgbClr val="505050"/>
                </a:solidFill>
                <a:latin typeface="Segoe UI"/>
                <a:ea typeface="Segoe UI" pitchFamily="34" charset="0"/>
                <a:cs typeface="Segoe UI Semibold" panose="020B0702040204020203" pitchFamily="34" charset="0"/>
              </a:rPr>
              <a:t>Reduce cost of product development</a:t>
            </a:r>
          </a:p>
          <a:p>
            <a:pPr marL="122201" indent="-122201" defTabSz="456835">
              <a:spcBef>
                <a:spcPts val="100"/>
              </a:spcBef>
              <a:spcAft>
                <a:spcPts val="200"/>
              </a:spcAft>
              <a:buFont typeface="Arial" panose="020B0604020202020204" pitchFamily="34" charset="0"/>
              <a:buChar char="•"/>
              <a:defRPr/>
            </a:pPr>
            <a:r>
              <a:rPr lang="en-IN" sz="1200" kern="0">
                <a:solidFill>
                  <a:srgbClr val="505050"/>
                </a:solidFill>
                <a:latin typeface="Segoe UI"/>
                <a:ea typeface="Segoe UI" pitchFamily="34" charset="0"/>
                <a:cs typeface="Segoe UI Semibold" panose="020B0702040204020203" pitchFamily="34" charset="0"/>
              </a:rPr>
              <a:t>Improve </a:t>
            </a:r>
            <a:r>
              <a:rPr lang="en-IN" sz="1200" kern="0" dirty="0">
                <a:solidFill>
                  <a:srgbClr val="505050"/>
                </a:solidFill>
                <a:latin typeface="Segoe UI"/>
                <a:ea typeface="Segoe UI" pitchFamily="34" charset="0"/>
                <a:cs typeface="Segoe UI Semibold" panose="020B0702040204020203" pitchFamily="34" charset="0"/>
              </a:rPr>
              <a:t>product designs</a:t>
            </a:r>
          </a:p>
        </p:txBody>
      </p:sp>
      <p:sp>
        <p:nvSpPr>
          <p:cNvPr id="13" name="Rectangle 50"/>
          <p:cNvSpPr/>
          <p:nvPr>
            <p:custDataLst>
              <p:tags r:id="rId8"/>
            </p:custDataLst>
          </p:nvPr>
        </p:nvSpPr>
        <p:spPr>
          <a:xfrm>
            <a:off x="305272" y="1746939"/>
            <a:ext cx="2713705" cy="776934"/>
          </a:xfrm>
          <a:prstGeom prst="rect">
            <a:avLst/>
          </a:prstGeom>
        </p:spPr>
        <p:txBody>
          <a:bodyPr wrap="square" lIns="0" tIns="0" rIns="0" bIns="0" anchor="t">
            <a:spAutoFit/>
          </a:bodyPr>
          <a:lstStyle/>
          <a:p>
            <a:pPr marL="122201" indent="-122201" defTabSz="456835">
              <a:spcBef>
                <a:spcPts val="100"/>
              </a:spcBef>
              <a:spcAft>
                <a:spcPts val="200"/>
              </a:spcAft>
              <a:buFont typeface="Arial" panose="020B0604020202020204" pitchFamily="34" charset="0"/>
              <a:buChar char="•"/>
              <a:defRPr/>
            </a:pPr>
            <a:r>
              <a:rPr lang="en-IN" sz="1200" kern="0" dirty="0">
                <a:solidFill>
                  <a:srgbClr val="505050"/>
                </a:solidFill>
                <a:latin typeface="Segoe UI"/>
                <a:ea typeface="Segoe UI" pitchFamily="34" charset="0"/>
                <a:cs typeface="Segoe UI Semibold" panose="020B0702040204020203" pitchFamily="34" charset="0"/>
              </a:rPr>
              <a:t>Increase return on innovation investment</a:t>
            </a:r>
          </a:p>
          <a:p>
            <a:pPr marL="122201" indent="-122201" defTabSz="456835">
              <a:spcBef>
                <a:spcPts val="100"/>
              </a:spcBef>
              <a:spcAft>
                <a:spcPts val="200"/>
              </a:spcAft>
              <a:buFont typeface="Arial" panose="020B0604020202020204" pitchFamily="34" charset="0"/>
              <a:buChar char="•"/>
              <a:defRPr/>
            </a:pPr>
            <a:r>
              <a:rPr lang="en-IN" sz="1200" kern="0" dirty="0">
                <a:solidFill>
                  <a:srgbClr val="505050"/>
                </a:solidFill>
                <a:latin typeface="Segoe UI"/>
                <a:ea typeface="Segoe UI" pitchFamily="34" charset="0"/>
                <a:cs typeface="Segoe UI Semibold" panose="020B0702040204020203" pitchFamily="34" charset="0"/>
              </a:rPr>
              <a:t>Reduce cost of prototyping, physical </a:t>
            </a:r>
            <a:r>
              <a:rPr lang="en-IN" sz="1200" kern="0" dirty="0" err="1">
                <a:solidFill>
                  <a:srgbClr val="505050"/>
                </a:solidFill>
                <a:latin typeface="Segoe UI"/>
                <a:ea typeface="Segoe UI" pitchFamily="34" charset="0"/>
                <a:cs typeface="Segoe UI Semibold" panose="020B0702040204020203" pitchFamily="34" charset="0"/>
              </a:rPr>
              <a:t>modeling</a:t>
            </a:r>
            <a:r>
              <a:rPr lang="en-IN" sz="1200" kern="0" dirty="0">
                <a:solidFill>
                  <a:srgbClr val="505050"/>
                </a:solidFill>
                <a:latin typeface="Segoe UI"/>
                <a:ea typeface="Segoe UI" pitchFamily="34" charset="0"/>
                <a:cs typeface="Segoe UI Semibold" panose="020B0702040204020203" pitchFamily="34" charset="0"/>
              </a:rPr>
              <a:t>, and testing</a:t>
            </a:r>
          </a:p>
        </p:txBody>
      </p:sp>
      <p:sp>
        <p:nvSpPr>
          <p:cNvPr id="14" name="Rectangle 45"/>
          <p:cNvSpPr/>
          <p:nvPr>
            <p:custDataLst>
              <p:tags r:id="rId9"/>
            </p:custDataLst>
          </p:nvPr>
        </p:nvSpPr>
        <p:spPr>
          <a:xfrm>
            <a:off x="8658158" y="1746939"/>
            <a:ext cx="2808318" cy="914162"/>
          </a:xfrm>
          <a:prstGeom prst="rect">
            <a:avLst/>
          </a:prstGeom>
        </p:spPr>
        <p:txBody>
          <a:bodyPr wrap="square" lIns="0" tIns="0" rIns="0" bIns="0" anchor="t">
            <a:noAutofit/>
          </a:bodyPr>
          <a:lstStyle/>
          <a:p>
            <a:pPr marL="174922" lvl="1" indent="-128512" defTabSz="685405">
              <a:spcBef>
                <a:spcPts val="400"/>
              </a:spcBef>
              <a:buClr>
                <a:srgbClr val="595959">
                  <a:lumMod val="75000"/>
                </a:srgbClr>
              </a:buClr>
              <a:buFont typeface="Arial" pitchFamily="34" charset="0"/>
              <a:buChar char="•"/>
              <a:defRPr/>
            </a:pPr>
            <a:r>
              <a:rPr lang="en-IN" sz="1200" i="1" kern="0">
                <a:solidFill>
                  <a:srgbClr val="505050"/>
                </a:solidFill>
                <a:latin typeface="Segoe UI"/>
                <a:ea typeface="Segoe UI" pitchFamily="34" charset="0"/>
                <a:cs typeface="Segoe UI" pitchFamily="34" charset="0"/>
              </a:rPr>
              <a:t>Social Analytics</a:t>
            </a:r>
          </a:p>
          <a:p>
            <a:pPr marL="174922" lvl="1" indent="-128512" defTabSz="685405">
              <a:spcBef>
                <a:spcPts val="400"/>
              </a:spcBef>
              <a:buClr>
                <a:srgbClr val="595959">
                  <a:lumMod val="75000"/>
                </a:srgbClr>
              </a:buClr>
              <a:buFont typeface="Arial" pitchFamily="34" charset="0"/>
              <a:buChar char="•"/>
              <a:defRPr/>
            </a:pPr>
            <a:r>
              <a:rPr lang="en-IN" sz="1200" i="1" kern="0">
                <a:solidFill>
                  <a:srgbClr val="505050"/>
                </a:solidFill>
                <a:latin typeface="Segoe UI"/>
                <a:ea typeface="Segoe UI" pitchFamily="34" charset="0"/>
                <a:cs typeface="Segoe UI" pitchFamily="34" charset="0"/>
              </a:rPr>
              <a:t>Telematics</a:t>
            </a:r>
          </a:p>
          <a:p>
            <a:pPr marL="174922" lvl="1" indent="-128512" defTabSz="685405">
              <a:spcBef>
                <a:spcPts val="400"/>
              </a:spcBef>
              <a:buClr>
                <a:srgbClr val="595959">
                  <a:lumMod val="75000"/>
                </a:srgbClr>
              </a:buClr>
              <a:buFont typeface="Arial" pitchFamily="34" charset="0"/>
              <a:buChar char="•"/>
              <a:defRPr/>
            </a:pPr>
            <a:r>
              <a:rPr lang="en-IN" sz="1200" i="1" kern="0">
                <a:solidFill>
                  <a:srgbClr val="505050"/>
                </a:solidFill>
                <a:latin typeface="Segoe UI"/>
                <a:ea typeface="Segoe UI" pitchFamily="34" charset="0"/>
                <a:cs typeface="Segoe UI" pitchFamily="34" charset="0"/>
              </a:rPr>
              <a:t>Big Data</a:t>
            </a:r>
          </a:p>
        </p:txBody>
      </p:sp>
      <p:sp>
        <p:nvSpPr>
          <p:cNvPr id="15" name="TextBox 14"/>
          <p:cNvSpPr txBox="1"/>
          <p:nvPr/>
        </p:nvSpPr>
        <p:spPr>
          <a:xfrm>
            <a:off x="9141574" y="1370856"/>
            <a:ext cx="2780608" cy="307194"/>
          </a:xfrm>
          <a:prstGeom prst="rect">
            <a:avLst/>
          </a:prstGeom>
          <a:noFill/>
        </p:spPr>
        <p:txBody>
          <a:bodyPr wrap="square" lIns="0" tIns="0" rIns="0" bIns="0" rtlCol="0" anchor="t">
            <a:spAutoFit/>
          </a:bodyPr>
          <a:lstStyle/>
          <a:p>
            <a:pPr defTabSz="609113">
              <a:defRPr/>
            </a:pPr>
            <a:r>
              <a:rPr lang="en-US" sz="1998">
                <a:solidFill>
                  <a:srgbClr val="505050"/>
                </a:solidFill>
                <a:latin typeface="Segoe UI Semibold" panose="020B0702040204020203" pitchFamily="34" charset="0"/>
                <a:cs typeface="Segoe UI Semibold" panose="020B0702040204020203" pitchFamily="34" charset="0"/>
              </a:rPr>
              <a:t>IT Projects</a:t>
            </a:r>
          </a:p>
        </p:txBody>
      </p:sp>
      <p:sp>
        <p:nvSpPr>
          <p:cNvPr id="16" name="TextBox 15"/>
          <p:cNvSpPr txBox="1"/>
          <p:nvPr/>
        </p:nvSpPr>
        <p:spPr>
          <a:xfrm>
            <a:off x="682149" y="1370856"/>
            <a:ext cx="2568593" cy="307194"/>
          </a:xfrm>
          <a:prstGeom prst="rect">
            <a:avLst/>
          </a:prstGeom>
          <a:noFill/>
        </p:spPr>
        <p:txBody>
          <a:bodyPr wrap="square" lIns="0" tIns="0" rIns="0" bIns="0" rtlCol="0" anchor="t">
            <a:spAutoFit/>
          </a:bodyPr>
          <a:lstStyle/>
          <a:p>
            <a:pPr defTabSz="609113">
              <a:defRPr/>
            </a:pPr>
            <a:r>
              <a:rPr lang="en-US" sz="1998">
                <a:solidFill>
                  <a:srgbClr val="505050"/>
                </a:solidFill>
                <a:latin typeface="Segoe UI Semibold" panose="020B0702040204020203" pitchFamily="34" charset="0"/>
                <a:cs typeface="Segoe UI Semibold" panose="020B0702040204020203" pitchFamily="34" charset="0"/>
              </a:rPr>
              <a:t>Business Benefits</a:t>
            </a:r>
          </a:p>
        </p:txBody>
      </p:sp>
      <p:sp>
        <p:nvSpPr>
          <p:cNvPr id="19" name="Slide Number Placeholder 18"/>
          <p:cNvSpPr>
            <a:spLocks noGrp="1"/>
          </p:cNvSpPr>
          <p:nvPr>
            <p:ph type="sldNum" sz="quarter" idx="14"/>
          </p:nvPr>
        </p:nvSpPr>
        <p:spPr/>
        <p:txBody>
          <a:bodyPr/>
          <a:lstStyle/>
          <a:p>
            <a:pPr defTabSz="914126">
              <a:defRPr/>
            </a:pPr>
            <a:fld id="{FAADACFB-7C71-4E89-89D2-7BBA40B7BFA9}" type="slidenum">
              <a:rPr lang="en-US">
                <a:solidFill>
                  <a:srgbClr val="505050"/>
                </a:solidFill>
              </a:rPr>
              <a:pPr defTabSz="914126">
                <a:defRPr/>
              </a:pPr>
              <a:t>55</a:t>
            </a:fld>
            <a:endParaRPr lang="en-US">
              <a:solidFill>
                <a:srgbClr val="505050"/>
              </a:solidFill>
            </a:endParaRPr>
          </a:p>
        </p:txBody>
      </p:sp>
      <p:sp>
        <p:nvSpPr>
          <p:cNvPr id="17" name="Text Placeholder 6"/>
          <p:cNvSpPr txBox="1">
            <a:spLocks/>
          </p:cNvSpPr>
          <p:nvPr/>
        </p:nvSpPr>
        <p:spPr>
          <a:xfrm>
            <a:off x="9363234" y="128090"/>
            <a:ext cx="2517776" cy="502917"/>
          </a:xfrm>
          <a:prstGeom prst="rect">
            <a:avLst/>
          </a:prstGeom>
        </p:spPr>
        <p:txBody>
          <a:bodyPr vert="horz" lIns="319957" tIns="53311" rIns="53311" bIns="53311" rtlCol="0">
            <a:noAutofit/>
          </a:bodyPr>
          <a:lstStyle>
            <a:lvl1pPr marL="0" indent="0" algn="l" defTabSz="1088105" rtl="0" eaLnBrk="1" latinLnBrk="0" hangingPunct="1">
              <a:spcBef>
                <a:spcPts val="1800"/>
              </a:spcBef>
              <a:buClr>
                <a:srgbClr val="0072C6"/>
              </a:buClr>
              <a:buSzPct val="100000"/>
              <a:buFont typeface="Wingdings" pitchFamily="2" charset="2"/>
              <a:buNone/>
              <a:defRPr sz="2800" kern="1200">
                <a:solidFill>
                  <a:schemeClr val="tx1"/>
                </a:solidFill>
                <a:latin typeface="Segoe UI Light" pitchFamily="34" charset="0"/>
                <a:ea typeface="Segoe UI" pitchFamily="34" charset="0"/>
                <a:cs typeface="Segoe UI" pitchFamily="34" charset="0"/>
              </a:defRPr>
            </a:lvl1pPr>
            <a:lvl2pPr marL="281674" indent="0" algn="l" defTabSz="1088105" rtl="0" eaLnBrk="1" latinLnBrk="0" hangingPunct="1">
              <a:spcBef>
                <a:spcPct val="20000"/>
              </a:spcBef>
              <a:buFont typeface="Arial" pitchFamily="34" charset="0"/>
              <a:buNone/>
              <a:defRPr sz="1800" kern="1200">
                <a:solidFill>
                  <a:schemeClr val="tx1"/>
                </a:solidFill>
                <a:latin typeface="Segoe UI" pitchFamily="34" charset="0"/>
                <a:ea typeface="Segoe UI" pitchFamily="34" charset="0"/>
                <a:cs typeface="Segoe UI" pitchFamily="34" charset="0"/>
              </a:defRPr>
            </a:lvl2pPr>
            <a:lvl3pPr marL="588476" indent="0" algn="l" defTabSz="1088105" rtl="0" eaLnBrk="1" latinLnBrk="0" hangingPunct="1">
              <a:spcBef>
                <a:spcPct val="20000"/>
              </a:spcBef>
              <a:buFont typeface="Arial" pitchFamily="34" charset="0"/>
              <a:buNone/>
              <a:defRPr sz="1600" kern="1200">
                <a:solidFill>
                  <a:schemeClr val="tx1"/>
                </a:solidFill>
                <a:latin typeface="Segoe UI" pitchFamily="34" charset="0"/>
                <a:ea typeface="Segoe UI" pitchFamily="34" charset="0"/>
                <a:cs typeface="Segoe UI" pitchFamily="34" charset="0"/>
              </a:defRPr>
            </a:lvl3pPr>
            <a:lvl4pPr marL="87015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4pPr>
            <a:lvl5pPr marL="110554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defTabSz="1087779">
              <a:spcBef>
                <a:spcPts val="1799"/>
              </a:spcBef>
              <a:defRPr/>
            </a:pPr>
            <a:r>
              <a:rPr lang="en-US" sz="2799">
                <a:solidFill>
                  <a:srgbClr val="505050"/>
                </a:solidFill>
              </a:rPr>
              <a:t>Roadmap</a:t>
            </a:r>
          </a:p>
        </p:txBody>
      </p:sp>
    </p:spTree>
    <p:extLst>
      <p:ext uri="{BB962C8B-B14F-4D97-AF65-F5344CB8AC3E}">
        <p14:creationId xmlns:p14="http://schemas.microsoft.com/office/powerpoint/2010/main" val="867367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p:cNvSpPr/>
          <p:nvPr>
            <p:custDataLst>
              <p:tags r:id="rId1"/>
            </p:custDataLst>
          </p:nvPr>
        </p:nvSpPr>
        <p:spPr bwMode="auto">
          <a:xfrm>
            <a:off x="3140844" y="1287490"/>
            <a:ext cx="2897440" cy="3951048"/>
          </a:xfrm>
          <a:prstGeom prst="rect">
            <a:avLst/>
          </a:prstGeom>
          <a:solidFill>
            <a:schemeClr val="tx2"/>
          </a:solidFill>
          <a:ln w="3175" cap="flat" cmpd="sng" algn="ctr">
            <a:noFill/>
            <a:prstDash val="solid"/>
            <a:round/>
            <a:headEnd type="none" w="med" len="med"/>
            <a:tailEnd type="none" w="med" len="med"/>
          </a:ln>
          <a:effectLst/>
        </p:spPr>
        <p:txBody>
          <a:bodyPr lIns="91416" tIns="91416" rIns="91416" bIns="91416" rtlCol="0" anchor="t" anchorCtr="0"/>
          <a:lstStyle/>
          <a:p>
            <a:pPr defTabSz="932192" fontAlgn="base">
              <a:spcBef>
                <a:spcPts val="600"/>
              </a:spcBef>
              <a:spcAft>
                <a:spcPts val="1200"/>
              </a:spcAft>
              <a:defRPr/>
            </a:pPr>
            <a:r>
              <a:rPr lang="en-US" sz="2399" kern="0" dirty="0">
                <a:solidFill>
                  <a:prstClr val="white"/>
                </a:solidFill>
                <a:latin typeface="Segoe UI Light"/>
              </a:rPr>
              <a:t>Challenge</a:t>
            </a:r>
          </a:p>
          <a:p>
            <a:pPr defTabSz="914126">
              <a:defRPr/>
            </a:pPr>
            <a:r>
              <a:rPr lang="en-US" sz="1600" kern="0" dirty="0">
                <a:solidFill>
                  <a:prstClr val="white"/>
                </a:solidFill>
                <a:latin typeface="Segoe UI"/>
              </a:rPr>
              <a:t>Create a connected car to meet customer demands for an integrated travel experience.</a:t>
            </a:r>
          </a:p>
          <a:p>
            <a:pPr defTabSz="914126">
              <a:defRPr/>
            </a:pPr>
            <a:endParaRPr lang="en-US" sz="1600" kern="0" dirty="0">
              <a:solidFill>
                <a:prstClr val="white"/>
              </a:solidFill>
              <a:latin typeface="Segoe UI"/>
            </a:endParaRPr>
          </a:p>
          <a:p>
            <a:pPr defTabSz="914126">
              <a:defRPr/>
            </a:pPr>
            <a:r>
              <a:rPr lang="en-US" sz="1600" kern="0" dirty="0">
                <a:solidFill>
                  <a:prstClr val="white"/>
                </a:solidFill>
                <a:latin typeface="Segoe UI"/>
              </a:rPr>
              <a:t>Use customer feedback, telemetry about mobile services, and mobile behavior to drive the development of new products and features.</a:t>
            </a:r>
          </a:p>
        </p:txBody>
      </p:sp>
      <p:sp>
        <p:nvSpPr>
          <p:cNvPr id="31" name="Rectangle 30"/>
          <p:cNvSpPr/>
          <p:nvPr>
            <p:custDataLst>
              <p:tags r:id="rId2"/>
            </p:custDataLst>
          </p:nvPr>
        </p:nvSpPr>
        <p:spPr bwMode="auto">
          <a:xfrm>
            <a:off x="6062961" y="1295955"/>
            <a:ext cx="2897440" cy="3951048"/>
          </a:xfrm>
          <a:prstGeom prst="rect">
            <a:avLst/>
          </a:prstGeom>
          <a:solidFill>
            <a:schemeClr val="accent1"/>
          </a:solidFill>
          <a:ln w="3175" cap="flat" cmpd="sng" algn="ctr">
            <a:noFill/>
            <a:prstDash val="solid"/>
            <a:round/>
            <a:headEnd type="none" w="med" len="med"/>
            <a:tailEnd type="none" w="med" len="med"/>
          </a:ln>
          <a:effectLst/>
        </p:spPr>
        <p:txBody>
          <a:bodyPr lIns="137124" tIns="91416" rIns="137124" bIns="91416" rtlCol="0" anchor="t" anchorCtr="0"/>
          <a:lstStyle/>
          <a:p>
            <a:pPr defTabSz="914126">
              <a:spcBef>
                <a:spcPts val="600"/>
              </a:spcBef>
              <a:spcAft>
                <a:spcPts val="1200"/>
              </a:spcAft>
              <a:defRPr/>
            </a:pPr>
            <a:r>
              <a:rPr lang="en-US" sz="2399" kern="0" dirty="0">
                <a:solidFill>
                  <a:prstClr val="white"/>
                </a:solidFill>
                <a:latin typeface="Segoe UI Light"/>
              </a:rPr>
              <a:t>Strategy</a:t>
            </a:r>
          </a:p>
          <a:p>
            <a:pPr defTabSz="914126">
              <a:defRPr/>
            </a:pPr>
            <a:r>
              <a:rPr lang="en-US" sz="1600" kern="0" dirty="0">
                <a:solidFill>
                  <a:prstClr val="white"/>
                </a:solidFill>
                <a:latin typeface="Segoe UI"/>
              </a:rPr>
              <a:t>Deploy vehicle telematics system which collects and manages relevant product and usage data and conveys insights to the manufacturer.</a:t>
            </a:r>
          </a:p>
          <a:p>
            <a:pPr defTabSz="914126">
              <a:defRPr/>
            </a:pPr>
            <a:endParaRPr lang="en-US" sz="1600" kern="0" dirty="0">
              <a:solidFill>
                <a:prstClr val="white"/>
              </a:solidFill>
              <a:latin typeface="Segoe UI"/>
            </a:endParaRPr>
          </a:p>
        </p:txBody>
      </p:sp>
      <p:sp>
        <p:nvSpPr>
          <p:cNvPr id="32" name="Rectangle 31"/>
          <p:cNvSpPr/>
          <p:nvPr>
            <p:custDataLst>
              <p:tags r:id="rId3"/>
            </p:custDataLst>
          </p:nvPr>
        </p:nvSpPr>
        <p:spPr bwMode="auto">
          <a:xfrm>
            <a:off x="9027401" y="1287490"/>
            <a:ext cx="2897440" cy="3951048"/>
          </a:xfrm>
          <a:prstGeom prst="rect">
            <a:avLst/>
          </a:prstGeom>
          <a:solidFill>
            <a:schemeClr val="accent2"/>
          </a:solidFill>
          <a:ln w="3175" cap="flat" cmpd="sng" algn="ctr">
            <a:noFill/>
            <a:prstDash val="solid"/>
            <a:round/>
            <a:headEnd type="none" w="med" len="med"/>
            <a:tailEnd type="none" w="med" len="med"/>
          </a:ln>
          <a:effectLst/>
        </p:spPr>
        <p:txBody>
          <a:bodyPr lIns="137124" tIns="91416" rIns="137124" bIns="91416" rtlCol="0" anchor="t" anchorCtr="0"/>
          <a:lstStyle/>
          <a:p>
            <a:pPr defTabSz="932192" fontAlgn="base">
              <a:spcBef>
                <a:spcPts val="600"/>
              </a:spcBef>
              <a:spcAft>
                <a:spcPts val="1200"/>
              </a:spcAft>
              <a:defRPr/>
            </a:pPr>
            <a:r>
              <a:rPr lang="en-US" sz="2399" kern="0" dirty="0">
                <a:solidFill>
                  <a:srgbClr val="000000"/>
                </a:solidFill>
                <a:latin typeface="Segoe UI Light"/>
                <a:ea typeface="Segoe UI" pitchFamily="34" charset="0"/>
                <a:cs typeface="Segoe UI" pitchFamily="34" charset="0"/>
              </a:rPr>
              <a:t>Results</a:t>
            </a:r>
          </a:p>
          <a:p>
            <a:pPr marL="285664" indent="-285664" defTabSz="914126">
              <a:spcBef>
                <a:spcPts val="600"/>
              </a:spcBef>
              <a:buFont typeface="Arial" panose="020B0604020202020204" pitchFamily="34" charset="0"/>
              <a:buChar char="•"/>
              <a:defRPr/>
            </a:pPr>
            <a:r>
              <a:rPr lang="en-US" sz="1600" kern="0" dirty="0">
                <a:solidFill>
                  <a:srgbClr val="000000"/>
                </a:solidFill>
                <a:latin typeface="Segoe UI"/>
              </a:rPr>
              <a:t>Developed platform for continuous innovation</a:t>
            </a:r>
          </a:p>
          <a:p>
            <a:pPr marL="285664" indent="-285664" defTabSz="914126">
              <a:spcBef>
                <a:spcPts val="600"/>
              </a:spcBef>
              <a:buFont typeface="Arial" panose="020B0604020202020204" pitchFamily="34" charset="0"/>
              <a:buChar char="•"/>
              <a:defRPr/>
            </a:pPr>
            <a:r>
              <a:rPr lang="en-US" sz="1600" kern="0" dirty="0">
                <a:solidFill>
                  <a:srgbClr val="000000"/>
                </a:solidFill>
                <a:latin typeface="Segoe UI"/>
              </a:rPr>
              <a:t>IT staff focused on innovation rather than maintaining IT Infrastructure</a:t>
            </a:r>
          </a:p>
          <a:p>
            <a:pPr marL="285664" indent="-285664" defTabSz="914126">
              <a:spcBef>
                <a:spcPts val="600"/>
              </a:spcBef>
              <a:buFont typeface="Arial" panose="020B0604020202020204" pitchFamily="34" charset="0"/>
              <a:buChar char="•"/>
              <a:defRPr/>
            </a:pPr>
            <a:r>
              <a:rPr lang="en-US" sz="1600" kern="0" dirty="0">
                <a:solidFill>
                  <a:srgbClr val="000000"/>
                </a:solidFill>
                <a:latin typeface="Segoe UI"/>
              </a:rPr>
              <a:t>Avoided expenses of building and managing global data centers</a:t>
            </a:r>
          </a:p>
          <a:p>
            <a:pPr marL="285664" indent="-285664" defTabSz="914126">
              <a:spcBef>
                <a:spcPts val="600"/>
              </a:spcBef>
              <a:buFont typeface="Arial" panose="020B0604020202020204" pitchFamily="34" charset="0"/>
              <a:buChar char="•"/>
              <a:defRPr/>
            </a:pPr>
            <a:endParaRPr lang="en-US" sz="1600" kern="0" dirty="0">
              <a:solidFill>
                <a:srgbClr val="000000"/>
              </a:solidFill>
              <a:latin typeface="Segoe UI"/>
            </a:endParaRPr>
          </a:p>
        </p:txBody>
      </p:sp>
      <p:sp>
        <p:nvSpPr>
          <p:cNvPr id="33" name="Rectangle 32"/>
          <p:cNvSpPr/>
          <p:nvPr/>
        </p:nvSpPr>
        <p:spPr>
          <a:xfrm>
            <a:off x="303133" y="5247003"/>
            <a:ext cx="11579385" cy="12292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91416" rIns="91416" bIns="91416" numCol="1" spcCol="0" rtlCol="0" fromWordArt="0" anchor="t" anchorCtr="0" forceAA="0" compatLnSpc="1">
            <a:prstTxWarp prst="textNoShape">
              <a:avLst/>
            </a:prstTxWarp>
            <a:noAutofit/>
          </a:bodyPr>
          <a:lstStyle/>
          <a:p>
            <a:pPr defTabSz="914126"/>
            <a:endParaRPr lang="en-IN" sz="1600" kern="0" dirty="0">
              <a:solidFill>
                <a:schemeClr val="tx1"/>
              </a:solidFill>
            </a:endParaRPr>
          </a:p>
        </p:txBody>
      </p:sp>
      <p:sp>
        <p:nvSpPr>
          <p:cNvPr id="34" name="Subtitle 2"/>
          <p:cNvSpPr txBox="1">
            <a:spLocks/>
          </p:cNvSpPr>
          <p:nvPr/>
        </p:nvSpPr>
        <p:spPr>
          <a:xfrm>
            <a:off x="303139" y="1295955"/>
            <a:ext cx="2742485" cy="3942583"/>
          </a:xfrm>
          <a:prstGeom prst="rect">
            <a:avLst/>
          </a:prstGeom>
          <a:solidFill>
            <a:schemeClr val="bg2"/>
          </a:solidFill>
        </p:spPr>
        <p:txBody>
          <a:bodyPr lIns="91416" tIns="45708" rIns="91416" bIns="45708">
            <a:noAutofit/>
          </a:bodyPr>
          <a:lstStyle>
            <a:lvl1pPr marL="0" indent="0" algn="l" defTabSz="1088105" rtl="0" eaLnBrk="1" latinLnBrk="0" hangingPunct="1">
              <a:lnSpc>
                <a:spcPct val="80000"/>
              </a:lnSpc>
              <a:spcBef>
                <a:spcPct val="20000"/>
              </a:spcBef>
              <a:buClr>
                <a:schemeClr val="tx1"/>
              </a:buClr>
              <a:buSzPct val="100000"/>
              <a:buFont typeface="Wingdings" pitchFamily="2" charset="2"/>
              <a:buNone/>
              <a:defRPr sz="1600" kern="1200">
                <a:solidFill>
                  <a:srgbClr val="FFFFFF"/>
                </a:solidFill>
                <a:latin typeface="Segoe UI" pitchFamily="34" charset="0"/>
                <a:ea typeface="Segoe UI" pitchFamily="34" charset="0"/>
                <a:cs typeface="Segoe UI" pitchFamily="34" charset="0"/>
              </a:defRPr>
            </a:lvl1pPr>
            <a:lvl2pPr marL="544053" indent="0" algn="ctr" defTabSz="1088105" rtl="0" eaLnBrk="1" latinLnBrk="0" hangingPunct="1">
              <a:spcBef>
                <a:spcPct val="20000"/>
              </a:spcBef>
              <a:buFont typeface="Arial" pitchFamily="34" charset="0"/>
              <a:buNone/>
              <a:defRPr sz="1400" kern="1200">
                <a:solidFill>
                  <a:schemeClr val="tx1">
                    <a:tint val="75000"/>
                  </a:schemeClr>
                </a:solidFill>
                <a:latin typeface="Segoe UI" pitchFamily="34" charset="0"/>
                <a:ea typeface="Segoe UI" pitchFamily="34" charset="0"/>
                <a:cs typeface="Segoe UI" pitchFamily="34" charset="0"/>
              </a:defRPr>
            </a:lvl2pPr>
            <a:lvl3pPr marL="1088105" indent="0" algn="ctr" defTabSz="1088105" rtl="0" eaLnBrk="1" latinLnBrk="0" hangingPunct="1">
              <a:spcBef>
                <a:spcPct val="20000"/>
              </a:spcBef>
              <a:buFont typeface="Arial" pitchFamily="34" charset="0"/>
              <a:buNone/>
              <a:defRPr sz="1200" kern="1200">
                <a:solidFill>
                  <a:schemeClr val="tx1">
                    <a:tint val="75000"/>
                  </a:schemeClr>
                </a:solidFill>
                <a:latin typeface="Segoe UI" pitchFamily="34" charset="0"/>
                <a:ea typeface="Segoe UI" pitchFamily="34" charset="0"/>
                <a:cs typeface="Segoe UI" pitchFamily="34" charset="0"/>
              </a:defRPr>
            </a:lvl3pPr>
            <a:lvl4pPr marL="1632159" indent="0" algn="ctr" defTabSz="1088105" rtl="0" eaLnBrk="1" latinLnBrk="0" hangingPunct="1">
              <a:spcBef>
                <a:spcPct val="20000"/>
              </a:spcBef>
              <a:buFont typeface="Arial" pitchFamily="34" charset="0"/>
              <a:buNone/>
              <a:defRPr sz="1100" kern="1200">
                <a:solidFill>
                  <a:schemeClr val="tx1">
                    <a:tint val="75000"/>
                  </a:schemeClr>
                </a:solidFill>
                <a:latin typeface="Segoe UI" pitchFamily="34" charset="0"/>
                <a:ea typeface="Segoe UI" pitchFamily="34" charset="0"/>
                <a:cs typeface="Segoe UI" pitchFamily="34" charset="0"/>
              </a:defRPr>
            </a:lvl4pPr>
            <a:lvl5pPr marL="2176211" indent="0" algn="ctr" defTabSz="1088105" rtl="0" eaLnBrk="1" latinLnBrk="0" hangingPunct="1">
              <a:spcBef>
                <a:spcPct val="20000"/>
              </a:spcBef>
              <a:buFont typeface="Arial" pitchFamily="34" charset="0"/>
              <a:buNone/>
              <a:defRPr sz="1100" kern="1200">
                <a:solidFill>
                  <a:schemeClr val="tx1">
                    <a:tint val="75000"/>
                  </a:schemeClr>
                </a:solidFill>
                <a:latin typeface="Segoe UI" pitchFamily="34" charset="0"/>
                <a:ea typeface="Segoe UI" pitchFamily="34" charset="0"/>
                <a:cs typeface="Segoe UI" pitchFamily="34" charset="0"/>
              </a:defRPr>
            </a:lvl5pPr>
            <a:lvl6pPr marL="2720264" indent="0" algn="ctr" defTabSz="1088105" rtl="0" eaLnBrk="1" latinLnBrk="0" hangingPunct="1">
              <a:spcBef>
                <a:spcPct val="20000"/>
              </a:spcBef>
              <a:buFont typeface="Arial" pitchFamily="34" charset="0"/>
              <a:buNone/>
              <a:defRPr sz="2500" kern="1200">
                <a:solidFill>
                  <a:schemeClr val="tx1">
                    <a:tint val="75000"/>
                  </a:schemeClr>
                </a:solidFill>
                <a:latin typeface="+mn-lt"/>
                <a:ea typeface="+mn-ea"/>
                <a:cs typeface="+mn-cs"/>
              </a:defRPr>
            </a:lvl6pPr>
            <a:lvl7pPr marL="3264316" indent="0" algn="ctr" defTabSz="1088105" rtl="0" eaLnBrk="1" latinLnBrk="0" hangingPunct="1">
              <a:spcBef>
                <a:spcPct val="20000"/>
              </a:spcBef>
              <a:buFont typeface="Arial" pitchFamily="34" charset="0"/>
              <a:buNone/>
              <a:defRPr sz="2500" kern="1200">
                <a:solidFill>
                  <a:schemeClr val="tx1">
                    <a:tint val="75000"/>
                  </a:schemeClr>
                </a:solidFill>
                <a:latin typeface="+mn-lt"/>
                <a:ea typeface="+mn-ea"/>
                <a:cs typeface="+mn-cs"/>
              </a:defRPr>
            </a:lvl7pPr>
            <a:lvl8pPr marL="3808369" indent="0" algn="ctr" defTabSz="1088105" rtl="0" eaLnBrk="1" latinLnBrk="0" hangingPunct="1">
              <a:spcBef>
                <a:spcPct val="20000"/>
              </a:spcBef>
              <a:buFont typeface="Arial" pitchFamily="34" charset="0"/>
              <a:buNone/>
              <a:defRPr sz="2500" kern="1200">
                <a:solidFill>
                  <a:schemeClr val="tx1">
                    <a:tint val="75000"/>
                  </a:schemeClr>
                </a:solidFill>
                <a:latin typeface="+mn-lt"/>
                <a:ea typeface="+mn-ea"/>
                <a:cs typeface="+mn-cs"/>
              </a:defRPr>
            </a:lvl8pPr>
            <a:lvl9pPr marL="4352422" indent="0" algn="ctr" defTabSz="1088105" rtl="0" eaLnBrk="1" latinLnBrk="0" hangingPunct="1">
              <a:spcBef>
                <a:spcPct val="20000"/>
              </a:spcBef>
              <a:buFont typeface="Arial" pitchFamily="34" charset="0"/>
              <a:buNone/>
              <a:defRPr sz="2500" kern="1200">
                <a:solidFill>
                  <a:schemeClr val="tx1">
                    <a:tint val="75000"/>
                  </a:schemeClr>
                </a:solidFill>
                <a:latin typeface="+mn-lt"/>
                <a:ea typeface="+mn-ea"/>
                <a:cs typeface="+mn-cs"/>
              </a:defRPr>
            </a:lvl9pPr>
          </a:lstStyle>
          <a:p>
            <a:pPr defTabSz="1087779">
              <a:lnSpc>
                <a:spcPct val="100000"/>
              </a:lnSpc>
              <a:spcBef>
                <a:spcPts val="600"/>
              </a:spcBef>
              <a:buClr>
                <a:srgbClr val="505050"/>
              </a:buClr>
              <a:defRPr/>
            </a:pPr>
            <a:r>
              <a:rPr lang="en-US" sz="2399" dirty="0">
                <a:latin typeface="Segoe UI Light" pitchFamily="34" charset="0"/>
              </a:rPr>
              <a:t>Open Innovation</a:t>
            </a:r>
          </a:p>
        </p:txBody>
      </p:sp>
      <p:sp>
        <p:nvSpPr>
          <p:cNvPr id="20" name="Title 1"/>
          <p:cNvSpPr>
            <a:spLocks noGrp="1"/>
          </p:cNvSpPr>
          <p:nvPr>
            <p:ph type="title"/>
          </p:nvPr>
        </p:nvSpPr>
        <p:spPr>
          <a:xfrm>
            <a:off x="0" y="895"/>
            <a:ext cx="12188825" cy="645874"/>
          </a:xfrm>
        </p:spPr>
        <p:txBody>
          <a:bodyPr/>
          <a:lstStyle/>
          <a:p>
            <a:r>
              <a:rPr lang="en-US" dirty="0"/>
              <a:t>An Automobile Manufacturer</a:t>
            </a:r>
          </a:p>
        </p:txBody>
      </p:sp>
      <p:sp>
        <p:nvSpPr>
          <p:cNvPr id="21" name="Text Placeholder 2"/>
          <p:cNvSpPr>
            <a:spLocks noGrp="1"/>
          </p:cNvSpPr>
          <p:nvPr>
            <p:ph type="body" sz="quarter" idx="13"/>
          </p:nvPr>
        </p:nvSpPr>
        <p:spPr>
          <a:xfrm>
            <a:off x="0" y="574349"/>
            <a:ext cx="12188825" cy="372966"/>
          </a:xfrm>
        </p:spPr>
        <p:txBody>
          <a:bodyPr/>
          <a:lstStyle/>
          <a:p>
            <a:r>
              <a:rPr lang="en-US" sz="2399" i="1" dirty="0"/>
              <a:t>Reduce time and materials by moving to the cloud.</a:t>
            </a:r>
            <a:endParaRPr lang="en-IN" sz="2399" i="1" dirty="0"/>
          </a:p>
        </p:txBody>
      </p:sp>
      <p:sp>
        <p:nvSpPr>
          <p:cNvPr id="24" name="Text Placeholder 6"/>
          <p:cNvSpPr txBox="1">
            <a:spLocks/>
          </p:cNvSpPr>
          <p:nvPr/>
        </p:nvSpPr>
        <p:spPr>
          <a:xfrm>
            <a:off x="9141618" y="143852"/>
            <a:ext cx="2832312" cy="372966"/>
          </a:xfrm>
          <a:prstGeom prst="rect">
            <a:avLst/>
          </a:prstGeom>
        </p:spPr>
        <p:txBody>
          <a:bodyPr vert="horz" lIns="319957" tIns="53311" rIns="53311" bIns="53311" rtlCol="0">
            <a:noAutofit/>
          </a:bodyPr>
          <a:lstStyle>
            <a:lvl1pPr marL="0" indent="0" algn="l" defTabSz="1088105" rtl="0" eaLnBrk="1" latinLnBrk="0" hangingPunct="1">
              <a:spcBef>
                <a:spcPts val="1800"/>
              </a:spcBef>
              <a:buClr>
                <a:srgbClr val="0072C6"/>
              </a:buClr>
              <a:buSzPct val="100000"/>
              <a:buFont typeface="Wingdings" pitchFamily="2" charset="2"/>
              <a:buNone/>
              <a:defRPr sz="2800" kern="1200">
                <a:solidFill>
                  <a:schemeClr val="tx1"/>
                </a:solidFill>
                <a:latin typeface="Segoe UI Light" pitchFamily="34" charset="0"/>
                <a:ea typeface="Segoe UI" pitchFamily="34" charset="0"/>
                <a:cs typeface="Segoe UI" pitchFamily="34" charset="0"/>
              </a:defRPr>
            </a:lvl1pPr>
            <a:lvl2pPr marL="281674" indent="0" algn="l" defTabSz="1088105" rtl="0" eaLnBrk="1" latinLnBrk="0" hangingPunct="1">
              <a:spcBef>
                <a:spcPct val="20000"/>
              </a:spcBef>
              <a:buFont typeface="Arial" pitchFamily="34" charset="0"/>
              <a:buNone/>
              <a:defRPr sz="1800" kern="1200">
                <a:solidFill>
                  <a:schemeClr val="tx1"/>
                </a:solidFill>
                <a:latin typeface="Segoe UI" pitchFamily="34" charset="0"/>
                <a:ea typeface="Segoe UI" pitchFamily="34" charset="0"/>
                <a:cs typeface="Segoe UI" pitchFamily="34" charset="0"/>
              </a:defRPr>
            </a:lvl2pPr>
            <a:lvl3pPr marL="588476" indent="0" algn="l" defTabSz="1088105" rtl="0" eaLnBrk="1" latinLnBrk="0" hangingPunct="1">
              <a:spcBef>
                <a:spcPct val="20000"/>
              </a:spcBef>
              <a:buFont typeface="Arial" pitchFamily="34" charset="0"/>
              <a:buNone/>
              <a:defRPr sz="1600" kern="1200">
                <a:solidFill>
                  <a:schemeClr val="tx1"/>
                </a:solidFill>
                <a:latin typeface="Segoe UI" pitchFamily="34" charset="0"/>
                <a:ea typeface="Segoe UI" pitchFamily="34" charset="0"/>
                <a:cs typeface="Segoe UI" pitchFamily="34" charset="0"/>
              </a:defRPr>
            </a:lvl3pPr>
            <a:lvl4pPr marL="87015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4pPr>
            <a:lvl5pPr marL="110554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defTabSz="1087779">
              <a:spcBef>
                <a:spcPts val="1799"/>
              </a:spcBef>
              <a:defRPr/>
            </a:pPr>
            <a:r>
              <a:rPr lang="en-US" sz="2799" dirty="0">
                <a:solidFill>
                  <a:srgbClr val="505050"/>
                </a:solidFill>
              </a:rPr>
              <a:t>Customer Story</a:t>
            </a:r>
          </a:p>
        </p:txBody>
      </p:sp>
    </p:spTree>
    <p:extLst>
      <p:ext uri="{BB962C8B-B14F-4D97-AF65-F5344CB8AC3E}">
        <p14:creationId xmlns:p14="http://schemas.microsoft.com/office/powerpoint/2010/main" val="177873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ontributors and Reviewers</a:t>
            </a:r>
            <a:endParaRPr lang="en-US" dirty="0"/>
          </a:p>
        </p:txBody>
      </p:sp>
      <p:sp>
        <p:nvSpPr>
          <p:cNvPr id="16" name="Rectangle 15"/>
          <p:cNvSpPr/>
          <p:nvPr/>
        </p:nvSpPr>
        <p:spPr>
          <a:xfrm>
            <a:off x="306870" y="975555"/>
            <a:ext cx="2558986" cy="197763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2784" tIns="137088" rIns="182784" bIns="13708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1087453">
              <a:defRPr/>
            </a:pPr>
            <a:r>
              <a:rPr lang="en-US" sz="2798" dirty="0">
                <a:solidFill>
                  <a:prstClr val="white"/>
                </a:solidFill>
                <a:latin typeface="Segoe UI Light"/>
                <a:cs typeface="Segoe UI Semibold" panose="020B0702040204020203" pitchFamily="34" charset="0"/>
              </a:rPr>
              <a:t>Core Development Team</a:t>
            </a:r>
          </a:p>
        </p:txBody>
      </p:sp>
      <p:sp>
        <p:nvSpPr>
          <p:cNvPr id="17" name="Rectangle 16"/>
          <p:cNvSpPr/>
          <p:nvPr/>
        </p:nvSpPr>
        <p:spPr>
          <a:xfrm>
            <a:off x="2865857" y="975555"/>
            <a:ext cx="9016100" cy="19776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5570" tIns="91392" rIns="91392" bIns="91392"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2405" indent="-282405" defTabSz="914126">
              <a:spcAft>
                <a:spcPts val="600"/>
              </a:spcAft>
              <a:buFont typeface="Arial" panose="020B0604020202020204" pitchFamily="34" charset="0"/>
              <a:buChar char="•"/>
              <a:defRPr/>
            </a:pPr>
            <a:endParaRPr lang="en-US" sz="2198" dirty="0">
              <a:solidFill>
                <a:srgbClr val="505050"/>
              </a:solidFill>
              <a:latin typeface="Segoe UI Light"/>
            </a:endParaRPr>
          </a:p>
          <a:p>
            <a:pPr marL="282405" indent="-282405" defTabSz="914126">
              <a:spcAft>
                <a:spcPts val="600"/>
              </a:spcAft>
              <a:buFont typeface="Arial" panose="020B0604020202020204" pitchFamily="34" charset="0"/>
              <a:buChar char="•"/>
              <a:defRPr/>
            </a:pPr>
            <a:r>
              <a:rPr lang="en-US" sz="2198" dirty="0">
                <a:solidFill>
                  <a:srgbClr val="505050"/>
                </a:solidFill>
                <a:latin typeface="Segoe UI Light"/>
              </a:rPr>
              <a:t>Andy Eunson</a:t>
            </a:r>
          </a:p>
          <a:p>
            <a:pPr marL="282405" indent="-282405" defTabSz="914126">
              <a:spcAft>
                <a:spcPts val="600"/>
              </a:spcAft>
              <a:buFont typeface="Arial" panose="020B0604020202020204" pitchFamily="34" charset="0"/>
              <a:buChar char="•"/>
              <a:defRPr/>
            </a:pPr>
            <a:r>
              <a:rPr lang="en-US" sz="2198" dirty="0">
                <a:solidFill>
                  <a:srgbClr val="505050"/>
                </a:solidFill>
                <a:latin typeface="Segoe UI Light"/>
              </a:rPr>
              <a:t>David Meltzer</a:t>
            </a:r>
          </a:p>
          <a:p>
            <a:pPr marL="282405" indent="-282405" defTabSz="914126">
              <a:spcAft>
                <a:spcPts val="600"/>
              </a:spcAft>
              <a:buFont typeface="Arial" panose="020B0604020202020204" pitchFamily="34" charset="0"/>
              <a:buChar char="•"/>
              <a:defRPr/>
            </a:pPr>
            <a:r>
              <a:rPr lang="en-US" sz="2198" dirty="0">
                <a:solidFill>
                  <a:srgbClr val="505050"/>
                </a:solidFill>
                <a:latin typeface="Segoe UI Light"/>
              </a:rPr>
              <a:t>J.D. Meier</a:t>
            </a:r>
          </a:p>
          <a:p>
            <a:pPr marL="282405" indent="-282405" defTabSz="914126">
              <a:spcAft>
                <a:spcPts val="600"/>
              </a:spcAft>
              <a:buFont typeface="Arial" panose="020B0604020202020204" pitchFamily="34" charset="0"/>
              <a:buChar char="•"/>
              <a:defRPr/>
            </a:pPr>
            <a:r>
              <a:rPr lang="en-US" sz="2198" dirty="0">
                <a:solidFill>
                  <a:srgbClr val="505050"/>
                </a:solidFill>
                <a:latin typeface="Segoe UI Light"/>
              </a:rPr>
              <a:t>Rachita Ghosal</a:t>
            </a:r>
          </a:p>
          <a:p>
            <a:pPr marL="282405" indent="-282405" defTabSz="914126">
              <a:spcAft>
                <a:spcPts val="600"/>
              </a:spcAft>
              <a:buFont typeface="Arial" panose="020B0604020202020204" pitchFamily="34" charset="0"/>
              <a:buChar char="•"/>
              <a:defRPr/>
            </a:pPr>
            <a:endParaRPr lang="en-US" sz="2198" dirty="0">
              <a:solidFill>
                <a:srgbClr val="505050"/>
              </a:solidFill>
              <a:latin typeface="Segoe UI Light"/>
            </a:endParaRPr>
          </a:p>
        </p:txBody>
      </p:sp>
      <p:sp>
        <p:nvSpPr>
          <p:cNvPr id="18" name="Rectangle 17"/>
          <p:cNvSpPr/>
          <p:nvPr/>
        </p:nvSpPr>
        <p:spPr>
          <a:xfrm>
            <a:off x="306870" y="3133021"/>
            <a:ext cx="2558986" cy="31003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2784" tIns="137088" rIns="182784" bIns="13708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1087453">
              <a:defRPr/>
            </a:pPr>
            <a:r>
              <a:rPr lang="en-US" sz="2798" dirty="0">
                <a:solidFill>
                  <a:prstClr val="white"/>
                </a:solidFill>
                <a:latin typeface="Segoe UI Light"/>
                <a:cs typeface="Segoe UI Semibold" panose="020B0702040204020203" pitchFamily="34" charset="0"/>
              </a:rPr>
              <a:t>Contributors and Reviewers</a:t>
            </a:r>
          </a:p>
        </p:txBody>
      </p:sp>
      <p:sp>
        <p:nvSpPr>
          <p:cNvPr id="19" name="Rectangle 18"/>
          <p:cNvSpPr/>
          <p:nvPr/>
        </p:nvSpPr>
        <p:spPr>
          <a:xfrm>
            <a:off x="2865855" y="3133021"/>
            <a:ext cx="9016100" cy="31003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5570" tIns="91392" rIns="91392" bIns="91392"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4126">
              <a:spcAft>
                <a:spcPts val="1200"/>
              </a:spcAft>
              <a:defRPr/>
            </a:pPr>
            <a:r>
              <a:rPr lang="en-US" sz="2198" dirty="0">
                <a:solidFill>
                  <a:srgbClr val="505050"/>
                </a:solidFill>
                <a:latin typeface="Segoe UI"/>
                <a:ea typeface="Calibri" panose="020F0502020204030204" pitchFamily="34" charset="0"/>
                <a:cs typeface="Segoe UI" panose="020B0502040204020203" pitchFamily="34" charset="0"/>
              </a:rPr>
              <a:t>Many thanks to the following key contributors and reviewers:</a:t>
            </a:r>
          </a:p>
          <a:p>
            <a:pPr defTabSz="914126">
              <a:spcAft>
                <a:spcPts val="1200"/>
              </a:spcAft>
              <a:defRPr/>
            </a:pPr>
            <a:r>
              <a:rPr lang="en-US" sz="2199" dirty="0">
                <a:solidFill>
                  <a:srgbClr val="505050"/>
                </a:solidFill>
                <a:latin typeface="Segoe UI Light"/>
                <a:ea typeface="Calibri" panose="020F0502020204030204" pitchFamily="34" charset="0"/>
                <a:cs typeface="Segoe UI" panose="020B0502040204020203" pitchFamily="34" charset="0"/>
              </a:rPr>
              <a:t>Andrew Liu, Anya Minbiole, Atul Totre, Axel Schwarz, Deepak Mani, </a:t>
            </a:r>
            <a:br>
              <a:rPr lang="en-US" sz="2199" dirty="0">
                <a:solidFill>
                  <a:srgbClr val="505050"/>
                </a:solidFill>
                <a:latin typeface="Segoe UI Light"/>
                <a:ea typeface="Calibri" panose="020F0502020204030204" pitchFamily="34" charset="0"/>
                <a:cs typeface="Segoe UI" panose="020B0502040204020203" pitchFamily="34" charset="0"/>
              </a:rPr>
            </a:br>
            <a:r>
              <a:rPr lang="en-US" sz="2199" dirty="0">
                <a:solidFill>
                  <a:srgbClr val="505050"/>
                </a:solidFill>
                <a:latin typeface="Segoe UI Light"/>
                <a:ea typeface="Calibri" panose="020F0502020204030204" pitchFamily="34" charset="0"/>
                <a:cs typeface="Segoe UI" panose="020B0502040204020203" pitchFamily="34" charset="0"/>
              </a:rPr>
              <a:t>Detlef Kraus-de Weerth, Dominik Langrehr, Dottie Shaw, Elmar Dietl, Frank </a:t>
            </a:r>
            <a:r>
              <a:rPr lang="en-US" sz="2199" dirty="0" err="1">
                <a:solidFill>
                  <a:srgbClr val="505050"/>
                </a:solidFill>
                <a:latin typeface="Segoe UI Light"/>
                <a:ea typeface="Calibri" panose="020F0502020204030204" pitchFamily="34" charset="0"/>
                <a:cs typeface="Segoe UI" panose="020B0502040204020203" pitchFamily="34" charset="0"/>
              </a:rPr>
              <a:t>Kaleck</a:t>
            </a:r>
            <a:r>
              <a:rPr lang="en-US" sz="2199" dirty="0">
                <a:solidFill>
                  <a:srgbClr val="505050"/>
                </a:solidFill>
                <a:latin typeface="Segoe UI Light"/>
                <a:ea typeface="Calibri" panose="020F0502020204030204" pitchFamily="34" charset="0"/>
                <a:cs typeface="Segoe UI" panose="020B0502040204020203" pitchFamily="34" charset="0"/>
              </a:rPr>
              <a:t>, Ilan Ostfeld, James Dzidek, Johan Holmberg, Jolly Kaur, Markus Gruber, Michael Kropp, Mike Nicholas, Mike Tokarcik, </a:t>
            </a:r>
            <a:br>
              <a:rPr lang="en-US" sz="2199" dirty="0">
                <a:solidFill>
                  <a:srgbClr val="505050"/>
                </a:solidFill>
                <a:latin typeface="Segoe UI Light"/>
                <a:ea typeface="Calibri" panose="020F0502020204030204" pitchFamily="34" charset="0"/>
                <a:cs typeface="Segoe UI" panose="020B0502040204020203" pitchFamily="34" charset="0"/>
              </a:rPr>
            </a:br>
            <a:r>
              <a:rPr lang="en-US" sz="2199" dirty="0">
                <a:solidFill>
                  <a:srgbClr val="505050"/>
                </a:solidFill>
                <a:latin typeface="Segoe UI Light"/>
                <a:ea typeface="Calibri" panose="020F0502020204030204" pitchFamily="34" charset="0"/>
                <a:cs typeface="Segoe UI" panose="020B0502040204020203" pitchFamily="34" charset="0"/>
              </a:rPr>
              <a:t>Minwoo Bahk, Pete Dannatt, Roderick Morgan, Rohit Bhargava, </a:t>
            </a:r>
            <a:br>
              <a:rPr lang="en-US" sz="2199" dirty="0">
                <a:solidFill>
                  <a:srgbClr val="505050"/>
                </a:solidFill>
                <a:latin typeface="Segoe UI Light"/>
                <a:ea typeface="Calibri" panose="020F0502020204030204" pitchFamily="34" charset="0"/>
                <a:cs typeface="Segoe UI" panose="020B0502040204020203" pitchFamily="34" charset="0"/>
              </a:rPr>
            </a:br>
            <a:r>
              <a:rPr lang="en-US" sz="2199" dirty="0">
                <a:solidFill>
                  <a:srgbClr val="505050"/>
                </a:solidFill>
                <a:latin typeface="Segoe UI Light"/>
                <a:ea typeface="Calibri" panose="020F0502020204030204" pitchFamily="34" charset="0"/>
                <a:cs typeface="Segoe UI" panose="020B0502040204020203" pitchFamily="34" charset="0"/>
              </a:rPr>
              <a:t>Taka Tazawa, Tom Schepers, Vijitha Chekuri</a:t>
            </a:r>
          </a:p>
        </p:txBody>
      </p:sp>
      <p:sp>
        <p:nvSpPr>
          <p:cNvPr id="21" name="Isosceles Triangle 20"/>
          <p:cNvSpPr/>
          <p:nvPr/>
        </p:nvSpPr>
        <p:spPr>
          <a:xfrm rot="5400000">
            <a:off x="2744290" y="1849266"/>
            <a:ext cx="429418" cy="18628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392" tIns="91392" rIns="91392" bIns="91392"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defTabSz="914126">
              <a:defRPr/>
            </a:pPr>
            <a:endParaRPr lang="en-US" sz="1200" dirty="0">
              <a:solidFill>
                <a:prstClr val="white"/>
              </a:solidFill>
              <a:latin typeface="Segoe UI"/>
            </a:endParaRPr>
          </a:p>
        </p:txBody>
      </p:sp>
      <p:sp>
        <p:nvSpPr>
          <p:cNvPr id="22" name="Isosceles Triangle 21"/>
          <p:cNvSpPr/>
          <p:nvPr/>
        </p:nvSpPr>
        <p:spPr>
          <a:xfrm rot="5400000">
            <a:off x="2744290" y="4313416"/>
            <a:ext cx="429418" cy="186286"/>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392" tIns="91392" rIns="91392" bIns="91392"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defTabSz="914126">
              <a:defRPr/>
            </a:pPr>
            <a:endParaRPr lang="en-US" sz="1200" dirty="0">
              <a:solidFill>
                <a:prstClr val="white"/>
              </a:solidFill>
              <a:latin typeface="Segoe UI"/>
            </a:endParaRPr>
          </a:p>
        </p:txBody>
      </p:sp>
    </p:spTree>
    <p:extLst>
      <p:ext uri="{BB962C8B-B14F-4D97-AF65-F5344CB8AC3E}">
        <p14:creationId xmlns:p14="http://schemas.microsoft.com/office/powerpoint/2010/main" val="32901727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ontents</a:t>
            </a:r>
          </a:p>
        </p:txBody>
      </p:sp>
      <p:sp>
        <p:nvSpPr>
          <p:cNvPr id="5" name="Text Placeholder 4"/>
          <p:cNvSpPr>
            <a:spLocks noGrp="1"/>
          </p:cNvSpPr>
          <p:nvPr>
            <p:ph type="body" sz="quarter" idx="14"/>
          </p:nvPr>
        </p:nvSpPr>
        <p:spPr>
          <a:xfrm>
            <a:off x="1794996" y="874845"/>
            <a:ext cx="9324198" cy="5603029"/>
          </a:xfrm>
        </p:spPr>
        <p:txBody>
          <a:bodyPr>
            <a:noAutofit/>
          </a:bodyPr>
          <a:lstStyle/>
          <a:p>
            <a:pPr marL="228531" indent="-228531">
              <a:lnSpc>
                <a:spcPct val="150000"/>
              </a:lnSpc>
              <a:spcBef>
                <a:spcPts val="400"/>
              </a:spcBef>
              <a:buFont typeface="Arial" panose="020B0604020202020204" pitchFamily="34" charset="0"/>
              <a:buChar char="•"/>
            </a:pPr>
            <a:r>
              <a:rPr lang="en-IN" sz="2000" dirty="0">
                <a:latin typeface="+mj-lt"/>
              </a:rPr>
              <a:t>Imagine If …</a:t>
            </a:r>
          </a:p>
          <a:p>
            <a:pPr marL="228531" indent="-228531">
              <a:lnSpc>
                <a:spcPct val="150000"/>
              </a:lnSpc>
              <a:spcBef>
                <a:spcPts val="400"/>
              </a:spcBef>
              <a:buFont typeface="Arial" panose="020B0604020202020204" pitchFamily="34" charset="0"/>
              <a:buChar char="•"/>
            </a:pPr>
            <a:r>
              <a:rPr lang="en-IN" sz="2000" dirty="0">
                <a:latin typeface="+mj-lt"/>
              </a:rPr>
              <a:t>Vision</a:t>
            </a:r>
          </a:p>
          <a:p>
            <a:pPr marL="228531" indent="-228531">
              <a:lnSpc>
                <a:spcPct val="150000"/>
              </a:lnSpc>
              <a:spcBef>
                <a:spcPts val="400"/>
              </a:spcBef>
              <a:buFont typeface="Arial" panose="020B0604020202020204" pitchFamily="34" charset="0"/>
              <a:buChar char="•"/>
            </a:pPr>
            <a:r>
              <a:rPr lang="en-IN" sz="2000" dirty="0">
                <a:latin typeface="+mj-lt"/>
              </a:rPr>
              <a:t>Business Drivers</a:t>
            </a:r>
          </a:p>
          <a:p>
            <a:pPr marL="228531" indent="-228531">
              <a:lnSpc>
                <a:spcPct val="150000"/>
              </a:lnSpc>
              <a:spcBef>
                <a:spcPts val="400"/>
              </a:spcBef>
              <a:buFont typeface="Arial" panose="020B0604020202020204" pitchFamily="34" charset="0"/>
              <a:buChar char="•"/>
            </a:pPr>
            <a:r>
              <a:rPr lang="en-IN" sz="2000" dirty="0">
                <a:latin typeface="+mj-lt"/>
              </a:rPr>
              <a:t>Customer Experience Journey</a:t>
            </a:r>
          </a:p>
          <a:p>
            <a:pPr marL="228531" indent="-228531">
              <a:lnSpc>
                <a:spcPct val="150000"/>
              </a:lnSpc>
              <a:spcBef>
                <a:spcPts val="400"/>
              </a:spcBef>
              <a:buFont typeface="Arial" panose="020B0604020202020204" pitchFamily="34" charset="0"/>
              <a:buChar char="•"/>
            </a:pPr>
            <a:r>
              <a:rPr lang="en-IN" sz="2000" dirty="0">
                <a:latin typeface="+mj-lt"/>
              </a:rPr>
              <a:t>Capabilities</a:t>
            </a:r>
          </a:p>
          <a:p>
            <a:pPr marL="228531" indent="-228531">
              <a:lnSpc>
                <a:spcPct val="150000"/>
              </a:lnSpc>
              <a:spcBef>
                <a:spcPts val="400"/>
              </a:spcBef>
              <a:buFont typeface="Arial" panose="020B0604020202020204" pitchFamily="34" charset="0"/>
              <a:buChar char="•"/>
            </a:pPr>
            <a:r>
              <a:rPr lang="en-IN" sz="2000" dirty="0">
                <a:latin typeface="Segoe UI Semibold" panose="020B0702040204020203" pitchFamily="34" charset="0"/>
                <a:cs typeface="Segoe UI Semibold" panose="020B0702040204020203" pitchFamily="34" charset="0"/>
              </a:rPr>
              <a:t>Scenarios</a:t>
            </a:r>
          </a:p>
          <a:p>
            <a:pPr marL="512609" indent="-228531">
              <a:spcBef>
                <a:spcPts val="100"/>
              </a:spcBef>
              <a:spcAft>
                <a:spcPts val="300"/>
              </a:spcAft>
              <a:buFont typeface="Segoe UI" panose="020B0502040204020203" pitchFamily="34" charset="0"/>
              <a:buChar char="–"/>
            </a:pPr>
            <a:r>
              <a:rPr lang="en-IN" sz="1400" dirty="0">
                <a:latin typeface="Segoe UI Semibold" panose="020B0702040204020203" pitchFamily="34" charset="0"/>
                <a:cs typeface="Segoe UI Semibold" panose="020B0702040204020203" pitchFamily="34" charset="0"/>
              </a:rPr>
              <a:t>Engage Your Customers:</a:t>
            </a:r>
            <a:br>
              <a:rPr lang="en-IN" sz="1400" dirty="0">
                <a:latin typeface="Segoe UI Semibold" panose="020B0702040204020203" pitchFamily="34" charset="0"/>
                <a:cs typeface="Segoe UI Semibold" panose="020B0702040204020203" pitchFamily="34" charset="0"/>
              </a:rPr>
            </a:br>
            <a:r>
              <a:rPr lang="en-IN" sz="1400" i="1" dirty="0">
                <a:latin typeface="Segoe UI Semibold" panose="020B0702040204020203" pitchFamily="34" charset="0"/>
                <a:cs typeface="Segoe UI Semibold" panose="020B0702040204020203" pitchFamily="34" charset="0"/>
              </a:rPr>
              <a:t>Personalized mobility services</a:t>
            </a:r>
          </a:p>
          <a:p>
            <a:pPr marL="512609" indent="-228531">
              <a:spcBef>
                <a:spcPts val="100"/>
              </a:spcBef>
              <a:spcAft>
                <a:spcPts val="300"/>
              </a:spcAft>
              <a:buFont typeface="Segoe UI" panose="020B0502040204020203" pitchFamily="34" charset="0"/>
              <a:buChar char="–"/>
            </a:pPr>
            <a:r>
              <a:rPr lang="en-IN" sz="1400" dirty="0">
                <a:latin typeface="Segoe UI Semibold" panose="020B0702040204020203" pitchFamily="34" charset="0"/>
                <a:cs typeface="Segoe UI Semibold" panose="020B0702040204020203" pitchFamily="34" charset="0"/>
              </a:rPr>
              <a:t>Empower Your Employees:</a:t>
            </a:r>
            <a:br>
              <a:rPr lang="en-IN" sz="1400" dirty="0">
                <a:latin typeface="Segoe UI Semibold" panose="020B0702040204020203" pitchFamily="34" charset="0"/>
                <a:cs typeface="Segoe UI Semibold" panose="020B0702040204020203" pitchFamily="34" charset="0"/>
              </a:rPr>
            </a:br>
            <a:r>
              <a:rPr lang="en-IN" sz="1400" i="1" dirty="0">
                <a:latin typeface="Segoe UI Semibold" panose="020B0702040204020203" pitchFamily="34" charset="0"/>
                <a:cs typeface="Segoe UI Semibold" panose="020B0702040204020203" pitchFamily="34" charset="0"/>
              </a:rPr>
              <a:t>Human-Robot Collaboration</a:t>
            </a:r>
          </a:p>
          <a:p>
            <a:pPr marL="512609" indent="-228531">
              <a:spcBef>
                <a:spcPts val="100"/>
              </a:spcBef>
              <a:spcAft>
                <a:spcPts val="300"/>
              </a:spcAft>
              <a:buFont typeface="Segoe UI" panose="020B0502040204020203" pitchFamily="34" charset="0"/>
              <a:buChar char="–"/>
            </a:pPr>
            <a:r>
              <a:rPr lang="en-IN" sz="1400" dirty="0">
                <a:latin typeface="Segoe UI Semibold" panose="020B0702040204020203" pitchFamily="34" charset="0"/>
                <a:cs typeface="Segoe UI Semibold" panose="020B0702040204020203" pitchFamily="34" charset="0"/>
              </a:rPr>
              <a:t>Optimize Your Operations:</a:t>
            </a:r>
            <a:br>
              <a:rPr lang="en-IN" sz="1400" dirty="0">
                <a:latin typeface="Segoe UI Semibold" panose="020B0702040204020203" pitchFamily="34" charset="0"/>
                <a:cs typeface="Segoe UI Semibold" panose="020B0702040204020203" pitchFamily="34" charset="0"/>
              </a:rPr>
            </a:br>
            <a:r>
              <a:rPr lang="en-IN" sz="1400" i="1" dirty="0">
                <a:latin typeface="Segoe UI Semibold" panose="020B0702040204020203" pitchFamily="34" charset="0"/>
                <a:cs typeface="Segoe UI Semibold" panose="020B0702040204020203" pitchFamily="34" charset="0"/>
              </a:rPr>
              <a:t>Integrated supply chain</a:t>
            </a:r>
          </a:p>
          <a:p>
            <a:pPr marL="512609" indent="-228531">
              <a:spcBef>
                <a:spcPts val="100"/>
              </a:spcBef>
              <a:spcAft>
                <a:spcPts val="300"/>
              </a:spcAft>
              <a:buFont typeface="Segoe UI" panose="020B0502040204020203" pitchFamily="34" charset="0"/>
              <a:buChar char="–"/>
            </a:pPr>
            <a:r>
              <a:rPr lang="en-IN" sz="1400" dirty="0">
                <a:latin typeface="Segoe UI Semibold" panose="020B0702040204020203" pitchFamily="34" charset="0"/>
                <a:cs typeface="Segoe UI Semibold" panose="020B0702040204020203" pitchFamily="34" charset="0"/>
              </a:rPr>
              <a:t>Transform your products</a:t>
            </a:r>
            <a:br>
              <a:rPr lang="en-IN" sz="1400" dirty="0">
                <a:latin typeface="Segoe UI Semibold" panose="020B0702040204020203" pitchFamily="34" charset="0"/>
                <a:cs typeface="Segoe UI Semibold" panose="020B0702040204020203" pitchFamily="34" charset="0"/>
              </a:rPr>
            </a:br>
            <a:r>
              <a:rPr lang="en-IN" sz="1400" i="1" dirty="0">
                <a:latin typeface="Segoe UI Semibold" panose="020B0702040204020203" pitchFamily="34" charset="0"/>
                <a:cs typeface="Segoe UI Semibold" panose="020B0702040204020203" pitchFamily="34" charset="0"/>
              </a:rPr>
              <a:t>Open Innovation</a:t>
            </a:r>
          </a:p>
        </p:txBody>
      </p:sp>
      <p:sp>
        <p:nvSpPr>
          <p:cNvPr id="2" name="Slide Number Placeholder 1"/>
          <p:cNvSpPr>
            <a:spLocks noGrp="1"/>
          </p:cNvSpPr>
          <p:nvPr>
            <p:ph type="sldNum" sz="quarter" idx="15"/>
          </p:nvPr>
        </p:nvSpPr>
        <p:spPr/>
        <p:txBody>
          <a:bodyPr/>
          <a:lstStyle/>
          <a:p>
            <a:fld id="{FAADACFB-7C71-4E89-89D2-7BBA40B7BFA9}" type="slidenum">
              <a:rPr lang="en-US" smtClean="0">
                <a:solidFill>
                  <a:srgbClr val="505050"/>
                </a:solidFill>
              </a:rPr>
              <a:pPr/>
              <a:t>6</a:t>
            </a:fld>
            <a:endParaRPr lang="en-US">
              <a:solidFill>
                <a:srgbClr val="505050"/>
              </a:solidFill>
            </a:endParaRPr>
          </a:p>
        </p:txBody>
      </p:sp>
      <p:grpSp>
        <p:nvGrpSpPr>
          <p:cNvPr id="23" name="Group 22"/>
          <p:cNvGrpSpPr/>
          <p:nvPr/>
        </p:nvGrpSpPr>
        <p:grpSpPr>
          <a:xfrm>
            <a:off x="6336559" y="1880718"/>
            <a:ext cx="4450551" cy="4086264"/>
            <a:chOff x="4153748" y="1988637"/>
            <a:chExt cx="3602904" cy="3570208"/>
          </a:xfrm>
        </p:grpSpPr>
        <p:sp>
          <p:nvSpPr>
            <p:cNvPr id="7" name="TextBox 6"/>
            <p:cNvSpPr txBox="1"/>
            <p:nvPr/>
          </p:nvSpPr>
          <p:spPr>
            <a:xfrm>
              <a:off x="4578477" y="1988637"/>
              <a:ext cx="3178175" cy="3570208"/>
            </a:xfrm>
            <a:prstGeom prst="rect">
              <a:avLst/>
            </a:prstGeom>
            <a:noFill/>
          </p:spPr>
          <p:txBody>
            <a:bodyPr vert="horz" wrap="square" lIns="91416" tIns="45708" rIns="91416" bIns="45708" rtlCol="0" anchor="ctr">
              <a:noAutofit/>
            </a:bodyPr>
            <a:lstStyle>
              <a:defPPr>
                <a:defRPr lang="en-US"/>
              </a:defPPr>
              <a:lvl1pPr marL="233363" indent="-233363">
                <a:spcBef>
                  <a:spcPts val="600"/>
                </a:spcBef>
                <a:buFont typeface="Arial" panose="020B0604020202020204" pitchFamily="34" charset="0"/>
                <a:buChar char="•"/>
                <a:defRPr sz="1800">
                  <a:solidFill>
                    <a:srgbClr val="505050"/>
                  </a:solidFill>
                  <a:ea typeface="Segoe UI" pitchFamily="34" charset="0"/>
                  <a:cs typeface="Segoe UI" pitchFamily="34" charset="0"/>
                </a:defRPr>
              </a:lvl1pPr>
            </a:lstStyle>
            <a:p>
              <a:pPr marL="0" lvl="1">
                <a:spcBef>
                  <a:spcPts val="400"/>
                </a:spcBef>
                <a:buClr>
                  <a:srgbClr val="0072C6"/>
                </a:buClr>
                <a:buSzPct val="100000"/>
              </a:pPr>
              <a:r>
                <a:rPr lang="en-US" sz="2199" i="1">
                  <a:solidFill>
                    <a:srgbClr val="505050"/>
                  </a:solidFill>
                  <a:ea typeface="Segoe UI" pitchFamily="34" charset="0"/>
                  <a:cs typeface="Segoe UI Semibold" panose="020B0702040204020203" pitchFamily="34" charset="0"/>
                </a:rPr>
                <a:t>For each scenario:</a:t>
              </a:r>
            </a:p>
            <a:p>
              <a:pPr marL="345971" lvl="1" indent="-230119">
                <a:spcBef>
                  <a:spcPts val="100"/>
                </a:spcBef>
                <a:spcAft>
                  <a:spcPts val="300"/>
                </a:spcAft>
                <a:buSzPct val="100000"/>
                <a:buFont typeface="Arial" panose="020B0604020202020204" pitchFamily="34" charset="0"/>
                <a:buChar char="•"/>
              </a:pPr>
              <a:r>
                <a:rPr lang="en-US" sz="1600">
                  <a:solidFill>
                    <a:srgbClr val="505050"/>
                  </a:solidFill>
                  <a:ea typeface="Segoe UI" pitchFamily="34" charset="0"/>
                  <a:cs typeface="Segoe UI Semibold" panose="020B0702040204020203" pitchFamily="34" charset="0"/>
                </a:rPr>
                <a:t>Scenario Chain</a:t>
              </a:r>
            </a:p>
            <a:p>
              <a:pPr marL="345971" lvl="1" indent="-230119">
                <a:spcBef>
                  <a:spcPts val="100"/>
                </a:spcBef>
                <a:spcAft>
                  <a:spcPts val="300"/>
                </a:spcAft>
                <a:buSzPct val="100000"/>
                <a:buFont typeface="Arial" panose="020B0604020202020204" pitchFamily="34" charset="0"/>
                <a:buChar char="•"/>
              </a:pPr>
              <a:r>
                <a:rPr lang="en-US" sz="1600">
                  <a:solidFill>
                    <a:srgbClr val="505050"/>
                  </a:solidFill>
                  <a:ea typeface="Segoe UI" pitchFamily="34" charset="0"/>
                  <a:cs typeface="Segoe UI Semibold" panose="020B0702040204020203" pitchFamily="34" charset="0"/>
                </a:rPr>
                <a:t>Scenario Narrative</a:t>
              </a:r>
            </a:p>
            <a:p>
              <a:pPr marL="345971" lvl="1" indent="-230119">
                <a:spcBef>
                  <a:spcPts val="100"/>
                </a:spcBef>
                <a:spcAft>
                  <a:spcPts val="300"/>
                </a:spcAft>
                <a:buSzPct val="100000"/>
                <a:buFont typeface="Arial" panose="020B0604020202020204" pitchFamily="34" charset="0"/>
                <a:buChar char="•"/>
              </a:pPr>
              <a:r>
                <a:rPr lang="en-US" sz="1600">
                  <a:solidFill>
                    <a:srgbClr val="505050"/>
                  </a:solidFill>
                  <a:ea typeface="Segoe UI" pitchFamily="34" charset="0"/>
                  <a:cs typeface="Segoe UI Semibold" panose="020B0702040204020203" pitchFamily="34" charset="0"/>
                </a:rPr>
                <a:t>Scenario Storyboard</a:t>
              </a:r>
            </a:p>
            <a:p>
              <a:pPr marL="345971" lvl="1" indent="-230119">
                <a:spcBef>
                  <a:spcPts val="100"/>
                </a:spcBef>
                <a:spcAft>
                  <a:spcPts val="300"/>
                </a:spcAft>
                <a:buSzPct val="100000"/>
                <a:buFont typeface="Arial" panose="020B0604020202020204" pitchFamily="34" charset="0"/>
                <a:buChar char="•"/>
              </a:pPr>
              <a:r>
                <a:rPr lang="en-US" sz="1600">
                  <a:solidFill>
                    <a:srgbClr val="505050"/>
                  </a:solidFill>
                  <a:ea typeface="Segoe UI" pitchFamily="34" charset="0"/>
                  <a:cs typeface="Segoe UI Semibold" panose="020B0702040204020203" pitchFamily="34" charset="0"/>
                </a:rPr>
                <a:t>Tech Storyboard</a:t>
              </a:r>
            </a:p>
            <a:p>
              <a:pPr marL="345971" lvl="1" indent="-230119">
                <a:spcBef>
                  <a:spcPts val="100"/>
                </a:spcBef>
                <a:spcAft>
                  <a:spcPts val="300"/>
                </a:spcAft>
                <a:buSzPct val="100000"/>
                <a:buFont typeface="Arial" panose="020B0604020202020204" pitchFamily="34" charset="0"/>
                <a:buChar char="•"/>
              </a:pPr>
              <a:r>
                <a:rPr lang="en-US" sz="1600">
                  <a:solidFill>
                    <a:srgbClr val="505050"/>
                  </a:solidFill>
                  <a:ea typeface="Segoe UI" pitchFamily="34" charset="0"/>
                  <a:cs typeface="Segoe UI Semibold" panose="020B0702040204020203" pitchFamily="34" charset="0"/>
                </a:rPr>
                <a:t>Business Dependency Network (BDN)</a:t>
              </a:r>
            </a:p>
            <a:p>
              <a:pPr marL="345971" lvl="1" indent="-230119">
                <a:spcBef>
                  <a:spcPts val="100"/>
                </a:spcBef>
                <a:spcAft>
                  <a:spcPts val="300"/>
                </a:spcAft>
                <a:buSzPct val="100000"/>
                <a:buFont typeface="Arial" panose="020B0604020202020204" pitchFamily="34" charset="0"/>
                <a:buChar char="•"/>
              </a:pPr>
              <a:r>
                <a:rPr lang="en-US" sz="1600">
                  <a:solidFill>
                    <a:srgbClr val="505050"/>
                  </a:solidFill>
                  <a:ea typeface="Segoe UI" pitchFamily="34" charset="0"/>
                  <a:cs typeface="Segoe UI Semibold" panose="020B0702040204020203" pitchFamily="34" charset="0"/>
                </a:rPr>
                <a:t>Value Touch Points</a:t>
              </a:r>
            </a:p>
            <a:p>
              <a:pPr marL="345971" lvl="1" indent="-230119">
                <a:spcBef>
                  <a:spcPts val="100"/>
                </a:spcBef>
                <a:spcAft>
                  <a:spcPts val="300"/>
                </a:spcAft>
                <a:buSzPct val="100000"/>
                <a:buFont typeface="Arial" panose="020B0604020202020204" pitchFamily="34" charset="0"/>
                <a:buChar char="•"/>
              </a:pPr>
              <a:r>
                <a:rPr lang="en-US" sz="1600">
                  <a:solidFill>
                    <a:srgbClr val="505050"/>
                  </a:solidFill>
                  <a:ea typeface="Segoe UI" pitchFamily="34" charset="0"/>
                  <a:cs typeface="Segoe UI Semibold" panose="020B0702040204020203" pitchFamily="34" charset="0"/>
                </a:rPr>
                <a:t>Value Realization Scorecard</a:t>
              </a:r>
            </a:p>
            <a:p>
              <a:pPr marL="345971" lvl="1" indent="-230119">
                <a:spcBef>
                  <a:spcPts val="100"/>
                </a:spcBef>
                <a:spcAft>
                  <a:spcPts val="300"/>
                </a:spcAft>
                <a:buSzPct val="100000"/>
                <a:buFont typeface="Arial" panose="020B0604020202020204" pitchFamily="34" charset="0"/>
                <a:buChar char="•"/>
              </a:pPr>
              <a:r>
                <a:rPr lang="en-US" sz="1600">
                  <a:solidFill>
                    <a:srgbClr val="505050"/>
                  </a:solidFill>
                  <a:ea typeface="Segoe UI" pitchFamily="34" charset="0"/>
                  <a:cs typeface="Segoe UI Semibold" panose="020B0702040204020203" pitchFamily="34" charset="0"/>
                </a:rPr>
                <a:t>Customer Story</a:t>
              </a:r>
            </a:p>
            <a:p>
              <a:pPr marL="345971" lvl="1" indent="-230119">
                <a:spcBef>
                  <a:spcPts val="100"/>
                </a:spcBef>
                <a:spcAft>
                  <a:spcPts val="300"/>
                </a:spcAft>
                <a:buSzPct val="100000"/>
                <a:buFont typeface="Arial" panose="020B0604020202020204" pitchFamily="34" charset="0"/>
                <a:buChar char="•"/>
              </a:pPr>
              <a:r>
                <a:rPr lang="en-US" sz="1600">
                  <a:solidFill>
                    <a:srgbClr val="505050"/>
                  </a:solidFill>
                  <a:ea typeface="Segoe UI" pitchFamily="34" charset="0"/>
                  <a:cs typeface="Segoe UI Semibold" panose="020B0702040204020203" pitchFamily="34" charset="0"/>
                </a:rPr>
                <a:t>Transformation Roadmap</a:t>
              </a:r>
            </a:p>
          </p:txBody>
        </p:sp>
        <p:grpSp>
          <p:nvGrpSpPr>
            <p:cNvPr id="22" name="Group 21"/>
            <p:cNvGrpSpPr/>
            <p:nvPr/>
          </p:nvGrpSpPr>
          <p:grpSpPr>
            <a:xfrm>
              <a:off x="4153748" y="2043418"/>
              <a:ext cx="275839" cy="3460647"/>
              <a:chOff x="4153748" y="2043418"/>
              <a:chExt cx="275839" cy="3460647"/>
            </a:xfrm>
          </p:grpSpPr>
          <p:sp>
            <p:nvSpPr>
              <p:cNvPr id="13" name="Left Bracket 12"/>
              <p:cNvSpPr/>
              <p:nvPr/>
            </p:nvSpPr>
            <p:spPr>
              <a:xfrm>
                <a:off x="4291668" y="2043418"/>
                <a:ext cx="137919" cy="3460647"/>
              </a:xfrm>
              <a:prstGeom prst="leftBracket">
                <a:avLst/>
              </a:prstGeom>
              <a:ln w="19050">
                <a:solidFill>
                  <a:schemeClr val="tx2"/>
                </a:solidFill>
              </a:ln>
            </p:spPr>
            <p:style>
              <a:lnRef idx="1">
                <a:schemeClr val="accent1"/>
              </a:lnRef>
              <a:fillRef idx="0">
                <a:schemeClr val="accent1"/>
              </a:fillRef>
              <a:effectRef idx="0">
                <a:schemeClr val="accent1"/>
              </a:effectRef>
              <a:fontRef idx="minor">
                <a:schemeClr val="tx1"/>
              </a:fontRef>
            </p:style>
            <p:txBody>
              <a:bodyPr lIns="0" rIns="0" rtlCol="0" anchor="ctr"/>
              <a:lstStyle/>
              <a:p>
                <a:pPr algn="ctr"/>
                <a:endParaRPr lang="en-IN" sz="2399">
                  <a:solidFill>
                    <a:srgbClr val="505050"/>
                  </a:solidFill>
                </a:endParaRPr>
              </a:p>
            </p:txBody>
          </p:sp>
          <p:grpSp>
            <p:nvGrpSpPr>
              <p:cNvPr id="14" name="Group 13"/>
              <p:cNvGrpSpPr/>
              <p:nvPr/>
            </p:nvGrpSpPr>
            <p:grpSpPr>
              <a:xfrm rot="5400000" flipH="1">
                <a:off x="4153746" y="3678753"/>
                <a:ext cx="275842" cy="275838"/>
                <a:chOff x="3676651" y="-638174"/>
                <a:chExt cx="247650" cy="247650"/>
              </a:xfrm>
              <a:effectLst/>
            </p:grpSpPr>
            <p:sp>
              <p:nvSpPr>
                <p:cNvPr id="15" name="Oval 14"/>
                <p:cNvSpPr/>
                <p:nvPr/>
              </p:nvSpPr>
              <p:spPr>
                <a:xfrm>
                  <a:off x="3676651" y="-638174"/>
                  <a:ext cx="247650" cy="247650"/>
                </a:xfrm>
                <a:prstGeom prst="ellipse">
                  <a:avLst/>
                </a:prstGeom>
                <a:solidFill>
                  <a:schemeClr val="tx2"/>
                </a:solidFill>
                <a:ln w="12700">
                  <a:solidFill>
                    <a:schemeClr val="bg1"/>
                  </a:solidFill>
                </a:ln>
                <a:effectLst/>
              </p:spPr>
              <p:txBody>
                <a:bodyPr vert="horz" wrap="square" lIns="0" tIns="45708" rIns="0" bIns="45708" rtlCol="0" anchor="ctr">
                  <a:noAutofit/>
                </a:bodyPr>
                <a:lstStyle/>
                <a:p>
                  <a:pPr algn="ctr"/>
                  <a:endParaRPr lang="en-IN" sz="2399">
                    <a:solidFill>
                      <a:prstClr val="white"/>
                    </a:solidFill>
                    <a:effectLst>
                      <a:outerShdw blurRad="38100" dist="25400" dir="2700000" algn="tl">
                        <a:srgbClr val="000000">
                          <a:alpha val="0"/>
                        </a:srgbClr>
                      </a:outerShdw>
                    </a:effectLst>
                    <a:latin typeface="Segoe UI Light"/>
                  </a:endParaRPr>
                </a:p>
              </p:txBody>
            </p:sp>
            <p:grpSp>
              <p:nvGrpSpPr>
                <p:cNvPr id="16" name="Group 15"/>
                <p:cNvGrpSpPr/>
                <p:nvPr/>
              </p:nvGrpSpPr>
              <p:grpSpPr>
                <a:xfrm>
                  <a:off x="3737720" y="-596214"/>
                  <a:ext cx="125525" cy="163729"/>
                  <a:chOff x="2624724" y="-933452"/>
                  <a:chExt cx="289928" cy="378170"/>
                </a:xfrm>
                <a:solidFill>
                  <a:schemeClr val="bg1"/>
                </a:solidFill>
              </p:grpSpPr>
              <p:sp>
                <p:nvSpPr>
                  <p:cNvPr id="17" name="Rectangle 16"/>
                  <p:cNvSpPr/>
                  <p:nvPr/>
                </p:nvSpPr>
                <p:spPr>
                  <a:xfrm>
                    <a:off x="2713628" y="-933452"/>
                    <a:ext cx="112098" cy="295273"/>
                  </a:xfrm>
                  <a:prstGeom prst="rect">
                    <a:avLst/>
                  </a:prstGeom>
                  <a:grpFill/>
                  <a:ln>
                    <a:noFill/>
                  </a:ln>
                </p:spPr>
                <p:txBody>
                  <a:bodyPr vert="horz" wrap="square" lIns="0" tIns="45708" rIns="0" bIns="45708" rtlCol="0" anchor="ctr">
                    <a:noAutofit/>
                  </a:bodyPr>
                  <a:lstStyle/>
                  <a:p>
                    <a:pPr algn="ctr"/>
                    <a:endParaRPr lang="en-IN" sz="2399">
                      <a:solidFill>
                        <a:prstClr val="white"/>
                      </a:solidFill>
                      <a:effectLst>
                        <a:outerShdw blurRad="38100" dist="25400" dir="2700000" algn="tl">
                          <a:srgbClr val="000000">
                            <a:alpha val="0"/>
                          </a:srgbClr>
                        </a:outerShdw>
                      </a:effectLst>
                      <a:latin typeface="Segoe UI Light"/>
                    </a:endParaRPr>
                  </a:p>
                </p:txBody>
              </p:sp>
              <p:sp>
                <p:nvSpPr>
                  <p:cNvPr id="18" name="Chevron 17"/>
                  <p:cNvSpPr/>
                  <p:nvPr/>
                </p:nvSpPr>
                <p:spPr>
                  <a:xfrm rot="5400000">
                    <a:off x="2642809" y="-827125"/>
                    <a:ext cx="253758" cy="289928"/>
                  </a:xfrm>
                  <a:prstGeom prst="chevron">
                    <a:avLst>
                      <a:gd name="adj" fmla="val 59856"/>
                    </a:avLst>
                  </a:prstGeom>
                  <a:grpFill/>
                  <a:ln>
                    <a:noFill/>
                  </a:ln>
                </p:spPr>
                <p:txBody>
                  <a:bodyPr vert="horz" wrap="square" lIns="0" tIns="45708" rIns="0" bIns="45708" rtlCol="0" anchor="ctr">
                    <a:noAutofit/>
                  </a:bodyPr>
                  <a:lstStyle/>
                  <a:p>
                    <a:pPr algn="ctr"/>
                    <a:endParaRPr lang="en-IN" sz="2399">
                      <a:solidFill>
                        <a:prstClr val="white"/>
                      </a:solidFill>
                      <a:effectLst>
                        <a:outerShdw blurRad="38100" dist="25400" dir="2700000" algn="tl">
                          <a:srgbClr val="000000">
                            <a:alpha val="0"/>
                          </a:srgbClr>
                        </a:outerShdw>
                      </a:effectLst>
                      <a:latin typeface="Segoe UI Light"/>
                    </a:endParaRPr>
                  </a:p>
                </p:txBody>
              </p:sp>
            </p:grpSp>
          </p:grpSp>
        </p:grpSp>
      </p:grpSp>
    </p:spTree>
    <p:extLst>
      <p:ext uri="{BB962C8B-B14F-4D97-AF65-F5344CB8AC3E}">
        <p14:creationId xmlns:p14="http://schemas.microsoft.com/office/powerpoint/2010/main" val="1038226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b="697"/>
          <a:stretch/>
        </p:blipFill>
        <p:spPr>
          <a:xfrm>
            <a:off x="0" y="0"/>
            <a:ext cx="12188825" cy="6858000"/>
          </a:xfrm>
          <a:prstGeom prst="rect">
            <a:avLst/>
          </a:prstGeom>
          <a:noFill/>
          <a:ln>
            <a:noFill/>
          </a:ln>
        </p:spPr>
      </p:pic>
      <p:sp>
        <p:nvSpPr>
          <p:cNvPr id="2" name="Title 1"/>
          <p:cNvSpPr>
            <a:spLocks noGrp="1"/>
          </p:cNvSpPr>
          <p:nvPr>
            <p:ph type="title"/>
          </p:nvPr>
        </p:nvSpPr>
        <p:spPr/>
        <p:txBody>
          <a:bodyPr/>
          <a:lstStyle/>
          <a:p>
            <a:r>
              <a:rPr lang="en-US"/>
              <a:t>Imagine If…</a:t>
            </a:r>
            <a:endParaRPr lang="en-IN"/>
          </a:p>
        </p:txBody>
      </p:sp>
      <p:sp>
        <p:nvSpPr>
          <p:cNvPr id="3" name="Slide Number Placeholder 2"/>
          <p:cNvSpPr>
            <a:spLocks noGrp="1"/>
          </p:cNvSpPr>
          <p:nvPr>
            <p:ph type="sldNum" sz="quarter" idx="14"/>
          </p:nvPr>
        </p:nvSpPr>
        <p:spPr/>
        <p:txBody>
          <a:bodyPr/>
          <a:lstStyle/>
          <a:p>
            <a:pPr marL="0" marR="0" lvl="0" indent="0" algn="r" defTabSz="1088105" rtl="0" eaLnBrk="1" fontAlgn="auto" latinLnBrk="0" hangingPunct="1">
              <a:lnSpc>
                <a:spcPct val="100000"/>
              </a:lnSpc>
              <a:spcBef>
                <a:spcPts val="0"/>
              </a:spcBef>
              <a:spcAft>
                <a:spcPts val="0"/>
              </a:spcAft>
              <a:buClrTx/>
              <a:buSzTx/>
              <a:buFontTx/>
              <a:buNone/>
              <a:tabLst/>
              <a:defRPr/>
            </a:pPr>
            <a:fld id="{FAADACFB-7C71-4E89-89D2-7BBA40B7BFA9}" type="slidenum">
              <a:rPr kumimoji="0" lang="en-US" sz="800" b="0" i="0" u="none" strike="noStrike" kern="1200" cap="none" spc="0" normalizeH="0" baseline="0" noProof="0" smtClean="0">
                <a:ln>
                  <a:noFill/>
                </a:ln>
                <a:solidFill>
                  <a:prstClr val="white"/>
                </a:solidFill>
                <a:effectLst/>
                <a:uLnTx/>
                <a:uFillTx/>
                <a:latin typeface="Segoe UI" pitchFamily="34" charset="0"/>
                <a:cs typeface="Segoe UI" pitchFamily="34" charset="0"/>
              </a:rPr>
              <a:pPr marL="0" marR="0" lvl="0" indent="0" algn="r" defTabSz="1088105"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a:ln>
                <a:noFill/>
              </a:ln>
              <a:solidFill>
                <a:prstClr val="white"/>
              </a:solidFill>
              <a:effectLst/>
              <a:uLnTx/>
              <a:uFillTx/>
              <a:latin typeface="Segoe UI" pitchFamily="34" charset="0"/>
              <a:cs typeface="Segoe UI" pitchFamily="34" charset="0"/>
            </a:endParaRPr>
          </a:p>
        </p:txBody>
      </p:sp>
      <p:sp>
        <p:nvSpPr>
          <p:cNvPr id="8" name="Rectangle 7"/>
          <p:cNvSpPr/>
          <p:nvPr/>
        </p:nvSpPr>
        <p:spPr>
          <a:xfrm>
            <a:off x="303212" y="914400"/>
            <a:ext cx="5786691" cy="5788152"/>
          </a:xfrm>
          <a:prstGeom prst="rect">
            <a:avLst/>
          </a:prstGeom>
          <a:solidFill>
            <a:schemeClr val="tx2">
              <a:alpha val="85000"/>
            </a:schemeClr>
          </a:solidFill>
        </p:spPr>
        <p:txBody>
          <a:bodyPr wrap="square" lIns="182880" tIns="146304" rIns="182880" bIns="146304">
            <a:noAutofit/>
          </a:bodyPr>
          <a:lstStyle/>
          <a:p>
            <a:pPr marL="342900" marR="0" lvl="0" indent="-342900" algn="l" defTabSz="1088105" rtl="0" eaLnBrk="1" fontAlgn="auto" latinLnBrk="0" hangingPunct="1">
              <a:lnSpc>
                <a:spcPct val="100000"/>
              </a:lnSpc>
              <a:spcBef>
                <a:spcPts val="600"/>
              </a:spcBef>
              <a:spcAft>
                <a:spcPts val="12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Segoe UI"/>
                <a:ea typeface="+mn-ea"/>
                <a:cs typeface="+mn-cs"/>
              </a:rPr>
              <a:t>Imagine if you could deliver mobile services that provide personalized experiences and increase productivity, delivering new value to drivers and passengers.</a:t>
            </a:r>
          </a:p>
          <a:p>
            <a:pPr marL="342900" lvl="0" indent="-342900">
              <a:spcBef>
                <a:spcPts val="600"/>
              </a:spcBef>
              <a:spcAft>
                <a:spcPts val="1200"/>
              </a:spcAft>
              <a:buFont typeface="Arial" panose="020B0604020202020204" pitchFamily="34" charset="0"/>
              <a:buChar char="•"/>
              <a:defRPr/>
            </a:pPr>
            <a:r>
              <a:rPr kumimoji="0" lang="en-US" sz="2000" b="0" i="0" u="none" strike="noStrike" kern="1200" cap="none" spc="0" normalizeH="0" baseline="0" noProof="0" dirty="0">
                <a:ln>
                  <a:noFill/>
                </a:ln>
                <a:solidFill>
                  <a:prstClr val="white"/>
                </a:solidFill>
                <a:effectLst/>
                <a:uLnTx/>
                <a:uFillTx/>
                <a:latin typeface="Segoe UI"/>
                <a:ea typeface="+mn-ea"/>
                <a:cs typeface="+mn-cs"/>
              </a:rPr>
              <a:t>Imagine if you could create a factory of the future where humans and robots learn from each other, collaborate optimally and safely</a:t>
            </a:r>
            <a:r>
              <a:rPr lang="en-US" sz="2000" dirty="0">
                <a:solidFill>
                  <a:prstClr val="white"/>
                </a:solidFill>
              </a:rPr>
              <a:t>, and perform complicated tasks.</a:t>
            </a: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a:p>
            <a:pPr marL="342900" marR="0" lvl="0" indent="-342900" algn="l" defTabSz="1088105" rtl="0" eaLnBrk="1" fontAlgn="auto" latinLnBrk="0" hangingPunct="1">
              <a:lnSpc>
                <a:spcPct val="100000"/>
              </a:lnSpc>
              <a:spcBef>
                <a:spcPts val="600"/>
              </a:spcBef>
              <a:spcAft>
                <a:spcPts val="12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Segoe UI"/>
                <a:ea typeface="+mn-ea"/>
                <a:cs typeface="+mn-cs"/>
              </a:rPr>
              <a:t>Imagine if you could digitize </a:t>
            </a:r>
            <a:r>
              <a:rPr lang="en-US" sz="2000" dirty="0">
                <a:solidFill>
                  <a:prstClr val="white"/>
                </a:solidFill>
                <a:latin typeface="Segoe UI"/>
              </a:rPr>
              <a:t>and optimize </a:t>
            </a:r>
            <a:r>
              <a:rPr kumimoji="0" lang="en-US" sz="2000" b="0" i="0" u="none" strike="noStrike" kern="1200" cap="none" spc="0" normalizeH="0" baseline="0" noProof="0" dirty="0">
                <a:ln>
                  <a:noFill/>
                </a:ln>
                <a:solidFill>
                  <a:prstClr val="white"/>
                </a:solidFill>
                <a:effectLst/>
                <a:uLnTx/>
                <a:uFillTx/>
                <a:latin typeface="Segoe UI"/>
                <a:ea typeface="+mn-ea"/>
                <a:cs typeface="+mn-cs"/>
              </a:rPr>
              <a:t>your supply chain, improving efficiency, awareness, decision making, and agility.</a:t>
            </a:r>
          </a:p>
          <a:p>
            <a:pPr marL="342900" marR="0" lvl="0" indent="-342900" algn="l" defTabSz="1088105" rtl="0" eaLnBrk="1" fontAlgn="auto" latinLnBrk="0" hangingPunct="1">
              <a:lnSpc>
                <a:spcPct val="100000"/>
              </a:lnSpc>
              <a:spcBef>
                <a:spcPts val="600"/>
              </a:spcBef>
              <a:spcAft>
                <a:spcPts val="12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Segoe UI"/>
                <a:ea typeface="+mn-ea"/>
                <a:cs typeface="+mn-cs"/>
              </a:rPr>
              <a:t>Imagine if you could seamlessly be a part of the touchpoints of your customers’ lifestyles with innovative products and services integrated from a broad digital ecosystem.</a:t>
            </a:r>
          </a:p>
        </p:txBody>
      </p:sp>
    </p:spTree>
    <p:extLst>
      <p:ext uri="{BB962C8B-B14F-4D97-AF65-F5344CB8AC3E}">
        <p14:creationId xmlns:p14="http://schemas.microsoft.com/office/powerpoint/2010/main" val="33442460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4"/>
          <p:cNvSpPr>
            <a:spLocks noGrp="1"/>
          </p:cNvSpPr>
          <p:nvPr>
            <p:ph type="title"/>
          </p:nvPr>
        </p:nvSpPr>
        <p:spPr/>
        <p:txBody>
          <a:bodyPr/>
          <a:lstStyle/>
          <a:p>
            <a:r>
              <a:rPr lang="en-US" dirty="0"/>
              <a:t>The Digital Vision for the Automotive Industry</a:t>
            </a:r>
          </a:p>
        </p:txBody>
      </p:sp>
      <p:sp>
        <p:nvSpPr>
          <p:cNvPr id="5" name="Text Placeholder 4">
            <a:extLst>
              <a:ext uri="{FF2B5EF4-FFF2-40B4-BE49-F238E27FC236}">
                <a16:creationId xmlns:a16="http://schemas.microsoft.com/office/drawing/2014/main" id="{4BC8A077-4744-47B2-9ABE-77BCE139226D}"/>
              </a:ext>
            </a:extLst>
          </p:cNvPr>
          <p:cNvSpPr>
            <a:spLocks noGrp="1"/>
          </p:cNvSpPr>
          <p:nvPr>
            <p:ph type="body" sz="quarter" idx="13"/>
          </p:nvPr>
        </p:nvSpPr>
        <p:spPr>
          <a:xfrm>
            <a:off x="83193" y="721047"/>
            <a:ext cx="11980536" cy="416579"/>
          </a:xfrm>
        </p:spPr>
        <p:txBody>
          <a:bodyPr/>
          <a:lstStyle/>
          <a:p>
            <a:r>
              <a:rPr lang="en-US" dirty="0"/>
              <a:t>Vast transformation of products, experiences, and ownership</a:t>
            </a:r>
          </a:p>
        </p:txBody>
      </p:sp>
      <p:sp>
        <p:nvSpPr>
          <p:cNvPr id="36" name="Rectangle 35">
            <a:extLst>
              <a:ext uri="{FF2B5EF4-FFF2-40B4-BE49-F238E27FC236}">
                <a16:creationId xmlns:a16="http://schemas.microsoft.com/office/drawing/2014/main" id="{36689758-C809-494B-9EB0-C477FF58FD78}"/>
              </a:ext>
            </a:extLst>
          </p:cNvPr>
          <p:cNvSpPr/>
          <p:nvPr/>
        </p:nvSpPr>
        <p:spPr>
          <a:xfrm>
            <a:off x="713781" y="1285401"/>
            <a:ext cx="3387868" cy="25733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24" tIns="91416" rIns="137124" bIns="91416" numCol="1" spcCol="0" rtlCol="0" fromWordArt="0" anchor="t" anchorCtr="0" forceAA="0" compatLnSpc="1">
            <a:prstTxWarp prst="textNoShape">
              <a:avLst/>
            </a:prstTxWarp>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IN" sz="2199" b="1" i="0" u="none" strike="noStrike" kern="1200" cap="none" spc="0" normalizeH="0" baseline="0" noProof="0" dirty="0">
                <a:ln>
                  <a:noFill/>
                </a:ln>
                <a:solidFill>
                  <a:prstClr val="white"/>
                </a:solidFill>
                <a:effectLst/>
                <a:uLnTx/>
                <a:uFillTx/>
                <a:latin typeface="Segoe UI Light"/>
                <a:ea typeface="+mn-ea"/>
                <a:cs typeface="+mn-cs"/>
              </a:rPr>
              <a:t>Connected Driving Experiences</a:t>
            </a:r>
            <a:endParaRPr kumimoji="0" lang="en-IN" sz="1400" b="0" i="0" u="none" strike="noStrike" kern="1200" cap="none" spc="0" normalizeH="0" baseline="0" noProof="0" dirty="0">
              <a:ln>
                <a:noFill/>
              </a:ln>
              <a:solidFill>
                <a:prstClr val="white"/>
              </a:solidFill>
              <a:effectLst/>
              <a:uLnTx/>
              <a:uFillTx/>
              <a:latin typeface="Segoe UI"/>
              <a:ea typeface="+mn-ea"/>
              <a:cs typeface="+mn-cs"/>
            </a:endParaRPr>
          </a:p>
          <a:p>
            <a:pPr marL="285664" marR="0" lvl="0" indent="-285664" algn="l" defTabSz="91412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IN" sz="1400" b="0" i="0" u="none" strike="noStrike" kern="1200" cap="none" spc="0" normalizeH="0" baseline="0" noProof="0" dirty="0">
                <a:ln>
                  <a:noFill/>
                </a:ln>
                <a:solidFill>
                  <a:prstClr val="white"/>
                </a:solidFill>
                <a:effectLst/>
                <a:uLnTx/>
                <a:uFillTx/>
                <a:latin typeface="Segoe UI"/>
                <a:ea typeface="+mn-ea"/>
                <a:cs typeface="+mn-cs"/>
              </a:rPr>
              <a:t>Personalized and Contextual Mobility Services</a:t>
            </a:r>
          </a:p>
          <a:p>
            <a:pPr marL="285664" marR="0" lvl="0" indent="-285664" algn="l" defTabSz="91412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IN" sz="1400" b="0" i="0" u="none" strike="noStrike" kern="1200" cap="none" spc="0" normalizeH="0" baseline="0" noProof="0" dirty="0">
                <a:ln>
                  <a:noFill/>
                </a:ln>
                <a:solidFill>
                  <a:prstClr val="white"/>
                </a:solidFill>
                <a:effectLst/>
                <a:uLnTx/>
                <a:uFillTx/>
                <a:latin typeface="Segoe UI"/>
                <a:ea typeface="+mn-ea"/>
                <a:cs typeface="+mn-cs"/>
              </a:rPr>
              <a:t>Conversational Assistant</a:t>
            </a:r>
          </a:p>
          <a:p>
            <a:pPr marL="285664" marR="0" lvl="0" indent="-285664" algn="l" defTabSz="91412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IN" sz="1400" b="0" i="0" u="none" strike="noStrike" kern="1200" cap="none" spc="0" normalizeH="0" baseline="0" noProof="0" dirty="0">
                <a:ln>
                  <a:noFill/>
                </a:ln>
                <a:solidFill>
                  <a:prstClr val="white"/>
                </a:solidFill>
                <a:effectLst/>
                <a:uLnTx/>
                <a:uFillTx/>
                <a:latin typeface="Segoe UI"/>
                <a:ea typeface="+mn-ea"/>
                <a:cs typeface="+mn-cs"/>
              </a:rPr>
              <a:t>Smart Ecosystem</a:t>
            </a:r>
          </a:p>
          <a:p>
            <a:pPr marL="285664" marR="0" lvl="0" indent="-285664" algn="l" defTabSz="91412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IN" sz="1400" b="0" i="0" u="none" strike="noStrike" kern="1200" cap="none" spc="0" normalizeH="0" baseline="0" noProof="0" dirty="0">
                <a:ln>
                  <a:noFill/>
                </a:ln>
                <a:solidFill>
                  <a:prstClr val="white"/>
                </a:solidFill>
                <a:effectLst/>
                <a:uLnTx/>
                <a:uFillTx/>
                <a:latin typeface="Segoe UI"/>
                <a:ea typeface="+mn-ea"/>
                <a:cs typeface="+mn-cs"/>
              </a:rPr>
              <a:t>Lifestyle Enablement</a:t>
            </a:r>
          </a:p>
          <a:p>
            <a:pPr marL="285664" marR="0" lvl="0" indent="-285664" algn="l" defTabSz="91412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IN" sz="1400" b="0" i="0" u="none" strike="noStrike" kern="1200" cap="none" spc="0" normalizeH="0" baseline="0" noProof="0" dirty="0">
                <a:ln>
                  <a:noFill/>
                </a:ln>
                <a:solidFill>
                  <a:prstClr val="white"/>
                </a:solidFill>
                <a:effectLst/>
                <a:uLnTx/>
                <a:uFillTx/>
                <a:latin typeface="Segoe UI"/>
                <a:ea typeface="+mn-ea"/>
                <a:cs typeface="+mn-cs"/>
              </a:rPr>
              <a:t>Productivity</a:t>
            </a:r>
          </a:p>
        </p:txBody>
      </p:sp>
      <p:sp>
        <p:nvSpPr>
          <p:cNvPr id="37" name="Rectangle 36">
            <a:extLst>
              <a:ext uri="{FF2B5EF4-FFF2-40B4-BE49-F238E27FC236}">
                <a16:creationId xmlns:a16="http://schemas.microsoft.com/office/drawing/2014/main" id="{84B38EC1-70E7-40BB-A0B4-E47FE8C80F82}"/>
              </a:ext>
            </a:extLst>
          </p:cNvPr>
          <p:cNvSpPr/>
          <p:nvPr/>
        </p:nvSpPr>
        <p:spPr>
          <a:xfrm>
            <a:off x="713780" y="3933771"/>
            <a:ext cx="5147524" cy="25733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24" tIns="91416" rIns="137124" bIns="91416" numCol="1" spcCol="0" rtlCol="0" fromWordArt="0" anchor="t" anchorCtr="0" forceAA="0" compatLnSpc="1">
            <a:prstTxWarp prst="textNoShape">
              <a:avLst/>
            </a:prstTxWarp>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IN" sz="2199" b="1" i="0" u="none" strike="noStrike" kern="1200" cap="none" spc="0" normalizeH="0" baseline="0" noProof="0" dirty="0">
                <a:ln>
                  <a:noFill/>
                </a:ln>
                <a:solidFill>
                  <a:prstClr val="white"/>
                </a:solidFill>
                <a:effectLst/>
                <a:uLnTx/>
                <a:uFillTx/>
                <a:latin typeface="Segoe UI Light"/>
                <a:ea typeface="+mn-ea"/>
                <a:cs typeface="+mn-cs"/>
              </a:rPr>
              <a:t>Vehicle Transformation</a:t>
            </a:r>
            <a:endParaRPr kumimoji="0" lang="en-IN" sz="1400" b="0" i="0" u="none" strike="noStrike" kern="1200" cap="none" spc="0" normalizeH="0" baseline="0" noProof="0" dirty="0">
              <a:ln>
                <a:noFill/>
              </a:ln>
              <a:solidFill>
                <a:prstClr val="white"/>
              </a:solidFill>
              <a:effectLst/>
              <a:uLnTx/>
              <a:uFillTx/>
              <a:latin typeface="Segoe UI"/>
              <a:ea typeface="+mn-ea"/>
              <a:cs typeface="+mn-cs"/>
            </a:endParaRPr>
          </a:p>
          <a:p>
            <a:pPr marL="285664" marR="0" lvl="0" indent="-285664" algn="l" defTabSz="91412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IN" sz="1400" b="0" i="0" u="none" strike="noStrike" kern="1200" cap="none" spc="0" normalizeH="0" baseline="0" noProof="0" dirty="0">
                <a:ln>
                  <a:noFill/>
                </a:ln>
                <a:solidFill>
                  <a:prstClr val="white"/>
                </a:solidFill>
                <a:effectLst/>
                <a:uLnTx/>
                <a:uFillTx/>
                <a:latin typeface="Segoe UI"/>
                <a:ea typeface="+mn-ea"/>
                <a:cs typeface="+mn-cs"/>
              </a:rPr>
              <a:t>Autonomous Vehicles</a:t>
            </a:r>
          </a:p>
          <a:p>
            <a:pPr marL="285664" marR="0" lvl="0" indent="-285664" algn="l" defTabSz="91412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IN" sz="1400" b="0" i="0" u="none" strike="noStrike" kern="1200" cap="none" spc="0" normalizeH="0" baseline="0" noProof="0" dirty="0">
                <a:ln>
                  <a:noFill/>
                </a:ln>
                <a:solidFill>
                  <a:prstClr val="white"/>
                </a:solidFill>
                <a:effectLst/>
                <a:uLnTx/>
                <a:uFillTx/>
                <a:latin typeface="Segoe UI"/>
                <a:ea typeface="+mn-ea"/>
                <a:cs typeface="+mn-cs"/>
              </a:rPr>
              <a:t>Electric Vehicles</a:t>
            </a:r>
          </a:p>
          <a:p>
            <a:pPr marL="285664" marR="0" lvl="0" indent="-285664" algn="l" defTabSz="91412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IN" sz="1400" b="0" i="0" u="none" strike="noStrike" kern="1200" cap="none" spc="0" normalizeH="0" baseline="0" noProof="0" dirty="0">
                <a:ln>
                  <a:noFill/>
                </a:ln>
                <a:solidFill>
                  <a:prstClr val="white"/>
                </a:solidFill>
                <a:effectLst/>
                <a:uLnTx/>
                <a:uFillTx/>
                <a:latin typeface="Segoe UI"/>
                <a:ea typeface="+mn-ea"/>
                <a:cs typeface="+mn-cs"/>
              </a:rPr>
              <a:t>Inter-Vehicle Communications</a:t>
            </a:r>
          </a:p>
          <a:p>
            <a:pPr marL="285664" marR="0" lvl="0" indent="-285664" algn="l" defTabSz="91412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IN" sz="1400" b="0" i="0" u="none" strike="noStrike" kern="1200" cap="none" spc="0" normalizeH="0" baseline="0" noProof="0" dirty="0">
                <a:ln>
                  <a:noFill/>
                </a:ln>
                <a:solidFill>
                  <a:prstClr val="white"/>
                </a:solidFill>
                <a:effectLst/>
                <a:uLnTx/>
                <a:uFillTx/>
                <a:latin typeface="Segoe UI"/>
                <a:ea typeface="+mn-ea"/>
                <a:cs typeface="+mn-cs"/>
              </a:rPr>
              <a:t>Network Infrastructure</a:t>
            </a:r>
          </a:p>
          <a:p>
            <a:pPr marL="285664" marR="0" lvl="0" indent="-285664" algn="l" defTabSz="914126"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IN" sz="1400" b="0" i="0" u="none" strike="noStrike" kern="1200" cap="none" spc="0" normalizeH="0" baseline="0" noProof="0" dirty="0">
              <a:ln>
                <a:noFill/>
              </a:ln>
              <a:solidFill>
                <a:prstClr val="white"/>
              </a:solidFill>
              <a:effectLst/>
              <a:uLnTx/>
              <a:uFillTx/>
              <a:latin typeface="Segoe UI"/>
              <a:ea typeface="+mn-ea"/>
              <a:cs typeface="+mn-cs"/>
            </a:endParaRPr>
          </a:p>
          <a:p>
            <a:pPr marL="285664" marR="0" lvl="0" indent="-285664" algn="l" defTabSz="914126"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IN" sz="1400" b="0" i="0" u="none" strike="noStrike" kern="1200" cap="none" spc="0" normalizeH="0" baseline="0" noProof="0" dirty="0">
              <a:ln>
                <a:noFill/>
              </a:ln>
              <a:solidFill>
                <a:prstClr val="white"/>
              </a:solidFill>
              <a:effectLst/>
              <a:uLnTx/>
              <a:uFillTx/>
              <a:latin typeface="Segoe UI"/>
              <a:ea typeface="+mn-ea"/>
              <a:cs typeface="+mn-cs"/>
            </a:endParaRPr>
          </a:p>
          <a:p>
            <a:pPr marL="285664" marR="0" lvl="0" indent="-285664" algn="l" defTabSz="914126"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IN" sz="1400" b="0" i="0" u="none" strike="noStrike" kern="1200" cap="none" spc="0" normalizeH="0" baseline="0" noProof="0" dirty="0">
              <a:ln>
                <a:noFill/>
              </a:ln>
              <a:solidFill>
                <a:prstClr val="white"/>
              </a:solidFill>
              <a:effectLst/>
              <a:uLnTx/>
              <a:uFillTx/>
              <a:latin typeface="Segoe UI"/>
              <a:ea typeface="+mn-ea"/>
              <a:cs typeface="+mn-cs"/>
            </a:endParaRPr>
          </a:p>
        </p:txBody>
      </p:sp>
      <p:sp>
        <p:nvSpPr>
          <p:cNvPr id="38" name="Slide Number Placeholder 2">
            <a:extLst>
              <a:ext uri="{FF2B5EF4-FFF2-40B4-BE49-F238E27FC236}">
                <a16:creationId xmlns:a16="http://schemas.microsoft.com/office/drawing/2014/main" id="{3E901EFB-D0ED-4054-BD80-C6FEF6603358}"/>
              </a:ext>
            </a:extLst>
          </p:cNvPr>
          <p:cNvSpPr>
            <a:spLocks noGrp="1"/>
          </p:cNvSpPr>
          <p:nvPr>
            <p:ph type="sldNum" sz="quarter" idx="12"/>
          </p:nvPr>
        </p:nvSpPr>
        <p:spPr>
          <a:xfrm>
            <a:off x="12237008" y="6662473"/>
            <a:ext cx="761800" cy="379314"/>
          </a:xfrm>
        </p:spPr>
        <p:txBody>
          <a:bodyPr/>
          <a:lstStyle/>
          <a:p>
            <a:pPr marL="0" marR="0" lvl="0" indent="0" algn="r" defTabSz="914126" rtl="0" eaLnBrk="1" fontAlgn="auto" latinLnBrk="0" hangingPunct="1">
              <a:lnSpc>
                <a:spcPct val="100000"/>
              </a:lnSpc>
              <a:spcBef>
                <a:spcPts val="0"/>
              </a:spcBef>
              <a:spcAft>
                <a:spcPts val="0"/>
              </a:spcAft>
              <a:buClrTx/>
              <a:buSzTx/>
              <a:buFontTx/>
              <a:buNone/>
              <a:tabLst/>
              <a:defRPr/>
            </a:pPr>
            <a:fld id="{6A4C1A4A-E5E6-4CC1-B72C-A20A4EB3E2D2}" type="slidenum">
              <a:rPr kumimoji="0" lang="en-US" sz="800" b="0" i="0" u="none" strike="noStrike" kern="1200" cap="none" spc="0" normalizeH="0" baseline="0" noProof="0">
                <a:ln>
                  <a:noFill/>
                </a:ln>
                <a:solidFill>
                  <a:srgbClr val="505050"/>
                </a:solidFill>
                <a:effectLst/>
                <a:uLnTx/>
                <a:uFillTx/>
                <a:latin typeface="Segoe UI" pitchFamily="34" charset="0"/>
                <a:cs typeface="Segoe UI" pitchFamily="34" charset="0"/>
              </a:rPr>
              <a:pPr marL="0" marR="0" lvl="0" indent="0" algn="r" defTabSz="914126"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a:ln>
                <a:noFill/>
              </a:ln>
              <a:solidFill>
                <a:srgbClr val="505050"/>
              </a:solidFill>
              <a:effectLst/>
              <a:uLnTx/>
              <a:uFillTx/>
              <a:latin typeface="Segoe UI" pitchFamily="34" charset="0"/>
              <a:cs typeface="Segoe UI" pitchFamily="34" charset="0"/>
            </a:endParaRPr>
          </a:p>
        </p:txBody>
      </p:sp>
      <p:sp>
        <p:nvSpPr>
          <p:cNvPr id="40" name="Rectangle 39">
            <a:extLst>
              <a:ext uri="{FF2B5EF4-FFF2-40B4-BE49-F238E27FC236}">
                <a16:creationId xmlns:a16="http://schemas.microsoft.com/office/drawing/2014/main" id="{8B494397-09CD-4A35-8AD4-FB7B3EF15F1F}"/>
              </a:ext>
            </a:extLst>
          </p:cNvPr>
          <p:cNvSpPr/>
          <p:nvPr/>
        </p:nvSpPr>
        <p:spPr>
          <a:xfrm>
            <a:off x="4175941" y="1282131"/>
            <a:ext cx="3413578" cy="25763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24" tIns="91416" rIns="137124" bIns="91416" numCol="1" spcCol="0" rtlCol="0" fromWordArt="0" anchor="t" anchorCtr="0" forceAA="0" compatLnSpc="1">
            <a:prstTxWarp prst="textNoShape">
              <a:avLst/>
            </a:prstTxWarp>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IN" sz="2199" b="1" i="0" u="none" strike="noStrike" kern="1200" cap="none" spc="0" normalizeH="0" baseline="0" noProof="0" dirty="0">
                <a:ln>
                  <a:noFill/>
                </a:ln>
                <a:solidFill>
                  <a:srgbClr val="505050"/>
                </a:solidFill>
                <a:effectLst/>
                <a:uLnTx/>
                <a:uFillTx/>
                <a:latin typeface="Segoe UI Light"/>
                <a:ea typeface="+mn-ea"/>
                <a:cs typeface="+mn-cs"/>
              </a:rPr>
              <a:t>Mobility Models</a:t>
            </a:r>
            <a:br>
              <a:rPr kumimoji="0" lang="en-IN" sz="2199" b="1" i="0" u="none" strike="noStrike" kern="1200" cap="none" spc="0" normalizeH="0" baseline="0" noProof="0" dirty="0">
                <a:ln>
                  <a:noFill/>
                </a:ln>
                <a:solidFill>
                  <a:srgbClr val="505050"/>
                </a:solidFill>
                <a:effectLst/>
                <a:uLnTx/>
                <a:uFillTx/>
                <a:latin typeface="Segoe UI Light"/>
                <a:ea typeface="+mn-ea"/>
                <a:cs typeface="+mn-cs"/>
              </a:rPr>
            </a:br>
            <a:endParaRPr kumimoji="0" lang="en-IN" sz="1400" b="0" i="0" u="none" strike="noStrike" kern="1200" cap="none" spc="0" normalizeH="0" baseline="0" noProof="0" dirty="0">
              <a:ln>
                <a:noFill/>
              </a:ln>
              <a:solidFill>
                <a:srgbClr val="505050"/>
              </a:solidFill>
              <a:effectLst/>
              <a:uLnTx/>
              <a:uFillTx/>
              <a:latin typeface="Segoe UI"/>
              <a:ea typeface="+mn-ea"/>
              <a:cs typeface="+mn-cs"/>
            </a:endParaRPr>
          </a:p>
          <a:p>
            <a:pPr marL="285664" marR="0" lvl="0" indent="-285664" algn="l" defTabSz="91412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IN" sz="1400" b="0" i="0" u="none" strike="noStrike" kern="1200" cap="none" spc="0" normalizeH="0" baseline="0" noProof="0" dirty="0">
                <a:ln>
                  <a:noFill/>
                </a:ln>
                <a:solidFill>
                  <a:srgbClr val="505050"/>
                </a:solidFill>
                <a:effectLst/>
                <a:uLnTx/>
                <a:uFillTx/>
                <a:latin typeface="Segoe UI"/>
                <a:ea typeface="+mn-ea"/>
                <a:cs typeface="+mn-cs"/>
              </a:rPr>
              <a:t>Access and Ownership</a:t>
            </a:r>
          </a:p>
          <a:p>
            <a:pPr marL="285664" marR="0" lvl="0" indent="-285664" algn="l" defTabSz="91412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IN" sz="1400" b="0" i="0" u="none" strike="noStrike" kern="1200" cap="none" spc="0" normalizeH="0" baseline="0" noProof="0" dirty="0">
                <a:ln>
                  <a:noFill/>
                </a:ln>
                <a:solidFill>
                  <a:srgbClr val="505050"/>
                </a:solidFill>
                <a:effectLst/>
                <a:uLnTx/>
                <a:uFillTx/>
                <a:latin typeface="Segoe UI"/>
                <a:ea typeface="+mn-ea"/>
                <a:cs typeface="+mn-cs"/>
              </a:rPr>
              <a:t>Mobility on Demand</a:t>
            </a:r>
          </a:p>
          <a:p>
            <a:pPr marL="285664" marR="0" lvl="0" indent="-285664" algn="l" defTabSz="91412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IN" sz="1400" b="0" i="0" u="none" strike="noStrike" kern="1200" cap="none" spc="0" normalizeH="0" baseline="0" noProof="0" dirty="0">
                <a:ln>
                  <a:noFill/>
                </a:ln>
                <a:solidFill>
                  <a:srgbClr val="505050"/>
                </a:solidFill>
                <a:effectLst/>
                <a:uLnTx/>
                <a:uFillTx/>
                <a:latin typeface="Segoe UI"/>
                <a:ea typeface="+mn-ea"/>
                <a:cs typeface="+mn-cs"/>
              </a:rPr>
              <a:t>Shared Mobility</a:t>
            </a:r>
          </a:p>
          <a:p>
            <a:pPr marL="285664" marR="0" lvl="0" indent="-285664" algn="l" defTabSz="91412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IN" sz="1400" b="0" i="0" u="none" strike="noStrike" kern="1200" cap="none" spc="0" normalizeH="0" baseline="0" noProof="0" dirty="0">
                <a:ln>
                  <a:noFill/>
                </a:ln>
                <a:solidFill>
                  <a:srgbClr val="505050"/>
                </a:solidFill>
                <a:effectLst/>
                <a:uLnTx/>
                <a:uFillTx/>
                <a:latin typeface="Segoe UI"/>
                <a:ea typeface="+mn-ea"/>
                <a:cs typeface="+mn-cs"/>
              </a:rPr>
              <a:t>Business-Sponsored Mobility</a:t>
            </a:r>
          </a:p>
          <a:p>
            <a:pPr marL="285664" marR="0" lvl="0" indent="-285664" algn="l" defTabSz="91412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IN" sz="1400" b="0" i="0" u="none" strike="noStrike" kern="1200" cap="none" spc="0" normalizeH="0" baseline="0" noProof="0" dirty="0">
                <a:ln>
                  <a:noFill/>
                </a:ln>
                <a:solidFill>
                  <a:srgbClr val="505050"/>
                </a:solidFill>
                <a:effectLst/>
                <a:uLnTx/>
                <a:uFillTx/>
                <a:latin typeface="Segoe UI"/>
                <a:ea typeface="+mn-ea"/>
                <a:cs typeface="+mn-cs"/>
              </a:rPr>
              <a:t>Mobility revenue models</a:t>
            </a:r>
          </a:p>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 name="Rectangle 12">
            <a:extLst>
              <a:ext uri="{FF2B5EF4-FFF2-40B4-BE49-F238E27FC236}">
                <a16:creationId xmlns:a16="http://schemas.microsoft.com/office/drawing/2014/main" id="{C98607A6-DFCE-4E44-811B-7E35FBDCA7DA}"/>
              </a:ext>
            </a:extLst>
          </p:cNvPr>
          <p:cNvSpPr/>
          <p:nvPr/>
        </p:nvSpPr>
        <p:spPr>
          <a:xfrm>
            <a:off x="7672660" y="1282131"/>
            <a:ext cx="3387868" cy="257638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24" tIns="91416" rIns="137124" bIns="91416" numCol="1" spcCol="0" rtlCol="0" fromWordArt="0" anchor="t" anchorCtr="0" forceAA="0" compatLnSpc="1">
            <a:prstTxWarp prst="textNoShape">
              <a:avLst/>
            </a:prstTxWarp>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IN" sz="2199" b="1" i="0" u="none" strike="noStrike" kern="1200" cap="none" spc="0" normalizeH="0" baseline="0" noProof="0" dirty="0">
                <a:ln>
                  <a:noFill/>
                </a:ln>
                <a:solidFill>
                  <a:prstClr val="white"/>
                </a:solidFill>
                <a:effectLst/>
                <a:uLnTx/>
                <a:uFillTx/>
                <a:latin typeface="Segoe UI Light"/>
                <a:ea typeface="+mn-ea"/>
                <a:cs typeface="+mn-cs"/>
              </a:rPr>
              <a:t>Design and Manufacturing</a:t>
            </a:r>
            <a:endParaRPr kumimoji="0" lang="en-IN" sz="1400" b="1" i="0" u="none" strike="noStrike" kern="1200" cap="none" spc="0" normalizeH="0" baseline="0" noProof="0" dirty="0">
              <a:ln>
                <a:noFill/>
              </a:ln>
              <a:solidFill>
                <a:prstClr val="white"/>
              </a:solidFill>
              <a:effectLst/>
              <a:uLnTx/>
              <a:uFillTx/>
              <a:latin typeface="Segoe UI"/>
              <a:ea typeface="+mn-ea"/>
              <a:cs typeface="+mn-cs"/>
            </a:endParaRPr>
          </a:p>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IN" sz="1400" b="0" i="0" u="none" strike="noStrike" kern="1200" cap="none" spc="0" normalizeH="0" baseline="0" noProof="0" dirty="0">
              <a:ln>
                <a:noFill/>
              </a:ln>
              <a:solidFill>
                <a:prstClr val="white"/>
              </a:solidFill>
              <a:effectLst/>
              <a:uLnTx/>
              <a:uFillTx/>
              <a:latin typeface="Segoe UI"/>
              <a:ea typeface="+mn-ea"/>
              <a:cs typeface="+mn-cs"/>
            </a:endParaRPr>
          </a:p>
          <a:p>
            <a:pPr marL="285664" marR="0" lvl="0" indent="-285664" algn="l" defTabSz="91412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IN" sz="1400" b="0" i="0" u="none" strike="noStrike" kern="1200" cap="none" spc="0" normalizeH="0" baseline="0" noProof="0" dirty="0">
                <a:ln>
                  <a:noFill/>
                </a:ln>
                <a:solidFill>
                  <a:prstClr val="white"/>
                </a:solidFill>
                <a:effectLst/>
                <a:uLnTx/>
                <a:uFillTx/>
                <a:latin typeface="Segoe UI"/>
                <a:ea typeface="+mn-ea"/>
                <a:cs typeface="+mn-cs"/>
              </a:rPr>
              <a:t>Rapid and Insightful Innovation</a:t>
            </a:r>
          </a:p>
          <a:p>
            <a:pPr marL="285664" marR="0" lvl="0" indent="-285664" algn="l" defTabSz="91412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IN" sz="1400" b="0" i="0" u="none" strike="noStrike" kern="1200" cap="none" spc="0" normalizeH="0" baseline="0" noProof="0" dirty="0">
                <a:ln>
                  <a:noFill/>
                </a:ln>
                <a:solidFill>
                  <a:prstClr val="white"/>
                </a:solidFill>
                <a:effectLst/>
                <a:uLnTx/>
                <a:uFillTx/>
                <a:latin typeface="Segoe UI"/>
                <a:ea typeface="+mn-ea"/>
                <a:cs typeface="+mn-cs"/>
              </a:rPr>
              <a:t>VR Design and Testing</a:t>
            </a:r>
          </a:p>
          <a:p>
            <a:pPr marL="285664" marR="0" lvl="0" indent="-285664" algn="l" defTabSz="91412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IN" sz="1400" b="0" i="0" u="none" strike="noStrike" kern="1200" cap="none" spc="0" normalizeH="0" baseline="0" noProof="0" dirty="0">
                <a:ln>
                  <a:noFill/>
                </a:ln>
                <a:solidFill>
                  <a:prstClr val="white"/>
                </a:solidFill>
                <a:effectLst/>
                <a:uLnTx/>
                <a:uFillTx/>
                <a:latin typeface="Segoe UI"/>
                <a:ea typeface="+mn-ea"/>
                <a:cs typeface="+mn-cs"/>
              </a:rPr>
              <a:t>Supply Chain Optimization</a:t>
            </a:r>
          </a:p>
          <a:p>
            <a:pPr marL="285664" marR="0" lvl="0" indent="-285664" algn="l" defTabSz="91412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IN" sz="1400" b="0" i="0" u="none" strike="noStrike" kern="1200" cap="none" spc="0" normalizeH="0" baseline="0" noProof="0" dirty="0">
                <a:ln>
                  <a:noFill/>
                </a:ln>
                <a:solidFill>
                  <a:prstClr val="white"/>
                </a:solidFill>
                <a:effectLst/>
                <a:uLnTx/>
                <a:uFillTx/>
                <a:latin typeface="Segoe UI"/>
                <a:ea typeface="+mn-ea"/>
                <a:cs typeface="+mn-cs"/>
              </a:rPr>
              <a:t>Human-Robot Collaboration</a:t>
            </a:r>
          </a:p>
          <a:p>
            <a:pPr marL="285664" marR="0" lvl="0" indent="-285664" algn="l" defTabSz="914126"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IN" sz="1400" b="0" i="0" u="none" strike="noStrike" kern="1200" cap="none" spc="0" normalizeH="0" baseline="0" noProof="0" dirty="0">
              <a:ln>
                <a:noFill/>
              </a:ln>
              <a:solidFill>
                <a:prstClr val="white"/>
              </a:solidFill>
              <a:effectLst/>
              <a:uLnTx/>
              <a:uFillTx/>
              <a:latin typeface="Segoe UI"/>
              <a:ea typeface="+mn-ea"/>
              <a:cs typeface="+mn-cs"/>
            </a:endParaRPr>
          </a:p>
        </p:txBody>
      </p:sp>
      <p:sp>
        <p:nvSpPr>
          <p:cNvPr id="19" name="Rectangle 18">
            <a:extLst>
              <a:ext uri="{FF2B5EF4-FFF2-40B4-BE49-F238E27FC236}">
                <a16:creationId xmlns:a16="http://schemas.microsoft.com/office/drawing/2014/main" id="{4B1C2747-AF8C-4E7A-9D9B-A879A6B552D4}"/>
              </a:ext>
            </a:extLst>
          </p:cNvPr>
          <p:cNvSpPr/>
          <p:nvPr/>
        </p:nvSpPr>
        <p:spPr>
          <a:xfrm>
            <a:off x="5943600" y="3933771"/>
            <a:ext cx="5116928" cy="25733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24" tIns="91416" rIns="137124" bIns="91416" numCol="1" spcCol="0" rtlCol="0" fromWordArt="0" anchor="t" anchorCtr="0" forceAA="0" compatLnSpc="1">
            <a:prstTxWarp prst="textNoShape">
              <a:avLst/>
            </a:prstTxWarp>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IN" sz="2199" b="1" i="0" u="none" strike="noStrike" kern="1200" cap="none" spc="0" normalizeH="0" baseline="0" noProof="0" dirty="0">
                <a:ln>
                  <a:noFill/>
                </a:ln>
                <a:solidFill>
                  <a:prstClr val="white"/>
                </a:solidFill>
                <a:effectLst/>
                <a:uLnTx/>
                <a:uFillTx/>
                <a:latin typeface="Segoe UI Light"/>
                <a:ea typeface="+mn-ea"/>
                <a:cs typeface="+mn-cs"/>
              </a:rPr>
              <a:t>Retail</a:t>
            </a:r>
            <a:endParaRPr kumimoji="0" lang="en-IN" sz="1400" b="0" i="0" u="none" strike="noStrike" kern="1200" cap="none" spc="0" normalizeH="0" baseline="0" noProof="0" dirty="0">
              <a:ln>
                <a:noFill/>
              </a:ln>
              <a:solidFill>
                <a:prstClr val="white"/>
              </a:solidFill>
              <a:effectLst/>
              <a:uLnTx/>
              <a:uFillTx/>
              <a:latin typeface="Segoe UI"/>
              <a:ea typeface="+mn-ea"/>
              <a:cs typeface="+mn-cs"/>
            </a:endParaRPr>
          </a:p>
          <a:p>
            <a:pPr marL="285664" marR="0" lvl="0" indent="-285664" algn="l" defTabSz="91412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IN" sz="1400" b="0" i="0" u="none" strike="noStrike" kern="1200" cap="none" spc="0" normalizeH="0" baseline="0" noProof="0" dirty="0">
                <a:ln>
                  <a:noFill/>
                </a:ln>
                <a:solidFill>
                  <a:prstClr val="white"/>
                </a:solidFill>
                <a:effectLst/>
                <a:uLnTx/>
                <a:uFillTx/>
                <a:latin typeface="Segoe UI"/>
                <a:ea typeface="+mn-ea"/>
                <a:cs typeface="+mn-cs"/>
              </a:rPr>
              <a:t>Customer and Dealer Sales Experience</a:t>
            </a:r>
          </a:p>
          <a:p>
            <a:pPr marL="285664" marR="0" lvl="0" indent="-285664" algn="l" defTabSz="91412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IN" sz="1400" b="0" i="0" u="none" strike="noStrike" kern="1200" cap="none" spc="0" normalizeH="0" baseline="0" noProof="0" dirty="0">
                <a:ln>
                  <a:noFill/>
                </a:ln>
                <a:solidFill>
                  <a:prstClr val="white"/>
                </a:solidFill>
                <a:effectLst/>
                <a:uLnTx/>
                <a:uFillTx/>
                <a:latin typeface="Segoe UI"/>
                <a:ea typeface="+mn-ea"/>
                <a:cs typeface="+mn-cs"/>
              </a:rPr>
              <a:t>Virtual Showroom</a:t>
            </a:r>
          </a:p>
          <a:p>
            <a:pPr marL="285664" marR="0" lvl="0" indent="-285664" algn="l" defTabSz="91412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IN" sz="1400" b="0" i="0" u="none" strike="noStrike" kern="1200" cap="none" spc="0" normalizeH="0" baseline="0" noProof="0" dirty="0">
                <a:ln>
                  <a:noFill/>
                </a:ln>
                <a:solidFill>
                  <a:prstClr val="white"/>
                </a:solidFill>
                <a:effectLst/>
                <a:uLnTx/>
                <a:uFillTx/>
                <a:latin typeface="Segoe UI"/>
                <a:ea typeface="+mn-ea"/>
                <a:cs typeface="+mn-cs"/>
              </a:rPr>
              <a:t>Partner Collaboration</a:t>
            </a:r>
          </a:p>
          <a:p>
            <a:pPr marL="285664" marR="0" lvl="0" indent="-285664" algn="l" defTabSz="91412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IN" sz="1400" b="0" i="0" u="none" strike="noStrike" kern="1200" cap="none" spc="0" normalizeH="0" baseline="0" noProof="0" dirty="0">
                <a:ln>
                  <a:noFill/>
                </a:ln>
                <a:solidFill>
                  <a:prstClr val="white"/>
                </a:solidFill>
                <a:effectLst/>
                <a:uLnTx/>
                <a:uFillTx/>
                <a:latin typeface="Segoe UI"/>
                <a:ea typeface="+mn-ea"/>
                <a:cs typeface="+mn-cs"/>
              </a:rPr>
              <a:t>Post-Purchase Marketing and Sales</a:t>
            </a:r>
          </a:p>
        </p:txBody>
      </p:sp>
    </p:spTree>
    <p:extLst>
      <p:ext uri="{BB962C8B-B14F-4D97-AF65-F5344CB8AC3E}">
        <p14:creationId xmlns:p14="http://schemas.microsoft.com/office/powerpoint/2010/main" val="20396125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Business Drivers for Automotive</a:t>
            </a:r>
          </a:p>
        </p:txBody>
      </p:sp>
      <p:sp>
        <p:nvSpPr>
          <p:cNvPr id="3" name="Slide Number Placeholder 2"/>
          <p:cNvSpPr>
            <a:spLocks noGrp="1"/>
          </p:cNvSpPr>
          <p:nvPr>
            <p:ph type="sldNum" sz="quarter" idx="12"/>
          </p:nvPr>
        </p:nvSpPr>
        <p:spPr/>
        <p:txBody>
          <a:bodyPr/>
          <a:lstStyle/>
          <a:p>
            <a:pPr defTabSz="914126">
              <a:defRPr/>
            </a:pPr>
            <a:fld id="{FAADACFB-7C71-4E89-89D2-7BBA40B7BFA9}" type="slidenum">
              <a:rPr lang="en-US">
                <a:solidFill>
                  <a:srgbClr val="505050"/>
                </a:solidFill>
              </a:rPr>
              <a:pPr defTabSz="914126">
                <a:defRPr/>
              </a:pPr>
              <a:t>9</a:t>
            </a:fld>
            <a:endParaRPr lang="en-US">
              <a:solidFill>
                <a:srgbClr val="505050"/>
              </a:solidFill>
            </a:endParaRPr>
          </a:p>
        </p:txBody>
      </p:sp>
      <p:sp>
        <p:nvSpPr>
          <p:cNvPr id="37" name="Rectangle 36"/>
          <p:cNvSpPr/>
          <p:nvPr>
            <p:custDataLst>
              <p:tags r:id="rId1"/>
            </p:custDataLst>
          </p:nvPr>
        </p:nvSpPr>
        <p:spPr>
          <a:xfrm>
            <a:off x="4337005" y="1220222"/>
            <a:ext cx="3511641" cy="923090"/>
          </a:xfrm>
          <a:prstGeom prst="rect">
            <a:avLst/>
          </a:prstGeom>
          <a:noFill/>
          <a:ln w="3175" cap="flat" cmpd="sng" algn="ctr">
            <a:noFill/>
            <a:prstDash val="solid"/>
            <a:round/>
            <a:headEnd type="none" w="med" len="med"/>
            <a:tailEnd type="none" w="med" len="med"/>
          </a:ln>
          <a:effectLst/>
        </p:spPr>
        <p:txBody>
          <a:bodyPr wrap="square" lIns="91416" tIns="91416" rIns="91416" bIns="91416" anchor="b">
            <a:spAutoFit/>
          </a:bodyPr>
          <a:lstStyle/>
          <a:p>
            <a:pPr algn="ctr" defTabSz="914126" fontAlgn="base">
              <a:buClr>
                <a:srgbClr val="FFFF99"/>
              </a:buClr>
              <a:buSzPct val="90000"/>
              <a:defRPr/>
            </a:pPr>
            <a:r>
              <a:rPr lang="en-US" sz="2399">
                <a:solidFill>
                  <a:srgbClr val="505050"/>
                </a:solidFill>
                <a:latin typeface="Segoe UI Light"/>
                <a:cs typeface="Segoe UI Semibold" panose="020B0702040204020203" pitchFamily="34" charset="0"/>
                <a:sym typeface="Wingdings" pitchFamily="2" charset="2"/>
              </a:rPr>
              <a:t>Focus Areas for Key Executives</a:t>
            </a:r>
          </a:p>
        </p:txBody>
      </p:sp>
      <p:sp>
        <p:nvSpPr>
          <p:cNvPr id="38" name="Rectangle 37"/>
          <p:cNvSpPr/>
          <p:nvPr>
            <p:custDataLst>
              <p:tags r:id="rId2"/>
            </p:custDataLst>
          </p:nvPr>
        </p:nvSpPr>
        <p:spPr>
          <a:xfrm>
            <a:off x="303134" y="1589458"/>
            <a:ext cx="3511641" cy="553854"/>
          </a:xfrm>
          <a:prstGeom prst="rect">
            <a:avLst/>
          </a:prstGeom>
          <a:noFill/>
          <a:ln w="3175" cap="flat" cmpd="sng" algn="ctr">
            <a:noFill/>
            <a:prstDash val="solid"/>
            <a:round/>
            <a:headEnd type="none" w="med" len="med"/>
            <a:tailEnd type="none" w="med" len="med"/>
          </a:ln>
          <a:effectLst/>
        </p:spPr>
        <p:txBody>
          <a:bodyPr wrap="square" lIns="91416" tIns="91416" rIns="91416" bIns="91416" anchor="b">
            <a:spAutoFit/>
          </a:bodyPr>
          <a:lstStyle/>
          <a:p>
            <a:pPr algn="ctr" defTabSz="914126" fontAlgn="base">
              <a:buClr>
                <a:srgbClr val="FFFF99"/>
              </a:buClr>
              <a:buSzPct val="90000"/>
              <a:defRPr/>
            </a:pPr>
            <a:r>
              <a:rPr lang="en-US" sz="2399">
                <a:solidFill>
                  <a:srgbClr val="505050"/>
                </a:solidFill>
                <a:latin typeface="Segoe UI Light"/>
                <a:cs typeface="Segoe UI Semibold" panose="020B0702040204020203" pitchFamily="34" charset="0"/>
                <a:sym typeface="Wingdings" pitchFamily="2" charset="2"/>
              </a:rPr>
              <a:t>Business Drivers</a:t>
            </a:r>
          </a:p>
        </p:txBody>
      </p:sp>
      <p:sp>
        <p:nvSpPr>
          <p:cNvPr id="39" name="Rectangle 38"/>
          <p:cNvSpPr/>
          <p:nvPr>
            <p:custDataLst>
              <p:tags r:id="rId3"/>
            </p:custDataLst>
          </p:nvPr>
        </p:nvSpPr>
        <p:spPr>
          <a:xfrm>
            <a:off x="8370876" y="1589458"/>
            <a:ext cx="3511641" cy="553854"/>
          </a:xfrm>
          <a:prstGeom prst="rect">
            <a:avLst/>
          </a:prstGeom>
          <a:noFill/>
          <a:ln w="3175" cap="flat" cmpd="sng" algn="ctr">
            <a:noFill/>
            <a:prstDash val="solid"/>
            <a:round/>
            <a:headEnd type="none" w="med" len="med"/>
            <a:tailEnd type="none" w="med" len="med"/>
          </a:ln>
          <a:effectLst/>
        </p:spPr>
        <p:txBody>
          <a:bodyPr wrap="square" lIns="91416" tIns="91416" rIns="91416" bIns="91416" anchor="b">
            <a:spAutoFit/>
          </a:bodyPr>
          <a:lstStyle/>
          <a:p>
            <a:pPr algn="ctr" defTabSz="914126" fontAlgn="base">
              <a:buClr>
                <a:srgbClr val="FFFF99"/>
              </a:buClr>
              <a:buSzPct val="90000"/>
              <a:defRPr/>
            </a:pPr>
            <a:r>
              <a:rPr lang="en-US" sz="2399">
                <a:solidFill>
                  <a:srgbClr val="505050"/>
                </a:solidFill>
                <a:latin typeface="Segoe UI Light"/>
                <a:cs typeface="Segoe UI Semibold" panose="020B0702040204020203" pitchFamily="34" charset="0"/>
                <a:sym typeface="Wingdings" pitchFamily="2" charset="2"/>
              </a:rPr>
              <a:t>Business Benefits</a:t>
            </a:r>
          </a:p>
        </p:txBody>
      </p:sp>
      <p:sp>
        <p:nvSpPr>
          <p:cNvPr id="42" name="Oval 41"/>
          <p:cNvSpPr/>
          <p:nvPr/>
        </p:nvSpPr>
        <p:spPr>
          <a:xfrm flipH="1">
            <a:off x="3885440" y="4042579"/>
            <a:ext cx="380899" cy="380892"/>
          </a:xfrm>
          <a:prstGeom prst="ellipse">
            <a:avLst/>
          </a:prstGeom>
          <a:solidFill>
            <a:schemeClr val="bg1">
              <a:lumMod val="50000"/>
            </a:schemeClr>
          </a:solidFill>
          <a:ln w="12700">
            <a:noFill/>
          </a:ln>
          <a:effectLst/>
        </p:spPr>
        <p:txBody>
          <a:bodyPr vert="horz" wrap="square" lIns="0" tIns="45708" rIns="0" bIns="45708" rtlCol="0" anchor="ctr">
            <a:noAutofit/>
          </a:bodyPr>
          <a:lstStyle/>
          <a:p>
            <a:pPr algn="ctr" defTabSz="914126">
              <a:defRPr/>
            </a:pPr>
            <a:endParaRPr lang="en-IN" sz="2399">
              <a:solidFill>
                <a:prstClr val="white"/>
              </a:solidFill>
              <a:effectLst>
                <a:outerShdw blurRad="38100" dist="25400" dir="2700000" algn="tl">
                  <a:srgbClr val="000000">
                    <a:alpha val="0"/>
                  </a:srgbClr>
                </a:outerShdw>
              </a:effectLst>
              <a:latin typeface="Segoe UI Light"/>
            </a:endParaRPr>
          </a:p>
        </p:txBody>
      </p:sp>
      <p:sp>
        <p:nvSpPr>
          <p:cNvPr id="27" name="Freeform 26"/>
          <p:cNvSpPr/>
          <p:nvPr/>
        </p:nvSpPr>
        <p:spPr>
          <a:xfrm rot="16200000" flipH="1">
            <a:off x="3994945" y="4127444"/>
            <a:ext cx="161892" cy="211159"/>
          </a:xfrm>
          <a:custGeom>
            <a:avLst/>
            <a:gdLst>
              <a:gd name="connsiteX0" fmla="*/ 0 w 227226"/>
              <a:gd name="connsiteY0" fmla="*/ 97503 h 296377"/>
              <a:gd name="connsiteX1" fmla="*/ 0 w 227226"/>
              <a:gd name="connsiteY1" fmla="*/ 177339 h 296377"/>
              <a:gd name="connsiteX2" fmla="*/ 113613 w 227226"/>
              <a:gd name="connsiteY2" fmla="*/ 296377 h 296377"/>
              <a:gd name="connsiteX3" fmla="*/ 227226 w 227226"/>
              <a:gd name="connsiteY3" fmla="*/ 177339 h 296377"/>
              <a:gd name="connsiteX4" fmla="*/ 227226 w 227226"/>
              <a:gd name="connsiteY4" fmla="*/ 97503 h 296377"/>
              <a:gd name="connsiteX5" fmla="*/ 157531 w 227226"/>
              <a:gd name="connsiteY5" fmla="*/ 170525 h 296377"/>
              <a:gd name="connsiteX6" fmla="*/ 157531 w 227226"/>
              <a:gd name="connsiteY6" fmla="*/ 0 h 296377"/>
              <a:gd name="connsiteX7" fmla="*/ 69677 w 227226"/>
              <a:gd name="connsiteY7" fmla="*/ 0 h 296377"/>
              <a:gd name="connsiteX8" fmla="*/ 69677 w 227226"/>
              <a:gd name="connsiteY8" fmla="*/ 170507 h 296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7226" h="296377">
                <a:moveTo>
                  <a:pt x="0" y="97503"/>
                </a:moveTo>
                <a:lnTo>
                  <a:pt x="0" y="177339"/>
                </a:lnTo>
                <a:lnTo>
                  <a:pt x="113613" y="296377"/>
                </a:lnTo>
                <a:lnTo>
                  <a:pt x="227226" y="177339"/>
                </a:lnTo>
                <a:lnTo>
                  <a:pt x="227226" y="97503"/>
                </a:lnTo>
                <a:lnTo>
                  <a:pt x="157531" y="170525"/>
                </a:lnTo>
                <a:lnTo>
                  <a:pt x="157531" y="0"/>
                </a:lnTo>
                <a:lnTo>
                  <a:pt x="69677" y="0"/>
                </a:lnTo>
                <a:lnTo>
                  <a:pt x="69677" y="170507"/>
                </a:lnTo>
                <a:close/>
              </a:path>
            </a:pathLst>
          </a:custGeom>
          <a:solidFill>
            <a:schemeClr val="bg1"/>
          </a:solidFill>
          <a:ln>
            <a:noFill/>
          </a:ln>
        </p:spPr>
        <p:txBody>
          <a:bodyPr vert="horz" wrap="square" lIns="0" tIns="45708" rIns="0" bIns="45708" rtlCol="0" anchor="ctr">
            <a:noAutofit/>
          </a:bodyPr>
          <a:lstStyle/>
          <a:p>
            <a:pPr algn="ctr" defTabSz="914126">
              <a:defRPr/>
            </a:pPr>
            <a:endParaRPr lang="en-IN" sz="2399">
              <a:solidFill>
                <a:prstClr val="white"/>
              </a:solidFill>
              <a:effectLst>
                <a:outerShdw blurRad="38100" dist="25400" dir="2700000" algn="tl">
                  <a:srgbClr val="000000">
                    <a:alpha val="0"/>
                  </a:srgbClr>
                </a:outerShdw>
              </a:effectLst>
              <a:latin typeface="Segoe UI Light"/>
            </a:endParaRPr>
          </a:p>
        </p:txBody>
      </p:sp>
      <p:sp>
        <p:nvSpPr>
          <p:cNvPr id="63" name="Rectangle 62"/>
          <p:cNvSpPr/>
          <p:nvPr>
            <p:custDataLst>
              <p:tags r:id="rId4"/>
            </p:custDataLst>
          </p:nvPr>
        </p:nvSpPr>
        <p:spPr>
          <a:xfrm>
            <a:off x="4337005" y="3538261"/>
            <a:ext cx="3511641" cy="1389526"/>
          </a:xfrm>
          <a:prstGeom prst="rect">
            <a:avLst/>
          </a:prstGeom>
          <a:solidFill>
            <a:schemeClr val="accent1"/>
          </a:solidFill>
          <a:ln w="6350" cap="flat" cmpd="sng" algn="ctr">
            <a:noFill/>
            <a:prstDash val="solid"/>
            <a:round/>
            <a:headEnd type="none" w="med" len="med"/>
            <a:tailEnd type="none" w="med" len="med"/>
          </a:ln>
          <a:effectLst/>
        </p:spPr>
        <p:txBody>
          <a:bodyPr vert="horz" wrap="square" lIns="91416" tIns="45708" rIns="91416" bIns="45708" numCol="1" rtlCol="0" anchor="ctr" anchorCtr="0" compatLnSpc="1">
            <a:prstTxWarp prst="textNoShape">
              <a:avLst/>
            </a:prstTxWarp>
            <a:noAutofit/>
          </a:bodyPr>
          <a:lstStyle/>
          <a:p>
            <a:pPr algn="ctr" defTabSz="914126" fontAlgn="base">
              <a:buClr>
                <a:srgbClr val="FFFF99"/>
              </a:buClr>
              <a:buSzPct val="90000"/>
              <a:defRPr/>
            </a:pPr>
            <a:r>
              <a:rPr lang="en-IN" sz="1799" dirty="0">
                <a:solidFill>
                  <a:prstClr val="white"/>
                </a:solidFill>
                <a:latin typeface="Segoe UI Semibold" panose="020B0702040204020203" pitchFamily="34" charset="0"/>
                <a:cs typeface="Segoe UI Semibold" panose="020B0702040204020203" pitchFamily="34" charset="0"/>
              </a:rPr>
              <a:t>Leveraging innovation to drive competitive advantage and technology integration</a:t>
            </a:r>
          </a:p>
        </p:txBody>
      </p:sp>
      <p:sp>
        <p:nvSpPr>
          <p:cNvPr id="64" name="Rectangle 63"/>
          <p:cNvSpPr/>
          <p:nvPr>
            <p:custDataLst>
              <p:tags r:id="rId5"/>
            </p:custDataLst>
          </p:nvPr>
        </p:nvSpPr>
        <p:spPr>
          <a:xfrm>
            <a:off x="4337005" y="2102245"/>
            <a:ext cx="3511641" cy="1389526"/>
          </a:xfrm>
          <a:prstGeom prst="rect">
            <a:avLst/>
          </a:prstGeom>
          <a:solidFill>
            <a:schemeClr val="accent1"/>
          </a:solidFill>
          <a:ln w="6350" cap="flat" cmpd="sng" algn="ctr">
            <a:noFill/>
            <a:prstDash val="solid"/>
            <a:round/>
            <a:headEnd type="none" w="med" len="med"/>
            <a:tailEnd type="none" w="med" len="med"/>
          </a:ln>
          <a:effectLst/>
        </p:spPr>
        <p:txBody>
          <a:bodyPr vert="horz" wrap="square" lIns="91416" tIns="45708" rIns="91416" bIns="45708" numCol="1" rtlCol="0" anchor="ctr" anchorCtr="0" compatLnSpc="1">
            <a:prstTxWarp prst="textNoShape">
              <a:avLst/>
            </a:prstTxWarp>
            <a:noAutofit/>
          </a:bodyPr>
          <a:lstStyle/>
          <a:p>
            <a:pPr marL="0" lvl="1" algn="ctr" defTabSz="914126">
              <a:defRPr/>
            </a:pPr>
            <a:r>
              <a:rPr lang="en-US" sz="1799" dirty="0">
                <a:solidFill>
                  <a:prstClr val="white"/>
                </a:solidFill>
                <a:latin typeface="Segoe UI Semibold" panose="020B0702040204020203" pitchFamily="34" charset="0"/>
                <a:cs typeface="Segoe UI Semibold" panose="020B0702040204020203" pitchFamily="34" charset="0"/>
              </a:rPr>
              <a:t>Empowering customers with richer more personalized </a:t>
            </a:r>
            <a:br>
              <a:rPr lang="en-US" sz="1799" dirty="0">
                <a:solidFill>
                  <a:prstClr val="white"/>
                </a:solidFill>
                <a:latin typeface="Segoe UI Semibold" panose="020B0702040204020203" pitchFamily="34" charset="0"/>
                <a:cs typeface="Segoe UI Semibold" panose="020B0702040204020203" pitchFamily="34" charset="0"/>
              </a:rPr>
            </a:br>
            <a:r>
              <a:rPr lang="en-US" sz="1799" dirty="0">
                <a:solidFill>
                  <a:prstClr val="white"/>
                </a:solidFill>
                <a:latin typeface="Segoe UI Semibold" panose="020B0702040204020203" pitchFamily="34" charset="0"/>
                <a:cs typeface="Segoe UI Semibold" panose="020B0702040204020203" pitchFamily="34" charset="0"/>
              </a:rPr>
              <a:t>self-service experiences</a:t>
            </a:r>
          </a:p>
        </p:txBody>
      </p:sp>
      <p:sp>
        <p:nvSpPr>
          <p:cNvPr id="68" name="Rectangle 67"/>
          <p:cNvSpPr/>
          <p:nvPr>
            <p:custDataLst>
              <p:tags r:id="rId6"/>
            </p:custDataLst>
          </p:nvPr>
        </p:nvSpPr>
        <p:spPr>
          <a:xfrm>
            <a:off x="4337005" y="4974278"/>
            <a:ext cx="3511641" cy="1389526"/>
          </a:xfrm>
          <a:prstGeom prst="rect">
            <a:avLst/>
          </a:prstGeom>
          <a:solidFill>
            <a:schemeClr val="accent1"/>
          </a:solidFill>
          <a:ln w="6350" cap="flat" cmpd="sng" algn="ctr">
            <a:noFill/>
            <a:prstDash val="solid"/>
            <a:round/>
            <a:headEnd type="none" w="med" len="med"/>
            <a:tailEnd type="none" w="med" len="med"/>
          </a:ln>
          <a:effectLst/>
        </p:spPr>
        <p:txBody>
          <a:bodyPr vert="horz" wrap="square" lIns="91416" tIns="45708" rIns="91416" bIns="45708" numCol="1" rtlCol="0" anchor="ctr" anchorCtr="0" compatLnSpc="1">
            <a:prstTxWarp prst="textNoShape">
              <a:avLst/>
            </a:prstTxWarp>
            <a:noAutofit/>
          </a:bodyPr>
          <a:lstStyle/>
          <a:p>
            <a:pPr algn="ctr" defTabSz="914126" fontAlgn="base">
              <a:buClr>
                <a:srgbClr val="FFFF99"/>
              </a:buClr>
              <a:buSzPct val="90000"/>
              <a:defRPr/>
            </a:pPr>
            <a:r>
              <a:rPr lang="en-IN" sz="1799" dirty="0">
                <a:solidFill>
                  <a:prstClr val="white"/>
                </a:solidFill>
                <a:latin typeface="Segoe UI Semibold" panose="020B0702040204020203" pitchFamily="34" charset="0"/>
                <a:cs typeface="Segoe UI Semibold" panose="020B0702040204020203" pitchFamily="34" charset="0"/>
              </a:rPr>
              <a:t>Risk management and environmental compliance programs</a:t>
            </a:r>
          </a:p>
        </p:txBody>
      </p:sp>
      <p:sp>
        <p:nvSpPr>
          <p:cNvPr id="73" name="Rectangle 72"/>
          <p:cNvSpPr/>
          <p:nvPr/>
        </p:nvSpPr>
        <p:spPr bwMode="auto">
          <a:xfrm>
            <a:off x="8370876" y="3538262"/>
            <a:ext cx="3511641" cy="1389526"/>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3554" fontAlgn="base">
              <a:spcBef>
                <a:spcPct val="0"/>
              </a:spcBef>
              <a:spcAft>
                <a:spcPct val="0"/>
              </a:spcAft>
              <a:defRPr/>
            </a:pPr>
            <a:r>
              <a:rPr lang="en-IN" sz="1799" kern="0">
                <a:solidFill>
                  <a:srgbClr val="505050"/>
                </a:solidFill>
                <a:latin typeface="Segoe UI Semibold" panose="020B0702040204020203" pitchFamily="34" charset="0"/>
                <a:ea typeface="Segoe UI" pitchFamily="34" charset="0"/>
                <a:cs typeface="Segoe UI Semibold" panose="020B0702040204020203" pitchFamily="34" charset="0"/>
              </a:rPr>
              <a:t>Generate new revenue </a:t>
            </a:r>
            <a:br>
              <a:rPr lang="en-IN" sz="1799" kern="0">
                <a:solidFill>
                  <a:srgbClr val="505050"/>
                </a:solidFill>
                <a:latin typeface="Segoe UI Semibold" panose="020B0702040204020203" pitchFamily="34" charset="0"/>
                <a:ea typeface="Segoe UI" pitchFamily="34" charset="0"/>
                <a:cs typeface="Segoe UI Semibold" panose="020B0702040204020203" pitchFamily="34" charset="0"/>
              </a:rPr>
            </a:br>
            <a:r>
              <a:rPr lang="en-IN" sz="1799" kern="0">
                <a:solidFill>
                  <a:srgbClr val="505050"/>
                </a:solidFill>
                <a:latin typeface="Segoe UI Semibold" panose="020B0702040204020203" pitchFamily="34" charset="0"/>
                <a:ea typeface="Segoe UI" pitchFamily="34" charset="0"/>
                <a:cs typeface="Segoe UI Semibold" panose="020B0702040204020203" pitchFamily="34" charset="0"/>
              </a:rPr>
              <a:t>while reducing costs</a:t>
            </a:r>
          </a:p>
        </p:txBody>
      </p:sp>
      <p:sp>
        <p:nvSpPr>
          <p:cNvPr id="74" name="Rectangle 73"/>
          <p:cNvSpPr/>
          <p:nvPr/>
        </p:nvSpPr>
        <p:spPr bwMode="auto">
          <a:xfrm>
            <a:off x="8370876" y="4974278"/>
            <a:ext cx="3511641" cy="1389526"/>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3554" fontAlgn="base">
              <a:spcBef>
                <a:spcPct val="0"/>
              </a:spcBef>
              <a:spcAft>
                <a:spcPct val="0"/>
              </a:spcAft>
              <a:defRPr/>
            </a:pPr>
            <a:r>
              <a:rPr lang="en-IN" sz="1799" kern="0">
                <a:solidFill>
                  <a:srgbClr val="505050"/>
                </a:solidFill>
                <a:latin typeface="Segoe UI Semibold" panose="020B0702040204020203" pitchFamily="34" charset="0"/>
                <a:ea typeface="Segoe UI" pitchFamily="34" charset="0"/>
                <a:cs typeface="Segoe UI Semibold" panose="020B0702040204020203" pitchFamily="34" charset="0"/>
              </a:rPr>
              <a:t>Manage risk better, </a:t>
            </a:r>
            <a:br>
              <a:rPr lang="en-IN" sz="1799" kern="0">
                <a:solidFill>
                  <a:srgbClr val="505050"/>
                </a:solidFill>
                <a:latin typeface="Segoe UI Semibold" panose="020B0702040204020203" pitchFamily="34" charset="0"/>
                <a:ea typeface="Segoe UI" pitchFamily="34" charset="0"/>
                <a:cs typeface="Segoe UI Semibold" panose="020B0702040204020203" pitchFamily="34" charset="0"/>
              </a:rPr>
            </a:br>
            <a:r>
              <a:rPr lang="en-IN" sz="1799" kern="0">
                <a:solidFill>
                  <a:srgbClr val="505050"/>
                </a:solidFill>
                <a:latin typeface="Segoe UI Semibold" panose="020B0702040204020203" pitchFamily="34" charset="0"/>
                <a:ea typeface="Segoe UI" pitchFamily="34" charset="0"/>
                <a:cs typeface="Segoe UI Semibold" panose="020B0702040204020203" pitchFamily="34" charset="0"/>
              </a:rPr>
              <a:t>faster, and cheaper</a:t>
            </a:r>
          </a:p>
        </p:txBody>
      </p:sp>
      <p:sp>
        <p:nvSpPr>
          <p:cNvPr id="75" name="Rectangle 74"/>
          <p:cNvSpPr/>
          <p:nvPr/>
        </p:nvSpPr>
        <p:spPr bwMode="auto">
          <a:xfrm>
            <a:off x="8370876" y="2102245"/>
            <a:ext cx="3511641" cy="1389526"/>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3554" fontAlgn="base">
              <a:spcBef>
                <a:spcPct val="0"/>
              </a:spcBef>
              <a:spcAft>
                <a:spcPct val="0"/>
              </a:spcAft>
              <a:defRPr/>
            </a:pPr>
            <a:r>
              <a:rPr lang="en-IN" sz="1799" kern="0" dirty="0">
                <a:solidFill>
                  <a:srgbClr val="505050"/>
                </a:solidFill>
                <a:latin typeface="Segoe UI Semibold" panose="020B0702040204020203" pitchFamily="34" charset="0"/>
                <a:ea typeface="Segoe UI" pitchFamily="34" charset="0"/>
                <a:cs typeface="Segoe UI Semibold" panose="020B0702040204020203" pitchFamily="34" charset="0"/>
              </a:rPr>
              <a:t>Drive Growth, Retention &amp; Profitability</a:t>
            </a:r>
          </a:p>
        </p:txBody>
      </p:sp>
      <p:sp>
        <p:nvSpPr>
          <p:cNvPr id="53" name="Rectangle 52"/>
          <p:cNvSpPr>
            <a:spLocks/>
          </p:cNvSpPr>
          <p:nvPr>
            <p:custDataLst>
              <p:tags r:id="rId7"/>
            </p:custDataLst>
          </p:nvPr>
        </p:nvSpPr>
        <p:spPr>
          <a:xfrm>
            <a:off x="303134" y="2102245"/>
            <a:ext cx="3511641" cy="1389526"/>
          </a:xfrm>
          <a:prstGeom prst="rect">
            <a:avLst/>
          </a:prstGeom>
          <a:solidFill>
            <a:schemeClr val="tx2"/>
          </a:solidFill>
          <a:ln w="3175" cap="flat" cmpd="sng" algn="ctr">
            <a:noFill/>
            <a:prstDash val="solid"/>
            <a:round/>
            <a:headEnd type="none" w="med" len="med"/>
            <a:tailEnd type="none" w="med" len="med"/>
          </a:ln>
          <a:effectLst/>
        </p:spPr>
        <p:txBody>
          <a:bodyPr vert="horz" wrap="square" lIns="91416" tIns="45708" rIns="91416" bIns="45708" numCol="1" rtlCol="0" anchor="ctr" anchorCtr="0" compatLnSpc="1">
            <a:prstTxWarp prst="textNoShape">
              <a:avLst/>
            </a:prstTxWarp>
            <a:noAutofit/>
          </a:bodyPr>
          <a:lstStyle/>
          <a:p>
            <a:pPr algn="ctr" defTabSz="914126" fontAlgn="base">
              <a:buClr>
                <a:srgbClr val="FFFF99"/>
              </a:buClr>
              <a:buSzPct val="90000"/>
              <a:defRPr/>
            </a:pPr>
            <a:r>
              <a:rPr lang="en-US" sz="1799" dirty="0">
                <a:solidFill>
                  <a:prstClr val="white"/>
                </a:solidFill>
                <a:latin typeface="Segoe UI Semibold" panose="020B0702040204020203" pitchFamily="34" charset="0"/>
                <a:cs typeface="Segoe UI Semibold" panose="020B0702040204020203" pitchFamily="34" charset="0"/>
              </a:rPr>
              <a:t>Rise of a market for fit-for-purpose mobility solutions</a:t>
            </a:r>
          </a:p>
        </p:txBody>
      </p:sp>
      <p:sp>
        <p:nvSpPr>
          <p:cNvPr id="58" name="Rectangle 57"/>
          <p:cNvSpPr>
            <a:spLocks/>
          </p:cNvSpPr>
          <p:nvPr>
            <p:custDataLst>
              <p:tags r:id="rId8"/>
            </p:custDataLst>
          </p:nvPr>
        </p:nvSpPr>
        <p:spPr>
          <a:xfrm>
            <a:off x="303134" y="4974278"/>
            <a:ext cx="3511641" cy="1389526"/>
          </a:xfrm>
          <a:prstGeom prst="rect">
            <a:avLst/>
          </a:prstGeom>
          <a:solidFill>
            <a:schemeClr val="tx2"/>
          </a:solidFill>
          <a:ln w="3175" cap="flat" cmpd="sng" algn="ctr">
            <a:noFill/>
            <a:prstDash val="solid"/>
            <a:round/>
            <a:headEnd type="none" w="med" len="med"/>
            <a:tailEnd type="none" w="med" len="med"/>
          </a:ln>
          <a:effectLst/>
        </p:spPr>
        <p:txBody>
          <a:bodyPr vert="horz" wrap="square" lIns="91416" tIns="45708" rIns="91416" bIns="45708" numCol="1" rtlCol="0" anchor="ctr" anchorCtr="0" compatLnSpc="1">
            <a:prstTxWarp prst="textNoShape">
              <a:avLst/>
            </a:prstTxWarp>
            <a:noAutofit/>
          </a:bodyPr>
          <a:lstStyle/>
          <a:p>
            <a:pPr algn="ctr" defTabSz="914126" fontAlgn="base">
              <a:buClr>
                <a:srgbClr val="FFFF99"/>
              </a:buClr>
              <a:buSzPct val="90000"/>
              <a:defRPr/>
            </a:pPr>
            <a:r>
              <a:rPr lang="en-US" sz="1799" dirty="0">
                <a:solidFill>
                  <a:prstClr val="white"/>
                </a:solidFill>
                <a:latin typeface="Segoe UI Semibold" panose="020B0702040204020203" pitchFamily="34" charset="0"/>
                <a:cs typeface="Segoe UI Semibold" panose="020B0702040204020203" pitchFamily="34" charset="0"/>
              </a:rPr>
              <a:t>New competition and cooperation</a:t>
            </a:r>
          </a:p>
        </p:txBody>
      </p:sp>
      <p:sp>
        <p:nvSpPr>
          <p:cNvPr id="62" name="Rectangle 61"/>
          <p:cNvSpPr/>
          <p:nvPr>
            <p:custDataLst>
              <p:tags r:id="rId9"/>
            </p:custDataLst>
          </p:nvPr>
        </p:nvSpPr>
        <p:spPr>
          <a:xfrm>
            <a:off x="303134" y="3540417"/>
            <a:ext cx="3511641" cy="1385213"/>
          </a:xfrm>
          <a:prstGeom prst="rect">
            <a:avLst/>
          </a:prstGeom>
          <a:solidFill>
            <a:schemeClr val="tx2"/>
          </a:solidFill>
          <a:ln w="3175" cap="flat" cmpd="sng" algn="ctr">
            <a:noFill/>
            <a:prstDash val="solid"/>
            <a:round/>
            <a:headEnd type="none" w="med" len="med"/>
            <a:tailEnd type="none" w="med" len="med"/>
          </a:ln>
          <a:effectLst/>
        </p:spPr>
        <p:txBody>
          <a:bodyPr vert="horz" wrap="square" lIns="91416" tIns="45708" rIns="91416" bIns="45708" numCol="1" rtlCol="0" anchor="ctr" anchorCtr="0" compatLnSpc="1">
            <a:prstTxWarp prst="textNoShape">
              <a:avLst/>
            </a:prstTxWarp>
            <a:noAutofit/>
          </a:bodyPr>
          <a:lstStyle/>
          <a:p>
            <a:pPr algn="ctr" defTabSz="914126" fontAlgn="base">
              <a:buClr>
                <a:srgbClr val="FFFF99"/>
              </a:buClr>
              <a:buSzPct val="90000"/>
              <a:defRPr/>
            </a:pPr>
            <a:r>
              <a:rPr lang="en-IN" sz="1799" dirty="0">
                <a:solidFill>
                  <a:prstClr val="white"/>
                </a:solidFill>
                <a:latin typeface="Segoe UI Semibold" panose="020B0702040204020203" pitchFamily="34" charset="0"/>
                <a:cs typeface="Segoe UI Semibold" panose="020B0702040204020203" pitchFamily="34" charset="0"/>
              </a:rPr>
              <a:t>Increasing use of Disruptive Business Models and Technology</a:t>
            </a:r>
          </a:p>
        </p:txBody>
      </p:sp>
      <p:sp>
        <p:nvSpPr>
          <p:cNvPr id="29" name="Oval 28"/>
          <p:cNvSpPr/>
          <p:nvPr/>
        </p:nvSpPr>
        <p:spPr>
          <a:xfrm flipH="1">
            <a:off x="7919312" y="4042579"/>
            <a:ext cx="380899" cy="380892"/>
          </a:xfrm>
          <a:prstGeom prst="ellipse">
            <a:avLst/>
          </a:prstGeom>
          <a:solidFill>
            <a:schemeClr val="bg1">
              <a:lumMod val="50000"/>
            </a:schemeClr>
          </a:solidFill>
          <a:ln w="12700">
            <a:noFill/>
          </a:ln>
          <a:effectLst/>
        </p:spPr>
        <p:txBody>
          <a:bodyPr vert="horz" wrap="square" lIns="0" tIns="45708" rIns="0" bIns="45708" rtlCol="0" anchor="ctr">
            <a:noAutofit/>
          </a:bodyPr>
          <a:lstStyle/>
          <a:p>
            <a:pPr algn="ctr" defTabSz="914126">
              <a:defRPr/>
            </a:pPr>
            <a:endParaRPr lang="en-IN" sz="2399">
              <a:solidFill>
                <a:prstClr val="white"/>
              </a:solidFill>
              <a:effectLst>
                <a:outerShdw blurRad="38100" dist="25400" dir="2700000" algn="tl">
                  <a:srgbClr val="000000">
                    <a:alpha val="0"/>
                  </a:srgbClr>
                </a:outerShdw>
              </a:effectLst>
              <a:latin typeface="Segoe UI Light"/>
            </a:endParaRPr>
          </a:p>
        </p:txBody>
      </p:sp>
      <p:sp>
        <p:nvSpPr>
          <p:cNvPr id="28" name="Freeform 27"/>
          <p:cNvSpPr/>
          <p:nvPr/>
        </p:nvSpPr>
        <p:spPr>
          <a:xfrm rot="16200000" flipH="1">
            <a:off x="8028815" y="4127445"/>
            <a:ext cx="161892" cy="211159"/>
          </a:xfrm>
          <a:custGeom>
            <a:avLst/>
            <a:gdLst>
              <a:gd name="connsiteX0" fmla="*/ 0 w 227226"/>
              <a:gd name="connsiteY0" fmla="*/ 97503 h 296377"/>
              <a:gd name="connsiteX1" fmla="*/ 0 w 227226"/>
              <a:gd name="connsiteY1" fmla="*/ 177339 h 296377"/>
              <a:gd name="connsiteX2" fmla="*/ 113613 w 227226"/>
              <a:gd name="connsiteY2" fmla="*/ 296377 h 296377"/>
              <a:gd name="connsiteX3" fmla="*/ 227226 w 227226"/>
              <a:gd name="connsiteY3" fmla="*/ 177339 h 296377"/>
              <a:gd name="connsiteX4" fmla="*/ 227226 w 227226"/>
              <a:gd name="connsiteY4" fmla="*/ 97503 h 296377"/>
              <a:gd name="connsiteX5" fmla="*/ 157531 w 227226"/>
              <a:gd name="connsiteY5" fmla="*/ 170525 h 296377"/>
              <a:gd name="connsiteX6" fmla="*/ 157531 w 227226"/>
              <a:gd name="connsiteY6" fmla="*/ 0 h 296377"/>
              <a:gd name="connsiteX7" fmla="*/ 69677 w 227226"/>
              <a:gd name="connsiteY7" fmla="*/ 0 h 296377"/>
              <a:gd name="connsiteX8" fmla="*/ 69677 w 227226"/>
              <a:gd name="connsiteY8" fmla="*/ 170507 h 296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7226" h="296377">
                <a:moveTo>
                  <a:pt x="0" y="97503"/>
                </a:moveTo>
                <a:lnTo>
                  <a:pt x="0" y="177339"/>
                </a:lnTo>
                <a:lnTo>
                  <a:pt x="113613" y="296377"/>
                </a:lnTo>
                <a:lnTo>
                  <a:pt x="227226" y="177339"/>
                </a:lnTo>
                <a:lnTo>
                  <a:pt x="227226" y="97503"/>
                </a:lnTo>
                <a:lnTo>
                  <a:pt x="157531" y="170525"/>
                </a:lnTo>
                <a:lnTo>
                  <a:pt x="157531" y="0"/>
                </a:lnTo>
                <a:lnTo>
                  <a:pt x="69677" y="0"/>
                </a:lnTo>
                <a:lnTo>
                  <a:pt x="69677" y="170507"/>
                </a:lnTo>
                <a:close/>
              </a:path>
            </a:pathLst>
          </a:custGeom>
          <a:solidFill>
            <a:schemeClr val="bg1"/>
          </a:solidFill>
          <a:ln>
            <a:noFill/>
          </a:ln>
        </p:spPr>
        <p:txBody>
          <a:bodyPr vert="horz" wrap="square" lIns="0" tIns="45708" rIns="0" bIns="45708" rtlCol="0" anchor="ctr">
            <a:noAutofit/>
          </a:bodyPr>
          <a:lstStyle/>
          <a:p>
            <a:pPr algn="ctr" defTabSz="914126">
              <a:defRPr/>
            </a:pPr>
            <a:endParaRPr lang="en-IN" sz="2399">
              <a:solidFill>
                <a:prstClr val="white"/>
              </a:solidFill>
              <a:effectLst>
                <a:outerShdw blurRad="38100" dist="25400" dir="2700000" algn="tl">
                  <a:srgbClr val="000000">
                    <a:alpha val="0"/>
                  </a:srgbClr>
                </a:outerShdw>
              </a:effectLst>
              <a:latin typeface="Segoe UI Light"/>
            </a:endParaRPr>
          </a:p>
        </p:txBody>
      </p:sp>
    </p:spTree>
    <p:extLst>
      <p:ext uri="{BB962C8B-B14F-4D97-AF65-F5344CB8AC3E}">
        <p14:creationId xmlns:p14="http://schemas.microsoft.com/office/powerpoint/2010/main" val="8298207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8mKyQtWXA0GgKmAIo9AQ0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mWfLmoQ7akizLDDn8wg3p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8mKyQtWXA0GgKmAIo9AQ0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p7NFlKNJxUiLkmhj8FV_C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tLhtXlETBEKM3FC2yentS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qMH96fkMF02.TTi78rpvq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dzD2Zwn8NEaGm_LG8M_co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5pk_v3rcO06MUPn0qnm_H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vnP0vtMPtkKWEtF0.UBQT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TllxN3xYkEKVzT0SgRt94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TllxN3xYkEKVzT0SgRt94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TllxN3xYkEKVzT0SgRt94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TllxN3xYkEKVzT0SgRt94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TllxN3xYkEKVzT0SgRt94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TllxN3xYkEKVzT0SgRt94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TllxN3xYkEKVzT0SgRt94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TllxN3xYkEKVzT0SgRt94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TllxN3xYkEKVzT0SgRt94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TllxN3xYkEKVzT0SgRt94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TllxN3xYkEKVzT0SgRt94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TllxN3xYkEKVzT0SgRt94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TllxN3xYkEKVzT0SgRt94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TllxN3xYkEKVzT0SgRt94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TllxN3xYkEKVzT0SgRt94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TllxN3xYkEKVzT0SgRt94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TllxN3xYkEKVzT0SgRt94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TllxN3xYkEKVzT0SgRt94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TllxN3xYkEKVzT0SgRt94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TllxN3xYkEKVzT0SgRt94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TllxN3xYkEKVzT0SgRt94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TllxN3xYkEKVzT0SgRt94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Bv7YFI8Z.EW8YPtpcgZL9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Bv7YFI8Z.EW8YPtpcgZL9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Bv7YFI8Z.EW8YPtpcgZL9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Bv7YFI8Z.EW8YPtpcgZL9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h_E_ynRKAUCa5wEiULZlI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cBYrQTAoR0.csL4txFp0w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tZSQfFoYt0usKCa_z2xio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yuK4P..nVUu8hMk9G4Qzv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OhVUfOnS1UKo1QacCVvcg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ElslF0K9cEqeg1gAuIGqn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QwuN90iTwEq375lfNkv3s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Yoe5RXJSMUqWkTxdMTVQZ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_qQ9pz.PkEmbif5S1UKz0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b.M6R.Ui6ka7IArIUxxnx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0_ceKBS6OUW57vV9dqevA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0_ceKBS6OUW57vV9dqevA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0_ceKBS6OUW57vV9dqevA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0_ceKBS6OUW57vV9dqevA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MyRSbQ0s8EiBL79VAghWv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FmVnPT99l0GkZfQ.NegX6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kola7p5LvE.hvrzHLVl.7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uChlfjWTCE.I1MJCWki7x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ccBYF6im2UGnvMLups7_m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uChlfjWTCE.I1MJCWki7x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XZOaDxNkfkCSkBdqT2jV2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81LnjiMC8U2gwDjz05YuB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MQnLNWxql0y1lSB0QND54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MiHT8LKELUiGEmlpiZaS0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MQnLNWxql0y1lSB0QND54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_qQ9pz.PkEmbif5S1UKz0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b.M6R.Ui6ka7IArIUxxnx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0_ceKBS6OUW57vV9dqevA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0_ceKBS6OUW57vV9dqevA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0_ceKBS6OUW57vV9dqevA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0_ceKBS6OUW57vV9dqevA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MyRSbQ0s8EiBL79VAghWv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FmVnPT99l0GkZfQ.NegX6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kola7p5LvE.hvrzHLVl.7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ccBYF6im2UGnvMLups7_m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kola7p5LvE.hvrzHLVl.7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8Qna.47IcUK7DM1Z4cyMK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kqk7fwAi7UK89PHKDAxaf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_ksYXg56PECWVTeaCnq4g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bXsnA43RikaEtfi8tGjA1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loLci1oHqEKMkL36VfqIy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Fh20W2tIQEuj3odjpeY24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sIzmkQI1lUKVH47I7V6lm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l90Fx8gTUEirHVVsN2fiw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KN7en_cJCUGmNq81GjghB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psZtshf0MEWeMHOb7aGLh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FJRiikop2UG4ujHExR8Gw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KN7en_cJCUGmNq81GjghB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A6m.vsS94k6C.Kv4.QRFl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hHp3wZ446USii8wGIplSM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A6m.vsS94k6C.Kv4.QRFl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MccokFl8LEe34T5kyqokK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loLci1oHqEKMkL36VfqIy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loLci1oHqEKMkL36VfqIy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loLci1oHqEKMkL36VfqI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h_E_ynRKAUCa5wEiULZlI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cBYrQTAoR0.csL4txFp0w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tZSQfFoYt0usKCa_z2xio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yuK4P..nVUu8hMk9G4Qzv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OhVUfOnS1UKo1QacCVvcg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ElslF0K9cEqeg1gAuIGqn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QwuN90iTwEq375lfNkv3s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Yoe5RXJSMUqWkTxdMTVQZ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_qQ9pz.PkEmbif5S1UKz0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b.M6R.Ui6ka7IArIUxxnx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0_ceKBS6OUW57vV9dqevA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0_ceKBS6OUW57vV9dqevA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0_ceKBS6OUW57vV9dqevA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MyRSbQ0s8EiBL79VAghWv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FmVnPT99l0GkZfQ.NegX6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kola7p5LvE.hvrzHLVl.7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uChlfjWTCE.I1MJCWki7x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ccBYF6im2UGnvMLups7_m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XZOaDxNkfkCSkBdqT2jV2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81LnjiMC8U2gwDjz05YuB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MQnLNWxql0y1lSB0QND54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MiHT8LKELUiGEmlpiZaS0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_qQ9pz.PkEmbif5S1UKz0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b.M6R.Ui6ka7IArIUxxnx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0_ceKBS6OUW57vV9dqevA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0_ceKBS6OUW57vV9dqevA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0_ceKBS6OUW57vV9dqevA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yRSbQ0s8EiBL79VAghWv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FmVnPT99l0GkZfQ.NegX6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kola7p5LvE.hvrzHLVl.7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I3HuJ9aGp0eKlNQhVarz5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ccBYF6im2UGnvMLups7_m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kola7p5LvE.hvrzHLVl.7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MQnLNWxql0y1lSB0QND54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0_ceKBS6OUW57vV9dqevA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8Qna.47IcUK7DM1Z4cyMK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kqk7fwAi7UK89PHKDAxaf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_ksYXg56PECWVTeaCnq4g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loLci1oHqEKMkL36VfqIy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Fh20W2tIQEuj3odjpeY24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pNl2qzRu0kWUgQ1PvJ9Jo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l90Fx8gTUEirHVVsN2fiw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Dr4ijsFR7UuNGGynBXlfs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l90Fx8gTUEirHVVsN2fiw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hHp3wZ446USii8wGIplSM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A6m.vsS94k6C.Kv4.QRFl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A6m.vsS94k6C.Kv4.QRFl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KN7en_cJCUGmNq81GjghB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MccokFl8LEe34T5kyqokK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KN7en_cJCUGmNq81GjghB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sIzmkQI1lUKVH47I7V6lm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8sMiwAqcU0KwYu97qUEj7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psZtshf0MEWeMHOb7aGLh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FJRiikop2UG4ujHExR8Gw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loLci1oHqEKMkL36VfqIy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loLci1oHqEKMkL36VfqIy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loLci1oHqEKMkL36VfqIy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CamsusUoa0GqT_jNwHts0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h_E_ynRKAUCa5wEiULZlI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cBYrQTAoR0.csL4txFp0w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_qQ9pz.PkEmbif5S1UKz0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_qQ9pz.PkEmbif5S1UKz0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PbXQ8vvqEqk7DvYxgaGw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_qQ9pz.PkEmbif5S1UKz0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_qQ9pz.PkEmbif5S1UKz0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_qQ9pz.PkEmbif5S1UKz0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_qQ9pz.PkEmbif5S1UKz0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8Qna.47IcUK7DM1Z4cyMK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kqk7fwAi7UK89PHKDAxaf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_ksYXg56PECWVTeaCnq4g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bXsnA43RikaEtfi8tGjA1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loLci1oHqEKMkL36VfqIy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Fh20W2tIQEuj3odjpeY24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8MuGUFg2NEWFV0d0uAoxZ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l90Fx8gTUEirHVVsN2fiw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KN7en_cJCUGmNq81GjghB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MccokFl8LEe34T5kyqokK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hHp3wZ446USii8wGIplSM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KN7en_cJCUGmNq81GjghB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A6m.vsS94k6C.Kv4.QRFl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A6m.vsS94k6C.Kv4.QRFl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sIzmkQI1lUKVH47I7V6lm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psZtshf0MEWeMHOb7aGLh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FJRiikop2UG4ujHExR8Gw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kGmkoeg8km6sdkwNan2s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loLci1oHqEKMkL36VfqIy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loLci1oHqEKMkL36VfqIy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loLci1oHqEKMkL36VfqIy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CamsusUoa0GqT_jNwHts0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h_E_ynRKAUCa5wEiULZlI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CamsusUoa0GqT_jNwHts0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h_E_ynRKAUCa5wEiULZlI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cBYrQTAoR0.csL4txFp0w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tZSQfFoYt0usKCa_z2xio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yuK4P..nVUu8hMk9G4Qzv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Ohrl7dyKJUy.5RAwoOiSu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OhVUfOnS1UKo1QacCVvcg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ElslF0K9cEqeg1gAuIGqn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QwuN90iTwEq375lfNkv3s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Yoe5RXJSMUqWkTxdMTVQZ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_qQ9pz.PkEmbif5S1UKz0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b.M6R.Ui6ka7IArIUxxnx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MyRSbQ0s8EiBL79VAghWv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FmVnPT99l0GkZfQ.NegX6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kola7p5LvE.hvrzHLVl.7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uChlfjWTCE.I1MJCWki7x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uChlfjWTCE.I1MJCWki7x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XZOaDxNkfkCSkBdqT2jV2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81LnjiMC8U2gwDjz05YuB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MQnLNWxql0y1lSB0QND54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MiHT8LKELUiGEmlpiZaS0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MQnLNWxql0y1lSB0QND54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_qQ9pz.PkEmbif5S1UKz0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b.M6R.Ui6ka7IArIUxxnx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0_ceKBS6OUW57vV9dqevA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0_ceKBS6OUW57vV9dqevA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0_ceKBS6OUW57vV9dqevA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0_ceKBS6OUW57vV9dqevA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MyRSbQ0s8EiBL79VAghWv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FmVnPT99l0GkZfQ.NegX6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ccBYF6im2UGnvMLups7_m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kola7p5LvE.hvrzHLVl.7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0_ceKBS6OUW57vV9dqevA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0_ceKBS6OUW57vV9dqevA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0_ceKBS6OUW57vV9dqevA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0_ceKBS6OUW57vV9dqevA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ccBYF6im2UGnvMLups7_m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Yoe5RXJSMUqWkTxdMTVQZ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8Qna.47IcUK7DM1Z4cyMK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9jYUcyZ0HE20jTH6VpRE9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kqk7fwAi7UK89PHKDAxaf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_ksYXg56PECWVTeaCnq4g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loLci1oHqEKMkL36VfqIy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Fh20W2tIQEuj3odjpeY24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sIzmkQI1lUKVH47I7V6lm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psZtshf0MEWeMHOb7aGLh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FJRiikop2UG4ujHExR8Gw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KN7en_cJCUGmNq81GjghB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MccokFl8LEe34T5kyqokK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A6m.vsS94k6C.Kv4.QRFl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hHp3wZ446USii8wGIplSM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A6m.vsS94k6C.Kv4.QRFl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KN7en_cJCUGmNq81GjghB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loLci1oHqEKMkL36VfqIy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loLci1oHqEKMkL36VfqIy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loLci1oHqEKMkL36VfqI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3HuJ9aGp0eKlNQhVarz5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pNl2qzRu0kWUgQ1PvJ9Jo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8sMiwAqcU0KwYu97qUEj7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nPbXQ8vvqEqk7DvYxgaGw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8MuGUFg2NEWFV0d0uAoxZ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GkGmkoeg8km6sdkwNan2s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Ohrl7dyKJUy.5RAwoOiSu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I3HuJ9aGp0eKlNQhVarz5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pNl2qzRu0kWUgQ1PvJ9Jo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8sMiwAqcU0KwYu97qUEj7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nPbXQ8vvqEqk7DvYxgaGw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8MuGUFg2NEWFV0d0uAoxZ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GkGmkoeg8km6sdkwNan2s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Ohrl7dyKJUy.5RAwoOiSu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S_DE_Presentation Template_16x9_Light" id="{1C5A014F-CE71-4894-848B-DF418114CB37}" vid="{C23321E9-612D-4B1A-9531-EB08610DB2A7}"/>
    </a:ext>
  </a:extLst>
</a:theme>
</file>

<file path=ppt/theme/theme10.xml><?xml version="1.0" encoding="utf-8"?>
<a:theme xmlns:a="http://schemas.openxmlformats.org/drawingml/2006/main" name="30_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External_16x9_Light [Read-Only]" id="{3A1D309E-A9B1-413E-90B6-BA773E86C9AE}" vid="{3930461E-BBF4-4A1F-A2F3-6BA9EAC3A40C}"/>
    </a:ext>
  </a:extLst>
</a:theme>
</file>

<file path=ppt/theme/theme11.xml><?xml version="1.0" encoding="utf-8"?>
<a:theme xmlns:a="http://schemas.openxmlformats.org/drawingml/2006/main" name="3_FY15 Enterprise identity theme">
  <a:themeElements>
    <a:clrScheme name="Custom 7">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50505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12.xml><?xml version="1.0" encoding="utf-8"?>
<a:theme xmlns:a="http://schemas.openxmlformats.org/drawingml/2006/main" name="5_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External_16x9_Light [Read-Only]" id="{3A1D309E-A9B1-413E-90B6-BA773E86C9AE}" vid="{3930461E-BBF4-4A1F-A2F3-6BA9EAC3A40C}"/>
    </a:ext>
  </a:extLst>
</a:theme>
</file>

<file path=ppt/theme/theme13.xml><?xml version="1.0" encoding="utf-8"?>
<a:theme xmlns:a="http://schemas.openxmlformats.org/drawingml/2006/main" name="7_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14.xml><?xml version="1.0" encoding="utf-8"?>
<a:theme xmlns:a="http://schemas.openxmlformats.org/drawingml/2006/main" name="2_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S_DE_Presentation Template_16x9_Light" id="{1C5A014F-CE71-4894-848B-DF418114CB37}" vid="{C23321E9-612D-4B1A-9531-EB08610DB2A7}"/>
    </a:ext>
  </a:extLst>
</a:theme>
</file>

<file path=ppt/theme/theme15.xml><?xml version="1.0" encoding="utf-8"?>
<a:theme xmlns:a="http://schemas.openxmlformats.org/drawingml/2006/main" name="18_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16.xml><?xml version="1.0" encoding="utf-8"?>
<a:theme xmlns:a="http://schemas.openxmlformats.org/drawingml/2006/main" name="6_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17.xml><?xml version="1.0" encoding="utf-8"?>
<a:theme xmlns:a="http://schemas.openxmlformats.org/drawingml/2006/main" name="8_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18.xml><?xml version="1.0" encoding="utf-8"?>
<a:theme xmlns:a="http://schemas.openxmlformats.org/drawingml/2006/main" name="9_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External_16x9_Light [Read-Only]" id="{3A1D309E-A9B1-413E-90B6-BA773E86C9AE}" vid="{3930461E-BBF4-4A1F-A2F3-6BA9EAC3A40C}"/>
    </a:ext>
  </a:extLst>
</a:theme>
</file>

<file path=ppt/theme/theme19.xml><?xml version="1.0" encoding="utf-8"?>
<a:theme xmlns:a="http://schemas.openxmlformats.org/drawingml/2006/main" name="Office Theme">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5_FY15 Enterprise identity theme">
  <a:themeElements>
    <a:clrScheme name="Custom 2">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00317B"/>
      </a:hlink>
      <a:folHlink>
        <a:srgbClr val="7030A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S_DE_Presentation Template_16x9_Light" id="{1C5A014F-CE71-4894-848B-DF418114CB37}" vid="{C23321E9-612D-4B1A-9531-EB08610DB2A7}"/>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9_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External_16x9_Light [Read-Only]" id="{3A1D309E-A9B1-413E-90B6-BA773E86C9AE}" vid="{3930461E-BBF4-4A1F-A2F3-6BA9EAC3A40C}"/>
    </a:ext>
  </a:extLst>
</a:theme>
</file>

<file path=ppt/theme/theme4.xml><?xml version="1.0" encoding="utf-8"?>
<a:theme xmlns:a="http://schemas.openxmlformats.org/drawingml/2006/main" name="MS Brand White 16-9_Dec-2013">
  <a:themeElements>
    <a:clrScheme name="Custom 4">
      <a:dk1>
        <a:srgbClr val="505050"/>
      </a:dk1>
      <a:lt1>
        <a:srgbClr val="FFFFFF"/>
      </a:lt1>
      <a:dk2>
        <a:srgbClr val="002050"/>
      </a:dk2>
      <a:lt2>
        <a:srgbClr val="0072C6"/>
      </a:lt2>
      <a:accent1>
        <a:srgbClr val="0072C6"/>
      </a:accent1>
      <a:accent2>
        <a:srgbClr val="00BCF2"/>
      </a:accent2>
      <a:accent3>
        <a:srgbClr val="008A00"/>
      </a:accent3>
      <a:accent4>
        <a:srgbClr val="7FBA00"/>
      </a:accent4>
      <a:accent5>
        <a:srgbClr val="68217A"/>
      </a:accent5>
      <a:accent6>
        <a:srgbClr val="DC3C00"/>
      </a:accent6>
      <a:hlink>
        <a:srgbClr val="002050"/>
      </a:hlink>
      <a:folHlink>
        <a:srgbClr val="68217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Dec2013_PRELIM.potx" id="{3C825910-E241-4A9F-A328-6AC2DE27D4BB}" vid="{D9F5F194-A5AE-4351-8DA4-8121ACE344F9}"/>
    </a:ext>
  </a:extLst>
</a:theme>
</file>

<file path=ppt/theme/theme5.xml><?xml version="1.0" encoding="utf-8"?>
<a:theme xmlns:a="http://schemas.openxmlformats.org/drawingml/2006/main" name="20_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S_DE_Presentation Template_16x9_Light" id="{1C5A014F-CE71-4894-848B-DF418114CB37}" vid="{C23321E9-612D-4B1A-9531-EB08610DB2A7}"/>
    </a:ext>
  </a:extLst>
</a:theme>
</file>

<file path=ppt/theme/theme6.xml><?xml version="1.0" encoding="utf-8"?>
<a:theme xmlns:a="http://schemas.openxmlformats.org/drawingml/2006/main" name="17_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7.xml><?xml version="1.0" encoding="utf-8"?>
<a:theme xmlns:a="http://schemas.openxmlformats.org/drawingml/2006/main" name="22_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8.xml><?xml version="1.0" encoding="utf-8"?>
<a:theme xmlns:a="http://schemas.openxmlformats.org/drawingml/2006/main" name="1_FY15 Enterprise identity theme">
  <a:themeElements>
    <a:clrScheme name="FY15 Enterprise Visual Identity">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ppt/theme/theme9.xml><?xml version="1.0" encoding="utf-8"?>
<a:theme xmlns:a="http://schemas.openxmlformats.org/drawingml/2006/main" name="4_FY15 Enterprise identity theme">
  <a:themeElements>
    <a:clrScheme name="Custom 30">
      <a:dk1>
        <a:srgbClr val="505050"/>
      </a:dk1>
      <a:lt1>
        <a:sysClr val="window" lastClr="FFFFFF"/>
      </a:lt1>
      <a:dk2>
        <a:srgbClr val="0072C6"/>
      </a:dk2>
      <a:lt2>
        <a:srgbClr val="002050"/>
      </a:lt2>
      <a:accent1>
        <a:srgbClr val="7FBA00"/>
      </a:accent1>
      <a:accent2>
        <a:srgbClr val="FFB900"/>
      </a:accent2>
      <a:accent3>
        <a:srgbClr val="DC3C00"/>
      </a:accent3>
      <a:accent4>
        <a:srgbClr val="00BCF2"/>
      </a:accent4>
      <a:accent5>
        <a:srgbClr val="969696"/>
      </a:accent5>
      <a:accent6>
        <a:srgbClr val="D2D2D2"/>
      </a:accent6>
      <a:hlink>
        <a:srgbClr val="505050"/>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16x9_Light_042914" id="{F3AC482D-D5FE-4C12-8E0E-EA8972E3C93B}" vid="{33523C68-E248-4A1F-A64D-A892E9B2A2BC}"/>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2018 Automotive Book of Dreams is set of scenarios for Automotive industry vertical for driving digital business transformation. </DocumentDescription>
    <_ip_UnifiedCompliancePolicyUIAction xmlns="http://schemas.microsoft.com/sharepoint/v3" xsi:nil="true"/>
    <SMEComments xmlns="2c369b2b-3f94-46ec-90e1-485ed2885eab" xsi:nil="true"/>
    <servicespriorityarea xmlns="230e9df3-be65-4c73-a93b-d1236ebd677e"/>
    <g6775e77a6d84637a29014d883a4378a xmlns="230e9df3-be65-4c73-a93b-d1236ebd677e">
      <Terms xmlns="http://schemas.microsoft.com/office/infopath/2007/PartnerControls"/>
    </g6775e77a6d84637a29014d883a4378a>
    <campusactivity xmlns="230e9df3-be65-4c73-a93b-d1236ebd677e">
      <Value>Sales</Value>
      <Value>Marketing</Value>
      <Value>Delivery</Value>
    </campusactivity>
    <Peer_x0020_Comments xmlns="230e9df3-be65-4c73-a93b-d1236ebd677e" xsi:nil="true"/>
    <MSProductsTaxHTField0 xmlns="230e9df3-be65-4c73-a93b-d1236ebd677e">
      <Terms xmlns="http://schemas.microsoft.com/office/infopath/2007/PartnerControls"/>
    </MSProductsTaxHTField0>
    <m74a2925250f485f9486ed3f97e2a6b3 xmlns="230e9df3-be65-4c73-a93b-d1236ebd677e">
      <Terms xmlns="http://schemas.microsoft.com/office/infopath/2007/PartnerControls">
        <TermInfo xmlns="http://schemas.microsoft.com/office/infopath/2007/PartnerControls">
          <TermName xmlns="http://schemas.microsoft.com/office/infopath/2007/PartnerControls">discrete manufacturing industry</TermName>
          <TermId xmlns="http://schemas.microsoft.com/office/infopath/2007/PartnerControls">849cc5cd-9e2e-43b0-bb40-7dfe9bc975a9</TermId>
        </TermInfo>
        <TermInfo xmlns="http://schemas.microsoft.com/office/infopath/2007/PartnerControls">
          <TermName xmlns="http://schemas.microsoft.com/office/infopath/2007/PartnerControls">automotive and industrial equipment and aerospace manufacturing</TermName>
          <TermId xmlns="http://schemas.microsoft.com/office/infopath/2007/PartnerControls">8ead1dd3-8729-46dc-a6a6-5d3ae6fc288f</TermId>
        </TermInfo>
        <TermInfo xmlns="http://schemas.microsoft.com/office/infopath/2007/PartnerControls">
          <TermName xmlns="http://schemas.microsoft.com/office/infopath/2007/PartnerControls">motor vehicle and parts dealers</TermName>
          <TermId xmlns="http://schemas.microsoft.com/office/infopath/2007/PartnerControls">bdbbdfab-22be-4b2c-9af6-ce44709552c4</TermId>
        </TermInfo>
      </Terms>
    </m74a2925250f485f9486ed3f97e2a6b3>
    <oad7af80ad0f4ba99bb03b3894ab533c xmlns="230e9df3-be65-4c73-a93b-d1236ebd677e">
      <Terms xmlns="http://schemas.microsoft.com/office/infopath/2007/PartnerControls">
        <TermInfo xmlns="http://schemas.microsoft.com/office/infopath/2007/PartnerControls">
          <TermName xmlns="http://schemas.microsoft.com/office/infopath/2007/PartnerControls">scenarios</TermName>
          <TermId xmlns="http://schemas.microsoft.com/office/infopath/2007/PartnerControls">5dc5e6e5-18a4-4ff8-85dc-71a9ecf4b47b</TermId>
        </TermInfo>
      </Terms>
    </oad7af80ad0f4ba99bb03b3894ab533c>
    <SMEReviewIndicator xmlns="2c369b2b-3f94-46ec-90e1-485ed2885eab" xsi:nil="true"/>
    <Peer_x0020_Review_x0020_Indicator xmlns="230e9df3-be65-4c73-a93b-d1236ebd677e" xsi:nil="true"/>
    <_ip_UnifiedCompliancePolicyProperties xmlns="http://schemas.microsoft.com/sharepoint/v3" xsi:nil="true"/>
    <Peer_x0020_Review_x0020_Count xmlns="230e9df3-be65-4c73-a93b-d1236ebd677e" xsi:nil="true"/>
    <Authors xmlns="230e9df3-be65-4c73-a93b-d1236ebd677e">
      <UserInfo>
        <DisplayName>i:0#.f|membership|jmeier@microsoft.com</DisplayName>
        <AccountId>4130</AccountId>
        <AccountType/>
      </UserInfo>
    </Authors>
    <FrameworkVersionNumber xmlns="230e9df3-be65-4c73-a93b-d1236ebd677e" xsi:nil="true"/>
    <cb7870d3641f4a52807a63577a9c1b08 xmlns="230e9df3-be65-4c73-a93b-d1236ebd677e">
      <Terms xmlns="http://schemas.microsoft.com/office/infopath/2007/PartnerControls"/>
    </cb7870d3641f4a52807a63577a9c1b08>
    <l6f22ad676764b8284b0a38937e29122 xmlns="2c369b2b-3f94-46ec-90e1-485ed2885eab">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cb91f272-ce4d-4a7e-9bbf-78b58e3d188d</TermId>
        </TermInfo>
      </Terms>
    </l6f22ad676764b8284b0a38937e29122>
    <OfferingID xmlns="8b5b7ad0-f464-46eb-9946-fcee1f1dc400"/>
    <DerivedFromID xmlns="230e9df3-be65-4c73-a93b-d1236ebd677e" xsi:nil="true"/>
    <TaxCatchAll xmlns="230e9df3-be65-4c73-a93b-d1236ebd677e">
      <Value>424</Value>
      <Value>672</Value>
      <Value>685</Value>
      <Value>479</Value>
      <Value>3</Value>
      <Value>86</Value>
    </TaxCatchAll>
    <campusov xmlns="230e9df3-be65-4c73-a93b-d1236ebd677e">
      <Value>MCS</Value>
    </campusov>
    <SMEReviewCount xmlns="2c369b2b-3f94-46ec-90e1-485ed2885eab" xsi:nil="true"/>
    <af1f5bfae61e4243aac9966cb19580e1 xmlns="230e9df3-be65-4c73-a93b-d1236ebd677e">
      <Terms xmlns="http://schemas.microsoft.com/office/infopath/2007/PartnerControls">
        <TermInfo xmlns="http://schemas.microsoft.com/office/infopath/2007/PartnerControls">
          <TermName xmlns="http://schemas.microsoft.com/office/infopath/2007/PartnerControls">WW Digital Business Transformation Community</TermName>
          <TermId xmlns="http://schemas.microsoft.com/office/infopath/2007/PartnerControls">abb82a59-d8e1-44bf-b680-43fada6eee29</TermId>
        </TermInfo>
      </Terms>
    </af1f5bfae61e4243aac9966cb19580e1>
    <p26d0941c95b4632829814c66f0e8c72 xmlns="230e9df3-be65-4c73-a93b-d1236ebd677e">
      <Terms xmlns="http://schemas.microsoft.com/office/infopath/2007/PartnerControls"/>
    </p26d0941c95b4632829814c66f0e8c72>
    <LastSharedByUser xmlns="8b5b7ad0-f464-46eb-9946-fcee1f1dc400">phdoran@microsoft.com</LastSharedByUser>
    <_dlc_DocId xmlns="230e9df3-be65-4c73-a93b-d1236ebd677e">CAMPUSIP-6-2096</_dlc_DocId>
    <LastSharedByTime xmlns="8b5b7ad0-f464-46eb-9946-fcee1f1dc400">2018-03-13T00:16:20+00:00</LastSharedByTime>
    <_dlc_DocIdUrl xmlns="230e9df3-be65-4c73-a93b-d1236ebd677e">
      <Url>https://microsoft.sharepoint.com/teams/CampusIPLibraries/ES/_layouts/15/DocIdRedir.aspx?ID=CAMPUSIP-6-2096</Url>
      <Description>CAMPUSIP-6-2096</Description>
    </_dlc_DocIdUrl>
  </documentManagement>
</p:properti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3.xml><?xml version="1.0" encoding="utf-8"?>
<ct:contentTypeSchema xmlns:ct="http://schemas.microsoft.com/office/2006/metadata/contentType" xmlns:ma="http://schemas.microsoft.com/office/2006/metadata/properties/metaAttributes" ct:_="" ma:_="" ma:contentTypeName="Campus Managed IP - ES" ma:contentTypeID="0x01010079CA57CA2DAD654DAB031774EE67465800621D8D8E19AE324586B0E2D5814AD32C02003ECED42F18ABEC4F85527B788A517F04" ma:contentTypeVersion="71" ma:contentTypeDescription="This content type is used to define the metadata and behavior of Managed IP managed in the Enterprise Strategy group." ma:contentTypeScope="" ma:versionID="ba2082576dd9fe317f2942bf19439016">
  <xsd:schema xmlns:xsd="http://www.w3.org/2001/XMLSchema" xmlns:xs="http://www.w3.org/2001/XMLSchema" xmlns:p="http://schemas.microsoft.com/office/2006/metadata/properties" xmlns:ns1="http://schemas.microsoft.com/sharepoint/v3" xmlns:ns2="230e9df3-be65-4c73-a93b-d1236ebd677e" xmlns:ns3="2c369b2b-3f94-46ec-90e1-485ed2885eab" xmlns:ns4="8b5b7ad0-f464-46eb-9946-fcee1f1dc400" xmlns:ns5="8999dd97-00dc-4063-90df-a4ecd669d12d" targetNamespace="http://schemas.microsoft.com/office/2006/metadata/properties" ma:root="true" ma:fieldsID="f64eeae28fcc96e12f063a5f7d9a0970" ns1:_="" ns2:_="" ns3:_="" ns4:_="" ns5:_="">
    <xsd:import namespace="http://schemas.microsoft.com/sharepoint/v3"/>
    <xsd:import namespace="230e9df3-be65-4c73-a93b-d1236ebd677e"/>
    <xsd:import namespace="2c369b2b-3f94-46ec-90e1-485ed2885eab"/>
    <xsd:import namespace="8b5b7ad0-f464-46eb-9946-fcee1f1dc400"/>
    <xsd:import namespace="8999dd97-00dc-4063-90df-a4ecd669d12d"/>
    <xsd:element name="properties">
      <xsd:complexType>
        <xsd:sequence>
          <xsd:element name="documentManagement">
            <xsd:complexType>
              <xsd:all>
                <xsd:element ref="ns2:DerivedFromID" minOccurs="0"/>
                <xsd:element ref="ns2:Authors"/>
                <xsd:element ref="ns2:servicespriorityarea" minOccurs="0"/>
                <xsd:element ref="ns2:campusov" minOccurs="0"/>
                <xsd:element ref="ns2:campusactivity" minOccurs="0"/>
                <xsd:element ref="ns3:SMEComments" minOccurs="0"/>
                <xsd:element ref="ns3:SMEReviewCount" minOccurs="0"/>
                <xsd:element ref="ns3:SMEReviewIndicator" minOccurs="0"/>
                <xsd:element ref="ns2:DocumentDescription"/>
                <xsd:element ref="ns2:Peer_x0020_Comments" minOccurs="0"/>
                <xsd:element ref="ns2:Peer_x0020_Review_x0020_Count" minOccurs="0"/>
                <xsd:element ref="ns2:Peer_x0020_Review_x0020_Indicator" minOccurs="0"/>
                <xsd:element ref="ns2:cb7870d3641f4a52807a63577a9c1b08" minOccurs="0"/>
                <xsd:element ref="ns2:af1f5bfae61e4243aac9966cb19580e1" minOccurs="0"/>
                <xsd:element ref="ns2:TaxCatchAll" minOccurs="0"/>
                <xsd:element ref="ns2:TaxCatchAllLabel" minOccurs="0"/>
                <xsd:element ref="ns2:MSProductsTaxHTField0" minOccurs="0"/>
                <xsd:element ref="ns3:l6f22ad676764b8284b0a38937e29122" minOccurs="0"/>
                <xsd:element ref="ns4:OfferingID_x003a_Title_x0020__x0028_linked_x0020_to_x0020_item_x0029_" minOccurs="0"/>
                <xsd:element ref="ns2:m74a2925250f485f9486ed3f97e2a6b3" minOccurs="0"/>
                <xsd:element ref="ns4:SharedWithDetails" minOccurs="0"/>
                <xsd:element ref="ns2:g6775e77a6d84637a29014d883a4378a" minOccurs="0"/>
                <xsd:element ref="ns2:oad7af80ad0f4ba99bb03b3894ab533c" minOccurs="0"/>
                <xsd:element ref="ns1:_ip_UnifiedCompliancePolicyProperties" minOccurs="0"/>
                <xsd:element ref="ns1:_ip_UnifiedCompliancePolicyUIAction" minOccurs="0"/>
                <xsd:element ref="ns4:LastSharedByUser" minOccurs="0"/>
                <xsd:element ref="ns4:LastSharedByTime" minOccurs="0"/>
                <xsd:element ref="ns4:OfferingID" minOccurs="0"/>
                <xsd:element ref="ns2:_dlc_DocIdUrl" minOccurs="0"/>
                <xsd:element ref="ns2:_dlc_DocIdPersistId" minOccurs="0"/>
                <xsd:element ref="ns2:_dlc_DocId" minOccurs="0"/>
                <xsd:element ref="ns5:MediaServiceMetadata" minOccurs="0"/>
                <xsd:element ref="ns5:MediaServiceFastMetadata" minOccurs="0"/>
                <xsd:element ref="ns2:p26d0941c95b4632829814c66f0e8c72" minOccurs="0"/>
                <xsd:element ref="ns2:FrameworkVersionNumbe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40" nillable="true" ma:displayName="Unified Compliance Policy Properties" ma:hidden="true" ma:internalName="_ip_UnifiedCompliancePolicyProperties">
      <xsd:simpleType>
        <xsd:restriction base="dms:Note"/>
      </xsd:simpleType>
    </xsd:element>
    <xsd:element name="_ip_UnifiedCompliancePolicyUIAction" ma:index="4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erivedFromID" ma:index="2" nillable="true" ma:displayName="Derived from ID" ma:default="Original" ma:description="Holds the Document Id if the document is derived from an existing document in Campus." ma:internalName="DerivedFromID">
      <xsd:simpleType>
        <xsd:restriction base="dms:Text">
          <xsd:maxLength value="255"/>
        </xsd:restriction>
      </xsd:simpleType>
    </xsd:element>
    <xsd:element name="Authors" ma:index="3" ma:displayName="Authors" ma:description="The individuals who contributed to the creation of this content. Includes both primary and secondary authors." ma:list="UserInfo" ma:SharePointGroup="0" ma:internalName="Authors"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servicespriorityarea" ma:index="9" nillable="true" ma:displayName="Services Priority Area" ma:description="Identifies the associated Services business priority area. Used by Campus." ma:internalName="servicespriorityarea">
      <xsd:complexType>
        <xsd:complexContent>
          <xsd:extension base="dms:MultiChoice">
            <xsd:sequence>
              <xsd:element name="Value" maxOccurs="unbounded" minOccurs="0" nillable="true">
                <xsd:simpleType>
                  <xsd:restriction base="dms:Choice">
                    <xsd:enumeration value="Application Platform"/>
                    <xsd:enumeration value="Cloud Productivity"/>
                    <xsd:enumeration value="Datacenter"/>
                    <xsd:enumeration value="Devices and Mobility"/>
                    <xsd:enumeration value="Digital Advisory Services"/>
                    <xsd:enumeration value="Dynamics"/>
                    <xsd:enumeration value="Enterprise Communications"/>
                    <xsd:enumeration value="Premier Cloud Vantage"/>
                    <xsd:enumeration value="Premier Lync"/>
                    <xsd:enumeration value="Premier Mission Critical"/>
                    <xsd:enumeration value="Premier vNext"/>
                    <xsd:enumeration value="Productivity and Enterprise Social"/>
                    <xsd:enumeration value="PSfD"/>
                    <xsd:enumeration value="PSfP"/>
                    <xsd:enumeration value="Security"/>
                  </xsd:restriction>
                </xsd:simpleType>
              </xsd:element>
            </xsd:sequence>
          </xsd:extension>
        </xsd:complexContent>
      </xsd:complexType>
    </xsd:element>
    <xsd:element name="campusov" ma:index="12" nillable="true" ma:displayName="Services Org" ma:description="The organization, community, or program that is responsible for the life of the IP." ma:internalName="campusov">
      <xsd:complexType>
        <xsd:complexContent>
          <xsd:extension base="dms:MultiChoice">
            <xsd:sequence>
              <xsd:element name="Value" maxOccurs="unbounded" minOccurs="0" nillable="true">
                <xsd:simpleType>
                  <xsd:restriction base="dms:Choice">
                    <xsd:enumeration value="Premier"/>
                    <xsd:enumeration value="MCS"/>
                    <xsd:enumeration value="Digital Advisory Services"/>
                  </xsd:restriction>
                </xsd:simpleType>
              </xsd:element>
            </xsd:sequence>
          </xsd:extension>
        </xsd:complexContent>
      </xsd:complexType>
    </xsd:element>
    <xsd:element name="campusactivity" ma:index="14" nillable="true" ma:displayName="Campus Function" ma:description="Used exclusively by the Campus KM solution for tagging content with the Services function to which the document is applicable." ma:internalName="campusactivity">
      <xsd:complexType>
        <xsd:complexContent>
          <xsd:extension base="dms:MultiChoice">
            <xsd:sequence>
              <xsd:element name="Value" maxOccurs="unbounded" minOccurs="0" nillable="true">
                <xsd:simpleType>
                  <xsd:restriction base="dms:Choice">
                    <xsd:enumeration value="Sales"/>
                    <xsd:enumeration value="Marketing"/>
                    <xsd:enumeration value="Delivery"/>
                    <xsd:enumeration value="Support"/>
                  </xsd:restriction>
                </xsd:simpleType>
              </xsd:element>
            </xsd:sequence>
          </xsd:extension>
        </xsd:complexContent>
      </xsd:complexType>
    </xsd:element>
    <xsd:element name="DocumentDescription" ma:index="18" ma:displayName="Document Description" ma:description="Alternate description for documents that can be used for display." ma:internalName="DocumentDescription">
      <xsd:simpleType>
        <xsd:restriction base="dms:Note">
          <xsd:maxLength value="255"/>
        </xsd:restriction>
      </xsd:simpleType>
    </xsd:element>
    <xsd:element name="Peer_x0020_Comments" ma:index="19" nillable="true" ma:displayName="Peer Comments" ma:description="Provide your comments on the value of the piece of IP being reviewed." ma:internalName="Peer_x0020_Comments">
      <xsd:simpleType>
        <xsd:restriction base="dms:Note">
          <xsd:maxLength value="255"/>
        </xsd:restriction>
      </xsd:simpleType>
    </xsd:element>
    <xsd:element name="Peer_x0020_Review_x0020_Count" ma:index="20" nillable="true" ma:displayName="Peer Review Count" ma:description="The total count of all peer reviews done on this document." ma:internalName="Peer_x0020_Review_x0020_Count">
      <xsd:simpleType>
        <xsd:restriction base="dms:Number"/>
      </xsd:simpleType>
    </xsd:element>
    <xsd:element name="Peer_x0020_Review_x0020_Indicator" ma:index="21" nillable="true" ma:displayName="Peer Review Indicator" ma:description="The rating applied to the document by a peer." ma:internalName="Peer_x0020_Review_x0020_Indicator">
      <xsd:simpleType>
        <xsd:restriction base="dms:Number"/>
      </xsd:simpleType>
    </xsd:element>
    <xsd:element name="cb7870d3641f4a52807a63577a9c1b08" ma:index="25" nillable="true" ma:taxonomy="true" ma:internalName="cb7870d3641f4a52807a63577a9c1b08" ma:taxonomyFieldName="SalesGeography" ma:displayName="MS Sales Geography" ma:default="" ma:fieldId="{cb7870d3-641f-4a52-807a-63577a9c1b08}" ma:taxonomyMulti="true" ma:sspId="e385fb40-52d4-4fae-9c5b-3e8ff8a5878e" ma:termSetId="a5a76945-853a-477c-879c-38ff3cefc704" ma:anchorId="00000000-0000-0000-0000-000000000000" ma:open="false" ma:isKeyword="false">
      <xsd:complexType>
        <xsd:sequence>
          <xsd:element ref="pc:Terms" minOccurs="0" maxOccurs="1"/>
        </xsd:sequence>
      </xsd:complexType>
    </xsd:element>
    <xsd:element name="af1f5bfae61e4243aac9966cb19580e1" ma:index="26" nillable="true" ma:taxonomy="true" ma:internalName="af1f5bfae61e4243aac9966cb19580e1" ma:taxonomyFieldName="ServicesCommunities" ma:displayName="WW Communities" ma:default="" ma:fieldId="{af1f5bfa-e61e-4243-aac9-966cb19580e1}" ma:taxonomyMulti="true" ma:sspId="e385fb40-52d4-4fae-9c5b-3e8ff8a5878e" ma:termSetId="e914471b-f3a2-4e29-8ef9-272939996e4a" ma:anchorId="00000000-0000-0000-0000-000000000000" ma:open="false" ma:isKeyword="false">
      <xsd:complexType>
        <xsd:sequence>
          <xsd:element ref="pc:Terms" minOccurs="0" maxOccurs="1"/>
        </xsd:sequence>
      </xsd:complexType>
    </xsd:element>
    <xsd:element name="TaxCatchAll" ma:index="27" nillable="true" ma:displayName="Taxonomy Catch All Column" ma:hidden="true" ma:list="{b5574508-8eb6-42b3-91d6-479e30ab603a}" ma:internalName="TaxCatchAll" ma:showField="CatchAllData" ma:web="2c369b2b-3f94-46ec-90e1-485ed2885eab">
      <xsd:complexType>
        <xsd:complexContent>
          <xsd:extension base="dms:MultiChoiceLookup">
            <xsd:sequence>
              <xsd:element name="Value" type="dms:Lookup" maxOccurs="unbounded" minOccurs="0" nillable="true"/>
            </xsd:sequence>
          </xsd:extension>
        </xsd:complexContent>
      </xsd:complexType>
    </xsd:element>
    <xsd:element name="TaxCatchAllLabel" ma:index="28" nillable="true" ma:displayName="Taxonomy Catch All Column1" ma:hidden="true" ma:list="{b5574508-8eb6-42b3-91d6-479e30ab603a}" ma:internalName="TaxCatchAllLabel" ma:readOnly="true" ma:showField="CatchAllDataLabel" ma:web="2c369b2b-3f94-46ec-90e1-485ed2885eab">
      <xsd:complexType>
        <xsd:complexContent>
          <xsd:extension base="dms:MultiChoiceLookup">
            <xsd:sequence>
              <xsd:element name="Value" type="dms:Lookup" maxOccurs="unbounded" minOccurs="0" nillable="true"/>
            </xsd:sequence>
          </xsd:extension>
        </xsd:complexContent>
      </xsd:complexType>
    </xsd:element>
    <xsd:element name="MSProductsTaxHTField0" ma:index="30" nillable="true" ma:taxonomy="true" ma:internalName="MSProductsTaxHTField0" ma:taxonomyFieldName="MSProducts" ma:displayName="MS Products" ma:readOnly="false" ma:default="" ma:fieldId="{ee77c2ea-e1b9-4a90-85df-76a95e6ae936}"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m74a2925250f485f9486ed3f97e2a6b3" ma:index="36" nillable="true" ma:taxonomy="true" ma:internalName="m74a2925250f485f9486ed3f97e2a6b3" ma:taxonomyFieldName="VerticalIndustries" ma:displayName="Vertical Industries" ma:readOnly="false" ma:default="" ma:fieldId="{674a2925-250f-485f-9486-ed3f97e2a6b3}" ma:taxonomyMulti="true" ma:sspId="e385fb40-52d4-4fae-9c5b-3e8ff8a5878e" ma:termSetId="91b0d1e0-9f22-4aab-a1ef-fa1358a21588" ma:anchorId="00000000-0000-0000-0000-000000000000" ma:open="false" ma:isKeyword="false">
      <xsd:complexType>
        <xsd:sequence>
          <xsd:element ref="pc:Terms" minOccurs="0" maxOccurs="1"/>
        </xsd:sequence>
      </xsd:complexType>
    </xsd:element>
    <xsd:element name="g6775e77a6d84637a29014d883a4378a" ma:index="38" nillable="true" ma:taxonomy="true" ma:internalName="g6775e77a6d84637a29014d883a4378a" ma:taxonomyFieldName="ServicesDomain" ma:displayName="Services Domain" ma:default="" ma:fieldId="{06775e77-a6d8-4637-a290-14d883a4378a}" ma:taxonomyMulti="true" ma:sspId="e385fb40-52d4-4fae-9c5b-3e8ff8a5878e" ma:termSetId="c1ac51a9-d111-4ee5-a69f-6022ed76fff0" ma:anchorId="00000000-0000-0000-0000-000000000000" ma:open="false" ma:isKeyword="false">
      <xsd:complexType>
        <xsd:sequence>
          <xsd:element ref="pc:Terms" minOccurs="0" maxOccurs="1"/>
        </xsd:sequence>
      </xsd:complexType>
    </xsd:element>
    <xsd:element name="oad7af80ad0f4ba99bb03b3894ab533c" ma:index="39" nillable="true" ma:taxonomy="true" ma:internalName="oad7af80ad0f4ba99bb03b3894ab533c" ma:taxonomyFieldName="ServicesIPTypes" ma:displayName="Services IP Type" ma:readOnly="false" ma:default="" ma:fieldId="{8ad7af80-ad0f-4ba9-9bb0-3b3894ab533c}" ma:taxonomyMulti="true" ma:sspId="e385fb40-52d4-4fae-9c5b-3e8ff8a5878e" ma:termSetId="030f38bb-a2c5-4da9-8933-47d85a151cf1" ma:anchorId="00000000-0000-0000-0000-000000000000" ma:open="false" ma:isKeyword="false">
      <xsd:complexType>
        <xsd:sequence>
          <xsd:element ref="pc:Terms" minOccurs="0" maxOccurs="1"/>
        </xsd:sequence>
      </xsd:complexType>
    </xsd:element>
    <xsd:element name="_dlc_DocIdUrl" ma:index="46"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47" nillable="true" ma:displayName="Persist ID" ma:description="Keep ID on add." ma:hidden="true" ma:internalName="_dlc_DocIdPersistId" ma:readOnly="true">
      <xsd:simpleType>
        <xsd:restriction base="dms:Boolean"/>
      </xsd:simpleType>
    </xsd:element>
    <xsd:element name="_dlc_DocId" ma:index="48" nillable="true" ma:displayName="Document ID Value" ma:description="The value of the document ID assigned to this item." ma:internalName="_dlc_DocId" ma:readOnly="true">
      <xsd:simpleType>
        <xsd:restriction base="dms:Text"/>
      </xsd:simpleType>
    </xsd:element>
    <xsd:element name="p26d0941c95b4632829814c66f0e8c72" ma:index="52" nillable="true" ma:taxonomy="true" ma:internalName="p26d0941c95b4632829814c66f0e8c72" ma:taxonomyFieldName="ServicesBusinessScenario" ma:displayName="Services Business Scenario" ma:default="" ma:fieldId="{926d0941-c95b-4632-8298-14c66f0e8c72}" ma:taxonomyMulti="true" ma:sspId="e385fb40-52d4-4fae-9c5b-3e8ff8a5878e" ma:termSetId="08c4a5e0-8115-42dc-8744-29300f81d5e5" ma:anchorId="00000000-0000-0000-0000-000000000000" ma:open="false" ma:isKeyword="false">
      <xsd:complexType>
        <xsd:sequence>
          <xsd:element ref="pc:Terms" minOccurs="0" maxOccurs="1"/>
        </xsd:sequence>
      </xsd:complexType>
    </xsd:element>
    <xsd:element name="FrameworkVersionNumber" ma:index="53" nillable="true" ma:displayName="Framework Version Number" ma:description="A field used by Campus KM management solution." ma:internalName="FrameworkVersionNumber" ma:percentage="FALSE">
      <xsd:simpleType>
        <xsd:restriction base="dms:Number"/>
      </xsd:simpleType>
    </xsd:element>
  </xsd:schema>
  <xsd:schema xmlns:xsd="http://www.w3.org/2001/XMLSchema" xmlns:xs="http://www.w3.org/2001/XMLSchema" xmlns:dms="http://schemas.microsoft.com/office/2006/documentManagement/types" xmlns:pc="http://schemas.microsoft.com/office/infopath/2007/PartnerControls" targetNamespace="2c369b2b-3f94-46ec-90e1-485ed2885eab" elementFormDefault="qualified">
    <xsd:import namespace="http://schemas.microsoft.com/office/2006/documentManagement/types"/>
    <xsd:import namespace="http://schemas.microsoft.com/office/infopath/2007/PartnerControls"/>
    <xsd:element name="SMEComments" ma:index="15" nillable="true" ma:displayName="SME Comments" ma:internalName="SMEComments">
      <xsd:simpleType>
        <xsd:restriction base="dms:Note">
          <xsd:maxLength value="255"/>
        </xsd:restriction>
      </xsd:simpleType>
    </xsd:element>
    <xsd:element name="SMEReviewCount" ma:index="16" nillable="true" ma:displayName="SME Review Count" ma:internalName="SMEReviewCount" ma:readOnly="false">
      <xsd:simpleType>
        <xsd:restriction base="dms:Number"/>
      </xsd:simpleType>
    </xsd:element>
    <xsd:element name="SMEReviewIndicator" ma:index="17" nillable="true" ma:displayName="SME Review Indicator" ma:internalName="SMEReviewIndicator" ma:readOnly="false">
      <xsd:simpleType>
        <xsd:restriction base="dms:Number"/>
      </xsd:simpleType>
    </xsd:element>
    <xsd:element name="l6f22ad676764b8284b0a38937e29122" ma:index="31" ma:taxonomy="true" ma:internalName="l6f22ad676764b8284b0a38937e29122" ma:taxonomyFieldName="MS_x0020_Language" ma:displayName="Language" ma:default="3;#English|cb91f272-ce4d-4a7e-9bbf-78b58e3d188d" ma:fieldId="{56f22ad6-7676-4b82-84b0-a38937e29122}" ma:taxonomyMulti="true" ma:sspId="e385fb40-52d4-4fae-9c5b-3e8ff8a5878e" ma:termSetId="2851bb56-f3b7-4d07-b1ba-07ede7d3b14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b5b7ad0-f464-46eb-9946-fcee1f1dc400" elementFormDefault="qualified">
    <xsd:import namespace="http://schemas.microsoft.com/office/2006/documentManagement/types"/>
    <xsd:import namespace="http://schemas.microsoft.com/office/infopath/2007/PartnerControls"/>
    <xsd:element name="OfferingID_x003a_Title_x0020__x0028_linked_x0020_to_x0020_item_x0029_" ma:index="35" nillable="true" ma:displayName="OfferingID:Title (linked to item)" ma:list="{93b282fd-206f-40aa-ad9a-b5a72de7b449}" ma:internalName="OfferingID_x003A_Title_x0020__x0028_linked_x0020_to_x0020_item_x0029_" ma:readOnly="true" ma:showField="LinkTitleNoMenu" ma:web="8b5b7ad0-f464-46eb-9946-fcee1f1dc400">
      <xsd:complexType>
        <xsd:complexContent>
          <xsd:extension base="dms:MultiChoiceLookup">
            <xsd:sequence>
              <xsd:element name="Value" type="dms:Lookup" maxOccurs="unbounded" minOccurs="0" nillable="true"/>
            </xsd:sequence>
          </xsd:extension>
        </xsd:complexContent>
      </xsd:complexType>
    </xsd:element>
    <xsd:element name="SharedWithDetails" ma:index="37" nillable="true" ma:displayName="Shared With Details" ma:internalName="SharedWithDetails" ma:readOnly="true">
      <xsd:simpleType>
        <xsd:restriction base="dms:Note">
          <xsd:maxLength value="255"/>
        </xsd:restriction>
      </xsd:simpleType>
    </xsd:element>
    <xsd:element name="LastSharedByUser" ma:index="42" nillable="true" ma:displayName="Last Shared By User" ma:description="" ma:internalName="LastSharedByUser" ma:readOnly="true">
      <xsd:simpleType>
        <xsd:restriction base="dms:Note">
          <xsd:maxLength value="255"/>
        </xsd:restriction>
      </xsd:simpleType>
    </xsd:element>
    <xsd:element name="LastSharedByTime" ma:index="43" nillable="true" ma:displayName="Last Shared By Time" ma:description="" ma:internalName="LastSharedByTime" ma:readOnly="true">
      <xsd:simpleType>
        <xsd:restriction base="dms:DateTime"/>
      </xsd:simpleType>
    </xsd:element>
    <xsd:element name="OfferingID" ma:index="44" nillable="true" ma:displayName="OfferingID" ma:list="{93b282fd-206f-40aa-ad9a-b5a72de7b449}" ma:internalName="OfferingID0" ma:showField="OID" ma:web="8b5b7ad0-f464-46eb-9946-fcee1f1dc400">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999dd97-00dc-4063-90df-a4ecd669d12d" elementFormDefault="qualified">
    <xsd:import namespace="http://schemas.microsoft.com/office/2006/documentManagement/types"/>
    <xsd:import namespace="http://schemas.microsoft.com/office/infopath/2007/PartnerControls"/>
    <xsd:element name="MediaServiceMetadata" ma:index="50" nillable="true" ma:displayName="MediaServiceMetadata" ma:description="" ma:hidden="true" ma:internalName="MediaServiceMetadata" ma:readOnly="true">
      <xsd:simpleType>
        <xsd:restriction base="dms:Note"/>
      </xsd:simpleType>
    </xsd:element>
    <xsd:element name="MediaServiceFastMetadata" ma:index="51"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33"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mso-contentType ?>
<SharedContentType xmlns="Microsoft.SharePoint.Taxonomy.ContentTypeSync" SourceId="e385fb40-52d4-4fae-9c5b-3e8ff8a5878e" ContentTypeId="0x01010079CA57CA2DAD654DAB031774EE674658" PreviousValue="false"/>
</file>

<file path=customXml/itemProps1.xml><?xml version="1.0" encoding="utf-8"?>
<ds:datastoreItem xmlns:ds="http://schemas.openxmlformats.org/officeDocument/2006/customXml" ds:itemID="{90862B8D-B379-4CB2-B2CA-D1B9FC1F3F71}">
  <ds:schemaRefs>
    <ds:schemaRef ds:uri="http://schemas.microsoft.com/office/2006/metadata/properties"/>
    <ds:schemaRef ds:uri="8999dd97-00dc-4063-90df-a4ecd669d12d"/>
    <ds:schemaRef ds:uri="http://schemas.microsoft.com/sharepoint/v3"/>
    <ds:schemaRef ds:uri="230e9df3-be65-4c73-a93b-d1236ebd677e"/>
    <ds:schemaRef ds:uri="http://purl.org/dc/terms/"/>
    <ds:schemaRef ds:uri="http://schemas.openxmlformats.org/package/2006/metadata/core-properties"/>
    <ds:schemaRef ds:uri="http://schemas.microsoft.com/office/2006/documentManagement/types"/>
    <ds:schemaRef ds:uri="2c369b2b-3f94-46ec-90e1-485ed2885eab"/>
    <ds:schemaRef ds:uri="http://schemas.microsoft.com/office/infopath/2007/PartnerControls"/>
    <ds:schemaRef ds:uri="http://purl.org/dc/elements/1.1/"/>
    <ds:schemaRef ds:uri="8b5b7ad0-f464-46eb-9946-fcee1f1dc400"/>
    <ds:schemaRef ds:uri="http://www.w3.org/XML/1998/namespace"/>
    <ds:schemaRef ds:uri="http://purl.org/dc/dcmitype/"/>
  </ds:schemaRefs>
</ds:datastoreItem>
</file>

<file path=customXml/itemProps2.xml><?xml version="1.0" encoding="utf-8"?>
<ds:datastoreItem xmlns:ds="http://schemas.openxmlformats.org/officeDocument/2006/customXml" ds:itemID="{81B3FFBE-63AF-4460-B1EE-9962261D9346}">
  <ds:schemaRefs>
    <ds:schemaRef ds:uri="http://schemas.microsoft.com/sharepoint/events"/>
  </ds:schemaRefs>
</ds:datastoreItem>
</file>

<file path=customXml/itemProps3.xml><?xml version="1.0" encoding="utf-8"?>
<ds:datastoreItem xmlns:ds="http://schemas.openxmlformats.org/officeDocument/2006/customXml" ds:itemID="{539756D5-9B16-40F1-8093-CFF9378BD03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c369b2b-3f94-46ec-90e1-485ed2885eab"/>
    <ds:schemaRef ds:uri="8b5b7ad0-f464-46eb-9946-fcee1f1dc400"/>
    <ds:schemaRef ds:uri="8999dd97-00dc-4063-90df-a4ecd669d12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6671310C-2397-4D04-9178-9F6EC799ED20}">
  <ds:schemaRefs>
    <ds:schemaRef ds:uri="http://schemas.microsoft.com/sharepoint/v3/contenttype/forms"/>
  </ds:schemaRefs>
</ds:datastoreItem>
</file>

<file path=customXml/itemProps5.xml><?xml version="1.0" encoding="utf-8"?>
<ds:datastoreItem xmlns:ds="http://schemas.openxmlformats.org/officeDocument/2006/customXml" ds:itemID="{EDFBD591-1F24-4377-B393-D26D6BCDE759}">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otalTime>0</TotalTime>
  <Words>7387</Words>
  <Application>Microsoft Office PowerPoint</Application>
  <PresentationFormat>Custom</PresentationFormat>
  <Paragraphs>1500</Paragraphs>
  <Slides>57</Slides>
  <Notes>56</Notes>
  <HiddenSlides>1</HiddenSlides>
  <MMClips>0</MMClips>
  <ScaleCrop>false</ScaleCrop>
  <HeadingPairs>
    <vt:vector size="8" baseType="variant">
      <vt:variant>
        <vt:lpstr>Fonts Used</vt:lpstr>
      </vt:variant>
      <vt:variant>
        <vt:i4>12</vt:i4>
      </vt:variant>
      <vt:variant>
        <vt:lpstr>Theme</vt:lpstr>
      </vt:variant>
      <vt:variant>
        <vt:i4>18</vt:i4>
      </vt:variant>
      <vt:variant>
        <vt:lpstr>Embedded OLE Servers</vt:lpstr>
      </vt:variant>
      <vt:variant>
        <vt:i4>1</vt:i4>
      </vt:variant>
      <vt:variant>
        <vt:lpstr>Slide Titles</vt:lpstr>
      </vt:variant>
      <vt:variant>
        <vt:i4>57</vt:i4>
      </vt:variant>
    </vt:vector>
  </HeadingPairs>
  <TitlesOfParts>
    <vt:vector size="88" baseType="lpstr">
      <vt:lpstr>Arial</vt:lpstr>
      <vt:lpstr>Calibri</vt:lpstr>
      <vt:lpstr>Courier New</vt:lpstr>
      <vt:lpstr>Segoe</vt:lpstr>
      <vt:lpstr>Segoe Light</vt:lpstr>
      <vt:lpstr>Segoe Pro Light</vt:lpstr>
      <vt:lpstr>Segoe Pro Semibold</vt:lpstr>
      <vt:lpstr>Segoe UI</vt:lpstr>
      <vt:lpstr>Segoe UI Light</vt:lpstr>
      <vt:lpstr>Segoe UI Semibold</vt:lpstr>
      <vt:lpstr>Segoe UI Semilight</vt:lpstr>
      <vt:lpstr>Wingdings</vt:lpstr>
      <vt:lpstr>FY15 Enterprise identity theme</vt:lpstr>
      <vt:lpstr>15_FY15 Enterprise identity theme</vt:lpstr>
      <vt:lpstr>29_FY15 Enterprise identity theme</vt:lpstr>
      <vt:lpstr>MS Brand White 16-9_Dec-2013</vt:lpstr>
      <vt:lpstr>20_FY15 Enterprise identity theme</vt:lpstr>
      <vt:lpstr>17_FY15 Enterprise identity theme</vt:lpstr>
      <vt:lpstr>22_FY15 Enterprise identity theme</vt:lpstr>
      <vt:lpstr>1_FY15 Enterprise identity theme</vt:lpstr>
      <vt:lpstr>4_FY15 Enterprise identity theme</vt:lpstr>
      <vt:lpstr>30_FY15 Enterprise identity theme</vt:lpstr>
      <vt:lpstr>3_FY15 Enterprise identity theme</vt:lpstr>
      <vt:lpstr>5_FY15 Enterprise identity theme</vt:lpstr>
      <vt:lpstr>7_FY15 Enterprise identity theme</vt:lpstr>
      <vt:lpstr>2_FY15 Enterprise identity theme</vt:lpstr>
      <vt:lpstr>18_FY15 Enterprise identity theme</vt:lpstr>
      <vt:lpstr>6_FY15 Enterprise identity theme</vt:lpstr>
      <vt:lpstr>8_FY15 Enterprise identity theme</vt:lpstr>
      <vt:lpstr>9_FY15 Enterprise identity theme</vt:lpstr>
      <vt:lpstr>think-cell Slide</vt:lpstr>
      <vt:lpstr>PowerPoint Presentation</vt:lpstr>
      <vt:lpstr>How to Use the Book of Dreams</vt:lpstr>
      <vt:lpstr>PowerPoint Presentation</vt:lpstr>
      <vt:lpstr>PowerPoint Presentation</vt:lpstr>
      <vt:lpstr>Digitally Transforming the Automotive Industry</vt:lpstr>
      <vt:lpstr>Contents</vt:lpstr>
      <vt:lpstr>Imagine If…</vt:lpstr>
      <vt:lpstr>The Digital Vision for the Automotive Industry</vt:lpstr>
      <vt:lpstr>Business Drivers for Automotive</vt:lpstr>
      <vt:lpstr>Automotive Capability Map</vt:lpstr>
      <vt:lpstr>A Productivity Journey of an Automotive Customer </vt:lpstr>
      <vt:lpstr>Digital Transformation Approach</vt:lpstr>
      <vt:lpstr>Engage Your Customers</vt:lpstr>
      <vt:lpstr>Imagine if…</vt:lpstr>
      <vt:lpstr>Personalized Mobility Services</vt:lpstr>
      <vt:lpstr>Personalized Mobility Services</vt:lpstr>
      <vt:lpstr>Personalized Mobility Services</vt:lpstr>
      <vt:lpstr>Personalized Mobility Services</vt:lpstr>
      <vt:lpstr>Personalized Mobility Services</vt:lpstr>
      <vt:lpstr>Personalized Mobility Services</vt:lpstr>
      <vt:lpstr>Personalized Mobility Services</vt:lpstr>
      <vt:lpstr>Personalized Mobility Services</vt:lpstr>
      <vt:lpstr>An Automobile Manufacturer</vt:lpstr>
      <vt:lpstr>Empower Your Employees</vt:lpstr>
      <vt:lpstr>Imagine if…</vt:lpstr>
      <vt:lpstr>Human-Robot Collaboration</vt:lpstr>
      <vt:lpstr>Human-Robot Collaboration</vt:lpstr>
      <vt:lpstr>Human-Robot Collaboration</vt:lpstr>
      <vt:lpstr>Human-Robot Collaboration</vt:lpstr>
      <vt:lpstr>Human-Robot Collaboration</vt:lpstr>
      <vt:lpstr>Human-Robot Collaboration</vt:lpstr>
      <vt:lpstr>Human-Robot Collaboration</vt:lpstr>
      <vt:lpstr>Human Robot Collaboration</vt:lpstr>
      <vt:lpstr>A Communications Technology Company</vt:lpstr>
      <vt:lpstr>Optimize Your Operations</vt:lpstr>
      <vt:lpstr>Imagine if…</vt:lpstr>
      <vt:lpstr>Integrated supply chain</vt:lpstr>
      <vt:lpstr>Integrated Supply chain</vt:lpstr>
      <vt:lpstr>Integrated Supply Chain</vt:lpstr>
      <vt:lpstr>Integrated Supply Chain</vt:lpstr>
      <vt:lpstr>Integrated Supply Chain</vt:lpstr>
      <vt:lpstr>Integrated Supply Chain</vt:lpstr>
      <vt:lpstr>Integrated Supply Chain</vt:lpstr>
      <vt:lpstr>Integrated Supply Chain</vt:lpstr>
      <vt:lpstr>A Manufacturing Solutions Company</vt:lpstr>
      <vt:lpstr>Transform Products/ Services</vt:lpstr>
      <vt:lpstr>Imagine if…</vt:lpstr>
      <vt:lpstr>Open Innovation</vt:lpstr>
      <vt:lpstr>Open Innovation</vt:lpstr>
      <vt:lpstr>Open Innovation</vt:lpstr>
      <vt:lpstr>Open Innovation</vt:lpstr>
      <vt:lpstr>Open Innovation</vt:lpstr>
      <vt:lpstr>Open Innovation</vt:lpstr>
      <vt:lpstr>Open Innovation</vt:lpstr>
      <vt:lpstr>Open Innovation</vt:lpstr>
      <vt:lpstr>An Automobile Manufacturer</vt:lpstr>
      <vt:lpstr>Contributors and Reviewer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utomotive Book of Dreams v1</dc:title>
  <dc:creator/>
  <cp:lastModifiedBy/>
  <cp:revision>3</cp:revision>
  <dcterms:modified xsi:type="dcterms:W3CDTF">2018-07-03T18:53: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axKeyword">
    <vt:lpwstr>15394;#brand guidelines|869c67fb-4ae4-4cf1-8315-33fbb28a6230</vt:lpwstr>
  </property>
  <property fmtid="{D5CDD505-2E9C-101B-9397-08002B2CF9AE}" pid="3" name="Order">
    <vt:r8>13574400</vt:r8>
  </property>
  <property fmtid="{D5CDD505-2E9C-101B-9397-08002B2CF9AE}" pid="4" name="Capabilities">
    <vt:lpwstr/>
  </property>
  <property fmtid="{D5CDD505-2E9C-101B-9397-08002B2CF9AE}" pid="5" name="_dlc_policyId">
    <vt:lpwstr/>
  </property>
  <property fmtid="{D5CDD505-2E9C-101B-9397-08002B2CF9AE}" pid="6" name="Region">
    <vt:lpwstr/>
  </property>
  <property fmtid="{D5CDD505-2E9C-101B-9397-08002B2CF9AE}" pid="7" name="Confidentiality">
    <vt:lpwstr>21;#Microsoft confidential|461efa83-0283-486a-a8d5-943328f3693f</vt:lpwstr>
  </property>
  <property fmtid="{D5CDD505-2E9C-101B-9397-08002B2CF9AE}" pid="8" name="ItemType">
    <vt:lpwstr>10046;#presentation materials|7e967e7d-c50c-4512-9142-b60809a45202;#14176;#brand guidelines|869c67fb-4ae4-4cf1-8315-33fbb28a6230</vt:lpwstr>
  </property>
  <property fmtid="{D5CDD505-2E9C-101B-9397-08002B2CF9AE}" pid="9" name="ContentTypeId">
    <vt:lpwstr>0x01010079CA57CA2DAD654DAB031774EE67465800621D8D8E19AE324586B0E2D5814AD32C02003ECED42F18ABEC4F85527B788A517F04</vt:lpwstr>
  </property>
  <property fmtid="{D5CDD505-2E9C-101B-9397-08002B2CF9AE}" pid="10" name="WorkflowCreationPath">
    <vt:lpwstr>b84d296b-0eb7-4c23-b0e9-187131f037bd,3;a2444f68-e94d-4cad-9dda-8c5779e7fca4,29;a2444f68-e94d-4cad-9dda-8c5779e7fca4,36;a2444f68-e94d-4cad-9dda-8c5779e7fca4,39;d3765c0c-e2b5-4307-934b-d5d862e93ab3,53;d3765c0c-e2b5-4307-934b-d5d862e93ab3,63;</vt:lpwstr>
  </property>
  <property fmtid="{D5CDD505-2E9C-101B-9397-08002B2CF9AE}" pid="11" name="Industries">
    <vt:lpwstr/>
  </property>
  <property fmtid="{D5CDD505-2E9C-101B-9397-08002B2CF9AE}" pid="12" name="Roles">
    <vt:lpwstr/>
  </property>
  <property fmtid="{D5CDD505-2E9C-101B-9397-08002B2CF9AE}" pid="13" name="SMSGDomain">
    <vt:lpwstr>16098;#Enterprise and Partner Group|b6e10940-8c6c-40cf-9dc4-c224c7da837a;#13755;#Sales, Marketing, Services Group|ecda8836-afa0-40aa-878e-630e18c8fc5c</vt:lpwstr>
  </property>
  <property fmtid="{D5CDD505-2E9C-101B-9397-08002B2CF9AE}" pid="14" name="Competitors">
    <vt:lpwstr/>
  </property>
  <property fmtid="{D5CDD505-2E9C-101B-9397-08002B2CF9AE}" pid="15" name="ItemRetentionFormula">
    <vt:lpwstr/>
  </property>
  <property fmtid="{D5CDD505-2E9C-101B-9397-08002B2CF9AE}" pid="16" name="BusinessArchitecture">
    <vt:lpwstr/>
  </property>
  <property fmtid="{D5CDD505-2E9C-101B-9397-08002B2CF9AE}" pid="17" name="SMSGTags">
    <vt:lpwstr/>
  </property>
  <property fmtid="{D5CDD505-2E9C-101B-9397-08002B2CF9AE}" pid="18" name="Products">
    <vt:lpwstr/>
  </property>
  <property fmtid="{D5CDD505-2E9C-101B-9397-08002B2CF9AE}" pid="19" name="_dlc_DocIdItemGuid">
    <vt:lpwstr>2ee69f44-9f27-4d66-acf7-0d9a5c00153c</vt:lpwstr>
  </property>
  <property fmtid="{D5CDD505-2E9C-101B-9397-08002B2CF9AE}" pid="20" name="EnterpriseDomainTags">
    <vt:lpwstr/>
  </property>
  <property fmtid="{D5CDD505-2E9C-101B-9397-08002B2CF9AE}" pid="21" name="Partners">
    <vt:lpwstr/>
  </property>
  <property fmtid="{D5CDD505-2E9C-101B-9397-08002B2CF9AE}" pid="22" name="Segments">
    <vt:lpwstr>16098;#Enterprise and Partner Group|b6e10940-8c6c-40cf-9dc4-c224c7da837a;#13755;#Sales, Marketing, Services Group|ecda8836-afa0-40aa-878e-630e18c8fc5c</vt:lpwstr>
  </property>
  <property fmtid="{D5CDD505-2E9C-101B-9397-08002B2CF9AE}" pid="23" name="ActivitiesAndPrograms">
    <vt:lpwstr>10747;#enterprise campaign in a box|39675275-15e7-44be-8b31-69c9953e6a39;#16215;#Enterprise Vision and Roadmap|97a7e456-ecbb-453c-b9d7-6063e52d17dc;#17365;#Evidence and Reference Desk|dfc7c2e9-0956-4fa7-bd39-80cd89306b6f</vt:lpwstr>
  </property>
  <property fmtid="{D5CDD505-2E9C-101B-9397-08002B2CF9AE}" pid="24" name="WorkflowChangePath">
    <vt:lpwstr>d3765c0c-e2b5-4307-934b-d5d862e93ab3,66;d3765c0c-e2b5-4307-934b-d5d862e93ab3,66;d3765c0c-e2b5-4307-934b-d5d862e93ab3,70;d3765c0c-e2b5-4307-934b-d5d862e93ab3,70;d779f5e8-bb23-40fa-a1a5-97eb63737902,80;d779f5e8-bb23-40fa-a1a5-97eb63737902,86;d779f5e8-bb23-4</vt:lpwstr>
  </property>
  <property fmtid="{D5CDD505-2E9C-101B-9397-08002B2CF9AE}" pid="25" name="Groups">
    <vt:lpwstr/>
  </property>
  <property fmtid="{D5CDD505-2E9C-101B-9397-08002B2CF9AE}" pid="26" name="Topics">
    <vt:lpwstr>20026;#evidence|7619849c-9a19-40e5-952f-cec02c1eb35c;#20324;#customer stories|e1823f25-1e75-4d06-b3c3-6c87479272b6</vt:lpwstr>
  </property>
  <property fmtid="{D5CDD505-2E9C-101B-9397-08002B2CF9AE}" pid="27" name="EnterpriseDomainTagsTaxHTField0">
    <vt:lpwstr/>
  </property>
  <property fmtid="{D5CDD505-2E9C-101B-9397-08002B2CF9AE}" pid="28" name="LastUpdatedByBatchTagging">
    <vt:bool>true</vt:bool>
  </property>
  <property fmtid="{D5CDD505-2E9C-101B-9397-08002B2CF9AE}" pid="29" name="Languages">
    <vt:lpwstr>10056;#English|cb91f272-ce4d-4a7e-9bbf-78b58e3d188d</vt:lpwstr>
  </property>
  <property fmtid="{D5CDD505-2E9C-101B-9397-08002B2CF9AE}" pid="30" name="_docset_NoMedatataSyncRequired">
    <vt:lpwstr>False</vt:lpwstr>
  </property>
  <property fmtid="{D5CDD505-2E9C-101B-9397-08002B2CF9AE}" pid="31" name="messageframeworktype">
    <vt:lpwstr/>
  </property>
  <property fmtid="{D5CDD505-2E9C-101B-9397-08002B2CF9AE}" pid="32" name="SMSGTagsTaxHTField0">
    <vt:lpwstr/>
  </property>
  <property fmtid="{D5CDD505-2E9C-101B-9397-08002B2CF9AE}" pid="33" name="Audiences">
    <vt:lpwstr>10357;#chief information officers|f42e0d72-ce0b-459f-853e-30443c0b7800;#10077;#IT decision makers|9b4e6e74-580c-4c34-b4d3-48674047e67e</vt:lpwstr>
  </property>
  <property fmtid="{D5CDD505-2E9C-101B-9397-08002B2CF9AE}" pid="34" name="ie6d2fd56e2d423f9ae5744f65e04598">
    <vt:lpwstr/>
  </property>
  <property fmtid="{D5CDD505-2E9C-101B-9397-08002B2CF9AE}" pid="35" name="DocumentDescription">
    <vt:lpwstr>Automotive Book of Dreams is set of scenarios for Automotive industry vertical for driving digital business transformation. </vt:lpwstr>
  </property>
  <property fmtid="{D5CDD505-2E9C-101B-9397-08002B2CF9AE}" pid="36" name="servicespriorityarea">
    <vt:lpwstr>;#Enterprise Strategy;#</vt:lpwstr>
  </property>
  <property fmtid="{D5CDD505-2E9C-101B-9397-08002B2CF9AE}" pid="37" name="VerticalIndustries">
    <vt:lpwstr>672;#discrete manufacturing industry|849cc5cd-9e2e-43b0-bb40-7dfe9bc975a9;#424;#automotive and industrial equipment and aerospace manufacturing|8ead1dd3-8729-46dc-a6a6-5d3ae6fc288f;#685;#motor vehicle and parts dealers|bdbbdfab-22be-4b2c-9af6-ce44709552c4</vt:lpwstr>
  </property>
  <property fmtid="{D5CDD505-2E9C-101B-9397-08002B2CF9AE}" pid="38" name="pd049fc9a23847ae8834a0b282b603a1">
    <vt:lpwstr/>
  </property>
  <property fmtid="{D5CDD505-2E9C-101B-9397-08002B2CF9AE}" pid="39" name="l56d15105ae648fdac87f06e9633001e">
    <vt:lpwstr/>
  </property>
  <property fmtid="{D5CDD505-2E9C-101B-9397-08002B2CF9AE}" pid="40" name="bc28b5f076654a3b96073bbbebfeb8c9">
    <vt:lpwstr/>
  </property>
  <property fmtid="{D5CDD505-2E9C-101B-9397-08002B2CF9AE}" pid="41" name="MSProducts">
    <vt:lpwstr/>
  </property>
  <property fmtid="{D5CDD505-2E9C-101B-9397-08002B2CF9AE}" pid="42" name="m74a2925250f485f9486ed3f97e2a6b3">
    <vt:lpwstr/>
  </property>
  <property fmtid="{D5CDD505-2E9C-101B-9397-08002B2CF9AE}" pid="43" name="EnterpriseServices">
    <vt:lpwstr/>
  </property>
  <property fmtid="{D5CDD505-2E9C-101B-9397-08002B2CF9AE}" pid="44" name="l6f22ad676764b8284b0a38937e29122">
    <vt:lpwstr>English|cb91f272-ce4d-4a7e-9bbf-78b58e3d188d</vt:lpwstr>
  </property>
  <property fmtid="{D5CDD505-2E9C-101B-9397-08002B2CF9AE}" pid="45" name="p920f6992caa4adbaa1880c7ef19b02a">
    <vt:lpwstr/>
  </property>
  <property fmtid="{D5CDD505-2E9C-101B-9397-08002B2CF9AE}" pid="46" name="Services Marketing Audience">
    <vt:lpwstr/>
  </property>
  <property fmtid="{D5CDD505-2E9C-101B-9397-08002B2CF9AE}" pid="47" name="ServicesIPTypes">
    <vt:lpwstr>86;#scenarios|5dc5e6e5-18a4-4ff8-85dc-71a9ecf4b47b</vt:lpwstr>
  </property>
  <property fmtid="{D5CDD505-2E9C-101B-9397-08002B2CF9AE}" pid="48" name="ServicesLifecycleStage">
    <vt:lpwstr/>
  </property>
  <property fmtid="{D5CDD505-2E9C-101B-9397-08002B2CF9AE}" pid="49" name="ServicesCommunities">
    <vt:lpwstr>479;#WW Digital Business Transformation Community|abb82a59-d8e1-44bf-b680-43fada6eee29</vt:lpwstr>
  </property>
  <property fmtid="{D5CDD505-2E9C-101B-9397-08002B2CF9AE}" pid="50" name="MSProductsTaxHTField0">
    <vt:lpwstr/>
  </property>
  <property fmtid="{D5CDD505-2E9C-101B-9397-08002B2CF9AE}" pid="51" name="af1f5bfae61e4243aac9966cb19580e1">
    <vt:lpwstr>WW Enterprise Strategy Community|abb82a59-d8e1-44bf-b680-43fada6eee29</vt:lpwstr>
  </property>
  <property fmtid="{D5CDD505-2E9C-101B-9397-08002B2CF9AE}" pid="52" name="MSLanguage">
    <vt:lpwstr/>
  </property>
  <property fmtid="{D5CDD505-2E9C-101B-9397-08002B2CF9AE}" pid="53" name="cb7870d3641f4a52807a63577a9c1b08">
    <vt:lpwstr/>
  </property>
  <property fmtid="{D5CDD505-2E9C-101B-9397-08002B2CF9AE}" pid="54" name="Services Megatrends">
    <vt:lpwstr/>
  </property>
  <property fmtid="{D5CDD505-2E9C-101B-9397-08002B2CF9AE}" pid="55" name="IsMyDocuments">
    <vt:bool>true</vt:bool>
  </property>
  <property fmtid="{D5CDD505-2E9C-101B-9397-08002B2CF9AE}" pid="56" name="oad7af80ad0f4ba99bb03b3894ab533c">
    <vt:lpwstr>scenarios|5dc5e6e5-18a4-4ff8-85dc-71a9ecf4b47b</vt:lpwstr>
  </property>
  <property fmtid="{D5CDD505-2E9C-101B-9397-08002B2CF9AE}" pid="57" name="Authors">
    <vt:lpwstr>4130;#i:0#.f|membership|jmeier@microsoft.com;#4576;#i:0#.f|membership|markbes@microsoft.com;#4953;#i:0#.f|membership|andyeun@microsoft.com;#3890;#i:0#.f|membership|bsiban@microsoft.com;#4124;#i:0#.f|membership|billhub@microsoft.com</vt:lpwstr>
  </property>
  <property fmtid="{D5CDD505-2E9C-101B-9397-08002B2CF9AE}" pid="58" name="campusov">
    <vt:lpwstr>;#MCS;#</vt:lpwstr>
  </property>
  <property fmtid="{D5CDD505-2E9C-101B-9397-08002B2CF9AE}" pid="59" name="campustrv">
    <vt:lpwstr>;#Sales Excellence;#Solution Sales;#Architecture Delivery;#</vt:lpwstr>
  </property>
  <property fmtid="{D5CDD505-2E9C-101B-9397-08002B2CF9AE}" pid="60" name="SharedWithUsers">
    <vt:lpwstr>61730;#Michael Julius Schmidt;#58052;#Thomas Keller;#5083;#Christian Becker;#37615;#Robert Nahm;#120159;#Aneetha Jayaraman;#10459;#Emma Reid</vt:lpwstr>
  </property>
  <property fmtid="{D5CDD505-2E9C-101B-9397-08002B2CF9AE}" pid="61" name="SalesGeography">
    <vt:lpwstr/>
  </property>
  <property fmtid="{D5CDD505-2E9C-101B-9397-08002B2CF9AE}" pid="62" name="MS Language">
    <vt:lpwstr>3;#English|cb91f272-ce4d-4a7e-9bbf-78b58e3d188d</vt:lpwstr>
  </property>
  <property fmtid="{D5CDD505-2E9C-101B-9397-08002B2CF9AE}" pid="63" name="TaxCatchAll">
    <vt:lpwstr>479;#WW Enterprise Strategy Community|abb82a59-d8e1-44bf-b680-43fada6eee29;#86;#scenarios|5dc5e6e5-18a4-4ff8-85dc-71a9ecf4b47b;#3;#English|cb91f272-ce4d-4a7e-9bbf-78b58e3d188d</vt:lpwstr>
  </property>
  <property fmtid="{D5CDD505-2E9C-101B-9397-08002B2CF9AE}" pid="64" name="RatedBy">
    <vt:lpwstr/>
  </property>
  <property fmtid="{D5CDD505-2E9C-101B-9397-08002B2CF9AE}" pid="65" name="Content Owner">
    <vt:lpwstr>, </vt:lpwstr>
  </property>
  <property fmtid="{D5CDD505-2E9C-101B-9397-08002B2CF9AE}" pid="66" name="Ratings">
    <vt:lpwstr/>
  </property>
  <property fmtid="{D5CDD505-2E9C-101B-9397-08002B2CF9AE}" pid="67" name="LikedBy">
    <vt:lpwstr/>
  </property>
  <property fmtid="{D5CDD505-2E9C-101B-9397-08002B2CF9AE}" pid="68" name="ServicesDomain">
    <vt:lpwstr/>
  </property>
  <property fmtid="{D5CDD505-2E9C-101B-9397-08002B2CF9AE}" pid="69" name="ServicesBusinessScenario">
    <vt:lpwstr/>
  </property>
  <property fmtid="{D5CDD505-2E9C-101B-9397-08002B2CF9AE}" pid="70" name="MSIP_Label_f42aa342-8706-4288-bd11-ebb85995028c_Enabled">
    <vt:lpwstr>True</vt:lpwstr>
  </property>
  <property fmtid="{D5CDD505-2E9C-101B-9397-08002B2CF9AE}" pid="71" name="MSIP_Label_f42aa342-8706-4288-bd11-ebb85995028c_SiteId">
    <vt:lpwstr>72f988bf-86f1-41af-91ab-2d7cd011db47</vt:lpwstr>
  </property>
  <property fmtid="{D5CDD505-2E9C-101B-9397-08002B2CF9AE}" pid="72" name="MSIP_Label_f42aa342-8706-4288-bd11-ebb85995028c_Owner">
    <vt:lpwstr>rghosal@microsoft.com</vt:lpwstr>
  </property>
  <property fmtid="{D5CDD505-2E9C-101B-9397-08002B2CF9AE}" pid="73" name="MSIP_Label_f42aa342-8706-4288-bd11-ebb85995028c_SetDate">
    <vt:lpwstr>2018-01-25T08:00:37.7277304Z</vt:lpwstr>
  </property>
  <property fmtid="{D5CDD505-2E9C-101B-9397-08002B2CF9AE}" pid="74" name="MSIP_Label_f42aa342-8706-4288-bd11-ebb85995028c_Name">
    <vt:lpwstr>General</vt:lpwstr>
  </property>
  <property fmtid="{D5CDD505-2E9C-101B-9397-08002B2CF9AE}" pid="75" name="MSIP_Label_f42aa342-8706-4288-bd11-ebb85995028c_Application">
    <vt:lpwstr>Microsoft Azure Information Protection</vt:lpwstr>
  </property>
  <property fmtid="{D5CDD505-2E9C-101B-9397-08002B2CF9AE}" pid="76" name="MSIP_Label_f42aa342-8706-4288-bd11-ebb85995028c_Extended_MSFT_Method">
    <vt:lpwstr>Automatic</vt:lpwstr>
  </property>
  <property fmtid="{D5CDD505-2E9C-101B-9397-08002B2CF9AE}" pid="77" name="Sensitivity">
    <vt:lpwstr>General</vt:lpwstr>
  </property>
</Properties>
</file>